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tmp" ContentType="image/x-emf"/>
  <Default Extension="vml" ContentType="application/vnd.openxmlformats-officedocument.vmlDrawing"/>
  <Default Extension="wmf" ContentType="image/x-wmf"/>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Masters/slideMaster20.xml" ContentType="application/vnd.openxmlformats-officedocument.presentationml.slideMaster+xml"/>
  <Override PartName="/ppt/slideMasters/slideMaster21.xml" ContentType="application/vnd.openxmlformats-officedocument.presentationml.slideMaster+xml"/>
  <Override PartName="/ppt/slideMasters/slideMaster2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theme/theme2.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theme/theme3.xml" ContentType="application/vnd.openxmlformats-officedocument.them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theme/theme4.xml" ContentType="application/vnd.openxmlformats-officedocument.theme+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theme/theme5.xml" ContentType="application/vnd.openxmlformats-officedocument.theme+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theme/theme6.xml" ContentType="application/vnd.openxmlformats-officedocument.theme+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theme/theme7.xml" ContentType="application/vnd.openxmlformats-officedocument.theme+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theme/theme8.xml" ContentType="application/vnd.openxmlformats-officedocument.theme+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theme/theme9.xml" ContentType="application/vnd.openxmlformats-officedocument.theme+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theme/theme10.xml" ContentType="application/vnd.openxmlformats-officedocument.theme+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theme/theme11.xml" ContentType="application/vnd.openxmlformats-officedocument.theme+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theme/theme12.xml" ContentType="application/vnd.openxmlformats-officedocument.theme+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theme/theme13.xml" ContentType="application/vnd.openxmlformats-officedocument.theme+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theme/theme14.xml" ContentType="application/vnd.openxmlformats-officedocument.theme+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theme/theme15.xml" ContentType="application/vnd.openxmlformats-officedocument.theme+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slideLayouts/slideLayout400.xml" ContentType="application/vnd.openxmlformats-officedocument.presentationml.slideLayout+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slideLayouts/slideLayout407.xml" ContentType="application/vnd.openxmlformats-officedocument.presentationml.slideLayout+xml"/>
  <Override PartName="/ppt/slideLayouts/slideLayout408.xml" ContentType="application/vnd.openxmlformats-officedocument.presentationml.slideLayout+xml"/>
  <Override PartName="/ppt/slideLayouts/slideLayout409.xml" ContentType="application/vnd.openxmlformats-officedocument.presentationml.slideLayout+xml"/>
  <Override PartName="/ppt/slideLayouts/slideLayout410.xml" ContentType="application/vnd.openxmlformats-officedocument.presentationml.slideLayout+xml"/>
  <Override PartName="/ppt/slideLayouts/slideLayout411.xml" ContentType="application/vnd.openxmlformats-officedocument.presentationml.slideLayout+xml"/>
  <Override PartName="/ppt/slideLayouts/slideLayout412.xml" ContentType="application/vnd.openxmlformats-officedocument.presentationml.slideLayout+xml"/>
  <Override PartName="/ppt/slideLayouts/slideLayout413.xml" ContentType="application/vnd.openxmlformats-officedocument.presentationml.slideLayout+xml"/>
  <Override PartName="/ppt/slideLayouts/slideLayout414.xml" ContentType="application/vnd.openxmlformats-officedocument.presentationml.slideLayout+xml"/>
  <Override PartName="/ppt/slideLayouts/slideLayout415.xml" ContentType="application/vnd.openxmlformats-officedocument.presentationml.slideLayout+xml"/>
  <Override PartName="/ppt/theme/theme16.xml" ContentType="application/vnd.openxmlformats-officedocument.theme+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slideLayouts/slideLayout416.xml" ContentType="application/vnd.openxmlformats-officedocument.presentationml.slideLayout+xml"/>
  <Override PartName="/ppt/slideLayouts/slideLayout417.xml" ContentType="application/vnd.openxmlformats-officedocument.presentationml.slideLayout+xml"/>
  <Override PartName="/ppt/slideLayouts/slideLayout418.xml" ContentType="application/vnd.openxmlformats-officedocument.presentationml.slideLayout+xml"/>
  <Override PartName="/ppt/slideLayouts/slideLayout419.xml" ContentType="application/vnd.openxmlformats-officedocument.presentationml.slideLayout+xml"/>
  <Override PartName="/ppt/slideLayouts/slideLayout420.xml" ContentType="application/vnd.openxmlformats-officedocument.presentationml.slideLayout+xml"/>
  <Override PartName="/ppt/slideLayouts/slideLayout421.xml" ContentType="application/vnd.openxmlformats-officedocument.presentationml.slideLayout+xml"/>
  <Override PartName="/ppt/slideLayouts/slideLayout422.xml" ContentType="application/vnd.openxmlformats-officedocument.presentationml.slideLayout+xml"/>
  <Override PartName="/ppt/slideLayouts/slideLayout423.xml" ContentType="application/vnd.openxmlformats-officedocument.presentationml.slideLayout+xml"/>
  <Override PartName="/ppt/slideLayouts/slideLayout424.xml" ContentType="application/vnd.openxmlformats-officedocument.presentationml.slideLayout+xml"/>
  <Override PartName="/ppt/slideLayouts/slideLayout425.xml" ContentType="application/vnd.openxmlformats-officedocument.presentationml.slideLayout+xml"/>
  <Override PartName="/ppt/slideLayouts/slideLayout426.xml" ContentType="application/vnd.openxmlformats-officedocument.presentationml.slideLayout+xml"/>
  <Override PartName="/ppt/slideLayouts/slideLayout427.xml" ContentType="application/vnd.openxmlformats-officedocument.presentationml.slideLayout+xml"/>
  <Override PartName="/ppt/slideLayouts/slideLayout428.xml" ContentType="application/vnd.openxmlformats-officedocument.presentationml.slideLayout+xml"/>
  <Override PartName="/ppt/slideLayouts/slideLayout429.xml" ContentType="application/vnd.openxmlformats-officedocument.presentationml.slideLayout+xml"/>
  <Override PartName="/ppt/slideLayouts/slideLayout430.xml" ContentType="application/vnd.openxmlformats-officedocument.presentationml.slideLayout+xml"/>
  <Override PartName="/ppt/slideLayouts/slideLayout431.xml" ContentType="application/vnd.openxmlformats-officedocument.presentationml.slideLayout+xml"/>
  <Override PartName="/ppt/slideLayouts/slideLayout432.xml" ContentType="application/vnd.openxmlformats-officedocument.presentationml.slideLayout+xml"/>
  <Override PartName="/ppt/slideLayouts/slideLayout433.xml" ContentType="application/vnd.openxmlformats-officedocument.presentationml.slideLayout+xml"/>
  <Override PartName="/ppt/slideLayouts/slideLayout434.xml" ContentType="application/vnd.openxmlformats-officedocument.presentationml.slideLayout+xml"/>
  <Override PartName="/ppt/slideLayouts/slideLayout435.xml" ContentType="application/vnd.openxmlformats-officedocument.presentationml.slideLayout+xml"/>
  <Override PartName="/ppt/slideLayouts/slideLayout436.xml" ContentType="application/vnd.openxmlformats-officedocument.presentationml.slideLayout+xml"/>
  <Override PartName="/ppt/slideLayouts/slideLayout437.xml" ContentType="application/vnd.openxmlformats-officedocument.presentationml.slideLayout+xml"/>
  <Override PartName="/ppt/slideLayouts/slideLayout438.xml" ContentType="application/vnd.openxmlformats-officedocument.presentationml.slideLayout+xml"/>
  <Override PartName="/ppt/slideLayouts/slideLayout439.xml" ContentType="application/vnd.openxmlformats-officedocument.presentationml.slideLayout+xml"/>
  <Override PartName="/ppt/slideLayouts/slideLayout440.xml" ContentType="application/vnd.openxmlformats-officedocument.presentationml.slideLayout+xml"/>
  <Override PartName="/ppt/slideLayouts/slideLayout441.xml" ContentType="application/vnd.openxmlformats-officedocument.presentationml.slideLayout+xml"/>
  <Override PartName="/ppt/slideLayouts/slideLayout442.xml" ContentType="application/vnd.openxmlformats-officedocument.presentationml.slideLayout+xml"/>
  <Override PartName="/ppt/slideLayouts/slideLayout443.xml" ContentType="application/vnd.openxmlformats-officedocument.presentationml.slideLayout+xml"/>
  <Override PartName="/ppt/theme/theme17.xml" ContentType="application/vnd.openxmlformats-officedocument.theme+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slideLayouts/slideLayout444.xml" ContentType="application/vnd.openxmlformats-officedocument.presentationml.slideLayout+xml"/>
  <Override PartName="/ppt/slideLayouts/slideLayout445.xml" ContentType="application/vnd.openxmlformats-officedocument.presentationml.slideLayout+xml"/>
  <Override PartName="/ppt/slideLayouts/slideLayout446.xml" ContentType="application/vnd.openxmlformats-officedocument.presentationml.slideLayout+xml"/>
  <Override PartName="/ppt/slideLayouts/slideLayout447.xml" ContentType="application/vnd.openxmlformats-officedocument.presentationml.slideLayout+xml"/>
  <Override PartName="/ppt/slideLayouts/slideLayout448.xml" ContentType="application/vnd.openxmlformats-officedocument.presentationml.slideLayout+xml"/>
  <Override PartName="/ppt/slideLayouts/slideLayout449.xml" ContentType="application/vnd.openxmlformats-officedocument.presentationml.slideLayout+xml"/>
  <Override PartName="/ppt/slideLayouts/slideLayout450.xml" ContentType="application/vnd.openxmlformats-officedocument.presentationml.slideLayout+xml"/>
  <Override PartName="/ppt/slideLayouts/slideLayout451.xml" ContentType="application/vnd.openxmlformats-officedocument.presentationml.slideLayout+xml"/>
  <Override PartName="/ppt/slideLayouts/slideLayout452.xml" ContentType="application/vnd.openxmlformats-officedocument.presentationml.slideLayout+xml"/>
  <Override PartName="/ppt/slideLayouts/slideLayout453.xml" ContentType="application/vnd.openxmlformats-officedocument.presentationml.slideLayout+xml"/>
  <Override PartName="/ppt/slideLayouts/slideLayout454.xml" ContentType="application/vnd.openxmlformats-officedocument.presentationml.slideLayout+xml"/>
  <Override PartName="/ppt/slideLayouts/slideLayout455.xml" ContentType="application/vnd.openxmlformats-officedocument.presentationml.slideLayout+xml"/>
  <Override PartName="/ppt/slideLayouts/slideLayout456.xml" ContentType="application/vnd.openxmlformats-officedocument.presentationml.slideLayout+xml"/>
  <Override PartName="/ppt/slideLayouts/slideLayout457.xml" ContentType="application/vnd.openxmlformats-officedocument.presentationml.slideLayout+xml"/>
  <Override PartName="/ppt/slideLayouts/slideLayout458.xml" ContentType="application/vnd.openxmlformats-officedocument.presentationml.slideLayout+xml"/>
  <Override PartName="/ppt/slideLayouts/slideLayout459.xml" ContentType="application/vnd.openxmlformats-officedocument.presentationml.slideLayout+xml"/>
  <Override PartName="/ppt/slideLayouts/slideLayout460.xml" ContentType="application/vnd.openxmlformats-officedocument.presentationml.slideLayout+xml"/>
  <Override PartName="/ppt/slideLayouts/slideLayout461.xml" ContentType="application/vnd.openxmlformats-officedocument.presentationml.slideLayout+xml"/>
  <Override PartName="/ppt/slideLayouts/slideLayout462.xml" ContentType="application/vnd.openxmlformats-officedocument.presentationml.slideLayout+xml"/>
  <Override PartName="/ppt/slideLayouts/slideLayout463.xml" ContentType="application/vnd.openxmlformats-officedocument.presentationml.slideLayout+xml"/>
  <Override PartName="/ppt/slideLayouts/slideLayout464.xml" ContentType="application/vnd.openxmlformats-officedocument.presentationml.slideLayout+xml"/>
  <Override PartName="/ppt/slideLayouts/slideLayout465.xml" ContentType="application/vnd.openxmlformats-officedocument.presentationml.slideLayout+xml"/>
  <Override PartName="/ppt/slideLayouts/slideLayout466.xml" ContentType="application/vnd.openxmlformats-officedocument.presentationml.slideLayout+xml"/>
  <Override PartName="/ppt/slideLayouts/slideLayout467.xml" ContentType="application/vnd.openxmlformats-officedocument.presentationml.slideLayout+xml"/>
  <Override PartName="/ppt/slideLayouts/slideLayout468.xml" ContentType="application/vnd.openxmlformats-officedocument.presentationml.slideLayout+xml"/>
  <Override PartName="/ppt/slideLayouts/slideLayout469.xml" ContentType="application/vnd.openxmlformats-officedocument.presentationml.slideLayout+xml"/>
  <Override PartName="/ppt/slideLayouts/slideLayout470.xml" ContentType="application/vnd.openxmlformats-officedocument.presentationml.slideLayout+xml"/>
  <Override PartName="/ppt/slideLayouts/slideLayout471.xml" ContentType="application/vnd.openxmlformats-officedocument.presentationml.slideLayout+xml"/>
  <Override PartName="/ppt/theme/theme18.xml" ContentType="application/vnd.openxmlformats-officedocument.theme+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slideLayouts/slideLayout472.xml" ContentType="application/vnd.openxmlformats-officedocument.presentationml.slideLayout+xml"/>
  <Override PartName="/ppt/slideLayouts/slideLayout473.xml" ContentType="application/vnd.openxmlformats-officedocument.presentationml.slideLayout+xml"/>
  <Override PartName="/ppt/slideLayouts/slideLayout474.xml" ContentType="application/vnd.openxmlformats-officedocument.presentationml.slideLayout+xml"/>
  <Override PartName="/ppt/slideLayouts/slideLayout475.xml" ContentType="application/vnd.openxmlformats-officedocument.presentationml.slideLayout+xml"/>
  <Override PartName="/ppt/slideLayouts/slideLayout476.xml" ContentType="application/vnd.openxmlformats-officedocument.presentationml.slideLayout+xml"/>
  <Override PartName="/ppt/slideLayouts/slideLayout477.xml" ContentType="application/vnd.openxmlformats-officedocument.presentationml.slideLayout+xml"/>
  <Override PartName="/ppt/slideLayouts/slideLayout478.xml" ContentType="application/vnd.openxmlformats-officedocument.presentationml.slideLayout+xml"/>
  <Override PartName="/ppt/slideLayouts/slideLayout479.xml" ContentType="application/vnd.openxmlformats-officedocument.presentationml.slideLayout+xml"/>
  <Override PartName="/ppt/slideLayouts/slideLayout480.xml" ContentType="application/vnd.openxmlformats-officedocument.presentationml.slideLayout+xml"/>
  <Override PartName="/ppt/slideLayouts/slideLayout481.xml" ContentType="application/vnd.openxmlformats-officedocument.presentationml.slideLayout+xml"/>
  <Override PartName="/ppt/slideLayouts/slideLayout482.xml" ContentType="application/vnd.openxmlformats-officedocument.presentationml.slideLayout+xml"/>
  <Override PartName="/ppt/slideLayouts/slideLayout483.xml" ContentType="application/vnd.openxmlformats-officedocument.presentationml.slideLayout+xml"/>
  <Override PartName="/ppt/slideLayouts/slideLayout484.xml" ContentType="application/vnd.openxmlformats-officedocument.presentationml.slideLayout+xml"/>
  <Override PartName="/ppt/slideLayouts/slideLayout485.xml" ContentType="application/vnd.openxmlformats-officedocument.presentationml.slideLayout+xml"/>
  <Override PartName="/ppt/slideLayouts/slideLayout486.xml" ContentType="application/vnd.openxmlformats-officedocument.presentationml.slideLayout+xml"/>
  <Override PartName="/ppt/slideLayouts/slideLayout487.xml" ContentType="application/vnd.openxmlformats-officedocument.presentationml.slideLayout+xml"/>
  <Override PartName="/ppt/slideLayouts/slideLayout488.xml" ContentType="application/vnd.openxmlformats-officedocument.presentationml.slideLayout+xml"/>
  <Override PartName="/ppt/slideLayouts/slideLayout489.xml" ContentType="application/vnd.openxmlformats-officedocument.presentationml.slideLayout+xml"/>
  <Override PartName="/ppt/slideLayouts/slideLayout490.xml" ContentType="application/vnd.openxmlformats-officedocument.presentationml.slideLayout+xml"/>
  <Override PartName="/ppt/slideLayouts/slideLayout491.xml" ContentType="application/vnd.openxmlformats-officedocument.presentationml.slideLayout+xml"/>
  <Override PartName="/ppt/slideLayouts/slideLayout492.xml" ContentType="application/vnd.openxmlformats-officedocument.presentationml.slideLayout+xml"/>
  <Override PartName="/ppt/slideLayouts/slideLayout493.xml" ContentType="application/vnd.openxmlformats-officedocument.presentationml.slideLayout+xml"/>
  <Override PartName="/ppt/slideLayouts/slideLayout494.xml" ContentType="application/vnd.openxmlformats-officedocument.presentationml.slideLayout+xml"/>
  <Override PartName="/ppt/slideLayouts/slideLayout495.xml" ContentType="application/vnd.openxmlformats-officedocument.presentationml.slideLayout+xml"/>
  <Override PartName="/ppt/slideLayouts/slideLayout496.xml" ContentType="application/vnd.openxmlformats-officedocument.presentationml.slideLayout+xml"/>
  <Override PartName="/ppt/slideLayouts/slideLayout497.xml" ContentType="application/vnd.openxmlformats-officedocument.presentationml.slideLayout+xml"/>
  <Override PartName="/ppt/slideLayouts/slideLayout498.xml" ContentType="application/vnd.openxmlformats-officedocument.presentationml.slideLayout+xml"/>
  <Override PartName="/ppt/slideLayouts/slideLayout499.xml" ContentType="application/vnd.openxmlformats-officedocument.presentationml.slideLayout+xml"/>
  <Override PartName="/ppt/slideLayouts/slideLayout500.xml" ContentType="application/vnd.openxmlformats-officedocument.presentationml.slideLayout+xml"/>
  <Override PartName="/ppt/slideLayouts/slideLayout501.xml" ContentType="application/vnd.openxmlformats-officedocument.presentationml.slideLayout+xml"/>
  <Override PartName="/ppt/slideLayouts/slideLayout502.xml" ContentType="application/vnd.openxmlformats-officedocument.presentationml.slideLayout+xml"/>
  <Override PartName="/ppt/slideLayouts/slideLayout503.xml" ContentType="application/vnd.openxmlformats-officedocument.presentationml.slideLayout+xml"/>
  <Override PartName="/ppt/slideLayouts/slideLayout504.xml" ContentType="application/vnd.openxmlformats-officedocument.presentationml.slideLayout+xml"/>
  <Override PartName="/ppt/slideLayouts/slideLayout505.xml" ContentType="application/vnd.openxmlformats-officedocument.presentationml.slideLayout+xml"/>
  <Override PartName="/ppt/slideLayouts/slideLayout506.xml" ContentType="application/vnd.openxmlformats-officedocument.presentationml.slideLayout+xml"/>
  <Override PartName="/ppt/theme/theme19.xml" ContentType="application/vnd.openxmlformats-officedocument.theme+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slideLayouts/slideLayout507.xml" ContentType="application/vnd.openxmlformats-officedocument.presentationml.slideLayout+xml"/>
  <Override PartName="/ppt/slideLayouts/slideLayout508.xml" ContentType="application/vnd.openxmlformats-officedocument.presentationml.slideLayout+xml"/>
  <Override PartName="/ppt/slideLayouts/slideLayout509.xml" ContentType="application/vnd.openxmlformats-officedocument.presentationml.slideLayout+xml"/>
  <Override PartName="/ppt/slideLayouts/slideLayout510.xml" ContentType="application/vnd.openxmlformats-officedocument.presentationml.slideLayout+xml"/>
  <Override PartName="/ppt/slideLayouts/slideLayout511.xml" ContentType="application/vnd.openxmlformats-officedocument.presentationml.slideLayout+xml"/>
  <Override PartName="/ppt/slideLayouts/slideLayout512.xml" ContentType="application/vnd.openxmlformats-officedocument.presentationml.slideLayout+xml"/>
  <Override PartName="/ppt/slideLayouts/slideLayout513.xml" ContentType="application/vnd.openxmlformats-officedocument.presentationml.slideLayout+xml"/>
  <Override PartName="/ppt/slideLayouts/slideLayout514.xml" ContentType="application/vnd.openxmlformats-officedocument.presentationml.slideLayout+xml"/>
  <Override PartName="/ppt/slideLayouts/slideLayout515.xml" ContentType="application/vnd.openxmlformats-officedocument.presentationml.slideLayout+xml"/>
  <Override PartName="/ppt/slideLayouts/slideLayout516.xml" ContentType="application/vnd.openxmlformats-officedocument.presentationml.slideLayout+xml"/>
  <Override PartName="/ppt/slideLayouts/slideLayout517.xml" ContentType="application/vnd.openxmlformats-officedocument.presentationml.slideLayout+xml"/>
  <Override PartName="/ppt/slideLayouts/slideLayout518.xml" ContentType="application/vnd.openxmlformats-officedocument.presentationml.slideLayout+xml"/>
  <Override PartName="/ppt/slideLayouts/slideLayout519.xml" ContentType="application/vnd.openxmlformats-officedocument.presentationml.slideLayout+xml"/>
  <Override PartName="/ppt/slideLayouts/slideLayout520.xml" ContentType="application/vnd.openxmlformats-officedocument.presentationml.slideLayout+xml"/>
  <Override PartName="/ppt/slideLayouts/slideLayout521.xml" ContentType="application/vnd.openxmlformats-officedocument.presentationml.slideLayout+xml"/>
  <Override PartName="/ppt/slideLayouts/slideLayout522.xml" ContentType="application/vnd.openxmlformats-officedocument.presentationml.slideLayout+xml"/>
  <Override PartName="/ppt/slideLayouts/slideLayout523.xml" ContentType="application/vnd.openxmlformats-officedocument.presentationml.slideLayout+xml"/>
  <Override PartName="/ppt/slideLayouts/slideLayout524.xml" ContentType="application/vnd.openxmlformats-officedocument.presentationml.slideLayout+xml"/>
  <Override PartName="/ppt/slideLayouts/slideLayout525.xml" ContentType="application/vnd.openxmlformats-officedocument.presentationml.slideLayout+xml"/>
  <Override PartName="/ppt/slideLayouts/slideLayout526.xml" ContentType="application/vnd.openxmlformats-officedocument.presentationml.slideLayout+xml"/>
  <Override PartName="/ppt/slideLayouts/slideLayout527.xml" ContentType="application/vnd.openxmlformats-officedocument.presentationml.slideLayout+xml"/>
  <Override PartName="/ppt/slideLayouts/slideLayout528.xml" ContentType="application/vnd.openxmlformats-officedocument.presentationml.slideLayout+xml"/>
  <Override PartName="/ppt/slideLayouts/slideLayout529.xml" ContentType="application/vnd.openxmlformats-officedocument.presentationml.slideLayout+xml"/>
  <Override PartName="/ppt/slideLayouts/slideLayout530.xml" ContentType="application/vnd.openxmlformats-officedocument.presentationml.slideLayout+xml"/>
  <Override PartName="/ppt/slideLayouts/slideLayout531.xml" ContentType="application/vnd.openxmlformats-officedocument.presentationml.slideLayout+xml"/>
  <Override PartName="/ppt/slideLayouts/slideLayout532.xml" ContentType="application/vnd.openxmlformats-officedocument.presentationml.slideLayout+xml"/>
  <Override PartName="/ppt/slideLayouts/slideLayout533.xml" ContentType="application/vnd.openxmlformats-officedocument.presentationml.slideLayout+xml"/>
  <Override PartName="/ppt/theme/theme20.xml" ContentType="application/vnd.openxmlformats-officedocument.theme+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slideLayouts/slideLayout534.xml" ContentType="application/vnd.openxmlformats-officedocument.presentationml.slideLayout+xml"/>
  <Override PartName="/ppt/slideLayouts/slideLayout535.xml" ContentType="application/vnd.openxmlformats-officedocument.presentationml.slideLayout+xml"/>
  <Override PartName="/ppt/slideLayouts/slideLayout536.xml" ContentType="application/vnd.openxmlformats-officedocument.presentationml.slideLayout+xml"/>
  <Override PartName="/ppt/theme/theme21.xml" ContentType="application/vnd.openxmlformats-officedocument.theme+xml"/>
  <Override PartName="/ppt/tags/tag203.xml" ContentType="application/vnd.openxmlformats-officedocument.presentationml.tags+xml"/>
  <Override PartName="/ppt/tags/tag204.xml" ContentType="application/vnd.openxmlformats-officedocument.presentationml.tags+xml"/>
  <Override PartName="/ppt/slideLayouts/slideLayout537.xml" ContentType="application/vnd.openxmlformats-officedocument.presentationml.slideLayout+xml"/>
  <Override PartName="/ppt/slideLayouts/slideLayout538.xml" ContentType="application/vnd.openxmlformats-officedocument.presentationml.slideLayout+xml"/>
  <Override PartName="/ppt/slideLayouts/slideLayout539.xml" ContentType="application/vnd.openxmlformats-officedocument.presentationml.slideLayout+xml"/>
  <Override PartName="/ppt/slideLayouts/slideLayout540.xml" ContentType="application/vnd.openxmlformats-officedocument.presentationml.slideLayout+xml"/>
  <Override PartName="/ppt/slideLayouts/slideLayout541.xml" ContentType="application/vnd.openxmlformats-officedocument.presentationml.slideLayout+xml"/>
  <Override PartName="/ppt/slideLayouts/slideLayout542.xml" ContentType="application/vnd.openxmlformats-officedocument.presentationml.slideLayout+xml"/>
  <Override PartName="/ppt/slideLayouts/slideLayout543.xml" ContentType="application/vnd.openxmlformats-officedocument.presentationml.slideLayout+xml"/>
  <Override PartName="/ppt/slideLayouts/slideLayout544.xml" ContentType="application/vnd.openxmlformats-officedocument.presentationml.slideLayout+xml"/>
  <Override PartName="/ppt/slideLayouts/slideLayout545.xml" ContentType="application/vnd.openxmlformats-officedocument.presentationml.slideLayout+xml"/>
  <Override PartName="/ppt/slideLayouts/slideLayout546.xml" ContentType="application/vnd.openxmlformats-officedocument.presentationml.slideLayout+xml"/>
  <Override PartName="/ppt/slideLayouts/slideLayout547.xml" ContentType="application/vnd.openxmlformats-officedocument.presentationml.slideLayout+xml"/>
  <Override PartName="/ppt/slideLayouts/slideLayout548.xml" ContentType="application/vnd.openxmlformats-officedocument.presentationml.slideLayout+xml"/>
  <Override PartName="/ppt/slideLayouts/slideLayout549.xml" ContentType="application/vnd.openxmlformats-officedocument.presentationml.slideLayout+xml"/>
  <Override PartName="/ppt/slideLayouts/slideLayout550.xml" ContentType="application/vnd.openxmlformats-officedocument.presentationml.slideLayout+xml"/>
  <Override PartName="/ppt/slideLayouts/slideLayout551.xml" ContentType="application/vnd.openxmlformats-officedocument.presentationml.slideLayout+xml"/>
  <Override PartName="/ppt/slideLayouts/slideLayout552.xml" ContentType="application/vnd.openxmlformats-officedocument.presentationml.slideLayout+xml"/>
  <Override PartName="/ppt/slideLayouts/slideLayout553.xml" ContentType="application/vnd.openxmlformats-officedocument.presentationml.slideLayout+xml"/>
  <Override PartName="/ppt/slideLayouts/slideLayout554.xml" ContentType="application/vnd.openxmlformats-officedocument.presentationml.slideLayout+xml"/>
  <Override PartName="/ppt/slideLayouts/slideLayout555.xml" ContentType="application/vnd.openxmlformats-officedocument.presentationml.slideLayout+xml"/>
  <Override PartName="/ppt/slideLayouts/slideLayout556.xml" ContentType="application/vnd.openxmlformats-officedocument.presentationml.slideLayout+xml"/>
  <Override PartName="/ppt/slideLayouts/slideLayout557.xml" ContentType="application/vnd.openxmlformats-officedocument.presentationml.slideLayout+xml"/>
  <Override PartName="/ppt/slideLayouts/slideLayout558.xml" ContentType="application/vnd.openxmlformats-officedocument.presentationml.slideLayout+xml"/>
  <Override PartName="/ppt/slideLayouts/slideLayout559.xml" ContentType="application/vnd.openxmlformats-officedocument.presentationml.slideLayout+xml"/>
  <Override PartName="/ppt/slideLayouts/slideLayout560.xml" ContentType="application/vnd.openxmlformats-officedocument.presentationml.slideLayout+xml"/>
  <Override PartName="/ppt/slideLayouts/slideLayout561.xml" ContentType="application/vnd.openxmlformats-officedocument.presentationml.slideLayout+xml"/>
  <Override PartName="/ppt/slideLayouts/slideLayout562.xml" ContentType="application/vnd.openxmlformats-officedocument.presentationml.slideLayout+xml"/>
  <Override PartName="/ppt/slideLayouts/slideLayout563.xml" ContentType="application/vnd.openxmlformats-officedocument.presentationml.slideLayout+xml"/>
  <Override PartName="/ppt/slideLayouts/slideLayout564.xml" ContentType="application/vnd.openxmlformats-officedocument.presentationml.slideLayout+xml"/>
  <Override PartName="/ppt/theme/theme22.xml" ContentType="application/vnd.openxmlformats-officedocument.theme+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heme/theme23.xml" ContentType="application/vnd.openxmlformats-officedocument.theme+xml"/>
  <Override PartName="/ppt/theme/theme2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notesSlides/notesSlide3.xml" ContentType="application/vnd.openxmlformats-officedocument.presentationml.notesSlide+xml"/>
  <Override PartName="/ppt/tags/tag237.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238.xml" ContentType="application/vnd.openxmlformats-officedocument.presentationml.tags+xml"/>
  <Override PartName="/ppt/tags/tag239.xml" ContentType="application/vnd.openxmlformats-officedocument.presentationml.tags+xml"/>
  <Override PartName="/ppt/notesSlides/notesSlide6.xml" ContentType="application/vnd.openxmlformats-officedocument.presentationml.notesSlide+xml"/>
  <Override PartName="/ppt/tags/tag240.xml" ContentType="application/vnd.openxmlformats-officedocument.presentationml.tags+xml"/>
  <Override PartName="/ppt/notesSlides/notesSlide7.xml" ContentType="application/vnd.openxmlformats-officedocument.presentationml.notesSlide+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notesSlides/notesSlide8.xml" ContentType="application/vnd.openxmlformats-officedocument.presentationml.notesSlide+xml"/>
  <Override PartName="/ppt/charts/chart1.xml" ContentType="application/vnd.openxmlformats-officedocument.drawingml.chart+xml"/>
  <Override PartName="/ppt/theme/themeOverride1.xml" ContentType="application/vnd.openxmlformats-officedocument.themeOverride+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notesSlides/notesSlide9.xml" ContentType="application/vnd.openxmlformats-officedocument.presentationml.notesSlide+xml"/>
  <Override PartName="/ppt/charts/chart2.xml" ContentType="application/vnd.openxmlformats-officedocument.drawingml.chart+xml"/>
  <Override PartName="/ppt/theme/themeOverride2.xml" ContentType="application/vnd.openxmlformats-officedocument.themeOverride+xml"/>
  <Override PartName="/ppt/tags/tag247.xml" ContentType="application/vnd.openxmlformats-officedocument.presentationml.tags+xml"/>
  <Override PartName="/ppt/tags/tag248.xml" ContentType="application/vnd.openxmlformats-officedocument.presentationml.tags+xml"/>
  <Override PartName="/ppt/notesSlides/notesSlide10.xml" ContentType="application/vnd.openxmlformats-officedocument.presentationml.notesSlide+xml"/>
  <Override PartName="/ppt/charts/chart3.xml" ContentType="application/vnd.openxmlformats-officedocument.drawingml.chart+xml"/>
  <Override PartName="/ppt/charts/style1.xml" ContentType="application/vnd.ms-office.chartstyle+xml"/>
  <Override PartName="/ppt/charts/colors1.xml" ContentType="application/vnd.ms-office.chartcolorstyle+xml"/>
  <Override PartName="/ppt/charts/chart4.xml" ContentType="application/vnd.openxmlformats-officedocument.drawingml.chart+xml"/>
  <Override PartName="/ppt/charts/style2.xml" ContentType="application/vnd.ms-office.chartstyle+xml"/>
  <Override PartName="/ppt/charts/colors2.xml" ContentType="application/vnd.ms-office.chartcolorstyle+xml"/>
  <Override PartName="/ppt/charts/chart5.xml" ContentType="application/vnd.openxmlformats-officedocument.drawingml.chart+xml"/>
  <Override PartName="/ppt/charts/style3.xml" ContentType="application/vnd.ms-office.chartstyle+xml"/>
  <Override PartName="/ppt/charts/colors3.xml" ContentType="application/vnd.ms-office.chartcolorstyle+xml"/>
  <Override PartName="/ppt/charts/chart6.xml" ContentType="application/vnd.openxmlformats-officedocument.drawingml.chart+xml"/>
  <Override PartName="/ppt/charts/style4.xml" ContentType="application/vnd.ms-office.chartstyle+xml"/>
  <Override PartName="/ppt/charts/colors4.xml" ContentType="application/vnd.ms-office.chartcolorstyle+xml"/>
  <Override PartName="/ppt/charts/chart7.xml" ContentType="application/vnd.openxmlformats-officedocument.drawingml.chart+xml"/>
  <Override PartName="/ppt/charts/style5.xml" ContentType="application/vnd.ms-office.chartstyle+xml"/>
  <Override PartName="/ppt/charts/colors5.xml" ContentType="application/vnd.ms-office.chartcolorstyle+xml"/>
  <Override PartName="/ppt/charts/chart8.xml" ContentType="application/vnd.openxmlformats-officedocument.drawingml.chart+xml"/>
  <Override PartName="/ppt/charts/style6.xml" ContentType="application/vnd.ms-office.chartstyle+xml"/>
  <Override PartName="/ppt/charts/colors6.xml" ContentType="application/vnd.ms-office.chartcolorstyle+xml"/>
  <Override PartName="/ppt/charts/chart9.xml" ContentType="application/vnd.openxmlformats-officedocument.drawingml.chart+xml"/>
  <Override PartName="/ppt/charts/style7.xml" ContentType="application/vnd.ms-office.chartstyle+xml"/>
  <Override PartName="/ppt/charts/colors7.xml" ContentType="application/vnd.ms-office.chartcolorstyl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charts/chart10.xml" ContentType="application/vnd.openxmlformats-officedocument.drawingml.chart+xml"/>
  <Override PartName="/ppt/charts/style8.xml" ContentType="application/vnd.ms-office.chartstyle+xml"/>
  <Override PartName="/ppt/charts/colors8.xml" ContentType="application/vnd.ms-office.chartcolorstyle+xml"/>
  <Override PartName="/ppt/theme/themeOverride3.xml" ContentType="application/vnd.openxmlformats-officedocument.themeOverride+xml"/>
  <Override PartName="/ppt/charts/chart11.xml" ContentType="application/vnd.openxmlformats-officedocument.drawingml.chart+xml"/>
  <Override PartName="/ppt/charts/style9.xml" ContentType="application/vnd.ms-office.chartstyle+xml"/>
  <Override PartName="/ppt/charts/colors9.xml" ContentType="application/vnd.ms-office.chartcolorstyle+xml"/>
  <Override PartName="/ppt/theme/themeOverride4.xml" ContentType="application/vnd.openxmlformats-officedocument.themeOverride+xml"/>
  <Override PartName="/ppt/charts/chart12.xml" ContentType="application/vnd.openxmlformats-officedocument.drawingml.chart+xml"/>
  <Override PartName="/ppt/charts/style10.xml" ContentType="application/vnd.ms-office.chartstyle+xml"/>
  <Override PartName="/ppt/charts/colors10.xml" ContentType="application/vnd.ms-office.chartcolorstyle+xml"/>
  <Override PartName="/ppt/theme/themeOverride5.xml" ContentType="application/vnd.openxmlformats-officedocument.themeOverride+xml"/>
  <Override PartName="/ppt/charts/chart13.xml" ContentType="application/vnd.openxmlformats-officedocument.drawingml.chart+xml"/>
  <Override PartName="/ppt/charts/style11.xml" ContentType="application/vnd.ms-office.chartstyle+xml"/>
  <Override PartName="/ppt/charts/colors11.xml" ContentType="application/vnd.ms-office.chartcolorstyle+xml"/>
  <Override PartName="/ppt/theme/themeOverride6.xml" ContentType="application/vnd.openxmlformats-officedocument.themeOverride+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charts/chart14.xml" ContentType="application/vnd.openxmlformats-officedocument.drawingml.chart+xml"/>
  <Override PartName="/ppt/charts/style12.xml" ContentType="application/vnd.ms-office.chartstyle+xml"/>
  <Override PartName="/ppt/charts/colors12.xml" ContentType="application/vnd.ms-office.chartcolorstyle+xml"/>
  <Override PartName="/ppt/charts/chart15.xml" ContentType="application/vnd.openxmlformats-officedocument.drawingml.chart+xml"/>
  <Override PartName="/ppt/charts/style13.xml" ContentType="application/vnd.ms-office.chartstyle+xml"/>
  <Override PartName="/ppt/charts/colors13.xml" ContentType="application/vnd.ms-office.chartcolorstyle+xml"/>
  <Override PartName="/ppt/charts/chart16.xml" ContentType="application/vnd.openxmlformats-officedocument.drawingml.chart+xml"/>
  <Override PartName="/ppt/charts/style14.xml" ContentType="application/vnd.ms-office.chartstyle+xml"/>
  <Override PartName="/ppt/charts/colors14.xml" ContentType="application/vnd.ms-office.chartcolorstyle+xml"/>
  <Override PartName="/ppt/charts/chart17.xml" ContentType="application/vnd.openxmlformats-officedocument.drawingml.chart+xml"/>
  <Override PartName="/ppt/charts/style15.xml" ContentType="application/vnd.ms-office.chartstyle+xml"/>
  <Override PartName="/ppt/charts/colors15.xml" ContentType="application/vnd.ms-office.chartcolorstyle+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charts/chart18.xml" ContentType="application/vnd.openxmlformats-officedocument.drawingml.chart+xml"/>
  <Override PartName="/ppt/charts/style16.xml" ContentType="application/vnd.ms-office.chartstyle+xml"/>
  <Override PartName="/ppt/charts/colors16.xml" ContentType="application/vnd.ms-office.chartcolorstyle+xml"/>
  <Override PartName="/ppt/charts/chart19.xml" ContentType="application/vnd.openxmlformats-officedocument.drawingml.chart+xml"/>
  <Override PartName="/ppt/charts/style17.xml" ContentType="application/vnd.ms-office.chartstyle+xml"/>
  <Override PartName="/ppt/charts/colors17.xml" ContentType="application/vnd.ms-office.chartcolorstyle+xml"/>
  <Override PartName="/ppt/charts/chart20.xml" ContentType="application/vnd.openxmlformats-officedocument.drawingml.chart+xml"/>
  <Override PartName="/ppt/charts/style18.xml" ContentType="application/vnd.ms-office.chartstyle+xml"/>
  <Override PartName="/ppt/charts/colors18.xml" ContentType="application/vnd.ms-office.chartcolorstyle+xml"/>
  <Override PartName="/ppt/charts/chart21.xml" ContentType="application/vnd.openxmlformats-officedocument.drawingml.chart+xml"/>
  <Override PartName="/ppt/charts/style19.xml" ContentType="application/vnd.ms-office.chartstyle+xml"/>
  <Override PartName="/ppt/charts/colors19.xml" ContentType="application/vnd.ms-office.chartcolorstyle+xml"/>
  <Override PartName="/ppt/charts/chart22.xml" ContentType="application/vnd.openxmlformats-officedocument.drawingml.chart+xml"/>
  <Override PartName="/ppt/charts/style20.xml" ContentType="application/vnd.ms-office.chartstyle+xml"/>
  <Override PartName="/ppt/charts/colors20.xml" ContentType="application/vnd.ms-office.chartcolorstyle+xml"/>
  <Override PartName="/ppt/charts/chart23.xml" ContentType="application/vnd.openxmlformats-officedocument.drawingml.chart+xml"/>
  <Override PartName="/ppt/charts/style21.xml" ContentType="application/vnd.ms-office.chartstyle+xml"/>
  <Override PartName="/ppt/charts/colors21.xml" ContentType="application/vnd.ms-office.chartcolorstyle+xml"/>
  <Override PartName="/ppt/charts/chart24.xml" ContentType="application/vnd.openxmlformats-officedocument.drawingml.chart+xml"/>
  <Override PartName="/ppt/charts/style22.xml" ContentType="application/vnd.ms-office.chartstyle+xml"/>
  <Override PartName="/ppt/charts/colors22.xml" ContentType="application/vnd.ms-office.chartcolorstyle+xml"/>
  <Override PartName="/ppt/charts/chart25.xml" ContentType="application/vnd.openxmlformats-officedocument.drawingml.chart+xml"/>
  <Override PartName="/ppt/charts/style23.xml" ContentType="application/vnd.ms-office.chartstyle+xml"/>
  <Override PartName="/ppt/charts/colors23.xml" ContentType="application/vnd.ms-office.chartcolorstyle+xml"/>
  <Override PartName="/ppt/charts/chart26.xml" ContentType="application/vnd.openxmlformats-officedocument.drawingml.chart+xml"/>
  <Override PartName="/ppt/charts/style24.xml" ContentType="application/vnd.ms-office.chartstyle+xml"/>
  <Override PartName="/ppt/charts/colors24.xml" ContentType="application/vnd.ms-office.chartcolorstyle+xml"/>
  <Override PartName="/ppt/charts/chart27.xml" ContentType="application/vnd.openxmlformats-officedocument.drawingml.chart+xml"/>
  <Override PartName="/ppt/charts/style25.xml" ContentType="application/vnd.ms-office.chartstyle+xml"/>
  <Override PartName="/ppt/charts/colors25.xml" ContentType="application/vnd.ms-office.chartcolorstyle+xml"/>
  <Override PartName="/ppt/charts/chart28.xml" ContentType="application/vnd.openxmlformats-officedocument.drawingml.chart+xml"/>
  <Override PartName="/ppt/charts/style26.xml" ContentType="application/vnd.ms-office.chartstyle+xml"/>
  <Override PartName="/ppt/charts/colors26.xml" ContentType="application/vnd.ms-office.chartcolorstyle+xml"/>
  <Override PartName="/ppt/tags/tag262.xml" ContentType="application/vnd.openxmlformats-officedocument.presentationml.tags+xml"/>
  <Override PartName="/ppt/tags/tag263.xml" ContentType="application/vnd.openxmlformats-officedocument.presentationml.tags+xml"/>
  <Override PartName="/ppt/charts/chart29.xml" ContentType="application/vnd.openxmlformats-officedocument.drawingml.chart+xml"/>
  <Override PartName="/ppt/charts/style27.xml" ContentType="application/vnd.ms-office.chartstyle+xml"/>
  <Override PartName="/ppt/charts/colors27.xml" ContentType="application/vnd.ms-office.chartcolorstyle+xml"/>
  <Override PartName="/ppt/charts/chart30.xml" ContentType="application/vnd.openxmlformats-officedocument.drawingml.chart+xml"/>
  <Override PartName="/ppt/charts/style28.xml" ContentType="application/vnd.ms-office.chartstyle+xml"/>
  <Override PartName="/ppt/charts/colors28.xml" ContentType="application/vnd.ms-office.chartcolorstyle+xml"/>
  <Override PartName="/ppt/notesSlides/notesSlide13.xml" ContentType="application/vnd.openxmlformats-officedocument.presentationml.notesSlide+xml"/>
  <Override PartName="/ppt/tags/tag264.xml" ContentType="application/vnd.openxmlformats-officedocument.presentationml.tags+xml"/>
  <Override PartName="/ppt/charts/chart31.xml" ContentType="application/vnd.openxmlformats-officedocument.drawingml.chart+xml"/>
  <Override PartName="/ppt/charts/style29.xml" ContentType="application/vnd.ms-office.chartstyle+xml"/>
  <Override PartName="/ppt/charts/colors29.xml" ContentType="application/vnd.ms-office.chartcolorstyle+xml"/>
  <Override PartName="/ppt/charts/chart32.xml" ContentType="application/vnd.openxmlformats-officedocument.drawingml.chart+xml"/>
  <Override PartName="/ppt/charts/style30.xml" ContentType="application/vnd.ms-office.chartstyle+xml"/>
  <Override PartName="/ppt/charts/colors30.xml" ContentType="application/vnd.ms-office.chartcolorstyle+xml"/>
  <Override PartName="/ppt/charts/chart33.xml" ContentType="application/vnd.openxmlformats-officedocument.drawingml.chart+xml"/>
  <Override PartName="/ppt/charts/style31.xml" ContentType="application/vnd.ms-office.chartstyle+xml"/>
  <Override PartName="/ppt/charts/colors31.xml" ContentType="application/vnd.ms-office.chartcolorstyle+xml"/>
  <Override PartName="/ppt/charts/chart34.xml" ContentType="application/vnd.openxmlformats-officedocument.drawingml.chart+xml"/>
  <Override PartName="/ppt/charts/style32.xml" ContentType="application/vnd.ms-office.chartstyle+xml"/>
  <Override PartName="/ppt/charts/colors32.xml" ContentType="application/vnd.ms-office.chartcolorstyle+xml"/>
  <Override PartName="/ppt/charts/chart35.xml" ContentType="application/vnd.openxmlformats-officedocument.drawingml.chart+xml"/>
  <Override PartName="/ppt/charts/style33.xml" ContentType="application/vnd.ms-office.chartstyle+xml"/>
  <Override PartName="/ppt/charts/colors33.xml" ContentType="application/vnd.ms-office.chartcolorstyl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tags/tag265.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25" r:id="rId4"/>
    <p:sldMasterId id="2147483750" r:id="rId5"/>
    <p:sldMasterId id="2147483773" r:id="rId6"/>
    <p:sldMasterId id="2147483793" r:id="rId7"/>
    <p:sldMasterId id="2147484234" r:id="rId8"/>
    <p:sldMasterId id="2147484389" r:id="rId9"/>
    <p:sldMasterId id="2147484425" r:id="rId10"/>
    <p:sldMasterId id="2147484458" r:id="rId11"/>
    <p:sldMasterId id="2147484489" r:id="rId12"/>
    <p:sldMasterId id="2147484499" r:id="rId13"/>
    <p:sldMasterId id="2147484762" r:id="rId14"/>
    <p:sldMasterId id="2147484795" r:id="rId15"/>
    <p:sldMasterId id="2147484824" r:id="rId16"/>
    <p:sldMasterId id="2147484853" r:id="rId17"/>
    <p:sldMasterId id="2147484882" r:id="rId18"/>
    <p:sldMasterId id="2147484911" r:id="rId19"/>
    <p:sldMasterId id="2147484940" r:id="rId20"/>
    <p:sldMasterId id="2147484969" r:id="rId21"/>
    <p:sldMasterId id="2147484998" r:id="rId22"/>
    <p:sldMasterId id="2147485034" r:id="rId23"/>
    <p:sldMasterId id="2147485062" r:id="rId24"/>
    <p:sldMasterId id="2147485066" r:id="rId25"/>
  </p:sldMasterIdLst>
  <p:notesMasterIdLst>
    <p:notesMasterId r:id="rId60"/>
  </p:notesMasterIdLst>
  <p:handoutMasterIdLst>
    <p:handoutMasterId r:id="rId61"/>
  </p:handoutMasterIdLst>
  <p:sldIdLst>
    <p:sldId id="324" r:id="rId26"/>
    <p:sldId id="6310" r:id="rId27"/>
    <p:sldId id="8280" r:id="rId28"/>
    <p:sldId id="6319" r:id="rId29"/>
    <p:sldId id="8223" r:id="rId30"/>
    <p:sldId id="8274" r:id="rId31"/>
    <p:sldId id="372" r:id="rId32"/>
    <p:sldId id="8229" r:id="rId33"/>
    <p:sldId id="8230" r:id="rId34"/>
    <p:sldId id="8232" r:id="rId35"/>
    <p:sldId id="8283" r:id="rId36"/>
    <p:sldId id="8331" r:id="rId37"/>
    <p:sldId id="1337" r:id="rId38"/>
    <p:sldId id="2257" r:id="rId39"/>
    <p:sldId id="8330" r:id="rId40"/>
    <p:sldId id="775" r:id="rId41"/>
    <p:sldId id="320" r:id="rId42"/>
    <p:sldId id="381" r:id="rId43"/>
    <p:sldId id="8329" r:id="rId44"/>
    <p:sldId id="387" r:id="rId45"/>
    <p:sldId id="258" r:id="rId46"/>
    <p:sldId id="8336" r:id="rId47"/>
    <p:sldId id="8337" r:id="rId48"/>
    <p:sldId id="8335" r:id="rId49"/>
    <p:sldId id="256" r:id="rId50"/>
    <p:sldId id="8282" r:id="rId51"/>
    <p:sldId id="8332" r:id="rId52"/>
    <p:sldId id="8333" r:id="rId53"/>
    <p:sldId id="8334" r:id="rId54"/>
    <p:sldId id="8338" r:id="rId55"/>
    <p:sldId id="1348" r:id="rId56"/>
    <p:sldId id="1349" r:id="rId57"/>
    <p:sldId id="4250" r:id="rId58"/>
    <p:sldId id="814" r:id="rId59"/>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sw" initials="sw" lastIdx="4" clrIdx="0">
    <p:extLst>
      <p:ext uri="{19B8F6BF-5375-455C-9EA6-DF929625EA0E}">
        <p15:presenceInfo xmlns:p15="http://schemas.microsoft.com/office/powerpoint/2012/main" userId="sw" providerId="None"/>
      </p:ext>
    </p:extLst>
  </p:cmAuthor>
  <p:cmAuthor id="2" name="Frankcom, Richard (GfK)" initials="FR(" lastIdx="22" clrIdx="1">
    <p:extLst>
      <p:ext uri="{19B8F6BF-5375-455C-9EA6-DF929625EA0E}">
        <p15:presenceInfo xmlns:p15="http://schemas.microsoft.com/office/powerpoint/2012/main" userId="S::Richard.Frankcom@gfk.com::aaed0aa4-2326-454b-97d6-b3f97dae64d9" providerId="AD"/>
      </p:ext>
    </p:extLst>
  </p:cmAuthor>
  <p:cmAuthor id="3" name="Shebek, Anna (GfK)" initials="SA(" lastIdx="16" clrIdx="2">
    <p:extLst>
      <p:ext uri="{19B8F6BF-5375-455C-9EA6-DF929625EA0E}">
        <p15:presenceInfo xmlns:p15="http://schemas.microsoft.com/office/powerpoint/2012/main" userId="S::Anna.Shebek@gfk.com::da184ee6-bcad-45ae-9a82-3eb82d530261" providerId="AD"/>
      </p:ext>
    </p:extLst>
  </p:cmAuthor>
  <p:cmAuthor id="4" name="Raskolova, Anastasiya (GfK)" initials="R(" lastIdx="1" clrIdx="3">
    <p:extLst>
      <p:ext uri="{19B8F6BF-5375-455C-9EA6-DF929625EA0E}">
        <p15:presenceInfo xmlns:p15="http://schemas.microsoft.com/office/powerpoint/2012/main" userId="S::anastasiya.raskolova@gfk.com::25efa81c-19be-4129-a045-50c66154b7df"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C115FB49-3FBE-41CF-8DFC-A938FE5134F0}">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C115FB49-3FBE-41CF-8DFC-A938FE5134F0}" styleName="GfK">
    <a:wholeTbl>
      <a:tcTxStyle>
        <a:fontRef idx="minor">
          <a:scrgbClr r="0" g="0" b="0"/>
        </a:fontRef>
        <a:schemeClr val="tx1"/>
      </a:tcTxStyle>
      <a:tcStyle>
        <a:tcBdr>
          <a:left>
            <a:ln>
              <a:noFill/>
            </a:ln>
          </a:left>
          <a:right>
            <a:ln>
              <a:noFill/>
            </a:ln>
          </a:right>
          <a:top>
            <a:ln>
              <a:noFill/>
            </a:ln>
          </a:top>
          <a:bottom>
            <a:ln>
              <a:noFill/>
            </a:ln>
          </a:bottom>
          <a:insideH>
            <a:ln w="6350" cmpd="sng">
              <a:solidFill>
                <a:schemeClr val="tx1"/>
              </a:solidFill>
            </a:ln>
          </a:insideH>
          <a:insideV>
            <a:ln>
              <a:noFill/>
            </a:ln>
          </a:insideV>
        </a:tcBdr>
        <a:fill>
          <a:noFill/>
        </a:fill>
      </a:tcStyle>
    </a:wholeTbl>
  </a:tblStyle>
  <a:tblStyle styleId="{616DA210-FB5B-4158-B5E0-FEB733F419BA}" styleName="Светлый стиль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 styleId="{16D9F66E-5EB9-4882-86FB-DCBF35E3C3E4}" styleName="Средний стиль 4 — акцент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solidFill>
            <a:schemeClr val="accent6">
              <a:tint val="20000"/>
            </a:schemeClr>
          </a:solidFill>
        </a:fill>
      </a:tcStyle>
    </a:wholeTbl>
    <a:band1H>
      <a:tcStyle>
        <a:tcBdr/>
        <a:fill>
          <a:solidFill>
            <a:schemeClr val="accent6">
              <a:tint val="40000"/>
            </a:schemeClr>
          </a:solidFill>
        </a:fill>
      </a:tcStyle>
    </a:band1H>
    <a:band1V>
      <a:tcStyle>
        <a:tcBdr/>
        <a:fill>
          <a:solidFill>
            <a:schemeClr val="accent6">
              <a:tint val="40000"/>
            </a:schemeClr>
          </a:solidFill>
        </a:fill>
      </a:tcStyle>
    </a:band1V>
    <a:lastCol>
      <a:tcTxStyle b="on"/>
      <a:tcStyle>
        <a:tcBdr/>
      </a:tcStyle>
    </a:lastCol>
    <a:firstCol>
      <a:tcTxStyle b="on"/>
      <a:tcStyle>
        <a:tcBdr/>
      </a:tcStyle>
    </a:firstCol>
    <a:lastRow>
      <a:tcTxStyle b="on"/>
      <a:tcStyle>
        <a:tcBdr>
          <a:top>
            <a:ln w="25400" cmpd="sng">
              <a:solidFill>
                <a:schemeClr val="accent6"/>
              </a:solidFill>
            </a:ln>
          </a:top>
        </a:tcBdr>
        <a:fill>
          <a:solidFill>
            <a:schemeClr val="accent6">
              <a:tint val="20000"/>
            </a:schemeClr>
          </a:solidFill>
        </a:fill>
      </a:tcStyle>
    </a:lastRow>
    <a:firstRow>
      <a:tcTxStyle b="on"/>
      <a:tcStyle>
        <a:tcBdr/>
        <a:fill>
          <a:solidFill>
            <a:schemeClr val="accent6">
              <a:tint val="20000"/>
            </a:schemeClr>
          </a:solidFill>
        </a:fill>
      </a:tcStyle>
    </a:firstRow>
  </a:tblStyle>
  <a:tblStyle styleId="{74C1A8A3-306A-4EB7-A6B1-4F7E0EB9C5D6}" styleName="Средний стиль 3 — акцент 5">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5"/>
          </a:solidFill>
        </a:fill>
      </a:tcStyle>
    </a:lastCol>
    <a:firstCol>
      <a:tcTxStyle b="on">
        <a:fontRef idx="minor">
          <a:scrgbClr r="0" g="0" b="0"/>
        </a:fontRef>
        <a:schemeClr val="lt1"/>
      </a:tcTxStyle>
      <a:tcStyle>
        <a:tcBdr/>
        <a:fill>
          <a:solidFill>
            <a:schemeClr val="accent5"/>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5"/>
          </a:solidFill>
        </a:fill>
      </a:tcStyle>
    </a:firstRow>
  </a:tblStyle>
  <a:tblStyle styleId="{10A1B5D5-9B99-4C35-A422-299274C87663}" styleName="Средний стиль 1 — акцент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 styleId="{5940675A-B579-460E-94D1-54222C63F5DA}" styleName="Нет стиля, сетка таблицы">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104" d="100"/>
          <a:sy n="104" d="100"/>
        </p:scale>
        <p:origin x="756" y="108"/>
      </p:cViewPr>
      <p:guideLst/>
    </p:cSldViewPr>
  </p:slideViewPr>
  <p:notesTextViewPr>
    <p:cViewPr>
      <p:scale>
        <a:sx n="1" d="1"/>
        <a:sy n="1" d="1"/>
      </p:scale>
      <p:origin x="0" y="0"/>
    </p:cViewPr>
  </p:notesTextViewPr>
  <p:sorterViewPr>
    <p:cViewPr>
      <p:scale>
        <a:sx n="100" d="100"/>
        <a:sy n="100" d="100"/>
      </p:scale>
      <p:origin x="0" y="-15882"/>
    </p:cViewPr>
  </p:sorter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0.xml"/><Relationship Id="rId18" Type="http://schemas.openxmlformats.org/officeDocument/2006/relationships/slideMaster" Target="slideMasters/slideMaster15.xml"/><Relationship Id="rId26" Type="http://schemas.openxmlformats.org/officeDocument/2006/relationships/slide" Target="slides/slide1.xml"/><Relationship Id="rId39" Type="http://schemas.openxmlformats.org/officeDocument/2006/relationships/slide" Target="slides/slide14.xml"/><Relationship Id="rId21" Type="http://schemas.openxmlformats.org/officeDocument/2006/relationships/slideMaster" Target="slideMasters/slideMaster18.xml"/><Relationship Id="rId34" Type="http://schemas.openxmlformats.org/officeDocument/2006/relationships/slide" Target="slides/slide9.xml"/><Relationship Id="rId42" Type="http://schemas.openxmlformats.org/officeDocument/2006/relationships/slide" Target="slides/slide17.xml"/><Relationship Id="rId47" Type="http://schemas.openxmlformats.org/officeDocument/2006/relationships/slide" Target="slides/slide22.xml"/><Relationship Id="rId50" Type="http://schemas.openxmlformats.org/officeDocument/2006/relationships/slide" Target="slides/slide25.xml"/><Relationship Id="rId55" Type="http://schemas.openxmlformats.org/officeDocument/2006/relationships/slide" Target="slides/slide30.xml"/><Relationship Id="rId63" Type="http://schemas.openxmlformats.org/officeDocument/2006/relationships/presProps" Target="presProps.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Master" Target="slideMasters/slideMaster13.xml"/><Relationship Id="rId20" Type="http://schemas.openxmlformats.org/officeDocument/2006/relationships/slideMaster" Target="slideMasters/slideMaster17.xml"/><Relationship Id="rId29" Type="http://schemas.openxmlformats.org/officeDocument/2006/relationships/slide" Target="slides/slide4.xml"/><Relationship Id="rId41" Type="http://schemas.openxmlformats.org/officeDocument/2006/relationships/slide" Target="slides/slide16.xml"/><Relationship Id="rId54" Type="http://schemas.openxmlformats.org/officeDocument/2006/relationships/slide" Target="slides/slide29.xml"/><Relationship Id="rId62" Type="http://schemas.openxmlformats.org/officeDocument/2006/relationships/commentAuthors" Target="commentAuthor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Master" Target="slideMasters/slideMaster21.xml"/><Relationship Id="rId32" Type="http://schemas.openxmlformats.org/officeDocument/2006/relationships/slide" Target="slides/slide7.xml"/><Relationship Id="rId37" Type="http://schemas.openxmlformats.org/officeDocument/2006/relationships/slide" Target="slides/slide12.xml"/><Relationship Id="rId40" Type="http://schemas.openxmlformats.org/officeDocument/2006/relationships/slide" Target="slides/slide15.xml"/><Relationship Id="rId45" Type="http://schemas.openxmlformats.org/officeDocument/2006/relationships/slide" Target="slides/slide20.xml"/><Relationship Id="rId53" Type="http://schemas.openxmlformats.org/officeDocument/2006/relationships/slide" Target="slides/slide28.xml"/><Relationship Id="rId58" Type="http://schemas.openxmlformats.org/officeDocument/2006/relationships/slide" Target="slides/slide33.xml"/><Relationship Id="rId66"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Master" Target="slideMasters/slideMaster12.xml"/><Relationship Id="rId23" Type="http://schemas.openxmlformats.org/officeDocument/2006/relationships/slideMaster" Target="slideMasters/slideMaster20.xml"/><Relationship Id="rId28" Type="http://schemas.openxmlformats.org/officeDocument/2006/relationships/slide" Target="slides/slide3.xml"/><Relationship Id="rId36" Type="http://schemas.openxmlformats.org/officeDocument/2006/relationships/slide" Target="slides/slide11.xml"/><Relationship Id="rId49" Type="http://schemas.openxmlformats.org/officeDocument/2006/relationships/slide" Target="slides/slide24.xml"/><Relationship Id="rId57" Type="http://schemas.openxmlformats.org/officeDocument/2006/relationships/slide" Target="slides/slide32.xml"/><Relationship Id="rId61" Type="http://schemas.openxmlformats.org/officeDocument/2006/relationships/handoutMaster" Target="handoutMasters/handoutMaster1.xml"/><Relationship Id="rId10" Type="http://schemas.openxmlformats.org/officeDocument/2006/relationships/slideMaster" Target="slideMasters/slideMaster7.xml"/><Relationship Id="rId19" Type="http://schemas.openxmlformats.org/officeDocument/2006/relationships/slideMaster" Target="slideMasters/slideMaster16.xml"/><Relationship Id="rId31" Type="http://schemas.openxmlformats.org/officeDocument/2006/relationships/slide" Target="slides/slide6.xml"/><Relationship Id="rId44" Type="http://schemas.openxmlformats.org/officeDocument/2006/relationships/slide" Target="slides/slide19.xml"/><Relationship Id="rId52" Type="http://schemas.openxmlformats.org/officeDocument/2006/relationships/slide" Target="slides/slide27.xml"/><Relationship Id="rId60" Type="http://schemas.openxmlformats.org/officeDocument/2006/relationships/notesMaster" Target="notesMasters/notesMaster1.xml"/><Relationship Id="rId65"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Master" Target="slideMasters/slideMaster11.xml"/><Relationship Id="rId22" Type="http://schemas.openxmlformats.org/officeDocument/2006/relationships/slideMaster" Target="slideMasters/slideMaster19.xml"/><Relationship Id="rId27" Type="http://schemas.openxmlformats.org/officeDocument/2006/relationships/slide" Target="slides/slide2.xml"/><Relationship Id="rId30" Type="http://schemas.openxmlformats.org/officeDocument/2006/relationships/slide" Target="slides/slide5.xml"/><Relationship Id="rId35" Type="http://schemas.openxmlformats.org/officeDocument/2006/relationships/slide" Target="slides/slide10.xml"/><Relationship Id="rId43" Type="http://schemas.openxmlformats.org/officeDocument/2006/relationships/slide" Target="slides/slide18.xml"/><Relationship Id="rId48" Type="http://schemas.openxmlformats.org/officeDocument/2006/relationships/slide" Target="slides/slide23.xml"/><Relationship Id="rId56" Type="http://schemas.openxmlformats.org/officeDocument/2006/relationships/slide" Target="slides/slide31.xml"/><Relationship Id="rId64" Type="http://schemas.openxmlformats.org/officeDocument/2006/relationships/viewProps" Target="viewProps.xml"/><Relationship Id="rId8" Type="http://schemas.openxmlformats.org/officeDocument/2006/relationships/slideMaster" Target="slideMasters/slideMaster5.xml"/><Relationship Id="rId51" Type="http://schemas.openxmlformats.org/officeDocument/2006/relationships/slide" Target="slides/slide26.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Master" Target="slideMasters/slideMaster14.xml"/><Relationship Id="rId25" Type="http://schemas.openxmlformats.org/officeDocument/2006/relationships/slideMaster" Target="slideMasters/slideMaster22.xml"/><Relationship Id="rId33" Type="http://schemas.openxmlformats.org/officeDocument/2006/relationships/slide" Target="slides/slide8.xml"/><Relationship Id="rId38" Type="http://schemas.openxmlformats.org/officeDocument/2006/relationships/slide" Target="slides/slide13.xml"/><Relationship Id="rId46" Type="http://schemas.openxmlformats.org/officeDocument/2006/relationships/slide" Target="slides/slide21.xml"/><Relationship Id="rId59" Type="http://schemas.openxmlformats.org/officeDocument/2006/relationships/slide" Target="slides/slide34.xml"/></Relationships>
</file>

<file path=ppt/charts/_rels/chart1.xml.rels><?xml version="1.0" encoding="UTF-8" standalone="yes"?>
<Relationships xmlns="http://schemas.openxmlformats.org/package/2006/relationships"><Relationship Id="rId2" Type="http://schemas.openxmlformats.org/officeDocument/2006/relationships/package" Target="../embeddings/Microsoft_Excel_Worksheet.xlsx"/><Relationship Id="rId1" Type="http://schemas.openxmlformats.org/officeDocument/2006/relationships/themeOverride" Target="../theme/themeOverride1.xml"/></Relationships>
</file>

<file path=ppt/charts/_rels/chart10.xml.rels><?xml version="1.0" encoding="UTF-8" standalone="yes"?>
<Relationships xmlns="http://schemas.openxmlformats.org/package/2006/relationships"><Relationship Id="rId3" Type="http://schemas.openxmlformats.org/officeDocument/2006/relationships/themeOverride" Target="../theme/themeOverride3.xml"/><Relationship Id="rId2" Type="http://schemas.microsoft.com/office/2011/relationships/chartColorStyle" Target="colors8.xml"/><Relationship Id="rId1" Type="http://schemas.microsoft.com/office/2011/relationships/chartStyle" Target="style8.xml"/><Relationship Id="rId4" Type="http://schemas.openxmlformats.org/officeDocument/2006/relationships/package" Target="../embeddings/Microsoft_Excel_Worksheet9.xlsx"/></Relationships>
</file>

<file path=ppt/charts/_rels/chart11.xml.rels><?xml version="1.0" encoding="UTF-8" standalone="yes"?>
<Relationships xmlns="http://schemas.openxmlformats.org/package/2006/relationships"><Relationship Id="rId3" Type="http://schemas.openxmlformats.org/officeDocument/2006/relationships/themeOverride" Target="../theme/themeOverride4.xml"/><Relationship Id="rId2" Type="http://schemas.microsoft.com/office/2011/relationships/chartColorStyle" Target="colors9.xml"/><Relationship Id="rId1" Type="http://schemas.microsoft.com/office/2011/relationships/chartStyle" Target="style9.xml"/><Relationship Id="rId4" Type="http://schemas.openxmlformats.org/officeDocument/2006/relationships/package" Target="../embeddings/Microsoft_Excel_Worksheet10.xlsx"/></Relationships>
</file>

<file path=ppt/charts/_rels/chart12.xml.rels><?xml version="1.0" encoding="UTF-8" standalone="yes"?>
<Relationships xmlns="http://schemas.openxmlformats.org/package/2006/relationships"><Relationship Id="rId3" Type="http://schemas.openxmlformats.org/officeDocument/2006/relationships/themeOverride" Target="../theme/themeOverride5.xml"/><Relationship Id="rId2" Type="http://schemas.microsoft.com/office/2011/relationships/chartColorStyle" Target="colors10.xml"/><Relationship Id="rId1" Type="http://schemas.microsoft.com/office/2011/relationships/chartStyle" Target="style10.xml"/><Relationship Id="rId4" Type="http://schemas.openxmlformats.org/officeDocument/2006/relationships/package" Target="../embeddings/Microsoft_Excel_Worksheet11.xlsx"/></Relationships>
</file>

<file path=ppt/charts/_rels/chart13.xml.rels><?xml version="1.0" encoding="UTF-8" standalone="yes"?>
<Relationships xmlns="http://schemas.openxmlformats.org/package/2006/relationships"><Relationship Id="rId3" Type="http://schemas.openxmlformats.org/officeDocument/2006/relationships/themeOverride" Target="../theme/themeOverride6.xml"/><Relationship Id="rId2" Type="http://schemas.microsoft.com/office/2011/relationships/chartColorStyle" Target="colors11.xml"/><Relationship Id="rId1" Type="http://schemas.microsoft.com/office/2011/relationships/chartStyle" Target="style11.xml"/><Relationship Id="rId4" Type="http://schemas.openxmlformats.org/officeDocument/2006/relationships/package" Target="../embeddings/Microsoft_Excel_Worksheet12.xlsx"/></Relationships>
</file>

<file path=ppt/charts/_rels/chart14.xml.rels><?xml version="1.0" encoding="UTF-8" standalone="yes"?>
<Relationships xmlns="http://schemas.openxmlformats.org/package/2006/relationships"><Relationship Id="rId3" Type="http://schemas.openxmlformats.org/officeDocument/2006/relationships/package" Target="../embeddings/Microsoft_Excel_Worksheet13.xlsx"/><Relationship Id="rId2" Type="http://schemas.microsoft.com/office/2011/relationships/chartColorStyle" Target="colors12.xml"/><Relationship Id="rId1" Type="http://schemas.microsoft.com/office/2011/relationships/chartStyle" Target="style12.xml"/></Relationships>
</file>

<file path=ppt/charts/_rels/chart15.xml.rels><?xml version="1.0" encoding="UTF-8" standalone="yes"?>
<Relationships xmlns="http://schemas.openxmlformats.org/package/2006/relationships"><Relationship Id="rId3" Type="http://schemas.openxmlformats.org/officeDocument/2006/relationships/package" Target="../embeddings/Microsoft_Excel_Worksheet14.xlsx"/><Relationship Id="rId2" Type="http://schemas.microsoft.com/office/2011/relationships/chartColorStyle" Target="colors13.xml"/><Relationship Id="rId1" Type="http://schemas.microsoft.com/office/2011/relationships/chartStyle" Target="style13.xml"/></Relationships>
</file>

<file path=ppt/charts/_rels/chart16.xml.rels><?xml version="1.0" encoding="UTF-8" standalone="yes"?>
<Relationships xmlns="http://schemas.openxmlformats.org/package/2006/relationships"><Relationship Id="rId3" Type="http://schemas.openxmlformats.org/officeDocument/2006/relationships/package" Target="../embeddings/Microsoft_Excel_Worksheet15.xlsx"/><Relationship Id="rId2" Type="http://schemas.microsoft.com/office/2011/relationships/chartColorStyle" Target="colors14.xml"/><Relationship Id="rId1" Type="http://schemas.microsoft.com/office/2011/relationships/chartStyle" Target="style14.xml"/></Relationships>
</file>

<file path=ppt/charts/_rels/chart17.xml.rels><?xml version="1.0" encoding="UTF-8" standalone="yes"?>
<Relationships xmlns="http://schemas.openxmlformats.org/package/2006/relationships"><Relationship Id="rId3" Type="http://schemas.openxmlformats.org/officeDocument/2006/relationships/package" Target="../embeddings/Microsoft_Excel_Worksheet16.xlsx"/><Relationship Id="rId2" Type="http://schemas.microsoft.com/office/2011/relationships/chartColorStyle" Target="colors15.xml"/><Relationship Id="rId1" Type="http://schemas.microsoft.com/office/2011/relationships/chartStyle" Target="style15.xml"/></Relationships>
</file>

<file path=ppt/charts/_rels/chart18.xml.rels><?xml version="1.0" encoding="UTF-8" standalone="yes"?>
<Relationships xmlns="http://schemas.openxmlformats.org/package/2006/relationships"><Relationship Id="rId3" Type="http://schemas.openxmlformats.org/officeDocument/2006/relationships/package" Target="../embeddings/Microsoft_Excel_Worksheet17.xlsx"/><Relationship Id="rId2" Type="http://schemas.microsoft.com/office/2011/relationships/chartColorStyle" Target="colors16.xml"/><Relationship Id="rId1" Type="http://schemas.microsoft.com/office/2011/relationships/chartStyle" Target="style16.xml"/></Relationships>
</file>

<file path=ppt/charts/_rels/chart19.xml.rels><?xml version="1.0" encoding="UTF-8" standalone="yes"?>
<Relationships xmlns="http://schemas.openxmlformats.org/package/2006/relationships"><Relationship Id="rId3" Type="http://schemas.openxmlformats.org/officeDocument/2006/relationships/package" Target="../embeddings/Microsoft_Excel_Worksheet18.xlsx"/><Relationship Id="rId2" Type="http://schemas.microsoft.com/office/2011/relationships/chartColorStyle" Target="colors17.xml"/><Relationship Id="rId1" Type="http://schemas.microsoft.com/office/2011/relationships/chartStyle" Target="style17.xml"/></Relationships>
</file>

<file path=ppt/charts/_rels/chart2.xml.rels><?xml version="1.0" encoding="UTF-8" standalone="yes"?>
<Relationships xmlns="http://schemas.openxmlformats.org/package/2006/relationships"><Relationship Id="rId2" Type="http://schemas.openxmlformats.org/officeDocument/2006/relationships/package" Target="../embeddings/Microsoft_Excel_Worksheet1.xlsx"/><Relationship Id="rId1" Type="http://schemas.openxmlformats.org/officeDocument/2006/relationships/themeOverride" Target="../theme/themeOverride2.xml"/></Relationships>
</file>

<file path=ppt/charts/_rels/chart20.xml.rels><?xml version="1.0" encoding="UTF-8" standalone="yes"?>
<Relationships xmlns="http://schemas.openxmlformats.org/package/2006/relationships"><Relationship Id="rId3" Type="http://schemas.openxmlformats.org/officeDocument/2006/relationships/package" Target="../embeddings/Microsoft_Excel_Worksheet19.xlsx"/><Relationship Id="rId2" Type="http://schemas.microsoft.com/office/2011/relationships/chartColorStyle" Target="colors18.xml"/><Relationship Id="rId1" Type="http://schemas.microsoft.com/office/2011/relationships/chartStyle" Target="style18.xml"/></Relationships>
</file>

<file path=ppt/charts/_rels/chart21.xml.rels><?xml version="1.0" encoding="UTF-8" standalone="yes"?>
<Relationships xmlns="http://schemas.openxmlformats.org/package/2006/relationships"><Relationship Id="rId3" Type="http://schemas.openxmlformats.org/officeDocument/2006/relationships/package" Target="../embeddings/Microsoft_Excel_Worksheet20.xlsx"/><Relationship Id="rId2" Type="http://schemas.microsoft.com/office/2011/relationships/chartColorStyle" Target="colors19.xml"/><Relationship Id="rId1" Type="http://schemas.microsoft.com/office/2011/relationships/chartStyle" Target="style19.xml"/></Relationships>
</file>

<file path=ppt/charts/_rels/chart22.xml.rels><?xml version="1.0" encoding="UTF-8" standalone="yes"?>
<Relationships xmlns="http://schemas.openxmlformats.org/package/2006/relationships"><Relationship Id="rId3" Type="http://schemas.openxmlformats.org/officeDocument/2006/relationships/package" Target="../embeddings/Microsoft_Excel_Worksheet21.xlsx"/><Relationship Id="rId2" Type="http://schemas.microsoft.com/office/2011/relationships/chartColorStyle" Target="colors20.xml"/><Relationship Id="rId1" Type="http://schemas.microsoft.com/office/2011/relationships/chartStyle" Target="style20.xml"/></Relationships>
</file>

<file path=ppt/charts/_rels/chart23.xml.rels><?xml version="1.0" encoding="UTF-8" standalone="yes"?>
<Relationships xmlns="http://schemas.openxmlformats.org/package/2006/relationships"><Relationship Id="rId3" Type="http://schemas.openxmlformats.org/officeDocument/2006/relationships/package" Target="../embeddings/Microsoft_Excel_Worksheet22.xlsx"/><Relationship Id="rId2" Type="http://schemas.microsoft.com/office/2011/relationships/chartColorStyle" Target="colors21.xml"/><Relationship Id="rId1" Type="http://schemas.microsoft.com/office/2011/relationships/chartStyle" Target="style21.xml"/></Relationships>
</file>

<file path=ppt/charts/_rels/chart24.xml.rels><?xml version="1.0" encoding="UTF-8" standalone="yes"?>
<Relationships xmlns="http://schemas.openxmlformats.org/package/2006/relationships"><Relationship Id="rId3" Type="http://schemas.openxmlformats.org/officeDocument/2006/relationships/package" Target="../embeddings/Microsoft_Excel_Worksheet23.xlsx"/><Relationship Id="rId2" Type="http://schemas.microsoft.com/office/2011/relationships/chartColorStyle" Target="colors22.xml"/><Relationship Id="rId1" Type="http://schemas.microsoft.com/office/2011/relationships/chartStyle" Target="style22.xml"/></Relationships>
</file>

<file path=ppt/charts/_rels/chart25.xml.rels><?xml version="1.0" encoding="UTF-8" standalone="yes"?>
<Relationships xmlns="http://schemas.openxmlformats.org/package/2006/relationships"><Relationship Id="rId3" Type="http://schemas.openxmlformats.org/officeDocument/2006/relationships/package" Target="../embeddings/Microsoft_Excel_Worksheet24.xlsx"/><Relationship Id="rId2" Type="http://schemas.microsoft.com/office/2011/relationships/chartColorStyle" Target="colors23.xml"/><Relationship Id="rId1" Type="http://schemas.microsoft.com/office/2011/relationships/chartStyle" Target="style23.xml"/></Relationships>
</file>

<file path=ppt/charts/_rels/chart26.xml.rels><?xml version="1.0" encoding="UTF-8" standalone="yes"?>
<Relationships xmlns="http://schemas.openxmlformats.org/package/2006/relationships"><Relationship Id="rId3" Type="http://schemas.openxmlformats.org/officeDocument/2006/relationships/package" Target="../embeddings/Microsoft_Excel_Worksheet25.xlsx"/><Relationship Id="rId2" Type="http://schemas.microsoft.com/office/2011/relationships/chartColorStyle" Target="colors24.xml"/><Relationship Id="rId1" Type="http://schemas.microsoft.com/office/2011/relationships/chartStyle" Target="style24.xml"/></Relationships>
</file>

<file path=ppt/charts/_rels/chart27.xml.rels><?xml version="1.0" encoding="UTF-8" standalone="yes"?>
<Relationships xmlns="http://schemas.openxmlformats.org/package/2006/relationships"><Relationship Id="rId3" Type="http://schemas.openxmlformats.org/officeDocument/2006/relationships/package" Target="../embeddings/Microsoft_Excel_Worksheet26.xlsx"/><Relationship Id="rId2" Type="http://schemas.microsoft.com/office/2011/relationships/chartColorStyle" Target="colors25.xml"/><Relationship Id="rId1" Type="http://schemas.microsoft.com/office/2011/relationships/chartStyle" Target="style25.xml"/></Relationships>
</file>

<file path=ppt/charts/_rels/chart28.xml.rels><?xml version="1.0" encoding="UTF-8" standalone="yes"?>
<Relationships xmlns="http://schemas.openxmlformats.org/package/2006/relationships"><Relationship Id="rId3" Type="http://schemas.openxmlformats.org/officeDocument/2006/relationships/package" Target="../embeddings/Microsoft_Excel_Worksheet27.xlsx"/><Relationship Id="rId2" Type="http://schemas.microsoft.com/office/2011/relationships/chartColorStyle" Target="colors26.xml"/><Relationship Id="rId1" Type="http://schemas.microsoft.com/office/2011/relationships/chartStyle" Target="style26.xml"/></Relationships>
</file>

<file path=ppt/charts/_rels/chart29.xml.rels><?xml version="1.0" encoding="UTF-8" standalone="yes"?>
<Relationships xmlns="http://schemas.openxmlformats.org/package/2006/relationships"><Relationship Id="rId3" Type="http://schemas.openxmlformats.org/officeDocument/2006/relationships/package" Target="../embeddings/Microsoft_Excel_Worksheet28.xlsx"/><Relationship Id="rId2" Type="http://schemas.microsoft.com/office/2011/relationships/chartColorStyle" Target="colors27.xml"/><Relationship Id="rId1" Type="http://schemas.microsoft.com/office/2011/relationships/chartStyle" Target="style27.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1.xml"/><Relationship Id="rId1" Type="http://schemas.microsoft.com/office/2011/relationships/chartStyle" Target="style1.xml"/></Relationships>
</file>

<file path=ppt/charts/_rels/chart30.xml.rels><?xml version="1.0" encoding="UTF-8" standalone="yes"?>
<Relationships xmlns="http://schemas.openxmlformats.org/package/2006/relationships"><Relationship Id="rId3" Type="http://schemas.openxmlformats.org/officeDocument/2006/relationships/oleObject" Target="NULL" TargetMode="External"/><Relationship Id="rId2" Type="http://schemas.microsoft.com/office/2011/relationships/chartColorStyle" Target="colors28.xml"/><Relationship Id="rId1" Type="http://schemas.microsoft.com/office/2011/relationships/chartStyle" Target="style28.xml"/></Relationships>
</file>

<file path=ppt/charts/_rels/chart31.xml.rels><?xml version="1.0" encoding="UTF-8" standalone="yes"?>
<Relationships xmlns="http://schemas.openxmlformats.org/package/2006/relationships"><Relationship Id="rId3" Type="http://schemas.openxmlformats.org/officeDocument/2006/relationships/package" Target="../embeddings/Microsoft_Excel_Worksheet29.xlsx"/><Relationship Id="rId2" Type="http://schemas.microsoft.com/office/2011/relationships/chartColorStyle" Target="colors29.xml"/><Relationship Id="rId1" Type="http://schemas.microsoft.com/office/2011/relationships/chartStyle" Target="style29.xml"/></Relationships>
</file>

<file path=ppt/charts/_rels/chart32.xml.rels><?xml version="1.0" encoding="UTF-8" standalone="yes"?>
<Relationships xmlns="http://schemas.openxmlformats.org/package/2006/relationships"><Relationship Id="rId3" Type="http://schemas.openxmlformats.org/officeDocument/2006/relationships/package" Target="../embeddings/Microsoft_Excel_Worksheet30.xlsx"/><Relationship Id="rId2" Type="http://schemas.microsoft.com/office/2011/relationships/chartColorStyle" Target="colors30.xml"/><Relationship Id="rId1" Type="http://schemas.microsoft.com/office/2011/relationships/chartStyle" Target="style30.xml"/></Relationships>
</file>

<file path=ppt/charts/_rels/chart33.xml.rels><?xml version="1.0" encoding="UTF-8" standalone="yes"?>
<Relationships xmlns="http://schemas.openxmlformats.org/package/2006/relationships"><Relationship Id="rId3" Type="http://schemas.openxmlformats.org/officeDocument/2006/relationships/package" Target="../embeddings/Microsoft_Excel_Worksheet31.xlsx"/><Relationship Id="rId2" Type="http://schemas.microsoft.com/office/2011/relationships/chartColorStyle" Target="colors31.xml"/><Relationship Id="rId1" Type="http://schemas.microsoft.com/office/2011/relationships/chartStyle" Target="style31.xml"/></Relationships>
</file>

<file path=ppt/charts/_rels/chart34.xml.rels><?xml version="1.0" encoding="UTF-8" standalone="yes"?>
<Relationships xmlns="http://schemas.openxmlformats.org/package/2006/relationships"><Relationship Id="rId3" Type="http://schemas.openxmlformats.org/officeDocument/2006/relationships/package" Target="../embeddings/Microsoft_Excel_Worksheet32.xlsx"/><Relationship Id="rId2" Type="http://schemas.microsoft.com/office/2011/relationships/chartColorStyle" Target="colors32.xml"/><Relationship Id="rId1" Type="http://schemas.microsoft.com/office/2011/relationships/chartStyle" Target="style32.xml"/></Relationships>
</file>

<file path=ppt/charts/_rels/chart35.xml.rels><?xml version="1.0" encoding="UTF-8" standalone="yes"?>
<Relationships xmlns="http://schemas.openxmlformats.org/package/2006/relationships"><Relationship Id="rId3" Type="http://schemas.openxmlformats.org/officeDocument/2006/relationships/package" Target="../embeddings/Microsoft_Excel_Worksheet33.xlsx"/><Relationship Id="rId2" Type="http://schemas.microsoft.com/office/2011/relationships/chartColorStyle" Target="colors33.xml"/><Relationship Id="rId1" Type="http://schemas.microsoft.com/office/2011/relationships/chartStyle" Target="style33.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2.xml"/><Relationship Id="rId1" Type="http://schemas.microsoft.com/office/2011/relationships/chartStyle" Target="style2.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3.xml"/><Relationship Id="rId1" Type="http://schemas.microsoft.com/office/2011/relationships/chartStyle" Target="style3.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4.xml"/><Relationship Id="rId1" Type="http://schemas.microsoft.com/office/2011/relationships/chartStyle" Target="style4.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5.xml"/><Relationship Id="rId1" Type="http://schemas.microsoft.com/office/2011/relationships/chartStyle" Target="style5.xml"/></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Worksheet7.xlsx"/><Relationship Id="rId2" Type="http://schemas.microsoft.com/office/2011/relationships/chartColorStyle" Target="colors6.xml"/><Relationship Id="rId1" Type="http://schemas.microsoft.com/office/2011/relationships/chartStyle" Target="style6.xml"/></Relationships>
</file>

<file path=ppt/charts/_rels/chart9.xml.rels><?xml version="1.0" encoding="UTF-8" standalone="yes"?>
<Relationships xmlns="http://schemas.openxmlformats.org/package/2006/relationships"><Relationship Id="rId3" Type="http://schemas.openxmlformats.org/officeDocument/2006/relationships/package" Target="../embeddings/Microsoft_Excel_Worksheet8.xlsx"/><Relationship Id="rId2" Type="http://schemas.microsoft.com/office/2011/relationships/chartColorStyle" Target="colors7.xml"/><Relationship Id="rId1" Type="http://schemas.microsoft.com/office/2011/relationships/chartStyle" Target="style7.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24"/>
    </mc:Choice>
    <mc:Fallback>
      <c:style val="24"/>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278436757528653E-2"/>
          <c:y val="8.4166909455828554E-2"/>
          <c:w val="0.96013465111140162"/>
          <c:h val="0.82409727675950784"/>
        </c:manualLayout>
      </c:layout>
      <c:barChart>
        <c:barDir val="col"/>
        <c:grouping val="percentStacked"/>
        <c:varyColors val="0"/>
        <c:ser>
          <c:idx val="0"/>
          <c:order val="0"/>
          <c:tx>
            <c:strRef>
              <c:f>Foglio1!$B$1</c:f>
              <c:strCache>
                <c:ptCount val="1"/>
                <c:pt idx="0">
                  <c:v>Worse</c:v>
                </c:pt>
              </c:strCache>
            </c:strRef>
          </c:tx>
          <c:spPr>
            <a:solidFill>
              <a:srgbClr val="202D46"/>
            </a:solidFill>
          </c:spPr>
          <c:invertIfNegative val="0"/>
          <c:dLbls>
            <c:spPr>
              <a:noFill/>
              <a:ln>
                <a:noFill/>
              </a:ln>
              <a:effectLst/>
            </c:spPr>
            <c:txPr>
              <a:bodyPr wrap="square" lIns="38100" tIns="19050" rIns="38100" bIns="19050" anchor="ctr">
                <a:spAutoFit/>
              </a:bodyPr>
              <a:lstStyle/>
              <a:p>
                <a:pPr>
                  <a:defRPr>
                    <a:solidFill>
                      <a:schemeClr val="bg1"/>
                    </a:solidFill>
                  </a:defRPr>
                </a:pPr>
                <a:endParaRPr lang="ru-RU"/>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Foglio1!$A$2:$A$10</c:f>
              <c:strCache>
                <c:ptCount val="9"/>
                <c:pt idx="0">
                  <c:v>Spain</c:v>
                </c:pt>
                <c:pt idx="1">
                  <c:v>France</c:v>
                </c:pt>
                <c:pt idx="2">
                  <c:v>Belgium</c:v>
                </c:pt>
                <c:pt idx="3">
                  <c:v>Netherlands</c:v>
                </c:pt>
                <c:pt idx="4">
                  <c:v>CZ</c:v>
                </c:pt>
                <c:pt idx="5">
                  <c:v>UK</c:v>
                </c:pt>
                <c:pt idx="6">
                  <c:v>Germany</c:v>
                </c:pt>
                <c:pt idx="7">
                  <c:v>Poland</c:v>
                </c:pt>
                <c:pt idx="8">
                  <c:v>Russia</c:v>
                </c:pt>
              </c:strCache>
            </c:strRef>
          </c:cat>
          <c:val>
            <c:numRef>
              <c:f>Foglio1!$B$2:$B$10</c:f>
              <c:numCache>
                <c:formatCode>0</c:formatCode>
                <c:ptCount val="9"/>
                <c:pt idx="0">
                  <c:v>39.4</c:v>
                </c:pt>
                <c:pt idx="1">
                  <c:v>31</c:v>
                </c:pt>
                <c:pt idx="2">
                  <c:v>35</c:v>
                </c:pt>
                <c:pt idx="3">
                  <c:v>24</c:v>
                </c:pt>
                <c:pt idx="4">
                  <c:v>29</c:v>
                </c:pt>
                <c:pt idx="5" formatCode="General">
                  <c:v>30</c:v>
                </c:pt>
                <c:pt idx="6" formatCode="General">
                  <c:v>28</c:v>
                </c:pt>
                <c:pt idx="7" formatCode="General">
                  <c:v>32</c:v>
                </c:pt>
                <c:pt idx="8" formatCode="General">
                  <c:v>51</c:v>
                </c:pt>
              </c:numCache>
            </c:numRef>
          </c:val>
          <c:extLst>
            <c:ext xmlns:c16="http://schemas.microsoft.com/office/drawing/2014/chart" uri="{C3380CC4-5D6E-409C-BE32-E72D297353CC}">
              <c16:uniqueId val="{00000000-3E3A-4CAD-8B8C-3F01D5BEBD20}"/>
            </c:ext>
          </c:extLst>
        </c:ser>
        <c:ser>
          <c:idx val="1"/>
          <c:order val="1"/>
          <c:tx>
            <c:strRef>
              <c:f>Foglio1!$C$1</c:f>
              <c:strCache>
                <c:ptCount val="1"/>
                <c:pt idx="0">
                  <c:v>Equal</c:v>
                </c:pt>
              </c:strCache>
            </c:strRef>
          </c:tx>
          <c:spPr>
            <a:solidFill>
              <a:srgbClr val="E2B726"/>
            </a:solidFill>
          </c:spPr>
          <c:invertIfNegative val="0"/>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Foglio1!$A$2:$A$10</c:f>
              <c:strCache>
                <c:ptCount val="9"/>
                <c:pt idx="0">
                  <c:v>Spain</c:v>
                </c:pt>
                <c:pt idx="1">
                  <c:v>France</c:v>
                </c:pt>
                <c:pt idx="2">
                  <c:v>Belgium</c:v>
                </c:pt>
                <c:pt idx="3">
                  <c:v>Netherlands</c:v>
                </c:pt>
                <c:pt idx="4">
                  <c:v>CZ</c:v>
                </c:pt>
                <c:pt idx="5">
                  <c:v>UK</c:v>
                </c:pt>
                <c:pt idx="6">
                  <c:v>Germany</c:v>
                </c:pt>
                <c:pt idx="7">
                  <c:v>Poland</c:v>
                </c:pt>
                <c:pt idx="8">
                  <c:v>Russia</c:v>
                </c:pt>
              </c:strCache>
            </c:strRef>
          </c:cat>
          <c:val>
            <c:numRef>
              <c:f>Foglio1!$C$2:$C$10</c:f>
              <c:numCache>
                <c:formatCode>0</c:formatCode>
                <c:ptCount val="9"/>
                <c:pt idx="0">
                  <c:v>48.3</c:v>
                </c:pt>
                <c:pt idx="1">
                  <c:v>57.999999999999993</c:v>
                </c:pt>
                <c:pt idx="2">
                  <c:v>51</c:v>
                </c:pt>
                <c:pt idx="3">
                  <c:v>54</c:v>
                </c:pt>
                <c:pt idx="4">
                  <c:v>52</c:v>
                </c:pt>
                <c:pt idx="5" formatCode="General">
                  <c:v>42</c:v>
                </c:pt>
                <c:pt idx="6" formatCode="General">
                  <c:v>48</c:v>
                </c:pt>
                <c:pt idx="7" formatCode="General">
                  <c:v>36</c:v>
                </c:pt>
                <c:pt idx="8" formatCode="General">
                  <c:v>38</c:v>
                </c:pt>
              </c:numCache>
            </c:numRef>
          </c:val>
          <c:extLst>
            <c:ext xmlns:c16="http://schemas.microsoft.com/office/drawing/2014/chart" uri="{C3380CC4-5D6E-409C-BE32-E72D297353CC}">
              <c16:uniqueId val="{00000000-75D0-473D-967E-7A65BA6684E9}"/>
            </c:ext>
          </c:extLst>
        </c:ser>
        <c:ser>
          <c:idx val="2"/>
          <c:order val="2"/>
          <c:tx>
            <c:strRef>
              <c:f>Foglio1!$D$1</c:f>
              <c:strCache>
                <c:ptCount val="1"/>
                <c:pt idx="0">
                  <c:v>Better</c:v>
                </c:pt>
              </c:strCache>
            </c:strRef>
          </c:tx>
          <c:spPr>
            <a:solidFill>
              <a:srgbClr val="4D9991"/>
            </a:solidFill>
            <a:effectLst/>
          </c:spPr>
          <c:invertIfNegative val="0"/>
          <c:dLbls>
            <c:spPr>
              <a:noFill/>
              <a:ln>
                <a:noFill/>
              </a:ln>
              <a:effectLst/>
            </c:spPr>
            <c:txPr>
              <a:bodyPr/>
              <a:lstStyle/>
              <a:p>
                <a:pPr>
                  <a:defRPr sz="2000">
                    <a:latin typeface="+mn-lt"/>
                    <a:cs typeface="Arial" panose="020B0604020202020204" pitchFamily="34" charset="0"/>
                  </a:defRPr>
                </a:pPr>
                <a:endParaRPr lang="ru-RU"/>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Foglio1!$A$2:$A$10</c:f>
              <c:strCache>
                <c:ptCount val="9"/>
                <c:pt idx="0">
                  <c:v>Spain</c:v>
                </c:pt>
                <c:pt idx="1">
                  <c:v>France</c:v>
                </c:pt>
                <c:pt idx="2">
                  <c:v>Belgium</c:v>
                </c:pt>
                <c:pt idx="3">
                  <c:v>Netherlands</c:v>
                </c:pt>
                <c:pt idx="4">
                  <c:v>CZ</c:v>
                </c:pt>
                <c:pt idx="5">
                  <c:v>UK</c:v>
                </c:pt>
                <c:pt idx="6">
                  <c:v>Germany</c:v>
                </c:pt>
                <c:pt idx="7">
                  <c:v>Poland</c:v>
                </c:pt>
                <c:pt idx="8">
                  <c:v>Russia</c:v>
                </c:pt>
              </c:strCache>
            </c:strRef>
          </c:cat>
          <c:val>
            <c:numRef>
              <c:f>Foglio1!$D$2:$D$10</c:f>
              <c:numCache>
                <c:formatCode>0</c:formatCode>
                <c:ptCount val="9"/>
                <c:pt idx="0">
                  <c:v>11.5</c:v>
                </c:pt>
                <c:pt idx="1">
                  <c:v>11</c:v>
                </c:pt>
                <c:pt idx="2">
                  <c:v>13</c:v>
                </c:pt>
                <c:pt idx="3">
                  <c:v>17</c:v>
                </c:pt>
                <c:pt idx="4">
                  <c:v>17</c:v>
                </c:pt>
                <c:pt idx="5">
                  <c:v>28</c:v>
                </c:pt>
                <c:pt idx="6">
                  <c:v>24</c:v>
                </c:pt>
                <c:pt idx="7">
                  <c:v>32</c:v>
                </c:pt>
                <c:pt idx="8">
                  <c:v>10</c:v>
                </c:pt>
              </c:numCache>
            </c:numRef>
          </c:val>
          <c:extLst>
            <c:ext xmlns:c16="http://schemas.microsoft.com/office/drawing/2014/chart" uri="{C3380CC4-5D6E-409C-BE32-E72D297353CC}">
              <c16:uniqueId val="{00000001-75D0-473D-967E-7A65BA6684E9}"/>
            </c:ext>
          </c:extLst>
        </c:ser>
        <c:dLbls>
          <c:showLegendKey val="0"/>
          <c:showVal val="0"/>
          <c:showCatName val="0"/>
          <c:showSerName val="0"/>
          <c:showPercent val="0"/>
          <c:showBubbleSize val="0"/>
        </c:dLbls>
        <c:gapWidth val="67"/>
        <c:overlap val="100"/>
        <c:axId val="131546624"/>
        <c:axId val="188963008"/>
      </c:barChart>
      <c:catAx>
        <c:axId val="131546624"/>
        <c:scaling>
          <c:orientation val="minMax"/>
        </c:scaling>
        <c:delete val="1"/>
        <c:axPos val="b"/>
        <c:numFmt formatCode="General" sourceLinked="1"/>
        <c:majorTickMark val="out"/>
        <c:minorTickMark val="none"/>
        <c:tickLblPos val="nextTo"/>
        <c:crossAx val="188963008"/>
        <c:crosses val="autoZero"/>
        <c:auto val="1"/>
        <c:lblAlgn val="ctr"/>
        <c:lblOffset val="100"/>
        <c:noMultiLvlLbl val="0"/>
      </c:catAx>
      <c:valAx>
        <c:axId val="188963008"/>
        <c:scaling>
          <c:orientation val="minMax"/>
          <c:max val="1"/>
          <c:min val="0"/>
        </c:scaling>
        <c:delete val="1"/>
        <c:axPos val="l"/>
        <c:numFmt formatCode="0%" sourceLinked="0"/>
        <c:majorTickMark val="out"/>
        <c:minorTickMark val="none"/>
        <c:tickLblPos val="nextTo"/>
        <c:crossAx val="131546624"/>
        <c:crosses val="autoZero"/>
        <c:crossBetween val="between"/>
        <c:majorUnit val="10"/>
        <c:minorUnit val="5"/>
      </c:valAx>
    </c:plotArea>
    <c:plotVisOnly val="1"/>
    <c:dispBlanksAs val="gap"/>
    <c:showDLblsOverMax val="0"/>
  </c:chart>
  <c:txPr>
    <a:bodyPr/>
    <a:lstStyle/>
    <a:p>
      <a:pPr>
        <a:defRPr sz="1800"/>
      </a:pPr>
      <a:endParaRPr lang="ru-RU"/>
    </a:p>
  </c:txPr>
  <c:externalData r:id="rId2">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0068486171841019"/>
          <c:y val="0.11777894762682785"/>
          <c:w val="0.82949671264183955"/>
          <c:h val="0.70664804606417031"/>
        </c:manualLayout>
      </c:layout>
      <c:barChart>
        <c:barDir val="col"/>
        <c:grouping val="clustered"/>
        <c:varyColors val="0"/>
        <c:ser>
          <c:idx val="0"/>
          <c:order val="0"/>
          <c:tx>
            <c:strRef>
              <c:f>Лист1!$B$1</c:f>
              <c:strCache>
                <c:ptCount val="1"/>
                <c:pt idx="0">
                  <c:v>Volume Growth (RUB)</c:v>
                </c:pt>
              </c:strCache>
            </c:strRef>
          </c:tx>
          <c:spPr>
            <a:solidFill>
              <a:schemeClr val="accent1"/>
            </a:solidFill>
            <a:ln>
              <a:noFill/>
            </a:ln>
            <a:effectLst/>
          </c:spPr>
          <c:invertIfNegative val="0"/>
          <c:dLbls>
            <c:dLbl>
              <c:idx val="0"/>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7FE8-41DA-B1B9-5861F35A3000}"/>
                </c:ext>
              </c:extLst>
            </c:dLbl>
            <c:dLbl>
              <c:idx val="1"/>
              <c:layout>
                <c:manualLayout>
                  <c:x val="4.2669827593737547E-3"/>
                  <c:y val="5.8789764100285156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7FE8-41DA-B1B9-5861F35A3000}"/>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7FE8-41DA-B1B9-5861F35A3000}"/>
                </c:ext>
              </c:extLst>
            </c:dLbl>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mn-lt"/>
                    <a:ea typeface="+mn-ea"/>
                    <a:cs typeface="+mn-cs"/>
                  </a:defRPr>
                </a:pPr>
                <a:endParaRPr lang="ru-RU"/>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Лист1!$A$2:$A$4</c:f>
              <c:strCache>
                <c:ptCount val="3"/>
                <c:pt idx="0">
                  <c:v>Q1 2018</c:v>
                </c:pt>
                <c:pt idx="1">
                  <c:v>Q1 2019</c:v>
                </c:pt>
                <c:pt idx="2">
                  <c:v>Q1 2020</c:v>
                </c:pt>
              </c:strCache>
            </c:strRef>
          </c:cat>
          <c:val>
            <c:numRef>
              <c:f>Лист1!$B$2:$B$4</c:f>
              <c:numCache>
                <c:formatCode>0%</c:formatCode>
                <c:ptCount val="3"/>
                <c:pt idx="0">
                  <c:v>0.81</c:v>
                </c:pt>
                <c:pt idx="1">
                  <c:v>0.27</c:v>
                </c:pt>
                <c:pt idx="2">
                  <c:v>0.08</c:v>
                </c:pt>
              </c:numCache>
            </c:numRef>
          </c:val>
          <c:extLst>
            <c:ext xmlns:c16="http://schemas.microsoft.com/office/drawing/2014/chart" uri="{C3380CC4-5D6E-409C-BE32-E72D297353CC}">
              <c16:uniqueId val="{00000000-7FE8-41DA-B1B9-5861F35A3000}"/>
            </c:ext>
          </c:extLst>
        </c:ser>
        <c:dLbls>
          <c:showLegendKey val="0"/>
          <c:showVal val="0"/>
          <c:showCatName val="0"/>
          <c:showSerName val="0"/>
          <c:showPercent val="0"/>
          <c:showBubbleSize val="0"/>
        </c:dLbls>
        <c:gapWidth val="40"/>
        <c:axId val="2057379583"/>
        <c:axId val="1183641503"/>
      </c:barChart>
      <c:lineChart>
        <c:grouping val="standard"/>
        <c:varyColors val="0"/>
        <c:ser>
          <c:idx val="1"/>
          <c:order val="1"/>
          <c:tx>
            <c:strRef>
              <c:f>Лист1!$C$1</c:f>
              <c:strCache>
                <c:ptCount val="1"/>
                <c:pt idx="0">
                  <c:v>Avg. Mortgage Rate</c:v>
                </c:pt>
              </c:strCache>
            </c:strRef>
          </c:tx>
          <c:spPr>
            <a:ln w="28575" cap="rnd">
              <a:solidFill>
                <a:srgbClr val="C00000"/>
              </a:solidFill>
              <a:round/>
            </a:ln>
            <a:effectLst/>
          </c:spPr>
          <c:marker>
            <c:symbol val="none"/>
          </c:marker>
          <c:dLbls>
            <c:dLbl>
              <c:idx val="0"/>
              <c:layout>
                <c:manualLayout>
                  <c:x val="-3.9113556784447091E-17"/>
                  <c:y val="-0.11003737679940329"/>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7FE8-41DA-B1B9-5861F35A3000}"/>
                </c:ext>
              </c:extLst>
            </c:dLbl>
            <c:dLbl>
              <c:idx val="1"/>
              <c:layout>
                <c:manualLayout>
                  <c:x val="-2.1334913796868774E-3"/>
                  <c:y val="-0.1013531565275816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7FE8-41DA-B1B9-5861F35A3000}"/>
                </c:ext>
              </c:extLst>
            </c:dLbl>
            <c:dLbl>
              <c:idx val="2"/>
              <c:layout>
                <c:manualLayout>
                  <c:x val="-1.0667456898434386E-2"/>
                  <c:y val="-3.7630513035405731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7FE8-41DA-B1B9-5861F35A3000}"/>
                </c:ext>
              </c:extLst>
            </c:dLbl>
            <c:dLbl>
              <c:idx val="3"/>
              <c:layout>
                <c:manualLayout>
                  <c:x val="-2.7735387935929407E-2"/>
                  <c:y val="-4.63143552187213E-2"/>
                </c:manualLayout>
              </c:layout>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lumMod val="95000"/>
                        </a:schemeClr>
                      </a:solidFill>
                      <a:latin typeface="Lato Bold" panose="020F0502020204030203" pitchFamily="34" charset="0"/>
                      <a:ea typeface="Lato Bold" panose="020F0502020204030203" pitchFamily="34" charset="0"/>
                      <a:cs typeface="Lato Bold" panose="020F0502020204030203" pitchFamily="34" charset="0"/>
                    </a:defRPr>
                  </a:pPr>
                  <a:endParaRPr lang="ru-RU"/>
                </a:p>
              </c:txP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7FE8-41DA-B1B9-5861F35A3000}"/>
                </c:ext>
              </c:extLst>
            </c:dLbl>
            <c:dLbl>
              <c:idx val="4"/>
              <c:layout>
                <c:manualLayout>
                  <c:x val="-1.4934439657808142E-2"/>
                  <c:y val="-3.4735937358614563E-2"/>
                </c:manualLayout>
              </c:layout>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lumMod val="95000"/>
                        </a:schemeClr>
                      </a:solidFill>
                      <a:latin typeface="Lato Bold" panose="020F0502020204030203" pitchFamily="34" charset="0"/>
                      <a:ea typeface="Lato Bold" panose="020F0502020204030203" pitchFamily="34" charset="0"/>
                      <a:cs typeface="Lato Bold" panose="020F0502020204030203" pitchFamily="34" charset="0"/>
                    </a:defRPr>
                  </a:pPr>
                  <a:endParaRPr lang="ru-RU"/>
                </a:p>
              </c:txP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7FE8-41DA-B1B9-5861F35A3000}"/>
                </c:ext>
              </c:extLst>
            </c:dLbl>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Lato Bold" panose="020F0502020204030203" pitchFamily="34" charset="0"/>
                    <a:ea typeface="Lato Bold" panose="020F0502020204030203" pitchFamily="34" charset="0"/>
                    <a:cs typeface="Lato Bold" panose="020F0502020204030203" pitchFamily="34" charset="0"/>
                  </a:defRPr>
                </a:pPr>
                <a:endParaRPr lang="ru-RU"/>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Лист1!$A$2:$A$4</c:f>
              <c:strCache>
                <c:ptCount val="3"/>
                <c:pt idx="0">
                  <c:v>Q1 2018</c:v>
                </c:pt>
                <c:pt idx="1">
                  <c:v>Q1 2019</c:v>
                </c:pt>
                <c:pt idx="2">
                  <c:v>Q1 2020</c:v>
                </c:pt>
              </c:strCache>
            </c:strRef>
          </c:cat>
          <c:val>
            <c:numRef>
              <c:f>Лист1!$C$2:$C$4</c:f>
              <c:numCache>
                <c:formatCode>General</c:formatCode>
                <c:ptCount val="3"/>
                <c:pt idx="0">
                  <c:v>9.6999999999999993</c:v>
                </c:pt>
                <c:pt idx="1">
                  <c:v>9.8000000000000007</c:v>
                </c:pt>
                <c:pt idx="2">
                  <c:v>8.8000000000000007</c:v>
                </c:pt>
              </c:numCache>
            </c:numRef>
          </c:val>
          <c:smooth val="0"/>
          <c:extLst>
            <c:ext xmlns:c16="http://schemas.microsoft.com/office/drawing/2014/chart" uri="{C3380CC4-5D6E-409C-BE32-E72D297353CC}">
              <c16:uniqueId val="{00000006-7FE8-41DA-B1B9-5861F35A3000}"/>
            </c:ext>
          </c:extLst>
        </c:ser>
        <c:dLbls>
          <c:showLegendKey val="0"/>
          <c:showVal val="0"/>
          <c:showCatName val="0"/>
          <c:showSerName val="0"/>
          <c:showPercent val="0"/>
          <c:showBubbleSize val="0"/>
        </c:dLbls>
        <c:marker val="1"/>
        <c:smooth val="0"/>
        <c:axId val="808946527"/>
        <c:axId val="1183632767"/>
      </c:lineChart>
      <c:catAx>
        <c:axId val="2057379583"/>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Lato Light" panose="020F0502020204030203" pitchFamily="34" charset="0"/>
                <a:ea typeface="Lato Light" panose="020F0502020204030203" pitchFamily="34" charset="0"/>
                <a:cs typeface="Lato Light" panose="020F0502020204030203" pitchFamily="34" charset="0"/>
              </a:defRPr>
            </a:pPr>
            <a:endParaRPr lang="ru-RU"/>
          </a:p>
        </c:txPr>
        <c:crossAx val="1183641503"/>
        <c:crosses val="autoZero"/>
        <c:auto val="1"/>
        <c:lblAlgn val="ctr"/>
        <c:lblOffset val="100"/>
        <c:noMultiLvlLbl val="0"/>
      </c:catAx>
      <c:valAx>
        <c:axId val="1183641503"/>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tx1"/>
                </a:solidFill>
                <a:latin typeface="Lato Light" panose="020F0502020204030203" pitchFamily="34" charset="0"/>
                <a:ea typeface="Lato Light" panose="020F0502020204030203" pitchFamily="34" charset="0"/>
                <a:cs typeface="Lato Light" panose="020F0502020204030203" pitchFamily="34" charset="0"/>
              </a:defRPr>
            </a:pPr>
            <a:endParaRPr lang="ru-RU"/>
          </a:p>
        </c:txPr>
        <c:crossAx val="2057379583"/>
        <c:crosses val="autoZero"/>
        <c:crossBetween val="between"/>
        <c:majorUnit val="0.2"/>
      </c:valAx>
      <c:valAx>
        <c:axId val="1183632767"/>
        <c:scaling>
          <c:orientation val="minMax"/>
          <c:max val="15"/>
          <c:min val="6"/>
        </c:scaling>
        <c:delete val="0"/>
        <c:axPos val="r"/>
        <c:numFmt formatCode="General" sourceLinked="1"/>
        <c:majorTickMark val="out"/>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ru-RU"/>
          </a:p>
        </c:txPr>
        <c:crossAx val="808946527"/>
        <c:crosses val="max"/>
        <c:crossBetween val="between"/>
        <c:majorUnit val="2"/>
      </c:valAx>
      <c:catAx>
        <c:axId val="808946527"/>
        <c:scaling>
          <c:orientation val="minMax"/>
        </c:scaling>
        <c:delete val="1"/>
        <c:axPos val="b"/>
        <c:numFmt formatCode="General" sourceLinked="1"/>
        <c:majorTickMark val="out"/>
        <c:minorTickMark val="none"/>
        <c:tickLblPos val="nextTo"/>
        <c:crossAx val="1183632767"/>
        <c:crosses val="autoZero"/>
        <c:auto val="1"/>
        <c:lblAlgn val="ctr"/>
        <c:lblOffset val="100"/>
        <c:noMultiLvlLbl val="0"/>
      </c:catAx>
      <c:spPr>
        <a:noFill/>
        <a:ln>
          <a:noFill/>
        </a:ln>
        <a:effectLst/>
      </c:spPr>
    </c:plotArea>
    <c:legend>
      <c:legendPos val="b"/>
      <c:layout>
        <c:manualLayout>
          <c:xMode val="edge"/>
          <c:yMode val="edge"/>
          <c:x val="8.0145191648002823E-2"/>
          <c:y val="8.0955978822701215E-4"/>
          <c:w val="0.84824341423129468"/>
          <c:h val="0.14009693987491101"/>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Lato Light" panose="020F0502020204030203" pitchFamily="34" charset="0"/>
              <a:ea typeface="Lato Light" panose="020F0502020204030203" pitchFamily="34" charset="0"/>
              <a:cs typeface="Lato Light" panose="020F0502020204030203" pitchFamily="34" charset="0"/>
            </a:defRPr>
          </a:pPr>
          <a:endParaRPr lang="ru-RU"/>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ru-RU"/>
    </a:p>
  </c:txPr>
  <c:externalData r:id="rId4">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0171428552229549"/>
          <c:y val="0.1084829916498722"/>
          <c:w val="0.82949671264183955"/>
          <c:h val="0.70664804606417031"/>
        </c:manualLayout>
      </c:layout>
      <c:barChart>
        <c:barDir val="col"/>
        <c:grouping val="clustered"/>
        <c:varyColors val="0"/>
        <c:ser>
          <c:idx val="0"/>
          <c:order val="0"/>
          <c:tx>
            <c:strRef>
              <c:f>Лист1!$B$1</c:f>
              <c:strCache>
                <c:ptCount val="1"/>
                <c:pt idx="0">
                  <c:v>Growth (mio m2) </c:v>
                </c:pt>
              </c:strCache>
            </c:strRef>
          </c:tx>
          <c:spPr>
            <a:solidFill>
              <a:schemeClr val="accent1"/>
            </a:solidFill>
            <a:ln>
              <a:noFill/>
            </a:ln>
            <a:effectLst/>
          </c:spPr>
          <c:invertIfNegative val="0"/>
          <c:dLbls>
            <c:dLbl>
              <c:idx val="0"/>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D3A7-4A7C-8970-FEB0A864997A}"/>
                </c:ext>
              </c:extLst>
            </c:dLbl>
            <c:dLbl>
              <c:idx val="1"/>
              <c:layout>
                <c:manualLayout>
                  <c:x val="4.2669827593737547E-3"/>
                  <c:y val="7.1704783527581049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D3A7-4A7C-8970-FEB0A864997A}"/>
                </c:ext>
              </c:extLst>
            </c:dLbl>
            <c:dLbl>
              <c:idx val="2"/>
              <c:layout>
                <c:manualLayout>
                  <c:x val="0"/>
                  <c:y val="1.039857313918576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D3A7-4A7C-8970-FEB0A864997A}"/>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ru-RU"/>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Лист1!$A$2:$A$4</c:f>
              <c:strCache>
                <c:ptCount val="3"/>
                <c:pt idx="0">
                  <c:v>Q1 2018</c:v>
                </c:pt>
                <c:pt idx="1">
                  <c:v>Q1 2019</c:v>
                </c:pt>
                <c:pt idx="2">
                  <c:v>Q1 2020</c:v>
                </c:pt>
              </c:strCache>
            </c:strRef>
          </c:cat>
          <c:val>
            <c:numRef>
              <c:f>Лист1!$B$2:$B$4</c:f>
              <c:numCache>
                <c:formatCode>0.0%</c:formatCode>
                <c:ptCount val="3"/>
                <c:pt idx="0">
                  <c:v>0.19847328244274806</c:v>
                </c:pt>
                <c:pt idx="1">
                  <c:v>-5.7324840764331121E-2</c:v>
                </c:pt>
                <c:pt idx="2">
                  <c:v>-6.7567567567568525E-3</c:v>
                </c:pt>
              </c:numCache>
            </c:numRef>
          </c:val>
          <c:extLst>
            <c:ext xmlns:c16="http://schemas.microsoft.com/office/drawing/2014/chart" uri="{C3380CC4-5D6E-409C-BE32-E72D297353CC}">
              <c16:uniqueId val="{00000003-D3A7-4A7C-8970-FEB0A864997A}"/>
            </c:ext>
          </c:extLst>
        </c:ser>
        <c:dLbls>
          <c:showLegendKey val="0"/>
          <c:showVal val="0"/>
          <c:showCatName val="0"/>
          <c:showSerName val="0"/>
          <c:showPercent val="0"/>
          <c:showBubbleSize val="0"/>
        </c:dLbls>
        <c:gapWidth val="40"/>
        <c:axId val="2057379583"/>
        <c:axId val="1183641503"/>
      </c:barChart>
      <c:lineChart>
        <c:grouping val="standard"/>
        <c:varyColors val="0"/>
        <c:ser>
          <c:idx val="1"/>
          <c:order val="1"/>
          <c:tx>
            <c:strRef>
              <c:f>Лист1!$C$1</c:f>
              <c:strCache>
                <c:ptCount val="1"/>
                <c:pt idx="0">
                  <c:v>th. Apartments</c:v>
                </c:pt>
              </c:strCache>
            </c:strRef>
          </c:tx>
          <c:spPr>
            <a:ln w="28575" cap="rnd">
              <a:solidFill>
                <a:srgbClr val="C00000"/>
              </a:solidFill>
              <a:round/>
            </a:ln>
            <a:effectLst/>
          </c:spPr>
          <c:marker>
            <c:symbol val="none"/>
          </c:marker>
          <c:dLbls>
            <c:dLbl>
              <c:idx val="0"/>
              <c:layout>
                <c:manualLayout>
                  <c:x val="3.4135862074990038E-2"/>
                  <c:y val="-8.83449530439432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D3A7-4A7C-8970-FEB0A864997A}"/>
                </c:ext>
              </c:extLst>
            </c:dLbl>
            <c:dLbl>
              <c:idx val="1"/>
              <c:layout>
                <c:manualLayout>
                  <c:x val="8.5339655187475095E-3"/>
                  <c:y val="-5.6301283941745918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D3A7-4A7C-8970-FEB0A864997A}"/>
                </c:ext>
              </c:extLst>
            </c:dLbl>
            <c:dLbl>
              <c:idx val="2"/>
              <c:layout>
                <c:manualLayout>
                  <c:x val="-1.0667456898434386E-2"/>
                  <c:y val="-3.7630513035405731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D3A7-4A7C-8970-FEB0A864997A}"/>
                </c:ext>
              </c:extLst>
            </c:dLbl>
            <c:dLbl>
              <c:idx val="3"/>
              <c:layout>
                <c:manualLayout>
                  <c:x val="-2.7735387935929407E-2"/>
                  <c:y val="-4.63143552187213E-2"/>
                </c:manualLayout>
              </c:layout>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lumMod val="95000"/>
                        </a:schemeClr>
                      </a:solidFill>
                      <a:latin typeface="Lato Bold" panose="020F0502020204030203" pitchFamily="34" charset="0"/>
                      <a:ea typeface="Lato Bold" panose="020F0502020204030203" pitchFamily="34" charset="0"/>
                      <a:cs typeface="Lato Bold" panose="020F0502020204030203" pitchFamily="34" charset="0"/>
                    </a:defRPr>
                  </a:pPr>
                  <a:endParaRPr lang="ru-RU"/>
                </a:p>
              </c:txP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D3A7-4A7C-8970-FEB0A864997A}"/>
                </c:ext>
              </c:extLst>
            </c:dLbl>
            <c:dLbl>
              <c:idx val="4"/>
              <c:layout>
                <c:manualLayout>
                  <c:x val="-1.4934439657808142E-2"/>
                  <c:y val="-3.4735937358614563E-2"/>
                </c:manualLayout>
              </c:layout>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lumMod val="95000"/>
                        </a:schemeClr>
                      </a:solidFill>
                      <a:latin typeface="Lato Bold" panose="020F0502020204030203" pitchFamily="34" charset="0"/>
                      <a:ea typeface="Lato Bold" panose="020F0502020204030203" pitchFamily="34" charset="0"/>
                      <a:cs typeface="Lato Bold" panose="020F0502020204030203" pitchFamily="34" charset="0"/>
                    </a:defRPr>
                  </a:pPr>
                  <a:endParaRPr lang="ru-RU"/>
                </a:p>
              </c:txP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D3A7-4A7C-8970-FEB0A864997A}"/>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Lato Bold" panose="020F0502020204030203" pitchFamily="34" charset="0"/>
                    <a:ea typeface="Lato Bold" panose="020F0502020204030203" pitchFamily="34" charset="0"/>
                    <a:cs typeface="Lato Bold" panose="020F0502020204030203" pitchFamily="34" charset="0"/>
                  </a:defRPr>
                </a:pPr>
                <a:endParaRPr lang="ru-RU"/>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Лист1!$A$2:$A$4</c:f>
              <c:strCache>
                <c:ptCount val="3"/>
                <c:pt idx="0">
                  <c:v>Q1 2018</c:v>
                </c:pt>
                <c:pt idx="1">
                  <c:v>Q1 2019</c:v>
                </c:pt>
                <c:pt idx="2">
                  <c:v>Q1 2020</c:v>
                </c:pt>
              </c:strCache>
            </c:strRef>
          </c:cat>
          <c:val>
            <c:numRef>
              <c:f>Лист1!$C$2:$C$4</c:f>
              <c:numCache>
                <c:formatCode>0</c:formatCode>
                <c:ptCount val="3"/>
                <c:pt idx="0">
                  <c:v>209.00423728813558</c:v>
                </c:pt>
                <c:pt idx="1">
                  <c:v>197.3</c:v>
                </c:pt>
                <c:pt idx="2">
                  <c:v>191.5</c:v>
                </c:pt>
              </c:numCache>
            </c:numRef>
          </c:val>
          <c:smooth val="0"/>
          <c:extLst>
            <c:ext xmlns:c16="http://schemas.microsoft.com/office/drawing/2014/chart" uri="{C3380CC4-5D6E-409C-BE32-E72D297353CC}">
              <c16:uniqueId val="{00000009-D3A7-4A7C-8970-FEB0A864997A}"/>
            </c:ext>
          </c:extLst>
        </c:ser>
        <c:dLbls>
          <c:showLegendKey val="0"/>
          <c:showVal val="0"/>
          <c:showCatName val="0"/>
          <c:showSerName val="0"/>
          <c:showPercent val="0"/>
          <c:showBubbleSize val="0"/>
        </c:dLbls>
        <c:marker val="1"/>
        <c:smooth val="0"/>
        <c:axId val="808946527"/>
        <c:axId val="1183632767"/>
      </c:lineChart>
      <c:catAx>
        <c:axId val="2057379583"/>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Lato Light" panose="020F0502020204030203" pitchFamily="34" charset="0"/>
                <a:ea typeface="Lato Light" panose="020F0502020204030203" pitchFamily="34" charset="0"/>
                <a:cs typeface="Lato Light" panose="020F0502020204030203" pitchFamily="34" charset="0"/>
              </a:defRPr>
            </a:pPr>
            <a:endParaRPr lang="ru-RU"/>
          </a:p>
        </c:txPr>
        <c:crossAx val="1183641503"/>
        <c:crosses val="autoZero"/>
        <c:auto val="1"/>
        <c:lblAlgn val="ctr"/>
        <c:lblOffset val="100"/>
        <c:noMultiLvlLbl val="0"/>
      </c:catAx>
      <c:valAx>
        <c:axId val="1183641503"/>
        <c:scaling>
          <c:orientation val="minMax"/>
          <c:max val="0.30000000000000004"/>
        </c:scaling>
        <c:delete val="0"/>
        <c:axPos val="l"/>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tx1"/>
                </a:solidFill>
                <a:latin typeface="Lato Light" panose="020F0502020204030203" pitchFamily="34" charset="0"/>
                <a:ea typeface="Lato Light" panose="020F0502020204030203" pitchFamily="34" charset="0"/>
                <a:cs typeface="Lato Light" panose="020F0502020204030203" pitchFamily="34" charset="0"/>
              </a:defRPr>
            </a:pPr>
            <a:endParaRPr lang="ru-RU"/>
          </a:p>
        </c:txPr>
        <c:crossAx val="2057379583"/>
        <c:crosses val="autoZero"/>
        <c:crossBetween val="between"/>
        <c:majorUnit val="0.2"/>
      </c:valAx>
      <c:valAx>
        <c:axId val="1183632767"/>
        <c:scaling>
          <c:orientation val="minMax"/>
          <c:max val="300"/>
          <c:min val="0"/>
        </c:scaling>
        <c:delete val="0"/>
        <c:axPos val="r"/>
        <c:numFmt formatCode="0" sourceLinked="1"/>
        <c:majorTickMark val="out"/>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ru-RU"/>
          </a:p>
        </c:txPr>
        <c:crossAx val="808946527"/>
        <c:crosses val="max"/>
        <c:crossBetween val="between"/>
        <c:majorUnit val="50"/>
      </c:valAx>
      <c:catAx>
        <c:axId val="808946527"/>
        <c:scaling>
          <c:orientation val="minMax"/>
        </c:scaling>
        <c:delete val="1"/>
        <c:axPos val="b"/>
        <c:numFmt formatCode="General" sourceLinked="1"/>
        <c:majorTickMark val="out"/>
        <c:minorTickMark val="none"/>
        <c:tickLblPos val="nextTo"/>
        <c:crossAx val="1183632767"/>
        <c:crosses val="autoZero"/>
        <c:auto val="1"/>
        <c:lblAlgn val="ctr"/>
        <c:lblOffset val="100"/>
        <c:noMultiLvlLbl val="0"/>
      </c:catAx>
      <c:spPr>
        <a:noFill/>
        <a:ln>
          <a:noFill/>
        </a:ln>
        <a:effectLst/>
      </c:spPr>
    </c:plotArea>
    <c:legend>
      <c:legendPos val="b"/>
      <c:layout>
        <c:manualLayout>
          <c:xMode val="edge"/>
          <c:yMode val="edge"/>
          <c:x val="8.0145191648002823E-2"/>
          <c:y val="8.0955978822701215E-4"/>
          <c:w val="0.84824341423129468"/>
          <c:h val="0.14009693987491101"/>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Lato Light" panose="020F0502020204030203" pitchFamily="34" charset="0"/>
              <a:ea typeface="Lato Light" panose="020F0502020204030203" pitchFamily="34" charset="0"/>
              <a:cs typeface="Lato Light" panose="020F0502020204030203" pitchFamily="34" charset="0"/>
            </a:defRPr>
          </a:pPr>
          <a:endParaRPr lang="ru-RU"/>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ru-RU"/>
    </a:p>
  </c:txPr>
  <c:externalData r:id="rId4">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0068486171841019"/>
          <c:y val="0.11777894762682785"/>
          <c:w val="0.82949671264183955"/>
          <c:h val="0.70664804606417031"/>
        </c:manualLayout>
      </c:layout>
      <c:barChart>
        <c:barDir val="col"/>
        <c:grouping val="clustered"/>
        <c:varyColors val="0"/>
        <c:ser>
          <c:idx val="0"/>
          <c:order val="0"/>
          <c:tx>
            <c:strRef>
              <c:f>Лист1!$B$1</c:f>
              <c:strCache>
                <c:ptCount val="1"/>
                <c:pt idx="0">
                  <c:v>Volume Growth (RUB)</c:v>
                </c:pt>
              </c:strCache>
            </c:strRef>
          </c:tx>
          <c:spPr>
            <a:solidFill>
              <a:schemeClr val="accent1"/>
            </a:solidFill>
            <a:ln>
              <a:noFill/>
            </a:ln>
            <a:effectLst/>
          </c:spPr>
          <c:invertIfNegative val="0"/>
          <c:dLbls>
            <c:dLbl>
              <c:idx val="0"/>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CF4D-44DE-B386-A34FCA2D25C0}"/>
                </c:ext>
              </c:extLst>
            </c:dLbl>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CF4D-44DE-B386-A34FCA2D25C0}"/>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CF4D-44DE-B386-A34FCA2D25C0}"/>
                </c:ext>
              </c:extLst>
            </c:dLbl>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mn-lt"/>
                    <a:ea typeface="+mn-ea"/>
                    <a:cs typeface="+mn-cs"/>
                  </a:defRPr>
                </a:pPr>
                <a:endParaRPr lang="ru-RU"/>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Лист1!$A$2:$A$4</c:f>
              <c:strCache>
                <c:ptCount val="3"/>
                <c:pt idx="0">
                  <c:v>Q1 2018</c:v>
                </c:pt>
                <c:pt idx="1">
                  <c:v>Q1 2019</c:v>
                </c:pt>
                <c:pt idx="2">
                  <c:v>Q1 2020</c:v>
                </c:pt>
              </c:strCache>
            </c:strRef>
          </c:cat>
          <c:val>
            <c:numRef>
              <c:f>Лист1!$B$2:$B$4</c:f>
              <c:numCache>
                <c:formatCode>0%</c:formatCode>
                <c:ptCount val="3"/>
                <c:pt idx="0">
                  <c:v>0.4</c:v>
                </c:pt>
                <c:pt idx="1">
                  <c:v>0.2</c:v>
                </c:pt>
                <c:pt idx="2">
                  <c:v>0.20799999999999999</c:v>
                </c:pt>
              </c:numCache>
            </c:numRef>
          </c:val>
          <c:extLst>
            <c:ext xmlns:c16="http://schemas.microsoft.com/office/drawing/2014/chart" uri="{C3380CC4-5D6E-409C-BE32-E72D297353CC}">
              <c16:uniqueId val="{00000003-CF4D-44DE-B386-A34FCA2D25C0}"/>
            </c:ext>
          </c:extLst>
        </c:ser>
        <c:dLbls>
          <c:showLegendKey val="0"/>
          <c:showVal val="0"/>
          <c:showCatName val="0"/>
          <c:showSerName val="0"/>
          <c:showPercent val="0"/>
          <c:showBubbleSize val="0"/>
        </c:dLbls>
        <c:gapWidth val="40"/>
        <c:axId val="2057379583"/>
        <c:axId val="1183641503"/>
      </c:barChart>
      <c:lineChart>
        <c:grouping val="standard"/>
        <c:varyColors val="0"/>
        <c:ser>
          <c:idx val="1"/>
          <c:order val="1"/>
          <c:tx>
            <c:strRef>
              <c:f>Лист1!$C$1</c:f>
              <c:strCache>
                <c:ptCount val="1"/>
                <c:pt idx="0">
                  <c:v>Avg. Interest Rate</c:v>
                </c:pt>
              </c:strCache>
            </c:strRef>
          </c:tx>
          <c:spPr>
            <a:ln w="28575" cap="rnd">
              <a:solidFill>
                <a:srgbClr val="C00000"/>
              </a:solidFill>
              <a:round/>
            </a:ln>
            <a:effectLst/>
          </c:spPr>
          <c:marker>
            <c:symbol val="none"/>
          </c:marker>
          <c:dLbls>
            <c:dLbl>
              <c:idx val="0"/>
              <c:layout>
                <c:manualLayout>
                  <c:x val="8.5339655187474696E-3"/>
                  <c:y val="4.5358881110554333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CF4D-44DE-B386-A34FCA2D25C0}"/>
                </c:ext>
              </c:extLst>
            </c:dLbl>
            <c:dLbl>
              <c:idx val="1"/>
              <c:layout>
                <c:manualLayout>
                  <c:x val="1.2800948278121265E-2"/>
                  <c:y val="-1.7367929093264196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CF4D-44DE-B386-A34FCA2D25C0}"/>
                </c:ext>
              </c:extLst>
            </c:dLbl>
            <c:dLbl>
              <c:idx val="2"/>
              <c:layout>
                <c:manualLayout>
                  <c:x val="-1.0667456898434386E-2"/>
                  <c:y val="-3.7630513035405731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CF4D-44DE-B386-A34FCA2D25C0}"/>
                </c:ext>
              </c:extLst>
            </c:dLbl>
            <c:dLbl>
              <c:idx val="3"/>
              <c:layout>
                <c:manualLayout>
                  <c:x val="-2.7735387935929407E-2"/>
                  <c:y val="-4.63143552187213E-2"/>
                </c:manualLayout>
              </c:layout>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lumMod val="95000"/>
                        </a:schemeClr>
                      </a:solidFill>
                      <a:latin typeface="Lato Bold" panose="020F0502020204030203" pitchFamily="34" charset="0"/>
                      <a:ea typeface="Lato Bold" panose="020F0502020204030203" pitchFamily="34" charset="0"/>
                      <a:cs typeface="Lato Bold" panose="020F0502020204030203" pitchFamily="34" charset="0"/>
                    </a:defRPr>
                  </a:pPr>
                  <a:endParaRPr lang="ru-RU"/>
                </a:p>
              </c:txP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CF4D-44DE-B386-A34FCA2D25C0}"/>
                </c:ext>
              </c:extLst>
            </c:dLbl>
            <c:dLbl>
              <c:idx val="4"/>
              <c:layout>
                <c:manualLayout>
                  <c:x val="-1.4934439657808142E-2"/>
                  <c:y val="-3.4735937358614563E-2"/>
                </c:manualLayout>
              </c:layout>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lumMod val="95000"/>
                        </a:schemeClr>
                      </a:solidFill>
                      <a:latin typeface="Lato Bold" panose="020F0502020204030203" pitchFamily="34" charset="0"/>
                      <a:ea typeface="Lato Bold" panose="020F0502020204030203" pitchFamily="34" charset="0"/>
                      <a:cs typeface="Lato Bold" panose="020F0502020204030203" pitchFamily="34" charset="0"/>
                    </a:defRPr>
                  </a:pPr>
                  <a:endParaRPr lang="ru-RU"/>
                </a:p>
              </c:txP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CF4D-44DE-B386-A34FCA2D25C0}"/>
                </c:ext>
              </c:extLst>
            </c:dLbl>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Lato Bold" panose="020F0502020204030203" pitchFamily="34" charset="0"/>
                    <a:ea typeface="Lato Bold" panose="020F0502020204030203" pitchFamily="34" charset="0"/>
                    <a:cs typeface="Lato Bold" panose="020F0502020204030203" pitchFamily="34" charset="0"/>
                  </a:defRPr>
                </a:pPr>
                <a:endParaRPr lang="ru-RU"/>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Лист1!$A$2:$A$4</c:f>
              <c:strCache>
                <c:ptCount val="3"/>
                <c:pt idx="0">
                  <c:v>Q1 2018</c:v>
                </c:pt>
                <c:pt idx="1">
                  <c:v>Q1 2019</c:v>
                </c:pt>
                <c:pt idx="2">
                  <c:v>Q1 2020</c:v>
                </c:pt>
              </c:strCache>
            </c:strRef>
          </c:cat>
          <c:val>
            <c:numRef>
              <c:f>Лист1!$C$2:$C$4</c:f>
              <c:numCache>
                <c:formatCode>General</c:formatCode>
                <c:ptCount val="3"/>
                <c:pt idx="0">
                  <c:v>7.5</c:v>
                </c:pt>
                <c:pt idx="1">
                  <c:v>7.8</c:v>
                </c:pt>
                <c:pt idx="2">
                  <c:v>5.5</c:v>
                </c:pt>
              </c:numCache>
            </c:numRef>
          </c:val>
          <c:smooth val="0"/>
          <c:extLst>
            <c:ext xmlns:c16="http://schemas.microsoft.com/office/drawing/2014/chart" uri="{C3380CC4-5D6E-409C-BE32-E72D297353CC}">
              <c16:uniqueId val="{00000009-CF4D-44DE-B386-A34FCA2D25C0}"/>
            </c:ext>
          </c:extLst>
        </c:ser>
        <c:dLbls>
          <c:showLegendKey val="0"/>
          <c:showVal val="0"/>
          <c:showCatName val="0"/>
          <c:showSerName val="0"/>
          <c:showPercent val="0"/>
          <c:showBubbleSize val="0"/>
        </c:dLbls>
        <c:marker val="1"/>
        <c:smooth val="0"/>
        <c:axId val="808946527"/>
        <c:axId val="1183632767"/>
      </c:lineChart>
      <c:catAx>
        <c:axId val="2057379583"/>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Lato Light" panose="020F0502020204030203" pitchFamily="34" charset="0"/>
                <a:ea typeface="Lato Light" panose="020F0502020204030203" pitchFamily="34" charset="0"/>
                <a:cs typeface="Lato Light" panose="020F0502020204030203" pitchFamily="34" charset="0"/>
              </a:defRPr>
            </a:pPr>
            <a:endParaRPr lang="ru-RU"/>
          </a:p>
        </c:txPr>
        <c:crossAx val="1183641503"/>
        <c:crosses val="autoZero"/>
        <c:auto val="1"/>
        <c:lblAlgn val="ctr"/>
        <c:lblOffset val="100"/>
        <c:noMultiLvlLbl val="0"/>
      </c:catAx>
      <c:valAx>
        <c:axId val="1183641503"/>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tx1"/>
                </a:solidFill>
                <a:latin typeface="Lato Light" panose="020F0502020204030203" pitchFamily="34" charset="0"/>
                <a:ea typeface="Lato Light" panose="020F0502020204030203" pitchFamily="34" charset="0"/>
                <a:cs typeface="Lato Light" panose="020F0502020204030203" pitchFamily="34" charset="0"/>
              </a:defRPr>
            </a:pPr>
            <a:endParaRPr lang="ru-RU"/>
          </a:p>
        </c:txPr>
        <c:crossAx val="2057379583"/>
        <c:crosses val="autoZero"/>
        <c:crossBetween val="between"/>
        <c:majorUnit val="0.2"/>
      </c:valAx>
      <c:valAx>
        <c:axId val="1183632767"/>
        <c:scaling>
          <c:orientation val="minMax"/>
          <c:max val="8"/>
          <c:min val="0"/>
        </c:scaling>
        <c:delete val="0"/>
        <c:axPos val="r"/>
        <c:numFmt formatCode="General" sourceLinked="1"/>
        <c:majorTickMark val="out"/>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ru-RU"/>
          </a:p>
        </c:txPr>
        <c:crossAx val="808946527"/>
        <c:crosses val="max"/>
        <c:crossBetween val="between"/>
        <c:majorUnit val="2"/>
      </c:valAx>
      <c:catAx>
        <c:axId val="808946527"/>
        <c:scaling>
          <c:orientation val="minMax"/>
        </c:scaling>
        <c:delete val="1"/>
        <c:axPos val="b"/>
        <c:numFmt formatCode="General" sourceLinked="1"/>
        <c:majorTickMark val="out"/>
        <c:minorTickMark val="none"/>
        <c:tickLblPos val="nextTo"/>
        <c:crossAx val="1183632767"/>
        <c:crosses val="autoZero"/>
        <c:auto val="1"/>
        <c:lblAlgn val="ctr"/>
        <c:lblOffset val="100"/>
        <c:noMultiLvlLbl val="0"/>
      </c:catAx>
      <c:spPr>
        <a:noFill/>
        <a:ln>
          <a:noFill/>
        </a:ln>
        <a:effectLst/>
      </c:spPr>
    </c:plotArea>
    <c:legend>
      <c:legendPos val="b"/>
      <c:layout>
        <c:manualLayout>
          <c:xMode val="edge"/>
          <c:yMode val="edge"/>
          <c:x val="8.0145191648002823E-2"/>
          <c:y val="8.0955978822701215E-4"/>
          <c:w val="0.84824341423129468"/>
          <c:h val="0.14009693987491101"/>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Lato Light" panose="020F0502020204030203" pitchFamily="34" charset="0"/>
              <a:ea typeface="Lato Light" panose="020F0502020204030203" pitchFamily="34" charset="0"/>
              <a:cs typeface="Lato Light" panose="020F0502020204030203" pitchFamily="34" charset="0"/>
            </a:defRPr>
          </a:pPr>
          <a:endParaRPr lang="ru-RU"/>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ru-RU"/>
    </a:p>
  </c:txPr>
  <c:externalData r:id="rId4">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0068486171841019"/>
          <c:y val="0.11777894762682785"/>
          <c:w val="0.82949671264183955"/>
          <c:h val="0.70664804606417031"/>
        </c:manualLayout>
      </c:layout>
      <c:barChart>
        <c:barDir val="col"/>
        <c:grouping val="clustered"/>
        <c:varyColors val="0"/>
        <c:ser>
          <c:idx val="1"/>
          <c:order val="1"/>
          <c:tx>
            <c:strRef>
              <c:f>Лист1!$C$1</c:f>
              <c:strCache>
                <c:ptCount val="1"/>
                <c:pt idx="0">
                  <c:v>Real income of population growth</c:v>
                </c:pt>
              </c:strCache>
            </c:strRef>
          </c:tx>
          <c:spPr>
            <a:solidFill>
              <a:srgbClr val="414549"/>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mn-lt"/>
                    <a:ea typeface="+mn-ea"/>
                    <a:cs typeface="+mn-cs"/>
                  </a:defRPr>
                </a:pPr>
                <a:endParaRPr lang="ru-RU"/>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Лист1!$A$2:$A$4</c:f>
              <c:strCache>
                <c:ptCount val="3"/>
                <c:pt idx="0">
                  <c:v>Q1 2018</c:v>
                </c:pt>
                <c:pt idx="1">
                  <c:v>Q1 2019</c:v>
                </c:pt>
                <c:pt idx="2">
                  <c:v>Q1 2020</c:v>
                </c:pt>
              </c:strCache>
            </c:strRef>
          </c:cat>
          <c:val>
            <c:numRef>
              <c:f>Лист1!$C$2:$C$4</c:f>
              <c:numCache>
                <c:formatCode>0.0%</c:formatCode>
                <c:ptCount val="3"/>
                <c:pt idx="0">
                  <c:v>-2E-3</c:v>
                </c:pt>
                <c:pt idx="1">
                  <c:v>8.0000000000000002E-3</c:v>
                </c:pt>
                <c:pt idx="2">
                  <c:v>-0.05</c:v>
                </c:pt>
              </c:numCache>
            </c:numRef>
          </c:val>
          <c:extLst>
            <c:ext xmlns:c16="http://schemas.microsoft.com/office/drawing/2014/chart" uri="{C3380CC4-5D6E-409C-BE32-E72D297353CC}">
              <c16:uniqueId val="{0000000A-4927-42CA-8417-8387A359E180}"/>
            </c:ext>
          </c:extLst>
        </c:ser>
        <c:dLbls>
          <c:showLegendKey val="0"/>
          <c:showVal val="0"/>
          <c:showCatName val="0"/>
          <c:showSerName val="0"/>
          <c:showPercent val="0"/>
          <c:showBubbleSize val="0"/>
        </c:dLbls>
        <c:gapWidth val="40"/>
        <c:axId val="2057379583"/>
        <c:axId val="1183641503"/>
      </c:barChart>
      <c:lineChart>
        <c:grouping val="standard"/>
        <c:varyColors val="0"/>
        <c:ser>
          <c:idx val="0"/>
          <c:order val="0"/>
          <c:tx>
            <c:strRef>
              <c:f>Лист1!$B$1</c:f>
              <c:strCache>
                <c:ptCount val="1"/>
                <c:pt idx="0">
                  <c:v>Inflation growth</c:v>
                </c:pt>
              </c:strCache>
            </c:strRef>
          </c:tx>
          <c:spPr>
            <a:ln w="28575" cap="rnd">
              <a:solidFill>
                <a:srgbClr val="C00000"/>
              </a:solidFill>
              <a:round/>
            </a:ln>
            <a:effectLst/>
          </c:spPr>
          <c:marker>
            <c:symbol val="none"/>
          </c:marker>
          <c:dLbls>
            <c:dLbl>
              <c:idx val="0"/>
              <c:layout>
                <c:manualLayout>
                  <c:x val="0"/>
                  <c:y val="-4.6835695585680397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4927-42CA-8417-8387A359E180}"/>
                </c:ext>
              </c:extLst>
            </c:dLbl>
            <c:dLbl>
              <c:idx val="1"/>
              <c:layout>
                <c:manualLayout>
                  <c:x val="-2.2138317418149318E-2"/>
                  <c:y val="-6.0886404261384489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4927-42CA-8417-8387A359E180}"/>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4927-42CA-8417-8387A359E180}"/>
                </c:ext>
              </c:extLst>
            </c:dLbl>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mn-lt"/>
                    <a:ea typeface="+mn-ea"/>
                    <a:cs typeface="+mn-cs"/>
                  </a:defRPr>
                </a:pPr>
                <a:endParaRPr lang="ru-RU"/>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Лист1!$A$2:$A$4</c:f>
              <c:strCache>
                <c:ptCount val="3"/>
                <c:pt idx="0">
                  <c:v>Q1 2018</c:v>
                </c:pt>
                <c:pt idx="1">
                  <c:v>Q1 2019</c:v>
                </c:pt>
                <c:pt idx="2">
                  <c:v>Q1 2020</c:v>
                </c:pt>
              </c:strCache>
            </c:strRef>
          </c:cat>
          <c:val>
            <c:numRef>
              <c:f>Лист1!$B$2:$B$4</c:f>
              <c:numCache>
                <c:formatCode>0.0%</c:formatCode>
                <c:ptCount val="3"/>
                <c:pt idx="0">
                  <c:v>4.2999999999999997E-2</c:v>
                </c:pt>
                <c:pt idx="1">
                  <c:v>0.03</c:v>
                </c:pt>
                <c:pt idx="2">
                  <c:v>0.05</c:v>
                </c:pt>
              </c:numCache>
            </c:numRef>
          </c:val>
          <c:smooth val="0"/>
          <c:extLst>
            <c:ext xmlns:c16="http://schemas.microsoft.com/office/drawing/2014/chart" uri="{C3380CC4-5D6E-409C-BE32-E72D297353CC}">
              <c16:uniqueId val="{00000003-4927-42CA-8417-8387A359E180}"/>
            </c:ext>
          </c:extLst>
        </c:ser>
        <c:dLbls>
          <c:showLegendKey val="0"/>
          <c:showVal val="0"/>
          <c:showCatName val="0"/>
          <c:showSerName val="0"/>
          <c:showPercent val="0"/>
          <c:showBubbleSize val="0"/>
        </c:dLbls>
        <c:marker val="1"/>
        <c:smooth val="0"/>
        <c:axId val="2057379583"/>
        <c:axId val="1183641503"/>
      </c:lineChart>
      <c:catAx>
        <c:axId val="2057379583"/>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Lato Light" panose="020F0502020204030203" pitchFamily="34" charset="0"/>
                <a:ea typeface="Lato Light" panose="020F0502020204030203" pitchFamily="34" charset="0"/>
                <a:cs typeface="Lato Light" panose="020F0502020204030203" pitchFamily="34" charset="0"/>
              </a:defRPr>
            </a:pPr>
            <a:endParaRPr lang="ru-RU"/>
          </a:p>
        </c:txPr>
        <c:crossAx val="1183641503"/>
        <c:crosses val="autoZero"/>
        <c:auto val="1"/>
        <c:lblAlgn val="ctr"/>
        <c:lblOffset val="100"/>
        <c:noMultiLvlLbl val="0"/>
      </c:catAx>
      <c:valAx>
        <c:axId val="1183641503"/>
        <c:scaling>
          <c:orientation val="minMax"/>
          <c:max val="6.0000000000000012E-2"/>
          <c:min val="-6.0000000000000012E-2"/>
        </c:scaling>
        <c:delete val="0"/>
        <c:axPos val="l"/>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tx1"/>
                </a:solidFill>
                <a:latin typeface="Lato Light" panose="020F0502020204030203" pitchFamily="34" charset="0"/>
                <a:ea typeface="Lato Light" panose="020F0502020204030203" pitchFamily="34" charset="0"/>
                <a:cs typeface="Lato Light" panose="020F0502020204030203" pitchFamily="34" charset="0"/>
              </a:defRPr>
            </a:pPr>
            <a:endParaRPr lang="ru-RU"/>
          </a:p>
        </c:txPr>
        <c:crossAx val="2057379583"/>
        <c:crosses val="autoZero"/>
        <c:crossBetween val="between"/>
        <c:majorUnit val="2.0000000000000004E-2"/>
      </c:valAx>
      <c:spPr>
        <a:noFill/>
        <a:ln>
          <a:noFill/>
        </a:ln>
        <a:effectLst/>
      </c:spPr>
    </c:plotArea>
    <c:legend>
      <c:legendPos val="b"/>
      <c:layout>
        <c:manualLayout>
          <c:xMode val="edge"/>
          <c:yMode val="edge"/>
          <c:x val="0.13348247614017475"/>
          <c:y val="5.2190453852641629E-3"/>
          <c:w val="0.81103481816945744"/>
          <c:h val="9.4708045819324113E-2"/>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Lato Light" panose="020F0502020204030203" pitchFamily="34" charset="0"/>
              <a:ea typeface="Lato Light" panose="020F0502020204030203" pitchFamily="34" charset="0"/>
              <a:cs typeface="Lato Light" panose="020F0502020204030203" pitchFamily="34" charset="0"/>
            </a:defRPr>
          </a:pPr>
          <a:endParaRPr lang="ru-RU"/>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ru-RU"/>
    </a:p>
  </c:txPr>
  <c:externalData r:id="rId4">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195512786272998"/>
          <c:y val="0.15028035416144428"/>
          <c:w val="0.84400576017912965"/>
          <c:h val="0.70026640148702402"/>
        </c:manualLayout>
      </c:layout>
      <c:lineChart>
        <c:grouping val="standard"/>
        <c:varyColors val="0"/>
        <c:ser>
          <c:idx val="0"/>
          <c:order val="0"/>
          <c:tx>
            <c:strRef>
              <c:f>Tabelle1!$B$1</c:f>
              <c:strCache>
                <c:ptCount val="1"/>
                <c:pt idx="0">
                  <c:v>Online growth</c:v>
                </c:pt>
              </c:strCache>
            </c:strRef>
          </c:tx>
          <c:spPr>
            <a:ln w="28575" cap="rnd">
              <a:solidFill>
                <a:schemeClr val="accent4"/>
              </a:solidFill>
              <a:round/>
            </a:ln>
            <a:effectLst/>
          </c:spPr>
          <c:marker>
            <c:symbol val="none"/>
          </c:marker>
          <c:cat>
            <c:numRef>
              <c:f>Tabelle1!$A$2:$A$16</c:f>
              <c:numCache>
                <c:formatCode>General</c:formatCode>
                <c:ptCount val="15"/>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numCache>
            </c:numRef>
          </c:cat>
          <c:val>
            <c:numRef>
              <c:f>Tabelle1!$B$2:$B$16</c:f>
              <c:numCache>
                <c:formatCode>0%</c:formatCode>
                <c:ptCount val="15"/>
                <c:pt idx="0">
                  <c:v>0.1766637938765491</c:v>
                </c:pt>
                <c:pt idx="1">
                  <c:v>0.21885777494177008</c:v>
                </c:pt>
                <c:pt idx="2">
                  <c:v>0.26469305695832818</c:v>
                </c:pt>
                <c:pt idx="3">
                  <c:v>0.2568848678239371</c:v>
                </c:pt>
                <c:pt idx="4">
                  <c:v>0.13496677892635353</c:v>
                </c:pt>
                <c:pt idx="5">
                  <c:v>2.8568031967105282E-2</c:v>
                </c:pt>
                <c:pt idx="6">
                  <c:v>0.21608137370581657</c:v>
                </c:pt>
                <c:pt idx="7">
                  <c:v>9.4956573927097415E-2</c:v>
                </c:pt>
                <c:pt idx="8">
                  <c:v>0.16075737115054467</c:v>
                </c:pt>
                <c:pt idx="9">
                  <c:v>0.25442298651643641</c:v>
                </c:pt>
                <c:pt idx="10">
                  <c:v>0.57446338890225257</c:v>
                </c:pt>
                <c:pt idx="11">
                  <c:v>1.1392422863728959</c:v>
                </c:pt>
                <c:pt idx="12">
                  <c:v>1.1175298073531068</c:v>
                </c:pt>
                <c:pt idx="13">
                  <c:v>1.525910936948905</c:v>
                </c:pt>
                <c:pt idx="14">
                  <c:v>1.6748021497618302</c:v>
                </c:pt>
              </c:numCache>
            </c:numRef>
          </c:val>
          <c:smooth val="1"/>
          <c:extLst>
            <c:ext xmlns:c16="http://schemas.microsoft.com/office/drawing/2014/chart" uri="{C3380CC4-5D6E-409C-BE32-E72D297353CC}">
              <c16:uniqueId val="{00000000-52F0-4FE1-962D-7BC6AA1A1D6B}"/>
            </c:ext>
          </c:extLst>
        </c:ser>
        <c:ser>
          <c:idx val="1"/>
          <c:order val="1"/>
          <c:tx>
            <c:strRef>
              <c:f>Tabelle1!$C$1</c:f>
              <c:strCache>
                <c:ptCount val="1"/>
                <c:pt idx="0">
                  <c:v>Offline growth</c:v>
                </c:pt>
              </c:strCache>
            </c:strRef>
          </c:tx>
          <c:spPr>
            <a:ln w="28575" cap="rnd">
              <a:solidFill>
                <a:schemeClr val="accent2"/>
              </a:solidFill>
              <a:round/>
            </a:ln>
            <a:effectLst/>
          </c:spPr>
          <c:marker>
            <c:symbol val="none"/>
          </c:marker>
          <c:cat>
            <c:numRef>
              <c:f>Tabelle1!$A$2:$A$16</c:f>
              <c:numCache>
                <c:formatCode>General</c:formatCode>
                <c:ptCount val="15"/>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numCache>
            </c:numRef>
          </c:cat>
          <c:val>
            <c:numRef>
              <c:f>Tabelle1!$C$2:$C$16</c:f>
              <c:numCache>
                <c:formatCode>0%</c:formatCode>
                <c:ptCount val="15"/>
                <c:pt idx="0">
                  <c:v>7.6465821869710085E-2</c:v>
                </c:pt>
                <c:pt idx="1">
                  <c:v>-4.2462594199166988E-2</c:v>
                </c:pt>
                <c:pt idx="2">
                  <c:v>-1.7123919186797871E-3</c:v>
                </c:pt>
                <c:pt idx="3">
                  <c:v>-2.6829996530792519E-2</c:v>
                </c:pt>
                <c:pt idx="4">
                  <c:v>-9.3550859103169251E-3</c:v>
                </c:pt>
                <c:pt idx="5">
                  <c:v>-9.1480415064786116E-2</c:v>
                </c:pt>
                <c:pt idx="6">
                  <c:v>-1.8271661880640784E-2</c:v>
                </c:pt>
                <c:pt idx="7">
                  <c:v>-1.9228875108321743E-2</c:v>
                </c:pt>
                <c:pt idx="8">
                  <c:v>3.7795919429083981E-2</c:v>
                </c:pt>
                <c:pt idx="9">
                  <c:v>2.0144406036748837E-2</c:v>
                </c:pt>
                <c:pt idx="10">
                  <c:v>-0.41377274468155001</c:v>
                </c:pt>
                <c:pt idx="11">
                  <c:v>-0.77395052522037444</c:v>
                </c:pt>
                <c:pt idx="12">
                  <c:v>-0.73242340268621886</c:v>
                </c:pt>
                <c:pt idx="13">
                  <c:v>-0.64664739372337932</c:v>
                </c:pt>
                <c:pt idx="14">
                  <c:v>-0.60837984713907045</c:v>
                </c:pt>
              </c:numCache>
            </c:numRef>
          </c:val>
          <c:smooth val="1"/>
          <c:extLst>
            <c:ext xmlns:c16="http://schemas.microsoft.com/office/drawing/2014/chart" uri="{C3380CC4-5D6E-409C-BE32-E72D297353CC}">
              <c16:uniqueId val="{00000001-52F0-4FE1-962D-7BC6AA1A1D6B}"/>
            </c:ext>
          </c:extLst>
        </c:ser>
        <c:ser>
          <c:idx val="2"/>
          <c:order val="2"/>
          <c:tx>
            <c:strRef>
              <c:f>Tabelle1!$D$1</c:f>
              <c:strCache>
                <c:ptCount val="1"/>
                <c:pt idx="0">
                  <c:v>TCG growth</c:v>
                </c:pt>
              </c:strCache>
            </c:strRef>
          </c:tx>
          <c:spPr>
            <a:ln w="28575" cap="rnd">
              <a:solidFill>
                <a:schemeClr val="accent6"/>
              </a:solidFill>
              <a:round/>
            </a:ln>
            <a:effectLst/>
          </c:spPr>
          <c:marker>
            <c:symbol val="none"/>
          </c:marker>
          <c:dLbls>
            <c:dLbl>
              <c:idx val="7"/>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2F0-4FE1-962D-7BC6AA1A1D6B}"/>
                </c:ext>
              </c:extLst>
            </c:dLbl>
            <c:dLbl>
              <c:idx val="10"/>
              <c:layout>
                <c:manualLayout>
                  <c:x val="-2.6623377474159469E-2"/>
                  <c:y val="-9.0101168713847268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52F0-4FE1-962D-7BC6AA1A1D6B}"/>
                </c:ext>
              </c:extLst>
            </c:dLbl>
            <c:spPr>
              <a:solidFill>
                <a:schemeClr val="bg1"/>
              </a:solidFill>
              <a:ln>
                <a:solidFill>
                  <a:schemeClr val="tx1"/>
                </a:solidFill>
              </a:ln>
              <a:effectLst/>
            </c:spPr>
            <c:txPr>
              <a:bodyPr rot="0" spcFirstLastPara="1" vertOverflow="ellipsis" vert="horz" wrap="square" lIns="38100" tIns="19050" rIns="38100" bIns="19050" anchor="ctr" anchorCtr="1">
                <a:spAutoFit/>
              </a:bodyPr>
              <a:lstStyle/>
              <a:p>
                <a:pPr>
                  <a:defRPr sz="1197" b="0" i="0" u="none" strike="noStrike" kern="1200" baseline="0">
                    <a:solidFill>
                      <a:srgbClr val="FF0000"/>
                    </a:solidFill>
                    <a:latin typeface="+mn-lt"/>
                    <a:ea typeface="+mn-ea"/>
                    <a:cs typeface="+mn-cs"/>
                  </a:defRPr>
                </a:pPr>
                <a:endParaRPr lang="ru-RU"/>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Tabelle1!$A$2:$A$16</c:f>
              <c:numCache>
                <c:formatCode>General</c:formatCode>
                <c:ptCount val="15"/>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numCache>
            </c:numRef>
          </c:cat>
          <c:val>
            <c:numRef>
              <c:f>Tabelle1!$D$2:$D$16</c:f>
              <c:numCache>
                <c:formatCode>0%</c:formatCode>
                <c:ptCount val="15"/>
                <c:pt idx="0">
                  <c:v>8.9056494203337916E-2</c:v>
                </c:pt>
                <c:pt idx="1">
                  <c:v>-4.0539732144650514E-3</c:v>
                </c:pt>
                <c:pt idx="2">
                  <c:v>3.8852183018985027E-2</c:v>
                </c:pt>
                <c:pt idx="3">
                  <c:v>1.5146673667218323E-2</c:v>
                </c:pt>
                <c:pt idx="4">
                  <c:v>1.135302553497017E-2</c:v>
                </c:pt>
                <c:pt idx="5">
                  <c:v>-7.3344742635916491E-2</c:v>
                </c:pt>
                <c:pt idx="6">
                  <c:v>1.8425902671667025E-2</c:v>
                </c:pt>
                <c:pt idx="7">
                  <c:v>-1.3262680972068102E-4</c:v>
                </c:pt>
                <c:pt idx="8">
                  <c:v>5.808486573767694E-2</c:v>
                </c:pt>
                <c:pt idx="9">
                  <c:v>5.8156027560916583E-2</c:v>
                </c:pt>
                <c:pt idx="10">
                  <c:v>-0.26590628523274251</c:v>
                </c:pt>
                <c:pt idx="11">
                  <c:v>-0.47767046813578951</c:v>
                </c:pt>
                <c:pt idx="12">
                  <c:v>-0.42832973067621377</c:v>
                </c:pt>
                <c:pt idx="13">
                  <c:v>-0.30771385840950288</c:v>
                </c:pt>
                <c:pt idx="14">
                  <c:v>-0.26524302637504837</c:v>
                </c:pt>
              </c:numCache>
            </c:numRef>
          </c:val>
          <c:smooth val="1"/>
          <c:extLst>
            <c:ext xmlns:c16="http://schemas.microsoft.com/office/drawing/2014/chart" uri="{C3380CC4-5D6E-409C-BE32-E72D297353CC}">
              <c16:uniqueId val="{00000002-52F0-4FE1-962D-7BC6AA1A1D6B}"/>
            </c:ext>
          </c:extLst>
        </c:ser>
        <c:dLbls>
          <c:showLegendKey val="0"/>
          <c:showVal val="0"/>
          <c:showCatName val="0"/>
          <c:showSerName val="0"/>
          <c:showPercent val="0"/>
          <c:showBubbleSize val="0"/>
        </c:dLbls>
        <c:smooth val="0"/>
        <c:axId val="1677757024"/>
        <c:axId val="1467612240"/>
      </c:lineChart>
      <c:catAx>
        <c:axId val="1677757024"/>
        <c:scaling>
          <c:orientation val="minMax"/>
        </c:scaling>
        <c:delete val="0"/>
        <c:axPos val="b"/>
        <c:numFmt formatCode="General" sourceLinked="1"/>
        <c:majorTickMark val="none"/>
        <c:minorTickMark val="none"/>
        <c:tickLblPos val="low"/>
        <c:spPr>
          <a:noFill/>
          <a:ln w="6350" cap="flat" cmpd="sng" algn="ctr">
            <a:solidFill>
              <a:schemeClr val="tx1"/>
            </a:solidFill>
            <a:round/>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ru-RU"/>
          </a:p>
        </c:txPr>
        <c:crossAx val="1467612240"/>
        <c:crossesAt val="0"/>
        <c:auto val="1"/>
        <c:lblAlgn val="ctr"/>
        <c:lblOffset val="100"/>
        <c:noMultiLvlLbl val="0"/>
      </c:catAx>
      <c:valAx>
        <c:axId val="1467612240"/>
        <c:scaling>
          <c:orientation val="minMax"/>
          <c:max val="1.8"/>
          <c:min val="-0.9"/>
        </c:scaling>
        <c:delete val="0"/>
        <c:axPos val="l"/>
        <c:numFmt formatCode="0%" sourceLinked="1"/>
        <c:majorTickMark val="none"/>
        <c:minorTickMark val="none"/>
        <c:tickLblPos val="nextTo"/>
        <c:spPr>
          <a:noFill/>
          <a:ln w="6350">
            <a:solidFill>
              <a:schemeClr val="tx1"/>
            </a:solidFill>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ru-RU"/>
          </a:p>
        </c:txPr>
        <c:crossAx val="1677757024"/>
        <c:crosses val="autoZero"/>
        <c:crossBetween val="between"/>
        <c:majorUnit val="0.5"/>
        <c:minorUnit val="0.2"/>
      </c:valAx>
      <c:spPr>
        <a:noFill/>
        <a:ln>
          <a:noFill/>
        </a:ln>
        <a:effectLst/>
      </c:spPr>
    </c:plotArea>
    <c:legend>
      <c:legendPos val="t"/>
      <c:layout>
        <c:manualLayout>
          <c:xMode val="edge"/>
          <c:yMode val="edge"/>
          <c:x val="7.6523226031260216E-2"/>
          <c:y val="3.1977123314800748E-3"/>
          <c:w val="0.78289017415140971"/>
          <c:h val="0.14743349772730566"/>
        </c:manualLayout>
      </c:layout>
      <c:overlay val="1"/>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ru-RU"/>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ru-RU"/>
    </a:p>
  </c:txPr>
  <c:externalData r:id="rId3">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195512786272998"/>
          <c:y val="0.15028035416144428"/>
          <c:w val="0.84400576017912965"/>
          <c:h val="0.70026640148702402"/>
        </c:manualLayout>
      </c:layout>
      <c:lineChart>
        <c:grouping val="standard"/>
        <c:varyColors val="0"/>
        <c:ser>
          <c:idx val="0"/>
          <c:order val="0"/>
          <c:tx>
            <c:strRef>
              <c:f>Tabelle1!$B$1</c:f>
              <c:strCache>
                <c:ptCount val="1"/>
                <c:pt idx="0">
                  <c:v>Online growth</c:v>
                </c:pt>
              </c:strCache>
            </c:strRef>
          </c:tx>
          <c:spPr>
            <a:ln w="28575" cap="rnd">
              <a:solidFill>
                <a:schemeClr val="accent4"/>
              </a:solidFill>
              <a:round/>
            </a:ln>
            <a:effectLst/>
          </c:spPr>
          <c:marker>
            <c:symbol val="none"/>
          </c:marker>
          <c:cat>
            <c:numRef>
              <c:f>Tabelle1!$A$2:$A$16</c:f>
              <c:numCache>
                <c:formatCode>General</c:formatCode>
                <c:ptCount val="15"/>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numCache>
            </c:numRef>
          </c:cat>
          <c:val>
            <c:numRef>
              <c:f>Tabelle1!$B$2:$B$16</c:f>
              <c:numCache>
                <c:formatCode>0%</c:formatCode>
                <c:ptCount val="15"/>
                <c:pt idx="0">
                  <c:v>0.12739244275988756</c:v>
                </c:pt>
                <c:pt idx="1">
                  <c:v>0.13757369323821964</c:v>
                </c:pt>
                <c:pt idx="2">
                  <c:v>0.29847353217674932</c:v>
                </c:pt>
                <c:pt idx="3">
                  <c:v>0.22193105195967905</c:v>
                </c:pt>
                <c:pt idx="4">
                  <c:v>0.16673200083365103</c:v>
                </c:pt>
                <c:pt idx="5">
                  <c:v>0.18901791025857476</c:v>
                </c:pt>
                <c:pt idx="6">
                  <c:v>7.6412629490836201E-2</c:v>
                </c:pt>
                <c:pt idx="7">
                  <c:v>0.17037542185963336</c:v>
                </c:pt>
                <c:pt idx="8">
                  <c:v>0.10697096578923912</c:v>
                </c:pt>
                <c:pt idx="9">
                  <c:v>3.5140418353824206E-2</c:v>
                </c:pt>
                <c:pt idx="10">
                  <c:v>0.38553477276125636</c:v>
                </c:pt>
                <c:pt idx="11">
                  <c:v>0.41174736852515303</c:v>
                </c:pt>
                <c:pt idx="12">
                  <c:v>0.64635086035142719</c:v>
                </c:pt>
                <c:pt idx="13">
                  <c:v>0.79612884730280575</c:v>
                </c:pt>
                <c:pt idx="14">
                  <c:v>0.52877877716406207</c:v>
                </c:pt>
              </c:numCache>
            </c:numRef>
          </c:val>
          <c:smooth val="1"/>
          <c:extLst>
            <c:ext xmlns:c16="http://schemas.microsoft.com/office/drawing/2014/chart" uri="{C3380CC4-5D6E-409C-BE32-E72D297353CC}">
              <c16:uniqueId val="{00000000-0020-4467-8052-28507EEF30B5}"/>
            </c:ext>
          </c:extLst>
        </c:ser>
        <c:ser>
          <c:idx val="1"/>
          <c:order val="1"/>
          <c:tx>
            <c:strRef>
              <c:f>Tabelle1!$C$1</c:f>
              <c:strCache>
                <c:ptCount val="1"/>
                <c:pt idx="0">
                  <c:v>Offline growth</c:v>
                </c:pt>
              </c:strCache>
            </c:strRef>
          </c:tx>
          <c:spPr>
            <a:ln w="28575" cap="rnd">
              <a:solidFill>
                <a:schemeClr val="accent2"/>
              </a:solidFill>
              <a:round/>
            </a:ln>
            <a:effectLst/>
          </c:spPr>
          <c:marker>
            <c:symbol val="none"/>
          </c:marker>
          <c:cat>
            <c:numRef>
              <c:f>Tabelle1!$A$2:$A$16</c:f>
              <c:numCache>
                <c:formatCode>General</c:formatCode>
                <c:ptCount val="15"/>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numCache>
            </c:numRef>
          </c:cat>
          <c:val>
            <c:numRef>
              <c:f>Tabelle1!$C$2:$C$16</c:f>
              <c:numCache>
                <c:formatCode>0%</c:formatCode>
                <c:ptCount val="15"/>
                <c:pt idx="0">
                  <c:v>0.10654798287573239</c:v>
                </c:pt>
                <c:pt idx="1">
                  <c:v>-2.1625246973181588E-3</c:v>
                </c:pt>
                <c:pt idx="2">
                  <c:v>6.9305869062514402E-2</c:v>
                </c:pt>
                <c:pt idx="3">
                  <c:v>4.0670518600806366E-2</c:v>
                </c:pt>
                <c:pt idx="4">
                  <c:v>2.3376571962890159E-2</c:v>
                </c:pt>
                <c:pt idx="5">
                  <c:v>-2.4469930020452908E-2</c:v>
                </c:pt>
                <c:pt idx="6">
                  <c:v>-9.4790358602371543E-3</c:v>
                </c:pt>
                <c:pt idx="7">
                  <c:v>6.8387147109474772E-2</c:v>
                </c:pt>
                <c:pt idx="8">
                  <c:v>1.8667497612587366E-3</c:v>
                </c:pt>
                <c:pt idx="9">
                  <c:v>-7.4195571539272087E-2</c:v>
                </c:pt>
                <c:pt idx="10">
                  <c:v>0.13456429549438048</c:v>
                </c:pt>
                <c:pt idx="11">
                  <c:v>-0.20130650396431496</c:v>
                </c:pt>
                <c:pt idx="12">
                  <c:v>-0.54804628114547194</c:v>
                </c:pt>
                <c:pt idx="13">
                  <c:v>-0.53996972942447141</c:v>
                </c:pt>
                <c:pt idx="14">
                  <c:v>-0.62606003752776718</c:v>
                </c:pt>
              </c:numCache>
            </c:numRef>
          </c:val>
          <c:smooth val="1"/>
          <c:extLst>
            <c:ext xmlns:c16="http://schemas.microsoft.com/office/drawing/2014/chart" uri="{C3380CC4-5D6E-409C-BE32-E72D297353CC}">
              <c16:uniqueId val="{00000001-0020-4467-8052-28507EEF30B5}"/>
            </c:ext>
          </c:extLst>
        </c:ser>
        <c:ser>
          <c:idx val="2"/>
          <c:order val="2"/>
          <c:tx>
            <c:strRef>
              <c:f>Tabelle1!$D$1</c:f>
              <c:strCache>
                <c:ptCount val="1"/>
                <c:pt idx="0">
                  <c:v>TCG growth</c:v>
                </c:pt>
              </c:strCache>
            </c:strRef>
          </c:tx>
          <c:spPr>
            <a:ln w="28575" cap="rnd">
              <a:solidFill>
                <a:schemeClr val="accent6"/>
              </a:solidFill>
              <a:round/>
            </a:ln>
            <a:effectLst/>
          </c:spPr>
          <c:marker>
            <c:symbol val="none"/>
          </c:marker>
          <c:dLbls>
            <c:dLbl>
              <c:idx val="11"/>
              <c:layout>
                <c:manualLayout>
                  <c:x val="0"/>
                  <c:y val="-8.8461000223527153E-2"/>
                </c:manualLayout>
              </c:layout>
              <c:spPr>
                <a:solidFill>
                  <a:schemeClr val="bg1"/>
                </a:solidFill>
                <a:ln>
                  <a:solidFill>
                    <a:schemeClr val="tx1"/>
                  </a:solid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ru-RU"/>
                </a:p>
              </c:txP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020-4467-8052-28507EEF30B5}"/>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ru-RU"/>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Tabelle1!$A$2:$A$16</c:f>
              <c:numCache>
                <c:formatCode>General</c:formatCode>
                <c:ptCount val="15"/>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numCache>
            </c:numRef>
          </c:cat>
          <c:val>
            <c:numRef>
              <c:f>Tabelle1!$D$2:$D$16</c:f>
              <c:numCache>
                <c:formatCode>0%</c:formatCode>
                <c:ptCount val="15"/>
                <c:pt idx="0">
                  <c:v>0.11313247015099197</c:v>
                </c:pt>
                <c:pt idx="1">
                  <c:v>4.5869895294617796E-2</c:v>
                </c:pt>
                <c:pt idx="2">
                  <c:v>0.14827252314441905</c:v>
                </c:pt>
                <c:pt idx="3">
                  <c:v>0.10345079824244427</c:v>
                </c:pt>
                <c:pt idx="4">
                  <c:v>7.1617608301269106E-2</c:v>
                </c:pt>
                <c:pt idx="5">
                  <c:v>5.1349613406164799E-2</c:v>
                </c:pt>
                <c:pt idx="6">
                  <c:v>2.13953708987892E-2</c:v>
                </c:pt>
                <c:pt idx="7">
                  <c:v>0.10447774600048021</c:v>
                </c:pt>
                <c:pt idx="8">
                  <c:v>3.7089532719969433E-2</c:v>
                </c:pt>
                <c:pt idx="9">
                  <c:v>-3.6913250262913595E-2</c:v>
                </c:pt>
                <c:pt idx="10">
                  <c:v>0.22085271020639771</c:v>
                </c:pt>
                <c:pt idx="11">
                  <c:v>1.6704397689500147E-2</c:v>
                </c:pt>
                <c:pt idx="12">
                  <c:v>-0.12033552735704187</c:v>
                </c:pt>
                <c:pt idx="13">
                  <c:v>-5.7602625610343065E-2</c:v>
                </c:pt>
                <c:pt idx="14">
                  <c:v>-0.2122721292948927</c:v>
                </c:pt>
              </c:numCache>
            </c:numRef>
          </c:val>
          <c:smooth val="1"/>
          <c:extLst>
            <c:ext xmlns:c16="http://schemas.microsoft.com/office/drawing/2014/chart" uri="{C3380CC4-5D6E-409C-BE32-E72D297353CC}">
              <c16:uniqueId val="{00000002-0020-4467-8052-28507EEF30B5}"/>
            </c:ext>
          </c:extLst>
        </c:ser>
        <c:dLbls>
          <c:showLegendKey val="0"/>
          <c:showVal val="0"/>
          <c:showCatName val="0"/>
          <c:showSerName val="0"/>
          <c:showPercent val="0"/>
          <c:showBubbleSize val="0"/>
        </c:dLbls>
        <c:smooth val="0"/>
        <c:axId val="1677757024"/>
        <c:axId val="1467612240"/>
      </c:lineChart>
      <c:catAx>
        <c:axId val="1677757024"/>
        <c:scaling>
          <c:orientation val="minMax"/>
        </c:scaling>
        <c:delete val="0"/>
        <c:axPos val="b"/>
        <c:numFmt formatCode="General" sourceLinked="1"/>
        <c:majorTickMark val="none"/>
        <c:minorTickMark val="none"/>
        <c:tickLblPos val="low"/>
        <c:spPr>
          <a:noFill/>
          <a:ln w="6350" cap="flat" cmpd="sng" algn="ctr">
            <a:solidFill>
              <a:schemeClr val="tx1"/>
            </a:solidFill>
            <a:round/>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ru-RU"/>
          </a:p>
        </c:txPr>
        <c:crossAx val="1467612240"/>
        <c:crossesAt val="0"/>
        <c:auto val="1"/>
        <c:lblAlgn val="ctr"/>
        <c:lblOffset val="100"/>
        <c:noMultiLvlLbl val="0"/>
      </c:catAx>
      <c:valAx>
        <c:axId val="1467612240"/>
        <c:scaling>
          <c:orientation val="minMax"/>
          <c:max val="1"/>
          <c:min val="-0.8"/>
        </c:scaling>
        <c:delete val="0"/>
        <c:axPos val="l"/>
        <c:numFmt formatCode="0%" sourceLinked="1"/>
        <c:majorTickMark val="none"/>
        <c:minorTickMark val="none"/>
        <c:tickLblPos val="nextTo"/>
        <c:spPr>
          <a:noFill/>
          <a:ln w="6350">
            <a:solidFill>
              <a:schemeClr val="tx1"/>
            </a:solidFill>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ru-RU"/>
          </a:p>
        </c:txPr>
        <c:crossAx val="1677757024"/>
        <c:crosses val="autoZero"/>
        <c:crossBetween val="between"/>
        <c:majorUnit val="0.4"/>
        <c:minorUnit val="0.2"/>
      </c:valAx>
      <c:spPr>
        <a:noFill/>
        <a:ln>
          <a:noFill/>
        </a:ln>
        <a:effectLst/>
      </c:spPr>
    </c:plotArea>
    <c:legend>
      <c:legendPos val="t"/>
      <c:layout>
        <c:manualLayout>
          <c:xMode val="edge"/>
          <c:yMode val="edge"/>
          <c:x val="7.6523226031260216E-2"/>
          <c:y val="3.1977123314800748E-3"/>
          <c:w val="0.78289017415140971"/>
          <c:h val="0.14743349772730566"/>
        </c:manualLayout>
      </c:layout>
      <c:overlay val="1"/>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ru-RU"/>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ru-RU"/>
    </a:p>
  </c:txPr>
  <c:externalData r:id="rId3">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195512786272998"/>
          <c:y val="0.15028035416144428"/>
          <c:w val="0.84400576017912965"/>
          <c:h val="0.70026640148702402"/>
        </c:manualLayout>
      </c:layout>
      <c:lineChart>
        <c:grouping val="standard"/>
        <c:varyColors val="0"/>
        <c:ser>
          <c:idx val="0"/>
          <c:order val="0"/>
          <c:tx>
            <c:strRef>
              <c:f>Tabelle1!$B$1</c:f>
              <c:strCache>
                <c:ptCount val="1"/>
                <c:pt idx="0">
                  <c:v>Online growth</c:v>
                </c:pt>
              </c:strCache>
            </c:strRef>
          </c:tx>
          <c:spPr>
            <a:ln w="28575" cap="rnd">
              <a:solidFill>
                <a:schemeClr val="accent4"/>
              </a:solidFill>
              <a:round/>
            </a:ln>
            <a:effectLst/>
          </c:spPr>
          <c:marker>
            <c:symbol val="none"/>
          </c:marker>
          <c:cat>
            <c:numRef>
              <c:f>Tabelle1!$A$2:$A$16</c:f>
              <c:numCache>
                <c:formatCode>General</c:formatCode>
                <c:ptCount val="15"/>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numCache>
            </c:numRef>
          </c:cat>
          <c:val>
            <c:numRef>
              <c:f>Tabelle1!$B$2:$B$16</c:f>
              <c:numCache>
                <c:formatCode>0%</c:formatCode>
                <c:ptCount val="15"/>
                <c:pt idx="0">
                  <c:v>0.1766637938765491</c:v>
                </c:pt>
                <c:pt idx="1">
                  <c:v>0.21885777494177008</c:v>
                </c:pt>
                <c:pt idx="2">
                  <c:v>0.26469305695832818</c:v>
                </c:pt>
                <c:pt idx="3">
                  <c:v>0.2568848678239371</c:v>
                </c:pt>
                <c:pt idx="4">
                  <c:v>0.13496677892635353</c:v>
                </c:pt>
                <c:pt idx="5">
                  <c:v>2.8568031967105282E-2</c:v>
                </c:pt>
                <c:pt idx="6">
                  <c:v>0.21608137370581657</c:v>
                </c:pt>
                <c:pt idx="7">
                  <c:v>9.4956573927097415E-2</c:v>
                </c:pt>
                <c:pt idx="8">
                  <c:v>0.16075737115054467</c:v>
                </c:pt>
                <c:pt idx="9">
                  <c:v>0.25442298651643641</c:v>
                </c:pt>
                <c:pt idx="10">
                  <c:v>0.57446338890225257</c:v>
                </c:pt>
                <c:pt idx="11">
                  <c:v>1.1392422863728959</c:v>
                </c:pt>
                <c:pt idx="12">
                  <c:v>1.1175298073531068</c:v>
                </c:pt>
                <c:pt idx="13">
                  <c:v>1.525910936948905</c:v>
                </c:pt>
                <c:pt idx="14">
                  <c:v>1.6748021497618302</c:v>
                </c:pt>
              </c:numCache>
            </c:numRef>
          </c:val>
          <c:smooth val="1"/>
          <c:extLst>
            <c:ext xmlns:c16="http://schemas.microsoft.com/office/drawing/2014/chart" uri="{C3380CC4-5D6E-409C-BE32-E72D297353CC}">
              <c16:uniqueId val="{00000000-480B-49CC-805D-9BE471E625CA}"/>
            </c:ext>
          </c:extLst>
        </c:ser>
        <c:ser>
          <c:idx val="1"/>
          <c:order val="1"/>
          <c:tx>
            <c:strRef>
              <c:f>Tabelle1!$C$1</c:f>
              <c:strCache>
                <c:ptCount val="1"/>
                <c:pt idx="0">
                  <c:v>Offline growth</c:v>
                </c:pt>
              </c:strCache>
            </c:strRef>
          </c:tx>
          <c:spPr>
            <a:ln w="28575" cap="rnd">
              <a:solidFill>
                <a:schemeClr val="accent2"/>
              </a:solidFill>
              <a:round/>
            </a:ln>
            <a:effectLst/>
          </c:spPr>
          <c:marker>
            <c:symbol val="none"/>
          </c:marker>
          <c:cat>
            <c:numRef>
              <c:f>Tabelle1!$A$2:$A$16</c:f>
              <c:numCache>
                <c:formatCode>General</c:formatCode>
                <c:ptCount val="15"/>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numCache>
            </c:numRef>
          </c:cat>
          <c:val>
            <c:numRef>
              <c:f>Tabelle1!$C$2:$C$16</c:f>
              <c:numCache>
                <c:formatCode>0%</c:formatCode>
                <c:ptCount val="15"/>
                <c:pt idx="0">
                  <c:v>7.6465821869710085E-2</c:v>
                </c:pt>
                <c:pt idx="1">
                  <c:v>-4.2462594199166988E-2</c:v>
                </c:pt>
                <c:pt idx="2">
                  <c:v>-1.7123919186797871E-3</c:v>
                </c:pt>
                <c:pt idx="3">
                  <c:v>-2.6829996530792519E-2</c:v>
                </c:pt>
                <c:pt idx="4">
                  <c:v>-9.3550859103169251E-3</c:v>
                </c:pt>
                <c:pt idx="5">
                  <c:v>-9.1480415064786116E-2</c:v>
                </c:pt>
                <c:pt idx="6">
                  <c:v>-1.8271661880640784E-2</c:v>
                </c:pt>
                <c:pt idx="7">
                  <c:v>-1.9228875108321743E-2</c:v>
                </c:pt>
                <c:pt idx="8">
                  <c:v>3.7795919429083981E-2</c:v>
                </c:pt>
                <c:pt idx="9">
                  <c:v>2.0144406036748837E-2</c:v>
                </c:pt>
                <c:pt idx="10">
                  <c:v>-0.41377274468155001</c:v>
                </c:pt>
                <c:pt idx="11">
                  <c:v>-0.77395052522037444</c:v>
                </c:pt>
                <c:pt idx="12">
                  <c:v>-0.73242340268621886</c:v>
                </c:pt>
                <c:pt idx="13">
                  <c:v>-0.64664739372337932</c:v>
                </c:pt>
                <c:pt idx="14">
                  <c:v>-0.60837984713907045</c:v>
                </c:pt>
              </c:numCache>
            </c:numRef>
          </c:val>
          <c:smooth val="1"/>
          <c:extLst>
            <c:ext xmlns:c16="http://schemas.microsoft.com/office/drawing/2014/chart" uri="{C3380CC4-5D6E-409C-BE32-E72D297353CC}">
              <c16:uniqueId val="{00000001-480B-49CC-805D-9BE471E625CA}"/>
            </c:ext>
          </c:extLst>
        </c:ser>
        <c:ser>
          <c:idx val="2"/>
          <c:order val="2"/>
          <c:tx>
            <c:strRef>
              <c:f>Tabelle1!$D$1</c:f>
              <c:strCache>
                <c:ptCount val="1"/>
                <c:pt idx="0">
                  <c:v>TCG growth</c:v>
                </c:pt>
              </c:strCache>
            </c:strRef>
          </c:tx>
          <c:spPr>
            <a:ln w="28575" cap="rnd">
              <a:solidFill>
                <a:schemeClr val="accent6"/>
              </a:solidFill>
              <a:round/>
            </a:ln>
            <a:effectLst/>
          </c:spPr>
          <c:marker>
            <c:symbol val="none"/>
          </c:marker>
          <c:dLbls>
            <c:dLbl>
              <c:idx val="12"/>
              <c:layout>
                <c:manualLayout>
                  <c:x val="0"/>
                  <c:y val="-0.11262646089230907"/>
                </c:manualLayout>
              </c:layout>
              <c:spPr>
                <a:solidFill>
                  <a:schemeClr val="bg1"/>
                </a:solidFill>
                <a:ln>
                  <a:solidFill>
                    <a:schemeClr val="tx1"/>
                  </a:solidFill>
                </a:ln>
                <a:effectLst/>
              </c:spPr>
              <c:txPr>
                <a:bodyPr rot="0" spcFirstLastPara="1" vertOverflow="ellipsis" vert="horz" wrap="square" lIns="38100" tIns="19050" rIns="38100" bIns="19050" anchor="ctr" anchorCtr="1">
                  <a:spAutoFit/>
                </a:bodyPr>
                <a:lstStyle/>
                <a:p>
                  <a:pPr>
                    <a:defRPr sz="1197" b="0" i="0" u="none" strike="noStrike" kern="1200" baseline="0">
                      <a:solidFill>
                        <a:srgbClr val="FF0000"/>
                      </a:solidFill>
                      <a:latin typeface="+mn-lt"/>
                      <a:ea typeface="+mn-ea"/>
                      <a:cs typeface="+mn-cs"/>
                    </a:defRPr>
                  </a:pPr>
                  <a:endParaRPr lang="ru-RU"/>
                </a:p>
              </c:txP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480B-49CC-805D-9BE471E625CA}"/>
                </c:ext>
              </c:extLst>
            </c:dLbl>
            <c:spPr>
              <a:solidFill>
                <a:schemeClr val="bg1"/>
              </a:solid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rgbClr val="FF0000"/>
                    </a:solidFill>
                    <a:latin typeface="+mn-lt"/>
                    <a:ea typeface="+mn-ea"/>
                    <a:cs typeface="+mn-cs"/>
                  </a:defRPr>
                </a:pPr>
                <a:endParaRPr lang="ru-RU"/>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Tabelle1!$A$2:$A$16</c:f>
              <c:numCache>
                <c:formatCode>General</c:formatCode>
                <c:ptCount val="15"/>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numCache>
            </c:numRef>
          </c:cat>
          <c:val>
            <c:numRef>
              <c:f>Tabelle1!$D$2:$D$16</c:f>
              <c:numCache>
                <c:formatCode>0%</c:formatCode>
                <c:ptCount val="15"/>
                <c:pt idx="0">
                  <c:v>8.9056494203337916E-2</c:v>
                </c:pt>
                <c:pt idx="1">
                  <c:v>-4.0539732144650514E-3</c:v>
                </c:pt>
                <c:pt idx="2">
                  <c:v>3.8852183018985027E-2</c:v>
                </c:pt>
                <c:pt idx="3">
                  <c:v>1.5146673667218323E-2</c:v>
                </c:pt>
                <c:pt idx="4">
                  <c:v>1.135302553497017E-2</c:v>
                </c:pt>
                <c:pt idx="5">
                  <c:v>-7.3344742635916491E-2</c:v>
                </c:pt>
                <c:pt idx="6">
                  <c:v>1.8425902671667025E-2</c:v>
                </c:pt>
                <c:pt idx="7">
                  <c:v>-1.3262680972068102E-4</c:v>
                </c:pt>
                <c:pt idx="8">
                  <c:v>5.808486573767694E-2</c:v>
                </c:pt>
                <c:pt idx="9">
                  <c:v>5.8156027560916583E-2</c:v>
                </c:pt>
                <c:pt idx="10">
                  <c:v>-0.26590628523274251</c:v>
                </c:pt>
                <c:pt idx="11">
                  <c:v>-0.47767046813578951</c:v>
                </c:pt>
                <c:pt idx="12">
                  <c:v>-0.42832973067621377</c:v>
                </c:pt>
                <c:pt idx="13">
                  <c:v>-0.30771385840950288</c:v>
                </c:pt>
                <c:pt idx="14">
                  <c:v>-0.26524302637504837</c:v>
                </c:pt>
              </c:numCache>
            </c:numRef>
          </c:val>
          <c:smooth val="1"/>
          <c:extLst>
            <c:ext xmlns:c16="http://schemas.microsoft.com/office/drawing/2014/chart" uri="{C3380CC4-5D6E-409C-BE32-E72D297353CC}">
              <c16:uniqueId val="{00000002-480B-49CC-805D-9BE471E625CA}"/>
            </c:ext>
          </c:extLst>
        </c:ser>
        <c:dLbls>
          <c:showLegendKey val="0"/>
          <c:showVal val="0"/>
          <c:showCatName val="0"/>
          <c:showSerName val="0"/>
          <c:showPercent val="0"/>
          <c:showBubbleSize val="0"/>
        </c:dLbls>
        <c:smooth val="0"/>
        <c:axId val="1677757024"/>
        <c:axId val="1467612240"/>
      </c:lineChart>
      <c:catAx>
        <c:axId val="1677757024"/>
        <c:scaling>
          <c:orientation val="minMax"/>
        </c:scaling>
        <c:delete val="0"/>
        <c:axPos val="b"/>
        <c:numFmt formatCode="General" sourceLinked="1"/>
        <c:majorTickMark val="none"/>
        <c:minorTickMark val="none"/>
        <c:tickLblPos val="low"/>
        <c:spPr>
          <a:noFill/>
          <a:ln w="6350" cap="flat" cmpd="sng" algn="ctr">
            <a:solidFill>
              <a:schemeClr val="tx1"/>
            </a:solidFill>
            <a:round/>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ru-RU"/>
          </a:p>
        </c:txPr>
        <c:crossAx val="1467612240"/>
        <c:crossesAt val="0"/>
        <c:auto val="1"/>
        <c:lblAlgn val="ctr"/>
        <c:lblOffset val="100"/>
        <c:noMultiLvlLbl val="0"/>
      </c:catAx>
      <c:valAx>
        <c:axId val="1467612240"/>
        <c:scaling>
          <c:orientation val="minMax"/>
          <c:max val="1.8"/>
          <c:min val="-0.9"/>
        </c:scaling>
        <c:delete val="0"/>
        <c:axPos val="l"/>
        <c:numFmt formatCode="0%" sourceLinked="1"/>
        <c:majorTickMark val="none"/>
        <c:minorTickMark val="none"/>
        <c:tickLblPos val="nextTo"/>
        <c:spPr>
          <a:noFill/>
          <a:ln w="6350">
            <a:solidFill>
              <a:schemeClr val="tx1"/>
            </a:solidFill>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ru-RU"/>
          </a:p>
        </c:txPr>
        <c:crossAx val="1677757024"/>
        <c:crosses val="autoZero"/>
        <c:crossBetween val="between"/>
        <c:majorUnit val="0.5"/>
        <c:minorUnit val="0.2"/>
      </c:valAx>
      <c:spPr>
        <a:noFill/>
        <a:ln>
          <a:noFill/>
        </a:ln>
        <a:effectLst/>
      </c:spPr>
    </c:plotArea>
    <c:legend>
      <c:legendPos val="t"/>
      <c:layout>
        <c:manualLayout>
          <c:xMode val="edge"/>
          <c:yMode val="edge"/>
          <c:x val="7.6523226031260216E-2"/>
          <c:y val="3.1977123314800748E-3"/>
          <c:w val="0.78289017415140971"/>
          <c:h val="0.14743349772730566"/>
        </c:manualLayout>
      </c:layout>
      <c:overlay val="1"/>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ru-RU"/>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ru-RU"/>
    </a:p>
  </c:txPr>
  <c:externalData r:id="rId3">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195512786272998"/>
          <c:y val="0.15028035416144428"/>
          <c:w val="0.84400576017912965"/>
          <c:h val="0.70026640148702402"/>
        </c:manualLayout>
      </c:layout>
      <c:lineChart>
        <c:grouping val="standard"/>
        <c:varyColors val="0"/>
        <c:ser>
          <c:idx val="0"/>
          <c:order val="0"/>
          <c:tx>
            <c:strRef>
              <c:f>Tabelle1!$B$1</c:f>
              <c:strCache>
                <c:ptCount val="1"/>
                <c:pt idx="0">
                  <c:v>Online growth</c:v>
                </c:pt>
              </c:strCache>
            </c:strRef>
          </c:tx>
          <c:spPr>
            <a:ln w="28575" cap="rnd">
              <a:solidFill>
                <a:schemeClr val="accent4"/>
              </a:solidFill>
              <a:round/>
            </a:ln>
            <a:effectLst/>
          </c:spPr>
          <c:marker>
            <c:symbol val="none"/>
          </c:marker>
          <c:cat>
            <c:numRef>
              <c:f>Tabelle1!$A$2:$A$16</c:f>
              <c:numCache>
                <c:formatCode>General</c:formatCode>
                <c:ptCount val="15"/>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numCache>
            </c:numRef>
          </c:cat>
          <c:val>
            <c:numRef>
              <c:f>Tabelle1!$B$2:$B$16</c:f>
              <c:numCache>
                <c:formatCode>0%</c:formatCode>
                <c:ptCount val="15"/>
                <c:pt idx="0">
                  <c:v>0.92027510442254301</c:v>
                </c:pt>
                <c:pt idx="1">
                  <c:v>0.22532639196531426</c:v>
                </c:pt>
                <c:pt idx="2">
                  <c:v>0.1972463375259253</c:v>
                </c:pt>
                <c:pt idx="3">
                  <c:v>0.32172846869943716</c:v>
                </c:pt>
                <c:pt idx="4">
                  <c:v>0.35911447819464054</c:v>
                </c:pt>
                <c:pt idx="5">
                  <c:v>0.30163270513757973</c:v>
                </c:pt>
                <c:pt idx="6">
                  <c:v>0.27250303104882034</c:v>
                </c:pt>
                <c:pt idx="7">
                  <c:v>0.2629589520093748</c:v>
                </c:pt>
                <c:pt idx="8">
                  <c:v>0.23686665397981352</c:v>
                </c:pt>
                <c:pt idx="9">
                  <c:v>0.50174921577510456</c:v>
                </c:pt>
                <c:pt idx="10">
                  <c:v>0.97911820833672336</c:v>
                </c:pt>
                <c:pt idx="11">
                  <c:v>1.1310724148897431</c:v>
                </c:pt>
                <c:pt idx="12">
                  <c:v>0.83035088557810943</c:v>
                </c:pt>
                <c:pt idx="13">
                  <c:v>0.72135241154628005</c:v>
                </c:pt>
                <c:pt idx="14">
                  <c:v>0.97553029525973545</c:v>
                </c:pt>
              </c:numCache>
            </c:numRef>
          </c:val>
          <c:smooth val="1"/>
          <c:extLst>
            <c:ext xmlns:c16="http://schemas.microsoft.com/office/drawing/2014/chart" uri="{C3380CC4-5D6E-409C-BE32-E72D297353CC}">
              <c16:uniqueId val="{00000000-2CF3-4A15-935B-DB81FE3ABBAA}"/>
            </c:ext>
          </c:extLst>
        </c:ser>
        <c:ser>
          <c:idx val="1"/>
          <c:order val="1"/>
          <c:tx>
            <c:strRef>
              <c:f>Tabelle1!$C$1</c:f>
              <c:strCache>
                <c:ptCount val="1"/>
                <c:pt idx="0">
                  <c:v>Offline growth</c:v>
                </c:pt>
              </c:strCache>
            </c:strRef>
          </c:tx>
          <c:spPr>
            <a:ln w="28575" cap="rnd">
              <a:solidFill>
                <a:schemeClr val="accent2"/>
              </a:solidFill>
              <a:round/>
            </a:ln>
            <a:effectLst/>
          </c:spPr>
          <c:marker>
            <c:symbol val="none"/>
          </c:marker>
          <c:cat>
            <c:numRef>
              <c:f>Tabelle1!$A$2:$A$16</c:f>
              <c:numCache>
                <c:formatCode>General</c:formatCode>
                <c:ptCount val="15"/>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numCache>
            </c:numRef>
          </c:cat>
          <c:val>
            <c:numRef>
              <c:f>Tabelle1!$C$2:$C$16</c:f>
              <c:numCache>
                <c:formatCode>0%</c:formatCode>
                <c:ptCount val="15"/>
                <c:pt idx="0">
                  <c:v>0.45059199375623127</c:v>
                </c:pt>
                <c:pt idx="1">
                  <c:v>5.4515414328948332E-2</c:v>
                </c:pt>
                <c:pt idx="2">
                  <c:v>-2.1902966372952998E-2</c:v>
                </c:pt>
                <c:pt idx="3">
                  <c:v>2.3043019507082617E-2</c:v>
                </c:pt>
                <c:pt idx="4">
                  <c:v>9.7972491316366581E-2</c:v>
                </c:pt>
                <c:pt idx="5">
                  <c:v>2.2162017798430838E-2</c:v>
                </c:pt>
                <c:pt idx="6">
                  <c:v>6.8293829067096024E-2</c:v>
                </c:pt>
                <c:pt idx="7">
                  <c:v>1.2880084111945618E-2</c:v>
                </c:pt>
                <c:pt idx="8">
                  <c:v>7.0080983077383981E-3</c:v>
                </c:pt>
                <c:pt idx="9">
                  <c:v>-0.1443754978741211</c:v>
                </c:pt>
                <c:pt idx="10">
                  <c:v>0.48363756653945184</c:v>
                </c:pt>
                <c:pt idx="11">
                  <c:v>0.4825169222054525</c:v>
                </c:pt>
                <c:pt idx="12">
                  <c:v>0.16093562831579386</c:v>
                </c:pt>
                <c:pt idx="13">
                  <c:v>-0.76253457183655682</c:v>
                </c:pt>
                <c:pt idx="14">
                  <c:v>-0.62097879665795341</c:v>
                </c:pt>
              </c:numCache>
            </c:numRef>
          </c:val>
          <c:smooth val="1"/>
          <c:extLst>
            <c:ext xmlns:c16="http://schemas.microsoft.com/office/drawing/2014/chart" uri="{C3380CC4-5D6E-409C-BE32-E72D297353CC}">
              <c16:uniqueId val="{00000001-2CF3-4A15-935B-DB81FE3ABBAA}"/>
            </c:ext>
          </c:extLst>
        </c:ser>
        <c:ser>
          <c:idx val="2"/>
          <c:order val="2"/>
          <c:tx>
            <c:strRef>
              <c:f>Tabelle1!$D$1</c:f>
              <c:strCache>
                <c:ptCount val="1"/>
                <c:pt idx="0">
                  <c:v>TCG growth</c:v>
                </c:pt>
              </c:strCache>
            </c:strRef>
          </c:tx>
          <c:spPr>
            <a:ln w="28575" cap="rnd">
              <a:solidFill>
                <a:schemeClr val="accent6"/>
              </a:solidFill>
              <a:round/>
            </a:ln>
            <a:effectLst/>
          </c:spPr>
          <c:marker>
            <c:symbol val="none"/>
          </c:marker>
          <c:dLbls>
            <c:dLbl>
              <c:idx val="13"/>
              <c:layout>
                <c:manualLayout>
                  <c:x val="-6.7496896205719026E-3"/>
                  <c:y val="-0.14266018379692474"/>
                </c:manualLayout>
              </c:layout>
              <c:spPr>
                <a:solidFill>
                  <a:schemeClr val="bg1"/>
                </a:solidFill>
                <a:ln>
                  <a:solidFill>
                    <a:schemeClr val="tx1"/>
                  </a:solidFill>
                </a:ln>
                <a:effectLst/>
              </c:spPr>
              <c:txPr>
                <a:bodyPr rot="0" spcFirstLastPara="1" vertOverflow="ellipsis" vert="horz" wrap="square" lIns="38100" tIns="19050" rIns="38100" bIns="19050" anchor="ctr" anchorCtr="1">
                  <a:spAutoFit/>
                </a:bodyPr>
                <a:lstStyle/>
                <a:p>
                  <a:pPr>
                    <a:defRPr sz="1197" b="0" i="0" u="none" strike="noStrike" kern="1200" baseline="0">
                      <a:solidFill>
                        <a:srgbClr val="FF0000"/>
                      </a:solidFill>
                      <a:latin typeface="+mn-lt"/>
                      <a:ea typeface="+mn-ea"/>
                      <a:cs typeface="+mn-cs"/>
                    </a:defRPr>
                  </a:pPr>
                  <a:endParaRPr lang="ru-RU"/>
                </a:p>
              </c:txP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2CF3-4A15-935B-DB81FE3ABBAA}"/>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ru-RU"/>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Tabelle1!$A$2:$A$16</c:f>
              <c:numCache>
                <c:formatCode>General</c:formatCode>
                <c:ptCount val="15"/>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numCache>
            </c:numRef>
          </c:cat>
          <c:val>
            <c:numRef>
              <c:f>Tabelle1!$D$2:$D$16</c:f>
              <c:numCache>
                <c:formatCode>0%</c:formatCode>
                <c:ptCount val="15"/>
                <c:pt idx="0">
                  <c:v>0.53146391538583104</c:v>
                </c:pt>
                <c:pt idx="1">
                  <c:v>9.3832029012571205E-2</c:v>
                </c:pt>
                <c:pt idx="2">
                  <c:v>3.2266947861144521E-2</c:v>
                </c:pt>
                <c:pt idx="3">
                  <c:v>9.5671625376837446E-2</c:v>
                </c:pt>
                <c:pt idx="4">
                  <c:v>0.16501025097507277</c:v>
                </c:pt>
                <c:pt idx="5">
                  <c:v>9.4993480141868578E-2</c:v>
                </c:pt>
                <c:pt idx="6">
                  <c:v>0.12007821212596807</c:v>
                </c:pt>
                <c:pt idx="7">
                  <c:v>7.6056392905350531E-2</c:v>
                </c:pt>
                <c:pt idx="8">
                  <c:v>6.4953871404069191E-2</c:v>
                </c:pt>
                <c:pt idx="9">
                  <c:v>1.6834864958323877E-2</c:v>
                </c:pt>
                <c:pt idx="10">
                  <c:v>0.6098816244930727</c:v>
                </c:pt>
                <c:pt idx="11">
                  <c:v>0.64540434561458193</c:v>
                </c:pt>
                <c:pt idx="12">
                  <c:v>0.35163322871178293</c:v>
                </c:pt>
                <c:pt idx="13">
                  <c:v>-0.39</c:v>
                </c:pt>
                <c:pt idx="14">
                  <c:v>-0.20636605291953569</c:v>
                </c:pt>
              </c:numCache>
            </c:numRef>
          </c:val>
          <c:smooth val="1"/>
          <c:extLst>
            <c:ext xmlns:c16="http://schemas.microsoft.com/office/drawing/2014/chart" uri="{C3380CC4-5D6E-409C-BE32-E72D297353CC}">
              <c16:uniqueId val="{00000002-2CF3-4A15-935B-DB81FE3ABBAA}"/>
            </c:ext>
          </c:extLst>
        </c:ser>
        <c:dLbls>
          <c:showLegendKey val="0"/>
          <c:showVal val="0"/>
          <c:showCatName val="0"/>
          <c:showSerName val="0"/>
          <c:showPercent val="0"/>
          <c:showBubbleSize val="0"/>
        </c:dLbls>
        <c:smooth val="0"/>
        <c:axId val="1677757024"/>
        <c:axId val="1467612240"/>
      </c:lineChart>
      <c:catAx>
        <c:axId val="1677757024"/>
        <c:scaling>
          <c:orientation val="minMax"/>
        </c:scaling>
        <c:delete val="0"/>
        <c:axPos val="b"/>
        <c:numFmt formatCode="General" sourceLinked="1"/>
        <c:majorTickMark val="none"/>
        <c:minorTickMark val="none"/>
        <c:tickLblPos val="low"/>
        <c:spPr>
          <a:noFill/>
          <a:ln w="6350" cap="flat" cmpd="sng" algn="ctr">
            <a:solidFill>
              <a:schemeClr val="tx1"/>
            </a:solidFill>
            <a:round/>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ru-RU"/>
          </a:p>
        </c:txPr>
        <c:crossAx val="1467612240"/>
        <c:crossesAt val="0"/>
        <c:auto val="1"/>
        <c:lblAlgn val="ctr"/>
        <c:lblOffset val="100"/>
        <c:noMultiLvlLbl val="0"/>
      </c:catAx>
      <c:valAx>
        <c:axId val="1467612240"/>
        <c:scaling>
          <c:orientation val="minMax"/>
          <c:max val="1.2"/>
          <c:min val="-1"/>
        </c:scaling>
        <c:delete val="0"/>
        <c:axPos val="l"/>
        <c:numFmt formatCode="0%" sourceLinked="1"/>
        <c:majorTickMark val="none"/>
        <c:minorTickMark val="none"/>
        <c:tickLblPos val="nextTo"/>
        <c:spPr>
          <a:noFill/>
          <a:ln w="6350">
            <a:solidFill>
              <a:schemeClr val="tx1"/>
            </a:solidFill>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ru-RU"/>
          </a:p>
        </c:txPr>
        <c:crossAx val="1677757024"/>
        <c:crosses val="autoZero"/>
        <c:crossBetween val="between"/>
        <c:majorUnit val="0.5"/>
        <c:minorUnit val="0.2"/>
      </c:valAx>
      <c:spPr>
        <a:noFill/>
        <a:ln>
          <a:noFill/>
        </a:ln>
        <a:effectLst/>
      </c:spPr>
    </c:plotArea>
    <c:legend>
      <c:legendPos val="t"/>
      <c:layout>
        <c:manualLayout>
          <c:xMode val="edge"/>
          <c:yMode val="edge"/>
          <c:x val="7.6523226031260216E-2"/>
          <c:y val="3.1977123314800748E-3"/>
          <c:w val="0.78289017415140971"/>
          <c:h val="0.14743349772730566"/>
        </c:manualLayout>
      </c:layout>
      <c:overlay val="1"/>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ru-RU"/>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ru-RU"/>
    </a:p>
  </c:txPr>
  <c:externalData r:id="rId3">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Лист1!$B$1</c:f>
              <c:strCache>
                <c:ptCount val="1"/>
                <c:pt idx="0">
                  <c:v>Ряд 1</c:v>
                </c:pt>
              </c:strCache>
            </c:strRef>
          </c:tx>
          <c:spPr>
            <a:solidFill>
              <a:srgbClr val="C00000"/>
            </a:solidFill>
            <a:ln>
              <a:noFill/>
            </a:ln>
            <a:effectLst/>
          </c:spPr>
          <c:invertIfNegative val="0"/>
          <c:dPt>
            <c:idx val="2"/>
            <c:invertIfNegative val="0"/>
            <c:bubble3D val="0"/>
            <c:spPr>
              <a:solidFill>
                <a:srgbClr val="92D050"/>
              </a:solidFill>
              <a:ln>
                <a:noFill/>
              </a:ln>
              <a:effectLst/>
            </c:spPr>
            <c:extLst>
              <c:ext xmlns:c16="http://schemas.microsoft.com/office/drawing/2014/chart" uri="{C3380CC4-5D6E-409C-BE32-E72D297353CC}">
                <c16:uniqueId val="{00000002-85FE-4F71-9AEE-BF7A42AF9011}"/>
              </c:ext>
            </c:extLst>
          </c:dPt>
          <c:dPt>
            <c:idx val="3"/>
            <c:invertIfNegative val="0"/>
            <c:bubble3D val="0"/>
            <c:spPr>
              <a:solidFill>
                <a:srgbClr val="92D050"/>
              </a:solidFill>
              <a:ln>
                <a:noFill/>
              </a:ln>
              <a:effectLst/>
            </c:spPr>
            <c:extLst>
              <c:ext xmlns:c16="http://schemas.microsoft.com/office/drawing/2014/chart" uri="{C3380CC4-5D6E-409C-BE32-E72D297353CC}">
                <c16:uniqueId val="{00000003-85FE-4F71-9AEE-BF7A42AF9011}"/>
              </c:ext>
            </c:extLst>
          </c:dPt>
          <c:dLbls>
            <c:dLbl>
              <c:idx val="0"/>
              <c:layout>
                <c:manualLayout>
                  <c:x val="2.3676974477899407E-3"/>
                  <c:y val="0.28487595127603199"/>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5FE-4F71-9AEE-BF7A42AF9011}"/>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ru-RU"/>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Лист1!$A$2:$A$7</c:f>
              <c:strCache>
                <c:ptCount val="6"/>
                <c:pt idx="0">
                  <c:v>Jan-Apr 2020</c:v>
                </c:pt>
                <c:pt idx="2">
                  <c:v>Jan</c:v>
                </c:pt>
                <c:pt idx="3">
                  <c:v>Feb</c:v>
                </c:pt>
                <c:pt idx="4">
                  <c:v>Mar</c:v>
                </c:pt>
                <c:pt idx="5">
                  <c:v>Apr</c:v>
                </c:pt>
              </c:strCache>
            </c:strRef>
          </c:cat>
          <c:val>
            <c:numRef>
              <c:f>Лист1!$B$2:$B$7</c:f>
              <c:numCache>
                <c:formatCode>General</c:formatCode>
                <c:ptCount val="6"/>
                <c:pt idx="0" formatCode="0.0%">
                  <c:v>-1.4586893700000001E-2</c:v>
                </c:pt>
                <c:pt idx="2" formatCode="0%">
                  <c:v>6.3694876479999996E-2</c:v>
                </c:pt>
                <c:pt idx="3" formatCode="0%">
                  <c:v>2.6689564329999999E-2</c:v>
                </c:pt>
                <c:pt idx="4" formatCode="0%">
                  <c:v>-3.2584113880000001E-2</c:v>
                </c:pt>
                <c:pt idx="5" formatCode="0%">
                  <c:v>-0.17421380438</c:v>
                </c:pt>
              </c:numCache>
            </c:numRef>
          </c:val>
          <c:extLst>
            <c:ext xmlns:c16="http://schemas.microsoft.com/office/drawing/2014/chart" uri="{C3380CC4-5D6E-409C-BE32-E72D297353CC}">
              <c16:uniqueId val="{00000000-85FE-4F71-9AEE-BF7A42AF9011}"/>
            </c:ext>
          </c:extLst>
        </c:ser>
        <c:dLbls>
          <c:showLegendKey val="0"/>
          <c:showVal val="0"/>
          <c:showCatName val="0"/>
          <c:showSerName val="0"/>
          <c:showPercent val="0"/>
          <c:showBubbleSize val="0"/>
        </c:dLbls>
        <c:gapWidth val="219"/>
        <c:overlap val="-27"/>
        <c:axId val="947219168"/>
        <c:axId val="1673177344"/>
      </c:barChart>
      <c:catAx>
        <c:axId val="947219168"/>
        <c:scaling>
          <c:orientation val="minMax"/>
        </c:scaling>
        <c:delete val="0"/>
        <c:axPos val="b"/>
        <c:numFmt formatCode="General" sourceLinked="1"/>
        <c:majorTickMark val="none"/>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ru-RU"/>
          </a:p>
        </c:txPr>
        <c:crossAx val="1673177344"/>
        <c:crosses val="autoZero"/>
        <c:auto val="1"/>
        <c:lblAlgn val="ctr"/>
        <c:lblOffset val="100"/>
        <c:noMultiLvlLbl val="0"/>
      </c:catAx>
      <c:valAx>
        <c:axId val="1673177344"/>
        <c:scaling>
          <c:orientation val="minMax"/>
          <c:min val="-0.2"/>
        </c:scaling>
        <c:delete val="1"/>
        <c:axPos val="l"/>
        <c:numFmt formatCode="0.0%" sourceLinked="1"/>
        <c:majorTickMark val="none"/>
        <c:minorTickMark val="none"/>
        <c:tickLblPos val="nextTo"/>
        <c:crossAx val="94721916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ru-RU"/>
    </a:p>
  </c:txPr>
  <c:externalData r:id="rId3">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Лист1!$B$1</c:f>
              <c:strCache>
                <c:ptCount val="1"/>
                <c:pt idx="0">
                  <c:v>Ряд 1</c:v>
                </c:pt>
              </c:strCache>
            </c:strRef>
          </c:tx>
          <c:spPr>
            <a:solidFill>
              <a:srgbClr val="92D050"/>
            </a:solidFill>
            <a:ln>
              <a:noFill/>
            </a:ln>
            <a:effectLst/>
          </c:spPr>
          <c:invertIfNegative val="0"/>
          <c:dPt>
            <c:idx val="5"/>
            <c:invertIfNegative val="0"/>
            <c:bubble3D val="0"/>
            <c:spPr>
              <a:solidFill>
                <a:srgbClr val="C00000"/>
              </a:solidFill>
              <a:ln>
                <a:noFill/>
              </a:ln>
              <a:effectLst/>
            </c:spPr>
            <c:extLst>
              <c:ext xmlns:c16="http://schemas.microsoft.com/office/drawing/2014/chart" uri="{C3380CC4-5D6E-409C-BE32-E72D297353CC}">
                <c16:uniqueId val="{00000000-1D30-42C5-8D37-F849DD7F2335}"/>
              </c:ext>
            </c:extLst>
          </c:dPt>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ru-RU"/>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Лист1!$A$2:$A$7</c:f>
              <c:strCache>
                <c:ptCount val="6"/>
                <c:pt idx="0">
                  <c:v>Jan-Apr 2020</c:v>
                </c:pt>
                <c:pt idx="2">
                  <c:v>Jan</c:v>
                </c:pt>
                <c:pt idx="3">
                  <c:v>Feb</c:v>
                </c:pt>
                <c:pt idx="4">
                  <c:v>Mar</c:v>
                </c:pt>
                <c:pt idx="5">
                  <c:v>Apr</c:v>
                </c:pt>
              </c:strCache>
            </c:strRef>
          </c:cat>
          <c:val>
            <c:numRef>
              <c:f>Лист1!$B$2:$B$7</c:f>
              <c:numCache>
                <c:formatCode>General</c:formatCode>
                <c:ptCount val="6"/>
                <c:pt idx="0" formatCode="0%">
                  <c:v>9.7434952219999996E-2</c:v>
                </c:pt>
                <c:pt idx="2" formatCode="0%">
                  <c:v>0.103419843</c:v>
                </c:pt>
                <c:pt idx="3" formatCode="0%">
                  <c:v>5.2057532189999998E-2</c:v>
                </c:pt>
                <c:pt idx="4" formatCode="0%">
                  <c:v>0.48309974848999998</c:v>
                </c:pt>
                <c:pt idx="5" formatCode="0%">
                  <c:v>-0.29373631113999998</c:v>
                </c:pt>
              </c:numCache>
            </c:numRef>
          </c:val>
          <c:extLst>
            <c:ext xmlns:c16="http://schemas.microsoft.com/office/drawing/2014/chart" uri="{C3380CC4-5D6E-409C-BE32-E72D297353CC}">
              <c16:uniqueId val="{00000000-4710-47BF-8A87-452F4D33C731}"/>
            </c:ext>
          </c:extLst>
        </c:ser>
        <c:dLbls>
          <c:showLegendKey val="0"/>
          <c:showVal val="0"/>
          <c:showCatName val="0"/>
          <c:showSerName val="0"/>
          <c:showPercent val="0"/>
          <c:showBubbleSize val="0"/>
        </c:dLbls>
        <c:gapWidth val="219"/>
        <c:overlap val="-27"/>
        <c:axId val="947219168"/>
        <c:axId val="1673177344"/>
      </c:barChart>
      <c:catAx>
        <c:axId val="947219168"/>
        <c:scaling>
          <c:orientation val="minMax"/>
        </c:scaling>
        <c:delete val="0"/>
        <c:axPos val="b"/>
        <c:numFmt formatCode="General" sourceLinked="1"/>
        <c:majorTickMark val="none"/>
        <c:minorTickMark val="none"/>
        <c:tickLblPos val="high"/>
        <c:spPr>
          <a:noFill/>
          <a:ln w="9525" cap="flat" cmpd="sng" algn="ctr">
            <a:solidFill>
              <a:schemeClr val="tx1">
                <a:lumMod val="40000"/>
                <a:lumOff val="60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ru-RU"/>
          </a:p>
        </c:txPr>
        <c:crossAx val="1673177344"/>
        <c:crosses val="autoZero"/>
        <c:auto val="1"/>
        <c:lblAlgn val="ctr"/>
        <c:lblOffset val="100"/>
        <c:noMultiLvlLbl val="0"/>
      </c:catAx>
      <c:valAx>
        <c:axId val="1673177344"/>
        <c:scaling>
          <c:orientation val="minMax"/>
          <c:min val="-0.30000000000000004"/>
        </c:scaling>
        <c:delete val="1"/>
        <c:axPos val="l"/>
        <c:numFmt formatCode="0%" sourceLinked="1"/>
        <c:majorTickMark val="out"/>
        <c:minorTickMark val="none"/>
        <c:tickLblPos val="nextTo"/>
        <c:crossAx val="94721916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ru-RU"/>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24"/>
    </mc:Choice>
    <mc:Fallback>
      <c:style val="24"/>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4278436757528653E-2"/>
          <c:y val="8.4166909455828554E-2"/>
          <c:w val="0.96013465111140162"/>
          <c:h val="0.82409727675950784"/>
        </c:manualLayout>
      </c:layout>
      <c:barChart>
        <c:barDir val="col"/>
        <c:grouping val="percentStacked"/>
        <c:varyColors val="0"/>
        <c:ser>
          <c:idx val="0"/>
          <c:order val="0"/>
          <c:tx>
            <c:strRef>
              <c:f>Foglio1!$B$1</c:f>
              <c:strCache>
                <c:ptCount val="1"/>
                <c:pt idx="0">
                  <c:v>Worse</c:v>
                </c:pt>
              </c:strCache>
            </c:strRef>
          </c:tx>
          <c:spPr>
            <a:solidFill>
              <a:srgbClr val="202D46"/>
            </a:solidFill>
          </c:spPr>
          <c:invertIfNegative val="0"/>
          <c:dLbls>
            <c:spPr>
              <a:noFill/>
              <a:ln>
                <a:noFill/>
              </a:ln>
              <a:effectLst/>
            </c:spPr>
            <c:txPr>
              <a:bodyPr wrap="square" lIns="38100" tIns="19050" rIns="38100" bIns="19050" anchor="ctr">
                <a:spAutoFit/>
              </a:bodyPr>
              <a:lstStyle/>
              <a:p>
                <a:pPr>
                  <a:defRPr>
                    <a:solidFill>
                      <a:schemeClr val="bg1"/>
                    </a:solidFill>
                  </a:defRPr>
                </a:pPr>
                <a:endParaRPr lang="ru-RU"/>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Foglio1!$A$2:$A$11</c:f>
              <c:strCache>
                <c:ptCount val="10"/>
                <c:pt idx="0">
                  <c:v>Italy</c:v>
                </c:pt>
                <c:pt idx="1">
                  <c:v>Spain</c:v>
                </c:pt>
                <c:pt idx="2">
                  <c:v>France</c:v>
                </c:pt>
                <c:pt idx="3">
                  <c:v>Belgium</c:v>
                </c:pt>
                <c:pt idx="4">
                  <c:v>Netherlands</c:v>
                </c:pt>
                <c:pt idx="5">
                  <c:v>CZ</c:v>
                </c:pt>
                <c:pt idx="6">
                  <c:v>UK</c:v>
                </c:pt>
                <c:pt idx="7">
                  <c:v>Germany</c:v>
                </c:pt>
                <c:pt idx="8">
                  <c:v>Poland</c:v>
                </c:pt>
                <c:pt idx="9">
                  <c:v>Russia</c:v>
                </c:pt>
              </c:strCache>
            </c:strRef>
          </c:cat>
          <c:val>
            <c:numRef>
              <c:f>Foglio1!$B$2:$B$11</c:f>
              <c:numCache>
                <c:formatCode>0</c:formatCode>
                <c:ptCount val="10"/>
                <c:pt idx="1">
                  <c:v>41.4</c:v>
                </c:pt>
                <c:pt idx="2">
                  <c:v>37</c:v>
                </c:pt>
                <c:pt idx="3">
                  <c:v>31</c:v>
                </c:pt>
                <c:pt idx="4">
                  <c:v>25</c:v>
                </c:pt>
                <c:pt idx="5">
                  <c:v>23</c:v>
                </c:pt>
                <c:pt idx="6" formatCode="General">
                  <c:v>40</c:v>
                </c:pt>
                <c:pt idx="7" formatCode="General">
                  <c:v>32</c:v>
                </c:pt>
                <c:pt idx="8" formatCode="General">
                  <c:v>55</c:v>
                </c:pt>
                <c:pt idx="9" formatCode="General">
                  <c:v>54</c:v>
                </c:pt>
              </c:numCache>
            </c:numRef>
          </c:val>
          <c:extLst>
            <c:ext xmlns:c16="http://schemas.microsoft.com/office/drawing/2014/chart" uri="{C3380CC4-5D6E-409C-BE32-E72D297353CC}">
              <c16:uniqueId val="{00000000-3E3A-4CAD-8B8C-3F01D5BEBD20}"/>
            </c:ext>
          </c:extLst>
        </c:ser>
        <c:ser>
          <c:idx val="1"/>
          <c:order val="1"/>
          <c:tx>
            <c:strRef>
              <c:f>Foglio1!$C$1</c:f>
              <c:strCache>
                <c:ptCount val="1"/>
                <c:pt idx="0">
                  <c:v>Equal</c:v>
                </c:pt>
              </c:strCache>
            </c:strRef>
          </c:tx>
          <c:spPr>
            <a:solidFill>
              <a:srgbClr val="E2B726"/>
            </a:solidFill>
          </c:spPr>
          <c:invertIfNegative val="0"/>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Foglio1!$A$2:$A$11</c:f>
              <c:strCache>
                <c:ptCount val="10"/>
                <c:pt idx="0">
                  <c:v>Italy</c:v>
                </c:pt>
                <c:pt idx="1">
                  <c:v>Spain</c:v>
                </c:pt>
                <c:pt idx="2">
                  <c:v>France</c:v>
                </c:pt>
                <c:pt idx="3">
                  <c:v>Belgium</c:v>
                </c:pt>
                <c:pt idx="4">
                  <c:v>Netherlands</c:v>
                </c:pt>
                <c:pt idx="5">
                  <c:v>CZ</c:v>
                </c:pt>
                <c:pt idx="6">
                  <c:v>UK</c:v>
                </c:pt>
                <c:pt idx="7">
                  <c:v>Germany</c:v>
                </c:pt>
                <c:pt idx="8">
                  <c:v>Poland</c:v>
                </c:pt>
                <c:pt idx="9">
                  <c:v>Russia</c:v>
                </c:pt>
              </c:strCache>
            </c:strRef>
          </c:cat>
          <c:val>
            <c:numRef>
              <c:f>Foglio1!$C$2:$C$11</c:f>
              <c:numCache>
                <c:formatCode>0</c:formatCode>
                <c:ptCount val="10"/>
                <c:pt idx="1">
                  <c:v>38.299999999999997</c:v>
                </c:pt>
                <c:pt idx="2">
                  <c:v>45</c:v>
                </c:pt>
                <c:pt idx="3">
                  <c:v>44</c:v>
                </c:pt>
                <c:pt idx="4">
                  <c:v>49</c:v>
                </c:pt>
                <c:pt idx="5">
                  <c:v>40</c:v>
                </c:pt>
                <c:pt idx="6" formatCode="General">
                  <c:v>35</c:v>
                </c:pt>
                <c:pt idx="7" formatCode="General">
                  <c:v>44</c:v>
                </c:pt>
                <c:pt idx="8" formatCode="General">
                  <c:v>28</c:v>
                </c:pt>
                <c:pt idx="9" formatCode="General">
                  <c:v>30</c:v>
                </c:pt>
              </c:numCache>
            </c:numRef>
          </c:val>
          <c:extLst>
            <c:ext xmlns:c16="http://schemas.microsoft.com/office/drawing/2014/chart" uri="{C3380CC4-5D6E-409C-BE32-E72D297353CC}">
              <c16:uniqueId val="{00000000-75D0-473D-967E-7A65BA6684E9}"/>
            </c:ext>
          </c:extLst>
        </c:ser>
        <c:ser>
          <c:idx val="2"/>
          <c:order val="2"/>
          <c:tx>
            <c:strRef>
              <c:f>Foglio1!$D$1</c:f>
              <c:strCache>
                <c:ptCount val="1"/>
                <c:pt idx="0">
                  <c:v>Better</c:v>
                </c:pt>
              </c:strCache>
            </c:strRef>
          </c:tx>
          <c:spPr>
            <a:solidFill>
              <a:srgbClr val="4D9991"/>
            </a:solidFill>
            <a:effectLst/>
          </c:spPr>
          <c:invertIfNegative val="0"/>
          <c:dLbls>
            <c:spPr>
              <a:noFill/>
              <a:ln>
                <a:noFill/>
              </a:ln>
              <a:effectLst/>
            </c:spPr>
            <c:txPr>
              <a:bodyPr/>
              <a:lstStyle/>
              <a:p>
                <a:pPr>
                  <a:defRPr sz="2000">
                    <a:latin typeface="+mn-lt"/>
                    <a:cs typeface="Arial" panose="020B0604020202020204" pitchFamily="34" charset="0"/>
                  </a:defRPr>
                </a:pPr>
                <a:endParaRPr lang="ru-RU"/>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Foglio1!$A$2:$A$11</c:f>
              <c:strCache>
                <c:ptCount val="10"/>
                <c:pt idx="0">
                  <c:v>Italy</c:v>
                </c:pt>
                <c:pt idx="1">
                  <c:v>Spain</c:v>
                </c:pt>
                <c:pt idx="2">
                  <c:v>France</c:v>
                </c:pt>
                <c:pt idx="3">
                  <c:v>Belgium</c:v>
                </c:pt>
                <c:pt idx="4">
                  <c:v>Netherlands</c:v>
                </c:pt>
                <c:pt idx="5">
                  <c:v>CZ</c:v>
                </c:pt>
                <c:pt idx="6">
                  <c:v>UK</c:v>
                </c:pt>
                <c:pt idx="7">
                  <c:v>Germany</c:v>
                </c:pt>
                <c:pt idx="8">
                  <c:v>Poland</c:v>
                </c:pt>
                <c:pt idx="9">
                  <c:v>Russia</c:v>
                </c:pt>
              </c:strCache>
            </c:strRef>
          </c:cat>
          <c:val>
            <c:numRef>
              <c:f>Foglio1!$D$2:$D$11</c:f>
              <c:numCache>
                <c:formatCode>0</c:formatCode>
                <c:ptCount val="10"/>
                <c:pt idx="1">
                  <c:v>18.3</c:v>
                </c:pt>
                <c:pt idx="2">
                  <c:v>16</c:v>
                </c:pt>
                <c:pt idx="3">
                  <c:v>20</c:v>
                </c:pt>
                <c:pt idx="4">
                  <c:v>22</c:v>
                </c:pt>
                <c:pt idx="5">
                  <c:v>27</c:v>
                </c:pt>
                <c:pt idx="6">
                  <c:v>26</c:v>
                </c:pt>
                <c:pt idx="7">
                  <c:v>23</c:v>
                </c:pt>
                <c:pt idx="8">
                  <c:v>17</c:v>
                </c:pt>
                <c:pt idx="9">
                  <c:v>16</c:v>
                </c:pt>
              </c:numCache>
            </c:numRef>
          </c:val>
          <c:extLst>
            <c:ext xmlns:c16="http://schemas.microsoft.com/office/drawing/2014/chart" uri="{C3380CC4-5D6E-409C-BE32-E72D297353CC}">
              <c16:uniqueId val="{00000001-75D0-473D-967E-7A65BA6684E9}"/>
            </c:ext>
          </c:extLst>
        </c:ser>
        <c:dLbls>
          <c:showLegendKey val="0"/>
          <c:showVal val="0"/>
          <c:showCatName val="0"/>
          <c:showSerName val="0"/>
          <c:showPercent val="0"/>
          <c:showBubbleSize val="0"/>
        </c:dLbls>
        <c:gapWidth val="67"/>
        <c:overlap val="100"/>
        <c:axId val="131546624"/>
        <c:axId val="188963008"/>
      </c:barChart>
      <c:catAx>
        <c:axId val="131546624"/>
        <c:scaling>
          <c:orientation val="minMax"/>
        </c:scaling>
        <c:delete val="1"/>
        <c:axPos val="b"/>
        <c:numFmt formatCode="General" sourceLinked="1"/>
        <c:majorTickMark val="out"/>
        <c:minorTickMark val="none"/>
        <c:tickLblPos val="nextTo"/>
        <c:crossAx val="188963008"/>
        <c:crosses val="autoZero"/>
        <c:auto val="1"/>
        <c:lblAlgn val="ctr"/>
        <c:lblOffset val="100"/>
        <c:noMultiLvlLbl val="0"/>
      </c:catAx>
      <c:valAx>
        <c:axId val="188963008"/>
        <c:scaling>
          <c:orientation val="minMax"/>
          <c:max val="1"/>
          <c:min val="0"/>
        </c:scaling>
        <c:delete val="1"/>
        <c:axPos val="l"/>
        <c:numFmt formatCode="0%" sourceLinked="0"/>
        <c:majorTickMark val="out"/>
        <c:minorTickMark val="none"/>
        <c:tickLblPos val="nextTo"/>
        <c:crossAx val="131546624"/>
        <c:crosses val="autoZero"/>
        <c:crossBetween val="between"/>
        <c:majorUnit val="10"/>
        <c:minorUnit val="5"/>
      </c:valAx>
    </c:plotArea>
    <c:plotVisOnly val="1"/>
    <c:dispBlanksAs val="gap"/>
    <c:showDLblsOverMax val="0"/>
  </c:chart>
  <c:txPr>
    <a:bodyPr/>
    <a:lstStyle/>
    <a:p>
      <a:pPr>
        <a:defRPr sz="1800"/>
      </a:pPr>
      <a:endParaRPr lang="ru-RU"/>
    </a:p>
  </c:txPr>
  <c:externalData r:id="rId2">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Лист1!$B$1</c:f>
              <c:strCache>
                <c:ptCount val="1"/>
                <c:pt idx="0">
                  <c:v>Ряд 1</c:v>
                </c:pt>
              </c:strCache>
            </c:strRef>
          </c:tx>
          <c:spPr>
            <a:solidFill>
              <a:srgbClr val="C00000"/>
            </a:solidFill>
            <a:ln>
              <a:noFill/>
            </a:ln>
            <a:effectLst/>
          </c:spPr>
          <c:invertIfNegative val="0"/>
          <c:dPt>
            <c:idx val="2"/>
            <c:invertIfNegative val="0"/>
            <c:bubble3D val="0"/>
            <c:spPr>
              <a:solidFill>
                <a:srgbClr val="92D050"/>
              </a:solidFill>
              <a:ln>
                <a:noFill/>
              </a:ln>
              <a:effectLst/>
            </c:spPr>
            <c:extLst>
              <c:ext xmlns:c16="http://schemas.microsoft.com/office/drawing/2014/chart" uri="{C3380CC4-5D6E-409C-BE32-E72D297353CC}">
                <c16:uniqueId val="{00000001-68C9-4DDB-8778-7F88408FDABF}"/>
              </c:ext>
            </c:extLst>
          </c:dPt>
          <c:dPt>
            <c:idx val="3"/>
            <c:invertIfNegative val="0"/>
            <c:bubble3D val="0"/>
            <c:spPr>
              <a:solidFill>
                <a:srgbClr val="92D050"/>
              </a:solidFill>
              <a:ln>
                <a:noFill/>
              </a:ln>
              <a:effectLst/>
            </c:spPr>
            <c:extLst>
              <c:ext xmlns:c16="http://schemas.microsoft.com/office/drawing/2014/chart" uri="{C3380CC4-5D6E-409C-BE32-E72D297353CC}">
                <c16:uniqueId val="{00000002-68C9-4DDB-8778-7F88408FDABF}"/>
              </c:ext>
            </c:extLst>
          </c:dPt>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ru-RU"/>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Лист1!$A$2:$A$7</c:f>
              <c:strCache>
                <c:ptCount val="6"/>
                <c:pt idx="0">
                  <c:v>Jan-Apr 2020</c:v>
                </c:pt>
                <c:pt idx="2">
                  <c:v>Jan</c:v>
                </c:pt>
                <c:pt idx="3">
                  <c:v>Feb</c:v>
                </c:pt>
                <c:pt idx="4">
                  <c:v>Mar</c:v>
                </c:pt>
                <c:pt idx="5">
                  <c:v>Apr</c:v>
                </c:pt>
              </c:strCache>
            </c:strRef>
          </c:cat>
          <c:val>
            <c:numRef>
              <c:f>Лист1!$B$2:$B$7</c:f>
              <c:numCache>
                <c:formatCode>General</c:formatCode>
                <c:ptCount val="6"/>
                <c:pt idx="0" formatCode="0.0%">
                  <c:v>-7.7637600579999994E-2</c:v>
                </c:pt>
                <c:pt idx="2" formatCode="0%">
                  <c:v>9.8285995119999997E-2</c:v>
                </c:pt>
                <c:pt idx="3" formatCode="0%">
                  <c:v>3.2245146089999996E-2</c:v>
                </c:pt>
                <c:pt idx="4" formatCode="0%">
                  <c:v>-0.16189457384</c:v>
                </c:pt>
                <c:pt idx="5" formatCode="0%">
                  <c:v>-0.32165747661999999</c:v>
                </c:pt>
              </c:numCache>
            </c:numRef>
          </c:val>
          <c:extLst>
            <c:ext xmlns:c16="http://schemas.microsoft.com/office/drawing/2014/chart" uri="{C3380CC4-5D6E-409C-BE32-E72D297353CC}">
              <c16:uniqueId val="{00000000-68C9-4DDB-8778-7F88408FDABF}"/>
            </c:ext>
          </c:extLst>
        </c:ser>
        <c:dLbls>
          <c:showLegendKey val="0"/>
          <c:showVal val="0"/>
          <c:showCatName val="0"/>
          <c:showSerName val="0"/>
          <c:showPercent val="0"/>
          <c:showBubbleSize val="0"/>
        </c:dLbls>
        <c:gapWidth val="219"/>
        <c:overlap val="-27"/>
        <c:axId val="947219168"/>
        <c:axId val="1673177344"/>
      </c:barChart>
      <c:catAx>
        <c:axId val="947219168"/>
        <c:scaling>
          <c:orientation val="minMax"/>
        </c:scaling>
        <c:delete val="1"/>
        <c:axPos val="b"/>
        <c:numFmt formatCode="General" sourceLinked="1"/>
        <c:majorTickMark val="out"/>
        <c:minorTickMark val="none"/>
        <c:tickLblPos val="nextTo"/>
        <c:crossAx val="1673177344"/>
        <c:crosses val="autoZero"/>
        <c:auto val="1"/>
        <c:lblAlgn val="ctr"/>
        <c:lblOffset val="100"/>
        <c:noMultiLvlLbl val="0"/>
      </c:catAx>
      <c:valAx>
        <c:axId val="1673177344"/>
        <c:scaling>
          <c:orientation val="minMax"/>
          <c:min val="-0.4"/>
        </c:scaling>
        <c:delete val="1"/>
        <c:axPos val="l"/>
        <c:numFmt formatCode="0.0%" sourceLinked="1"/>
        <c:majorTickMark val="out"/>
        <c:minorTickMark val="none"/>
        <c:tickLblPos val="nextTo"/>
        <c:crossAx val="94721916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ru-RU"/>
    </a:p>
  </c:txPr>
  <c:externalData r:id="rId3">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Лист1!$B$1</c:f>
              <c:strCache>
                <c:ptCount val="1"/>
                <c:pt idx="0">
                  <c:v>Ряд 1</c:v>
                </c:pt>
              </c:strCache>
            </c:strRef>
          </c:tx>
          <c:spPr>
            <a:solidFill>
              <a:srgbClr val="92D050"/>
            </a:solidFill>
            <a:ln>
              <a:noFill/>
            </a:ln>
            <a:effectLst/>
          </c:spPr>
          <c:invertIfNegative val="0"/>
          <c:dPt>
            <c:idx val="4"/>
            <c:invertIfNegative val="0"/>
            <c:bubble3D val="0"/>
            <c:spPr>
              <a:solidFill>
                <a:srgbClr val="92D050"/>
              </a:solidFill>
              <a:ln>
                <a:noFill/>
              </a:ln>
              <a:effectLst/>
            </c:spPr>
            <c:extLst>
              <c:ext xmlns:c16="http://schemas.microsoft.com/office/drawing/2014/chart" uri="{C3380CC4-5D6E-409C-BE32-E72D297353CC}">
                <c16:uniqueId val="{00000001-D861-4C73-A29C-2C4E794C202B}"/>
              </c:ext>
            </c:extLst>
          </c:dPt>
          <c:dPt>
            <c:idx val="5"/>
            <c:invertIfNegative val="0"/>
            <c:bubble3D val="0"/>
            <c:spPr>
              <a:solidFill>
                <a:srgbClr val="C00000"/>
              </a:solidFill>
              <a:ln>
                <a:noFill/>
              </a:ln>
              <a:effectLst/>
            </c:spPr>
            <c:extLst>
              <c:ext xmlns:c16="http://schemas.microsoft.com/office/drawing/2014/chart" uri="{C3380CC4-5D6E-409C-BE32-E72D297353CC}">
                <c16:uniqueId val="{00000002-D861-4C73-A29C-2C4E794C202B}"/>
              </c:ext>
            </c:extLst>
          </c:dPt>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ru-RU"/>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Лист1!$A$2:$A$7</c:f>
              <c:strCache>
                <c:ptCount val="6"/>
                <c:pt idx="0">
                  <c:v>Jan-Apr 2020</c:v>
                </c:pt>
                <c:pt idx="2">
                  <c:v>Jan</c:v>
                </c:pt>
                <c:pt idx="3">
                  <c:v>Feb</c:v>
                </c:pt>
                <c:pt idx="4">
                  <c:v>Mar</c:v>
                </c:pt>
                <c:pt idx="5">
                  <c:v>Apr</c:v>
                </c:pt>
              </c:strCache>
            </c:strRef>
          </c:cat>
          <c:val>
            <c:numRef>
              <c:f>Лист1!$B$2:$B$7</c:f>
              <c:numCache>
                <c:formatCode>General</c:formatCode>
                <c:ptCount val="6"/>
                <c:pt idx="0" formatCode="0%">
                  <c:v>6.0618338190000003E-2</c:v>
                </c:pt>
                <c:pt idx="2" formatCode="0%">
                  <c:v>0.22317854329</c:v>
                </c:pt>
                <c:pt idx="3" formatCode="0%">
                  <c:v>6.5441603940000009E-2</c:v>
                </c:pt>
                <c:pt idx="4" formatCode="0%">
                  <c:v>0.16696824122999998</c:v>
                </c:pt>
                <c:pt idx="5" formatCode="0%">
                  <c:v>-0.29384838359999998</c:v>
                </c:pt>
              </c:numCache>
            </c:numRef>
          </c:val>
          <c:extLst>
            <c:ext xmlns:c16="http://schemas.microsoft.com/office/drawing/2014/chart" uri="{C3380CC4-5D6E-409C-BE32-E72D297353CC}">
              <c16:uniqueId val="{00000000-D861-4C73-A29C-2C4E794C202B}"/>
            </c:ext>
          </c:extLst>
        </c:ser>
        <c:dLbls>
          <c:showLegendKey val="0"/>
          <c:showVal val="0"/>
          <c:showCatName val="0"/>
          <c:showSerName val="0"/>
          <c:showPercent val="0"/>
          <c:showBubbleSize val="0"/>
        </c:dLbls>
        <c:gapWidth val="219"/>
        <c:overlap val="-27"/>
        <c:axId val="947219168"/>
        <c:axId val="1673177344"/>
      </c:barChart>
      <c:catAx>
        <c:axId val="947219168"/>
        <c:scaling>
          <c:orientation val="minMax"/>
        </c:scaling>
        <c:delete val="1"/>
        <c:axPos val="b"/>
        <c:numFmt formatCode="General" sourceLinked="1"/>
        <c:majorTickMark val="out"/>
        <c:minorTickMark val="none"/>
        <c:tickLblPos val="nextTo"/>
        <c:crossAx val="1673177344"/>
        <c:crosses val="autoZero"/>
        <c:auto val="1"/>
        <c:lblAlgn val="ctr"/>
        <c:lblOffset val="100"/>
        <c:noMultiLvlLbl val="0"/>
      </c:catAx>
      <c:valAx>
        <c:axId val="1673177344"/>
        <c:scaling>
          <c:orientation val="minMax"/>
          <c:min val="-0.4"/>
        </c:scaling>
        <c:delete val="1"/>
        <c:axPos val="l"/>
        <c:numFmt formatCode="0%" sourceLinked="1"/>
        <c:majorTickMark val="out"/>
        <c:minorTickMark val="none"/>
        <c:tickLblPos val="nextTo"/>
        <c:crossAx val="94721916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ru-RU"/>
    </a:p>
  </c:txPr>
  <c:externalData r:id="rId3">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Лист1!$B$1</c:f>
              <c:strCache>
                <c:ptCount val="1"/>
                <c:pt idx="0">
                  <c:v>Ряд 1</c:v>
                </c:pt>
              </c:strCache>
            </c:strRef>
          </c:tx>
          <c:spPr>
            <a:solidFill>
              <a:srgbClr val="92D050"/>
            </a:solidFill>
            <a:ln>
              <a:noFill/>
            </a:ln>
            <a:effectLst/>
          </c:spPr>
          <c:invertIfNegative val="0"/>
          <c:dPt>
            <c:idx val="3"/>
            <c:invertIfNegative val="0"/>
            <c:bubble3D val="0"/>
            <c:spPr>
              <a:solidFill>
                <a:schemeClr val="accent2"/>
              </a:solidFill>
              <a:ln>
                <a:noFill/>
              </a:ln>
              <a:effectLst/>
            </c:spPr>
            <c:extLst>
              <c:ext xmlns:c16="http://schemas.microsoft.com/office/drawing/2014/chart" uri="{C3380CC4-5D6E-409C-BE32-E72D297353CC}">
                <c16:uniqueId val="{00000002-311A-482E-B6AD-A250E7DE24E4}"/>
              </c:ext>
            </c:extLst>
          </c:dPt>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ru-RU"/>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Лист1!$A$2:$A$7</c:f>
              <c:strCache>
                <c:ptCount val="6"/>
                <c:pt idx="0">
                  <c:v>Jan-Apr 2020</c:v>
                </c:pt>
                <c:pt idx="2">
                  <c:v>Jan</c:v>
                </c:pt>
                <c:pt idx="3">
                  <c:v>Feb</c:v>
                </c:pt>
                <c:pt idx="4">
                  <c:v>Mar</c:v>
                </c:pt>
                <c:pt idx="5">
                  <c:v>Apr</c:v>
                </c:pt>
              </c:strCache>
            </c:strRef>
          </c:cat>
          <c:val>
            <c:numRef>
              <c:f>Лист1!$B$2:$B$7</c:f>
              <c:numCache>
                <c:formatCode>General</c:formatCode>
                <c:ptCount val="6"/>
                <c:pt idx="0" formatCode="0.0%">
                  <c:v>0.17598849807</c:v>
                </c:pt>
                <c:pt idx="2" formatCode="0%">
                  <c:v>8.7184907589999999E-2</c:v>
                </c:pt>
                <c:pt idx="3" formatCode="0%">
                  <c:v>-1.55592547E-2</c:v>
                </c:pt>
                <c:pt idx="4" formatCode="0%">
                  <c:v>0.33500609368000001</c:v>
                </c:pt>
                <c:pt idx="5" formatCode="0%">
                  <c:v>0.34017962353999998</c:v>
                </c:pt>
              </c:numCache>
            </c:numRef>
          </c:val>
          <c:extLst>
            <c:ext xmlns:c16="http://schemas.microsoft.com/office/drawing/2014/chart" uri="{C3380CC4-5D6E-409C-BE32-E72D297353CC}">
              <c16:uniqueId val="{00000000-311A-482E-B6AD-A250E7DE24E4}"/>
            </c:ext>
          </c:extLst>
        </c:ser>
        <c:dLbls>
          <c:showLegendKey val="0"/>
          <c:showVal val="0"/>
          <c:showCatName val="0"/>
          <c:showSerName val="0"/>
          <c:showPercent val="0"/>
          <c:showBubbleSize val="0"/>
        </c:dLbls>
        <c:gapWidth val="219"/>
        <c:overlap val="-27"/>
        <c:axId val="947219168"/>
        <c:axId val="1673177344"/>
      </c:barChart>
      <c:catAx>
        <c:axId val="947219168"/>
        <c:scaling>
          <c:orientation val="minMax"/>
        </c:scaling>
        <c:delete val="1"/>
        <c:axPos val="b"/>
        <c:numFmt formatCode="General" sourceLinked="1"/>
        <c:majorTickMark val="out"/>
        <c:minorTickMark val="none"/>
        <c:tickLblPos val="nextTo"/>
        <c:crossAx val="1673177344"/>
        <c:crosses val="autoZero"/>
        <c:auto val="1"/>
        <c:lblAlgn val="ctr"/>
        <c:lblOffset val="100"/>
        <c:noMultiLvlLbl val="0"/>
      </c:catAx>
      <c:valAx>
        <c:axId val="1673177344"/>
        <c:scaling>
          <c:orientation val="minMax"/>
          <c:min val="-0.4"/>
        </c:scaling>
        <c:delete val="1"/>
        <c:axPos val="l"/>
        <c:numFmt formatCode="0.0%" sourceLinked="1"/>
        <c:majorTickMark val="out"/>
        <c:minorTickMark val="none"/>
        <c:tickLblPos val="nextTo"/>
        <c:crossAx val="94721916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ru-RU"/>
    </a:p>
  </c:txPr>
  <c:externalData r:id="rId3">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Лист1!$B$1</c:f>
              <c:strCache>
                <c:ptCount val="1"/>
                <c:pt idx="0">
                  <c:v>Ряд 1</c:v>
                </c:pt>
              </c:strCache>
            </c:strRef>
          </c:tx>
          <c:spPr>
            <a:solidFill>
              <a:srgbClr val="92D050"/>
            </a:solidFill>
            <a:ln>
              <a:noFill/>
            </a:ln>
            <a:effectLst/>
          </c:spPr>
          <c:invertIfNegative val="0"/>
          <c:dPt>
            <c:idx val="3"/>
            <c:invertIfNegative val="0"/>
            <c:bubble3D val="0"/>
            <c:spPr>
              <a:solidFill>
                <a:srgbClr val="C00000"/>
              </a:solidFill>
              <a:ln>
                <a:noFill/>
              </a:ln>
              <a:effectLst/>
            </c:spPr>
            <c:extLst>
              <c:ext xmlns:c16="http://schemas.microsoft.com/office/drawing/2014/chart" uri="{C3380CC4-5D6E-409C-BE32-E72D297353CC}">
                <c16:uniqueId val="{00000001-D9F9-452D-9FC3-DE4ED051D490}"/>
              </c:ext>
            </c:extLst>
          </c:dPt>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ru-RU"/>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Лист1!$A$2:$A$7</c:f>
              <c:strCache>
                <c:ptCount val="6"/>
                <c:pt idx="0">
                  <c:v>Jan-Apr 2020</c:v>
                </c:pt>
                <c:pt idx="2">
                  <c:v>Jan</c:v>
                </c:pt>
                <c:pt idx="3">
                  <c:v>Feb</c:v>
                </c:pt>
                <c:pt idx="4">
                  <c:v>Mar</c:v>
                </c:pt>
                <c:pt idx="5">
                  <c:v>Apr</c:v>
                </c:pt>
              </c:strCache>
            </c:strRef>
          </c:cat>
          <c:val>
            <c:numRef>
              <c:f>Лист1!$B$2:$B$7</c:f>
              <c:numCache>
                <c:formatCode>General</c:formatCode>
                <c:ptCount val="6"/>
                <c:pt idx="0" formatCode="0%">
                  <c:v>0.33578250500000001</c:v>
                </c:pt>
                <c:pt idx="2" formatCode="0%">
                  <c:v>7.4730580000000005E-2</c:v>
                </c:pt>
                <c:pt idx="3" formatCode="0%">
                  <c:v>7.9316749999999991E-3</c:v>
                </c:pt>
                <c:pt idx="4" formatCode="0%">
                  <c:v>0.82838108899999996</c:v>
                </c:pt>
                <c:pt idx="5" formatCode="0%">
                  <c:v>0.53153868000000004</c:v>
                </c:pt>
              </c:numCache>
            </c:numRef>
          </c:val>
          <c:extLst>
            <c:ext xmlns:c16="http://schemas.microsoft.com/office/drawing/2014/chart" uri="{C3380CC4-5D6E-409C-BE32-E72D297353CC}">
              <c16:uniqueId val="{00000000-D9F9-452D-9FC3-DE4ED051D490}"/>
            </c:ext>
          </c:extLst>
        </c:ser>
        <c:dLbls>
          <c:showLegendKey val="0"/>
          <c:showVal val="0"/>
          <c:showCatName val="0"/>
          <c:showSerName val="0"/>
          <c:showPercent val="0"/>
          <c:showBubbleSize val="0"/>
        </c:dLbls>
        <c:gapWidth val="219"/>
        <c:overlap val="-27"/>
        <c:axId val="947219168"/>
        <c:axId val="1673177344"/>
      </c:barChart>
      <c:catAx>
        <c:axId val="947219168"/>
        <c:scaling>
          <c:orientation val="minMax"/>
        </c:scaling>
        <c:delete val="1"/>
        <c:axPos val="b"/>
        <c:numFmt formatCode="General" sourceLinked="1"/>
        <c:majorTickMark val="out"/>
        <c:minorTickMark val="none"/>
        <c:tickLblPos val="nextTo"/>
        <c:crossAx val="1673177344"/>
        <c:crosses val="autoZero"/>
        <c:auto val="1"/>
        <c:lblAlgn val="ctr"/>
        <c:lblOffset val="100"/>
        <c:noMultiLvlLbl val="0"/>
      </c:catAx>
      <c:valAx>
        <c:axId val="1673177344"/>
        <c:scaling>
          <c:orientation val="minMax"/>
          <c:min val="-0.4"/>
        </c:scaling>
        <c:delete val="1"/>
        <c:axPos val="l"/>
        <c:numFmt formatCode="0%" sourceLinked="1"/>
        <c:majorTickMark val="out"/>
        <c:minorTickMark val="none"/>
        <c:tickLblPos val="nextTo"/>
        <c:crossAx val="94721916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ru-RU"/>
    </a:p>
  </c:txPr>
  <c:externalData r:id="rId3">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Лист1!$B$1</c:f>
              <c:strCache>
                <c:ptCount val="1"/>
                <c:pt idx="0">
                  <c:v>Ряд 1</c:v>
                </c:pt>
              </c:strCache>
            </c:strRef>
          </c:tx>
          <c:spPr>
            <a:solidFill>
              <a:srgbClr val="C00000"/>
            </a:solidFill>
            <a:ln>
              <a:noFill/>
            </a:ln>
            <a:effectLst/>
          </c:spPr>
          <c:invertIfNegative val="0"/>
          <c:dPt>
            <c:idx val="2"/>
            <c:invertIfNegative val="0"/>
            <c:bubble3D val="0"/>
            <c:spPr>
              <a:solidFill>
                <a:srgbClr val="92D050"/>
              </a:solidFill>
              <a:ln>
                <a:noFill/>
              </a:ln>
              <a:effectLst/>
            </c:spPr>
            <c:extLst>
              <c:ext xmlns:c16="http://schemas.microsoft.com/office/drawing/2014/chart" uri="{C3380CC4-5D6E-409C-BE32-E72D297353CC}">
                <c16:uniqueId val="{00000001-F1EC-4368-B317-F473AD7010EB}"/>
              </c:ext>
            </c:extLst>
          </c:dPt>
          <c:dPt>
            <c:idx val="3"/>
            <c:invertIfNegative val="0"/>
            <c:bubble3D val="0"/>
            <c:spPr>
              <a:solidFill>
                <a:srgbClr val="92D050"/>
              </a:solidFill>
              <a:ln>
                <a:noFill/>
              </a:ln>
              <a:effectLst/>
            </c:spPr>
            <c:extLst>
              <c:ext xmlns:c16="http://schemas.microsoft.com/office/drawing/2014/chart" uri="{C3380CC4-5D6E-409C-BE32-E72D297353CC}">
                <c16:uniqueId val="{00000002-F1EC-4368-B317-F473AD7010EB}"/>
              </c:ext>
            </c:extLst>
          </c:dPt>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ru-RU"/>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Лист1!$A$2:$A$7</c:f>
              <c:strCache>
                <c:ptCount val="6"/>
                <c:pt idx="0">
                  <c:v>Jan-Apr 2020</c:v>
                </c:pt>
                <c:pt idx="2">
                  <c:v>Jan</c:v>
                </c:pt>
                <c:pt idx="3">
                  <c:v>Feb</c:v>
                </c:pt>
                <c:pt idx="4">
                  <c:v>Mar</c:v>
                </c:pt>
                <c:pt idx="5">
                  <c:v>Apr</c:v>
                </c:pt>
              </c:strCache>
            </c:strRef>
          </c:cat>
          <c:val>
            <c:numRef>
              <c:f>Лист1!$B$2:$B$7</c:f>
              <c:numCache>
                <c:formatCode>General</c:formatCode>
                <c:ptCount val="6"/>
                <c:pt idx="0" formatCode="0.0%">
                  <c:v>-5.2170523019999998E-2</c:v>
                </c:pt>
                <c:pt idx="2" formatCode="0%">
                  <c:v>8.2684577150000008E-2</c:v>
                </c:pt>
                <c:pt idx="3" formatCode="0%">
                  <c:v>6.7317821309999998E-2</c:v>
                </c:pt>
                <c:pt idx="4" formatCode="0%">
                  <c:v>-2.244307626E-2</c:v>
                </c:pt>
                <c:pt idx="5" formatCode="0%">
                  <c:v>-0.33640219881999994</c:v>
                </c:pt>
              </c:numCache>
            </c:numRef>
          </c:val>
          <c:extLst>
            <c:ext xmlns:c16="http://schemas.microsoft.com/office/drawing/2014/chart" uri="{C3380CC4-5D6E-409C-BE32-E72D297353CC}">
              <c16:uniqueId val="{00000000-F1EC-4368-B317-F473AD7010EB}"/>
            </c:ext>
          </c:extLst>
        </c:ser>
        <c:dLbls>
          <c:showLegendKey val="0"/>
          <c:showVal val="0"/>
          <c:showCatName val="0"/>
          <c:showSerName val="0"/>
          <c:showPercent val="0"/>
          <c:showBubbleSize val="0"/>
        </c:dLbls>
        <c:gapWidth val="219"/>
        <c:overlap val="-27"/>
        <c:axId val="947219168"/>
        <c:axId val="1673177344"/>
      </c:barChart>
      <c:catAx>
        <c:axId val="947219168"/>
        <c:scaling>
          <c:orientation val="minMax"/>
        </c:scaling>
        <c:delete val="1"/>
        <c:axPos val="b"/>
        <c:numFmt formatCode="General" sourceLinked="1"/>
        <c:majorTickMark val="out"/>
        <c:minorTickMark val="none"/>
        <c:tickLblPos val="nextTo"/>
        <c:crossAx val="1673177344"/>
        <c:crosses val="autoZero"/>
        <c:auto val="1"/>
        <c:lblAlgn val="ctr"/>
        <c:lblOffset val="100"/>
        <c:noMultiLvlLbl val="0"/>
      </c:catAx>
      <c:valAx>
        <c:axId val="1673177344"/>
        <c:scaling>
          <c:orientation val="minMax"/>
          <c:max val="0.1"/>
          <c:min val="-0.4"/>
        </c:scaling>
        <c:delete val="1"/>
        <c:axPos val="l"/>
        <c:numFmt formatCode="0.0%" sourceLinked="1"/>
        <c:majorTickMark val="out"/>
        <c:minorTickMark val="none"/>
        <c:tickLblPos val="nextTo"/>
        <c:crossAx val="94721916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ru-RU"/>
    </a:p>
  </c:txPr>
  <c:externalData r:id="rId3">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Лист1!$B$1</c:f>
              <c:strCache>
                <c:ptCount val="1"/>
                <c:pt idx="0">
                  <c:v>Ряд 1</c:v>
                </c:pt>
              </c:strCache>
            </c:strRef>
          </c:tx>
          <c:spPr>
            <a:solidFill>
              <a:srgbClr val="92D050"/>
            </a:solidFill>
            <a:ln>
              <a:noFill/>
            </a:ln>
            <a:effectLst/>
          </c:spPr>
          <c:invertIfNegative val="0"/>
          <c:dPt>
            <c:idx val="5"/>
            <c:invertIfNegative val="0"/>
            <c:bubble3D val="0"/>
            <c:spPr>
              <a:solidFill>
                <a:srgbClr val="C00000"/>
              </a:solidFill>
              <a:ln>
                <a:noFill/>
              </a:ln>
              <a:effectLst/>
            </c:spPr>
            <c:extLst>
              <c:ext xmlns:c16="http://schemas.microsoft.com/office/drawing/2014/chart" uri="{C3380CC4-5D6E-409C-BE32-E72D297353CC}">
                <c16:uniqueId val="{00000000-CF50-43D5-AF1C-C3A35E51CA28}"/>
              </c:ext>
            </c:extLst>
          </c:dPt>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ru-RU"/>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Лист1!$A$2:$A$7</c:f>
              <c:strCache>
                <c:ptCount val="6"/>
                <c:pt idx="0">
                  <c:v>Jan-Apr 2020</c:v>
                </c:pt>
                <c:pt idx="2">
                  <c:v>Jan</c:v>
                </c:pt>
                <c:pt idx="3">
                  <c:v>Feb</c:v>
                </c:pt>
                <c:pt idx="4">
                  <c:v>Mar</c:v>
                </c:pt>
                <c:pt idx="5">
                  <c:v>Apr</c:v>
                </c:pt>
              </c:strCache>
            </c:strRef>
          </c:cat>
          <c:val>
            <c:numRef>
              <c:f>Лист1!$B$2:$B$7</c:f>
              <c:numCache>
                <c:formatCode>General</c:formatCode>
                <c:ptCount val="6"/>
                <c:pt idx="0" formatCode="0%">
                  <c:v>0.15661457100000001</c:v>
                </c:pt>
                <c:pt idx="2" formatCode="0%">
                  <c:v>0.12652164399999999</c:v>
                </c:pt>
                <c:pt idx="3" formatCode="0%">
                  <c:v>0.137508462</c:v>
                </c:pt>
                <c:pt idx="4" formatCode="0%">
                  <c:v>0.69429705100000005</c:v>
                </c:pt>
                <c:pt idx="5" formatCode="0%">
                  <c:v>-0.31007547200000002</c:v>
                </c:pt>
              </c:numCache>
            </c:numRef>
          </c:val>
          <c:extLst>
            <c:ext xmlns:c16="http://schemas.microsoft.com/office/drawing/2014/chart" uri="{C3380CC4-5D6E-409C-BE32-E72D297353CC}">
              <c16:uniqueId val="{00000000-DB26-4CC5-B220-5F21067E25DA}"/>
            </c:ext>
          </c:extLst>
        </c:ser>
        <c:dLbls>
          <c:showLegendKey val="0"/>
          <c:showVal val="0"/>
          <c:showCatName val="0"/>
          <c:showSerName val="0"/>
          <c:showPercent val="0"/>
          <c:showBubbleSize val="0"/>
        </c:dLbls>
        <c:gapWidth val="219"/>
        <c:overlap val="-27"/>
        <c:axId val="947219168"/>
        <c:axId val="1673177344"/>
      </c:barChart>
      <c:catAx>
        <c:axId val="947219168"/>
        <c:scaling>
          <c:orientation val="minMax"/>
        </c:scaling>
        <c:delete val="1"/>
        <c:axPos val="b"/>
        <c:numFmt formatCode="General" sourceLinked="1"/>
        <c:majorTickMark val="out"/>
        <c:minorTickMark val="none"/>
        <c:tickLblPos val="nextTo"/>
        <c:crossAx val="1673177344"/>
        <c:crosses val="autoZero"/>
        <c:auto val="1"/>
        <c:lblAlgn val="ctr"/>
        <c:lblOffset val="100"/>
        <c:noMultiLvlLbl val="0"/>
      </c:catAx>
      <c:valAx>
        <c:axId val="1673177344"/>
        <c:scaling>
          <c:orientation val="minMax"/>
          <c:min val="-0.4"/>
        </c:scaling>
        <c:delete val="1"/>
        <c:axPos val="l"/>
        <c:numFmt formatCode="0%" sourceLinked="1"/>
        <c:majorTickMark val="out"/>
        <c:minorTickMark val="none"/>
        <c:tickLblPos val="nextTo"/>
        <c:crossAx val="94721916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ru-RU"/>
    </a:p>
  </c:txPr>
  <c:externalData r:id="rId3">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Лист1!$B$1</c:f>
              <c:strCache>
                <c:ptCount val="1"/>
                <c:pt idx="0">
                  <c:v>Ряд 1</c:v>
                </c:pt>
              </c:strCache>
            </c:strRef>
          </c:tx>
          <c:spPr>
            <a:solidFill>
              <a:srgbClr val="C00000"/>
            </a:solidFill>
            <a:ln>
              <a:noFill/>
            </a:ln>
            <a:effectLst/>
          </c:spPr>
          <c:invertIfNegative val="0"/>
          <c:dPt>
            <c:idx val="0"/>
            <c:invertIfNegative val="0"/>
            <c:bubble3D val="0"/>
            <c:spPr>
              <a:solidFill>
                <a:srgbClr val="92D050"/>
              </a:solidFill>
              <a:ln>
                <a:noFill/>
              </a:ln>
              <a:effectLst/>
            </c:spPr>
            <c:extLst>
              <c:ext xmlns:c16="http://schemas.microsoft.com/office/drawing/2014/chart" uri="{C3380CC4-5D6E-409C-BE32-E72D297353CC}">
                <c16:uniqueId val="{00000003-3357-46FE-ABE2-1D854928866F}"/>
              </c:ext>
            </c:extLst>
          </c:dPt>
          <c:dPt>
            <c:idx val="2"/>
            <c:invertIfNegative val="0"/>
            <c:bubble3D val="0"/>
            <c:spPr>
              <a:solidFill>
                <a:srgbClr val="92D050"/>
              </a:solidFill>
              <a:ln>
                <a:noFill/>
              </a:ln>
              <a:effectLst/>
            </c:spPr>
            <c:extLst>
              <c:ext xmlns:c16="http://schemas.microsoft.com/office/drawing/2014/chart" uri="{C3380CC4-5D6E-409C-BE32-E72D297353CC}">
                <c16:uniqueId val="{00000001-3357-46FE-ABE2-1D854928866F}"/>
              </c:ext>
            </c:extLst>
          </c:dPt>
          <c:dPt>
            <c:idx val="3"/>
            <c:invertIfNegative val="0"/>
            <c:bubble3D val="0"/>
            <c:spPr>
              <a:solidFill>
                <a:srgbClr val="92D050"/>
              </a:solidFill>
              <a:ln>
                <a:noFill/>
              </a:ln>
              <a:effectLst/>
            </c:spPr>
            <c:extLst>
              <c:ext xmlns:c16="http://schemas.microsoft.com/office/drawing/2014/chart" uri="{C3380CC4-5D6E-409C-BE32-E72D297353CC}">
                <c16:uniqueId val="{00000002-3357-46FE-ABE2-1D854928866F}"/>
              </c:ext>
            </c:extLst>
          </c:dPt>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ru-RU"/>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Лист1!$A$2:$A$7</c:f>
              <c:strCache>
                <c:ptCount val="6"/>
                <c:pt idx="0">
                  <c:v>Jan-Apr 2020</c:v>
                </c:pt>
                <c:pt idx="2">
                  <c:v>Jan</c:v>
                </c:pt>
                <c:pt idx="3">
                  <c:v>Feb</c:v>
                </c:pt>
                <c:pt idx="4">
                  <c:v>Mar</c:v>
                </c:pt>
                <c:pt idx="5">
                  <c:v>Apr</c:v>
                </c:pt>
              </c:strCache>
            </c:strRef>
          </c:cat>
          <c:val>
            <c:numRef>
              <c:f>Лист1!$B$2:$B$7</c:f>
              <c:numCache>
                <c:formatCode>General</c:formatCode>
                <c:ptCount val="6"/>
                <c:pt idx="0" formatCode="0.0%">
                  <c:v>4.6147160599999994E-3</c:v>
                </c:pt>
                <c:pt idx="2" formatCode="0%">
                  <c:v>0.13401723956</c:v>
                </c:pt>
                <c:pt idx="3" formatCode="0%">
                  <c:v>7.1121356869999999E-2</c:v>
                </c:pt>
                <c:pt idx="4" formatCode="0%">
                  <c:v>-8.0055102680000004E-2</c:v>
                </c:pt>
                <c:pt idx="5" formatCode="0%">
                  <c:v>-0.16551074344</c:v>
                </c:pt>
              </c:numCache>
            </c:numRef>
          </c:val>
          <c:extLst>
            <c:ext xmlns:c16="http://schemas.microsoft.com/office/drawing/2014/chart" uri="{C3380CC4-5D6E-409C-BE32-E72D297353CC}">
              <c16:uniqueId val="{00000000-3357-46FE-ABE2-1D854928866F}"/>
            </c:ext>
          </c:extLst>
        </c:ser>
        <c:dLbls>
          <c:showLegendKey val="0"/>
          <c:showVal val="0"/>
          <c:showCatName val="0"/>
          <c:showSerName val="0"/>
          <c:showPercent val="0"/>
          <c:showBubbleSize val="0"/>
        </c:dLbls>
        <c:gapWidth val="219"/>
        <c:overlap val="-27"/>
        <c:axId val="947219168"/>
        <c:axId val="1673177344"/>
      </c:barChart>
      <c:catAx>
        <c:axId val="947219168"/>
        <c:scaling>
          <c:orientation val="minMax"/>
        </c:scaling>
        <c:delete val="1"/>
        <c:axPos val="b"/>
        <c:numFmt formatCode="General" sourceLinked="1"/>
        <c:majorTickMark val="out"/>
        <c:minorTickMark val="none"/>
        <c:tickLblPos val="nextTo"/>
        <c:crossAx val="1673177344"/>
        <c:crosses val="autoZero"/>
        <c:auto val="1"/>
        <c:lblAlgn val="ctr"/>
        <c:lblOffset val="100"/>
        <c:noMultiLvlLbl val="0"/>
      </c:catAx>
      <c:valAx>
        <c:axId val="1673177344"/>
        <c:scaling>
          <c:orientation val="minMax"/>
          <c:min val="-0.4"/>
        </c:scaling>
        <c:delete val="1"/>
        <c:axPos val="l"/>
        <c:numFmt formatCode="0.0%" sourceLinked="1"/>
        <c:majorTickMark val="out"/>
        <c:minorTickMark val="none"/>
        <c:tickLblPos val="nextTo"/>
        <c:crossAx val="94721916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ru-RU"/>
    </a:p>
  </c:txPr>
  <c:externalData r:id="rId3">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Лист1!$B$1</c:f>
              <c:strCache>
                <c:ptCount val="1"/>
                <c:pt idx="0">
                  <c:v>Ряд 1</c:v>
                </c:pt>
              </c:strCache>
            </c:strRef>
          </c:tx>
          <c:spPr>
            <a:solidFill>
              <a:srgbClr val="92D050"/>
            </a:solidFill>
            <a:ln>
              <a:noFill/>
            </a:ln>
            <a:effectLst/>
          </c:spPr>
          <c:invertIfNegative val="0"/>
          <c:dPt>
            <c:idx val="0"/>
            <c:invertIfNegative val="0"/>
            <c:bubble3D val="0"/>
            <c:spPr>
              <a:solidFill>
                <a:srgbClr val="92D050"/>
              </a:solidFill>
              <a:ln>
                <a:noFill/>
              </a:ln>
              <a:effectLst/>
            </c:spPr>
            <c:extLst>
              <c:ext xmlns:c16="http://schemas.microsoft.com/office/drawing/2014/chart" uri="{C3380CC4-5D6E-409C-BE32-E72D297353CC}">
                <c16:uniqueId val="{00000002-8BB2-4CCA-80BF-12D716A2E0C3}"/>
              </c:ext>
            </c:extLst>
          </c:dPt>
          <c:dPt>
            <c:idx val="4"/>
            <c:invertIfNegative val="0"/>
            <c:bubble3D val="0"/>
            <c:spPr>
              <a:solidFill>
                <a:srgbClr val="92D050"/>
              </a:solidFill>
              <a:ln>
                <a:noFill/>
              </a:ln>
              <a:effectLst/>
            </c:spPr>
            <c:extLst>
              <c:ext xmlns:c16="http://schemas.microsoft.com/office/drawing/2014/chart" uri="{C3380CC4-5D6E-409C-BE32-E72D297353CC}">
                <c16:uniqueId val="{00000001-8BB2-4CCA-80BF-12D716A2E0C3}"/>
              </c:ext>
            </c:extLst>
          </c:dPt>
          <c:dPt>
            <c:idx val="5"/>
            <c:invertIfNegative val="0"/>
            <c:bubble3D val="0"/>
            <c:spPr>
              <a:solidFill>
                <a:srgbClr val="C00000"/>
              </a:solidFill>
              <a:ln>
                <a:noFill/>
              </a:ln>
              <a:effectLst/>
            </c:spPr>
            <c:extLst>
              <c:ext xmlns:c16="http://schemas.microsoft.com/office/drawing/2014/chart" uri="{C3380CC4-5D6E-409C-BE32-E72D297353CC}">
                <c16:uniqueId val="{00000004-5F8E-4C1D-B391-4D763F98A69B}"/>
              </c:ext>
            </c:extLst>
          </c:dPt>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ru-RU"/>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Лист1!$A$2:$A$7</c:f>
              <c:strCache>
                <c:ptCount val="6"/>
                <c:pt idx="0">
                  <c:v>Jan-Apr 2020</c:v>
                </c:pt>
                <c:pt idx="2">
                  <c:v>Jan</c:v>
                </c:pt>
                <c:pt idx="3">
                  <c:v>Feb</c:v>
                </c:pt>
                <c:pt idx="4">
                  <c:v>Mar</c:v>
                </c:pt>
                <c:pt idx="5">
                  <c:v>Apr</c:v>
                </c:pt>
              </c:strCache>
            </c:strRef>
          </c:cat>
          <c:val>
            <c:numRef>
              <c:f>Лист1!$B$2:$B$7</c:f>
              <c:numCache>
                <c:formatCode>General</c:formatCode>
                <c:ptCount val="6"/>
                <c:pt idx="0" formatCode="0%">
                  <c:v>0.20709830247</c:v>
                </c:pt>
                <c:pt idx="2" formatCode="0%">
                  <c:v>0.25323951954000001</c:v>
                </c:pt>
                <c:pt idx="3" formatCode="0%">
                  <c:v>0.20656055178999999</c:v>
                </c:pt>
                <c:pt idx="4" formatCode="0%">
                  <c:v>0.40128900356000002</c:v>
                </c:pt>
                <c:pt idx="5" formatCode="0%">
                  <c:v>-8.4318857129999994E-2</c:v>
                </c:pt>
              </c:numCache>
            </c:numRef>
          </c:val>
          <c:extLst>
            <c:ext xmlns:c16="http://schemas.microsoft.com/office/drawing/2014/chart" uri="{C3380CC4-5D6E-409C-BE32-E72D297353CC}">
              <c16:uniqueId val="{00000000-8BB2-4CCA-80BF-12D716A2E0C3}"/>
            </c:ext>
          </c:extLst>
        </c:ser>
        <c:dLbls>
          <c:showLegendKey val="0"/>
          <c:showVal val="0"/>
          <c:showCatName val="0"/>
          <c:showSerName val="0"/>
          <c:showPercent val="0"/>
          <c:showBubbleSize val="0"/>
        </c:dLbls>
        <c:gapWidth val="219"/>
        <c:overlap val="-27"/>
        <c:axId val="947219168"/>
        <c:axId val="1673177344"/>
      </c:barChart>
      <c:catAx>
        <c:axId val="947219168"/>
        <c:scaling>
          <c:orientation val="minMax"/>
        </c:scaling>
        <c:delete val="1"/>
        <c:axPos val="b"/>
        <c:numFmt formatCode="General" sourceLinked="1"/>
        <c:majorTickMark val="out"/>
        <c:minorTickMark val="none"/>
        <c:tickLblPos val="nextTo"/>
        <c:crossAx val="1673177344"/>
        <c:crosses val="autoZero"/>
        <c:auto val="1"/>
        <c:lblAlgn val="ctr"/>
        <c:lblOffset val="100"/>
        <c:noMultiLvlLbl val="0"/>
      </c:catAx>
      <c:valAx>
        <c:axId val="1673177344"/>
        <c:scaling>
          <c:orientation val="minMax"/>
          <c:min val="-0.4"/>
        </c:scaling>
        <c:delete val="1"/>
        <c:axPos val="l"/>
        <c:numFmt formatCode="0%" sourceLinked="1"/>
        <c:majorTickMark val="out"/>
        <c:minorTickMark val="none"/>
        <c:tickLblPos val="nextTo"/>
        <c:crossAx val="94721916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ru-RU"/>
    </a:p>
  </c:txPr>
  <c:externalData r:id="rId3">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2108356068223572E-2"/>
          <c:y val="8.3823591841650863E-2"/>
          <c:w val="0.9522819080452094"/>
          <c:h val="0.57627860164208689"/>
        </c:manualLayout>
      </c:layout>
      <c:lineChart>
        <c:grouping val="standard"/>
        <c:varyColors val="0"/>
        <c:ser>
          <c:idx val="0"/>
          <c:order val="0"/>
          <c:tx>
            <c:strRef>
              <c:f>Лист1!$B$1</c:f>
              <c:strCache>
                <c:ptCount val="1"/>
                <c:pt idx="0">
                  <c:v>Grand Total</c:v>
                </c:pt>
              </c:strCache>
            </c:strRef>
          </c:tx>
          <c:spPr>
            <a:ln w="28575" cap="rnd">
              <a:solidFill>
                <a:srgbClr val="92D050"/>
              </a:solidFill>
              <a:round/>
            </a:ln>
            <a:effectLst/>
          </c:spPr>
          <c:marker>
            <c:symbol val="none"/>
          </c:marker>
          <c:cat>
            <c:strRef>
              <c:f>Лист1!$A$2:$A$15</c:f>
              <c:strCache>
                <c:ptCount val="14"/>
                <c:pt idx="0">
                  <c:v>w1</c:v>
                </c:pt>
                <c:pt idx="1">
                  <c:v>w2</c:v>
                </c:pt>
                <c:pt idx="2">
                  <c:v>w3</c:v>
                </c:pt>
                <c:pt idx="3">
                  <c:v>w4</c:v>
                </c:pt>
                <c:pt idx="4">
                  <c:v>w5</c:v>
                </c:pt>
                <c:pt idx="5">
                  <c:v>w6</c:v>
                </c:pt>
                <c:pt idx="6">
                  <c:v>w7</c:v>
                </c:pt>
                <c:pt idx="7">
                  <c:v>w8</c:v>
                </c:pt>
                <c:pt idx="8">
                  <c:v>w9</c:v>
                </c:pt>
                <c:pt idx="9">
                  <c:v>w10</c:v>
                </c:pt>
                <c:pt idx="10">
                  <c:v>w11</c:v>
                </c:pt>
                <c:pt idx="11">
                  <c:v>w12</c:v>
                </c:pt>
                <c:pt idx="12">
                  <c:v>w13</c:v>
                </c:pt>
                <c:pt idx="13">
                  <c:v>w14</c:v>
                </c:pt>
              </c:strCache>
            </c:strRef>
          </c:cat>
          <c:val>
            <c:numRef>
              <c:f>Лист1!$B$2:$B$15</c:f>
              <c:numCache>
                <c:formatCode>#,##0</c:formatCode>
                <c:ptCount val="14"/>
                <c:pt idx="0">
                  <c:v>51.123221340000001</c:v>
                </c:pt>
                <c:pt idx="1">
                  <c:v>7.7714915769999999</c:v>
                </c:pt>
                <c:pt idx="2">
                  <c:v>2.5655670850000001</c:v>
                </c:pt>
                <c:pt idx="3">
                  <c:v>8.8092811980000008</c:v>
                </c:pt>
                <c:pt idx="4">
                  <c:v>16.239315233999999</c:v>
                </c:pt>
                <c:pt idx="5">
                  <c:v>9.1287466649999995</c:v>
                </c:pt>
                <c:pt idx="6">
                  <c:v>12.195776351999999</c:v>
                </c:pt>
                <c:pt idx="7">
                  <c:v>7.2329896160000002</c:v>
                </c:pt>
                <c:pt idx="8">
                  <c:v>5.3106628369999997</c:v>
                </c:pt>
                <c:pt idx="9">
                  <c:v>3.0255915180000001</c:v>
                </c:pt>
                <c:pt idx="10">
                  <c:v>57.662342594000002</c:v>
                </c:pt>
                <c:pt idx="11">
                  <c:v>60.864365204000002</c:v>
                </c:pt>
                <c:pt idx="12">
                  <c:v>32.916360345999998</c:v>
                </c:pt>
                <c:pt idx="13">
                  <c:v>-39.211123639</c:v>
                </c:pt>
              </c:numCache>
            </c:numRef>
          </c:val>
          <c:smooth val="0"/>
          <c:extLst>
            <c:ext xmlns:c16="http://schemas.microsoft.com/office/drawing/2014/chart" uri="{C3380CC4-5D6E-409C-BE32-E72D297353CC}">
              <c16:uniqueId val="{00000000-38C1-4003-8DC5-84FA8971FB75}"/>
            </c:ext>
          </c:extLst>
        </c:ser>
        <c:ser>
          <c:idx val="1"/>
          <c:order val="1"/>
          <c:tx>
            <c:strRef>
              <c:f>Лист1!$C$1</c:f>
              <c:strCache>
                <c:ptCount val="1"/>
                <c:pt idx="0">
                  <c:v>Home&amp;Lifestyle</c:v>
                </c:pt>
              </c:strCache>
            </c:strRef>
          </c:tx>
          <c:spPr>
            <a:ln w="28575" cap="rnd">
              <a:solidFill>
                <a:schemeClr val="accent4"/>
              </a:solidFill>
              <a:round/>
            </a:ln>
            <a:effectLst/>
          </c:spPr>
          <c:marker>
            <c:symbol val="none"/>
          </c:marker>
          <c:dLbls>
            <c:dLbl>
              <c:idx val="11"/>
              <c:layout>
                <c:manualLayout>
                  <c:x val="-0.1725706616223277"/>
                  <c:y val="-1.3356687359610982E-2"/>
                </c:manualLayout>
              </c:layout>
              <c:tx>
                <c:rich>
                  <a:bodyPr/>
                  <a:lstStyle/>
                  <a:p>
                    <a:r>
                      <a:rPr lang="en-US" dirty="0"/>
                      <a:t>+</a:t>
                    </a:r>
                    <a:fld id="{439A4499-EDC6-46BA-884B-FEB5D8F789C2}" type="VALUE">
                      <a:rPr lang="en-US" smtClean="0"/>
                      <a:pPr/>
                      <a:t>[ЗНАЧЕНИЕ]</a:t>
                    </a:fld>
                    <a:endParaRPr lang="en-US" dirty="0"/>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38C1-4003-8DC5-84FA8971FB75}"/>
                </c:ext>
              </c:extLst>
            </c:dLbl>
            <c:spPr>
              <a:noFill/>
              <a:ln>
                <a:noFill/>
              </a:ln>
              <a:effectLst/>
            </c:spPr>
            <c:txPr>
              <a:bodyPr rot="0" spcFirstLastPara="1" vertOverflow="ellipsis" vert="horz" wrap="square" lIns="38100" tIns="19050" rIns="38100" bIns="19050" anchor="ctr" anchorCtr="1">
                <a:spAutoFit/>
              </a:bodyPr>
              <a:lstStyle/>
              <a:p>
                <a:pPr>
                  <a:defRPr sz="2000" b="0" i="0" u="none" strike="noStrike" kern="1200" baseline="0">
                    <a:solidFill>
                      <a:srgbClr val="00B050"/>
                    </a:solidFill>
                    <a:latin typeface="+mn-lt"/>
                    <a:ea typeface="+mn-ea"/>
                    <a:cs typeface="+mn-cs"/>
                  </a:defRPr>
                </a:pPr>
                <a:endParaRPr lang="ru-RU"/>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Лист1!$A$2:$A$15</c:f>
              <c:strCache>
                <c:ptCount val="14"/>
                <c:pt idx="0">
                  <c:v>w1</c:v>
                </c:pt>
                <c:pt idx="1">
                  <c:v>w2</c:v>
                </c:pt>
                <c:pt idx="2">
                  <c:v>w3</c:v>
                </c:pt>
                <c:pt idx="3">
                  <c:v>w4</c:v>
                </c:pt>
                <c:pt idx="4">
                  <c:v>w5</c:v>
                </c:pt>
                <c:pt idx="5">
                  <c:v>w6</c:v>
                </c:pt>
                <c:pt idx="6">
                  <c:v>w7</c:v>
                </c:pt>
                <c:pt idx="7">
                  <c:v>w8</c:v>
                </c:pt>
                <c:pt idx="8">
                  <c:v>w9</c:v>
                </c:pt>
                <c:pt idx="9">
                  <c:v>w10</c:v>
                </c:pt>
                <c:pt idx="10">
                  <c:v>w11</c:v>
                </c:pt>
                <c:pt idx="11">
                  <c:v>w12</c:v>
                </c:pt>
                <c:pt idx="12">
                  <c:v>w13</c:v>
                </c:pt>
                <c:pt idx="13">
                  <c:v>w14</c:v>
                </c:pt>
              </c:strCache>
            </c:strRef>
          </c:cat>
          <c:val>
            <c:numRef>
              <c:f>Лист1!$C$2:$C$15</c:f>
              <c:numCache>
                <c:formatCode>#,##0</c:formatCode>
                <c:ptCount val="14"/>
                <c:pt idx="0">
                  <c:v>27.143532015000002</c:v>
                </c:pt>
                <c:pt idx="1">
                  <c:v>5.3551057860000002</c:v>
                </c:pt>
                <c:pt idx="2">
                  <c:v>3.1604341109999998</c:v>
                </c:pt>
                <c:pt idx="3">
                  <c:v>9.9663175370000001</c:v>
                </c:pt>
                <c:pt idx="4">
                  <c:v>25.255625738999999</c:v>
                </c:pt>
                <c:pt idx="5">
                  <c:v>17.274004326</c:v>
                </c:pt>
                <c:pt idx="6">
                  <c:v>23.351212038</c:v>
                </c:pt>
                <c:pt idx="7">
                  <c:v>14.381870397</c:v>
                </c:pt>
                <c:pt idx="8">
                  <c:v>12.793018685</c:v>
                </c:pt>
                <c:pt idx="9">
                  <c:v>11.460078080000001</c:v>
                </c:pt>
                <c:pt idx="10">
                  <c:v>80.165615915000004</c:v>
                </c:pt>
                <c:pt idx="11">
                  <c:v>82.615151648999998</c:v>
                </c:pt>
                <c:pt idx="12">
                  <c:v>41.910820608000002</c:v>
                </c:pt>
                <c:pt idx="13">
                  <c:v>-40.991882494000002</c:v>
                </c:pt>
              </c:numCache>
            </c:numRef>
          </c:val>
          <c:smooth val="0"/>
          <c:extLst>
            <c:ext xmlns:c16="http://schemas.microsoft.com/office/drawing/2014/chart" uri="{C3380CC4-5D6E-409C-BE32-E72D297353CC}">
              <c16:uniqueId val="{00000002-38C1-4003-8DC5-84FA8971FB75}"/>
            </c:ext>
          </c:extLst>
        </c:ser>
        <c:ser>
          <c:idx val="2"/>
          <c:order val="2"/>
          <c:tx>
            <c:strRef>
              <c:f>Лист1!$D$1</c:f>
              <c:strCache>
                <c:ptCount val="1"/>
                <c:pt idx="0">
                  <c:v>Digital</c:v>
                </c:pt>
              </c:strCache>
            </c:strRef>
          </c:tx>
          <c:spPr>
            <a:ln w="28575" cap="rnd">
              <a:solidFill>
                <a:srgbClr val="FF0000"/>
              </a:solidFill>
              <a:round/>
            </a:ln>
            <a:effectLst/>
          </c:spPr>
          <c:marker>
            <c:symbol val="none"/>
          </c:marker>
          <c:dLbls>
            <c:dLbl>
              <c:idx val="13"/>
              <c:layout>
                <c:manualLayout>
                  <c:x val="0"/>
                  <c:y val="-0.14765740959723134"/>
                </c:manualLayout>
              </c:layout>
              <c:spPr>
                <a:noFill/>
                <a:ln>
                  <a:noFill/>
                </a:ln>
                <a:effectLst/>
              </c:spPr>
              <c:txPr>
                <a:bodyPr rot="0" spcFirstLastPara="1" vertOverflow="ellipsis" vert="horz" wrap="square" lIns="38100" tIns="19050" rIns="38100" bIns="19050" anchor="ctr" anchorCtr="1">
                  <a:spAutoFit/>
                </a:bodyPr>
                <a:lstStyle/>
                <a:p>
                  <a:pPr>
                    <a:defRPr sz="2000" b="0" i="0" u="none" strike="noStrike" kern="1200" baseline="0">
                      <a:solidFill>
                        <a:srgbClr val="C00000"/>
                      </a:solidFill>
                      <a:latin typeface="+mn-lt"/>
                      <a:ea typeface="+mn-ea"/>
                      <a:cs typeface="+mn-cs"/>
                    </a:defRPr>
                  </a:pPr>
                  <a:endParaRPr lang="ru-RU"/>
                </a:p>
              </c:txP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38C1-4003-8DC5-84FA8971FB75}"/>
                </c:ext>
              </c:extLst>
            </c:dLbl>
            <c:spPr>
              <a:noFill/>
              <a:ln>
                <a:noFill/>
              </a:ln>
              <a:effectLst/>
            </c:spPr>
            <c:txPr>
              <a:bodyPr rot="0" spcFirstLastPara="1" vertOverflow="ellipsis" vert="horz" wrap="square" lIns="38100" tIns="19050" rIns="38100" bIns="19050" anchor="ctr" anchorCtr="1">
                <a:spAutoFit/>
              </a:bodyPr>
              <a:lstStyle/>
              <a:p>
                <a:pPr>
                  <a:defRPr sz="2000" b="0" i="0" u="none" strike="noStrike" kern="1200" baseline="0">
                    <a:solidFill>
                      <a:schemeClr val="tx1">
                        <a:lumMod val="75000"/>
                        <a:lumOff val="25000"/>
                      </a:schemeClr>
                    </a:solidFill>
                    <a:latin typeface="+mn-lt"/>
                    <a:ea typeface="+mn-ea"/>
                    <a:cs typeface="+mn-cs"/>
                  </a:defRPr>
                </a:pPr>
                <a:endParaRPr lang="ru-RU"/>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Лист1!$A$2:$A$15</c:f>
              <c:strCache>
                <c:ptCount val="14"/>
                <c:pt idx="0">
                  <c:v>w1</c:v>
                </c:pt>
                <c:pt idx="1">
                  <c:v>w2</c:v>
                </c:pt>
                <c:pt idx="2">
                  <c:v>w3</c:v>
                </c:pt>
                <c:pt idx="3">
                  <c:v>w4</c:v>
                </c:pt>
                <c:pt idx="4">
                  <c:v>w5</c:v>
                </c:pt>
                <c:pt idx="5">
                  <c:v>w6</c:v>
                </c:pt>
                <c:pt idx="6">
                  <c:v>w7</c:v>
                </c:pt>
                <c:pt idx="7">
                  <c:v>w8</c:v>
                </c:pt>
                <c:pt idx="8">
                  <c:v>w9</c:v>
                </c:pt>
                <c:pt idx="9">
                  <c:v>w10</c:v>
                </c:pt>
                <c:pt idx="10">
                  <c:v>w11</c:v>
                </c:pt>
                <c:pt idx="11">
                  <c:v>w12</c:v>
                </c:pt>
                <c:pt idx="12">
                  <c:v>w13</c:v>
                </c:pt>
                <c:pt idx="13">
                  <c:v>w14</c:v>
                </c:pt>
              </c:strCache>
            </c:strRef>
          </c:cat>
          <c:val>
            <c:numRef>
              <c:f>Лист1!$D$2:$D$15</c:f>
              <c:numCache>
                <c:formatCode>#,##0</c:formatCode>
                <c:ptCount val="14"/>
                <c:pt idx="0">
                  <c:v>58.491144288000001</c:v>
                </c:pt>
                <c:pt idx="1">
                  <c:v>8.7259034300000007</c:v>
                </c:pt>
                <c:pt idx="2">
                  <c:v>2.3455432510000001</c:v>
                </c:pt>
                <c:pt idx="3">
                  <c:v>8.3688290439999999</c:v>
                </c:pt>
                <c:pt idx="4">
                  <c:v>13.013712447</c:v>
                </c:pt>
                <c:pt idx="5">
                  <c:v>6.3321474090000001</c:v>
                </c:pt>
                <c:pt idx="6">
                  <c:v>8.4456357499999992</c:v>
                </c:pt>
                <c:pt idx="7">
                  <c:v>4.8119159500000004</c:v>
                </c:pt>
                <c:pt idx="8">
                  <c:v>2.5333467870000002</c:v>
                </c:pt>
                <c:pt idx="9">
                  <c:v>7.0876566000000002E-2</c:v>
                </c:pt>
                <c:pt idx="10">
                  <c:v>49.384561171999998</c:v>
                </c:pt>
                <c:pt idx="11">
                  <c:v>52.686491936000003</c:v>
                </c:pt>
                <c:pt idx="12">
                  <c:v>29.495544254999999</c:v>
                </c:pt>
                <c:pt idx="13">
                  <c:v>-38.510679703000001</c:v>
                </c:pt>
              </c:numCache>
            </c:numRef>
          </c:val>
          <c:smooth val="0"/>
          <c:extLst>
            <c:ext xmlns:c16="http://schemas.microsoft.com/office/drawing/2014/chart" uri="{C3380CC4-5D6E-409C-BE32-E72D297353CC}">
              <c16:uniqueId val="{00000005-38C1-4003-8DC5-84FA8971FB75}"/>
            </c:ext>
          </c:extLst>
        </c:ser>
        <c:dLbls>
          <c:showLegendKey val="0"/>
          <c:showVal val="0"/>
          <c:showCatName val="0"/>
          <c:showSerName val="0"/>
          <c:showPercent val="0"/>
          <c:showBubbleSize val="0"/>
        </c:dLbls>
        <c:smooth val="0"/>
        <c:axId val="140908831"/>
        <c:axId val="411980831"/>
      </c:lineChart>
      <c:catAx>
        <c:axId val="140908831"/>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ru-RU"/>
          </a:p>
        </c:txPr>
        <c:crossAx val="411980831"/>
        <c:crosses val="autoZero"/>
        <c:auto val="1"/>
        <c:lblAlgn val="ctr"/>
        <c:lblOffset val="100"/>
        <c:noMultiLvlLbl val="0"/>
      </c:catAx>
      <c:valAx>
        <c:axId val="411980831"/>
        <c:scaling>
          <c:orientation val="minMax"/>
          <c:max val="90"/>
          <c:min val="-50"/>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ru-RU"/>
          </a:p>
        </c:txPr>
        <c:crossAx val="140908831"/>
        <c:crosses val="autoZero"/>
        <c:crossBetween val="between"/>
      </c:valAx>
      <c:spPr>
        <a:noFill/>
        <a:ln>
          <a:noFill/>
        </a:ln>
        <a:effectLst/>
      </c:spPr>
    </c:plotArea>
    <c:legend>
      <c:legendPos val="l"/>
      <c:layout>
        <c:manualLayout>
          <c:xMode val="edge"/>
          <c:yMode val="edge"/>
          <c:x val="0.10882887619940129"/>
          <c:y val="7.0093121098230501E-2"/>
          <c:w val="0.37418426968423657"/>
          <c:h val="0.17464354204730406"/>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ru-RU"/>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ru-RU"/>
    </a:p>
  </c:txPr>
  <c:externalData r:id="rId3">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Лист1!$B$1</c:f>
              <c:strCache>
                <c:ptCount val="1"/>
                <c:pt idx="0">
                  <c:v>Продажи</c:v>
                </c:pt>
              </c:strCache>
            </c:strRef>
          </c:tx>
          <c:dPt>
            <c:idx val="0"/>
            <c:bubble3D val="0"/>
            <c:spPr>
              <a:solidFill>
                <a:srgbClr val="F23C3C"/>
              </a:solidFill>
              <a:ln w="19050">
                <a:solidFill>
                  <a:schemeClr val="lt1"/>
                </a:solidFill>
              </a:ln>
              <a:effectLst/>
            </c:spPr>
            <c:extLst>
              <c:ext xmlns:c16="http://schemas.microsoft.com/office/drawing/2014/chart" uri="{C3380CC4-5D6E-409C-BE32-E72D297353CC}">
                <c16:uniqueId val="{00000001-08AD-47B5-BB92-4E1BC67060AC}"/>
              </c:ext>
            </c:extLst>
          </c:dPt>
          <c:dPt>
            <c:idx val="1"/>
            <c:bubble3D val="0"/>
            <c:spPr>
              <a:solidFill>
                <a:srgbClr val="7F7F7F"/>
              </a:solidFill>
              <a:ln w="19050">
                <a:solidFill>
                  <a:schemeClr val="lt1"/>
                </a:solidFill>
              </a:ln>
              <a:effectLst/>
            </c:spPr>
            <c:extLst>
              <c:ext xmlns:c16="http://schemas.microsoft.com/office/drawing/2014/chart" uri="{C3380CC4-5D6E-409C-BE32-E72D297353CC}">
                <c16:uniqueId val="{00000003-08AD-47B5-BB92-4E1BC67060AC}"/>
              </c:ext>
            </c:extLst>
          </c:dPt>
          <c:cat>
            <c:strRef>
              <c:f>Лист1!$A$2:$A$3</c:f>
              <c:strCache>
                <c:ptCount val="2"/>
                <c:pt idx="0">
                  <c:v>Online</c:v>
                </c:pt>
                <c:pt idx="1">
                  <c:v>Offline</c:v>
                </c:pt>
              </c:strCache>
            </c:strRef>
          </c:cat>
          <c:val>
            <c:numRef>
              <c:f>Лист1!$B$2:$B$3</c:f>
              <c:numCache>
                <c:formatCode>General</c:formatCode>
                <c:ptCount val="2"/>
                <c:pt idx="0">
                  <c:v>40</c:v>
                </c:pt>
                <c:pt idx="1">
                  <c:v>60</c:v>
                </c:pt>
              </c:numCache>
            </c:numRef>
          </c:val>
          <c:extLst>
            <c:ext xmlns:c16="http://schemas.microsoft.com/office/drawing/2014/chart" uri="{C3380CC4-5D6E-409C-BE32-E72D297353CC}">
              <c16:uniqueId val="{00000004-08AD-47B5-BB92-4E1BC67060AC}"/>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showDLblsOverMax val="0"/>
  </c:chart>
  <c:spPr>
    <a:noFill/>
    <a:ln>
      <a:noFill/>
    </a:ln>
    <a:effectLst/>
  </c:spPr>
  <c:txPr>
    <a:bodyPr/>
    <a:lstStyle/>
    <a:p>
      <a:pPr>
        <a:defRPr/>
      </a:pPr>
      <a:endParaRPr lang="ru-RU"/>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spPr>
            <a:solidFill>
              <a:srgbClr val="71ADA7"/>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rgbClr val="4D9991"/>
                    </a:solidFill>
                    <a:latin typeface="+mn-lt"/>
                    <a:ea typeface="+mn-ea"/>
                    <a:cs typeface="+mn-cs"/>
                  </a:defRPr>
                </a:pPr>
                <a:endParaRPr lang="ru-RU"/>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9</c:f>
              <c:strCache>
                <c:ptCount val="8"/>
                <c:pt idx="0">
                  <c:v>Acqusito di piccoli elettrodomestici</c:v>
                </c:pt>
                <c:pt idx="1">
                  <c:v>Informatica/accessori per PC (Personal Computer / Tablet / Stampanti...)</c:v>
                </c:pt>
                <c:pt idx="2">
                  <c:v>Telefonia/accessori per cellulari</c:v>
                </c:pt>
                <c:pt idx="3">
                  <c:v>Acquisto di grandi elettrodomestici</c:v>
                </c:pt>
                <c:pt idx="4">
                  <c:v>Elettronica di Consumo/Audio Video</c:v>
                </c:pt>
                <c:pt idx="5">
                  <c:v>Acquisto di vestiti</c:v>
                </c:pt>
                <c:pt idx="6">
                  <c:v>Acquisto di biglietti per spettacoli, cinema, concerti, fiere, eventi sportivi</c:v>
                </c:pt>
                <c:pt idx="7">
                  <c:v>Acquisto dell’auto</c:v>
                </c:pt>
              </c:strCache>
            </c:strRef>
          </c:cat>
          <c:val>
            <c:numRef>
              <c:f>Feuil1!$B$2:$B$9</c:f>
              <c:numCache>
                <c:formatCode>0</c:formatCode>
                <c:ptCount val="8"/>
                <c:pt idx="0">
                  <c:v>8.1</c:v>
                </c:pt>
                <c:pt idx="1">
                  <c:v>5.5</c:v>
                </c:pt>
                <c:pt idx="2">
                  <c:v>6.3</c:v>
                </c:pt>
                <c:pt idx="3">
                  <c:v>6.1</c:v>
                </c:pt>
                <c:pt idx="4">
                  <c:v>7.2</c:v>
                </c:pt>
                <c:pt idx="5">
                  <c:v>11.6</c:v>
                </c:pt>
                <c:pt idx="6">
                  <c:v>5.5</c:v>
                </c:pt>
                <c:pt idx="7">
                  <c:v>3.7</c:v>
                </c:pt>
              </c:numCache>
            </c:numRef>
          </c:val>
          <c:extLst>
            <c:ext xmlns:c16="http://schemas.microsoft.com/office/drawing/2014/chart" uri="{C3380CC4-5D6E-409C-BE32-E72D297353CC}">
              <c16:uniqueId val="{00000000-8885-47DF-A1C3-A9BEE4D8E1D8}"/>
            </c:ext>
          </c:extLst>
        </c:ser>
        <c:ser>
          <c:idx val="2"/>
          <c:order val="1"/>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accent2"/>
                    </a:solidFill>
                    <a:latin typeface="+mn-lt"/>
                    <a:ea typeface="+mn-ea"/>
                    <a:cs typeface="+mn-cs"/>
                  </a:defRPr>
                </a:pPr>
                <a:endParaRPr lang="ru-RU"/>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9</c:f>
              <c:strCache>
                <c:ptCount val="8"/>
                <c:pt idx="0">
                  <c:v>Acqusito di piccoli elettrodomestici</c:v>
                </c:pt>
                <c:pt idx="1">
                  <c:v>Informatica/accessori per PC (Personal Computer / Tablet / Stampanti...)</c:v>
                </c:pt>
                <c:pt idx="2">
                  <c:v>Telefonia/accessori per cellulari</c:v>
                </c:pt>
                <c:pt idx="3">
                  <c:v>Acquisto di grandi elettrodomestici</c:v>
                </c:pt>
                <c:pt idx="4">
                  <c:v>Elettronica di Consumo/Audio Video</c:v>
                </c:pt>
                <c:pt idx="5">
                  <c:v>Acquisto di vestiti</c:v>
                </c:pt>
                <c:pt idx="6">
                  <c:v>Acquisto di biglietti per spettacoli, cinema, concerti, fiere, eventi sportivi</c:v>
                </c:pt>
                <c:pt idx="7">
                  <c:v>Acquisto dell’auto</c:v>
                </c:pt>
              </c:strCache>
            </c:strRef>
          </c:cat>
          <c:val>
            <c:numRef>
              <c:f>Feuil1!$C$2:$C$9</c:f>
              <c:numCache>
                <c:formatCode>0</c:formatCode>
                <c:ptCount val="8"/>
                <c:pt idx="0">
                  <c:v>30.1</c:v>
                </c:pt>
                <c:pt idx="1">
                  <c:v>28.4</c:v>
                </c:pt>
                <c:pt idx="2">
                  <c:v>24.2</c:v>
                </c:pt>
                <c:pt idx="3">
                  <c:v>23.5</c:v>
                </c:pt>
                <c:pt idx="4">
                  <c:v>19.2</c:v>
                </c:pt>
                <c:pt idx="5">
                  <c:v>54.5</c:v>
                </c:pt>
                <c:pt idx="6">
                  <c:v>36.700000000000003</c:v>
                </c:pt>
                <c:pt idx="7">
                  <c:v>28.3</c:v>
                </c:pt>
              </c:numCache>
            </c:numRef>
          </c:val>
          <c:extLst>
            <c:ext xmlns:c16="http://schemas.microsoft.com/office/drawing/2014/chart" uri="{C3380CC4-5D6E-409C-BE32-E72D297353CC}">
              <c16:uniqueId val="{00000001-8885-47DF-A1C3-A9BEE4D8E1D8}"/>
            </c:ext>
          </c:extLst>
        </c:ser>
        <c:dLbls>
          <c:showLegendKey val="0"/>
          <c:showVal val="0"/>
          <c:showCatName val="0"/>
          <c:showSerName val="0"/>
          <c:showPercent val="0"/>
          <c:showBubbleSize val="0"/>
        </c:dLbls>
        <c:gapWidth val="100"/>
        <c:axId val="619427072"/>
        <c:axId val="745829376"/>
      </c:barChart>
      <c:catAx>
        <c:axId val="619427072"/>
        <c:scaling>
          <c:orientation val="maxMin"/>
        </c:scaling>
        <c:delete val="1"/>
        <c:axPos val="l"/>
        <c:numFmt formatCode="General" sourceLinked="1"/>
        <c:majorTickMark val="out"/>
        <c:minorTickMark val="none"/>
        <c:tickLblPos val="nextTo"/>
        <c:crossAx val="745829376"/>
        <c:crosses val="autoZero"/>
        <c:auto val="1"/>
        <c:lblAlgn val="ctr"/>
        <c:lblOffset val="100"/>
        <c:noMultiLvlLbl val="0"/>
      </c:catAx>
      <c:valAx>
        <c:axId val="745829376"/>
        <c:scaling>
          <c:orientation val="minMax"/>
          <c:max val="100"/>
          <c:min val="0"/>
        </c:scaling>
        <c:delete val="1"/>
        <c:axPos val="t"/>
        <c:numFmt formatCode="0" sourceLinked="1"/>
        <c:majorTickMark val="out"/>
        <c:minorTickMark val="none"/>
        <c:tickLblPos val="nextTo"/>
        <c:crossAx val="61942707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ru-RU"/>
    </a:p>
  </c:txPr>
  <c:externalData r:id="rId3">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9961986309417485E-2"/>
          <c:y val="8.3823591841650863E-2"/>
          <c:w val="0.94442827263779527"/>
          <c:h val="0.57627860164208689"/>
        </c:manualLayout>
      </c:layout>
      <c:lineChart>
        <c:grouping val="standard"/>
        <c:varyColors val="0"/>
        <c:ser>
          <c:idx val="0"/>
          <c:order val="0"/>
          <c:tx>
            <c:strRef>
              <c:f>Лист1!$B$1</c:f>
              <c:strCache>
                <c:ptCount val="1"/>
                <c:pt idx="0">
                  <c:v>Cooling</c:v>
                </c:pt>
              </c:strCache>
            </c:strRef>
          </c:tx>
          <c:spPr>
            <a:ln w="28575" cap="rnd">
              <a:solidFill>
                <a:srgbClr val="92D050"/>
              </a:solidFill>
              <a:round/>
            </a:ln>
            <a:effectLst/>
          </c:spPr>
          <c:marker>
            <c:symbol val="none"/>
          </c:marker>
          <c:cat>
            <c:strRef>
              <c:f>Лист1!$A$2:$A$24</c:f>
              <c:strCache>
                <c:ptCount val="23"/>
                <c:pt idx="0">
                  <c:v>w1</c:v>
                </c:pt>
                <c:pt idx="1">
                  <c:v>w2</c:v>
                </c:pt>
                <c:pt idx="2">
                  <c:v>w3</c:v>
                </c:pt>
                <c:pt idx="3">
                  <c:v>w4</c:v>
                </c:pt>
                <c:pt idx="4">
                  <c:v>w5</c:v>
                </c:pt>
                <c:pt idx="5">
                  <c:v>w6</c:v>
                </c:pt>
                <c:pt idx="6">
                  <c:v>w7</c:v>
                </c:pt>
                <c:pt idx="7">
                  <c:v>w8</c:v>
                </c:pt>
                <c:pt idx="8">
                  <c:v>w9</c:v>
                </c:pt>
                <c:pt idx="9">
                  <c:v>w10</c:v>
                </c:pt>
                <c:pt idx="10">
                  <c:v>w11</c:v>
                </c:pt>
                <c:pt idx="11">
                  <c:v>w12</c:v>
                </c:pt>
                <c:pt idx="12">
                  <c:v>w13</c:v>
                </c:pt>
                <c:pt idx="13">
                  <c:v>w14</c:v>
                </c:pt>
                <c:pt idx="14">
                  <c:v>w15</c:v>
                </c:pt>
                <c:pt idx="15">
                  <c:v>w16</c:v>
                </c:pt>
                <c:pt idx="16">
                  <c:v>w17</c:v>
                </c:pt>
                <c:pt idx="17">
                  <c:v>w18</c:v>
                </c:pt>
                <c:pt idx="18">
                  <c:v>w19</c:v>
                </c:pt>
                <c:pt idx="19">
                  <c:v>w20</c:v>
                </c:pt>
                <c:pt idx="20">
                  <c:v>w21</c:v>
                </c:pt>
                <c:pt idx="21">
                  <c:v>w22</c:v>
                </c:pt>
                <c:pt idx="22">
                  <c:v>w23</c:v>
                </c:pt>
              </c:strCache>
            </c:strRef>
          </c:cat>
          <c:val>
            <c:numRef>
              <c:f>Лист1!$B$2:$B$24</c:f>
              <c:numCache>
                <c:formatCode>#,##0</c:formatCode>
                <c:ptCount val="23"/>
                <c:pt idx="0">
                  <c:v>15.602309569999999</c:v>
                </c:pt>
                <c:pt idx="1">
                  <c:v>9.5128212019999996</c:v>
                </c:pt>
                <c:pt idx="2">
                  <c:v>6.4272524439999996</c:v>
                </c:pt>
                <c:pt idx="3">
                  <c:v>11.192849982</c:v>
                </c:pt>
                <c:pt idx="4">
                  <c:v>21.549260134000001</c:v>
                </c:pt>
                <c:pt idx="5">
                  <c:v>12.473489516000001</c:v>
                </c:pt>
                <c:pt idx="6">
                  <c:v>14.760828994000001</c:v>
                </c:pt>
                <c:pt idx="7">
                  <c:v>11.000235383</c:v>
                </c:pt>
                <c:pt idx="8">
                  <c:v>16.494789173000001</c:v>
                </c:pt>
                <c:pt idx="9">
                  <c:v>4.5991384909999997</c:v>
                </c:pt>
                <c:pt idx="10">
                  <c:v>98.872398337000007</c:v>
                </c:pt>
                <c:pt idx="11">
                  <c:v>106.854142674</c:v>
                </c:pt>
                <c:pt idx="12">
                  <c:v>63.123230814999999</c:v>
                </c:pt>
                <c:pt idx="13">
                  <c:v>-42.014736745999997</c:v>
                </c:pt>
                <c:pt idx="14">
                  <c:v>-39.609229984000002</c:v>
                </c:pt>
                <c:pt idx="15">
                  <c:v>-27.231847567999999</c:v>
                </c:pt>
                <c:pt idx="16">
                  <c:v>-14.174734507</c:v>
                </c:pt>
                <c:pt idx="17">
                  <c:v>-6.9296698579999996</c:v>
                </c:pt>
                <c:pt idx="18">
                  <c:v>-7.8841442009999998</c:v>
                </c:pt>
                <c:pt idx="19">
                  <c:v>-3.339854667</c:v>
                </c:pt>
                <c:pt idx="20">
                  <c:v>0.86254436000000001</c:v>
                </c:pt>
                <c:pt idx="21">
                  <c:v>-0.73808332200000004</c:v>
                </c:pt>
                <c:pt idx="22">
                  <c:v>1.914317426</c:v>
                </c:pt>
              </c:numCache>
            </c:numRef>
          </c:val>
          <c:smooth val="0"/>
          <c:extLst>
            <c:ext xmlns:c16="http://schemas.microsoft.com/office/drawing/2014/chart" uri="{C3380CC4-5D6E-409C-BE32-E72D297353CC}">
              <c16:uniqueId val="{00000000-A0BD-4829-81BB-29D4092C600F}"/>
            </c:ext>
          </c:extLst>
        </c:ser>
        <c:ser>
          <c:idx val="1"/>
          <c:order val="1"/>
          <c:tx>
            <c:strRef>
              <c:f>Лист1!$C$1</c:f>
              <c:strCache>
                <c:ptCount val="1"/>
                <c:pt idx="0">
                  <c:v>WM</c:v>
                </c:pt>
              </c:strCache>
            </c:strRef>
          </c:tx>
          <c:spPr>
            <a:ln w="28575" cap="rnd">
              <a:solidFill>
                <a:schemeClr val="accent4"/>
              </a:solidFill>
              <a:round/>
            </a:ln>
            <a:effectLst/>
          </c:spPr>
          <c:marker>
            <c:symbol val="none"/>
          </c:marker>
          <c:cat>
            <c:strRef>
              <c:f>Лист1!$A$2:$A$24</c:f>
              <c:strCache>
                <c:ptCount val="23"/>
                <c:pt idx="0">
                  <c:v>w1</c:v>
                </c:pt>
                <c:pt idx="1">
                  <c:v>w2</c:v>
                </c:pt>
                <c:pt idx="2">
                  <c:v>w3</c:v>
                </c:pt>
                <c:pt idx="3">
                  <c:v>w4</c:v>
                </c:pt>
                <c:pt idx="4">
                  <c:v>w5</c:v>
                </c:pt>
                <c:pt idx="5">
                  <c:v>w6</c:v>
                </c:pt>
                <c:pt idx="6">
                  <c:v>w7</c:v>
                </c:pt>
                <c:pt idx="7">
                  <c:v>w8</c:v>
                </c:pt>
                <c:pt idx="8">
                  <c:v>w9</c:v>
                </c:pt>
                <c:pt idx="9">
                  <c:v>w10</c:v>
                </c:pt>
                <c:pt idx="10">
                  <c:v>w11</c:v>
                </c:pt>
                <c:pt idx="11">
                  <c:v>w12</c:v>
                </c:pt>
                <c:pt idx="12">
                  <c:v>w13</c:v>
                </c:pt>
                <c:pt idx="13">
                  <c:v>w14</c:v>
                </c:pt>
                <c:pt idx="14">
                  <c:v>w15</c:v>
                </c:pt>
                <c:pt idx="15">
                  <c:v>w16</c:v>
                </c:pt>
                <c:pt idx="16">
                  <c:v>w17</c:v>
                </c:pt>
                <c:pt idx="17">
                  <c:v>w18</c:v>
                </c:pt>
                <c:pt idx="18">
                  <c:v>w19</c:v>
                </c:pt>
                <c:pt idx="19">
                  <c:v>w20</c:v>
                </c:pt>
                <c:pt idx="20">
                  <c:v>w21</c:v>
                </c:pt>
                <c:pt idx="21">
                  <c:v>w22</c:v>
                </c:pt>
                <c:pt idx="22">
                  <c:v>w23</c:v>
                </c:pt>
              </c:strCache>
            </c:strRef>
          </c:cat>
          <c:val>
            <c:numRef>
              <c:f>Лист1!$C$2:$C$24</c:f>
              <c:numCache>
                <c:formatCode>#,##0</c:formatCode>
                <c:ptCount val="23"/>
                <c:pt idx="0">
                  <c:v>8.7440155409999996</c:v>
                </c:pt>
                <c:pt idx="1">
                  <c:v>8.2466667430000005</c:v>
                </c:pt>
                <c:pt idx="2">
                  <c:v>4.1954750540000001</c:v>
                </c:pt>
                <c:pt idx="3">
                  <c:v>12.138939152000001</c:v>
                </c:pt>
                <c:pt idx="4">
                  <c:v>22.976268943000001</c:v>
                </c:pt>
                <c:pt idx="5">
                  <c:v>11.365091294000001</c:v>
                </c:pt>
                <c:pt idx="6">
                  <c:v>13.96966529</c:v>
                </c:pt>
                <c:pt idx="7">
                  <c:v>7.965970252</c:v>
                </c:pt>
                <c:pt idx="8">
                  <c:v>15.439563696</c:v>
                </c:pt>
                <c:pt idx="9">
                  <c:v>15.098426867000001</c:v>
                </c:pt>
                <c:pt idx="10">
                  <c:v>80.302567605999997</c:v>
                </c:pt>
                <c:pt idx="11">
                  <c:v>77.734575734000003</c:v>
                </c:pt>
                <c:pt idx="12">
                  <c:v>36.124929792000003</c:v>
                </c:pt>
                <c:pt idx="13">
                  <c:v>-48.145455650999999</c:v>
                </c:pt>
                <c:pt idx="14">
                  <c:v>-36.604546804999998</c:v>
                </c:pt>
                <c:pt idx="15">
                  <c:v>-21.926347404000001</c:v>
                </c:pt>
                <c:pt idx="16">
                  <c:v>-6.5406946929999998</c:v>
                </c:pt>
                <c:pt idx="17">
                  <c:v>-6.3939697439999996</c:v>
                </c:pt>
                <c:pt idx="18">
                  <c:v>-5.9667705690000004</c:v>
                </c:pt>
                <c:pt idx="19">
                  <c:v>-0.24114738999999999</c:v>
                </c:pt>
                <c:pt idx="20">
                  <c:v>4.4008694510000002</c:v>
                </c:pt>
                <c:pt idx="21">
                  <c:v>3.5052822419999998</c:v>
                </c:pt>
                <c:pt idx="22">
                  <c:v>17.313833810999999</c:v>
                </c:pt>
              </c:numCache>
            </c:numRef>
          </c:val>
          <c:smooth val="0"/>
          <c:extLst>
            <c:ext xmlns:c16="http://schemas.microsoft.com/office/drawing/2014/chart" uri="{C3380CC4-5D6E-409C-BE32-E72D297353CC}">
              <c16:uniqueId val="{00000001-A0BD-4829-81BB-29D4092C600F}"/>
            </c:ext>
          </c:extLst>
        </c:ser>
        <c:ser>
          <c:idx val="2"/>
          <c:order val="2"/>
          <c:tx>
            <c:strRef>
              <c:f>Лист1!$D$1</c:f>
              <c:strCache>
                <c:ptCount val="1"/>
                <c:pt idx="0">
                  <c:v>Cooking</c:v>
                </c:pt>
              </c:strCache>
            </c:strRef>
          </c:tx>
          <c:spPr>
            <a:ln w="28575" cap="rnd">
              <a:solidFill>
                <a:srgbClr val="FF0000"/>
              </a:solidFill>
              <a:round/>
            </a:ln>
            <a:effectLst/>
          </c:spPr>
          <c:marker>
            <c:symbol val="none"/>
          </c:marker>
          <c:dLbls>
            <c:dLbl>
              <c:idx val="2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17A0-4DEC-9228-58A24016EA8D}"/>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ru-RU"/>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Лист1!$A$2:$A$24</c:f>
              <c:strCache>
                <c:ptCount val="23"/>
                <c:pt idx="0">
                  <c:v>w1</c:v>
                </c:pt>
                <c:pt idx="1">
                  <c:v>w2</c:v>
                </c:pt>
                <c:pt idx="2">
                  <c:v>w3</c:v>
                </c:pt>
                <c:pt idx="3">
                  <c:v>w4</c:v>
                </c:pt>
                <c:pt idx="4">
                  <c:v>w5</c:v>
                </c:pt>
                <c:pt idx="5">
                  <c:v>w6</c:v>
                </c:pt>
                <c:pt idx="6">
                  <c:v>w7</c:v>
                </c:pt>
                <c:pt idx="7">
                  <c:v>w8</c:v>
                </c:pt>
                <c:pt idx="8">
                  <c:v>w9</c:v>
                </c:pt>
                <c:pt idx="9">
                  <c:v>w10</c:v>
                </c:pt>
                <c:pt idx="10">
                  <c:v>w11</c:v>
                </c:pt>
                <c:pt idx="11">
                  <c:v>w12</c:v>
                </c:pt>
                <c:pt idx="12">
                  <c:v>w13</c:v>
                </c:pt>
                <c:pt idx="13">
                  <c:v>w14</c:v>
                </c:pt>
                <c:pt idx="14">
                  <c:v>w15</c:v>
                </c:pt>
                <c:pt idx="15">
                  <c:v>w16</c:v>
                </c:pt>
                <c:pt idx="16">
                  <c:v>w17</c:v>
                </c:pt>
                <c:pt idx="17">
                  <c:v>w18</c:v>
                </c:pt>
                <c:pt idx="18">
                  <c:v>w19</c:v>
                </c:pt>
                <c:pt idx="19">
                  <c:v>w20</c:v>
                </c:pt>
                <c:pt idx="20">
                  <c:v>w21</c:v>
                </c:pt>
                <c:pt idx="21">
                  <c:v>w22</c:v>
                </c:pt>
                <c:pt idx="22">
                  <c:v>w23</c:v>
                </c:pt>
              </c:strCache>
            </c:strRef>
          </c:cat>
          <c:val>
            <c:numRef>
              <c:f>Лист1!$D$2:$D$24</c:f>
              <c:numCache>
                <c:formatCode>#,##0</c:formatCode>
                <c:ptCount val="23"/>
                <c:pt idx="0">
                  <c:v>8.9520300949999996</c:v>
                </c:pt>
                <c:pt idx="1">
                  <c:v>3.275241683</c:v>
                </c:pt>
                <c:pt idx="2">
                  <c:v>-6.6004029439999998</c:v>
                </c:pt>
                <c:pt idx="3">
                  <c:v>1.1127837359999999</c:v>
                </c:pt>
                <c:pt idx="4">
                  <c:v>16.275495841000001</c:v>
                </c:pt>
                <c:pt idx="5">
                  <c:v>8.3417123950000001</c:v>
                </c:pt>
                <c:pt idx="6">
                  <c:v>17.293848179000001</c:v>
                </c:pt>
                <c:pt idx="7">
                  <c:v>7.2260017679999997</c:v>
                </c:pt>
                <c:pt idx="8">
                  <c:v>9.8622092020000007</c:v>
                </c:pt>
                <c:pt idx="9">
                  <c:v>8.2287797180000002</c:v>
                </c:pt>
                <c:pt idx="10">
                  <c:v>100.490631587</c:v>
                </c:pt>
                <c:pt idx="11">
                  <c:v>100.72452214</c:v>
                </c:pt>
                <c:pt idx="12">
                  <c:v>51.907927596</c:v>
                </c:pt>
                <c:pt idx="13">
                  <c:v>-49.758726381999999</c:v>
                </c:pt>
                <c:pt idx="14">
                  <c:v>-40.787775895000003</c:v>
                </c:pt>
                <c:pt idx="15">
                  <c:v>-24.436182158000001</c:v>
                </c:pt>
                <c:pt idx="16">
                  <c:v>-5.6866337040000001</c:v>
                </c:pt>
                <c:pt idx="17">
                  <c:v>-2.4074034499999999</c:v>
                </c:pt>
                <c:pt idx="18">
                  <c:v>-3.1803316869999998</c:v>
                </c:pt>
                <c:pt idx="19">
                  <c:v>2.1847580949999998</c:v>
                </c:pt>
                <c:pt idx="20">
                  <c:v>6.8907420650000004</c:v>
                </c:pt>
                <c:pt idx="21">
                  <c:v>3.979834307</c:v>
                </c:pt>
                <c:pt idx="22">
                  <c:v>13.318934543999999</c:v>
                </c:pt>
              </c:numCache>
            </c:numRef>
          </c:val>
          <c:smooth val="0"/>
          <c:extLst>
            <c:ext xmlns:c16="http://schemas.microsoft.com/office/drawing/2014/chart" uri="{C3380CC4-5D6E-409C-BE32-E72D297353CC}">
              <c16:uniqueId val="{00000002-A0BD-4829-81BB-29D4092C600F}"/>
            </c:ext>
          </c:extLst>
        </c:ser>
        <c:ser>
          <c:idx val="3"/>
          <c:order val="3"/>
          <c:tx>
            <c:strRef>
              <c:f>Лист1!$E$1</c:f>
              <c:strCache>
                <c:ptCount val="1"/>
                <c:pt idx="0">
                  <c:v>BI Hobs</c:v>
                </c:pt>
              </c:strCache>
            </c:strRef>
          </c:tx>
          <c:spPr>
            <a:ln w="28575" cap="rnd">
              <a:solidFill>
                <a:schemeClr val="accent5">
                  <a:lumMod val="60000"/>
                  <a:lumOff val="40000"/>
                </a:schemeClr>
              </a:solidFill>
              <a:round/>
            </a:ln>
            <a:effectLst/>
          </c:spPr>
          <c:marker>
            <c:symbol val="none"/>
          </c:marker>
          <c:dLbls>
            <c:dLbl>
              <c:idx val="2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17A0-4DEC-9228-58A24016EA8D}"/>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ru-RU"/>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Лист1!$A$2:$A$24</c:f>
              <c:strCache>
                <c:ptCount val="23"/>
                <c:pt idx="0">
                  <c:v>w1</c:v>
                </c:pt>
                <c:pt idx="1">
                  <c:v>w2</c:v>
                </c:pt>
                <c:pt idx="2">
                  <c:v>w3</c:v>
                </c:pt>
                <c:pt idx="3">
                  <c:v>w4</c:v>
                </c:pt>
                <c:pt idx="4">
                  <c:v>w5</c:v>
                </c:pt>
                <c:pt idx="5">
                  <c:v>w6</c:v>
                </c:pt>
                <c:pt idx="6">
                  <c:v>w7</c:v>
                </c:pt>
                <c:pt idx="7">
                  <c:v>w8</c:v>
                </c:pt>
                <c:pt idx="8">
                  <c:v>w9</c:v>
                </c:pt>
                <c:pt idx="9">
                  <c:v>w10</c:v>
                </c:pt>
                <c:pt idx="10">
                  <c:v>w11</c:v>
                </c:pt>
                <c:pt idx="11">
                  <c:v>w12</c:v>
                </c:pt>
                <c:pt idx="12">
                  <c:v>w13</c:v>
                </c:pt>
                <c:pt idx="13">
                  <c:v>w14</c:v>
                </c:pt>
                <c:pt idx="14">
                  <c:v>w15</c:v>
                </c:pt>
                <c:pt idx="15">
                  <c:v>w16</c:v>
                </c:pt>
                <c:pt idx="16">
                  <c:v>w17</c:v>
                </c:pt>
                <c:pt idx="17">
                  <c:v>w18</c:v>
                </c:pt>
                <c:pt idx="18">
                  <c:v>w19</c:v>
                </c:pt>
                <c:pt idx="19">
                  <c:v>w20</c:v>
                </c:pt>
                <c:pt idx="20">
                  <c:v>w21</c:v>
                </c:pt>
                <c:pt idx="21">
                  <c:v>w22</c:v>
                </c:pt>
                <c:pt idx="22">
                  <c:v>w23</c:v>
                </c:pt>
              </c:strCache>
            </c:strRef>
          </c:cat>
          <c:val>
            <c:numRef>
              <c:f>Лист1!$E$2:$E$24</c:f>
              <c:numCache>
                <c:formatCode>#,##0</c:formatCode>
                <c:ptCount val="23"/>
                <c:pt idx="0">
                  <c:v>-3.40473436</c:v>
                </c:pt>
                <c:pt idx="1">
                  <c:v>-6.6363798889999996</c:v>
                </c:pt>
                <c:pt idx="2">
                  <c:v>6.5576775000000004E-2</c:v>
                </c:pt>
                <c:pt idx="3">
                  <c:v>2.422889745</c:v>
                </c:pt>
                <c:pt idx="4">
                  <c:v>15.605031951000001</c:v>
                </c:pt>
                <c:pt idx="5">
                  <c:v>13.602074109</c:v>
                </c:pt>
                <c:pt idx="6">
                  <c:v>20.665185009000002</c:v>
                </c:pt>
                <c:pt idx="7">
                  <c:v>8.0045892040000002</c:v>
                </c:pt>
                <c:pt idx="8">
                  <c:v>11.101678898999999</c:v>
                </c:pt>
                <c:pt idx="9">
                  <c:v>6.2433580749999997</c:v>
                </c:pt>
                <c:pt idx="10">
                  <c:v>128.795245553</c:v>
                </c:pt>
                <c:pt idx="11">
                  <c:v>137.89146751800001</c:v>
                </c:pt>
                <c:pt idx="12">
                  <c:v>77.959859766999998</c:v>
                </c:pt>
                <c:pt idx="13">
                  <c:v>-40.293527972</c:v>
                </c:pt>
                <c:pt idx="14">
                  <c:v>-34.318237994999997</c:v>
                </c:pt>
                <c:pt idx="15">
                  <c:v>-25.503039395999998</c:v>
                </c:pt>
                <c:pt idx="16">
                  <c:v>-10.125807863</c:v>
                </c:pt>
                <c:pt idx="17">
                  <c:v>-7.2818437060000001</c:v>
                </c:pt>
                <c:pt idx="18">
                  <c:v>-8.8931693000000003</c:v>
                </c:pt>
                <c:pt idx="19">
                  <c:v>-8.0476211240000008</c:v>
                </c:pt>
                <c:pt idx="20">
                  <c:v>-0.83449486699999997</c:v>
                </c:pt>
                <c:pt idx="21">
                  <c:v>-5.1056833529999999</c:v>
                </c:pt>
                <c:pt idx="22">
                  <c:v>2.330256222</c:v>
                </c:pt>
              </c:numCache>
            </c:numRef>
          </c:val>
          <c:smooth val="0"/>
          <c:extLst>
            <c:ext xmlns:c16="http://schemas.microsoft.com/office/drawing/2014/chart" uri="{C3380CC4-5D6E-409C-BE32-E72D297353CC}">
              <c16:uniqueId val="{00000003-A0BD-4829-81BB-29D4092C600F}"/>
            </c:ext>
          </c:extLst>
        </c:ser>
        <c:ser>
          <c:idx val="4"/>
          <c:order val="4"/>
          <c:tx>
            <c:strRef>
              <c:f>Лист1!$F$1</c:f>
              <c:strCache>
                <c:ptCount val="1"/>
                <c:pt idx="0">
                  <c:v>Vaccum Cl</c:v>
                </c:pt>
              </c:strCache>
            </c:strRef>
          </c:tx>
          <c:spPr>
            <a:ln w="28575" cap="rnd">
              <a:solidFill>
                <a:srgbClr val="7030A0"/>
              </a:solidFill>
              <a:round/>
            </a:ln>
            <a:effectLst/>
          </c:spPr>
          <c:marker>
            <c:symbol val="none"/>
          </c:marker>
          <c:dLbls>
            <c:dLbl>
              <c:idx val="2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7A0-4DEC-9228-58A24016EA8D}"/>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ru-RU"/>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Лист1!$A$2:$A$24</c:f>
              <c:strCache>
                <c:ptCount val="23"/>
                <c:pt idx="0">
                  <c:v>w1</c:v>
                </c:pt>
                <c:pt idx="1">
                  <c:v>w2</c:v>
                </c:pt>
                <c:pt idx="2">
                  <c:v>w3</c:v>
                </c:pt>
                <c:pt idx="3">
                  <c:v>w4</c:v>
                </c:pt>
                <c:pt idx="4">
                  <c:v>w5</c:v>
                </c:pt>
                <c:pt idx="5">
                  <c:v>w6</c:v>
                </c:pt>
                <c:pt idx="6">
                  <c:v>w7</c:v>
                </c:pt>
                <c:pt idx="7">
                  <c:v>w8</c:v>
                </c:pt>
                <c:pt idx="8">
                  <c:v>w9</c:v>
                </c:pt>
                <c:pt idx="9">
                  <c:v>w10</c:v>
                </c:pt>
                <c:pt idx="10">
                  <c:v>w11</c:v>
                </c:pt>
                <c:pt idx="11">
                  <c:v>w12</c:v>
                </c:pt>
                <c:pt idx="12">
                  <c:v>w13</c:v>
                </c:pt>
                <c:pt idx="13">
                  <c:v>w14</c:v>
                </c:pt>
                <c:pt idx="14">
                  <c:v>w15</c:v>
                </c:pt>
                <c:pt idx="15">
                  <c:v>w16</c:v>
                </c:pt>
                <c:pt idx="16">
                  <c:v>w17</c:v>
                </c:pt>
                <c:pt idx="17">
                  <c:v>w18</c:v>
                </c:pt>
                <c:pt idx="18">
                  <c:v>w19</c:v>
                </c:pt>
                <c:pt idx="19">
                  <c:v>w20</c:v>
                </c:pt>
                <c:pt idx="20">
                  <c:v>w21</c:v>
                </c:pt>
                <c:pt idx="21">
                  <c:v>w22</c:v>
                </c:pt>
                <c:pt idx="22">
                  <c:v>w23</c:v>
                </c:pt>
              </c:strCache>
            </c:strRef>
          </c:cat>
          <c:val>
            <c:numRef>
              <c:f>Лист1!$F$2:$F$24</c:f>
              <c:numCache>
                <c:formatCode>#,##0</c:formatCode>
                <c:ptCount val="23"/>
                <c:pt idx="0">
                  <c:v>49.535112161999997</c:v>
                </c:pt>
                <c:pt idx="1">
                  <c:v>19.138156563999999</c:v>
                </c:pt>
                <c:pt idx="2">
                  <c:v>9.0960528620000005</c:v>
                </c:pt>
                <c:pt idx="3">
                  <c:v>13.634000413000001</c:v>
                </c:pt>
                <c:pt idx="4">
                  <c:v>33.643452793999998</c:v>
                </c:pt>
                <c:pt idx="5">
                  <c:v>24.177402933</c:v>
                </c:pt>
                <c:pt idx="6">
                  <c:v>26.982116239</c:v>
                </c:pt>
                <c:pt idx="7">
                  <c:v>16.705631649000001</c:v>
                </c:pt>
                <c:pt idx="8">
                  <c:v>15.717660451</c:v>
                </c:pt>
                <c:pt idx="9">
                  <c:v>19.416102918</c:v>
                </c:pt>
                <c:pt idx="10">
                  <c:v>72.330789913000004</c:v>
                </c:pt>
                <c:pt idx="11">
                  <c:v>58.218148321999998</c:v>
                </c:pt>
                <c:pt idx="12">
                  <c:v>21.413744520000002</c:v>
                </c:pt>
                <c:pt idx="13">
                  <c:v>-35.583584664</c:v>
                </c:pt>
                <c:pt idx="14">
                  <c:v>-19.541273985</c:v>
                </c:pt>
                <c:pt idx="15">
                  <c:v>1.6833053710000001</c:v>
                </c:pt>
                <c:pt idx="16">
                  <c:v>24.055807266999999</c:v>
                </c:pt>
                <c:pt idx="17">
                  <c:v>15.794830461</c:v>
                </c:pt>
                <c:pt idx="18">
                  <c:v>12.821961589000001</c:v>
                </c:pt>
                <c:pt idx="19">
                  <c:v>21.020048595999999</c:v>
                </c:pt>
                <c:pt idx="20">
                  <c:v>38.568664099999999</c:v>
                </c:pt>
                <c:pt idx="21">
                  <c:v>36.190143654000003</c:v>
                </c:pt>
                <c:pt idx="22">
                  <c:v>51.965669738999999</c:v>
                </c:pt>
              </c:numCache>
            </c:numRef>
          </c:val>
          <c:smooth val="0"/>
          <c:extLst>
            <c:ext xmlns:c16="http://schemas.microsoft.com/office/drawing/2014/chart" uri="{C3380CC4-5D6E-409C-BE32-E72D297353CC}">
              <c16:uniqueId val="{00000004-A0BD-4829-81BB-29D4092C600F}"/>
            </c:ext>
          </c:extLst>
        </c:ser>
        <c:ser>
          <c:idx val="5"/>
          <c:order val="5"/>
          <c:tx>
            <c:strRef>
              <c:f>Лист1!$G$1</c:f>
              <c:strCache>
                <c:ptCount val="1"/>
                <c:pt idx="0">
                  <c:v>Irons</c:v>
                </c:pt>
              </c:strCache>
            </c:strRef>
          </c:tx>
          <c:spPr>
            <a:ln w="28575" cap="rnd">
              <a:solidFill>
                <a:srgbClr val="00B0F0"/>
              </a:solidFill>
              <a:round/>
            </a:ln>
            <a:effectLst/>
          </c:spPr>
          <c:marker>
            <c:symbol val="none"/>
          </c:marker>
          <c:dLbls>
            <c:dLbl>
              <c:idx val="22"/>
              <c:layout>
                <c:manualLayout>
                  <c:x val="0"/>
                  <c:y val="3.4546386003726656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7A0-4DEC-9228-58A24016EA8D}"/>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ru-RU"/>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Лист1!$A$2:$A$24</c:f>
              <c:strCache>
                <c:ptCount val="23"/>
                <c:pt idx="0">
                  <c:v>w1</c:v>
                </c:pt>
                <c:pt idx="1">
                  <c:v>w2</c:v>
                </c:pt>
                <c:pt idx="2">
                  <c:v>w3</c:v>
                </c:pt>
                <c:pt idx="3">
                  <c:v>w4</c:v>
                </c:pt>
                <c:pt idx="4">
                  <c:v>w5</c:v>
                </c:pt>
                <c:pt idx="5">
                  <c:v>w6</c:v>
                </c:pt>
                <c:pt idx="6">
                  <c:v>w7</c:v>
                </c:pt>
                <c:pt idx="7">
                  <c:v>w8</c:v>
                </c:pt>
                <c:pt idx="8">
                  <c:v>w9</c:v>
                </c:pt>
                <c:pt idx="9">
                  <c:v>w10</c:v>
                </c:pt>
                <c:pt idx="10">
                  <c:v>w11</c:v>
                </c:pt>
                <c:pt idx="11">
                  <c:v>w12</c:v>
                </c:pt>
                <c:pt idx="12">
                  <c:v>w13</c:v>
                </c:pt>
                <c:pt idx="13">
                  <c:v>w14</c:v>
                </c:pt>
                <c:pt idx="14">
                  <c:v>w15</c:v>
                </c:pt>
                <c:pt idx="15">
                  <c:v>w16</c:v>
                </c:pt>
                <c:pt idx="16">
                  <c:v>w17</c:v>
                </c:pt>
                <c:pt idx="17">
                  <c:v>w18</c:v>
                </c:pt>
                <c:pt idx="18">
                  <c:v>w19</c:v>
                </c:pt>
                <c:pt idx="19">
                  <c:v>w20</c:v>
                </c:pt>
                <c:pt idx="20">
                  <c:v>w21</c:v>
                </c:pt>
                <c:pt idx="21">
                  <c:v>w22</c:v>
                </c:pt>
                <c:pt idx="22">
                  <c:v>w23</c:v>
                </c:pt>
              </c:strCache>
            </c:strRef>
          </c:cat>
          <c:val>
            <c:numRef>
              <c:f>Лист1!$G$2:$G$24</c:f>
              <c:numCache>
                <c:formatCode>#,##0</c:formatCode>
                <c:ptCount val="23"/>
                <c:pt idx="0">
                  <c:v>23.661085761999999</c:v>
                </c:pt>
                <c:pt idx="1">
                  <c:v>2.5209922119999999</c:v>
                </c:pt>
                <c:pt idx="2">
                  <c:v>1.769019734</c:v>
                </c:pt>
                <c:pt idx="3">
                  <c:v>9.6431824049999992</c:v>
                </c:pt>
                <c:pt idx="4">
                  <c:v>36.618070572999997</c:v>
                </c:pt>
                <c:pt idx="5">
                  <c:v>26.779213982999998</c:v>
                </c:pt>
                <c:pt idx="6">
                  <c:v>38.084484191000001</c:v>
                </c:pt>
                <c:pt idx="7">
                  <c:v>12.81611281</c:v>
                </c:pt>
                <c:pt idx="8">
                  <c:v>10.823547328</c:v>
                </c:pt>
                <c:pt idx="9">
                  <c:v>10.024993692000001</c:v>
                </c:pt>
                <c:pt idx="10">
                  <c:v>52.311141274000001</c:v>
                </c:pt>
                <c:pt idx="11">
                  <c:v>41.522799771000003</c:v>
                </c:pt>
                <c:pt idx="12">
                  <c:v>4.7376091479999998</c:v>
                </c:pt>
                <c:pt idx="13">
                  <c:v>-57.4300888</c:v>
                </c:pt>
                <c:pt idx="14">
                  <c:v>-40.742063936999998</c:v>
                </c:pt>
                <c:pt idx="15">
                  <c:v>-24.283204085000001</c:v>
                </c:pt>
                <c:pt idx="16">
                  <c:v>-21.822813196999999</c:v>
                </c:pt>
                <c:pt idx="17">
                  <c:v>-24.852744545</c:v>
                </c:pt>
                <c:pt idx="18">
                  <c:v>-29.969953096000001</c:v>
                </c:pt>
                <c:pt idx="19">
                  <c:v>-23.016835227000001</c:v>
                </c:pt>
                <c:pt idx="20">
                  <c:v>-18.008287261</c:v>
                </c:pt>
                <c:pt idx="21">
                  <c:v>-14.896680416000001</c:v>
                </c:pt>
                <c:pt idx="22">
                  <c:v>-4.3322850019999999</c:v>
                </c:pt>
              </c:numCache>
            </c:numRef>
          </c:val>
          <c:smooth val="0"/>
          <c:extLst>
            <c:ext xmlns:c16="http://schemas.microsoft.com/office/drawing/2014/chart" uri="{C3380CC4-5D6E-409C-BE32-E72D297353CC}">
              <c16:uniqueId val="{00000005-A0BD-4829-81BB-29D4092C600F}"/>
            </c:ext>
          </c:extLst>
        </c:ser>
        <c:ser>
          <c:idx val="6"/>
          <c:order val="6"/>
          <c:tx>
            <c:strRef>
              <c:f>Лист1!$H$1</c:f>
              <c:strCache>
                <c:ptCount val="1"/>
                <c:pt idx="0">
                  <c:v>Hot Bev. Makers</c:v>
                </c:pt>
              </c:strCache>
            </c:strRef>
          </c:tx>
          <c:spPr>
            <a:ln w="28575" cap="rnd">
              <a:solidFill>
                <a:srgbClr val="C00000"/>
              </a:solidFill>
              <a:round/>
            </a:ln>
            <a:effectLst/>
          </c:spPr>
          <c:marker>
            <c:symbol val="none"/>
          </c:marker>
          <c:cat>
            <c:strRef>
              <c:f>Лист1!$A$2:$A$24</c:f>
              <c:strCache>
                <c:ptCount val="23"/>
                <c:pt idx="0">
                  <c:v>w1</c:v>
                </c:pt>
                <c:pt idx="1">
                  <c:v>w2</c:v>
                </c:pt>
                <c:pt idx="2">
                  <c:v>w3</c:v>
                </c:pt>
                <c:pt idx="3">
                  <c:v>w4</c:v>
                </c:pt>
                <c:pt idx="4">
                  <c:v>w5</c:v>
                </c:pt>
                <c:pt idx="5">
                  <c:v>w6</c:v>
                </c:pt>
                <c:pt idx="6">
                  <c:v>w7</c:v>
                </c:pt>
                <c:pt idx="7">
                  <c:v>w8</c:v>
                </c:pt>
                <c:pt idx="8">
                  <c:v>w9</c:v>
                </c:pt>
                <c:pt idx="9">
                  <c:v>w10</c:v>
                </c:pt>
                <c:pt idx="10">
                  <c:v>w11</c:v>
                </c:pt>
                <c:pt idx="11">
                  <c:v>w12</c:v>
                </c:pt>
                <c:pt idx="12">
                  <c:v>w13</c:v>
                </c:pt>
                <c:pt idx="13">
                  <c:v>w14</c:v>
                </c:pt>
                <c:pt idx="14">
                  <c:v>w15</c:v>
                </c:pt>
                <c:pt idx="15">
                  <c:v>w16</c:v>
                </c:pt>
                <c:pt idx="16">
                  <c:v>w17</c:v>
                </c:pt>
                <c:pt idx="17">
                  <c:v>w18</c:v>
                </c:pt>
                <c:pt idx="18">
                  <c:v>w19</c:v>
                </c:pt>
                <c:pt idx="19">
                  <c:v>w20</c:v>
                </c:pt>
                <c:pt idx="20">
                  <c:v>w21</c:v>
                </c:pt>
                <c:pt idx="21">
                  <c:v>w22</c:v>
                </c:pt>
                <c:pt idx="22">
                  <c:v>w23</c:v>
                </c:pt>
              </c:strCache>
            </c:strRef>
          </c:cat>
          <c:val>
            <c:numRef>
              <c:f>Лист1!$H$2:$H$24</c:f>
              <c:numCache>
                <c:formatCode>#,##0</c:formatCode>
                <c:ptCount val="23"/>
                <c:pt idx="0">
                  <c:v>53.408691599000001</c:v>
                </c:pt>
                <c:pt idx="1">
                  <c:v>15.871941239</c:v>
                </c:pt>
                <c:pt idx="2">
                  <c:v>11.906938608000001</c:v>
                </c:pt>
                <c:pt idx="3">
                  <c:v>25.333087843000001</c:v>
                </c:pt>
                <c:pt idx="4">
                  <c:v>28.977628651</c:v>
                </c:pt>
                <c:pt idx="5">
                  <c:v>26.790095373</c:v>
                </c:pt>
                <c:pt idx="6">
                  <c:v>38.860024056</c:v>
                </c:pt>
                <c:pt idx="7">
                  <c:v>34.255432085000002</c:v>
                </c:pt>
                <c:pt idx="8">
                  <c:v>27.255672403999998</c:v>
                </c:pt>
                <c:pt idx="9">
                  <c:v>38.517217555000002</c:v>
                </c:pt>
                <c:pt idx="10">
                  <c:v>74.805451113999993</c:v>
                </c:pt>
                <c:pt idx="11">
                  <c:v>66.199647960999997</c:v>
                </c:pt>
                <c:pt idx="12">
                  <c:v>36.646536867000002</c:v>
                </c:pt>
                <c:pt idx="13">
                  <c:v>-21.729393374000001</c:v>
                </c:pt>
                <c:pt idx="14">
                  <c:v>-9.3487825789999999</c:v>
                </c:pt>
                <c:pt idx="15">
                  <c:v>-2.695364992</c:v>
                </c:pt>
                <c:pt idx="16">
                  <c:v>18.434474908999999</c:v>
                </c:pt>
                <c:pt idx="17">
                  <c:v>35.705278671000002</c:v>
                </c:pt>
                <c:pt idx="18">
                  <c:v>18.141841647</c:v>
                </c:pt>
                <c:pt idx="19">
                  <c:v>11.591682204</c:v>
                </c:pt>
                <c:pt idx="20">
                  <c:v>51.108849177000003</c:v>
                </c:pt>
                <c:pt idx="21">
                  <c:v>36.426868796999997</c:v>
                </c:pt>
                <c:pt idx="22">
                  <c:v>44.868567292000002</c:v>
                </c:pt>
              </c:numCache>
            </c:numRef>
          </c:val>
          <c:smooth val="0"/>
          <c:extLst>
            <c:ext xmlns:c16="http://schemas.microsoft.com/office/drawing/2014/chart" uri="{C3380CC4-5D6E-409C-BE32-E72D297353CC}">
              <c16:uniqueId val="{00000000-D4FD-4AA1-B6BD-FE77B48EEE5B}"/>
            </c:ext>
          </c:extLst>
        </c:ser>
        <c:dLbls>
          <c:showLegendKey val="0"/>
          <c:showVal val="0"/>
          <c:showCatName val="0"/>
          <c:showSerName val="0"/>
          <c:showPercent val="0"/>
          <c:showBubbleSize val="0"/>
        </c:dLbls>
        <c:smooth val="0"/>
        <c:axId val="140908831"/>
        <c:axId val="411980831"/>
      </c:lineChart>
      <c:catAx>
        <c:axId val="140908831"/>
        <c:scaling>
          <c:orientation val="minMax"/>
        </c:scaling>
        <c:delete val="0"/>
        <c:axPos val="b"/>
        <c:numFmt formatCode="General" sourceLinked="1"/>
        <c:majorTickMark val="none"/>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ru-RU"/>
          </a:p>
        </c:txPr>
        <c:crossAx val="411980831"/>
        <c:crosses val="autoZero"/>
        <c:auto val="1"/>
        <c:lblAlgn val="ctr"/>
        <c:lblOffset val="100"/>
        <c:noMultiLvlLbl val="0"/>
      </c:catAx>
      <c:valAx>
        <c:axId val="411980831"/>
        <c:scaling>
          <c:orientation val="minMax"/>
          <c:max val="140"/>
          <c:min val="-90"/>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ru-RU"/>
          </a:p>
        </c:txPr>
        <c:crossAx val="140908831"/>
        <c:crosses val="autoZero"/>
        <c:crossBetween val="between"/>
      </c:valAx>
      <c:spPr>
        <a:noFill/>
        <a:ln>
          <a:noFill/>
        </a:ln>
        <a:effectLst/>
      </c:spPr>
    </c:plotArea>
    <c:legend>
      <c:legendPos val="l"/>
      <c:layout>
        <c:manualLayout>
          <c:xMode val="edge"/>
          <c:yMode val="edge"/>
          <c:x val="7.5170460879998832E-2"/>
          <c:y val="0.49311656458406061"/>
          <c:w val="0.212121075592207"/>
          <c:h val="0.44066942376402035"/>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ru-RU"/>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ru-RU"/>
    </a:p>
  </c:txPr>
  <c:externalData r:id="rId3">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20789654146376055"/>
          <c:y val="0.1111083873149938"/>
          <c:w val="0.75686962516623013"/>
          <c:h val="0.77193413066350081"/>
        </c:manualLayout>
      </c:layout>
      <c:barChart>
        <c:barDir val="bar"/>
        <c:grouping val="percentStacked"/>
        <c:varyColors val="0"/>
        <c:ser>
          <c:idx val="0"/>
          <c:order val="0"/>
          <c:tx>
            <c:strRef>
              <c:f>Лист1!$B$1</c:f>
              <c:strCache>
                <c:ptCount val="1"/>
                <c:pt idx="0">
                  <c:v>Significant decline&lt;-15%</c:v>
                </c:pt>
              </c:strCache>
            </c:strRef>
          </c:tx>
          <c:spPr>
            <a:solidFill>
              <a:srgbClr val="FF0000"/>
            </a:solidFill>
            <a:ln>
              <a:noFill/>
            </a:ln>
            <a:effectLst>
              <a:outerShdw blurRad="50800" dist="127000" dir="8100000" algn="tr" rotWithShape="0">
                <a:prstClr val="black">
                  <a:alpha val="40000"/>
                </a:prstClr>
              </a:outerShdw>
            </a:effectLst>
          </c:spPr>
          <c:invertIfNegative val="0"/>
          <c:dPt>
            <c:idx val="0"/>
            <c:invertIfNegative val="0"/>
            <c:bubble3D val="0"/>
            <c:spPr>
              <a:solidFill>
                <a:srgbClr val="FF0000"/>
              </a:solidFill>
              <a:ln>
                <a:noFill/>
              </a:ln>
              <a:effectLst>
                <a:outerShdw blurRad="50800" dist="127000" dir="8100000" algn="tr" rotWithShape="0">
                  <a:prstClr val="black">
                    <a:alpha val="40000"/>
                  </a:prstClr>
                </a:outerShdw>
              </a:effectLst>
            </c:spPr>
            <c:extLst>
              <c:ext xmlns:c16="http://schemas.microsoft.com/office/drawing/2014/chart" uri="{C3380CC4-5D6E-409C-BE32-E72D297353CC}">
                <c16:uniqueId val="{00000002-EA9A-4D92-8FD9-51DEA013AAEF}"/>
              </c:ext>
            </c:extLst>
          </c:dPt>
          <c:dPt>
            <c:idx val="1"/>
            <c:invertIfNegative val="0"/>
            <c:bubble3D val="0"/>
            <c:spPr>
              <a:solidFill>
                <a:srgbClr val="FF0000"/>
              </a:solidFill>
              <a:ln>
                <a:noFill/>
              </a:ln>
              <a:effectLst>
                <a:outerShdw blurRad="50800" dist="127000" dir="8100000" algn="tr" rotWithShape="0">
                  <a:prstClr val="black">
                    <a:alpha val="40000"/>
                  </a:prstClr>
                </a:outerShdw>
              </a:effectLst>
            </c:spPr>
            <c:extLst>
              <c:ext xmlns:c16="http://schemas.microsoft.com/office/drawing/2014/chart" uri="{C3380CC4-5D6E-409C-BE32-E72D297353CC}">
                <c16:uniqueId val="{00000001-EA9A-4D92-8FD9-51DEA013AAEF}"/>
              </c:ext>
            </c:extLst>
          </c:dPt>
          <c:dPt>
            <c:idx val="2"/>
            <c:invertIfNegative val="0"/>
            <c:bubble3D val="0"/>
            <c:spPr>
              <a:solidFill>
                <a:srgbClr val="FF0000"/>
              </a:solidFill>
              <a:ln>
                <a:noFill/>
              </a:ln>
              <a:effectLst>
                <a:outerShdw blurRad="50800" dist="127000" dir="8100000" algn="tr" rotWithShape="0">
                  <a:prstClr val="black">
                    <a:alpha val="40000"/>
                  </a:prstClr>
                </a:outerShdw>
              </a:effectLst>
            </c:spPr>
            <c:extLst>
              <c:ext xmlns:c16="http://schemas.microsoft.com/office/drawing/2014/chart" uri="{C3380CC4-5D6E-409C-BE32-E72D297353CC}">
                <c16:uniqueId val="{00000000-EA9A-4D92-8FD9-51DEA013AAEF}"/>
              </c:ext>
            </c:extLst>
          </c:dPt>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ru-RU"/>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Лист1!$A$2:$A$4</c:f>
              <c:strCache>
                <c:ptCount val="3"/>
                <c:pt idx="0">
                  <c:v>Germany</c:v>
                </c:pt>
                <c:pt idx="1">
                  <c:v>UK     </c:v>
                </c:pt>
                <c:pt idx="2">
                  <c:v>Russia </c:v>
                </c:pt>
              </c:strCache>
            </c:strRef>
          </c:cat>
          <c:val>
            <c:numRef>
              <c:f>Лист1!$B$2:$B$4</c:f>
              <c:numCache>
                <c:formatCode>0%</c:formatCode>
                <c:ptCount val="3"/>
                <c:pt idx="0">
                  <c:v>0.28000000000000003</c:v>
                </c:pt>
                <c:pt idx="1">
                  <c:v>0.55000000000000004</c:v>
                </c:pt>
                <c:pt idx="2">
                  <c:v>0.44</c:v>
                </c:pt>
              </c:numCache>
            </c:numRef>
          </c:val>
          <c:extLst>
            <c:ext xmlns:c16="http://schemas.microsoft.com/office/drawing/2014/chart" uri="{C3380CC4-5D6E-409C-BE32-E72D297353CC}">
              <c16:uniqueId val="{00000000-29C0-4E3F-ACA6-3D14F0F6BCA4}"/>
            </c:ext>
          </c:extLst>
        </c:ser>
        <c:ser>
          <c:idx val="1"/>
          <c:order val="1"/>
          <c:tx>
            <c:strRef>
              <c:f>Лист1!$C$1</c:f>
              <c:strCache>
                <c:ptCount val="1"/>
                <c:pt idx="0">
                  <c:v>Slight decline (&lt;-5%)</c:v>
                </c:pt>
              </c:strCache>
            </c:strRef>
          </c:tx>
          <c:spPr>
            <a:solidFill>
              <a:schemeClr val="accent2"/>
            </a:solidFill>
            <a:ln>
              <a:noFill/>
            </a:ln>
            <a:effectLst>
              <a:outerShdw blurRad="50800" dist="127000" dir="8100000" algn="tr" rotWithShape="0">
                <a:prstClr val="black">
                  <a:alpha val="40000"/>
                </a:prstClr>
              </a:outerShdw>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ru-RU"/>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Лист1!$A$2:$A$4</c:f>
              <c:strCache>
                <c:ptCount val="3"/>
                <c:pt idx="0">
                  <c:v>Germany</c:v>
                </c:pt>
                <c:pt idx="1">
                  <c:v>UK     </c:v>
                </c:pt>
                <c:pt idx="2">
                  <c:v>Russia </c:v>
                </c:pt>
              </c:strCache>
            </c:strRef>
          </c:cat>
          <c:val>
            <c:numRef>
              <c:f>Лист1!$C$2:$C$4</c:f>
              <c:numCache>
                <c:formatCode>0%</c:formatCode>
                <c:ptCount val="3"/>
                <c:pt idx="0">
                  <c:v>0.06</c:v>
                </c:pt>
                <c:pt idx="1">
                  <c:v>0.20811630088236471</c:v>
                </c:pt>
                <c:pt idx="2">
                  <c:v>0.19</c:v>
                </c:pt>
              </c:numCache>
            </c:numRef>
          </c:val>
          <c:extLst>
            <c:ext xmlns:c16="http://schemas.microsoft.com/office/drawing/2014/chart" uri="{C3380CC4-5D6E-409C-BE32-E72D297353CC}">
              <c16:uniqueId val="{00000001-29C0-4E3F-ACA6-3D14F0F6BCA4}"/>
            </c:ext>
          </c:extLst>
        </c:ser>
        <c:ser>
          <c:idx val="2"/>
          <c:order val="2"/>
          <c:tx>
            <c:strRef>
              <c:f>Лист1!$D$1</c:f>
              <c:strCache>
                <c:ptCount val="1"/>
                <c:pt idx="0">
                  <c:v>Flat(+5%-5%)</c:v>
                </c:pt>
              </c:strCache>
            </c:strRef>
          </c:tx>
          <c:spPr>
            <a:solidFill>
              <a:srgbClr val="FFC000"/>
            </a:solidFill>
            <a:ln>
              <a:noFill/>
            </a:ln>
            <a:effectLst>
              <a:outerShdw blurRad="50800" dist="127000" dir="8100000" algn="tr" rotWithShape="0">
                <a:prstClr val="black">
                  <a:alpha val="40000"/>
                </a:prstClr>
              </a:outerShdw>
            </a:effectLst>
          </c:spPr>
          <c:invertIfNegative val="0"/>
          <c:dLbls>
            <c:dLbl>
              <c:idx val="1"/>
              <c:layout>
                <c:manualLayout>
                  <c:x val="-6.9635693831045162E-3"/>
                  <c:y val="-3.4980887214458179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B-031D-463A-BBBC-355F880C1096}"/>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ru-RU"/>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Лист1!$A$2:$A$4</c:f>
              <c:strCache>
                <c:ptCount val="3"/>
                <c:pt idx="0">
                  <c:v>Germany</c:v>
                </c:pt>
                <c:pt idx="1">
                  <c:v>UK     </c:v>
                </c:pt>
                <c:pt idx="2">
                  <c:v>Russia </c:v>
                </c:pt>
              </c:strCache>
            </c:strRef>
          </c:cat>
          <c:val>
            <c:numRef>
              <c:f>Лист1!$D$2:$D$4</c:f>
              <c:numCache>
                <c:formatCode>0%</c:formatCode>
                <c:ptCount val="3"/>
                <c:pt idx="0">
                  <c:v>0.17</c:v>
                </c:pt>
                <c:pt idx="1">
                  <c:v>0.03</c:v>
                </c:pt>
                <c:pt idx="2">
                  <c:v>0.06</c:v>
                </c:pt>
              </c:numCache>
            </c:numRef>
          </c:val>
          <c:extLst>
            <c:ext xmlns:c16="http://schemas.microsoft.com/office/drawing/2014/chart" uri="{C3380CC4-5D6E-409C-BE32-E72D297353CC}">
              <c16:uniqueId val="{00000002-29C0-4E3F-ACA6-3D14F0F6BCA4}"/>
            </c:ext>
          </c:extLst>
        </c:ser>
        <c:ser>
          <c:idx val="3"/>
          <c:order val="3"/>
          <c:tx>
            <c:strRef>
              <c:f>Лист1!$E$1</c:f>
              <c:strCache>
                <c:ptCount val="1"/>
                <c:pt idx="0">
                  <c:v>Slight increase (&gt;5%)</c:v>
                </c:pt>
              </c:strCache>
            </c:strRef>
          </c:tx>
          <c:spPr>
            <a:solidFill>
              <a:srgbClr val="92D050"/>
            </a:solidFill>
            <a:ln>
              <a:noFill/>
            </a:ln>
            <a:effectLst>
              <a:outerShdw blurRad="50800" dist="127000" dir="8100000" algn="tr" rotWithShape="0">
                <a:prstClr val="black">
                  <a:alpha val="40000"/>
                </a:prstClr>
              </a:outerShdw>
            </a:effectLst>
          </c:spPr>
          <c:invertIfNegative val="0"/>
          <c:dPt>
            <c:idx val="0"/>
            <c:invertIfNegative val="0"/>
            <c:bubble3D val="0"/>
            <c:spPr>
              <a:solidFill>
                <a:srgbClr val="92D050"/>
              </a:solidFill>
              <a:ln>
                <a:noFill/>
              </a:ln>
              <a:effectLst>
                <a:outerShdw blurRad="50800" dist="127000" dir="8100000" algn="tr" rotWithShape="0">
                  <a:prstClr val="black">
                    <a:alpha val="40000"/>
                  </a:prstClr>
                </a:outerShdw>
              </a:effectLst>
            </c:spPr>
            <c:extLst>
              <c:ext xmlns:c16="http://schemas.microsoft.com/office/drawing/2014/chart" uri="{C3380CC4-5D6E-409C-BE32-E72D297353CC}">
                <c16:uniqueId val="{00000004-EA9A-4D92-8FD9-51DEA013AAEF}"/>
              </c:ext>
            </c:extLst>
          </c:dPt>
          <c:dPt>
            <c:idx val="1"/>
            <c:invertIfNegative val="0"/>
            <c:bubble3D val="0"/>
            <c:spPr>
              <a:solidFill>
                <a:srgbClr val="92D050"/>
              </a:solidFill>
              <a:ln>
                <a:noFill/>
              </a:ln>
              <a:effectLst>
                <a:outerShdw blurRad="50800" dist="127000" dir="8100000" algn="tr" rotWithShape="0">
                  <a:prstClr val="black">
                    <a:alpha val="40000"/>
                  </a:prstClr>
                </a:outerShdw>
              </a:effectLst>
            </c:spPr>
            <c:extLst>
              <c:ext xmlns:c16="http://schemas.microsoft.com/office/drawing/2014/chart" uri="{C3380CC4-5D6E-409C-BE32-E72D297353CC}">
                <c16:uniqueId val="{00000005-EA9A-4D92-8FD9-51DEA013AAEF}"/>
              </c:ext>
            </c:extLst>
          </c:dPt>
          <c:dLbls>
            <c:dLbl>
              <c:idx val="1"/>
              <c:layout>
                <c:manualLayout>
                  <c:x val="2.0890708149313549E-2"/>
                  <c:y val="-3.4980887214458179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EA9A-4D92-8FD9-51DEA013AAEF}"/>
                </c:ext>
              </c:extLst>
            </c:dLbl>
            <c:dLbl>
              <c:idx val="2"/>
              <c:delete val="1"/>
              <c:extLst>
                <c:ext xmlns:c15="http://schemas.microsoft.com/office/drawing/2012/chart" uri="{CE6537A1-D6FC-4f65-9D91-7224C49458BB}"/>
                <c:ext xmlns:c16="http://schemas.microsoft.com/office/drawing/2014/chart" uri="{C3380CC4-5D6E-409C-BE32-E72D297353CC}">
                  <c16:uniqueId val="{0000000A-031D-463A-BBBC-355F880C1096}"/>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ru-RU"/>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Лист1!$A$2:$A$4</c:f>
              <c:strCache>
                <c:ptCount val="3"/>
                <c:pt idx="0">
                  <c:v>Germany</c:v>
                </c:pt>
                <c:pt idx="1">
                  <c:v>UK     </c:v>
                </c:pt>
                <c:pt idx="2">
                  <c:v>Russia </c:v>
                </c:pt>
              </c:strCache>
            </c:strRef>
          </c:cat>
          <c:val>
            <c:numRef>
              <c:f>Лист1!$E$2:$E$4</c:f>
              <c:numCache>
                <c:formatCode>0%</c:formatCode>
                <c:ptCount val="3"/>
                <c:pt idx="0">
                  <c:v>0.22</c:v>
                </c:pt>
                <c:pt idx="1">
                  <c:v>0.03</c:v>
                </c:pt>
                <c:pt idx="2">
                  <c:v>0</c:v>
                </c:pt>
              </c:numCache>
            </c:numRef>
          </c:val>
          <c:extLst>
            <c:ext xmlns:c16="http://schemas.microsoft.com/office/drawing/2014/chart" uri="{C3380CC4-5D6E-409C-BE32-E72D297353CC}">
              <c16:uniqueId val="{00000003-29C0-4E3F-ACA6-3D14F0F6BCA4}"/>
            </c:ext>
          </c:extLst>
        </c:ser>
        <c:ser>
          <c:idx val="4"/>
          <c:order val="4"/>
          <c:tx>
            <c:strRef>
              <c:f>Лист1!$F$1</c:f>
              <c:strCache>
                <c:ptCount val="1"/>
                <c:pt idx="0">
                  <c:v>Significant increase (&gt;15%)</c:v>
                </c:pt>
              </c:strCache>
            </c:strRef>
          </c:tx>
          <c:spPr>
            <a:solidFill>
              <a:srgbClr val="00B050"/>
            </a:solidFill>
            <a:ln>
              <a:noFill/>
            </a:ln>
            <a:effectLst>
              <a:outerShdw blurRad="50800" dist="127000" dir="8100000" algn="tr" rotWithShape="0">
                <a:prstClr val="black">
                  <a:alpha val="40000"/>
                </a:prstClr>
              </a:outerShdw>
            </a:effectLst>
          </c:spPr>
          <c:invertIfNegative val="0"/>
          <c:dLbls>
            <c:dLbl>
              <c:idx val="0"/>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EA9A-4D92-8FD9-51DEA013AAEF}"/>
                </c:ext>
              </c:extLst>
            </c:dLbl>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EA9A-4D92-8FD9-51DEA013AAEF}"/>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EA9A-4D92-8FD9-51DEA013AAEF}"/>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ru-RU"/>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Лист1!$A$2:$A$4</c:f>
              <c:strCache>
                <c:ptCount val="3"/>
                <c:pt idx="0">
                  <c:v>Germany</c:v>
                </c:pt>
                <c:pt idx="1">
                  <c:v>UK     </c:v>
                </c:pt>
                <c:pt idx="2">
                  <c:v>Russia </c:v>
                </c:pt>
              </c:strCache>
            </c:strRef>
          </c:cat>
          <c:val>
            <c:numRef>
              <c:f>Лист1!$F$2:$F$4</c:f>
              <c:numCache>
                <c:formatCode>0%</c:formatCode>
                <c:ptCount val="3"/>
                <c:pt idx="0">
                  <c:v>0.22</c:v>
                </c:pt>
                <c:pt idx="1">
                  <c:v>0.17</c:v>
                </c:pt>
                <c:pt idx="2">
                  <c:v>0.31</c:v>
                </c:pt>
              </c:numCache>
            </c:numRef>
          </c:val>
          <c:extLst>
            <c:ext xmlns:c16="http://schemas.microsoft.com/office/drawing/2014/chart" uri="{C3380CC4-5D6E-409C-BE32-E72D297353CC}">
              <c16:uniqueId val="{00000004-29C0-4E3F-ACA6-3D14F0F6BCA4}"/>
            </c:ext>
          </c:extLst>
        </c:ser>
        <c:dLbls>
          <c:showLegendKey val="0"/>
          <c:showVal val="0"/>
          <c:showCatName val="0"/>
          <c:showSerName val="0"/>
          <c:showPercent val="0"/>
          <c:showBubbleSize val="0"/>
        </c:dLbls>
        <c:gapWidth val="150"/>
        <c:overlap val="100"/>
        <c:axId val="636562752"/>
        <c:axId val="578420880"/>
      </c:barChart>
      <c:catAx>
        <c:axId val="636562752"/>
        <c:scaling>
          <c:orientation val="minMax"/>
        </c:scaling>
        <c:delete val="0"/>
        <c:axPos val="l"/>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ru-RU"/>
          </a:p>
        </c:txPr>
        <c:crossAx val="578420880"/>
        <c:crosses val="autoZero"/>
        <c:auto val="1"/>
        <c:lblAlgn val="ctr"/>
        <c:lblOffset val="100"/>
        <c:noMultiLvlLbl val="0"/>
      </c:catAx>
      <c:valAx>
        <c:axId val="578420880"/>
        <c:scaling>
          <c:orientation val="minMax"/>
        </c:scaling>
        <c:delete val="1"/>
        <c:axPos val="b"/>
        <c:numFmt formatCode="0%" sourceLinked="1"/>
        <c:majorTickMark val="none"/>
        <c:minorTickMark val="none"/>
        <c:tickLblPos val="nextTo"/>
        <c:crossAx val="636562752"/>
        <c:crosses val="autoZero"/>
        <c:crossBetween val="between"/>
      </c:valAx>
      <c:spPr>
        <a:noFill/>
        <a:ln>
          <a:noFill/>
        </a:ln>
        <a:effectLst/>
      </c:spPr>
    </c:plotArea>
    <c:legend>
      <c:legendPos val="b"/>
      <c:layout>
        <c:manualLayout>
          <c:xMode val="edge"/>
          <c:yMode val="edge"/>
          <c:x val="5.1979115871601284E-2"/>
          <c:y val="0.84278652789629349"/>
          <c:w val="0.92480898618471696"/>
          <c:h val="0.13622493977503158"/>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ru-RU"/>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ru-RU"/>
    </a:p>
  </c:txPr>
  <c:externalData r:id="rId3">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0487169621452048"/>
          <c:y val="0.13824772261341312"/>
          <c:w val="0.77785035113104417"/>
          <c:h val="0.77193413066350081"/>
        </c:manualLayout>
      </c:layout>
      <c:barChart>
        <c:barDir val="col"/>
        <c:grouping val="percentStacked"/>
        <c:varyColors val="0"/>
        <c:ser>
          <c:idx val="0"/>
          <c:order val="0"/>
          <c:tx>
            <c:strRef>
              <c:f>Лист1!$B$1</c:f>
              <c:strCache>
                <c:ptCount val="1"/>
                <c:pt idx="0">
                  <c:v>Decline&lt;30%</c:v>
                </c:pt>
              </c:strCache>
            </c:strRef>
          </c:tx>
          <c:spPr>
            <a:solidFill>
              <a:srgbClr val="FF0000"/>
            </a:solidFill>
            <a:ln>
              <a:noFill/>
            </a:ln>
            <a:effectLst>
              <a:outerShdw blurRad="50800" dist="127000" dir="8100000" algn="tr" rotWithShape="0">
                <a:prstClr val="black">
                  <a:alpha val="40000"/>
                </a:prstClr>
              </a:outerShdw>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ru-RU"/>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Лист1!$A$2:$A$4</c:f>
              <c:strCache>
                <c:ptCount val="3"/>
                <c:pt idx="0">
                  <c:v>Russia</c:v>
                </c:pt>
                <c:pt idx="1">
                  <c:v>UK</c:v>
                </c:pt>
                <c:pt idx="2">
                  <c:v>Germany</c:v>
                </c:pt>
              </c:strCache>
            </c:strRef>
          </c:cat>
          <c:val>
            <c:numRef>
              <c:f>Лист1!$B$2:$B$4</c:f>
              <c:numCache>
                <c:formatCode>0%</c:formatCode>
                <c:ptCount val="3"/>
                <c:pt idx="0">
                  <c:v>0.5</c:v>
                </c:pt>
                <c:pt idx="1">
                  <c:v>0.1</c:v>
                </c:pt>
                <c:pt idx="2">
                  <c:v>0.14000000000000001</c:v>
                </c:pt>
              </c:numCache>
            </c:numRef>
          </c:val>
          <c:extLst>
            <c:ext xmlns:c16="http://schemas.microsoft.com/office/drawing/2014/chart" uri="{C3380CC4-5D6E-409C-BE32-E72D297353CC}">
              <c16:uniqueId val="{00000003-0064-4925-A86C-A89D70A48D75}"/>
            </c:ext>
          </c:extLst>
        </c:ser>
        <c:ser>
          <c:idx val="1"/>
          <c:order val="1"/>
          <c:tx>
            <c:strRef>
              <c:f>Лист1!$C$1</c:f>
              <c:strCache>
                <c:ptCount val="1"/>
                <c:pt idx="0">
                  <c:v>Decline 11-30</c:v>
                </c:pt>
              </c:strCache>
            </c:strRef>
          </c:tx>
          <c:spPr>
            <a:solidFill>
              <a:srgbClr val="C00000"/>
            </a:solidFill>
            <a:ln>
              <a:noFill/>
            </a:ln>
            <a:effectLst>
              <a:outerShdw blurRad="50800" dist="127000" dir="8100000" algn="tr" rotWithShape="0">
                <a:prstClr val="black">
                  <a:alpha val="40000"/>
                </a:prstClr>
              </a:outerShdw>
            </a:effectLst>
          </c:spPr>
          <c:invertIfNegative val="0"/>
          <c:dLbls>
            <c:dLbl>
              <c:idx val="2"/>
              <c:delete val="1"/>
              <c:extLst>
                <c:ext xmlns:c15="http://schemas.microsoft.com/office/drawing/2012/chart" uri="{CE6537A1-D6FC-4f65-9D91-7224C49458BB}"/>
                <c:ext xmlns:c16="http://schemas.microsoft.com/office/drawing/2014/chart" uri="{C3380CC4-5D6E-409C-BE32-E72D297353CC}">
                  <c16:uniqueId val="{00000004-0064-4925-A86C-A89D70A48D75}"/>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bg1"/>
                    </a:solidFill>
                    <a:latin typeface="+mn-lt"/>
                    <a:ea typeface="+mn-ea"/>
                    <a:cs typeface="+mn-cs"/>
                  </a:defRPr>
                </a:pPr>
                <a:endParaRPr lang="ru-RU"/>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Лист1!$A$2:$A$4</c:f>
              <c:strCache>
                <c:ptCount val="3"/>
                <c:pt idx="0">
                  <c:v>Russia</c:v>
                </c:pt>
                <c:pt idx="1">
                  <c:v>UK</c:v>
                </c:pt>
                <c:pt idx="2">
                  <c:v>Germany</c:v>
                </c:pt>
              </c:strCache>
            </c:strRef>
          </c:cat>
          <c:val>
            <c:numRef>
              <c:f>Лист1!$C$2:$C$4</c:f>
              <c:numCache>
                <c:formatCode>0%</c:formatCode>
                <c:ptCount val="3"/>
                <c:pt idx="0">
                  <c:v>0.14000000000000001</c:v>
                </c:pt>
                <c:pt idx="1">
                  <c:v>0.35</c:v>
                </c:pt>
                <c:pt idx="2">
                  <c:v>0</c:v>
                </c:pt>
              </c:numCache>
            </c:numRef>
          </c:val>
          <c:extLst>
            <c:ext xmlns:c16="http://schemas.microsoft.com/office/drawing/2014/chart" uri="{C3380CC4-5D6E-409C-BE32-E72D297353CC}">
              <c16:uniqueId val="{00000006-0064-4925-A86C-A89D70A48D75}"/>
            </c:ext>
          </c:extLst>
        </c:ser>
        <c:ser>
          <c:idx val="2"/>
          <c:order val="2"/>
          <c:tx>
            <c:strRef>
              <c:f>Лист1!$D$1</c:f>
              <c:strCache>
                <c:ptCount val="1"/>
                <c:pt idx="0">
                  <c:v>Decline 0-10%</c:v>
                </c:pt>
              </c:strCache>
            </c:strRef>
          </c:tx>
          <c:spPr>
            <a:solidFill>
              <a:schemeClr val="tx2"/>
            </a:solidFill>
            <a:ln>
              <a:noFill/>
            </a:ln>
            <a:effectLst>
              <a:outerShdw blurRad="50800" dist="127000" dir="8100000" algn="tr" rotWithShape="0">
                <a:prstClr val="black">
                  <a:alpha val="40000"/>
                </a:prstClr>
              </a:outerShdw>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ru-RU"/>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Лист1!$A$2:$A$4</c:f>
              <c:strCache>
                <c:ptCount val="3"/>
                <c:pt idx="0">
                  <c:v>Russia</c:v>
                </c:pt>
                <c:pt idx="1">
                  <c:v>UK</c:v>
                </c:pt>
                <c:pt idx="2">
                  <c:v>Germany</c:v>
                </c:pt>
              </c:strCache>
            </c:strRef>
          </c:cat>
          <c:val>
            <c:numRef>
              <c:f>Лист1!$D$2:$D$4</c:f>
              <c:numCache>
                <c:formatCode>0%</c:formatCode>
                <c:ptCount val="3"/>
                <c:pt idx="0">
                  <c:v>7.0000000000000007E-2</c:v>
                </c:pt>
                <c:pt idx="1">
                  <c:v>0.3</c:v>
                </c:pt>
                <c:pt idx="2">
                  <c:v>0.28999999999999998</c:v>
                </c:pt>
              </c:numCache>
            </c:numRef>
          </c:val>
          <c:extLst>
            <c:ext xmlns:c16="http://schemas.microsoft.com/office/drawing/2014/chart" uri="{C3380CC4-5D6E-409C-BE32-E72D297353CC}">
              <c16:uniqueId val="{00000007-0064-4925-A86C-A89D70A48D75}"/>
            </c:ext>
          </c:extLst>
        </c:ser>
        <c:ser>
          <c:idx val="3"/>
          <c:order val="3"/>
          <c:tx>
            <c:strRef>
              <c:f>Лист1!$E$1</c:f>
              <c:strCache>
                <c:ptCount val="1"/>
                <c:pt idx="0">
                  <c:v>Flat</c:v>
                </c:pt>
              </c:strCache>
            </c:strRef>
          </c:tx>
          <c:spPr>
            <a:solidFill>
              <a:schemeClr val="accent4"/>
            </a:solidFill>
            <a:ln>
              <a:noFill/>
            </a:ln>
            <a:effectLst>
              <a:outerShdw blurRad="50800" dist="127000" dir="8100000" algn="tr" rotWithShape="0">
                <a:prstClr val="black">
                  <a:alpha val="40000"/>
                </a:prstClr>
              </a:outerShdw>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ru-RU"/>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Лист1!$A$2:$A$4</c:f>
              <c:strCache>
                <c:ptCount val="3"/>
                <c:pt idx="0">
                  <c:v>Russia</c:v>
                </c:pt>
                <c:pt idx="1">
                  <c:v>UK</c:v>
                </c:pt>
                <c:pt idx="2">
                  <c:v>Germany</c:v>
                </c:pt>
              </c:strCache>
            </c:strRef>
          </c:cat>
          <c:val>
            <c:numRef>
              <c:f>Лист1!$E$2:$E$4</c:f>
              <c:numCache>
                <c:formatCode>0%</c:formatCode>
                <c:ptCount val="3"/>
                <c:pt idx="0">
                  <c:v>0.14000000000000001</c:v>
                </c:pt>
                <c:pt idx="1">
                  <c:v>0.1</c:v>
                </c:pt>
                <c:pt idx="2">
                  <c:v>0.28999999999999998</c:v>
                </c:pt>
              </c:numCache>
            </c:numRef>
          </c:val>
          <c:extLst>
            <c:ext xmlns:c16="http://schemas.microsoft.com/office/drawing/2014/chart" uri="{C3380CC4-5D6E-409C-BE32-E72D297353CC}">
              <c16:uniqueId val="{0000000F-0064-4925-A86C-A89D70A48D75}"/>
            </c:ext>
          </c:extLst>
        </c:ser>
        <c:ser>
          <c:idx val="4"/>
          <c:order val="4"/>
          <c:tx>
            <c:strRef>
              <c:f>Лист1!$F$1</c:f>
              <c:strCache>
                <c:ptCount val="1"/>
                <c:pt idx="0">
                  <c:v>Growth 0-10%</c:v>
                </c:pt>
              </c:strCache>
            </c:strRef>
          </c:tx>
          <c:spPr>
            <a:solidFill>
              <a:srgbClr val="92D050"/>
            </a:solidFill>
            <a:ln>
              <a:noFill/>
            </a:ln>
            <a:effectLst>
              <a:outerShdw blurRad="50800" dist="127000" dir="8100000" algn="tr" rotWithShape="0">
                <a:prstClr val="black">
                  <a:alpha val="40000"/>
                </a:prstClr>
              </a:outerShdw>
            </a:effectLst>
          </c:spPr>
          <c:invertIfNegative val="0"/>
          <c:dLbls>
            <c:dLbl>
              <c:idx val="0"/>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E9DF-42A7-9299-83CA8739767D}"/>
                </c:ext>
              </c:extLst>
            </c:dLbl>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E9DF-42A7-9299-83CA8739767D}"/>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E9DF-42A7-9299-83CA8739767D}"/>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ru-RU"/>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Лист1!$A$2:$A$4</c:f>
              <c:strCache>
                <c:ptCount val="3"/>
                <c:pt idx="0">
                  <c:v>Russia</c:v>
                </c:pt>
                <c:pt idx="1">
                  <c:v>UK</c:v>
                </c:pt>
                <c:pt idx="2">
                  <c:v>Germany</c:v>
                </c:pt>
              </c:strCache>
            </c:strRef>
          </c:cat>
          <c:val>
            <c:numRef>
              <c:f>Лист1!$F$2:$F$4</c:f>
              <c:numCache>
                <c:formatCode>0%</c:formatCode>
                <c:ptCount val="3"/>
                <c:pt idx="0">
                  <c:v>7.0000000000000007E-2</c:v>
                </c:pt>
                <c:pt idx="1">
                  <c:v>0.15</c:v>
                </c:pt>
                <c:pt idx="2">
                  <c:v>0.28999999999999998</c:v>
                </c:pt>
              </c:numCache>
            </c:numRef>
          </c:val>
          <c:extLst>
            <c:ext xmlns:c16="http://schemas.microsoft.com/office/drawing/2014/chart" uri="{C3380CC4-5D6E-409C-BE32-E72D297353CC}">
              <c16:uniqueId val="{00000017-0064-4925-A86C-A89D70A48D75}"/>
            </c:ext>
          </c:extLst>
        </c:ser>
        <c:ser>
          <c:idx val="5"/>
          <c:order val="5"/>
          <c:tx>
            <c:strRef>
              <c:f>Лист1!$G$1</c:f>
              <c:strCache>
                <c:ptCount val="1"/>
                <c:pt idx="0">
                  <c:v>Growth more than 10%</c:v>
                </c:pt>
              </c:strCache>
            </c:strRef>
          </c:tx>
          <c:spPr>
            <a:solidFill>
              <a:srgbClr val="00B050"/>
            </a:solidFill>
            <a:ln>
              <a:noFill/>
            </a:ln>
            <a:effectLst>
              <a:outerShdw blurRad="50800" dist="127000" dir="8100000" algn="tr" rotWithShape="0">
                <a:prstClr val="black">
                  <a:alpha val="40000"/>
                </a:prstClr>
              </a:outerShdw>
            </a:effectLst>
          </c:spPr>
          <c:invertIfNegative val="0"/>
          <c:dLbls>
            <c:dLbl>
              <c:idx val="2"/>
              <c:delete val="1"/>
              <c:extLst>
                <c:ext xmlns:c15="http://schemas.microsoft.com/office/drawing/2012/chart" uri="{CE6537A1-D6FC-4f65-9D91-7224C49458BB}"/>
                <c:ext xmlns:c16="http://schemas.microsoft.com/office/drawing/2014/chart" uri="{C3380CC4-5D6E-409C-BE32-E72D297353CC}">
                  <c16:uniqueId val="{00000019-0064-4925-A86C-A89D70A48D75}"/>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bg1"/>
                    </a:solidFill>
                    <a:latin typeface="+mn-lt"/>
                    <a:ea typeface="+mn-ea"/>
                    <a:cs typeface="+mn-cs"/>
                  </a:defRPr>
                </a:pPr>
                <a:endParaRPr lang="ru-RU"/>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Лист1!$A$2:$A$4</c:f>
              <c:strCache>
                <c:ptCount val="3"/>
                <c:pt idx="0">
                  <c:v>Russia</c:v>
                </c:pt>
                <c:pt idx="1">
                  <c:v>UK</c:v>
                </c:pt>
                <c:pt idx="2">
                  <c:v>Germany</c:v>
                </c:pt>
              </c:strCache>
            </c:strRef>
          </c:cat>
          <c:val>
            <c:numRef>
              <c:f>Лист1!$G$2:$G$4</c:f>
              <c:numCache>
                <c:formatCode>0%</c:formatCode>
                <c:ptCount val="3"/>
                <c:pt idx="0">
                  <c:v>7.0000000000000007E-2</c:v>
                </c:pt>
                <c:pt idx="1">
                  <c:v>0</c:v>
                </c:pt>
                <c:pt idx="2">
                  <c:v>0</c:v>
                </c:pt>
              </c:numCache>
            </c:numRef>
          </c:val>
          <c:extLst>
            <c:ext xmlns:c16="http://schemas.microsoft.com/office/drawing/2014/chart" uri="{C3380CC4-5D6E-409C-BE32-E72D297353CC}">
              <c16:uniqueId val="{0000001C-0064-4925-A86C-A89D70A48D75}"/>
            </c:ext>
          </c:extLst>
        </c:ser>
        <c:dLbls>
          <c:showLegendKey val="0"/>
          <c:showVal val="0"/>
          <c:showCatName val="0"/>
          <c:showSerName val="0"/>
          <c:showPercent val="0"/>
          <c:showBubbleSize val="0"/>
        </c:dLbls>
        <c:gapWidth val="51"/>
        <c:overlap val="100"/>
        <c:axId val="636562752"/>
        <c:axId val="578420880"/>
      </c:barChart>
      <c:catAx>
        <c:axId val="636562752"/>
        <c:scaling>
          <c:orientation val="minMax"/>
        </c:scaling>
        <c:delete val="0"/>
        <c:axPos val="b"/>
        <c:numFmt formatCode="General" sourceLinked="1"/>
        <c:majorTickMark val="none"/>
        <c:minorTickMark val="none"/>
        <c:tickLblPos val="high"/>
        <c:spPr>
          <a:noFill/>
          <a:ln w="12700"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ru-RU"/>
          </a:p>
        </c:txPr>
        <c:crossAx val="578420880"/>
        <c:crosses val="autoZero"/>
        <c:auto val="1"/>
        <c:lblAlgn val="ctr"/>
        <c:lblOffset val="100"/>
        <c:noMultiLvlLbl val="0"/>
      </c:catAx>
      <c:valAx>
        <c:axId val="578420880"/>
        <c:scaling>
          <c:orientation val="minMax"/>
        </c:scaling>
        <c:delete val="1"/>
        <c:axPos val="l"/>
        <c:numFmt formatCode="0%" sourceLinked="1"/>
        <c:majorTickMark val="none"/>
        <c:minorTickMark val="none"/>
        <c:tickLblPos val="nextTo"/>
        <c:crossAx val="636562752"/>
        <c:crosses val="autoZero"/>
        <c:crossBetween val="between"/>
      </c:valAx>
      <c:spPr>
        <a:noFill/>
        <a:ln w="25400">
          <a:noFill/>
        </a:ln>
        <a:effectLst/>
      </c:spPr>
    </c:plotArea>
    <c:legend>
      <c:legendPos val="l"/>
      <c:layout>
        <c:manualLayout>
          <c:xMode val="edge"/>
          <c:yMode val="edge"/>
          <c:x val="0"/>
          <c:y val="0.19095419967579944"/>
          <c:w val="0.22386996211376825"/>
          <c:h val="0.56979387568819406"/>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ru-RU"/>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ru-RU"/>
    </a:p>
  </c:txPr>
  <c:externalData r:id="rId3">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20789654146376055"/>
          <c:y val="0.1111083873149938"/>
          <c:w val="0.75686962516623013"/>
          <c:h val="0.77193413066350081"/>
        </c:manualLayout>
      </c:layout>
      <c:barChart>
        <c:barDir val="bar"/>
        <c:grouping val="percentStacked"/>
        <c:varyColors val="0"/>
        <c:ser>
          <c:idx val="0"/>
          <c:order val="0"/>
          <c:tx>
            <c:strRef>
              <c:f>Лист1!$B$1</c:f>
              <c:strCache>
                <c:ptCount val="1"/>
                <c:pt idx="0">
                  <c:v>Q2</c:v>
                </c:pt>
              </c:strCache>
            </c:strRef>
          </c:tx>
          <c:spPr>
            <a:solidFill>
              <a:srgbClr val="00B050"/>
            </a:solidFill>
            <a:ln>
              <a:noFill/>
            </a:ln>
            <a:effectLst>
              <a:outerShdw blurRad="50800" dist="127000" dir="8100000" algn="tr" rotWithShape="0">
                <a:prstClr val="black">
                  <a:alpha val="40000"/>
                </a:prstClr>
              </a:outerShdw>
            </a:effectLst>
          </c:spPr>
          <c:invertIfNegative val="0"/>
          <c:dLbls>
            <c:dLbl>
              <c:idx val="2"/>
              <c:delete val="1"/>
              <c:extLst>
                <c:ext xmlns:c15="http://schemas.microsoft.com/office/drawing/2012/chart" uri="{CE6537A1-D6FC-4f65-9D91-7224C49458BB}"/>
                <c:ext xmlns:c16="http://schemas.microsoft.com/office/drawing/2014/chart" uri="{C3380CC4-5D6E-409C-BE32-E72D297353CC}">
                  <c16:uniqueId val="{00000000-A6E0-4069-94A6-B082D5FA0E42}"/>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ru-RU"/>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Лист1!$A$2:$A$4</c:f>
              <c:strCache>
                <c:ptCount val="3"/>
                <c:pt idx="0">
                  <c:v>Germany</c:v>
                </c:pt>
                <c:pt idx="1">
                  <c:v>UK     </c:v>
                </c:pt>
                <c:pt idx="2">
                  <c:v>Russia </c:v>
                </c:pt>
              </c:strCache>
            </c:strRef>
          </c:cat>
          <c:val>
            <c:numRef>
              <c:f>Лист1!$B$2:$B$4</c:f>
              <c:numCache>
                <c:formatCode>0%</c:formatCode>
                <c:ptCount val="3"/>
                <c:pt idx="0">
                  <c:v>7.0000000000000007E-2</c:v>
                </c:pt>
                <c:pt idx="1">
                  <c:v>0.04</c:v>
                </c:pt>
                <c:pt idx="2">
                  <c:v>0</c:v>
                </c:pt>
              </c:numCache>
            </c:numRef>
          </c:val>
          <c:extLst>
            <c:ext xmlns:c16="http://schemas.microsoft.com/office/drawing/2014/chart" uri="{C3380CC4-5D6E-409C-BE32-E72D297353CC}">
              <c16:uniqueId val="{00000000-29C0-4E3F-ACA6-3D14F0F6BCA4}"/>
            </c:ext>
          </c:extLst>
        </c:ser>
        <c:ser>
          <c:idx val="1"/>
          <c:order val="1"/>
          <c:tx>
            <c:strRef>
              <c:f>Лист1!$C$1</c:f>
              <c:strCache>
                <c:ptCount val="1"/>
                <c:pt idx="0">
                  <c:v>Q3</c:v>
                </c:pt>
              </c:strCache>
            </c:strRef>
          </c:tx>
          <c:spPr>
            <a:solidFill>
              <a:srgbClr val="92D050"/>
            </a:solidFill>
            <a:ln>
              <a:noFill/>
            </a:ln>
            <a:effectLst>
              <a:outerShdw blurRad="50800" dist="127000" dir="8100000" algn="tr" rotWithShape="0">
                <a:prstClr val="black">
                  <a:alpha val="40000"/>
                </a:prstClr>
              </a:outerShdw>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ru-RU"/>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Лист1!$A$2:$A$4</c:f>
              <c:strCache>
                <c:ptCount val="3"/>
                <c:pt idx="0">
                  <c:v>Germany</c:v>
                </c:pt>
                <c:pt idx="1">
                  <c:v>UK     </c:v>
                </c:pt>
                <c:pt idx="2">
                  <c:v>Russia </c:v>
                </c:pt>
              </c:strCache>
            </c:strRef>
          </c:cat>
          <c:val>
            <c:numRef>
              <c:f>Лист1!$C$2:$C$4</c:f>
              <c:numCache>
                <c:formatCode>0%</c:formatCode>
                <c:ptCount val="3"/>
                <c:pt idx="0">
                  <c:v>0.14000000000000001</c:v>
                </c:pt>
                <c:pt idx="1">
                  <c:v>0.12</c:v>
                </c:pt>
                <c:pt idx="2">
                  <c:v>0.43</c:v>
                </c:pt>
              </c:numCache>
            </c:numRef>
          </c:val>
          <c:extLst>
            <c:ext xmlns:c16="http://schemas.microsoft.com/office/drawing/2014/chart" uri="{C3380CC4-5D6E-409C-BE32-E72D297353CC}">
              <c16:uniqueId val="{00000001-29C0-4E3F-ACA6-3D14F0F6BCA4}"/>
            </c:ext>
          </c:extLst>
        </c:ser>
        <c:ser>
          <c:idx val="2"/>
          <c:order val="2"/>
          <c:tx>
            <c:strRef>
              <c:f>Лист1!$D$1</c:f>
              <c:strCache>
                <c:ptCount val="1"/>
                <c:pt idx="0">
                  <c:v>Q4</c:v>
                </c:pt>
              </c:strCache>
            </c:strRef>
          </c:tx>
          <c:spPr>
            <a:solidFill>
              <a:schemeClr val="accent4"/>
            </a:solidFill>
            <a:ln>
              <a:noFill/>
            </a:ln>
            <a:effectLst>
              <a:outerShdw blurRad="50800" dist="127000" dir="8100000" algn="tr" rotWithShape="0">
                <a:prstClr val="black">
                  <a:alpha val="40000"/>
                </a:prstClr>
              </a:outerShdw>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ru-RU"/>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Лист1!$A$2:$A$4</c:f>
              <c:strCache>
                <c:ptCount val="3"/>
                <c:pt idx="0">
                  <c:v>Germany</c:v>
                </c:pt>
                <c:pt idx="1">
                  <c:v>UK     </c:v>
                </c:pt>
                <c:pt idx="2">
                  <c:v>Russia </c:v>
                </c:pt>
              </c:strCache>
            </c:strRef>
          </c:cat>
          <c:val>
            <c:numRef>
              <c:f>Лист1!$D$2:$D$4</c:f>
              <c:numCache>
                <c:formatCode>0%</c:formatCode>
                <c:ptCount val="3"/>
                <c:pt idx="0">
                  <c:v>0.21</c:v>
                </c:pt>
                <c:pt idx="1">
                  <c:v>0.27</c:v>
                </c:pt>
                <c:pt idx="2">
                  <c:v>0.28999999999999998</c:v>
                </c:pt>
              </c:numCache>
            </c:numRef>
          </c:val>
          <c:extLst>
            <c:ext xmlns:c16="http://schemas.microsoft.com/office/drawing/2014/chart" uri="{C3380CC4-5D6E-409C-BE32-E72D297353CC}">
              <c16:uniqueId val="{00000002-29C0-4E3F-ACA6-3D14F0F6BCA4}"/>
            </c:ext>
          </c:extLst>
        </c:ser>
        <c:ser>
          <c:idx val="3"/>
          <c:order val="3"/>
          <c:tx>
            <c:strRef>
              <c:f>Лист1!$E$1</c:f>
              <c:strCache>
                <c:ptCount val="1"/>
                <c:pt idx="0">
                  <c:v>2021 or later</c:v>
                </c:pt>
              </c:strCache>
            </c:strRef>
          </c:tx>
          <c:spPr>
            <a:solidFill>
              <a:srgbClr val="C00000"/>
            </a:solidFill>
            <a:ln>
              <a:noFill/>
            </a:ln>
            <a:effectLst>
              <a:outerShdw blurRad="50800" dist="127000" dir="8100000" algn="tr" rotWithShape="0">
                <a:prstClr val="black">
                  <a:alpha val="40000"/>
                </a:prstClr>
              </a:outerShdw>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ru-RU"/>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Лист1!$A$2:$A$4</c:f>
              <c:strCache>
                <c:ptCount val="3"/>
                <c:pt idx="0">
                  <c:v>Germany</c:v>
                </c:pt>
                <c:pt idx="1">
                  <c:v>UK     </c:v>
                </c:pt>
                <c:pt idx="2">
                  <c:v>Russia </c:v>
                </c:pt>
              </c:strCache>
            </c:strRef>
          </c:cat>
          <c:val>
            <c:numRef>
              <c:f>Лист1!$E$2:$E$4</c:f>
              <c:numCache>
                <c:formatCode>0%</c:formatCode>
                <c:ptCount val="3"/>
                <c:pt idx="0">
                  <c:v>0.56999999999999995</c:v>
                </c:pt>
                <c:pt idx="1">
                  <c:v>0.57999999999999996</c:v>
                </c:pt>
                <c:pt idx="2">
                  <c:v>0.14000000000000001</c:v>
                </c:pt>
              </c:numCache>
            </c:numRef>
          </c:val>
          <c:extLst>
            <c:ext xmlns:c16="http://schemas.microsoft.com/office/drawing/2014/chart" uri="{C3380CC4-5D6E-409C-BE32-E72D297353CC}">
              <c16:uniqueId val="{00000003-29C0-4E3F-ACA6-3D14F0F6BCA4}"/>
            </c:ext>
          </c:extLst>
        </c:ser>
        <c:ser>
          <c:idx val="4"/>
          <c:order val="4"/>
          <c:tx>
            <c:strRef>
              <c:f>Лист1!$F$1</c:f>
              <c:strCache>
                <c:ptCount val="1"/>
                <c:pt idx="0">
                  <c:v>Never</c:v>
                </c:pt>
              </c:strCache>
            </c:strRef>
          </c:tx>
          <c:spPr>
            <a:solidFill>
              <a:schemeClr val="accent5"/>
            </a:solidFill>
            <a:ln>
              <a:noFill/>
            </a:ln>
            <a:effectLst>
              <a:outerShdw blurRad="50800" dist="127000" dir="8100000" algn="tr" rotWithShape="0">
                <a:prstClr val="black">
                  <a:alpha val="40000"/>
                </a:prstClr>
              </a:outerShdw>
            </a:effectLst>
          </c:spPr>
          <c:invertIfNegative val="0"/>
          <c:dLbls>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797F-4AD5-B1B6-671D6036DA0F}"/>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ru-RU"/>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Лист1!$A$2:$A$4</c:f>
              <c:strCache>
                <c:ptCount val="3"/>
                <c:pt idx="0">
                  <c:v>Germany</c:v>
                </c:pt>
                <c:pt idx="1">
                  <c:v>UK     </c:v>
                </c:pt>
                <c:pt idx="2">
                  <c:v>Russia </c:v>
                </c:pt>
              </c:strCache>
            </c:strRef>
          </c:cat>
          <c:val>
            <c:numRef>
              <c:f>Лист1!$F$2:$F$4</c:f>
              <c:numCache>
                <c:formatCode>0%</c:formatCode>
                <c:ptCount val="3"/>
                <c:pt idx="0">
                  <c:v>0</c:v>
                </c:pt>
                <c:pt idx="1">
                  <c:v>0</c:v>
                </c:pt>
                <c:pt idx="2">
                  <c:v>0.14000000000000001</c:v>
                </c:pt>
              </c:numCache>
            </c:numRef>
          </c:val>
          <c:extLst>
            <c:ext xmlns:c16="http://schemas.microsoft.com/office/drawing/2014/chart" uri="{C3380CC4-5D6E-409C-BE32-E72D297353CC}">
              <c16:uniqueId val="{00000004-29C0-4E3F-ACA6-3D14F0F6BCA4}"/>
            </c:ext>
          </c:extLst>
        </c:ser>
        <c:dLbls>
          <c:showLegendKey val="0"/>
          <c:showVal val="0"/>
          <c:showCatName val="0"/>
          <c:showSerName val="0"/>
          <c:showPercent val="0"/>
          <c:showBubbleSize val="0"/>
        </c:dLbls>
        <c:gapWidth val="150"/>
        <c:overlap val="100"/>
        <c:axId val="636562752"/>
        <c:axId val="578420880"/>
      </c:barChart>
      <c:catAx>
        <c:axId val="636562752"/>
        <c:scaling>
          <c:orientation val="minMax"/>
        </c:scaling>
        <c:delete val="0"/>
        <c:axPos val="l"/>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ru-RU"/>
          </a:p>
        </c:txPr>
        <c:crossAx val="578420880"/>
        <c:crosses val="autoZero"/>
        <c:auto val="1"/>
        <c:lblAlgn val="ctr"/>
        <c:lblOffset val="100"/>
        <c:noMultiLvlLbl val="0"/>
      </c:catAx>
      <c:valAx>
        <c:axId val="578420880"/>
        <c:scaling>
          <c:orientation val="minMax"/>
        </c:scaling>
        <c:delete val="1"/>
        <c:axPos val="b"/>
        <c:numFmt formatCode="0%" sourceLinked="1"/>
        <c:majorTickMark val="none"/>
        <c:minorTickMark val="none"/>
        <c:tickLblPos val="nextTo"/>
        <c:crossAx val="636562752"/>
        <c:crosses val="autoZero"/>
        <c:crossBetween val="between"/>
      </c:valAx>
      <c:spPr>
        <a:noFill/>
        <a:ln>
          <a:noFill/>
        </a:ln>
        <a:effectLst/>
      </c:spPr>
    </c:plotArea>
    <c:legend>
      <c:legendPos val="b"/>
      <c:layout>
        <c:manualLayout>
          <c:xMode val="edge"/>
          <c:yMode val="edge"/>
          <c:x val="0.28874047489715482"/>
          <c:y val="0.86027697150352256"/>
          <c:w val="0.59975304002754726"/>
          <c:h val="7.0736036428600157E-2"/>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ru-RU"/>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ru-RU"/>
    </a:p>
  </c:txPr>
  <c:externalData r:id="rId3">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6073368686685274"/>
          <c:y val="3.2088182302936585E-2"/>
          <c:w val="0.83673793139489261"/>
          <c:h val="0.85095416273208013"/>
        </c:manualLayout>
      </c:layout>
      <c:barChart>
        <c:barDir val="bar"/>
        <c:grouping val="percentStacked"/>
        <c:varyColors val="0"/>
        <c:ser>
          <c:idx val="0"/>
          <c:order val="0"/>
          <c:tx>
            <c:strRef>
              <c:f>Лист1!$B$1</c:f>
              <c:strCache>
                <c:ptCount val="1"/>
                <c:pt idx="0">
                  <c:v>Significantly decrease</c:v>
                </c:pt>
              </c:strCache>
            </c:strRef>
          </c:tx>
          <c:spPr>
            <a:solidFill>
              <a:srgbClr val="FF0000"/>
            </a:solidFill>
            <a:ln>
              <a:noFill/>
            </a:ln>
            <a:effectLst/>
          </c:spPr>
          <c:invertIfNegative val="0"/>
          <c:dLbls>
            <c:dLbl>
              <c:idx val="0"/>
              <c:delete val="1"/>
              <c:extLst>
                <c:ext xmlns:c15="http://schemas.microsoft.com/office/drawing/2012/chart" uri="{CE6537A1-D6FC-4f65-9D91-7224C49458BB}"/>
                <c:ext xmlns:c16="http://schemas.microsoft.com/office/drawing/2014/chart" uri="{C3380CC4-5D6E-409C-BE32-E72D297353CC}">
                  <c16:uniqueId val="{00000006-74B1-48D3-A4A4-FA02E733EE73}"/>
                </c:ext>
              </c:extLst>
            </c:dLbl>
            <c:dLbl>
              <c:idx val="1"/>
              <c:delete val="1"/>
              <c:extLst>
                <c:ext xmlns:c15="http://schemas.microsoft.com/office/drawing/2012/chart" uri="{CE6537A1-D6FC-4f65-9D91-7224C49458BB}"/>
                <c:ext xmlns:c16="http://schemas.microsoft.com/office/drawing/2014/chart" uri="{C3380CC4-5D6E-409C-BE32-E72D297353CC}">
                  <c16:uniqueId val="{00000005-74B1-48D3-A4A4-FA02E733EE73}"/>
                </c:ext>
              </c:extLst>
            </c:dLbl>
            <c:dLbl>
              <c:idx val="3"/>
              <c:delete val="1"/>
              <c:extLst>
                <c:ext xmlns:c15="http://schemas.microsoft.com/office/drawing/2012/chart" uri="{CE6537A1-D6FC-4f65-9D91-7224C49458BB}"/>
                <c:ext xmlns:c16="http://schemas.microsoft.com/office/drawing/2014/chart" uri="{C3380CC4-5D6E-409C-BE32-E72D297353CC}">
                  <c16:uniqueId val="{00000003-74B1-48D3-A4A4-FA02E733EE73}"/>
                </c:ext>
              </c:extLst>
            </c:dLbl>
            <c:dLbl>
              <c:idx val="6"/>
              <c:delete val="1"/>
              <c:extLst>
                <c:ext xmlns:c15="http://schemas.microsoft.com/office/drawing/2012/chart" uri="{CE6537A1-D6FC-4f65-9D91-7224C49458BB}"/>
                <c:ext xmlns:c16="http://schemas.microsoft.com/office/drawing/2014/chart" uri="{C3380CC4-5D6E-409C-BE32-E72D297353CC}">
                  <c16:uniqueId val="{00000001-74B1-48D3-A4A4-FA02E733EE73}"/>
                </c:ext>
              </c:extLst>
            </c:dLbl>
            <c:dLbl>
              <c:idx val="8"/>
              <c:delete val="1"/>
              <c:extLst>
                <c:ext xmlns:c15="http://schemas.microsoft.com/office/drawing/2012/chart" uri="{CE6537A1-D6FC-4f65-9D91-7224C49458BB}"/>
                <c:ext xmlns:c16="http://schemas.microsoft.com/office/drawing/2014/chart" uri="{C3380CC4-5D6E-409C-BE32-E72D297353CC}">
                  <c16:uniqueId val="{00000000-74B1-48D3-A4A4-FA02E733EE73}"/>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ru-RU"/>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Лист1!$A$2:$A$10</c:f>
              <c:strCache>
                <c:ptCount val="9"/>
                <c:pt idx="0">
                  <c:v>Payments in installments</c:v>
                </c:pt>
                <c:pt idx="1">
                  <c:v>Payments using credit / debit / contactless cards</c:v>
                </c:pt>
                <c:pt idx="2">
                  <c:v>Expenditure on high discretionary products</c:v>
                </c:pt>
                <c:pt idx="3">
                  <c:v>Purchase of local brands</c:v>
                </c:pt>
                <c:pt idx="4">
                  <c:v>Retailer loyalty</c:v>
                </c:pt>
                <c:pt idx="5">
                  <c:v>Brand loyalty</c:v>
                </c:pt>
                <c:pt idx="6">
                  <c:v>Price sensitivity</c:v>
                </c:pt>
                <c:pt idx="7">
                  <c:v>Offline shopping</c:v>
                </c:pt>
                <c:pt idx="8">
                  <c:v>Online shopping</c:v>
                </c:pt>
              </c:strCache>
            </c:strRef>
          </c:cat>
          <c:val>
            <c:numRef>
              <c:f>Лист1!$B$2:$B$10</c:f>
              <c:numCache>
                <c:formatCode>0%</c:formatCode>
                <c:ptCount val="9"/>
                <c:pt idx="0">
                  <c:v>0</c:v>
                </c:pt>
                <c:pt idx="1">
                  <c:v>0</c:v>
                </c:pt>
                <c:pt idx="2">
                  <c:v>4.2553191489361701E-2</c:v>
                </c:pt>
                <c:pt idx="3">
                  <c:v>0</c:v>
                </c:pt>
                <c:pt idx="4">
                  <c:v>4.2553191489361701E-2</c:v>
                </c:pt>
                <c:pt idx="5">
                  <c:v>2.1276595744680799E-2</c:v>
                </c:pt>
                <c:pt idx="6">
                  <c:v>0</c:v>
                </c:pt>
                <c:pt idx="7">
                  <c:v>0.12765957446808501</c:v>
                </c:pt>
                <c:pt idx="8">
                  <c:v>0</c:v>
                </c:pt>
              </c:numCache>
            </c:numRef>
          </c:val>
          <c:extLst>
            <c:ext xmlns:c16="http://schemas.microsoft.com/office/drawing/2014/chart" uri="{C3380CC4-5D6E-409C-BE32-E72D297353CC}">
              <c16:uniqueId val="{00000000-0B11-4E9F-A859-DCBBD5FB4337}"/>
            </c:ext>
          </c:extLst>
        </c:ser>
        <c:ser>
          <c:idx val="1"/>
          <c:order val="1"/>
          <c:tx>
            <c:strRef>
              <c:f>Лист1!$C$1</c:f>
              <c:strCache>
                <c:ptCount val="1"/>
                <c:pt idx="0">
                  <c:v>Somewhat decrease</c:v>
                </c:pt>
              </c:strCache>
            </c:strRef>
          </c:tx>
          <c:spPr>
            <a:solidFill>
              <a:schemeClr val="accent2"/>
            </a:solidFill>
            <a:ln>
              <a:noFill/>
            </a:ln>
            <a:effectLst>
              <a:outerShdw blurRad="50800" dist="127000" dir="8100000" algn="tr" rotWithShape="0">
                <a:prstClr val="black">
                  <a:alpha val="40000"/>
                </a:prstClr>
              </a:outerShdw>
            </a:effectLst>
          </c:spPr>
          <c:invertIfNegative val="0"/>
          <c:dLbls>
            <c:dLbl>
              <c:idx val="1"/>
              <c:delete val="1"/>
              <c:extLst>
                <c:ext xmlns:c15="http://schemas.microsoft.com/office/drawing/2012/chart" uri="{CE6537A1-D6FC-4f65-9D91-7224C49458BB}"/>
                <c:ext xmlns:c16="http://schemas.microsoft.com/office/drawing/2014/chart" uri="{C3380CC4-5D6E-409C-BE32-E72D297353CC}">
                  <c16:uniqueId val="{00000004-74B1-48D3-A4A4-FA02E733EE73}"/>
                </c:ext>
              </c:extLst>
            </c:dLbl>
            <c:dLbl>
              <c:idx val="3"/>
              <c:layout>
                <c:manualLayout>
                  <c:x val="5.6245311045427611E-3"/>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74B1-48D3-A4A4-FA02E733EE73}"/>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ru-RU"/>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Лист1!$A$2:$A$10</c:f>
              <c:strCache>
                <c:ptCount val="9"/>
                <c:pt idx="0">
                  <c:v>Payments in installments</c:v>
                </c:pt>
                <c:pt idx="1">
                  <c:v>Payments using credit / debit / contactless cards</c:v>
                </c:pt>
                <c:pt idx="2">
                  <c:v>Expenditure on high discretionary products</c:v>
                </c:pt>
                <c:pt idx="3">
                  <c:v>Purchase of local brands</c:v>
                </c:pt>
                <c:pt idx="4">
                  <c:v>Retailer loyalty</c:v>
                </c:pt>
                <c:pt idx="5">
                  <c:v>Brand loyalty</c:v>
                </c:pt>
                <c:pt idx="6">
                  <c:v>Price sensitivity</c:v>
                </c:pt>
                <c:pt idx="7">
                  <c:v>Offline shopping</c:v>
                </c:pt>
                <c:pt idx="8">
                  <c:v>Online shopping</c:v>
                </c:pt>
              </c:strCache>
            </c:strRef>
          </c:cat>
          <c:val>
            <c:numRef>
              <c:f>Лист1!$C$2:$C$10</c:f>
              <c:numCache>
                <c:formatCode>0%</c:formatCode>
                <c:ptCount val="9"/>
                <c:pt idx="0">
                  <c:v>4.2553191489361701E-2</c:v>
                </c:pt>
                <c:pt idx="1">
                  <c:v>0</c:v>
                </c:pt>
                <c:pt idx="2">
                  <c:v>0.44680851063829702</c:v>
                </c:pt>
                <c:pt idx="3">
                  <c:v>2.1276595744680799E-2</c:v>
                </c:pt>
                <c:pt idx="4">
                  <c:v>0.27659574468085102</c:v>
                </c:pt>
                <c:pt idx="5">
                  <c:v>0.25531914893617003</c:v>
                </c:pt>
                <c:pt idx="6">
                  <c:v>8.5106382978723402E-2</c:v>
                </c:pt>
                <c:pt idx="7">
                  <c:v>0.70212765957446799</c:v>
                </c:pt>
                <c:pt idx="8">
                  <c:v>4.2553191489361701E-2</c:v>
                </c:pt>
              </c:numCache>
            </c:numRef>
          </c:val>
          <c:extLst>
            <c:ext xmlns:c16="http://schemas.microsoft.com/office/drawing/2014/chart" uri="{C3380CC4-5D6E-409C-BE32-E72D297353CC}">
              <c16:uniqueId val="{00000001-0B11-4E9F-A859-DCBBD5FB4337}"/>
            </c:ext>
          </c:extLst>
        </c:ser>
        <c:ser>
          <c:idx val="2"/>
          <c:order val="2"/>
          <c:tx>
            <c:strRef>
              <c:f>Лист1!$D$1</c:f>
              <c:strCache>
                <c:ptCount val="1"/>
                <c:pt idx="0">
                  <c:v>Remain the same</c:v>
                </c:pt>
              </c:strCache>
            </c:strRef>
          </c:tx>
          <c:spPr>
            <a:solidFill>
              <a:srgbClr val="FFC000"/>
            </a:solidFill>
            <a:ln>
              <a:noFill/>
            </a:ln>
            <a:effectLst>
              <a:outerShdw blurRad="50800" dist="127000" dir="8100000" algn="tr" rotWithShape="0">
                <a:prstClr val="black">
                  <a:alpha val="40000"/>
                </a:prstClr>
              </a:outerShdw>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ru-RU"/>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Лист1!$A$2:$A$10</c:f>
              <c:strCache>
                <c:ptCount val="9"/>
                <c:pt idx="0">
                  <c:v>Payments in installments</c:v>
                </c:pt>
                <c:pt idx="1">
                  <c:v>Payments using credit / debit / contactless cards</c:v>
                </c:pt>
                <c:pt idx="2">
                  <c:v>Expenditure on high discretionary products</c:v>
                </c:pt>
                <c:pt idx="3">
                  <c:v>Purchase of local brands</c:v>
                </c:pt>
                <c:pt idx="4">
                  <c:v>Retailer loyalty</c:v>
                </c:pt>
                <c:pt idx="5">
                  <c:v>Brand loyalty</c:v>
                </c:pt>
                <c:pt idx="6">
                  <c:v>Price sensitivity</c:v>
                </c:pt>
                <c:pt idx="7">
                  <c:v>Offline shopping</c:v>
                </c:pt>
                <c:pt idx="8">
                  <c:v>Online shopping</c:v>
                </c:pt>
              </c:strCache>
            </c:strRef>
          </c:cat>
          <c:val>
            <c:numRef>
              <c:f>Лист1!$D$2:$D$10</c:f>
              <c:numCache>
                <c:formatCode>0%</c:formatCode>
                <c:ptCount val="9"/>
                <c:pt idx="0">
                  <c:v>0.38297872340425498</c:v>
                </c:pt>
                <c:pt idx="1">
                  <c:v>0.10638297872340401</c:v>
                </c:pt>
                <c:pt idx="2">
                  <c:v>0.36170212765957399</c:v>
                </c:pt>
                <c:pt idx="3">
                  <c:v>0.40425531914893598</c:v>
                </c:pt>
                <c:pt idx="4">
                  <c:v>0.42553191489361702</c:v>
                </c:pt>
                <c:pt idx="5">
                  <c:v>0.44680851063829702</c:v>
                </c:pt>
                <c:pt idx="6">
                  <c:v>0.29787234042553101</c:v>
                </c:pt>
                <c:pt idx="7">
                  <c:v>0.12765957446808501</c:v>
                </c:pt>
                <c:pt idx="8">
                  <c:v>4.2553191489361701E-2</c:v>
                </c:pt>
              </c:numCache>
            </c:numRef>
          </c:val>
          <c:extLst>
            <c:ext xmlns:c16="http://schemas.microsoft.com/office/drawing/2014/chart" uri="{C3380CC4-5D6E-409C-BE32-E72D297353CC}">
              <c16:uniqueId val="{00000002-0B11-4E9F-A859-DCBBD5FB4337}"/>
            </c:ext>
          </c:extLst>
        </c:ser>
        <c:ser>
          <c:idx val="3"/>
          <c:order val="3"/>
          <c:tx>
            <c:strRef>
              <c:f>Лист1!$E$1</c:f>
              <c:strCache>
                <c:ptCount val="1"/>
                <c:pt idx="0">
                  <c:v>Somewhat increase</c:v>
                </c:pt>
              </c:strCache>
            </c:strRef>
          </c:tx>
          <c:spPr>
            <a:solidFill>
              <a:srgbClr val="92D050"/>
            </a:solidFill>
            <a:ln>
              <a:noFill/>
            </a:ln>
            <a:effectLst>
              <a:outerShdw blurRad="50800" dist="127000" dir="8100000" algn="tr" rotWithShape="0">
                <a:prstClr val="black">
                  <a:alpha val="40000"/>
                </a:prstClr>
              </a:outerShdw>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ru-RU"/>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Лист1!$A$2:$A$10</c:f>
              <c:strCache>
                <c:ptCount val="9"/>
                <c:pt idx="0">
                  <c:v>Payments in installments</c:v>
                </c:pt>
                <c:pt idx="1">
                  <c:v>Payments using credit / debit / contactless cards</c:v>
                </c:pt>
                <c:pt idx="2">
                  <c:v>Expenditure on high discretionary products</c:v>
                </c:pt>
                <c:pt idx="3">
                  <c:v>Purchase of local brands</c:v>
                </c:pt>
                <c:pt idx="4">
                  <c:v>Retailer loyalty</c:v>
                </c:pt>
                <c:pt idx="5">
                  <c:v>Brand loyalty</c:v>
                </c:pt>
                <c:pt idx="6">
                  <c:v>Price sensitivity</c:v>
                </c:pt>
                <c:pt idx="7">
                  <c:v>Offline shopping</c:v>
                </c:pt>
                <c:pt idx="8">
                  <c:v>Online shopping</c:v>
                </c:pt>
              </c:strCache>
            </c:strRef>
          </c:cat>
          <c:val>
            <c:numRef>
              <c:f>Лист1!$E$2:$E$10</c:f>
              <c:numCache>
                <c:formatCode>0%</c:formatCode>
                <c:ptCount val="9"/>
                <c:pt idx="0">
                  <c:v>0.51063829787234005</c:v>
                </c:pt>
                <c:pt idx="1">
                  <c:v>0.40425531914893598</c:v>
                </c:pt>
                <c:pt idx="2">
                  <c:v>0.12765957446808501</c:v>
                </c:pt>
                <c:pt idx="3">
                  <c:v>0.53191489361702105</c:v>
                </c:pt>
                <c:pt idx="4">
                  <c:v>0.23404255319148901</c:v>
                </c:pt>
                <c:pt idx="5">
                  <c:v>0.23404255319148901</c:v>
                </c:pt>
                <c:pt idx="6">
                  <c:v>0.46808510638297801</c:v>
                </c:pt>
                <c:pt idx="7">
                  <c:v>2.1276595744680799E-2</c:v>
                </c:pt>
                <c:pt idx="8">
                  <c:v>0.42553191489361702</c:v>
                </c:pt>
              </c:numCache>
            </c:numRef>
          </c:val>
          <c:extLst>
            <c:ext xmlns:c16="http://schemas.microsoft.com/office/drawing/2014/chart" uri="{C3380CC4-5D6E-409C-BE32-E72D297353CC}">
              <c16:uniqueId val="{00000003-0B11-4E9F-A859-DCBBD5FB4337}"/>
            </c:ext>
          </c:extLst>
        </c:ser>
        <c:ser>
          <c:idx val="4"/>
          <c:order val="4"/>
          <c:tx>
            <c:strRef>
              <c:f>Лист1!$F$1</c:f>
              <c:strCache>
                <c:ptCount val="1"/>
                <c:pt idx="0">
                  <c:v>Significantly increase</c:v>
                </c:pt>
              </c:strCache>
            </c:strRef>
          </c:tx>
          <c:spPr>
            <a:solidFill>
              <a:srgbClr val="00B050"/>
            </a:solidFill>
            <a:ln>
              <a:noFill/>
            </a:ln>
            <a:effectLst>
              <a:outerShdw blurRad="50800" dist="127000" dir="8100000" algn="tr" rotWithShape="0">
                <a:prstClr val="black">
                  <a:alpha val="40000"/>
                </a:prstClr>
              </a:outerShdw>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ru-RU"/>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Лист1!$A$2:$A$10</c:f>
              <c:strCache>
                <c:ptCount val="9"/>
                <c:pt idx="0">
                  <c:v>Payments in installments</c:v>
                </c:pt>
                <c:pt idx="1">
                  <c:v>Payments using credit / debit / contactless cards</c:v>
                </c:pt>
                <c:pt idx="2">
                  <c:v>Expenditure on high discretionary products</c:v>
                </c:pt>
                <c:pt idx="3">
                  <c:v>Purchase of local brands</c:v>
                </c:pt>
                <c:pt idx="4">
                  <c:v>Retailer loyalty</c:v>
                </c:pt>
                <c:pt idx="5">
                  <c:v>Brand loyalty</c:v>
                </c:pt>
                <c:pt idx="6">
                  <c:v>Price sensitivity</c:v>
                </c:pt>
                <c:pt idx="7">
                  <c:v>Offline shopping</c:v>
                </c:pt>
                <c:pt idx="8">
                  <c:v>Online shopping</c:v>
                </c:pt>
              </c:strCache>
            </c:strRef>
          </c:cat>
          <c:val>
            <c:numRef>
              <c:f>Лист1!$F$2:$F$10</c:f>
              <c:numCache>
                <c:formatCode>0%</c:formatCode>
                <c:ptCount val="9"/>
                <c:pt idx="0">
                  <c:v>6.3829787234042507E-2</c:v>
                </c:pt>
                <c:pt idx="1">
                  <c:v>0.489361702127659</c:v>
                </c:pt>
                <c:pt idx="2">
                  <c:v>2.1276595744680799E-2</c:v>
                </c:pt>
                <c:pt idx="3">
                  <c:v>4.2553191489361701E-2</c:v>
                </c:pt>
                <c:pt idx="4">
                  <c:v>2.1276595744680799E-2</c:v>
                </c:pt>
                <c:pt idx="5">
                  <c:v>4.2553191489361701E-2</c:v>
                </c:pt>
                <c:pt idx="6">
                  <c:v>0.14893617021276501</c:v>
                </c:pt>
                <c:pt idx="7">
                  <c:v>2.1276595744680799E-2</c:v>
                </c:pt>
                <c:pt idx="8">
                  <c:v>0.489361702127659</c:v>
                </c:pt>
              </c:numCache>
            </c:numRef>
          </c:val>
          <c:extLst>
            <c:ext xmlns:c16="http://schemas.microsoft.com/office/drawing/2014/chart" uri="{C3380CC4-5D6E-409C-BE32-E72D297353CC}">
              <c16:uniqueId val="{00000004-0B11-4E9F-A859-DCBBD5FB4337}"/>
            </c:ext>
          </c:extLst>
        </c:ser>
        <c:dLbls>
          <c:showLegendKey val="0"/>
          <c:showVal val="0"/>
          <c:showCatName val="0"/>
          <c:showSerName val="0"/>
          <c:showPercent val="0"/>
          <c:showBubbleSize val="0"/>
        </c:dLbls>
        <c:gapWidth val="57"/>
        <c:overlap val="100"/>
        <c:axId val="636562752"/>
        <c:axId val="578420880"/>
      </c:barChart>
      <c:catAx>
        <c:axId val="636562752"/>
        <c:scaling>
          <c:orientation val="minMax"/>
        </c:scaling>
        <c:delete val="0"/>
        <c:axPos val="l"/>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ru-RU"/>
          </a:p>
        </c:txPr>
        <c:crossAx val="578420880"/>
        <c:crosses val="autoZero"/>
        <c:auto val="1"/>
        <c:lblAlgn val="ctr"/>
        <c:lblOffset val="100"/>
        <c:noMultiLvlLbl val="0"/>
      </c:catAx>
      <c:valAx>
        <c:axId val="578420880"/>
        <c:scaling>
          <c:orientation val="minMax"/>
        </c:scaling>
        <c:delete val="1"/>
        <c:axPos val="b"/>
        <c:numFmt formatCode="0%" sourceLinked="1"/>
        <c:majorTickMark val="none"/>
        <c:minorTickMark val="none"/>
        <c:tickLblPos val="nextTo"/>
        <c:crossAx val="636562752"/>
        <c:crosses val="autoZero"/>
        <c:crossBetween val="between"/>
      </c:valAx>
      <c:spPr>
        <a:noFill/>
        <a:ln>
          <a:noFill/>
        </a:ln>
        <a:effectLst/>
      </c:spPr>
    </c:plotArea>
    <c:legend>
      <c:legendPos val="b"/>
      <c:layout>
        <c:manualLayout>
          <c:xMode val="edge"/>
          <c:yMode val="edge"/>
          <c:x val="0.14946908723506452"/>
          <c:y val="0.8497827053391851"/>
          <c:w val="0.84961797236943404"/>
          <c:h val="0.13622493977503156"/>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ru-RU"/>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ru-RU"/>
    </a:p>
  </c:txPr>
  <c:externalData r:id="rId3">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2108356068223572E-2"/>
          <c:y val="8.3823591841650863E-2"/>
          <c:w val="0.9522819080452094"/>
          <c:h val="0.57627860164208689"/>
        </c:manualLayout>
      </c:layout>
      <c:lineChart>
        <c:grouping val="standard"/>
        <c:varyColors val="0"/>
        <c:ser>
          <c:idx val="0"/>
          <c:order val="0"/>
          <c:tx>
            <c:strRef>
              <c:f>Лист1!$B$1</c:f>
              <c:strCache>
                <c:ptCount val="1"/>
                <c:pt idx="0">
                  <c:v>Grand Total</c:v>
                </c:pt>
              </c:strCache>
            </c:strRef>
          </c:tx>
          <c:spPr>
            <a:ln w="28575" cap="rnd">
              <a:solidFill>
                <a:srgbClr val="92D050"/>
              </a:solidFill>
              <a:round/>
            </a:ln>
            <a:effectLst/>
          </c:spPr>
          <c:marker>
            <c:symbol val="none"/>
          </c:marker>
          <c:cat>
            <c:strRef>
              <c:f>Лист1!$A$2:$A$24</c:f>
              <c:strCache>
                <c:ptCount val="23"/>
                <c:pt idx="0">
                  <c:v>w1</c:v>
                </c:pt>
                <c:pt idx="1">
                  <c:v>w2</c:v>
                </c:pt>
                <c:pt idx="2">
                  <c:v>w3</c:v>
                </c:pt>
                <c:pt idx="3">
                  <c:v>w4</c:v>
                </c:pt>
                <c:pt idx="4">
                  <c:v>w5</c:v>
                </c:pt>
                <c:pt idx="5">
                  <c:v>w6</c:v>
                </c:pt>
                <c:pt idx="6">
                  <c:v>w7</c:v>
                </c:pt>
                <c:pt idx="7">
                  <c:v>w8</c:v>
                </c:pt>
                <c:pt idx="8">
                  <c:v>w9</c:v>
                </c:pt>
                <c:pt idx="9">
                  <c:v>w10</c:v>
                </c:pt>
                <c:pt idx="10">
                  <c:v>w11</c:v>
                </c:pt>
                <c:pt idx="11">
                  <c:v>w12</c:v>
                </c:pt>
                <c:pt idx="12">
                  <c:v>w13</c:v>
                </c:pt>
                <c:pt idx="13">
                  <c:v>w14</c:v>
                </c:pt>
                <c:pt idx="14">
                  <c:v>w15</c:v>
                </c:pt>
                <c:pt idx="15">
                  <c:v>w16</c:v>
                </c:pt>
                <c:pt idx="16">
                  <c:v>w17</c:v>
                </c:pt>
                <c:pt idx="17">
                  <c:v>w18</c:v>
                </c:pt>
                <c:pt idx="18">
                  <c:v>w19</c:v>
                </c:pt>
                <c:pt idx="19">
                  <c:v>w20</c:v>
                </c:pt>
                <c:pt idx="20">
                  <c:v>w21</c:v>
                </c:pt>
                <c:pt idx="21">
                  <c:v>w22</c:v>
                </c:pt>
                <c:pt idx="22">
                  <c:v>w23</c:v>
                </c:pt>
              </c:strCache>
            </c:strRef>
          </c:cat>
          <c:val>
            <c:numRef>
              <c:f>Лист1!$B$2:$B$24</c:f>
              <c:numCache>
                <c:formatCode>#,##0</c:formatCode>
                <c:ptCount val="23"/>
                <c:pt idx="0">
                  <c:v>51.123221340000001</c:v>
                </c:pt>
                <c:pt idx="1">
                  <c:v>7.7714915769999999</c:v>
                </c:pt>
                <c:pt idx="2">
                  <c:v>2.5655670850000001</c:v>
                </c:pt>
                <c:pt idx="3">
                  <c:v>8.8092811980000008</c:v>
                </c:pt>
                <c:pt idx="4">
                  <c:v>16.239315233999999</c:v>
                </c:pt>
                <c:pt idx="5">
                  <c:v>9.1287466649999995</c:v>
                </c:pt>
                <c:pt idx="6">
                  <c:v>12.195776351999999</c:v>
                </c:pt>
                <c:pt idx="7">
                  <c:v>7.2329896160000002</c:v>
                </c:pt>
                <c:pt idx="8">
                  <c:v>5.3106628369999997</c:v>
                </c:pt>
                <c:pt idx="9">
                  <c:v>3.0255915180000001</c:v>
                </c:pt>
                <c:pt idx="10">
                  <c:v>57.662342594000002</c:v>
                </c:pt>
                <c:pt idx="11">
                  <c:v>60.864365204000002</c:v>
                </c:pt>
                <c:pt idx="12">
                  <c:v>32.916360345999998</c:v>
                </c:pt>
                <c:pt idx="13">
                  <c:v>-39.211123639</c:v>
                </c:pt>
                <c:pt idx="14">
                  <c:v>-23.242900724999998</c:v>
                </c:pt>
                <c:pt idx="15">
                  <c:v>-11.647888896</c:v>
                </c:pt>
                <c:pt idx="16">
                  <c:v>0.95447246900000005</c:v>
                </c:pt>
                <c:pt idx="17">
                  <c:v>4.3518586209999999</c:v>
                </c:pt>
                <c:pt idx="18">
                  <c:v>-1.6378537200000001</c:v>
                </c:pt>
                <c:pt idx="19">
                  <c:v>1.241374266</c:v>
                </c:pt>
                <c:pt idx="20">
                  <c:v>6.7269505690000004</c:v>
                </c:pt>
                <c:pt idx="21">
                  <c:v>5.9111985139999996</c:v>
                </c:pt>
                <c:pt idx="22">
                  <c:v>22.435928427</c:v>
                </c:pt>
              </c:numCache>
            </c:numRef>
          </c:val>
          <c:smooth val="0"/>
          <c:extLst>
            <c:ext xmlns:c16="http://schemas.microsoft.com/office/drawing/2014/chart" uri="{C3380CC4-5D6E-409C-BE32-E72D297353CC}">
              <c16:uniqueId val="{00000000-A0BD-4829-81BB-29D4092C600F}"/>
            </c:ext>
          </c:extLst>
        </c:ser>
        <c:ser>
          <c:idx val="1"/>
          <c:order val="1"/>
          <c:tx>
            <c:strRef>
              <c:f>Лист1!$C$1</c:f>
              <c:strCache>
                <c:ptCount val="1"/>
                <c:pt idx="0">
                  <c:v>Home&amp;Lifestyle</c:v>
                </c:pt>
              </c:strCache>
            </c:strRef>
          </c:tx>
          <c:spPr>
            <a:ln w="28575" cap="rnd">
              <a:solidFill>
                <a:schemeClr val="accent4"/>
              </a:solidFill>
              <a:round/>
            </a:ln>
            <a:effectLst/>
          </c:spPr>
          <c:marker>
            <c:symbol val="none"/>
          </c:marker>
          <c:dLbls>
            <c:dLbl>
              <c:idx val="11"/>
              <c:layout>
                <c:manualLayout>
                  <c:x val="-4.4877887092536614E-3"/>
                  <c:y val="-3.7425251504037214E-2"/>
                </c:manualLayout>
              </c:layout>
              <c:tx>
                <c:rich>
                  <a:bodyPr/>
                  <a:lstStyle/>
                  <a:p>
                    <a:r>
                      <a:rPr lang="en-US" dirty="0"/>
                      <a:t>+</a:t>
                    </a:r>
                    <a:fld id="{439A4499-EDC6-46BA-884B-FEB5D8F789C2}" type="VALUE">
                      <a:rPr lang="en-US" smtClean="0"/>
                      <a:pPr/>
                      <a:t>[ЗНАЧЕНИЕ]</a:t>
                    </a:fld>
                    <a:endParaRPr lang="en-US" dirty="0"/>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2-458C-4826-A635-86BEF155EE94}"/>
                </c:ext>
              </c:extLst>
            </c:dLbl>
            <c:spPr>
              <a:noFill/>
              <a:ln>
                <a:noFill/>
              </a:ln>
              <a:effectLst/>
            </c:spPr>
            <c:txPr>
              <a:bodyPr rot="0" spcFirstLastPara="1" vertOverflow="ellipsis" vert="horz" wrap="square" lIns="38100" tIns="19050" rIns="38100" bIns="19050" anchor="ctr" anchorCtr="1">
                <a:spAutoFit/>
              </a:bodyPr>
              <a:lstStyle/>
              <a:p>
                <a:pPr>
                  <a:defRPr sz="2000" b="0" i="0" u="none" strike="noStrike" kern="1200" baseline="0">
                    <a:solidFill>
                      <a:srgbClr val="00B050"/>
                    </a:solidFill>
                    <a:latin typeface="+mn-lt"/>
                    <a:ea typeface="+mn-ea"/>
                    <a:cs typeface="+mn-cs"/>
                  </a:defRPr>
                </a:pPr>
                <a:endParaRPr lang="ru-RU"/>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Лист1!$A$2:$A$24</c:f>
              <c:strCache>
                <c:ptCount val="23"/>
                <c:pt idx="0">
                  <c:v>w1</c:v>
                </c:pt>
                <c:pt idx="1">
                  <c:v>w2</c:v>
                </c:pt>
                <c:pt idx="2">
                  <c:v>w3</c:v>
                </c:pt>
                <c:pt idx="3">
                  <c:v>w4</c:v>
                </c:pt>
                <c:pt idx="4">
                  <c:v>w5</c:v>
                </c:pt>
                <c:pt idx="5">
                  <c:v>w6</c:v>
                </c:pt>
                <c:pt idx="6">
                  <c:v>w7</c:v>
                </c:pt>
                <c:pt idx="7">
                  <c:v>w8</c:v>
                </c:pt>
                <c:pt idx="8">
                  <c:v>w9</c:v>
                </c:pt>
                <c:pt idx="9">
                  <c:v>w10</c:v>
                </c:pt>
                <c:pt idx="10">
                  <c:v>w11</c:v>
                </c:pt>
                <c:pt idx="11">
                  <c:v>w12</c:v>
                </c:pt>
                <c:pt idx="12">
                  <c:v>w13</c:v>
                </c:pt>
                <c:pt idx="13">
                  <c:v>w14</c:v>
                </c:pt>
                <c:pt idx="14">
                  <c:v>w15</c:v>
                </c:pt>
                <c:pt idx="15">
                  <c:v>w16</c:v>
                </c:pt>
                <c:pt idx="16">
                  <c:v>w17</c:v>
                </c:pt>
                <c:pt idx="17">
                  <c:v>w18</c:v>
                </c:pt>
                <c:pt idx="18">
                  <c:v>w19</c:v>
                </c:pt>
                <c:pt idx="19">
                  <c:v>w20</c:v>
                </c:pt>
                <c:pt idx="20">
                  <c:v>w21</c:v>
                </c:pt>
                <c:pt idx="21">
                  <c:v>w22</c:v>
                </c:pt>
                <c:pt idx="22">
                  <c:v>w23</c:v>
                </c:pt>
              </c:strCache>
            </c:strRef>
          </c:cat>
          <c:val>
            <c:numRef>
              <c:f>Лист1!$C$2:$C$24</c:f>
              <c:numCache>
                <c:formatCode>#,##0</c:formatCode>
                <c:ptCount val="23"/>
                <c:pt idx="0">
                  <c:v>27.143532015000002</c:v>
                </c:pt>
                <c:pt idx="1">
                  <c:v>5.3551057860000002</c:v>
                </c:pt>
                <c:pt idx="2">
                  <c:v>3.1604341109999998</c:v>
                </c:pt>
                <c:pt idx="3">
                  <c:v>9.9663175370000001</c:v>
                </c:pt>
                <c:pt idx="4">
                  <c:v>25.255625738999999</c:v>
                </c:pt>
                <c:pt idx="5">
                  <c:v>17.274004326</c:v>
                </c:pt>
                <c:pt idx="6">
                  <c:v>23.351212038</c:v>
                </c:pt>
                <c:pt idx="7">
                  <c:v>14.381870397</c:v>
                </c:pt>
                <c:pt idx="8">
                  <c:v>12.793018685</c:v>
                </c:pt>
                <c:pt idx="9">
                  <c:v>11.460078080000001</c:v>
                </c:pt>
                <c:pt idx="10">
                  <c:v>80.165615915000004</c:v>
                </c:pt>
                <c:pt idx="11">
                  <c:v>82.615151648999998</c:v>
                </c:pt>
                <c:pt idx="12">
                  <c:v>41.910820608000002</c:v>
                </c:pt>
                <c:pt idx="13">
                  <c:v>-40.991882494000002</c:v>
                </c:pt>
                <c:pt idx="14">
                  <c:v>-30.680805118999999</c:v>
                </c:pt>
                <c:pt idx="15">
                  <c:v>-13.1731208</c:v>
                </c:pt>
                <c:pt idx="16">
                  <c:v>1.9395504969999999</c:v>
                </c:pt>
                <c:pt idx="17">
                  <c:v>3.9389888480000002</c:v>
                </c:pt>
                <c:pt idx="18">
                  <c:v>1.5875680480000001</c:v>
                </c:pt>
                <c:pt idx="19">
                  <c:v>4.2875211090000001</c:v>
                </c:pt>
                <c:pt idx="20">
                  <c:v>13.494149784999999</c:v>
                </c:pt>
                <c:pt idx="21">
                  <c:v>8.1693083420000008</c:v>
                </c:pt>
                <c:pt idx="22">
                  <c:v>13.396206192999999</c:v>
                </c:pt>
              </c:numCache>
            </c:numRef>
          </c:val>
          <c:smooth val="0"/>
          <c:extLst>
            <c:ext xmlns:c16="http://schemas.microsoft.com/office/drawing/2014/chart" uri="{C3380CC4-5D6E-409C-BE32-E72D297353CC}">
              <c16:uniqueId val="{00000001-A0BD-4829-81BB-29D4092C600F}"/>
            </c:ext>
          </c:extLst>
        </c:ser>
        <c:ser>
          <c:idx val="2"/>
          <c:order val="2"/>
          <c:tx>
            <c:strRef>
              <c:f>Лист1!$D$1</c:f>
              <c:strCache>
                <c:ptCount val="1"/>
                <c:pt idx="0">
                  <c:v>Digital</c:v>
                </c:pt>
              </c:strCache>
            </c:strRef>
          </c:tx>
          <c:spPr>
            <a:ln w="28575" cap="rnd">
              <a:solidFill>
                <a:srgbClr val="FF0000"/>
              </a:solidFill>
              <a:round/>
            </a:ln>
            <a:effectLst/>
          </c:spPr>
          <c:marker>
            <c:symbol val="none"/>
          </c:marker>
          <c:dLbls>
            <c:dLbl>
              <c:idx val="13"/>
              <c:layout>
                <c:manualLayout>
                  <c:x val="2.9170626610148718E-2"/>
                  <c:y val="5.7577310006210044E-3"/>
                </c:manualLayout>
              </c:layout>
              <c:spPr>
                <a:noFill/>
                <a:ln>
                  <a:noFill/>
                </a:ln>
                <a:effectLst/>
              </c:spPr>
              <c:txPr>
                <a:bodyPr rot="0" spcFirstLastPara="1" vertOverflow="ellipsis" vert="horz" wrap="square" lIns="38100" tIns="19050" rIns="38100" bIns="19050" anchor="ctr" anchorCtr="1">
                  <a:spAutoFit/>
                </a:bodyPr>
                <a:lstStyle/>
                <a:p>
                  <a:pPr>
                    <a:defRPr sz="2000" b="0" i="0" u="none" strike="noStrike" kern="1200" baseline="0">
                      <a:solidFill>
                        <a:srgbClr val="C00000"/>
                      </a:solidFill>
                      <a:latin typeface="+mn-lt"/>
                      <a:ea typeface="+mn-ea"/>
                      <a:cs typeface="+mn-cs"/>
                    </a:defRPr>
                  </a:pPr>
                  <a:endParaRPr lang="ru-RU"/>
                </a:p>
              </c:txP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458C-4826-A635-86BEF155EE94}"/>
                </c:ext>
              </c:extLst>
            </c:dLbl>
            <c:dLbl>
              <c:idx val="22"/>
              <c:layout>
                <c:manualLayout>
                  <c:x val="-7.8536302411939072E-3"/>
                  <c:y val="-6.04561755065217E-2"/>
                </c:manualLayout>
              </c:layout>
              <c:tx>
                <c:rich>
                  <a:bodyPr rot="0" spcFirstLastPara="1" vertOverflow="ellipsis" vert="horz" wrap="square" lIns="38100" tIns="19050" rIns="38100" bIns="19050" anchor="ctr" anchorCtr="1">
                    <a:spAutoFit/>
                  </a:bodyPr>
                  <a:lstStyle/>
                  <a:p>
                    <a:pPr>
                      <a:defRPr sz="2000" b="0" i="0" u="none" strike="noStrike" kern="1200" baseline="0">
                        <a:solidFill>
                          <a:srgbClr val="00B050"/>
                        </a:solidFill>
                        <a:latin typeface="+mn-lt"/>
                        <a:ea typeface="+mn-ea"/>
                        <a:cs typeface="+mn-cs"/>
                      </a:defRPr>
                    </a:pPr>
                    <a:r>
                      <a:rPr lang="en-US" dirty="0">
                        <a:solidFill>
                          <a:srgbClr val="00B050"/>
                        </a:solidFill>
                      </a:rPr>
                      <a:t>+</a:t>
                    </a:r>
                    <a:fld id="{FB5647CC-BD1F-4803-ADB7-62D2843D9C96}" type="VALUE">
                      <a:rPr lang="en-US" smtClean="0">
                        <a:solidFill>
                          <a:srgbClr val="00B050"/>
                        </a:solidFill>
                      </a:rPr>
                      <a:pPr>
                        <a:defRPr sz="2000">
                          <a:solidFill>
                            <a:srgbClr val="00B050"/>
                          </a:solidFill>
                        </a:defRPr>
                      </a:pPr>
                      <a:t>[ЗНАЧЕНИЕ]</a:t>
                    </a:fld>
                    <a:endParaRPr lang="en-US" dirty="0">
                      <a:solidFill>
                        <a:srgbClr val="00B050"/>
                      </a:solidFill>
                    </a:endParaRPr>
                  </a:p>
                </c:rich>
              </c:tx>
              <c:spPr>
                <a:noFill/>
                <a:ln>
                  <a:noFill/>
                </a:ln>
                <a:effectLst/>
              </c:spPr>
              <c:txPr>
                <a:bodyPr rot="0" spcFirstLastPara="1" vertOverflow="ellipsis" vert="horz" wrap="square" lIns="38100" tIns="19050" rIns="38100" bIns="19050" anchor="ctr" anchorCtr="1">
                  <a:spAutoFit/>
                </a:bodyPr>
                <a:lstStyle/>
                <a:p>
                  <a:pPr>
                    <a:defRPr sz="2000" b="0" i="0" u="none" strike="noStrike" kern="1200" baseline="0">
                      <a:solidFill>
                        <a:srgbClr val="00B050"/>
                      </a:solidFill>
                      <a:latin typeface="+mn-lt"/>
                      <a:ea typeface="+mn-ea"/>
                      <a:cs typeface="+mn-cs"/>
                    </a:defRPr>
                  </a:pPr>
                  <a:endParaRPr lang="ru-RU"/>
                </a:p>
              </c:txP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458C-4826-A635-86BEF155EE94}"/>
                </c:ext>
              </c:extLst>
            </c:dLbl>
            <c:spPr>
              <a:noFill/>
              <a:ln>
                <a:noFill/>
              </a:ln>
              <a:effectLst/>
            </c:spPr>
            <c:txPr>
              <a:bodyPr rot="0" spcFirstLastPara="1" vertOverflow="ellipsis" vert="horz" wrap="square" lIns="38100" tIns="19050" rIns="38100" bIns="19050" anchor="ctr" anchorCtr="1">
                <a:spAutoFit/>
              </a:bodyPr>
              <a:lstStyle/>
              <a:p>
                <a:pPr>
                  <a:defRPr sz="2000" b="0" i="0" u="none" strike="noStrike" kern="1200" baseline="0">
                    <a:solidFill>
                      <a:schemeClr val="tx1">
                        <a:lumMod val="75000"/>
                        <a:lumOff val="25000"/>
                      </a:schemeClr>
                    </a:solidFill>
                    <a:latin typeface="+mn-lt"/>
                    <a:ea typeface="+mn-ea"/>
                    <a:cs typeface="+mn-cs"/>
                  </a:defRPr>
                </a:pPr>
                <a:endParaRPr lang="ru-RU"/>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Лист1!$A$2:$A$24</c:f>
              <c:strCache>
                <c:ptCount val="23"/>
                <c:pt idx="0">
                  <c:v>w1</c:v>
                </c:pt>
                <c:pt idx="1">
                  <c:v>w2</c:v>
                </c:pt>
                <c:pt idx="2">
                  <c:v>w3</c:v>
                </c:pt>
                <c:pt idx="3">
                  <c:v>w4</c:v>
                </c:pt>
                <c:pt idx="4">
                  <c:v>w5</c:v>
                </c:pt>
                <c:pt idx="5">
                  <c:v>w6</c:v>
                </c:pt>
                <c:pt idx="6">
                  <c:v>w7</c:v>
                </c:pt>
                <c:pt idx="7">
                  <c:v>w8</c:v>
                </c:pt>
                <c:pt idx="8">
                  <c:v>w9</c:v>
                </c:pt>
                <c:pt idx="9">
                  <c:v>w10</c:v>
                </c:pt>
                <c:pt idx="10">
                  <c:v>w11</c:v>
                </c:pt>
                <c:pt idx="11">
                  <c:v>w12</c:v>
                </c:pt>
                <c:pt idx="12">
                  <c:v>w13</c:v>
                </c:pt>
                <c:pt idx="13">
                  <c:v>w14</c:v>
                </c:pt>
                <c:pt idx="14">
                  <c:v>w15</c:v>
                </c:pt>
                <c:pt idx="15">
                  <c:v>w16</c:v>
                </c:pt>
                <c:pt idx="16">
                  <c:v>w17</c:v>
                </c:pt>
                <c:pt idx="17">
                  <c:v>w18</c:v>
                </c:pt>
                <c:pt idx="18">
                  <c:v>w19</c:v>
                </c:pt>
                <c:pt idx="19">
                  <c:v>w20</c:v>
                </c:pt>
                <c:pt idx="20">
                  <c:v>w21</c:v>
                </c:pt>
                <c:pt idx="21">
                  <c:v>w22</c:v>
                </c:pt>
                <c:pt idx="22">
                  <c:v>w23</c:v>
                </c:pt>
              </c:strCache>
            </c:strRef>
          </c:cat>
          <c:val>
            <c:numRef>
              <c:f>Лист1!$D$2:$D$24</c:f>
              <c:numCache>
                <c:formatCode>#,##0</c:formatCode>
                <c:ptCount val="23"/>
                <c:pt idx="0">
                  <c:v>58.491144288000001</c:v>
                </c:pt>
                <c:pt idx="1">
                  <c:v>8.7259034300000007</c:v>
                </c:pt>
                <c:pt idx="2">
                  <c:v>2.3455432510000001</c:v>
                </c:pt>
                <c:pt idx="3">
                  <c:v>8.3688290439999999</c:v>
                </c:pt>
                <c:pt idx="4">
                  <c:v>13.013712447</c:v>
                </c:pt>
                <c:pt idx="5">
                  <c:v>6.3321474090000001</c:v>
                </c:pt>
                <c:pt idx="6">
                  <c:v>8.4456357499999992</c:v>
                </c:pt>
                <c:pt idx="7">
                  <c:v>4.8119159500000004</c:v>
                </c:pt>
                <c:pt idx="8">
                  <c:v>2.5333467870000002</c:v>
                </c:pt>
                <c:pt idx="9">
                  <c:v>7.0876566000000002E-2</c:v>
                </c:pt>
                <c:pt idx="10">
                  <c:v>49.384561171999998</c:v>
                </c:pt>
                <c:pt idx="11">
                  <c:v>52.686491936000003</c:v>
                </c:pt>
                <c:pt idx="12">
                  <c:v>29.495544254999999</c:v>
                </c:pt>
                <c:pt idx="13">
                  <c:v>-38.510679703000001</c:v>
                </c:pt>
                <c:pt idx="14">
                  <c:v>-20.336646426000001</c:v>
                </c:pt>
                <c:pt idx="15">
                  <c:v>-11.084157159</c:v>
                </c:pt>
                <c:pt idx="16">
                  <c:v>0.58036806900000004</c:v>
                </c:pt>
                <c:pt idx="17">
                  <c:v>4.5154336610000003</c:v>
                </c:pt>
                <c:pt idx="18">
                  <c:v>-2.9374334740000001</c:v>
                </c:pt>
                <c:pt idx="19">
                  <c:v>6.1086392000000003E-2</c:v>
                </c:pt>
                <c:pt idx="20">
                  <c:v>4.3003626820000003</c:v>
                </c:pt>
                <c:pt idx="21">
                  <c:v>5.0699700539999997</c:v>
                </c:pt>
                <c:pt idx="22">
                  <c:v>26.155965784999999</c:v>
                </c:pt>
              </c:numCache>
            </c:numRef>
          </c:val>
          <c:smooth val="0"/>
          <c:extLst>
            <c:ext xmlns:c16="http://schemas.microsoft.com/office/drawing/2014/chart" uri="{C3380CC4-5D6E-409C-BE32-E72D297353CC}">
              <c16:uniqueId val="{00000002-A0BD-4829-81BB-29D4092C600F}"/>
            </c:ext>
          </c:extLst>
        </c:ser>
        <c:dLbls>
          <c:showLegendKey val="0"/>
          <c:showVal val="0"/>
          <c:showCatName val="0"/>
          <c:showSerName val="0"/>
          <c:showPercent val="0"/>
          <c:showBubbleSize val="0"/>
        </c:dLbls>
        <c:smooth val="0"/>
        <c:axId val="140908831"/>
        <c:axId val="411980831"/>
      </c:lineChart>
      <c:catAx>
        <c:axId val="140908831"/>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ru-RU"/>
          </a:p>
        </c:txPr>
        <c:crossAx val="411980831"/>
        <c:crosses val="autoZero"/>
        <c:auto val="1"/>
        <c:lblAlgn val="ctr"/>
        <c:lblOffset val="100"/>
        <c:noMultiLvlLbl val="0"/>
      </c:catAx>
      <c:valAx>
        <c:axId val="411980831"/>
        <c:scaling>
          <c:orientation val="minMax"/>
          <c:max val="90"/>
          <c:min val="-50"/>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ru-RU"/>
          </a:p>
        </c:txPr>
        <c:crossAx val="140908831"/>
        <c:crosses val="autoZero"/>
        <c:crossBetween val="between"/>
      </c:valAx>
      <c:spPr>
        <a:noFill/>
        <a:ln>
          <a:noFill/>
        </a:ln>
        <a:effectLst/>
      </c:spPr>
    </c:plotArea>
    <c:legend>
      <c:legendPos val="l"/>
      <c:layout>
        <c:manualLayout>
          <c:xMode val="edge"/>
          <c:yMode val="edge"/>
          <c:x val="0.10882887619940129"/>
          <c:y val="7.0093121098230501E-2"/>
          <c:w val="0.12895696192959366"/>
          <c:h val="0.17464354204730406"/>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ru-RU"/>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ru-RU"/>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spPr>
            <a:solidFill>
              <a:srgbClr val="71ADA7"/>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rgbClr val="4D9991"/>
                    </a:solidFill>
                    <a:latin typeface="+mn-lt"/>
                    <a:ea typeface="+mn-ea"/>
                    <a:cs typeface="+mn-cs"/>
                  </a:defRPr>
                </a:pPr>
                <a:endParaRPr lang="ru-RU"/>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9</c:f>
              <c:strCache>
                <c:ptCount val="8"/>
                <c:pt idx="0">
                  <c:v>Compras de pequeños electrodomésticos </c:v>
                </c:pt>
                <c:pt idx="1">
                  <c:v>Compras de equipamiento informático /accesorios (ordenador personal/ Tabletas / impresoras, etc.) </c:v>
                </c:pt>
                <c:pt idx="2">
                  <c:v>Compras de móviles o accesorios </c:v>
                </c:pt>
                <c:pt idx="3">
                  <c:v>Compras de grandes electrodomésticos </c:v>
                </c:pt>
                <c:pt idx="4">
                  <c:v>Compras de electrónica de consumo /Audio o Video </c:v>
                </c:pt>
                <c:pt idx="5">
                  <c:v>Compras de ropa </c:v>
                </c:pt>
                <c:pt idx="6">
                  <c:v>Compras de tickets a espectáculos, conciertos, ferias, eventos deportivos… </c:v>
                </c:pt>
                <c:pt idx="7">
                  <c:v>Compra de un coche </c:v>
                </c:pt>
              </c:strCache>
            </c:strRef>
          </c:cat>
          <c:val>
            <c:numRef>
              <c:f>Feuil1!$B$2:$B$9</c:f>
              <c:numCache>
                <c:formatCode>0</c:formatCode>
                <c:ptCount val="8"/>
                <c:pt idx="0">
                  <c:v>6</c:v>
                </c:pt>
                <c:pt idx="1">
                  <c:v>9.5</c:v>
                </c:pt>
                <c:pt idx="2">
                  <c:v>6.4</c:v>
                </c:pt>
                <c:pt idx="3">
                  <c:v>5</c:v>
                </c:pt>
                <c:pt idx="4">
                  <c:v>6.2</c:v>
                </c:pt>
                <c:pt idx="5">
                  <c:v>12.4</c:v>
                </c:pt>
                <c:pt idx="6">
                  <c:v>5.8</c:v>
                </c:pt>
                <c:pt idx="7">
                  <c:v>5.4</c:v>
                </c:pt>
              </c:numCache>
            </c:numRef>
          </c:val>
          <c:extLst>
            <c:ext xmlns:c16="http://schemas.microsoft.com/office/drawing/2014/chart" uri="{C3380CC4-5D6E-409C-BE32-E72D297353CC}">
              <c16:uniqueId val="{00000000-BEC3-47D5-998D-8EEE24830855}"/>
            </c:ext>
          </c:extLst>
        </c:ser>
        <c:ser>
          <c:idx val="2"/>
          <c:order val="1"/>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accent2"/>
                    </a:solidFill>
                    <a:latin typeface="+mn-lt"/>
                    <a:ea typeface="+mn-ea"/>
                    <a:cs typeface="+mn-cs"/>
                  </a:defRPr>
                </a:pPr>
                <a:endParaRPr lang="ru-RU"/>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9</c:f>
              <c:strCache>
                <c:ptCount val="8"/>
                <c:pt idx="0">
                  <c:v>Compras de pequeños electrodomésticos </c:v>
                </c:pt>
                <c:pt idx="1">
                  <c:v>Compras de equipamiento informático /accesorios (ordenador personal/ Tabletas / impresoras, etc.) </c:v>
                </c:pt>
                <c:pt idx="2">
                  <c:v>Compras de móviles o accesorios </c:v>
                </c:pt>
                <c:pt idx="3">
                  <c:v>Compras de grandes electrodomésticos </c:v>
                </c:pt>
                <c:pt idx="4">
                  <c:v>Compras de electrónica de consumo /Audio o Video </c:v>
                </c:pt>
                <c:pt idx="5">
                  <c:v>Compras de ropa </c:v>
                </c:pt>
                <c:pt idx="6">
                  <c:v>Compras de tickets a espectáculos, conciertos, ferias, eventos deportivos… </c:v>
                </c:pt>
                <c:pt idx="7">
                  <c:v>Compra de un coche </c:v>
                </c:pt>
              </c:strCache>
            </c:strRef>
          </c:cat>
          <c:val>
            <c:numRef>
              <c:f>Feuil1!$C$2:$C$9</c:f>
              <c:numCache>
                <c:formatCode>0</c:formatCode>
                <c:ptCount val="8"/>
                <c:pt idx="0">
                  <c:v>23.5</c:v>
                </c:pt>
                <c:pt idx="1">
                  <c:v>22.1</c:v>
                </c:pt>
                <c:pt idx="2">
                  <c:v>19.2</c:v>
                </c:pt>
                <c:pt idx="3">
                  <c:v>15.4</c:v>
                </c:pt>
                <c:pt idx="4">
                  <c:v>16.5</c:v>
                </c:pt>
                <c:pt idx="5">
                  <c:v>43.7</c:v>
                </c:pt>
                <c:pt idx="6">
                  <c:v>29.6</c:v>
                </c:pt>
                <c:pt idx="7">
                  <c:v>18.5</c:v>
                </c:pt>
              </c:numCache>
            </c:numRef>
          </c:val>
          <c:extLst>
            <c:ext xmlns:c16="http://schemas.microsoft.com/office/drawing/2014/chart" uri="{C3380CC4-5D6E-409C-BE32-E72D297353CC}">
              <c16:uniqueId val="{00000001-BEC3-47D5-998D-8EEE24830855}"/>
            </c:ext>
          </c:extLst>
        </c:ser>
        <c:dLbls>
          <c:showLegendKey val="0"/>
          <c:showVal val="0"/>
          <c:showCatName val="0"/>
          <c:showSerName val="0"/>
          <c:showPercent val="0"/>
          <c:showBubbleSize val="0"/>
        </c:dLbls>
        <c:gapWidth val="100"/>
        <c:axId val="619427072"/>
        <c:axId val="745829376"/>
      </c:barChart>
      <c:catAx>
        <c:axId val="619427072"/>
        <c:scaling>
          <c:orientation val="maxMin"/>
        </c:scaling>
        <c:delete val="1"/>
        <c:axPos val="l"/>
        <c:numFmt formatCode="General" sourceLinked="1"/>
        <c:majorTickMark val="out"/>
        <c:minorTickMark val="none"/>
        <c:tickLblPos val="nextTo"/>
        <c:crossAx val="745829376"/>
        <c:crosses val="autoZero"/>
        <c:auto val="1"/>
        <c:lblAlgn val="ctr"/>
        <c:lblOffset val="100"/>
        <c:noMultiLvlLbl val="0"/>
      </c:catAx>
      <c:valAx>
        <c:axId val="745829376"/>
        <c:scaling>
          <c:orientation val="minMax"/>
          <c:max val="100"/>
          <c:min val="0"/>
        </c:scaling>
        <c:delete val="1"/>
        <c:axPos val="t"/>
        <c:numFmt formatCode="0" sourceLinked="1"/>
        <c:majorTickMark val="out"/>
        <c:minorTickMark val="none"/>
        <c:tickLblPos val="nextTo"/>
        <c:crossAx val="61942707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ru-RU"/>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spPr>
            <a:solidFill>
              <a:srgbClr val="71ADA7"/>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rgbClr val="4D9991"/>
                    </a:solidFill>
                    <a:latin typeface="+mn-lt"/>
                    <a:ea typeface="+mn-ea"/>
                    <a:cs typeface="+mn-cs"/>
                  </a:defRPr>
                </a:pPr>
                <a:endParaRPr lang="ru-RU"/>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9</c:f>
              <c:strCache>
                <c:ptCount val="8"/>
                <c:pt idx="0">
                  <c:v>Purchases of small domestic appliances</c:v>
                </c:pt>
                <c:pt idx="1">
                  <c:v>Purchases of computer equipment/computer accessories (Personal computers / Tablets / Printers, etc.)</c:v>
                </c:pt>
                <c:pt idx="2">
                  <c:v>Purchases of phones/mobile phone accessories</c:v>
                </c:pt>
                <c:pt idx="3">
                  <c:v>Purchases of large domestic appliances</c:v>
                </c:pt>
                <c:pt idx="4">
                  <c:v>Purchases of consumer electronics/Audio Video</c:v>
                </c:pt>
                <c:pt idx="5">
                  <c:v>Purchases of clothes</c:v>
                </c:pt>
                <c:pt idx="6">
                  <c:v>Purchases of tickets to shows, movies, concerts, fairs, sporting events</c:v>
                </c:pt>
                <c:pt idx="7">
                  <c:v>Purchases of cars</c:v>
                </c:pt>
              </c:strCache>
            </c:strRef>
          </c:cat>
          <c:val>
            <c:numRef>
              <c:f>Feuil1!$B$2:$B$9</c:f>
              <c:numCache>
                <c:formatCode>General</c:formatCode>
                <c:ptCount val="8"/>
                <c:pt idx="0">
                  <c:v>9</c:v>
                </c:pt>
                <c:pt idx="1">
                  <c:v>9</c:v>
                </c:pt>
                <c:pt idx="2">
                  <c:v>6</c:v>
                </c:pt>
                <c:pt idx="3">
                  <c:v>6</c:v>
                </c:pt>
                <c:pt idx="4">
                  <c:v>7.0000000000000009</c:v>
                </c:pt>
                <c:pt idx="5">
                  <c:v>23</c:v>
                </c:pt>
                <c:pt idx="6">
                  <c:v>8</c:v>
                </c:pt>
                <c:pt idx="7">
                  <c:v>6</c:v>
                </c:pt>
              </c:numCache>
            </c:numRef>
          </c:val>
          <c:extLst>
            <c:ext xmlns:c16="http://schemas.microsoft.com/office/drawing/2014/chart" uri="{C3380CC4-5D6E-409C-BE32-E72D297353CC}">
              <c16:uniqueId val="{00000000-C4C3-46F6-A1E9-636FC3EB2EB5}"/>
            </c:ext>
          </c:extLst>
        </c:ser>
        <c:ser>
          <c:idx val="2"/>
          <c:order val="1"/>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accent2"/>
                    </a:solidFill>
                    <a:latin typeface="+mn-lt"/>
                    <a:ea typeface="+mn-ea"/>
                    <a:cs typeface="+mn-cs"/>
                  </a:defRPr>
                </a:pPr>
                <a:endParaRPr lang="ru-RU"/>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9</c:f>
              <c:strCache>
                <c:ptCount val="8"/>
                <c:pt idx="0">
                  <c:v>Purchases of small domestic appliances</c:v>
                </c:pt>
                <c:pt idx="1">
                  <c:v>Purchases of computer equipment/computer accessories (Personal computers / Tablets / Printers, etc.)</c:v>
                </c:pt>
                <c:pt idx="2">
                  <c:v>Purchases of phones/mobile phone accessories</c:v>
                </c:pt>
                <c:pt idx="3">
                  <c:v>Purchases of large domestic appliances</c:v>
                </c:pt>
                <c:pt idx="4">
                  <c:v>Purchases of consumer electronics/Audio Video</c:v>
                </c:pt>
                <c:pt idx="5">
                  <c:v>Purchases of clothes</c:v>
                </c:pt>
                <c:pt idx="6">
                  <c:v>Purchases of tickets to shows, movies, concerts, fairs, sporting events</c:v>
                </c:pt>
                <c:pt idx="7">
                  <c:v>Purchases of cars</c:v>
                </c:pt>
              </c:strCache>
            </c:strRef>
          </c:cat>
          <c:val>
            <c:numRef>
              <c:f>Feuil1!$C$2:$C$9</c:f>
              <c:numCache>
                <c:formatCode>General</c:formatCode>
                <c:ptCount val="8"/>
                <c:pt idx="0">
                  <c:v>18</c:v>
                </c:pt>
                <c:pt idx="1">
                  <c:v>14.000000000000002</c:v>
                </c:pt>
                <c:pt idx="2">
                  <c:v>19</c:v>
                </c:pt>
                <c:pt idx="3">
                  <c:v>19</c:v>
                </c:pt>
                <c:pt idx="4">
                  <c:v>15</c:v>
                </c:pt>
                <c:pt idx="5">
                  <c:v>40</c:v>
                </c:pt>
                <c:pt idx="6">
                  <c:v>35</c:v>
                </c:pt>
                <c:pt idx="7">
                  <c:v>19</c:v>
                </c:pt>
              </c:numCache>
            </c:numRef>
          </c:val>
          <c:extLst>
            <c:ext xmlns:c16="http://schemas.microsoft.com/office/drawing/2014/chart" uri="{C3380CC4-5D6E-409C-BE32-E72D297353CC}">
              <c16:uniqueId val="{00000001-C4C3-46F6-A1E9-636FC3EB2EB5}"/>
            </c:ext>
          </c:extLst>
        </c:ser>
        <c:dLbls>
          <c:showLegendKey val="0"/>
          <c:showVal val="0"/>
          <c:showCatName val="0"/>
          <c:showSerName val="0"/>
          <c:showPercent val="0"/>
          <c:showBubbleSize val="0"/>
        </c:dLbls>
        <c:gapWidth val="100"/>
        <c:axId val="619427072"/>
        <c:axId val="745829376"/>
      </c:barChart>
      <c:catAx>
        <c:axId val="619427072"/>
        <c:scaling>
          <c:orientation val="maxMin"/>
        </c:scaling>
        <c:delete val="1"/>
        <c:axPos val="l"/>
        <c:numFmt formatCode="General" sourceLinked="1"/>
        <c:majorTickMark val="out"/>
        <c:minorTickMark val="none"/>
        <c:tickLblPos val="nextTo"/>
        <c:crossAx val="745829376"/>
        <c:crosses val="autoZero"/>
        <c:auto val="1"/>
        <c:lblAlgn val="ctr"/>
        <c:lblOffset val="100"/>
        <c:noMultiLvlLbl val="0"/>
      </c:catAx>
      <c:valAx>
        <c:axId val="745829376"/>
        <c:scaling>
          <c:orientation val="minMax"/>
          <c:max val="100"/>
          <c:min val="0"/>
        </c:scaling>
        <c:delete val="1"/>
        <c:axPos val="t"/>
        <c:numFmt formatCode="General" sourceLinked="1"/>
        <c:majorTickMark val="out"/>
        <c:minorTickMark val="none"/>
        <c:tickLblPos val="nextTo"/>
        <c:crossAx val="61942707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ru-RU"/>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spPr>
            <a:solidFill>
              <a:srgbClr val="71ADA7"/>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rgbClr val="4D9991"/>
                    </a:solidFill>
                    <a:latin typeface="+mn-lt"/>
                    <a:ea typeface="+mn-ea"/>
                    <a:cs typeface="+mn-cs"/>
                  </a:defRPr>
                </a:pPr>
                <a:endParaRPr lang="ru-RU"/>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9</c:f>
              <c:strCache>
                <c:ptCount val="8"/>
                <c:pt idx="0">
                  <c:v>Purchases of small domestic appliances</c:v>
                </c:pt>
                <c:pt idx="1">
                  <c:v>Purchases of computer equipment/computer accessories (Personal computers / Tablets / Printers, etc.)</c:v>
                </c:pt>
                <c:pt idx="2">
                  <c:v>Purchases of phones/mobile phone accessories</c:v>
                </c:pt>
                <c:pt idx="3">
                  <c:v>Purchases of large domestic appliances</c:v>
                </c:pt>
                <c:pt idx="4">
                  <c:v>Purchases of consumer electronics/Audio Video</c:v>
                </c:pt>
                <c:pt idx="5">
                  <c:v>Purchases of clothes</c:v>
                </c:pt>
                <c:pt idx="6">
                  <c:v>Purchases of tickets to shows, movies, concerts, fairs, sporting events</c:v>
                </c:pt>
                <c:pt idx="7">
                  <c:v>Purchases of cars</c:v>
                </c:pt>
              </c:strCache>
            </c:strRef>
          </c:cat>
          <c:val>
            <c:numRef>
              <c:f>Feuil1!$B$2:$B$9</c:f>
              <c:numCache>
                <c:formatCode>General</c:formatCode>
                <c:ptCount val="8"/>
                <c:pt idx="0">
                  <c:v>8</c:v>
                </c:pt>
                <c:pt idx="1">
                  <c:v>5</c:v>
                </c:pt>
                <c:pt idx="2">
                  <c:v>6</c:v>
                </c:pt>
                <c:pt idx="3">
                  <c:v>5</c:v>
                </c:pt>
                <c:pt idx="4">
                  <c:v>5</c:v>
                </c:pt>
                <c:pt idx="5">
                  <c:v>22</c:v>
                </c:pt>
                <c:pt idx="6">
                  <c:v>6</c:v>
                </c:pt>
                <c:pt idx="7">
                  <c:v>6</c:v>
                </c:pt>
              </c:numCache>
            </c:numRef>
          </c:val>
          <c:extLst>
            <c:ext xmlns:c16="http://schemas.microsoft.com/office/drawing/2014/chart" uri="{C3380CC4-5D6E-409C-BE32-E72D297353CC}">
              <c16:uniqueId val="{00000000-31C2-41C9-BCCA-1349739B3D78}"/>
            </c:ext>
          </c:extLst>
        </c:ser>
        <c:ser>
          <c:idx val="2"/>
          <c:order val="1"/>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accent2"/>
                    </a:solidFill>
                    <a:latin typeface="+mn-lt"/>
                    <a:ea typeface="+mn-ea"/>
                    <a:cs typeface="+mn-cs"/>
                  </a:defRPr>
                </a:pPr>
                <a:endParaRPr lang="ru-RU"/>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9</c:f>
              <c:strCache>
                <c:ptCount val="8"/>
                <c:pt idx="0">
                  <c:v>Purchases of small domestic appliances</c:v>
                </c:pt>
                <c:pt idx="1">
                  <c:v>Purchases of computer equipment/computer accessories (Personal computers / Tablets / Printers, etc.)</c:v>
                </c:pt>
                <c:pt idx="2">
                  <c:v>Purchases of phones/mobile phone accessories</c:v>
                </c:pt>
                <c:pt idx="3">
                  <c:v>Purchases of large domestic appliances</c:v>
                </c:pt>
                <c:pt idx="4">
                  <c:v>Purchases of consumer electronics/Audio Video</c:v>
                </c:pt>
                <c:pt idx="5">
                  <c:v>Purchases of clothes</c:v>
                </c:pt>
                <c:pt idx="6">
                  <c:v>Purchases of tickets to shows, movies, concerts, fairs, sporting events</c:v>
                </c:pt>
                <c:pt idx="7">
                  <c:v>Purchases of cars</c:v>
                </c:pt>
              </c:strCache>
            </c:strRef>
          </c:cat>
          <c:val>
            <c:numRef>
              <c:f>Feuil1!$C$2:$C$9</c:f>
              <c:numCache>
                <c:formatCode>General</c:formatCode>
                <c:ptCount val="8"/>
                <c:pt idx="0">
                  <c:v>12</c:v>
                </c:pt>
                <c:pt idx="1">
                  <c:v>11</c:v>
                </c:pt>
                <c:pt idx="2">
                  <c:v>13</c:v>
                </c:pt>
                <c:pt idx="3">
                  <c:v>13</c:v>
                </c:pt>
                <c:pt idx="4">
                  <c:v>8</c:v>
                </c:pt>
                <c:pt idx="5">
                  <c:v>33</c:v>
                </c:pt>
                <c:pt idx="6">
                  <c:v>32</c:v>
                </c:pt>
                <c:pt idx="7">
                  <c:v>11</c:v>
                </c:pt>
              </c:numCache>
            </c:numRef>
          </c:val>
          <c:extLst>
            <c:ext xmlns:c16="http://schemas.microsoft.com/office/drawing/2014/chart" uri="{C3380CC4-5D6E-409C-BE32-E72D297353CC}">
              <c16:uniqueId val="{00000001-31C2-41C9-BCCA-1349739B3D78}"/>
            </c:ext>
          </c:extLst>
        </c:ser>
        <c:dLbls>
          <c:showLegendKey val="0"/>
          <c:showVal val="0"/>
          <c:showCatName val="0"/>
          <c:showSerName val="0"/>
          <c:showPercent val="0"/>
          <c:showBubbleSize val="0"/>
        </c:dLbls>
        <c:gapWidth val="100"/>
        <c:axId val="619427072"/>
        <c:axId val="745829376"/>
      </c:barChart>
      <c:catAx>
        <c:axId val="619427072"/>
        <c:scaling>
          <c:orientation val="maxMin"/>
        </c:scaling>
        <c:delete val="1"/>
        <c:axPos val="l"/>
        <c:numFmt formatCode="General" sourceLinked="1"/>
        <c:majorTickMark val="out"/>
        <c:minorTickMark val="none"/>
        <c:tickLblPos val="nextTo"/>
        <c:crossAx val="745829376"/>
        <c:crosses val="autoZero"/>
        <c:auto val="1"/>
        <c:lblAlgn val="ctr"/>
        <c:lblOffset val="100"/>
        <c:noMultiLvlLbl val="0"/>
      </c:catAx>
      <c:valAx>
        <c:axId val="745829376"/>
        <c:scaling>
          <c:orientation val="minMax"/>
          <c:max val="100"/>
          <c:min val="0"/>
        </c:scaling>
        <c:delete val="1"/>
        <c:axPos val="t"/>
        <c:numFmt formatCode="General" sourceLinked="1"/>
        <c:majorTickMark val="out"/>
        <c:minorTickMark val="none"/>
        <c:tickLblPos val="nextTo"/>
        <c:crossAx val="61942707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ru-RU"/>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spPr>
            <a:solidFill>
              <a:srgbClr val="71ADA7"/>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rgbClr val="4D9991"/>
                    </a:solidFill>
                    <a:latin typeface="+mn-lt"/>
                    <a:ea typeface="+mn-ea"/>
                    <a:cs typeface="+mn-cs"/>
                  </a:defRPr>
                </a:pPr>
                <a:endParaRPr lang="ru-RU"/>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9</c:f>
              <c:strCache>
                <c:ptCount val="8"/>
                <c:pt idx="0">
                  <c:v>Purchases of small domestic appliances</c:v>
                </c:pt>
                <c:pt idx="1">
                  <c:v>Purchases of computer equipment/computer accessories (Personal computers / Tablets / Printers, etc.)</c:v>
                </c:pt>
                <c:pt idx="2">
                  <c:v>Purchases of phones/mobile phone accessories</c:v>
                </c:pt>
                <c:pt idx="3">
                  <c:v>Purchases of large domestic appliances</c:v>
                </c:pt>
                <c:pt idx="4">
                  <c:v>Purchases of consumer electronics/Audio Video</c:v>
                </c:pt>
                <c:pt idx="5">
                  <c:v>Purchases of clothes</c:v>
                </c:pt>
                <c:pt idx="6">
                  <c:v>Purchases of tickets to shows, movies, concerts, fairs, sporting events</c:v>
                </c:pt>
                <c:pt idx="7">
                  <c:v>Purchases of cars</c:v>
                </c:pt>
              </c:strCache>
            </c:strRef>
          </c:cat>
          <c:val>
            <c:numRef>
              <c:f>Feuil1!$B$2:$B$9</c:f>
              <c:numCache>
                <c:formatCode>General</c:formatCode>
                <c:ptCount val="8"/>
                <c:pt idx="0">
                  <c:v>28.999999999999996</c:v>
                </c:pt>
                <c:pt idx="1">
                  <c:v>22</c:v>
                </c:pt>
                <c:pt idx="2">
                  <c:v>21</c:v>
                </c:pt>
                <c:pt idx="3">
                  <c:v>17</c:v>
                </c:pt>
                <c:pt idx="4">
                  <c:v>22</c:v>
                </c:pt>
                <c:pt idx="5">
                  <c:v>48</c:v>
                </c:pt>
                <c:pt idx="6">
                  <c:v>12</c:v>
                </c:pt>
                <c:pt idx="7">
                  <c:v>14.000000000000002</c:v>
                </c:pt>
              </c:numCache>
            </c:numRef>
          </c:val>
          <c:extLst>
            <c:ext xmlns:c16="http://schemas.microsoft.com/office/drawing/2014/chart" uri="{C3380CC4-5D6E-409C-BE32-E72D297353CC}">
              <c16:uniqueId val="{00000000-8F81-42C9-94ED-DCD3E59A9FBD}"/>
            </c:ext>
          </c:extLst>
        </c:ser>
        <c:ser>
          <c:idx val="2"/>
          <c:order val="1"/>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accent2"/>
                    </a:solidFill>
                    <a:latin typeface="+mn-lt"/>
                    <a:ea typeface="+mn-ea"/>
                    <a:cs typeface="+mn-cs"/>
                  </a:defRPr>
                </a:pPr>
                <a:endParaRPr lang="ru-RU"/>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9</c:f>
              <c:strCache>
                <c:ptCount val="8"/>
                <c:pt idx="0">
                  <c:v>Purchases of small domestic appliances</c:v>
                </c:pt>
                <c:pt idx="1">
                  <c:v>Purchases of computer equipment/computer accessories (Personal computers / Tablets / Printers, etc.)</c:v>
                </c:pt>
                <c:pt idx="2">
                  <c:v>Purchases of phones/mobile phone accessories</c:v>
                </c:pt>
                <c:pt idx="3">
                  <c:v>Purchases of large domestic appliances</c:v>
                </c:pt>
                <c:pt idx="4">
                  <c:v>Purchases of consumer electronics/Audio Video</c:v>
                </c:pt>
                <c:pt idx="5">
                  <c:v>Purchases of clothes</c:v>
                </c:pt>
                <c:pt idx="6">
                  <c:v>Purchases of tickets to shows, movies, concerts, fairs, sporting events</c:v>
                </c:pt>
                <c:pt idx="7">
                  <c:v>Purchases of cars</c:v>
                </c:pt>
              </c:strCache>
            </c:strRef>
          </c:cat>
          <c:val>
            <c:numRef>
              <c:f>Feuil1!$C$2:$C$9</c:f>
              <c:numCache>
                <c:formatCode>General</c:formatCode>
                <c:ptCount val="8"/>
                <c:pt idx="0">
                  <c:v>10</c:v>
                </c:pt>
                <c:pt idx="1">
                  <c:v>13</c:v>
                </c:pt>
                <c:pt idx="2">
                  <c:v>14.000000000000002</c:v>
                </c:pt>
                <c:pt idx="3">
                  <c:v>13</c:v>
                </c:pt>
                <c:pt idx="4">
                  <c:v>11</c:v>
                </c:pt>
                <c:pt idx="5">
                  <c:v>28.000000000000004</c:v>
                </c:pt>
                <c:pt idx="6">
                  <c:v>42</c:v>
                </c:pt>
                <c:pt idx="7">
                  <c:v>13</c:v>
                </c:pt>
              </c:numCache>
            </c:numRef>
          </c:val>
          <c:extLst>
            <c:ext xmlns:c16="http://schemas.microsoft.com/office/drawing/2014/chart" uri="{C3380CC4-5D6E-409C-BE32-E72D297353CC}">
              <c16:uniqueId val="{00000001-8F81-42C9-94ED-DCD3E59A9FBD}"/>
            </c:ext>
          </c:extLst>
        </c:ser>
        <c:dLbls>
          <c:showLegendKey val="0"/>
          <c:showVal val="0"/>
          <c:showCatName val="0"/>
          <c:showSerName val="0"/>
          <c:showPercent val="0"/>
          <c:showBubbleSize val="0"/>
        </c:dLbls>
        <c:gapWidth val="100"/>
        <c:axId val="619427072"/>
        <c:axId val="745829376"/>
      </c:barChart>
      <c:catAx>
        <c:axId val="619427072"/>
        <c:scaling>
          <c:orientation val="maxMin"/>
        </c:scaling>
        <c:delete val="1"/>
        <c:axPos val="l"/>
        <c:numFmt formatCode="General" sourceLinked="1"/>
        <c:majorTickMark val="out"/>
        <c:minorTickMark val="none"/>
        <c:tickLblPos val="nextTo"/>
        <c:crossAx val="745829376"/>
        <c:crosses val="autoZero"/>
        <c:auto val="1"/>
        <c:lblAlgn val="ctr"/>
        <c:lblOffset val="100"/>
        <c:noMultiLvlLbl val="0"/>
      </c:catAx>
      <c:valAx>
        <c:axId val="745829376"/>
        <c:scaling>
          <c:orientation val="minMax"/>
          <c:max val="100"/>
          <c:min val="0"/>
        </c:scaling>
        <c:delete val="1"/>
        <c:axPos val="t"/>
        <c:numFmt formatCode="General" sourceLinked="1"/>
        <c:majorTickMark val="out"/>
        <c:minorTickMark val="none"/>
        <c:tickLblPos val="nextTo"/>
        <c:crossAx val="61942707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ru-RU"/>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spPr>
            <a:solidFill>
              <a:srgbClr val="71ADA7"/>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rgbClr val="4D9991"/>
                    </a:solidFill>
                    <a:latin typeface="+mn-lt"/>
                    <a:ea typeface="+mn-ea"/>
                    <a:cs typeface="+mn-cs"/>
                  </a:defRPr>
                </a:pPr>
                <a:endParaRPr lang="ru-RU"/>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9</c:f>
              <c:strCache>
                <c:ptCount val="8"/>
                <c:pt idx="0">
                  <c:v>Purchases of small domestic appliances</c:v>
                </c:pt>
                <c:pt idx="1">
                  <c:v>Purchases of computer equipment/computer accessories (Personal computers / Tablets / Printers, etc.)</c:v>
                </c:pt>
                <c:pt idx="2">
                  <c:v>Purchases of phones/mobile phone accessories</c:v>
                </c:pt>
                <c:pt idx="3">
                  <c:v>Purchases of large domestic appliances</c:v>
                </c:pt>
                <c:pt idx="4">
                  <c:v>Purchases of consumer electronics/Audio Video</c:v>
                </c:pt>
                <c:pt idx="5">
                  <c:v>Purchases of clothes</c:v>
                </c:pt>
                <c:pt idx="6">
                  <c:v>Purchases of tickets to shows, movies, concerts, fairs, sporting events</c:v>
                </c:pt>
                <c:pt idx="7">
                  <c:v>Purchases of cars</c:v>
                </c:pt>
              </c:strCache>
            </c:strRef>
          </c:cat>
          <c:val>
            <c:numRef>
              <c:f>Feuil1!$B$2:$B$9</c:f>
              <c:numCache>
                <c:formatCode>General</c:formatCode>
                <c:ptCount val="8"/>
                <c:pt idx="0">
                  <c:v>10</c:v>
                </c:pt>
                <c:pt idx="1">
                  <c:v>6</c:v>
                </c:pt>
                <c:pt idx="2">
                  <c:v>10</c:v>
                </c:pt>
                <c:pt idx="3">
                  <c:v>6</c:v>
                </c:pt>
                <c:pt idx="4">
                  <c:v>7.0000000000000009</c:v>
                </c:pt>
                <c:pt idx="5">
                  <c:v>19</c:v>
                </c:pt>
                <c:pt idx="6">
                  <c:v>8</c:v>
                </c:pt>
                <c:pt idx="7">
                  <c:v>5</c:v>
                </c:pt>
              </c:numCache>
            </c:numRef>
          </c:val>
          <c:extLst>
            <c:ext xmlns:c16="http://schemas.microsoft.com/office/drawing/2014/chart" uri="{C3380CC4-5D6E-409C-BE32-E72D297353CC}">
              <c16:uniqueId val="{00000000-DEF3-4144-9F07-363CF6AF1D29}"/>
            </c:ext>
          </c:extLst>
        </c:ser>
        <c:ser>
          <c:idx val="2"/>
          <c:order val="1"/>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accent2"/>
                    </a:solidFill>
                    <a:latin typeface="+mn-lt"/>
                    <a:ea typeface="+mn-ea"/>
                    <a:cs typeface="+mn-cs"/>
                  </a:defRPr>
                </a:pPr>
                <a:endParaRPr lang="ru-RU"/>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9</c:f>
              <c:strCache>
                <c:ptCount val="8"/>
                <c:pt idx="0">
                  <c:v>Purchases of small domestic appliances</c:v>
                </c:pt>
                <c:pt idx="1">
                  <c:v>Purchases of computer equipment/computer accessories (Personal computers / Tablets / Printers, etc.)</c:v>
                </c:pt>
                <c:pt idx="2">
                  <c:v>Purchases of phones/mobile phone accessories</c:v>
                </c:pt>
                <c:pt idx="3">
                  <c:v>Purchases of large domestic appliances</c:v>
                </c:pt>
                <c:pt idx="4">
                  <c:v>Purchases of consumer electronics/Audio Video</c:v>
                </c:pt>
                <c:pt idx="5">
                  <c:v>Purchases of clothes</c:v>
                </c:pt>
                <c:pt idx="6">
                  <c:v>Purchases of tickets to shows, movies, concerts, fairs, sporting events</c:v>
                </c:pt>
                <c:pt idx="7">
                  <c:v>Purchases of cars</c:v>
                </c:pt>
              </c:strCache>
            </c:strRef>
          </c:cat>
          <c:val>
            <c:numRef>
              <c:f>Feuil1!$C$2:$C$9</c:f>
              <c:numCache>
                <c:formatCode>General</c:formatCode>
                <c:ptCount val="8"/>
                <c:pt idx="0">
                  <c:v>17</c:v>
                </c:pt>
                <c:pt idx="1">
                  <c:v>12</c:v>
                </c:pt>
                <c:pt idx="2">
                  <c:v>10</c:v>
                </c:pt>
                <c:pt idx="3">
                  <c:v>14.000000000000002</c:v>
                </c:pt>
                <c:pt idx="4">
                  <c:v>11</c:v>
                </c:pt>
                <c:pt idx="5">
                  <c:v>34</c:v>
                </c:pt>
                <c:pt idx="6">
                  <c:v>25</c:v>
                </c:pt>
                <c:pt idx="7">
                  <c:v>10</c:v>
                </c:pt>
              </c:numCache>
            </c:numRef>
          </c:val>
          <c:extLst>
            <c:ext xmlns:c16="http://schemas.microsoft.com/office/drawing/2014/chart" uri="{C3380CC4-5D6E-409C-BE32-E72D297353CC}">
              <c16:uniqueId val="{00000001-DEF3-4144-9F07-363CF6AF1D29}"/>
            </c:ext>
          </c:extLst>
        </c:ser>
        <c:dLbls>
          <c:showLegendKey val="0"/>
          <c:showVal val="0"/>
          <c:showCatName val="0"/>
          <c:showSerName val="0"/>
          <c:showPercent val="0"/>
          <c:showBubbleSize val="0"/>
        </c:dLbls>
        <c:gapWidth val="100"/>
        <c:axId val="619427072"/>
        <c:axId val="745829376"/>
      </c:barChart>
      <c:catAx>
        <c:axId val="619427072"/>
        <c:scaling>
          <c:orientation val="maxMin"/>
        </c:scaling>
        <c:delete val="1"/>
        <c:axPos val="l"/>
        <c:numFmt formatCode="General" sourceLinked="1"/>
        <c:majorTickMark val="out"/>
        <c:minorTickMark val="none"/>
        <c:tickLblPos val="nextTo"/>
        <c:crossAx val="745829376"/>
        <c:crosses val="autoZero"/>
        <c:auto val="1"/>
        <c:lblAlgn val="ctr"/>
        <c:lblOffset val="100"/>
        <c:noMultiLvlLbl val="0"/>
      </c:catAx>
      <c:valAx>
        <c:axId val="745829376"/>
        <c:scaling>
          <c:orientation val="minMax"/>
          <c:max val="100"/>
          <c:min val="0"/>
        </c:scaling>
        <c:delete val="1"/>
        <c:axPos val="t"/>
        <c:numFmt formatCode="General" sourceLinked="1"/>
        <c:majorTickMark val="out"/>
        <c:minorTickMark val="none"/>
        <c:tickLblPos val="nextTo"/>
        <c:crossAx val="61942707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ru-RU"/>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spPr>
            <a:solidFill>
              <a:srgbClr val="71ADA7"/>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rgbClr val="4D9991"/>
                    </a:solidFill>
                    <a:latin typeface="+mn-lt"/>
                    <a:ea typeface="+mn-ea"/>
                    <a:cs typeface="+mn-cs"/>
                  </a:defRPr>
                </a:pPr>
                <a:endParaRPr lang="ru-RU"/>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9</c:f>
              <c:strCache>
                <c:ptCount val="8"/>
                <c:pt idx="0">
                  <c:v>Purchases of small domestic appliances</c:v>
                </c:pt>
                <c:pt idx="1">
                  <c:v>Purchases of computer equipment/computer accessories (Personal computers / Tablets / Printers, etc.)</c:v>
                </c:pt>
                <c:pt idx="2">
                  <c:v>Purchases of phones/mobile phone accessories</c:v>
                </c:pt>
                <c:pt idx="3">
                  <c:v>Purchases of large domestic appliances</c:v>
                </c:pt>
                <c:pt idx="4">
                  <c:v>Purchases of consumer electronics/Audio Video</c:v>
                </c:pt>
                <c:pt idx="5">
                  <c:v>Purchases of clothes</c:v>
                </c:pt>
                <c:pt idx="6">
                  <c:v>Purchases of tickets to shows, movies, concerts, fairs, sporting events</c:v>
                </c:pt>
                <c:pt idx="7">
                  <c:v>Purchases of cars</c:v>
                </c:pt>
              </c:strCache>
            </c:strRef>
          </c:cat>
          <c:val>
            <c:numRef>
              <c:f>Feuil1!$B$2:$B$9</c:f>
              <c:numCache>
                <c:formatCode>General</c:formatCode>
                <c:ptCount val="8"/>
                <c:pt idx="0">
                  <c:v>11</c:v>
                </c:pt>
                <c:pt idx="1">
                  <c:v>7</c:v>
                </c:pt>
                <c:pt idx="2">
                  <c:v>7</c:v>
                </c:pt>
                <c:pt idx="3">
                  <c:v>5</c:v>
                </c:pt>
                <c:pt idx="4">
                  <c:v>5</c:v>
                </c:pt>
                <c:pt idx="5">
                  <c:v>20</c:v>
                </c:pt>
                <c:pt idx="6">
                  <c:v>0</c:v>
                </c:pt>
                <c:pt idx="7">
                  <c:v>2</c:v>
                </c:pt>
              </c:numCache>
            </c:numRef>
          </c:val>
          <c:extLst>
            <c:ext xmlns:c16="http://schemas.microsoft.com/office/drawing/2014/chart" uri="{C3380CC4-5D6E-409C-BE32-E72D297353CC}">
              <c16:uniqueId val="{00000000-6584-4DCD-9DD9-AA165B3B39EC}"/>
            </c:ext>
          </c:extLst>
        </c:ser>
        <c:ser>
          <c:idx val="2"/>
          <c:order val="1"/>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accent2"/>
                    </a:solidFill>
                    <a:latin typeface="+mn-lt"/>
                    <a:ea typeface="+mn-ea"/>
                    <a:cs typeface="+mn-cs"/>
                  </a:defRPr>
                </a:pPr>
                <a:endParaRPr lang="ru-RU"/>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9</c:f>
              <c:strCache>
                <c:ptCount val="8"/>
                <c:pt idx="0">
                  <c:v>Purchases of small domestic appliances</c:v>
                </c:pt>
                <c:pt idx="1">
                  <c:v>Purchases of computer equipment/computer accessories (Personal computers / Tablets / Printers, etc.)</c:v>
                </c:pt>
                <c:pt idx="2">
                  <c:v>Purchases of phones/mobile phone accessories</c:v>
                </c:pt>
                <c:pt idx="3">
                  <c:v>Purchases of large domestic appliances</c:v>
                </c:pt>
                <c:pt idx="4">
                  <c:v>Purchases of consumer electronics/Audio Video</c:v>
                </c:pt>
                <c:pt idx="5">
                  <c:v>Purchases of clothes</c:v>
                </c:pt>
                <c:pt idx="6">
                  <c:v>Purchases of tickets to shows, movies, concerts, fairs, sporting events</c:v>
                </c:pt>
                <c:pt idx="7">
                  <c:v>Purchases of cars</c:v>
                </c:pt>
              </c:strCache>
            </c:strRef>
          </c:cat>
          <c:val>
            <c:numRef>
              <c:f>Feuil1!$C$2:$C$9</c:f>
              <c:numCache>
                <c:formatCode>General</c:formatCode>
                <c:ptCount val="8"/>
                <c:pt idx="0">
                  <c:v>22</c:v>
                </c:pt>
                <c:pt idx="1">
                  <c:v>18</c:v>
                </c:pt>
                <c:pt idx="2">
                  <c:v>19</c:v>
                </c:pt>
                <c:pt idx="3">
                  <c:v>16</c:v>
                </c:pt>
                <c:pt idx="4">
                  <c:v>18</c:v>
                </c:pt>
                <c:pt idx="5">
                  <c:v>48</c:v>
                </c:pt>
                <c:pt idx="6">
                  <c:v>0</c:v>
                </c:pt>
                <c:pt idx="7">
                  <c:v>13</c:v>
                </c:pt>
              </c:numCache>
            </c:numRef>
          </c:val>
          <c:extLst>
            <c:ext xmlns:c16="http://schemas.microsoft.com/office/drawing/2014/chart" uri="{C3380CC4-5D6E-409C-BE32-E72D297353CC}">
              <c16:uniqueId val="{00000001-6584-4DCD-9DD9-AA165B3B39EC}"/>
            </c:ext>
          </c:extLst>
        </c:ser>
        <c:dLbls>
          <c:showLegendKey val="0"/>
          <c:showVal val="0"/>
          <c:showCatName val="0"/>
          <c:showSerName val="0"/>
          <c:showPercent val="0"/>
          <c:showBubbleSize val="0"/>
        </c:dLbls>
        <c:gapWidth val="100"/>
        <c:axId val="619427072"/>
        <c:axId val="745829376"/>
      </c:barChart>
      <c:catAx>
        <c:axId val="619427072"/>
        <c:scaling>
          <c:orientation val="maxMin"/>
        </c:scaling>
        <c:delete val="1"/>
        <c:axPos val="l"/>
        <c:numFmt formatCode="General" sourceLinked="1"/>
        <c:majorTickMark val="out"/>
        <c:minorTickMark val="none"/>
        <c:tickLblPos val="nextTo"/>
        <c:crossAx val="745829376"/>
        <c:crosses val="autoZero"/>
        <c:auto val="1"/>
        <c:lblAlgn val="ctr"/>
        <c:lblOffset val="100"/>
        <c:noMultiLvlLbl val="0"/>
      </c:catAx>
      <c:valAx>
        <c:axId val="745829376"/>
        <c:scaling>
          <c:orientation val="minMax"/>
          <c:max val="100"/>
          <c:min val="0"/>
        </c:scaling>
        <c:delete val="1"/>
        <c:axPos val="t"/>
        <c:numFmt formatCode="General" sourceLinked="1"/>
        <c:majorTickMark val="out"/>
        <c:minorTickMark val="none"/>
        <c:tickLblPos val="nextTo"/>
        <c:crossAx val="61942707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ru-RU"/>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7.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59.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2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F0A3B1F8-6D62-4D30-9D58-5CC5D51CE00D}" type="datetimeFigureOut">
              <a:rPr lang="en-US" smtClean="0"/>
              <a:t>6/26/2020</a:t>
            </a:fld>
            <a:endParaRPr lang="en-US"/>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8FA928F-0A46-4B66-9905-FB1D800EB32E}" type="slidenum">
              <a:rPr lang="en-US" smtClean="0"/>
              <a:t>‹#›</a:t>
            </a:fld>
            <a:endParaRPr lang="en-US"/>
          </a:p>
        </p:txBody>
      </p:sp>
    </p:spTree>
    <p:extLst>
      <p:ext uri="{BB962C8B-B14F-4D97-AF65-F5344CB8AC3E}">
        <p14:creationId xmlns:p14="http://schemas.microsoft.com/office/powerpoint/2010/main" val="162312163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800">
                <a:solidFill>
                  <a:schemeClr val="tx1"/>
                </a:solidFill>
              </a:defRPr>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800">
                <a:solidFill>
                  <a:schemeClr val="tx1"/>
                </a:solidFill>
              </a:defRPr>
            </a:lvl1pPr>
          </a:lstStyle>
          <a:p>
            <a:fld id="{8045A0D1-07B4-46FF-9F04-18BB5AAA8479}" type="datetimeFigureOut">
              <a:rPr lang="en-US" smtClean="0"/>
              <a:pPr/>
              <a:t>6/26/2020</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0" tIns="0" rIns="0" bIns="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800">
                <a:solidFill>
                  <a:schemeClr val="tx1"/>
                </a:solidFill>
              </a:defRPr>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800">
                <a:solidFill>
                  <a:schemeClr val="tx1"/>
                </a:solidFill>
              </a:defRPr>
            </a:lvl1pPr>
          </a:lstStyle>
          <a:p>
            <a:fld id="{7A99B2F4-8F99-4FDD-A50D-433216698ED4}" type="slidenum">
              <a:rPr lang="en-US" smtClean="0"/>
              <a:pPr/>
              <a:t>‹#›</a:t>
            </a:fld>
            <a:endParaRPr lang="en-US"/>
          </a:p>
        </p:txBody>
      </p:sp>
    </p:spTree>
    <p:extLst>
      <p:ext uri="{BB962C8B-B14F-4D97-AF65-F5344CB8AC3E}">
        <p14:creationId xmlns:p14="http://schemas.microsoft.com/office/powerpoint/2010/main" val="362850185"/>
      </p:ext>
    </p:extLst>
  </p:cSld>
  <p:clrMap bg1="lt1" tx1="dk1" bg2="lt2" tx2="dk2" accent1="accent1" accent2="accent2" accent3="accent3" accent4="accent4" accent5="accent5" accent6="accent6" hlink="hlink" folHlink="folHlink"/>
  <p:notesStyle>
    <a:lvl1pPr marL="180000" indent="-180000" algn="l" defTabSz="914400" rtl="0" eaLnBrk="1" latinLnBrk="0" hangingPunct="1">
      <a:lnSpc>
        <a:spcPct val="125000"/>
      </a:lnSpc>
      <a:buClr>
        <a:schemeClr val="tx2"/>
      </a:buClr>
      <a:buFont typeface="Wingdings" panose="05000000000000000000" pitchFamily="2" charset="2"/>
      <a:buChar char="§"/>
      <a:defRPr sz="1000" kern="1200">
        <a:solidFill>
          <a:schemeClr val="tx1"/>
        </a:solidFill>
        <a:latin typeface="+mn-lt"/>
        <a:ea typeface="+mn-ea"/>
        <a:cs typeface="+mn-cs"/>
      </a:defRPr>
    </a:lvl1pPr>
    <a:lvl2pPr marL="540000" indent="-180000" algn="l" defTabSz="914400" rtl="0" eaLnBrk="1" latinLnBrk="0" hangingPunct="1">
      <a:lnSpc>
        <a:spcPct val="125000"/>
      </a:lnSpc>
      <a:buClr>
        <a:schemeClr val="tx2"/>
      </a:buClr>
      <a:buFont typeface="Wingdings" panose="05000000000000000000" pitchFamily="2" charset="2"/>
      <a:buChar char="§"/>
      <a:defRPr sz="1000" kern="1200">
        <a:solidFill>
          <a:schemeClr val="tx1"/>
        </a:solidFill>
        <a:latin typeface="+mn-lt"/>
        <a:ea typeface="+mn-ea"/>
        <a:cs typeface="+mn-cs"/>
      </a:defRPr>
    </a:lvl2pPr>
    <a:lvl3pPr marL="900000" indent="-180000" algn="l" defTabSz="914400" rtl="0" eaLnBrk="1" latinLnBrk="0" hangingPunct="1">
      <a:lnSpc>
        <a:spcPct val="125000"/>
      </a:lnSpc>
      <a:buClr>
        <a:schemeClr val="tx2"/>
      </a:buClr>
      <a:buFont typeface="Wingdings" panose="05000000000000000000" pitchFamily="2" charset="2"/>
      <a:buChar char="§"/>
      <a:defRPr sz="1000" kern="1200">
        <a:solidFill>
          <a:schemeClr val="tx1"/>
        </a:solidFill>
        <a:latin typeface="+mn-lt"/>
        <a:ea typeface="+mn-ea"/>
        <a:cs typeface="+mn-cs"/>
      </a:defRPr>
    </a:lvl3pPr>
    <a:lvl4pPr marL="1260000" indent="-180000" algn="l" defTabSz="914400" rtl="0" eaLnBrk="1" latinLnBrk="0" hangingPunct="1">
      <a:lnSpc>
        <a:spcPct val="125000"/>
      </a:lnSpc>
      <a:buClr>
        <a:schemeClr val="tx2"/>
      </a:buClr>
      <a:buFont typeface="Wingdings" panose="05000000000000000000" pitchFamily="2" charset="2"/>
      <a:buChar char="§"/>
      <a:defRPr sz="1000" kern="1200">
        <a:solidFill>
          <a:schemeClr val="tx1"/>
        </a:solidFill>
        <a:latin typeface="+mn-lt"/>
        <a:ea typeface="+mn-ea"/>
        <a:cs typeface="+mn-cs"/>
      </a:defRPr>
    </a:lvl4pPr>
    <a:lvl5pPr marL="1620000" indent="-180000" algn="l" defTabSz="914400" rtl="0" eaLnBrk="1" latinLnBrk="0" hangingPunct="1">
      <a:lnSpc>
        <a:spcPct val="125000"/>
      </a:lnSpc>
      <a:buClr>
        <a:schemeClr val="tx2"/>
      </a:buClr>
      <a:buFont typeface="Wingdings" panose="05000000000000000000" pitchFamily="2" charset="2"/>
      <a:buChar char="§"/>
      <a:defRPr sz="10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en-US" dirty="0"/>
          </a:p>
        </p:txBody>
      </p:sp>
      <p:sp>
        <p:nvSpPr>
          <p:cNvPr id="4" name="Номер слайда 3"/>
          <p:cNvSpPr>
            <a:spLocks noGrp="1"/>
          </p:cNvSpPr>
          <p:nvPr>
            <p:ph type="sldNum" sz="quarter" idx="5"/>
          </p:nvPr>
        </p:nvSpPr>
        <p:spPr/>
        <p:txBody>
          <a:bodyPr/>
          <a:lstStyle/>
          <a:p>
            <a:fld id="{7A99B2F4-8F99-4FDD-A50D-433216698ED4}" type="slidenum">
              <a:rPr lang="en-US" smtClean="0"/>
              <a:pPr/>
              <a:t>1</a:t>
            </a:fld>
            <a:endParaRPr lang="en-US"/>
          </a:p>
        </p:txBody>
      </p:sp>
    </p:spTree>
    <p:extLst>
      <p:ext uri="{BB962C8B-B14F-4D97-AF65-F5344CB8AC3E}">
        <p14:creationId xmlns:p14="http://schemas.microsoft.com/office/powerpoint/2010/main" val="285414649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7800" y="862013"/>
            <a:ext cx="6472238" cy="3641725"/>
          </a:xfrm>
        </p:spPr>
      </p:sp>
      <p:sp>
        <p:nvSpPr>
          <p:cNvPr id="3" name="Notes Placeholder 2"/>
          <p:cNvSpPr>
            <a:spLocks noGrp="1"/>
          </p:cNvSpPr>
          <p:nvPr>
            <p:ph type="body" idx="1"/>
          </p:nvPr>
        </p:nvSpPr>
        <p:spPr/>
        <p:txBody>
          <a:bodyPr/>
          <a:lstStyle/>
          <a:p>
            <a:pPr marL="0" indent="0" defTabSz="891631">
              <a:buNone/>
              <a:defRPr/>
            </a:pPr>
            <a:endParaRPr lang="fr-FR"/>
          </a:p>
        </p:txBody>
      </p:sp>
    </p:spTree>
    <p:extLst>
      <p:ext uri="{BB962C8B-B14F-4D97-AF65-F5344CB8AC3E}">
        <p14:creationId xmlns:p14="http://schemas.microsoft.com/office/powerpoint/2010/main" val="302952662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7800" y="862013"/>
            <a:ext cx="6472238" cy="3641725"/>
          </a:xfrm>
        </p:spPr>
      </p:sp>
      <p:sp>
        <p:nvSpPr>
          <p:cNvPr id="3" name="Notes Placeholder 2"/>
          <p:cNvSpPr>
            <a:spLocks noGrp="1"/>
          </p:cNvSpPr>
          <p:nvPr>
            <p:ph type="body" idx="1"/>
          </p:nvPr>
        </p:nvSpPr>
        <p:spPr/>
        <p:txBody>
          <a:bodyPr/>
          <a:lstStyle/>
          <a:p>
            <a:pPr marL="0" indent="0">
              <a:buNone/>
            </a:pPr>
            <a:endParaRPr lang="de-DE"/>
          </a:p>
        </p:txBody>
      </p:sp>
    </p:spTree>
    <p:extLst>
      <p:ext uri="{BB962C8B-B14F-4D97-AF65-F5344CB8AC3E}">
        <p14:creationId xmlns:p14="http://schemas.microsoft.com/office/powerpoint/2010/main" val="9248145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a:xfrm>
            <a:off x="2697163" y="509588"/>
            <a:ext cx="4533900" cy="2549525"/>
          </a:xfrm>
        </p:spPr>
      </p:sp>
      <p:sp>
        <p:nvSpPr>
          <p:cNvPr id="3" name="Заметки 2"/>
          <p:cNvSpPr>
            <a:spLocks noGrp="1"/>
          </p:cNvSpPr>
          <p:nvPr>
            <p:ph type="body" idx="1"/>
          </p:nvPr>
        </p:nvSpPr>
        <p:spPr/>
        <p:txBody>
          <a:bodyPr/>
          <a:lstStyle/>
          <a:p>
            <a:pPr marL="0" indent="0">
              <a:buFontTx/>
              <a:buNone/>
            </a:pPr>
            <a:endParaRPr lang="en-US" baseline="0"/>
          </a:p>
        </p:txBody>
      </p:sp>
      <p:sp>
        <p:nvSpPr>
          <p:cNvPr id="4" name="Номер слайда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7DB24F1-B8D0-4568-BBF3-DFAA22848E2B}" type="slidenum">
              <a:rPr kumimoji="0" lang="ru-RU" sz="800" b="0" i="0" u="none" strike="noStrike" kern="1200" cap="none" spc="0" normalizeH="0" baseline="0" noProof="0" smtClean="0">
                <a:ln>
                  <a:noFill/>
                </a:ln>
                <a:solidFill>
                  <a:prstClr val="black"/>
                </a:solidFill>
                <a:effectLst/>
                <a:uLnTx/>
                <a:uFillTx/>
                <a:latin typeface="Lato"/>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ru-RU" sz="800" b="0" i="0" u="none" strike="noStrike" kern="1200" cap="none" spc="0" normalizeH="0" baseline="0" noProof="0">
              <a:ln>
                <a:noFill/>
              </a:ln>
              <a:solidFill>
                <a:prstClr val="black"/>
              </a:solidFill>
              <a:effectLst/>
              <a:uLnTx/>
              <a:uFillTx/>
              <a:latin typeface="Lato"/>
              <a:ea typeface="+mn-ea"/>
              <a:cs typeface="+mn-cs"/>
            </a:endParaRPr>
          </a:p>
        </p:txBody>
      </p:sp>
    </p:spTree>
    <p:extLst>
      <p:ext uri="{BB962C8B-B14F-4D97-AF65-F5344CB8AC3E}">
        <p14:creationId xmlns:p14="http://schemas.microsoft.com/office/powerpoint/2010/main" val="90207720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7800" y="862013"/>
            <a:ext cx="6472238" cy="3641725"/>
          </a:xfrm>
        </p:spPr>
      </p:sp>
      <p:sp>
        <p:nvSpPr>
          <p:cNvPr id="3" name="Notes Placeholder 2"/>
          <p:cNvSpPr>
            <a:spLocks noGrp="1"/>
          </p:cNvSpPr>
          <p:nvPr>
            <p:ph type="body" idx="1"/>
          </p:nvPr>
        </p:nvSpPr>
        <p:spPr/>
        <p:txBody>
          <a:bodyPr/>
          <a:lstStyle/>
          <a:p>
            <a:pPr marL="0" indent="0">
              <a:buNone/>
            </a:pPr>
            <a:endParaRPr lang="de-DE"/>
          </a:p>
        </p:txBody>
      </p:sp>
    </p:spTree>
    <p:extLst>
      <p:ext uri="{BB962C8B-B14F-4D97-AF65-F5344CB8AC3E}">
        <p14:creationId xmlns:p14="http://schemas.microsoft.com/office/powerpoint/2010/main" val="324941849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1679540-C702-4793-9C57-05D83D7E68CF}" type="slidenum">
              <a:rPr kumimoji="0" lang="ru-RU"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ru-RU"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7078628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A99B2F4-8F99-4FDD-A50D-433216698ED4}" type="slidenum">
              <a:rPr kumimoji="0" lang="en-US" sz="800" b="0" i="0" u="none" strike="noStrike" kern="1200" cap="none" spc="0" normalizeH="0" baseline="0" noProof="0" smtClean="0">
                <a:ln>
                  <a:noFill/>
                </a:ln>
                <a:solidFill>
                  <a:srgbClr val="414549"/>
                </a:solidFill>
                <a:effectLst/>
                <a:uLnTx/>
                <a:uFillTx/>
                <a:latin typeface="Lato"/>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US" sz="800" b="0" i="0" u="none" strike="noStrike" kern="1200" cap="none" spc="0" normalizeH="0" baseline="0" noProof="0">
              <a:ln>
                <a:noFill/>
              </a:ln>
              <a:solidFill>
                <a:srgbClr val="414549"/>
              </a:solidFill>
              <a:effectLst/>
              <a:uLnTx/>
              <a:uFillTx/>
              <a:latin typeface="Lato"/>
              <a:ea typeface="+mn-ea"/>
              <a:cs typeface="+mn-cs"/>
            </a:endParaRPr>
          </a:p>
        </p:txBody>
      </p:sp>
    </p:spTree>
    <p:extLst>
      <p:ext uri="{BB962C8B-B14F-4D97-AF65-F5344CB8AC3E}">
        <p14:creationId xmlns:p14="http://schemas.microsoft.com/office/powerpoint/2010/main" val="33159890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7800" y="862013"/>
            <a:ext cx="6472238" cy="3641725"/>
          </a:xfrm>
        </p:spPr>
      </p:sp>
      <p:sp>
        <p:nvSpPr>
          <p:cNvPr id="3" name="Notes Placeholder 2"/>
          <p:cNvSpPr>
            <a:spLocks noGrp="1"/>
          </p:cNvSpPr>
          <p:nvPr>
            <p:ph type="body" idx="1"/>
          </p:nvPr>
        </p:nvSpPr>
        <p:spPr/>
        <p:txBody>
          <a:bodyPr/>
          <a:lstStyle/>
          <a:p>
            <a:pPr marL="0" indent="0">
              <a:buNone/>
            </a:pPr>
            <a:endParaRPr lang="de-DE"/>
          </a:p>
        </p:txBody>
      </p:sp>
    </p:spTree>
    <p:extLst>
      <p:ext uri="{BB962C8B-B14F-4D97-AF65-F5344CB8AC3E}">
        <p14:creationId xmlns:p14="http://schemas.microsoft.com/office/powerpoint/2010/main" val="293690032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A99B2F4-8F99-4FDD-A50D-433216698ED4}" type="slidenum">
              <a:rPr kumimoji="0" lang="en-US" sz="900" b="0" i="0" u="none" strike="noStrike" kern="1200" cap="none" spc="0" normalizeH="0" baseline="0" noProof="0" smtClean="0">
                <a:ln>
                  <a:noFill/>
                </a:ln>
                <a:solidFill>
                  <a:srgbClr val="414549"/>
                </a:solidFill>
                <a:effectLst/>
                <a:uLnTx/>
                <a:uFillTx/>
                <a:latin typeface="Lato"/>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900" b="0" i="0" u="none" strike="noStrike" kern="1200" cap="none" spc="0" normalizeH="0" baseline="0" noProof="0">
              <a:ln>
                <a:noFill/>
              </a:ln>
              <a:solidFill>
                <a:srgbClr val="414549"/>
              </a:solidFill>
              <a:effectLst/>
              <a:uLnTx/>
              <a:uFillTx/>
              <a:latin typeface="Lato"/>
              <a:ea typeface="+mn-ea"/>
              <a:cs typeface="+mn-cs"/>
            </a:endParaRPr>
          </a:p>
        </p:txBody>
      </p:sp>
    </p:spTree>
    <p:extLst>
      <p:ext uri="{BB962C8B-B14F-4D97-AF65-F5344CB8AC3E}">
        <p14:creationId xmlns:p14="http://schemas.microsoft.com/office/powerpoint/2010/main" val="301352115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4813" y="771525"/>
            <a:ext cx="5780087" cy="3252788"/>
          </a:xfrm>
        </p:spPr>
      </p:sp>
      <p:sp>
        <p:nvSpPr>
          <p:cNvPr id="3" name="Notes Placeholder 2"/>
          <p:cNvSpPr>
            <a:spLocks noGrp="1"/>
          </p:cNvSpPr>
          <p:nvPr>
            <p:ph type="body" idx="1"/>
          </p:nvPr>
        </p:nvSpPr>
        <p:spPr/>
        <p:txBody>
          <a:bodyPr/>
          <a:lstStyle/>
          <a:p>
            <a:endParaRPr lang="en-US" baseline="0"/>
          </a:p>
        </p:txBody>
      </p:sp>
    </p:spTree>
    <p:extLst>
      <p:ext uri="{BB962C8B-B14F-4D97-AF65-F5344CB8AC3E}">
        <p14:creationId xmlns:p14="http://schemas.microsoft.com/office/powerpoint/2010/main" val="327806996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pPr marL="0" indent="0">
              <a:buNone/>
            </a:pPr>
            <a:endParaRPr lang="de-DE" sz="1300"/>
          </a:p>
        </p:txBody>
      </p:sp>
      <p:sp>
        <p:nvSpPr>
          <p:cNvPr id="4" name="Segnaposto numero diapositiva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6A60D15-2D95-4CA5-A489-891FB96ACDD1}" type="slidenum">
              <a:rPr kumimoji="0" lang="it-IT" sz="900" b="0" i="0" u="none" strike="noStrike" kern="1200" cap="none" spc="0" normalizeH="0" baseline="0" noProof="0" smtClean="0">
                <a:ln>
                  <a:noFill/>
                </a:ln>
                <a:solidFill>
                  <a:srgbClr val="414549"/>
                </a:solidFill>
                <a:effectLst/>
                <a:uLnTx/>
                <a:uFillTx/>
                <a:latin typeface="Lato"/>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it-IT" sz="900" b="0" i="0" u="none" strike="noStrike" kern="1200" cap="none" spc="0" normalizeH="0" baseline="0" noProof="0">
              <a:ln>
                <a:noFill/>
              </a:ln>
              <a:solidFill>
                <a:srgbClr val="414549"/>
              </a:solidFill>
              <a:effectLst/>
              <a:uLnTx/>
              <a:uFillTx/>
              <a:latin typeface="Lato"/>
              <a:ea typeface="+mn-ea"/>
              <a:cs typeface="+mn-cs"/>
            </a:endParaRPr>
          </a:p>
        </p:txBody>
      </p:sp>
    </p:spTree>
    <p:extLst>
      <p:ext uri="{BB962C8B-B14F-4D97-AF65-F5344CB8AC3E}">
        <p14:creationId xmlns:p14="http://schemas.microsoft.com/office/powerpoint/2010/main" val="132401831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pPr marL="0" indent="0">
              <a:buNone/>
            </a:pPr>
            <a:r>
              <a:rPr lang="ru-RU" dirty="0"/>
              <a:t>Обеспокоенность </a:t>
            </a:r>
            <a:r>
              <a:rPr lang="ru-RU" dirty="0" err="1"/>
              <a:t>короновирусом</a:t>
            </a:r>
            <a:r>
              <a:rPr lang="ru-RU" dirty="0"/>
              <a:t> снизилась среди москвичей (38% </a:t>
            </a:r>
            <a:r>
              <a:rPr lang="en-US" dirty="0"/>
              <a:t>vs </a:t>
            </a:r>
            <a:r>
              <a:rPr lang="ru-RU" dirty="0"/>
              <a:t>51%), теперь она самая низкая, а еще неделю назад была самая высокая и индекс в </a:t>
            </a:r>
            <a:r>
              <a:rPr lang="ru-RU" dirty="0" err="1"/>
              <a:t>москве</a:t>
            </a:r>
            <a:r>
              <a:rPr lang="ru-RU" dirty="0"/>
              <a:t> вырос, он стал среди самых высоких.</a:t>
            </a:r>
          </a:p>
          <a:p>
            <a:pPr marL="0" indent="0">
              <a:buNone/>
            </a:pPr>
            <a:r>
              <a:rPr lang="ru-RU" dirty="0"/>
              <a:t>Вторая волна характеризовалось более высокой озабоченностью: ценами, </a:t>
            </a:r>
            <a:r>
              <a:rPr lang="ru-RU" dirty="0" err="1"/>
              <a:t>короновирусом</a:t>
            </a:r>
            <a:r>
              <a:rPr lang="ru-RU" dirty="0"/>
              <a:t>, падением курса рубля, кризисом компании, в третьей волне наблюдается снижение озабоченности как будто какой-то пик проходили. </a:t>
            </a:r>
          </a:p>
          <a:p>
            <a:pPr marL="0" indent="0">
              <a:buNone/>
            </a:pPr>
            <a:r>
              <a:rPr lang="ru-RU" dirty="0"/>
              <a:t>Озабоченность сильно снизилась в возрастной группе 50 лет и старше (49% </a:t>
            </a:r>
            <a:r>
              <a:rPr lang="en-US" dirty="0"/>
              <a:t>Vs 60%)</a:t>
            </a:r>
            <a:r>
              <a:rPr lang="ru-RU" dirty="0"/>
              <a:t>, тенденция на снижение и в возрасте 30-39 лет (41% </a:t>
            </a:r>
            <a:r>
              <a:rPr lang="en-US" dirty="0"/>
              <a:t>vs </a:t>
            </a:r>
            <a:r>
              <a:rPr lang="ru-RU" dirty="0"/>
              <a:t>48%)</a:t>
            </a:r>
            <a:endParaRPr lang="en-US" dirty="0"/>
          </a:p>
        </p:txBody>
      </p:sp>
      <p:sp>
        <p:nvSpPr>
          <p:cNvPr id="4" name="Номер слайда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A99B2F4-8F99-4FDD-A50D-433216698ED4}" type="slidenum">
              <a:rPr kumimoji="0" lang="en-US" sz="800" b="0" i="0" u="none" strike="noStrike" kern="1200" cap="none" spc="0" normalizeH="0" baseline="0" noProof="0" smtClean="0">
                <a:ln>
                  <a:noFill/>
                </a:ln>
                <a:solidFill>
                  <a:srgbClr val="414549"/>
                </a:solidFill>
                <a:effectLst/>
                <a:uLnTx/>
                <a:uFillTx/>
                <a:latin typeface="Lato"/>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800" b="0" i="0" u="none" strike="noStrike" kern="1200" cap="none" spc="0" normalizeH="0" baseline="0" noProof="0">
              <a:ln>
                <a:noFill/>
              </a:ln>
              <a:solidFill>
                <a:srgbClr val="414549"/>
              </a:solidFill>
              <a:effectLst/>
              <a:uLnTx/>
              <a:uFillTx/>
              <a:latin typeface="Lato"/>
              <a:ea typeface="+mn-ea"/>
              <a:cs typeface="+mn-cs"/>
            </a:endParaRPr>
          </a:p>
        </p:txBody>
      </p:sp>
    </p:spTree>
    <p:extLst>
      <p:ext uri="{BB962C8B-B14F-4D97-AF65-F5344CB8AC3E}">
        <p14:creationId xmlns:p14="http://schemas.microsoft.com/office/powerpoint/2010/main" val="353031718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4813" y="771525"/>
            <a:ext cx="5780087" cy="3252788"/>
          </a:xfrm>
        </p:spPr>
      </p:sp>
      <p:sp>
        <p:nvSpPr>
          <p:cNvPr id="3" name="Notes Placeholder 2"/>
          <p:cNvSpPr>
            <a:spLocks noGrp="1"/>
          </p:cNvSpPr>
          <p:nvPr>
            <p:ph type="body" idx="1"/>
          </p:nvPr>
        </p:nvSpPr>
        <p:spPr/>
        <p:txBody>
          <a:bodyPr/>
          <a:lstStyle/>
          <a:p>
            <a:pPr marL="0" indent="0">
              <a:buNone/>
            </a:pPr>
            <a:endParaRPr lang="en-US" baseline="0"/>
          </a:p>
        </p:txBody>
      </p:sp>
    </p:spTree>
    <p:extLst>
      <p:ext uri="{BB962C8B-B14F-4D97-AF65-F5344CB8AC3E}">
        <p14:creationId xmlns:p14="http://schemas.microsoft.com/office/powerpoint/2010/main" val="225131631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5900" y="881063"/>
            <a:ext cx="6610350" cy="3719512"/>
          </a:xfrm>
        </p:spPr>
      </p:sp>
      <p:sp>
        <p:nvSpPr>
          <p:cNvPr id="3" name="Notes Placeholder 2"/>
          <p:cNvSpPr>
            <a:spLocks noGrp="1"/>
          </p:cNvSpPr>
          <p:nvPr>
            <p:ph type="body" idx="1"/>
          </p:nvPr>
        </p:nvSpPr>
        <p:spPr/>
        <p:txBody>
          <a:bodyPr/>
          <a:lstStyle/>
          <a:p>
            <a:pPr marL="0" indent="0">
              <a:buNone/>
            </a:pPr>
            <a:endParaRPr lang="de-DE" sz="1300"/>
          </a:p>
        </p:txBody>
      </p:sp>
    </p:spTree>
    <p:extLst>
      <p:ext uri="{BB962C8B-B14F-4D97-AF65-F5344CB8AC3E}">
        <p14:creationId xmlns:p14="http://schemas.microsoft.com/office/powerpoint/2010/main" val="350831215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5900" y="881063"/>
            <a:ext cx="6610350" cy="3719512"/>
          </a:xfrm>
        </p:spPr>
      </p:sp>
      <p:sp>
        <p:nvSpPr>
          <p:cNvPr id="3" name="Notes Placeholder 2"/>
          <p:cNvSpPr>
            <a:spLocks noGrp="1"/>
          </p:cNvSpPr>
          <p:nvPr>
            <p:ph type="body" idx="1"/>
          </p:nvPr>
        </p:nvSpPr>
        <p:spPr/>
        <p:txBody>
          <a:bodyPr/>
          <a:lstStyle/>
          <a:p>
            <a:endParaRPr lang="de-DE" sz="1300"/>
          </a:p>
        </p:txBody>
      </p:sp>
    </p:spTree>
    <p:extLst>
      <p:ext uri="{BB962C8B-B14F-4D97-AF65-F5344CB8AC3E}">
        <p14:creationId xmlns:p14="http://schemas.microsoft.com/office/powerpoint/2010/main" val="287373758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31.xml"/></Relationships>
</file>

<file path=ppt/slideLayouts/_rels/slideLayout112.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33.xml"/><Relationship Id="rId1" Type="http://schemas.openxmlformats.org/officeDocument/2006/relationships/tags" Target="../tags/tag32.xml"/></Relationships>
</file>

<file path=ppt/slideLayouts/_rels/slideLayout113.xml.rels><?xml version="1.0" encoding="UTF-8" standalone="yes"?>
<Relationships xmlns="http://schemas.openxmlformats.org/package/2006/relationships"><Relationship Id="rId3" Type="http://schemas.openxmlformats.org/officeDocument/2006/relationships/tags" Target="../tags/tag36.xml"/><Relationship Id="rId2" Type="http://schemas.openxmlformats.org/officeDocument/2006/relationships/tags" Target="../tags/tag35.xml"/><Relationship Id="rId1" Type="http://schemas.openxmlformats.org/officeDocument/2006/relationships/tags" Target="../tags/tag34.xml"/><Relationship Id="rId4" Type="http://schemas.openxmlformats.org/officeDocument/2006/relationships/slideMaster" Target="../slideMasters/slideMaster5.xml"/></Relationships>
</file>

<file path=ppt/slideLayouts/_rels/slideLayout114.xml.rels><?xml version="1.0" encoding="UTF-8" standalone="yes"?>
<Relationships xmlns="http://schemas.openxmlformats.org/package/2006/relationships"><Relationship Id="rId3" Type="http://schemas.openxmlformats.org/officeDocument/2006/relationships/tags" Target="../tags/tag39.xml"/><Relationship Id="rId2" Type="http://schemas.openxmlformats.org/officeDocument/2006/relationships/tags" Target="../tags/tag38.xml"/><Relationship Id="rId1" Type="http://schemas.openxmlformats.org/officeDocument/2006/relationships/tags" Target="../tags/tag37.xml"/><Relationship Id="rId5" Type="http://schemas.openxmlformats.org/officeDocument/2006/relationships/slideMaster" Target="../slideMasters/slideMaster5.xml"/><Relationship Id="rId4" Type="http://schemas.openxmlformats.org/officeDocument/2006/relationships/tags" Target="../tags/tag40.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5.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6.xml"/></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6.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6.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6.xml"/></Relationships>
</file>

<file path=ppt/slideLayouts/_rels/slideLayout137.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6.xml"/></Relationships>
</file>

<file path=ppt/slideLayouts/_rels/slideLayout138.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6.xml"/></Relationships>
</file>

<file path=ppt/slideLayouts/_rels/slideLayout139.xml.rels><?xml version="1.0" encoding="UTF-8" standalone="yes"?>
<Relationships xmlns="http://schemas.openxmlformats.org/package/2006/relationships"><Relationship Id="rId2" Type="http://schemas.openxmlformats.org/officeDocument/2006/relationships/slideMaster" Target="../slideMasters/slideMaster6.xml"/><Relationship Id="rId1" Type="http://schemas.openxmlformats.org/officeDocument/2006/relationships/tags" Target="../tags/tag4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43.xml"/><Relationship Id="rId1" Type="http://schemas.openxmlformats.org/officeDocument/2006/relationships/tags" Target="../tags/tag42.xml"/></Relationships>
</file>

<file path=ppt/slideLayouts/_rels/slideLayout141.xml.rels><?xml version="1.0" encoding="UTF-8" standalone="yes"?>
<Relationships xmlns="http://schemas.openxmlformats.org/package/2006/relationships"><Relationship Id="rId3" Type="http://schemas.openxmlformats.org/officeDocument/2006/relationships/tags" Target="../tags/tag46.xml"/><Relationship Id="rId2" Type="http://schemas.openxmlformats.org/officeDocument/2006/relationships/tags" Target="../tags/tag45.xml"/><Relationship Id="rId1" Type="http://schemas.openxmlformats.org/officeDocument/2006/relationships/tags" Target="../tags/tag44.xml"/><Relationship Id="rId4" Type="http://schemas.openxmlformats.org/officeDocument/2006/relationships/slideMaster" Target="../slideMasters/slideMaster6.xml"/></Relationships>
</file>

<file path=ppt/slideLayouts/_rels/slideLayout142.xml.rels><?xml version="1.0" encoding="UTF-8" standalone="yes"?>
<Relationships xmlns="http://schemas.openxmlformats.org/package/2006/relationships"><Relationship Id="rId3" Type="http://schemas.openxmlformats.org/officeDocument/2006/relationships/tags" Target="../tags/tag49.xml"/><Relationship Id="rId2" Type="http://schemas.openxmlformats.org/officeDocument/2006/relationships/tags" Target="../tags/tag48.xml"/><Relationship Id="rId1" Type="http://schemas.openxmlformats.org/officeDocument/2006/relationships/tags" Target="../tags/tag47.xml"/><Relationship Id="rId5" Type="http://schemas.openxmlformats.org/officeDocument/2006/relationships/slideMaster" Target="../slideMasters/slideMaster6.xml"/><Relationship Id="rId4" Type="http://schemas.openxmlformats.org/officeDocument/2006/relationships/tags" Target="../tags/tag50.xml"/></Relationships>
</file>

<file path=ppt/slideLayouts/_rels/slideLayout143.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6.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9.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51.xml"/><Relationship Id="rId1" Type="http://schemas.openxmlformats.org/officeDocument/2006/relationships/vmlDrawing" Target="../drawings/vmlDrawing11.vml"/><Relationship Id="rId5" Type="http://schemas.openxmlformats.org/officeDocument/2006/relationships/image" Target="../media/image20.emf"/><Relationship Id="rId4" Type="http://schemas.openxmlformats.org/officeDocument/2006/relationships/oleObject" Target="../embeddings/oleObject11.bin"/></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52.xml"/><Relationship Id="rId1" Type="http://schemas.openxmlformats.org/officeDocument/2006/relationships/vmlDrawing" Target="../drawings/vmlDrawing12.vml"/><Relationship Id="rId5" Type="http://schemas.openxmlformats.org/officeDocument/2006/relationships/image" Target="../media/image20.emf"/><Relationship Id="rId4" Type="http://schemas.openxmlformats.org/officeDocument/2006/relationships/oleObject" Target="../embeddings/oleObject12.bin"/></Relationships>
</file>

<file path=ppt/slideLayouts/_rels/slideLayout151.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7.xml"/></Relationships>
</file>

<file path=ppt/slideLayouts/_rels/slideLayout152.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7.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7.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Master" Target="../slideMasters/slideMaster7.xml"/></Relationships>
</file>

<file path=ppt/slideLayouts/_rels/slideLayout168.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7.xml"/></Relationships>
</file>

<file path=ppt/slideLayouts/_rels/slideLayout169.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7.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2" Type="http://schemas.openxmlformats.org/officeDocument/2006/relationships/slideMaster" Target="../slideMasters/slideMaster7.xml"/><Relationship Id="rId1" Type="http://schemas.openxmlformats.org/officeDocument/2006/relationships/tags" Target="../tags/tag53.xml"/></Relationships>
</file>

<file path=ppt/slideLayouts/_rels/slideLayout171.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55.xml"/><Relationship Id="rId1" Type="http://schemas.openxmlformats.org/officeDocument/2006/relationships/tags" Target="../tags/tag54.xml"/></Relationships>
</file>

<file path=ppt/slideLayouts/_rels/slideLayout172.xml.rels><?xml version="1.0" encoding="UTF-8" standalone="yes"?>
<Relationships xmlns="http://schemas.openxmlformats.org/package/2006/relationships"><Relationship Id="rId3" Type="http://schemas.openxmlformats.org/officeDocument/2006/relationships/tags" Target="../tags/tag58.xml"/><Relationship Id="rId2" Type="http://schemas.openxmlformats.org/officeDocument/2006/relationships/tags" Target="../tags/tag57.xml"/><Relationship Id="rId1" Type="http://schemas.openxmlformats.org/officeDocument/2006/relationships/tags" Target="../tags/tag56.xml"/><Relationship Id="rId4" Type="http://schemas.openxmlformats.org/officeDocument/2006/relationships/slideMaster" Target="../slideMasters/slideMaster7.xml"/></Relationships>
</file>

<file path=ppt/slideLayouts/_rels/slideLayout173.xml.rels><?xml version="1.0" encoding="UTF-8" standalone="yes"?>
<Relationships xmlns="http://schemas.openxmlformats.org/package/2006/relationships"><Relationship Id="rId3" Type="http://schemas.openxmlformats.org/officeDocument/2006/relationships/tags" Target="../tags/tag61.xml"/><Relationship Id="rId2" Type="http://schemas.openxmlformats.org/officeDocument/2006/relationships/tags" Target="../tags/tag60.xml"/><Relationship Id="rId1" Type="http://schemas.openxmlformats.org/officeDocument/2006/relationships/tags" Target="../tags/tag59.xml"/><Relationship Id="rId5" Type="http://schemas.openxmlformats.org/officeDocument/2006/relationships/slideMaster" Target="../slideMasters/slideMaster7.xml"/><Relationship Id="rId4" Type="http://schemas.openxmlformats.org/officeDocument/2006/relationships/tags" Target="../tags/tag62.xml"/></Relationships>
</file>

<file path=ppt/slideLayouts/_rels/slideLayout174.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7.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9.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Master" Target="../slideMasters/slideMaster8.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8.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7.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8.xml"/></Relationships>
</file>

<file path=ppt/slideLayouts/_rels/slideLayout198.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8.xml"/></Relationships>
</file>

<file path=ppt/slideLayouts/_rels/slideLayout199.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Master" Target="../slideMasters/slideMaster8.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2" Type="http://schemas.openxmlformats.org/officeDocument/2006/relationships/slideMaster" Target="../slideMasters/slideMaster8.xml"/><Relationship Id="rId1" Type="http://schemas.openxmlformats.org/officeDocument/2006/relationships/tags" Target="../tags/tag63.xml"/></Relationships>
</file>

<file path=ppt/slideLayouts/_rels/slideLayout201.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65.xml"/><Relationship Id="rId1" Type="http://schemas.openxmlformats.org/officeDocument/2006/relationships/tags" Target="../tags/tag64.xml"/></Relationships>
</file>

<file path=ppt/slideLayouts/_rels/slideLayout202.xml.rels><?xml version="1.0" encoding="UTF-8" standalone="yes"?>
<Relationships xmlns="http://schemas.openxmlformats.org/package/2006/relationships"><Relationship Id="rId3" Type="http://schemas.openxmlformats.org/officeDocument/2006/relationships/tags" Target="../tags/tag68.xml"/><Relationship Id="rId2" Type="http://schemas.openxmlformats.org/officeDocument/2006/relationships/tags" Target="../tags/tag67.xml"/><Relationship Id="rId1" Type="http://schemas.openxmlformats.org/officeDocument/2006/relationships/tags" Target="../tags/tag66.xml"/><Relationship Id="rId4" Type="http://schemas.openxmlformats.org/officeDocument/2006/relationships/slideMaster" Target="../slideMasters/slideMaster8.xml"/></Relationships>
</file>

<file path=ppt/slideLayouts/_rels/slideLayout203.xml.rels><?xml version="1.0" encoding="UTF-8" standalone="yes"?>
<Relationships xmlns="http://schemas.openxmlformats.org/package/2006/relationships"><Relationship Id="rId3" Type="http://schemas.openxmlformats.org/officeDocument/2006/relationships/tags" Target="../tags/tag71.xml"/><Relationship Id="rId2" Type="http://schemas.openxmlformats.org/officeDocument/2006/relationships/tags" Target="../tags/tag70.xml"/><Relationship Id="rId1" Type="http://schemas.openxmlformats.org/officeDocument/2006/relationships/tags" Target="../tags/tag69.xml"/><Relationship Id="rId5" Type="http://schemas.openxmlformats.org/officeDocument/2006/relationships/slideMaster" Target="../slideMasters/slideMaster8.xml"/><Relationship Id="rId4" Type="http://schemas.openxmlformats.org/officeDocument/2006/relationships/tags" Target="../tags/tag72.xml"/></Relationships>
</file>

<file path=ppt/slideLayouts/_rels/slideLayout204.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8.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8.xml.rels><?xml version="1.0" encoding="UTF-8" standalone="yes"?>
<Relationships xmlns="http://schemas.openxmlformats.org/package/2006/relationships"><Relationship Id="rId2" Type="http://schemas.openxmlformats.org/officeDocument/2006/relationships/image" Target="../media/image27.jpeg"/><Relationship Id="rId1" Type="http://schemas.openxmlformats.org/officeDocument/2006/relationships/slideMaster" Target="../slideMasters/slideMaster9.xml"/></Relationships>
</file>

<file path=ppt/slideLayouts/_rels/slideLayout209.xml.rels><?xml version="1.0" encoding="UTF-8" standalone="yes"?>
<Relationships xmlns="http://schemas.openxmlformats.org/package/2006/relationships"><Relationship Id="rId3" Type="http://schemas.openxmlformats.org/officeDocument/2006/relationships/tags" Target="../tags/tag76.xml"/><Relationship Id="rId2" Type="http://schemas.openxmlformats.org/officeDocument/2006/relationships/tags" Target="../tags/tag75.xml"/><Relationship Id="rId1" Type="http://schemas.openxmlformats.org/officeDocument/2006/relationships/vmlDrawing" Target="../drawings/vmlDrawing14.vml"/><Relationship Id="rId6" Type="http://schemas.openxmlformats.org/officeDocument/2006/relationships/image" Target="../media/image25.emf"/><Relationship Id="rId5" Type="http://schemas.openxmlformats.org/officeDocument/2006/relationships/oleObject" Target="../embeddings/oleObject14.bin"/><Relationship Id="rId4" Type="http://schemas.openxmlformats.org/officeDocument/2006/relationships/slideMaster" Target="../slideMasters/slideMaster9.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4.xml.rels><?xml version="1.0" encoding="UTF-8" standalone="yes"?>
<Relationships xmlns="http://schemas.openxmlformats.org/package/2006/relationships"><Relationship Id="rId2" Type="http://schemas.openxmlformats.org/officeDocument/2006/relationships/image" Target="../media/image28.jpeg"/><Relationship Id="rId1" Type="http://schemas.openxmlformats.org/officeDocument/2006/relationships/slideMaster" Target="../slideMasters/slideMaster9.xml"/></Relationships>
</file>

<file path=ppt/slideLayouts/_rels/slideLayout215.xml.rels><?xml version="1.0" encoding="UTF-8" standalone="yes"?>
<Relationships xmlns="http://schemas.openxmlformats.org/package/2006/relationships"><Relationship Id="rId3" Type="http://schemas.openxmlformats.org/officeDocument/2006/relationships/tags" Target="../tags/tag78.xml"/><Relationship Id="rId2" Type="http://schemas.openxmlformats.org/officeDocument/2006/relationships/tags" Target="../tags/tag77.xml"/><Relationship Id="rId1" Type="http://schemas.openxmlformats.org/officeDocument/2006/relationships/vmlDrawing" Target="../drawings/vmlDrawing15.vml"/><Relationship Id="rId6" Type="http://schemas.openxmlformats.org/officeDocument/2006/relationships/image" Target="../media/image25.emf"/><Relationship Id="rId5" Type="http://schemas.openxmlformats.org/officeDocument/2006/relationships/oleObject" Target="../embeddings/oleObject15.bin"/><Relationship Id="rId4" Type="http://schemas.openxmlformats.org/officeDocument/2006/relationships/slideMaster" Target="../slideMasters/slideMaster9.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7.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Master" Target="../slideMasters/slideMaster10.xml"/></Relationships>
</file>

<file path=ppt/slideLayouts/_rels/slideLayout218.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10.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5.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10.xml"/></Relationships>
</file>

<file path=ppt/slideLayouts/_rels/slideLayout236.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10.xml"/></Relationships>
</file>

<file path=ppt/slideLayouts/_rels/slideLayout237.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Master" Target="../slideMasters/slideMaster10.xml"/></Relationships>
</file>

<file path=ppt/slideLayouts/_rels/slideLayout238.xml.rels><?xml version="1.0" encoding="UTF-8" standalone="yes"?>
<Relationships xmlns="http://schemas.openxmlformats.org/package/2006/relationships"><Relationship Id="rId2" Type="http://schemas.openxmlformats.org/officeDocument/2006/relationships/slideMaster" Target="../slideMasters/slideMaster10.xml"/><Relationship Id="rId1" Type="http://schemas.openxmlformats.org/officeDocument/2006/relationships/tags" Target="../tags/tag79.xml"/></Relationships>
</file>

<file path=ppt/slideLayouts/_rels/slideLayout239.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81.xml"/><Relationship Id="rId1" Type="http://schemas.openxmlformats.org/officeDocument/2006/relationships/tags" Target="../tags/tag80.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0.xml.rels><?xml version="1.0" encoding="UTF-8" standalone="yes"?>
<Relationships xmlns="http://schemas.openxmlformats.org/package/2006/relationships"><Relationship Id="rId3" Type="http://schemas.openxmlformats.org/officeDocument/2006/relationships/tags" Target="../tags/tag84.xml"/><Relationship Id="rId2" Type="http://schemas.openxmlformats.org/officeDocument/2006/relationships/tags" Target="../tags/tag83.xml"/><Relationship Id="rId1" Type="http://schemas.openxmlformats.org/officeDocument/2006/relationships/tags" Target="../tags/tag82.xml"/><Relationship Id="rId4" Type="http://schemas.openxmlformats.org/officeDocument/2006/relationships/slideMaster" Target="../slideMasters/slideMaster10.xml"/></Relationships>
</file>

<file path=ppt/slideLayouts/_rels/slideLayout241.xml.rels><?xml version="1.0" encoding="UTF-8" standalone="yes"?>
<Relationships xmlns="http://schemas.openxmlformats.org/package/2006/relationships"><Relationship Id="rId3" Type="http://schemas.openxmlformats.org/officeDocument/2006/relationships/tags" Target="../tags/tag87.xml"/><Relationship Id="rId2" Type="http://schemas.openxmlformats.org/officeDocument/2006/relationships/tags" Target="../tags/tag86.xml"/><Relationship Id="rId1" Type="http://schemas.openxmlformats.org/officeDocument/2006/relationships/tags" Target="../tags/tag85.xml"/><Relationship Id="rId5" Type="http://schemas.openxmlformats.org/officeDocument/2006/relationships/slideMaster" Target="../slideMasters/slideMaster10.xml"/><Relationship Id="rId4" Type="http://schemas.openxmlformats.org/officeDocument/2006/relationships/tags" Target="../tags/tag88.xml"/></Relationships>
</file>

<file path=ppt/slideLayouts/_rels/slideLayout242.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10.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7.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11.xml"/></Relationships>
</file>

<file path=ppt/slideLayouts/_rels/slideLayout248.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11.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3.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Master" Target="../slideMasters/slideMaster11.xml"/></Relationships>
</file>

<file path=ppt/slideLayouts/_rels/slideLayout264.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1.xml"/></Relationships>
</file>

<file path=ppt/slideLayouts/_rels/slideLayout265.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11.xml"/></Relationships>
</file>

<file path=ppt/slideLayouts/_rels/slideLayout266.xml.rels><?xml version="1.0" encoding="UTF-8" standalone="yes"?>
<Relationships xmlns="http://schemas.openxmlformats.org/package/2006/relationships"><Relationship Id="rId2" Type="http://schemas.openxmlformats.org/officeDocument/2006/relationships/slideMaster" Target="../slideMasters/slideMaster11.xml"/><Relationship Id="rId1" Type="http://schemas.openxmlformats.org/officeDocument/2006/relationships/tags" Target="../tags/tag89.xml"/></Relationships>
</file>

<file path=ppt/slideLayouts/_rels/slideLayout267.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91.xml"/><Relationship Id="rId1" Type="http://schemas.openxmlformats.org/officeDocument/2006/relationships/tags" Target="../tags/tag90.xml"/></Relationships>
</file>

<file path=ppt/slideLayouts/_rels/slideLayout268.xml.rels><?xml version="1.0" encoding="UTF-8" standalone="yes"?>
<Relationships xmlns="http://schemas.openxmlformats.org/package/2006/relationships"><Relationship Id="rId3" Type="http://schemas.openxmlformats.org/officeDocument/2006/relationships/tags" Target="../tags/tag94.xml"/><Relationship Id="rId2" Type="http://schemas.openxmlformats.org/officeDocument/2006/relationships/tags" Target="../tags/tag93.xml"/><Relationship Id="rId1" Type="http://schemas.openxmlformats.org/officeDocument/2006/relationships/tags" Target="../tags/tag92.xml"/><Relationship Id="rId4" Type="http://schemas.openxmlformats.org/officeDocument/2006/relationships/slideMaster" Target="../slideMasters/slideMaster11.xml"/></Relationships>
</file>

<file path=ppt/slideLayouts/_rels/slideLayout269.xml.rels><?xml version="1.0" encoding="UTF-8" standalone="yes"?>
<Relationships xmlns="http://schemas.openxmlformats.org/package/2006/relationships"><Relationship Id="rId3" Type="http://schemas.openxmlformats.org/officeDocument/2006/relationships/tags" Target="../tags/tag97.xml"/><Relationship Id="rId2" Type="http://schemas.openxmlformats.org/officeDocument/2006/relationships/tags" Target="../tags/tag96.xml"/><Relationship Id="rId1" Type="http://schemas.openxmlformats.org/officeDocument/2006/relationships/tags" Target="../tags/tag95.xml"/><Relationship Id="rId5" Type="http://schemas.openxmlformats.org/officeDocument/2006/relationships/slideMaster" Target="../slideMasters/slideMaster11.xml"/><Relationship Id="rId4" Type="http://schemas.openxmlformats.org/officeDocument/2006/relationships/tags" Target="../tags/tag98.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0.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11.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6.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12.xml"/></Relationships>
</file>

<file path=ppt/slideLayouts/_rels/slideLayout277.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12.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92.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12.xml"/></Relationships>
</file>

<file path=ppt/slideLayouts/_rels/slideLayout293.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12.xml"/></Relationships>
</file>

<file path=ppt/slideLayouts/_rels/slideLayout294.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12.xml"/></Relationships>
</file>

<file path=ppt/slideLayouts/_rels/slideLayout295.xml.rels><?xml version="1.0" encoding="UTF-8" standalone="yes"?>
<Relationships xmlns="http://schemas.openxmlformats.org/package/2006/relationships"><Relationship Id="rId2" Type="http://schemas.openxmlformats.org/officeDocument/2006/relationships/slideMaster" Target="../slideMasters/slideMaster12.xml"/><Relationship Id="rId1" Type="http://schemas.openxmlformats.org/officeDocument/2006/relationships/tags" Target="../tags/tag101.xml"/></Relationships>
</file>

<file path=ppt/slideLayouts/_rels/slideLayout296.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103.xml"/><Relationship Id="rId1" Type="http://schemas.openxmlformats.org/officeDocument/2006/relationships/tags" Target="../tags/tag102.xml"/></Relationships>
</file>

<file path=ppt/slideLayouts/_rels/slideLayout297.xml.rels><?xml version="1.0" encoding="UTF-8" standalone="yes"?>
<Relationships xmlns="http://schemas.openxmlformats.org/package/2006/relationships"><Relationship Id="rId3" Type="http://schemas.openxmlformats.org/officeDocument/2006/relationships/tags" Target="../tags/tag106.xml"/><Relationship Id="rId2" Type="http://schemas.openxmlformats.org/officeDocument/2006/relationships/tags" Target="../tags/tag105.xml"/><Relationship Id="rId1" Type="http://schemas.openxmlformats.org/officeDocument/2006/relationships/tags" Target="../tags/tag104.xml"/><Relationship Id="rId4" Type="http://schemas.openxmlformats.org/officeDocument/2006/relationships/slideMaster" Target="../slideMasters/slideMaster12.xml"/></Relationships>
</file>

<file path=ppt/slideLayouts/_rels/slideLayout298.xml.rels><?xml version="1.0" encoding="UTF-8" standalone="yes"?>
<Relationships xmlns="http://schemas.openxmlformats.org/package/2006/relationships"><Relationship Id="rId3" Type="http://schemas.openxmlformats.org/officeDocument/2006/relationships/tags" Target="../tags/tag109.xml"/><Relationship Id="rId2" Type="http://schemas.openxmlformats.org/officeDocument/2006/relationships/tags" Target="../tags/tag108.xml"/><Relationship Id="rId1" Type="http://schemas.openxmlformats.org/officeDocument/2006/relationships/tags" Target="../tags/tag107.xml"/><Relationship Id="rId5" Type="http://schemas.openxmlformats.org/officeDocument/2006/relationships/slideMaster" Target="../slideMasters/slideMaster12.xml"/><Relationship Id="rId4" Type="http://schemas.openxmlformats.org/officeDocument/2006/relationships/tags" Target="../tags/tag110.xml"/></Relationships>
</file>

<file path=ppt/slideLayouts/_rels/slideLayout299.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1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04.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13.xml"/></Relationships>
</file>

<file path=ppt/slideLayouts/_rels/slideLayout305.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13.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0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0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0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31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1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1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1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1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1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1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0.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13.xml"/></Relationships>
</file>

<file path=ppt/slideLayouts/_rels/slideLayout321.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13.xml"/></Relationships>
</file>

<file path=ppt/slideLayouts/_rels/slideLayout322.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13.xml"/></Relationships>
</file>

<file path=ppt/slideLayouts/_rels/slideLayout323.xml.rels><?xml version="1.0" encoding="UTF-8" standalone="yes"?>
<Relationships xmlns="http://schemas.openxmlformats.org/package/2006/relationships"><Relationship Id="rId2" Type="http://schemas.openxmlformats.org/officeDocument/2006/relationships/slideMaster" Target="../slideMasters/slideMaster13.xml"/><Relationship Id="rId1" Type="http://schemas.openxmlformats.org/officeDocument/2006/relationships/tags" Target="../tags/tag113.xml"/></Relationships>
</file>

<file path=ppt/slideLayouts/_rels/slideLayout324.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15.xml"/><Relationship Id="rId1" Type="http://schemas.openxmlformats.org/officeDocument/2006/relationships/tags" Target="../tags/tag114.xml"/></Relationships>
</file>

<file path=ppt/slideLayouts/_rels/slideLayout325.xml.rels><?xml version="1.0" encoding="UTF-8" standalone="yes"?>
<Relationships xmlns="http://schemas.openxmlformats.org/package/2006/relationships"><Relationship Id="rId3" Type="http://schemas.openxmlformats.org/officeDocument/2006/relationships/tags" Target="../tags/tag118.xml"/><Relationship Id="rId2" Type="http://schemas.openxmlformats.org/officeDocument/2006/relationships/tags" Target="../tags/tag117.xml"/><Relationship Id="rId1" Type="http://schemas.openxmlformats.org/officeDocument/2006/relationships/tags" Target="../tags/tag116.xml"/><Relationship Id="rId4" Type="http://schemas.openxmlformats.org/officeDocument/2006/relationships/slideMaster" Target="../slideMasters/slideMaster13.xml"/></Relationships>
</file>

<file path=ppt/slideLayouts/_rels/slideLayout326.xml.rels><?xml version="1.0" encoding="UTF-8" standalone="yes"?>
<Relationships xmlns="http://schemas.openxmlformats.org/package/2006/relationships"><Relationship Id="rId3" Type="http://schemas.openxmlformats.org/officeDocument/2006/relationships/tags" Target="../tags/tag121.xml"/><Relationship Id="rId2" Type="http://schemas.openxmlformats.org/officeDocument/2006/relationships/tags" Target="../tags/tag120.xml"/><Relationship Id="rId1" Type="http://schemas.openxmlformats.org/officeDocument/2006/relationships/tags" Target="../tags/tag119.xml"/><Relationship Id="rId5" Type="http://schemas.openxmlformats.org/officeDocument/2006/relationships/slideMaster" Target="../slideMasters/slideMaster13.xml"/><Relationship Id="rId4" Type="http://schemas.openxmlformats.org/officeDocument/2006/relationships/tags" Target="../tags/tag122.xml"/></Relationships>
</file>

<file path=ppt/slideLayouts/_rels/slideLayout327.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13.xml"/></Relationships>
</file>

<file path=ppt/slideLayouts/_rels/slideLayout32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2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3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32.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14.xml"/></Relationships>
</file>

<file path=ppt/slideLayouts/_rels/slideLayout333.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14.xml"/></Relationships>
</file>

<file path=ppt/slideLayouts/_rels/slideLayout33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34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4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4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4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4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4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4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4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48.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14.xml"/></Relationships>
</file>

<file path=ppt/slideLayouts/_rels/slideLayout349.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1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0.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14.xml"/></Relationships>
</file>

<file path=ppt/slideLayouts/_rels/slideLayout351.xml.rels><?xml version="1.0" encoding="UTF-8" standalone="yes"?>
<Relationships xmlns="http://schemas.openxmlformats.org/package/2006/relationships"><Relationship Id="rId2" Type="http://schemas.openxmlformats.org/officeDocument/2006/relationships/slideMaster" Target="../slideMasters/slideMaster14.xml"/><Relationship Id="rId1" Type="http://schemas.openxmlformats.org/officeDocument/2006/relationships/tags" Target="../tags/tag125.xml"/></Relationships>
</file>

<file path=ppt/slideLayouts/_rels/slideLayout352.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127.xml"/><Relationship Id="rId1" Type="http://schemas.openxmlformats.org/officeDocument/2006/relationships/tags" Target="../tags/tag126.xml"/></Relationships>
</file>

<file path=ppt/slideLayouts/_rels/slideLayout353.xml.rels><?xml version="1.0" encoding="UTF-8" standalone="yes"?>
<Relationships xmlns="http://schemas.openxmlformats.org/package/2006/relationships"><Relationship Id="rId3" Type="http://schemas.openxmlformats.org/officeDocument/2006/relationships/tags" Target="../tags/tag130.xml"/><Relationship Id="rId2" Type="http://schemas.openxmlformats.org/officeDocument/2006/relationships/tags" Target="../tags/tag129.xml"/><Relationship Id="rId1" Type="http://schemas.openxmlformats.org/officeDocument/2006/relationships/tags" Target="../tags/tag128.xml"/><Relationship Id="rId4" Type="http://schemas.openxmlformats.org/officeDocument/2006/relationships/slideMaster" Target="../slideMasters/slideMaster14.xml"/></Relationships>
</file>

<file path=ppt/slideLayouts/_rels/slideLayout354.xml.rels><?xml version="1.0" encoding="UTF-8" standalone="yes"?>
<Relationships xmlns="http://schemas.openxmlformats.org/package/2006/relationships"><Relationship Id="rId3" Type="http://schemas.openxmlformats.org/officeDocument/2006/relationships/tags" Target="../tags/tag133.xml"/><Relationship Id="rId2" Type="http://schemas.openxmlformats.org/officeDocument/2006/relationships/tags" Target="../tags/tag132.xml"/><Relationship Id="rId1" Type="http://schemas.openxmlformats.org/officeDocument/2006/relationships/tags" Target="../tags/tag131.xml"/><Relationship Id="rId5" Type="http://schemas.openxmlformats.org/officeDocument/2006/relationships/slideMaster" Target="../slideMasters/slideMaster14.xml"/><Relationship Id="rId4" Type="http://schemas.openxmlformats.org/officeDocument/2006/relationships/tags" Target="../tags/tag134.xml"/></Relationships>
</file>

<file path=ppt/slideLayouts/_rels/slideLayout355.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14.xml"/></Relationships>
</file>

<file path=ppt/slideLayouts/_rels/slideLayout35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5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5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5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0.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15.xml"/></Relationships>
</file>

<file path=ppt/slideLayouts/_rels/slideLayout361.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15.xml"/></Relationships>
</file>

<file path=ppt/slideLayouts/_rels/slideLayout36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7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7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7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7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7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76.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15.xml"/></Relationships>
</file>

<file path=ppt/slideLayouts/_rels/slideLayout377.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15.xml"/></Relationships>
</file>

<file path=ppt/slideLayouts/_rels/slideLayout378.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15.xml"/></Relationships>
</file>

<file path=ppt/slideLayouts/_rels/slideLayout379.xml.rels><?xml version="1.0" encoding="UTF-8" standalone="yes"?>
<Relationships xmlns="http://schemas.openxmlformats.org/package/2006/relationships"><Relationship Id="rId2" Type="http://schemas.openxmlformats.org/officeDocument/2006/relationships/slideMaster" Target="../slideMasters/slideMaster15.xml"/><Relationship Id="rId1" Type="http://schemas.openxmlformats.org/officeDocument/2006/relationships/tags" Target="../tags/tag137.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0.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139.xml"/><Relationship Id="rId1" Type="http://schemas.openxmlformats.org/officeDocument/2006/relationships/tags" Target="../tags/tag138.xml"/></Relationships>
</file>

<file path=ppt/slideLayouts/_rels/slideLayout381.xml.rels><?xml version="1.0" encoding="UTF-8" standalone="yes"?>
<Relationships xmlns="http://schemas.openxmlformats.org/package/2006/relationships"><Relationship Id="rId3" Type="http://schemas.openxmlformats.org/officeDocument/2006/relationships/tags" Target="../tags/tag142.xml"/><Relationship Id="rId2" Type="http://schemas.openxmlformats.org/officeDocument/2006/relationships/tags" Target="../tags/tag141.xml"/><Relationship Id="rId1" Type="http://schemas.openxmlformats.org/officeDocument/2006/relationships/tags" Target="../tags/tag140.xml"/><Relationship Id="rId4" Type="http://schemas.openxmlformats.org/officeDocument/2006/relationships/slideMaster" Target="../slideMasters/slideMaster15.xml"/></Relationships>
</file>

<file path=ppt/slideLayouts/_rels/slideLayout382.xml.rels><?xml version="1.0" encoding="UTF-8" standalone="yes"?>
<Relationships xmlns="http://schemas.openxmlformats.org/package/2006/relationships"><Relationship Id="rId3" Type="http://schemas.openxmlformats.org/officeDocument/2006/relationships/tags" Target="../tags/tag145.xml"/><Relationship Id="rId2" Type="http://schemas.openxmlformats.org/officeDocument/2006/relationships/tags" Target="../tags/tag144.xml"/><Relationship Id="rId1" Type="http://schemas.openxmlformats.org/officeDocument/2006/relationships/tags" Target="../tags/tag143.xml"/><Relationship Id="rId5" Type="http://schemas.openxmlformats.org/officeDocument/2006/relationships/slideMaster" Target="../slideMasters/slideMaster15.xml"/><Relationship Id="rId4" Type="http://schemas.openxmlformats.org/officeDocument/2006/relationships/tags" Target="../tags/tag146.xml"/></Relationships>
</file>

<file path=ppt/slideLayouts/_rels/slideLayout383.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15.xml"/></Relationships>
</file>

<file path=ppt/slideLayouts/_rels/slideLayout38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8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8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8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88.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16.xml"/></Relationships>
</file>

<file path=ppt/slideLayouts/_rels/slideLayout389.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16.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2.xml"/></Relationships>
</file>

<file path=ppt/slideLayouts/_rels/slideLayout39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9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9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9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9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9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9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9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9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9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0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0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0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0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04.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16.xml"/></Relationships>
</file>

<file path=ppt/slideLayouts/_rels/slideLayout405.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16.xml"/></Relationships>
</file>

<file path=ppt/slideLayouts/_rels/slideLayout406.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16.xml"/></Relationships>
</file>

<file path=ppt/slideLayouts/_rels/slideLayout407.xml.rels><?xml version="1.0" encoding="UTF-8" standalone="yes"?>
<Relationships xmlns="http://schemas.openxmlformats.org/package/2006/relationships"><Relationship Id="rId2" Type="http://schemas.openxmlformats.org/officeDocument/2006/relationships/slideMaster" Target="../slideMasters/slideMaster16.xml"/><Relationship Id="rId1" Type="http://schemas.openxmlformats.org/officeDocument/2006/relationships/tags" Target="../tags/tag149.xml"/></Relationships>
</file>

<file path=ppt/slideLayouts/_rels/slideLayout408.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151.xml"/><Relationship Id="rId1" Type="http://schemas.openxmlformats.org/officeDocument/2006/relationships/tags" Target="../tags/tag150.xml"/></Relationships>
</file>

<file path=ppt/slideLayouts/_rels/slideLayout409.xml.rels><?xml version="1.0" encoding="UTF-8" standalone="yes"?>
<Relationships xmlns="http://schemas.openxmlformats.org/package/2006/relationships"><Relationship Id="rId3" Type="http://schemas.openxmlformats.org/officeDocument/2006/relationships/tags" Target="../tags/tag154.xml"/><Relationship Id="rId2" Type="http://schemas.openxmlformats.org/officeDocument/2006/relationships/tags" Target="../tags/tag153.xml"/><Relationship Id="rId1" Type="http://schemas.openxmlformats.org/officeDocument/2006/relationships/tags" Target="../tags/tag152.xml"/><Relationship Id="rId4" Type="http://schemas.openxmlformats.org/officeDocument/2006/relationships/slideMaster" Target="../slideMasters/slideMaster16.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0.xml.rels><?xml version="1.0" encoding="UTF-8" standalone="yes"?>
<Relationships xmlns="http://schemas.openxmlformats.org/package/2006/relationships"><Relationship Id="rId3" Type="http://schemas.openxmlformats.org/officeDocument/2006/relationships/tags" Target="../tags/tag157.xml"/><Relationship Id="rId2" Type="http://schemas.openxmlformats.org/officeDocument/2006/relationships/tags" Target="../tags/tag156.xml"/><Relationship Id="rId1" Type="http://schemas.openxmlformats.org/officeDocument/2006/relationships/tags" Target="../tags/tag155.xml"/><Relationship Id="rId5" Type="http://schemas.openxmlformats.org/officeDocument/2006/relationships/slideMaster" Target="../slideMasters/slideMaster16.xml"/><Relationship Id="rId4" Type="http://schemas.openxmlformats.org/officeDocument/2006/relationships/tags" Target="../tags/tag158.xml"/></Relationships>
</file>

<file path=ppt/slideLayouts/_rels/slideLayout411.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16.xml"/></Relationships>
</file>

<file path=ppt/slideLayouts/_rels/slideLayout41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1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1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1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16.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17.xml"/></Relationships>
</file>

<file path=ppt/slideLayouts/_rels/slideLayout417.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17.xml"/></Relationships>
</file>

<file path=ppt/slideLayouts/_rels/slideLayout41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1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2.xml"/></Relationships>
</file>

<file path=ppt/slideLayouts/_rels/slideLayout42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2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2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2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2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2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2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2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2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2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3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32.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17.xml"/></Relationships>
</file>

<file path=ppt/slideLayouts/_rels/slideLayout433.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17.xml"/></Relationships>
</file>

<file path=ppt/slideLayouts/_rels/slideLayout434.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17.xml"/></Relationships>
</file>

<file path=ppt/slideLayouts/_rels/slideLayout435.xml.rels><?xml version="1.0" encoding="UTF-8" standalone="yes"?>
<Relationships xmlns="http://schemas.openxmlformats.org/package/2006/relationships"><Relationship Id="rId2" Type="http://schemas.openxmlformats.org/officeDocument/2006/relationships/slideMaster" Target="../slideMasters/slideMaster17.xml"/><Relationship Id="rId1" Type="http://schemas.openxmlformats.org/officeDocument/2006/relationships/tags" Target="../tags/tag161.xml"/></Relationships>
</file>

<file path=ppt/slideLayouts/_rels/slideLayout436.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163.xml"/><Relationship Id="rId1" Type="http://schemas.openxmlformats.org/officeDocument/2006/relationships/tags" Target="../tags/tag162.xml"/></Relationships>
</file>

<file path=ppt/slideLayouts/_rels/slideLayout437.xml.rels><?xml version="1.0" encoding="UTF-8" standalone="yes"?>
<Relationships xmlns="http://schemas.openxmlformats.org/package/2006/relationships"><Relationship Id="rId3" Type="http://schemas.openxmlformats.org/officeDocument/2006/relationships/tags" Target="../tags/tag166.xml"/><Relationship Id="rId2" Type="http://schemas.openxmlformats.org/officeDocument/2006/relationships/tags" Target="../tags/tag165.xml"/><Relationship Id="rId1" Type="http://schemas.openxmlformats.org/officeDocument/2006/relationships/tags" Target="../tags/tag164.xml"/><Relationship Id="rId4" Type="http://schemas.openxmlformats.org/officeDocument/2006/relationships/slideMaster" Target="../slideMasters/slideMaster17.xml"/></Relationships>
</file>

<file path=ppt/slideLayouts/_rels/slideLayout438.xml.rels><?xml version="1.0" encoding="UTF-8" standalone="yes"?>
<Relationships xmlns="http://schemas.openxmlformats.org/package/2006/relationships"><Relationship Id="rId3" Type="http://schemas.openxmlformats.org/officeDocument/2006/relationships/tags" Target="../tags/tag169.xml"/><Relationship Id="rId2" Type="http://schemas.openxmlformats.org/officeDocument/2006/relationships/tags" Target="../tags/tag168.xml"/><Relationship Id="rId1" Type="http://schemas.openxmlformats.org/officeDocument/2006/relationships/tags" Target="../tags/tag167.xml"/><Relationship Id="rId5" Type="http://schemas.openxmlformats.org/officeDocument/2006/relationships/slideMaster" Target="../slideMasters/slideMaster17.xml"/><Relationship Id="rId4" Type="http://schemas.openxmlformats.org/officeDocument/2006/relationships/tags" Target="../tags/tag170.xml"/></Relationships>
</file>

<file path=ppt/slideLayouts/_rels/slideLayout439.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17.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4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4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4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44.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18.xml"/></Relationships>
</file>

<file path=ppt/slideLayouts/_rels/slideLayout445.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18.xml"/></Relationships>
</file>

<file path=ppt/slideLayouts/_rels/slideLayout44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4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4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4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5.xml.rels><?xml version="1.0" encoding="UTF-8" standalone="yes"?>
<Relationships xmlns="http://schemas.openxmlformats.org/package/2006/relationships"><Relationship Id="rId3" Type="http://schemas.openxmlformats.org/officeDocument/2006/relationships/tags" Target="../tags/tag13.xml"/><Relationship Id="rId2" Type="http://schemas.openxmlformats.org/officeDocument/2006/relationships/tags" Target="../tags/tag12.xml"/><Relationship Id="rId1" Type="http://schemas.openxmlformats.org/officeDocument/2006/relationships/tags" Target="../tags/tag11.xml"/><Relationship Id="rId6" Type="http://schemas.openxmlformats.org/officeDocument/2006/relationships/image" Target="../media/image2.wmf"/><Relationship Id="rId5" Type="http://schemas.openxmlformats.org/officeDocument/2006/relationships/image" Target="../media/image5.jpeg"/><Relationship Id="rId4" Type="http://schemas.openxmlformats.org/officeDocument/2006/relationships/slideMaster" Target="../slideMasters/slideMaster2.xml"/></Relationships>
</file>

<file path=ppt/slideLayouts/_rels/slideLayout45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5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5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5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5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5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5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5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5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5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0.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18.xml"/></Relationships>
</file>

<file path=ppt/slideLayouts/_rels/slideLayout461.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18.xml"/></Relationships>
</file>

<file path=ppt/slideLayouts/_rels/slideLayout462.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18.xml"/></Relationships>
</file>

<file path=ppt/slideLayouts/_rels/slideLayout463.xml.rels><?xml version="1.0" encoding="UTF-8" standalone="yes"?>
<Relationships xmlns="http://schemas.openxmlformats.org/package/2006/relationships"><Relationship Id="rId2" Type="http://schemas.openxmlformats.org/officeDocument/2006/relationships/slideMaster" Target="../slideMasters/slideMaster18.xml"/><Relationship Id="rId1" Type="http://schemas.openxmlformats.org/officeDocument/2006/relationships/tags" Target="../tags/tag173.xml"/></Relationships>
</file>

<file path=ppt/slideLayouts/_rels/slideLayout464.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175.xml"/><Relationship Id="rId1" Type="http://schemas.openxmlformats.org/officeDocument/2006/relationships/tags" Target="../tags/tag174.xml"/></Relationships>
</file>

<file path=ppt/slideLayouts/_rels/slideLayout465.xml.rels><?xml version="1.0" encoding="UTF-8" standalone="yes"?>
<Relationships xmlns="http://schemas.openxmlformats.org/package/2006/relationships"><Relationship Id="rId3" Type="http://schemas.openxmlformats.org/officeDocument/2006/relationships/tags" Target="../tags/tag178.xml"/><Relationship Id="rId2" Type="http://schemas.openxmlformats.org/officeDocument/2006/relationships/tags" Target="../tags/tag177.xml"/><Relationship Id="rId1" Type="http://schemas.openxmlformats.org/officeDocument/2006/relationships/tags" Target="../tags/tag176.xml"/><Relationship Id="rId4" Type="http://schemas.openxmlformats.org/officeDocument/2006/relationships/slideMaster" Target="../slideMasters/slideMaster18.xml"/></Relationships>
</file>

<file path=ppt/slideLayouts/_rels/slideLayout466.xml.rels><?xml version="1.0" encoding="UTF-8" standalone="yes"?>
<Relationships xmlns="http://schemas.openxmlformats.org/package/2006/relationships"><Relationship Id="rId3" Type="http://schemas.openxmlformats.org/officeDocument/2006/relationships/tags" Target="../tags/tag181.xml"/><Relationship Id="rId2" Type="http://schemas.openxmlformats.org/officeDocument/2006/relationships/tags" Target="../tags/tag180.xml"/><Relationship Id="rId1" Type="http://schemas.openxmlformats.org/officeDocument/2006/relationships/tags" Target="../tags/tag179.xml"/><Relationship Id="rId5" Type="http://schemas.openxmlformats.org/officeDocument/2006/relationships/slideMaster" Target="../slideMasters/slideMaster18.xml"/><Relationship Id="rId4" Type="http://schemas.openxmlformats.org/officeDocument/2006/relationships/tags" Target="../tags/tag182.xml"/></Relationships>
</file>

<file path=ppt/slideLayouts/_rels/slideLayout467.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18.xml"/></Relationships>
</file>

<file path=ppt/slideLayouts/_rels/slideLayout46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6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7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72.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19.xml"/></Relationships>
</file>

<file path=ppt/slideLayouts/_rels/slideLayout473.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19.xml"/></Relationships>
</file>

<file path=ppt/slideLayouts/_rels/slideLayout47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7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7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7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7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7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8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8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8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8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8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8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8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88.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Master" Target="../slideMasters/slideMaster19.xml"/></Relationships>
</file>

<file path=ppt/slideLayouts/_rels/slideLayout489.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9.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0.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19.xml"/></Relationships>
</file>

<file path=ppt/slideLayouts/_rels/slideLayout491.xml.rels><?xml version="1.0" encoding="UTF-8" standalone="yes"?>
<Relationships xmlns="http://schemas.openxmlformats.org/package/2006/relationships"><Relationship Id="rId2" Type="http://schemas.openxmlformats.org/officeDocument/2006/relationships/slideMaster" Target="../slideMasters/slideMaster19.xml"/><Relationship Id="rId1" Type="http://schemas.openxmlformats.org/officeDocument/2006/relationships/tags" Target="../tags/tag183.xml"/></Relationships>
</file>

<file path=ppt/slideLayouts/_rels/slideLayout492.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185.xml"/><Relationship Id="rId1" Type="http://schemas.openxmlformats.org/officeDocument/2006/relationships/tags" Target="../tags/tag184.xml"/></Relationships>
</file>

<file path=ppt/slideLayouts/_rels/slideLayout493.xml.rels><?xml version="1.0" encoding="UTF-8" standalone="yes"?>
<Relationships xmlns="http://schemas.openxmlformats.org/package/2006/relationships"><Relationship Id="rId3" Type="http://schemas.openxmlformats.org/officeDocument/2006/relationships/tags" Target="../tags/tag188.xml"/><Relationship Id="rId2" Type="http://schemas.openxmlformats.org/officeDocument/2006/relationships/tags" Target="../tags/tag187.xml"/><Relationship Id="rId1" Type="http://schemas.openxmlformats.org/officeDocument/2006/relationships/tags" Target="../tags/tag186.xml"/><Relationship Id="rId4" Type="http://schemas.openxmlformats.org/officeDocument/2006/relationships/slideMaster" Target="../slideMasters/slideMaster19.xml"/></Relationships>
</file>

<file path=ppt/slideLayouts/_rels/slideLayout494.xml.rels><?xml version="1.0" encoding="UTF-8" standalone="yes"?>
<Relationships xmlns="http://schemas.openxmlformats.org/package/2006/relationships"><Relationship Id="rId3" Type="http://schemas.openxmlformats.org/officeDocument/2006/relationships/tags" Target="../tags/tag191.xml"/><Relationship Id="rId2" Type="http://schemas.openxmlformats.org/officeDocument/2006/relationships/tags" Target="../tags/tag190.xml"/><Relationship Id="rId1" Type="http://schemas.openxmlformats.org/officeDocument/2006/relationships/tags" Target="../tags/tag189.xml"/><Relationship Id="rId5" Type="http://schemas.openxmlformats.org/officeDocument/2006/relationships/slideMaster" Target="../slideMasters/slideMaster19.xml"/><Relationship Id="rId4" Type="http://schemas.openxmlformats.org/officeDocument/2006/relationships/tags" Target="../tags/tag192.xml"/></Relationships>
</file>

<file path=ppt/slideLayouts/_rels/slideLayout495.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19.xml"/></Relationships>
</file>

<file path=ppt/slideLayouts/_rels/slideLayout49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9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9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9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0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50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50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50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50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50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50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507.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20.xml"/></Relationships>
</file>

<file path=ppt/slideLayouts/_rels/slideLayout508.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20.xml"/></Relationships>
</file>

<file path=ppt/slideLayouts/_rels/slideLayout50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511.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512.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513.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51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51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51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517.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518.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51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521.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522.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523.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Master" Target="../slideMasters/slideMaster20.xml"/></Relationships>
</file>

<file path=ppt/slideLayouts/_rels/slideLayout524.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20.xml"/></Relationships>
</file>

<file path=ppt/slideLayouts/_rels/slideLayout525.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20.xml"/></Relationships>
</file>

<file path=ppt/slideLayouts/_rels/slideLayout526.xml.rels><?xml version="1.0" encoding="UTF-8" standalone="yes"?>
<Relationships xmlns="http://schemas.openxmlformats.org/package/2006/relationships"><Relationship Id="rId2" Type="http://schemas.openxmlformats.org/officeDocument/2006/relationships/slideMaster" Target="../slideMasters/slideMaster20.xml"/><Relationship Id="rId1" Type="http://schemas.openxmlformats.org/officeDocument/2006/relationships/tags" Target="../tags/tag193.xml"/></Relationships>
</file>

<file path=ppt/slideLayouts/_rels/slideLayout527.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195.xml"/><Relationship Id="rId1" Type="http://schemas.openxmlformats.org/officeDocument/2006/relationships/tags" Target="../tags/tag194.xml"/></Relationships>
</file>

<file path=ppt/slideLayouts/_rels/slideLayout528.xml.rels><?xml version="1.0" encoding="UTF-8" standalone="yes"?>
<Relationships xmlns="http://schemas.openxmlformats.org/package/2006/relationships"><Relationship Id="rId3" Type="http://schemas.openxmlformats.org/officeDocument/2006/relationships/tags" Target="../tags/tag198.xml"/><Relationship Id="rId2" Type="http://schemas.openxmlformats.org/officeDocument/2006/relationships/tags" Target="../tags/tag197.xml"/><Relationship Id="rId1" Type="http://schemas.openxmlformats.org/officeDocument/2006/relationships/tags" Target="../tags/tag196.xml"/><Relationship Id="rId4" Type="http://schemas.openxmlformats.org/officeDocument/2006/relationships/slideMaster" Target="../slideMasters/slideMaster20.xml"/></Relationships>
</file>

<file path=ppt/slideLayouts/_rels/slideLayout529.xml.rels><?xml version="1.0" encoding="UTF-8" standalone="yes"?>
<Relationships xmlns="http://schemas.openxmlformats.org/package/2006/relationships"><Relationship Id="rId3" Type="http://schemas.openxmlformats.org/officeDocument/2006/relationships/tags" Target="../tags/tag201.xml"/><Relationship Id="rId2" Type="http://schemas.openxmlformats.org/officeDocument/2006/relationships/tags" Target="../tags/tag200.xml"/><Relationship Id="rId1" Type="http://schemas.openxmlformats.org/officeDocument/2006/relationships/tags" Target="../tags/tag199.xml"/><Relationship Id="rId5" Type="http://schemas.openxmlformats.org/officeDocument/2006/relationships/slideMaster" Target="../slideMasters/slideMaster20.xml"/><Relationship Id="rId4" Type="http://schemas.openxmlformats.org/officeDocument/2006/relationships/tags" Target="../tags/tag202.xml"/></Relationships>
</file>

<file path=ppt/slideLayouts/_rels/slideLayout5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7.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530.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20.xml"/></Relationships>
</file>

<file path=ppt/slideLayouts/_rels/slideLayout531.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532.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533.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534.xml.rels><?xml version="1.0" encoding="UTF-8" standalone="yes"?>
<Relationships xmlns="http://schemas.openxmlformats.org/package/2006/relationships"><Relationship Id="rId2" Type="http://schemas.openxmlformats.org/officeDocument/2006/relationships/slideMaster" Target="../slideMasters/slideMaster21.xml"/><Relationship Id="rId1" Type="http://schemas.openxmlformats.org/officeDocument/2006/relationships/tags" Target="../tags/tag204.xml"/></Relationships>
</file>

<file path=ppt/slideLayouts/_rels/slideLayout535.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36.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37.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22.xml"/></Relationships>
</file>

<file path=ppt/slideLayouts/_rels/slideLayout538.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22.xml"/></Relationships>
</file>

<file path=ppt/slideLayouts/_rels/slideLayout539.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0.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41.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42.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43.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44.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45.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46.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47.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48.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49.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0.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51.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52.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53.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Master" Target="../slideMasters/slideMaster22.xml"/></Relationships>
</file>

<file path=ppt/slideLayouts/_rels/slideLayout554.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22.xml"/></Relationships>
</file>

<file path=ppt/slideLayouts/_rels/slideLayout555.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22.xml"/></Relationships>
</file>

<file path=ppt/slideLayouts/_rels/slideLayout556.xml.rels><?xml version="1.0" encoding="UTF-8" standalone="yes"?>
<Relationships xmlns="http://schemas.openxmlformats.org/package/2006/relationships"><Relationship Id="rId2" Type="http://schemas.openxmlformats.org/officeDocument/2006/relationships/slideMaster" Target="../slideMasters/slideMaster22.xml"/><Relationship Id="rId1" Type="http://schemas.openxmlformats.org/officeDocument/2006/relationships/tags" Target="../tags/tag205.xml"/></Relationships>
</file>

<file path=ppt/slideLayouts/_rels/slideLayout557.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207.xml"/><Relationship Id="rId1" Type="http://schemas.openxmlformats.org/officeDocument/2006/relationships/tags" Target="../tags/tag206.xml"/></Relationships>
</file>

<file path=ppt/slideLayouts/_rels/slideLayout558.xml.rels><?xml version="1.0" encoding="UTF-8" standalone="yes"?>
<Relationships xmlns="http://schemas.openxmlformats.org/package/2006/relationships"><Relationship Id="rId3" Type="http://schemas.openxmlformats.org/officeDocument/2006/relationships/tags" Target="../tags/tag210.xml"/><Relationship Id="rId2" Type="http://schemas.openxmlformats.org/officeDocument/2006/relationships/tags" Target="../tags/tag209.xml"/><Relationship Id="rId1" Type="http://schemas.openxmlformats.org/officeDocument/2006/relationships/tags" Target="../tags/tag208.xml"/><Relationship Id="rId4" Type="http://schemas.openxmlformats.org/officeDocument/2006/relationships/slideMaster" Target="../slideMasters/slideMaster22.xml"/></Relationships>
</file>

<file path=ppt/slideLayouts/_rels/slideLayout559.xml.rels><?xml version="1.0" encoding="UTF-8" standalone="yes"?>
<Relationships xmlns="http://schemas.openxmlformats.org/package/2006/relationships"><Relationship Id="rId3" Type="http://schemas.openxmlformats.org/officeDocument/2006/relationships/tags" Target="../tags/tag213.xml"/><Relationship Id="rId2" Type="http://schemas.openxmlformats.org/officeDocument/2006/relationships/tags" Target="../tags/tag212.xml"/><Relationship Id="rId1" Type="http://schemas.openxmlformats.org/officeDocument/2006/relationships/tags" Target="../tags/tag211.xml"/><Relationship Id="rId5" Type="http://schemas.openxmlformats.org/officeDocument/2006/relationships/slideMaster" Target="../slideMasters/slideMaster22.xml"/><Relationship Id="rId4" Type="http://schemas.openxmlformats.org/officeDocument/2006/relationships/tags" Target="../tags/tag214.xml"/></Relationships>
</file>

<file path=ppt/slideLayouts/_rels/slideLayout5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8.xml"/><Relationship Id="rId1" Type="http://schemas.openxmlformats.org/officeDocument/2006/relationships/vmlDrawing" Target="../drawings/vmlDrawing9.vml"/><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560.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22.xml"/></Relationships>
</file>

<file path=ppt/slideLayouts/_rels/slideLayout561.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62.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63.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64.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19.xml"/></Relationships>
</file>

<file path=ppt/slideLayouts/_rels/slideLayout85.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21.xml"/><Relationship Id="rId1" Type="http://schemas.openxmlformats.org/officeDocument/2006/relationships/tags" Target="../tags/tag20.xml"/></Relationships>
</file>

<file path=ppt/slideLayouts/_rels/slideLayout86.xml.rels><?xml version="1.0" encoding="UTF-8" standalone="yes"?>
<Relationships xmlns="http://schemas.openxmlformats.org/package/2006/relationships"><Relationship Id="rId3" Type="http://schemas.openxmlformats.org/officeDocument/2006/relationships/tags" Target="../tags/tag24.xml"/><Relationship Id="rId2" Type="http://schemas.openxmlformats.org/officeDocument/2006/relationships/tags" Target="../tags/tag23.xml"/><Relationship Id="rId1" Type="http://schemas.openxmlformats.org/officeDocument/2006/relationships/tags" Target="../tags/tag22.xml"/><Relationship Id="rId4"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3" Type="http://schemas.openxmlformats.org/officeDocument/2006/relationships/tags" Target="../tags/tag27.xml"/><Relationship Id="rId2" Type="http://schemas.openxmlformats.org/officeDocument/2006/relationships/tags" Target="../tags/tag26.xml"/><Relationship Id="rId1" Type="http://schemas.openxmlformats.org/officeDocument/2006/relationships/tags" Target="../tags/tag25.xml"/><Relationship Id="rId5" Type="http://schemas.openxmlformats.org/officeDocument/2006/relationships/slideMaster" Target="../slideMasters/slideMaster4.xml"/><Relationship Id="rId4" Type="http://schemas.openxmlformats.org/officeDocument/2006/relationships/tags" Target="../tags/tag28.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p:spTree>
      <p:nvGrpSpPr>
        <p:cNvPr id="1" name=""/>
        <p:cNvGrpSpPr/>
        <p:nvPr/>
      </p:nvGrpSpPr>
      <p:grpSpPr>
        <a:xfrm>
          <a:off x="0" y="0"/>
          <a:ext cx="0" cy="0"/>
          <a:chOff x="0" y="0"/>
          <a:chExt cx="0" cy="0"/>
        </a:xfrm>
      </p:grpSpPr>
      <p:sp>
        <p:nvSpPr>
          <p:cNvPr id="2" name="Title 1"/>
          <p:cNvSpPr>
            <a:spLocks noGrp="1"/>
          </p:cNvSpPr>
          <p:nvPr>
            <p:ph type="ctrTitle" hasCustomPrompt="1"/>
          </p:nvPr>
        </p:nvSpPr>
        <p:spPr bwMode="gray">
          <a:xfrm>
            <a:off x="431804" y="2372783"/>
            <a:ext cx="11328401" cy="1344257"/>
          </a:xfrm>
        </p:spPr>
        <p:txBody>
          <a:bodyPr anchor="b"/>
          <a:lstStyle>
            <a:lvl1pPr>
              <a:defRPr sz="4796" b="0" cap="none" baseline="0">
                <a:solidFill>
                  <a:schemeClr val="tx2"/>
                </a:solidFill>
                <a:latin typeface="Arial" pitchFamily="34" charset="0"/>
              </a:defRPr>
            </a:lvl1pPr>
          </a:lstStyle>
          <a:p>
            <a:r>
              <a:rPr lang="en-US"/>
              <a:t>Click to add title of presentation</a:t>
            </a:r>
          </a:p>
        </p:txBody>
      </p:sp>
      <p:sp>
        <p:nvSpPr>
          <p:cNvPr id="3" name="Subtitle 2"/>
          <p:cNvSpPr>
            <a:spLocks noGrp="1"/>
          </p:cNvSpPr>
          <p:nvPr>
            <p:ph type="subTitle" idx="1" hasCustomPrompt="1"/>
          </p:nvPr>
        </p:nvSpPr>
        <p:spPr bwMode="gray">
          <a:xfrm>
            <a:off x="431800" y="3813058"/>
            <a:ext cx="11328403" cy="1535765"/>
          </a:xfrm>
        </p:spPr>
        <p:txBody>
          <a:bodyPr/>
          <a:lstStyle>
            <a:lvl1pPr marL="0" indent="0" algn="l">
              <a:spcBef>
                <a:spcPts val="800"/>
              </a:spcBef>
              <a:spcAft>
                <a:spcPts val="0"/>
              </a:spcAft>
              <a:buNone/>
              <a:defRPr sz="2663" baseline="0">
                <a:solidFill>
                  <a:schemeClr val="tx2"/>
                </a:solidFill>
              </a:defRPr>
            </a:lvl1pPr>
            <a:lvl2pPr marL="0" indent="0" algn="l">
              <a:spcBef>
                <a:spcPts val="800"/>
              </a:spcBef>
              <a:spcAft>
                <a:spcPts val="0"/>
              </a:spcAft>
              <a:buNone/>
              <a:defRPr sz="2663">
                <a:solidFill>
                  <a:schemeClr val="tx2"/>
                </a:solidFill>
              </a:defRPr>
            </a:lvl2pPr>
            <a:lvl3pPr marL="0" indent="0" algn="l">
              <a:spcBef>
                <a:spcPts val="800"/>
              </a:spcBef>
              <a:spcAft>
                <a:spcPts val="0"/>
              </a:spcAft>
              <a:buNone/>
              <a:defRPr sz="2663">
                <a:solidFill>
                  <a:schemeClr val="tx2"/>
                </a:solidFill>
              </a:defRPr>
            </a:lvl3pPr>
            <a:lvl4pPr marL="0" indent="0" algn="l">
              <a:spcBef>
                <a:spcPts val="800"/>
              </a:spcBef>
              <a:spcAft>
                <a:spcPts val="0"/>
              </a:spcAft>
              <a:buNone/>
              <a:defRPr sz="2663">
                <a:solidFill>
                  <a:schemeClr val="tx2"/>
                </a:solidFill>
              </a:defRPr>
            </a:lvl4pPr>
            <a:lvl5pPr marL="0" indent="0" algn="l">
              <a:spcBef>
                <a:spcPts val="800"/>
              </a:spcBef>
              <a:spcAft>
                <a:spcPts val="0"/>
              </a:spcAft>
              <a:buNone/>
              <a:defRPr sz="2663">
                <a:solidFill>
                  <a:schemeClr val="tx2"/>
                </a:solidFill>
              </a:defRPr>
            </a:lvl5pPr>
            <a:lvl6pPr marL="0" indent="0" algn="l">
              <a:spcBef>
                <a:spcPts val="800"/>
              </a:spcBef>
              <a:spcAft>
                <a:spcPts val="0"/>
              </a:spcAft>
              <a:buNone/>
              <a:defRPr sz="2663">
                <a:solidFill>
                  <a:schemeClr val="tx2"/>
                </a:solidFill>
              </a:defRPr>
            </a:lvl6pPr>
            <a:lvl7pPr marL="0" indent="0" algn="l">
              <a:spcBef>
                <a:spcPts val="800"/>
              </a:spcBef>
              <a:spcAft>
                <a:spcPts val="0"/>
              </a:spcAft>
              <a:buNone/>
              <a:defRPr sz="2663">
                <a:solidFill>
                  <a:schemeClr val="tx2"/>
                </a:solidFill>
              </a:defRPr>
            </a:lvl7pPr>
            <a:lvl8pPr marL="0" indent="0" algn="l">
              <a:spcAft>
                <a:spcPts val="0"/>
              </a:spcAft>
              <a:buNone/>
              <a:defRPr sz="2663">
                <a:solidFill>
                  <a:schemeClr val="tx2"/>
                </a:solidFill>
              </a:defRPr>
            </a:lvl8pPr>
            <a:lvl9pPr marL="0" indent="0" algn="l">
              <a:spcBef>
                <a:spcPts val="800"/>
              </a:spcBef>
              <a:spcAft>
                <a:spcPts val="0"/>
              </a:spcAft>
              <a:buNone/>
              <a:defRPr sz="2663">
                <a:solidFill>
                  <a:schemeClr val="tx2"/>
                </a:solidFill>
              </a:defRPr>
            </a:lvl9pPr>
          </a:lstStyle>
          <a:p>
            <a:pPr lvl="0"/>
            <a:r>
              <a:rPr lang="en-US" noProof="0"/>
              <a:t>Click to add subtitle of presentation</a:t>
            </a:r>
          </a:p>
        </p:txBody>
      </p:sp>
      <p:sp>
        <p:nvSpPr>
          <p:cNvPr id="4" name="Rechteck 3"/>
          <p:cNvSpPr/>
          <p:nvPr/>
        </p:nvSpPr>
        <p:spPr bwMode="gray">
          <a:xfrm>
            <a:off x="0" y="6570173"/>
            <a:ext cx="12192000" cy="28783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802" tIns="60901" rIns="121802" bIns="60901" numCol="1" spcCol="0" rtlCol="0" fromWordArt="0" anchor="ctr" anchorCtr="0" forceAA="0" compatLnSpc="1">
            <a:prstTxWarp prst="textNoShape">
              <a:avLst/>
            </a:prstTxWarp>
            <a:noAutofit/>
          </a:bodyPr>
          <a:lstStyle/>
          <a:p>
            <a:pPr marL="0" indent="0" algn="ctr">
              <a:buFont typeface="Courier New" pitchFamily="49" charset="0"/>
              <a:buNone/>
            </a:pPr>
            <a:endParaRPr lang="en-US" sz="2133">
              <a:solidFill>
                <a:schemeClr val="tx1"/>
              </a:solidFill>
              <a:latin typeface="Arial" pitchFamily="34" charset="0"/>
            </a:endParaRPr>
          </a:p>
        </p:txBody>
      </p:sp>
      <p:sp>
        <p:nvSpPr>
          <p:cNvPr id="6" name="Text Placeholder 10"/>
          <p:cNvSpPr>
            <a:spLocks noGrp="1"/>
          </p:cNvSpPr>
          <p:nvPr>
            <p:ph type="body" sz="quarter" idx="10" hasCustomPrompt="1"/>
          </p:nvPr>
        </p:nvSpPr>
        <p:spPr bwMode="gray">
          <a:xfrm>
            <a:off x="431800" y="6117416"/>
            <a:ext cx="11328400" cy="288000"/>
          </a:xfrm>
        </p:spPr>
        <p:txBody>
          <a:bodyPr tIns="0" anchor="b" anchorCtr="0"/>
          <a:lstStyle>
            <a:lvl1pPr marL="0" indent="0">
              <a:lnSpc>
                <a:spcPct val="100000"/>
              </a:lnSpc>
              <a:spcBef>
                <a:spcPts val="0"/>
              </a:spcBef>
              <a:spcAft>
                <a:spcPts val="0"/>
              </a:spcAft>
              <a:buFontTx/>
              <a:buNone/>
              <a:defRPr sz="1598">
                <a:solidFill>
                  <a:schemeClr val="tx2"/>
                </a:solidFill>
              </a:defRPr>
            </a:lvl1pPr>
            <a:lvl2pPr marL="0" indent="0">
              <a:lnSpc>
                <a:spcPct val="100000"/>
              </a:lnSpc>
              <a:spcBef>
                <a:spcPts val="0"/>
              </a:spcBef>
              <a:spcAft>
                <a:spcPts val="0"/>
              </a:spcAft>
              <a:buFontTx/>
              <a:buNone/>
              <a:defRPr sz="1598">
                <a:solidFill>
                  <a:schemeClr val="tx2"/>
                </a:solidFill>
              </a:defRPr>
            </a:lvl2pPr>
            <a:lvl3pPr marL="0" indent="0">
              <a:lnSpc>
                <a:spcPct val="100000"/>
              </a:lnSpc>
              <a:spcBef>
                <a:spcPts val="0"/>
              </a:spcBef>
              <a:spcAft>
                <a:spcPts val="0"/>
              </a:spcAft>
              <a:buFontTx/>
              <a:buNone/>
              <a:defRPr sz="1598">
                <a:solidFill>
                  <a:schemeClr val="tx2"/>
                </a:solidFill>
              </a:defRPr>
            </a:lvl3pPr>
            <a:lvl4pPr marL="0" indent="0">
              <a:lnSpc>
                <a:spcPct val="100000"/>
              </a:lnSpc>
              <a:spcBef>
                <a:spcPts val="0"/>
              </a:spcBef>
              <a:spcAft>
                <a:spcPts val="0"/>
              </a:spcAft>
              <a:buFontTx/>
              <a:buNone/>
              <a:defRPr sz="1598">
                <a:solidFill>
                  <a:schemeClr val="tx2"/>
                </a:solidFill>
              </a:defRPr>
            </a:lvl4pPr>
            <a:lvl5pPr marL="0" indent="0">
              <a:lnSpc>
                <a:spcPct val="100000"/>
              </a:lnSpc>
              <a:spcBef>
                <a:spcPts val="0"/>
              </a:spcBef>
              <a:spcAft>
                <a:spcPts val="0"/>
              </a:spcAft>
              <a:buFontTx/>
              <a:buNone/>
              <a:defRPr sz="1598">
                <a:solidFill>
                  <a:schemeClr val="tx2"/>
                </a:solidFill>
              </a:defRPr>
            </a:lvl5pPr>
            <a:lvl6pPr marL="0" indent="0">
              <a:lnSpc>
                <a:spcPct val="100000"/>
              </a:lnSpc>
              <a:spcBef>
                <a:spcPts val="0"/>
              </a:spcBef>
              <a:spcAft>
                <a:spcPts val="0"/>
              </a:spcAft>
              <a:buFontTx/>
              <a:buNone/>
              <a:defRPr sz="1598">
                <a:solidFill>
                  <a:schemeClr val="tx2"/>
                </a:solidFill>
              </a:defRPr>
            </a:lvl6pPr>
            <a:lvl7pPr marL="0" indent="0">
              <a:lnSpc>
                <a:spcPct val="100000"/>
              </a:lnSpc>
              <a:spcBef>
                <a:spcPts val="0"/>
              </a:spcBef>
              <a:spcAft>
                <a:spcPts val="0"/>
              </a:spcAft>
              <a:buFontTx/>
              <a:buNone/>
              <a:defRPr sz="1598">
                <a:solidFill>
                  <a:schemeClr val="tx2"/>
                </a:solidFill>
              </a:defRPr>
            </a:lvl7pPr>
            <a:lvl8pPr marL="0" indent="0">
              <a:lnSpc>
                <a:spcPct val="100000"/>
              </a:lnSpc>
              <a:spcBef>
                <a:spcPts val="0"/>
              </a:spcBef>
              <a:spcAft>
                <a:spcPts val="0"/>
              </a:spcAft>
              <a:buFontTx/>
              <a:buNone/>
              <a:defRPr sz="1598">
                <a:solidFill>
                  <a:schemeClr val="bg1"/>
                </a:solidFill>
              </a:defRPr>
            </a:lvl8pPr>
            <a:lvl9pPr marL="0" indent="0">
              <a:lnSpc>
                <a:spcPct val="100000"/>
              </a:lnSpc>
              <a:spcBef>
                <a:spcPts val="0"/>
              </a:spcBef>
              <a:spcAft>
                <a:spcPts val="0"/>
              </a:spcAft>
              <a:buFontTx/>
              <a:buNone/>
              <a:defRPr sz="1598">
                <a:solidFill>
                  <a:schemeClr val="tx2"/>
                </a:solidFill>
              </a:defRPr>
            </a:lvl9pPr>
          </a:lstStyle>
          <a:p>
            <a:pPr lvl="0"/>
            <a:r>
              <a:rPr lang="en-US" noProof="0"/>
              <a:t>Click to add additional text, e.g. author, location, date</a:t>
            </a:r>
          </a:p>
        </p:txBody>
      </p:sp>
    </p:spTree>
    <p:extLst>
      <p:ext uri="{BB962C8B-B14F-4D97-AF65-F5344CB8AC3E}">
        <p14:creationId xmlns:p14="http://schemas.microsoft.com/office/powerpoint/2010/main" val="411494802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hree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p>
            <a:r>
              <a:rPr lang="en-US"/>
              <a:t>Click to add headline</a:t>
            </a:r>
          </a:p>
        </p:txBody>
      </p:sp>
      <p:sp>
        <p:nvSpPr>
          <p:cNvPr id="7" name="Textplatzhalter 2"/>
          <p:cNvSpPr>
            <a:spLocks noGrp="1"/>
          </p:cNvSpPr>
          <p:nvPr>
            <p:ph type="body" sz="quarter" idx="11" hasCustomPrompt="1"/>
          </p:nvPr>
        </p:nvSpPr>
        <p:spPr bwMode="gray">
          <a:xfrm>
            <a:off x="431215" y="1220695"/>
            <a:ext cx="11329573" cy="384055"/>
          </a:xfrm>
        </p:spPr>
        <p:txBody>
          <a:bodyPr>
            <a:noAutofit/>
          </a:bodyPr>
          <a:lstStyle>
            <a:lvl1pPr marL="0" indent="0">
              <a:lnSpc>
                <a:spcPct val="100000"/>
              </a:lnSpc>
              <a:spcBef>
                <a:spcPts val="800"/>
              </a:spcBef>
              <a:buFont typeface="Arial" panose="020B0604020202020204" pitchFamily="34" charset="0"/>
              <a:buNone/>
              <a:defRPr lang="en-GB" sz="2398" kern="1200" noProof="0" smtClean="0">
                <a:solidFill>
                  <a:schemeClr val="tx2"/>
                </a:solidFill>
                <a:latin typeface="Arial" pitchFamily="34" charset="0"/>
                <a:ea typeface="+mn-ea"/>
                <a:cs typeface="Arial" pitchFamily="34" charset="0"/>
              </a:defRPr>
            </a:lvl1pPr>
            <a:lvl2pPr marL="0" indent="0">
              <a:lnSpc>
                <a:spcPct val="100000"/>
              </a:lnSpc>
              <a:spcBef>
                <a:spcPts val="800"/>
              </a:spcBef>
              <a:buFont typeface="Arial" panose="020B0604020202020204" pitchFamily="34" charset="0"/>
              <a:buNone/>
              <a:defRPr lang="en-GB" sz="2398" kern="1200" noProof="0" smtClean="0">
                <a:solidFill>
                  <a:schemeClr val="tx2"/>
                </a:solidFill>
                <a:latin typeface="Arial" pitchFamily="34" charset="0"/>
                <a:ea typeface="+mn-ea"/>
                <a:cs typeface="Arial" pitchFamily="34" charset="0"/>
              </a:defRPr>
            </a:lvl2pPr>
            <a:lvl3pPr marL="0" indent="0">
              <a:lnSpc>
                <a:spcPct val="100000"/>
              </a:lnSpc>
              <a:spcBef>
                <a:spcPts val="800"/>
              </a:spcBef>
              <a:buFont typeface="Arial" panose="020B0604020202020204" pitchFamily="34" charset="0"/>
              <a:buNone/>
              <a:defRPr lang="en-GB" sz="2398" kern="1200" noProof="0" smtClean="0">
                <a:solidFill>
                  <a:schemeClr val="tx2"/>
                </a:solidFill>
                <a:latin typeface="Arial" pitchFamily="34" charset="0"/>
                <a:ea typeface="+mn-ea"/>
                <a:cs typeface="Arial" pitchFamily="34" charset="0"/>
              </a:defRPr>
            </a:lvl3pPr>
            <a:lvl4pPr marL="0" indent="0">
              <a:lnSpc>
                <a:spcPct val="100000"/>
              </a:lnSpc>
              <a:spcBef>
                <a:spcPts val="800"/>
              </a:spcBef>
              <a:buFont typeface="Arial" panose="020B0604020202020204" pitchFamily="34" charset="0"/>
              <a:buNone/>
              <a:defRPr lang="en-GB" sz="2398" kern="1200" noProof="0" smtClean="0">
                <a:solidFill>
                  <a:schemeClr val="tx2"/>
                </a:solidFill>
                <a:latin typeface="Arial" pitchFamily="34" charset="0"/>
                <a:ea typeface="+mn-ea"/>
                <a:cs typeface="Arial" pitchFamily="34" charset="0"/>
              </a:defRPr>
            </a:lvl4pPr>
            <a:lvl5pPr marL="0" indent="0">
              <a:lnSpc>
                <a:spcPct val="100000"/>
              </a:lnSpc>
              <a:spcBef>
                <a:spcPts val="800"/>
              </a:spcBef>
              <a:buFont typeface="Arial" panose="020B0604020202020204" pitchFamily="34" charset="0"/>
              <a:buNone/>
              <a:defRPr lang="en-GB" sz="2398" kern="1200" noProof="0" smtClean="0">
                <a:solidFill>
                  <a:schemeClr val="tx2"/>
                </a:solidFill>
                <a:latin typeface="Arial" pitchFamily="34" charset="0"/>
                <a:ea typeface="+mn-ea"/>
                <a:cs typeface="Arial" pitchFamily="34" charset="0"/>
              </a:defRPr>
            </a:lvl5pPr>
            <a:lvl6pPr marL="0" indent="0">
              <a:lnSpc>
                <a:spcPct val="100000"/>
              </a:lnSpc>
              <a:spcBef>
                <a:spcPts val="800"/>
              </a:spcBef>
              <a:buNone/>
              <a:defRPr lang="en-GB" sz="2398" kern="1200" noProof="0" smtClean="0">
                <a:solidFill>
                  <a:schemeClr val="tx2"/>
                </a:solidFill>
                <a:latin typeface="Arial" pitchFamily="34" charset="0"/>
                <a:ea typeface="+mn-ea"/>
                <a:cs typeface="Arial" pitchFamily="34" charset="0"/>
              </a:defRPr>
            </a:lvl6pPr>
            <a:lvl7pPr marL="0" indent="0">
              <a:lnSpc>
                <a:spcPct val="100000"/>
              </a:lnSpc>
              <a:spcBef>
                <a:spcPts val="800"/>
              </a:spcBef>
              <a:buNone/>
              <a:defRPr lang="en-GB" sz="2398" kern="1200" noProof="0" smtClean="0">
                <a:solidFill>
                  <a:schemeClr val="tx2"/>
                </a:solidFill>
                <a:latin typeface="Arial" pitchFamily="34" charset="0"/>
                <a:ea typeface="+mn-ea"/>
                <a:cs typeface="Arial" pitchFamily="34" charset="0"/>
              </a:defRPr>
            </a:lvl7pPr>
            <a:lvl8pPr marL="0" indent="0">
              <a:lnSpc>
                <a:spcPct val="100000"/>
              </a:lnSpc>
              <a:spcBef>
                <a:spcPts val="800"/>
              </a:spcBef>
              <a:buNone/>
              <a:defRPr lang="en-GB" sz="2398" kern="1200" noProof="0" smtClean="0">
                <a:solidFill>
                  <a:schemeClr val="tx2"/>
                </a:solidFill>
                <a:latin typeface="Arial" pitchFamily="34" charset="0"/>
                <a:ea typeface="+mn-ea"/>
                <a:cs typeface="Arial" pitchFamily="34" charset="0"/>
              </a:defRPr>
            </a:lvl8pPr>
            <a:lvl9pPr marL="0" indent="0">
              <a:lnSpc>
                <a:spcPct val="100000"/>
              </a:lnSpc>
              <a:spcBef>
                <a:spcPts val="800"/>
              </a:spcBef>
              <a:buNone/>
              <a:defRPr lang="de-DE" sz="2398" kern="1200" noProof="0" smtClean="0">
                <a:solidFill>
                  <a:schemeClr val="tx2"/>
                </a:solidFill>
                <a:latin typeface="Arial" pitchFamily="34" charset="0"/>
                <a:ea typeface="+mn-ea"/>
                <a:cs typeface="Arial" pitchFamily="34" charset="0"/>
              </a:defRPr>
            </a:lvl9pPr>
          </a:lstStyle>
          <a:p>
            <a:pPr lvl="0"/>
            <a:r>
              <a:rPr lang="en-US"/>
              <a:t>Click to add </a:t>
            </a:r>
            <a:r>
              <a:rPr lang="en-US" err="1"/>
              <a:t>subheadline</a:t>
            </a:r>
            <a:endParaRPr lang="en-US"/>
          </a:p>
        </p:txBody>
      </p:sp>
      <p:sp>
        <p:nvSpPr>
          <p:cNvPr id="8" name="Textplatzhalter 3"/>
          <p:cNvSpPr>
            <a:spLocks noGrp="1"/>
          </p:cNvSpPr>
          <p:nvPr>
            <p:ph type="body" sz="quarter" idx="12" hasCustomPrompt="1"/>
          </p:nvPr>
        </p:nvSpPr>
        <p:spPr bwMode="gray">
          <a:xfrm>
            <a:off x="431371" y="6404740"/>
            <a:ext cx="11328400" cy="192617"/>
          </a:xfrm>
        </p:spPr>
        <p:txBody>
          <a:bodyPr tIns="0" bIns="36000" anchor="b" anchorCtr="0">
            <a:noAutofit/>
          </a:bodyPr>
          <a:lstStyle>
            <a:lvl1pPr marL="0" marR="0" indent="0" algn="l" defTabSz="1218043" rtl="0" eaLnBrk="1" fontAlgn="auto" latinLnBrk="0" hangingPunct="1">
              <a:lnSpc>
                <a:spcPct val="100000"/>
              </a:lnSpc>
              <a:spcBef>
                <a:spcPts val="0"/>
              </a:spcBef>
              <a:spcAft>
                <a:spcPts val="0"/>
              </a:spcAft>
              <a:buClrTx/>
              <a:buSzTx/>
              <a:buFont typeface="Arial" pitchFamily="34" charset="0"/>
              <a:buNone/>
              <a:tabLst/>
              <a:defRPr lang="de-DE" sz="1066" kern="1200" baseline="0" noProof="0" smtClean="0">
                <a:solidFill>
                  <a:schemeClr val="bg2"/>
                </a:solidFill>
                <a:latin typeface="Arial" pitchFamily="34" charset="0"/>
                <a:ea typeface="+mn-ea"/>
                <a:cs typeface="Arial" pitchFamily="34" charset="0"/>
              </a:defRPr>
            </a:lvl1pPr>
            <a:lvl2pPr marL="0" indent="0">
              <a:lnSpc>
                <a:spcPct val="100000"/>
              </a:lnSpc>
              <a:spcBef>
                <a:spcPts val="0"/>
              </a:spcBef>
              <a:buFont typeface="Arial" panose="020B0604020202020204" pitchFamily="34" charset="0"/>
              <a:buNone/>
              <a:defRPr lang="de-DE" sz="1066" kern="1200" baseline="0" noProof="0" smtClean="0">
                <a:solidFill>
                  <a:schemeClr val="bg2"/>
                </a:solidFill>
                <a:latin typeface="Arial" pitchFamily="34" charset="0"/>
                <a:ea typeface="+mn-ea"/>
                <a:cs typeface="Arial" pitchFamily="34" charset="0"/>
              </a:defRPr>
            </a:lvl2pPr>
            <a:lvl3pPr marL="0" indent="0">
              <a:lnSpc>
                <a:spcPct val="100000"/>
              </a:lnSpc>
              <a:spcBef>
                <a:spcPts val="0"/>
              </a:spcBef>
              <a:buNone/>
              <a:defRPr lang="de-DE" sz="1066" kern="1200" baseline="0" noProof="0" smtClean="0">
                <a:solidFill>
                  <a:schemeClr val="bg2"/>
                </a:solidFill>
                <a:latin typeface="Arial" pitchFamily="34" charset="0"/>
                <a:ea typeface="+mn-ea"/>
                <a:cs typeface="Arial" pitchFamily="34" charset="0"/>
              </a:defRPr>
            </a:lvl3pPr>
            <a:lvl4pPr marL="0" indent="0">
              <a:lnSpc>
                <a:spcPct val="100000"/>
              </a:lnSpc>
              <a:spcBef>
                <a:spcPts val="0"/>
              </a:spcBef>
              <a:buNone/>
              <a:defRPr lang="de-DE" sz="1066" kern="1200" baseline="0" noProof="0" smtClean="0">
                <a:solidFill>
                  <a:schemeClr val="bg2"/>
                </a:solidFill>
                <a:latin typeface="Arial" pitchFamily="34" charset="0"/>
                <a:ea typeface="+mn-ea"/>
                <a:cs typeface="Arial" pitchFamily="34" charset="0"/>
              </a:defRPr>
            </a:lvl4pPr>
            <a:lvl5pPr marL="0" indent="0">
              <a:lnSpc>
                <a:spcPct val="100000"/>
              </a:lnSpc>
              <a:spcBef>
                <a:spcPts val="0"/>
              </a:spcBef>
              <a:buNone/>
              <a:defRPr lang="de-DE" sz="1066" kern="1200" baseline="0" noProof="0" smtClean="0">
                <a:solidFill>
                  <a:schemeClr val="bg2"/>
                </a:solidFill>
                <a:latin typeface="Arial" pitchFamily="34" charset="0"/>
                <a:ea typeface="+mn-ea"/>
                <a:cs typeface="Arial" pitchFamily="34" charset="0"/>
              </a:defRPr>
            </a:lvl5pPr>
            <a:lvl6pPr marL="0" indent="0">
              <a:lnSpc>
                <a:spcPct val="100000"/>
              </a:lnSpc>
              <a:spcBef>
                <a:spcPts val="0"/>
              </a:spcBef>
              <a:buNone/>
              <a:defRPr lang="de-DE" sz="1066" kern="1200" baseline="0" noProof="0" smtClean="0">
                <a:solidFill>
                  <a:schemeClr val="bg2"/>
                </a:solidFill>
                <a:latin typeface="Arial" pitchFamily="34" charset="0"/>
                <a:ea typeface="+mn-ea"/>
                <a:cs typeface="Arial" pitchFamily="34" charset="0"/>
              </a:defRPr>
            </a:lvl6pPr>
            <a:lvl7pPr marL="0" indent="0">
              <a:lnSpc>
                <a:spcPct val="100000"/>
              </a:lnSpc>
              <a:spcBef>
                <a:spcPts val="0"/>
              </a:spcBef>
              <a:buNone/>
              <a:defRPr lang="de-DE" sz="1066" kern="1200" baseline="0" noProof="0" dirty="0" smtClean="0">
                <a:solidFill>
                  <a:schemeClr val="bg2"/>
                </a:solidFill>
                <a:latin typeface="Arial" pitchFamily="34" charset="0"/>
                <a:ea typeface="+mn-ea"/>
                <a:cs typeface="Arial" pitchFamily="34" charset="0"/>
              </a:defRPr>
            </a:lvl7pPr>
            <a:lvl8pPr marL="0" indent="0">
              <a:lnSpc>
                <a:spcPct val="100000"/>
              </a:lnSpc>
              <a:spcBef>
                <a:spcPts val="0"/>
              </a:spcBef>
              <a:buNone/>
              <a:defRPr lang="de-DE" sz="1066" kern="1200" baseline="0" noProof="0" smtClean="0">
                <a:solidFill>
                  <a:schemeClr val="bg2"/>
                </a:solidFill>
                <a:latin typeface="Arial" pitchFamily="34" charset="0"/>
                <a:ea typeface="+mn-ea"/>
                <a:cs typeface="Arial" pitchFamily="34" charset="0"/>
              </a:defRPr>
            </a:lvl8pPr>
            <a:lvl9pPr marL="0" indent="0">
              <a:lnSpc>
                <a:spcPct val="100000"/>
              </a:lnSpc>
              <a:spcBef>
                <a:spcPts val="0"/>
              </a:spcBef>
              <a:buNone/>
              <a:defRPr lang="de-DE" sz="1066" kern="1200" baseline="0" noProof="0" smtClean="0">
                <a:solidFill>
                  <a:schemeClr val="bg2"/>
                </a:solidFill>
                <a:latin typeface="Arial" pitchFamily="34" charset="0"/>
                <a:ea typeface="+mn-ea"/>
                <a:cs typeface="Arial" pitchFamily="34" charset="0"/>
              </a:defRPr>
            </a:lvl9pPr>
          </a:lstStyle>
          <a:p>
            <a:pPr lvl="0"/>
            <a:r>
              <a:rPr lang="en-US"/>
              <a:t>Click to add source information</a:t>
            </a:r>
          </a:p>
        </p:txBody>
      </p:sp>
      <p:sp>
        <p:nvSpPr>
          <p:cNvPr id="4" name="Content Placeholder 3"/>
          <p:cNvSpPr>
            <a:spLocks noGrp="1"/>
          </p:cNvSpPr>
          <p:nvPr>
            <p:ph sz="quarter" idx="13" hasCustomPrompt="1"/>
          </p:nvPr>
        </p:nvSpPr>
        <p:spPr>
          <a:xfrm>
            <a:off x="431218" y="1700763"/>
            <a:ext cx="3647604" cy="4609024"/>
          </a:xfrm>
        </p:spPr>
        <p:txBody>
          <a:bodyPr/>
          <a:lstStyle/>
          <a:p>
            <a:pPr lvl="0"/>
            <a:r>
              <a:rPr lang="en-US" noProof="0"/>
              <a:t>Click to add tex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Content Placeholder 10"/>
          <p:cNvSpPr>
            <a:spLocks noGrp="1"/>
          </p:cNvSpPr>
          <p:nvPr>
            <p:ph sz="quarter" idx="14" hasCustomPrompt="1"/>
          </p:nvPr>
        </p:nvSpPr>
        <p:spPr>
          <a:xfrm>
            <a:off x="4271750" y="1701803"/>
            <a:ext cx="3648508" cy="4607984"/>
          </a:xfrm>
        </p:spPr>
        <p:txBody>
          <a:bodyPr/>
          <a:lstStyle/>
          <a:p>
            <a:pPr lvl="0"/>
            <a:r>
              <a:rPr lang="en-US" noProof="0"/>
              <a:t>Click to add tex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Content Placeholder 12"/>
          <p:cNvSpPr>
            <a:spLocks noGrp="1"/>
          </p:cNvSpPr>
          <p:nvPr>
            <p:ph sz="quarter" idx="15" hasCustomPrompt="1"/>
          </p:nvPr>
        </p:nvSpPr>
        <p:spPr>
          <a:xfrm>
            <a:off x="8112281" y="1701803"/>
            <a:ext cx="3648507" cy="4607984"/>
          </a:xfrm>
        </p:spPr>
        <p:txBody>
          <a:bodyPr/>
          <a:lstStyle/>
          <a:p>
            <a:pPr lvl="0"/>
            <a:r>
              <a:rPr lang="en-US" noProof="0"/>
              <a:t>Click to add text</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2214369807"/>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p:cSld name="Content with full picture">
    <p:spTree>
      <p:nvGrpSpPr>
        <p:cNvPr id="1" name=""/>
        <p:cNvGrpSpPr/>
        <p:nvPr/>
      </p:nvGrpSpPr>
      <p:grpSpPr>
        <a:xfrm>
          <a:off x="0" y="0"/>
          <a:ext cx="0" cy="0"/>
          <a:chOff x="0" y="0"/>
          <a:chExt cx="0" cy="0"/>
        </a:xfrm>
      </p:grpSpPr>
      <p:sp>
        <p:nvSpPr>
          <p:cNvPr id="12" name="Picture Placeholder 11"/>
          <p:cNvSpPr>
            <a:spLocks noGrp="1"/>
          </p:cNvSpPr>
          <p:nvPr>
            <p:ph type="pic" sz="quarter" idx="17" hasCustomPrompt="1"/>
          </p:nvPr>
        </p:nvSpPr>
        <p:spPr>
          <a:xfrm>
            <a:off x="0" y="0"/>
            <a:ext cx="12193200" cy="6858000"/>
          </a:xfrm>
          <a:prstGeom prst="rect">
            <a:avLst/>
          </a:prstGeom>
          <a:solidFill>
            <a:srgbClr val="D9DADB"/>
          </a:solidFill>
        </p:spPr>
        <p:txBody>
          <a:bodyPr wrap="square">
            <a:noAutofit/>
          </a:bodyPr>
          <a:lstStyle>
            <a:lvl1pPr marL="0" indent="0">
              <a:buNone/>
              <a:defRPr/>
            </a:lvl1pPr>
          </a:lstStyle>
          <a:p>
            <a:r>
              <a:rPr lang="en-US"/>
              <a:t>Insert picture</a:t>
            </a:r>
          </a:p>
        </p:txBody>
      </p:sp>
      <p:sp>
        <p:nvSpPr>
          <p:cNvPr id="9" name="copyright"/>
          <p:cNvSpPr txBox="1"/>
          <p:nvPr/>
        </p:nvSpPr>
        <p:spPr>
          <a:xfrm>
            <a:off x="10672209" y="6237288"/>
            <a:ext cx="500617" cy="358173"/>
          </a:xfrm>
          <a:prstGeom prst="rect">
            <a:avLst/>
          </a:prstGeom>
          <a:noFill/>
        </p:spPr>
        <p:txBody>
          <a:bodyPr wrap="none" lIns="0" tIns="0" rIns="0" bIns="0" rtlCol="0" anchor="b" anchorCtr="0">
            <a:noAutofit/>
          </a:bodyPr>
          <a:lstStyle/>
          <a:p>
            <a:pPr marL="0" indent="0" algn="r">
              <a:lnSpc>
                <a:spcPct val="125000"/>
              </a:lnSpc>
              <a:buClr>
                <a:schemeClr val="tx2"/>
              </a:buClr>
              <a:buFont typeface="Wingdings" panose="05000000000000000000" pitchFamily="2" charset="2"/>
              <a:buNone/>
            </a:pPr>
            <a:r>
              <a:rPr lang="en-US" sz="800">
                <a:solidFill>
                  <a:schemeClr val="bg1"/>
                </a:solidFill>
              </a:rPr>
              <a:t>© GfK</a:t>
            </a:r>
          </a:p>
        </p:txBody>
      </p:sp>
      <p:sp>
        <p:nvSpPr>
          <p:cNvPr id="21" name="Date Placeholder 20"/>
          <p:cNvSpPr>
            <a:spLocks noGrp="1"/>
          </p:cNvSpPr>
          <p:nvPr>
            <p:ph type="dt" sz="half" idx="14"/>
          </p:nvPr>
        </p:nvSpPr>
        <p:spPr/>
        <p:txBody>
          <a:bodyPr/>
          <a:lstStyle>
            <a:lvl1pPr>
              <a:defRPr>
                <a:solidFill>
                  <a:schemeClr val="bg1"/>
                </a:solidFill>
              </a:defRPr>
            </a:lvl1pPr>
          </a:lstStyle>
          <a:p>
            <a:endParaRPr lang="en-US"/>
          </a:p>
        </p:txBody>
      </p:sp>
      <p:sp>
        <p:nvSpPr>
          <p:cNvPr id="22" name="Footer Placeholder 21"/>
          <p:cNvSpPr>
            <a:spLocks noGrp="1"/>
          </p:cNvSpPr>
          <p:nvPr>
            <p:ph type="ftr" sz="quarter" idx="15"/>
          </p:nvPr>
        </p:nvSpPr>
        <p:spPr/>
        <p:txBody>
          <a:bodyPr/>
          <a:lstStyle>
            <a:lvl1pPr>
              <a:defRPr>
                <a:solidFill>
                  <a:schemeClr val="bg1"/>
                </a:solidFill>
              </a:defRPr>
            </a:lvl1pPr>
          </a:lstStyle>
          <a:p>
            <a:endParaRPr lang="en-US"/>
          </a:p>
        </p:txBody>
      </p:sp>
      <p:sp>
        <p:nvSpPr>
          <p:cNvPr id="23" name="Slide Number Placeholder 22"/>
          <p:cNvSpPr>
            <a:spLocks noGrp="1"/>
          </p:cNvSpPr>
          <p:nvPr>
            <p:ph type="sldNum" sz="quarter" idx="16"/>
          </p:nvPr>
        </p:nvSpPr>
        <p:spPr/>
        <p:txBody>
          <a:bodyPr/>
          <a:lstStyle>
            <a:lvl1pPr>
              <a:defRPr>
                <a:solidFill>
                  <a:schemeClr val="bg1"/>
                </a:solidFill>
              </a:defRPr>
            </a:lvl1pPr>
          </a:lstStyle>
          <a:p>
            <a:fld id="{5F3E29E4-0979-4FCA-B4C5-5FC6044C982A}" type="slidenum">
              <a:rPr lang="en-US" smtClean="0"/>
              <a:pPr/>
              <a:t>‹#›</a:t>
            </a:fld>
            <a:endParaRPr lang="en-US"/>
          </a:p>
        </p:txBody>
      </p:sp>
      <p:sp>
        <p:nvSpPr>
          <p:cNvPr id="2" name="Title 1"/>
          <p:cNvSpPr>
            <a:spLocks noGrp="1"/>
          </p:cNvSpPr>
          <p:nvPr>
            <p:ph type="title" hasCustomPrompt="1"/>
          </p:nvPr>
        </p:nvSpPr>
        <p:spPr>
          <a:xfrm>
            <a:off x="6543675" y="1519552"/>
            <a:ext cx="4629150" cy="4249423"/>
          </a:xfrm>
        </p:spPr>
        <p:txBody>
          <a:bodyPr/>
          <a:lstStyle>
            <a:lvl1pPr>
              <a:defRPr>
                <a:solidFill>
                  <a:schemeClr val="bg1"/>
                </a:solidFill>
              </a:defRPr>
            </a:lvl1pPr>
          </a:lstStyle>
          <a:p>
            <a:r>
              <a:rPr lang="en-US"/>
              <a:t>Click to add text</a:t>
            </a:r>
          </a:p>
        </p:txBody>
      </p:sp>
      <p:sp>
        <p:nvSpPr>
          <p:cNvPr id="8" name="Text Placeholder 4"/>
          <p:cNvSpPr>
            <a:spLocks noGrp="1"/>
          </p:cNvSpPr>
          <p:nvPr>
            <p:ph type="body" sz="quarter" idx="18" hasCustomPrompt="1"/>
          </p:nvPr>
        </p:nvSpPr>
        <p:spPr>
          <a:xfrm>
            <a:off x="1075063" y="6307665"/>
            <a:ext cx="8162717" cy="133200"/>
          </a:xfrm>
        </p:spPr>
        <p:txBody>
          <a:bodyPr lIns="0" tIns="0" rIns="0" bIns="0" anchor="b" anchorCtr="0"/>
          <a:lstStyle>
            <a:lvl1pPr marL="0" indent="0" algn="l">
              <a:lnSpc>
                <a:spcPct val="100000"/>
              </a:lnSpc>
              <a:spcBef>
                <a:spcPts val="0"/>
              </a:spcBef>
              <a:buNone/>
              <a:defRPr sz="800" baseline="0">
                <a:solidFill>
                  <a:schemeClr val="bg1"/>
                </a:solidFill>
              </a:defRPr>
            </a:lvl1pPr>
            <a:lvl2pPr marL="0" indent="0" algn="l">
              <a:lnSpc>
                <a:spcPct val="100000"/>
              </a:lnSpc>
              <a:spcBef>
                <a:spcPts val="0"/>
              </a:spcBef>
              <a:buNone/>
              <a:defRPr sz="800">
                <a:solidFill>
                  <a:schemeClr val="bg1"/>
                </a:solidFill>
              </a:defRPr>
            </a:lvl2pPr>
            <a:lvl3pPr marL="0" indent="0" algn="l">
              <a:lnSpc>
                <a:spcPct val="100000"/>
              </a:lnSpc>
              <a:spcBef>
                <a:spcPts val="0"/>
              </a:spcBef>
              <a:buNone/>
              <a:defRPr sz="800">
                <a:solidFill>
                  <a:schemeClr val="bg1"/>
                </a:solidFill>
              </a:defRPr>
            </a:lvl3pPr>
            <a:lvl4pPr marL="0" algn="l">
              <a:lnSpc>
                <a:spcPct val="100000"/>
              </a:lnSpc>
              <a:spcBef>
                <a:spcPts val="0"/>
              </a:spcBef>
              <a:buNone/>
              <a:defRPr sz="800">
                <a:solidFill>
                  <a:schemeClr val="bg1"/>
                </a:solidFill>
              </a:defRPr>
            </a:lvl4pPr>
            <a:lvl5pPr marL="0" indent="0" algn="l">
              <a:lnSpc>
                <a:spcPct val="100000"/>
              </a:lnSpc>
              <a:spcBef>
                <a:spcPts val="0"/>
              </a:spcBef>
              <a:buNone/>
              <a:defRPr sz="800">
                <a:solidFill>
                  <a:schemeClr val="bg1"/>
                </a:solidFill>
              </a:defRPr>
            </a:lvl5pPr>
          </a:lstStyle>
          <a:p>
            <a:pPr lvl="0"/>
            <a:r>
              <a:rPr lang="en-US"/>
              <a:t>Source line</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80505788"/>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p:cSld name="Two pictures">
    <p:spTree>
      <p:nvGrpSpPr>
        <p:cNvPr id="1" name=""/>
        <p:cNvGrpSpPr/>
        <p:nvPr/>
      </p:nvGrpSpPr>
      <p:grpSpPr>
        <a:xfrm>
          <a:off x="0" y="0"/>
          <a:ext cx="0" cy="0"/>
          <a:chOff x="0" y="0"/>
          <a:chExt cx="0" cy="0"/>
        </a:xfrm>
      </p:grpSpPr>
      <p:sp>
        <p:nvSpPr>
          <p:cNvPr id="21" name="Date Placeholder 20"/>
          <p:cNvSpPr>
            <a:spLocks noGrp="1"/>
          </p:cNvSpPr>
          <p:nvPr>
            <p:ph type="dt" sz="half" idx="14"/>
          </p:nvPr>
        </p:nvSpPr>
        <p:spPr/>
        <p:txBody>
          <a:bodyPr/>
          <a:lstStyle/>
          <a:p>
            <a:endParaRPr lang="en-US"/>
          </a:p>
        </p:txBody>
      </p:sp>
      <p:sp>
        <p:nvSpPr>
          <p:cNvPr id="22" name="Footer Placeholder 21"/>
          <p:cNvSpPr>
            <a:spLocks noGrp="1"/>
          </p:cNvSpPr>
          <p:nvPr>
            <p:ph type="ftr" sz="quarter" idx="15"/>
          </p:nvPr>
        </p:nvSpPr>
        <p:spPr/>
        <p:txBody>
          <a:bodyPr/>
          <a:lstStyle/>
          <a:p>
            <a:endParaRPr lang="en-US"/>
          </a:p>
        </p:txBody>
      </p:sp>
      <p:sp>
        <p:nvSpPr>
          <p:cNvPr id="23" name="Slide Number Placeholder 22"/>
          <p:cNvSpPr>
            <a:spLocks noGrp="1"/>
          </p:cNvSpPr>
          <p:nvPr>
            <p:ph type="sldNum" sz="quarter" idx="16"/>
          </p:nvPr>
        </p:nvSpPr>
        <p:spPr/>
        <p:txBody>
          <a:bodyPr/>
          <a:lstStyle/>
          <a:p>
            <a:fld id="{5F3E29E4-0979-4FCA-B4C5-5FC6044C982A}" type="slidenum">
              <a:rPr lang="en-US" smtClean="0"/>
              <a:t>‹#›</a:t>
            </a:fld>
            <a:endParaRPr lang="en-US"/>
          </a:p>
        </p:txBody>
      </p:sp>
      <p:sp>
        <p:nvSpPr>
          <p:cNvPr id="2" name="Title 1"/>
          <p:cNvSpPr>
            <a:spLocks noGrp="1"/>
          </p:cNvSpPr>
          <p:nvPr>
            <p:ph type="title" hasCustomPrompt="1"/>
          </p:nvPr>
        </p:nvSpPr>
        <p:spPr/>
        <p:txBody>
          <a:bodyPr/>
          <a:lstStyle>
            <a:lvl1pPr>
              <a:defRPr/>
            </a:lvl1pPr>
          </a:lstStyle>
          <a:p>
            <a:r>
              <a:rPr lang="en-US"/>
              <a:t>Click to add slide title</a:t>
            </a:r>
          </a:p>
        </p:txBody>
      </p:sp>
      <p:sp>
        <p:nvSpPr>
          <p:cNvPr id="7" name="Subtitle 2"/>
          <p:cNvSpPr>
            <a:spLocks noGrp="1"/>
          </p:cNvSpPr>
          <p:nvPr>
            <p:ph type="subTitle" idx="13" hasCustomPrompt="1"/>
          </p:nvPr>
        </p:nvSpPr>
        <p:spPr>
          <a:xfrm>
            <a:off x="1075061" y="964671"/>
            <a:ext cx="7910158" cy="490042"/>
          </a:xfrm>
        </p:spPr>
        <p:txBody>
          <a:bodyPr wrap="none"/>
          <a:lstStyle>
            <a:lvl1pPr marL="0" indent="0" algn="l">
              <a:spcBef>
                <a:spcPts val="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sp>
        <p:nvSpPr>
          <p:cNvPr id="5" name="Picture Placeholder 4"/>
          <p:cNvSpPr>
            <a:spLocks noGrp="1"/>
          </p:cNvSpPr>
          <p:nvPr>
            <p:ph type="pic" sz="quarter" idx="17" hasCustomPrompt="1"/>
          </p:nvPr>
        </p:nvSpPr>
        <p:spPr>
          <a:xfrm>
            <a:off x="1075062" y="1637783"/>
            <a:ext cx="5220000" cy="4599506"/>
          </a:xfrm>
          <a:solidFill>
            <a:srgbClr val="D9DADB"/>
          </a:solidFill>
        </p:spPr>
        <p:txBody>
          <a:bodyPr/>
          <a:lstStyle>
            <a:lvl1pPr marL="0" indent="0">
              <a:buNone/>
              <a:defRPr/>
            </a:lvl1pPr>
          </a:lstStyle>
          <a:p>
            <a:r>
              <a:rPr lang="en-US"/>
              <a:t>Insert picture</a:t>
            </a:r>
          </a:p>
        </p:txBody>
      </p:sp>
      <p:sp>
        <p:nvSpPr>
          <p:cNvPr id="9" name="Picture Placeholder 4"/>
          <p:cNvSpPr>
            <a:spLocks noGrp="1"/>
          </p:cNvSpPr>
          <p:nvPr>
            <p:ph type="pic" sz="quarter" idx="18" hasCustomPrompt="1"/>
          </p:nvPr>
        </p:nvSpPr>
        <p:spPr>
          <a:xfrm>
            <a:off x="6600525" y="1637783"/>
            <a:ext cx="5220000" cy="4599506"/>
          </a:xfrm>
          <a:solidFill>
            <a:srgbClr val="D9DADB"/>
          </a:solidFill>
        </p:spPr>
        <p:txBody>
          <a:bodyPr/>
          <a:lstStyle>
            <a:lvl1pPr marL="0" indent="0">
              <a:buNone/>
              <a:defRPr/>
            </a:lvl1pPr>
          </a:lstStyle>
          <a:p>
            <a:r>
              <a:rPr lang="en-US"/>
              <a:t>Insert picture</a:t>
            </a:r>
          </a:p>
        </p:txBody>
      </p:sp>
      <p:sp>
        <p:nvSpPr>
          <p:cNvPr id="11" name="Text Placeholder 4"/>
          <p:cNvSpPr>
            <a:spLocks noGrp="1"/>
          </p:cNvSpPr>
          <p:nvPr>
            <p:ph type="body" sz="quarter" idx="19" hasCustomPrompt="1"/>
          </p:nvPr>
        </p:nvSpPr>
        <p:spPr>
          <a:xfrm>
            <a:off x="1075063" y="6307665"/>
            <a:ext cx="8162717" cy="133200"/>
          </a:xfrm>
        </p:spPr>
        <p:txBody>
          <a:bodyPr lIns="0" tIns="0" rIns="0" bIns="0" anchor="b" anchorCtr="0"/>
          <a:lstStyle>
            <a:lvl1pPr marL="0" indent="0" algn="l">
              <a:lnSpc>
                <a:spcPct val="100000"/>
              </a:lnSpc>
              <a:spcBef>
                <a:spcPts val="0"/>
              </a:spcBef>
              <a:buNone/>
              <a:defRPr sz="800" baseline="0"/>
            </a:lvl1pPr>
            <a:lvl2pPr marL="0" indent="0" algn="l">
              <a:lnSpc>
                <a:spcPct val="100000"/>
              </a:lnSpc>
              <a:spcBef>
                <a:spcPts val="0"/>
              </a:spcBef>
              <a:buNone/>
              <a:defRPr sz="800"/>
            </a:lvl2pPr>
            <a:lvl3pPr marL="0" indent="0" algn="l">
              <a:lnSpc>
                <a:spcPct val="100000"/>
              </a:lnSpc>
              <a:spcBef>
                <a:spcPts val="0"/>
              </a:spcBef>
              <a:buNone/>
              <a:defRPr sz="800"/>
            </a:lvl3pPr>
            <a:lvl4pPr marL="0" algn="l">
              <a:lnSpc>
                <a:spcPct val="100000"/>
              </a:lnSpc>
              <a:spcBef>
                <a:spcPts val="0"/>
              </a:spcBef>
              <a:buNone/>
              <a:defRPr sz="800"/>
            </a:lvl4pPr>
            <a:lvl5pPr marL="0" indent="0" algn="l">
              <a:lnSpc>
                <a:spcPct val="100000"/>
              </a:lnSpc>
              <a:spcBef>
                <a:spcPts val="0"/>
              </a:spcBef>
              <a:buNone/>
              <a:defRPr sz="800"/>
            </a:lvl5pPr>
          </a:lstStyle>
          <a:p>
            <a:pPr lvl="0"/>
            <a:r>
              <a:rPr lang="en-US"/>
              <a:t>Source line</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91888769"/>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p:cSld name="Two contents">
    <p:spTree>
      <p:nvGrpSpPr>
        <p:cNvPr id="1" name=""/>
        <p:cNvGrpSpPr/>
        <p:nvPr/>
      </p:nvGrpSpPr>
      <p:grpSpPr>
        <a:xfrm>
          <a:off x="0" y="0"/>
          <a:ext cx="0" cy="0"/>
          <a:chOff x="0" y="0"/>
          <a:chExt cx="0" cy="0"/>
        </a:xfrm>
      </p:grpSpPr>
      <p:sp>
        <p:nvSpPr>
          <p:cNvPr id="21" name="Date Placeholder 20"/>
          <p:cNvSpPr>
            <a:spLocks noGrp="1"/>
          </p:cNvSpPr>
          <p:nvPr>
            <p:ph type="dt" sz="half" idx="14"/>
          </p:nvPr>
        </p:nvSpPr>
        <p:spPr/>
        <p:txBody>
          <a:bodyPr/>
          <a:lstStyle/>
          <a:p>
            <a:endParaRPr lang="en-US"/>
          </a:p>
        </p:txBody>
      </p:sp>
      <p:sp>
        <p:nvSpPr>
          <p:cNvPr id="22" name="Footer Placeholder 21"/>
          <p:cNvSpPr>
            <a:spLocks noGrp="1"/>
          </p:cNvSpPr>
          <p:nvPr>
            <p:ph type="ftr" sz="quarter" idx="15"/>
          </p:nvPr>
        </p:nvSpPr>
        <p:spPr/>
        <p:txBody>
          <a:bodyPr/>
          <a:lstStyle/>
          <a:p>
            <a:endParaRPr lang="en-US"/>
          </a:p>
        </p:txBody>
      </p:sp>
      <p:sp>
        <p:nvSpPr>
          <p:cNvPr id="23" name="Slide Number Placeholder 22"/>
          <p:cNvSpPr>
            <a:spLocks noGrp="1"/>
          </p:cNvSpPr>
          <p:nvPr>
            <p:ph type="sldNum" sz="quarter" idx="16"/>
          </p:nvPr>
        </p:nvSpPr>
        <p:spPr/>
        <p:txBody>
          <a:bodyPr/>
          <a:lstStyle/>
          <a:p>
            <a:fld id="{5F3E29E4-0979-4FCA-B4C5-5FC6044C982A}" type="slidenum">
              <a:rPr lang="en-US" smtClean="0"/>
              <a:t>‹#›</a:t>
            </a:fld>
            <a:endParaRPr lang="en-US"/>
          </a:p>
        </p:txBody>
      </p:sp>
      <p:sp>
        <p:nvSpPr>
          <p:cNvPr id="2" name="Title 1"/>
          <p:cNvSpPr>
            <a:spLocks noGrp="1"/>
          </p:cNvSpPr>
          <p:nvPr>
            <p:ph type="title" hasCustomPrompt="1"/>
          </p:nvPr>
        </p:nvSpPr>
        <p:spPr/>
        <p:txBody>
          <a:bodyPr/>
          <a:lstStyle>
            <a:lvl1pPr>
              <a:defRPr/>
            </a:lvl1pPr>
          </a:lstStyle>
          <a:p>
            <a:r>
              <a:rPr lang="en-US"/>
              <a:t>Click to add slide title</a:t>
            </a:r>
          </a:p>
        </p:txBody>
      </p:sp>
      <p:sp>
        <p:nvSpPr>
          <p:cNvPr id="7" name="Subtitle 2"/>
          <p:cNvSpPr>
            <a:spLocks noGrp="1"/>
          </p:cNvSpPr>
          <p:nvPr>
            <p:ph type="subTitle" idx="13" hasCustomPrompt="1"/>
          </p:nvPr>
        </p:nvSpPr>
        <p:spPr>
          <a:xfrm>
            <a:off x="1075061" y="964671"/>
            <a:ext cx="7910158" cy="490042"/>
          </a:xfrm>
        </p:spPr>
        <p:txBody>
          <a:bodyPr wrap="none"/>
          <a:lstStyle>
            <a:lvl1pPr marL="0" indent="0" algn="l">
              <a:spcBef>
                <a:spcPts val="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sp>
        <p:nvSpPr>
          <p:cNvPr id="3" name="Content Placeholder 2"/>
          <p:cNvSpPr>
            <a:spLocks noGrp="1"/>
          </p:cNvSpPr>
          <p:nvPr>
            <p:ph idx="1" hasCustomPrompt="1"/>
          </p:nvPr>
        </p:nvSpPr>
        <p:spPr>
          <a:xfrm>
            <a:off x="1075062" y="1629618"/>
            <a:ext cx="5220000" cy="4139357"/>
          </a:xfrm>
        </p:spPr>
        <p:txBody>
          <a:bodyPr/>
          <a:lstStyle>
            <a:lvl1pPr>
              <a:defRPr/>
            </a:lvl1pPr>
          </a:lstStyle>
          <a:p>
            <a:pPr lvl="0"/>
            <a:r>
              <a:rPr lang="en-US"/>
              <a:t>Click to add text or content</a:t>
            </a:r>
          </a:p>
          <a:p>
            <a:pPr lvl="1"/>
            <a:r>
              <a:rPr lang="en-US"/>
              <a:t>Second level</a:t>
            </a:r>
          </a:p>
          <a:p>
            <a:pPr lvl="2"/>
            <a:r>
              <a:rPr lang="en-US"/>
              <a:t>Third level</a:t>
            </a:r>
          </a:p>
          <a:p>
            <a:pPr lvl="3"/>
            <a:r>
              <a:rPr lang="en-US"/>
              <a:t>Fourth level</a:t>
            </a:r>
          </a:p>
          <a:p>
            <a:pPr lvl="4"/>
            <a:r>
              <a:rPr lang="en-US"/>
              <a:t>Fifth level</a:t>
            </a:r>
          </a:p>
        </p:txBody>
      </p:sp>
      <p:sp>
        <p:nvSpPr>
          <p:cNvPr id="9" name="Content Placeholder 2"/>
          <p:cNvSpPr>
            <a:spLocks noGrp="1"/>
          </p:cNvSpPr>
          <p:nvPr>
            <p:ph idx="17" hasCustomPrompt="1"/>
          </p:nvPr>
        </p:nvSpPr>
        <p:spPr>
          <a:xfrm>
            <a:off x="6600525" y="1629618"/>
            <a:ext cx="5220000" cy="4139357"/>
          </a:xfrm>
        </p:spPr>
        <p:txBody>
          <a:bodyPr/>
          <a:lstStyle>
            <a:lvl1pPr>
              <a:defRPr/>
            </a:lvl1pPr>
          </a:lstStyle>
          <a:p>
            <a:pPr lvl="0"/>
            <a:r>
              <a:rPr lang="en-US"/>
              <a:t>Click to add text or content</a:t>
            </a:r>
          </a:p>
          <a:p>
            <a:pPr lvl="1"/>
            <a:r>
              <a:rPr lang="en-US"/>
              <a:t>Second level</a:t>
            </a:r>
          </a:p>
          <a:p>
            <a:pPr lvl="2"/>
            <a:r>
              <a:rPr lang="en-US"/>
              <a:t>Third level</a:t>
            </a:r>
          </a:p>
          <a:p>
            <a:pPr lvl="3"/>
            <a:r>
              <a:rPr lang="en-US"/>
              <a:t>Fourth level</a:t>
            </a:r>
          </a:p>
          <a:p>
            <a:pPr lvl="4"/>
            <a:r>
              <a:rPr lang="en-US"/>
              <a:t>Fifth level</a:t>
            </a:r>
          </a:p>
        </p:txBody>
      </p:sp>
      <p:sp>
        <p:nvSpPr>
          <p:cNvPr id="11" name="Text Placeholder 4"/>
          <p:cNvSpPr>
            <a:spLocks noGrp="1"/>
          </p:cNvSpPr>
          <p:nvPr>
            <p:ph type="body" sz="quarter" idx="18" hasCustomPrompt="1"/>
          </p:nvPr>
        </p:nvSpPr>
        <p:spPr>
          <a:xfrm>
            <a:off x="1075063" y="6307665"/>
            <a:ext cx="8162717" cy="133200"/>
          </a:xfrm>
        </p:spPr>
        <p:txBody>
          <a:bodyPr lIns="0" tIns="0" rIns="0" bIns="0" anchor="b" anchorCtr="0"/>
          <a:lstStyle>
            <a:lvl1pPr marL="0" indent="0" algn="l">
              <a:lnSpc>
                <a:spcPct val="100000"/>
              </a:lnSpc>
              <a:spcBef>
                <a:spcPts val="0"/>
              </a:spcBef>
              <a:buNone/>
              <a:defRPr sz="800" baseline="0"/>
            </a:lvl1pPr>
            <a:lvl2pPr marL="0" indent="0" algn="l">
              <a:lnSpc>
                <a:spcPct val="100000"/>
              </a:lnSpc>
              <a:spcBef>
                <a:spcPts val="0"/>
              </a:spcBef>
              <a:buNone/>
              <a:defRPr sz="800"/>
            </a:lvl2pPr>
            <a:lvl3pPr marL="0" indent="0" algn="l">
              <a:lnSpc>
                <a:spcPct val="100000"/>
              </a:lnSpc>
              <a:spcBef>
                <a:spcPts val="0"/>
              </a:spcBef>
              <a:buNone/>
              <a:defRPr sz="800"/>
            </a:lvl3pPr>
            <a:lvl4pPr marL="0" algn="l">
              <a:lnSpc>
                <a:spcPct val="100000"/>
              </a:lnSpc>
              <a:spcBef>
                <a:spcPts val="0"/>
              </a:spcBef>
              <a:buNone/>
              <a:defRPr sz="800"/>
            </a:lvl4pPr>
            <a:lvl5pPr marL="0" indent="0" algn="l">
              <a:lnSpc>
                <a:spcPct val="100000"/>
              </a:lnSpc>
              <a:spcBef>
                <a:spcPts val="0"/>
              </a:spcBef>
              <a:buNone/>
              <a:defRPr sz="800"/>
            </a:lvl5pPr>
          </a:lstStyle>
          <a:p>
            <a:pPr lvl="0"/>
            <a:r>
              <a:rPr lang="en-US"/>
              <a:t>Source line</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42843954"/>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p:cSld name="Three contents">
    <p:spTree>
      <p:nvGrpSpPr>
        <p:cNvPr id="1" name=""/>
        <p:cNvGrpSpPr/>
        <p:nvPr/>
      </p:nvGrpSpPr>
      <p:grpSpPr>
        <a:xfrm>
          <a:off x="0" y="0"/>
          <a:ext cx="0" cy="0"/>
          <a:chOff x="0" y="0"/>
          <a:chExt cx="0" cy="0"/>
        </a:xfrm>
      </p:grpSpPr>
      <p:sp>
        <p:nvSpPr>
          <p:cNvPr id="21" name="Date Placeholder 20"/>
          <p:cNvSpPr>
            <a:spLocks noGrp="1"/>
          </p:cNvSpPr>
          <p:nvPr>
            <p:ph type="dt" sz="half" idx="14"/>
          </p:nvPr>
        </p:nvSpPr>
        <p:spPr/>
        <p:txBody>
          <a:bodyPr/>
          <a:lstStyle/>
          <a:p>
            <a:endParaRPr lang="en-US"/>
          </a:p>
        </p:txBody>
      </p:sp>
      <p:sp>
        <p:nvSpPr>
          <p:cNvPr id="22" name="Footer Placeholder 21"/>
          <p:cNvSpPr>
            <a:spLocks noGrp="1"/>
          </p:cNvSpPr>
          <p:nvPr>
            <p:ph type="ftr" sz="quarter" idx="15"/>
          </p:nvPr>
        </p:nvSpPr>
        <p:spPr/>
        <p:txBody>
          <a:bodyPr/>
          <a:lstStyle/>
          <a:p>
            <a:endParaRPr lang="en-US"/>
          </a:p>
        </p:txBody>
      </p:sp>
      <p:sp>
        <p:nvSpPr>
          <p:cNvPr id="23" name="Slide Number Placeholder 22"/>
          <p:cNvSpPr>
            <a:spLocks noGrp="1"/>
          </p:cNvSpPr>
          <p:nvPr>
            <p:ph type="sldNum" sz="quarter" idx="16"/>
          </p:nvPr>
        </p:nvSpPr>
        <p:spPr/>
        <p:txBody>
          <a:bodyPr/>
          <a:lstStyle/>
          <a:p>
            <a:fld id="{5F3E29E4-0979-4FCA-B4C5-5FC6044C982A}" type="slidenum">
              <a:rPr lang="en-US" smtClean="0"/>
              <a:t>‹#›</a:t>
            </a:fld>
            <a:endParaRPr lang="en-US"/>
          </a:p>
        </p:txBody>
      </p:sp>
      <p:sp>
        <p:nvSpPr>
          <p:cNvPr id="2" name="Title 1"/>
          <p:cNvSpPr>
            <a:spLocks noGrp="1"/>
          </p:cNvSpPr>
          <p:nvPr>
            <p:ph type="title" hasCustomPrompt="1"/>
          </p:nvPr>
        </p:nvSpPr>
        <p:spPr/>
        <p:txBody>
          <a:bodyPr/>
          <a:lstStyle>
            <a:lvl1pPr>
              <a:defRPr/>
            </a:lvl1pPr>
          </a:lstStyle>
          <a:p>
            <a:r>
              <a:rPr lang="en-US"/>
              <a:t>Click to add slide title</a:t>
            </a:r>
          </a:p>
        </p:txBody>
      </p:sp>
      <p:sp>
        <p:nvSpPr>
          <p:cNvPr id="7" name="Subtitle 2"/>
          <p:cNvSpPr>
            <a:spLocks noGrp="1"/>
          </p:cNvSpPr>
          <p:nvPr>
            <p:ph type="subTitle" idx="13" hasCustomPrompt="1"/>
          </p:nvPr>
        </p:nvSpPr>
        <p:spPr>
          <a:xfrm>
            <a:off x="1075061" y="964671"/>
            <a:ext cx="7910158" cy="490042"/>
          </a:xfrm>
        </p:spPr>
        <p:txBody>
          <a:bodyPr wrap="none"/>
          <a:lstStyle>
            <a:lvl1pPr marL="0" indent="0" algn="l">
              <a:spcBef>
                <a:spcPts val="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sp>
        <p:nvSpPr>
          <p:cNvPr id="3" name="Content Placeholder 2"/>
          <p:cNvSpPr>
            <a:spLocks noGrp="1"/>
          </p:cNvSpPr>
          <p:nvPr>
            <p:ph idx="1" hasCustomPrompt="1"/>
          </p:nvPr>
        </p:nvSpPr>
        <p:spPr>
          <a:xfrm>
            <a:off x="1075061" y="1629618"/>
            <a:ext cx="3384000" cy="4139357"/>
          </a:xfrm>
        </p:spPr>
        <p:txBody>
          <a:bodyPr/>
          <a:lstStyle>
            <a:lvl1pPr>
              <a:defRPr/>
            </a:lvl1pPr>
          </a:lstStyle>
          <a:p>
            <a:pPr lvl="0"/>
            <a:r>
              <a:rPr lang="en-US"/>
              <a:t>Click to add text or content</a:t>
            </a:r>
          </a:p>
          <a:p>
            <a:pPr lvl="1"/>
            <a:r>
              <a:rPr lang="en-US"/>
              <a:t>Second level</a:t>
            </a:r>
          </a:p>
          <a:p>
            <a:pPr lvl="2"/>
            <a:r>
              <a:rPr lang="en-US"/>
              <a:t>Third level</a:t>
            </a:r>
          </a:p>
          <a:p>
            <a:pPr lvl="3"/>
            <a:r>
              <a:rPr lang="en-US"/>
              <a:t>Fourth level</a:t>
            </a:r>
          </a:p>
          <a:p>
            <a:pPr lvl="4"/>
            <a:r>
              <a:rPr lang="en-US"/>
              <a:t>Fifth level</a:t>
            </a:r>
          </a:p>
        </p:txBody>
      </p:sp>
      <p:sp>
        <p:nvSpPr>
          <p:cNvPr id="9" name="Content Placeholder 2"/>
          <p:cNvSpPr>
            <a:spLocks noGrp="1"/>
          </p:cNvSpPr>
          <p:nvPr>
            <p:ph idx="17" hasCustomPrompt="1"/>
          </p:nvPr>
        </p:nvSpPr>
        <p:spPr>
          <a:xfrm>
            <a:off x="4755793" y="1629618"/>
            <a:ext cx="3384000" cy="4139357"/>
          </a:xfrm>
        </p:spPr>
        <p:txBody>
          <a:bodyPr/>
          <a:lstStyle>
            <a:lvl1pPr>
              <a:defRPr/>
            </a:lvl1pPr>
          </a:lstStyle>
          <a:p>
            <a:pPr lvl="0"/>
            <a:r>
              <a:rPr lang="en-US"/>
              <a:t>Click to add text or content</a:t>
            </a:r>
          </a:p>
          <a:p>
            <a:pPr lvl="1"/>
            <a:r>
              <a:rPr lang="en-US"/>
              <a:t>Second level</a:t>
            </a:r>
          </a:p>
          <a:p>
            <a:pPr lvl="2"/>
            <a:r>
              <a:rPr lang="en-US"/>
              <a:t>Third level</a:t>
            </a:r>
          </a:p>
          <a:p>
            <a:pPr lvl="3"/>
            <a:r>
              <a:rPr lang="en-US"/>
              <a:t>Fourth level</a:t>
            </a:r>
          </a:p>
          <a:p>
            <a:pPr lvl="4"/>
            <a:r>
              <a:rPr lang="en-US"/>
              <a:t>Fifth level</a:t>
            </a:r>
          </a:p>
        </p:txBody>
      </p:sp>
      <p:sp>
        <p:nvSpPr>
          <p:cNvPr id="10" name="Content Placeholder 2"/>
          <p:cNvSpPr>
            <a:spLocks noGrp="1"/>
          </p:cNvSpPr>
          <p:nvPr>
            <p:ph idx="18" hasCustomPrompt="1"/>
          </p:nvPr>
        </p:nvSpPr>
        <p:spPr>
          <a:xfrm>
            <a:off x="8436525" y="1629618"/>
            <a:ext cx="3384000" cy="4139357"/>
          </a:xfrm>
        </p:spPr>
        <p:txBody>
          <a:bodyPr/>
          <a:lstStyle>
            <a:lvl1pPr>
              <a:defRPr/>
            </a:lvl1pPr>
          </a:lstStyle>
          <a:p>
            <a:pPr lvl="0"/>
            <a:r>
              <a:rPr lang="en-US"/>
              <a:t>Click to add text or content</a:t>
            </a:r>
          </a:p>
          <a:p>
            <a:pPr lvl="1"/>
            <a:r>
              <a:rPr lang="en-US"/>
              <a:t>Second level</a:t>
            </a:r>
          </a:p>
          <a:p>
            <a:pPr lvl="2"/>
            <a:r>
              <a:rPr lang="en-US"/>
              <a:t>Third level</a:t>
            </a:r>
          </a:p>
          <a:p>
            <a:pPr lvl="3"/>
            <a:r>
              <a:rPr lang="en-US"/>
              <a:t>Fourth level</a:t>
            </a:r>
          </a:p>
          <a:p>
            <a:pPr lvl="4"/>
            <a:r>
              <a:rPr lang="en-US"/>
              <a:t>Fifth level</a:t>
            </a:r>
          </a:p>
        </p:txBody>
      </p:sp>
      <p:sp>
        <p:nvSpPr>
          <p:cNvPr id="12" name="Text Placeholder 4"/>
          <p:cNvSpPr>
            <a:spLocks noGrp="1"/>
          </p:cNvSpPr>
          <p:nvPr>
            <p:ph type="body" sz="quarter" idx="19" hasCustomPrompt="1"/>
          </p:nvPr>
        </p:nvSpPr>
        <p:spPr>
          <a:xfrm>
            <a:off x="1075063" y="6307665"/>
            <a:ext cx="8162717" cy="133200"/>
          </a:xfrm>
        </p:spPr>
        <p:txBody>
          <a:bodyPr lIns="0" tIns="0" rIns="0" bIns="0" anchor="b" anchorCtr="0"/>
          <a:lstStyle>
            <a:lvl1pPr marL="0" indent="0" algn="l">
              <a:lnSpc>
                <a:spcPct val="100000"/>
              </a:lnSpc>
              <a:spcBef>
                <a:spcPts val="0"/>
              </a:spcBef>
              <a:buNone/>
              <a:defRPr sz="800" baseline="0"/>
            </a:lvl1pPr>
            <a:lvl2pPr marL="0" indent="0" algn="l">
              <a:lnSpc>
                <a:spcPct val="100000"/>
              </a:lnSpc>
              <a:spcBef>
                <a:spcPts val="0"/>
              </a:spcBef>
              <a:buNone/>
              <a:defRPr sz="800"/>
            </a:lvl2pPr>
            <a:lvl3pPr marL="0" indent="0" algn="l">
              <a:lnSpc>
                <a:spcPct val="100000"/>
              </a:lnSpc>
              <a:spcBef>
                <a:spcPts val="0"/>
              </a:spcBef>
              <a:buNone/>
              <a:defRPr sz="800"/>
            </a:lvl3pPr>
            <a:lvl4pPr marL="0" algn="l">
              <a:lnSpc>
                <a:spcPct val="100000"/>
              </a:lnSpc>
              <a:spcBef>
                <a:spcPts val="0"/>
              </a:spcBef>
              <a:buNone/>
              <a:defRPr sz="800"/>
            </a:lvl4pPr>
            <a:lvl5pPr marL="0" indent="0" algn="l">
              <a:lnSpc>
                <a:spcPct val="100000"/>
              </a:lnSpc>
              <a:spcBef>
                <a:spcPts val="0"/>
              </a:spcBef>
              <a:buNone/>
              <a:defRPr sz="800"/>
            </a:lvl5pPr>
          </a:lstStyle>
          <a:p>
            <a:pPr lvl="0"/>
            <a:r>
              <a:rPr lang="en-US"/>
              <a:t>Source line</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6028206"/>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p:cSld name="Four contents 1">
    <p:spTree>
      <p:nvGrpSpPr>
        <p:cNvPr id="1" name=""/>
        <p:cNvGrpSpPr/>
        <p:nvPr/>
      </p:nvGrpSpPr>
      <p:grpSpPr>
        <a:xfrm>
          <a:off x="0" y="0"/>
          <a:ext cx="0" cy="0"/>
          <a:chOff x="0" y="0"/>
          <a:chExt cx="0" cy="0"/>
        </a:xfrm>
      </p:grpSpPr>
      <p:sp>
        <p:nvSpPr>
          <p:cNvPr id="21" name="Date Placeholder 20"/>
          <p:cNvSpPr>
            <a:spLocks noGrp="1"/>
          </p:cNvSpPr>
          <p:nvPr>
            <p:ph type="dt" sz="half" idx="14"/>
          </p:nvPr>
        </p:nvSpPr>
        <p:spPr/>
        <p:txBody>
          <a:bodyPr/>
          <a:lstStyle/>
          <a:p>
            <a:endParaRPr lang="en-US"/>
          </a:p>
        </p:txBody>
      </p:sp>
      <p:sp>
        <p:nvSpPr>
          <p:cNvPr id="22" name="Footer Placeholder 21"/>
          <p:cNvSpPr>
            <a:spLocks noGrp="1"/>
          </p:cNvSpPr>
          <p:nvPr>
            <p:ph type="ftr" sz="quarter" idx="15"/>
          </p:nvPr>
        </p:nvSpPr>
        <p:spPr/>
        <p:txBody>
          <a:bodyPr/>
          <a:lstStyle/>
          <a:p>
            <a:endParaRPr lang="en-US"/>
          </a:p>
        </p:txBody>
      </p:sp>
      <p:sp>
        <p:nvSpPr>
          <p:cNvPr id="23" name="Slide Number Placeholder 22"/>
          <p:cNvSpPr>
            <a:spLocks noGrp="1"/>
          </p:cNvSpPr>
          <p:nvPr>
            <p:ph type="sldNum" sz="quarter" idx="16"/>
          </p:nvPr>
        </p:nvSpPr>
        <p:spPr/>
        <p:txBody>
          <a:bodyPr/>
          <a:lstStyle/>
          <a:p>
            <a:fld id="{5F3E29E4-0979-4FCA-B4C5-5FC6044C982A}" type="slidenum">
              <a:rPr lang="en-US" smtClean="0"/>
              <a:t>‹#›</a:t>
            </a:fld>
            <a:endParaRPr lang="en-US"/>
          </a:p>
        </p:txBody>
      </p:sp>
      <p:sp>
        <p:nvSpPr>
          <p:cNvPr id="2" name="Title 1"/>
          <p:cNvSpPr>
            <a:spLocks noGrp="1"/>
          </p:cNvSpPr>
          <p:nvPr>
            <p:ph type="title" hasCustomPrompt="1"/>
          </p:nvPr>
        </p:nvSpPr>
        <p:spPr/>
        <p:txBody>
          <a:bodyPr/>
          <a:lstStyle>
            <a:lvl1pPr>
              <a:defRPr/>
            </a:lvl1pPr>
          </a:lstStyle>
          <a:p>
            <a:r>
              <a:rPr lang="en-US"/>
              <a:t>Click to add slide title</a:t>
            </a:r>
          </a:p>
        </p:txBody>
      </p:sp>
      <p:sp>
        <p:nvSpPr>
          <p:cNvPr id="7" name="Subtitle 2"/>
          <p:cNvSpPr>
            <a:spLocks noGrp="1"/>
          </p:cNvSpPr>
          <p:nvPr>
            <p:ph type="subTitle" idx="13" hasCustomPrompt="1"/>
          </p:nvPr>
        </p:nvSpPr>
        <p:spPr>
          <a:xfrm>
            <a:off x="1075061" y="964671"/>
            <a:ext cx="7910158" cy="490042"/>
          </a:xfrm>
        </p:spPr>
        <p:txBody>
          <a:bodyPr wrap="none"/>
          <a:lstStyle>
            <a:lvl1pPr marL="0" indent="0" algn="l">
              <a:spcBef>
                <a:spcPts val="0"/>
              </a:spcBef>
              <a:buNone/>
              <a:defRPr sz="2400" baseline="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sp>
        <p:nvSpPr>
          <p:cNvPr id="3" name="Content Placeholder 2"/>
          <p:cNvSpPr>
            <a:spLocks noGrp="1"/>
          </p:cNvSpPr>
          <p:nvPr>
            <p:ph idx="1" hasCustomPrompt="1"/>
          </p:nvPr>
        </p:nvSpPr>
        <p:spPr>
          <a:xfrm>
            <a:off x="192088" y="1629618"/>
            <a:ext cx="2682000" cy="4139357"/>
          </a:xfrm>
        </p:spPr>
        <p:txBody>
          <a:bodyPr/>
          <a:lstStyle>
            <a:lvl1pPr>
              <a:defRPr/>
            </a:lvl1pPr>
          </a:lstStyle>
          <a:p>
            <a:pPr lvl="0"/>
            <a:r>
              <a:rPr lang="en-US"/>
              <a:t>Click to add text or content</a:t>
            </a:r>
          </a:p>
          <a:p>
            <a:pPr lvl="1"/>
            <a:r>
              <a:rPr lang="en-US"/>
              <a:t>Second level</a:t>
            </a:r>
          </a:p>
          <a:p>
            <a:pPr lvl="2"/>
            <a:r>
              <a:rPr lang="en-US"/>
              <a:t>Third level</a:t>
            </a:r>
          </a:p>
          <a:p>
            <a:pPr lvl="3"/>
            <a:r>
              <a:rPr lang="en-US"/>
              <a:t>Fourth level</a:t>
            </a:r>
          </a:p>
          <a:p>
            <a:pPr lvl="4"/>
            <a:r>
              <a:rPr lang="en-US"/>
              <a:t>Fifth level</a:t>
            </a:r>
          </a:p>
        </p:txBody>
      </p:sp>
      <p:sp>
        <p:nvSpPr>
          <p:cNvPr id="9" name="Content Placeholder 2"/>
          <p:cNvSpPr>
            <a:spLocks noGrp="1"/>
          </p:cNvSpPr>
          <p:nvPr>
            <p:ph idx="17" hasCustomPrompt="1"/>
          </p:nvPr>
        </p:nvSpPr>
        <p:spPr>
          <a:xfrm>
            <a:off x="3174234" y="1629618"/>
            <a:ext cx="2682000" cy="4139357"/>
          </a:xfrm>
        </p:spPr>
        <p:txBody>
          <a:bodyPr/>
          <a:lstStyle>
            <a:lvl1pPr>
              <a:defRPr/>
            </a:lvl1pPr>
          </a:lstStyle>
          <a:p>
            <a:pPr lvl="0"/>
            <a:r>
              <a:rPr lang="en-US"/>
              <a:t>Click to add text or content</a:t>
            </a:r>
          </a:p>
          <a:p>
            <a:pPr lvl="1"/>
            <a:r>
              <a:rPr lang="en-US"/>
              <a:t>Second level</a:t>
            </a:r>
          </a:p>
          <a:p>
            <a:pPr lvl="2"/>
            <a:r>
              <a:rPr lang="en-US"/>
              <a:t>Third level</a:t>
            </a:r>
          </a:p>
          <a:p>
            <a:pPr lvl="3"/>
            <a:r>
              <a:rPr lang="en-US"/>
              <a:t>Fourth level</a:t>
            </a:r>
          </a:p>
          <a:p>
            <a:pPr lvl="4"/>
            <a:r>
              <a:rPr lang="en-US"/>
              <a:t>Fifth level</a:t>
            </a:r>
          </a:p>
        </p:txBody>
      </p:sp>
      <p:sp>
        <p:nvSpPr>
          <p:cNvPr id="10" name="Content Placeholder 2"/>
          <p:cNvSpPr>
            <a:spLocks noGrp="1"/>
          </p:cNvSpPr>
          <p:nvPr>
            <p:ph idx="18" hasCustomPrompt="1"/>
          </p:nvPr>
        </p:nvSpPr>
        <p:spPr>
          <a:xfrm>
            <a:off x="6156380" y="1629618"/>
            <a:ext cx="2682000" cy="4139357"/>
          </a:xfrm>
        </p:spPr>
        <p:txBody>
          <a:bodyPr/>
          <a:lstStyle>
            <a:lvl1pPr>
              <a:defRPr/>
            </a:lvl1pPr>
          </a:lstStyle>
          <a:p>
            <a:pPr lvl="0"/>
            <a:r>
              <a:rPr lang="en-US"/>
              <a:t>Click to add text or content</a:t>
            </a:r>
          </a:p>
          <a:p>
            <a:pPr lvl="1"/>
            <a:r>
              <a:rPr lang="en-US"/>
              <a:t>Second level</a:t>
            </a:r>
          </a:p>
          <a:p>
            <a:pPr lvl="2"/>
            <a:r>
              <a:rPr lang="en-US"/>
              <a:t>Third level</a:t>
            </a:r>
          </a:p>
          <a:p>
            <a:pPr lvl="3"/>
            <a:r>
              <a:rPr lang="en-US"/>
              <a:t>Fourth level</a:t>
            </a:r>
          </a:p>
          <a:p>
            <a:pPr lvl="4"/>
            <a:r>
              <a:rPr lang="en-US"/>
              <a:t>Fifth level</a:t>
            </a:r>
          </a:p>
        </p:txBody>
      </p:sp>
      <p:sp>
        <p:nvSpPr>
          <p:cNvPr id="13" name="Content Placeholder 2"/>
          <p:cNvSpPr>
            <a:spLocks noGrp="1"/>
          </p:cNvSpPr>
          <p:nvPr>
            <p:ph idx="19" hasCustomPrompt="1"/>
          </p:nvPr>
        </p:nvSpPr>
        <p:spPr>
          <a:xfrm>
            <a:off x="9138525" y="1629618"/>
            <a:ext cx="2682000" cy="4139357"/>
          </a:xfrm>
        </p:spPr>
        <p:txBody>
          <a:bodyPr/>
          <a:lstStyle>
            <a:lvl1pPr>
              <a:defRPr/>
            </a:lvl1pPr>
          </a:lstStyle>
          <a:p>
            <a:pPr lvl="0"/>
            <a:r>
              <a:rPr lang="en-US"/>
              <a:t>Click to add text or content</a:t>
            </a:r>
          </a:p>
          <a:p>
            <a:pPr lvl="1"/>
            <a:r>
              <a:rPr lang="en-US"/>
              <a:t>Second level</a:t>
            </a:r>
          </a:p>
          <a:p>
            <a:pPr lvl="2"/>
            <a:r>
              <a:rPr lang="en-US"/>
              <a:t>Third level</a:t>
            </a:r>
          </a:p>
          <a:p>
            <a:pPr lvl="3"/>
            <a:r>
              <a:rPr lang="en-US"/>
              <a:t>Fourth level</a:t>
            </a:r>
          </a:p>
          <a:p>
            <a:pPr lvl="4"/>
            <a:r>
              <a:rPr lang="en-US"/>
              <a:t>Fifth level</a:t>
            </a:r>
          </a:p>
        </p:txBody>
      </p:sp>
      <p:sp>
        <p:nvSpPr>
          <p:cNvPr id="12" name="Text Placeholder 4"/>
          <p:cNvSpPr>
            <a:spLocks noGrp="1"/>
          </p:cNvSpPr>
          <p:nvPr>
            <p:ph type="body" sz="quarter" idx="20" hasCustomPrompt="1"/>
          </p:nvPr>
        </p:nvSpPr>
        <p:spPr>
          <a:xfrm>
            <a:off x="1075063" y="6307665"/>
            <a:ext cx="8162717" cy="133200"/>
          </a:xfrm>
        </p:spPr>
        <p:txBody>
          <a:bodyPr lIns="0" tIns="0" rIns="0" bIns="0" anchor="b" anchorCtr="0"/>
          <a:lstStyle>
            <a:lvl1pPr marL="0" indent="0" algn="l">
              <a:lnSpc>
                <a:spcPct val="100000"/>
              </a:lnSpc>
              <a:spcBef>
                <a:spcPts val="0"/>
              </a:spcBef>
              <a:buNone/>
              <a:defRPr sz="800" baseline="0"/>
            </a:lvl1pPr>
            <a:lvl2pPr marL="0" indent="0" algn="l">
              <a:lnSpc>
                <a:spcPct val="100000"/>
              </a:lnSpc>
              <a:spcBef>
                <a:spcPts val="0"/>
              </a:spcBef>
              <a:buNone/>
              <a:defRPr sz="800"/>
            </a:lvl2pPr>
            <a:lvl3pPr marL="0" indent="0" algn="l">
              <a:lnSpc>
                <a:spcPct val="100000"/>
              </a:lnSpc>
              <a:spcBef>
                <a:spcPts val="0"/>
              </a:spcBef>
              <a:buNone/>
              <a:defRPr sz="800"/>
            </a:lvl3pPr>
            <a:lvl4pPr marL="0" algn="l">
              <a:lnSpc>
                <a:spcPct val="100000"/>
              </a:lnSpc>
              <a:spcBef>
                <a:spcPts val="0"/>
              </a:spcBef>
              <a:buNone/>
              <a:defRPr sz="800"/>
            </a:lvl4pPr>
            <a:lvl5pPr marL="0" indent="0" algn="l">
              <a:lnSpc>
                <a:spcPct val="100000"/>
              </a:lnSpc>
              <a:spcBef>
                <a:spcPts val="0"/>
              </a:spcBef>
              <a:buNone/>
              <a:defRPr sz="800"/>
            </a:lvl5pPr>
          </a:lstStyle>
          <a:p>
            <a:pPr lvl="0"/>
            <a:r>
              <a:rPr lang="en-US"/>
              <a:t>Source line</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84576019"/>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p:cSld name="Four contents 2">
    <p:spTree>
      <p:nvGrpSpPr>
        <p:cNvPr id="1" name=""/>
        <p:cNvGrpSpPr/>
        <p:nvPr/>
      </p:nvGrpSpPr>
      <p:grpSpPr>
        <a:xfrm>
          <a:off x="0" y="0"/>
          <a:ext cx="0" cy="0"/>
          <a:chOff x="0" y="0"/>
          <a:chExt cx="0" cy="0"/>
        </a:xfrm>
      </p:grpSpPr>
      <p:sp>
        <p:nvSpPr>
          <p:cNvPr id="21" name="Date Placeholder 20"/>
          <p:cNvSpPr>
            <a:spLocks noGrp="1"/>
          </p:cNvSpPr>
          <p:nvPr>
            <p:ph type="dt" sz="half" idx="14"/>
          </p:nvPr>
        </p:nvSpPr>
        <p:spPr/>
        <p:txBody>
          <a:bodyPr/>
          <a:lstStyle/>
          <a:p>
            <a:endParaRPr lang="en-US"/>
          </a:p>
        </p:txBody>
      </p:sp>
      <p:sp>
        <p:nvSpPr>
          <p:cNvPr id="22" name="Footer Placeholder 21"/>
          <p:cNvSpPr>
            <a:spLocks noGrp="1"/>
          </p:cNvSpPr>
          <p:nvPr>
            <p:ph type="ftr" sz="quarter" idx="15"/>
          </p:nvPr>
        </p:nvSpPr>
        <p:spPr/>
        <p:txBody>
          <a:bodyPr/>
          <a:lstStyle/>
          <a:p>
            <a:endParaRPr lang="en-US"/>
          </a:p>
        </p:txBody>
      </p:sp>
      <p:sp>
        <p:nvSpPr>
          <p:cNvPr id="23" name="Slide Number Placeholder 22"/>
          <p:cNvSpPr>
            <a:spLocks noGrp="1"/>
          </p:cNvSpPr>
          <p:nvPr>
            <p:ph type="sldNum" sz="quarter" idx="16"/>
          </p:nvPr>
        </p:nvSpPr>
        <p:spPr/>
        <p:txBody>
          <a:bodyPr/>
          <a:lstStyle/>
          <a:p>
            <a:fld id="{5F3E29E4-0979-4FCA-B4C5-5FC6044C982A}" type="slidenum">
              <a:rPr lang="en-US" smtClean="0"/>
              <a:t>‹#›</a:t>
            </a:fld>
            <a:endParaRPr lang="en-US"/>
          </a:p>
        </p:txBody>
      </p:sp>
      <p:sp>
        <p:nvSpPr>
          <p:cNvPr id="2" name="Title 1"/>
          <p:cNvSpPr>
            <a:spLocks noGrp="1"/>
          </p:cNvSpPr>
          <p:nvPr>
            <p:ph type="title" hasCustomPrompt="1"/>
          </p:nvPr>
        </p:nvSpPr>
        <p:spPr/>
        <p:txBody>
          <a:bodyPr/>
          <a:lstStyle>
            <a:lvl1pPr>
              <a:defRPr/>
            </a:lvl1pPr>
          </a:lstStyle>
          <a:p>
            <a:r>
              <a:rPr lang="en-US"/>
              <a:t>Click to add slide title</a:t>
            </a:r>
          </a:p>
        </p:txBody>
      </p:sp>
      <p:sp>
        <p:nvSpPr>
          <p:cNvPr id="7" name="Subtitle 2"/>
          <p:cNvSpPr>
            <a:spLocks noGrp="1"/>
          </p:cNvSpPr>
          <p:nvPr>
            <p:ph type="subTitle" idx="13" hasCustomPrompt="1"/>
          </p:nvPr>
        </p:nvSpPr>
        <p:spPr>
          <a:xfrm>
            <a:off x="1075061" y="964671"/>
            <a:ext cx="7910158" cy="490042"/>
          </a:xfrm>
        </p:spPr>
        <p:txBody>
          <a:bodyPr wrap="none"/>
          <a:lstStyle>
            <a:lvl1pPr marL="0" indent="0" algn="l">
              <a:spcBef>
                <a:spcPts val="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sp>
        <p:nvSpPr>
          <p:cNvPr id="3" name="Content Placeholder 2"/>
          <p:cNvSpPr>
            <a:spLocks noGrp="1"/>
          </p:cNvSpPr>
          <p:nvPr>
            <p:ph idx="1" hasCustomPrompt="1"/>
          </p:nvPr>
        </p:nvSpPr>
        <p:spPr>
          <a:xfrm>
            <a:off x="192088" y="1629617"/>
            <a:ext cx="6102974" cy="2160000"/>
          </a:xfrm>
        </p:spPr>
        <p:txBody>
          <a:bodyPr/>
          <a:lstStyle>
            <a:lvl1pPr>
              <a:defRPr/>
            </a:lvl1pPr>
          </a:lstStyle>
          <a:p>
            <a:pPr lvl="0"/>
            <a:r>
              <a:rPr lang="en-US"/>
              <a:t>Click to add text or content</a:t>
            </a:r>
          </a:p>
          <a:p>
            <a:pPr lvl="1"/>
            <a:r>
              <a:rPr lang="en-US"/>
              <a:t>Second level</a:t>
            </a:r>
          </a:p>
          <a:p>
            <a:pPr lvl="2"/>
            <a:r>
              <a:rPr lang="en-US"/>
              <a:t>Third level</a:t>
            </a:r>
          </a:p>
          <a:p>
            <a:pPr lvl="3"/>
            <a:r>
              <a:rPr lang="en-US"/>
              <a:t>Fourth level</a:t>
            </a:r>
          </a:p>
          <a:p>
            <a:pPr lvl="4"/>
            <a:r>
              <a:rPr lang="en-US"/>
              <a:t>Fifth level</a:t>
            </a:r>
          </a:p>
        </p:txBody>
      </p:sp>
      <p:sp>
        <p:nvSpPr>
          <p:cNvPr id="9" name="Content Placeholder 2"/>
          <p:cNvSpPr>
            <a:spLocks noGrp="1"/>
          </p:cNvSpPr>
          <p:nvPr>
            <p:ph idx="17" hasCustomPrompt="1"/>
          </p:nvPr>
        </p:nvSpPr>
        <p:spPr>
          <a:xfrm>
            <a:off x="6600525" y="1629617"/>
            <a:ext cx="5234144" cy="2160000"/>
          </a:xfrm>
        </p:spPr>
        <p:txBody>
          <a:bodyPr/>
          <a:lstStyle>
            <a:lvl1pPr>
              <a:defRPr/>
            </a:lvl1pPr>
          </a:lstStyle>
          <a:p>
            <a:pPr lvl="0"/>
            <a:r>
              <a:rPr lang="en-US"/>
              <a:t>Click to add text or content</a:t>
            </a:r>
          </a:p>
          <a:p>
            <a:pPr lvl="1"/>
            <a:r>
              <a:rPr lang="en-US"/>
              <a:t>Second level</a:t>
            </a:r>
          </a:p>
          <a:p>
            <a:pPr lvl="2"/>
            <a:r>
              <a:rPr lang="en-US"/>
              <a:t>Third level</a:t>
            </a:r>
          </a:p>
          <a:p>
            <a:pPr lvl="3"/>
            <a:r>
              <a:rPr lang="en-US"/>
              <a:t>Fourth level</a:t>
            </a:r>
          </a:p>
          <a:p>
            <a:pPr lvl="4"/>
            <a:r>
              <a:rPr lang="en-US"/>
              <a:t>Fifth level</a:t>
            </a:r>
          </a:p>
        </p:txBody>
      </p:sp>
      <p:sp>
        <p:nvSpPr>
          <p:cNvPr id="10" name="Content Placeholder 2"/>
          <p:cNvSpPr>
            <a:spLocks noGrp="1"/>
          </p:cNvSpPr>
          <p:nvPr>
            <p:ph idx="18" hasCustomPrompt="1"/>
          </p:nvPr>
        </p:nvSpPr>
        <p:spPr>
          <a:xfrm>
            <a:off x="192088" y="4077289"/>
            <a:ext cx="6102974" cy="2160000"/>
          </a:xfrm>
        </p:spPr>
        <p:txBody>
          <a:bodyPr/>
          <a:lstStyle>
            <a:lvl1pPr>
              <a:defRPr/>
            </a:lvl1pPr>
          </a:lstStyle>
          <a:p>
            <a:pPr lvl="0"/>
            <a:r>
              <a:rPr lang="en-US"/>
              <a:t>Click to add text or content</a:t>
            </a:r>
          </a:p>
          <a:p>
            <a:pPr lvl="1"/>
            <a:r>
              <a:rPr lang="en-US"/>
              <a:t>Second level</a:t>
            </a:r>
          </a:p>
          <a:p>
            <a:pPr lvl="2"/>
            <a:r>
              <a:rPr lang="en-US"/>
              <a:t>Third level</a:t>
            </a:r>
          </a:p>
          <a:p>
            <a:pPr lvl="3"/>
            <a:r>
              <a:rPr lang="en-US"/>
              <a:t>Fourth level</a:t>
            </a:r>
          </a:p>
          <a:p>
            <a:pPr lvl="4"/>
            <a:r>
              <a:rPr lang="en-US"/>
              <a:t>Fifth level</a:t>
            </a:r>
          </a:p>
        </p:txBody>
      </p:sp>
      <p:sp>
        <p:nvSpPr>
          <p:cNvPr id="13" name="Content Placeholder 2"/>
          <p:cNvSpPr>
            <a:spLocks noGrp="1"/>
          </p:cNvSpPr>
          <p:nvPr>
            <p:ph idx="19" hasCustomPrompt="1"/>
          </p:nvPr>
        </p:nvSpPr>
        <p:spPr>
          <a:xfrm>
            <a:off x="6600525" y="4077289"/>
            <a:ext cx="5234144" cy="2160000"/>
          </a:xfrm>
        </p:spPr>
        <p:txBody>
          <a:bodyPr/>
          <a:lstStyle>
            <a:lvl1pPr>
              <a:defRPr/>
            </a:lvl1pPr>
          </a:lstStyle>
          <a:p>
            <a:pPr lvl="0"/>
            <a:r>
              <a:rPr lang="en-US"/>
              <a:t>Click to add text or content</a:t>
            </a:r>
          </a:p>
          <a:p>
            <a:pPr lvl="1"/>
            <a:r>
              <a:rPr lang="en-US"/>
              <a:t>Second level</a:t>
            </a:r>
          </a:p>
          <a:p>
            <a:pPr lvl="2"/>
            <a:r>
              <a:rPr lang="en-US"/>
              <a:t>Third level</a:t>
            </a:r>
          </a:p>
          <a:p>
            <a:pPr lvl="3"/>
            <a:r>
              <a:rPr lang="en-US"/>
              <a:t>Fourth level</a:t>
            </a:r>
          </a:p>
          <a:p>
            <a:pPr lvl="4"/>
            <a:r>
              <a:rPr lang="en-US"/>
              <a:t>Fifth level</a:t>
            </a:r>
          </a:p>
        </p:txBody>
      </p:sp>
      <p:sp>
        <p:nvSpPr>
          <p:cNvPr id="12" name="Text Placeholder 4"/>
          <p:cNvSpPr>
            <a:spLocks noGrp="1"/>
          </p:cNvSpPr>
          <p:nvPr>
            <p:ph type="body" sz="quarter" idx="20" hasCustomPrompt="1"/>
          </p:nvPr>
        </p:nvSpPr>
        <p:spPr>
          <a:xfrm>
            <a:off x="1075063" y="6307665"/>
            <a:ext cx="8162717" cy="133200"/>
          </a:xfrm>
        </p:spPr>
        <p:txBody>
          <a:bodyPr lIns="0" tIns="0" rIns="0" bIns="0" anchor="b" anchorCtr="0"/>
          <a:lstStyle>
            <a:lvl1pPr marL="0" indent="0" algn="l">
              <a:lnSpc>
                <a:spcPct val="100000"/>
              </a:lnSpc>
              <a:spcBef>
                <a:spcPts val="0"/>
              </a:spcBef>
              <a:buNone/>
              <a:defRPr sz="800" baseline="0"/>
            </a:lvl1pPr>
            <a:lvl2pPr marL="0" indent="0" algn="l">
              <a:lnSpc>
                <a:spcPct val="100000"/>
              </a:lnSpc>
              <a:spcBef>
                <a:spcPts val="0"/>
              </a:spcBef>
              <a:buNone/>
              <a:defRPr sz="800"/>
            </a:lvl2pPr>
            <a:lvl3pPr marL="0" indent="0" algn="l">
              <a:lnSpc>
                <a:spcPct val="100000"/>
              </a:lnSpc>
              <a:spcBef>
                <a:spcPts val="0"/>
              </a:spcBef>
              <a:buNone/>
              <a:defRPr sz="800"/>
            </a:lvl3pPr>
            <a:lvl4pPr marL="0" algn="l">
              <a:lnSpc>
                <a:spcPct val="100000"/>
              </a:lnSpc>
              <a:spcBef>
                <a:spcPts val="0"/>
              </a:spcBef>
              <a:buNone/>
              <a:defRPr sz="800"/>
            </a:lvl4pPr>
            <a:lvl5pPr marL="0" indent="0" algn="l">
              <a:lnSpc>
                <a:spcPct val="100000"/>
              </a:lnSpc>
              <a:spcBef>
                <a:spcPts val="0"/>
              </a:spcBef>
              <a:buNone/>
              <a:defRPr sz="800"/>
            </a:lvl5pPr>
          </a:lstStyle>
          <a:p>
            <a:pPr lvl="0"/>
            <a:r>
              <a:rPr lang="en-US"/>
              <a:t>Source line</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63120818"/>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p:cSld name="Large charts and tables">
    <p:spTree>
      <p:nvGrpSpPr>
        <p:cNvPr id="1" name=""/>
        <p:cNvGrpSpPr/>
        <p:nvPr/>
      </p:nvGrpSpPr>
      <p:grpSpPr>
        <a:xfrm>
          <a:off x="0" y="0"/>
          <a:ext cx="0" cy="0"/>
          <a:chOff x="0" y="0"/>
          <a:chExt cx="0" cy="0"/>
        </a:xfrm>
      </p:grpSpPr>
      <p:sp>
        <p:nvSpPr>
          <p:cNvPr id="21" name="Date Placeholder 20"/>
          <p:cNvSpPr>
            <a:spLocks noGrp="1"/>
          </p:cNvSpPr>
          <p:nvPr>
            <p:ph type="dt" sz="half" idx="14"/>
          </p:nvPr>
        </p:nvSpPr>
        <p:spPr/>
        <p:txBody>
          <a:bodyPr/>
          <a:lstStyle/>
          <a:p>
            <a:endParaRPr lang="en-US"/>
          </a:p>
        </p:txBody>
      </p:sp>
      <p:sp>
        <p:nvSpPr>
          <p:cNvPr id="22" name="Footer Placeholder 21"/>
          <p:cNvSpPr>
            <a:spLocks noGrp="1"/>
          </p:cNvSpPr>
          <p:nvPr>
            <p:ph type="ftr" sz="quarter" idx="15"/>
          </p:nvPr>
        </p:nvSpPr>
        <p:spPr/>
        <p:txBody>
          <a:bodyPr/>
          <a:lstStyle/>
          <a:p>
            <a:endParaRPr lang="en-US"/>
          </a:p>
        </p:txBody>
      </p:sp>
      <p:sp>
        <p:nvSpPr>
          <p:cNvPr id="23" name="Slide Number Placeholder 22"/>
          <p:cNvSpPr>
            <a:spLocks noGrp="1"/>
          </p:cNvSpPr>
          <p:nvPr>
            <p:ph type="sldNum" sz="quarter" idx="16"/>
          </p:nvPr>
        </p:nvSpPr>
        <p:spPr/>
        <p:txBody>
          <a:bodyPr/>
          <a:lstStyle/>
          <a:p>
            <a:fld id="{5F3E29E4-0979-4FCA-B4C5-5FC6044C982A}" type="slidenum">
              <a:rPr lang="en-US" smtClean="0"/>
              <a:t>‹#›</a:t>
            </a:fld>
            <a:endParaRPr lang="en-US"/>
          </a:p>
        </p:txBody>
      </p:sp>
      <p:sp>
        <p:nvSpPr>
          <p:cNvPr id="2" name="Title 1"/>
          <p:cNvSpPr>
            <a:spLocks noGrp="1"/>
          </p:cNvSpPr>
          <p:nvPr>
            <p:ph type="title" hasCustomPrompt="1"/>
          </p:nvPr>
        </p:nvSpPr>
        <p:spPr/>
        <p:txBody>
          <a:bodyPr/>
          <a:lstStyle>
            <a:lvl1pPr>
              <a:defRPr/>
            </a:lvl1pPr>
          </a:lstStyle>
          <a:p>
            <a:r>
              <a:rPr lang="en-US"/>
              <a:t>Click to add slide title</a:t>
            </a:r>
          </a:p>
        </p:txBody>
      </p:sp>
      <p:sp>
        <p:nvSpPr>
          <p:cNvPr id="7" name="Subtitle 2"/>
          <p:cNvSpPr>
            <a:spLocks noGrp="1"/>
          </p:cNvSpPr>
          <p:nvPr>
            <p:ph type="subTitle" idx="13" hasCustomPrompt="1"/>
          </p:nvPr>
        </p:nvSpPr>
        <p:spPr>
          <a:xfrm>
            <a:off x="1075061" y="964671"/>
            <a:ext cx="7910158" cy="490042"/>
          </a:xfrm>
        </p:spPr>
        <p:txBody>
          <a:bodyPr wrap="none"/>
          <a:lstStyle>
            <a:lvl1pPr marL="0" indent="0" algn="l">
              <a:spcBef>
                <a:spcPts val="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sp>
        <p:nvSpPr>
          <p:cNvPr id="3" name="Content Placeholder 2"/>
          <p:cNvSpPr>
            <a:spLocks noGrp="1"/>
          </p:cNvSpPr>
          <p:nvPr>
            <p:ph idx="1" hasCustomPrompt="1"/>
          </p:nvPr>
        </p:nvSpPr>
        <p:spPr>
          <a:xfrm>
            <a:off x="192088" y="1629617"/>
            <a:ext cx="11642581" cy="4599506"/>
          </a:xfrm>
        </p:spPr>
        <p:txBody>
          <a:bodyPr anchor="t"/>
          <a:lstStyle>
            <a:lvl1pPr marL="0" indent="0" algn="ctr">
              <a:spcBef>
                <a:spcPts val="1000"/>
              </a:spcBef>
              <a:buNone/>
              <a:defRPr sz="2800" baseline="0"/>
            </a:lvl1pPr>
            <a:lvl2pPr marL="0" indent="0">
              <a:spcBef>
                <a:spcPts val="1000"/>
              </a:spcBef>
              <a:buNone/>
              <a:defRPr sz="2800"/>
            </a:lvl2pPr>
            <a:lvl3pPr marL="0" indent="0">
              <a:spcBef>
                <a:spcPts val="1000"/>
              </a:spcBef>
              <a:buNone/>
              <a:defRPr sz="2800"/>
            </a:lvl3pPr>
            <a:lvl4pPr>
              <a:spcBef>
                <a:spcPts val="1000"/>
              </a:spcBef>
              <a:buNone/>
              <a:defRPr sz="2800"/>
            </a:lvl4pPr>
            <a:lvl5pPr marL="0" indent="0">
              <a:spcBef>
                <a:spcPts val="1000"/>
              </a:spcBef>
              <a:buNone/>
              <a:defRPr sz="2800"/>
            </a:lvl5pPr>
          </a:lstStyle>
          <a:p>
            <a:pPr lvl="0"/>
            <a:r>
              <a:rPr lang="en-US"/>
              <a:t>Use this layout for large charts and tables only. Please, do not use with text.</a:t>
            </a:r>
          </a:p>
          <a:p>
            <a:pPr lvl="1"/>
            <a:r>
              <a:rPr lang="en-US"/>
              <a:t>Second level</a:t>
            </a:r>
          </a:p>
          <a:p>
            <a:pPr lvl="2"/>
            <a:r>
              <a:rPr lang="en-US"/>
              <a:t>Third level</a:t>
            </a:r>
          </a:p>
          <a:p>
            <a:pPr lvl="3"/>
            <a:r>
              <a:rPr lang="en-US"/>
              <a:t>Fourth level</a:t>
            </a:r>
          </a:p>
          <a:p>
            <a:pPr lvl="4"/>
            <a:r>
              <a:rPr lang="en-US"/>
              <a:t>Fifth level</a:t>
            </a:r>
          </a:p>
        </p:txBody>
      </p:sp>
      <p:sp>
        <p:nvSpPr>
          <p:cNvPr id="9" name="Text Placeholder 4"/>
          <p:cNvSpPr>
            <a:spLocks noGrp="1"/>
          </p:cNvSpPr>
          <p:nvPr>
            <p:ph type="body" sz="quarter" idx="17" hasCustomPrompt="1"/>
          </p:nvPr>
        </p:nvSpPr>
        <p:spPr>
          <a:xfrm>
            <a:off x="1075063" y="6307665"/>
            <a:ext cx="8162717" cy="133200"/>
          </a:xfrm>
        </p:spPr>
        <p:txBody>
          <a:bodyPr lIns="0" tIns="0" rIns="0" bIns="0" anchor="b" anchorCtr="0"/>
          <a:lstStyle>
            <a:lvl1pPr marL="0" indent="0" algn="l">
              <a:lnSpc>
                <a:spcPct val="100000"/>
              </a:lnSpc>
              <a:spcBef>
                <a:spcPts val="0"/>
              </a:spcBef>
              <a:buNone/>
              <a:defRPr sz="800" baseline="0"/>
            </a:lvl1pPr>
            <a:lvl2pPr marL="0" indent="0" algn="l">
              <a:lnSpc>
                <a:spcPct val="100000"/>
              </a:lnSpc>
              <a:spcBef>
                <a:spcPts val="0"/>
              </a:spcBef>
              <a:buNone/>
              <a:defRPr sz="800"/>
            </a:lvl2pPr>
            <a:lvl3pPr marL="0" indent="0" algn="l">
              <a:lnSpc>
                <a:spcPct val="100000"/>
              </a:lnSpc>
              <a:spcBef>
                <a:spcPts val="0"/>
              </a:spcBef>
              <a:buNone/>
              <a:defRPr sz="800"/>
            </a:lvl3pPr>
            <a:lvl4pPr marL="0" algn="l">
              <a:lnSpc>
                <a:spcPct val="100000"/>
              </a:lnSpc>
              <a:spcBef>
                <a:spcPts val="0"/>
              </a:spcBef>
              <a:buNone/>
              <a:defRPr sz="800"/>
            </a:lvl4pPr>
            <a:lvl5pPr marL="0" indent="0" algn="l">
              <a:lnSpc>
                <a:spcPct val="100000"/>
              </a:lnSpc>
              <a:spcBef>
                <a:spcPts val="0"/>
              </a:spcBef>
              <a:buNone/>
              <a:defRPr sz="800"/>
            </a:lvl5pPr>
          </a:lstStyle>
          <a:p>
            <a:pPr lvl="0"/>
            <a:r>
              <a:rPr lang="en-US"/>
              <a:t>Source line</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80918957"/>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p:cSld name="Chart with description">
    <p:spTree>
      <p:nvGrpSpPr>
        <p:cNvPr id="1" name=""/>
        <p:cNvGrpSpPr/>
        <p:nvPr/>
      </p:nvGrpSpPr>
      <p:grpSpPr>
        <a:xfrm>
          <a:off x="0" y="0"/>
          <a:ext cx="0" cy="0"/>
          <a:chOff x="0" y="0"/>
          <a:chExt cx="0" cy="0"/>
        </a:xfrm>
      </p:grpSpPr>
      <p:sp>
        <p:nvSpPr>
          <p:cNvPr id="21" name="Date Placeholder 20"/>
          <p:cNvSpPr>
            <a:spLocks noGrp="1"/>
          </p:cNvSpPr>
          <p:nvPr>
            <p:ph type="dt" sz="half" idx="14"/>
          </p:nvPr>
        </p:nvSpPr>
        <p:spPr/>
        <p:txBody>
          <a:bodyPr/>
          <a:lstStyle/>
          <a:p>
            <a:endParaRPr lang="en-US"/>
          </a:p>
        </p:txBody>
      </p:sp>
      <p:sp>
        <p:nvSpPr>
          <p:cNvPr id="22" name="Footer Placeholder 21"/>
          <p:cNvSpPr>
            <a:spLocks noGrp="1"/>
          </p:cNvSpPr>
          <p:nvPr>
            <p:ph type="ftr" sz="quarter" idx="15"/>
          </p:nvPr>
        </p:nvSpPr>
        <p:spPr/>
        <p:txBody>
          <a:bodyPr/>
          <a:lstStyle/>
          <a:p>
            <a:endParaRPr lang="en-US"/>
          </a:p>
        </p:txBody>
      </p:sp>
      <p:sp>
        <p:nvSpPr>
          <p:cNvPr id="23" name="Slide Number Placeholder 22"/>
          <p:cNvSpPr>
            <a:spLocks noGrp="1"/>
          </p:cNvSpPr>
          <p:nvPr>
            <p:ph type="sldNum" sz="quarter" idx="16"/>
          </p:nvPr>
        </p:nvSpPr>
        <p:spPr/>
        <p:txBody>
          <a:bodyPr/>
          <a:lstStyle/>
          <a:p>
            <a:fld id="{5F3E29E4-0979-4FCA-B4C5-5FC6044C982A}" type="slidenum">
              <a:rPr lang="en-US" smtClean="0"/>
              <a:t>‹#›</a:t>
            </a:fld>
            <a:endParaRPr lang="en-US"/>
          </a:p>
        </p:txBody>
      </p:sp>
      <p:sp>
        <p:nvSpPr>
          <p:cNvPr id="2" name="Title 1"/>
          <p:cNvSpPr>
            <a:spLocks noGrp="1"/>
          </p:cNvSpPr>
          <p:nvPr>
            <p:ph type="title" hasCustomPrompt="1"/>
          </p:nvPr>
        </p:nvSpPr>
        <p:spPr/>
        <p:txBody>
          <a:bodyPr/>
          <a:lstStyle>
            <a:lvl1pPr>
              <a:defRPr/>
            </a:lvl1pPr>
          </a:lstStyle>
          <a:p>
            <a:r>
              <a:rPr lang="en-US"/>
              <a:t>Click to add slide title</a:t>
            </a:r>
          </a:p>
        </p:txBody>
      </p:sp>
      <p:sp>
        <p:nvSpPr>
          <p:cNvPr id="7" name="Subtitle 2"/>
          <p:cNvSpPr>
            <a:spLocks noGrp="1"/>
          </p:cNvSpPr>
          <p:nvPr>
            <p:ph type="subTitle" idx="13" hasCustomPrompt="1"/>
          </p:nvPr>
        </p:nvSpPr>
        <p:spPr>
          <a:xfrm>
            <a:off x="1075061" y="964671"/>
            <a:ext cx="7910158" cy="490042"/>
          </a:xfrm>
        </p:spPr>
        <p:txBody>
          <a:bodyPr wrap="none"/>
          <a:lstStyle>
            <a:lvl1pPr marL="0" indent="0" algn="l">
              <a:spcBef>
                <a:spcPts val="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sp>
        <p:nvSpPr>
          <p:cNvPr id="4" name="Chart Placeholder 3"/>
          <p:cNvSpPr>
            <a:spLocks noGrp="1"/>
          </p:cNvSpPr>
          <p:nvPr>
            <p:ph type="chart" sz="quarter" idx="17" hasCustomPrompt="1"/>
          </p:nvPr>
        </p:nvSpPr>
        <p:spPr>
          <a:xfrm>
            <a:off x="192088" y="1629617"/>
            <a:ext cx="5903913" cy="4599506"/>
          </a:xfrm>
        </p:spPr>
        <p:txBody>
          <a:bodyPr/>
          <a:lstStyle>
            <a:lvl1pPr>
              <a:defRPr/>
            </a:lvl1pPr>
          </a:lstStyle>
          <a:p>
            <a:r>
              <a:rPr lang="en-US"/>
              <a:t>Click to add chart</a:t>
            </a:r>
          </a:p>
        </p:txBody>
      </p:sp>
      <p:sp>
        <p:nvSpPr>
          <p:cNvPr id="6" name="Text Placeholder 5"/>
          <p:cNvSpPr>
            <a:spLocks noGrp="1"/>
          </p:cNvSpPr>
          <p:nvPr>
            <p:ph type="body" sz="quarter" idx="18" hasCustomPrompt="1"/>
          </p:nvPr>
        </p:nvSpPr>
        <p:spPr>
          <a:xfrm>
            <a:off x="6206067" y="3393019"/>
            <a:ext cx="5628602" cy="2023841"/>
          </a:xfrm>
          <a:solidFill>
            <a:srgbClr val="D9DADB"/>
          </a:solidFill>
        </p:spPr>
        <p:txBody>
          <a:bodyPr lIns="108000" tIns="108000" rIns="108000" bIns="108000"/>
          <a:lstStyle>
            <a:lvl1pPr>
              <a:defRPr sz="1600"/>
            </a:lvl1pPr>
            <a:lvl2pPr>
              <a:defRPr sz="1600"/>
            </a:lvl2pPr>
            <a:lvl3pPr>
              <a:defRPr sz="1600"/>
            </a:lvl3pPr>
            <a:lvl4pPr>
              <a:defRPr sz="1600"/>
            </a:lvl4pPr>
            <a:lvl5pPr>
              <a:defRPr sz="1600"/>
            </a:lvl5pPr>
          </a:lstStyle>
          <a:p>
            <a:pPr lvl="0"/>
            <a:r>
              <a:rPr lang="en-US"/>
              <a:t>Click to add text</a:t>
            </a:r>
          </a:p>
          <a:p>
            <a:pPr lvl="1"/>
            <a:r>
              <a:rPr lang="en-US"/>
              <a:t>Second level</a:t>
            </a:r>
          </a:p>
          <a:p>
            <a:pPr lvl="2"/>
            <a:r>
              <a:rPr lang="en-US"/>
              <a:t>Third level</a:t>
            </a:r>
          </a:p>
          <a:p>
            <a:pPr lvl="3"/>
            <a:r>
              <a:rPr lang="en-US"/>
              <a:t>Fourth level</a:t>
            </a:r>
          </a:p>
          <a:p>
            <a:pPr lvl="4"/>
            <a:r>
              <a:rPr lang="en-US"/>
              <a:t>Fifth level</a:t>
            </a:r>
          </a:p>
        </p:txBody>
      </p:sp>
      <p:sp>
        <p:nvSpPr>
          <p:cNvPr id="10" name="Text Placeholder 4"/>
          <p:cNvSpPr>
            <a:spLocks noGrp="1"/>
          </p:cNvSpPr>
          <p:nvPr>
            <p:ph type="body" sz="quarter" idx="19" hasCustomPrompt="1"/>
          </p:nvPr>
        </p:nvSpPr>
        <p:spPr>
          <a:xfrm>
            <a:off x="1075063" y="6307665"/>
            <a:ext cx="8162717" cy="133200"/>
          </a:xfrm>
        </p:spPr>
        <p:txBody>
          <a:bodyPr lIns="0" tIns="0" rIns="0" bIns="0" anchor="b" anchorCtr="0"/>
          <a:lstStyle>
            <a:lvl1pPr marL="0" indent="0" algn="l">
              <a:lnSpc>
                <a:spcPct val="100000"/>
              </a:lnSpc>
              <a:spcBef>
                <a:spcPts val="0"/>
              </a:spcBef>
              <a:buNone/>
              <a:defRPr sz="800" baseline="0"/>
            </a:lvl1pPr>
            <a:lvl2pPr marL="0" indent="0" algn="l">
              <a:lnSpc>
                <a:spcPct val="100000"/>
              </a:lnSpc>
              <a:spcBef>
                <a:spcPts val="0"/>
              </a:spcBef>
              <a:buNone/>
              <a:defRPr sz="800"/>
            </a:lvl2pPr>
            <a:lvl3pPr marL="0" indent="0" algn="l">
              <a:lnSpc>
                <a:spcPct val="100000"/>
              </a:lnSpc>
              <a:spcBef>
                <a:spcPts val="0"/>
              </a:spcBef>
              <a:buNone/>
              <a:defRPr sz="800"/>
            </a:lvl3pPr>
            <a:lvl4pPr marL="0" algn="l">
              <a:lnSpc>
                <a:spcPct val="100000"/>
              </a:lnSpc>
              <a:spcBef>
                <a:spcPts val="0"/>
              </a:spcBef>
              <a:buNone/>
              <a:defRPr sz="800"/>
            </a:lvl4pPr>
            <a:lvl5pPr marL="0" indent="0" algn="l">
              <a:lnSpc>
                <a:spcPct val="100000"/>
              </a:lnSpc>
              <a:spcBef>
                <a:spcPts val="0"/>
              </a:spcBef>
              <a:buNone/>
              <a:defRPr sz="800"/>
            </a:lvl5pPr>
          </a:lstStyle>
          <a:p>
            <a:pPr lvl="0"/>
            <a:r>
              <a:rPr lang="en-US"/>
              <a:t>Source line</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7726269"/>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p:cSld name="Notebook">
    <p:spTree>
      <p:nvGrpSpPr>
        <p:cNvPr id="1" name=""/>
        <p:cNvGrpSpPr/>
        <p:nvPr/>
      </p:nvGrpSpPr>
      <p:grpSpPr>
        <a:xfrm>
          <a:off x="0" y="0"/>
          <a:ext cx="0" cy="0"/>
          <a:chOff x="0" y="0"/>
          <a:chExt cx="0" cy="0"/>
        </a:xfrm>
      </p:grpSpPr>
      <p:pic>
        <p:nvPicPr>
          <p:cNvPr id="13" name="Notebook">
            <a:extLst>
              <a:ext uri="{FF2B5EF4-FFF2-40B4-BE49-F238E27FC236}">
                <a16:creationId xmlns:a16="http://schemas.microsoft.com/office/drawing/2014/main" id="{6DEE1461-64EC-7246-8FA6-71C6BF497627}"/>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3651351" y="1267197"/>
            <a:ext cx="8528460" cy="5161713"/>
          </a:xfrm>
          <a:prstGeom prst="rect">
            <a:avLst/>
          </a:prstGeom>
        </p:spPr>
      </p:pic>
      <p:sp>
        <p:nvSpPr>
          <p:cNvPr id="21" name="Date Placeholder 20"/>
          <p:cNvSpPr>
            <a:spLocks noGrp="1"/>
          </p:cNvSpPr>
          <p:nvPr>
            <p:ph type="dt" sz="half" idx="14"/>
          </p:nvPr>
        </p:nvSpPr>
        <p:spPr/>
        <p:txBody>
          <a:bodyPr/>
          <a:lstStyle/>
          <a:p>
            <a:endParaRPr lang="en-US"/>
          </a:p>
        </p:txBody>
      </p:sp>
      <p:sp>
        <p:nvSpPr>
          <p:cNvPr id="22" name="Footer Placeholder 21"/>
          <p:cNvSpPr>
            <a:spLocks noGrp="1"/>
          </p:cNvSpPr>
          <p:nvPr>
            <p:ph type="ftr" sz="quarter" idx="15"/>
          </p:nvPr>
        </p:nvSpPr>
        <p:spPr/>
        <p:txBody>
          <a:bodyPr/>
          <a:lstStyle/>
          <a:p>
            <a:endParaRPr lang="en-US"/>
          </a:p>
        </p:txBody>
      </p:sp>
      <p:sp>
        <p:nvSpPr>
          <p:cNvPr id="23" name="Slide Number Placeholder 22"/>
          <p:cNvSpPr>
            <a:spLocks noGrp="1"/>
          </p:cNvSpPr>
          <p:nvPr>
            <p:ph type="sldNum" sz="quarter" idx="16"/>
          </p:nvPr>
        </p:nvSpPr>
        <p:spPr/>
        <p:txBody>
          <a:bodyPr/>
          <a:lstStyle/>
          <a:p>
            <a:fld id="{5F3E29E4-0979-4FCA-B4C5-5FC6044C982A}" type="slidenum">
              <a:rPr lang="en-US" smtClean="0"/>
              <a:t>‹#›</a:t>
            </a:fld>
            <a:endParaRPr lang="en-US"/>
          </a:p>
        </p:txBody>
      </p:sp>
      <p:sp>
        <p:nvSpPr>
          <p:cNvPr id="2" name="Title 1"/>
          <p:cNvSpPr>
            <a:spLocks noGrp="1"/>
          </p:cNvSpPr>
          <p:nvPr>
            <p:ph type="title" hasCustomPrompt="1"/>
          </p:nvPr>
        </p:nvSpPr>
        <p:spPr/>
        <p:txBody>
          <a:bodyPr/>
          <a:lstStyle>
            <a:lvl1pPr>
              <a:defRPr/>
            </a:lvl1pPr>
          </a:lstStyle>
          <a:p>
            <a:r>
              <a:rPr lang="en-US"/>
              <a:t>Click to add slide title</a:t>
            </a:r>
          </a:p>
        </p:txBody>
      </p:sp>
      <p:sp>
        <p:nvSpPr>
          <p:cNvPr id="7" name="Subtitle 2"/>
          <p:cNvSpPr>
            <a:spLocks noGrp="1"/>
          </p:cNvSpPr>
          <p:nvPr>
            <p:ph type="subTitle" idx="13" hasCustomPrompt="1"/>
          </p:nvPr>
        </p:nvSpPr>
        <p:spPr>
          <a:xfrm>
            <a:off x="1075061" y="964671"/>
            <a:ext cx="7910158" cy="490042"/>
          </a:xfrm>
        </p:spPr>
        <p:txBody>
          <a:bodyPr wrap="none"/>
          <a:lstStyle>
            <a:lvl1pPr marL="0" indent="0" algn="l">
              <a:spcBef>
                <a:spcPts val="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sp>
        <p:nvSpPr>
          <p:cNvPr id="3" name="Content Placeholder 2"/>
          <p:cNvSpPr>
            <a:spLocks noGrp="1"/>
          </p:cNvSpPr>
          <p:nvPr>
            <p:ph idx="1" hasCustomPrompt="1"/>
          </p:nvPr>
        </p:nvSpPr>
        <p:spPr>
          <a:xfrm>
            <a:off x="1075062" y="1852623"/>
            <a:ext cx="3287388" cy="3658714"/>
          </a:xfrm>
        </p:spPr>
        <p:txBody>
          <a:bodyPr anchor="ctr"/>
          <a:lstStyle>
            <a:lvl1pPr>
              <a:defRPr sz="1600"/>
            </a:lvl1pPr>
            <a:lvl2pPr>
              <a:defRPr sz="1600"/>
            </a:lvl2pPr>
            <a:lvl3pPr>
              <a:defRPr sz="1600"/>
            </a:lvl3pPr>
            <a:lvl4pPr>
              <a:defRPr sz="1600"/>
            </a:lvl4pPr>
            <a:lvl5pPr>
              <a:defRPr sz="1600"/>
            </a:lvl5pPr>
          </a:lstStyle>
          <a:p>
            <a:pPr lvl="0"/>
            <a:r>
              <a:rPr lang="en-US"/>
              <a:t>Click to add text</a:t>
            </a:r>
          </a:p>
          <a:p>
            <a:pPr lvl="1"/>
            <a:r>
              <a:rPr lang="en-US"/>
              <a:t>Second level</a:t>
            </a:r>
          </a:p>
          <a:p>
            <a:pPr lvl="2"/>
            <a:r>
              <a:rPr lang="en-US"/>
              <a:t>Third level</a:t>
            </a:r>
          </a:p>
          <a:p>
            <a:pPr lvl="3"/>
            <a:r>
              <a:rPr lang="en-US"/>
              <a:t>Fourth level</a:t>
            </a:r>
          </a:p>
          <a:p>
            <a:pPr lvl="4"/>
            <a:r>
              <a:rPr lang="en-US"/>
              <a:t>Fifth level</a:t>
            </a:r>
          </a:p>
        </p:txBody>
      </p:sp>
      <p:sp>
        <p:nvSpPr>
          <p:cNvPr id="5" name="Picture Placeholder 4"/>
          <p:cNvSpPr>
            <a:spLocks noGrp="1"/>
          </p:cNvSpPr>
          <p:nvPr>
            <p:ph type="pic" sz="quarter" idx="17" hasCustomPrompt="1"/>
          </p:nvPr>
        </p:nvSpPr>
        <p:spPr>
          <a:xfrm>
            <a:off x="4904507" y="1821610"/>
            <a:ext cx="6001200" cy="3664800"/>
          </a:xfrm>
          <a:solidFill>
            <a:srgbClr val="D9DADB"/>
          </a:solidFill>
        </p:spPr>
        <p:txBody>
          <a:bodyPr/>
          <a:lstStyle>
            <a:lvl1pPr marL="0" indent="0">
              <a:buNone/>
              <a:defRPr/>
            </a:lvl1pPr>
          </a:lstStyle>
          <a:p>
            <a:r>
              <a:rPr lang="en-US"/>
              <a:t>Insert picture</a:t>
            </a:r>
          </a:p>
        </p:txBody>
      </p:sp>
      <p:sp>
        <p:nvSpPr>
          <p:cNvPr id="11" name="Text Placeholder 4"/>
          <p:cNvSpPr>
            <a:spLocks noGrp="1"/>
          </p:cNvSpPr>
          <p:nvPr>
            <p:ph type="body" sz="quarter" idx="18" hasCustomPrompt="1"/>
          </p:nvPr>
        </p:nvSpPr>
        <p:spPr>
          <a:xfrm>
            <a:off x="1075063" y="6307665"/>
            <a:ext cx="8162717" cy="133200"/>
          </a:xfrm>
        </p:spPr>
        <p:txBody>
          <a:bodyPr lIns="0" tIns="0" rIns="0" bIns="0" anchor="b" anchorCtr="0"/>
          <a:lstStyle>
            <a:lvl1pPr marL="0" indent="0" algn="l">
              <a:lnSpc>
                <a:spcPct val="100000"/>
              </a:lnSpc>
              <a:spcBef>
                <a:spcPts val="0"/>
              </a:spcBef>
              <a:buNone/>
              <a:defRPr sz="800" baseline="0"/>
            </a:lvl1pPr>
            <a:lvl2pPr marL="0" indent="0" algn="l">
              <a:lnSpc>
                <a:spcPct val="100000"/>
              </a:lnSpc>
              <a:spcBef>
                <a:spcPts val="0"/>
              </a:spcBef>
              <a:buNone/>
              <a:defRPr sz="800"/>
            </a:lvl2pPr>
            <a:lvl3pPr marL="0" indent="0" algn="l">
              <a:lnSpc>
                <a:spcPct val="100000"/>
              </a:lnSpc>
              <a:spcBef>
                <a:spcPts val="0"/>
              </a:spcBef>
              <a:buNone/>
              <a:defRPr sz="800"/>
            </a:lvl3pPr>
            <a:lvl4pPr marL="0" algn="l">
              <a:lnSpc>
                <a:spcPct val="100000"/>
              </a:lnSpc>
              <a:spcBef>
                <a:spcPts val="0"/>
              </a:spcBef>
              <a:buNone/>
              <a:defRPr sz="800"/>
            </a:lvl4pPr>
            <a:lvl5pPr marL="0" indent="0" algn="l">
              <a:lnSpc>
                <a:spcPct val="100000"/>
              </a:lnSpc>
              <a:spcBef>
                <a:spcPts val="0"/>
              </a:spcBef>
              <a:buNone/>
              <a:defRPr sz="800"/>
            </a:lvl5pPr>
          </a:lstStyle>
          <a:p>
            <a:pPr lvl="0"/>
            <a:r>
              <a:rPr lang="en-US"/>
              <a:t>Source line</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51187868"/>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p:cSld name="Tablet">
    <p:spTree>
      <p:nvGrpSpPr>
        <p:cNvPr id="1" name=""/>
        <p:cNvGrpSpPr/>
        <p:nvPr/>
      </p:nvGrpSpPr>
      <p:grpSpPr>
        <a:xfrm>
          <a:off x="0" y="0"/>
          <a:ext cx="0" cy="0"/>
          <a:chOff x="0" y="0"/>
          <a:chExt cx="0" cy="0"/>
        </a:xfrm>
      </p:grpSpPr>
      <p:pic>
        <p:nvPicPr>
          <p:cNvPr id="12" name="Grafik 3">
            <a:extLst>
              <a:ext uri="{FF2B5EF4-FFF2-40B4-BE49-F238E27FC236}">
                <a16:creationId xmlns:a16="http://schemas.microsoft.com/office/drawing/2014/main" id="{1D97A272-8DE5-144D-9076-0F435EC79171}"/>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4422451" y="1441279"/>
            <a:ext cx="6858000" cy="5323585"/>
          </a:xfrm>
          <a:prstGeom prst="rect">
            <a:avLst/>
          </a:prstGeom>
        </p:spPr>
      </p:pic>
      <p:sp>
        <p:nvSpPr>
          <p:cNvPr id="21" name="Date Placeholder 20"/>
          <p:cNvSpPr>
            <a:spLocks noGrp="1"/>
          </p:cNvSpPr>
          <p:nvPr>
            <p:ph type="dt" sz="half" idx="14"/>
          </p:nvPr>
        </p:nvSpPr>
        <p:spPr/>
        <p:txBody>
          <a:bodyPr/>
          <a:lstStyle/>
          <a:p>
            <a:endParaRPr lang="en-US"/>
          </a:p>
        </p:txBody>
      </p:sp>
      <p:sp>
        <p:nvSpPr>
          <p:cNvPr id="22" name="Footer Placeholder 21"/>
          <p:cNvSpPr>
            <a:spLocks noGrp="1"/>
          </p:cNvSpPr>
          <p:nvPr>
            <p:ph type="ftr" sz="quarter" idx="15"/>
          </p:nvPr>
        </p:nvSpPr>
        <p:spPr/>
        <p:txBody>
          <a:bodyPr/>
          <a:lstStyle/>
          <a:p>
            <a:endParaRPr lang="en-US"/>
          </a:p>
        </p:txBody>
      </p:sp>
      <p:sp>
        <p:nvSpPr>
          <p:cNvPr id="23" name="Slide Number Placeholder 22"/>
          <p:cNvSpPr>
            <a:spLocks noGrp="1"/>
          </p:cNvSpPr>
          <p:nvPr>
            <p:ph type="sldNum" sz="quarter" idx="16"/>
          </p:nvPr>
        </p:nvSpPr>
        <p:spPr/>
        <p:txBody>
          <a:bodyPr/>
          <a:lstStyle/>
          <a:p>
            <a:fld id="{5F3E29E4-0979-4FCA-B4C5-5FC6044C982A}" type="slidenum">
              <a:rPr lang="en-US" smtClean="0"/>
              <a:t>‹#›</a:t>
            </a:fld>
            <a:endParaRPr lang="en-US"/>
          </a:p>
        </p:txBody>
      </p:sp>
      <p:sp>
        <p:nvSpPr>
          <p:cNvPr id="2" name="Title 1"/>
          <p:cNvSpPr>
            <a:spLocks noGrp="1"/>
          </p:cNvSpPr>
          <p:nvPr>
            <p:ph type="title" hasCustomPrompt="1"/>
          </p:nvPr>
        </p:nvSpPr>
        <p:spPr/>
        <p:txBody>
          <a:bodyPr/>
          <a:lstStyle>
            <a:lvl1pPr>
              <a:defRPr/>
            </a:lvl1pPr>
          </a:lstStyle>
          <a:p>
            <a:r>
              <a:rPr lang="en-US"/>
              <a:t>Click to add slide title</a:t>
            </a:r>
          </a:p>
        </p:txBody>
      </p:sp>
      <p:sp>
        <p:nvSpPr>
          <p:cNvPr id="7" name="Subtitle 2"/>
          <p:cNvSpPr>
            <a:spLocks noGrp="1"/>
          </p:cNvSpPr>
          <p:nvPr>
            <p:ph type="subTitle" idx="13" hasCustomPrompt="1"/>
          </p:nvPr>
        </p:nvSpPr>
        <p:spPr>
          <a:xfrm>
            <a:off x="1075061" y="964671"/>
            <a:ext cx="7910158" cy="490042"/>
          </a:xfrm>
        </p:spPr>
        <p:txBody>
          <a:bodyPr wrap="none"/>
          <a:lstStyle>
            <a:lvl1pPr marL="0" indent="0" algn="l">
              <a:spcBef>
                <a:spcPts val="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sp>
        <p:nvSpPr>
          <p:cNvPr id="3" name="Content Placeholder 2"/>
          <p:cNvSpPr>
            <a:spLocks noGrp="1"/>
          </p:cNvSpPr>
          <p:nvPr>
            <p:ph idx="1" hasCustomPrompt="1"/>
          </p:nvPr>
        </p:nvSpPr>
        <p:spPr>
          <a:xfrm>
            <a:off x="1075062" y="1852623"/>
            <a:ext cx="3287388" cy="3658714"/>
          </a:xfrm>
        </p:spPr>
        <p:txBody>
          <a:bodyPr anchor="ctr"/>
          <a:lstStyle>
            <a:lvl1pPr>
              <a:defRPr sz="1600"/>
            </a:lvl1pPr>
            <a:lvl2pPr>
              <a:defRPr sz="1600"/>
            </a:lvl2pPr>
            <a:lvl3pPr>
              <a:defRPr sz="1600"/>
            </a:lvl3pPr>
            <a:lvl4pPr>
              <a:defRPr sz="1600"/>
            </a:lvl4pPr>
            <a:lvl5pPr>
              <a:defRPr sz="1600"/>
            </a:lvl5pPr>
          </a:lstStyle>
          <a:p>
            <a:pPr lvl="0"/>
            <a:r>
              <a:rPr lang="en-US"/>
              <a:t>Click to add text</a:t>
            </a:r>
          </a:p>
          <a:p>
            <a:pPr lvl="1"/>
            <a:r>
              <a:rPr lang="en-US"/>
              <a:t>Second level</a:t>
            </a:r>
          </a:p>
          <a:p>
            <a:pPr lvl="2"/>
            <a:r>
              <a:rPr lang="en-US"/>
              <a:t>Third level</a:t>
            </a:r>
          </a:p>
          <a:p>
            <a:pPr lvl="3"/>
            <a:r>
              <a:rPr lang="en-US"/>
              <a:t>Fourth level</a:t>
            </a:r>
          </a:p>
          <a:p>
            <a:pPr lvl="4"/>
            <a:r>
              <a:rPr lang="en-US"/>
              <a:t>Fifth level</a:t>
            </a:r>
          </a:p>
        </p:txBody>
      </p:sp>
      <p:sp>
        <p:nvSpPr>
          <p:cNvPr id="5" name="Picture Placeholder 4"/>
          <p:cNvSpPr>
            <a:spLocks noGrp="1"/>
          </p:cNvSpPr>
          <p:nvPr>
            <p:ph type="pic" sz="quarter" idx="17" hasCustomPrompt="1"/>
          </p:nvPr>
        </p:nvSpPr>
        <p:spPr>
          <a:xfrm>
            <a:off x="5135561" y="2010934"/>
            <a:ext cx="5491064" cy="3428280"/>
          </a:xfrm>
          <a:solidFill>
            <a:srgbClr val="D9DADB"/>
          </a:solidFill>
        </p:spPr>
        <p:txBody>
          <a:bodyPr/>
          <a:lstStyle>
            <a:lvl1pPr marL="0" indent="0">
              <a:buNone/>
              <a:defRPr/>
            </a:lvl1pPr>
          </a:lstStyle>
          <a:p>
            <a:r>
              <a:rPr lang="en-US"/>
              <a:t>Insert picture</a:t>
            </a:r>
          </a:p>
        </p:txBody>
      </p:sp>
      <p:sp>
        <p:nvSpPr>
          <p:cNvPr id="11" name="Text Placeholder 4"/>
          <p:cNvSpPr>
            <a:spLocks noGrp="1"/>
          </p:cNvSpPr>
          <p:nvPr>
            <p:ph type="body" sz="quarter" idx="18" hasCustomPrompt="1"/>
          </p:nvPr>
        </p:nvSpPr>
        <p:spPr>
          <a:xfrm>
            <a:off x="1075063" y="6307665"/>
            <a:ext cx="8162717" cy="133200"/>
          </a:xfrm>
        </p:spPr>
        <p:txBody>
          <a:bodyPr lIns="0" tIns="0" rIns="0" bIns="0" anchor="b" anchorCtr="0"/>
          <a:lstStyle>
            <a:lvl1pPr marL="0" indent="0" algn="l">
              <a:lnSpc>
                <a:spcPct val="100000"/>
              </a:lnSpc>
              <a:spcBef>
                <a:spcPts val="0"/>
              </a:spcBef>
              <a:buNone/>
              <a:defRPr sz="800" baseline="0"/>
            </a:lvl1pPr>
            <a:lvl2pPr marL="0" indent="0" algn="l">
              <a:lnSpc>
                <a:spcPct val="100000"/>
              </a:lnSpc>
              <a:spcBef>
                <a:spcPts val="0"/>
              </a:spcBef>
              <a:buNone/>
              <a:defRPr sz="800"/>
            </a:lvl2pPr>
            <a:lvl3pPr marL="0" indent="0" algn="l">
              <a:lnSpc>
                <a:spcPct val="100000"/>
              </a:lnSpc>
              <a:spcBef>
                <a:spcPts val="0"/>
              </a:spcBef>
              <a:buNone/>
              <a:defRPr sz="800"/>
            </a:lvl3pPr>
            <a:lvl4pPr marL="0" algn="l">
              <a:lnSpc>
                <a:spcPct val="100000"/>
              </a:lnSpc>
              <a:spcBef>
                <a:spcPts val="0"/>
              </a:spcBef>
              <a:buNone/>
              <a:defRPr sz="800"/>
            </a:lvl4pPr>
            <a:lvl5pPr marL="0" indent="0" algn="l">
              <a:lnSpc>
                <a:spcPct val="100000"/>
              </a:lnSpc>
              <a:spcBef>
                <a:spcPts val="0"/>
              </a:spcBef>
              <a:buNone/>
              <a:defRPr sz="800"/>
            </a:lvl5pPr>
          </a:lstStyle>
          <a:p>
            <a:pPr lvl="0"/>
            <a:r>
              <a:rPr lang="en-US"/>
              <a:t>Source line</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40986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Four contents (1)">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2122" y="2123"/>
          <a:ext cx="2116" cy="2115"/>
        </p:xfrm>
        <a:graphic>
          <a:graphicData uri="http://schemas.openxmlformats.org/presentationml/2006/ole">
            <mc:AlternateContent xmlns:mc="http://schemas.openxmlformats.org/markup-compatibility/2006">
              <mc:Choice xmlns:v="urn:schemas-microsoft-com:vml" Requires="v">
                <p:oleObj spid="_x0000_s46150" name="think-cell Slide" r:id="rId4" imgW="353" imgH="353" progId="TCLayout.ActiveDocument.1">
                  <p:embed/>
                </p:oleObj>
              </mc:Choice>
              <mc:Fallback>
                <p:oleObj name="think-cell Slide" r:id="rId4" imgW="353" imgH="353" progId="TCLayout.ActiveDocument.1">
                  <p:embed/>
                  <p:pic>
                    <p:nvPicPr>
                      <p:cNvPr id="5" name="Object 4" hidden="1"/>
                      <p:cNvPicPr/>
                      <p:nvPr/>
                    </p:nvPicPr>
                    <p:blipFill>
                      <a:blip r:embed="rId5"/>
                      <a:stretch>
                        <a:fillRect/>
                      </a:stretch>
                    </p:blipFill>
                    <p:spPr>
                      <a:xfrm>
                        <a:off x="2122" y="2123"/>
                        <a:ext cx="2116" cy="2115"/>
                      </a:xfrm>
                      <a:prstGeom prst="rect">
                        <a:avLst/>
                      </a:prstGeom>
                    </p:spPr>
                  </p:pic>
                </p:oleObj>
              </mc:Fallback>
            </mc:AlternateContent>
          </a:graphicData>
        </a:graphic>
      </p:graphicFrame>
      <p:sp>
        <p:nvSpPr>
          <p:cNvPr id="4" name="Content Placeholder 3"/>
          <p:cNvSpPr>
            <a:spLocks noGrp="1"/>
          </p:cNvSpPr>
          <p:nvPr>
            <p:ph sz="quarter" idx="16" hasCustomPrompt="1"/>
          </p:nvPr>
        </p:nvSpPr>
        <p:spPr>
          <a:xfrm>
            <a:off x="431216" y="1700763"/>
            <a:ext cx="2688373" cy="4609024"/>
          </a:xfrm>
        </p:spPr>
        <p:txBody>
          <a:bodyPr/>
          <a:lstStyle/>
          <a:p>
            <a:pPr lvl="0"/>
            <a:r>
              <a:rPr lang="en-US" noProof="0"/>
              <a:t>Click to add tex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2" name="Content Placeholder 3"/>
          <p:cNvSpPr>
            <a:spLocks noGrp="1"/>
          </p:cNvSpPr>
          <p:nvPr>
            <p:ph sz="quarter" idx="17" hasCustomPrompt="1"/>
          </p:nvPr>
        </p:nvSpPr>
        <p:spPr>
          <a:xfrm>
            <a:off x="3311619" y="1700765"/>
            <a:ext cx="2688372" cy="4607984"/>
          </a:xfrm>
        </p:spPr>
        <p:txBody>
          <a:bodyPr/>
          <a:lstStyle/>
          <a:p>
            <a:pPr lvl="0"/>
            <a:r>
              <a:rPr lang="en-US" noProof="0"/>
              <a:t>Click to add tex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Content Placeholder 3"/>
          <p:cNvSpPr>
            <a:spLocks noGrp="1"/>
          </p:cNvSpPr>
          <p:nvPr>
            <p:ph sz="quarter" idx="18" hasCustomPrompt="1"/>
          </p:nvPr>
        </p:nvSpPr>
        <p:spPr>
          <a:xfrm>
            <a:off x="6192015" y="1700765"/>
            <a:ext cx="2688373" cy="4606944"/>
          </a:xfrm>
        </p:spPr>
        <p:txBody>
          <a:bodyPr/>
          <a:lstStyle/>
          <a:p>
            <a:pPr lvl="0"/>
            <a:r>
              <a:rPr lang="en-US" noProof="0"/>
              <a:t>Click to add tex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4" name="Content Placeholder 3"/>
          <p:cNvSpPr>
            <a:spLocks noGrp="1"/>
          </p:cNvSpPr>
          <p:nvPr>
            <p:ph sz="quarter" idx="19" hasCustomPrompt="1"/>
          </p:nvPr>
        </p:nvSpPr>
        <p:spPr>
          <a:xfrm>
            <a:off x="9072415" y="1700765"/>
            <a:ext cx="2688373" cy="4605905"/>
          </a:xfrm>
        </p:spPr>
        <p:txBody>
          <a:bodyPr/>
          <a:lstStyle/>
          <a:p>
            <a:pPr lvl="0"/>
            <a:r>
              <a:rPr lang="en-US" noProof="0"/>
              <a:t>Click to add tex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 name="Title 1"/>
          <p:cNvSpPr>
            <a:spLocks noGrp="1"/>
          </p:cNvSpPr>
          <p:nvPr>
            <p:ph type="title" hasCustomPrompt="1"/>
          </p:nvPr>
        </p:nvSpPr>
        <p:spPr bwMode="gray"/>
        <p:txBody>
          <a:bodyPr/>
          <a:lstStyle/>
          <a:p>
            <a:r>
              <a:rPr lang="en-US"/>
              <a:t>Click to add headline</a:t>
            </a:r>
          </a:p>
        </p:txBody>
      </p:sp>
      <p:sp>
        <p:nvSpPr>
          <p:cNvPr id="7" name="Textplatzhalter 2"/>
          <p:cNvSpPr>
            <a:spLocks noGrp="1"/>
          </p:cNvSpPr>
          <p:nvPr>
            <p:ph type="body" sz="quarter" idx="11" hasCustomPrompt="1"/>
          </p:nvPr>
        </p:nvSpPr>
        <p:spPr bwMode="gray">
          <a:xfrm>
            <a:off x="431213" y="1220755"/>
            <a:ext cx="11328987" cy="384340"/>
          </a:xfrm>
        </p:spPr>
        <p:txBody>
          <a:bodyPr>
            <a:noAutofit/>
          </a:bodyPr>
          <a:lstStyle>
            <a:lvl1pPr marL="0" indent="0">
              <a:lnSpc>
                <a:spcPct val="100000"/>
              </a:lnSpc>
              <a:spcBef>
                <a:spcPts val="800"/>
              </a:spcBef>
              <a:buFont typeface="Arial" panose="020B0604020202020204" pitchFamily="34" charset="0"/>
              <a:buNone/>
              <a:defRPr lang="en-GB" sz="2398" kern="1200" noProof="0" smtClean="0">
                <a:solidFill>
                  <a:schemeClr val="tx2"/>
                </a:solidFill>
                <a:latin typeface="Arial" pitchFamily="34" charset="0"/>
                <a:ea typeface="+mn-ea"/>
                <a:cs typeface="Arial" pitchFamily="34" charset="0"/>
              </a:defRPr>
            </a:lvl1pPr>
            <a:lvl2pPr marL="0" indent="0">
              <a:lnSpc>
                <a:spcPct val="100000"/>
              </a:lnSpc>
              <a:spcBef>
                <a:spcPts val="800"/>
              </a:spcBef>
              <a:buFont typeface="Arial" panose="020B0604020202020204" pitchFamily="34" charset="0"/>
              <a:buNone/>
              <a:defRPr lang="en-GB" sz="2398" kern="1200" noProof="0" smtClean="0">
                <a:solidFill>
                  <a:schemeClr val="tx2"/>
                </a:solidFill>
                <a:latin typeface="Arial" pitchFamily="34" charset="0"/>
                <a:ea typeface="+mn-ea"/>
                <a:cs typeface="Arial" pitchFamily="34" charset="0"/>
              </a:defRPr>
            </a:lvl2pPr>
            <a:lvl3pPr marL="0" indent="0">
              <a:lnSpc>
                <a:spcPct val="100000"/>
              </a:lnSpc>
              <a:spcBef>
                <a:spcPts val="800"/>
              </a:spcBef>
              <a:buFont typeface="Arial" panose="020B0604020202020204" pitchFamily="34" charset="0"/>
              <a:buNone/>
              <a:defRPr lang="en-GB" sz="2398" kern="1200" noProof="0" smtClean="0">
                <a:solidFill>
                  <a:schemeClr val="tx2"/>
                </a:solidFill>
                <a:latin typeface="Arial" pitchFamily="34" charset="0"/>
                <a:ea typeface="+mn-ea"/>
                <a:cs typeface="Arial" pitchFamily="34" charset="0"/>
              </a:defRPr>
            </a:lvl3pPr>
            <a:lvl4pPr marL="0" indent="0">
              <a:lnSpc>
                <a:spcPct val="100000"/>
              </a:lnSpc>
              <a:spcBef>
                <a:spcPts val="800"/>
              </a:spcBef>
              <a:buFont typeface="Arial" panose="020B0604020202020204" pitchFamily="34" charset="0"/>
              <a:buNone/>
              <a:defRPr lang="en-GB" sz="2398" kern="1200" noProof="0" smtClean="0">
                <a:solidFill>
                  <a:schemeClr val="tx2"/>
                </a:solidFill>
                <a:latin typeface="Arial" pitchFamily="34" charset="0"/>
                <a:ea typeface="+mn-ea"/>
                <a:cs typeface="Arial" pitchFamily="34" charset="0"/>
              </a:defRPr>
            </a:lvl4pPr>
            <a:lvl5pPr marL="0" indent="0">
              <a:lnSpc>
                <a:spcPct val="100000"/>
              </a:lnSpc>
              <a:spcBef>
                <a:spcPts val="800"/>
              </a:spcBef>
              <a:buFont typeface="Arial" panose="020B0604020202020204" pitchFamily="34" charset="0"/>
              <a:buNone/>
              <a:defRPr lang="en-GB" sz="2398" kern="1200" noProof="0" smtClean="0">
                <a:solidFill>
                  <a:schemeClr val="tx2"/>
                </a:solidFill>
                <a:latin typeface="Arial" pitchFamily="34" charset="0"/>
                <a:ea typeface="+mn-ea"/>
                <a:cs typeface="Arial" pitchFamily="34" charset="0"/>
              </a:defRPr>
            </a:lvl5pPr>
            <a:lvl6pPr marL="0" indent="0">
              <a:lnSpc>
                <a:spcPct val="100000"/>
              </a:lnSpc>
              <a:spcBef>
                <a:spcPts val="800"/>
              </a:spcBef>
              <a:buNone/>
              <a:defRPr lang="en-GB" sz="2398" kern="1200" noProof="0" smtClean="0">
                <a:solidFill>
                  <a:schemeClr val="tx2"/>
                </a:solidFill>
                <a:latin typeface="Arial" pitchFamily="34" charset="0"/>
                <a:ea typeface="+mn-ea"/>
                <a:cs typeface="Arial" pitchFamily="34" charset="0"/>
              </a:defRPr>
            </a:lvl6pPr>
            <a:lvl7pPr marL="0" indent="0">
              <a:lnSpc>
                <a:spcPct val="100000"/>
              </a:lnSpc>
              <a:spcBef>
                <a:spcPts val="800"/>
              </a:spcBef>
              <a:buNone/>
              <a:defRPr lang="en-GB" sz="2398" kern="1200" noProof="0" smtClean="0">
                <a:solidFill>
                  <a:schemeClr val="tx2"/>
                </a:solidFill>
                <a:latin typeface="Arial" pitchFamily="34" charset="0"/>
                <a:ea typeface="+mn-ea"/>
                <a:cs typeface="Arial" pitchFamily="34" charset="0"/>
              </a:defRPr>
            </a:lvl7pPr>
            <a:lvl8pPr marL="0" indent="0">
              <a:lnSpc>
                <a:spcPct val="100000"/>
              </a:lnSpc>
              <a:spcBef>
                <a:spcPts val="800"/>
              </a:spcBef>
              <a:buNone/>
              <a:defRPr lang="en-GB" sz="2398" kern="1200" noProof="0" smtClean="0">
                <a:solidFill>
                  <a:schemeClr val="tx2"/>
                </a:solidFill>
                <a:latin typeface="Arial" pitchFamily="34" charset="0"/>
                <a:ea typeface="+mn-ea"/>
                <a:cs typeface="Arial" pitchFamily="34" charset="0"/>
              </a:defRPr>
            </a:lvl8pPr>
            <a:lvl9pPr marL="0" indent="0">
              <a:lnSpc>
                <a:spcPct val="100000"/>
              </a:lnSpc>
              <a:spcBef>
                <a:spcPts val="800"/>
              </a:spcBef>
              <a:buNone/>
              <a:defRPr lang="de-DE" sz="2398" kern="1200" noProof="0" smtClean="0">
                <a:solidFill>
                  <a:schemeClr val="tx2"/>
                </a:solidFill>
                <a:latin typeface="Arial" pitchFamily="34" charset="0"/>
                <a:ea typeface="+mn-ea"/>
                <a:cs typeface="Arial" pitchFamily="34" charset="0"/>
              </a:defRPr>
            </a:lvl9pPr>
          </a:lstStyle>
          <a:p>
            <a:pPr lvl="0"/>
            <a:r>
              <a:rPr lang="en-US"/>
              <a:t>Click to add </a:t>
            </a:r>
            <a:r>
              <a:rPr lang="en-US" err="1"/>
              <a:t>subheadline</a:t>
            </a:r>
            <a:endParaRPr lang="en-US"/>
          </a:p>
        </p:txBody>
      </p:sp>
      <p:sp>
        <p:nvSpPr>
          <p:cNvPr id="8" name="Textplatzhalter 3"/>
          <p:cNvSpPr>
            <a:spLocks noGrp="1"/>
          </p:cNvSpPr>
          <p:nvPr>
            <p:ph type="body" sz="quarter" idx="12" hasCustomPrompt="1"/>
          </p:nvPr>
        </p:nvSpPr>
        <p:spPr bwMode="gray">
          <a:xfrm>
            <a:off x="431371" y="6404740"/>
            <a:ext cx="11328400" cy="192617"/>
          </a:xfrm>
        </p:spPr>
        <p:txBody>
          <a:bodyPr tIns="0" bIns="36000" anchor="b" anchorCtr="0">
            <a:noAutofit/>
          </a:bodyPr>
          <a:lstStyle>
            <a:lvl1pPr marL="0" marR="0" indent="0" algn="l" defTabSz="1218043" rtl="0" eaLnBrk="1" fontAlgn="auto" latinLnBrk="0" hangingPunct="1">
              <a:lnSpc>
                <a:spcPct val="100000"/>
              </a:lnSpc>
              <a:spcBef>
                <a:spcPts val="0"/>
              </a:spcBef>
              <a:spcAft>
                <a:spcPts val="0"/>
              </a:spcAft>
              <a:buClrTx/>
              <a:buSzTx/>
              <a:buFont typeface="Arial" pitchFamily="34" charset="0"/>
              <a:buNone/>
              <a:tabLst/>
              <a:defRPr lang="de-DE" sz="1066" kern="1200" baseline="0" noProof="0" smtClean="0">
                <a:solidFill>
                  <a:schemeClr val="bg2"/>
                </a:solidFill>
                <a:latin typeface="Arial" pitchFamily="34" charset="0"/>
                <a:ea typeface="+mn-ea"/>
                <a:cs typeface="Arial" pitchFamily="34" charset="0"/>
              </a:defRPr>
            </a:lvl1pPr>
            <a:lvl2pPr marL="0" indent="0">
              <a:lnSpc>
                <a:spcPct val="100000"/>
              </a:lnSpc>
              <a:spcBef>
                <a:spcPts val="0"/>
              </a:spcBef>
              <a:buFont typeface="Arial" panose="020B0604020202020204" pitchFamily="34" charset="0"/>
              <a:buNone/>
              <a:defRPr lang="de-DE" sz="1066" kern="1200" baseline="0" noProof="0" smtClean="0">
                <a:solidFill>
                  <a:schemeClr val="bg2"/>
                </a:solidFill>
                <a:latin typeface="Arial" pitchFamily="34" charset="0"/>
                <a:ea typeface="+mn-ea"/>
                <a:cs typeface="Arial" pitchFamily="34" charset="0"/>
              </a:defRPr>
            </a:lvl2pPr>
            <a:lvl3pPr marL="0" indent="0">
              <a:lnSpc>
                <a:spcPct val="100000"/>
              </a:lnSpc>
              <a:spcBef>
                <a:spcPts val="0"/>
              </a:spcBef>
              <a:buNone/>
              <a:defRPr lang="de-DE" sz="1066" kern="1200" baseline="0" noProof="0" smtClean="0">
                <a:solidFill>
                  <a:schemeClr val="bg2"/>
                </a:solidFill>
                <a:latin typeface="Arial" pitchFamily="34" charset="0"/>
                <a:ea typeface="+mn-ea"/>
                <a:cs typeface="Arial" pitchFamily="34" charset="0"/>
              </a:defRPr>
            </a:lvl3pPr>
            <a:lvl4pPr marL="0" indent="0">
              <a:lnSpc>
                <a:spcPct val="100000"/>
              </a:lnSpc>
              <a:spcBef>
                <a:spcPts val="0"/>
              </a:spcBef>
              <a:buNone/>
              <a:defRPr lang="de-DE" sz="1066" kern="1200" baseline="0" noProof="0" smtClean="0">
                <a:solidFill>
                  <a:schemeClr val="bg2"/>
                </a:solidFill>
                <a:latin typeface="Arial" pitchFamily="34" charset="0"/>
                <a:ea typeface="+mn-ea"/>
                <a:cs typeface="Arial" pitchFamily="34" charset="0"/>
              </a:defRPr>
            </a:lvl4pPr>
            <a:lvl5pPr marL="0" indent="0">
              <a:lnSpc>
                <a:spcPct val="100000"/>
              </a:lnSpc>
              <a:spcBef>
                <a:spcPts val="0"/>
              </a:spcBef>
              <a:buNone/>
              <a:defRPr lang="de-DE" sz="1066" kern="1200" baseline="0" noProof="0" smtClean="0">
                <a:solidFill>
                  <a:schemeClr val="bg2"/>
                </a:solidFill>
                <a:latin typeface="Arial" pitchFamily="34" charset="0"/>
                <a:ea typeface="+mn-ea"/>
                <a:cs typeface="Arial" pitchFamily="34" charset="0"/>
              </a:defRPr>
            </a:lvl5pPr>
            <a:lvl6pPr marL="0" indent="0">
              <a:lnSpc>
                <a:spcPct val="100000"/>
              </a:lnSpc>
              <a:spcBef>
                <a:spcPts val="0"/>
              </a:spcBef>
              <a:buNone/>
              <a:defRPr lang="de-DE" sz="1066" kern="1200" baseline="0" noProof="0" smtClean="0">
                <a:solidFill>
                  <a:schemeClr val="bg2"/>
                </a:solidFill>
                <a:latin typeface="Arial" pitchFamily="34" charset="0"/>
                <a:ea typeface="+mn-ea"/>
                <a:cs typeface="Arial" pitchFamily="34" charset="0"/>
              </a:defRPr>
            </a:lvl6pPr>
            <a:lvl7pPr marL="0" indent="0">
              <a:lnSpc>
                <a:spcPct val="100000"/>
              </a:lnSpc>
              <a:spcBef>
                <a:spcPts val="0"/>
              </a:spcBef>
              <a:buNone/>
              <a:defRPr lang="de-DE" sz="1066" kern="1200" baseline="0" noProof="0" dirty="0" smtClean="0">
                <a:solidFill>
                  <a:schemeClr val="bg2"/>
                </a:solidFill>
                <a:latin typeface="Arial" pitchFamily="34" charset="0"/>
                <a:ea typeface="+mn-ea"/>
                <a:cs typeface="Arial" pitchFamily="34" charset="0"/>
              </a:defRPr>
            </a:lvl7pPr>
            <a:lvl8pPr marL="0" indent="0">
              <a:lnSpc>
                <a:spcPct val="100000"/>
              </a:lnSpc>
              <a:spcBef>
                <a:spcPts val="0"/>
              </a:spcBef>
              <a:buNone/>
              <a:defRPr lang="de-DE" sz="1066" kern="1200" baseline="0" noProof="0" smtClean="0">
                <a:solidFill>
                  <a:schemeClr val="bg2"/>
                </a:solidFill>
                <a:latin typeface="Arial" pitchFamily="34" charset="0"/>
                <a:ea typeface="+mn-ea"/>
                <a:cs typeface="Arial" pitchFamily="34" charset="0"/>
              </a:defRPr>
            </a:lvl8pPr>
            <a:lvl9pPr marL="0" indent="0">
              <a:lnSpc>
                <a:spcPct val="100000"/>
              </a:lnSpc>
              <a:spcBef>
                <a:spcPts val="0"/>
              </a:spcBef>
              <a:buNone/>
              <a:defRPr lang="de-DE" sz="1066" kern="1200" baseline="0" noProof="0" smtClean="0">
                <a:solidFill>
                  <a:schemeClr val="bg2"/>
                </a:solidFill>
                <a:latin typeface="Arial" pitchFamily="34" charset="0"/>
                <a:ea typeface="+mn-ea"/>
                <a:cs typeface="Arial" pitchFamily="34" charset="0"/>
              </a:defRPr>
            </a:lvl9pPr>
          </a:lstStyle>
          <a:p>
            <a:pPr lvl="0"/>
            <a:r>
              <a:rPr lang="en-US"/>
              <a:t>Click to add source information</a:t>
            </a:r>
          </a:p>
        </p:txBody>
      </p:sp>
    </p:spTree>
    <p:extLst>
      <p:ext uri="{BB962C8B-B14F-4D97-AF65-F5344CB8AC3E}">
        <p14:creationId xmlns:p14="http://schemas.microsoft.com/office/powerpoint/2010/main" val="723096800"/>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p:cSld name="Smartphone">
    <p:spTree>
      <p:nvGrpSpPr>
        <p:cNvPr id="1" name=""/>
        <p:cNvGrpSpPr/>
        <p:nvPr/>
      </p:nvGrpSpPr>
      <p:grpSpPr>
        <a:xfrm>
          <a:off x="0" y="0"/>
          <a:ext cx="0" cy="0"/>
          <a:chOff x="0" y="0"/>
          <a:chExt cx="0" cy="0"/>
        </a:xfrm>
      </p:grpSpPr>
      <p:pic>
        <p:nvPicPr>
          <p:cNvPr id="10" name="Grafik 2">
            <a:extLst>
              <a:ext uri="{FF2B5EF4-FFF2-40B4-BE49-F238E27FC236}">
                <a16:creationId xmlns:a16="http://schemas.microsoft.com/office/drawing/2014/main" id="{6421FD8A-F5D4-E041-A727-98ABA693B1A7}"/>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5472449" y="1362516"/>
            <a:ext cx="4953000" cy="4865134"/>
          </a:xfrm>
          <a:prstGeom prst="rect">
            <a:avLst/>
          </a:prstGeom>
          <a:effectLst>
            <a:reflection blurRad="6350" stA="48000" endPos="6000" dir="5400000" sy="-100000" algn="bl" rotWithShape="0"/>
          </a:effectLst>
        </p:spPr>
      </p:pic>
      <p:sp>
        <p:nvSpPr>
          <p:cNvPr id="21" name="Date Placeholder 20"/>
          <p:cNvSpPr>
            <a:spLocks noGrp="1"/>
          </p:cNvSpPr>
          <p:nvPr>
            <p:ph type="dt" sz="half" idx="14"/>
          </p:nvPr>
        </p:nvSpPr>
        <p:spPr/>
        <p:txBody>
          <a:bodyPr/>
          <a:lstStyle/>
          <a:p>
            <a:endParaRPr lang="en-US"/>
          </a:p>
        </p:txBody>
      </p:sp>
      <p:sp>
        <p:nvSpPr>
          <p:cNvPr id="22" name="Footer Placeholder 21"/>
          <p:cNvSpPr>
            <a:spLocks noGrp="1"/>
          </p:cNvSpPr>
          <p:nvPr>
            <p:ph type="ftr" sz="quarter" idx="15"/>
          </p:nvPr>
        </p:nvSpPr>
        <p:spPr/>
        <p:txBody>
          <a:bodyPr/>
          <a:lstStyle/>
          <a:p>
            <a:endParaRPr lang="en-US"/>
          </a:p>
        </p:txBody>
      </p:sp>
      <p:sp>
        <p:nvSpPr>
          <p:cNvPr id="23" name="Slide Number Placeholder 22"/>
          <p:cNvSpPr>
            <a:spLocks noGrp="1"/>
          </p:cNvSpPr>
          <p:nvPr>
            <p:ph type="sldNum" sz="quarter" idx="16"/>
          </p:nvPr>
        </p:nvSpPr>
        <p:spPr/>
        <p:txBody>
          <a:bodyPr/>
          <a:lstStyle/>
          <a:p>
            <a:fld id="{5F3E29E4-0979-4FCA-B4C5-5FC6044C982A}" type="slidenum">
              <a:rPr lang="en-US" smtClean="0"/>
              <a:t>‹#›</a:t>
            </a:fld>
            <a:endParaRPr lang="en-US"/>
          </a:p>
        </p:txBody>
      </p:sp>
      <p:sp>
        <p:nvSpPr>
          <p:cNvPr id="2" name="Title 1"/>
          <p:cNvSpPr>
            <a:spLocks noGrp="1"/>
          </p:cNvSpPr>
          <p:nvPr>
            <p:ph type="title" hasCustomPrompt="1"/>
          </p:nvPr>
        </p:nvSpPr>
        <p:spPr/>
        <p:txBody>
          <a:bodyPr/>
          <a:lstStyle>
            <a:lvl1pPr>
              <a:defRPr/>
            </a:lvl1pPr>
          </a:lstStyle>
          <a:p>
            <a:r>
              <a:rPr lang="en-US"/>
              <a:t>Click to add slide title</a:t>
            </a:r>
          </a:p>
        </p:txBody>
      </p:sp>
      <p:sp>
        <p:nvSpPr>
          <p:cNvPr id="7" name="Subtitle 2"/>
          <p:cNvSpPr>
            <a:spLocks noGrp="1"/>
          </p:cNvSpPr>
          <p:nvPr>
            <p:ph type="subTitle" idx="13" hasCustomPrompt="1"/>
          </p:nvPr>
        </p:nvSpPr>
        <p:spPr>
          <a:xfrm>
            <a:off x="1075061" y="964671"/>
            <a:ext cx="7910158" cy="490042"/>
          </a:xfrm>
        </p:spPr>
        <p:txBody>
          <a:bodyPr wrap="none"/>
          <a:lstStyle>
            <a:lvl1pPr marL="0" indent="0" algn="l">
              <a:spcBef>
                <a:spcPts val="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sp>
        <p:nvSpPr>
          <p:cNvPr id="3" name="Content Placeholder 2"/>
          <p:cNvSpPr>
            <a:spLocks noGrp="1"/>
          </p:cNvSpPr>
          <p:nvPr>
            <p:ph idx="1" hasCustomPrompt="1"/>
          </p:nvPr>
        </p:nvSpPr>
        <p:spPr>
          <a:xfrm>
            <a:off x="1075061" y="1852623"/>
            <a:ext cx="5241071" cy="3658714"/>
          </a:xfrm>
        </p:spPr>
        <p:txBody>
          <a:bodyPr anchor="ctr"/>
          <a:lstStyle>
            <a:lvl1pPr>
              <a:defRPr sz="1600"/>
            </a:lvl1pPr>
            <a:lvl2pPr>
              <a:defRPr sz="1600"/>
            </a:lvl2pPr>
            <a:lvl3pPr>
              <a:defRPr sz="1600"/>
            </a:lvl3pPr>
            <a:lvl4pPr>
              <a:defRPr sz="1600"/>
            </a:lvl4pPr>
            <a:lvl5pPr>
              <a:defRPr sz="1600"/>
            </a:lvl5pPr>
          </a:lstStyle>
          <a:p>
            <a:pPr lvl="0"/>
            <a:r>
              <a:rPr lang="en-US"/>
              <a:t>Click to add text</a:t>
            </a:r>
          </a:p>
          <a:p>
            <a:pPr lvl="1"/>
            <a:r>
              <a:rPr lang="en-US"/>
              <a:t>Second level</a:t>
            </a:r>
          </a:p>
          <a:p>
            <a:pPr lvl="2"/>
            <a:r>
              <a:rPr lang="en-US"/>
              <a:t>Third level</a:t>
            </a:r>
          </a:p>
          <a:p>
            <a:pPr lvl="3"/>
            <a:r>
              <a:rPr lang="en-US"/>
              <a:t>Fourth level</a:t>
            </a:r>
          </a:p>
          <a:p>
            <a:pPr lvl="4"/>
            <a:r>
              <a:rPr lang="en-US"/>
              <a:t>Fifth level</a:t>
            </a:r>
          </a:p>
        </p:txBody>
      </p:sp>
      <p:sp>
        <p:nvSpPr>
          <p:cNvPr id="5" name="Picture Placeholder 4"/>
          <p:cNvSpPr>
            <a:spLocks noGrp="1"/>
          </p:cNvSpPr>
          <p:nvPr>
            <p:ph type="pic" sz="quarter" idx="17" hasCustomPrompt="1"/>
          </p:nvPr>
        </p:nvSpPr>
        <p:spPr>
          <a:xfrm>
            <a:off x="6923531" y="1784822"/>
            <a:ext cx="2006654" cy="4104000"/>
          </a:xfrm>
          <a:solidFill>
            <a:srgbClr val="D9DADB"/>
          </a:solidFill>
        </p:spPr>
        <p:txBody>
          <a:bodyPr/>
          <a:lstStyle>
            <a:lvl1pPr marL="0" indent="0">
              <a:buNone/>
              <a:defRPr/>
            </a:lvl1pPr>
          </a:lstStyle>
          <a:p>
            <a:r>
              <a:rPr lang="en-US"/>
              <a:t>Insert picture</a:t>
            </a:r>
          </a:p>
        </p:txBody>
      </p:sp>
      <p:sp>
        <p:nvSpPr>
          <p:cNvPr id="12" name="Text Placeholder 4"/>
          <p:cNvSpPr>
            <a:spLocks noGrp="1"/>
          </p:cNvSpPr>
          <p:nvPr>
            <p:ph type="body" sz="quarter" idx="18" hasCustomPrompt="1"/>
          </p:nvPr>
        </p:nvSpPr>
        <p:spPr>
          <a:xfrm>
            <a:off x="1075063" y="6307665"/>
            <a:ext cx="8162717" cy="133200"/>
          </a:xfrm>
        </p:spPr>
        <p:txBody>
          <a:bodyPr lIns="0" tIns="0" rIns="0" bIns="0" anchor="b" anchorCtr="0"/>
          <a:lstStyle>
            <a:lvl1pPr marL="0" indent="0" algn="l">
              <a:lnSpc>
                <a:spcPct val="100000"/>
              </a:lnSpc>
              <a:spcBef>
                <a:spcPts val="0"/>
              </a:spcBef>
              <a:buNone/>
              <a:defRPr sz="800" baseline="0"/>
            </a:lvl1pPr>
            <a:lvl2pPr marL="0" indent="0" algn="l">
              <a:lnSpc>
                <a:spcPct val="100000"/>
              </a:lnSpc>
              <a:spcBef>
                <a:spcPts val="0"/>
              </a:spcBef>
              <a:buNone/>
              <a:defRPr sz="800"/>
            </a:lvl2pPr>
            <a:lvl3pPr marL="0" indent="0" algn="l">
              <a:lnSpc>
                <a:spcPct val="100000"/>
              </a:lnSpc>
              <a:spcBef>
                <a:spcPts val="0"/>
              </a:spcBef>
              <a:buNone/>
              <a:defRPr sz="800"/>
            </a:lvl3pPr>
            <a:lvl4pPr marL="0" algn="l">
              <a:lnSpc>
                <a:spcPct val="100000"/>
              </a:lnSpc>
              <a:spcBef>
                <a:spcPts val="0"/>
              </a:spcBef>
              <a:buNone/>
              <a:defRPr sz="800"/>
            </a:lvl4pPr>
            <a:lvl5pPr marL="0" indent="0" algn="l">
              <a:lnSpc>
                <a:spcPct val="100000"/>
              </a:lnSpc>
              <a:spcBef>
                <a:spcPts val="0"/>
              </a:spcBef>
              <a:buNone/>
              <a:defRPr sz="800"/>
            </a:lvl5pPr>
          </a:lstStyle>
          <a:p>
            <a:pPr lvl="0"/>
            <a:r>
              <a:rPr lang="en-US"/>
              <a:t>Source line</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90148313"/>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p:cSld name="One contact">
    <p:spTree>
      <p:nvGrpSpPr>
        <p:cNvPr id="1" name=""/>
        <p:cNvGrpSpPr/>
        <p:nvPr/>
      </p:nvGrpSpPr>
      <p:grpSpPr>
        <a:xfrm>
          <a:off x="0" y="0"/>
          <a:ext cx="0" cy="0"/>
          <a:chOff x="0" y="0"/>
          <a:chExt cx="0" cy="0"/>
        </a:xfrm>
      </p:grpSpPr>
      <p:sp>
        <p:nvSpPr>
          <p:cNvPr id="4" name="Picture Placeholder 3"/>
          <p:cNvSpPr>
            <a:spLocks noGrp="1"/>
          </p:cNvSpPr>
          <p:nvPr>
            <p:ph type="pic" sz="quarter" idx="17" hasCustomPrompt="1"/>
          </p:nvPr>
        </p:nvSpPr>
        <p:spPr>
          <a:xfrm>
            <a:off x="1056217" y="1833656"/>
            <a:ext cx="3203503" cy="3935319"/>
          </a:xfrm>
          <a:solidFill>
            <a:srgbClr val="D9DADB"/>
          </a:solidFill>
        </p:spPr>
        <p:txBody>
          <a:bodyPr/>
          <a:lstStyle>
            <a:lvl1pPr marL="0" indent="0">
              <a:buNone/>
              <a:defRPr sz="1400"/>
            </a:lvl1pPr>
          </a:lstStyle>
          <a:p>
            <a:r>
              <a:rPr lang="en-US"/>
              <a:t>Insert picture</a:t>
            </a:r>
          </a:p>
        </p:txBody>
      </p:sp>
      <p:sp>
        <p:nvSpPr>
          <p:cNvPr id="21" name="Date Placeholder 20"/>
          <p:cNvSpPr>
            <a:spLocks noGrp="1"/>
          </p:cNvSpPr>
          <p:nvPr>
            <p:ph type="dt" sz="half" idx="14"/>
          </p:nvPr>
        </p:nvSpPr>
        <p:spPr/>
        <p:txBody>
          <a:bodyPr/>
          <a:lstStyle/>
          <a:p>
            <a:endParaRPr lang="en-US"/>
          </a:p>
        </p:txBody>
      </p:sp>
      <p:sp>
        <p:nvSpPr>
          <p:cNvPr id="22" name="Footer Placeholder 21"/>
          <p:cNvSpPr>
            <a:spLocks noGrp="1"/>
          </p:cNvSpPr>
          <p:nvPr>
            <p:ph type="ftr" sz="quarter" idx="15"/>
          </p:nvPr>
        </p:nvSpPr>
        <p:spPr/>
        <p:txBody>
          <a:bodyPr/>
          <a:lstStyle/>
          <a:p>
            <a:endParaRPr lang="en-US"/>
          </a:p>
        </p:txBody>
      </p:sp>
      <p:sp>
        <p:nvSpPr>
          <p:cNvPr id="23" name="Slide Number Placeholder 22"/>
          <p:cNvSpPr>
            <a:spLocks noGrp="1"/>
          </p:cNvSpPr>
          <p:nvPr>
            <p:ph type="sldNum" sz="quarter" idx="16"/>
          </p:nvPr>
        </p:nvSpPr>
        <p:spPr/>
        <p:txBody>
          <a:bodyPr/>
          <a:lstStyle/>
          <a:p>
            <a:fld id="{5F3E29E4-0979-4FCA-B4C5-5FC6044C982A}" type="slidenum">
              <a:rPr lang="en-US" smtClean="0"/>
              <a:t>‹#›</a:t>
            </a:fld>
            <a:endParaRPr lang="en-US"/>
          </a:p>
        </p:txBody>
      </p:sp>
      <p:sp>
        <p:nvSpPr>
          <p:cNvPr id="2" name="Title 1"/>
          <p:cNvSpPr>
            <a:spLocks noGrp="1"/>
          </p:cNvSpPr>
          <p:nvPr>
            <p:ph type="title" hasCustomPrompt="1"/>
          </p:nvPr>
        </p:nvSpPr>
        <p:spPr/>
        <p:txBody>
          <a:bodyPr/>
          <a:lstStyle>
            <a:lvl1pPr>
              <a:defRPr/>
            </a:lvl1pPr>
          </a:lstStyle>
          <a:p>
            <a:r>
              <a:rPr lang="en-US"/>
              <a:t>Click to add contact title</a:t>
            </a:r>
          </a:p>
        </p:txBody>
      </p:sp>
      <p:sp>
        <p:nvSpPr>
          <p:cNvPr id="7" name="Subtitle 2"/>
          <p:cNvSpPr>
            <a:spLocks noGrp="1"/>
          </p:cNvSpPr>
          <p:nvPr>
            <p:ph type="subTitle" idx="13" hasCustomPrompt="1"/>
          </p:nvPr>
        </p:nvSpPr>
        <p:spPr>
          <a:xfrm>
            <a:off x="1075061" y="964671"/>
            <a:ext cx="7910158" cy="490042"/>
          </a:xfrm>
        </p:spPr>
        <p:txBody>
          <a:bodyPr wrap="none"/>
          <a:lstStyle>
            <a:lvl1pPr marL="0" indent="0" algn="l">
              <a:spcBef>
                <a:spcPts val="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grpSp>
        <p:nvGrpSpPr>
          <p:cNvPr id="8" name="Gruppieren 80">
            <a:extLst>
              <a:ext uri="{FF2B5EF4-FFF2-40B4-BE49-F238E27FC236}">
                <a16:creationId xmlns:a16="http://schemas.microsoft.com/office/drawing/2014/main" id="{6B969E7B-9C39-4443-9B02-74C1E7C5CCAC}"/>
              </a:ext>
            </a:extLst>
          </p:cNvPr>
          <p:cNvGrpSpPr/>
          <p:nvPr/>
        </p:nvGrpSpPr>
        <p:grpSpPr>
          <a:xfrm>
            <a:off x="4451001" y="2884199"/>
            <a:ext cx="171180" cy="171180"/>
            <a:chOff x="3392092" y="1841122"/>
            <a:chExt cx="646508" cy="646508"/>
          </a:xfrm>
        </p:grpSpPr>
        <p:sp>
          <p:nvSpPr>
            <p:cNvPr id="9" name="Rechteck 14">
              <a:extLst>
                <a:ext uri="{FF2B5EF4-FFF2-40B4-BE49-F238E27FC236}">
                  <a16:creationId xmlns:a16="http://schemas.microsoft.com/office/drawing/2014/main" id="{D78F58EA-5525-8D43-8295-FEA52ECF6BFA}"/>
                </a:ext>
              </a:extLst>
            </p:cNvPr>
            <p:cNvSpPr>
              <a:spLocks noChangeAspect="1"/>
            </p:cNvSpPr>
            <p:nvPr/>
          </p:nvSpPr>
          <p:spPr bwMode="gray">
            <a:xfrm>
              <a:off x="3392092" y="1841122"/>
              <a:ext cx="646508" cy="646508"/>
            </a:xfrm>
            <a:prstGeom prst="rect">
              <a:avLst/>
            </a:prstGeom>
            <a:solidFill>
              <a:srgbClr val="E55A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pPr>
              <a:endParaRPr lang="en-US" sz="1000">
                <a:solidFill>
                  <a:schemeClr val="tx1"/>
                </a:solidFill>
                <a:latin typeface="Arial" pitchFamily="34" charset="0"/>
                <a:cs typeface="Arial" pitchFamily="34" charset="0"/>
              </a:endParaRPr>
            </a:p>
          </p:txBody>
        </p:sp>
        <p:sp>
          <p:nvSpPr>
            <p:cNvPr id="10" name="Freeform 67">
              <a:extLst>
                <a:ext uri="{FF2B5EF4-FFF2-40B4-BE49-F238E27FC236}">
                  <a16:creationId xmlns:a16="http://schemas.microsoft.com/office/drawing/2014/main" id="{D01A6292-2776-4945-B828-483D79DC4908}"/>
                </a:ext>
              </a:extLst>
            </p:cNvPr>
            <p:cNvSpPr>
              <a:spLocks noChangeAspect="1"/>
            </p:cNvSpPr>
            <p:nvPr/>
          </p:nvSpPr>
          <p:spPr bwMode="auto">
            <a:xfrm>
              <a:off x="3546638" y="1970424"/>
              <a:ext cx="337415" cy="387905"/>
            </a:xfrm>
            <a:custGeom>
              <a:avLst/>
              <a:gdLst>
                <a:gd name="T0" fmla="*/ 573 w 1624"/>
                <a:gd name="T1" fmla="*/ 1257 h 1867"/>
                <a:gd name="T2" fmla="*/ 662 w 1624"/>
                <a:gd name="T3" fmla="*/ 1288 h 1867"/>
                <a:gd name="T4" fmla="*/ 938 w 1624"/>
                <a:gd name="T5" fmla="*/ 1051 h 1867"/>
                <a:gd name="T6" fmla="*/ 1106 w 1624"/>
                <a:gd name="T7" fmla="*/ 731 h 1867"/>
                <a:gd name="T8" fmla="*/ 1059 w 1624"/>
                <a:gd name="T9" fmla="*/ 645 h 1867"/>
                <a:gd name="T10" fmla="*/ 1001 w 1624"/>
                <a:gd name="T11" fmla="*/ 613 h 1867"/>
                <a:gd name="T12" fmla="*/ 924 w 1624"/>
                <a:gd name="T13" fmla="*/ 432 h 1867"/>
                <a:gd name="T14" fmla="*/ 1114 w 1624"/>
                <a:gd name="T15" fmla="*/ 81 h 1867"/>
                <a:gd name="T16" fmla="*/ 1287 w 1624"/>
                <a:gd name="T17" fmla="*/ 35 h 1867"/>
                <a:gd name="T18" fmla="*/ 1350 w 1624"/>
                <a:gd name="T19" fmla="*/ 69 h 1867"/>
                <a:gd name="T20" fmla="*/ 1527 w 1624"/>
                <a:gd name="T21" fmla="*/ 235 h 1867"/>
                <a:gd name="T22" fmla="*/ 1583 w 1624"/>
                <a:gd name="T23" fmla="*/ 555 h 1867"/>
                <a:gd name="T24" fmla="*/ 1172 w 1624"/>
                <a:gd name="T25" fmla="*/ 1253 h 1867"/>
                <a:gd name="T26" fmla="*/ 586 w 1624"/>
                <a:gd name="T27" fmla="*/ 1803 h 1867"/>
                <a:gd name="T28" fmla="*/ 269 w 1624"/>
                <a:gd name="T29" fmla="*/ 1807 h 1867"/>
                <a:gd name="T30" fmla="*/ 33 w 1624"/>
                <a:gd name="T31" fmla="*/ 1602 h 1867"/>
                <a:gd name="T32" fmla="*/ 2 w 1624"/>
                <a:gd name="T33" fmla="*/ 1508 h 1867"/>
                <a:gd name="T34" fmla="*/ 45 w 1624"/>
                <a:gd name="T35" fmla="*/ 1421 h 1867"/>
                <a:gd name="T36" fmla="*/ 346 w 1624"/>
                <a:gd name="T37" fmla="*/ 1158 h 1867"/>
                <a:gd name="T38" fmla="*/ 448 w 1624"/>
                <a:gd name="T39" fmla="*/ 1145 h 1867"/>
                <a:gd name="T40" fmla="*/ 573 w 1624"/>
                <a:gd name="T41" fmla="*/ 1257 h 18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24" h="1867">
                  <a:moveTo>
                    <a:pt x="573" y="1257"/>
                  </a:moveTo>
                  <a:cubicBezTo>
                    <a:pt x="592" y="1282"/>
                    <a:pt x="630" y="1303"/>
                    <a:pt x="662" y="1288"/>
                  </a:cubicBezTo>
                  <a:cubicBezTo>
                    <a:pt x="753" y="1245"/>
                    <a:pt x="854" y="1156"/>
                    <a:pt x="938" y="1051"/>
                  </a:cubicBezTo>
                  <a:cubicBezTo>
                    <a:pt x="1020" y="948"/>
                    <a:pt x="1084" y="831"/>
                    <a:pt x="1106" y="731"/>
                  </a:cubicBezTo>
                  <a:cubicBezTo>
                    <a:pt x="1113" y="696"/>
                    <a:pt x="1089" y="661"/>
                    <a:pt x="1059" y="645"/>
                  </a:cubicBezTo>
                  <a:cubicBezTo>
                    <a:pt x="1001" y="613"/>
                    <a:pt x="1001" y="613"/>
                    <a:pt x="1001" y="613"/>
                  </a:cubicBezTo>
                  <a:cubicBezTo>
                    <a:pt x="942" y="580"/>
                    <a:pt x="888" y="499"/>
                    <a:pt x="924" y="432"/>
                  </a:cubicBezTo>
                  <a:cubicBezTo>
                    <a:pt x="1114" y="81"/>
                    <a:pt x="1114" y="81"/>
                    <a:pt x="1114" y="81"/>
                  </a:cubicBezTo>
                  <a:cubicBezTo>
                    <a:pt x="1150" y="16"/>
                    <a:pt x="1224" y="0"/>
                    <a:pt x="1287" y="35"/>
                  </a:cubicBezTo>
                  <a:cubicBezTo>
                    <a:pt x="1350" y="69"/>
                    <a:pt x="1350" y="69"/>
                    <a:pt x="1350" y="69"/>
                  </a:cubicBezTo>
                  <a:cubicBezTo>
                    <a:pt x="1415" y="105"/>
                    <a:pt x="1479" y="165"/>
                    <a:pt x="1527" y="235"/>
                  </a:cubicBezTo>
                  <a:cubicBezTo>
                    <a:pt x="1593" y="332"/>
                    <a:pt x="1624" y="442"/>
                    <a:pt x="1583" y="555"/>
                  </a:cubicBezTo>
                  <a:cubicBezTo>
                    <a:pt x="1500" y="781"/>
                    <a:pt x="1351" y="1030"/>
                    <a:pt x="1172" y="1253"/>
                  </a:cubicBezTo>
                  <a:cubicBezTo>
                    <a:pt x="994" y="1477"/>
                    <a:pt x="786" y="1676"/>
                    <a:pt x="586" y="1803"/>
                  </a:cubicBezTo>
                  <a:cubicBezTo>
                    <a:pt x="486" y="1867"/>
                    <a:pt x="375" y="1856"/>
                    <a:pt x="269" y="1807"/>
                  </a:cubicBezTo>
                  <a:cubicBezTo>
                    <a:pt x="157" y="1755"/>
                    <a:pt x="106" y="1695"/>
                    <a:pt x="33" y="1602"/>
                  </a:cubicBezTo>
                  <a:cubicBezTo>
                    <a:pt x="11" y="1573"/>
                    <a:pt x="0" y="1540"/>
                    <a:pt x="2" y="1508"/>
                  </a:cubicBezTo>
                  <a:cubicBezTo>
                    <a:pt x="4" y="1475"/>
                    <a:pt x="18" y="1444"/>
                    <a:pt x="45" y="1421"/>
                  </a:cubicBezTo>
                  <a:cubicBezTo>
                    <a:pt x="70" y="1399"/>
                    <a:pt x="346" y="1158"/>
                    <a:pt x="346" y="1158"/>
                  </a:cubicBezTo>
                  <a:cubicBezTo>
                    <a:pt x="376" y="1134"/>
                    <a:pt x="413" y="1133"/>
                    <a:pt x="448" y="1145"/>
                  </a:cubicBezTo>
                  <a:cubicBezTo>
                    <a:pt x="510" y="1166"/>
                    <a:pt x="536" y="1210"/>
                    <a:pt x="573" y="1257"/>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351"/>
            </a:p>
          </p:txBody>
        </p:sp>
      </p:grpSp>
      <p:grpSp>
        <p:nvGrpSpPr>
          <p:cNvPr id="11" name="Group 3">
            <a:extLst>
              <a:ext uri="{FF2B5EF4-FFF2-40B4-BE49-F238E27FC236}">
                <a16:creationId xmlns:a16="http://schemas.microsoft.com/office/drawing/2014/main" id="{DED6A25A-5DE2-1441-8BA2-C68D3B4F9209}"/>
              </a:ext>
            </a:extLst>
          </p:cNvPr>
          <p:cNvGrpSpPr>
            <a:grpSpLocks noChangeAspect="1"/>
          </p:cNvGrpSpPr>
          <p:nvPr>
            <p:custDataLst>
              <p:tags r:id="rId1"/>
            </p:custDataLst>
          </p:nvPr>
        </p:nvGrpSpPr>
        <p:grpSpPr>
          <a:xfrm>
            <a:off x="4451002" y="3169087"/>
            <a:ext cx="171180" cy="171180"/>
            <a:chOff x="328396" y="5313940"/>
            <a:chExt cx="720000" cy="720000"/>
          </a:xfrm>
        </p:grpSpPr>
        <p:sp>
          <p:nvSpPr>
            <p:cNvPr id="12" name="Rectangle 4">
              <a:extLst>
                <a:ext uri="{FF2B5EF4-FFF2-40B4-BE49-F238E27FC236}">
                  <a16:creationId xmlns:a16="http://schemas.microsoft.com/office/drawing/2014/main" id="{5F49E67F-D4FA-9D48-96BC-59AE946ECD15}"/>
                </a:ext>
              </a:extLst>
            </p:cNvPr>
            <p:cNvSpPr/>
            <p:nvPr/>
          </p:nvSpPr>
          <p:spPr bwMode="gray">
            <a:xfrm>
              <a:off x="328396" y="5313940"/>
              <a:ext cx="720000" cy="720000"/>
            </a:xfrm>
            <a:prstGeom prst="rect">
              <a:avLst/>
            </a:prstGeom>
            <a:solidFill>
              <a:srgbClr val="E55A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pPr>
              <a:endParaRPr lang="en-US" sz="1000">
                <a:solidFill>
                  <a:schemeClr val="tx1"/>
                </a:solidFill>
                <a:latin typeface="Arial" pitchFamily="34" charset="0"/>
                <a:cs typeface="Arial" pitchFamily="34" charset="0"/>
              </a:endParaRPr>
            </a:p>
          </p:txBody>
        </p:sp>
        <p:sp>
          <p:nvSpPr>
            <p:cNvPr id="13" name="Freeform 76">
              <a:extLst>
                <a:ext uri="{FF2B5EF4-FFF2-40B4-BE49-F238E27FC236}">
                  <a16:creationId xmlns:a16="http://schemas.microsoft.com/office/drawing/2014/main" id="{187E70E6-AF3F-2549-908E-DF4BA61040AA}"/>
                </a:ext>
              </a:extLst>
            </p:cNvPr>
            <p:cNvSpPr>
              <a:spLocks noChangeAspect="1" noEditPoints="1"/>
            </p:cNvSpPr>
            <p:nvPr/>
          </p:nvSpPr>
          <p:spPr bwMode="auto">
            <a:xfrm>
              <a:off x="456202" y="5509222"/>
              <a:ext cx="504000" cy="329436"/>
            </a:xfrm>
            <a:custGeom>
              <a:avLst/>
              <a:gdLst>
                <a:gd name="T0" fmla="*/ 0 w 2080"/>
                <a:gd name="T1" fmla="*/ 65 h 1360"/>
                <a:gd name="T2" fmla="*/ 0 w 2080"/>
                <a:gd name="T3" fmla="*/ 0 h 1360"/>
                <a:gd name="T4" fmla="*/ 2080 w 2080"/>
                <a:gd name="T5" fmla="*/ 0 h 1360"/>
                <a:gd name="T6" fmla="*/ 2080 w 2080"/>
                <a:gd name="T7" fmla="*/ 65 h 1360"/>
                <a:gd name="T8" fmla="*/ 1089 w 2080"/>
                <a:gd name="T9" fmla="*/ 862 h 1360"/>
                <a:gd name="T10" fmla="*/ 991 w 2080"/>
                <a:gd name="T11" fmla="*/ 862 h 1360"/>
                <a:gd name="T12" fmla="*/ 0 w 2080"/>
                <a:gd name="T13" fmla="*/ 65 h 1360"/>
                <a:gd name="T14" fmla="*/ 1139 w 2080"/>
                <a:gd name="T15" fmla="*/ 924 h 1360"/>
                <a:gd name="T16" fmla="*/ 1282 w 2080"/>
                <a:gd name="T17" fmla="*/ 810 h 1360"/>
                <a:gd name="T18" fmla="*/ 2076 w 2080"/>
                <a:gd name="T19" fmla="*/ 1360 h 1360"/>
                <a:gd name="T20" fmla="*/ 4 w 2080"/>
                <a:gd name="T21" fmla="*/ 1360 h 1360"/>
                <a:gd name="T22" fmla="*/ 798 w 2080"/>
                <a:gd name="T23" fmla="*/ 810 h 1360"/>
                <a:gd name="T24" fmla="*/ 941 w 2080"/>
                <a:gd name="T25" fmla="*/ 924 h 1360"/>
                <a:gd name="T26" fmla="*/ 1139 w 2080"/>
                <a:gd name="T27" fmla="*/ 924 h 1360"/>
                <a:gd name="T28" fmla="*/ 2 w 2080"/>
                <a:gd name="T29" fmla="*/ 137 h 1360"/>
                <a:gd name="T30" fmla="*/ 42 w 2080"/>
                <a:gd name="T31" fmla="*/ 201 h 1360"/>
                <a:gd name="T32" fmla="*/ 734 w 2080"/>
                <a:gd name="T33" fmla="*/ 758 h 1360"/>
                <a:gd name="T34" fmla="*/ 0 w 2080"/>
                <a:gd name="T35" fmla="*/ 1266 h 1360"/>
                <a:gd name="T36" fmla="*/ 0 w 2080"/>
                <a:gd name="T37" fmla="*/ 135 h 1360"/>
                <a:gd name="T38" fmla="*/ 2 w 2080"/>
                <a:gd name="T39" fmla="*/ 137 h 1360"/>
                <a:gd name="T40" fmla="*/ 2080 w 2080"/>
                <a:gd name="T41" fmla="*/ 136 h 1360"/>
                <a:gd name="T42" fmla="*/ 2080 w 2080"/>
                <a:gd name="T43" fmla="*/ 1265 h 1360"/>
                <a:gd name="T44" fmla="*/ 1346 w 2080"/>
                <a:gd name="T45" fmla="*/ 758 h 1360"/>
                <a:gd name="T46" fmla="*/ 2038 w 2080"/>
                <a:gd name="T47" fmla="*/ 201 h 1360"/>
                <a:gd name="T48" fmla="*/ 2080 w 2080"/>
                <a:gd name="T49" fmla="*/ 136 h 1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080" h="1360">
                  <a:moveTo>
                    <a:pt x="0" y="65"/>
                  </a:moveTo>
                  <a:cubicBezTo>
                    <a:pt x="0" y="0"/>
                    <a:pt x="0" y="0"/>
                    <a:pt x="0" y="0"/>
                  </a:cubicBezTo>
                  <a:cubicBezTo>
                    <a:pt x="2080" y="0"/>
                    <a:pt x="2080" y="0"/>
                    <a:pt x="2080" y="0"/>
                  </a:cubicBezTo>
                  <a:cubicBezTo>
                    <a:pt x="2080" y="65"/>
                    <a:pt x="2080" y="65"/>
                    <a:pt x="2080" y="65"/>
                  </a:cubicBezTo>
                  <a:cubicBezTo>
                    <a:pt x="1089" y="862"/>
                    <a:pt x="1089" y="862"/>
                    <a:pt x="1089" y="862"/>
                  </a:cubicBezTo>
                  <a:cubicBezTo>
                    <a:pt x="1060" y="886"/>
                    <a:pt x="1020" y="886"/>
                    <a:pt x="991" y="862"/>
                  </a:cubicBezTo>
                  <a:lnTo>
                    <a:pt x="0" y="65"/>
                  </a:lnTo>
                  <a:close/>
                  <a:moveTo>
                    <a:pt x="1139" y="924"/>
                  </a:moveTo>
                  <a:cubicBezTo>
                    <a:pt x="1282" y="810"/>
                    <a:pt x="1282" y="810"/>
                    <a:pt x="1282" y="810"/>
                  </a:cubicBezTo>
                  <a:cubicBezTo>
                    <a:pt x="2076" y="1360"/>
                    <a:pt x="2076" y="1360"/>
                    <a:pt x="2076" y="1360"/>
                  </a:cubicBezTo>
                  <a:cubicBezTo>
                    <a:pt x="4" y="1360"/>
                    <a:pt x="4" y="1360"/>
                    <a:pt x="4" y="1360"/>
                  </a:cubicBezTo>
                  <a:cubicBezTo>
                    <a:pt x="798" y="810"/>
                    <a:pt x="798" y="810"/>
                    <a:pt x="798" y="810"/>
                  </a:cubicBezTo>
                  <a:cubicBezTo>
                    <a:pt x="941" y="924"/>
                    <a:pt x="941" y="924"/>
                    <a:pt x="941" y="924"/>
                  </a:cubicBezTo>
                  <a:cubicBezTo>
                    <a:pt x="1000" y="972"/>
                    <a:pt x="1080" y="972"/>
                    <a:pt x="1139" y="924"/>
                  </a:cubicBezTo>
                  <a:close/>
                  <a:moveTo>
                    <a:pt x="2" y="137"/>
                  </a:moveTo>
                  <a:cubicBezTo>
                    <a:pt x="8" y="163"/>
                    <a:pt x="22" y="185"/>
                    <a:pt x="42" y="201"/>
                  </a:cubicBezTo>
                  <a:cubicBezTo>
                    <a:pt x="734" y="758"/>
                    <a:pt x="734" y="758"/>
                    <a:pt x="734" y="758"/>
                  </a:cubicBezTo>
                  <a:cubicBezTo>
                    <a:pt x="0" y="1266"/>
                    <a:pt x="0" y="1266"/>
                    <a:pt x="0" y="1266"/>
                  </a:cubicBezTo>
                  <a:cubicBezTo>
                    <a:pt x="0" y="135"/>
                    <a:pt x="0" y="135"/>
                    <a:pt x="0" y="135"/>
                  </a:cubicBezTo>
                  <a:lnTo>
                    <a:pt x="2" y="137"/>
                  </a:lnTo>
                  <a:close/>
                  <a:moveTo>
                    <a:pt x="2080" y="136"/>
                  </a:moveTo>
                  <a:cubicBezTo>
                    <a:pt x="2080" y="1265"/>
                    <a:pt x="2080" y="1265"/>
                    <a:pt x="2080" y="1265"/>
                  </a:cubicBezTo>
                  <a:cubicBezTo>
                    <a:pt x="1346" y="758"/>
                    <a:pt x="1346" y="758"/>
                    <a:pt x="1346" y="758"/>
                  </a:cubicBezTo>
                  <a:cubicBezTo>
                    <a:pt x="2038" y="201"/>
                    <a:pt x="2038" y="201"/>
                    <a:pt x="2038" y="201"/>
                  </a:cubicBezTo>
                  <a:cubicBezTo>
                    <a:pt x="2060" y="182"/>
                    <a:pt x="2072" y="162"/>
                    <a:pt x="2080" y="13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000"/>
            </a:p>
          </p:txBody>
        </p:sp>
      </p:grpSp>
      <p:cxnSp>
        <p:nvCxnSpPr>
          <p:cNvPr id="20" name="Straight Connector 19"/>
          <p:cNvCxnSpPr/>
          <p:nvPr/>
        </p:nvCxnSpPr>
        <p:spPr>
          <a:xfrm>
            <a:off x="4451001" y="3494093"/>
            <a:ext cx="2463190" cy="0"/>
          </a:xfrm>
          <a:prstGeom prst="line">
            <a:avLst/>
          </a:prstGeom>
          <a:ln w="6350">
            <a:solidFill>
              <a:schemeClr val="tx2"/>
            </a:solidFill>
            <a:prstDash val="dash"/>
          </a:ln>
        </p:spPr>
        <p:style>
          <a:lnRef idx="1">
            <a:schemeClr val="accent1"/>
          </a:lnRef>
          <a:fillRef idx="0">
            <a:schemeClr val="accent1"/>
          </a:fillRef>
          <a:effectRef idx="0">
            <a:schemeClr val="accent1"/>
          </a:effectRef>
          <a:fontRef idx="minor">
            <a:schemeClr val="tx1"/>
          </a:fontRef>
        </p:style>
      </p:cxnSp>
      <p:sp>
        <p:nvSpPr>
          <p:cNvPr id="6" name="Text Placeholder 5"/>
          <p:cNvSpPr>
            <a:spLocks noGrp="1"/>
          </p:cNvSpPr>
          <p:nvPr>
            <p:ph type="body" sz="quarter" idx="19" hasCustomPrompt="1"/>
          </p:nvPr>
        </p:nvSpPr>
        <p:spPr>
          <a:xfrm>
            <a:off x="4451001" y="1824401"/>
            <a:ext cx="2463190" cy="192360"/>
          </a:xfrm>
        </p:spPr>
        <p:txBody>
          <a:bodyPr lIns="0" tIns="0" rIns="0" bIns="0" anchor="ctr" anchorCtr="0"/>
          <a:lstStyle>
            <a:lvl1pPr marL="0" indent="0" algn="l">
              <a:lnSpc>
                <a:spcPct val="100000"/>
              </a:lnSpc>
              <a:buNone/>
              <a:defRPr sz="100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Country</a:t>
            </a:r>
          </a:p>
        </p:txBody>
      </p:sp>
      <p:sp>
        <p:nvSpPr>
          <p:cNvPr id="26" name="Text Placeholder 5"/>
          <p:cNvSpPr>
            <a:spLocks noGrp="1"/>
          </p:cNvSpPr>
          <p:nvPr>
            <p:ph type="body" sz="quarter" idx="20" hasCustomPrompt="1"/>
          </p:nvPr>
        </p:nvSpPr>
        <p:spPr>
          <a:xfrm>
            <a:off x="4451001" y="2036217"/>
            <a:ext cx="2463190" cy="266182"/>
          </a:xfrm>
        </p:spPr>
        <p:txBody>
          <a:bodyPr lIns="0" tIns="0" rIns="0" bIns="0" anchor="b" anchorCtr="0"/>
          <a:lstStyle>
            <a:lvl1pPr marL="0" indent="0" algn="l">
              <a:lnSpc>
                <a:spcPct val="100000"/>
              </a:lnSpc>
              <a:buNone/>
              <a:defRPr sz="1400" b="1" baseline="0">
                <a:solidFill>
                  <a:schemeClr val="tx2"/>
                </a:solidFill>
              </a:defRPr>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Name, Surname</a:t>
            </a:r>
          </a:p>
        </p:txBody>
      </p:sp>
      <p:sp>
        <p:nvSpPr>
          <p:cNvPr id="27" name="Text Placeholder 5"/>
          <p:cNvSpPr>
            <a:spLocks noGrp="1"/>
          </p:cNvSpPr>
          <p:nvPr>
            <p:ph type="body" sz="quarter" idx="21" hasCustomPrompt="1"/>
          </p:nvPr>
        </p:nvSpPr>
        <p:spPr>
          <a:xfrm>
            <a:off x="4451001" y="2332792"/>
            <a:ext cx="2463190"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Job Position</a:t>
            </a:r>
          </a:p>
        </p:txBody>
      </p:sp>
      <p:sp>
        <p:nvSpPr>
          <p:cNvPr id="28" name="Text Placeholder 5"/>
          <p:cNvSpPr>
            <a:spLocks noGrp="1"/>
          </p:cNvSpPr>
          <p:nvPr>
            <p:ph type="body" sz="quarter" idx="22" hasCustomPrompt="1"/>
          </p:nvPr>
        </p:nvSpPr>
        <p:spPr>
          <a:xfrm>
            <a:off x="4695884" y="2861468"/>
            <a:ext cx="2218307"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Phone number</a:t>
            </a:r>
          </a:p>
        </p:txBody>
      </p:sp>
      <p:sp>
        <p:nvSpPr>
          <p:cNvPr id="29" name="Text Placeholder 5"/>
          <p:cNvSpPr>
            <a:spLocks noGrp="1"/>
          </p:cNvSpPr>
          <p:nvPr>
            <p:ph type="body" sz="quarter" idx="23" hasCustomPrompt="1"/>
          </p:nvPr>
        </p:nvSpPr>
        <p:spPr>
          <a:xfrm>
            <a:off x="4695884" y="3144275"/>
            <a:ext cx="2218307"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Email address</a:t>
            </a:r>
          </a:p>
        </p:txBody>
      </p:sp>
      <p:sp>
        <p:nvSpPr>
          <p:cNvPr id="35" name="Text Placeholder 34"/>
          <p:cNvSpPr>
            <a:spLocks noGrp="1"/>
          </p:cNvSpPr>
          <p:nvPr>
            <p:ph type="body" sz="quarter" idx="24" hasCustomPrompt="1"/>
          </p:nvPr>
        </p:nvSpPr>
        <p:spPr>
          <a:xfrm>
            <a:off x="4492626" y="3681413"/>
            <a:ext cx="4492594" cy="2087562"/>
          </a:xfrm>
        </p:spPr>
        <p:txBody>
          <a:bodyPr/>
          <a:lstStyle>
            <a:lvl1pPr>
              <a:defRPr sz="1400" baseline="0"/>
            </a:lvl1pPr>
            <a:lvl2pPr>
              <a:defRPr sz="1400"/>
            </a:lvl2pPr>
            <a:lvl3pPr>
              <a:defRPr sz="1400"/>
            </a:lvl3pPr>
            <a:lvl4pPr>
              <a:defRPr sz="1400"/>
            </a:lvl4pPr>
            <a:lvl5pPr>
              <a:defRPr sz="1400"/>
            </a:lvl5pPr>
          </a:lstStyle>
          <a:p>
            <a:pPr lvl="0"/>
            <a:r>
              <a:rPr lang="en-US"/>
              <a:t>Additional information (if needed)</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35102644"/>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p:cSld name="Two contacts">
    <p:spTree>
      <p:nvGrpSpPr>
        <p:cNvPr id="1" name=""/>
        <p:cNvGrpSpPr/>
        <p:nvPr/>
      </p:nvGrpSpPr>
      <p:grpSpPr>
        <a:xfrm>
          <a:off x="0" y="0"/>
          <a:ext cx="0" cy="0"/>
          <a:chOff x="0" y="0"/>
          <a:chExt cx="0" cy="0"/>
        </a:xfrm>
      </p:grpSpPr>
      <p:sp>
        <p:nvSpPr>
          <p:cNvPr id="21" name="Date Placeholder 20"/>
          <p:cNvSpPr>
            <a:spLocks noGrp="1"/>
          </p:cNvSpPr>
          <p:nvPr>
            <p:ph type="dt" sz="half" idx="14"/>
          </p:nvPr>
        </p:nvSpPr>
        <p:spPr/>
        <p:txBody>
          <a:bodyPr/>
          <a:lstStyle/>
          <a:p>
            <a:endParaRPr lang="en-US"/>
          </a:p>
        </p:txBody>
      </p:sp>
      <p:sp>
        <p:nvSpPr>
          <p:cNvPr id="22" name="Footer Placeholder 21"/>
          <p:cNvSpPr>
            <a:spLocks noGrp="1"/>
          </p:cNvSpPr>
          <p:nvPr>
            <p:ph type="ftr" sz="quarter" idx="15"/>
          </p:nvPr>
        </p:nvSpPr>
        <p:spPr/>
        <p:txBody>
          <a:bodyPr/>
          <a:lstStyle/>
          <a:p>
            <a:endParaRPr lang="en-US"/>
          </a:p>
        </p:txBody>
      </p:sp>
      <p:sp>
        <p:nvSpPr>
          <p:cNvPr id="23" name="Slide Number Placeholder 22"/>
          <p:cNvSpPr>
            <a:spLocks noGrp="1"/>
          </p:cNvSpPr>
          <p:nvPr>
            <p:ph type="sldNum" sz="quarter" idx="16"/>
          </p:nvPr>
        </p:nvSpPr>
        <p:spPr/>
        <p:txBody>
          <a:bodyPr/>
          <a:lstStyle/>
          <a:p>
            <a:fld id="{5F3E29E4-0979-4FCA-B4C5-5FC6044C982A}" type="slidenum">
              <a:rPr lang="en-US" smtClean="0"/>
              <a:t>‹#›</a:t>
            </a:fld>
            <a:endParaRPr lang="en-US"/>
          </a:p>
        </p:txBody>
      </p:sp>
      <p:sp>
        <p:nvSpPr>
          <p:cNvPr id="2" name="Title 1"/>
          <p:cNvSpPr>
            <a:spLocks noGrp="1"/>
          </p:cNvSpPr>
          <p:nvPr>
            <p:ph type="title" hasCustomPrompt="1"/>
          </p:nvPr>
        </p:nvSpPr>
        <p:spPr/>
        <p:txBody>
          <a:bodyPr/>
          <a:lstStyle>
            <a:lvl1pPr>
              <a:defRPr/>
            </a:lvl1pPr>
          </a:lstStyle>
          <a:p>
            <a:r>
              <a:rPr lang="en-US"/>
              <a:t>Click to add contact title</a:t>
            </a:r>
          </a:p>
        </p:txBody>
      </p:sp>
      <p:sp>
        <p:nvSpPr>
          <p:cNvPr id="7" name="Subtitle 2"/>
          <p:cNvSpPr>
            <a:spLocks noGrp="1"/>
          </p:cNvSpPr>
          <p:nvPr>
            <p:ph type="subTitle" idx="13" hasCustomPrompt="1"/>
          </p:nvPr>
        </p:nvSpPr>
        <p:spPr>
          <a:xfrm>
            <a:off x="1075061" y="964671"/>
            <a:ext cx="7910158" cy="490042"/>
          </a:xfrm>
        </p:spPr>
        <p:txBody>
          <a:bodyPr wrap="none"/>
          <a:lstStyle>
            <a:lvl1pPr marL="0" indent="0" algn="l">
              <a:spcBef>
                <a:spcPts val="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grpSp>
        <p:nvGrpSpPr>
          <p:cNvPr id="8" name="Gruppieren 80">
            <a:extLst>
              <a:ext uri="{FF2B5EF4-FFF2-40B4-BE49-F238E27FC236}">
                <a16:creationId xmlns:a16="http://schemas.microsoft.com/office/drawing/2014/main" id="{6B969E7B-9C39-4443-9B02-74C1E7C5CCAC}"/>
              </a:ext>
            </a:extLst>
          </p:cNvPr>
          <p:cNvGrpSpPr/>
          <p:nvPr/>
        </p:nvGrpSpPr>
        <p:grpSpPr>
          <a:xfrm>
            <a:off x="3770065" y="2868319"/>
            <a:ext cx="171180" cy="171180"/>
            <a:chOff x="3392092" y="1841122"/>
            <a:chExt cx="646508" cy="646508"/>
          </a:xfrm>
        </p:grpSpPr>
        <p:sp>
          <p:nvSpPr>
            <p:cNvPr id="9" name="Rechteck 14">
              <a:extLst>
                <a:ext uri="{FF2B5EF4-FFF2-40B4-BE49-F238E27FC236}">
                  <a16:creationId xmlns:a16="http://schemas.microsoft.com/office/drawing/2014/main" id="{D78F58EA-5525-8D43-8295-FEA52ECF6BFA}"/>
                </a:ext>
              </a:extLst>
            </p:cNvPr>
            <p:cNvSpPr>
              <a:spLocks noChangeAspect="1"/>
            </p:cNvSpPr>
            <p:nvPr/>
          </p:nvSpPr>
          <p:spPr bwMode="gray">
            <a:xfrm>
              <a:off x="3392092" y="1841122"/>
              <a:ext cx="646508" cy="646508"/>
            </a:xfrm>
            <a:prstGeom prst="rect">
              <a:avLst/>
            </a:prstGeom>
            <a:solidFill>
              <a:srgbClr val="E55A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pPr>
              <a:endParaRPr lang="en-US" sz="1000">
                <a:solidFill>
                  <a:schemeClr val="tx1"/>
                </a:solidFill>
                <a:latin typeface="Arial" pitchFamily="34" charset="0"/>
                <a:cs typeface="Arial" pitchFamily="34" charset="0"/>
              </a:endParaRPr>
            </a:p>
          </p:txBody>
        </p:sp>
        <p:sp>
          <p:nvSpPr>
            <p:cNvPr id="10" name="Freeform 67">
              <a:extLst>
                <a:ext uri="{FF2B5EF4-FFF2-40B4-BE49-F238E27FC236}">
                  <a16:creationId xmlns:a16="http://schemas.microsoft.com/office/drawing/2014/main" id="{D01A6292-2776-4945-B828-483D79DC4908}"/>
                </a:ext>
              </a:extLst>
            </p:cNvPr>
            <p:cNvSpPr>
              <a:spLocks noChangeAspect="1"/>
            </p:cNvSpPr>
            <p:nvPr/>
          </p:nvSpPr>
          <p:spPr bwMode="auto">
            <a:xfrm>
              <a:off x="3546638" y="1970424"/>
              <a:ext cx="337415" cy="387905"/>
            </a:xfrm>
            <a:custGeom>
              <a:avLst/>
              <a:gdLst>
                <a:gd name="T0" fmla="*/ 573 w 1624"/>
                <a:gd name="T1" fmla="*/ 1257 h 1867"/>
                <a:gd name="T2" fmla="*/ 662 w 1624"/>
                <a:gd name="T3" fmla="*/ 1288 h 1867"/>
                <a:gd name="T4" fmla="*/ 938 w 1624"/>
                <a:gd name="T5" fmla="*/ 1051 h 1867"/>
                <a:gd name="T6" fmla="*/ 1106 w 1624"/>
                <a:gd name="T7" fmla="*/ 731 h 1867"/>
                <a:gd name="T8" fmla="*/ 1059 w 1624"/>
                <a:gd name="T9" fmla="*/ 645 h 1867"/>
                <a:gd name="T10" fmla="*/ 1001 w 1624"/>
                <a:gd name="T11" fmla="*/ 613 h 1867"/>
                <a:gd name="T12" fmla="*/ 924 w 1624"/>
                <a:gd name="T13" fmla="*/ 432 h 1867"/>
                <a:gd name="T14" fmla="*/ 1114 w 1624"/>
                <a:gd name="T15" fmla="*/ 81 h 1867"/>
                <a:gd name="T16" fmla="*/ 1287 w 1624"/>
                <a:gd name="T17" fmla="*/ 35 h 1867"/>
                <a:gd name="T18" fmla="*/ 1350 w 1624"/>
                <a:gd name="T19" fmla="*/ 69 h 1867"/>
                <a:gd name="T20" fmla="*/ 1527 w 1624"/>
                <a:gd name="T21" fmla="*/ 235 h 1867"/>
                <a:gd name="T22" fmla="*/ 1583 w 1624"/>
                <a:gd name="T23" fmla="*/ 555 h 1867"/>
                <a:gd name="T24" fmla="*/ 1172 w 1624"/>
                <a:gd name="T25" fmla="*/ 1253 h 1867"/>
                <a:gd name="T26" fmla="*/ 586 w 1624"/>
                <a:gd name="T27" fmla="*/ 1803 h 1867"/>
                <a:gd name="T28" fmla="*/ 269 w 1624"/>
                <a:gd name="T29" fmla="*/ 1807 h 1867"/>
                <a:gd name="T30" fmla="*/ 33 w 1624"/>
                <a:gd name="T31" fmla="*/ 1602 h 1867"/>
                <a:gd name="T32" fmla="*/ 2 w 1624"/>
                <a:gd name="T33" fmla="*/ 1508 h 1867"/>
                <a:gd name="T34" fmla="*/ 45 w 1624"/>
                <a:gd name="T35" fmla="*/ 1421 h 1867"/>
                <a:gd name="T36" fmla="*/ 346 w 1624"/>
                <a:gd name="T37" fmla="*/ 1158 h 1867"/>
                <a:gd name="T38" fmla="*/ 448 w 1624"/>
                <a:gd name="T39" fmla="*/ 1145 h 1867"/>
                <a:gd name="T40" fmla="*/ 573 w 1624"/>
                <a:gd name="T41" fmla="*/ 1257 h 18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24" h="1867">
                  <a:moveTo>
                    <a:pt x="573" y="1257"/>
                  </a:moveTo>
                  <a:cubicBezTo>
                    <a:pt x="592" y="1282"/>
                    <a:pt x="630" y="1303"/>
                    <a:pt x="662" y="1288"/>
                  </a:cubicBezTo>
                  <a:cubicBezTo>
                    <a:pt x="753" y="1245"/>
                    <a:pt x="854" y="1156"/>
                    <a:pt x="938" y="1051"/>
                  </a:cubicBezTo>
                  <a:cubicBezTo>
                    <a:pt x="1020" y="948"/>
                    <a:pt x="1084" y="831"/>
                    <a:pt x="1106" y="731"/>
                  </a:cubicBezTo>
                  <a:cubicBezTo>
                    <a:pt x="1113" y="696"/>
                    <a:pt x="1089" y="661"/>
                    <a:pt x="1059" y="645"/>
                  </a:cubicBezTo>
                  <a:cubicBezTo>
                    <a:pt x="1001" y="613"/>
                    <a:pt x="1001" y="613"/>
                    <a:pt x="1001" y="613"/>
                  </a:cubicBezTo>
                  <a:cubicBezTo>
                    <a:pt x="942" y="580"/>
                    <a:pt x="888" y="499"/>
                    <a:pt x="924" y="432"/>
                  </a:cubicBezTo>
                  <a:cubicBezTo>
                    <a:pt x="1114" y="81"/>
                    <a:pt x="1114" y="81"/>
                    <a:pt x="1114" y="81"/>
                  </a:cubicBezTo>
                  <a:cubicBezTo>
                    <a:pt x="1150" y="16"/>
                    <a:pt x="1224" y="0"/>
                    <a:pt x="1287" y="35"/>
                  </a:cubicBezTo>
                  <a:cubicBezTo>
                    <a:pt x="1350" y="69"/>
                    <a:pt x="1350" y="69"/>
                    <a:pt x="1350" y="69"/>
                  </a:cubicBezTo>
                  <a:cubicBezTo>
                    <a:pt x="1415" y="105"/>
                    <a:pt x="1479" y="165"/>
                    <a:pt x="1527" y="235"/>
                  </a:cubicBezTo>
                  <a:cubicBezTo>
                    <a:pt x="1593" y="332"/>
                    <a:pt x="1624" y="442"/>
                    <a:pt x="1583" y="555"/>
                  </a:cubicBezTo>
                  <a:cubicBezTo>
                    <a:pt x="1500" y="781"/>
                    <a:pt x="1351" y="1030"/>
                    <a:pt x="1172" y="1253"/>
                  </a:cubicBezTo>
                  <a:cubicBezTo>
                    <a:pt x="994" y="1477"/>
                    <a:pt x="786" y="1676"/>
                    <a:pt x="586" y="1803"/>
                  </a:cubicBezTo>
                  <a:cubicBezTo>
                    <a:pt x="486" y="1867"/>
                    <a:pt x="375" y="1856"/>
                    <a:pt x="269" y="1807"/>
                  </a:cubicBezTo>
                  <a:cubicBezTo>
                    <a:pt x="157" y="1755"/>
                    <a:pt x="106" y="1695"/>
                    <a:pt x="33" y="1602"/>
                  </a:cubicBezTo>
                  <a:cubicBezTo>
                    <a:pt x="11" y="1573"/>
                    <a:pt x="0" y="1540"/>
                    <a:pt x="2" y="1508"/>
                  </a:cubicBezTo>
                  <a:cubicBezTo>
                    <a:pt x="4" y="1475"/>
                    <a:pt x="18" y="1444"/>
                    <a:pt x="45" y="1421"/>
                  </a:cubicBezTo>
                  <a:cubicBezTo>
                    <a:pt x="70" y="1399"/>
                    <a:pt x="346" y="1158"/>
                    <a:pt x="346" y="1158"/>
                  </a:cubicBezTo>
                  <a:cubicBezTo>
                    <a:pt x="376" y="1134"/>
                    <a:pt x="413" y="1133"/>
                    <a:pt x="448" y="1145"/>
                  </a:cubicBezTo>
                  <a:cubicBezTo>
                    <a:pt x="510" y="1166"/>
                    <a:pt x="536" y="1210"/>
                    <a:pt x="573" y="1257"/>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351"/>
            </a:p>
          </p:txBody>
        </p:sp>
      </p:grpSp>
      <p:grpSp>
        <p:nvGrpSpPr>
          <p:cNvPr id="11" name="Group 3">
            <a:extLst>
              <a:ext uri="{FF2B5EF4-FFF2-40B4-BE49-F238E27FC236}">
                <a16:creationId xmlns:a16="http://schemas.microsoft.com/office/drawing/2014/main" id="{DED6A25A-5DE2-1441-8BA2-C68D3B4F9209}"/>
              </a:ext>
            </a:extLst>
          </p:cNvPr>
          <p:cNvGrpSpPr>
            <a:grpSpLocks noChangeAspect="1"/>
          </p:cNvGrpSpPr>
          <p:nvPr>
            <p:custDataLst>
              <p:tags r:id="rId1"/>
            </p:custDataLst>
          </p:nvPr>
        </p:nvGrpSpPr>
        <p:grpSpPr>
          <a:xfrm>
            <a:off x="3770066" y="3153207"/>
            <a:ext cx="171180" cy="171180"/>
            <a:chOff x="328396" y="5313940"/>
            <a:chExt cx="720000" cy="720000"/>
          </a:xfrm>
        </p:grpSpPr>
        <p:sp>
          <p:nvSpPr>
            <p:cNvPr id="12" name="Rectangle 4">
              <a:extLst>
                <a:ext uri="{FF2B5EF4-FFF2-40B4-BE49-F238E27FC236}">
                  <a16:creationId xmlns:a16="http://schemas.microsoft.com/office/drawing/2014/main" id="{5F49E67F-D4FA-9D48-96BC-59AE946ECD15}"/>
                </a:ext>
              </a:extLst>
            </p:cNvPr>
            <p:cNvSpPr/>
            <p:nvPr/>
          </p:nvSpPr>
          <p:spPr bwMode="gray">
            <a:xfrm>
              <a:off x="328396" y="5313940"/>
              <a:ext cx="720000" cy="720000"/>
            </a:xfrm>
            <a:prstGeom prst="rect">
              <a:avLst/>
            </a:prstGeom>
            <a:solidFill>
              <a:srgbClr val="E55A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pPr>
              <a:endParaRPr lang="en-US" sz="1000">
                <a:solidFill>
                  <a:schemeClr val="tx1"/>
                </a:solidFill>
                <a:latin typeface="Arial" pitchFamily="34" charset="0"/>
                <a:cs typeface="Arial" pitchFamily="34" charset="0"/>
              </a:endParaRPr>
            </a:p>
          </p:txBody>
        </p:sp>
        <p:sp>
          <p:nvSpPr>
            <p:cNvPr id="13" name="Freeform 76">
              <a:extLst>
                <a:ext uri="{FF2B5EF4-FFF2-40B4-BE49-F238E27FC236}">
                  <a16:creationId xmlns:a16="http://schemas.microsoft.com/office/drawing/2014/main" id="{187E70E6-AF3F-2549-908E-DF4BA61040AA}"/>
                </a:ext>
              </a:extLst>
            </p:cNvPr>
            <p:cNvSpPr>
              <a:spLocks noChangeAspect="1" noEditPoints="1"/>
            </p:cNvSpPr>
            <p:nvPr/>
          </p:nvSpPr>
          <p:spPr bwMode="auto">
            <a:xfrm>
              <a:off x="456202" y="5509222"/>
              <a:ext cx="504000" cy="329436"/>
            </a:xfrm>
            <a:custGeom>
              <a:avLst/>
              <a:gdLst>
                <a:gd name="T0" fmla="*/ 0 w 2080"/>
                <a:gd name="T1" fmla="*/ 65 h 1360"/>
                <a:gd name="T2" fmla="*/ 0 w 2080"/>
                <a:gd name="T3" fmla="*/ 0 h 1360"/>
                <a:gd name="T4" fmla="*/ 2080 w 2080"/>
                <a:gd name="T5" fmla="*/ 0 h 1360"/>
                <a:gd name="T6" fmla="*/ 2080 w 2080"/>
                <a:gd name="T7" fmla="*/ 65 h 1360"/>
                <a:gd name="T8" fmla="*/ 1089 w 2080"/>
                <a:gd name="T9" fmla="*/ 862 h 1360"/>
                <a:gd name="T10" fmla="*/ 991 w 2080"/>
                <a:gd name="T11" fmla="*/ 862 h 1360"/>
                <a:gd name="T12" fmla="*/ 0 w 2080"/>
                <a:gd name="T13" fmla="*/ 65 h 1360"/>
                <a:gd name="T14" fmla="*/ 1139 w 2080"/>
                <a:gd name="T15" fmla="*/ 924 h 1360"/>
                <a:gd name="T16" fmla="*/ 1282 w 2080"/>
                <a:gd name="T17" fmla="*/ 810 h 1360"/>
                <a:gd name="T18" fmla="*/ 2076 w 2080"/>
                <a:gd name="T19" fmla="*/ 1360 h 1360"/>
                <a:gd name="T20" fmla="*/ 4 w 2080"/>
                <a:gd name="T21" fmla="*/ 1360 h 1360"/>
                <a:gd name="T22" fmla="*/ 798 w 2080"/>
                <a:gd name="T23" fmla="*/ 810 h 1360"/>
                <a:gd name="T24" fmla="*/ 941 w 2080"/>
                <a:gd name="T25" fmla="*/ 924 h 1360"/>
                <a:gd name="T26" fmla="*/ 1139 w 2080"/>
                <a:gd name="T27" fmla="*/ 924 h 1360"/>
                <a:gd name="T28" fmla="*/ 2 w 2080"/>
                <a:gd name="T29" fmla="*/ 137 h 1360"/>
                <a:gd name="T30" fmla="*/ 42 w 2080"/>
                <a:gd name="T31" fmla="*/ 201 h 1360"/>
                <a:gd name="T32" fmla="*/ 734 w 2080"/>
                <a:gd name="T33" fmla="*/ 758 h 1360"/>
                <a:gd name="T34" fmla="*/ 0 w 2080"/>
                <a:gd name="T35" fmla="*/ 1266 h 1360"/>
                <a:gd name="T36" fmla="*/ 0 w 2080"/>
                <a:gd name="T37" fmla="*/ 135 h 1360"/>
                <a:gd name="T38" fmla="*/ 2 w 2080"/>
                <a:gd name="T39" fmla="*/ 137 h 1360"/>
                <a:gd name="T40" fmla="*/ 2080 w 2080"/>
                <a:gd name="T41" fmla="*/ 136 h 1360"/>
                <a:gd name="T42" fmla="*/ 2080 w 2080"/>
                <a:gd name="T43" fmla="*/ 1265 h 1360"/>
                <a:gd name="T44" fmla="*/ 1346 w 2080"/>
                <a:gd name="T45" fmla="*/ 758 h 1360"/>
                <a:gd name="T46" fmla="*/ 2038 w 2080"/>
                <a:gd name="T47" fmla="*/ 201 h 1360"/>
                <a:gd name="T48" fmla="*/ 2080 w 2080"/>
                <a:gd name="T49" fmla="*/ 136 h 1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080" h="1360">
                  <a:moveTo>
                    <a:pt x="0" y="65"/>
                  </a:moveTo>
                  <a:cubicBezTo>
                    <a:pt x="0" y="0"/>
                    <a:pt x="0" y="0"/>
                    <a:pt x="0" y="0"/>
                  </a:cubicBezTo>
                  <a:cubicBezTo>
                    <a:pt x="2080" y="0"/>
                    <a:pt x="2080" y="0"/>
                    <a:pt x="2080" y="0"/>
                  </a:cubicBezTo>
                  <a:cubicBezTo>
                    <a:pt x="2080" y="65"/>
                    <a:pt x="2080" y="65"/>
                    <a:pt x="2080" y="65"/>
                  </a:cubicBezTo>
                  <a:cubicBezTo>
                    <a:pt x="1089" y="862"/>
                    <a:pt x="1089" y="862"/>
                    <a:pt x="1089" y="862"/>
                  </a:cubicBezTo>
                  <a:cubicBezTo>
                    <a:pt x="1060" y="886"/>
                    <a:pt x="1020" y="886"/>
                    <a:pt x="991" y="862"/>
                  </a:cubicBezTo>
                  <a:lnTo>
                    <a:pt x="0" y="65"/>
                  </a:lnTo>
                  <a:close/>
                  <a:moveTo>
                    <a:pt x="1139" y="924"/>
                  </a:moveTo>
                  <a:cubicBezTo>
                    <a:pt x="1282" y="810"/>
                    <a:pt x="1282" y="810"/>
                    <a:pt x="1282" y="810"/>
                  </a:cubicBezTo>
                  <a:cubicBezTo>
                    <a:pt x="2076" y="1360"/>
                    <a:pt x="2076" y="1360"/>
                    <a:pt x="2076" y="1360"/>
                  </a:cubicBezTo>
                  <a:cubicBezTo>
                    <a:pt x="4" y="1360"/>
                    <a:pt x="4" y="1360"/>
                    <a:pt x="4" y="1360"/>
                  </a:cubicBezTo>
                  <a:cubicBezTo>
                    <a:pt x="798" y="810"/>
                    <a:pt x="798" y="810"/>
                    <a:pt x="798" y="810"/>
                  </a:cubicBezTo>
                  <a:cubicBezTo>
                    <a:pt x="941" y="924"/>
                    <a:pt x="941" y="924"/>
                    <a:pt x="941" y="924"/>
                  </a:cubicBezTo>
                  <a:cubicBezTo>
                    <a:pt x="1000" y="972"/>
                    <a:pt x="1080" y="972"/>
                    <a:pt x="1139" y="924"/>
                  </a:cubicBezTo>
                  <a:close/>
                  <a:moveTo>
                    <a:pt x="2" y="137"/>
                  </a:moveTo>
                  <a:cubicBezTo>
                    <a:pt x="8" y="163"/>
                    <a:pt x="22" y="185"/>
                    <a:pt x="42" y="201"/>
                  </a:cubicBezTo>
                  <a:cubicBezTo>
                    <a:pt x="734" y="758"/>
                    <a:pt x="734" y="758"/>
                    <a:pt x="734" y="758"/>
                  </a:cubicBezTo>
                  <a:cubicBezTo>
                    <a:pt x="0" y="1266"/>
                    <a:pt x="0" y="1266"/>
                    <a:pt x="0" y="1266"/>
                  </a:cubicBezTo>
                  <a:cubicBezTo>
                    <a:pt x="0" y="135"/>
                    <a:pt x="0" y="135"/>
                    <a:pt x="0" y="135"/>
                  </a:cubicBezTo>
                  <a:lnTo>
                    <a:pt x="2" y="137"/>
                  </a:lnTo>
                  <a:close/>
                  <a:moveTo>
                    <a:pt x="2080" y="136"/>
                  </a:moveTo>
                  <a:cubicBezTo>
                    <a:pt x="2080" y="1265"/>
                    <a:pt x="2080" y="1265"/>
                    <a:pt x="2080" y="1265"/>
                  </a:cubicBezTo>
                  <a:cubicBezTo>
                    <a:pt x="1346" y="758"/>
                    <a:pt x="1346" y="758"/>
                    <a:pt x="1346" y="758"/>
                  </a:cubicBezTo>
                  <a:cubicBezTo>
                    <a:pt x="2038" y="201"/>
                    <a:pt x="2038" y="201"/>
                    <a:pt x="2038" y="201"/>
                  </a:cubicBezTo>
                  <a:cubicBezTo>
                    <a:pt x="2060" y="182"/>
                    <a:pt x="2072" y="162"/>
                    <a:pt x="2080" y="13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000"/>
            </a:p>
          </p:txBody>
        </p:sp>
      </p:grpSp>
      <p:grpSp>
        <p:nvGrpSpPr>
          <p:cNvPr id="14" name="Gruppieren 2">
            <a:extLst>
              <a:ext uri="{FF2B5EF4-FFF2-40B4-BE49-F238E27FC236}">
                <a16:creationId xmlns:a16="http://schemas.microsoft.com/office/drawing/2014/main" id="{BE697CE9-EBDE-6B4A-BE70-582D92A8A831}"/>
              </a:ext>
            </a:extLst>
          </p:cNvPr>
          <p:cNvGrpSpPr/>
          <p:nvPr/>
        </p:nvGrpSpPr>
        <p:grpSpPr>
          <a:xfrm>
            <a:off x="8701917" y="2868319"/>
            <a:ext cx="171180" cy="171180"/>
            <a:chOff x="3392092" y="1841122"/>
            <a:chExt cx="646508" cy="646508"/>
          </a:xfrm>
        </p:grpSpPr>
        <p:sp>
          <p:nvSpPr>
            <p:cNvPr id="15" name="Rechteck 14">
              <a:extLst>
                <a:ext uri="{FF2B5EF4-FFF2-40B4-BE49-F238E27FC236}">
                  <a16:creationId xmlns:a16="http://schemas.microsoft.com/office/drawing/2014/main" id="{E142A731-19B7-C34D-9534-9E05108F895F}"/>
                </a:ext>
              </a:extLst>
            </p:cNvPr>
            <p:cNvSpPr>
              <a:spLocks noChangeAspect="1"/>
            </p:cNvSpPr>
            <p:nvPr/>
          </p:nvSpPr>
          <p:spPr bwMode="gray">
            <a:xfrm>
              <a:off x="3392092" y="1841122"/>
              <a:ext cx="646508" cy="646508"/>
            </a:xfrm>
            <a:prstGeom prst="rect">
              <a:avLst/>
            </a:prstGeom>
            <a:solidFill>
              <a:srgbClr val="E55A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pPr>
              <a:endParaRPr lang="en-US" sz="1000">
                <a:solidFill>
                  <a:schemeClr val="tx1"/>
                </a:solidFill>
                <a:latin typeface="Arial" pitchFamily="34" charset="0"/>
                <a:cs typeface="Arial" pitchFamily="34" charset="0"/>
              </a:endParaRPr>
            </a:p>
          </p:txBody>
        </p:sp>
        <p:sp>
          <p:nvSpPr>
            <p:cNvPr id="16" name="Freeform 15">
              <a:extLst>
                <a:ext uri="{FF2B5EF4-FFF2-40B4-BE49-F238E27FC236}">
                  <a16:creationId xmlns:a16="http://schemas.microsoft.com/office/drawing/2014/main" id="{F97E84AE-4AD9-4B44-9AA1-F797FC373809}"/>
                </a:ext>
              </a:extLst>
            </p:cNvPr>
            <p:cNvSpPr>
              <a:spLocks noChangeAspect="1"/>
            </p:cNvSpPr>
            <p:nvPr/>
          </p:nvSpPr>
          <p:spPr bwMode="auto">
            <a:xfrm>
              <a:off x="3546638" y="1970424"/>
              <a:ext cx="337415" cy="387905"/>
            </a:xfrm>
            <a:custGeom>
              <a:avLst/>
              <a:gdLst>
                <a:gd name="T0" fmla="*/ 573 w 1624"/>
                <a:gd name="T1" fmla="*/ 1257 h 1867"/>
                <a:gd name="T2" fmla="*/ 662 w 1624"/>
                <a:gd name="T3" fmla="*/ 1288 h 1867"/>
                <a:gd name="T4" fmla="*/ 938 w 1624"/>
                <a:gd name="T5" fmla="*/ 1051 h 1867"/>
                <a:gd name="T6" fmla="*/ 1106 w 1624"/>
                <a:gd name="T7" fmla="*/ 731 h 1867"/>
                <a:gd name="T8" fmla="*/ 1059 w 1624"/>
                <a:gd name="T9" fmla="*/ 645 h 1867"/>
                <a:gd name="T10" fmla="*/ 1001 w 1624"/>
                <a:gd name="T11" fmla="*/ 613 h 1867"/>
                <a:gd name="T12" fmla="*/ 924 w 1624"/>
                <a:gd name="T13" fmla="*/ 432 h 1867"/>
                <a:gd name="T14" fmla="*/ 1114 w 1624"/>
                <a:gd name="T15" fmla="*/ 81 h 1867"/>
                <a:gd name="T16" fmla="*/ 1287 w 1624"/>
                <a:gd name="T17" fmla="*/ 35 h 1867"/>
                <a:gd name="T18" fmla="*/ 1350 w 1624"/>
                <a:gd name="T19" fmla="*/ 69 h 1867"/>
                <a:gd name="T20" fmla="*/ 1527 w 1624"/>
                <a:gd name="T21" fmla="*/ 235 h 1867"/>
                <a:gd name="T22" fmla="*/ 1583 w 1624"/>
                <a:gd name="T23" fmla="*/ 555 h 1867"/>
                <a:gd name="T24" fmla="*/ 1172 w 1624"/>
                <a:gd name="T25" fmla="*/ 1253 h 1867"/>
                <a:gd name="T26" fmla="*/ 586 w 1624"/>
                <a:gd name="T27" fmla="*/ 1803 h 1867"/>
                <a:gd name="T28" fmla="*/ 269 w 1624"/>
                <a:gd name="T29" fmla="*/ 1807 h 1867"/>
                <a:gd name="T30" fmla="*/ 33 w 1624"/>
                <a:gd name="T31" fmla="*/ 1602 h 1867"/>
                <a:gd name="T32" fmla="*/ 2 w 1624"/>
                <a:gd name="T33" fmla="*/ 1508 h 1867"/>
                <a:gd name="T34" fmla="*/ 45 w 1624"/>
                <a:gd name="T35" fmla="*/ 1421 h 1867"/>
                <a:gd name="T36" fmla="*/ 346 w 1624"/>
                <a:gd name="T37" fmla="*/ 1158 h 1867"/>
                <a:gd name="T38" fmla="*/ 448 w 1624"/>
                <a:gd name="T39" fmla="*/ 1145 h 1867"/>
                <a:gd name="T40" fmla="*/ 573 w 1624"/>
                <a:gd name="T41" fmla="*/ 1257 h 18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24" h="1867">
                  <a:moveTo>
                    <a:pt x="573" y="1257"/>
                  </a:moveTo>
                  <a:cubicBezTo>
                    <a:pt x="592" y="1282"/>
                    <a:pt x="630" y="1303"/>
                    <a:pt x="662" y="1288"/>
                  </a:cubicBezTo>
                  <a:cubicBezTo>
                    <a:pt x="753" y="1245"/>
                    <a:pt x="854" y="1156"/>
                    <a:pt x="938" y="1051"/>
                  </a:cubicBezTo>
                  <a:cubicBezTo>
                    <a:pt x="1020" y="948"/>
                    <a:pt x="1084" y="831"/>
                    <a:pt x="1106" y="731"/>
                  </a:cubicBezTo>
                  <a:cubicBezTo>
                    <a:pt x="1113" y="696"/>
                    <a:pt x="1089" y="661"/>
                    <a:pt x="1059" y="645"/>
                  </a:cubicBezTo>
                  <a:cubicBezTo>
                    <a:pt x="1001" y="613"/>
                    <a:pt x="1001" y="613"/>
                    <a:pt x="1001" y="613"/>
                  </a:cubicBezTo>
                  <a:cubicBezTo>
                    <a:pt x="942" y="580"/>
                    <a:pt x="888" y="499"/>
                    <a:pt x="924" y="432"/>
                  </a:cubicBezTo>
                  <a:cubicBezTo>
                    <a:pt x="1114" y="81"/>
                    <a:pt x="1114" y="81"/>
                    <a:pt x="1114" y="81"/>
                  </a:cubicBezTo>
                  <a:cubicBezTo>
                    <a:pt x="1150" y="16"/>
                    <a:pt x="1224" y="0"/>
                    <a:pt x="1287" y="35"/>
                  </a:cubicBezTo>
                  <a:cubicBezTo>
                    <a:pt x="1350" y="69"/>
                    <a:pt x="1350" y="69"/>
                    <a:pt x="1350" y="69"/>
                  </a:cubicBezTo>
                  <a:cubicBezTo>
                    <a:pt x="1415" y="105"/>
                    <a:pt x="1479" y="165"/>
                    <a:pt x="1527" y="235"/>
                  </a:cubicBezTo>
                  <a:cubicBezTo>
                    <a:pt x="1593" y="332"/>
                    <a:pt x="1624" y="442"/>
                    <a:pt x="1583" y="555"/>
                  </a:cubicBezTo>
                  <a:cubicBezTo>
                    <a:pt x="1500" y="781"/>
                    <a:pt x="1351" y="1030"/>
                    <a:pt x="1172" y="1253"/>
                  </a:cubicBezTo>
                  <a:cubicBezTo>
                    <a:pt x="994" y="1477"/>
                    <a:pt x="786" y="1676"/>
                    <a:pt x="586" y="1803"/>
                  </a:cubicBezTo>
                  <a:cubicBezTo>
                    <a:pt x="486" y="1867"/>
                    <a:pt x="375" y="1856"/>
                    <a:pt x="269" y="1807"/>
                  </a:cubicBezTo>
                  <a:cubicBezTo>
                    <a:pt x="157" y="1755"/>
                    <a:pt x="106" y="1695"/>
                    <a:pt x="33" y="1602"/>
                  </a:cubicBezTo>
                  <a:cubicBezTo>
                    <a:pt x="11" y="1573"/>
                    <a:pt x="0" y="1540"/>
                    <a:pt x="2" y="1508"/>
                  </a:cubicBezTo>
                  <a:cubicBezTo>
                    <a:pt x="4" y="1475"/>
                    <a:pt x="18" y="1444"/>
                    <a:pt x="45" y="1421"/>
                  </a:cubicBezTo>
                  <a:cubicBezTo>
                    <a:pt x="70" y="1399"/>
                    <a:pt x="346" y="1158"/>
                    <a:pt x="346" y="1158"/>
                  </a:cubicBezTo>
                  <a:cubicBezTo>
                    <a:pt x="376" y="1134"/>
                    <a:pt x="413" y="1133"/>
                    <a:pt x="448" y="1145"/>
                  </a:cubicBezTo>
                  <a:cubicBezTo>
                    <a:pt x="510" y="1166"/>
                    <a:pt x="536" y="1210"/>
                    <a:pt x="573" y="1257"/>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351"/>
            </a:p>
          </p:txBody>
        </p:sp>
      </p:grpSp>
      <p:grpSp>
        <p:nvGrpSpPr>
          <p:cNvPr id="17" name="Group 3">
            <a:extLst>
              <a:ext uri="{FF2B5EF4-FFF2-40B4-BE49-F238E27FC236}">
                <a16:creationId xmlns:a16="http://schemas.microsoft.com/office/drawing/2014/main" id="{7104BADD-8CD1-6F4A-B894-869C3BDB3EEB}"/>
              </a:ext>
            </a:extLst>
          </p:cNvPr>
          <p:cNvGrpSpPr>
            <a:grpSpLocks noChangeAspect="1"/>
          </p:cNvGrpSpPr>
          <p:nvPr>
            <p:custDataLst>
              <p:tags r:id="rId2"/>
            </p:custDataLst>
          </p:nvPr>
        </p:nvGrpSpPr>
        <p:grpSpPr>
          <a:xfrm>
            <a:off x="8701918" y="3153207"/>
            <a:ext cx="171180" cy="171180"/>
            <a:chOff x="328396" y="5313940"/>
            <a:chExt cx="720000" cy="720000"/>
          </a:xfrm>
        </p:grpSpPr>
        <p:sp>
          <p:nvSpPr>
            <p:cNvPr id="18" name="Rectangle 4">
              <a:extLst>
                <a:ext uri="{FF2B5EF4-FFF2-40B4-BE49-F238E27FC236}">
                  <a16:creationId xmlns:a16="http://schemas.microsoft.com/office/drawing/2014/main" id="{74BE3D5F-1445-6E40-8B49-72E15568383B}"/>
                </a:ext>
              </a:extLst>
            </p:cNvPr>
            <p:cNvSpPr/>
            <p:nvPr/>
          </p:nvSpPr>
          <p:spPr bwMode="gray">
            <a:xfrm>
              <a:off x="328396" y="5313940"/>
              <a:ext cx="720000" cy="720000"/>
            </a:xfrm>
            <a:prstGeom prst="rect">
              <a:avLst/>
            </a:prstGeom>
            <a:solidFill>
              <a:srgbClr val="E55A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pPr>
              <a:endParaRPr lang="en-US" sz="1000">
                <a:solidFill>
                  <a:schemeClr val="tx1"/>
                </a:solidFill>
                <a:latin typeface="Arial" pitchFamily="34" charset="0"/>
                <a:cs typeface="Arial" pitchFamily="34" charset="0"/>
              </a:endParaRPr>
            </a:p>
          </p:txBody>
        </p:sp>
        <p:sp>
          <p:nvSpPr>
            <p:cNvPr id="19" name="Freeform 76">
              <a:extLst>
                <a:ext uri="{FF2B5EF4-FFF2-40B4-BE49-F238E27FC236}">
                  <a16:creationId xmlns:a16="http://schemas.microsoft.com/office/drawing/2014/main" id="{55DB3C95-7D0C-D141-901E-96D692794D2B}"/>
                </a:ext>
              </a:extLst>
            </p:cNvPr>
            <p:cNvSpPr>
              <a:spLocks noChangeAspect="1" noEditPoints="1"/>
            </p:cNvSpPr>
            <p:nvPr/>
          </p:nvSpPr>
          <p:spPr bwMode="auto">
            <a:xfrm>
              <a:off x="456202" y="5509222"/>
              <a:ext cx="504000" cy="329436"/>
            </a:xfrm>
            <a:custGeom>
              <a:avLst/>
              <a:gdLst>
                <a:gd name="T0" fmla="*/ 0 w 2080"/>
                <a:gd name="T1" fmla="*/ 65 h 1360"/>
                <a:gd name="T2" fmla="*/ 0 w 2080"/>
                <a:gd name="T3" fmla="*/ 0 h 1360"/>
                <a:gd name="T4" fmla="*/ 2080 w 2080"/>
                <a:gd name="T5" fmla="*/ 0 h 1360"/>
                <a:gd name="T6" fmla="*/ 2080 w 2080"/>
                <a:gd name="T7" fmla="*/ 65 h 1360"/>
                <a:gd name="T8" fmla="*/ 1089 w 2080"/>
                <a:gd name="T9" fmla="*/ 862 h 1360"/>
                <a:gd name="T10" fmla="*/ 991 w 2080"/>
                <a:gd name="T11" fmla="*/ 862 h 1360"/>
                <a:gd name="T12" fmla="*/ 0 w 2080"/>
                <a:gd name="T13" fmla="*/ 65 h 1360"/>
                <a:gd name="T14" fmla="*/ 1139 w 2080"/>
                <a:gd name="T15" fmla="*/ 924 h 1360"/>
                <a:gd name="T16" fmla="*/ 1282 w 2080"/>
                <a:gd name="T17" fmla="*/ 810 h 1360"/>
                <a:gd name="T18" fmla="*/ 2076 w 2080"/>
                <a:gd name="T19" fmla="*/ 1360 h 1360"/>
                <a:gd name="T20" fmla="*/ 4 w 2080"/>
                <a:gd name="T21" fmla="*/ 1360 h 1360"/>
                <a:gd name="T22" fmla="*/ 798 w 2080"/>
                <a:gd name="T23" fmla="*/ 810 h 1360"/>
                <a:gd name="T24" fmla="*/ 941 w 2080"/>
                <a:gd name="T25" fmla="*/ 924 h 1360"/>
                <a:gd name="T26" fmla="*/ 1139 w 2080"/>
                <a:gd name="T27" fmla="*/ 924 h 1360"/>
                <a:gd name="T28" fmla="*/ 2 w 2080"/>
                <a:gd name="T29" fmla="*/ 137 h 1360"/>
                <a:gd name="T30" fmla="*/ 42 w 2080"/>
                <a:gd name="T31" fmla="*/ 201 h 1360"/>
                <a:gd name="T32" fmla="*/ 734 w 2080"/>
                <a:gd name="T33" fmla="*/ 758 h 1360"/>
                <a:gd name="T34" fmla="*/ 0 w 2080"/>
                <a:gd name="T35" fmla="*/ 1266 h 1360"/>
                <a:gd name="T36" fmla="*/ 0 w 2080"/>
                <a:gd name="T37" fmla="*/ 135 h 1360"/>
                <a:gd name="T38" fmla="*/ 2 w 2080"/>
                <a:gd name="T39" fmla="*/ 137 h 1360"/>
                <a:gd name="T40" fmla="*/ 2080 w 2080"/>
                <a:gd name="T41" fmla="*/ 136 h 1360"/>
                <a:gd name="T42" fmla="*/ 2080 w 2080"/>
                <a:gd name="T43" fmla="*/ 1265 h 1360"/>
                <a:gd name="T44" fmla="*/ 1346 w 2080"/>
                <a:gd name="T45" fmla="*/ 758 h 1360"/>
                <a:gd name="T46" fmla="*/ 2038 w 2080"/>
                <a:gd name="T47" fmla="*/ 201 h 1360"/>
                <a:gd name="T48" fmla="*/ 2080 w 2080"/>
                <a:gd name="T49" fmla="*/ 136 h 1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080" h="1360">
                  <a:moveTo>
                    <a:pt x="0" y="65"/>
                  </a:moveTo>
                  <a:cubicBezTo>
                    <a:pt x="0" y="0"/>
                    <a:pt x="0" y="0"/>
                    <a:pt x="0" y="0"/>
                  </a:cubicBezTo>
                  <a:cubicBezTo>
                    <a:pt x="2080" y="0"/>
                    <a:pt x="2080" y="0"/>
                    <a:pt x="2080" y="0"/>
                  </a:cubicBezTo>
                  <a:cubicBezTo>
                    <a:pt x="2080" y="65"/>
                    <a:pt x="2080" y="65"/>
                    <a:pt x="2080" y="65"/>
                  </a:cubicBezTo>
                  <a:cubicBezTo>
                    <a:pt x="1089" y="862"/>
                    <a:pt x="1089" y="862"/>
                    <a:pt x="1089" y="862"/>
                  </a:cubicBezTo>
                  <a:cubicBezTo>
                    <a:pt x="1060" y="886"/>
                    <a:pt x="1020" y="886"/>
                    <a:pt x="991" y="862"/>
                  </a:cubicBezTo>
                  <a:lnTo>
                    <a:pt x="0" y="65"/>
                  </a:lnTo>
                  <a:close/>
                  <a:moveTo>
                    <a:pt x="1139" y="924"/>
                  </a:moveTo>
                  <a:cubicBezTo>
                    <a:pt x="1282" y="810"/>
                    <a:pt x="1282" y="810"/>
                    <a:pt x="1282" y="810"/>
                  </a:cubicBezTo>
                  <a:cubicBezTo>
                    <a:pt x="2076" y="1360"/>
                    <a:pt x="2076" y="1360"/>
                    <a:pt x="2076" y="1360"/>
                  </a:cubicBezTo>
                  <a:cubicBezTo>
                    <a:pt x="4" y="1360"/>
                    <a:pt x="4" y="1360"/>
                    <a:pt x="4" y="1360"/>
                  </a:cubicBezTo>
                  <a:cubicBezTo>
                    <a:pt x="798" y="810"/>
                    <a:pt x="798" y="810"/>
                    <a:pt x="798" y="810"/>
                  </a:cubicBezTo>
                  <a:cubicBezTo>
                    <a:pt x="941" y="924"/>
                    <a:pt x="941" y="924"/>
                    <a:pt x="941" y="924"/>
                  </a:cubicBezTo>
                  <a:cubicBezTo>
                    <a:pt x="1000" y="972"/>
                    <a:pt x="1080" y="972"/>
                    <a:pt x="1139" y="924"/>
                  </a:cubicBezTo>
                  <a:close/>
                  <a:moveTo>
                    <a:pt x="2" y="137"/>
                  </a:moveTo>
                  <a:cubicBezTo>
                    <a:pt x="8" y="163"/>
                    <a:pt x="22" y="185"/>
                    <a:pt x="42" y="201"/>
                  </a:cubicBezTo>
                  <a:cubicBezTo>
                    <a:pt x="734" y="758"/>
                    <a:pt x="734" y="758"/>
                    <a:pt x="734" y="758"/>
                  </a:cubicBezTo>
                  <a:cubicBezTo>
                    <a:pt x="0" y="1266"/>
                    <a:pt x="0" y="1266"/>
                    <a:pt x="0" y="1266"/>
                  </a:cubicBezTo>
                  <a:cubicBezTo>
                    <a:pt x="0" y="135"/>
                    <a:pt x="0" y="135"/>
                    <a:pt x="0" y="135"/>
                  </a:cubicBezTo>
                  <a:lnTo>
                    <a:pt x="2" y="137"/>
                  </a:lnTo>
                  <a:close/>
                  <a:moveTo>
                    <a:pt x="2080" y="136"/>
                  </a:moveTo>
                  <a:cubicBezTo>
                    <a:pt x="2080" y="1265"/>
                    <a:pt x="2080" y="1265"/>
                    <a:pt x="2080" y="1265"/>
                  </a:cubicBezTo>
                  <a:cubicBezTo>
                    <a:pt x="1346" y="758"/>
                    <a:pt x="1346" y="758"/>
                    <a:pt x="1346" y="758"/>
                  </a:cubicBezTo>
                  <a:cubicBezTo>
                    <a:pt x="2038" y="201"/>
                    <a:pt x="2038" y="201"/>
                    <a:pt x="2038" y="201"/>
                  </a:cubicBezTo>
                  <a:cubicBezTo>
                    <a:pt x="2060" y="182"/>
                    <a:pt x="2072" y="162"/>
                    <a:pt x="2080" y="13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000"/>
            </a:p>
          </p:txBody>
        </p:sp>
      </p:grpSp>
      <p:cxnSp>
        <p:nvCxnSpPr>
          <p:cNvPr id="20" name="Straight Connector 19"/>
          <p:cNvCxnSpPr/>
          <p:nvPr/>
        </p:nvCxnSpPr>
        <p:spPr>
          <a:xfrm>
            <a:off x="2371725" y="3478213"/>
            <a:ext cx="3888000" cy="0"/>
          </a:xfrm>
          <a:prstGeom prst="line">
            <a:avLst/>
          </a:prstGeom>
          <a:ln w="6350">
            <a:solidFill>
              <a:schemeClr val="tx2"/>
            </a:solidFill>
            <a:prstDash val="dash"/>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p:nvCxnSpPr>
        <p:spPr>
          <a:xfrm>
            <a:off x="7287766" y="3478213"/>
            <a:ext cx="3888000" cy="0"/>
          </a:xfrm>
          <a:prstGeom prst="line">
            <a:avLst/>
          </a:prstGeom>
          <a:ln w="6350">
            <a:solidFill>
              <a:schemeClr val="tx2"/>
            </a:solidFill>
            <a:prstDash val="dash"/>
          </a:ln>
        </p:spPr>
        <p:style>
          <a:lnRef idx="1">
            <a:schemeClr val="accent1"/>
          </a:lnRef>
          <a:fillRef idx="0">
            <a:schemeClr val="accent1"/>
          </a:fillRef>
          <a:effectRef idx="0">
            <a:schemeClr val="accent1"/>
          </a:effectRef>
          <a:fontRef idx="minor">
            <a:schemeClr val="tx1"/>
          </a:fontRef>
        </p:style>
      </p:cxnSp>
      <p:sp>
        <p:nvSpPr>
          <p:cNvPr id="4" name="Picture Placeholder 3"/>
          <p:cNvSpPr>
            <a:spLocks noGrp="1"/>
          </p:cNvSpPr>
          <p:nvPr>
            <p:ph type="pic" sz="quarter" idx="17" hasCustomPrompt="1"/>
          </p:nvPr>
        </p:nvSpPr>
        <p:spPr>
          <a:xfrm>
            <a:off x="2355914" y="1808984"/>
            <a:ext cx="1188677" cy="1547840"/>
          </a:xfrm>
          <a:solidFill>
            <a:srgbClr val="D9DADB"/>
          </a:solidFill>
        </p:spPr>
        <p:txBody>
          <a:bodyPr/>
          <a:lstStyle>
            <a:lvl1pPr marL="0" indent="0">
              <a:buNone/>
              <a:defRPr sz="1400"/>
            </a:lvl1pPr>
          </a:lstStyle>
          <a:p>
            <a:r>
              <a:rPr lang="en-US"/>
              <a:t>Insert picture</a:t>
            </a:r>
          </a:p>
        </p:txBody>
      </p:sp>
      <p:sp>
        <p:nvSpPr>
          <p:cNvPr id="25" name="Picture Placeholder 3"/>
          <p:cNvSpPr>
            <a:spLocks noGrp="1"/>
          </p:cNvSpPr>
          <p:nvPr>
            <p:ph type="pic" sz="quarter" idx="18" hasCustomPrompt="1"/>
          </p:nvPr>
        </p:nvSpPr>
        <p:spPr>
          <a:xfrm>
            <a:off x="7287766" y="1808984"/>
            <a:ext cx="1188677" cy="1547840"/>
          </a:xfrm>
          <a:solidFill>
            <a:srgbClr val="D9DADB"/>
          </a:solidFill>
        </p:spPr>
        <p:txBody>
          <a:bodyPr/>
          <a:lstStyle>
            <a:lvl1pPr marL="0" indent="0">
              <a:buNone/>
              <a:defRPr sz="1400"/>
            </a:lvl1pPr>
          </a:lstStyle>
          <a:p>
            <a:r>
              <a:rPr lang="en-US"/>
              <a:t>Insert picture</a:t>
            </a:r>
          </a:p>
        </p:txBody>
      </p:sp>
      <p:sp>
        <p:nvSpPr>
          <p:cNvPr id="6" name="Text Placeholder 5"/>
          <p:cNvSpPr>
            <a:spLocks noGrp="1"/>
          </p:cNvSpPr>
          <p:nvPr>
            <p:ph type="body" sz="quarter" idx="19" hasCustomPrompt="1"/>
          </p:nvPr>
        </p:nvSpPr>
        <p:spPr>
          <a:xfrm>
            <a:off x="3770065" y="1808521"/>
            <a:ext cx="2463190" cy="192360"/>
          </a:xfrm>
        </p:spPr>
        <p:txBody>
          <a:bodyPr lIns="0" tIns="0" rIns="0" bIns="0" anchor="ctr" anchorCtr="0"/>
          <a:lstStyle>
            <a:lvl1pPr marL="0" indent="0" algn="l">
              <a:lnSpc>
                <a:spcPct val="100000"/>
              </a:lnSpc>
              <a:buNone/>
              <a:defRPr sz="100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Country</a:t>
            </a:r>
          </a:p>
        </p:txBody>
      </p:sp>
      <p:sp>
        <p:nvSpPr>
          <p:cNvPr id="26" name="Text Placeholder 5"/>
          <p:cNvSpPr>
            <a:spLocks noGrp="1"/>
          </p:cNvSpPr>
          <p:nvPr>
            <p:ph type="body" sz="quarter" idx="20" hasCustomPrompt="1"/>
          </p:nvPr>
        </p:nvSpPr>
        <p:spPr>
          <a:xfrm>
            <a:off x="3770065" y="2020337"/>
            <a:ext cx="2463190" cy="266182"/>
          </a:xfrm>
        </p:spPr>
        <p:txBody>
          <a:bodyPr lIns="0" tIns="0" rIns="0" bIns="0" anchor="b" anchorCtr="0"/>
          <a:lstStyle>
            <a:lvl1pPr marL="0" indent="0" algn="l">
              <a:lnSpc>
                <a:spcPct val="100000"/>
              </a:lnSpc>
              <a:buNone/>
              <a:defRPr sz="1400" b="1" baseline="0">
                <a:solidFill>
                  <a:schemeClr val="tx2"/>
                </a:solidFill>
              </a:defRPr>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Name, Surname</a:t>
            </a:r>
          </a:p>
        </p:txBody>
      </p:sp>
      <p:sp>
        <p:nvSpPr>
          <p:cNvPr id="27" name="Text Placeholder 5"/>
          <p:cNvSpPr>
            <a:spLocks noGrp="1"/>
          </p:cNvSpPr>
          <p:nvPr>
            <p:ph type="body" sz="quarter" idx="21" hasCustomPrompt="1"/>
          </p:nvPr>
        </p:nvSpPr>
        <p:spPr>
          <a:xfrm>
            <a:off x="3770065" y="2316912"/>
            <a:ext cx="2463190"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Job Position</a:t>
            </a:r>
          </a:p>
        </p:txBody>
      </p:sp>
      <p:sp>
        <p:nvSpPr>
          <p:cNvPr id="28" name="Text Placeholder 5"/>
          <p:cNvSpPr>
            <a:spLocks noGrp="1"/>
          </p:cNvSpPr>
          <p:nvPr>
            <p:ph type="body" sz="quarter" idx="22" hasCustomPrompt="1"/>
          </p:nvPr>
        </p:nvSpPr>
        <p:spPr>
          <a:xfrm>
            <a:off x="4014948" y="2845588"/>
            <a:ext cx="2218307"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Phone number</a:t>
            </a:r>
          </a:p>
        </p:txBody>
      </p:sp>
      <p:sp>
        <p:nvSpPr>
          <p:cNvPr id="29" name="Text Placeholder 5"/>
          <p:cNvSpPr>
            <a:spLocks noGrp="1"/>
          </p:cNvSpPr>
          <p:nvPr>
            <p:ph type="body" sz="quarter" idx="23" hasCustomPrompt="1"/>
          </p:nvPr>
        </p:nvSpPr>
        <p:spPr>
          <a:xfrm>
            <a:off x="4014948" y="3128395"/>
            <a:ext cx="2218307"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Email address</a:t>
            </a:r>
          </a:p>
        </p:txBody>
      </p:sp>
      <p:sp>
        <p:nvSpPr>
          <p:cNvPr id="30" name="Text Placeholder 5"/>
          <p:cNvSpPr>
            <a:spLocks noGrp="1"/>
          </p:cNvSpPr>
          <p:nvPr>
            <p:ph type="body" sz="quarter" idx="24" hasCustomPrompt="1"/>
          </p:nvPr>
        </p:nvSpPr>
        <p:spPr>
          <a:xfrm>
            <a:off x="8701917" y="1808521"/>
            <a:ext cx="2463190" cy="192360"/>
          </a:xfrm>
        </p:spPr>
        <p:txBody>
          <a:bodyPr lIns="0" tIns="0" rIns="0" bIns="0" anchor="ctr" anchorCtr="0"/>
          <a:lstStyle>
            <a:lvl1pPr marL="0" indent="0" algn="l">
              <a:lnSpc>
                <a:spcPct val="100000"/>
              </a:lnSpc>
              <a:buNone/>
              <a:defRPr sz="100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Country</a:t>
            </a:r>
          </a:p>
        </p:txBody>
      </p:sp>
      <p:sp>
        <p:nvSpPr>
          <p:cNvPr id="31" name="Text Placeholder 5"/>
          <p:cNvSpPr>
            <a:spLocks noGrp="1"/>
          </p:cNvSpPr>
          <p:nvPr>
            <p:ph type="body" sz="quarter" idx="25" hasCustomPrompt="1"/>
          </p:nvPr>
        </p:nvSpPr>
        <p:spPr>
          <a:xfrm>
            <a:off x="8701917" y="2020337"/>
            <a:ext cx="2463190" cy="266182"/>
          </a:xfrm>
        </p:spPr>
        <p:txBody>
          <a:bodyPr lIns="0" tIns="0" rIns="0" bIns="0" anchor="b" anchorCtr="0"/>
          <a:lstStyle>
            <a:lvl1pPr marL="0" indent="0" algn="l">
              <a:lnSpc>
                <a:spcPct val="100000"/>
              </a:lnSpc>
              <a:buNone/>
              <a:defRPr sz="1400" b="1" baseline="0">
                <a:solidFill>
                  <a:schemeClr val="tx2"/>
                </a:solidFill>
              </a:defRPr>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Name, Surname</a:t>
            </a:r>
          </a:p>
        </p:txBody>
      </p:sp>
      <p:sp>
        <p:nvSpPr>
          <p:cNvPr id="32" name="Text Placeholder 5"/>
          <p:cNvSpPr>
            <a:spLocks noGrp="1"/>
          </p:cNvSpPr>
          <p:nvPr>
            <p:ph type="body" sz="quarter" idx="26" hasCustomPrompt="1"/>
          </p:nvPr>
        </p:nvSpPr>
        <p:spPr>
          <a:xfrm>
            <a:off x="8701917" y="2316912"/>
            <a:ext cx="2463190"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Job Position</a:t>
            </a:r>
          </a:p>
        </p:txBody>
      </p:sp>
      <p:sp>
        <p:nvSpPr>
          <p:cNvPr id="33" name="Text Placeholder 5"/>
          <p:cNvSpPr>
            <a:spLocks noGrp="1"/>
          </p:cNvSpPr>
          <p:nvPr>
            <p:ph type="body" sz="quarter" idx="27" hasCustomPrompt="1"/>
          </p:nvPr>
        </p:nvSpPr>
        <p:spPr>
          <a:xfrm>
            <a:off x="8946800" y="2845588"/>
            <a:ext cx="2218307"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Phone number</a:t>
            </a:r>
          </a:p>
        </p:txBody>
      </p:sp>
      <p:sp>
        <p:nvSpPr>
          <p:cNvPr id="34" name="Text Placeholder 5"/>
          <p:cNvSpPr>
            <a:spLocks noGrp="1"/>
          </p:cNvSpPr>
          <p:nvPr>
            <p:ph type="body" sz="quarter" idx="28" hasCustomPrompt="1"/>
          </p:nvPr>
        </p:nvSpPr>
        <p:spPr>
          <a:xfrm>
            <a:off x="8946800" y="3128395"/>
            <a:ext cx="2218307"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Email address</a:t>
            </a:r>
          </a:p>
        </p:txBody>
      </p:sp>
    </p:spTree>
    <p:extLst>
      <p:ext uri="{BB962C8B-B14F-4D97-AF65-F5344CB8AC3E}">
        <p14:creationId xmlns:p14="http://schemas.microsoft.com/office/powerpoint/2010/main" val="1569599645"/>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p:cSld name="Three contacts">
    <p:spTree>
      <p:nvGrpSpPr>
        <p:cNvPr id="1" name=""/>
        <p:cNvGrpSpPr/>
        <p:nvPr/>
      </p:nvGrpSpPr>
      <p:grpSpPr>
        <a:xfrm>
          <a:off x="0" y="0"/>
          <a:ext cx="0" cy="0"/>
          <a:chOff x="0" y="0"/>
          <a:chExt cx="0" cy="0"/>
        </a:xfrm>
      </p:grpSpPr>
      <p:sp>
        <p:nvSpPr>
          <p:cNvPr id="21" name="Date Placeholder 20"/>
          <p:cNvSpPr>
            <a:spLocks noGrp="1"/>
          </p:cNvSpPr>
          <p:nvPr>
            <p:ph type="dt" sz="half" idx="14"/>
          </p:nvPr>
        </p:nvSpPr>
        <p:spPr/>
        <p:txBody>
          <a:bodyPr/>
          <a:lstStyle/>
          <a:p>
            <a:endParaRPr lang="en-US"/>
          </a:p>
        </p:txBody>
      </p:sp>
      <p:sp>
        <p:nvSpPr>
          <p:cNvPr id="22" name="Footer Placeholder 21"/>
          <p:cNvSpPr>
            <a:spLocks noGrp="1"/>
          </p:cNvSpPr>
          <p:nvPr>
            <p:ph type="ftr" sz="quarter" idx="15"/>
          </p:nvPr>
        </p:nvSpPr>
        <p:spPr/>
        <p:txBody>
          <a:bodyPr/>
          <a:lstStyle/>
          <a:p>
            <a:endParaRPr lang="en-US"/>
          </a:p>
        </p:txBody>
      </p:sp>
      <p:sp>
        <p:nvSpPr>
          <p:cNvPr id="23" name="Slide Number Placeholder 22"/>
          <p:cNvSpPr>
            <a:spLocks noGrp="1"/>
          </p:cNvSpPr>
          <p:nvPr>
            <p:ph type="sldNum" sz="quarter" idx="16"/>
          </p:nvPr>
        </p:nvSpPr>
        <p:spPr/>
        <p:txBody>
          <a:bodyPr/>
          <a:lstStyle/>
          <a:p>
            <a:fld id="{5F3E29E4-0979-4FCA-B4C5-5FC6044C982A}" type="slidenum">
              <a:rPr lang="en-US" smtClean="0"/>
              <a:t>‹#›</a:t>
            </a:fld>
            <a:endParaRPr lang="en-US"/>
          </a:p>
        </p:txBody>
      </p:sp>
      <p:sp>
        <p:nvSpPr>
          <p:cNvPr id="2" name="Title 1"/>
          <p:cNvSpPr>
            <a:spLocks noGrp="1"/>
          </p:cNvSpPr>
          <p:nvPr>
            <p:ph type="title" hasCustomPrompt="1"/>
          </p:nvPr>
        </p:nvSpPr>
        <p:spPr/>
        <p:txBody>
          <a:bodyPr/>
          <a:lstStyle>
            <a:lvl1pPr>
              <a:defRPr/>
            </a:lvl1pPr>
          </a:lstStyle>
          <a:p>
            <a:r>
              <a:rPr lang="en-US"/>
              <a:t>Click to add contact title</a:t>
            </a:r>
          </a:p>
        </p:txBody>
      </p:sp>
      <p:sp>
        <p:nvSpPr>
          <p:cNvPr id="7" name="Subtitle 2"/>
          <p:cNvSpPr>
            <a:spLocks noGrp="1"/>
          </p:cNvSpPr>
          <p:nvPr>
            <p:ph type="subTitle" idx="13" hasCustomPrompt="1"/>
          </p:nvPr>
        </p:nvSpPr>
        <p:spPr>
          <a:xfrm>
            <a:off x="1075061" y="964671"/>
            <a:ext cx="7910158" cy="490042"/>
          </a:xfrm>
        </p:spPr>
        <p:txBody>
          <a:bodyPr wrap="none"/>
          <a:lstStyle>
            <a:lvl1pPr marL="0" indent="0" algn="l">
              <a:spcBef>
                <a:spcPts val="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grpSp>
        <p:nvGrpSpPr>
          <p:cNvPr id="8" name="Gruppieren 80">
            <a:extLst>
              <a:ext uri="{FF2B5EF4-FFF2-40B4-BE49-F238E27FC236}">
                <a16:creationId xmlns:a16="http://schemas.microsoft.com/office/drawing/2014/main" id="{6B969E7B-9C39-4443-9B02-74C1E7C5CCAC}"/>
              </a:ext>
            </a:extLst>
          </p:cNvPr>
          <p:cNvGrpSpPr/>
          <p:nvPr/>
        </p:nvGrpSpPr>
        <p:grpSpPr>
          <a:xfrm>
            <a:off x="3770065" y="2868319"/>
            <a:ext cx="171180" cy="171180"/>
            <a:chOff x="3392092" y="1841122"/>
            <a:chExt cx="646508" cy="646508"/>
          </a:xfrm>
        </p:grpSpPr>
        <p:sp>
          <p:nvSpPr>
            <p:cNvPr id="9" name="Rechteck 14">
              <a:extLst>
                <a:ext uri="{FF2B5EF4-FFF2-40B4-BE49-F238E27FC236}">
                  <a16:creationId xmlns:a16="http://schemas.microsoft.com/office/drawing/2014/main" id="{D78F58EA-5525-8D43-8295-FEA52ECF6BFA}"/>
                </a:ext>
              </a:extLst>
            </p:cNvPr>
            <p:cNvSpPr>
              <a:spLocks noChangeAspect="1"/>
            </p:cNvSpPr>
            <p:nvPr/>
          </p:nvSpPr>
          <p:spPr bwMode="gray">
            <a:xfrm>
              <a:off x="3392092" y="1841122"/>
              <a:ext cx="646508" cy="646508"/>
            </a:xfrm>
            <a:prstGeom prst="rect">
              <a:avLst/>
            </a:prstGeom>
            <a:solidFill>
              <a:srgbClr val="E55A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pPr>
              <a:endParaRPr lang="en-US" sz="1000">
                <a:solidFill>
                  <a:schemeClr val="tx1"/>
                </a:solidFill>
                <a:latin typeface="Arial" pitchFamily="34" charset="0"/>
                <a:cs typeface="Arial" pitchFamily="34" charset="0"/>
              </a:endParaRPr>
            </a:p>
          </p:txBody>
        </p:sp>
        <p:sp>
          <p:nvSpPr>
            <p:cNvPr id="10" name="Freeform 67">
              <a:extLst>
                <a:ext uri="{FF2B5EF4-FFF2-40B4-BE49-F238E27FC236}">
                  <a16:creationId xmlns:a16="http://schemas.microsoft.com/office/drawing/2014/main" id="{D01A6292-2776-4945-B828-483D79DC4908}"/>
                </a:ext>
              </a:extLst>
            </p:cNvPr>
            <p:cNvSpPr>
              <a:spLocks noChangeAspect="1"/>
            </p:cNvSpPr>
            <p:nvPr/>
          </p:nvSpPr>
          <p:spPr bwMode="auto">
            <a:xfrm>
              <a:off x="3546638" y="1970424"/>
              <a:ext cx="337415" cy="387905"/>
            </a:xfrm>
            <a:custGeom>
              <a:avLst/>
              <a:gdLst>
                <a:gd name="T0" fmla="*/ 573 w 1624"/>
                <a:gd name="T1" fmla="*/ 1257 h 1867"/>
                <a:gd name="T2" fmla="*/ 662 w 1624"/>
                <a:gd name="T3" fmla="*/ 1288 h 1867"/>
                <a:gd name="T4" fmla="*/ 938 w 1624"/>
                <a:gd name="T5" fmla="*/ 1051 h 1867"/>
                <a:gd name="T6" fmla="*/ 1106 w 1624"/>
                <a:gd name="T7" fmla="*/ 731 h 1867"/>
                <a:gd name="T8" fmla="*/ 1059 w 1624"/>
                <a:gd name="T9" fmla="*/ 645 h 1867"/>
                <a:gd name="T10" fmla="*/ 1001 w 1624"/>
                <a:gd name="T11" fmla="*/ 613 h 1867"/>
                <a:gd name="T12" fmla="*/ 924 w 1624"/>
                <a:gd name="T13" fmla="*/ 432 h 1867"/>
                <a:gd name="T14" fmla="*/ 1114 w 1624"/>
                <a:gd name="T15" fmla="*/ 81 h 1867"/>
                <a:gd name="T16" fmla="*/ 1287 w 1624"/>
                <a:gd name="T17" fmla="*/ 35 h 1867"/>
                <a:gd name="T18" fmla="*/ 1350 w 1624"/>
                <a:gd name="T19" fmla="*/ 69 h 1867"/>
                <a:gd name="T20" fmla="*/ 1527 w 1624"/>
                <a:gd name="T21" fmla="*/ 235 h 1867"/>
                <a:gd name="T22" fmla="*/ 1583 w 1624"/>
                <a:gd name="T23" fmla="*/ 555 h 1867"/>
                <a:gd name="T24" fmla="*/ 1172 w 1624"/>
                <a:gd name="T25" fmla="*/ 1253 h 1867"/>
                <a:gd name="T26" fmla="*/ 586 w 1624"/>
                <a:gd name="T27" fmla="*/ 1803 h 1867"/>
                <a:gd name="T28" fmla="*/ 269 w 1624"/>
                <a:gd name="T29" fmla="*/ 1807 h 1867"/>
                <a:gd name="T30" fmla="*/ 33 w 1624"/>
                <a:gd name="T31" fmla="*/ 1602 h 1867"/>
                <a:gd name="T32" fmla="*/ 2 w 1624"/>
                <a:gd name="T33" fmla="*/ 1508 h 1867"/>
                <a:gd name="T34" fmla="*/ 45 w 1624"/>
                <a:gd name="T35" fmla="*/ 1421 h 1867"/>
                <a:gd name="T36" fmla="*/ 346 w 1624"/>
                <a:gd name="T37" fmla="*/ 1158 h 1867"/>
                <a:gd name="T38" fmla="*/ 448 w 1624"/>
                <a:gd name="T39" fmla="*/ 1145 h 1867"/>
                <a:gd name="T40" fmla="*/ 573 w 1624"/>
                <a:gd name="T41" fmla="*/ 1257 h 18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24" h="1867">
                  <a:moveTo>
                    <a:pt x="573" y="1257"/>
                  </a:moveTo>
                  <a:cubicBezTo>
                    <a:pt x="592" y="1282"/>
                    <a:pt x="630" y="1303"/>
                    <a:pt x="662" y="1288"/>
                  </a:cubicBezTo>
                  <a:cubicBezTo>
                    <a:pt x="753" y="1245"/>
                    <a:pt x="854" y="1156"/>
                    <a:pt x="938" y="1051"/>
                  </a:cubicBezTo>
                  <a:cubicBezTo>
                    <a:pt x="1020" y="948"/>
                    <a:pt x="1084" y="831"/>
                    <a:pt x="1106" y="731"/>
                  </a:cubicBezTo>
                  <a:cubicBezTo>
                    <a:pt x="1113" y="696"/>
                    <a:pt x="1089" y="661"/>
                    <a:pt x="1059" y="645"/>
                  </a:cubicBezTo>
                  <a:cubicBezTo>
                    <a:pt x="1001" y="613"/>
                    <a:pt x="1001" y="613"/>
                    <a:pt x="1001" y="613"/>
                  </a:cubicBezTo>
                  <a:cubicBezTo>
                    <a:pt x="942" y="580"/>
                    <a:pt x="888" y="499"/>
                    <a:pt x="924" y="432"/>
                  </a:cubicBezTo>
                  <a:cubicBezTo>
                    <a:pt x="1114" y="81"/>
                    <a:pt x="1114" y="81"/>
                    <a:pt x="1114" y="81"/>
                  </a:cubicBezTo>
                  <a:cubicBezTo>
                    <a:pt x="1150" y="16"/>
                    <a:pt x="1224" y="0"/>
                    <a:pt x="1287" y="35"/>
                  </a:cubicBezTo>
                  <a:cubicBezTo>
                    <a:pt x="1350" y="69"/>
                    <a:pt x="1350" y="69"/>
                    <a:pt x="1350" y="69"/>
                  </a:cubicBezTo>
                  <a:cubicBezTo>
                    <a:pt x="1415" y="105"/>
                    <a:pt x="1479" y="165"/>
                    <a:pt x="1527" y="235"/>
                  </a:cubicBezTo>
                  <a:cubicBezTo>
                    <a:pt x="1593" y="332"/>
                    <a:pt x="1624" y="442"/>
                    <a:pt x="1583" y="555"/>
                  </a:cubicBezTo>
                  <a:cubicBezTo>
                    <a:pt x="1500" y="781"/>
                    <a:pt x="1351" y="1030"/>
                    <a:pt x="1172" y="1253"/>
                  </a:cubicBezTo>
                  <a:cubicBezTo>
                    <a:pt x="994" y="1477"/>
                    <a:pt x="786" y="1676"/>
                    <a:pt x="586" y="1803"/>
                  </a:cubicBezTo>
                  <a:cubicBezTo>
                    <a:pt x="486" y="1867"/>
                    <a:pt x="375" y="1856"/>
                    <a:pt x="269" y="1807"/>
                  </a:cubicBezTo>
                  <a:cubicBezTo>
                    <a:pt x="157" y="1755"/>
                    <a:pt x="106" y="1695"/>
                    <a:pt x="33" y="1602"/>
                  </a:cubicBezTo>
                  <a:cubicBezTo>
                    <a:pt x="11" y="1573"/>
                    <a:pt x="0" y="1540"/>
                    <a:pt x="2" y="1508"/>
                  </a:cubicBezTo>
                  <a:cubicBezTo>
                    <a:pt x="4" y="1475"/>
                    <a:pt x="18" y="1444"/>
                    <a:pt x="45" y="1421"/>
                  </a:cubicBezTo>
                  <a:cubicBezTo>
                    <a:pt x="70" y="1399"/>
                    <a:pt x="346" y="1158"/>
                    <a:pt x="346" y="1158"/>
                  </a:cubicBezTo>
                  <a:cubicBezTo>
                    <a:pt x="376" y="1134"/>
                    <a:pt x="413" y="1133"/>
                    <a:pt x="448" y="1145"/>
                  </a:cubicBezTo>
                  <a:cubicBezTo>
                    <a:pt x="510" y="1166"/>
                    <a:pt x="536" y="1210"/>
                    <a:pt x="573" y="1257"/>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351"/>
            </a:p>
          </p:txBody>
        </p:sp>
      </p:grpSp>
      <p:grpSp>
        <p:nvGrpSpPr>
          <p:cNvPr id="11" name="Group 3">
            <a:extLst>
              <a:ext uri="{FF2B5EF4-FFF2-40B4-BE49-F238E27FC236}">
                <a16:creationId xmlns:a16="http://schemas.microsoft.com/office/drawing/2014/main" id="{DED6A25A-5DE2-1441-8BA2-C68D3B4F9209}"/>
              </a:ext>
            </a:extLst>
          </p:cNvPr>
          <p:cNvGrpSpPr>
            <a:grpSpLocks noChangeAspect="1"/>
          </p:cNvGrpSpPr>
          <p:nvPr>
            <p:custDataLst>
              <p:tags r:id="rId1"/>
            </p:custDataLst>
          </p:nvPr>
        </p:nvGrpSpPr>
        <p:grpSpPr>
          <a:xfrm>
            <a:off x="3770066" y="3153207"/>
            <a:ext cx="171180" cy="171180"/>
            <a:chOff x="328396" y="5313940"/>
            <a:chExt cx="720000" cy="720000"/>
          </a:xfrm>
        </p:grpSpPr>
        <p:sp>
          <p:nvSpPr>
            <p:cNvPr id="12" name="Rectangle 4">
              <a:extLst>
                <a:ext uri="{FF2B5EF4-FFF2-40B4-BE49-F238E27FC236}">
                  <a16:creationId xmlns:a16="http://schemas.microsoft.com/office/drawing/2014/main" id="{5F49E67F-D4FA-9D48-96BC-59AE946ECD15}"/>
                </a:ext>
              </a:extLst>
            </p:cNvPr>
            <p:cNvSpPr/>
            <p:nvPr/>
          </p:nvSpPr>
          <p:spPr bwMode="gray">
            <a:xfrm>
              <a:off x="328396" y="5313940"/>
              <a:ext cx="720000" cy="720000"/>
            </a:xfrm>
            <a:prstGeom prst="rect">
              <a:avLst/>
            </a:prstGeom>
            <a:solidFill>
              <a:srgbClr val="E55A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pPr>
              <a:endParaRPr lang="en-US" sz="1000">
                <a:solidFill>
                  <a:schemeClr val="tx1"/>
                </a:solidFill>
                <a:latin typeface="Arial" pitchFamily="34" charset="0"/>
                <a:cs typeface="Arial" pitchFamily="34" charset="0"/>
              </a:endParaRPr>
            </a:p>
          </p:txBody>
        </p:sp>
        <p:sp>
          <p:nvSpPr>
            <p:cNvPr id="13" name="Freeform 76">
              <a:extLst>
                <a:ext uri="{FF2B5EF4-FFF2-40B4-BE49-F238E27FC236}">
                  <a16:creationId xmlns:a16="http://schemas.microsoft.com/office/drawing/2014/main" id="{187E70E6-AF3F-2549-908E-DF4BA61040AA}"/>
                </a:ext>
              </a:extLst>
            </p:cNvPr>
            <p:cNvSpPr>
              <a:spLocks noChangeAspect="1" noEditPoints="1"/>
            </p:cNvSpPr>
            <p:nvPr/>
          </p:nvSpPr>
          <p:spPr bwMode="auto">
            <a:xfrm>
              <a:off x="456202" y="5509222"/>
              <a:ext cx="504000" cy="329436"/>
            </a:xfrm>
            <a:custGeom>
              <a:avLst/>
              <a:gdLst>
                <a:gd name="T0" fmla="*/ 0 w 2080"/>
                <a:gd name="T1" fmla="*/ 65 h 1360"/>
                <a:gd name="T2" fmla="*/ 0 w 2080"/>
                <a:gd name="T3" fmla="*/ 0 h 1360"/>
                <a:gd name="T4" fmla="*/ 2080 w 2080"/>
                <a:gd name="T5" fmla="*/ 0 h 1360"/>
                <a:gd name="T6" fmla="*/ 2080 w 2080"/>
                <a:gd name="T7" fmla="*/ 65 h 1360"/>
                <a:gd name="T8" fmla="*/ 1089 w 2080"/>
                <a:gd name="T9" fmla="*/ 862 h 1360"/>
                <a:gd name="T10" fmla="*/ 991 w 2080"/>
                <a:gd name="T11" fmla="*/ 862 h 1360"/>
                <a:gd name="T12" fmla="*/ 0 w 2080"/>
                <a:gd name="T13" fmla="*/ 65 h 1360"/>
                <a:gd name="T14" fmla="*/ 1139 w 2080"/>
                <a:gd name="T15" fmla="*/ 924 h 1360"/>
                <a:gd name="T16" fmla="*/ 1282 w 2080"/>
                <a:gd name="T17" fmla="*/ 810 h 1360"/>
                <a:gd name="T18" fmla="*/ 2076 w 2080"/>
                <a:gd name="T19" fmla="*/ 1360 h 1360"/>
                <a:gd name="T20" fmla="*/ 4 w 2080"/>
                <a:gd name="T21" fmla="*/ 1360 h 1360"/>
                <a:gd name="T22" fmla="*/ 798 w 2080"/>
                <a:gd name="T23" fmla="*/ 810 h 1360"/>
                <a:gd name="T24" fmla="*/ 941 w 2080"/>
                <a:gd name="T25" fmla="*/ 924 h 1360"/>
                <a:gd name="T26" fmla="*/ 1139 w 2080"/>
                <a:gd name="T27" fmla="*/ 924 h 1360"/>
                <a:gd name="T28" fmla="*/ 2 w 2080"/>
                <a:gd name="T29" fmla="*/ 137 h 1360"/>
                <a:gd name="T30" fmla="*/ 42 w 2080"/>
                <a:gd name="T31" fmla="*/ 201 h 1360"/>
                <a:gd name="T32" fmla="*/ 734 w 2080"/>
                <a:gd name="T33" fmla="*/ 758 h 1360"/>
                <a:gd name="T34" fmla="*/ 0 w 2080"/>
                <a:gd name="T35" fmla="*/ 1266 h 1360"/>
                <a:gd name="T36" fmla="*/ 0 w 2080"/>
                <a:gd name="T37" fmla="*/ 135 h 1360"/>
                <a:gd name="T38" fmla="*/ 2 w 2080"/>
                <a:gd name="T39" fmla="*/ 137 h 1360"/>
                <a:gd name="T40" fmla="*/ 2080 w 2080"/>
                <a:gd name="T41" fmla="*/ 136 h 1360"/>
                <a:gd name="T42" fmla="*/ 2080 w 2080"/>
                <a:gd name="T43" fmla="*/ 1265 h 1360"/>
                <a:gd name="T44" fmla="*/ 1346 w 2080"/>
                <a:gd name="T45" fmla="*/ 758 h 1360"/>
                <a:gd name="T46" fmla="*/ 2038 w 2080"/>
                <a:gd name="T47" fmla="*/ 201 h 1360"/>
                <a:gd name="T48" fmla="*/ 2080 w 2080"/>
                <a:gd name="T49" fmla="*/ 136 h 1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080" h="1360">
                  <a:moveTo>
                    <a:pt x="0" y="65"/>
                  </a:moveTo>
                  <a:cubicBezTo>
                    <a:pt x="0" y="0"/>
                    <a:pt x="0" y="0"/>
                    <a:pt x="0" y="0"/>
                  </a:cubicBezTo>
                  <a:cubicBezTo>
                    <a:pt x="2080" y="0"/>
                    <a:pt x="2080" y="0"/>
                    <a:pt x="2080" y="0"/>
                  </a:cubicBezTo>
                  <a:cubicBezTo>
                    <a:pt x="2080" y="65"/>
                    <a:pt x="2080" y="65"/>
                    <a:pt x="2080" y="65"/>
                  </a:cubicBezTo>
                  <a:cubicBezTo>
                    <a:pt x="1089" y="862"/>
                    <a:pt x="1089" y="862"/>
                    <a:pt x="1089" y="862"/>
                  </a:cubicBezTo>
                  <a:cubicBezTo>
                    <a:pt x="1060" y="886"/>
                    <a:pt x="1020" y="886"/>
                    <a:pt x="991" y="862"/>
                  </a:cubicBezTo>
                  <a:lnTo>
                    <a:pt x="0" y="65"/>
                  </a:lnTo>
                  <a:close/>
                  <a:moveTo>
                    <a:pt x="1139" y="924"/>
                  </a:moveTo>
                  <a:cubicBezTo>
                    <a:pt x="1282" y="810"/>
                    <a:pt x="1282" y="810"/>
                    <a:pt x="1282" y="810"/>
                  </a:cubicBezTo>
                  <a:cubicBezTo>
                    <a:pt x="2076" y="1360"/>
                    <a:pt x="2076" y="1360"/>
                    <a:pt x="2076" y="1360"/>
                  </a:cubicBezTo>
                  <a:cubicBezTo>
                    <a:pt x="4" y="1360"/>
                    <a:pt x="4" y="1360"/>
                    <a:pt x="4" y="1360"/>
                  </a:cubicBezTo>
                  <a:cubicBezTo>
                    <a:pt x="798" y="810"/>
                    <a:pt x="798" y="810"/>
                    <a:pt x="798" y="810"/>
                  </a:cubicBezTo>
                  <a:cubicBezTo>
                    <a:pt x="941" y="924"/>
                    <a:pt x="941" y="924"/>
                    <a:pt x="941" y="924"/>
                  </a:cubicBezTo>
                  <a:cubicBezTo>
                    <a:pt x="1000" y="972"/>
                    <a:pt x="1080" y="972"/>
                    <a:pt x="1139" y="924"/>
                  </a:cubicBezTo>
                  <a:close/>
                  <a:moveTo>
                    <a:pt x="2" y="137"/>
                  </a:moveTo>
                  <a:cubicBezTo>
                    <a:pt x="8" y="163"/>
                    <a:pt x="22" y="185"/>
                    <a:pt x="42" y="201"/>
                  </a:cubicBezTo>
                  <a:cubicBezTo>
                    <a:pt x="734" y="758"/>
                    <a:pt x="734" y="758"/>
                    <a:pt x="734" y="758"/>
                  </a:cubicBezTo>
                  <a:cubicBezTo>
                    <a:pt x="0" y="1266"/>
                    <a:pt x="0" y="1266"/>
                    <a:pt x="0" y="1266"/>
                  </a:cubicBezTo>
                  <a:cubicBezTo>
                    <a:pt x="0" y="135"/>
                    <a:pt x="0" y="135"/>
                    <a:pt x="0" y="135"/>
                  </a:cubicBezTo>
                  <a:lnTo>
                    <a:pt x="2" y="137"/>
                  </a:lnTo>
                  <a:close/>
                  <a:moveTo>
                    <a:pt x="2080" y="136"/>
                  </a:moveTo>
                  <a:cubicBezTo>
                    <a:pt x="2080" y="1265"/>
                    <a:pt x="2080" y="1265"/>
                    <a:pt x="2080" y="1265"/>
                  </a:cubicBezTo>
                  <a:cubicBezTo>
                    <a:pt x="1346" y="758"/>
                    <a:pt x="1346" y="758"/>
                    <a:pt x="1346" y="758"/>
                  </a:cubicBezTo>
                  <a:cubicBezTo>
                    <a:pt x="2038" y="201"/>
                    <a:pt x="2038" y="201"/>
                    <a:pt x="2038" y="201"/>
                  </a:cubicBezTo>
                  <a:cubicBezTo>
                    <a:pt x="2060" y="182"/>
                    <a:pt x="2072" y="162"/>
                    <a:pt x="2080" y="13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000"/>
            </a:p>
          </p:txBody>
        </p:sp>
      </p:grpSp>
      <p:grpSp>
        <p:nvGrpSpPr>
          <p:cNvPr id="14" name="Gruppieren 2">
            <a:extLst>
              <a:ext uri="{FF2B5EF4-FFF2-40B4-BE49-F238E27FC236}">
                <a16:creationId xmlns:a16="http://schemas.microsoft.com/office/drawing/2014/main" id="{BE697CE9-EBDE-6B4A-BE70-582D92A8A831}"/>
              </a:ext>
            </a:extLst>
          </p:cNvPr>
          <p:cNvGrpSpPr/>
          <p:nvPr/>
        </p:nvGrpSpPr>
        <p:grpSpPr>
          <a:xfrm>
            <a:off x="8701917" y="2868319"/>
            <a:ext cx="171180" cy="171180"/>
            <a:chOff x="3392092" y="1841122"/>
            <a:chExt cx="646508" cy="646508"/>
          </a:xfrm>
        </p:grpSpPr>
        <p:sp>
          <p:nvSpPr>
            <p:cNvPr id="15" name="Rechteck 14">
              <a:extLst>
                <a:ext uri="{FF2B5EF4-FFF2-40B4-BE49-F238E27FC236}">
                  <a16:creationId xmlns:a16="http://schemas.microsoft.com/office/drawing/2014/main" id="{E142A731-19B7-C34D-9534-9E05108F895F}"/>
                </a:ext>
              </a:extLst>
            </p:cNvPr>
            <p:cNvSpPr>
              <a:spLocks noChangeAspect="1"/>
            </p:cNvSpPr>
            <p:nvPr/>
          </p:nvSpPr>
          <p:spPr bwMode="gray">
            <a:xfrm>
              <a:off x="3392092" y="1841122"/>
              <a:ext cx="646508" cy="646508"/>
            </a:xfrm>
            <a:prstGeom prst="rect">
              <a:avLst/>
            </a:prstGeom>
            <a:solidFill>
              <a:srgbClr val="E55A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pPr>
              <a:endParaRPr lang="en-US" sz="1000">
                <a:solidFill>
                  <a:schemeClr val="tx1"/>
                </a:solidFill>
                <a:latin typeface="Arial" pitchFamily="34" charset="0"/>
                <a:cs typeface="Arial" pitchFamily="34" charset="0"/>
              </a:endParaRPr>
            </a:p>
          </p:txBody>
        </p:sp>
        <p:sp>
          <p:nvSpPr>
            <p:cNvPr id="16" name="Freeform 15">
              <a:extLst>
                <a:ext uri="{FF2B5EF4-FFF2-40B4-BE49-F238E27FC236}">
                  <a16:creationId xmlns:a16="http://schemas.microsoft.com/office/drawing/2014/main" id="{F97E84AE-4AD9-4B44-9AA1-F797FC373809}"/>
                </a:ext>
              </a:extLst>
            </p:cNvPr>
            <p:cNvSpPr>
              <a:spLocks noChangeAspect="1"/>
            </p:cNvSpPr>
            <p:nvPr/>
          </p:nvSpPr>
          <p:spPr bwMode="auto">
            <a:xfrm>
              <a:off x="3546638" y="1970424"/>
              <a:ext cx="337415" cy="387905"/>
            </a:xfrm>
            <a:custGeom>
              <a:avLst/>
              <a:gdLst>
                <a:gd name="T0" fmla="*/ 573 w 1624"/>
                <a:gd name="T1" fmla="*/ 1257 h 1867"/>
                <a:gd name="T2" fmla="*/ 662 w 1624"/>
                <a:gd name="T3" fmla="*/ 1288 h 1867"/>
                <a:gd name="T4" fmla="*/ 938 w 1624"/>
                <a:gd name="T5" fmla="*/ 1051 h 1867"/>
                <a:gd name="T6" fmla="*/ 1106 w 1624"/>
                <a:gd name="T7" fmla="*/ 731 h 1867"/>
                <a:gd name="T8" fmla="*/ 1059 w 1624"/>
                <a:gd name="T9" fmla="*/ 645 h 1867"/>
                <a:gd name="T10" fmla="*/ 1001 w 1624"/>
                <a:gd name="T11" fmla="*/ 613 h 1867"/>
                <a:gd name="T12" fmla="*/ 924 w 1624"/>
                <a:gd name="T13" fmla="*/ 432 h 1867"/>
                <a:gd name="T14" fmla="*/ 1114 w 1624"/>
                <a:gd name="T15" fmla="*/ 81 h 1867"/>
                <a:gd name="T16" fmla="*/ 1287 w 1624"/>
                <a:gd name="T17" fmla="*/ 35 h 1867"/>
                <a:gd name="T18" fmla="*/ 1350 w 1624"/>
                <a:gd name="T19" fmla="*/ 69 h 1867"/>
                <a:gd name="T20" fmla="*/ 1527 w 1624"/>
                <a:gd name="T21" fmla="*/ 235 h 1867"/>
                <a:gd name="T22" fmla="*/ 1583 w 1624"/>
                <a:gd name="T23" fmla="*/ 555 h 1867"/>
                <a:gd name="T24" fmla="*/ 1172 w 1624"/>
                <a:gd name="T25" fmla="*/ 1253 h 1867"/>
                <a:gd name="T26" fmla="*/ 586 w 1624"/>
                <a:gd name="T27" fmla="*/ 1803 h 1867"/>
                <a:gd name="T28" fmla="*/ 269 w 1624"/>
                <a:gd name="T29" fmla="*/ 1807 h 1867"/>
                <a:gd name="T30" fmla="*/ 33 w 1624"/>
                <a:gd name="T31" fmla="*/ 1602 h 1867"/>
                <a:gd name="T32" fmla="*/ 2 w 1624"/>
                <a:gd name="T33" fmla="*/ 1508 h 1867"/>
                <a:gd name="T34" fmla="*/ 45 w 1624"/>
                <a:gd name="T35" fmla="*/ 1421 h 1867"/>
                <a:gd name="T36" fmla="*/ 346 w 1624"/>
                <a:gd name="T37" fmla="*/ 1158 h 1867"/>
                <a:gd name="T38" fmla="*/ 448 w 1624"/>
                <a:gd name="T39" fmla="*/ 1145 h 1867"/>
                <a:gd name="T40" fmla="*/ 573 w 1624"/>
                <a:gd name="T41" fmla="*/ 1257 h 18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24" h="1867">
                  <a:moveTo>
                    <a:pt x="573" y="1257"/>
                  </a:moveTo>
                  <a:cubicBezTo>
                    <a:pt x="592" y="1282"/>
                    <a:pt x="630" y="1303"/>
                    <a:pt x="662" y="1288"/>
                  </a:cubicBezTo>
                  <a:cubicBezTo>
                    <a:pt x="753" y="1245"/>
                    <a:pt x="854" y="1156"/>
                    <a:pt x="938" y="1051"/>
                  </a:cubicBezTo>
                  <a:cubicBezTo>
                    <a:pt x="1020" y="948"/>
                    <a:pt x="1084" y="831"/>
                    <a:pt x="1106" y="731"/>
                  </a:cubicBezTo>
                  <a:cubicBezTo>
                    <a:pt x="1113" y="696"/>
                    <a:pt x="1089" y="661"/>
                    <a:pt x="1059" y="645"/>
                  </a:cubicBezTo>
                  <a:cubicBezTo>
                    <a:pt x="1001" y="613"/>
                    <a:pt x="1001" y="613"/>
                    <a:pt x="1001" y="613"/>
                  </a:cubicBezTo>
                  <a:cubicBezTo>
                    <a:pt x="942" y="580"/>
                    <a:pt x="888" y="499"/>
                    <a:pt x="924" y="432"/>
                  </a:cubicBezTo>
                  <a:cubicBezTo>
                    <a:pt x="1114" y="81"/>
                    <a:pt x="1114" y="81"/>
                    <a:pt x="1114" y="81"/>
                  </a:cubicBezTo>
                  <a:cubicBezTo>
                    <a:pt x="1150" y="16"/>
                    <a:pt x="1224" y="0"/>
                    <a:pt x="1287" y="35"/>
                  </a:cubicBezTo>
                  <a:cubicBezTo>
                    <a:pt x="1350" y="69"/>
                    <a:pt x="1350" y="69"/>
                    <a:pt x="1350" y="69"/>
                  </a:cubicBezTo>
                  <a:cubicBezTo>
                    <a:pt x="1415" y="105"/>
                    <a:pt x="1479" y="165"/>
                    <a:pt x="1527" y="235"/>
                  </a:cubicBezTo>
                  <a:cubicBezTo>
                    <a:pt x="1593" y="332"/>
                    <a:pt x="1624" y="442"/>
                    <a:pt x="1583" y="555"/>
                  </a:cubicBezTo>
                  <a:cubicBezTo>
                    <a:pt x="1500" y="781"/>
                    <a:pt x="1351" y="1030"/>
                    <a:pt x="1172" y="1253"/>
                  </a:cubicBezTo>
                  <a:cubicBezTo>
                    <a:pt x="994" y="1477"/>
                    <a:pt x="786" y="1676"/>
                    <a:pt x="586" y="1803"/>
                  </a:cubicBezTo>
                  <a:cubicBezTo>
                    <a:pt x="486" y="1867"/>
                    <a:pt x="375" y="1856"/>
                    <a:pt x="269" y="1807"/>
                  </a:cubicBezTo>
                  <a:cubicBezTo>
                    <a:pt x="157" y="1755"/>
                    <a:pt x="106" y="1695"/>
                    <a:pt x="33" y="1602"/>
                  </a:cubicBezTo>
                  <a:cubicBezTo>
                    <a:pt x="11" y="1573"/>
                    <a:pt x="0" y="1540"/>
                    <a:pt x="2" y="1508"/>
                  </a:cubicBezTo>
                  <a:cubicBezTo>
                    <a:pt x="4" y="1475"/>
                    <a:pt x="18" y="1444"/>
                    <a:pt x="45" y="1421"/>
                  </a:cubicBezTo>
                  <a:cubicBezTo>
                    <a:pt x="70" y="1399"/>
                    <a:pt x="346" y="1158"/>
                    <a:pt x="346" y="1158"/>
                  </a:cubicBezTo>
                  <a:cubicBezTo>
                    <a:pt x="376" y="1134"/>
                    <a:pt x="413" y="1133"/>
                    <a:pt x="448" y="1145"/>
                  </a:cubicBezTo>
                  <a:cubicBezTo>
                    <a:pt x="510" y="1166"/>
                    <a:pt x="536" y="1210"/>
                    <a:pt x="573" y="1257"/>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351"/>
            </a:p>
          </p:txBody>
        </p:sp>
      </p:grpSp>
      <p:grpSp>
        <p:nvGrpSpPr>
          <p:cNvPr id="17" name="Group 3">
            <a:extLst>
              <a:ext uri="{FF2B5EF4-FFF2-40B4-BE49-F238E27FC236}">
                <a16:creationId xmlns:a16="http://schemas.microsoft.com/office/drawing/2014/main" id="{7104BADD-8CD1-6F4A-B894-869C3BDB3EEB}"/>
              </a:ext>
            </a:extLst>
          </p:cNvPr>
          <p:cNvGrpSpPr>
            <a:grpSpLocks noChangeAspect="1"/>
          </p:cNvGrpSpPr>
          <p:nvPr>
            <p:custDataLst>
              <p:tags r:id="rId2"/>
            </p:custDataLst>
          </p:nvPr>
        </p:nvGrpSpPr>
        <p:grpSpPr>
          <a:xfrm>
            <a:off x="8701918" y="3153207"/>
            <a:ext cx="171180" cy="171180"/>
            <a:chOff x="328396" y="5313940"/>
            <a:chExt cx="720000" cy="720000"/>
          </a:xfrm>
        </p:grpSpPr>
        <p:sp>
          <p:nvSpPr>
            <p:cNvPr id="18" name="Rectangle 4">
              <a:extLst>
                <a:ext uri="{FF2B5EF4-FFF2-40B4-BE49-F238E27FC236}">
                  <a16:creationId xmlns:a16="http://schemas.microsoft.com/office/drawing/2014/main" id="{74BE3D5F-1445-6E40-8B49-72E15568383B}"/>
                </a:ext>
              </a:extLst>
            </p:cNvPr>
            <p:cNvSpPr/>
            <p:nvPr/>
          </p:nvSpPr>
          <p:spPr bwMode="gray">
            <a:xfrm>
              <a:off x="328396" y="5313940"/>
              <a:ext cx="720000" cy="720000"/>
            </a:xfrm>
            <a:prstGeom prst="rect">
              <a:avLst/>
            </a:prstGeom>
            <a:solidFill>
              <a:srgbClr val="E55A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pPr>
              <a:endParaRPr lang="en-US" sz="1000">
                <a:solidFill>
                  <a:schemeClr val="tx1"/>
                </a:solidFill>
                <a:latin typeface="Arial" pitchFamily="34" charset="0"/>
                <a:cs typeface="Arial" pitchFamily="34" charset="0"/>
              </a:endParaRPr>
            </a:p>
          </p:txBody>
        </p:sp>
        <p:sp>
          <p:nvSpPr>
            <p:cNvPr id="19" name="Freeform 76">
              <a:extLst>
                <a:ext uri="{FF2B5EF4-FFF2-40B4-BE49-F238E27FC236}">
                  <a16:creationId xmlns:a16="http://schemas.microsoft.com/office/drawing/2014/main" id="{55DB3C95-7D0C-D141-901E-96D692794D2B}"/>
                </a:ext>
              </a:extLst>
            </p:cNvPr>
            <p:cNvSpPr>
              <a:spLocks noChangeAspect="1" noEditPoints="1"/>
            </p:cNvSpPr>
            <p:nvPr/>
          </p:nvSpPr>
          <p:spPr bwMode="auto">
            <a:xfrm>
              <a:off x="456202" y="5509222"/>
              <a:ext cx="504000" cy="329436"/>
            </a:xfrm>
            <a:custGeom>
              <a:avLst/>
              <a:gdLst>
                <a:gd name="T0" fmla="*/ 0 w 2080"/>
                <a:gd name="T1" fmla="*/ 65 h 1360"/>
                <a:gd name="T2" fmla="*/ 0 w 2080"/>
                <a:gd name="T3" fmla="*/ 0 h 1360"/>
                <a:gd name="T4" fmla="*/ 2080 w 2080"/>
                <a:gd name="T5" fmla="*/ 0 h 1360"/>
                <a:gd name="T6" fmla="*/ 2080 w 2080"/>
                <a:gd name="T7" fmla="*/ 65 h 1360"/>
                <a:gd name="T8" fmla="*/ 1089 w 2080"/>
                <a:gd name="T9" fmla="*/ 862 h 1360"/>
                <a:gd name="T10" fmla="*/ 991 w 2080"/>
                <a:gd name="T11" fmla="*/ 862 h 1360"/>
                <a:gd name="T12" fmla="*/ 0 w 2080"/>
                <a:gd name="T13" fmla="*/ 65 h 1360"/>
                <a:gd name="T14" fmla="*/ 1139 w 2080"/>
                <a:gd name="T15" fmla="*/ 924 h 1360"/>
                <a:gd name="T16" fmla="*/ 1282 w 2080"/>
                <a:gd name="T17" fmla="*/ 810 h 1360"/>
                <a:gd name="T18" fmla="*/ 2076 w 2080"/>
                <a:gd name="T19" fmla="*/ 1360 h 1360"/>
                <a:gd name="T20" fmla="*/ 4 w 2080"/>
                <a:gd name="T21" fmla="*/ 1360 h 1360"/>
                <a:gd name="T22" fmla="*/ 798 w 2080"/>
                <a:gd name="T23" fmla="*/ 810 h 1360"/>
                <a:gd name="T24" fmla="*/ 941 w 2080"/>
                <a:gd name="T25" fmla="*/ 924 h 1360"/>
                <a:gd name="T26" fmla="*/ 1139 w 2080"/>
                <a:gd name="T27" fmla="*/ 924 h 1360"/>
                <a:gd name="T28" fmla="*/ 2 w 2080"/>
                <a:gd name="T29" fmla="*/ 137 h 1360"/>
                <a:gd name="T30" fmla="*/ 42 w 2080"/>
                <a:gd name="T31" fmla="*/ 201 h 1360"/>
                <a:gd name="T32" fmla="*/ 734 w 2080"/>
                <a:gd name="T33" fmla="*/ 758 h 1360"/>
                <a:gd name="T34" fmla="*/ 0 w 2080"/>
                <a:gd name="T35" fmla="*/ 1266 h 1360"/>
                <a:gd name="T36" fmla="*/ 0 w 2080"/>
                <a:gd name="T37" fmla="*/ 135 h 1360"/>
                <a:gd name="T38" fmla="*/ 2 w 2080"/>
                <a:gd name="T39" fmla="*/ 137 h 1360"/>
                <a:gd name="T40" fmla="*/ 2080 w 2080"/>
                <a:gd name="T41" fmla="*/ 136 h 1360"/>
                <a:gd name="T42" fmla="*/ 2080 w 2080"/>
                <a:gd name="T43" fmla="*/ 1265 h 1360"/>
                <a:gd name="T44" fmla="*/ 1346 w 2080"/>
                <a:gd name="T45" fmla="*/ 758 h 1360"/>
                <a:gd name="T46" fmla="*/ 2038 w 2080"/>
                <a:gd name="T47" fmla="*/ 201 h 1360"/>
                <a:gd name="T48" fmla="*/ 2080 w 2080"/>
                <a:gd name="T49" fmla="*/ 136 h 1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080" h="1360">
                  <a:moveTo>
                    <a:pt x="0" y="65"/>
                  </a:moveTo>
                  <a:cubicBezTo>
                    <a:pt x="0" y="0"/>
                    <a:pt x="0" y="0"/>
                    <a:pt x="0" y="0"/>
                  </a:cubicBezTo>
                  <a:cubicBezTo>
                    <a:pt x="2080" y="0"/>
                    <a:pt x="2080" y="0"/>
                    <a:pt x="2080" y="0"/>
                  </a:cubicBezTo>
                  <a:cubicBezTo>
                    <a:pt x="2080" y="65"/>
                    <a:pt x="2080" y="65"/>
                    <a:pt x="2080" y="65"/>
                  </a:cubicBezTo>
                  <a:cubicBezTo>
                    <a:pt x="1089" y="862"/>
                    <a:pt x="1089" y="862"/>
                    <a:pt x="1089" y="862"/>
                  </a:cubicBezTo>
                  <a:cubicBezTo>
                    <a:pt x="1060" y="886"/>
                    <a:pt x="1020" y="886"/>
                    <a:pt x="991" y="862"/>
                  </a:cubicBezTo>
                  <a:lnTo>
                    <a:pt x="0" y="65"/>
                  </a:lnTo>
                  <a:close/>
                  <a:moveTo>
                    <a:pt x="1139" y="924"/>
                  </a:moveTo>
                  <a:cubicBezTo>
                    <a:pt x="1282" y="810"/>
                    <a:pt x="1282" y="810"/>
                    <a:pt x="1282" y="810"/>
                  </a:cubicBezTo>
                  <a:cubicBezTo>
                    <a:pt x="2076" y="1360"/>
                    <a:pt x="2076" y="1360"/>
                    <a:pt x="2076" y="1360"/>
                  </a:cubicBezTo>
                  <a:cubicBezTo>
                    <a:pt x="4" y="1360"/>
                    <a:pt x="4" y="1360"/>
                    <a:pt x="4" y="1360"/>
                  </a:cubicBezTo>
                  <a:cubicBezTo>
                    <a:pt x="798" y="810"/>
                    <a:pt x="798" y="810"/>
                    <a:pt x="798" y="810"/>
                  </a:cubicBezTo>
                  <a:cubicBezTo>
                    <a:pt x="941" y="924"/>
                    <a:pt x="941" y="924"/>
                    <a:pt x="941" y="924"/>
                  </a:cubicBezTo>
                  <a:cubicBezTo>
                    <a:pt x="1000" y="972"/>
                    <a:pt x="1080" y="972"/>
                    <a:pt x="1139" y="924"/>
                  </a:cubicBezTo>
                  <a:close/>
                  <a:moveTo>
                    <a:pt x="2" y="137"/>
                  </a:moveTo>
                  <a:cubicBezTo>
                    <a:pt x="8" y="163"/>
                    <a:pt x="22" y="185"/>
                    <a:pt x="42" y="201"/>
                  </a:cubicBezTo>
                  <a:cubicBezTo>
                    <a:pt x="734" y="758"/>
                    <a:pt x="734" y="758"/>
                    <a:pt x="734" y="758"/>
                  </a:cubicBezTo>
                  <a:cubicBezTo>
                    <a:pt x="0" y="1266"/>
                    <a:pt x="0" y="1266"/>
                    <a:pt x="0" y="1266"/>
                  </a:cubicBezTo>
                  <a:cubicBezTo>
                    <a:pt x="0" y="135"/>
                    <a:pt x="0" y="135"/>
                    <a:pt x="0" y="135"/>
                  </a:cubicBezTo>
                  <a:lnTo>
                    <a:pt x="2" y="137"/>
                  </a:lnTo>
                  <a:close/>
                  <a:moveTo>
                    <a:pt x="2080" y="136"/>
                  </a:moveTo>
                  <a:cubicBezTo>
                    <a:pt x="2080" y="1265"/>
                    <a:pt x="2080" y="1265"/>
                    <a:pt x="2080" y="1265"/>
                  </a:cubicBezTo>
                  <a:cubicBezTo>
                    <a:pt x="1346" y="758"/>
                    <a:pt x="1346" y="758"/>
                    <a:pt x="1346" y="758"/>
                  </a:cubicBezTo>
                  <a:cubicBezTo>
                    <a:pt x="2038" y="201"/>
                    <a:pt x="2038" y="201"/>
                    <a:pt x="2038" y="201"/>
                  </a:cubicBezTo>
                  <a:cubicBezTo>
                    <a:pt x="2060" y="182"/>
                    <a:pt x="2072" y="162"/>
                    <a:pt x="2080" y="13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000"/>
            </a:p>
          </p:txBody>
        </p:sp>
      </p:grpSp>
      <p:cxnSp>
        <p:nvCxnSpPr>
          <p:cNvPr id="20" name="Straight Connector 19"/>
          <p:cNvCxnSpPr/>
          <p:nvPr/>
        </p:nvCxnSpPr>
        <p:spPr>
          <a:xfrm>
            <a:off x="2371725" y="3478213"/>
            <a:ext cx="3888000" cy="0"/>
          </a:xfrm>
          <a:prstGeom prst="line">
            <a:avLst/>
          </a:prstGeom>
          <a:ln w="6350">
            <a:solidFill>
              <a:schemeClr val="tx2"/>
            </a:solidFill>
            <a:prstDash val="dash"/>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p:nvCxnSpPr>
        <p:spPr>
          <a:xfrm>
            <a:off x="7287766" y="3478213"/>
            <a:ext cx="3888000" cy="0"/>
          </a:xfrm>
          <a:prstGeom prst="line">
            <a:avLst/>
          </a:prstGeom>
          <a:ln w="6350">
            <a:solidFill>
              <a:schemeClr val="tx2"/>
            </a:solidFill>
            <a:prstDash val="dash"/>
          </a:ln>
        </p:spPr>
        <p:style>
          <a:lnRef idx="1">
            <a:schemeClr val="accent1"/>
          </a:lnRef>
          <a:fillRef idx="0">
            <a:schemeClr val="accent1"/>
          </a:fillRef>
          <a:effectRef idx="0">
            <a:schemeClr val="accent1"/>
          </a:effectRef>
          <a:fontRef idx="minor">
            <a:schemeClr val="tx1"/>
          </a:fontRef>
        </p:style>
      </p:cxnSp>
      <p:sp>
        <p:nvSpPr>
          <p:cNvPr id="4" name="Picture Placeholder 3"/>
          <p:cNvSpPr>
            <a:spLocks noGrp="1"/>
          </p:cNvSpPr>
          <p:nvPr>
            <p:ph type="pic" sz="quarter" idx="17" hasCustomPrompt="1"/>
          </p:nvPr>
        </p:nvSpPr>
        <p:spPr>
          <a:xfrm>
            <a:off x="2355914" y="1808984"/>
            <a:ext cx="1188677" cy="1547840"/>
          </a:xfrm>
          <a:solidFill>
            <a:srgbClr val="D9DADB"/>
          </a:solidFill>
        </p:spPr>
        <p:txBody>
          <a:bodyPr/>
          <a:lstStyle>
            <a:lvl1pPr marL="0" indent="0">
              <a:buNone/>
              <a:defRPr sz="1400"/>
            </a:lvl1pPr>
          </a:lstStyle>
          <a:p>
            <a:r>
              <a:rPr lang="en-US"/>
              <a:t>Insert picture</a:t>
            </a:r>
          </a:p>
        </p:txBody>
      </p:sp>
      <p:sp>
        <p:nvSpPr>
          <p:cNvPr id="25" name="Picture Placeholder 3"/>
          <p:cNvSpPr>
            <a:spLocks noGrp="1"/>
          </p:cNvSpPr>
          <p:nvPr>
            <p:ph type="pic" sz="quarter" idx="18" hasCustomPrompt="1"/>
          </p:nvPr>
        </p:nvSpPr>
        <p:spPr>
          <a:xfrm>
            <a:off x="7287766" y="1808984"/>
            <a:ext cx="1188677" cy="1547840"/>
          </a:xfrm>
          <a:solidFill>
            <a:srgbClr val="D9DADB"/>
          </a:solidFill>
        </p:spPr>
        <p:txBody>
          <a:bodyPr/>
          <a:lstStyle>
            <a:lvl1pPr marL="0" indent="0">
              <a:buNone/>
              <a:defRPr sz="1400"/>
            </a:lvl1pPr>
          </a:lstStyle>
          <a:p>
            <a:r>
              <a:rPr lang="en-US"/>
              <a:t>Insert picture</a:t>
            </a:r>
          </a:p>
        </p:txBody>
      </p:sp>
      <p:sp>
        <p:nvSpPr>
          <p:cNvPr id="6" name="Text Placeholder 5"/>
          <p:cNvSpPr>
            <a:spLocks noGrp="1"/>
          </p:cNvSpPr>
          <p:nvPr>
            <p:ph type="body" sz="quarter" idx="19" hasCustomPrompt="1"/>
          </p:nvPr>
        </p:nvSpPr>
        <p:spPr>
          <a:xfrm>
            <a:off x="3770065" y="1808521"/>
            <a:ext cx="2463190" cy="192360"/>
          </a:xfrm>
        </p:spPr>
        <p:txBody>
          <a:bodyPr lIns="0" tIns="0" rIns="0" bIns="0" anchor="ctr" anchorCtr="0"/>
          <a:lstStyle>
            <a:lvl1pPr marL="0" indent="0" algn="l">
              <a:lnSpc>
                <a:spcPct val="100000"/>
              </a:lnSpc>
              <a:buNone/>
              <a:defRPr sz="100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Country</a:t>
            </a:r>
          </a:p>
        </p:txBody>
      </p:sp>
      <p:sp>
        <p:nvSpPr>
          <p:cNvPr id="26" name="Text Placeholder 5"/>
          <p:cNvSpPr>
            <a:spLocks noGrp="1"/>
          </p:cNvSpPr>
          <p:nvPr>
            <p:ph type="body" sz="quarter" idx="20" hasCustomPrompt="1"/>
          </p:nvPr>
        </p:nvSpPr>
        <p:spPr>
          <a:xfrm>
            <a:off x="3770065" y="2020337"/>
            <a:ext cx="2463190" cy="266182"/>
          </a:xfrm>
        </p:spPr>
        <p:txBody>
          <a:bodyPr lIns="0" tIns="0" rIns="0" bIns="0" anchor="b" anchorCtr="0"/>
          <a:lstStyle>
            <a:lvl1pPr marL="0" indent="0" algn="l">
              <a:lnSpc>
                <a:spcPct val="100000"/>
              </a:lnSpc>
              <a:buNone/>
              <a:defRPr sz="1400" b="1" baseline="0">
                <a:solidFill>
                  <a:schemeClr val="tx2"/>
                </a:solidFill>
              </a:defRPr>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Name, Surname</a:t>
            </a:r>
          </a:p>
        </p:txBody>
      </p:sp>
      <p:sp>
        <p:nvSpPr>
          <p:cNvPr id="27" name="Text Placeholder 5"/>
          <p:cNvSpPr>
            <a:spLocks noGrp="1"/>
          </p:cNvSpPr>
          <p:nvPr>
            <p:ph type="body" sz="quarter" idx="21" hasCustomPrompt="1"/>
          </p:nvPr>
        </p:nvSpPr>
        <p:spPr>
          <a:xfrm>
            <a:off x="3770065" y="2316912"/>
            <a:ext cx="2463190"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Job Position</a:t>
            </a:r>
          </a:p>
        </p:txBody>
      </p:sp>
      <p:sp>
        <p:nvSpPr>
          <p:cNvPr id="28" name="Text Placeholder 5"/>
          <p:cNvSpPr>
            <a:spLocks noGrp="1"/>
          </p:cNvSpPr>
          <p:nvPr>
            <p:ph type="body" sz="quarter" idx="22" hasCustomPrompt="1"/>
          </p:nvPr>
        </p:nvSpPr>
        <p:spPr>
          <a:xfrm>
            <a:off x="4014948" y="2845588"/>
            <a:ext cx="2218307"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Phone number</a:t>
            </a:r>
          </a:p>
        </p:txBody>
      </p:sp>
      <p:sp>
        <p:nvSpPr>
          <p:cNvPr id="29" name="Text Placeholder 5"/>
          <p:cNvSpPr>
            <a:spLocks noGrp="1"/>
          </p:cNvSpPr>
          <p:nvPr>
            <p:ph type="body" sz="quarter" idx="23" hasCustomPrompt="1"/>
          </p:nvPr>
        </p:nvSpPr>
        <p:spPr>
          <a:xfrm>
            <a:off x="4014948" y="3128395"/>
            <a:ext cx="2218307"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Email address</a:t>
            </a:r>
          </a:p>
        </p:txBody>
      </p:sp>
      <p:sp>
        <p:nvSpPr>
          <p:cNvPr id="30" name="Text Placeholder 5"/>
          <p:cNvSpPr>
            <a:spLocks noGrp="1"/>
          </p:cNvSpPr>
          <p:nvPr>
            <p:ph type="body" sz="quarter" idx="24" hasCustomPrompt="1"/>
          </p:nvPr>
        </p:nvSpPr>
        <p:spPr>
          <a:xfrm>
            <a:off x="8701917" y="1808521"/>
            <a:ext cx="2463190" cy="192360"/>
          </a:xfrm>
        </p:spPr>
        <p:txBody>
          <a:bodyPr lIns="0" tIns="0" rIns="0" bIns="0" anchor="ctr" anchorCtr="0"/>
          <a:lstStyle>
            <a:lvl1pPr marL="0" indent="0" algn="l">
              <a:lnSpc>
                <a:spcPct val="100000"/>
              </a:lnSpc>
              <a:buNone/>
              <a:defRPr sz="100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Country</a:t>
            </a:r>
          </a:p>
        </p:txBody>
      </p:sp>
      <p:sp>
        <p:nvSpPr>
          <p:cNvPr id="31" name="Text Placeholder 5"/>
          <p:cNvSpPr>
            <a:spLocks noGrp="1"/>
          </p:cNvSpPr>
          <p:nvPr>
            <p:ph type="body" sz="quarter" idx="25" hasCustomPrompt="1"/>
          </p:nvPr>
        </p:nvSpPr>
        <p:spPr>
          <a:xfrm>
            <a:off x="8701917" y="2020337"/>
            <a:ext cx="2463190" cy="266182"/>
          </a:xfrm>
        </p:spPr>
        <p:txBody>
          <a:bodyPr lIns="0" tIns="0" rIns="0" bIns="0" anchor="b" anchorCtr="0"/>
          <a:lstStyle>
            <a:lvl1pPr marL="0" indent="0" algn="l">
              <a:lnSpc>
                <a:spcPct val="100000"/>
              </a:lnSpc>
              <a:buNone/>
              <a:defRPr sz="1400" b="1" baseline="0">
                <a:solidFill>
                  <a:schemeClr val="tx2"/>
                </a:solidFill>
              </a:defRPr>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Name, Surname</a:t>
            </a:r>
          </a:p>
        </p:txBody>
      </p:sp>
      <p:sp>
        <p:nvSpPr>
          <p:cNvPr id="32" name="Text Placeholder 5"/>
          <p:cNvSpPr>
            <a:spLocks noGrp="1"/>
          </p:cNvSpPr>
          <p:nvPr>
            <p:ph type="body" sz="quarter" idx="26" hasCustomPrompt="1"/>
          </p:nvPr>
        </p:nvSpPr>
        <p:spPr>
          <a:xfrm>
            <a:off x="8701917" y="2316912"/>
            <a:ext cx="2463190"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Job Position</a:t>
            </a:r>
          </a:p>
        </p:txBody>
      </p:sp>
      <p:sp>
        <p:nvSpPr>
          <p:cNvPr id="33" name="Text Placeholder 5"/>
          <p:cNvSpPr>
            <a:spLocks noGrp="1"/>
          </p:cNvSpPr>
          <p:nvPr>
            <p:ph type="body" sz="quarter" idx="27" hasCustomPrompt="1"/>
          </p:nvPr>
        </p:nvSpPr>
        <p:spPr>
          <a:xfrm>
            <a:off x="8946800" y="2845588"/>
            <a:ext cx="2218307"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Phone number</a:t>
            </a:r>
          </a:p>
        </p:txBody>
      </p:sp>
      <p:sp>
        <p:nvSpPr>
          <p:cNvPr id="34" name="Text Placeholder 5"/>
          <p:cNvSpPr>
            <a:spLocks noGrp="1"/>
          </p:cNvSpPr>
          <p:nvPr>
            <p:ph type="body" sz="quarter" idx="28" hasCustomPrompt="1"/>
          </p:nvPr>
        </p:nvSpPr>
        <p:spPr>
          <a:xfrm>
            <a:off x="8946800" y="3128395"/>
            <a:ext cx="2218307"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Email address</a:t>
            </a:r>
          </a:p>
        </p:txBody>
      </p:sp>
      <p:grpSp>
        <p:nvGrpSpPr>
          <p:cNvPr id="35" name="Gruppieren 2">
            <a:extLst>
              <a:ext uri="{FF2B5EF4-FFF2-40B4-BE49-F238E27FC236}">
                <a16:creationId xmlns:a16="http://schemas.microsoft.com/office/drawing/2014/main" id="{BE697CE9-EBDE-6B4A-BE70-582D92A8A831}"/>
              </a:ext>
            </a:extLst>
          </p:cNvPr>
          <p:cNvGrpSpPr/>
          <p:nvPr/>
        </p:nvGrpSpPr>
        <p:grpSpPr>
          <a:xfrm>
            <a:off x="3770065" y="5045939"/>
            <a:ext cx="171180" cy="171180"/>
            <a:chOff x="3392092" y="1841122"/>
            <a:chExt cx="646508" cy="646508"/>
          </a:xfrm>
        </p:grpSpPr>
        <p:sp>
          <p:nvSpPr>
            <p:cNvPr id="36" name="Rechteck 14">
              <a:extLst>
                <a:ext uri="{FF2B5EF4-FFF2-40B4-BE49-F238E27FC236}">
                  <a16:creationId xmlns:a16="http://schemas.microsoft.com/office/drawing/2014/main" id="{E142A731-19B7-C34D-9534-9E05108F895F}"/>
                </a:ext>
              </a:extLst>
            </p:cNvPr>
            <p:cNvSpPr>
              <a:spLocks noChangeAspect="1"/>
            </p:cNvSpPr>
            <p:nvPr/>
          </p:nvSpPr>
          <p:spPr bwMode="gray">
            <a:xfrm>
              <a:off x="3392092" y="1841122"/>
              <a:ext cx="646508" cy="646508"/>
            </a:xfrm>
            <a:prstGeom prst="rect">
              <a:avLst/>
            </a:prstGeom>
            <a:solidFill>
              <a:srgbClr val="E55A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pPr>
              <a:endParaRPr lang="en-US" sz="1000">
                <a:solidFill>
                  <a:schemeClr val="tx1"/>
                </a:solidFill>
                <a:latin typeface="Arial" pitchFamily="34" charset="0"/>
                <a:cs typeface="Arial" pitchFamily="34" charset="0"/>
              </a:endParaRPr>
            </a:p>
          </p:txBody>
        </p:sp>
        <p:sp>
          <p:nvSpPr>
            <p:cNvPr id="37" name="Freeform 36">
              <a:extLst>
                <a:ext uri="{FF2B5EF4-FFF2-40B4-BE49-F238E27FC236}">
                  <a16:creationId xmlns:a16="http://schemas.microsoft.com/office/drawing/2014/main" id="{F97E84AE-4AD9-4B44-9AA1-F797FC373809}"/>
                </a:ext>
              </a:extLst>
            </p:cNvPr>
            <p:cNvSpPr>
              <a:spLocks noChangeAspect="1"/>
            </p:cNvSpPr>
            <p:nvPr/>
          </p:nvSpPr>
          <p:spPr bwMode="auto">
            <a:xfrm>
              <a:off x="3546638" y="1970424"/>
              <a:ext cx="337415" cy="387905"/>
            </a:xfrm>
            <a:custGeom>
              <a:avLst/>
              <a:gdLst>
                <a:gd name="T0" fmla="*/ 573 w 1624"/>
                <a:gd name="T1" fmla="*/ 1257 h 1867"/>
                <a:gd name="T2" fmla="*/ 662 w 1624"/>
                <a:gd name="T3" fmla="*/ 1288 h 1867"/>
                <a:gd name="T4" fmla="*/ 938 w 1624"/>
                <a:gd name="T5" fmla="*/ 1051 h 1867"/>
                <a:gd name="T6" fmla="*/ 1106 w 1624"/>
                <a:gd name="T7" fmla="*/ 731 h 1867"/>
                <a:gd name="T8" fmla="*/ 1059 w 1624"/>
                <a:gd name="T9" fmla="*/ 645 h 1867"/>
                <a:gd name="T10" fmla="*/ 1001 w 1624"/>
                <a:gd name="T11" fmla="*/ 613 h 1867"/>
                <a:gd name="T12" fmla="*/ 924 w 1624"/>
                <a:gd name="T13" fmla="*/ 432 h 1867"/>
                <a:gd name="T14" fmla="*/ 1114 w 1624"/>
                <a:gd name="T15" fmla="*/ 81 h 1867"/>
                <a:gd name="T16" fmla="*/ 1287 w 1624"/>
                <a:gd name="T17" fmla="*/ 35 h 1867"/>
                <a:gd name="T18" fmla="*/ 1350 w 1624"/>
                <a:gd name="T19" fmla="*/ 69 h 1867"/>
                <a:gd name="T20" fmla="*/ 1527 w 1624"/>
                <a:gd name="T21" fmla="*/ 235 h 1867"/>
                <a:gd name="T22" fmla="*/ 1583 w 1624"/>
                <a:gd name="T23" fmla="*/ 555 h 1867"/>
                <a:gd name="T24" fmla="*/ 1172 w 1624"/>
                <a:gd name="T25" fmla="*/ 1253 h 1867"/>
                <a:gd name="T26" fmla="*/ 586 w 1624"/>
                <a:gd name="T27" fmla="*/ 1803 h 1867"/>
                <a:gd name="T28" fmla="*/ 269 w 1624"/>
                <a:gd name="T29" fmla="*/ 1807 h 1867"/>
                <a:gd name="T30" fmla="*/ 33 w 1624"/>
                <a:gd name="T31" fmla="*/ 1602 h 1867"/>
                <a:gd name="T32" fmla="*/ 2 w 1624"/>
                <a:gd name="T33" fmla="*/ 1508 h 1867"/>
                <a:gd name="T34" fmla="*/ 45 w 1624"/>
                <a:gd name="T35" fmla="*/ 1421 h 1867"/>
                <a:gd name="T36" fmla="*/ 346 w 1624"/>
                <a:gd name="T37" fmla="*/ 1158 h 1867"/>
                <a:gd name="T38" fmla="*/ 448 w 1624"/>
                <a:gd name="T39" fmla="*/ 1145 h 1867"/>
                <a:gd name="T40" fmla="*/ 573 w 1624"/>
                <a:gd name="T41" fmla="*/ 1257 h 18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24" h="1867">
                  <a:moveTo>
                    <a:pt x="573" y="1257"/>
                  </a:moveTo>
                  <a:cubicBezTo>
                    <a:pt x="592" y="1282"/>
                    <a:pt x="630" y="1303"/>
                    <a:pt x="662" y="1288"/>
                  </a:cubicBezTo>
                  <a:cubicBezTo>
                    <a:pt x="753" y="1245"/>
                    <a:pt x="854" y="1156"/>
                    <a:pt x="938" y="1051"/>
                  </a:cubicBezTo>
                  <a:cubicBezTo>
                    <a:pt x="1020" y="948"/>
                    <a:pt x="1084" y="831"/>
                    <a:pt x="1106" y="731"/>
                  </a:cubicBezTo>
                  <a:cubicBezTo>
                    <a:pt x="1113" y="696"/>
                    <a:pt x="1089" y="661"/>
                    <a:pt x="1059" y="645"/>
                  </a:cubicBezTo>
                  <a:cubicBezTo>
                    <a:pt x="1001" y="613"/>
                    <a:pt x="1001" y="613"/>
                    <a:pt x="1001" y="613"/>
                  </a:cubicBezTo>
                  <a:cubicBezTo>
                    <a:pt x="942" y="580"/>
                    <a:pt x="888" y="499"/>
                    <a:pt x="924" y="432"/>
                  </a:cubicBezTo>
                  <a:cubicBezTo>
                    <a:pt x="1114" y="81"/>
                    <a:pt x="1114" y="81"/>
                    <a:pt x="1114" y="81"/>
                  </a:cubicBezTo>
                  <a:cubicBezTo>
                    <a:pt x="1150" y="16"/>
                    <a:pt x="1224" y="0"/>
                    <a:pt x="1287" y="35"/>
                  </a:cubicBezTo>
                  <a:cubicBezTo>
                    <a:pt x="1350" y="69"/>
                    <a:pt x="1350" y="69"/>
                    <a:pt x="1350" y="69"/>
                  </a:cubicBezTo>
                  <a:cubicBezTo>
                    <a:pt x="1415" y="105"/>
                    <a:pt x="1479" y="165"/>
                    <a:pt x="1527" y="235"/>
                  </a:cubicBezTo>
                  <a:cubicBezTo>
                    <a:pt x="1593" y="332"/>
                    <a:pt x="1624" y="442"/>
                    <a:pt x="1583" y="555"/>
                  </a:cubicBezTo>
                  <a:cubicBezTo>
                    <a:pt x="1500" y="781"/>
                    <a:pt x="1351" y="1030"/>
                    <a:pt x="1172" y="1253"/>
                  </a:cubicBezTo>
                  <a:cubicBezTo>
                    <a:pt x="994" y="1477"/>
                    <a:pt x="786" y="1676"/>
                    <a:pt x="586" y="1803"/>
                  </a:cubicBezTo>
                  <a:cubicBezTo>
                    <a:pt x="486" y="1867"/>
                    <a:pt x="375" y="1856"/>
                    <a:pt x="269" y="1807"/>
                  </a:cubicBezTo>
                  <a:cubicBezTo>
                    <a:pt x="157" y="1755"/>
                    <a:pt x="106" y="1695"/>
                    <a:pt x="33" y="1602"/>
                  </a:cubicBezTo>
                  <a:cubicBezTo>
                    <a:pt x="11" y="1573"/>
                    <a:pt x="0" y="1540"/>
                    <a:pt x="2" y="1508"/>
                  </a:cubicBezTo>
                  <a:cubicBezTo>
                    <a:pt x="4" y="1475"/>
                    <a:pt x="18" y="1444"/>
                    <a:pt x="45" y="1421"/>
                  </a:cubicBezTo>
                  <a:cubicBezTo>
                    <a:pt x="70" y="1399"/>
                    <a:pt x="346" y="1158"/>
                    <a:pt x="346" y="1158"/>
                  </a:cubicBezTo>
                  <a:cubicBezTo>
                    <a:pt x="376" y="1134"/>
                    <a:pt x="413" y="1133"/>
                    <a:pt x="448" y="1145"/>
                  </a:cubicBezTo>
                  <a:cubicBezTo>
                    <a:pt x="510" y="1166"/>
                    <a:pt x="536" y="1210"/>
                    <a:pt x="573" y="1257"/>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351"/>
            </a:p>
          </p:txBody>
        </p:sp>
      </p:grpSp>
      <p:grpSp>
        <p:nvGrpSpPr>
          <p:cNvPr id="38" name="Group 3">
            <a:extLst>
              <a:ext uri="{FF2B5EF4-FFF2-40B4-BE49-F238E27FC236}">
                <a16:creationId xmlns:a16="http://schemas.microsoft.com/office/drawing/2014/main" id="{7104BADD-8CD1-6F4A-B894-869C3BDB3EEB}"/>
              </a:ext>
            </a:extLst>
          </p:cNvPr>
          <p:cNvGrpSpPr>
            <a:grpSpLocks noChangeAspect="1"/>
          </p:cNvGrpSpPr>
          <p:nvPr>
            <p:custDataLst>
              <p:tags r:id="rId3"/>
            </p:custDataLst>
          </p:nvPr>
        </p:nvGrpSpPr>
        <p:grpSpPr>
          <a:xfrm>
            <a:off x="3770066" y="5330827"/>
            <a:ext cx="171180" cy="171180"/>
            <a:chOff x="328396" y="5313940"/>
            <a:chExt cx="720000" cy="720000"/>
          </a:xfrm>
        </p:grpSpPr>
        <p:sp>
          <p:nvSpPr>
            <p:cNvPr id="39" name="Rectangle 4">
              <a:extLst>
                <a:ext uri="{FF2B5EF4-FFF2-40B4-BE49-F238E27FC236}">
                  <a16:creationId xmlns:a16="http://schemas.microsoft.com/office/drawing/2014/main" id="{74BE3D5F-1445-6E40-8B49-72E15568383B}"/>
                </a:ext>
              </a:extLst>
            </p:cNvPr>
            <p:cNvSpPr/>
            <p:nvPr/>
          </p:nvSpPr>
          <p:spPr bwMode="gray">
            <a:xfrm>
              <a:off x="328396" y="5313940"/>
              <a:ext cx="720000" cy="720000"/>
            </a:xfrm>
            <a:prstGeom prst="rect">
              <a:avLst/>
            </a:prstGeom>
            <a:solidFill>
              <a:srgbClr val="E55A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pPr>
              <a:endParaRPr lang="en-US" sz="1000">
                <a:solidFill>
                  <a:schemeClr val="tx1"/>
                </a:solidFill>
                <a:latin typeface="Arial" pitchFamily="34" charset="0"/>
                <a:cs typeface="Arial" pitchFamily="34" charset="0"/>
              </a:endParaRPr>
            </a:p>
          </p:txBody>
        </p:sp>
        <p:sp>
          <p:nvSpPr>
            <p:cNvPr id="40" name="Freeform 76">
              <a:extLst>
                <a:ext uri="{FF2B5EF4-FFF2-40B4-BE49-F238E27FC236}">
                  <a16:creationId xmlns:a16="http://schemas.microsoft.com/office/drawing/2014/main" id="{55DB3C95-7D0C-D141-901E-96D692794D2B}"/>
                </a:ext>
              </a:extLst>
            </p:cNvPr>
            <p:cNvSpPr>
              <a:spLocks noChangeAspect="1" noEditPoints="1"/>
            </p:cNvSpPr>
            <p:nvPr/>
          </p:nvSpPr>
          <p:spPr bwMode="auto">
            <a:xfrm>
              <a:off x="456202" y="5509222"/>
              <a:ext cx="504000" cy="329436"/>
            </a:xfrm>
            <a:custGeom>
              <a:avLst/>
              <a:gdLst>
                <a:gd name="T0" fmla="*/ 0 w 2080"/>
                <a:gd name="T1" fmla="*/ 65 h 1360"/>
                <a:gd name="T2" fmla="*/ 0 w 2080"/>
                <a:gd name="T3" fmla="*/ 0 h 1360"/>
                <a:gd name="T4" fmla="*/ 2080 w 2080"/>
                <a:gd name="T5" fmla="*/ 0 h 1360"/>
                <a:gd name="T6" fmla="*/ 2080 w 2080"/>
                <a:gd name="T7" fmla="*/ 65 h 1360"/>
                <a:gd name="T8" fmla="*/ 1089 w 2080"/>
                <a:gd name="T9" fmla="*/ 862 h 1360"/>
                <a:gd name="T10" fmla="*/ 991 w 2080"/>
                <a:gd name="T11" fmla="*/ 862 h 1360"/>
                <a:gd name="T12" fmla="*/ 0 w 2080"/>
                <a:gd name="T13" fmla="*/ 65 h 1360"/>
                <a:gd name="T14" fmla="*/ 1139 w 2080"/>
                <a:gd name="T15" fmla="*/ 924 h 1360"/>
                <a:gd name="T16" fmla="*/ 1282 w 2080"/>
                <a:gd name="T17" fmla="*/ 810 h 1360"/>
                <a:gd name="T18" fmla="*/ 2076 w 2080"/>
                <a:gd name="T19" fmla="*/ 1360 h 1360"/>
                <a:gd name="T20" fmla="*/ 4 w 2080"/>
                <a:gd name="T21" fmla="*/ 1360 h 1360"/>
                <a:gd name="T22" fmla="*/ 798 w 2080"/>
                <a:gd name="T23" fmla="*/ 810 h 1360"/>
                <a:gd name="T24" fmla="*/ 941 w 2080"/>
                <a:gd name="T25" fmla="*/ 924 h 1360"/>
                <a:gd name="T26" fmla="*/ 1139 w 2080"/>
                <a:gd name="T27" fmla="*/ 924 h 1360"/>
                <a:gd name="T28" fmla="*/ 2 w 2080"/>
                <a:gd name="T29" fmla="*/ 137 h 1360"/>
                <a:gd name="T30" fmla="*/ 42 w 2080"/>
                <a:gd name="T31" fmla="*/ 201 h 1360"/>
                <a:gd name="T32" fmla="*/ 734 w 2080"/>
                <a:gd name="T33" fmla="*/ 758 h 1360"/>
                <a:gd name="T34" fmla="*/ 0 w 2080"/>
                <a:gd name="T35" fmla="*/ 1266 h 1360"/>
                <a:gd name="T36" fmla="*/ 0 w 2080"/>
                <a:gd name="T37" fmla="*/ 135 h 1360"/>
                <a:gd name="T38" fmla="*/ 2 w 2080"/>
                <a:gd name="T39" fmla="*/ 137 h 1360"/>
                <a:gd name="T40" fmla="*/ 2080 w 2080"/>
                <a:gd name="T41" fmla="*/ 136 h 1360"/>
                <a:gd name="T42" fmla="*/ 2080 w 2080"/>
                <a:gd name="T43" fmla="*/ 1265 h 1360"/>
                <a:gd name="T44" fmla="*/ 1346 w 2080"/>
                <a:gd name="T45" fmla="*/ 758 h 1360"/>
                <a:gd name="T46" fmla="*/ 2038 w 2080"/>
                <a:gd name="T47" fmla="*/ 201 h 1360"/>
                <a:gd name="T48" fmla="*/ 2080 w 2080"/>
                <a:gd name="T49" fmla="*/ 136 h 1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080" h="1360">
                  <a:moveTo>
                    <a:pt x="0" y="65"/>
                  </a:moveTo>
                  <a:cubicBezTo>
                    <a:pt x="0" y="0"/>
                    <a:pt x="0" y="0"/>
                    <a:pt x="0" y="0"/>
                  </a:cubicBezTo>
                  <a:cubicBezTo>
                    <a:pt x="2080" y="0"/>
                    <a:pt x="2080" y="0"/>
                    <a:pt x="2080" y="0"/>
                  </a:cubicBezTo>
                  <a:cubicBezTo>
                    <a:pt x="2080" y="65"/>
                    <a:pt x="2080" y="65"/>
                    <a:pt x="2080" y="65"/>
                  </a:cubicBezTo>
                  <a:cubicBezTo>
                    <a:pt x="1089" y="862"/>
                    <a:pt x="1089" y="862"/>
                    <a:pt x="1089" y="862"/>
                  </a:cubicBezTo>
                  <a:cubicBezTo>
                    <a:pt x="1060" y="886"/>
                    <a:pt x="1020" y="886"/>
                    <a:pt x="991" y="862"/>
                  </a:cubicBezTo>
                  <a:lnTo>
                    <a:pt x="0" y="65"/>
                  </a:lnTo>
                  <a:close/>
                  <a:moveTo>
                    <a:pt x="1139" y="924"/>
                  </a:moveTo>
                  <a:cubicBezTo>
                    <a:pt x="1282" y="810"/>
                    <a:pt x="1282" y="810"/>
                    <a:pt x="1282" y="810"/>
                  </a:cubicBezTo>
                  <a:cubicBezTo>
                    <a:pt x="2076" y="1360"/>
                    <a:pt x="2076" y="1360"/>
                    <a:pt x="2076" y="1360"/>
                  </a:cubicBezTo>
                  <a:cubicBezTo>
                    <a:pt x="4" y="1360"/>
                    <a:pt x="4" y="1360"/>
                    <a:pt x="4" y="1360"/>
                  </a:cubicBezTo>
                  <a:cubicBezTo>
                    <a:pt x="798" y="810"/>
                    <a:pt x="798" y="810"/>
                    <a:pt x="798" y="810"/>
                  </a:cubicBezTo>
                  <a:cubicBezTo>
                    <a:pt x="941" y="924"/>
                    <a:pt x="941" y="924"/>
                    <a:pt x="941" y="924"/>
                  </a:cubicBezTo>
                  <a:cubicBezTo>
                    <a:pt x="1000" y="972"/>
                    <a:pt x="1080" y="972"/>
                    <a:pt x="1139" y="924"/>
                  </a:cubicBezTo>
                  <a:close/>
                  <a:moveTo>
                    <a:pt x="2" y="137"/>
                  </a:moveTo>
                  <a:cubicBezTo>
                    <a:pt x="8" y="163"/>
                    <a:pt x="22" y="185"/>
                    <a:pt x="42" y="201"/>
                  </a:cubicBezTo>
                  <a:cubicBezTo>
                    <a:pt x="734" y="758"/>
                    <a:pt x="734" y="758"/>
                    <a:pt x="734" y="758"/>
                  </a:cubicBezTo>
                  <a:cubicBezTo>
                    <a:pt x="0" y="1266"/>
                    <a:pt x="0" y="1266"/>
                    <a:pt x="0" y="1266"/>
                  </a:cubicBezTo>
                  <a:cubicBezTo>
                    <a:pt x="0" y="135"/>
                    <a:pt x="0" y="135"/>
                    <a:pt x="0" y="135"/>
                  </a:cubicBezTo>
                  <a:lnTo>
                    <a:pt x="2" y="137"/>
                  </a:lnTo>
                  <a:close/>
                  <a:moveTo>
                    <a:pt x="2080" y="136"/>
                  </a:moveTo>
                  <a:cubicBezTo>
                    <a:pt x="2080" y="1265"/>
                    <a:pt x="2080" y="1265"/>
                    <a:pt x="2080" y="1265"/>
                  </a:cubicBezTo>
                  <a:cubicBezTo>
                    <a:pt x="1346" y="758"/>
                    <a:pt x="1346" y="758"/>
                    <a:pt x="1346" y="758"/>
                  </a:cubicBezTo>
                  <a:cubicBezTo>
                    <a:pt x="2038" y="201"/>
                    <a:pt x="2038" y="201"/>
                    <a:pt x="2038" y="201"/>
                  </a:cubicBezTo>
                  <a:cubicBezTo>
                    <a:pt x="2060" y="182"/>
                    <a:pt x="2072" y="162"/>
                    <a:pt x="2080" y="13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000"/>
            </a:p>
          </p:txBody>
        </p:sp>
      </p:grpSp>
      <p:cxnSp>
        <p:nvCxnSpPr>
          <p:cNvPr id="41" name="Straight Connector 40"/>
          <p:cNvCxnSpPr/>
          <p:nvPr/>
        </p:nvCxnSpPr>
        <p:spPr>
          <a:xfrm>
            <a:off x="2355914" y="5655833"/>
            <a:ext cx="3888000" cy="0"/>
          </a:xfrm>
          <a:prstGeom prst="line">
            <a:avLst/>
          </a:prstGeom>
          <a:ln w="6350">
            <a:solidFill>
              <a:schemeClr val="tx2"/>
            </a:solidFill>
            <a:prstDash val="dash"/>
          </a:ln>
        </p:spPr>
        <p:style>
          <a:lnRef idx="1">
            <a:schemeClr val="accent1"/>
          </a:lnRef>
          <a:fillRef idx="0">
            <a:schemeClr val="accent1"/>
          </a:fillRef>
          <a:effectRef idx="0">
            <a:schemeClr val="accent1"/>
          </a:effectRef>
          <a:fontRef idx="minor">
            <a:schemeClr val="tx1"/>
          </a:fontRef>
        </p:style>
      </p:cxnSp>
      <p:sp>
        <p:nvSpPr>
          <p:cNvPr id="42" name="Picture Placeholder 3"/>
          <p:cNvSpPr>
            <a:spLocks noGrp="1"/>
          </p:cNvSpPr>
          <p:nvPr>
            <p:ph type="pic" sz="quarter" idx="29" hasCustomPrompt="1"/>
          </p:nvPr>
        </p:nvSpPr>
        <p:spPr>
          <a:xfrm>
            <a:off x="2355914" y="3986604"/>
            <a:ext cx="1188677" cy="1547840"/>
          </a:xfrm>
          <a:solidFill>
            <a:srgbClr val="D9DADB"/>
          </a:solidFill>
        </p:spPr>
        <p:txBody>
          <a:bodyPr/>
          <a:lstStyle>
            <a:lvl1pPr marL="0" indent="0">
              <a:buNone/>
              <a:defRPr sz="1400"/>
            </a:lvl1pPr>
          </a:lstStyle>
          <a:p>
            <a:r>
              <a:rPr lang="en-US"/>
              <a:t>Insert picture</a:t>
            </a:r>
          </a:p>
        </p:txBody>
      </p:sp>
      <p:sp>
        <p:nvSpPr>
          <p:cNvPr id="43" name="Text Placeholder 5"/>
          <p:cNvSpPr>
            <a:spLocks noGrp="1"/>
          </p:cNvSpPr>
          <p:nvPr>
            <p:ph type="body" sz="quarter" idx="30" hasCustomPrompt="1"/>
          </p:nvPr>
        </p:nvSpPr>
        <p:spPr>
          <a:xfrm>
            <a:off x="3770065" y="3986141"/>
            <a:ext cx="2463190" cy="192360"/>
          </a:xfrm>
        </p:spPr>
        <p:txBody>
          <a:bodyPr lIns="0" tIns="0" rIns="0" bIns="0" anchor="ctr" anchorCtr="0"/>
          <a:lstStyle>
            <a:lvl1pPr marL="0" indent="0" algn="l">
              <a:lnSpc>
                <a:spcPct val="100000"/>
              </a:lnSpc>
              <a:buNone/>
              <a:defRPr sz="100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Country</a:t>
            </a:r>
          </a:p>
        </p:txBody>
      </p:sp>
      <p:sp>
        <p:nvSpPr>
          <p:cNvPr id="44" name="Text Placeholder 5"/>
          <p:cNvSpPr>
            <a:spLocks noGrp="1"/>
          </p:cNvSpPr>
          <p:nvPr>
            <p:ph type="body" sz="quarter" idx="31" hasCustomPrompt="1"/>
          </p:nvPr>
        </p:nvSpPr>
        <p:spPr>
          <a:xfrm>
            <a:off x="3770065" y="4197957"/>
            <a:ext cx="2463190" cy="266182"/>
          </a:xfrm>
        </p:spPr>
        <p:txBody>
          <a:bodyPr lIns="0" tIns="0" rIns="0" bIns="0" anchor="b" anchorCtr="0"/>
          <a:lstStyle>
            <a:lvl1pPr marL="0" indent="0" algn="l">
              <a:lnSpc>
                <a:spcPct val="100000"/>
              </a:lnSpc>
              <a:buNone/>
              <a:defRPr sz="1400" b="1" baseline="0">
                <a:solidFill>
                  <a:schemeClr val="tx2"/>
                </a:solidFill>
              </a:defRPr>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Name, Surname</a:t>
            </a:r>
          </a:p>
        </p:txBody>
      </p:sp>
      <p:sp>
        <p:nvSpPr>
          <p:cNvPr id="45" name="Text Placeholder 5"/>
          <p:cNvSpPr>
            <a:spLocks noGrp="1"/>
          </p:cNvSpPr>
          <p:nvPr>
            <p:ph type="body" sz="quarter" idx="32" hasCustomPrompt="1"/>
          </p:nvPr>
        </p:nvSpPr>
        <p:spPr>
          <a:xfrm>
            <a:off x="3770065" y="4494532"/>
            <a:ext cx="2463190"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Job Position</a:t>
            </a:r>
          </a:p>
        </p:txBody>
      </p:sp>
      <p:sp>
        <p:nvSpPr>
          <p:cNvPr id="46" name="Text Placeholder 5"/>
          <p:cNvSpPr>
            <a:spLocks noGrp="1"/>
          </p:cNvSpPr>
          <p:nvPr>
            <p:ph type="body" sz="quarter" idx="33" hasCustomPrompt="1"/>
          </p:nvPr>
        </p:nvSpPr>
        <p:spPr>
          <a:xfrm>
            <a:off x="4014948" y="5023208"/>
            <a:ext cx="2218307"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Phone number</a:t>
            </a:r>
          </a:p>
        </p:txBody>
      </p:sp>
      <p:sp>
        <p:nvSpPr>
          <p:cNvPr id="47" name="Text Placeholder 5"/>
          <p:cNvSpPr>
            <a:spLocks noGrp="1"/>
          </p:cNvSpPr>
          <p:nvPr>
            <p:ph type="body" sz="quarter" idx="34" hasCustomPrompt="1"/>
          </p:nvPr>
        </p:nvSpPr>
        <p:spPr>
          <a:xfrm>
            <a:off x="4014948" y="5306015"/>
            <a:ext cx="2218307"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Email address</a:t>
            </a:r>
          </a:p>
        </p:txBody>
      </p:sp>
    </p:spTree>
    <p:extLst>
      <p:ext uri="{BB962C8B-B14F-4D97-AF65-F5344CB8AC3E}">
        <p14:creationId xmlns:p14="http://schemas.microsoft.com/office/powerpoint/2010/main" val="3242669591"/>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p:cSld name="Four contacts">
    <p:spTree>
      <p:nvGrpSpPr>
        <p:cNvPr id="1" name=""/>
        <p:cNvGrpSpPr/>
        <p:nvPr/>
      </p:nvGrpSpPr>
      <p:grpSpPr>
        <a:xfrm>
          <a:off x="0" y="0"/>
          <a:ext cx="0" cy="0"/>
          <a:chOff x="0" y="0"/>
          <a:chExt cx="0" cy="0"/>
        </a:xfrm>
      </p:grpSpPr>
      <p:sp>
        <p:nvSpPr>
          <p:cNvPr id="21" name="Date Placeholder 20"/>
          <p:cNvSpPr>
            <a:spLocks noGrp="1"/>
          </p:cNvSpPr>
          <p:nvPr>
            <p:ph type="dt" sz="half" idx="14"/>
          </p:nvPr>
        </p:nvSpPr>
        <p:spPr/>
        <p:txBody>
          <a:bodyPr/>
          <a:lstStyle/>
          <a:p>
            <a:endParaRPr lang="en-US"/>
          </a:p>
        </p:txBody>
      </p:sp>
      <p:sp>
        <p:nvSpPr>
          <p:cNvPr id="22" name="Footer Placeholder 21"/>
          <p:cNvSpPr>
            <a:spLocks noGrp="1"/>
          </p:cNvSpPr>
          <p:nvPr>
            <p:ph type="ftr" sz="quarter" idx="15"/>
          </p:nvPr>
        </p:nvSpPr>
        <p:spPr/>
        <p:txBody>
          <a:bodyPr/>
          <a:lstStyle/>
          <a:p>
            <a:endParaRPr lang="en-US"/>
          </a:p>
        </p:txBody>
      </p:sp>
      <p:sp>
        <p:nvSpPr>
          <p:cNvPr id="23" name="Slide Number Placeholder 22"/>
          <p:cNvSpPr>
            <a:spLocks noGrp="1"/>
          </p:cNvSpPr>
          <p:nvPr>
            <p:ph type="sldNum" sz="quarter" idx="16"/>
          </p:nvPr>
        </p:nvSpPr>
        <p:spPr/>
        <p:txBody>
          <a:bodyPr/>
          <a:lstStyle/>
          <a:p>
            <a:fld id="{5F3E29E4-0979-4FCA-B4C5-5FC6044C982A}" type="slidenum">
              <a:rPr lang="en-US" smtClean="0"/>
              <a:t>‹#›</a:t>
            </a:fld>
            <a:endParaRPr lang="en-US"/>
          </a:p>
        </p:txBody>
      </p:sp>
      <p:sp>
        <p:nvSpPr>
          <p:cNvPr id="2" name="Title 1"/>
          <p:cNvSpPr>
            <a:spLocks noGrp="1"/>
          </p:cNvSpPr>
          <p:nvPr>
            <p:ph type="title" hasCustomPrompt="1"/>
          </p:nvPr>
        </p:nvSpPr>
        <p:spPr/>
        <p:txBody>
          <a:bodyPr/>
          <a:lstStyle>
            <a:lvl1pPr>
              <a:defRPr/>
            </a:lvl1pPr>
          </a:lstStyle>
          <a:p>
            <a:r>
              <a:rPr lang="en-US"/>
              <a:t>Click to add contact title</a:t>
            </a:r>
          </a:p>
        </p:txBody>
      </p:sp>
      <p:sp>
        <p:nvSpPr>
          <p:cNvPr id="7" name="Subtitle 2"/>
          <p:cNvSpPr>
            <a:spLocks noGrp="1"/>
          </p:cNvSpPr>
          <p:nvPr>
            <p:ph type="subTitle" idx="13" hasCustomPrompt="1"/>
          </p:nvPr>
        </p:nvSpPr>
        <p:spPr>
          <a:xfrm>
            <a:off x="1075061" y="964671"/>
            <a:ext cx="7910158" cy="490042"/>
          </a:xfrm>
        </p:spPr>
        <p:txBody>
          <a:bodyPr wrap="none"/>
          <a:lstStyle>
            <a:lvl1pPr marL="0" indent="0" algn="l">
              <a:spcBef>
                <a:spcPts val="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grpSp>
        <p:nvGrpSpPr>
          <p:cNvPr id="8" name="Gruppieren 80">
            <a:extLst>
              <a:ext uri="{FF2B5EF4-FFF2-40B4-BE49-F238E27FC236}">
                <a16:creationId xmlns:a16="http://schemas.microsoft.com/office/drawing/2014/main" id="{6B969E7B-9C39-4443-9B02-74C1E7C5CCAC}"/>
              </a:ext>
            </a:extLst>
          </p:cNvPr>
          <p:cNvGrpSpPr/>
          <p:nvPr/>
        </p:nvGrpSpPr>
        <p:grpSpPr>
          <a:xfrm>
            <a:off x="3770065" y="2868319"/>
            <a:ext cx="171180" cy="171180"/>
            <a:chOff x="3392092" y="1841122"/>
            <a:chExt cx="646508" cy="646508"/>
          </a:xfrm>
        </p:grpSpPr>
        <p:sp>
          <p:nvSpPr>
            <p:cNvPr id="9" name="Rechteck 14">
              <a:extLst>
                <a:ext uri="{FF2B5EF4-FFF2-40B4-BE49-F238E27FC236}">
                  <a16:creationId xmlns:a16="http://schemas.microsoft.com/office/drawing/2014/main" id="{D78F58EA-5525-8D43-8295-FEA52ECF6BFA}"/>
                </a:ext>
              </a:extLst>
            </p:cNvPr>
            <p:cNvSpPr>
              <a:spLocks noChangeAspect="1"/>
            </p:cNvSpPr>
            <p:nvPr/>
          </p:nvSpPr>
          <p:spPr bwMode="gray">
            <a:xfrm>
              <a:off x="3392092" y="1841122"/>
              <a:ext cx="646508" cy="646508"/>
            </a:xfrm>
            <a:prstGeom prst="rect">
              <a:avLst/>
            </a:prstGeom>
            <a:solidFill>
              <a:srgbClr val="E55A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pPr>
              <a:endParaRPr lang="en-US" sz="1000">
                <a:solidFill>
                  <a:schemeClr val="tx1"/>
                </a:solidFill>
                <a:latin typeface="Arial" pitchFamily="34" charset="0"/>
                <a:cs typeface="Arial" pitchFamily="34" charset="0"/>
              </a:endParaRPr>
            </a:p>
          </p:txBody>
        </p:sp>
        <p:sp>
          <p:nvSpPr>
            <p:cNvPr id="10" name="Freeform 67">
              <a:extLst>
                <a:ext uri="{FF2B5EF4-FFF2-40B4-BE49-F238E27FC236}">
                  <a16:creationId xmlns:a16="http://schemas.microsoft.com/office/drawing/2014/main" id="{D01A6292-2776-4945-B828-483D79DC4908}"/>
                </a:ext>
              </a:extLst>
            </p:cNvPr>
            <p:cNvSpPr>
              <a:spLocks noChangeAspect="1"/>
            </p:cNvSpPr>
            <p:nvPr/>
          </p:nvSpPr>
          <p:spPr bwMode="auto">
            <a:xfrm>
              <a:off x="3546638" y="1970424"/>
              <a:ext cx="337415" cy="387905"/>
            </a:xfrm>
            <a:custGeom>
              <a:avLst/>
              <a:gdLst>
                <a:gd name="T0" fmla="*/ 573 w 1624"/>
                <a:gd name="T1" fmla="*/ 1257 h 1867"/>
                <a:gd name="T2" fmla="*/ 662 w 1624"/>
                <a:gd name="T3" fmla="*/ 1288 h 1867"/>
                <a:gd name="T4" fmla="*/ 938 w 1624"/>
                <a:gd name="T5" fmla="*/ 1051 h 1867"/>
                <a:gd name="T6" fmla="*/ 1106 w 1624"/>
                <a:gd name="T7" fmla="*/ 731 h 1867"/>
                <a:gd name="T8" fmla="*/ 1059 w 1624"/>
                <a:gd name="T9" fmla="*/ 645 h 1867"/>
                <a:gd name="T10" fmla="*/ 1001 w 1624"/>
                <a:gd name="T11" fmla="*/ 613 h 1867"/>
                <a:gd name="T12" fmla="*/ 924 w 1624"/>
                <a:gd name="T13" fmla="*/ 432 h 1867"/>
                <a:gd name="T14" fmla="*/ 1114 w 1624"/>
                <a:gd name="T15" fmla="*/ 81 h 1867"/>
                <a:gd name="T16" fmla="*/ 1287 w 1624"/>
                <a:gd name="T17" fmla="*/ 35 h 1867"/>
                <a:gd name="T18" fmla="*/ 1350 w 1624"/>
                <a:gd name="T19" fmla="*/ 69 h 1867"/>
                <a:gd name="T20" fmla="*/ 1527 w 1624"/>
                <a:gd name="T21" fmla="*/ 235 h 1867"/>
                <a:gd name="T22" fmla="*/ 1583 w 1624"/>
                <a:gd name="T23" fmla="*/ 555 h 1867"/>
                <a:gd name="T24" fmla="*/ 1172 w 1624"/>
                <a:gd name="T25" fmla="*/ 1253 h 1867"/>
                <a:gd name="T26" fmla="*/ 586 w 1624"/>
                <a:gd name="T27" fmla="*/ 1803 h 1867"/>
                <a:gd name="T28" fmla="*/ 269 w 1624"/>
                <a:gd name="T29" fmla="*/ 1807 h 1867"/>
                <a:gd name="T30" fmla="*/ 33 w 1624"/>
                <a:gd name="T31" fmla="*/ 1602 h 1867"/>
                <a:gd name="T32" fmla="*/ 2 w 1624"/>
                <a:gd name="T33" fmla="*/ 1508 h 1867"/>
                <a:gd name="T34" fmla="*/ 45 w 1624"/>
                <a:gd name="T35" fmla="*/ 1421 h 1867"/>
                <a:gd name="T36" fmla="*/ 346 w 1624"/>
                <a:gd name="T37" fmla="*/ 1158 h 1867"/>
                <a:gd name="T38" fmla="*/ 448 w 1624"/>
                <a:gd name="T39" fmla="*/ 1145 h 1867"/>
                <a:gd name="T40" fmla="*/ 573 w 1624"/>
                <a:gd name="T41" fmla="*/ 1257 h 18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24" h="1867">
                  <a:moveTo>
                    <a:pt x="573" y="1257"/>
                  </a:moveTo>
                  <a:cubicBezTo>
                    <a:pt x="592" y="1282"/>
                    <a:pt x="630" y="1303"/>
                    <a:pt x="662" y="1288"/>
                  </a:cubicBezTo>
                  <a:cubicBezTo>
                    <a:pt x="753" y="1245"/>
                    <a:pt x="854" y="1156"/>
                    <a:pt x="938" y="1051"/>
                  </a:cubicBezTo>
                  <a:cubicBezTo>
                    <a:pt x="1020" y="948"/>
                    <a:pt x="1084" y="831"/>
                    <a:pt x="1106" y="731"/>
                  </a:cubicBezTo>
                  <a:cubicBezTo>
                    <a:pt x="1113" y="696"/>
                    <a:pt x="1089" y="661"/>
                    <a:pt x="1059" y="645"/>
                  </a:cubicBezTo>
                  <a:cubicBezTo>
                    <a:pt x="1001" y="613"/>
                    <a:pt x="1001" y="613"/>
                    <a:pt x="1001" y="613"/>
                  </a:cubicBezTo>
                  <a:cubicBezTo>
                    <a:pt x="942" y="580"/>
                    <a:pt x="888" y="499"/>
                    <a:pt x="924" y="432"/>
                  </a:cubicBezTo>
                  <a:cubicBezTo>
                    <a:pt x="1114" y="81"/>
                    <a:pt x="1114" y="81"/>
                    <a:pt x="1114" y="81"/>
                  </a:cubicBezTo>
                  <a:cubicBezTo>
                    <a:pt x="1150" y="16"/>
                    <a:pt x="1224" y="0"/>
                    <a:pt x="1287" y="35"/>
                  </a:cubicBezTo>
                  <a:cubicBezTo>
                    <a:pt x="1350" y="69"/>
                    <a:pt x="1350" y="69"/>
                    <a:pt x="1350" y="69"/>
                  </a:cubicBezTo>
                  <a:cubicBezTo>
                    <a:pt x="1415" y="105"/>
                    <a:pt x="1479" y="165"/>
                    <a:pt x="1527" y="235"/>
                  </a:cubicBezTo>
                  <a:cubicBezTo>
                    <a:pt x="1593" y="332"/>
                    <a:pt x="1624" y="442"/>
                    <a:pt x="1583" y="555"/>
                  </a:cubicBezTo>
                  <a:cubicBezTo>
                    <a:pt x="1500" y="781"/>
                    <a:pt x="1351" y="1030"/>
                    <a:pt x="1172" y="1253"/>
                  </a:cubicBezTo>
                  <a:cubicBezTo>
                    <a:pt x="994" y="1477"/>
                    <a:pt x="786" y="1676"/>
                    <a:pt x="586" y="1803"/>
                  </a:cubicBezTo>
                  <a:cubicBezTo>
                    <a:pt x="486" y="1867"/>
                    <a:pt x="375" y="1856"/>
                    <a:pt x="269" y="1807"/>
                  </a:cubicBezTo>
                  <a:cubicBezTo>
                    <a:pt x="157" y="1755"/>
                    <a:pt x="106" y="1695"/>
                    <a:pt x="33" y="1602"/>
                  </a:cubicBezTo>
                  <a:cubicBezTo>
                    <a:pt x="11" y="1573"/>
                    <a:pt x="0" y="1540"/>
                    <a:pt x="2" y="1508"/>
                  </a:cubicBezTo>
                  <a:cubicBezTo>
                    <a:pt x="4" y="1475"/>
                    <a:pt x="18" y="1444"/>
                    <a:pt x="45" y="1421"/>
                  </a:cubicBezTo>
                  <a:cubicBezTo>
                    <a:pt x="70" y="1399"/>
                    <a:pt x="346" y="1158"/>
                    <a:pt x="346" y="1158"/>
                  </a:cubicBezTo>
                  <a:cubicBezTo>
                    <a:pt x="376" y="1134"/>
                    <a:pt x="413" y="1133"/>
                    <a:pt x="448" y="1145"/>
                  </a:cubicBezTo>
                  <a:cubicBezTo>
                    <a:pt x="510" y="1166"/>
                    <a:pt x="536" y="1210"/>
                    <a:pt x="573" y="1257"/>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351"/>
            </a:p>
          </p:txBody>
        </p:sp>
      </p:grpSp>
      <p:grpSp>
        <p:nvGrpSpPr>
          <p:cNvPr id="11" name="Group 3">
            <a:extLst>
              <a:ext uri="{FF2B5EF4-FFF2-40B4-BE49-F238E27FC236}">
                <a16:creationId xmlns:a16="http://schemas.microsoft.com/office/drawing/2014/main" id="{DED6A25A-5DE2-1441-8BA2-C68D3B4F9209}"/>
              </a:ext>
            </a:extLst>
          </p:cNvPr>
          <p:cNvGrpSpPr>
            <a:grpSpLocks noChangeAspect="1"/>
          </p:cNvGrpSpPr>
          <p:nvPr>
            <p:custDataLst>
              <p:tags r:id="rId1"/>
            </p:custDataLst>
          </p:nvPr>
        </p:nvGrpSpPr>
        <p:grpSpPr>
          <a:xfrm>
            <a:off x="3770066" y="3153207"/>
            <a:ext cx="171180" cy="171180"/>
            <a:chOff x="328396" y="5313940"/>
            <a:chExt cx="720000" cy="720000"/>
          </a:xfrm>
        </p:grpSpPr>
        <p:sp>
          <p:nvSpPr>
            <p:cNvPr id="12" name="Rectangle 4">
              <a:extLst>
                <a:ext uri="{FF2B5EF4-FFF2-40B4-BE49-F238E27FC236}">
                  <a16:creationId xmlns:a16="http://schemas.microsoft.com/office/drawing/2014/main" id="{5F49E67F-D4FA-9D48-96BC-59AE946ECD15}"/>
                </a:ext>
              </a:extLst>
            </p:cNvPr>
            <p:cNvSpPr/>
            <p:nvPr/>
          </p:nvSpPr>
          <p:spPr bwMode="gray">
            <a:xfrm>
              <a:off x="328396" y="5313940"/>
              <a:ext cx="720000" cy="720000"/>
            </a:xfrm>
            <a:prstGeom prst="rect">
              <a:avLst/>
            </a:prstGeom>
            <a:solidFill>
              <a:srgbClr val="E55A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pPr>
              <a:endParaRPr lang="en-US" sz="1000">
                <a:solidFill>
                  <a:schemeClr val="tx1"/>
                </a:solidFill>
                <a:latin typeface="Arial" pitchFamily="34" charset="0"/>
                <a:cs typeface="Arial" pitchFamily="34" charset="0"/>
              </a:endParaRPr>
            </a:p>
          </p:txBody>
        </p:sp>
        <p:sp>
          <p:nvSpPr>
            <p:cNvPr id="13" name="Freeform 76">
              <a:extLst>
                <a:ext uri="{FF2B5EF4-FFF2-40B4-BE49-F238E27FC236}">
                  <a16:creationId xmlns:a16="http://schemas.microsoft.com/office/drawing/2014/main" id="{187E70E6-AF3F-2549-908E-DF4BA61040AA}"/>
                </a:ext>
              </a:extLst>
            </p:cNvPr>
            <p:cNvSpPr>
              <a:spLocks noChangeAspect="1" noEditPoints="1"/>
            </p:cNvSpPr>
            <p:nvPr/>
          </p:nvSpPr>
          <p:spPr bwMode="auto">
            <a:xfrm>
              <a:off x="456202" y="5509222"/>
              <a:ext cx="504000" cy="329436"/>
            </a:xfrm>
            <a:custGeom>
              <a:avLst/>
              <a:gdLst>
                <a:gd name="T0" fmla="*/ 0 w 2080"/>
                <a:gd name="T1" fmla="*/ 65 h 1360"/>
                <a:gd name="T2" fmla="*/ 0 w 2080"/>
                <a:gd name="T3" fmla="*/ 0 h 1360"/>
                <a:gd name="T4" fmla="*/ 2080 w 2080"/>
                <a:gd name="T5" fmla="*/ 0 h 1360"/>
                <a:gd name="T6" fmla="*/ 2080 w 2080"/>
                <a:gd name="T7" fmla="*/ 65 h 1360"/>
                <a:gd name="T8" fmla="*/ 1089 w 2080"/>
                <a:gd name="T9" fmla="*/ 862 h 1360"/>
                <a:gd name="T10" fmla="*/ 991 w 2080"/>
                <a:gd name="T11" fmla="*/ 862 h 1360"/>
                <a:gd name="T12" fmla="*/ 0 w 2080"/>
                <a:gd name="T13" fmla="*/ 65 h 1360"/>
                <a:gd name="T14" fmla="*/ 1139 w 2080"/>
                <a:gd name="T15" fmla="*/ 924 h 1360"/>
                <a:gd name="T16" fmla="*/ 1282 w 2080"/>
                <a:gd name="T17" fmla="*/ 810 h 1360"/>
                <a:gd name="T18" fmla="*/ 2076 w 2080"/>
                <a:gd name="T19" fmla="*/ 1360 h 1360"/>
                <a:gd name="T20" fmla="*/ 4 w 2080"/>
                <a:gd name="T21" fmla="*/ 1360 h 1360"/>
                <a:gd name="T22" fmla="*/ 798 w 2080"/>
                <a:gd name="T23" fmla="*/ 810 h 1360"/>
                <a:gd name="T24" fmla="*/ 941 w 2080"/>
                <a:gd name="T25" fmla="*/ 924 h 1360"/>
                <a:gd name="T26" fmla="*/ 1139 w 2080"/>
                <a:gd name="T27" fmla="*/ 924 h 1360"/>
                <a:gd name="T28" fmla="*/ 2 w 2080"/>
                <a:gd name="T29" fmla="*/ 137 h 1360"/>
                <a:gd name="T30" fmla="*/ 42 w 2080"/>
                <a:gd name="T31" fmla="*/ 201 h 1360"/>
                <a:gd name="T32" fmla="*/ 734 w 2080"/>
                <a:gd name="T33" fmla="*/ 758 h 1360"/>
                <a:gd name="T34" fmla="*/ 0 w 2080"/>
                <a:gd name="T35" fmla="*/ 1266 h 1360"/>
                <a:gd name="T36" fmla="*/ 0 w 2080"/>
                <a:gd name="T37" fmla="*/ 135 h 1360"/>
                <a:gd name="T38" fmla="*/ 2 w 2080"/>
                <a:gd name="T39" fmla="*/ 137 h 1360"/>
                <a:gd name="T40" fmla="*/ 2080 w 2080"/>
                <a:gd name="T41" fmla="*/ 136 h 1360"/>
                <a:gd name="T42" fmla="*/ 2080 w 2080"/>
                <a:gd name="T43" fmla="*/ 1265 h 1360"/>
                <a:gd name="T44" fmla="*/ 1346 w 2080"/>
                <a:gd name="T45" fmla="*/ 758 h 1360"/>
                <a:gd name="T46" fmla="*/ 2038 w 2080"/>
                <a:gd name="T47" fmla="*/ 201 h 1360"/>
                <a:gd name="T48" fmla="*/ 2080 w 2080"/>
                <a:gd name="T49" fmla="*/ 136 h 1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080" h="1360">
                  <a:moveTo>
                    <a:pt x="0" y="65"/>
                  </a:moveTo>
                  <a:cubicBezTo>
                    <a:pt x="0" y="0"/>
                    <a:pt x="0" y="0"/>
                    <a:pt x="0" y="0"/>
                  </a:cubicBezTo>
                  <a:cubicBezTo>
                    <a:pt x="2080" y="0"/>
                    <a:pt x="2080" y="0"/>
                    <a:pt x="2080" y="0"/>
                  </a:cubicBezTo>
                  <a:cubicBezTo>
                    <a:pt x="2080" y="65"/>
                    <a:pt x="2080" y="65"/>
                    <a:pt x="2080" y="65"/>
                  </a:cubicBezTo>
                  <a:cubicBezTo>
                    <a:pt x="1089" y="862"/>
                    <a:pt x="1089" y="862"/>
                    <a:pt x="1089" y="862"/>
                  </a:cubicBezTo>
                  <a:cubicBezTo>
                    <a:pt x="1060" y="886"/>
                    <a:pt x="1020" y="886"/>
                    <a:pt x="991" y="862"/>
                  </a:cubicBezTo>
                  <a:lnTo>
                    <a:pt x="0" y="65"/>
                  </a:lnTo>
                  <a:close/>
                  <a:moveTo>
                    <a:pt x="1139" y="924"/>
                  </a:moveTo>
                  <a:cubicBezTo>
                    <a:pt x="1282" y="810"/>
                    <a:pt x="1282" y="810"/>
                    <a:pt x="1282" y="810"/>
                  </a:cubicBezTo>
                  <a:cubicBezTo>
                    <a:pt x="2076" y="1360"/>
                    <a:pt x="2076" y="1360"/>
                    <a:pt x="2076" y="1360"/>
                  </a:cubicBezTo>
                  <a:cubicBezTo>
                    <a:pt x="4" y="1360"/>
                    <a:pt x="4" y="1360"/>
                    <a:pt x="4" y="1360"/>
                  </a:cubicBezTo>
                  <a:cubicBezTo>
                    <a:pt x="798" y="810"/>
                    <a:pt x="798" y="810"/>
                    <a:pt x="798" y="810"/>
                  </a:cubicBezTo>
                  <a:cubicBezTo>
                    <a:pt x="941" y="924"/>
                    <a:pt x="941" y="924"/>
                    <a:pt x="941" y="924"/>
                  </a:cubicBezTo>
                  <a:cubicBezTo>
                    <a:pt x="1000" y="972"/>
                    <a:pt x="1080" y="972"/>
                    <a:pt x="1139" y="924"/>
                  </a:cubicBezTo>
                  <a:close/>
                  <a:moveTo>
                    <a:pt x="2" y="137"/>
                  </a:moveTo>
                  <a:cubicBezTo>
                    <a:pt x="8" y="163"/>
                    <a:pt x="22" y="185"/>
                    <a:pt x="42" y="201"/>
                  </a:cubicBezTo>
                  <a:cubicBezTo>
                    <a:pt x="734" y="758"/>
                    <a:pt x="734" y="758"/>
                    <a:pt x="734" y="758"/>
                  </a:cubicBezTo>
                  <a:cubicBezTo>
                    <a:pt x="0" y="1266"/>
                    <a:pt x="0" y="1266"/>
                    <a:pt x="0" y="1266"/>
                  </a:cubicBezTo>
                  <a:cubicBezTo>
                    <a:pt x="0" y="135"/>
                    <a:pt x="0" y="135"/>
                    <a:pt x="0" y="135"/>
                  </a:cubicBezTo>
                  <a:lnTo>
                    <a:pt x="2" y="137"/>
                  </a:lnTo>
                  <a:close/>
                  <a:moveTo>
                    <a:pt x="2080" y="136"/>
                  </a:moveTo>
                  <a:cubicBezTo>
                    <a:pt x="2080" y="1265"/>
                    <a:pt x="2080" y="1265"/>
                    <a:pt x="2080" y="1265"/>
                  </a:cubicBezTo>
                  <a:cubicBezTo>
                    <a:pt x="1346" y="758"/>
                    <a:pt x="1346" y="758"/>
                    <a:pt x="1346" y="758"/>
                  </a:cubicBezTo>
                  <a:cubicBezTo>
                    <a:pt x="2038" y="201"/>
                    <a:pt x="2038" y="201"/>
                    <a:pt x="2038" y="201"/>
                  </a:cubicBezTo>
                  <a:cubicBezTo>
                    <a:pt x="2060" y="182"/>
                    <a:pt x="2072" y="162"/>
                    <a:pt x="2080" y="13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000"/>
            </a:p>
          </p:txBody>
        </p:sp>
      </p:grpSp>
      <p:grpSp>
        <p:nvGrpSpPr>
          <p:cNvPr id="14" name="Gruppieren 2">
            <a:extLst>
              <a:ext uri="{FF2B5EF4-FFF2-40B4-BE49-F238E27FC236}">
                <a16:creationId xmlns:a16="http://schemas.microsoft.com/office/drawing/2014/main" id="{BE697CE9-EBDE-6B4A-BE70-582D92A8A831}"/>
              </a:ext>
            </a:extLst>
          </p:cNvPr>
          <p:cNvGrpSpPr/>
          <p:nvPr/>
        </p:nvGrpSpPr>
        <p:grpSpPr>
          <a:xfrm>
            <a:off x="8701917" y="2868319"/>
            <a:ext cx="171180" cy="171180"/>
            <a:chOff x="3392092" y="1841122"/>
            <a:chExt cx="646508" cy="646508"/>
          </a:xfrm>
        </p:grpSpPr>
        <p:sp>
          <p:nvSpPr>
            <p:cNvPr id="15" name="Rechteck 14">
              <a:extLst>
                <a:ext uri="{FF2B5EF4-FFF2-40B4-BE49-F238E27FC236}">
                  <a16:creationId xmlns:a16="http://schemas.microsoft.com/office/drawing/2014/main" id="{E142A731-19B7-C34D-9534-9E05108F895F}"/>
                </a:ext>
              </a:extLst>
            </p:cNvPr>
            <p:cNvSpPr>
              <a:spLocks noChangeAspect="1"/>
            </p:cNvSpPr>
            <p:nvPr/>
          </p:nvSpPr>
          <p:spPr bwMode="gray">
            <a:xfrm>
              <a:off x="3392092" y="1841122"/>
              <a:ext cx="646508" cy="646508"/>
            </a:xfrm>
            <a:prstGeom prst="rect">
              <a:avLst/>
            </a:prstGeom>
            <a:solidFill>
              <a:srgbClr val="E55A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pPr>
              <a:endParaRPr lang="en-US" sz="1000">
                <a:solidFill>
                  <a:schemeClr val="tx1"/>
                </a:solidFill>
                <a:latin typeface="Arial" pitchFamily="34" charset="0"/>
                <a:cs typeface="Arial" pitchFamily="34" charset="0"/>
              </a:endParaRPr>
            </a:p>
          </p:txBody>
        </p:sp>
        <p:sp>
          <p:nvSpPr>
            <p:cNvPr id="16" name="Freeform 15">
              <a:extLst>
                <a:ext uri="{FF2B5EF4-FFF2-40B4-BE49-F238E27FC236}">
                  <a16:creationId xmlns:a16="http://schemas.microsoft.com/office/drawing/2014/main" id="{F97E84AE-4AD9-4B44-9AA1-F797FC373809}"/>
                </a:ext>
              </a:extLst>
            </p:cNvPr>
            <p:cNvSpPr>
              <a:spLocks noChangeAspect="1"/>
            </p:cNvSpPr>
            <p:nvPr/>
          </p:nvSpPr>
          <p:spPr bwMode="auto">
            <a:xfrm>
              <a:off x="3546638" y="1970424"/>
              <a:ext cx="337415" cy="387905"/>
            </a:xfrm>
            <a:custGeom>
              <a:avLst/>
              <a:gdLst>
                <a:gd name="T0" fmla="*/ 573 w 1624"/>
                <a:gd name="T1" fmla="*/ 1257 h 1867"/>
                <a:gd name="T2" fmla="*/ 662 w 1624"/>
                <a:gd name="T3" fmla="*/ 1288 h 1867"/>
                <a:gd name="T4" fmla="*/ 938 w 1624"/>
                <a:gd name="T5" fmla="*/ 1051 h 1867"/>
                <a:gd name="T6" fmla="*/ 1106 w 1624"/>
                <a:gd name="T7" fmla="*/ 731 h 1867"/>
                <a:gd name="T8" fmla="*/ 1059 w 1624"/>
                <a:gd name="T9" fmla="*/ 645 h 1867"/>
                <a:gd name="T10" fmla="*/ 1001 w 1624"/>
                <a:gd name="T11" fmla="*/ 613 h 1867"/>
                <a:gd name="T12" fmla="*/ 924 w 1624"/>
                <a:gd name="T13" fmla="*/ 432 h 1867"/>
                <a:gd name="T14" fmla="*/ 1114 w 1624"/>
                <a:gd name="T15" fmla="*/ 81 h 1867"/>
                <a:gd name="T16" fmla="*/ 1287 w 1624"/>
                <a:gd name="T17" fmla="*/ 35 h 1867"/>
                <a:gd name="T18" fmla="*/ 1350 w 1624"/>
                <a:gd name="T19" fmla="*/ 69 h 1867"/>
                <a:gd name="T20" fmla="*/ 1527 w 1624"/>
                <a:gd name="T21" fmla="*/ 235 h 1867"/>
                <a:gd name="T22" fmla="*/ 1583 w 1624"/>
                <a:gd name="T23" fmla="*/ 555 h 1867"/>
                <a:gd name="T24" fmla="*/ 1172 w 1624"/>
                <a:gd name="T25" fmla="*/ 1253 h 1867"/>
                <a:gd name="T26" fmla="*/ 586 w 1624"/>
                <a:gd name="T27" fmla="*/ 1803 h 1867"/>
                <a:gd name="T28" fmla="*/ 269 w 1624"/>
                <a:gd name="T29" fmla="*/ 1807 h 1867"/>
                <a:gd name="T30" fmla="*/ 33 w 1624"/>
                <a:gd name="T31" fmla="*/ 1602 h 1867"/>
                <a:gd name="T32" fmla="*/ 2 w 1624"/>
                <a:gd name="T33" fmla="*/ 1508 h 1867"/>
                <a:gd name="T34" fmla="*/ 45 w 1624"/>
                <a:gd name="T35" fmla="*/ 1421 h 1867"/>
                <a:gd name="T36" fmla="*/ 346 w 1624"/>
                <a:gd name="T37" fmla="*/ 1158 h 1867"/>
                <a:gd name="T38" fmla="*/ 448 w 1624"/>
                <a:gd name="T39" fmla="*/ 1145 h 1867"/>
                <a:gd name="T40" fmla="*/ 573 w 1624"/>
                <a:gd name="T41" fmla="*/ 1257 h 18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24" h="1867">
                  <a:moveTo>
                    <a:pt x="573" y="1257"/>
                  </a:moveTo>
                  <a:cubicBezTo>
                    <a:pt x="592" y="1282"/>
                    <a:pt x="630" y="1303"/>
                    <a:pt x="662" y="1288"/>
                  </a:cubicBezTo>
                  <a:cubicBezTo>
                    <a:pt x="753" y="1245"/>
                    <a:pt x="854" y="1156"/>
                    <a:pt x="938" y="1051"/>
                  </a:cubicBezTo>
                  <a:cubicBezTo>
                    <a:pt x="1020" y="948"/>
                    <a:pt x="1084" y="831"/>
                    <a:pt x="1106" y="731"/>
                  </a:cubicBezTo>
                  <a:cubicBezTo>
                    <a:pt x="1113" y="696"/>
                    <a:pt x="1089" y="661"/>
                    <a:pt x="1059" y="645"/>
                  </a:cubicBezTo>
                  <a:cubicBezTo>
                    <a:pt x="1001" y="613"/>
                    <a:pt x="1001" y="613"/>
                    <a:pt x="1001" y="613"/>
                  </a:cubicBezTo>
                  <a:cubicBezTo>
                    <a:pt x="942" y="580"/>
                    <a:pt x="888" y="499"/>
                    <a:pt x="924" y="432"/>
                  </a:cubicBezTo>
                  <a:cubicBezTo>
                    <a:pt x="1114" y="81"/>
                    <a:pt x="1114" y="81"/>
                    <a:pt x="1114" y="81"/>
                  </a:cubicBezTo>
                  <a:cubicBezTo>
                    <a:pt x="1150" y="16"/>
                    <a:pt x="1224" y="0"/>
                    <a:pt x="1287" y="35"/>
                  </a:cubicBezTo>
                  <a:cubicBezTo>
                    <a:pt x="1350" y="69"/>
                    <a:pt x="1350" y="69"/>
                    <a:pt x="1350" y="69"/>
                  </a:cubicBezTo>
                  <a:cubicBezTo>
                    <a:pt x="1415" y="105"/>
                    <a:pt x="1479" y="165"/>
                    <a:pt x="1527" y="235"/>
                  </a:cubicBezTo>
                  <a:cubicBezTo>
                    <a:pt x="1593" y="332"/>
                    <a:pt x="1624" y="442"/>
                    <a:pt x="1583" y="555"/>
                  </a:cubicBezTo>
                  <a:cubicBezTo>
                    <a:pt x="1500" y="781"/>
                    <a:pt x="1351" y="1030"/>
                    <a:pt x="1172" y="1253"/>
                  </a:cubicBezTo>
                  <a:cubicBezTo>
                    <a:pt x="994" y="1477"/>
                    <a:pt x="786" y="1676"/>
                    <a:pt x="586" y="1803"/>
                  </a:cubicBezTo>
                  <a:cubicBezTo>
                    <a:pt x="486" y="1867"/>
                    <a:pt x="375" y="1856"/>
                    <a:pt x="269" y="1807"/>
                  </a:cubicBezTo>
                  <a:cubicBezTo>
                    <a:pt x="157" y="1755"/>
                    <a:pt x="106" y="1695"/>
                    <a:pt x="33" y="1602"/>
                  </a:cubicBezTo>
                  <a:cubicBezTo>
                    <a:pt x="11" y="1573"/>
                    <a:pt x="0" y="1540"/>
                    <a:pt x="2" y="1508"/>
                  </a:cubicBezTo>
                  <a:cubicBezTo>
                    <a:pt x="4" y="1475"/>
                    <a:pt x="18" y="1444"/>
                    <a:pt x="45" y="1421"/>
                  </a:cubicBezTo>
                  <a:cubicBezTo>
                    <a:pt x="70" y="1399"/>
                    <a:pt x="346" y="1158"/>
                    <a:pt x="346" y="1158"/>
                  </a:cubicBezTo>
                  <a:cubicBezTo>
                    <a:pt x="376" y="1134"/>
                    <a:pt x="413" y="1133"/>
                    <a:pt x="448" y="1145"/>
                  </a:cubicBezTo>
                  <a:cubicBezTo>
                    <a:pt x="510" y="1166"/>
                    <a:pt x="536" y="1210"/>
                    <a:pt x="573" y="1257"/>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351"/>
            </a:p>
          </p:txBody>
        </p:sp>
      </p:grpSp>
      <p:grpSp>
        <p:nvGrpSpPr>
          <p:cNvPr id="17" name="Group 3">
            <a:extLst>
              <a:ext uri="{FF2B5EF4-FFF2-40B4-BE49-F238E27FC236}">
                <a16:creationId xmlns:a16="http://schemas.microsoft.com/office/drawing/2014/main" id="{7104BADD-8CD1-6F4A-B894-869C3BDB3EEB}"/>
              </a:ext>
            </a:extLst>
          </p:cNvPr>
          <p:cNvGrpSpPr>
            <a:grpSpLocks noChangeAspect="1"/>
          </p:cNvGrpSpPr>
          <p:nvPr>
            <p:custDataLst>
              <p:tags r:id="rId2"/>
            </p:custDataLst>
          </p:nvPr>
        </p:nvGrpSpPr>
        <p:grpSpPr>
          <a:xfrm>
            <a:off x="8701918" y="3153207"/>
            <a:ext cx="171180" cy="171180"/>
            <a:chOff x="328396" y="5313940"/>
            <a:chExt cx="720000" cy="720000"/>
          </a:xfrm>
        </p:grpSpPr>
        <p:sp>
          <p:nvSpPr>
            <p:cNvPr id="18" name="Rectangle 4">
              <a:extLst>
                <a:ext uri="{FF2B5EF4-FFF2-40B4-BE49-F238E27FC236}">
                  <a16:creationId xmlns:a16="http://schemas.microsoft.com/office/drawing/2014/main" id="{74BE3D5F-1445-6E40-8B49-72E15568383B}"/>
                </a:ext>
              </a:extLst>
            </p:cNvPr>
            <p:cNvSpPr/>
            <p:nvPr/>
          </p:nvSpPr>
          <p:spPr bwMode="gray">
            <a:xfrm>
              <a:off x="328396" y="5313940"/>
              <a:ext cx="720000" cy="720000"/>
            </a:xfrm>
            <a:prstGeom prst="rect">
              <a:avLst/>
            </a:prstGeom>
            <a:solidFill>
              <a:srgbClr val="E55A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pPr>
              <a:endParaRPr lang="en-US" sz="1000">
                <a:solidFill>
                  <a:schemeClr val="tx1"/>
                </a:solidFill>
                <a:latin typeface="Arial" pitchFamily="34" charset="0"/>
                <a:cs typeface="Arial" pitchFamily="34" charset="0"/>
              </a:endParaRPr>
            </a:p>
          </p:txBody>
        </p:sp>
        <p:sp>
          <p:nvSpPr>
            <p:cNvPr id="19" name="Freeform 76">
              <a:extLst>
                <a:ext uri="{FF2B5EF4-FFF2-40B4-BE49-F238E27FC236}">
                  <a16:creationId xmlns:a16="http://schemas.microsoft.com/office/drawing/2014/main" id="{55DB3C95-7D0C-D141-901E-96D692794D2B}"/>
                </a:ext>
              </a:extLst>
            </p:cNvPr>
            <p:cNvSpPr>
              <a:spLocks noChangeAspect="1" noEditPoints="1"/>
            </p:cNvSpPr>
            <p:nvPr/>
          </p:nvSpPr>
          <p:spPr bwMode="auto">
            <a:xfrm>
              <a:off x="456202" y="5509222"/>
              <a:ext cx="504000" cy="329436"/>
            </a:xfrm>
            <a:custGeom>
              <a:avLst/>
              <a:gdLst>
                <a:gd name="T0" fmla="*/ 0 w 2080"/>
                <a:gd name="T1" fmla="*/ 65 h 1360"/>
                <a:gd name="T2" fmla="*/ 0 w 2080"/>
                <a:gd name="T3" fmla="*/ 0 h 1360"/>
                <a:gd name="T4" fmla="*/ 2080 w 2080"/>
                <a:gd name="T5" fmla="*/ 0 h 1360"/>
                <a:gd name="T6" fmla="*/ 2080 w 2080"/>
                <a:gd name="T7" fmla="*/ 65 h 1360"/>
                <a:gd name="T8" fmla="*/ 1089 w 2080"/>
                <a:gd name="T9" fmla="*/ 862 h 1360"/>
                <a:gd name="T10" fmla="*/ 991 w 2080"/>
                <a:gd name="T11" fmla="*/ 862 h 1360"/>
                <a:gd name="T12" fmla="*/ 0 w 2080"/>
                <a:gd name="T13" fmla="*/ 65 h 1360"/>
                <a:gd name="T14" fmla="*/ 1139 w 2080"/>
                <a:gd name="T15" fmla="*/ 924 h 1360"/>
                <a:gd name="T16" fmla="*/ 1282 w 2080"/>
                <a:gd name="T17" fmla="*/ 810 h 1360"/>
                <a:gd name="T18" fmla="*/ 2076 w 2080"/>
                <a:gd name="T19" fmla="*/ 1360 h 1360"/>
                <a:gd name="T20" fmla="*/ 4 w 2080"/>
                <a:gd name="T21" fmla="*/ 1360 h 1360"/>
                <a:gd name="T22" fmla="*/ 798 w 2080"/>
                <a:gd name="T23" fmla="*/ 810 h 1360"/>
                <a:gd name="T24" fmla="*/ 941 w 2080"/>
                <a:gd name="T25" fmla="*/ 924 h 1360"/>
                <a:gd name="T26" fmla="*/ 1139 w 2080"/>
                <a:gd name="T27" fmla="*/ 924 h 1360"/>
                <a:gd name="T28" fmla="*/ 2 w 2080"/>
                <a:gd name="T29" fmla="*/ 137 h 1360"/>
                <a:gd name="T30" fmla="*/ 42 w 2080"/>
                <a:gd name="T31" fmla="*/ 201 h 1360"/>
                <a:gd name="T32" fmla="*/ 734 w 2080"/>
                <a:gd name="T33" fmla="*/ 758 h 1360"/>
                <a:gd name="T34" fmla="*/ 0 w 2080"/>
                <a:gd name="T35" fmla="*/ 1266 h 1360"/>
                <a:gd name="T36" fmla="*/ 0 w 2080"/>
                <a:gd name="T37" fmla="*/ 135 h 1360"/>
                <a:gd name="T38" fmla="*/ 2 w 2080"/>
                <a:gd name="T39" fmla="*/ 137 h 1360"/>
                <a:gd name="T40" fmla="*/ 2080 w 2080"/>
                <a:gd name="T41" fmla="*/ 136 h 1360"/>
                <a:gd name="T42" fmla="*/ 2080 w 2080"/>
                <a:gd name="T43" fmla="*/ 1265 h 1360"/>
                <a:gd name="T44" fmla="*/ 1346 w 2080"/>
                <a:gd name="T45" fmla="*/ 758 h 1360"/>
                <a:gd name="T46" fmla="*/ 2038 w 2080"/>
                <a:gd name="T47" fmla="*/ 201 h 1360"/>
                <a:gd name="T48" fmla="*/ 2080 w 2080"/>
                <a:gd name="T49" fmla="*/ 136 h 1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080" h="1360">
                  <a:moveTo>
                    <a:pt x="0" y="65"/>
                  </a:moveTo>
                  <a:cubicBezTo>
                    <a:pt x="0" y="0"/>
                    <a:pt x="0" y="0"/>
                    <a:pt x="0" y="0"/>
                  </a:cubicBezTo>
                  <a:cubicBezTo>
                    <a:pt x="2080" y="0"/>
                    <a:pt x="2080" y="0"/>
                    <a:pt x="2080" y="0"/>
                  </a:cubicBezTo>
                  <a:cubicBezTo>
                    <a:pt x="2080" y="65"/>
                    <a:pt x="2080" y="65"/>
                    <a:pt x="2080" y="65"/>
                  </a:cubicBezTo>
                  <a:cubicBezTo>
                    <a:pt x="1089" y="862"/>
                    <a:pt x="1089" y="862"/>
                    <a:pt x="1089" y="862"/>
                  </a:cubicBezTo>
                  <a:cubicBezTo>
                    <a:pt x="1060" y="886"/>
                    <a:pt x="1020" y="886"/>
                    <a:pt x="991" y="862"/>
                  </a:cubicBezTo>
                  <a:lnTo>
                    <a:pt x="0" y="65"/>
                  </a:lnTo>
                  <a:close/>
                  <a:moveTo>
                    <a:pt x="1139" y="924"/>
                  </a:moveTo>
                  <a:cubicBezTo>
                    <a:pt x="1282" y="810"/>
                    <a:pt x="1282" y="810"/>
                    <a:pt x="1282" y="810"/>
                  </a:cubicBezTo>
                  <a:cubicBezTo>
                    <a:pt x="2076" y="1360"/>
                    <a:pt x="2076" y="1360"/>
                    <a:pt x="2076" y="1360"/>
                  </a:cubicBezTo>
                  <a:cubicBezTo>
                    <a:pt x="4" y="1360"/>
                    <a:pt x="4" y="1360"/>
                    <a:pt x="4" y="1360"/>
                  </a:cubicBezTo>
                  <a:cubicBezTo>
                    <a:pt x="798" y="810"/>
                    <a:pt x="798" y="810"/>
                    <a:pt x="798" y="810"/>
                  </a:cubicBezTo>
                  <a:cubicBezTo>
                    <a:pt x="941" y="924"/>
                    <a:pt x="941" y="924"/>
                    <a:pt x="941" y="924"/>
                  </a:cubicBezTo>
                  <a:cubicBezTo>
                    <a:pt x="1000" y="972"/>
                    <a:pt x="1080" y="972"/>
                    <a:pt x="1139" y="924"/>
                  </a:cubicBezTo>
                  <a:close/>
                  <a:moveTo>
                    <a:pt x="2" y="137"/>
                  </a:moveTo>
                  <a:cubicBezTo>
                    <a:pt x="8" y="163"/>
                    <a:pt x="22" y="185"/>
                    <a:pt x="42" y="201"/>
                  </a:cubicBezTo>
                  <a:cubicBezTo>
                    <a:pt x="734" y="758"/>
                    <a:pt x="734" y="758"/>
                    <a:pt x="734" y="758"/>
                  </a:cubicBezTo>
                  <a:cubicBezTo>
                    <a:pt x="0" y="1266"/>
                    <a:pt x="0" y="1266"/>
                    <a:pt x="0" y="1266"/>
                  </a:cubicBezTo>
                  <a:cubicBezTo>
                    <a:pt x="0" y="135"/>
                    <a:pt x="0" y="135"/>
                    <a:pt x="0" y="135"/>
                  </a:cubicBezTo>
                  <a:lnTo>
                    <a:pt x="2" y="137"/>
                  </a:lnTo>
                  <a:close/>
                  <a:moveTo>
                    <a:pt x="2080" y="136"/>
                  </a:moveTo>
                  <a:cubicBezTo>
                    <a:pt x="2080" y="1265"/>
                    <a:pt x="2080" y="1265"/>
                    <a:pt x="2080" y="1265"/>
                  </a:cubicBezTo>
                  <a:cubicBezTo>
                    <a:pt x="1346" y="758"/>
                    <a:pt x="1346" y="758"/>
                    <a:pt x="1346" y="758"/>
                  </a:cubicBezTo>
                  <a:cubicBezTo>
                    <a:pt x="2038" y="201"/>
                    <a:pt x="2038" y="201"/>
                    <a:pt x="2038" y="201"/>
                  </a:cubicBezTo>
                  <a:cubicBezTo>
                    <a:pt x="2060" y="182"/>
                    <a:pt x="2072" y="162"/>
                    <a:pt x="2080" y="13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000"/>
            </a:p>
          </p:txBody>
        </p:sp>
      </p:grpSp>
      <p:cxnSp>
        <p:nvCxnSpPr>
          <p:cNvPr id="20" name="Straight Connector 19"/>
          <p:cNvCxnSpPr/>
          <p:nvPr/>
        </p:nvCxnSpPr>
        <p:spPr>
          <a:xfrm>
            <a:off x="2371725" y="3478213"/>
            <a:ext cx="3888000" cy="0"/>
          </a:xfrm>
          <a:prstGeom prst="line">
            <a:avLst/>
          </a:prstGeom>
          <a:ln w="6350">
            <a:solidFill>
              <a:schemeClr val="tx2"/>
            </a:solidFill>
            <a:prstDash val="dash"/>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p:nvCxnSpPr>
        <p:spPr>
          <a:xfrm>
            <a:off x="7287766" y="3478213"/>
            <a:ext cx="3888000" cy="0"/>
          </a:xfrm>
          <a:prstGeom prst="line">
            <a:avLst/>
          </a:prstGeom>
          <a:ln w="6350">
            <a:solidFill>
              <a:schemeClr val="tx2"/>
            </a:solidFill>
            <a:prstDash val="dash"/>
          </a:ln>
        </p:spPr>
        <p:style>
          <a:lnRef idx="1">
            <a:schemeClr val="accent1"/>
          </a:lnRef>
          <a:fillRef idx="0">
            <a:schemeClr val="accent1"/>
          </a:fillRef>
          <a:effectRef idx="0">
            <a:schemeClr val="accent1"/>
          </a:effectRef>
          <a:fontRef idx="minor">
            <a:schemeClr val="tx1"/>
          </a:fontRef>
        </p:style>
      </p:cxnSp>
      <p:sp>
        <p:nvSpPr>
          <p:cNvPr id="4" name="Picture Placeholder 3"/>
          <p:cNvSpPr>
            <a:spLocks noGrp="1"/>
          </p:cNvSpPr>
          <p:nvPr>
            <p:ph type="pic" sz="quarter" idx="17" hasCustomPrompt="1"/>
          </p:nvPr>
        </p:nvSpPr>
        <p:spPr>
          <a:xfrm>
            <a:off x="2355914" y="1808984"/>
            <a:ext cx="1188677" cy="1547840"/>
          </a:xfrm>
          <a:solidFill>
            <a:srgbClr val="D9DADB"/>
          </a:solidFill>
        </p:spPr>
        <p:txBody>
          <a:bodyPr/>
          <a:lstStyle>
            <a:lvl1pPr marL="0" indent="0">
              <a:buNone/>
              <a:defRPr sz="1400"/>
            </a:lvl1pPr>
          </a:lstStyle>
          <a:p>
            <a:r>
              <a:rPr lang="en-US"/>
              <a:t>Insert picture</a:t>
            </a:r>
          </a:p>
        </p:txBody>
      </p:sp>
      <p:sp>
        <p:nvSpPr>
          <p:cNvPr id="25" name="Picture Placeholder 3"/>
          <p:cNvSpPr>
            <a:spLocks noGrp="1"/>
          </p:cNvSpPr>
          <p:nvPr>
            <p:ph type="pic" sz="quarter" idx="18" hasCustomPrompt="1"/>
          </p:nvPr>
        </p:nvSpPr>
        <p:spPr>
          <a:xfrm>
            <a:off x="7287766" y="1808984"/>
            <a:ext cx="1188677" cy="1547840"/>
          </a:xfrm>
          <a:solidFill>
            <a:srgbClr val="D9DADB"/>
          </a:solidFill>
        </p:spPr>
        <p:txBody>
          <a:bodyPr/>
          <a:lstStyle>
            <a:lvl1pPr marL="0" indent="0">
              <a:buNone/>
              <a:defRPr sz="1400"/>
            </a:lvl1pPr>
          </a:lstStyle>
          <a:p>
            <a:r>
              <a:rPr lang="en-US"/>
              <a:t>Insert picture</a:t>
            </a:r>
          </a:p>
        </p:txBody>
      </p:sp>
      <p:sp>
        <p:nvSpPr>
          <p:cNvPr id="6" name="Text Placeholder 5"/>
          <p:cNvSpPr>
            <a:spLocks noGrp="1"/>
          </p:cNvSpPr>
          <p:nvPr>
            <p:ph type="body" sz="quarter" idx="19" hasCustomPrompt="1"/>
          </p:nvPr>
        </p:nvSpPr>
        <p:spPr>
          <a:xfrm>
            <a:off x="3770065" y="1808521"/>
            <a:ext cx="2463190" cy="192360"/>
          </a:xfrm>
        </p:spPr>
        <p:txBody>
          <a:bodyPr lIns="0" tIns="0" rIns="0" bIns="0" anchor="ctr" anchorCtr="0"/>
          <a:lstStyle>
            <a:lvl1pPr marL="0" indent="0" algn="l">
              <a:lnSpc>
                <a:spcPct val="100000"/>
              </a:lnSpc>
              <a:buNone/>
              <a:defRPr sz="100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Country</a:t>
            </a:r>
          </a:p>
        </p:txBody>
      </p:sp>
      <p:sp>
        <p:nvSpPr>
          <p:cNvPr id="26" name="Text Placeholder 5"/>
          <p:cNvSpPr>
            <a:spLocks noGrp="1"/>
          </p:cNvSpPr>
          <p:nvPr>
            <p:ph type="body" sz="quarter" idx="20" hasCustomPrompt="1"/>
          </p:nvPr>
        </p:nvSpPr>
        <p:spPr>
          <a:xfrm>
            <a:off x="3770065" y="2020337"/>
            <a:ext cx="2463190" cy="266182"/>
          </a:xfrm>
        </p:spPr>
        <p:txBody>
          <a:bodyPr lIns="0" tIns="0" rIns="0" bIns="0" anchor="b" anchorCtr="0"/>
          <a:lstStyle>
            <a:lvl1pPr marL="0" indent="0" algn="l">
              <a:lnSpc>
                <a:spcPct val="100000"/>
              </a:lnSpc>
              <a:buNone/>
              <a:defRPr sz="1400" b="1" baseline="0">
                <a:solidFill>
                  <a:schemeClr val="tx2"/>
                </a:solidFill>
              </a:defRPr>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Name, Surname</a:t>
            </a:r>
          </a:p>
        </p:txBody>
      </p:sp>
      <p:sp>
        <p:nvSpPr>
          <p:cNvPr id="27" name="Text Placeholder 5"/>
          <p:cNvSpPr>
            <a:spLocks noGrp="1"/>
          </p:cNvSpPr>
          <p:nvPr>
            <p:ph type="body" sz="quarter" idx="21" hasCustomPrompt="1"/>
          </p:nvPr>
        </p:nvSpPr>
        <p:spPr>
          <a:xfrm>
            <a:off x="3770065" y="2316912"/>
            <a:ext cx="2463190"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Job Position</a:t>
            </a:r>
          </a:p>
        </p:txBody>
      </p:sp>
      <p:sp>
        <p:nvSpPr>
          <p:cNvPr id="28" name="Text Placeholder 5"/>
          <p:cNvSpPr>
            <a:spLocks noGrp="1"/>
          </p:cNvSpPr>
          <p:nvPr>
            <p:ph type="body" sz="quarter" idx="22" hasCustomPrompt="1"/>
          </p:nvPr>
        </p:nvSpPr>
        <p:spPr>
          <a:xfrm>
            <a:off x="4014948" y="2845588"/>
            <a:ext cx="2218307"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Phone number</a:t>
            </a:r>
          </a:p>
        </p:txBody>
      </p:sp>
      <p:sp>
        <p:nvSpPr>
          <p:cNvPr id="29" name="Text Placeholder 5"/>
          <p:cNvSpPr>
            <a:spLocks noGrp="1"/>
          </p:cNvSpPr>
          <p:nvPr>
            <p:ph type="body" sz="quarter" idx="23" hasCustomPrompt="1"/>
          </p:nvPr>
        </p:nvSpPr>
        <p:spPr>
          <a:xfrm>
            <a:off x="4014948" y="3128395"/>
            <a:ext cx="2218307"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Email address</a:t>
            </a:r>
          </a:p>
        </p:txBody>
      </p:sp>
      <p:sp>
        <p:nvSpPr>
          <p:cNvPr id="30" name="Text Placeholder 5"/>
          <p:cNvSpPr>
            <a:spLocks noGrp="1"/>
          </p:cNvSpPr>
          <p:nvPr>
            <p:ph type="body" sz="quarter" idx="24" hasCustomPrompt="1"/>
          </p:nvPr>
        </p:nvSpPr>
        <p:spPr>
          <a:xfrm>
            <a:off x="8701917" y="1808521"/>
            <a:ext cx="2463190" cy="192360"/>
          </a:xfrm>
        </p:spPr>
        <p:txBody>
          <a:bodyPr lIns="0" tIns="0" rIns="0" bIns="0" anchor="ctr" anchorCtr="0"/>
          <a:lstStyle>
            <a:lvl1pPr marL="0" indent="0" algn="l">
              <a:lnSpc>
                <a:spcPct val="100000"/>
              </a:lnSpc>
              <a:buNone/>
              <a:defRPr sz="100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Country</a:t>
            </a:r>
          </a:p>
        </p:txBody>
      </p:sp>
      <p:sp>
        <p:nvSpPr>
          <p:cNvPr id="31" name="Text Placeholder 5"/>
          <p:cNvSpPr>
            <a:spLocks noGrp="1"/>
          </p:cNvSpPr>
          <p:nvPr>
            <p:ph type="body" sz="quarter" idx="25" hasCustomPrompt="1"/>
          </p:nvPr>
        </p:nvSpPr>
        <p:spPr>
          <a:xfrm>
            <a:off x="8701917" y="2020337"/>
            <a:ext cx="2463190" cy="266182"/>
          </a:xfrm>
        </p:spPr>
        <p:txBody>
          <a:bodyPr lIns="0" tIns="0" rIns="0" bIns="0" anchor="b" anchorCtr="0"/>
          <a:lstStyle>
            <a:lvl1pPr marL="0" indent="0" algn="l">
              <a:lnSpc>
                <a:spcPct val="100000"/>
              </a:lnSpc>
              <a:buNone/>
              <a:defRPr sz="1400" b="1" baseline="0">
                <a:solidFill>
                  <a:schemeClr val="tx2"/>
                </a:solidFill>
              </a:defRPr>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Name, Surname</a:t>
            </a:r>
          </a:p>
        </p:txBody>
      </p:sp>
      <p:sp>
        <p:nvSpPr>
          <p:cNvPr id="32" name="Text Placeholder 5"/>
          <p:cNvSpPr>
            <a:spLocks noGrp="1"/>
          </p:cNvSpPr>
          <p:nvPr>
            <p:ph type="body" sz="quarter" idx="26" hasCustomPrompt="1"/>
          </p:nvPr>
        </p:nvSpPr>
        <p:spPr>
          <a:xfrm>
            <a:off x="8701917" y="2316912"/>
            <a:ext cx="2463190"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Job Position</a:t>
            </a:r>
          </a:p>
        </p:txBody>
      </p:sp>
      <p:sp>
        <p:nvSpPr>
          <p:cNvPr id="33" name="Text Placeholder 5"/>
          <p:cNvSpPr>
            <a:spLocks noGrp="1"/>
          </p:cNvSpPr>
          <p:nvPr>
            <p:ph type="body" sz="quarter" idx="27" hasCustomPrompt="1"/>
          </p:nvPr>
        </p:nvSpPr>
        <p:spPr>
          <a:xfrm>
            <a:off x="8946800" y="2845588"/>
            <a:ext cx="2218307"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Phone number</a:t>
            </a:r>
          </a:p>
        </p:txBody>
      </p:sp>
      <p:sp>
        <p:nvSpPr>
          <p:cNvPr id="34" name="Text Placeholder 5"/>
          <p:cNvSpPr>
            <a:spLocks noGrp="1"/>
          </p:cNvSpPr>
          <p:nvPr>
            <p:ph type="body" sz="quarter" idx="28" hasCustomPrompt="1"/>
          </p:nvPr>
        </p:nvSpPr>
        <p:spPr>
          <a:xfrm>
            <a:off x="8946800" y="3128395"/>
            <a:ext cx="2218307"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Email address</a:t>
            </a:r>
          </a:p>
        </p:txBody>
      </p:sp>
      <p:grpSp>
        <p:nvGrpSpPr>
          <p:cNvPr id="35" name="Gruppieren 2">
            <a:extLst>
              <a:ext uri="{FF2B5EF4-FFF2-40B4-BE49-F238E27FC236}">
                <a16:creationId xmlns:a16="http://schemas.microsoft.com/office/drawing/2014/main" id="{BE697CE9-EBDE-6B4A-BE70-582D92A8A831}"/>
              </a:ext>
            </a:extLst>
          </p:cNvPr>
          <p:cNvGrpSpPr/>
          <p:nvPr/>
        </p:nvGrpSpPr>
        <p:grpSpPr>
          <a:xfrm>
            <a:off x="3770065" y="5045939"/>
            <a:ext cx="171180" cy="171180"/>
            <a:chOff x="3392092" y="1841122"/>
            <a:chExt cx="646508" cy="646508"/>
          </a:xfrm>
        </p:grpSpPr>
        <p:sp>
          <p:nvSpPr>
            <p:cNvPr id="36" name="Rechteck 14">
              <a:extLst>
                <a:ext uri="{FF2B5EF4-FFF2-40B4-BE49-F238E27FC236}">
                  <a16:creationId xmlns:a16="http://schemas.microsoft.com/office/drawing/2014/main" id="{E142A731-19B7-C34D-9534-9E05108F895F}"/>
                </a:ext>
              </a:extLst>
            </p:cNvPr>
            <p:cNvSpPr>
              <a:spLocks noChangeAspect="1"/>
            </p:cNvSpPr>
            <p:nvPr/>
          </p:nvSpPr>
          <p:spPr bwMode="gray">
            <a:xfrm>
              <a:off x="3392092" y="1841122"/>
              <a:ext cx="646508" cy="646508"/>
            </a:xfrm>
            <a:prstGeom prst="rect">
              <a:avLst/>
            </a:prstGeom>
            <a:solidFill>
              <a:srgbClr val="E55A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pPr>
              <a:endParaRPr lang="en-US" sz="1000">
                <a:solidFill>
                  <a:schemeClr val="tx1"/>
                </a:solidFill>
                <a:latin typeface="Arial" pitchFamily="34" charset="0"/>
                <a:cs typeface="Arial" pitchFamily="34" charset="0"/>
              </a:endParaRPr>
            </a:p>
          </p:txBody>
        </p:sp>
        <p:sp>
          <p:nvSpPr>
            <p:cNvPr id="37" name="Freeform 36">
              <a:extLst>
                <a:ext uri="{FF2B5EF4-FFF2-40B4-BE49-F238E27FC236}">
                  <a16:creationId xmlns:a16="http://schemas.microsoft.com/office/drawing/2014/main" id="{F97E84AE-4AD9-4B44-9AA1-F797FC373809}"/>
                </a:ext>
              </a:extLst>
            </p:cNvPr>
            <p:cNvSpPr>
              <a:spLocks noChangeAspect="1"/>
            </p:cNvSpPr>
            <p:nvPr/>
          </p:nvSpPr>
          <p:spPr bwMode="auto">
            <a:xfrm>
              <a:off x="3546638" y="1970424"/>
              <a:ext cx="337415" cy="387905"/>
            </a:xfrm>
            <a:custGeom>
              <a:avLst/>
              <a:gdLst>
                <a:gd name="T0" fmla="*/ 573 w 1624"/>
                <a:gd name="T1" fmla="*/ 1257 h 1867"/>
                <a:gd name="T2" fmla="*/ 662 w 1624"/>
                <a:gd name="T3" fmla="*/ 1288 h 1867"/>
                <a:gd name="T4" fmla="*/ 938 w 1624"/>
                <a:gd name="T5" fmla="*/ 1051 h 1867"/>
                <a:gd name="T6" fmla="*/ 1106 w 1624"/>
                <a:gd name="T7" fmla="*/ 731 h 1867"/>
                <a:gd name="T8" fmla="*/ 1059 w 1624"/>
                <a:gd name="T9" fmla="*/ 645 h 1867"/>
                <a:gd name="T10" fmla="*/ 1001 w 1624"/>
                <a:gd name="T11" fmla="*/ 613 h 1867"/>
                <a:gd name="T12" fmla="*/ 924 w 1624"/>
                <a:gd name="T13" fmla="*/ 432 h 1867"/>
                <a:gd name="T14" fmla="*/ 1114 w 1624"/>
                <a:gd name="T15" fmla="*/ 81 h 1867"/>
                <a:gd name="T16" fmla="*/ 1287 w 1624"/>
                <a:gd name="T17" fmla="*/ 35 h 1867"/>
                <a:gd name="T18" fmla="*/ 1350 w 1624"/>
                <a:gd name="T19" fmla="*/ 69 h 1867"/>
                <a:gd name="T20" fmla="*/ 1527 w 1624"/>
                <a:gd name="T21" fmla="*/ 235 h 1867"/>
                <a:gd name="T22" fmla="*/ 1583 w 1624"/>
                <a:gd name="T23" fmla="*/ 555 h 1867"/>
                <a:gd name="T24" fmla="*/ 1172 w 1624"/>
                <a:gd name="T25" fmla="*/ 1253 h 1867"/>
                <a:gd name="T26" fmla="*/ 586 w 1624"/>
                <a:gd name="T27" fmla="*/ 1803 h 1867"/>
                <a:gd name="T28" fmla="*/ 269 w 1624"/>
                <a:gd name="T29" fmla="*/ 1807 h 1867"/>
                <a:gd name="T30" fmla="*/ 33 w 1624"/>
                <a:gd name="T31" fmla="*/ 1602 h 1867"/>
                <a:gd name="T32" fmla="*/ 2 w 1624"/>
                <a:gd name="T33" fmla="*/ 1508 h 1867"/>
                <a:gd name="T34" fmla="*/ 45 w 1624"/>
                <a:gd name="T35" fmla="*/ 1421 h 1867"/>
                <a:gd name="T36" fmla="*/ 346 w 1624"/>
                <a:gd name="T37" fmla="*/ 1158 h 1867"/>
                <a:gd name="T38" fmla="*/ 448 w 1624"/>
                <a:gd name="T39" fmla="*/ 1145 h 1867"/>
                <a:gd name="T40" fmla="*/ 573 w 1624"/>
                <a:gd name="T41" fmla="*/ 1257 h 18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24" h="1867">
                  <a:moveTo>
                    <a:pt x="573" y="1257"/>
                  </a:moveTo>
                  <a:cubicBezTo>
                    <a:pt x="592" y="1282"/>
                    <a:pt x="630" y="1303"/>
                    <a:pt x="662" y="1288"/>
                  </a:cubicBezTo>
                  <a:cubicBezTo>
                    <a:pt x="753" y="1245"/>
                    <a:pt x="854" y="1156"/>
                    <a:pt x="938" y="1051"/>
                  </a:cubicBezTo>
                  <a:cubicBezTo>
                    <a:pt x="1020" y="948"/>
                    <a:pt x="1084" y="831"/>
                    <a:pt x="1106" y="731"/>
                  </a:cubicBezTo>
                  <a:cubicBezTo>
                    <a:pt x="1113" y="696"/>
                    <a:pt x="1089" y="661"/>
                    <a:pt x="1059" y="645"/>
                  </a:cubicBezTo>
                  <a:cubicBezTo>
                    <a:pt x="1001" y="613"/>
                    <a:pt x="1001" y="613"/>
                    <a:pt x="1001" y="613"/>
                  </a:cubicBezTo>
                  <a:cubicBezTo>
                    <a:pt x="942" y="580"/>
                    <a:pt x="888" y="499"/>
                    <a:pt x="924" y="432"/>
                  </a:cubicBezTo>
                  <a:cubicBezTo>
                    <a:pt x="1114" y="81"/>
                    <a:pt x="1114" y="81"/>
                    <a:pt x="1114" y="81"/>
                  </a:cubicBezTo>
                  <a:cubicBezTo>
                    <a:pt x="1150" y="16"/>
                    <a:pt x="1224" y="0"/>
                    <a:pt x="1287" y="35"/>
                  </a:cubicBezTo>
                  <a:cubicBezTo>
                    <a:pt x="1350" y="69"/>
                    <a:pt x="1350" y="69"/>
                    <a:pt x="1350" y="69"/>
                  </a:cubicBezTo>
                  <a:cubicBezTo>
                    <a:pt x="1415" y="105"/>
                    <a:pt x="1479" y="165"/>
                    <a:pt x="1527" y="235"/>
                  </a:cubicBezTo>
                  <a:cubicBezTo>
                    <a:pt x="1593" y="332"/>
                    <a:pt x="1624" y="442"/>
                    <a:pt x="1583" y="555"/>
                  </a:cubicBezTo>
                  <a:cubicBezTo>
                    <a:pt x="1500" y="781"/>
                    <a:pt x="1351" y="1030"/>
                    <a:pt x="1172" y="1253"/>
                  </a:cubicBezTo>
                  <a:cubicBezTo>
                    <a:pt x="994" y="1477"/>
                    <a:pt x="786" y="1676"/>
                    <a:pt x="586" y="1803"/>
                  </a:cubicBezTo>
                  <a:cubicBezTo>
                    <a:pt x="486" y="1867"/>
                    <a:pt x="375" y="1856"/>
                    <a:pt x="269" y="1807"/>
                  </a:cubicBezTo>
                  <a:cubicBezTo>
                    <a:pt x="157" y="1755"/>
                    <a:pt x="106" y="1695"/>
                    <a:pt x="33" y="1602"/>
                  </a:cubicBezTo>
                  <a:cubicBezTo>
                    <a:pt x="11" y="1573"/>
                    <a:pt x="0" y="1540"/>
                    <a:pt x="2" y="1508"/>
                  </a:cubicBezTo>
                  <a:cubicBezTo>
                    <a:pt x="4" y="1475"/>
                    <a:pt x="18" y="1444"/>
                    <a:pt x="45" y="1421"/>
                  </a:cubicBezTo>
                  <a:cubicBezTo>
                    <a:pt x="70" y="1399"/>
                    <a:pt x="346" y="1158"/>
                    <a:pt x="346" y="1158"/>
                  </a:cubicBezTo>
                  <a:cubicBezTo>
                    <a:pt x="376" y="1134"/>
                    <a:pt x="413" y="1133"/>
                    <a:pt x="448" y="1145"/>
                  </a:cubicBezTo>
                  <a:cubicBezTo>
                    <a:pt x="510" y="1166"/>
                    <a:pt x="536" y="1210"/>
                    <a:pt x="573" y="1257"/>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351"/>
            </a:p>
          </p:txBody>
        </p:sp>
      </p:grpSp>
      <p:grpSp>
        <p:nvGrpSpPr>
          <p:cNvPr id="38" name="Group 3">
            <a:extLst>
              <a:ext uri="{FF2B5EF4-FFF2-40B4-BE49-F238E27FC236}">
                <a16:creationId xmlns:a16="http://schemas.microsoft.com/office/drawing/2014/main" id="{7104BADD-8CD1-6F4A-B894-869C3BDB3EEB}"/>
              </a:ext>
            </a:extLst>
          </p:cNvPr>
          <p:cNvGrpSpPr>
            <a:grpSpLocks noChangeAspect="1"/>
          </p:cNvGrpSpPr>
          <p:nvPr>
            <p:custDataLst>
              <p:tags r:id="rId3"/>
            </p:custDataLst>
          </p:nvPr>
        </p:nvGrpSpPr>
        <p:grpSpPr>
          <a:xfrm>
            <a:off x="3770066" y="5330827"/>
            <a:ext cx="171180" cy="171180"/>
            <a:chOff x="328396" y="5313940"/>
            <a:chExt cx="720000" cy="720000"/>
          </a:xfrm>
        </p:grpSpPr>
        <p:sp>
          <p:nvSpPr>
            <p:cNvPr id="39" name="Rectangle 4">
              <a:extLst>
                <a:ext uri="{FF2B5EF4-FFF2-40B4-BE49-F238E27FC236}">
                  <a16:creationId xmlns:a16="http://schemas.microsoft.com/office/drawing/2014/main" id="{74BE3D5F-1445-6E40-8B49-72E15568383B}"/>
                </a:ext>
              </a:extLst>
            </p:cNvPr>
            <p:cNvSpPr/>
            <p:nvPr/>
          </p:nvSpPr>
          <p:spPr bwMode="gray">
            <a:xfrm>
              <a:off x="328396" y="5313940"/>
              <a:ext cx="720000" cy="720000"/>
            </a:xfrm>
            <a:prstGeom prst="rect">
              <a:avLst/>
            </a:prstGeom>
            <a:solidFill>
              <a:srgbClr val="E55A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pPr>
              <a:endParaRPr lang="en-US" sz="1000">
                <a:solidFill>
                  <a:schemeClr val="tx1"/>
                </a:solidFill>
                <a:latin typeface="Arial" pitchFamily="34" charset="0"/>
                <a:cs typeface="Arial" pitchFamily="34" charset="0"/>
              </a:endParaRPr>
            </a:p>
          </p:txBody>
        </p:sp>
        <p:sp>
          <p:nvSpPr>
            <p:cNvPr id="40" name="Freeform 76">
              <a:extLst>
                <a:ext uri="{FF2B5EF4-FFF2-40B4-BE49-F238E27FC236}">
                  <a16:creationId xmlns:a16="http://schemas.microsoft.com/office/drawing/2014/main" id="{55DB3C95-7D0C-D141-901E-96D692794D2B}"/>
                </a:ext>
              </a:extLst>
            </p:cNvPr>
            <p:cNvSpPr>
              <a:spLocks noChangeAspect="1" noEditPoints="1"/>
            </p:cNvSpPr>
            <p:nvPr/>
          </p:nvSpPr>
          <p:spPr bwMode="auto">
            <a:xfrm>
              <a:off x="456202" y="5509222"/>
              <a:ext cx="504000" cy="329436"/>
            </a:xfrm>
            <a:custGeom>
              <a:avLst/>
              <a:gdLst>
                <a:gd name="T0" fmla="*/ 0 w 2080"/>
                <a:gd name="T1" fmla="*/ 65 h 1360"/>
                <a:gd name="T2" fmla="*/ 0 w 2080"/>
                <a:gd name="T3" fmla="*/ 0 h 1360"/>
                <a:gd name="T4" fmla="*/ 2080 w 2080"/>
                <a:gd name="T5" fmla="*/ 0 h 1360"/>
                <a:gd name="T6" fmla="*/ 2080 w 2080"/>
                <a:gd name="T7" fmla="*/ 65 h 1360"/>
                <a:gd name="T8" fmla="*/ 1089 w 2080"/>
                <a:gd name="T9" fmla="*/ 862 h 1360"/>
                <a:gd name="T10" fmla="*/ 991 w 2080"/>
                <a:gd name="T11" fmla="*/ 862 h 1360"/>
                <a:gd name="T12" fmla="*/ 0 w 2080"/>
                <a:gd name="T13" fmla="*/ 65 h 1360"/>
                <a:gd name="T14" fmla="*/ 1139 w 2080"/>
                <a:gd name="T15" fmla="*/ 924 h 1360"/>
                <a:gd name="T16" fmla="*/ 1282 w 2080"/>
                <a:gd name="T17" fmla="*/ 810 h 1360"/>
                <a:gd name="T18" fmla="*/ 2076 w 2080"/>
                <a:gd name="T19" fmla="*/ 1360 h 1360"/>
                <a:gd name="T20" fmla="*/ 4 w 2080"/>
                <a:gd name="T21" fmla="*/ 1360 h 1360"/>
                <a:gd name="T22" fmla="*/ 798 w 2080"/>
                <a:gd name="T23" fmla="*/ 810 h 1360"/>
                <a:gd name="T24" fmla="*/ 941 w 2080"/>
                <a:gd name="T25" fmla="*/ 924 h 1360"/>
                <a:gd name="T26" fmla="*/ 1139 w 2080"/>
                <a:gd name="T27" fmla="*/ 924 h 1360"/>
                <a:gd name="T28" fmla="*/ 2 w 2080"/>
                <a:gd name="T29" fmla="*/ 137 h 1360"/>
                <a:gd name="T30" fmla="*/ 42 w 2080"/>
                <a:gd name="T31" fmla="*/ 201 h 1360"/>
                <a:gd name="T32" fmla="*/ 734 w 2080"/>
                <a:gd name="T33" fmla="*/ 758 h 1360"/>
                <a:gd name="T34" fmla="*/ 0 w 2080"/>
                <a:gd name="T35" fmla="*/ 1266 h 1360"/>
                <a:gd name="T36" fmla="*/ 0 w 2080"/>
                <a:gd name="T37" fmla="*/ 135 h 1360"/>
                <a:gd name="T38" fmla="*/ 2 w 2080"/>
                <a:gd name="T39" fmla="*/ 137 h 1360"/>
                <a:gd name="T40" fmla="*/ 2080 w 2080"/>
                <a:gd name="T41" fmla="*/ 136 h 1360"/>
                <a:gd name="T42" fmla="*/ 2080 w 2080"/>
                <a:gd name="T43" fmla="*/ 1265 h 1360"/>
                <a:gd name="T44" fmla="*/ 1346 w 2080"/>
                <a:gd name="T45" fmla="*/ 758 h 1360"/>
                <a:gd name="T46" fmla="*/ 2038 w 2080"/>
                <a:gd name="T47" fmla="*/ 201 h 1360"/>
                <a:gd name="T48" fmla="*/ 2080 w 2080"/>
                <a:gd name="T49" fmla="*/ 136 h 1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080" h="1360">
                  <a:moveTo>
                    <a:pt x="0" y="65"/>
                  </a:moveTo>
                  <a:cubicBezTo>
                    <a:pt x="0" y="0"/>
                    <a:pt x="0" y="0"/>
                    <a:pt x="0" y="0"/>
                  </a:cubicBezTo>
                  <a:cubicBezTo>
                    <a:pt x="2080" y="0"/>
                    <a:pt x="2080" y="0"/>
                    <a:pt x="2080" y="0"/>
                  </a:cubicBezTo>
                  <a:cubicBezTo>
                    <a:pt x="2080" y="65"/>
                    <a:pt x="2080" y="65"/>
                    <a:pt x="2080" y="65"/>
                  </a:cubicBezTo>
                  <a:cubicBezTo>
                    <a:pt x="1089" y="862"/>
                    <a:pt x="1089" y="862"/>
                    <a:pt x="1089" y="862"/>
                  </a:cubicBezTo>
                  <a:cubicBezTo>
                    <a:pt x="1060" y="886"/>
                    <a:pt x="1020" y="886"/>
                    <a:pt x="991" y="862"/>
                  </a:cubicBezTo>
                  <a:lnTo>
                    <a:pt x="0" y="65"/>
                  </a:lnTo>
                  <a:close/>
                  <a:moveTo>
                    <a:pt x="1139" y="924"/>
                  </a:moveTo>
                  <a:cubicBezTo>
                    <a:pt x="1282" y="810"/>
                    <a:pt x="1282" y="810"/>
                    <a:pt x="1282" y="810"/>
                  </a:cubicBezTo>
                  <a:cubicBezTo>
                    <a:pt x="2076" y="1360"/>
                    <a:pt x="2076" y="1360"/>
                    <a:pt x="2076" y="1360"/>
                  </a:cubicBezTo>
                  <a:cubicBezTo>
                    <a:pt x="4" y="1360"/>
                    <a:pt x="4" y="1360"/>
                    <a:pt x="4" y="1360"/>
                  </a:cubicBezTo>
                  <a:cubicBezTo>
                    <a:pt x="798" y="810"/>
                    <a:pt x="798" y="810"/>
                    <a:pt x="798" y="810"/>
                  </a:cubicBezTo>
                  <a:cubicBezTo>
                    <a:pt x="941" y="924"/>
                    <a:pt x="941" y="924"/>
                    <a:pt x="941" y="924"/>
                  </a:cubicBezTo>
                  <a:cubicBezTo>
                    <a:pt x="1000" y="972"/>
                    <a:pt x="1080" y="972"/>
                    <a:pt x="1139" y="924"/>
                  </a:cubicBezTo>
                  <a:close/>
                  <a:moveTo>
                    <a:pt x="2" y="137"/>
                  </a:moveTo>
                  <a:cubicBezTo>
                    <a:pt x="8" y="163"/>
                    <a:pt x="22" y="185"/>
                    <a:pt x="42" y="201"/>
                  </a:cubicBezTo>
                  <a:cubicBezTo>
                    <a:pt x="734" y="758"/>
                    <a:pt x="734" y="758"/>
                    <a:pt x="734" y="758"/>
                  </a:cubicBezTo>
                  <a:cubicBezTo>
                    <a:pt x="0" y="1266"/>
                    <a:pt x="0" y="1266"/>
                    <a:pt x="0" y="1266"/>
                  </a:cubicBezTo>
                  <a:cubicBezTo>
                    <a:pt x="0" y="135"/>
                    <a:pt x="0" y="135"/>
                    <a:pt x="0" y="135"/>
                  </a:cubicBezTo>
                  <a:lnTo>
                    <a:pt x="2" y="137"/>
                  </a:lnTo>
                  <a:close/>
                  <a:moveTo>
                    <a:pt x="2080" y="136"/>
                  </a:moveTo>
                  <a:cubicBezTo>
                    <a:pt x="2080" y="1265"/>
                    <a:pt x="2080" y="1265"/>
                    <a:pt x="2080" y="1265"/>
                  </a:cubicBezTo>
                  <a:cubicBezTo>
                    <a:pt x="1346" y="758"/>
                    <a:pt x="1346" y="758"/>
                    <a:pt x="1346" y="758"/>
                  </a:cubicBezTo>
                  <a:cubicBezTo>
                    <a:pt x="2038" y="201"/>
                    <a:pt x="2038" y="201"/>
                    <a:pt x="2038" y="201"/>
                  </a:cubicBezTo>
                  <a:cubicBezTo>
                    <a:pt x="2060" y="182"/>
                    <a:pt x="2072" y="162"/>
                    <a:pt x="2080" y="13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000"/>
            </a:p>
          </p:txBody>
        </p:sp>
      </p:grpSp>
      <p:cxnSp>
        <p:nvCxnSpPr>
          <p:cNvPr id="41" name="Straight Connector 40"/>
          <p:cNvCxnSpPr/>
          <p:nvPr/>
        </p:nvCxnSpPr>
        <p:spPr>
          <a:xfrm>
            <a:off x="2355914" y="5655833"/>
            <a:ext cx="3888000" cy="0"/>
          </a:xfrm>
          <a:prstGeom prst="line">
            <a:avLst/>
          </a:prstGeom>
          <a:ln w="6350">
            <a:solidFill>
              <a:schemeClr val="tx2"/>
            </a:solidFill>
            <a:prstDash val="dash"/>
          </a:ln>
        </p:spPr>
        <p:style>
          <a:lnRef idx="1">
            <a:schemeClr val="accent1"/>
          </a:lnRef>
          <a:fillRef idx="0">
            <a:schemeClr val="accent1"/>
          </a:fillRef>
          <a:effectRef idx="0">
            <a:schemeClr val="accent1"/>
          </a:effectRef>
          <a:fontRef idx="minor">
            <a:schemeClr val="tx1"/>
          </a:fontRef>
        </p:style>
      </p:cxnSp>
      <p:sp>
        <p:nvSpPr>
          <p:cNvPr id="42" name="Picture Placeholder 3"/>
          <p:cNvSpPr>
            <a:spLocks noGrp="1"/>
          </p:cNvSpPr>
          <p:nvPr>
            <p:ph type="pic" sz="quarter" idx="29" hasCustomPrompt="1"/>
          </p:nvPr>
        </p:nvSpPr>
        <p:spPr>
          <a:xfrm>
            <a:off x="2355914" y="3986604"/>
            <a:ext cx="1188677" cy="1547840"/>
          </a:xfrm>
          <a:solidFill>
            <a:srgbClr val="D9DADB"/>
          </a:solidFill>
        </p:spPr>
        <p:txBody>
          <a:bodyPr/>
          <a:lstStyle>
            <a:lvl1pPr marL="0" indent="0">
              <a:buNone/>
              <a:defRPr sz="1400"/>
            </a:lvl1pPr>
          </a:lstStyle>
          <a:p>
            <a:r>
              <a:rPr lang="en-US"/>
              <a:t>Insert picture</a:t>
            </a:r>
          </a:p>
        </p:txBody>
      </p:sp>
      <p:sp>
        <p:nvSpPr>
          <p:cNvPr id="43" name="Text Placeholder 5"/>
          <p:cNvSpPr>
            <a:spLocks noGrp="1"/>
          </p:cNvSpPr>
          <p:nvPr>
            <p:ph type="body" sz="quarter" idx="30" hasCustomPrompt="1"/>
          </p:nvPr>
        </p:nvSpPr>
        <p:spPr>
          <a:xfrm>
            <a:off x="3770065" y="3986141"/>
            <a:ext cx="2463190" cy="192360"/>
          </a:xfrm>
        </p:spPr>
        <p:txBody>
          <a:bodyPr lIns="0" tIns="0" rIns="0" bIns="0" anchor="ctr" anchorCtr="0"/>
          <a:lstStyle>
            <a:lvl1pPr marL="0" indent="0" algn="l">
              <a:lnSpc>
                <a:spcPct val="100000"/>
              </a:lnSpc>
              <a:buNone/>
              <a:defRPr sz="100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Country</a:t>
            </a:r>
          </a:p>
        </p:txBody>
      </p:sp>
      <p:sp>
        <p:nvSpPr>
          <p:cNvPr id="44" name="Text Placeholder 5"/>
          <p:cNvSpPr>
            <a:spLocks noGrp="1"/>
          </p:cNvSpPr>
          <p:nvPr>
            <p:ph type="body" sz="quarter" idx="31" hasCustomPrompt="1"/>
          </p:nvPr>
        </p:nvSpPr>
        <p:spPr>
          <a:xfrm>
            <a:off x="3770065" y="4197957"/>
            <a:ext cx="2463190" cy="266182"/>
          </a:xfrm>
        </p:spPr>
        <p:txBody>
          <a:bodyPr lIns="0" tIns="0" rIns="0" bIns="0" anchor="b" anchorCtr="0"/>
          <a:lstStyle>
            <a:lvl1pPr marL="0" indent="0" algn="l">
              <a:lnSpc>
                <a:spcPct val="100000"/>
              </a:lnSpc>
              <a:buNone/>
              <a:defRPr sz="1400" b="1" baseline="0">
                <a:solidFill>
                  <a:schemeClr val="tx2"/>
                </a:solidFill>
              </a:defRPr>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Name, Surname</a:t>
            </a:r>
          </a:p>
        </p:txBody>
      </p:sp>
      <p:sp>
        <p:nvSpPr>
          <p:cNvPr id="45" name="Text Placeholder 5"/>
          <p:cNvSpPr>
            <a:spLocks noGrp="1"/>
          </p:cNvSpPr>
          <p:nvPr>
            <p:ph type="body" sz="quarter" idx="32" hasCustomPrompt="1"/>
          </p:nvPr>
        </p:nvSpPr>
        <p:spPr>
          <a:xfrm>
            <a:off x="3770065" y="4494532"/>
            <a:ext cx="2463190"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Job Position</a:t>
            </a:r>
          </a:p>
        </p:txBody>
      </p:sp>
      <p:sp>
        <p:nvSpPr>
          <p:cNvPr id="46" name="Text Placeholder 5"/>
          <p:cNvSpPr>
            <a:spLocks noGrp="1"/>
          </p:cNvSpPr>
          <p:nvPr>
            <p:ph type="body" sz="quarter" idx="33" hasCustomPrompt="1"/>
          </p:nvPr>
        </p:nvSpPr>
        <p:spPr>
          <a:xfrm>
            <a:off x="4014948" y="5023208"/>
            <a:ext cx="2218307"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Phone number</a:t>
            </a:r>
          </a:p>
        </p:txBody>
      </p:sp>
      <p:sp>
        <p:nvSpPr>
          <p:cNvPr id="47" name="Text Placeholder 5"/>
          <p:cNvSpPr>
            <a:spLocks noGrp="1"/>
          </p:cNvSpPr>
          <p:nvPr>
            <p:ph type="body" sz="quarter" idx="34" hasCustomPrompt="1"/>
          </p:nvPr>
        </p:nvSpPr>
        <p:spPr>
          <a:xfrm>
            <a:off x="4014948" y="5306015"/>
            <a:ext cx="2218307"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Email address</a:t>
            </a:r>
          </a:p>
        </p:txBody>
      </p:sp>
      <p:grpSp>
        <p:nvGrpSpPr>
          <p:cNvPr id="48" name="Gruppieren 2">
            <a:extLst>
              <a:ext uri="{FF2B5EF4-FFF2-40B4-BE49-F238E27FC236}">
                <a16:creationId xmlns:a16="http://schemas.microsoft.com/office/drawing/2014/main" id="{BE697CE9-EBDE-6B4A-BE70-582D92A8A831}"/>
              </a:ext>
            </a:extLst>
          </p:cNvPr>
          <p:cNvGrpSpPr/>
          <p:nvPr/>
        </p:nvGrpSpPr>
        <p:grpSpPr>
          <a:xfrm>
            <a:off x="8701917" y="5043528"/>
            <a:ext cx="171180" cy="171180"/>
            <a:chOff x="3392092" y="1841122"/>
            <a:chExt cx="646508" cy="646508"/>
          </a:xfrm>
        </p:grpSpPr>
        <p:sp>
          <p:nvSpPr>
            <p:cNvPr id="49" name="Rechteck 14">
              <a:extLst>
                <a:ext uri="{FF2B5EF4-FFF2-40B4-BE49-F238E27FC236}">
                  <a16:creationId xmlns:a16="http://schemas.microsoft.com/office/drawing/2014/main" id="{E142A731-19B7-C34D-9534-9E05108F895F}"/>
                </a:ext>
              </a:extLst>
            </p:cNvPr>
            <p:cNvSpPr>
              <a:spLocks noChangeAspect="1"/>
            </p:cNvSpPr>
            <p:nvPr/>
          </p:nvSpPr>
          <p:spPr bwMode="gray">
            <a:xfrm>
              <a:off x="3392092" y="1841122"/>
              <a:ext cx="646508" cy="646508"/>
            </a:xfrm>
            <a:prstGeom prst="rect">
              <a:avLst/>
            </a:prstGeom>
            <a:solidFill>
              <a:srgbClr val="E55A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pPr>
              <a:endParaRPr lang="en-US" sz="1000">
                <a:solidFill>
                  <a:schemeClr val="tx1"/>
                </a:solidFill>
                <a:latin typeface="Arial" pitchFamily="34" charset="0"/>
                <a:cs typeface="Arial" pitchFamily="34" charset="0"/>
              </a:endParaRPr>
            </a:p>
          </p:txBody>
        </p:sp>
        <p:sp>
          <p:nvSpPr>
            <p:cNvPr id="50" name="Freeform 49">
              <a:extLst>
                <a:ext uri="{FF2B5EF4-FFF2-40B4-BE49-F238E27FC236}">
                  <a16:creationId xmlns:a16="http://schemas.microsoft.com/office/drawing/2014/main" id="{F97E84AE-4AD9-4B44-9AA1-F797FC373809}"/>
                </a:ext>
              </a:extLst>
            </p:cNvPr>
            <p:cNvSpPr>
              <a:spLocks noChangeAspect="1"/>
            </p:cNvSpPr>
            <p:nvPr/>
          </p:nvSpPr>
          <p:spPr bwMode="auto">
            <a:xfrm>
              <a:off x="3546638" y="1970424"/>
              <a:ext cx="337415" cy="387905"/>
            </a:xfrm>
            <a:custGeom>
              <a:avLst/>
              <a:gdLst>
                <a:gd name="T0" fmla="*/ 573 w 1624"/>
                <a:gd name="T1" fmla="*/ 1257 h 1867"/>
                <a:gd name="T2" fmla="*/ 662 w 1624"/>
                <a:gd name="T3" fmla="*/ 1288 h 1867"/>
                <a:gd name="T4" fmla="*/ 938 w 1624"/>
                <a:gd name="T5" fmla="*/ 1051 h 1867"/>
                <a:gd name="T6" fmla="*/ 1106 w 1624"/>
                <a:gd name="T7" fmla="*/ 731 h 1867"/>
                <a:gd name="T8" fmla="*/ 1059 w 1624"/>
                <a:gd name="T9" fmla="*/ 645 h 1867"/>
                <a:gd name="T10" fmla="*/ 1001 w 1624"/>
                <a:gd name="T11" fmla="*/ 613 h 1867"/>
                <a:gd name="T12" fmla="*/ 924 w 1624"/>
                <a:gd name="T13" fmla="*/ 432 h 1867"/>
                <a:gd name="T14" fmla="*/ 1114 w 1624"/>
                <a:gd name="T15" fmla="*/ 81 h 1867"/>
                <a:gd name="T16" fmla="*/ 1287 w 1624"/>
                <a:gd name="T17" fmla="*/ 35 h 1867"/>
                <a:gd name="T18" fmla="*/ 1350 w 1624"/>
                <a:gd name="T19" fmla="*/ 69 h 1867"/>
                <a:gd name="T20" fmla="*/ 1527 w 1624"/>
                <a:gd name="T21" fmla="*/ 235 h 1867"/>
                <a:gd name="T22" fmla="*/ 1583 w 1624"/>
                <a:gd name="T23" fmla="*/ 555 h 1867"/>
                <a:gd name="T24" fmla="*/ 1172 w 1624"/>
                <a:gd name="T25" fmla="*/ 1253 h 1867"/>
                <a:gd name="T26" fmla="*/ 586 w 1624"/>
                <a:gd name="T27" fmla="*/ 1803 h 1867"/>
                <a:gd name="T28" fmla="*/ 269 w 1624"/>
                <a:gd name="T29" fmla="*/ 1807 h 1867"/>
                <a:gd name="T30" fmla="*/ 33 w 1624"/>
                <a:gd name="T31" fmla="*/ 1602 h 1867"/>
                <a:gd name="T32" fmla="*/ 2 w 1624"/>
                <a:gd name="T33" fmla="*/ 1508 h 1867"/>
                <a:gd name="T34" fmla="*/ 45 w 1624"/>
                <a:gd name="T35" fmla="*/ 1421 h 1867"/>
                <a:gd name="T36" fmla="*/ 346 w 1624"/>
                <a:gd name="T37" fmla="*/ 1158 h 1867"/>
                <a:gd name="T38" fmla="*/ 448 w 1624"/>
                <a:gd name="T39" fmla="*/ 1145 h 1867"/>
                <a:gd name="T40" fmla="*/ 573 w 1624"/>
                <a:gd name="T41" fmla="*/ 1257 h 18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24" h="1867">
                  <a:moveTo>
                    <a:pt x="573" y="1257"/>
                  </a:moveTo>
                  <a:cubicBezTo>
                    <a:pt x="592" y="1282"/>
                    <a:pt x="630" y="1303"/>
                    <a:pt x="662" y="1288"/>
                  </a:cubicBezTo>
                  <a:cubicBezTo>
                    <a:pt x="753" y="1245"/>
                    <a:pt x="854" y="1156"/>
                    <a:pt x="938" y="1051"/>
                  </a:cubicBezTo>
                  <a:cubicBezTo>
                    <a:pt x="1020" y="948"/>
                    <a:pt x="1084" y="831"/>
                    <a:pt x="1106" y="731"/>
                  </a:cubicBezTo>
                  <a:cubicBezTo>
                    <a:pt x="1113" y="696"/>
                    <a:pt x="1089" y="661"/>
                    <a:pt x="1059" y="645"/>
                  </a:cubicBezTo>
                  <a:cubicBezTo>
                    <a:pt x="1001" y="613"/>
                    <a:pt x="1001" y="613"/>
                    <a:pt x="1001" y="613"/>
                  </a:cubicBezTo>
                  <a:cubicBezTo>
                    <a:pt x="942" y="580"/>
                    <a:pt x="888" y="499"/>
                    <a:pt x="924" y="432"/>
                  </a:cubicBezTo>
                  <a:cubicBezTo>
                    <a:pt x="1114" y="81"/>
                    <a:pt x="1114" y="81"/>
                    <a:pt x="1114" y="81"/>
                  </a:cubicBezTo>
                  <a:cubicBezTo>
                    <a:pt x="1150" y="16"/>
                    <a:pt x="1224" y="0"/>
                    <a:pt x="1287" y="35"/>
                  </a:cubicBezTo>
                  <a:cubicBezTo>
                    <a:pt x="1350" y="69"/>
                    <a:pt x="1350" y="69"/>
                    <a:pt x="1350" y="69"/>
                  </a:cubicBezTo>
                  <a:cubicBezTo>
                    <a:pt x="1415" y="105"/>
                    <a:pt x="1479" y="165"/>
                    <a:pt x="1527" y="235"/>
                  </a:cubicBezTo>
                  <a:cubicBezTo>
                    <a:pt x="1593" y="332"/>
                    <a:pt x="1624" y="442"/>
                    <a:pt x="1583" y="555"/>
                  </a:cubicBezTo>
                  <a:cubicBezTo>
                    <a:pt x="1500" y="781"/>
                    <a:pt x="1351" y="1030"/>
                    <a:pt x="1172" y="1253"/>
                  </a:cubicBezTo>
                  <a:cubicBezTo>
                    <a:pt x="994" y="1477"/>
                    <a:pt x="786" y="1676"/>
                    <a:pt x="586" y="1803"/>
                  </a:cubicBezTo>
                  <a:cubicBezTo>
                    <a:pt x="486" y="1867"/>
                    <a:pt x="375" y="1856"/>
                    <a:pt x="269" y="1807"/>
                  </a:cubicBezTo>
                  <a:cubicBezTo>
                    <a:pt x="157" y="1755"/>
                    <a:pt x="106" y="1695"/>
                    <a:pt x="33" y="1602"/>
                  </a:cubicBezTo>
                  <a:cubicBezTo>
                    <a:pt x="11" y="1573"/>
                    <a:pt x="0" y="1540"/>
                    <a:pt x="2" y="1508"/>
                  </a:cubicBezTo>
                  <a:cubicBezTo>
                    <a:pt x="4" y="1475"/>
                    <a:pt x="18" y="1444"/>
                    <a:pt x="45" y="1421"/>
                  </a:cubicBezTo>
                  <a:cubicBezTo>
                    <a:pt x="70" y="1399"/>
                    <a:pt x="346" y="1158"/>
                    <a:pt x="346" y="1158"/>
                  </a:cubicBezTo>
                  <a:cubicBezTo>
                    <a:pt x="376" y="1134"/>
                    <a:pt x="413" y="1133"/>
                    <a:pt x="448" y="1145"/>
                  </a:cubicBezTo>
                  <a:cubicBezTo>
                    <a:pt x="510" y="1166"/>
                    <a:pt x="536" y="1210"/>
                    <a:pt x="573" y="1257"/>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351"/>
            </a:p>
          </p:txBody>
        </p:sp>
      </p:grpSp>
      <p:grpSp>
        <p:nvGrpSpPr>
          <p:cNvPr id="51" name="Group 3">
            <a:extLst>
              <a:ext uri="{FF2B5EF4-FFF2-40B4-BE49-F238E27FC236}">
                <a16:creationId xmlns:a16="http://schemas.microsoft.com/office/drawing/2014/main" id="{7104BADD-8CD1-6F4A-B894-869C3BDB3EEB}"/>
              </a:ext>
            </a:extLst>
          </p:cNvPr>
          <p:cNvGrpSpPr>
            <a:grpSpLocks noChangeAspect="1"/>
          </p:cNvGrpSpPr>
          <p:nvPr>
            <p:custDataLst>
              <p:tags r:id="rId4"/>
            </p:custDataLst>
          </p:nvPr>
        </p:nvGrpSpPr>
        <p:grpSpPr>
          <a:xfrm>
            <a:off x="8701918" y="5328416"/>
            <a:ext cx="171180" cy="171180"/>
            <a:chOff x="328396" y="5313940"/>
            <a:chExt cx="720000" cy="720000"/>
          </a:xfrm>
        </p:grpSpPr>
        <p:sp>
          <p:nvSpPr>
            <p:cNvPr id="52" name="Rectangle 4">
              <a:extLst>
                <a:ext uri="{FF2B5EF4-FFF2-40B4-BE49-F238E27FC236}">
                  <a16:creationId xmlns:a16="http://schemas.microsoft.com/office/drawing/2014/main" id="{74BE3D5F-1445-6E40-8B49-72E15568383B}"/>
                </a:ext>
              </a:extLst>
            </p:cNvPr>
            <p:cNvSpPr/>
            <p:nvPr/>
          </p:nvSpPr>
          <p:spPr bwMode="gray">
            <a:xfrm>
              <a:off x="328396" y="5313940"/>
              <a:ext cx="720000" cy="720000"/>
            </a:xfrm>
            <a:prstGeom prst="rect">
              <a:avLst/>
            </a:prstGeom>
            <a:solidFill>
              <a:srgbClr val="E55A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pPr>
              <a:endParaRPr lang="en-US" sz="1000">
                <a:solidFill>
                  <a:schemeClr val="tx1"/>
                </a:solidFill>
                <a:latin typeface="Arial" pitchFamily="34" charset="0"/>
                <a:cs typeface="Arial" pitchFamily="34" charset="0"/>
              </a:endParaRPr>
            </a:p>
          </p:txBody>
        </p:sp>
        <p:sp>
          <p:nvSpPr>
            <p:cNvPr id="53" name="Freeform 76">
              <a:extLst>
                <a:ext uri="{FF2B5EF4-FFF2-40B4-BE49-F238E27FC236}">
                  <a16:creationId xmlns:a16="http://schemas.microsoft.com/office/drawing/2014/main" id="{55DB3C95-7D0C-D141-901E-96D692794D2B}"/>
                </a:ext>
              </a:extLst>
            </p:cNvPr>
            <p:cNvSpPr>
              <a:spLocks noChangeAspect="1" noEditPoints="1"/>
            </p:cNvSpPr>
            <p:nvPr/>
          </p:nvSpPr>
          <p:spPr bwMode="auto">
            <a:xfrm>
              <a:off x="456202" y="5509222"/>
              <a:ext cx="504000" cy="329436"/>
            </a:xfrm>
            <a:custGeom>
              <a:avLst/>
              <a:gdLst>
                <a:gd name="T0" fmla="*/ 0 w 2080"/>
                <a:gd name="T1" fmla="*/ 65 h 1360"/>
                <a:gd name="T2" fmla="*/ 0 w 2080"/>
                <a:gd name="T3" fmla="*/ 0 h 1360"/>
                <a:gd name="T4" fmla="*/ 2080 w 2080"/>
                <a:gd name="T5" fmla="*/ 0 h 1360"/>
                <a:gd name="T6" fmla="*/ 2080 w 2080"/>
                <a:gd name="T7" fmla="*/ 65 h 1360"/>
                <a:gd name="T8" fmla="*/ 1089 w 2080"/>
                <a:gd name="T9" fmla="*/ 862 h 1360"/>
                <a:gd name="T10" fmla="*/ 991 w 2080"/>
                <a:gd name="T11" fmla="*/ 862 h 1360"/>
                <a:gd name="T12" fmla="*/ 0 w 2080"/>
                <a:gd name="T13" fmla="*/ 65 h 1360"/>
                <a:gd name="T14" fmla="*/ 1139 w 2080"/>
                <a:gd name="T15" fmla="*/ 924 h 1360"/>
                <a:gd name="T16" fmla="*/ 1282 w 2080"/>
                <a:gd name="T17" fmla="*/ 810 h 1360"/>
                <a:gd name="T18" fmla="*/ 2076 w 2080"/>
                <a:gd name="T19" fmla="*/ 1360 h 1360"/>
                <a:gd name="T20" fmla="*/ 4 w 2080"/>
                <a:gd name="T21" fmla="*/ 1360 h 1360"/>
                <a:gd name="T22" fmla="*/ 798 w 2080"/>
                <a:gd name="T23" fmla="*/ 810 h 1360"/>
                <a:gd name="T24" fmla="*/ 941 w 2080"/>
                <a:gd name="T25" fmla="*/ 924 h 1360"/>
                <a:gd name="T26" fmla="*/ 1139 w 2080"/>
                <a:gd name="T27" fmla="*/ 924 h 1360"/>
                <a:gd name="T28" fmla="*/ 2 w 2080"/>
                <a:gd name="T29" fmla="*/ 137 h 1360"/>
                <a:gd name="T30" fmla="*/ 42 w 2080"/>
                <a:gd name="T31" fmla="*/ 201 h 1360"/>
                <a:gd name="T32" fmla="*/ 734 w 2080"/>
                <a:gd name="T33" fmla="*/ 758 h 1360"/>
                <a:gd name="T34" fmla="*/ 0 w 2080"/>
                <a:gd name="T35" fmla="*/ 1266 h 1360"/>
                <a:gd name="T36" fmla="*/ 0 w 2080"/>
                <a:gd name="T37" fmla="*/ 135 h 1360"/>
                <a:gd name="T38" fmla="*/ 2 w 2080"/>
                <a:gd name="T39" fmla="*/ 137 h 1360"/>
                <a:gd name="T40" fmla="*/ 2080 w 2080"/>
                <a:gd name="T41" fmla="*/ 136 h 1360"/>
                <a:gd name="T42" fmla="*/ 2080 w 2080"/>
                <a:gd name="T43" fmla="*/ 1265 h 1360"/>
                <a:gd name="T44" fmla="*/ 1346 w 2080"/>
                <a:gd name="T45" fmla="*/ 758 h 1360"/>
                <a:gd name="T46" fmla="*/ 2038 w 2080"/>
                <a:gd name="T47" fmla="*/ 201 h 1360"/>
                <a:gd name="T48" fmla="*/ 2080 w 2080"/>
                <a:gd name="T49" fmla="*/ 136 h 1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080" h="1360">
                  <a:moveTo>
                    <a:pt x="0" y="65"/>
                  </a:moveTo>
                  <a:cubicBezTo>
                    <a:pt x="0" y="0"/>
                    <a:pt x="0" y="0"/>
                    <a:pt x="0" y="0"/>
                  </a:cubicBezTo>
                  <a:cubicBezTo>
                    <a:pt x="2080" y="0"/>
                    <a:pt x="2080" y="0"/>
                    <a:pt x="2080" y="0"/>
                  </a:cubicBezTo>
                  <a:cubicBezTo>
                    <a:pt x="2080" y="65"/>
                    <a:pt x="2080" y="65"/>
                    <a:pt x="2080" y="65"/>
                  </a:cubicBezTo>
                  <a:cubicBezTo>
                    <a:pt x="1089" y="862"/>
                    <a:pt x="1089" y="862"/>
                    <a:pt x="1089" y="862"/>
                  </a:cubicBezTo>
                  <a:cubicBezTo>
                    <a:pt x="1060" y="886"/>
                    <a:pt x="1020" y="886"/>
                    <a:pt x="991" y="862"/>
                  </a:cubicBezTo>
                  <a:lnTo>
                    <a:pt x="0" y="65"/>
                  </a:lnTo>
                  <a:close/>
                  <a:moveTo>
                    <a:pt x="1139" y="924"/>
                  </a:moveTo>
                  <a:cubicBezTo>
                    <a:pt x="1282" y="810"/>
                    <a:pt x="1282" y="810"/>
                    <a:pt x="1282" y="810"/>
                  </a:cubicBezTo>
                  <a:cubicBezTo>
                    <a:pt x="2076" y="1360"/>
                    <a:pt x="2076" y="1360"/>
                    <a:pt x="2076" y="1360"/>
                  </a:cubicBezTo>
                  <a:cubicBezTo>
                    <a:pt x="4" y="1360"/>
                    <a:pt x="4" y="1360"/>
                    <a:pt x="4" y="1360"/>
                  </a:cubicBezTo>
                  <a:cubicBezTo>
                    <a:pt x="798" y="810"/>
                    <a:pt x="798" y="810"/>
                    <a:pt x="798" y="810"/>
                  </a:cubicBezTo>
                  <a:cubicBezTo>
                    <a:pt x="941" y="924"/>
                    <a:pt x="941" y="924"/>
                    <a:pt x="941" y="924"/>
                  </a:cubicBezTo>
                  <a:cubicBezTo>
                    <a:pt x="1000" y="972"/>
                    <a:pt x="1080" y="972"/>
                    <a:pt x="1139" y="924"/>
                  </a:cubicBezTo>
                  <a:close/>
                  <a:moveTo>
                    <a:pt x="2" y="137"/>
                  </a:moveTo>
                  <a:cubicBezTo>
                    <a:pt x="8" y="163"/>
                    <a:pt x="22" y="185"/>
                    <a:pt x="42" y="201"/>
                  </a:cubicBezTo>
                  <a:cubicBezTo>
                    <a:pt x="734" y="758"/>
                    <a:pt x="734" y="758"/>
                    <a:pt x="734" y="758"/>
                  </a:cubicBezTo>
                  <a:cubicBezTo>
                    <a:pt x="0" y="1266"/>
                    <a:pt x="0" y="1266"/>
                    <a:pt x="0" y="1266"/>
                  </a:cubicBezTo>
                  <a:cubicBezTo>
                    <a:pt x="0" y="135"/>
                    <a:pt x="0" y="135"/>
                    <a:pt x="0" y="135"/>
                  </a:cubicBezTo>
                  <a:lnTo>
                    <a:pt x="2" y="137"/>
                  </a:lnTo>
                  <a:close/>
                  <a:moveTo>
                    <a:pt x="2080" y="136"/>
                  </a:moveTo>
                  <a:cubicBezTo>
                    <a:pt x="2080" y="1265"/>
                    <a:pt x="2080" y="1265"/>
                    <a:pt x="2080" y="1265"/>
                  </a:cubicBezTo>
                  <a:cubicBezTo>
                    <a:pt x="1346" y="758"/>
                    <a:pt x="1346" y="758"/>
                    <a:pt x="1346" y="758"/>
                  </a:cubicBezTo>
                  <a:cubicBezTo>
                    <a:pt x="2038" y="201"/>
                    <a:pt x="2038" y="201"/>
                    <a:pt x="2038" y="201"/>
                  </a:cubicBezTo>
                  <a:cubicBezTo>
                    <a:pt x="2060" y="182"/>
                    <a:pt x="2072" y="162"/>
                    <a:pt x="2080" y="13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000"/>
            </a:p>
          </p:txBody>
        </p:sp>
      </p:grpSp>
      <p:cxnSp>
        <p:nvCxnSpPr>
          <p:cNvPr id="54" name="Straight Connector 53"/>
          <p:cNvCxnSpPr/>
          <p:nvPr/>
        </p:nvCxnSpPr>
        <p:spPr>
          <a:xfrm>
            <a:off x="7287766" y="5653422"/>
            <a:ext cx="3888000" cy="0"/>
          </a:xfrm>
          <a:prstGeom prst="line">
            <a:avLst/>
          </a:prstGeom>
          <a:ln w="6350">
            <a:solidFill>
              <a:schemeClr val="tx2"/>
            </a:solidFill>
            <a:prstDash val="dash"/>
          </a:ln>
        </p:spPr>
        <p:style>
          <a:lnRef idx="1">
            <a:schemeClr val="accent1"/>
          </a:lnRef>
          <a:fillRef idx="0">
            <a:schemeClr val="accent1"/>
          </a:fillRef>
          <a:effectRef idx="0">
            <a:schemeClr val="accent1"/>
          </a:effectRef>
          <a:fontRef idx="minor">
            <a:schemeClr val="tx1"/>
          </a:fontRef>
        </p:style>
      </p:cxnSp>
      <p:sp>
        <p:nvSpPr>
          <p:cNvPr id="55" name="Picture Placeholder 3"/>
          <p:cNvSpPr>
            <a:spLocks noGrp="1"/>
          </p:cNvSpPr>
          <p:nvPr>
            <p:ph type="pic" sz="quarter" idx="35" hasCustomPrompt="1"/>
          </p:nvPr>
        </p:nvSpPr>
        <p:spPr>
          <a:xfrm>
            <a:off x="7287766" y="3984193"/>
            <a:ext cx="1188677" cy="1547840"/>
          </a:xfrm>
          <a:solidFill>
            <a:srgbClr val="D9DADB"/>
          </a:solidFill>
        </p:spPr>
        <p:txBody>
          <a:bodyPr/>
          <a:lstStyle>
            <a:lvl1pPr marL="0" indent="0">
              <a:buNone/>
              <a:defRPr sz="1400"/>
            </a:lvl1pPr>
          </a:lstStyle>
          <a:p>
            <a:r>
              <a:rPr lang="en-US"/>
              <a:t>Insert picture</a:t>
            </a:r>
          </a:p>
        </p:txBody>
      </p:sp>
      <p:sp>
        <p:nvSpPr>
          <p:cNvPr id="56" name="Text Placeholder 5"/>
          <p:cNvSpPr>
            <a:spLocks noGrp="1"/>
          </p:cNvSpPr>
          <p:nvPr>
            <p:ph type="body" sz="quarter" idx="36" hasCustomPrompt="1"/>
          </p:nvPr>
        </p:nvSpPr>
        <p:spPr>
          <a:xfrm>
            <a:off x="8701917" y="3983730"/>
            <a:ext cx="2463190" cy="192360"/>
          </a:xfrm>
        </p:spPr>
        <p:txBody>
          <a:bodyPr lIns="0" tIns="0" rIns="0" bIns="0" anchor="ctr" anchorCtr="0"/>
          <a:lstStyle>
            <a:lvl1pPr marL="0" indent="0" algn="l">
              <a:lnSpc>
                <a:spcPct val="100000"/>
              </a:lnSpc>
              <a:buNone/>
              <a:defRPr sz="100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Country</a:t>
            </a:r>
          </a:p>
        </p:txBody>
      </p:sp>
      <p:sp>
        <p:nvSpPr>
          <p:cNvPr id="57" name="Text Placeholder 5"/>
          <p:cNvSpPr>
            <a:spLocks noGrp="1"/>
          </p:cNvSpPr>
          <p:nvPr>
            <p:ph type="body" sz="quarter" idx="37" hasCustomPrompt="1"/>
          </p:nvPr>
        </p:nvSpPr>
        <p:spPr>
          <a:xfrm>
            <a:off x="8701917" y="4195546"/>
            <a:ext cx="2463190" cy="266182"/>
          </a:xfrm>
        </p:spPr>
        <p:txBody>
          <a:bodyPr lIns="0" tIns="0" rIns="0" bIns="0" anchor="b" anchorCtr="0"/>
          <a:lstStyle>
            <a:lvl1pPr marL="0" indent="0" algn="l">
              <a:lnSpc>
                <a:spcPct val="100000"/>
              </a:lnSpc>
              <a:buNone/>
              <a:defRPr sz="1400" b="1" baseline="0">
                <a:solidFill>
                  <a:schemeClr val="tx2"/>
                </a:solidFill>
              </a:defRPr>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Name, Surname</a:t>
            </a:r>
          </a:p>
        </p:txBody>
      </p:sp>
      <p:sp>
        <p:nvSpPr>
          <p:cNvPr id="58" name="Text Placeholder 5"/>
          <p:cNvSpPr>
            <a:spLocks noGrp="1"/>
          </p:cNvSpPr>
          <p:nvPr>
            <p:ph type="body" sz="quarter" idx="38" hasCustomPrompt="1"/>
          </p:nvPr>
        </p:nvSpPr>
        <p:spPr>
          <a:xfrm>
            <a:off x="8701917" y="4492121"/>
            <a:ext cx="2463190"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Job Position</a:t>
            </a:r>
          </a:p>
        </p:txBody>
      </p:sp>
      <p:sp>
        <p:nvSpPr>
          <p:cNvPr id="59" name="Text Placeholder 5"/>
          <p:cNvSpPr>
            <a:spLocks noGrp="1"/>
          </p:cNvSpPr>
          <p:nvPr>
            <p:ph type="body" sz="quarter" idx="39" hasCustomPrompt="1"/>
          </p:nvPr>
        </p:nvSpPr>
        <p:spPr>
          <a:xfrm>
            <a:off x="8946800" y="5020797"/>
            <a:ext cx="2218307"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Phone number</a:t>
            </a:r>
          </a:p>
        </p:txBody>
      </p:sp>
      <p:sp>
        <p:nvSpPr>
          <p:cNvPr id="60" name="Text Placeholder 5"/>
          <p:cNvSpPr>
            <a:spLocks noGrp="1"/>
          </p:cNvSpPr>
          <p:nvPr>
            <p:ph type="body" sz="quarter" idx="40" hasCustomPrompt="1"/>
          </p:nvPr>
        </p:nvSpPr>
        <p:spPr>
          <a:xfrm>
            <a:off x="8946800" y="5303604"/>
            <a:ext cx="2218307"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Email address</a:t>
            </a:r>
          </a:p>
        </p:txBody>
      </p:sp>
    </p:spTree>
    <p:extLst>
      <p:ext uri="{BB962C8B-B14F-4D97-AF65-F5344CB8AC3E}">
        <p14:creationId xmlns:p14="http://schemas.microsoft.com/office/powerpoint/2010/main" val="3463319460"/>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preserve="1">
  <p:cSld name="End slide">
    <p:spTree>
      <p:nvGrpSpPr>
        <p:cNvPr id="1" name=""/>
        <p:cNvGrpSpPr/>
        <p:nvPr/>
      </p:nvGrpSpPr>
      <p:grpSpPr>
        <a:xfrm>
          <a:off x="0" y="0"/>
          <a:ext cx="0" cy="0"/>
          <a:chOff x="0" y="0"/>
          <a:chExt cx="0" cy="0"/>
        </a:xfrm>
      </p:grpSpPr>
      <p:pic>
        <p:nvPicPr>
          <p:cNvPr id="30" name="picture">
            <a:extLst>
              <a:ext uri="{FF2B5EF4-FFF2-40B4-BE49-F238E27FC236}">
                <a16:creationId xmlns:a16="http://schemas.microsoft.com/office/drawing/2014/main" id="{8BF907F5-A9CD-2740-AF54-6BACB62334AE}"/>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2620212" y="-8808"/>
            <a:ext cx="9697299" cy="6866807"/>
          </a:xfrm>
          <a:prstGeom prst="rect">
            <a:avLst/>
          </a:prstGeom>
        </p:spPr>
      </p:pic>
      <p:sp>
        <p:nvSpPr>
          <p:cNvPr id="29" name="shpPicture"/>
          <p:cNvSpPr/>
          <p:nvPr/>
        </p:nvSpPr>
        <p:spPr>
          <a:xfrm>
            <a:off x="0" y="0"/>
            <a:ext cx="4347306" cy="6858000"/>
          </a:xfrm>
          <a:custGeom>
            <a:avLst/>
            <a:gdLst>
              <a:gd name="connsiteX0" fmla="*/ 0 w 4347306"/>
              <a:gd name="connsiteY0" fmla="*/ 0 h 6858000"/>
              <a:gd name="connsiteX1" fmla="*/ 3252806 w 4347306"/>
              <a:gd name="connsiteY1" fmla="*/ 0 h 6858000"/>
              <a:gd name="connsiteX2" fmla="*/ 4347306 w 4347306"/>
              <a:gd name="connsiteY2" fmla="*/ 4140909 h 6858000"/>
              <a:gd name="connsiteX3" fmla="*/ 2943442 w 4347306"/>
              <a:gd name="connsiteY3" fmla="*/ 6858000 h 6858000"/>
              <a:gd name="connsiteX4" fmla="*/ 0 w 4347306"/>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47306" h="6858000">
                <a:moveTo>
                  <a:pt x="0" y="0"/>
                </a:moveTo>
                <a:lnTo>
                  <a:pt x="3252806" y="0"/>
                </a:lnTo>
                <a:lnTo>
                  <a:pt x="4347306" y="4140909"/>
                </a:lnTo>
                <a:lnTo>
                  <a:pt x="2943442"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US" sz="1600"/>
          </a:p>
        </p:txBody>
      </p:sp>
      <p:grpSp>
        <p:nvGrpSpPr>
          <p:cNvPr id="14" name="logo">
            <a:extLst>
              <a:ext uri="{FF2B5EF4-FFF2-40B4-BE49-F238E27FC236}">
                <a16:creationId xmlns:a16="http://schemas.microsoft.com/office/drawing/2014/main" id="{18C26D95-70F8-8A4D-9F18-DCCB92522AF8}"/>
              </a:ext>
            </a:extLst>
          </p:cNvPr>
          <p:cNvGrpSpPr/>
          <p:nvPr/>
        </p:nvGrpSpPr>
        <p:grpSpPr bwMode="gray">
          <a:xfrm>
            <a:off x="417363" y="407485"/>
            <a:ext cx="1518585" cy="646507"/>
            <a:chOff x="334963" y="296652"/>
            <a:chExt cx="1268411" cy="540000"/>
          </a:xfrm>
        </p:grpSpPr>
        <p:sp>
          <p:nvSpPr>
            <p:cNvPr id="17" name="Freeform 6">
              <a:extLst>
                <a:ext uri="{FF2B5EF4-FFF2-40B4-BE49-F238E27FC236}">
                  <a16:creationId xmlns:a16="http://schemas.microsoft.com/office/drawing/2014/main" id="{08737AD0-E375-E445-97E6-CD2E2DF60620}"/>
                </a:ext>
              </a:extLst>
            </p:cNvPr>
            <p:cNvSpPr>
              <a:spLocks noEditPoints="1"/>
            </p:cNvSpPr>
            <p:nvPr/>
          </p:nvSpPr>
          <p:spPr bwMode="gray">
            <a:xfrm>
              <a:off x="982662" y="360462"/>
              <a:ext cx="620712" cy="431800"/>
            </a:xfrm>
            <a:custGeom>
              <a:avLst/>
              <a:gdLst>
                <a:gd name="T0" fmla="*/ 19 w 1809"/>
                <a:gd name="T1" fmla="*/ 97 h 1253"/>
                <a:gd name="T2" fmla="*/ 165 w 1809"/>
                <a:gd name="T3" fmla="*/ 41 h 1253"/>
                <a:gd name="T4" fmla="*/ 211 w 1809"/>
                <a:gd name="T5" fmla="*/ 224 h 1253"/>
                <a:gd name="T6" fmla="*/ 248 w 1809"/>
                <a:gd name="T7" fmla="*/ 155 h 1253"/>
                <a:gd name="T8" fmla="*/ 931 w 1809"/>
                <a:gd name="T9" fmla="*/ 995 h 1253"/>
                <a:gd name="T10" fmla="*/ 858 w 1809"/>
                <a:gd name="T11" fmla="*/ 1115 h 1253"/>
                <a:gd name="T12" fmla="*/ 749 w 1809"/>
                <a:gd name="T13" fmla="*/ 1117 h 1253"/>
                <a:gd name="T14" fmla="*/ 681 w 1809"/>
                <a:gd name="T15" fmla="*/ 1055 h 1253"/>
                <a:gd name="T16" fmla="*/ 800 w 1809"/>
                <a:gd name="T17" fmla="*/ 1054 h 1253"/>
                <a:gd name="T18" fmla="*/ 884 w 1809"/>
                <a:gd name="T19" fmla="*/ 1181 h 1253"/>
                <a:gd name="T20" fmla="*/ 118 w 1809"/>
                <a:gd name="T21" fmla="*/ 1086 h 1253"/>
                <a:gd name="T22" fmla="*/ 147 w 1809"/>
                <a:gd name="T23" fmla="*/ 1026 h 1253"/>
                <a:gd name="T24" fmla="*/ 102 w 1809"/>
                <a:gd name="T25" fmla="*/ 1026 h 1253"/>
                <a:gd name="T26" fmla="*/ 639 w 1809"/>
                <a:gd name="T27" fmla="*/ 84 h 1253"/>
                <a:gd name="T28" fmla="*/ 763 w 1809"/>
                <a:gd name="T29" fmla="*/ 145 h 1253"/>
                <a:gd name="T30" fmla="*/ 863 w 1809"/>
                <a:gd name="T31" fmla="*/ 221 h 1253"/>
                <a:gd name="T32" fmla="*/ 834 w 1809"/>
                <a:gd name="T33" fmla="*/ 208 h 1253"/>
                <a:gd name="T34" fmla="*/ 719 w 1809"/>
                <a:gd name="T35" fmla="*/ 182 h 1253"/>
                <a:gd name="T36" fmla="*/ 507 w 1809"/>
                <a:gd name="T37" fmla="*/ 711 h 1253"/>
                <a:gd name="T38" fmla="*/ 614 w 1809"/>
                <a:gd name="T39" fmla="*/ 706 h 1253"/>
                <a:gd name="T40" fmla="*/ 736 w 1809"/>
                <a:gd name="T41" fmla="*/ 730 h 1253"/>
                <a:gd name="T42" fmla="*/ 607 w 1809"/>
                <a:gd name="T43" fmla="*/ 539 h 1253"/>
                <a:gd name="T44" fmla="*/ 1505 w 1809"/>
                <a:gd name="T45" fmla="*/ 1136 h 1253"/>
                <a:gd name="T46" fmla="*/ 1613 w 1809"/>
                <a:gd name="T47" fmla="*/ 1002 h 1253"/>
                <a:gd name="T48" fmla="*/ 1472 w 1809"/>
                <a:gd name="T49" fmla="*/ 1164 h 1253"/>
                <a:gd name="T50" fmla="*/ 1525 w 1809"/>
                <a:gd name="T51" fmla="*/ 1142 h 1253"/>
                <a:gd name="T52" fmla="*/ 1556 w 1809"/>
                <a:gd name="T53" fmla="*/ 1172 h 1253"/>
                <a:gd name="T54" fmla="*/ 1387 w 1809"/>
                <a:gd name="T55" fmla="*/ 910 h 1253"/>
                <a:gd name="T56" fmla="*/ 1261 w 1809"/>
                <a:gd name="T57" fmla="*/ 1157 h 1253"/>
                <a:gd name="T58" fmla="*/ 1413 w 1809"/>
                <a:gd name="T59" fmla="*/ 934 h 1253"/>
                <a:gd name="T60" fmla="*/ 1378 w 1809"/>
                <a:gd name="T61" fmla="*/ 1052 h 1253"/>
                <a:gd name="T62" fmla="*/ 488 w 1809"/>
                <a:gd name="T63" fmla="*/ 85 h 1253"/>
                <a:gd name="T64" fmla="*/ 509 w 1809"/>
                <a:gd name="T65" fmla="*/ 112 h 1253"/>
                <a:gd name="T66" fmla="*/ 548 w 1809"/>
                <a:gd name="T67" fmla="*/ 1187 h 1253"/>
                <a:gd name="T68" fmla="*/ 472 w 1809"/>
                <a:gd name="T69" fmla="*/ 1122 h 1253"/>
                <a:gd name="T70" fmla="*/ 558 w 1809"/>
                <a:gd name="T71" fmla="*/ 1157 h 1253"/>
                <a:gd name="T72" fmla="*/ 287 w 1809"/>
                <a:gd name="T73" fmla="*/ 654 h 1253"/>
                <a:gd name="T74" fmla="*/ 416 w 1809"/>
                <a:gd name="T75" fmla="*/ 684 h 1253"/>
                <a:gd name="T76" fmla="*/ 1106 w 1809"/>
                <a:gd name="T77" fmla="*/ 147 h 1253"/>
                <a:gd name="T78" fmla="*/ 1229 w 1809"/>
                <a:gd name="T79" fmla="*/ 258 h 1253"/>
                <a:gd name="T80" fmla="*/ 1106 w 1809"/>
                <a:gd name="T81" fmla="*/ 96 h 1253"/>
                <a:gd name="T82" fmla="*/ 1219 w 1809"/>
                <a:gd name="T83" fmla="*/ 1077 h 1253"/>
                <a:gd name="T84" fmla="*/ 1214 w 1809"/>
                <a:gd name="T85" fmla="*/ 1157 h 1253"/>
                <a:gd name="T86" fmla="*/ 1150 w 1809"/>
                <a:gd name="T87" fmla="*/ 1092 h 1253"/>
                <a:gd name="T88" fmla="*/ 1139 w 1809"/>
                <a:gd name="T89" fmla="*/ 1070 h 1253"/>
                <a:gd name="T90" fmla="*/ 1659 w 1809"/>
                <a:gd name="T91" fmla="*/ 1031 h 1253"/>
                <a:gd name="T92" fmla="*/ 1714 w 1809"/>
                <a:gd name="T93" fmla="*/ 1155 h 1253"/>
                <a:gd name="T94" fmla="*/ 1760 w 1809"/>
                <a:gd name="T95" fmla="*/ 1030 h 1253"/>
                <a:gd name="T96" fmla="*/ 111 w 1809"/>
                <a:gd name="T97" fmla="*/ 569 h 1253"/>
                <a:gd name="T98" fmla="*/ 109 w 1809"/>
                <a:gd name="T99" fmla="*/ 460 h 1253"/>
                <a:gd name="T100" fmla="*/ 32 w 1809"/>
                <a:gd name="T101" fmla="*/ 704 h 1253"/>
                <a:gd name="T102" fmla="*/ 310 w 1809"/>
                <a:gd name="T103" fmla="*/ 1058 h 1253"/>
                <a:gd name="T104" fmla="*/ 431 w 1809"/>
                <a:gd name="T105" fmla="*/ 1044 h 1253"/>
                <a:gd name="T106" fmla="*/ 278 w 1809"/>
                <a:gd name="T107" fmla="*/ 1165 h 1253"/>
                <a:gd name="T108" fmla="*/ 261 w 1809"/>
                <a:gd name="T109" fmla="*/ 540 h 1253"/>
                <a:gd name="T110" fmla="*/ 150 w 1809"/>
                <a:gd name="T111" fmla="*/ 635 h 1253"/>
                <a:gd name="T112" fmla="*/ 994 w 1809"/>
                <a:gd name="T113" fmla="*/ 1185 h 1253"/>
                <a:gd name="T114" fmla="*/ 331 w 1809"/>
                <a:gd name="T115" fmla="*/ 176 h 1253"/>
                <a:gd name="T116" fmla="*/ 333 w 1809"/>
                <a:gd name="T117" fmla="*/ 109 h 1253"/>
                <a:gd name="T118" fmla="*/ 946 w 1809"/>
                <a:gd name="T119" fmla="*/ 234 h 1253"/>
                <a:gd name="T120" fmla="*/ 1022 w 1809"/>
                <a:gd name="T121" fmla="*/ 113 h 1253"/>
                <a:gd name="T122" fmla="*/ 949 w 1809"/>
                <a:gd name="T123" fmla="*/ 65 h 1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09" h="1253">
                  <a:moveTo>
                    <a:pt x="248" y="198"/>
                  </a:moveTo>
                  <a:cubicBezTo>
                    <a:pt x="248" y="211"/>
                    <a:pt x="248" y="224"/>
                    <a:pt x="249" y="237"/>
                  </a:cubicBezTo>
                  <a:cubicBezTo>
                    <a:pt x="249" y="245"/>
                    <a:pt x="246" y="249"/>
                    <a:pt x="240" y="253"/>
                  </a:cubicBezTo>
                  <a:cubicBezTo>
                    <a:pt x="231" y="260"/>
                    <a:pt x="220" y="264"/>
                    <a:pt x="209" y="268"/>
                  </a:cubicBezTo>
                  <a:cubicBezTo>
                    <a:pt x="179" y="279"/>
                    <a:pt x="148" y="280"/>
                    <a:pt x="118" y="275"/>
                  </a:cubicBezTo>
                  <a:cubicBezTo>
                    <a:pt x="86" y="269"/>
                    <a:pt x="58" y="252"/>
                    <a:pt x="39" y="224"/>
                  </a:cubicBezTo>
                  <a:cubicBezTo>
                    <a:pt x="24" y="203"/>
                    <a:pt x="18" y="180"/>
                    <a:pt x="15" y="155"/>
                  </a:cubicBezTo>
                  <a:cubicBezTo>
                    <a:pt x="11" y="135"/>
                    <a:pt x="15" y="115"/>
                    <a:pt x="19" y="97"/>
                  </a:cubicBezTo>
                  <a:cubicBezTo>
                    <a:pt x="26" y="68"/>
                    <a:pt x="42" y="44"/>
                    <a:pt x="68" y="27"/>
                  </a:cubicBezTo>
                  <a:cubicBezTo>
                    <a:pt x="87" y="14"/>
                    <a:pt x="109" y="6"/>
                    <a:pt x="133" y="5"/>
                  </a:cubicBezTo>
                  <a:cubicBezTo>
                    <a:pt x="149" y="4"/>
                    <a:pt x="165" y="5"/>
                    <a:pt x="181" y="6"/>
                  </a:cubicBezTo>
                  <a:cubicBezTo>
                    <a:pt x="204" y="8"/>
                    <a:pt x="225" y="20"/>
                    <a:pt x="243" y="35"/>
                  </a:cubicBezTo>
                  <a:cubicBezTo>
                    <a:pt x="246" y="37"/>
                    <a:pt x="246" y="40"/>
                    <a:pt x="244" y="43"/>
                  </a:cubicBezTo>
                  <a:cubicBezTo>
                    <a:pt x="242" y="47"/>
                    <a:pt x="239" y="52"/>
                    <a:pt x="236" y="55"/>
                  </a:cubicBezTo>
                  <a:cubicBezTo>
                    <a:pt x="226" y="65"/>
                    <a:pt x="224" y="65"/>
                    <a:pt x="206" y="54"/>
                  </a:cubicBezTo>
                  <a:cubicBezTo>
                    <a:pt x="193" y="46"/>
                    <a:pt x="180" y="40"/>
                    <a:pt x="165" y="41"/>
                  </a:cubicBezTo>
                  <a:cubicBezTo>
                    <a:pt x="151" y="41"/>
                    <a:pt x="137" y="39"/>
                    <a:pt x="124" y="42"/>
                  </a:cubicBezTo>
                  <a:cubicBezTo>
                    <a:pt x="104" y="46"/>
                    <a:pt x="87" y="57"/>
                    <a:pt x="75" y="74"/>
                  </a:cubicBezTo>
                  <a:cubicBezTo>
                    <a:pt x="56" y="99"/>
                    <a:pt x="51" y="129"/>
                    <a:pt x="55" y="159"/>
                  </a:cubicBezTo>
                  <a:cubicBezTo>
                    <a:pt x="60" y="189"/>
                    <a:pt x="73" y="214"/>
                    <a:pt x="98" y="230"/>
                  </a:cubicBezTo>
                  <a:cubicBezTo>
                    <a:pt x="109" y="237"/>
                    <a:pt x="121" y="242"/>
                    <a:pt x="135" y="241"/>
                  </a:cubicBezTo>
                  <a:cubicBezTo>
                    <a:pt x="146" y="241"/>
                    <a:pt x="158" y="241"/>
                    <a:pt x="169" y="241"/>
                  </a:cubicBezTo>
                  <a:cubicBezTo>
                    <a:pt x="182" y="242"/>
                    <a:pt x="193" y="235"/>
                    <a:pt x="205" y="232"/>
                  </a:cubicBezTo>
                  <a:cubicBezTo>
                    <a:pt x="210" y="231"/>
                    <a:pt x="211" y="227"/>
                    <a:pt x="211" y="224"/>
                  </a:cubicBezTo>
                  <a:cubicBezTo>
                    <a:pt x="211" y="210"/>
                    <a:pt x="211" y="196"/>
                    <a:pt x="211" y="183"/>
                  </a:cubicBezTo>
                  <a:cubicBezTo>
                    <a:pt x="211" y="177"/>
                    <a:pt x="207" y="175"/>
                    <a:pt x="202" y="175"/>
                  </a:cubicBezTo>
                  <a:cubicBezTo>
                    <a:pt x="193" y="175"/>
                    <a:pt x="184" y="175"/>
                    <a:pt x="175" y="175"/>
                  </a:cubicBezTo>
                  <a:cubicBezTo>
                    <a:pt x="171" y="175"/>
                    <a:pt x="168" y="174"/>
                    <a:pt x="166" y="171"/>
                  </a:cubicBezTo>
                  <a:cubicBezTo>
                    <a:pt x="163" y="163"/>
                    <a:pt x="164" y="154"/>
                    <a:pt x="166" y="146"/>
                  </a:cubicBezTo>
                  <a:cubicBezTo>
                    <a:pt x="167" y="142"/>
                    <a:pt x="171" y="142"/>
                    <a:pt x="175" y="142"/>
                  </a:cubicBezTo>
                  <a:cubicBezTo>
                    <a:pt x="196" y="142"/>
                    <a:pt x="217" y="142"/>
                    <a:pt x="238" y="142"/>
                  </a:cubicBezTo>
                  <a:cubicBezTo>
                    <a:pt x="247" y="142"/>
                    <a:pt x="248" y="148"/>
                    <a:pt x="248" y="155"/>
                  </a:cubicBezTo>
                  <a:cubicBezTo>
                    <a:pt x="249" y="169"/>
                    <a:pt x="248" y="183"/>
                    <a:pt x="248" y="198"/>
                  </a:cubicBezTo>
                  <a:close/>
                  <a:moveTo>
                    <a:pt x="884" y="1181"/>
                  </a:moveTo>
                  <a:cubicBezTo>
                    <a:pt x="889" y="1167"/>
                    <a:pt x="894" y="1152"/>
                    <a:pt x="898" y="1137"/>
                  </a:cubicBezTo>
                  <a:cubicBezTo>
                    <a:pt x="901" y="1127"/>
                    <a:pt x="905" y="1116"/>
                    <a:pt x="908" y="1106"/>
                  </a:cubicBezTo>
                  <a:cubicBezTo>
                    <a:pt x="911" y="1098"/>
                    <a:pt x="912" y="1089"/>
                    <a:pt x="916" y="1081"/>
                  </a:cubicBezTo>
                  <a:cubicBezTo>
                    <a:pt x="921" y="1072"/>
                    <a:pt x="923" y="1060"/>
                    <a:pt x="927" y="1050"/>
                  </a:cubicBezTo>
                  <a:cubicBezTo>
                    <a:pt x="932" y="1037"/>
                    <a:pt x="934" y="1023"/>
                    <a:pt x="940" y="1010"/>
                  </a:cubicBezTo>
                  <a:cubicBezTo>
                    <a:pt x="945" y="1001"/>
                    <a:pt x="941" y="995"/>
                    <a:pt x="931" y="995"/>
                  </a:cubicBezTo>
                  <a:cubicBezTo>
                    <a:pt x="927" y="995"/>
                    <a:pt x="922" y="995"/>
                    <a:pt x="918" y="995"/>
                  </a:cubicBezTo>
                  <a:cubicBezTo>
                    <a:pt x="913" y="995"/>
                    <a:pt x="908" y="997"/>
                    <a:pt x="907" y="1001"/>
                  </a:cubicBezTo>
                  <a:cubicBezTo>
                    <a:pt x="904" y="1008"/>
                    <a:pt x="900" y="1015"/>
                    <a:pt x="899" y="1023"/>
                  </a:cubicBezTo>
                  <a:cubicBezTo>
                    <a:pt x="897" y="1034"/>
                    <a:pt x="893" y="1045"/>
                    <a:pt x="889" y="1055"/>
                  </a:cubicBezTo>
                  <a:cubicBezTo>
                    <a:pt x="887" y="1064"/>
                    <a:pt x="885" y="1072"/>
                    <a:pt x="882" y="1080"/>
                  </a:cubicBezTo>
                  <a:cubicBezTo>
                    <a:pt x="878" y="1091"/>
                    <a:pt x="874" y="1103"/>
                    <a:pt x="871" y="1115"/>
                  </a:cubicBezTo>
                  <a:cubicBezTo>
                    <a:pt x="870" y="1118"/>
                    <a:pt x="871" y="1124"/>
                    <a:pt x="866" y="1124"/>
                  </a:cubicBezTo>
                  <a:cubicBezTo>
                    <a:pt x="861" y="1125"/>
                    <a:pt x="859" y="1120"/>
                    <a:pt x="858" y="1115"/>
                  </a:cubicBezTo>
                  <a:cubicBezTo>
                    <a:pt x="856" y="1110"/>
                    <a:pt x="856" y="1104"/>
                    <a:pt x="854" y="1099"/>
                  </a:cubicBezTo>
                  <a:cubicBezTo>
                    <a:pt x="848" y="1080"/>
                    <a:pt x="841" y="1062"/>
                    <a:pt x="835" y="1044"/>
                  </a:cubicBezTo>
                  <a:cubicBezTo>
                    <a:pt x="831" y="1030"/>
                    <a:pt x="828" y="1016"/>
                    <a:pt x="822" y="1003"/>
                  </a:cubicBezTo>
                  <a:cubicBezTo>
                    <a:pt x="819" y="997"/>
                    <a:pt x="814" y="994"/>
                    <a:pt x="808" y="994"/>
                  </a:cubicBezTo>
                  <a:cubicBezTo>
                    <a:pt x="799" y="993"/>
                    <a:pt x="791" y="993"/>
                    <a:pt x="787" y="1001"/>
                  </a:cubicBezTo>
                  <a:cubicBezTo>
                    <a:pt x="783" y="1008"/>
                    <a:pt x="780" y="1015"/>
                    <a:pt x="779" y="1022"/>
                  </a:cubicBezTo>
                  <a:cubicBezTo>
                    <a:pt x="778" y="1034"/>
                    <a:pt x="772" y="1044"/>
                    <a:pt x="769" y="1055"/>
                  </a:cubicBezTo>
                  <a:cubicBezTo>
                    <a:pt x="762" y="1076"/>
                    <a:pt x="754" y="1096"/>
                    <a:pt x="749" y="1117"/>
                  </a:cubicBezTo>
                  <a:cubicBezTo>
                    <a:pt x="748" y="1120"/>
                    <a:pt x="747" y="1124"/>
                    <a:pt x="742" y="1124"/>
                  </a:cubicBezTo>
                  <a:cubicBezTo>
                    <a:pt x="737" y="1124"/>
                    <a:pt x="737" y="1120"/>
                    <a:pt x="736" y="1116"/>
                  </a:cubicBezTo>
                  <a:cubicBezTo>
                    <a:pt x="734" y="1104"/>
                    <a:pt x="730" y="1092"/>
                    <a:pt x="726" y="1080"/>
                  </a:cubicBezTo>
                  <a:cubicBezTo>
                    <a:pt x="720" y="1061"/>
                    <a:pt x="714" y="1040"/>
                    <a:pt x="708" y="1020"/>
                  </a:cubicBezTo>
                  <a:cubicBezTo>
                    <a:pt x="703" y="1000"/>
                    <a:pt x="698" y="994"/>
                    <a:pt x="676" y="995"/>
                  </a:cubicBezTo>
                  <a:cubicBezTo>
                    <a:pt x="665" y="996"/>
                    <a:pt x="661" y="1001"/>
                    <a:pt x="667" y="1011"/>
                  </a:cubicBezTo>
                  <a:cubicBezTo>
                    <a:pt x="669" y="1016"/>
                    <a:pt x="670" y="1021"/>
                    <a:pt x="672" y="1025"/>
                  </a:cubicBezTo>
                  <a:cubicBezTo>
                    <a:pt x="675" y="1035"/>
                    <a:pt x="678" y="1046"/>
                    <a:pt x="681" y="1055"/>
                  </a:cubicBezTo>
                  <a:cubicBezTo>
                    <a:pt x="685" y="1068"/>
                    <a:pt x="689" y="1080"/>
                    <a:pt x="693" y="1092"/>
                  </a:cubicBezTo>
                  <a:cubicBezTo>
                    <a:pt x="697" y="1103"/>
                    <a:pt x="699" y="1113"/>
                    <a:pt x="703" y="1124"/>
                  </a:cubicBezTo>
                  <a:cubicBezTo>
                    <a:pt x="707" y="1136"/>
                    <a:pt x="711" y="1147"/>
                    <a:pt x="715" y="1160"/>
                  </a:cubicBezTo>
                  <a:cubicBezTo>
                    <a:pt x="717" y="1168"/>
                    <a:pt x="720" y="1176"/>
                    <a:pt x="724" y="1183"/>
                  </a:cubicBezTo>
                  <a:cubicBezTo>
                    <a:pt x="728" y="1189"/>
                    <a:pt x="752" y="1185"/>
                    <a:pt x="757" y="1180"/>
                  </a:cubicBezTo>
                  <a:cubicBezTo>
                    <a:pt x="764" y="1173"/>
                    <a:pt x="762" y="1163"/>
                    <a:pt x="766" y="1156"/>
                  </a:cubicBezTo>
                  <a:cubicBezTo>
                    <a:pt x="774" y="1140"/>
                    <a:pt x="778" y="1122"/>
                    <a:pt x="784" y="1105"/>
                  </a:cubicBezTo>
                  <a:cubicBezTo>
                    <a:pt x="789" y="1088"/>
                    <a:pt x="796" y="1072"/>
                    <a:pt x="800" y="1054"/>
                  </a:cubicBezTo>
                  <a:cubicBezTo>
                    <a:pt x="800" y="1053"/>
                    <a:pt x="801" y="1050"/>
                    <a:pt x="803" y="1050"/>
                  </a:cubicBezTo>
                  <a:cubicBezTo>
                    <a:pt x="806" y="1050"/>
                    <a:pt x="806" y="1052"/>
                    <a:pt x="807" y="1055"/>
                  </a:cubicBezTo>
                  <a:cubicBezTo>
                    <a:pt x="807" y="1060"/>
                    <a:pt x="810" y="1066"/>
                    <a:pt x="811" y="1071"/>
                  </a:cubicBezTo>
                  <a:cubicBezTo>
                    <a:pt x="814" y="1081"/>
                    <a:pt x="818" y="1090"/>
                    <a:pt x="821" y="1099"/>
                  </a:cubicBezTo>
                  <a:cubicBezTo>
                    <a:pt x="824" y="1110"/>
                    <a:pt x="827" y="1120"/>
                    <a:pt x="831" y="1131"/>
                  </a:cubicBezTo>
                  <a:cubicBezTo>
                    <a:pt x="834" y="1142"/>
                    <a:pt x="839" y="1153"/>
                    <a:pt x="842" y="1164"/>
                  </a:cubicBezTo>
                  <a:cubicBezTo>
                    <a:pt x="846" y="1179"/>
                    <a:pt x="850" y="1188"/>
                    <a:pt x="869" y="1185"/>
                  </a:cubicBezTo>
                  <a:cubicBezTo>
                    <a:pt x="873" y="1184"/>
                    <a:pt x="881" y="1189"/>
                    <a:pt x="884" y="1181"/>
                  </a:cubicBezTo>
                  <a:close/>
                  <a:moveTo>
                    <a:pt x="33" y="1051"/>
                  </a:moveTo>
                  <a:cubicBezTo>
                    <a:pt x="33" y="1087"/>
                    <a:pt x="33" y="1124"/>
                    <a:pt x="33" y="1160"/>
                  </a:cubicBezTo>
                  <a:cubicBezTo>
                    <a:pt x="33" y="1188"/>
                    <a:pt x="29" y="1184"/>
                    <a:pt x="58" y="1185"/>
                  </a:cubicBezTo>
                  <a:cubicBezTo>
                    <a:pt x="72" y="1185"/>
                    <a:pt x="73" y="1184"/>
                    <a:pt x="73" y="1170"/>
                  </a:cubicBezTo>
                  <a:cubicBezTo>
                    <a:pt x="73" y="1138"/>
                    <a:pt x="73" y="1107"/>
                    <a:pt x="73" y="1076"/>
                  </a:cubicBezTo>
                  <a:cubicBezTo>
                    <a:pt x="73" y="1071"/>
                    <a:pt x="72" y="1067"/>
                    <a:pt x="78" y="1065"/>
                  </a:cubicBezTo>
                  <a:cubicBezTo>
                    <a:pt x="91" y="1062"/>
                    <a:pt x="102" y="1067"/>
                    <a:pt x="110" y="1076"/>
                  </a:cubicBezTo>
                  <a:cubicBezTo>
                    <a:pt x="112" y="1080"/>
                    <a:pt x="115" y="1083"/>
                    <a:pt x="118" y="1086"/>
                  </a:cubicBezTo>
                  <a:cubicBezTo>
                    <a:pt x="132" y="1103"/>
                    <a:pt x="146" y="1119"/>
                    <a:pt x="161" y="1136"/>
                  </a:cubicBezTo>
                  <a:cubicBezTo>
                    <a:pt x="173" y="1150"/>
                    <a:pt x="186" y="1165"/>
                    <a:pt x="198" y="1179"/>
                  </a:cubicBezTo>
                  <a:cubicBezTo>
                    <a:pt x="207" y="1188"/>
                    <a:pt x="218" y="1184"/>
                    <a:pt x="228" y="1185"/>
                  </a:cubicBezTo>
                  <a:cubicBezTo>
                    <a:pt x="233" y="1185"/>
                    <a:pt x="241" y="1188"/>
                    <a:pt x="244" y="1182"/>
                  </a:cubicBezTo>
                  <a:cubicBezTo>
                    <a:pt x="246" y="1178"/>
                    <a:pt x="239" y="1173"/>
                    <a:pt x="235" y="1169"/>
                  </a:cubicBezTo>
                  <a:cubicBezTo>
                    <a:pt x="206" y="1133"/>
                    <a:pt x="176" y="1098"/>
                    <a:pt x="146" y="1062"/>
                  </a:cubicBezTo>
                  <a:cubicBezTo>
                    <a:pt x="141" y="1056"/>
                    <a:pt x="131" y="1052"/>
                    <a:pt x="132" y="1044"/>
                  </a:cubicBezTo>
                  <a:cubicBezTo>
                    <a:pt x="132" y="1036"/>
                    <a:pt x="142" y="1032"/>
                    <a:pt x="147" y="1026"/>
                  </a:cubicBezTo>
                  <a:cubicBezTo>
                    <a:pt x="164" y="1006"/>
                    <a:pt x="182" y="988"/>
                    <a:pt x="198" y="968"/>
                  </a:cubicBezTo>
                  <a:cubicBezTo>
                    <a:pt x="209" y="954"/>
                    <a:pt x="221" y="942"/>
                    <a:pt x="234" y="929"/>
                  </a:cubicBezTo>
                  <a:cubicBezTo>
                    <a:pt x="236" y="926"/>
                    <a:pt x="238" y="923"/>
                    <a:pt x="237" y="920"/>
                  </a:cubicBezTo>
                  <a:cubicBezTo>
                    <a:pt x="235" y="915"/>
                    <a:pt x="231" y="917"/>
                    <a:pt x="228" y="917"/>
                  </a:cubicBezTo>
                  <a:cubicBezTo>
                    <a:pt x="224" y="918"/>
                    <a:pt x="221" y="918"/>
                    <a:pt x="217" y="918"/>
                  </a:cubicBezTo>
                  <a:cubicBezTo>
                    <a:pt x="204" y="917"/>
                    <a:pt x="193" y="922"/>
                    <a:pt x="185" y="931"/>
                  </a:cubicBezTo>
                  <a:cubicBezTo>
                    <a:pt x="172" y="946"/>
                    <a:pt x="158" y="961"/>
                    <a:pt x="145" y="977"/>
                  </a:cubicBezTo>
                  <a:cubicBezTo>
                    <a:pt x="131" y="993"/>
                    <a:pt x="117" y="1010"/>
                    <a:pt x="102" y="1026"/>
                  </a:cubicBezTo>
                  <a:cubicBezTo>
                    <a:pt x="96" y="1032"/>
                    <a:pt x="87" y="1037"/>
                    <a:pt x="78" y="1034"/>
                  </a:cubicBezTo>
                  <a:cubicBezTo>
                    <a:pt x="70" y="1030"/>
                    <a:pt x="73" y="1021"/>
                    <a:pt x="73" y="1015"/>
                  </a:cubicBezTo>
                  <a:cubicBezTo>
                    <a:pt x="73" y="991"/>
                    <a:pt x="73" y="967"/>
                    <a:pt x="73" y="944"/>
                  </a:cubicBezTo>
                  <a:cubicBezTo>
                    <a:pt x="73" y="916"/>
                    <a:pt x="75" y="917"/>
                    <a:pt x="46" y="918"/>
                  </a:cubicBezTo>
                  <a:cubicBezTo>
                    <a:pt x="33" y="918"/>
                    <a:pt x="33" y="918"/>
                    <a:pt x="33" y="931"/>
                  </a:cubicBezTo>
                  <a:cubicBezTo>
                    <a:pt x="33" y="971"/>
                    <a:pt x="33" y="1011"/>
                    <a:pt x="33" y="1051"/>
                  </a:cubicBezTo>
                  <a:cubicBezTo>
                    <a:pt x="33" y="1051"/>
                    <a:pt x="33" y="1051"/>
                    <a:pt x="33" y="1051"/>
                  </a:cubicBezTo>
                  <a:close/>
                  <a:moveTo>
                    <a:pt x="639" y="84"/>
                  </a:moveTo>
                  <a:cubicBezTo>
                    <a:pt x="627" y="84"/>
                    <a:pt x="626" y="84"/>
                    <a:pt x="629" y="95"/>
                  </a:cubicBezTo>
                  <a:cubicBezTo>
                    <a:pt x="634" y="113"/>
                    <a:pt x="640" y="131"/>
                    <a:pt x="646" y="148"/>
                  </a:cubicBezTo>
                  <a:cubicBezTo>
                    <a:pt x="652" y="166"/>
                    <a:pt x="658" y="185"/>
                    <a:pt x="664" y="203"/>
                  </a:cubicBezTo>
                  <a:cubicBezTo>
                    <a:pt x="671" y="223"/>
                    <a:pt x="676" y="244"/>
                    <a:pt x="684" y="264"/>
                  </a:cubicBezTo>
                  <a:cubicBezTo>
                    <a:pt x="688" y="274"/>
                    <a:pt x="694" y="274"/>
                    <a:pt x="702" y="274"/>
                  </a:cubicBezTo>
                  <a:cubicBezTo>
                    <a:pt x="711" y="274"/>
                    <a:pt x="719" y="272"/>
                    <a:pt x="723" y="263"/>
                  </a:cubicBezTo>
                  <a:cubicBezTo>
                    <a:pt x="733" y="236"/>
                    <a:pt x="741" y="208"/>
                    <a:pt x="750" y="181"/>
                  </a:cubicBezTo>
                  <a:cubicBezTo>
                    <a:pt x="754" y="169"/>
                    <a:pt x="757" y="156"/>
                    <a:pt x="763" y="145"/>
                  </a:cubicBezTo>
                  <a:cubicBezTo>
                    <a:pt x="764" y="143"/>
                    <a:pt x="764" y="140"/>
                    <a:pt x="767" y="140"/>
                  </a:cubicBezTo>
                  <a:cubicBezTo>
                    <a:pt x="770" y="140"/>
                    <a:pt x="770" y="143"/>
                    <a:pt x="771" y="145"/>
                  </a:cubicBezTo>
                  <a:cubicBezTo>
                    <a:pt x="771" y="156"/>
                    <a:pt x="777" y="165"/>
                    <a:pt x="780" y="175"/>
                  </a:cubicBezTo>
                  <a:cubicBezTo>
                    <a:pt x="782" y="184"/>
                    <a:pt x="785" y="193"/>
                    <a:pt x="788" y="201"/>
                  </a:cubicBezTo>
                  <a:cubicBezTo>
                    <a:pt x="794" y="219"/>
                    <a:pt x="801" y="237"/>
                    <a:pt x="806" y="255"/>
                  </a:cubicBezTo>
                  <a:cubicBezTo>
                    <a:pt x="811" y="272"/>
                    <a:pt x="825" y="280"/>
                    <a:pt x="842" y="273"/>
                  </a:cubicBezTo>
                  <a:cubicBezTo>
                    <a:pt x="845" y="271"/>
                    <a:pt x="847" y="269"/>
                    <a:pt x="848" y="266"/>
                  </a:cubicBezTo>
                  <a:cubicBezTo>
                    <a:pt x="853" y="251"/>
                    <a:pt x="859" y="236"/>
                    <a:pt x="863" y="221"/>
                  </a:cubicBezTo>
                  <a:cubicBezTo>
                    <a:pt x="867" y="202"/>
                    <a:pt x="875" y="185"/>
                    <a:pt x="880" y="166"/>
                  </a:cubicBezTo>
                  <a:cubicBezTo>
                    <a:pt x="886" y="144"/>
                    <a:pt x="895" y="123"/>
                    <a:pt x="900" y="101"/>
                  </a:cubicBezTo>
                  <a:cubicBezTo>
                    <a:pt x="901" y="96"/>
                    <a:pt x="909" y="91"/>
                    <a:pt x="904" y="86"/>
                  </a:cubicBezTo>
                  <a:cubicBezTo>
                    <a:pt x="900" y="81"/>
                    <a:pt x="892" y="84"/>
                    <a:pt x="886" y="84"/>
                  </a:cubicBezTo>
                  <a:cubicBezTo>
                    <a:pt x="885" y="84"/>
                    <a:pt x="883" y="84"/>
                    <a:pt x="881" y="84"/>
                  </a:cubicBezTo>
                  <a:cubicBezTo>
                    <a:pt x="875" y="84"/>
                    <a:pt x="872" y="86"/>
                    <a:pt x="869" y="91"/>
                  </a:cubicBezTo>
                  <a:cubicBezTo>
                    <a:pt x="860" y="110"/>
                    <a:pt x="856" y="131"/>
                    <a:pt x="850" y="151"/>
                  </a:cubicBezTo>
                  <a:cubicBezTo>
                    <a:pt x="844" y="170"/>
                    <a:pt x="836" y="188"/>
                    <a:pt x="834" y="208"/>
                  </a:cubicBezTo>
                  <a:cubicBezTo>
                    <a:pt x="833" y="211"/>
                    <a:pt x="831" y="214"/>
                    <a:pt x="827" y="214"/>
                  </a:cubicBezTo>
                  <a:cubicBezTo>
                    <a:pt x="823" y="214"/>
                    <a:pt x="822" y="210"/>
                    <a:pt x="822" y="207"/>
                  </a:cubicBezTo>
                  <a:cubicBezTo>
                    <a:pt x="817" y="188"/>
                    <a:pt x="811" y="170"/>
                    <a:pt x="805" y="152"/>
                  </a:cubicBezTo>
                  <a:cubicBezTo>
                    <a:pt x="799" y="133"/>
                    <a:pt x="794" y="114"/>
                    <a:pt x="786" y="96"/>
                  </a:cubicBezTo>
                  <a:cubicBezTo>
                    <a:pt x="783" y="87"/>
                    <a:pt x="779" y="84"/>
                    <a:pt x="770" y="84"/>
                  </a:cubicBezTo>
                  <a:cubicBezTo>
                    <a:pt x="761" y="84"/>
                    <a:pt x="752" y="82"/>
                    <a:pt x="748" y="94"/>
                  </a:cubicBezTo>
                  <a:cubicBezTo>
                    <a:pt x="744" y="109"/>
                    <a:pt x="738" y="123"/>
                    <a:pt x="734" y="138"/>
                  </a:cubicBezTo>
                  <a:cubicBezTo>
                    <a:pt x="729" y="153"/>
                    <a:pt x="724" y="167"/>
                    <a:pt x="719" y="182"/>
                  </a:cubicBezTo>
                  <a:cubicBezTo>
                    <a:pt x="716" y="192"/>
                    <a:pt x="715" y="203"/>
                    <a:pt x="708" y="212"/>
                  </a:cubicBezTo>
                  <a:cubicBezTo>
                    <a:pt x="707" y="214"/>
                    <a:pt x="707" y="217"/>
                    <a:pt x="704" y="217"/>
                  </a:cubicBezTo>
                  <a:cubicBezTo>
                    <a:pt x="701" y="217"/>
                    <a:pt x="701" y="213"/>
                    <a:pt x="700" y="211"/>
                  </a:cubicBezTo>
                  <a:cubicBezTo>
                    <a:pt x="699" y="198"/>
                    <a:pt x="694" y="186"/>
                    <a:pt x="690" y="174"/>
                  </a:cubicBezTo>
                  <a:cubicBezTo>
                    <a:pt x="684" y="153"/>
                    <a:pt x="677" y="131"/>
                    <a:pt x="672" y="110"/>
                  </a:cubicBezTo>
                  <a:cubicBezTo>
                    <a:pt x="667" y="88"/>
                    <a:pt x="663" y="84"/>
                    <a:pt x="645" y="84"/>
                  </a:cubicBezTo>
                  <a:cubicBezTo>
                    <a:pt x="643" y="84"/>
                    <a:pt x="641" y="84"/>
                    <a:pt x="639" y="84"/>
                  </a:cubicBezTo>
                  <a:close/>
                  <a:moveTo>
                    <a:pt x="507" y="711"/>
                  </a:moveTo>
                  <a:cubicBezTo>
                    <a:pt x="507" y="730"/>
                    <a:pt x="507" y="730"/>
                    <a:pt x="526" y="730"/>
                  </a:cubicBezTo>
                  <a:cubicBezTo>
                    <a:pt x="539" y="730"/>
                    <a:pt x="541" y="729"/>
                    <a:pt x="541" y="715"/>
                  </a:cubicBezTo>
                  <a:cubicBezTo>
                    <a:pt x="541" y="677"/>
                    <a:pt x="541" y="638"/>
                    <a:pt x="540" y="600"/>
                  </a:cubicBezTo>
                  <a:cubicBezTo>
                    <a:pt x="540" y="593"/>
                    <a:pt x="543" y="587"/>
                    <a:pt x="548" y="582"/>
                  </a:cubicBezTo>
                  <a:cubicBezTo>
                    <a:pt x="553" y="576"/>
                    <a:pt x="559" y="573"/>
                    <a:pt x="564" y="569"/>
                  </a:cubicBezTo>
                  <a:cubicBezTo>
                    <a:pt x="574" y="564"/>
                    <a:pt x="594" y="566"/>
                    <a:pt x="602" y="574"/>
                  </a:cubicBezTo>
                  <a:cubicBezTo>
                    <a:pt x="611" y="582"/>
                    <a:pt x="614" y="592"/>
                    <a:pt x="614" y="604"/>
                  </a:cubicBezTo>
                  <a:cubicBezTo>
                    <a:pt x="614" y="638"/>
                    <a:pt x="614" y="672"/>
                    <a:pt x="614" y="706"/>
                  </a:cubicBezTo>
                  <a:cubicBezTo>
                    <a:pt x="614" y="730"/>
                    <a:pt x="614" y="730"/>
                    <a:pt x="638" y="730"/>
                  </a:cubicBezTo>
                  <a:cubicBezTo>
                    <a:pt x="650" y="730"/>
                    <a:pt x="650" y="730"/>
                    <a:pt x="650" y="717"/>
                  </a:cubicBezTo>
                  <a:cubicBezTo>
                    <a:pt x="650" y="684"/>
                    <a:pt x="650" y="650"/>
                    <a:pt x="650" y="617"/>
                  </a:cubicBezTo>
                  <a:cubicBezTo>
                    <a:pt x="650" y="606"/>
                    <a:pt x="651" y="597"/>
                    <a:pt x="657" y="586"/>
                  </a:cubicBezTo>
                  <a:cubicBezTo>
                    <a:pt x="667" y="565"/>
                    <a:pt x="703" y="560"/>
                    <a:pt x="716" y="579"/>
                  </a:cubicBezTo>
                  <a:cubicBezTo>
                    <a:pt x="723" y="588"/>
                    <a:pt x="724" y="598"/>
                    <a:pt x="724" y="609"/>
                  </a:cubicBezTo>
                  <a:cubicBezTo>
                    <a:pt x="724" y="645"/>
                    <a:pt x="724" y="682"/>
                    <a:pt x="724" y="718"/>
                  </a:cubicBezTo>
                  <a:cubicBezTo>
                    <a:pt x="724" y="727"/>
                    <a:pt x="727" y="731"/>
                    <a:pt x="736" y="730"/>
                  </a:cubicBezTo>
                  <a:cubicBezTo>
                    <a:pt x="738" y="730"/>
                    <a:pt x="741" y="730"/>
                    <a:pt x="743" y="730"/>
                  </a:cubicBezTo>
                  <a:cubicBezTo>
                    <a:pt x="758" y="730"/>
                    <a:pt x="759" y="729"/>
                    <a:pt x="759" y="715"/>
                  </a:cubicBezTo>
                  <a:cubicBezTo>
                    <a:pt x="759" y="677"/>
                    <a:pt x="758" y="639"/>
                    <a:pt x="759" y="601"/>
                  </a:cubicBezTo>
                  <a:cubicBezTo>
                    <a:pt x="759" y="571"/>
                    <a:pt x="742" y="540"/>
                    <a:pt x="704" y="538"/>
                  </a:cubicBezTo>
                  <a:cubicBezTo>
                    <a:pt x="681" y="536"/>
                    <a:pt x="661" y="542"/>
                    <a:pt x="646" y="560"/>
                  </a:cubicBezTo>
                  <a:cubicBezTo>
                    <a:pt x="638" y="569"/>
                    <a:pt x="638" y="569"/>
                    <a:pt x="631" y="559"/>
                  </a:cubicBezTo>
                  <a:cubicBezTo>
                    <a:pt x="630" y="558"/>
                    <a:pt x="630" y="557"/>
                    <a:pt x="629" y="556"/>
                  </a:cubicBezTo>
                  <a:cubicBezTo>
                    <a:pt x="623" y="548"/>
                    <a:pt x="616" y="541"/>
                    <a:pt x="607" y="539"/>
                  </a:cubicBezTo>
                  <a:cubicBezTo>
                    <a:pt x="584" y="534"/>
                    <a:pt x="563" y="539"/>
                    <a:pt x="545" y="555"/>
                  </a:cubicBezTo>
                  <a:cubicBezTo>
                    <a:pt x="540" y="559"/>
                    <a:pt x="537" y="561"/>
                    <a:pt x="537" y="552"/>
                  </a:cubicBezTo>
                  <a:cubicBezTo>
                    <a:pt x="536" y="543"/>
                    <a:pt x="526" y="538"/>
                    <a:pt x="515" y="539"/>
                  </a:cubicBezTo>
                  <a:cubicBezTo>
                    <a:pt x="506" y="540"/>
                    <a:pt x="507" y="546"/>
                    <a:pt x="507" y="552"/>
                  </a:cubicBezTo>
                  <a:cubicBezTo>
                    <a:pt x="507" y="580"/>
                    <a:pt x="507" y="607"/>
                    <a:pt x="507" y="634"/>
                  </a:cubicBezTo>
                  <a:cubicBezTo>
                    <a:pt x="507" y="660"/>
                    <a:pt x="507" y="685"/>
                    <a:pt x="507" y="711"/>
                  </a:cubicBezTo>
                  <a:close/>
                  <a:moveTo>
                    <a:pt x="1525" y="1142"/>
                  </a:moveTo>
                  <a:cubicBezTo>
                    <a:pt x="1517" y="1143"/>
                    <a:pt x="1511" y="1141"/>
                    <a:pt x="1505" y="1136"/>
                  </a:cubicBezTo>
                  <a:cubicBezTo>
                    <a:pt x="1501" y="1133"/>
                    <a:pt x="1495" y="1130"/>
                    <a:pt x="1498" y="1124"/>
                  </a:cubicBezTo>
                  <a:cubicBezTo>
                    <a:pt x="1500" y="1118"/>
                    <a:pt x="1504" y="1114"/>
                    <a:pt x="1512" y="1114"/>
                  </a:cubicBezTo>
                  <a:cubicBezTo>
                    <a:pt x="1521" y="1115"/>
                    <a:pt x="1530" y="1114"/>
                    <a:pt x="1538" y="1115"/>
                  </a:cubicBezTo>
                  <a:cubicBezTo>
                    <a:pt x="1573" y="1117"/>
                    <a:pt x="1610" y="1084"/>
                    <a:pt x="1602" y="1044"/>
                  </a:cubicBezTo>
                  <a:cubicBezTo>
                    <a:pt x="1600" y="1035"/>
                    <a:pt x="1599" y="1028"/>
                    <a:pt x="1611" y="1027"/>
                  </a:cubicBezTo>
                  <a:cubicBezTo>
                    <a:pt x="1614" y="1027"/>
                    <a:pt x="1617" y="1024"/>
                    <a:pt x="1619" y="1023"/>
                  </a:cubicBezTo>
                  <a:cubicBezTo>
                    <a:pt x="1626" y="1019"/>
                    <a:pt x="1624" y="1013"/>
                    <a:pt x="1623" y="1008"/>
                  </a:cubicBezTo>
                  <a:cubicBezTo>
                    <a:pt x="1623" y="1002"/>
                    <a:pt x="1618" y="1003"/>
                    <a:pt x="1613" y="1002"/>
                  </a:cubicBezTo>
                  <a:cubicBezTo>
                    <a:pt x="1598" y="1002"/>
                    <a:pt x="1582" y="1004"/>
                    <a:pt x="1567" y="1000"/>
                  </a:cubicBezTo>
                  <a:cubicBezTo>
                    <a:pt x="1560" y="999"/>
                    <a:pt x="1554" y="993"/>
                    <a:pt x="1546" y="993"/>
                  </a:cubicBezTo>
                  <a:cubicBezTo>
                    <a:pt x="1536" y="994"/>
                    <a:pt x="1525" y="992"/>
                    <a:pt x="1515" y="993"/>
                  </a:cubicBezTo>
                  <a:cubicBezTo>
                    <a:pt x="1490" y="997"/>
                    <a:pt x="1469" y="1010"/>
                    <a:pt x="1462" y="1034"/>
                  </a:cubicBezTo>
                  <a:cubicBezTo>
                    <a:pt x="1455" y="1056"/>
                    <a:pt x="1457" y="1079"/>
                    <a:pt x="1476" y="1096"/>
                  </a:cubicBezTo>
                  <a:cubicBezTo>
                    <a:pt x="1483" y="1103"/>
                    <a:pt x="1483" y="1107"/>
                    <a:pt x="1476" y="1113"/>
                  </a:cubicBezTo>
                  <a:cubicBezTo>
                    <a:pt x="1462" y="1126"/>
                    <a:pt x="1462" y="1142"/>
                    <a:pt x="1473" y="1157"/>
                  </a:cubicBezTo>
                  <a:cubicBezTo>
                    <a:pt x="1476" y="1160"/>
                    <a:pt x="1476" y="1162"/>
                    <a:pt x="1472" y="1164"/>
                  </a:cubicBezTo>
                  <a:cubicBezTo>
                    <a:pt x="1470" y="1166"/>
                    <a:pt x="1468" y="1168"/>
                    <a:pt x="1466" y="1170"/>
                  </a:cubicBezTo>
                  <a:cubicBezTo>
                    <a:pt x="1449" y="1183"/>
                    <a:pt x="1444" y="1201"/>
                    <a:pt x="1454" y="1218"/>
                  </a:cubicBezTo>
                  <a:cubicBezTo>
                    <a:pt x="1464" y="1235"/>
                    <a:pt x="1479" y="1246"/>
                    <a:pt x="1499" y="1249"/>
                  </a:cubicBezTo>
                  <a:cubicBezTo>
                    <a:pt x="1517" y="1252"/>
                    <a:pt x="1535" y="1253"/>
                    <a:pt x="1553" y="1250"/>
                  </a:cubicBezTo>
                  <a:cubicBezTo>
                    <a:pt x="1584" y="1245"/>
                    <a:pt x="1607" y="1232"/>
                    <a:pt x="1619" y="1200"/>
                  </a:cubicBezTo>
                  <a:cubicBezTo>
                    <a:pt x="1627" y="1180"/>
                    <a:pt x="1611" y="1155"/>
                    <a:pt x="1593" y="1148"/>
                  </a:cubicBezTo>
                  <a:cubicBezTo>
                    <a:pt x="1578" y="1142"/>
                    <a:pt x="1563" y="1143"/>
                    <a:pt x="1549" y="1142"/>
                  </a:cubicBezTo>
                  <a:cubicBezTo>
                    <a:pt x="1540" y="1142"/>
                    <a:pt x="1532" y="1142"/>
                    <a:pt x="1525" y="1142"/>
                  </a:cubicBezTo>
                  <a:close/>
                  <a:moveTo>
                    <a:pt x="1556" y="1172"/>
                  </a:moveTo>
                  <a:cubicBezTo>
                    <a:pt x="1566" y="1172"/>
                    <a:pt x="1576" y="1176"/>
                    <a:pt x="1583" y="1183"/>
                  </a:cubicBezTo>
                  <a:cubicBezTo>
                    <a:pt x="1589" y="1190"/>
                    <a:pt x="1589" y="1198"/>
                    <a:pt x="1583" y="1205"/>
                  </a:cubicBezTo>
                  <a:cubicBezTo>
                    <a:pt x="1575" y="1215"/>
                    <a:pt x="1565" y="1220"/>
                    <a:pt x="1553" y="1223"/>
                  </a:cubicBezTo>
                  <a:cubicBezTo>
                    <a:pt x="1534" y="1228"/>
                    <a:pt x="1516" y="1225"/>
                    <a:pt x="1499" y="1219"/>
                  </a:cubicBezTo>
                  <a:cubicBezTo>
                    <a:pt x="1486" y="1214"/>
                    <a:pt x="1479" y="1203"/>
                    <a:pt x="1482" y="1193"/>
                  </a:cubicBezTo>
                  <a:cubicBezTo>
                    <a:pt x="1485" y="1182"/>
                    <a:pt x="1496" y="1168"/>
                    <a:pt x="1514" y="1171"/>
                  </a:cubicBezTo>
                  <a:cubicBezTo>
                    <a:pt x="1526" y="1173"/>
                    <a:pt x="1541" y="1171"/>
                    <a:pt x="1556" y="1172"/>
                  </a:cubicBezTo>
                  <a:close/>
                  <a:moveTo>
                    <a:pt x="1531" y="1019"/>
                  </a:moveTo>
                  <a:cubicBezTo>
                    <a:pt x="1553" y="1017"/>
                    <a:pt x="1570" y="1033"/>
                    <a:pt x="1570" y="1052"/>
                  </a:cubicBezTo>
                  <a:cubicBezTo>
                    <a:pt x="1570" y="1075"/>
                    <a:pt x="1554" y="1093"/>
                    <a:pt x="1532" y="1091"/>
                  </a:cubicBezTo>
                  <a:cubicBezTo>
                    <a:pt x="1508" y="1089"/>
                    <a:pt x="1494" y="1082"/>
                    <a:pt x="1493" y="1053"/>
                  </a:cubicBezTo>
                  <a:cubicBezTo>
                    <a:pt x="1494" y="1029"/>
                    <a:pt x="1508" y="1020"/>
                    <a:pt x="1531" y="1019"/>
                  </a:cubicBezTo>
                  <a:close/>
                  <a:moveTo>
                    <a:pt x="1413" y="934"/>
                  </a:moveTo>
                  <a:cubicBezTo>
                    <a:pt x="1413" y="909"/>
                    <a:pt x="1413" y="909"/>
                    <a:pt x="1389" y="910"/>
                  </a:cubicBezTo>
                  <a:cubicBezTo>
                    <a:pt x="1388" y="910"/>
                    <a:pt x="1387" y="910"/>
                    <a:pt x="1387" y="910"/>
                  </a:cubicBezTo>
                  <a:cubicBezTo>
                    <a:pt x="1379" y="910"/>
                    <a:pt x="1376" y="915"/>
                    <a:pt x="1376" y="921"/>
                  </a:cubicBezTo>
                  <a:cubicBezTo>
                    <a:pt x="1376" y="939"/>
                    <a:pt x="1377" y="956"/>
                    <a:pt x="1377" y="974"/>
                  </a:cubicBezTo>
                  <a:cubicBezTo>
                    <a:pt x="1377" y="983"/>
                    <a:pt x="1377" y="991"/>
                    <a:pt x="1377" y="1000"/>
                  </a:cubicBezTo>
                  <a:cubicBezTo>
                    <a:pt x="1377" y="1005"/>
                    <a:pt x="1374" y="1009"/>
                    <a:pt x="1369" y="1005"/>
                  </a:cubicBezTo>
                  <a:cubicBezTo>
                    <a:pt x="1352" y="990"/>
                    <a:pt x="1332" y="993"/>
                    <a:pt x="1312" y="993"/>
                  </a:cubicBezTo>
                  <a:cubicBezTo>
                    <a:pt x="1303" y="994"/>
                    <a:pt x="1294" y="998"/>
                    <a:pt x="1287" y="1003"/>
                  </a:cubicBezTo>
                  <a:cubicBezTo>
                    <a:pt x="1265" y="1017"/>
                    <a:pt x="1252" y="1039"/>
                    <a:pt x="1248" y="1065"/>
                  </a:cubicBezTo>
                  <a:cubicBezTo>
                    <a:pt x="1244" y="1096"/>
                    <a:pt x="1244" y="1128"/>
                    <a:pt x="1261" y="1157"/>
                  </a:cubicBezTo>
                  <a:cubicBezTo>
                    <a:pt x="1270" y="1170"/>
                    <a:pt x="1281" y="1181"/>
                    <a:pt x="1296" y="1185"/>
                  </a:cubicBezTo>
                  <a:cubicBezTo>
                    <a:pt x="1323" y="1191"/>
                    <a:pt x="1349" y="1188"/>
                    <a:pt x="1370" y="1167"/>
                  </a:cubicBezTo>
                  <a:cubicBezTo>
                    <a:pt x="1372" y="1165"/>
                    <a:pt x="1375" y="1162"/>
                    <a:pt x="1379" y="1163"/>
                  </a:cubicBezTo>
                  <a:cubicBezTo>
                    <a:pt x="1382" y="1165"/>
                    <a:pt x="1381" y="1169"/>
                    <a:pt x="1381" y="1172"/>
                  </a:cubicBezTo>
                  <a:cubicBezTo>
                    <a:pt x="1383" y="1181"/>
                    <a:pt x="1390" y="1186"/>
                    <a:pt x="1403" y="1186"/>
                  </a:cubicBezTo>
                  <a:cubicBezTo>
                    <a:pt x="1413" y="1185"/>
                    <a:pt x="1413" y="1178"/>
                    <a:pt x="1413" y="1172"/>
                  </a:cubicBezTo>
                  <a:cubicBezTo>
                    <a:pt x="1413" y="1131"/>
                    <a:pt x="1413" y="1090"/>
                    <a:pt x="1413" y="1049"/>
                  </a:cubicBezTo>
                  <a:cubicBezTo>
                    <a:pt x="1413" y="1010"/>
                    <a:pt x="1413" y="972"/>
                    <a:pt x="1413" y="934"/>
                  </a:cubicBezTo>
                  <a:close/>
                  <a:moveTo>
                    <a:pt x="1378" y="1113"/>
                  </a:moveTo>
                  <a:cubicBezTo>
                    <a:pt x="1378" y="1136"/>
                    <a:pt x="1360" y="1155"/>
                    <a:pt x="1337" y="1157"/>
                  </a:cubicBezTo>
                  <a:cubicBezTo>
                    <a:pt x="1319" y="1159"/>
                    <a:pt x="1304" y="1154"/>
                    <a:pt x="1294" y="1139"/>
                  </a:cubicBezTo>
                  <a:cubicBezTo>
                    <a:pt x="1286" y="1128"/>
                    <a:pt x="1283" y="1116"/>
                    <a:pt x="1283" y="1102"/>
                  </a:cubicBezTo>
                  <a:cubicBezTo>
                    <a:pt x="1282" y="1085"/>
                    <a:pt x="1282" y="1067"/>
                    <a:pt x="1290" y="1051"/>
                  </a:cubicBezTo>
                  <a:cubicBezTo>
                    <a:pt x="1297" y="1036"/>
                    <a:pt x="1308" y="1024"/>
                    <a:pt x="1325" y="1022"/>
                  </a:cubicBezTo>
                  <a:cubicBezTo>
                    <a:pt x="1342" y="1020"/>
                    <a:pt x="1358" y="1021"/>
                    <a:pt x="1371" y="1035"/>
                  </a:cubicBezTo>
                  <a:cubicBezTo>
                    <a:pt x="1376" y="1041"/>
                    <a:pt x="1378" y="1046"/>
                    <a:pt x="1378" y="1052"/>
                  </a:cubicBezTo>
                  <a:cubicBezTo>
                    <a:pt x="1378" y="1064"/>
                    <a:pt x="1378" y="1075"/>
                    <a:pt x="1378" y="1086"/>
                  </a:cubicBezTo>
                  <a:cubicBezTo>
                    <a:pt x="1378" y="1086"/>
                    <a:pt x="1378" y="1086"/>
                    <a:pt x="1378" y="1086"/>
                  </a:cubicBezTo>
                  <a:cubicBezTo>
                    <a:pt x="1378" y="1095"/>
                    <a:pt x="1378" y="1104"/>
                    <a:pt x="1378" y="1113"/>
                  </a:cubicBezTo>
                  <a:close/>
                  <a:moveTo>
                    <a:pt x="578" y="259"/>
                  </a:moveTo>
                  <a:cubicBezTo>
                    <a:pt x="603" y="241"/>
                    <a:pt x="611" y="213"/>
                    <a:pt x="614" y="183"/>
                  </a:cubicBezTo>
                  <a:cubicBezTo>
                    <a:pt x="615" y="171"/>
                    <a:pt x="610" y="159"/>
                    <a:pt x="609" y="147"/>
                  </a:cubicBezTo>
                  <a:cubicBezTo>
                    <a:pt x="608" y="137"/>
                    <a:pt x="603" y="129"/>
                    <a:pt x="599" y="121"/>
                  </a:cubicBezTo>
                  <a:cubicBezTo>
                    <a:pt x="579" y="87"/>
                    <a:pt x="527" y="70"/>
                    <a:pt x="488" y="85"/>
                  </a:cubicBezTo>
                  <a:cubicBezTo>
                    <a:pt x="453" y="99"/>
                    <a:pt x="436" y="127"/>
                    <a:pt x="431" y="163"/>
                  </a:cubicBezTo>
                  <a:cubicBezTo>
                    <a:pt x="429" y="180"/>
                    <a:pt x="430" y="196"/>
                    <a:pt x="436" y="213"/>
                  </a:cubicBezTo>
                  <a:cubicBezTo>
                    <a:pt x="439" y="222"/>
                    <a:pt x="442" y="232"/>
                    <a:pt x="447" y="239"/>
                  </a:cubicBezTo>
                  <a:cubicBezTo>
                    <a:pt x="465" y="265"/>
                    <a:pt x="491" y="277"/>
                    <a:pt x="525" y="276"/>
                  </a:cubicBezTo>
                  <a:cubicBezTo>
                    <a:pt x="543" y="278"/>
                    <a:pt x="562" y="271"/>
                    <a:pt x="578" y="259"/>
                  </a:cubicBezTo>
                  <a:close/>
                  <a:moveTo>
                    <a:pt x="471" y="205"/>
                  </a:moveTo>
                  <a:cubicBezTo>
                    <a:pt x="466" y="185"/>
                    <a:pt x="468" y="167"/>
                    <a:pt x="472" y="147"/>
                  </a:cubicBezTo>
                  <a:cubicBezTo>
                    <a:pt x="477" y="130"/>
                    <a:pt x="493" y="116"/>
                    <a:pt x="509" y="112"/>
                  </a:cubicBezTo>
                  <a:cubicBezTo>
                    <a:pt x="525" y="108"/>
                    <a:pt x="539" y="110"/>
                    <a:pt x="553" y="119"/>
                  </a:cubicBezTo>
                  <a:cubicBezTo>
                    <a:pt x="563" y="125"/>
                    <a:pt x="568" y="135"/>
                    <a:pt x="571" y="146"/>
                  </a:cubicBezTo>
                  <a:cubicBezTo>
                    <a:pt x="577" y="167"/>
                    <a:pt x="578" y="189"/>
                    <a:pt x="571" y="211"/>
                  </a:cubicBezTo>
                  <a:cubicBezTo>
                    <a:pt x="565" y="231"/>
                    <a:pt x="549" y="249"/>
                    <a:pt x="521" y="247"/>
                  </a:cubicBezTo>
                  <a:cubicBezTo>
                    <a:pt x="496" y="247"/>
                    <a:pt x="478" y="230"/>
                    <a:pt x="471" y="205"/>
                  </a:cubicBezTo>
                  <a:close/>
                  <a:moveTo>
                    <a:pt x="472" y="1122"/>
                  </a:moveTo>
                  <a:cubicBezTo>
                    <a:pt x="475" y="1136"/>
                    <a:pt x="481" y="1148"/>
                    <a:pt x="491" y="1158"/>
                  </a:cubicBezTo>
                  <a:cubicBezTo>
                    <a:pt x="506" y="1176"/>
                    <a:pt x="524" y="1185"/>
                    <a:pt x="548" y="1187"/>
                  </a:cubicBezTo>
                  <a:cubicBezTo>
                    <a:pt x="568" y="1188"/>
                    <a:pt x="587" y="1187"/>
                    <a:pt x="605" y="1177"/>
                  </a:cubicBezTo>
                  <a:cubicBezTo>
                    <a:pt x="632" y="1162"/>
                    <a:pt x="644" y="1136"/>
                    <a:pt x="649" y="1107"/>
                  </a:cubicBezTo>
                  <a:cubicBezTo>
                    <a:pt x="652" y="1089"/>
                    <a:pt x="649" y="1072"/>
                    <a:pt x="644" y="1054"/>
                  </a:cubicBezTo>
                  <a:cubicBezTo>
                    <a:pt x="638" y="1034"/>
                    <a:pt x="627" y="1019"/>
                    <a:pt x="610" y="1007"/>
                  </a:cubicBezTo>
                  <a:cubicBezTo>
                    <a:pt x="589" y="992"/>
                    <a:pt x="566" y="991"/>
                    <a:pt x="541" y="994"/>
                  </a:cubicBezTo>
                  <a:cubicBezTo>
                    <a:pt x="526" y="995"/>
                    <a:pt x="512" y="1002"/>
                    <a:pt x="500" y="1012"/>
                  </a:cubicBezTo>
                  <a:cubicBezTo>
                    <a:pt x="476" y="1032"/>
                    <a:pt x="469" y="1060"/>
                    <a:pt x="466" y="1095"/>
                  </a:cubicBezTo>
                  <a:cubicBezTo>
                    <a:pt x="465" y="1101"/>
                    <a:pt x="470" y="1111"/>
                    <a:pt x="472" y="1122"/>
                  </a:cubicBezTo>
                  <a:close/>
                  <a:moveTo>
                    <a:pt x="508" y="1113"/>
                  </a:moveTo>
                  <a:cubicBezTo>
                    <a:pt x="505" y="1095"/>
                    <a:pt x="506" y="1078"/>
                    <a:pt x="508" y="1061"/>
                  </a:cubicBezTo>
                  <a:cubicBezTo>
                    <a:pt x="511" y="1042"/>
                    <a:pt x="538" y="1021"/>
                    <a:pt x="554" y="1022"/>
                  </a:cubicBezTo>
                  <a:cubicBezTo>
                    <a:pt x="570" y="1022"/>
                    <a:pt x="586" y="1024"/>
                    <a:pt x="596" y="1037"/>
                  </a:cubicBezTo>
                  <a:cubicBezTo>
                    <a:pt x="602" y="1044"/>
                    <a:pt x="607" y="1052"/>
                    <a:pt x="608" y="1061"/>
                  </a:cubicBezTo>
                  <a:cubicBezTo>
                    <a:pt x="608" y="1064"/>
                    <a:pt x="609" y="1067"/>
                    <a:pt x="610" y="1070"/>
                  </a:cubicBezTo>
                  <a:cubicBezTo>
                    <a:pt x="618" y="1089"/>
                    <a:pt x="612" y="1107"/>
                    <a:pt x="607" y="1125"/>
                  </a:cubicBezTo>
                  <a:cubicBezTo>
                    <a:pt x="601" y="1143"/>
                    <a:pt x="588" y="1160"/>
                    <a:pt x="558" y="1157"/>
                  </a:cubicBezTo>
                  <a:cubicBezTo>
                    <a:pt x="530" y="1157"/>
                    <a:pt x="512" y="1141"/>
                    <a:pt x="508" y="1113"/>
                  </a:cubicBezTo>
                  <a:close/>
                  <a:moveTo>
                    <a:pt x="430" y="716"/>
                  </a:moveTo>
                  <a:cubicBezTo>
                    <a:pt x="450" y="703"/>
                    <a:pt x="459" y="683"/>
                    <a:pt x="464" y="661"/>
                  </a:cubicBezTo>
                  <a:cubicBezTo>
                    <a:pt x="468" y="648"/>
                    <a:pt x="467" y="635"/>
                    <a:pt x="466" y="621"/>
                  </a:cubicBezTo>
                  <a:cubicBezTo>
                    <a:pt x="463" y="592"/>
                    <a:pt x="453" y="567"/>
                    <a:pt x="427" y="550"/>
                  </a:cubicBezTo>
                  <a:cubicBezTo>
                    <a:pt x="401" y="534"/>
                    <a:pt x="372" y="532"/>
                    <a:pt x="345" y="541"/>
                  </a:cubicBezTo>
                  <a:cubicBezTo>
                    <a:pt x="310" y="552"/>
                    <a:pt x="291" y="580"/>
                    <a:pt x="287" y="617"/>
                  </a:cubicBezTo>
                  <a:cubicBezTo>
                    <a:pt x="286" y="629"/>
                    <a:pt x="286" y="641"/>
                    <a:pt x="287" y="654"/>
                  </a:cubicBezTo>
                  <a:cubicBezTo>
                    <a:pt x="289" y="671"/>
                    <a:pt x="295" y="686"/>
                    <a:pt x="306" y="700"/>
                  </a:cubicBezTo>
                  <a:cubicBezTo>
                    <a:pt x="324" y="722"/>
                    <a:pt x="348" y="733"/>
                    <a:pt x="378" y="731"/>
                  </a:cubicBezTo>
                  <a:cubicBezTo>
                    <a:pt x="396" y="733"/>
                    <a:pt x="414" y="727"/>
                    <a:pt x="430" y="716"/>
                  </a:cubicBezTo>
                  <a:close/>
                  <a:moveTo>
                    <a:pt x="331" y="592"/>
                  </a:moveTo>
                  <a:cubicBezTo>
                    <a:pt x="339" y="580"/>
                    <a:pt x="349" y="569"/>
                    <a:pt x="365" y="567"/>
                  </a:cubicBezTo>
                  <a:cubicBezTo>
                    <a:pt x="387" y="564"/>
                    <a:pt x="406" y="568"/>
                    <a:pt x="419" y="588"/>
                  </a:cubicBezTo>
                  <a:cubicBezTo>
                    <a:pt x="423" y="595"/>
                    <a:pt x="426" y="603"/>
                    <a:pt x="427" y="610"/>
                  </a:cubicBezTo>
                  <a:cubicBezTo>
                    <a:pt x="433" y="635"/>
                    <a:pt x="431" y="661"/>
                    <a:pt x="416" y="684"/>
                  </a:cubicBezTo>
                  <a:cubicBezTo>
                    <a:pt x="403" y="706"/>
                    <a:pt x="362" y="708"/>
                    <a:pt x="345" y="692"/>
                  </a:cubicBezTo>
                  <a:cubicBezTo>
                    <a:pt x="329" y="678"/>
                    <a:pt x="323" y="661"/>
                    <a:pt x="323" y="631"/>
                  </a:cubicBezTo>
                  <a:cubicBezTo>
                    <a:pt x="323" y="619"/>
                    <a:pt x="323" y="605"/>
                    <a:pt x="331" y="592"/>
                  </a:cubicBezTo>
                  <a:close/>
                  <a:moveTo>
                    <a:pt x="1073" y="259"/>
                  </a:moveTo>
                  <a:cubicBezTo>
                    <a:pt x="1073" y="269"/>
                    <a:pt x="1075" y="272"/>
                    <a:pt x="1086" y="272"/>
                  </a:cubicBezTo>
                  <a:cubicBezTo>
                    <a:pt x="1088" y="272"/>
                    <a:pt x="1090" y="272"/>
                    <a:pt x="1092" y="272"/>
                  </a:cubicBezTo>
                  <a:cubicBezTo>
                    <a:pt x="1105" y="272"/>
                    <a:pt x="1106" y="271"/>
                    <a:pt x="1106" y="258"/>
                  </a:cubicBezTo>
                  <a:cubicBezTo>
                    <a:pt x="1106" y="221"/>
                    <a:pt x="1106" y="184"/>
                    <a:pt x="1106" y="147"/>
                  </a:cubicBezTo>
                  <a:cubicBezTo>
                    <a:pt x="1106" y="143"/>
                    <a:pt x="1106" y="140"/>
                    <a:pt x="1107" y="137"/>
                  </a:cubicBezTo>
                  <a:cubicBezTo>
                    <a:pt x="1117" y="117"/>
                    <a:pt x="1157" y="104"/>
                    <a:pt x="1177" y="114"/>
                  </a:cubicBezTo>
                  <a:cubicBezTo>
                    <a:pt x="1179" y="115"/>
                    <a:pt x="1180" y="117"/>
                    <a:pt x="1182" y="118"/>
                  </a:cubicBezTo>
                  <a:cubicBezTo>
                    <a:pt x="1194" y="131"/>
                    <a:pt x="1196" y="147"/>
                    <a:pt x="1196" y="163"/>
                  </a:cubicBezTo>
                  <a:cubicBezTo>
                    <a:pt x="1197" y="195"/>
                    <a:pt x="1196" y="226"/>
                    <a:pt x="1196" y="258"/>
                  </a:cubicBezTo>
                  <a:cubicBezTo>
                    <a:pt x="1196" y="271"/>
                    <a:pt x="1197" y="272"/>
                    <a:pt x="1210" y="272"/>
                  </a:cubicBezTo>
                  <a:cubicBezTo>
                    <a:pt x="1212" y="272"/>
                    <a:pt x="1213" y="272"/>
                    <a:pt x="1215" y="272"/>
                  </a:cubicBezTo>
                  <a:cubicBezTo>
                    <a:pt x="1227" y="272"/>
                    <a:pt x="1229" y="270"/>
                    <a:pt x="1229" y="258"/>
                  </a:cubicBezTo>
                  <a:cubicBezTo>
                    <a:pt x="1229" y="222"/>
                    <a:pt x="1229" y="187"/>
                    <a:pt x="1229" y="151"/>
                  </a:cubicBezTo>
                  <a:cubicBezTo>
                    <a:pt x="1229" y="142"/>
                    <a:pt x="1228" y="132"/>
                    <a:pt x="1225" y="123"/>
                  </a:cubicBezTo>
                  <a:cubicBezTo>
                    <a:pt x="1219" y="105"/>
                    <a:pt x="1208" y="91"/>
                    <a:pt x="1189" y="85"/>
                  </a:cubicBezTo>
                  <a:cubicBezTo>
                    <a:pt x="1173" y="80"/>
                    <a:pt x="1156" y="84"/>
                    <a:pt x="1139" y="84"/>
                  </a:cubicBezTo>
                  <a:cubicBezTo>
                    <a:pt x="1137" y="84"/>
                    <a:pt x="1136" y="86"/>
                    <a:pt x="1134" y="87"/>
                  </a:cubicBezTo>
                  <a:cubicBezTo>
                    <a:pt x="1128" y="91"/>
                    <a:pt x="1121" y="96"/>
                    <a:pt x="1115" y="100"/>
                  </a:cubicBezTo>
                  <a:cubicBezTo>
                    <a:pt x="1113" y="102"/>
                    <a:pt x="1111" y="105"/>
                    <a:pt x="1108" y="103"/>
                  </a:cubicBezTo>
                  <a:cubicBezTo>
                    <a:pt x="1105" y="102"/>
                    <a:pt x="1106" y="98"/>
                    <a:pt x="1106" y="96"/>
                  </a:cubicBezTo>
                  <a:cubicBezTo>
                    <a:pt x="1106" y="69"/>
                    <a:pt x="1106" y="43"/>
                    <a:pt x="1106" y="17"/>
                  </a:cubicBezTo>
                  <a:cubicBezTo>
                    <a:pt x="1106" y="0"/>
                    <a:pt x="1106" y="0"/>
                    <a:pt x="1089" y="0"/>
                  </a:cubicBezTo>
                  <a:cubicBezTo>
                    <a:pt x="1074" y="0"/>
                    <a:pt x="1073" y="1"/>
                    <a:pt x="1073" y="16"/>
                  </a:cubicBezTo>
                  <a:cubicBezTo>
                    <a:pt x="1073" y="56"/>
                    <a:pt x="1073" y="96"/>
                    <a:pt x="1073" y="136"/>
                  </a:cubicBezTo>
                  <a:cubicBezTo>
                    <a:pt x="1073" y="177"/>
                    <a:pt x="1073" y="218"/>
                    <a:pt x="1073" y="259"/>
                  </a:cubicBezTo>
                  <a:close/>
                  <a:moveTo>
                    <a:pt x="1150" y="1092"/>
                  </a:moveTo>
                  <a:cubicBezTo>
                    <a:pt x="1168" y="1092"/>
                    <a:pt x="1186" y="1092"/>
                    <a:pt x="1204" y="1092"/>
                  </a:cubicBezTo>
                  <a:cubicBezTo>
                    <a:pt x="1215" y="1092"/>
                    <a:pt x="1218" y="1087"/>
                    <a:pt x="1219" y="1077"/>
                  </a:cubicBezTo>
                  <a:cubicBezTo>
                    <a:pt x="1220" y="1062"/>
                    <a:pt x="1216" y="1049"/>
                    <a:pt x="1210" y="1036"/>
                  </a:cubicBezTo>
                  <a:cubicBezTo>
                    <a:pt x="1204" y="1020"/>
                    <a:pt x="1193" y="1008"/>
                    <a:pt x="1177" y="1001"/>
                  </a:cubicBezTo>
                  <a:cubicBezTo>
                    <a:pt x="1155" y="992"/>
                    <a:pt x="1133" y="991"/>
                    <a:pt x="1109" y="999"/>
                  </a:cubicBezTo>
                  <a:cubicBezTo>
                    <a:pt x="1079" y="1010"/>
                    <a:pt x="1062" y="1031"/>
                    <a:pt x="1056" y="1061"/>
                  </a:cubicBezTo>
                  <a:cubicBezTo>
                    <a:pt x="1051" y="1090"/>
                    <a:pt x="1052" y="1120"/>
                    <a:pt x="1069" y="1148"/>
                  </a:cubicBezTo>
                  <a:cubicBezTo>
                    <a:pt x="1081" y="1169"/>
                    <a:pt x="1100" y="1180"/>
                    <a:pt x="1122" y="1185"/>
                  </a:cubicBezTo>
                  <a:cubicBezTo>
                    <a:pt x="1149" y="1190"/>
                    <a:pt x="1176" y="1186"/>
                    <a:pt x="1200" y="1171"/>
                  </a:cubicBezTo>
                  <a:cubicBezTo>
                    <a:pt x="1206" y="1168"/>
                    <a:pt x="1213" y="1165"/>
                    <a:pt x="1214" y="1157"/>
                  </a:cubicBezTo>
                  <a:cubicBezTo>
                    <a:pt x="1215" y="1147"/>
                    <a:pt x="1202" y="1139"/>
                    <a:pt x="1193" y="1144"/>
                  </a:cubicBezTo>
                  <a:cubicBezTo>
                    <a:pt x="1187" y="1147"/>
                    <a:pt x="1180" y="1150"/>
                    <a:pt x="1174" y="1153"/>
                  </a:cubicBezTo>
                  <a:cubicBezTo>
                    <a:pt x="1158" y="1161"/>
                    <a:pt x="1140" y="1161"/>
                    <a:pt x="1124" y="1155"/>
                  </a:cubicBezTo>
                  <a:cubicBezTo>
                    <a:pt x="1112" y="1151"/>
                    <a:pt x="1102" y="1142"/>
                    <a:pt x="1096" y="1129"/>
                  </a:cubicBezTo>
                  <a:cubicBezTo>
                    <a:pt x="1092" y="1121"/>
                    <a:pt x="1091" y="1112"/>
                    <a:pt x="1089" y="1104"/>
                  </a:cubicBezTo>
                  <a:cubicBezTo>
                    <a:pt x="1087" y="1093"/>
                    <a:pt x="1087" y="1092"/>
                    <a:pt x="1099" y="1092"/>
                  </a:cubicBezTo>
                  <a:cubicBezTo>
                    <a:pt x="1116" y="1092"/>
                    <a:pt x="1133" y="1092"/>
                    <a:pt x="1150" y="1092"/>
                  </a:cubicBezTo>
                  <a:cubicBezTo>
                    <a:pt x="1150" y="1092"/>
                    <a:pt x="1150" y="1092"/>
                    <a:pt x="1150" y="1092"/>
                  </a:cubicBezTo>
                  <a:close/>
                  <a:moveTo>
                    <a:pt x="1099" y="1070"/>
                  </a:moveTo>
                  <a:cubicBezTo>
                    <a:pt x="1092" y="1071"/>
                    <a:pt x="1089" y="1067"/>
                    <a:pt x="1091" y="1060"/>
                  </a:cubicBezTo>
                  <a:cubicBezTo>
                    <a:pt x="1094" y="1045"/>
                    <a:pt x="1108" y="1023"/>
                    <a:pt x="1128" y="1022"/>
                  </a:cubicBezTo>
                  <a:cubicBezTo>
                    <a:pt x="1142" y="1021"/>
                    <a:pt x="1156" y="1018"/>
                    <a:pt x="1168" y="1029"/>
                  </a:cubicBezTo>
                  <a:cubicBezTo>
                    <a:pt x="1181" y="1038"/>
                    <a:pt x="1185" y="1051"/>
                    <a:pt x="1187" y="1066"/>
                  </a:cubicBezTo>
                  <a:cubicBezTo>
                    <a:pt x="1188" y="1071"/>
                    <a:pt x="1183" y="1070"/>
                    <a:pt x="1180" y="1070"/>
                  </a:cubicBezTo>
                  <a:cubicBezTo>
                    <a:pt x="1166" y="1070"/>
                    <a:pt x="1153" y="1070"/>
                    <a:pt x="1139" y="1070"/>
                  </a:cubicBezTo>
                  <a:cubicBezTo>
                    <a:pt x="1139" y="1070"/>
                    <a:pt x="1139" y="1070"/>
                    <a:pt x="1139" y="1070"/>
                  </a:cubicBezTo>
                  <a:cubicBezTo>
                    <a:pt x="1126" y="1070"/>
                    <a:pt x="1113" y="1070"/>
                    <a:pt x="1099" y="1070"/>
                  </a:cubicBezTo>
                  <a:close/>
                  <a:moveTo>
                    <a:pt x="1741" y="1092"/>
                  </a:moveTo>
                  <a:cubicBezTo>
                    <a:pt x="1759" y="1092"/>
                    <a:pt x="1776" y="1092"/>
                    <a:pt x="1793" y="1092"/>
                  </a:cubicBezTo>
                  <a:cubicBezTo>
                    <a:pt x="1806" y="1092"/>
                    <a:pt x="1808" y="1089"/>
                    <a:pt x="1808" y="1076"/>
                  </a:cubicBezTo>
                  <a:cubicBezTo>
                    <a:pt x="1809" y="1063"/>
                    <a:pt x="1807" y="1051"/>
                    <a:pt x="1802" y="1038"/>
                  </a:cubicBezTo>
                  <a:cubicBezTo>
                    <a:pt x="1794" y="1021"/>
                    <a:pt x="1782" y="1008"/>
                    <a:pt x="1764" y="1000"/>
                  </a:cubicBezTo>
                  <a:cubicBezTo>
                    <a:pt x="1742" y="991"/>
                    <a:pt x="1720" y="991"/>
                    <a:pt x="1698" y="1000"/>
                  </a:cubicBezTo>
                  <a:cubicBezTo>
                    <a:pt x="1681" y="1006"/>
                    <a:pt x="1668" y="1016"/>
                    <a:pt x="1659" y="1031"/>
                  </a:cubicBezTo>
                  <a:cubicBezTo>
                    <a:pt x="1646" y="1050"/>
                    <a:pt x="1643" y="1071"/>
                    <a:pt x="1644" y="1094"/>
                  </a:cubicBezTo>
                  <a:cubicBezTo>
                    <a:pt x="1644" y="1110"/>
                    <a:pt x="1647" y="1127"/>
                    <a:pt x="1655" y="1141"/>
                  </a:cubicBezTo>
                  <a:cubicBezTo>
                    <a:pt x="1669" y="1168"/>
                    <a:pt x="1691" y="1183"/>
                    <a:pt x="1722" y="1186"/>
                  </a:cubicBezTo>
                  <a:cubicBezTo>
                    <a:pt x="1750" y="1188"/>
                    <a:pt x="1775" y="1183"/>
                    <a:pt x="1798" y="1165"/>
                  </a:cubicBezTo>
                  <a:cubicBezTo>
                    <a:pt x="1803" y="1161"/>
                    <a:pt x="1806" y="1157"/>
                    <a:pt x="1802" y="1151"/>
                  </a:cubicBezTo>
                  <a:cubicBezTo>
                    <a:pt x="1798" y="1144"/>
                    <a:pt x="1791" y="1140"/>
                    <a:pt x="1783" y="1144"/>
                  </a:cubicBezTo>
                  <a:cubicBezTo>
                    <a:pt x="1778" y="1147"/>
                    <a:pt x="1771" y="1149"/>
                    <a:pt x="1766" y="1152"/>
                  </a:cubicBezTo>
                  <a:cubicBezTo>
                    <a:pt x="1749" y="1161"/>
                    <a:pt x="1730" y="1162"/>
                    <a:pt x="1714" y="1155"/>
                  </a:cubicBezTo>
                  <a:cubicBezTo>
                    <a:pt x="1692" y="1145"/>
                    <a:pt x="1680" y="1127"/>
                    <a:pt x="1679" y="1102"/>
                  </a:cubicBezTo>
                  <a:cubicBezTo>
                    <a:pt x="1678" y="1095"/>
                    <a:pt x="1681" y="1092"/>
                    <a:pt x="1689" y="1092"/>
                  </a:cubicBezTo>
                  <a:cubicBezTo>
                    <a:pt x="1706" y="1092"/>
                    <a:pt x="1724" y="1092"/>
                    <a:pt x="1741" y="1092"/>
                  </a:cubicBezTo>
                  <a:cubicBezTo>
                    <a:pt x="1741" y="1092"/>
                    <a:pt x="1741" y="1092"/>
                    <a:pt x="1741" y="1092"/>
                  </a:cubicBezTo>
                  <a:close/>
                  <a:moveTo>
                    <a:pt x="1690" y="1070"/>
                  </a:moveTo>
                  <a:cubicBezTo>
                    <a:pt x="1683" y="1071"/>
                    <a:pt x="1680" y="1068"/>
                    <a:pt x="1681" y="1062"/>
                  </a:cubicBezTo>
                  <a:cubicBezTo>
                    <a:pt x="1683" y="1048"/>
                    <a:pt x="1697" y="1024"/>
                    <a:pt x="1716" y="1022"/>
                  </a:cubicBezTo>
                  <a:cubicBezTo>
                    <a:pt x="1731" y="1020"/>
                    <a:pt x="1747" y="1018"/>
                    <a:pt x="1760" y="1030"/>
                  </a:cubicBezTo>
                  <a:cubicBezTo>
                    <a:pt x="1771" y="1038"/>
                    <a:pt x="1775" y="1050"/>
                    <a:pt x="1778" y="1062"/>
                  </a:cubicBezTo>
                  <a:cubicBezTo>
                    <a:pt x="1780" y="1068"/>
                    <a:pt x="1775" y="1070"/>
                    <a:pt x="1769" y="1070"/>
                  </a:cubicBezTo>
                  <a:cubicBezTo>
                    <a:pt x="1756" y="1070"/>
                    <a:pt x="1742" y="1070"/>
                    <a:pt x="1729" y="1070"/>
                  </a:cubicBezTo>
                  <a:cubicBezTo>
                    <a:pt x="1729" y="1070"/>
                    <a:pt x="1729" y="1070"/>
                    <a:pt x="1729" y="1070"/>
                  </a:cubicBezTo>
                  <a:cubicBezTo>
                    <a:pt x="1716" y="1070"/>
                    <a:pt x="1703" y="1070"/>
                    <a:pt x="1690" y="1070"/>
                  </a:cubicBezTo>
                  <a:close/>
                  <a:moveTo>
                    <a:pt x="68" y="581"/>
                  </a:moveTo>
                  <a:cubicBezTo>
                    <a:pt x="68" y="573"/>
                    <a:pt x="70" y="568"/>
                    <a:pt x="80" y="569"/>
                  </a:cubicBezTo>
                  <a:cubicBezTo>
                    <a:pt x="90" y="570"/>
                    <a:pt x="101" y="570"/>
                    <a:pt x="111" y="569"/>
                  </a:cubicBezTo>
                  <a:cubicBezTo>
                    <a:pt x="120" y="569"/>
                    <a:pt x="120" y="563"/>
                    <a:pt x="120" y="556"/>
                  </a:cubicBezTo>
                  <a:cubicBezTo>
                    <a:pt x="120" y="549"/>
                    <a:pt x="119" y="544"/>
                    <a:pt x="111" y="544"/>
                  </a:cubicBezTo>
                  <a:cubicBezTo>
                    <a:pt x="104" y="544"/>
                    <a:pt x="97" y="544"/>
                    <a:pt x="91" y="544"/>
                  </a:cubicBezTo>
                  <a:cubicBezTo>
                    <a:pt x="66" y="544"/>
                    <a:pt x="65" y="543"/>
                    <a:pt x="68" y="518"/>
                  </a:cubicBezTo>
                  <a:cubicBezTo>
                    <a:pt x="69" y="504"/>
                    <a:pt x="83" y="487"/>
                    <a:pt x="99" y="489"/>
                  </a:cubicBezTo>
                  <a:cubicBezTo>
                    <a:pt x="103" y="489"/>
                    <a:pt x="107" y="489"/>
                    <a:pt x="110" y="488"/>
                  </a:cubicBezTo>
                  <a:cubicBezTo>
                    <a:pt x="118" y="487"/>
                    <a:pt x="123" y="479"/>
                    <a:pt x="123" y="471"/>
                  </a:cubicBezTo>
                  <a:cubicBezTo>
                    <a:pt x="123" y="461"/>
                    <a:pt x="116" y="462"/>
                    <a:pt x="109" y="460"/>
                  </a:cubicBezTo>
                  <a:cubicBezTo>
                    <a:pt x="100" y="458"/>
                    <a:pt x="92" y="460"/>
                    <a:pt x="84" y="460"/>
                  </a:cubicBezTo>
                  <a:cubicBezTo>
                    <a:pt x="68" y="461"/>
                    <a:pt x="56" y="469"/>
                    <a:pt x="47" y="480"/>
                  </a:cubicBezTo>
                  <a:cubicBezTo>
                    <a:pt x="34" y="493"/>
                    <a:pt x="32" y="511"/>
                    <a:pt x="32" y="529"/>
                  </a:cubicBezTo>
                  <a:cubicBezTo>
                    <a:pt x="32" y="544"/>
                    <a:pt x="32" y="544"/>
                    <a:pt x="17" y="544"/>
                  </a:cubicBezTo>
                  <a:cubicBezTo>
                    <a:pt x="4" y="543"/>
                    <a:pt x="0" y="548"/>
                    <a:pt x="4" y="561"/>
                  </a:cubicBezTo>
                  <a:cubicBezTo>
                    <a:pt x="6" y="569"/>
                    <a:pt x="13" y="568"/>
                    <a:pt x="19" y="569"/>
                  </a:cubicBezTo>
                  <a:cubicBezTo>
                    <a:pt x="32" y="571"/>
                    <a:pt x="32" y="571"/>
                    <a:pt x="32" y="584"/>
                  </a:cubicBezTo>
                  <a:cubicBezTo>
                    <a:pt x="32" y="624"/>
                    <a:pt x="32" y="664"/>
                    <a:pt x="32" y="704"/>
                  </a:cubicBezTo>
                  <a:cubicBezTo>
                    <a:pt x="32" y="731"/>
                    <a:pt x="32" y="730"/>
                    <a:pt x="57" y="731"/>
                  </a:cubicBezTo>
                  <a:cubicBezTo>
                    <a:pt x="66" y="731"/>
                    <a:pt x="68" y="727"/>
                    <a:pt x="68" y="720"/>
                  </a:cubicBezTo>
                  <a:cubicBezTo>
                    <a:pt x="68" y="697"/>
                    <a:pt x="68" y="674"/>
                    <a:pt x="68" y="651"/>
                  </a:cubicBezTo>
                  <a:cubicBezTo>
                    <a:pt x="68" y="628"/>
                    <a:pt x="68" y="605"/>
                    <a:pt x="68" y="581"/>
                  </a:cubicBezTo>
                  <a:close/>
                  <a:moveTo>
                    <a:pt x="278" y="1165"/>
                  </a:moveTo>
                  <a:cubicBezTo>
                    <a:pt x="278" y="1183"/>
                    <a:pt x="278" y="1183"/>
                    <a:pt x="296" y="1184"/>
                  </a:cubicBezTo>
                  <a:cubicBezTo>
                    <a:pt x="310" y="1184"/>
                    <a:pt x="310" y="1184"/>
                    <a:pt x="310" y="1169"/>
                  </a:cubicBezTo>
                  <a:cubicBezTo>
                    <a:pt x="310" y="1132"/>
                    <a:pt x="310" y="1095"/>
                    <a:pt x="310" y="1058"/>
                  </a:cubicBezTo>
                  <a:cubicBezTo>
                    <a:pt x="310" y="1052"/>
                    <a:pt x="312" y="1047"/>
                    <a:pt x="316" y="1042"/>
                  </a:cubicBezTo>
                  <a:cubicBezTo>
                    <a:pt x="324" y="1033"/>
                    <a:pt x="334" y="1027"/>
                    <a:pt x="345" y="1024"/>
                  </a:cubicBezTo>
                  <a:cubicBezTo>
                    <a:pt x="357" y="1020"/>
                    <a:pt x="371" y="1018"/>
                    <a:pt x="383" y="1028"/>
                  </a:cubicBezTo>
                  <a:cubicBezTo>
                    <a:pt x="397" y="1039"/>
                    <a:pt x="401" y="1054"/>
                    <a:pt x="401" y="1071"/>
                  </a:cubicBezTo>
                  <a:cubicBezTo>
                    <a:pt x="401" y="1102"/>
                    <a:pt x="401" y="1132"/>
                    <a:pt x="401" y="1163"/>
                  </a:cubicBezTo>
                  <a:cubicBezTo>
                    <a:pt x="401" y="1183"/>
                    <a:pt x="401" y="1182"/>
                    <a:pt x="420" y="1184"/>
                  </a:cubicBezTo>
                  <a:cubicBezTo>
                    <a:pt x="429" y="1185"/>
                    <a:pt x="433" y="1181"/>
                    <a:pt x="433" y="1173"/>
                  </a:cubicBezTo>
                  <a:cubicBezTo>
                    <a:pt x="432" y="1130"/>
                    <a:pt x="435" y="1087"/>
                    <a:pt x="431" y="1044"/>
                  </a:cubicBezTo>
                  <a:cubicBezTo>
                    <a:pt x="427" y="1014"/>
                    <a:pt x="404" y="996"/>
                    <a:pt x="376" y="994"/>
                  </a:cubicBezTo>
                  <a:cubicBezTo>
                    <a:pt x="353" y="992"/>
                    <a:pt x="333" y="1000"/>
                    <a:pt x="317" y="1017"/>
                  </a:cubicBezTo>
                  <a:cubicBezTo>
                    <a:pt x="312" y="1021"/>
                    <a:pt x="311" y="1019"/>
                    <a:pt x="309" y="1015"/>
                  </a:cubicBezTo>
                  <a:cubicBezTo>
                    <a:pt x="309" y="1013"/>
                    <a:pt x="308" y="1011"/>
                    <a:pt x="308" y="1008"/>
                  </a:cubicBezTo>
                  <a:cubicBezTo>
                    <a:pt x="306" y="1001"/>
                    <a:pt x="298" y="997"/>
                    <a:pt x="287" y="998"/>
                  </a:cubicBezTo>
                  <a:cubicBezTo>
                    <a:pt x="279" y="999"/>
                    <a:pt x="278" y="1004"/>
                    <a:pt x="278" y="1011"/>
                  </a:cubicBezTo>
                  <a:cubicBezTo>
                    <a:pt x="278" y="1037"/>
                    <a:pt x="278" y="1064"/>
                    <a:pt x="278" y="1091"/>
                  </a:cubicBezTo>
                  <a:cubicBezTo>
                    <a:pt x="278" y="1115"/>
                    <a:pt x="278" y="1140"/>
                    <a:pt x="278" y="1165"/>
                  </a:cubicBezTo>
                  <a:close/>
                  <a:moveTo>
                    <a:pt x="150" y="705"/>
                  </a:moveTo>
                  <a:cubicBezTo>
                    <a:pt x="150" y="734"/>
                    <a:pt x="145" y="730"/>
                    <a:pt x="176" y="731"/>
                  </a:cubicBezTo>
                  <a:cubicBezTo>
                    <a:pt x="185" y="731"/>
                    <a:pt x="187" y="727"/>
                    <a:pt x="187" y="719"/>
                  </a:cubicBezTo>
                  <a:cubicBezTo>
                    <a:pt x="187" y="685"/>
                    <a:pt x="187" y="651"/>
                    <a:pt x="187" y="618"/>
                  </a:cubicBezTo>
                  <a:cubicBezTo>
                    <a:pt x="187" y="597"/>
                    <a:pt x="204" y="578"/>
                    <a:pt x="225" y="574"/>
                  </a:cubicBezTo>
                  <a:cubicBezTo>
                    <a:pt x="232" y="572"/>
                    <a:pt x="240" y="574"/>
                    <a:pt x="247" y="575"/>
                  </a:cubicBezTo>
                  <a:cubicBezTo>
                    <a:pt x="257" y="576"/>
                    <a:pt x="261" y="572"/>
                    <a:pt x="265" y="564"/>
                  </a:cubicBezTo>
                  <a:cubicBezTo>
                    <a:pt x="269" y="556"/>
                    <a:pt x="267" y="542"/>
                    <a:pt x="261" y="540"/>
                  </a:cubicBezTo>
                  <a:cubicBezTo>
                    <a:pt x="253" y="538"/>
                    <a:pt x="244" y="534"/>
                    <a:pt x="237" y="536"/>
                  </a:cubicBezTo>
                  <a:cubicBezTo>
                    <a:pt x="228" y="537"/>
                    <a:pt x="217" y="537"/>
                    <a:pt x="209" y="544"/>
                  </a:cubicBezTo>
                  <a:cubicBezTo>
                    <a:pt x="204" y="549"/>
                    <a:pt x="198" y="553"/>
                    <a:pt x="194" y="558"/>
                  </a:cubicBezTo>
                  <a:cubicBezTo>
                    <a:pt x="192" y="561"/>
                    <a:pt x="189" y="563"/>
                    <a:pt x="185" y="562"/>
                  </a:cubicBezTo>
                  <a:cubicBezTo>
                    <a:pt x="182" y="561"/>
                    <a:pt x="182" y="558"/>
                    <a:pt x="182" y="556"/>
                  </a:cubicBezTo>
                  <a:cubicBezTo>
                    <a:pt x="180" y="539"/>
                    <a:pt x="179" y="539"/>
                    <a:pt x="162" y="539"/>
                  </a:cubicBezTo>
                  <a:cubicBezTo>
                    <a:pt x="151" y="539"/>
                    <a:pt x="150" y="540"/>
                    <a:pt x="150" y="551"/>
                  </a:cubicBezTo>
                  <a:cubicBezTo>
                    <a:pt x="150" y="579"/>
                    <a:pt x="150" y="607"/>
                    <a:pt x="150" y="635"/>
                  </a:cubicBezTo>
                  <a:cubicBezTo>
                    <a:pt x="150" y="658"/>
                    <a:pt x="149" y="682"/>
                    <a:pt x="150" y="705"/>
                  </a:cubicBezTo>
                  <a:close/>
                  <a:moveTo>
                    <a:pt x="1011" y="1049"/>
                  </a:moveTo>
                  <a:cubicBezTo>
                    <a:pt x="1011" y="1008"/>
                    <a:pt x="1011" y="966"/>
                    <a:pt x="1011" y="924"/>
                  </a:cubicBezTo>
                  <a:cubicBezTo>
                    <a:pt x="1011" y="913"/>
                    <a:pt x="1008" y="910"/>
                    <a:pt x="997" y="910"/>
                  </a:cubicBezTo>
                  <a:cubicBezTo>
                    <a:pt x="995" y="910"/>
                    <a:pt x="992" y="910"/>
                    <a:pt x="990" y="910"/>
                  </a:cubicBezTo>
                  <a:cubicBezTo>
                    <a:pt x="976" y="910"/>
                    <a:pt x="975" y="911"/>
                    <a:pt x="975" y="926"/>
                  </a:cubicBezTo>
                  <a:cubicBezTo>
                    <a:pt x="975" y="1006"/>
                    <a:pt x="975" y="1085"/>
                    <a:pt x="975" y="1165"/>
                  </a:cubicBezTo>
                  <a:cubicBezTo>
                    <a:pt x="975" y="1185"/>
                    <a:pt x="975" y="1185"/>
                    <a:pt x="994" y="1185"/>
                  </a:cubicBezTo>
                  <a:cubicBezTo>
                    <a:pt x="1009" y="1185"/>
                    <a:pt x="1011" y="1184"/>
                    <a:pt x="1011" y="1169"/>
                  </a:cubicBezTo>
                  <a:cubicBezTo>
                    <a:pt x="1011" y="1129"/>
                    <a:pt x="1011" y="1089"/>
                    <a:pt x="1011" y="1049"/>
                  </a:cubicBezTo>
                  <a:cubicBezTo>
                    <a:pt x="1011" y="1049"/>
                    <a:pt x="1011" y="1049"/>
                    <a:pt x="1011" y="1049"/>
                  </a:cubicBezTo>
                  <a:close/>
                  <a:moveTo>
                    <a:pt x="296" y="176"/>
                  </a:moveTo>
                  <a:cubicBezTo>
                    <a:pt x="296" y="201"/>
                    <a:pt x="296" y="226"/>
                    <a:pt x="296" y="251"/>
                  </a:cubicBezTo>
                  <a:cubicBezTo>
                    <a:pt x="295" y="276"/>
                    <a:pt x="296" y="274"/>
                    <a:pt x="318" y="274"/>
                  </a:cubicBezTo>
                  <a:cubicBezTo>
                    <a:pt x="330" y="274"/>
                    <a:pt x="331" y="274"/>
                    <a:pt x="331" y="260"/>
                  </a:cubicBezTo>
                  <a:cubicBezTo>
                    <a:pt x="331" y="232"/>
                    <a:pt x="331" y="204"/>
                    <a:pt x="331" y="176"/>
                  </a:cubicBezTo>
                  <a:cubicBezTo>
                    <a:pt x="331" y="165"/>
                    <a:pt x="331" y="155"/>
                    <a:pt x="337" y="145"/>
                  </a:cubicBezTo>
                  <a:cubicBezTo>
                    <a:pt x="349" y="123"/>
                    <a:pt x="359" y="117"/>
                    <a:pt x="377" y="118"/>
                  </a:cubicBezTo>
                  <a:cubicBezTo>
                    <a:pt x="383" y="118"/>
                    <a:pt x="389" y="119"/>
                    <a:pt x="395" y="120"/>
                  </a:cubicBezTo>
                  <a:cubicBezTo>
                    <a:pt x="401" y="120"/>
                    <a:pt x="407" y="118"/>
                    <a:pt x="408" y="112"/>
                  </a:cubicBezTo>
                  <a:cubicBezTo>
                    <a:pt x="409" y="103"/>
                    <a:pt x="415" y="93"/>
                    <a:pt x="407" y="85"/>
                  </a:cubicBezTo>
                  <a:cubicBezTo>
                    <a:pt x="406" y="84"/>
                    <a:pt x="404" y="84"/>
                    <a:pt x="402" y="84"/>
                  </a:cubicBezTo>
                  <a:cubicBezTo>
                    <a:pt x="376" y="78"/>
                    <a:pt x="353" y="82"/>
                    <a:pt x="337" y="106"/>
                  </a:cubicBezTo>
                  <a:cubicBezTo>
                    <a:pt x="336" y="108"/>
                    <a:pt x="335" y="110"/>
                    <a:pt x="333" y="109"/>
                  </a:cubicBezTo>
                  <a:cubicBezTo>
                    <a:pt x="331" y="109"/>
                    <a:pt x="330" y="107"/>
                    <a:pt x="330" y="105"/>
                  </a:cubicBezTo>
                  <a:cubicBezTo>
                    <a:pt x="329" y="101"/>
                    <a:pt x="329" y="97"/>
                    <a:pt x="328" y="94"/>
                  </a:cubicBezTo>
                  <a:cubicBezTo>
                    <a:pt x="325" y="85"/>
                    <a:pt x="318" y="82"/>
                    <a:pt x="303" y="84"/>
                  </a:cubicBezTo>
                  <a:cubicBezTo>
                    <a:pt x="297" y="84"/>
                    <a:pt x="295" y="86"/>
                    <a:pt x="295" y="92"/>
                  </a:cubicBezTo>
                  <a:cubicBezTo>
                    <a:pt x="296" y="120"/>
                    <a:pt x="295" y="148"/>
                    <a:pt x="295" y="176"/>
                  </a:cubicBezTo>
                  <a:cubicBezTo>
                    <a:pt x="296" y="176"/>
                    <a:pt x="296" y="176"/>
                    <a:pt x="296" y="176"/>
                  </a:cubicBezTo>
                  <a:close/>
                  <a:moveTo>
                    <a:pt x="946" y="179"/>
                  </a:moveTo>
                  <a:cubicBezTo>
                    <a:pt x="946" y="197"/>
                    <a:pt x="946" y="215"/>
                    <a:pt x="946" y="234"/>
                  </a:cubicBezTo>
                  <a:cubicBezTo>
                    <a:pt x="946" y="248"/>
                    <a:pt x="951" y="260"/>
                    <a:pt x="963" y="268"/>
                  </a:cubicBezTo>
                  <a:cubicBezTo>
                    <a:pt x="982" y="280"/>
                    <a:pt x="1011" y="277"/>
                    <a:pt x="1029" y="264"/>
                  </a:cubicBezTo>
                  <a:cubicBezTo>
                    <a:pt x="1036" y="259"/>
                    <a:pt x="1036" y="254"/>
                    <a:pt x="1032" y="248"/>
                  </a:cubicBezTo>
                  <a:cubicBezTo>
                    <a:pt x="1026" y="239"/>
                    <a:pt x="1020" y="238"/>
                    <a:pt x="1013" y="242"/>
                  </a:cubicBezTo>
                  <a:cubicBezTo>
                    <a:pt x="996" y="252"/>
                    <a:pt x="978" y="243"/>
                    <a:pt x="978" y="223"/>
                  </a:cubicBezTo>
                  <a:cubicBezTo>
                    <a:pt x="978" y="190"/>
                    <a:pt x="978" y="157"/>
                    <a:pt x="978" y="123"/>
                  </a:cubicBezTo>
                  <a:cubicBezTo>
                    <a:pt x="978" y="116"/>
                    <a:pt x="981" y="113"/>
                    <a:pt x="988" y="113"/>
                  </a:cubicBezTo>
                  <a:cubicBezTo>
                    <a:pt x="999" y="114"/>
                    <a:pt x="1011" y="113"/>
                    <a:pt x="1022" y="113"/>
                  </a:cubicBezTo>
                  <a:cubicBezTo>
                    <a:pt x="1028" y="113"/>
                    <a:pt x="1033" y="112"/>
                    <a:pt x="1033" y="104"/>
                  </a:cubicBezTo>
                  <a:cubicBezTo>
                    <a:pt x="1033" y="96"/>
                    <a:pt x="1032" y="90"/>
                    <a:pt x="1022" y="90"/>
                  </a:cubicBezTo>
                  <a:cubicBezTo>
                    <a:pt x="1011" y="90"/>
                    <a:pt x="1001" y="90"/>
                    <a:pt x="990" y="90"/>
                  </a:cubicBezTo>
                  <a:cubicBezTo>
                    <a:pt x="981" y="91"/>
                    <a:pt x="977" y="88"/>
                    <a:pt x="978" y="78"/>
                  </a:cubicBezTo>
                  <a:cubicBezTo>
                    <a:pt x="978" y="64"/>
                    <a:pt x="978" y="49"/>
                    <a:pt x="978" y="35"/>
                  </a:cubicBezTo>
                  <a:cubicBezTo>
                    <a:pt x="978" y="30"/>
                    <a:pt x="978" y="25"/>
                    <a:pt x="971" y="24"/>
                  </a:cubicBezTo>
                  <a:cubicBezTo>
                    <a:pt x="964" y="24"/>
                    <a:pt x="956" y="24"/>
                    <a:pt x="955" y="32"/>
                  </a:cubicBezTo>
                  <a:cubicBezTo>
                    <a:pt x="952" y="43"/>
                    <a:pt x="949" y="54"/>
                    <a:pt x="949" y="65"/>
                  </a:cubicBezTo>
                  <a:cubicBezTo>
                    <a:pt x="948" y="88"/>
                    <a:pt x="947" y="88"/>
                    <a:pt x="924" y="91"/>
                  </a:cubicBezTo>
                  <a:cubicBezTo>
                    <a:pt x="919" y="92"/>
                    <a:pt x="914" y="92"/>
                    <a:pt x="914" y="99"/>
                  </a:cubicBezTo>
                  <a:cubicBezTo>
                    <a:pt x="915" y="107"/>
                    <a:pt x="917" y="113"/>
                    <a:pt x="926" y="113"/>
                  </a:cubicBezTo>
                  <a:cubicBezTo>
                    <a:pt x="929" y="114"/>
                    <a:pt x="932" y="113"/>
                    <a:pt x="935" y="113"/>
                  </a:cubicBezTo>
                  <a:cubicBezTo>
                    <a:pt x="943" y="113"/>
                    <a:pt x="946" y="116"/>
                    <a:pt x="946" y="124"/>
                  </a:cubicBezTo>
                  <a:cubicBezTo>
                    <a:pt x="946" y="142"/>
                    <a:pt x="946" y="161"/>
                    <a:pt x="946" y="179"/>
                  </a:cubicBezTo>
                  <a:cubicBezTo>
                    <a:pt x="946" y="179"/>
                    <a:pt x="946" y="179"/>
                    <a:pt x="946" y="179"/>
                  </a:cubicBezTo>
                  <a:close/>
                </a:path>
              </a:pathLst>
            </a:custGeom>
            <a:solidFill>
              <a:srgbClr val="4C505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grpSp>
          <p:nvGrpSpPr>
            <p:cNvPr id="18" name="Group 4">
              <a:extLst>
                <a:ext uri="{FF2B5EF4-FFF2-40B4-BE49-F238E27FC236}">
                  <a16:creationId xmlns:a16="http://schemas.microsoft.com/office/drawing/2014/main" id="{57BD2C4C-DC67-B843-B26C-309622FC75F7}"/>
                </a:ext>
              </a:extLst>
            </p:cNvPr>
            <p:cNvGrpSpPr>
              <a:grpSpLocks noChangeAspect="1"/>
            </p:cNvGrpSpPr>
            <p:nvPr/>
          </p:nvGrpSpPr>
          <p:grpSpPr bwMode="gray">
            <a:xfrm>
              <a:off x="334963" y="296652"/>
              <a:ext cx="538094" cy="540000"/>
              <a:chOff x="2711" y="1027"/>
              <a:chExt cx="2258" cy="2266"/>
            </a:xfrm>
          </p:grpSpPr>
          <p:sp>
            <p:nvSpPr>
              <p:cNvPr id="19" name="AutoShape 3">
                <a:extLst>
                  <a:ext uri="{FF2B5EF4-FFF2-40B4-BE49-F238E27FC236}">
                    <a16:creationId xmlns:a16="http://schemas.microsoft.com/office/drawing/2014/main" id="{FE1DC41B-291E-574C-9F2C-874E70A40758}"/>
                  </a:ext>
                </a:extLst>
              </p:cNvPr>
              <p:cNvSpPr>
                <a:spLocks noChangeAspect="1" noChangeArrowheads="1" noTextEdit="1"/>
              </p:cNvSpPr>
              <p:nvPr/>
            </p:nvSpPr>
            <p:spPr bwMode="gray">
              <a:xfrm>
                <a:off x="2711" y="1027"/>
                <a:ext cx="2258" cy="22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20" name="Freeform 5">
                <a:extLst>
                  <a:ext uri="{FF2B5EF4-FFF2-40B4-BE49-F238E27FC236}">
                    <a16:creationId xmlns:a16="http://schemas.microsoft.com/office/drawing/2014/main" id="{D4B633C8-F761-C54B-9BD2-EB59D49A2DBC}"/>
                  </a:ext>
                </a:extLst>
              </p:cNvPr>
              <p:cNvSpPr>
                <a:spLocks/>
              </p:cNvSpPr>
              <p:nvPr/>
            </p:nvSpPr>
            <p:spPr bwMode="gray">
              <a:xfrm>
                <a:off x="2709" y="1029"/>
                <a:ext cx="2260" cy="2262"/>
              </a:xfrm>
              <a:custGeom>
                <a:avLst/>
                <a:gdLst>
                  <a:gd name="T0" fmla="*/ 2260 w 2260"/>
                  <a:gd name="T1" fmla="*/ 0 h 2262"/>
                  <a:gd name="T2" fmla="*/ 1612 w 2260"/>
                  <a:gd name="T3" fmla="*/ 649 h 2262"/>
                  <a:gd name="T4" fmla="*/ 1612 w 2260"/>
                  <a:gd name="T5" fmla="*/ 649 h 2262"/>
                  <a:gd name="T6" fmla="*/ 2035 w 2260"/>
                  <a:gd name="T7" fmla="*/ 0 h 2262"/>
                  <a:gd name="T8" fmla="*/ 0 w 2260"/>
                  <a:gd name="T9" fmla="*/ 0 h 2262"/>
                  <a:gd name="T10" fmla="*/ 0 w 2260"/>
                  <a:gd name="T11" fmla="*/ 2262 h 2262"/>
                  <a:gd name="T12" fmla="*/ 2260 w 2260"/>
                  <a:gd name="T13" fmla="*/ 2262 h 2262"/>
                  <a:gd name="T14" fmla="*/ 2260 w 2260"/>
                  <a:gd name="T15" fmla="*/ 0 h 2262"/>
                  <a:gd name="T16" fmla="*/ 2260 w 2260"/>
                  <a:gd name="T17" fmla="*/ 0 h 2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0" h="2262">
                    <a:moveTo>
                      <a:pt x="2260" y="0"/>
                    </a:moveTo>
                    <a:lnTo>
                      <a:pt x="1612" y="649"/>
                    </a:lnTo>
                    <a:lnTo>
                      <a:pt x="1612" y="649"/>
                    </a:lnTo>
                    <a:lnTo>
                      <a:pt x="2035" y="0"/>
                    </a:lnTo>
                    <a:lnTo>
                      <a:pt x="0" y="0"/>
                    </a:lnTo>
                    <a:lnTo>
                      <a:pt x="0" y="2262"/>
                    </a:lnTo>
                    <a:lnTo>
                      <a:pt x="2260" y="2262"/>
                    </a:lnTo>
                    <a:lnTo>
                      <a:pt x="2260" y="0"/>
                    </a:lnTo>
                    <a:lnTo>
                      <a:pt x="2260" y="0"/>
                    </a:lnTo>
                    <a:close/>
                  </a:path>
                </a:pathLst>
              </a:custGeom>
              <a:solidFill>
                <a:srgbClr val="E55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21" name="Freeform 6">
                <a:extLst>
                  <a:ext uri="{FF2B5EF4-FFF2-40B4-BE49-F238E27FC236}">
                    <a16:creationId xmlns:a16="http://schemas.microsoft.com/office/drawing/2014/main" id="{B16BAAE4-1A41-C843-9754-490F7A1E1270}"/>
                  </a:ext>
                </a:extLst>
              </p:cNvPr>
              <p:cNvSpPr>
                <a:spLocks noEditPoints="1"/>
              </p:cNvSpPr>
              <p:nvPr/>
            </p:nvSpPr>
            <p:spPr bwMode="gray">
              <a:xfrm>
                <a:off x="3623" y="1696"/>
                <a:ext cx="1167" cy="922"/>
              </a:xfrm>
              <a:custGeom>
                <a:avLst/>
                <a:gdLst>
                  <a:gd name="T0" fmla="*/ 411 w 580"/>
                  <a:gd name="T1" fmla="*/ 213 h 458"/>
                  <a:gd name="T2" fmla="*/ 570 w 580"/>
                  <a:gd name="T3" fmla="*/ 37 h 458"/>
                  <a:gd name="T4" fmla="*/ 580 w 580"/>
                  <a:gd name="T5" fmla="*/ 20 h 458"/>
                  <a:gd name="T6" fmla="*/ 545 w 580"/>
                  <a:gd name="T7" fmla="*/ 0 h 458"/>
                  <a:gd name="T8" fmla="*/ 519 w 580"/>
                  <a:gd name="T9" fmla="*/ 16 h 458"/>
                  <a:gd name="T10" fmla="*/ 344 w 580"/>
                  <a:gd name="T11" fmla="*/ 210 h 458"/>
                  <a:gd name="T12" fmla="*/ 334 w 580"/>
                  <a:gd name="T13" fmla="*/ 229 h 458"/>
                  <a:gd name="T14" fmla="*/ 344 w 580"/>
                  <a:gd name="T15" fmla="*/ 248 h 458"/>
                  <a:gd name="T16" fmla="*/ 519 w 580"/>
                  <a:gd name="T17" fmla="*/ 442 h 458"/>
                  <a:gd name="T18" fmla="*/ 545 w 580"/>
                  <a:gd name="T19" fmla="*/ 458 h 458"/>
                  <a:gd name="T20" fmla="*/ 580 w 580"/>
                  <a:gd name="T21" fmla="*/ 438 h 458"/>
                  <a:gd name="T22" fmla="*/ 570 w 580"/>
                  <a:gd name="T23" fmla="*/ 421 h 458"/>
                  <a:gd name="T24" fmla="*/ 411 w 580"/>
                  <a:gd name="T25" fmla="*/ 245 h 458"/>
                  <a:gd name="T26" fmla="*/ 399 w 580"/>
                  <a:gd name="T27" fmla="*/ 229 h 458"/>
                  <a:gd name="T28" fmla="*/ 411 w 580"/>
                  <a:gd name="T29" fmla="*/ 213 h 458"/>
                  <a:gd name="T30" fmla="*/ 252 w 580"/>
                  <a:gd name="T31" fmla="*/ 439 h 458"/>
                  <a:gd name="T32" fmla="*/ 281 w 580"/>
                  <a:gd name="T33" fmla="*/ 454 h 458"/>
                  <a:gd name="T34" fmla="*/ 309 w 580"/>
                  <a:gd name="T35" fmla="*/ 439 h 458"/>
                  <a:gd name="T36" fmla="*/ 309 w 580"/>
                  <a:gd name="T37" fmla="*/ 19 h 458"/>
                  <a:gd name="T38" fmla="*/ 281 w 580"/>
                  <a:gd name="T39" fmla="*/ 4 h 458"/>
                  <a:gd name="T40" fmla="*/ 252 w 580"/>
                  <a:gd name="T41" fmla="*/ 19 h 458"/>
                  <a:gd name="T42" fmla="*/ 252 w 580"/>
                  <a:gd name="T43" fmla="*/ 439 h 458"/>
                  <a:gd name="T44" fmla="*/ 0 w 580"/>
                  <a:gd name="T45" fmla="*/ 439 h 458"/>
                  <a:gd name="T46" fmla="*/ 28 w 580"/>
                  <a:gd name="T47" fmla="*/ 454 h 458"/>
                  <a:gd name="T48" fmla="*/ 56 w 580"/>
                  <a:gd name="T49" fmla="*/ 439 h 458"/>
                  <a:gd name="T50" fmla="*/ 56 w 580"/>
                  <a:gd name="T51" fmla="*/ 157 h 458"/>
                  <a:gd name="T52" fmla="*/ 165 w 580"/>
                  <a:gd name="T53" fmla="*/ 53 h 458"/>
                  <a:gd name="T54" fmla="*/ 180 w 580"/>
                  <a:gd name="T55" fmla="*/ 53 h 458"/>
                  <a:gd name="T56" fmla="*/ 196 w 580"/>
                  <a:gd name="T57" fmla="*/ 27 h 458"/>
                  <a:gd name="T58" fmla="*/ 154 w 580"/>
                  <a:gd name="T59" fmla="*/ 4 h 458"/>
                  <a:gd name="T60" fmla="*/ 0 w 580"/>
                  <a:gd name="T61" fmla="*/ 152 h 458"/>
                  <a:gd name="T62" fmla="*/ 0 w 580"/>
                  <a:gd name="T63" fmla="*/ 439 h 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80" h="458">
                    <a:moveTo>
                      <a:pt x="411" y="213"/>
                    </a:moveTo>
                    <a:cubicBezTo>
                      <a:pt x="570" y="37"/>
                      <a:pt x="570" y="37"/>
                      <a:pt x="570" y="37"/>
                    </a:cubicBezTo>
                    <a:cubicBezTo>
                      <a:pt x="576" y="30"/>
                      <a:pt x="580" y="25"/>
                      <a:pt x="580" y="20"/>
                    </a:cubicBezTo>
                    <a:cubicBezTo>
                      <a:pt x="580" y="10"/>
                      <a:pt x="559" y="0"/>
                      <a:pt x="545" y="0"/>
                    </a:cubicBezTo>
                    <a:cubicBezTo>
                      <a:pt x="535" y="0"/>
                      <a:pt x="526" y="8"/>
                      <a:pt x="519" y="16"/>
                    </a:cubicBezTo>
                    <a:cubicBezTo>
                      <a:pt x="344" y="210"/>
                      <a:pt x="344" y="210"/>
                      <a:pt x="344" y="210"/>
                    </a:cubicBezTo>
                    <a:cubicBezTo>
                      <a:pt x="336" y="219"/>
                      <a:pt x="334" y="224"/>
                      <a:pt x="334" y="229"/>
                    </a:cubicBezTo>
                    <a:cubicBezTo>
                      <a:pt x="334" y="234"/>
                      <a:pt x="336" y="239"/>
                      <a:pt x="344" y="248"/>
                    </a:cubicBezTo>
                    <a:cubicBezTo>
                      <a:pt x="519" y="442"/>
                      <a:pt x="519" y="442"/>
                      <a:pt x="519" y="442"/>
                    </a:cubicBezTo>
                    <a:cubicBezTo>
                      <a:pt x="526" y="450"/>
                      <a:pt x="535" y="458"/>
                      <a:pt x="545" y="458"/>
                    </a:cubicBezTo>
                    <a:cubicBezTo>
                      <a:pt x="559" y="458"/>
                      <a:pt x="580" y="448"/>
                      <a:pt x="580" y="438"/>
                    </a:cubicBezTo>
                    <a:cubicBezTo>
                      <a:pt x="580" y="433"/>
                      <a:pt x="576" y="428"/>
                      <a:pt x="570" y="421"/>
                    </a:cubicBezTo>
                    <a:cubicBezTo>
                      <a:pt x="411" y="245"/>
                      <a:pt x="411" y="245"/>
                      <a:pt x="411" y="245"/>
                    </a:cubicBezTo>
                    <a:cubicBezTo>
                      <a:pt x="403" y="236"/>
                      <a:pt x="399" y="232"/>
                      <a:pt x="399" y="229"/>
                    </a:cubicBezTo>
                    <a:cubicBezTo>
                      <a:pt x="399" y="226"/>
                      <a:pt x="403" y="222"/>
                      <a:pt x="411" y="213"/>
                    </a:cubicBezTo>
                    <a:moveTo>
                      <a:pt x="252" y="439"/>
                    </a:moveTo>
                    <a:cubicBezTo>
                      <a:pt x="252" y="449"/>
                      <a:pt x="261" y="454"/>
                      <a:pt x="281" y="454"/>
                    </a:cubicBezTo>
                    <a:cubicBezTo>
                      <a:pt x="300" y="454"/>
                      <a:pt x="309" y="449"/>
                      <a:pt x="309" y="439"/>
                    </a:cubicBezTo>
                    <a:cubicBezTo>
                      <a:pt x="309" y="19"/>
                      <a:pt x="309" y="19"/>
                      <a:pt x="309" y="19"/>
                    </a:cubicBezTo>
                    <a:cubicBezTo>
                      <a:pt x="309" y="9"/>
                      <a:pt x="300" y="4"/>
                      <a:pt x="281" y="4"/>
                    </a:cubicBezTo>
                    <a:cubicBezTo>
                      <a:pt x="261" y="4"/>
                      <a:pt x="252" y="9"/>
                      <a:pt x="252" y="19"/>
                    </a:cubicBezTo>
                    <a:lnTo>
                      <a:pt x="252" y="439"/>
                    </a:lnTo>
                    <a:close/>
                    <a:moveTo>
                      <a:pt x="0" y="439"/>
                    </a:moveTo>
                    <a:cubicBezTo>
                      <a:pt x="0" y="449"/>
                      <a:pt x="8" y="454"/>
                      <a:pt x="28" y="454"/>
                    </a:cubicBezTo>
                    <a:cubicBezTo>
                      <a:pt x="48" y="454"/>
                      <a:pt x="56" y="449"/>
                      <a:pt x="56" y="439"/>
                    </a:cubicBezTo>
                    <a:cubicBezTo>
                      <a:pt x="56" y="157"/>
                      <a:pt x="56" y="157"/>
                      <a:pt x="56" y="157"/>
                    </a:cubicBezTo>
                    <a:cubicBezTo>
                      <a:pt x="56" y="83"/>
                      <a:pt x="85" y="53"/>
                      <a:pt x="165" y="53"/>
                    </a:cubicBezTo>
                    <a:cubicBezTo>
                      <a:pt x="180" y="53"/>
                      <a:pt x="180" y="53"/>
                      <a:pt x="180" y="53"/>
                    </a:cubicBezTo>
                    <a:cubicBezTo>
                      <a:pt x="192" y="53"/>
                      <a:pt x="196" y="43"/>
                      <a:pt x="196" y="27"/>
                    </a:cubicBezTo>
                    <a:cubicBezTo>
                      <a:pt x="196" y="8"/>
                      <a:pt x="185" y="4"/>
                      <a:pt x="154" y="4"/>
                    </a:cubicBezTo>
                    <a:cubicBezTo>
                      <a:pt x="64" y="4"/>
                      <a:pt x="0" y="43"/>
                      <a:pt x="0" y="152"/>
                    </a:cubicBezTo>
                    <a:lnTo>
                      <a:pt x="0" y="43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22" name="Freeform 7">
                <a:extLst>
                  <a:ext uri="{FF2B5EF4-FFF2-40B4-BE49-F238E27FC236}">
                    <a16:creationId xmlns:a16="http://schemas.microsoft.com/office/drawing/2014/main" id="{2F32DCBD-8628-F245-85CD-97686A20ECFD}"/>
                  </a:ext>
                </a:extLst>
              </p:cNvPr>
              <p:cNvSpPr>
                <a:spLocks/>
              </p:cNvSpPr>
              <p:nvPr/>
            </p:nvSpPr>
            <p:spPr bwMode="gray">
              <a:xfrm>
                <a:off x="2880" y="1704"/>
                <a:ext cx="618" cy="916"/>
              </a:xfrm>
              <a:custGeom>
                <a:avLst/>
                <a:gdLst>
                  <a:gd name="T0" fmla="*/ 307 w 307"/>
                  <a:gd name="T1" fmla="*/ 405 h 455"/>
                  <a:gd name="T2" fmla="*/ 307 w 307"/>
                  <a:gd name="T3" fmla="*/ 244 h 455"/>
                  <a:gd name="T4" fmla="*/ 279 w 307"/>
                  <a:gd name="T5" fmla="*/ 229 h 455"/>
                  <a:gd name="T6" fmla="*/ 250 w 307"/>
                  <a:gd name="T7" fmla="*/ 244 h 455"/>
                  <a:gd name="T8" fmla="*/ 250 w 307"/>
                  <a:gd name="T9" fmla="*/ 378 h 455"/>
                  <a:gd name="T10" fmla="*/ 199 w 307"/>
                  <a:gd name="T11" fmla="*/ 408 h 455"/>
                  <a:gd name="T12" fmla="*/ 61 w 307"/>
                  <a:gd name="T13" fmla="*/ 231 h 455"/>
                  <a:gd name="T14" fmla="*/ 238 w 307"/>
                  <a:gd name="T15" fmla="*/ 49 h 455"/>
                  <a:gd name="T16" fmla="*/ 270 w 307"/>
                  <a:gd name="T17" fmla="*/ 49 h 455"/>
                  <a:gd name="T18" fmla="*/ 286 w 307"/>
                  <a:gd name="T19" fmla="*/ 23 h 455"/>
                  <a:gd name="T20" fmla="*/ 244 w 307"/>
                  <a:gd name="T21" fmla="*/ 0 h 455"/>
                  <a:gd name="T22" fmla="*/ 231 w 307"/>
                  <a:gd name="T23" fmla="*/ 0 h 455"/>
                  <a:gd name="T24" fmla="*/ 0 w 307"/>
                  <a:gd name="T25" fmla="*/ 232 h 455"/>
                  <a:gd name="T26" fmla="*/ 198 w 307"/>
                  <a:gd name="T27" fmla="*/ 455 h 455"/>
                  <a:gd name="T28" fmla="*/ 307 w 307"/>
                  <a:gd name="T29" fmla="*/ 405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7" h="455">
                    <a:moveTo>
                      <a:pt x="307" y="405"/>
                    </a:moveTo>
                    <a:cubicBezTo>
                      <a:pt x="307" y="244"/>
                      <a:pt x="307" y="244"/>
                      <a:pt x="307" y="244"/>
                    </a:cubicBezTo>
                    <a:cubicBezTo>
                      <a:pt x="307" y="234"/>
                      <a:pt x="298" y="229"/>
                      <a:pt x="279" y="229"/>
                    </a:cubicBezTo>
                    <a:cubicBezTo>
                      <a:pt x="259" y="229"/>
                      <a:pt x="250" y="234"/>
                      <a:pt x="250" y="244"/>
                    </a:cubicBezTo>
                    <a:cubicBezTo>
                      <a:pt x="250" y="378"/>
                      <a:pt x="250" y="378"/>
                      <a:pt x="250" y="378"/>
                    </a:cubicBezTo>
                    <a:cubicBezTo>
                      <a:pt x="250" y="399"/>
                      <a:pt x="241" y="408"/>
                      <a:pt x="199" y="408"/>
                    </a:cubicBezTo>
                    <a:cubicBezTo>
                      <a:pt x="114" y="408"/>
                      <a:pt x="61" y="342"/>
                      <a:pt x="61" y="231"/>
                    </a:cubicBezTo>
                    <a:cubicBezTo>
                      <a:pt x="61" y="115"/>
                      <a:pt x="126" y="49"/>
                      <a:pt x="238" y="49"/>
                    </a:cubicBezTo>
                    <a:cubicBezTo>
                      <a:pt x="270" y="49"/>
                      <a:pt x="270" y="49"/>
                      <a:pt x="270" y="49"/>
                    </a:cubicBezTo>
                    <a:cubicBezTo>
                      <a:pt x="282" y="49"/>
                      <a:pt x="286" y="39"/>
                      <a:pt x="286" y="23"/>
                    </a:cubicBezTo>
                    <a:cubicBezTo>
                      <a:pt x="286" y="4"/>
                      <a:pt x="275" y="0"/>
                      <a:pt x="244" y="0"/>
                    </a:cubicBezTo>
                    <a:cubicBezTo>
                      <a:pt x="231" y="0"/>
                      <a:pt x="231" y="0"/>
                      <a:pt x="231" y="0"/>
                    </a:cubicBezTo>
                    <a:cubicBezTo>
                      <a:pt x="101" y="0"/>
                      <a:pt x="0" y="71"/>
                      <a:pt x="0" y="232"/>
                    </a:cubicBezTo>
                    <a:cubicBezTo>
                      <a:pt x="0" y="386"/>
                      <a:pt x="88" y="455"/>
                      <a:pt x="198" y="455"/>
                    </a:cubicBezTo>
                    <a:cubicBezTo>
                      <a:pt x="286" y="455"/>
                      <a:pt x="307" y="430"/>
                      <a:pt x="307" y="40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23" name="Oval 8">
                <a:extLst>
                  <a:ext uri="{FF2B5EF4-FFF2-40B4-BE49-F238E27FC236}">
                    <a16:creationId xmlns:a16="http://schemas.microsoft.com/office/drawing/2014/main" id="{60D97C11-1A3B-5449-A48D-98A3E79B3810}"/>
                  </a:ext>
                </a:extLst>
              </p:cNvPr>
              <p:cNvSpPr>
                <a:spLocks noChangeArrowheads="1"/>
              </p:cNvSpPr>
              <p:nvPr/>
            </p:nvSpPr>
            <p:spPr bwMode="gray">
              <a:xfrm>
                <a:off x="3778" y="2099"/>
                <a:ext cx="122" cy="12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24" name="Freeform 9">
                <a:extLst>
                  <a:ext uri="{FF2B5EF4-FFF2-40B4-BE49-F238E27FC236}">
                    <a16:creationId xmlns:a16="http://schemas.microsoft.com/office/drawing/2014/main" id="{5856770D-B8F0-244E-A05D-AED190086F10}"/>
                  </a:ext>
                </a:extLst>
              </p:cNvPr>
              <p:cNvSpPr>
                <a:spLocks noEditPoints="1"/>
              </p:cNvSpPr>
              <p:nvPr/>
            </p:nvSpPr>
            <p:spPr bwMode="gray">
              <a:xfrm>
                <a:off x="3623" y="1696"/>
                <a:ext cx="1167" cy="922"/>
              </a:xfrm>
              <a:custGeom>
                <a:avLst/>
                <a:gdLst>
                  <a:gd name="T0" fmla="*/ 411 w 580"/>
                  <a:gd name="T1" fmla="*/ 213 h 458"/>
                  <a:gd name="T2" fmla="*/ 570 w 580"/>
                  <a:gd name="T3" fmla="*/ 37 h 458"/>
                  <a:gd name="T4" fmla="*/ 580 w 580"/>
                  <a:gd name="T5" fmla="*/ 20 h 458"/>
                  <a:gd name="T6" fmla="*/ 545 w 580"/>
                  <a:gd name="T7" fmla="*/ 0 h 458"/>
                  <a:gd name="T8" fmla="*/ 519 w 580"/>
                  <a:gd name="T9" fmla="*/ 16 h 458"/>
                  <a:gd name="T10" fmla="*/ 344 w 580"/>
                  <a:gd name="T11" fmla="*/ 210 h 458"/>
                  <a:gd name="T12" fmla="*/ 334 w 580"/>
                  <a:gd name="T13" fmla="*/ 229 h 458"/>
                  <a:gd name="T14" fmla="*/ 344 w 580"/>
                  <a:gd name="T15" fmla="*/ 248 h 458"/>
                  <a:gd name="T16" fmla="*/ 519 w 580"/>
                  <a:gd name="T17" fmla="*/ 442 h 458"/>
                  <a:gd name="T18" fmla="*/ 545 w 580"/>
                  <a:gd name="T19" fmla="*/ 458 h 458"/>
                  <a:gd name="T20" fmla="*/ 580 w 580"/>
                  <a:gd name="T21" fmla="*/ 438 h 458"/>
                  <a:gd name="T22" fmla="*/ 570 w 580"/>
                  <a:gd name="T23" fmla="*/ 421 h 458"/>
                  <a:gd name="T24" fmla="*/ 411 w 580"/>
                  <a:gd name="T25" fmla="*/ 245 h 458"/>
                  <a:gd name="T26" fmla="*/ 399 w 580"/>
                  <a:gd name="T27" fmla="*/ 229 h 458"/>
                  <a:gd name="T28" fmla="*/ 411 w 580"/>
                  <a:gd name="T29" fmla="*/ 213 h 458"/>
                  <a:gd name="T30" fmla="*/ 252 w 580"/>
                  <a:gd name="T31" fmla="*/ 439 h 458"/>
                  <a:gd name="T32" fmla="*/ 281 w 580"/>
                  <a:gd name="T33" fmla="*/ 454 h 458"/>
                  <a:gd name="T34" fmla="*/ 309 w 580"/>
                  <a:gd name="T35" fmla="*/ 439 h 458"/>
                  <a:gd name="T36" fmla="*/ 309 w 580"/>
                  <a:gd name="T37" fmla="*/ 19 h 458"/>
                  <a:gd name="T38" fmla="*/ 281 w 580"/>
                  <a:gd name="T39" fmla="*/ 4 h 458"/>
                  <a:gd name="T40" fmla="*/ 252 w 580"/>
                  <a:gd name="T41" fmla="*/ 19 h 458"/>
                  <a:gd name="T42" fmla="*/ 252 w 580"/>
                  <a:gd name="T43" fmla="*/ 439 h 458"/>
                  <a:gd name="T44" fmla="*/ 0 w 580"/>
                  <a:gd name="T45" fmla="*/ 439 h 458"/>
                  <a:gd name="T46" fmla="*/ 28 w 580"/>
                  <a:gd name="T47" fmla="*/ 454 h 458"/>
                  <a:gd name="T48" fmla="*/ 56 w 580"/>
                  <a:gd name="T49" fmla="*/ 439 h 458"/>
                  <a:gd name="T50" fmla="*/ 56 w 580"/>
                  <a:gd name="T51" fmla="*/ 157 h 458"/>
                  <a:gd name="T52" fmla="*/ 165 w 580"/>
                  <a:gd name="T53" fmla="*/ 53 h 458"/>
                  <a:gd name="T54" fmla="*/ 180 w 580"/>
                  <a:gd name="T55" fmla="*/ 53 h 458"/>
                  <a:gd name="T56" fmla="*/ 196 w 580"/>
                  <a:gd name="T57" fmla="*/ 27 h 458"/>
                  <a:gd name="T58" fmla="*/ 154 w 580"/>
                  <a:gd name="T59" fmla="*/ 4 h 458"/>
                  <a:gd name="T60" fmla="*/ 0 w 580"/>
                  <a:gd name="T61" fmla="*/ 152 h 458"/>
                  <a:gd name="T62" fmla="*/ 0 w 580"/>
                  <a:gd name="T63" fmla="*/ 439 h 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80" h="458">
                    <a:moveTo>
                      <a:pt x="411" y="213"/>
                    </a:moveTo>
                    <a:cubicBezTo>
                      <a:pt x="570" y="37"/>
                      <a:pt x="570" y="37"/>
                      <a:pt x="570" y="37"/>
                    </a:cubicBezTo>
                    <a:cubicBezTo>
                      <a:pt x="576" y="30"/>
                      <a:pt x="580" y="25"/>
                      <a:pt x="580" y="20"/>
                    </a:cubicBezTo>
                    <a:cubicBezTo>
                      <a:pt x="580" y="10"/>
                      <a:pt x="559" y="0"/>
                      <a:pt x="545" y="0"/>
                    </a:cubicBezTo>
                    <a:cubicBezTo>
                      <a:pt x="535" y="0"/>
                      <a:pt x="526" y="8"/>
                      <a:pt x="519" y="16"/>
                    </a:cubicBezTo>
                    <a:cubicBezTo>
                      <a:pt x="344" y="210"/>
                      <a:pt x="344" y="210"/>
                      <a:pt x="344" y="210"/>
                    </a:cubicBezTo>
                    <a:cubicBezTo>
                      <a:pt x="336" y="219"/>
                      <a:pt x="334" y="224"/>
                      <a:pt x="334" y="229"/>
                    </a:cubicBezTo>
                    <a:cubicBezTo>
                      <a:pt x="334" y="234"/>
                      <a:pt x="336" y="239"/>
                      <a:pt x="344" y="248"/>
                    </a:cubicBezTo>
                    <a:cubicBezTo>
                      <a:pt x="519" y="442"/>
                      <a:pt x="519" y="442"/>
                      <a:pt x="519" y="442"/>
                    </a:cubicBezTo>
                    <a:cubicBezTo>
                      <a:pt x="526" y="450"/>
                      <a:pt x="535" y="458"/>
                      <a:pt x="545" y="458"/>
                    </a:cubicBezTo>
                    <a:cubicBezTo>
                      <a:pt x="559" y="458"/>
                      <a:pt x="580" y="448"/>
                      <a:pt x="580" y="438"/>
                    </a:cubicBezTo>
                    <a:cubicBezTo>
                      <a:pt x="580" y="433"/>
                      <a:pt x="576" y="428"/>
                      <a:pt x="570" y="421"/>
                    </a:cubicBezTo>
                    <a:cubicBezTo>
                      <a:pt x="411" y="245"/>
                      <a:pt x="411" y="245"/>
                      <a:pt x="411" y="245"/>
                    </a:cubicBezTo>
                    <a:cubicBezTo>
                      <a:pt x="403" y="236"/>
                      <a:pt x="399" y="232"/>
                      <a:pt x="399" y="229"/>
                    </a:cubicBezTo>
                    <a:cubicBezTo>
                      <a:pt x="399" y="226"/>
                      <a:pt x="403" y="222"/>
                      <a:pt x="411" y="213"/>
                    </a:cubicBezTo>
                    <a:moveTo>
                      <a:pt x="252" y="439"/>
                    </a:moveTo>
                    <a:cubicBezTo>
                      <a:pt x="252" y="449"/>
                      <a:pt x="261" y="454"/>
                      <a:pt x="281" y="454"/>
                    </a:cubicBezTo>
                    <a:cubicBezTo>
                      <a:pt x="300" y="454"/>
                      <a:pt x="309" y="449"/>
                      <a:pt x="309" y="439"/>
                    </a:cubicBezTo>
                    <a:cubicBezTo>
                      <a:pt x="309" y="19"/>
                      <a:pt x="309" y="19"/>
                      <a:pt x="309" y="19"/>
                    </a:cubicBezTo>
                    <a:cubicBezTo>
                      <a:pt x="309" y="9"/>
                      <a:pt x="300" y="4"/>
                      <a:pt x="281" y="4"/>
                    </a:cubicBezTo>
                    <a:cubicBezTo>
                      <a:pt x="261" y="4"/>
                      <a:pt x="252" y="9"/>
                      <a:pt x="252" y="19"/>
                    </a:cubicBezTo>
                    <a:lnTo>
                      <a:pt x="252" y="439"/>
                    </a:lnTo>
                    <a:close/>
                    <a:moveTo>
                      <a:pt x="0" y="439"/>
                    </a:moveTo>
                    <a:cubicBezTo>
                      <a:pt x="0" y="449"/>
                      <a:pt x="8" y="454"/>
                      <a:pt x="28" y="454"/>
                    </a:cubicBezTo>
                    <a:cubicBezTo>
                      <a:pt x="48" y="454"/>
                      <a:pt x="56" y="449"/>
                      <a:pt x="56" y="439"/>
                    </a:cubicBezTo>
                    <a:cubicBezTo>
                      <a:pt x="56" y="157"/>
                      <a:pt x="56" y="157"/>
                      <a:pt x="56" y="157"/>
                    </a:cubicBezTo>
                    <a:cubicBezTo>
                      <a:pt x="56" y="83"/>
                      <a:pt x="85" y="53"/>
                      <a:pt x="165" y="53"/>
                    </a:cubicBezTo>
                    <a:cubicBezTo>
                      <a:pt x="180" y="53"/>
                      <a:pt x="180" y="53"/>
                      <a:pt x="180" y="53"/>
                    </a:cubicBezTo>
                    <a:cubicBezTo>
                      <a:pt x="192" y="53"/>
                      <a:pt x="196" y="43"/>
                      <a:pt x="196" y="27"/>
                    </a:cubicBezTo>
                    <a:cubicBezTo>
                      <a:pt x="196" y="8"/>
                      <a:pt x="185" y="4"/>
                      <a:pt x="154" y="4"/>
                    </a:cubicBezTo>
                    <a:cubicBezTo>
                      <a:pt x="64" y="4"/>
                      <a:pt x="0" y="43"/>
                      <a:pt x="0" y="152"/>
                    </a:cubicBezTo>
                    <a:lnTo>
                      <a:pt x="0" y="43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25" name="Freeform 10">
                <a:extLst>
                  <a:ext uri="{FF2B5EF4-FFF2-40B4-BE49-F238E27FC236}">
                    <a16:creationId xmlns:a16="http://schemas.microsoft.com/office/drawing/2014/main" id="{2B91B16B-BC11-E547-8FAC-B9B8D18EA449}"/>
                  </a:ext>
                </a:extLst>
              </p:cNvPr>
              <p:cNvSpPr>
                <a:spLocks/>
              </p:cNvSpPr>
              <p:nvPr/>
            </p:nvSpPr>
            <p:spPr bwMode="gray">
              <a:xfrm>
                <a:off x="2880" y="1704"/>
                <a:ext cx="618" cy="916"/>
              </a:xfrm>
              <a:custGeom>
                <a:avLst/>
                <a:gdLst>
                  <a:gd name="T0" fmla="*/ 307 w 307"/>
                  <a:gd name="T1" fmla="*/ 405 h 455"/>
                  <a:gd name="T2" fmla="*/ 307 w 307"/>
                  <a:gd name="T3" fmla="*/ 244 h 455"/>
                  <a:gd name="T4" fmla="*/ 279 w 307"/>
                  <a:gd name="T5" fmla="*/ 229 h 455"/>
                  <a:gd name="T6" fmla="*/ 250 w 307"/>
                  <a:gd name="T7" fmla="*/ 244 h 455"/>
                  <a:gd name="T8" fmla="*/ 250 w 307"/>
                  <a:gd name="T9" fmla="*/ 378 h 455"/>
                  <a:gd name="T10" fmla="*/ 199 w 307"/>
                  <a:gd name="T11" fmla="*/ 408 h 455"/>
                  <a:gd name="T12" fmla="*/ 61 w 307"/>
                  <a:gd name="T13" fmla="*/ 231 h 455"/>
                  <a:gd name="T14" fmla="*/ 238 w 307"/>
                  <a:gd name="T15" fmla="*/ 49 h 455"/>
                  <a:gd name="T16" fmla="*/ 270 w 307"/>
                  <a:gd name="T17" fmla="*/ 49 h 455"/>
                  <a:gd name="T18" fmla="*/ 286 w 307"/>
                  <a:gd name="T19" fmla="*/ 23 h 455"/>
                  <a:gd name="T20" fmla="*/ 244 w 307"/>
                  <a:gd name="T21" fmla="*/ 0 h 455"/>
                  <a:gd name="T22" fmla="*/ 231 w 307"/>
                  <a:gd name="T23" fmla="*/ 0 h 455"/>
                  <a:gd name="T24" fmla="*/ 0 w 307"/>
                  <a:gd name="T25" fmla="*/ 232 h 455"/>
                  <a:gd name="T26" fmla="*/ 198 w 307"/>
                  <a:gd name="T27" fmla="*/ 455 h 455"/>
                  <a:gd name="T28" fmla="*/ 307 w 307"/>
                  <a:gd name="T29" fmla="*/ 405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7" h="455">
                    <a:moveTo>
                      <a:pt x="307" y="405"/>
                    </a:moveTo>
                    <a:cubicBezTo>
                      <a:pt x="307" y="244"/>
                      <a:pt x="307" y="244"/>
                      <a:pt x="307" y="244"/>
                    </a:cubicBezTo>
                    <a:cubicBezTo>
                      <a:pt x="307" y="234"/>
                      <a:pt x="298" y="229"/>
                      <a:pt x="279" y="229"/>
                    </a:cubicBezTo>
                    <a:cubicBezTo>
                      <a:pt x="259" y="229"/>
                      <a:pt x="250" y="234"/>
                      <a:pt x="250" y="244"/>
                    </a:cubicBezTo>
                    <a:cubicBezTo>
                      <a:pt x="250" y="378"/>
                      <a:pt x="250" y="378"/>
                      <a:pt x="250" y="378"/>
                    </a:cubicBezTo>
                    <a:cubicBezTo>
                      <a:pt x="250" y="399"/>
                      <a:pt x="241" y="408"/>
                      <a:pt x="199" y="408"/>
                    </a:cubicBezTo>
                    <a:cubicBezTo>
                      <a:pt x="114" y="408"/>
                      <a:pt x="61" y="342"/>
                      <a:pt x="61" y="231"/>
                    </a:cubicBezTo>
                    <a:cubicBezTo>
                      <a:pt x="61" y="115"/>
                      <a:pt x="126" y="49"/>
                      <a:pt x="238" y="49"/>
                    </a:cubicBezTo>
                    <a:cubicBezTo>
                      <a:pt x="270" y="49"/>
                      <a:pt x="270" y="49"/>
                      <a:pt x="270" y="49"/>
                    </a:cubicBezTo>
                    <a:cubicBezTo>
                      <a:pt x="282" y="49"/>
                      <a:pt x="286" y="39"/>
                      <a:pt x="286" y="23"/>
                    </a:cubicBezTo>
                    <a:cubicBezTo>
                      <a:pt x="286" y="4"/>
                      <a:pt x="275" y="0"/>
                      <a:pt x="244" y="0"/>
                    </a:cubicBezTo>
                    <a:cubicBezTo>
                      <a:pt x="231" y="0"/>
                      <a:pt x="231" y="0"/>
                      <a:pt x="231" y="0"/>
                    </a:cubicBezTo>
                    <a:cubicBezTo>
                      <a:pt x="101" y="0"/>
                      <a:pt x="0" y="71"/>
                      <a:pt x="0" y="232"/>
                    </a:cubicBezTo>
                    <a:cubicBezTo>
                      <a:pt x="0" y="386"/>
                      <a:pt x="88" y="455"/>
                      <a:pt x="198" y="455"/>
                    </a:cubicBezTo>
                    <a:cubicBezTo>
                      <a:pt x="286" y="455"/>
                      <a:pt x="307" y="430"/>
                      <a:pt x="307" y="40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26" name="Oval 11">
                <a:extLst>
                  <a:ext uri="{FF2B5EF4-FFF2-40B4-BE49-F238E27FC236}">
                    <a16:creationId xmlns:a16="http://schemas.microsoft.com/office/drawing/2014/main" id="{14F8C3C8-4888-7646-B9B4-64EB46A1DA23}"/>
                  </a:ext>
                </a:extLst>
              </p:cNvPr>
              <p:cNvSpPr>
                <a:spLocks noChangeArrowheads="1"/>
              </p:cNvSpPr>
              <p:nvPr/>
            </p:nvSpPr>
            <p:spPr bwMode="gray">
              <a:xfrm>
                <a:off x="3778" y="2099"/>
                <a:ext cx="122" cy="12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27" name="Freeform 12">
                <a:extLst>
                  <a:ext uri="{FF2B5EF4-FFF2-40B4-BE49-F238E27FC236}">
                    <a16:creationId xmlns:a16="http://schemas.microsoft.com/office/drawing/2014/main" id="{D79D01D1-4E3E-F34B-97D7-2D387E68746E}"/>
                  </a:ext>
                </a:extLst>
              </p:cNvPr>
              <p:cNvSpPr>
                <a:spLocks/>
              </p:cNvSpPr>
              <p:nvPr/>
            </p:nvSpPr>
            <p:spPr bwMode="gray">
              <a:xfrm>
                <a:off x="4321" y="1029"/>
                <a:ext cx="648" cy="649"/>
              </a:xfrm>
              <a:custGeom>
                <a:avLst/>
                <a:gdLst>
                  <a:gd name="T0" fmla="*/ 0 w 648"/>
                  <a:gd name="T1" fmla="*/ 649 h 649"/>
                  <a:gd name="T2" fmla="*/ 2 w 648"/>
                  <a:gd name="T3" fmla="*/ 649 h 649"/>
                  <a:gd name="T4" fmla="*/ 648 w 648"/>
                  <a:gd name="T5" fmla="*/ 0 h 649"/>
                  <a:gd name="T6" fmla="*/ 423 w 648"/>
                  <a:gd name="T7" fmla="*/ 0 h 649"/>
                  <a:gd name="T8" fmla="*/ 0 w 648"/>
                  <a:gd name="T9" fmla="*/ 649 h 649"/>
                </a:gdLst>
                <a:ahLst/>
                <a:cxnLst>
                  <a:cxn ang="0">
                    <a:pos x="T0" y="T1"/>
                  </a:cxn>
                  <a:cxn ang="0">
                    <a:pos x="T2" y="T3"/>
                  </a:cxn>
                  <a:cxn ang="0">
                    <a:pos x="T4" y="T5"/>
                  </a:cxn>
                  <a:cxn ang="0">
                    <a:pos x="T6" y="T7"/>
                  </a:cxn>
                  <a:cxn ang="0">
                    <a:pos x="T8" y="T9"/>
                  </a:cxn>
                </a:cxnLst>
                <a:rect l="0" t="0" r="r" b="b"/>
                <a:pathLst>
                  <a:path w="648" h="649">
                    <a:moveTo>
                      <a:pt x="0" y="649"/>
                    </a:moveTo>
                    <a:lnTo>
                      <a:pt x="2" y="649"/>
                    </a:lnTo>
                    <a:lnTo>
                      <a:pt x="648" y="0"/>
                    </a:lnTo>
                    <a:lnTo>
                      <a:pt x="423" y="0"/>
                    </a:lnTo>
                    <a:lnTo>
                      <a:pt x="0" y="64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28" name="Freeform 13">
                <a:extLst>
                  <a:ext uri="{FF2B5EF4-FFF2-40B4-BE49-F238E27FC236}">
                    <a16:creationId xmlns:a16="http://schemas.microsoft.com/office/drawing/2014/main" id="{46549898-6C52-B147-A8F6-A73FDBE6163B}"/>
                  </a:ext>
                </a:extLst>
              </p:cNvPr>
              <p:cNvSpPr>
                <a:spLocks/>
              </p:cNvSpPr>
              <p:nvPr/>
            </p:nvSpPr>
            <p:spPr bwMode="gray">
              <a:xfrm>
                <a:off x="4321" y="1029"/>
                <a:ext cx="648" cy="649"/>
              </a:xfrm>
              <a:custGeom>
                <a:avLst/>
                <a:gdLst>
                  <a:gd name="T0" fmla="*/ 0 w 648"/>
                  <a:gd name="T1" fmla="*/ 649 h 649"/>
                  <a:gd name="T2" fmla="*/ 2 w 648"/>
                  <a:gd name="T3" fmla="*/ 649 h 649"/>
                  <a:gd name="T4" fmla="*/ 648 w 648"/>
                  <a:gd name="T5" fmla="*/ 0 h 649"/>
                  <a:gd name="T6" fmla="*/ 423 w 648"/>
                  <a:gd name="T7" fmla="*/ 0 h 649"/>
                  <a:gd name="T8" fmla="*/ 0 w 648"/>
                  <a:gd name="T9" fmla="*/ 649 h 649"/>
                </a:gdLst>
                <a:ahLst/>
                <a:cxnLst>
                  <a:cxn ang="0">
                    <a:pos x="T0" y="T1"/>
                  </a:cxn>
                  <a:cxn ang="0">
                    <a:pos x="T2" y="T3"/>
                  </a:cxn>
                  <a:cxn ang="0">
                    <a:pos x="T4" y="T5"/>
                  </a:cxn>
                  <a:cxn ang="0">
                    <a:pos x="T6" y="T7"/>
                  </a:cxn>
                  <a:cxn ang="0">
                    <a:pos x="T8" y="T9"/>
                  </a:cxn>
                </a:cxnLst>
                <a:rect l="0" t="0" r="r" b="b"/>
                <a:pathLst>
                  <a:path w="648" h="649">
                    <a:moveTo>
                      <a:pt x="0" y="649"/>
                    </a:moveTo>
                    <a:lnTo>
                      <a:pt x="2" y="649"/>
                    </a:lnTo>
                    <a:lnTo>
                      <a:pt x="648" y="0"/>
                    </a:lnTo>
                    <a:lnTo>
                      <a:pt x="423" y="0"/>
                    </a:lnTo>
                    <a:lnTo>
                      <a:pt x="0" y="64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grpSp>
      </p:grpSp>
      <p:sp>
        <p:nvSpPr>
          <p:cNvPr id="7" name="Date Placeholder 6"/>
          <p:cNvSpPr>
            <a:spLocks noGrp="1"/>
          </p:cNvSpPr>
          <p:nvPr>
            <p:ph type="dt" sz="half" idx="10"/>
          </p:nvPr>
        </p:nvSpPr>
        <p:spPr>
          <a:xfrm>
            <a:off x="0" y="0"/>
            <a:ext cx="0" cy="0"/>
          </a:xfrm>
          <a:prstGeom prst="rect">
            <a:avLst/>
          </a:prstGeom>
        </p:spPr>
        <p:txBody>
          <a:bodyPr/>
          <a:lstStyle>
            <a:lvl1pPr>
              <a:defRPr sz="100">
                <a:noFill/>
              </a:defRPr>
            </a:lvl1pPr>
          </a:lstStyle>
          <a:p>
            <a:endParaRPr lang="en-US"/>
          </a:p>
        </p:txBody>
      </p:sp>
      <p:sp>
        <p:nvSpPr>
          <p:cNvPr id="8" name="Footer Placeholder 7"/>
          <p:cNvSpPr>
            <a:spLocks noGrp="1"/>
          </p:cNvSpPr>
          <p:nvPr>
            <p:ph type="ftr" sz="quarter" idx="11"/>
          </p:nvPr>
        </p:nvSpPr>
        <p:spPr>
          <a:xfrm>
            <a:off x="0" y="0"/>
            <a:ext cx="0" cy="0"/>
          </a:xfrm>
          <a:prstGeom prst="rect">
            <a:avLst/>
          </a:prstGeom>
        </p:spPr>
        <p:txBody>
          <a:bodyPr/>
          <a:lstStyle>
            <a:lvl1pPr marL="0" indent="0">
              <a:buNone/>
              <a:defRPr sz="100">
                <a:noFill/>
              </a:defRPr>
            </a:lvl1pPr>
          </a:lstStyle>
          <a:p>
            <a:endParaRPr lang="en-US"/>
          </a:p>
        </p:txBody>
      </p:sp>
      <p:sp>
        <p:nvSpPr>
          <p:cNvPr id="9" name="Slide Number Placeholder 8"/>
          <p:cNvSpPr>
            <a:spLocks noGrp="1"/>
          </p:cNvSpPr>
          <p:nvPr>
            <p:ph type="sldNum" sz="quarter" idx="12"/>
          </p:nvPr>
        </p:nvSpPr>
        <p:spPr>
          <a:xfrm>
            <a:off x="0" y="0"/>
            <a:ext cx="0" cy="0"/>
          </a:xfrm>
          <a:prstGeom prst="rect">
            <a:avLst/>
          </a:prstGeom>
        </p:spPr>
        <p:txBody>
          <a:bodyPr/>
          <a:lstStyle>
            <a:lvl1pPr>
              <a:defRPr sz="100">
                <a:noFill/>
              </a:defRPr>
            </a:lvl1pPr>
          </a:lstStyle>
          <a:p>
            <a:fld id="{8E3B25F7-8D1F-44B5-B485-EE3C438CFD7B}" type="slidenum">
              <a:rPr lang="en-US" smtClean="0"/>
              <a:pPr/>
              <a:t>‹#›</a:t>
            </a:fld>
            <a:endParaRPr lang="en-US"/>
          </a:p>
        </p:txBody>
      </p:sp>
      <p:sp>
        <p:nvSpPr>
          <p:cNvPr id="2" name="Title 1"/>
          <p:cNvSpPr>
            <a:spLocks noGrp="1"/>
          </p:cNvSpPr>
          <p:nvPr>
            <p:ph type="ctrTitle" hasCustomPrompt="1"/>
          </p:nvPr>
        </p:nvSpPr>
        <p:spPr>
          <a:xfrm>
            <a:off x="4777671" y="2019727"/>
            <a:ext cx="3816000" cy="2236264"/>
          </a:xfrm>
        </p:spPr>
        <p:txBody>
          <a:bodyPr anchor="b"/>
          <a:lstStyle>
            <a:lvl1pPr algn="l">
              <a:defRPr sz="3600"/>
            </a:lvl1pPr>
          </a:lstStyle>
          <a:p>
            <a:r>
              <a:rPr lang="en-US"/>
              <a:t>Click to add thank you</a:t>
            </a:r>
          </a:p>
        </p:txBody>
      </p:sp>
    </p:spTree>
    <p:extLst>
      <p:ext uri="{BB962C8B-B14F-4D97-AF65-F5344CB8AC3E}">
        <p14:creationId xmlns:p14="http://schemas.microsoft.com/office/powerpoint/2010/main" val="4267322450"/>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cSld name="2_Headline only">
    <p:spTree>
      <p:nvGrpSpPr>
        <p:cNvPr id="1" name=""/>
        <p:cNvGrpSpPr/>
        <p:nvPr/>
      </p:nvGrpSpPr>
      <p:grpSpPr>
        <a:xfrm>
          <a:off x="0" y="0"/>
          <a:ext cx="0" cy="0"/>
          <a:chOff x="0" y="0"/>
          <a:chExt cx="0" cy="0"/>
        </a:xfrm>
      </p:grpSpPr>
      <p:sp>
        <p:nvSpPr>
          <p:cNvPr id="21" name="Date Placeholder 20"/>
          <p:cNvSpPr>
            <a:spLocks noGrp="1"/>
          </p:cNvSpPr>
          <p:nvPr>
            <p:ph type="dt" sz="half" idx="14"/>
          </p:nvPr>
        </p:nvSpPr>
        <p:spPr>
          <a:xfrm>
            <a:off x="192089" y="6237288"/>
            <a:ext cx="863600" cy="358173"/>
          </a:xfrm>
          <a:prstGeom prst="rect">
            <a:avLst/>
          </a:prstGeom>
        </p:spPr>
        <p:txBody>
          <a:bodyPr/>
          <a:lstStyle/>
          <a:p>
            <a:fld id="{7DCAAD07-09FD-49C1-9253-3DC58F499B21}" type="datetime5">
              <a:rPr lang="en-US" smtClean="0"/>
              <a:t>26-Jun-20</a:t>
            </a:fld>
            <a:endParaRPr lang="en-US"/>
          </a:p>
        </p:txBody>
      </p:sp>
      <p:sp>
        <p:nvSpPr>
          <p:cNvPr id="22" name="Footer Placeholder 21"/>
          <p:cNvSpPr>
            <a:spLocks noGrp="1"/>
          </p:cNvSpPr>
          <p:nvPr>
            <p:ph type="ftr" sz="quarter" idx="15"/>
          </p:nvPr>
        </p:nvSpPr>
        <p:spPr>
          <a:xfrm>
            <a:off x="1177999" y="6237288"/>
            <a:ext cx="8162717" cy="358173"/>
          </a:xfrm>
          <a:prstGeom prst="rect">
            <a:avLst/>
          </a:prstGeom>
        </p:spPr>
        <p:txBody>
          <a:bodyPr/>
          <a:lstStyle/>
          <a:p>
            <a:r>
              <a:rPr lang="en-US"/>
              <a:t>Portfolio </a:t>
            </a:r>
            <a:r>
              <a:rPr lang="en-US" err="1"/>
              <a:t>Multiclient</a:t>
            </a:r>
            <a:r>
              <a:rPr lang="en-US"/>
              <a:t> 2019</a:t>
            </a:r>
          </a:p>
        </p:txBody>
      </p:sp>
      <p:sp>
        <p:nvSpPr>
          <p:cNvPr id="23" name="Slide Number Placeholder 22"/>
          <p:cNvSpPr>
            <a:spLocks noGrp="1"/>
          </p:cNvSpPr>
          <p:nvPr>
            <p:ph type="sldNum" sz="quarter" idx="16"/>
          </p:nvPr>
        </p:nvSpPr>
        <p:spPr/>
        <p:txBody>
          <a:bodyPr/>
          <a:lstStyle/>
          <a:p>
            <a:fld id="{5F3E29E4-0979-4FCA-B4C5-5FC6044C982A}" type="slidenum">
              <a:rPr lang="en-US" smtClean="0"/>
              <a:t>‹#›</a:t>
            </a:fld>
            <a:endParaRPr lang="en-US"/>
          </a:p>
        </p:txBody>
      </p:sp>
      <p:sp>
        <p:nvSpPr>
          <p:cNvPr id="2" name="Title 1"/>
          <p:cNvSpPr>
            <a:spLocks noGrp="1"/>
          </p:cNvSpPr>
          <p:nvPr>
            <p:ph type="title" hasCustomPrompt="1"/>
          </p:nvPr>
        </p:nvSpPr>
        <p:spPr/>
        <p:txBody>
          <a:bodyPr/>
          <a:lstStyle>
            <a:lvl1pPr>
              <a:defRPr/>
            </a:lvl1pPr>
          </a:lstStyle>
          <a:p>
            <a:r>
              <a:rPr lang="en-US"/>
              <a:t>Click to add slide title</a:t>
            </a:r>
          </a:p>
        </p:txBody>
      </p:sp>
      <p:sp>
        <p:nvSpPr>
          <p:cNvPr id="7" name="Subtitle 2"/>
          <p:cNvSpPr>
            <a:spLocks noGrp="1"/>
          </p:cNvSpPr>
          <p:nvPr>
            <p:ph type="subTitle" idx="13" hasCustomPrompt="1"/>
          </p:nvPr>
        </p:nvSpPr>
        <p:spPr>
          <a:xfrm>
            <a:off x="1075061" y="964671"/>
            <a:ext cx="7910158" cy="490042"/>
          </a:xfrm>
        </p:spPr>
        <p:txBody>
          <a:bodyPr wrap="none"/>
          <a:lstStyle>
            <a:lvl1pPr marL="0" indent="0" algn="l">
              <a:spcBef>
                <a:spcPts val="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spTree>
    <p:extLst>
      <p:ext uri="{BB962C8B-B14F-4D97-AF65-F5344CB8AC3E}">
        <p14:creationId xmlns:p14="http://schemas.microsoft.com/office/powerpoint/2010/main" val="3578728174"/>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cSld name="1_Two contents">
    <p:spTree>
      <p:nvGrpSpPr>
        <p:cNvPr id="1" name=""/>
        <p:cNvGrpSpPr/>
        <p:nvPr/>
      </p:nvGrpSpPr>
      <p:grpSpPr>
        <a:xfrm>
          <a:off x="0" y="0"/>
          <a:ext cx="0" cy="0"/>
          <a:chOff x="0" y="0"/>
          <a:chExt cx="0" cy="0"/>
        </a:xfrm>
      </p:grpSpPr>
      <p:sp>
        <p:nvSpPr>
          <p:cNvPr id="21" name="Date Placeholder 20"/>
          <p:cNvSpPr>
            <a:spLocks noGrp="1"/>
          </p:cNvSpPr>
          <p:nvPr>
            <p:ph type="dt" sz="half" idx="14"/>
          </p:nvPr>
        </p:nvSpPr>
        <p:spPr/>
        <p:txBody>
          <a:bodyPr/>
          <a:lstStyle/>
          <a:p>
            <a:fld id="{9D45F382-CD09-4611-8552-1549F9F12240}" type="datetime5">
              <a:rPr lang="en-US" smtClean="0"/>
              <a:t>26-Jun-20</a:t>
            </a:fld>
            <a:endParaRPr lang="en-US"/>
          </a:p>
        </p:txBody>
      </p:sp>
      <p:sp>
        <p:nvSpPr>
          <p:cNvPr id="22" name="Footer Placeholder 21"/>
          <p:cNvSpPr>
            <a:spLocks noGrp="1"/>
          </p:cNvSpPr>
          <p:nvPr>
            <p:ph type="ftr" sz="quarter" idx="15"/>
          </p:nvPr>
        </p:nvSpPr>
        <p:spPr/>
        <p:txBody>
          <a:bodyPr/>
          <a:lstStyle/>
          <a:p>
            <a:r>
              <a:rPr lang="en-US"/>
              <a:t>Title of presentation (Insert / Header &amp; Footer / Apply to All)</a:t>
            </a:r>
          </a:p>
        </p:txBody>
      </p:sp>
      <p:sp>
        <p:nvSpPr>
          <p:cNvPr id="23" name="Slide Number Placeholder 22"/>
          <p:cNvSpPr>
            <a:spLocks noGrp="1"/>
          </p:cNvSpPr>
          <p:nvPr>
            <p:ph type="sldNum" sz="quarter" idx="16"/>
          </p:nvPr>
        </p:nvSpPr>
        <p:spPr/>
        <p:txBody>
          <a:bodyPr/>
          <a:lstStyle/>
          <a:p>
            <a:fld id="{5F3E29E4-0979-4FCA-B4C5-5FC6044C982A}" type="slidenum">
              <a:rPr lang="en-US" smtClean="0"/>
              <a:t>‹#›</a:t>
            </a:fld>
            <a:endParaRPr lang="en-US"/>
          </a:p>
        </p:txBody>
      </p:sp>
      <p:sp>
        <p:nvSpPr>
          <p:cNvPr id="2" name="Title 1"/>
          <p:cNvSpPr>
            <a:spLocks noGrp="1"/>
          </p:cNvSpPr>
          <p:nvPr>
            <p:ph type="title" hasCustomPrompt="1"/>
          </p:nvPr>
        </p:nvSpPr>
        <p:spPr/>
        <p:txBody>
          <a:bodyPr/>
          <a:lstStyle>
            <a:lvl1pPr>
              <a:defRPr/>
            </a:lvl1pPr>
          </a:lstStyle>
          <a:p>
            <a:r>
              <a:rPr lang="en-US"/>
              <a:t>Click to add slide title</a:t>
            </a:r>
          </a:p>
        </p:txBody>
      </p:sp>
      <p:sp>
        <p:nvSpPr>
          <p:cNvPr id="7" name="Subtitle 2"/>
          <p:cNvSpPr>
            <a:spLocks noGrp="1"/>
          </p:cNvSpPr>
          <p:nvPr>
            <p:ph type="subTitle" idx="13" hasCustomPrompt="1"/>
          </p:nvPr>
        </p:nvSpPr>
        <p:spPr>
          <a:xfrm>
            <a:off x="1075061" y="964671"/>
            <a:ext cx="7910158" cy="490042"/>
          </a:xfrm>
        </p:spPr>
        <p:txBody>
          <a:bodyPr wrap="none"/>
          <a:lstStyle>
            <a:lvl1pPr marL="0" indent="0" algn="l">
              <a:spcBef>
                <a:spcPts val="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sp>
        <p:nvSpPr>
          <p:cNvPr id="3" name="Content Placeholder 2"/>
          <p:cNvSpPr>
            <a:spLocks noGrp="1"/>
          </p:cNvSpPr>
          <p:nvPr>
            <p:ph idx="1" hasCustomPrompt="1"/>
          </p:nvPr>
        </p:nvSpPr>
        <p:spPr>
          <a:xfrm>
            <a:off x="1075062" y="1629618"/>
            <a:ext cx="5220000" cy="4139357"/>
          </a:xfrm>
        </p:spPr>
        <p:txBody>
          <a:bodyPr/>
          <a:lstStyle>
            <a:lvl1pPr>
              <a:defRPr/>
            </a:lvl1pPr>
          </a:lstStyle>
          <a:p>
            <a:pPr lvl="0"/>
            <a:r>
              <a:rPr lang="en-US"/>
              <a:t>Click to add text or content</a:t>
            </a:r>
          </a:p>
          <a:p>
            <a:pPr lvl="1"/>
            <a:r>
              <a:rPr lang="en-US"/>
              <a:t>Second level</a:t>
            </a:r>
          </a:p>
          <a:p>
            <a:pPr lvl="2"/>
            <a:r>
              <a:rPr lang="en-US"/>
              <a:t>Third level</a:t>
            </a:r>
          </a:p>
          <a:p>
            <a:pPr lvl="3"/>
            <a:r>
              <a:rPr lang="en-US"/>
              <a:t>Fourth level</a:t>
            </a:r>
          </a:p>
          <a:p>
            <a:pPr lvl="4"/>
            <a:r>
              <a:rPr lang="en-US"/>
              <a:t>Fifth level</a:t>
            </a:r>
          </a:p>
        </p:txBody>
      </p:sp>
      <p:sp>
        <p:nvSpPr>
          <p:cNvPr id="9" name="Content Placeholder 2"/>
          <p:cNvSpPr>
            <a:spLocks noGrp="1"/>
          </p:cNvSpPr>
          <p:nvPr>
            <p:ph idx="17" hasCustomPrompt="1"/>
          </p:nvPr>
        </p:nvSpPr>
        <p:spPr>
          <a:xfrm>
            <a:off x="6600525" y="1629618"/>
            <a:ext cx="5220000" cy="4139357"/>
          </a:xfrm>
        </p:spPr>
        <p:txBody>
          <a:bodyPr/>
          <a:lstStyle>
            <a:lvl1pPr>
              <a:defRPr/>
            </a:lvl1pPr>
          </a:lstStyle>
          <a:p>
            <a:pPr lvl="0"/>
            <a:r>
              <a:rPr lang="en-US"/>
              <a:t>Click to add text or conten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38492360"/>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cSld name="1_One content">
    <p:spTree>
      <p:nvGrpSpPr>
        <p:cNvPr id="1" name=""/>
        <p:cNvGrpSpPr/>
        <p:nvPr/>
      </p:nvGrpSpPr>
      <p:grpSpPr>
        <a:xfrm>
          <a:off x="0" y="0"/>
          <a:ext cx="0" cy="0"/>
          <a:chOff x="0" y="0"/>
          <a:chExt cx="0" cy="0"/>
        </a:xfrm>
      </p:grpSpPr>
      <p:sp>
        <p:nvSpPr>
          <p:cNvPr id="21" name="Date Placeholder 20"/>
          <p:cNvSpPr>
            <a:spLocks noGrp="1"/>
          </p:cNvSpPr>
          <p:nvPr>
            <p:ph type="dt" sz="half" idx="14"/>
          </p:nvPr>
        </p:nvSpPr>
        <p:spPr/>
        <p:txBody>
          <a:bodyPr/>
          <a:lstStyle/>
          <a:p>
            <a:fld id="{4CC19292-71B2-4BF0-8023-C669B9188137}" type="datetime5">
              <a:rPr lang="en-US" smtClean="0"/>
              <a:t>26-Jun-20</a:t>
            </a:fld>
            <a:endParaRPr lang="en-US"/>
          </a:p>
        </p:txBody>
      </p:sp>
      <p:sp>
        <p:nvSpPr>
          <p:cNvPr id="22" name="Footer Placeholder 21"/>
          <p:cNvSpPr>
            <a:spLocks noGrp="1"/>
          </p:cNvSpPr>
          <p:nvPr>
            <p:ph type="ftr" sz="quarter" idx="15"/>
          </p:nvPr>
        </p:nvSpPr>
        <p:spPr/>
        <p:txBody>
          <a:bodyPr/>
          <a:lstStyle/>
          <a:p>
            <a:r>
              <a:rPr lang="en-US"/>
              <a:t>Syndicated Surveys  Portfolio 2019</a:t>
            </a:r>
          </a:p>
        </p:txBody>
      </p:sp>
      <p:sp>
        <p:nvSpPr>
          <p:cNvPr id="23" name="Slide Number Placeholder 22"/>
          <p:cNvSpPr>
            <a:spLocks noGrp="1"/>
          </p:cNvSpPr>
          <p:nvPr>
            <p:ph type="sldNum" sz="quarter" idx="16"/>
          </p:nvPr>
        </p:nvSpPr>
        <p:spPr/>
        <p:txBody>
          <a:bodyPr/>
          <a:lstStyle/>
          <a:p>
            <a:fld id="{5F3E29E4-0979-4FCA-B4C5-5FC6044C982A}" type="slidenum">
              <a:rPr lang="en-US" smtClean="0"/>
              <a:t>‹#›</a:t>
            </a:fld>
            <a:endParaRPr lang="en-US"/>
          </a:p>
        </p:txBody>
      </p:sp>
      <p:sp>
        <p:nvSpPr>
          <p:cNvPr id="2" name="Title 1"/>
          <p:cNvSpPr>
            <a:spLocks noGrp="1"/>
          </p:cNvSpPr>
          <p:nvPr>
            <p:ph type="title" hasCustomPrompt="1"/>
          </p:nvPr>
        </p:nvSpPr>
        <p:spPr/>
        <p:txBody>
          <a:bodyPr/>
          <a:lstStyle>
            <a:lvl1pPr>
              <a:defRPr/>
            </a:lvl1pPr>
          </a:lstStyle>
          <a:p>
            <a:r>
              <a:rPr lang="en-US"/>
              <a:t>Click to add slide title</a:t>
            </a:r>
          </a:p>
        </p:txBody>
      </p:sp>
      <p:sp>
        <p:nvSpPr>
          <p:cNvPr id="7" name="Subtitle 2"/>
          <p:cNvSpPr>
            <a:spLocks noGrp="1"/>
          </p:cNvSpPr>
          <p:nvPr>
            <p:ph type="subTitle" idx="13" hasCustomPrompt="1"/>
          </p:nvPr>
        </p:nvSpPr>
        <p:spPr>
          <a:xfrm>
            <a:off x="1075061" y="964671"/>
            <a:ext cx="7910158" cy="490042"/>
          </a:xfrm>
        </p:spPr>
        <p:txBody>
          <a:bodyPr wrap="none"/>
          <a:lstStyle>
            <a:lvl1pPr marL="0" indent="0" algn="l">
              <a:spcBef>
                <a:spcPts val="0"/>
              </a:spcBef>
              <a:buNone/>
              <a:defRPr sz="2400" baseline="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sp>
        <p:nvSpPr>
          <p:cNvPr id="3" name="Content Placeholder 2"/>
          <p:cNvSpPr>
            <a:spLocks noGrp="1"/>
          </p:cNvSpPr>
          <p:nvPr>
            <p:ph idx="1" hasCustomPrompt="1"/>
          </p:nvPr>
        </p:nvSpPr>
        <p:spPr/>
        <p:txBody>
          <a:bodyPr/>
          <a:lstStyle>
            <a:lvl1pPr>
              <a:defRPr baseline="0"/>
            </a:lvl1pPr>
          </a:lstStyle>
          <a:p>
            <a:pPr lvl="0"/>
            <a:r>
              <a:rPr lang="en-US"/>
              <a:t>Click to add text or conten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37200133"/>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userDrawn="1">
  <p:cSld name="1_Headline only">
    <p:spTree>
      <p:nvGrpSpPr>
        <p:cNvPr id="1" name=""/>
        <p:cNvGrpSpPr/>
        <p:nvPr/>
      </p:nvGrpSpPr>
      <p:grpSpPr>
        <a:xfrm>
          <a:off x="0" y="0"/>
          <a:ext cx="0" cy="0"/>
          <a:chOff x="0" y="0"/>
          <a:chExt cx="0" cy="0"/>
        </a:xfrm>
      </p:grpSpPr>
      <p:sp>
        <p:nvSpPr>
          <p:cNvPr id="3" name="Textplatzhalter 2"/>
          <p:cNvSpPr>
            <a:spLocks noGrp="1"/>
          </p:cNvSpPr>
          <p:nvPr>
            <p:ph type="body" sz="quarter" idx="10" hasCustomPrompt="1"/>
          </p:nvPr>
        </p:nvSpPr>
        <p:spPr bwMode="gray">
          <a:xfrm>
            <a:off x="431213" y="1220755"/>
            <a:ext cx="11328987" cy="384340"/>
          </a:xfrm>
        </p:spPr>
        <p:txBody>
          <a:bodyPr>
            <a:noAutofit/>
          </a:bodyPr>
          <a:lstStyle>
            <a:lvl1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1pPr>
            <a:lvl2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2pPr>
            <a:lvl3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3pPr>
            <a:lvl4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4pPr>
            <a:lvl5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5pPr>
            <a:lvl6pPr marL="0" indent="0">
              <a:lnSpc>
                <a:spcPct val="100000"/>
              </a:lnSpc>
              <a:spcBef>
                <a:spcPts val="800"/>
              </a:spcBef>
              <a:buNone/>
              <a:defRPr lang="en-GB" sz="2400" kern="1200" noProof="0" smtClean="0">
                <a:solidFill>
                  <a:schemeClr val="tx2"/>
                </a:solidFill>
                <a:latin typeface="Arial" pitchFamily="34" charset="0"/>
                <a:ea typeface="+mn-ea"/>
                <a:cs typeface="Arial" pitchFamily="34" charset="0"/>
              </a:defRPr>
            </a:lvl6pPr>
            <a:lvl7pPr marL="0" indent="0">
              <a:lnSpc>
                <a:spcPct val="100000"/>
              </a:lnSpc>
              <a:spcBef>
                <a:spcPts val="800"/>
              </a:spcBef>
              <a:buNone/>
              <a:defRPr lang="en-GB" sz="2400" kern="1200" noProof="0" smtClean="0">
                <a:solidFill>
                  <a:schemeClr val="tx2"/>
                </a:solidFill>
                <a:latin typeface="Arial" pitchFamily="34" charset="0"/>
                <a:ea typeface="+mn-ea"/>
                <a:cs typeface="Arial" pitchFamily="34" charset="0"/>
              </a:defRPr>
            </a:lvl7pPr>
            <a:lvl8pPr marL="0" indent="0">
              <a:lnSpc>
                <a:spcPct val="100000"/>
              </a:lnSpc>
              <a:spcBef>
                <a:spcPts val="800"/>
              </a:spcBef>
              <a:buNone/>
              <a:defRPr lang="en-GB" sz="2400" kern="1200" noProof="0" smtClean="0">
                <a:solidFill>
                  <a:schemeClr val="tx2"/>
                </a:solidFill>
                <a:latin typeface="Arial" pitchFamily="34" charset="0"/>
                <a:ea typeface="+mn-ea"/>
                <a:cs typeface="Arial" pitchFamily="34" charset="0"/>
              </a:defRPr>
            </a:lvl8pPr>
            <a:lvl9pPr marL="0" indent="0">
              <a:lnSpc>
                <a:spcPct val="100000"/>
              </a:lnSpc>
              <a:spcBef>
                <a:spcPts val="800"/>
              </a:spcBef>
              <a:buNone/>
              <a:defRPr lang="de-DE" sz="2400" kern="1200" noProof="0" smtClean="0">
                <a:solidFill>
                  <a:schemeClr val="tx2"/>
                </a:solidFill>
                <a:latin typeface="Arial" pitchFamily="34" charset="0"/>
                <a:ea typeface="+mn-ea"/>
                <a:cs typeface="Arial" pitchFamily="34" charset="0"/>
              </a:defRPr>
            </a:lvl9pPr>
          </a:lstStyle>
          <a:p>
            <a:pPr lvl="0"/>
            <a:r>
              <a:rPr lang="en-US"/>
              <a:t>Click to add </a:t>
            </a:r>
            <a:r>
              <a:rPr lang="en-US" err="1"/>
              <a:t>subheadline</a:t>
            </a:r>
            <a:endParaRPr lang="en-US"/>
          </a:p>
        </p:txBody>
      </p:sp>
      <p:sp>
        <p:nvSpPr>
          <p:cNvPr id="4" name="Textplatzhalter 3"/>
          <p:cNvSpPr>
            <a:spLocks noGrp="1"/>
          </p:cNvSpPr>
          <p:nvPr>
            <p:ph type="body" sz="quarter" idx="11" hasCustomPrompt="1"/>
          </p:nvPr>
        </p:nvSpPr>
        <p:spPr bwMode="gray">
          <a:xfrm>
            <a:off x="431371" y="6404736"/>
            <a:ext cx="11328400" cy="192616"/>
          </a:xfrm>
        </p:spPr>
        <p:txBody>
          <a:bodyPr tIns="0" bIns="36000" anchor="b" anchorCtr="0">
            <a:noAutofit/>
          </a:bodyPr>
          <a:lstStyle>
            <a:lvl1pPr marL="0" marR="0" indent="0" algn="l" defTabSz="1219170" rtl="0" eaLnBrk="1" fontAlgn="auto" latinLnBrk="0" hangingPunct="1">
              <a:lnSpc>
                <a:spcPct val="100000"/>
              </a:lnSpc>
              <a:spcBef>
                <a:spcPts val="0"/>
              </a:spcBef>
              <a:spcAft>
                <a:spcPts val="0"/>
              </a:spcAft>
              <a:buClrTx/>
              <a:buSzTx/>
              <a:buFont typeface="Arial" pitchFamily="34" charset="0"/>
              <a:buNone/>
              <a:tabLst/>
              <a:defRPr lang="de-DE" sz="1067" kern="1200" baseline="0" noProof="0" smtClean="0">
                <a:solidFill>
                  <a:schemeClr val="bg2"/>
                </a:solidFill>
                <a:latin typeface="Arial" pitchFamily="34" charset="0"/>
                <a:ea typeface="+mn-ea"/>
                <a:cs typeface="Arial" pitchFamily="34" charset="0"/>
              </a:defRPr>
            </a:lvl1pPr>
            <a:lvl2pPr marL="0" indent="0">
              <a:lnSpc>
                <a:spcPct val="100000"/>
              </a:lnSpc>
              <a:spcBef>
                <a:spcPts val="0"/>
              </a:spcBef>
              <a:buFont typeface="Arial" panose="020B0604020202020204" pitchFamily="34" charset="0"/>
              <a:buNone/>
              <a:defRPr lang="de-DE" sz="1067" kern="1200" baseline="0" noProof="0" smtClean="0">
                <a:solidFill>
                  <a:schemeClr val="bg2"/>
                </a:solidFill>
                <a:latin typeface="Arial" pitchFamily="34" charset="0"/>
                <a:ea typeface="+mn-ea"/>
                <a:cs typeface="Arial" pitchFamily="34" charset="0"/>
              </a:defRPr>
            </a:lvl2pPr>
            <a:lvl3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3pPr>
            <a:lvl4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4pPr>
            <a:lvl5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5pPr>
            <a:lvl6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6pPr>
            <a:lvl7pPr marL="0" indent="0">
              <a:lnSpc>
                <a:spcPct val="100000"/>
              </a:lnSpc>
              <a:spcBef>
                <a:spcPts val="0"/>
              </a:spcBef>
              <a:buNone/>
              <a:defRPr lang="de-DE" sz="1067" kern="1200" baseline="0" noProof="0" dirty="0" smtClean="0">
                <a:solidFill>
                  <a:schemeClr val="bg2"/>
                </a:solidFill>
                <a:latin typeface="Arial" pitchFamily="34" charset="0"/>
                <a:ea typeface="+mn-ea"/>
                <a:cs typeface="Arial" pitchFamily="34" charset="0"/>
              </a:defRPr>
            </a:lvl7pPr>
            <a:lvl8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8pPr>
            <a:lvl9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9pPr>
          </a:lstStyle>
          <a:p>
            <a:pPr lvl="0"/>
            <a:r>
              <a:rPr lang="en-US"/>
              <a:t>Click to add source information</a:t>
            </a:r>
          </a:p>
        </p:txBody>
      </p:sp>
      <p:sp>
        <p:nvSpPr>
          <p:cNvPr id="5" name="Title 4"/>
          <p:cNvSpPr>
            <a:spLocks noGrp="1"/>
          </p:cNvSpPr>
          <p:nvPr>
            <p:ph type="title" hasCustomPrompt="1"/>
          </p:nvPr>
        </p:nvSpPr>
        <p:spPr/>
        <p:txBody>
          <a:bodyPr/>
          <a:lstStyle/>
          <a:p>
            <a:r>
              <a:rPr lang="en-US"/>
              <a:t>Click to add headline</a:t>
            </a:r>
          </a:p>
        </p:txBody>
      </p:sp>
    </p:spTree>
    <p:extLst>
      <p:ext uri="{BB962C8B-B14F-4D97-AF65-F5344CB8AC3E}">
        <p14:creationId xmlns:p14="http://schemas.microsoft.com/office/powerpoint/2010/main" val="112020121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Four contents (2)">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p>
            <a:r>
              <a:rPr lang="en-US"/>
              <a:t>Click to add headline</a:t>
            </a:r>
          </a:p>
        </p:txBody>
      </p:sp>
      <p:sp>
        <p:nvSpPr>
          <p:cNvPr id="7" name="Textplatzhalter 2"/>
          <p:cNvSpPr>
            <a:spLocks noGrp="1"/>
          </p:cNvSpPr>
          <p:nvPr>
            <p:ph type="body" sz="quarter" idx="11" hasCustomPrompt="1"/>
          </p:nvPr>
        </p:nvSpPr>
        <p:spPr bwMode="gray">
          <a:xfrm>
            <a:off x="431213" y="1220755"/>
            <a:ext cx="11328987" cy="384340"/>
          </a:xfrm>
        </p:spPr>
        <p:txBody>
          <a:bodyPr>
            <a:noAutofit/>
          </a:bodyPr>
          <a:lstStyle>
            <a:lvl1pPr marL="0" indent="0">
              <a:lnSpc>
                <a:spcPct val="100000"/>
              </a:lnSpc>
              <a:spcBef>
                <a:spcPts val="800"/>
              </a:spcBef>
              <a:buFont typeface="Arial" panose="020B0604020202020204" pitchFamily="34" charset="0"/>
              <a:buNone/>
              <a:defRPr lang="en-GB" sz="2398" kern="1200" noProof="0" smtClean="0">
                <a:solidFill>
                  <a:schemeClr val="tx2"/>
                </a:solidFill>
                <a:latin typeface="Arial" pitchFamily="34" charset="0"/>
                <a:ea typeface="+mn-ea"/>
                <a:cs typeface="Arial" pitchFamily="34" charset="0"/>
              </a:defRPr>
            </a:lvl1pPr>
            <a:lvl2pPr marL="0" indent="0">
              <a:lnSpc>
                <a:spcPct val="100000"/>
              </a:lnSpc>
              <a:spcBef>
                <a:spcPts val="800"/>
              </a:spcBef>
              <a:buFont typeface="Arial" panose="020B0604020202020204" pitchFamily="34" charset="0"/>
              <a:buNone/>
              <a:defRPr lang="en-GB" sz="2398" kern="1200" noProof="0" smtClean="0">
                <a:solidFill>
                  <a:schemeClr val="tx2"/>
                </a:solidFill>
                <a:latin typeface="Arial" pitchFamily="34" charset="0"/>
                <a:ea typeface="+mn-ea"/>
                <a:cs typeface="Arial" pitchFamily="34" charset="0"/>
              </a:defRPr>
            </a:lvl2pPr>
            <a:lvl3pPr marL="0" indent="0">
              <a:lnSpc>
                <a:spcPct val="100000"/>
              </a:lnSpc>
              <a:spcBef>
                <a:spcPts val="800"/>
              </a:spcBef>
              <a:buFont typeface="Arial" panose="020B0604020202020204" pitchFamily="34" charset="0"/>
              <a:buNone/>
              <a:defRPr lang="en-GB" sz="2398" kern="1200" noProof="0" smtClean="0">
                <a:solidFill>
                  <a:schemeClr val="tx2"/>
                </a:solidFill>
                <a:latin typeface="Arial" pitchFamily="34" charset="0"/>
                <a:ea typeface="+mn-ea"/>
                <a:cs typeface="Arial" pitchFamily="34" charset="0"/>
              </a:defRPr>
            </a:lvl3pPr>
            <a:lvl4pPr marL="0" indent="0">
              <a:lnSpc>
                <a:spcPct val="100000"/>
              </a:lnSpc>
              <a:spcBef>
                <a:spcPts val="800"/>
              </a:spcBef>
              <a:buFont typeface="Arial" panose="020B0604020202020204" pitchFamily="34" charset="0"/>
              <a:buNone/>
              <a:defRPr lang="en-GB" sz="2398" kern="1200" noProof="0" smtClean="0">
                <a:solidFill>
                  <a:schemeClr val="tx2"/>
                </a:solidFill>
                <a:latin typeface="Arial" pitchFamily="34" charset="0"/>
                <a:ea typeface="+mn-ea"/>
                <a:cs typeface="Arial" pitchFamily="34" charset="0"/>
              </a:defRPr>
            </a:lvl4pPr>
            <a:lvl5pPr marL="0" indent="0">
              <a:lnSpc>
                <a:spcPct val="100000"/>
              </a:lnSpc>
              <a:spcBef>
                <a:spcPts val="800"/>
              </a:spcBef>
              <a:buFont typeface="Arial" panose="020B0604020202020204" pitchFamily="34" charset="0"/>
              <a:buNone/>
              <a:defRPr lang="en-GB" sz="2398" kern="1200" noProof="0" smtClean="0">
                <a:solidFill>
                  <a:schemeClr val="tx2"/>
                </a:solidFill>
                <a:latin typeface="Arial" pitchFamily="34" charset="0"/>
                <a:ea typeface="+mn-ea"/>
                <a:cs typeface="Arial" pitchFamily="34" charset="0"/>
              </a:defRPr>
            </a:lvl5pPr>
            <a:lvl6pPr marL="0" indent="0">
              <a:lnSpc>
                <a:spcPct val="100000"/>
              </a:lnSpc>
              <a:spcBef>
                <a:spcPts val="800"/>
              </a:spcBef>
              <a:buNone/>
              <a:defRPr lang="en-GB" sz="2398" kern="1200" noProof="0" smtClean="0">
                <a:solidFill>
                  <a:schemeClr val="tx2"/>
                </a:solidFill>
                <a:latin typeface="Arial" pitchFamily="34" charset="0"/>
                <a:ea typeface="+mn-ea"/>
                <a:cs typeface="Arial" pitchFamily="34" charset="0"/>
              </a:defRPr>
            </a:lvl6pPr>
            <a:lvl7pPr marL="0" indent="0">
              <a:lnSpc>
                <a:spcPct val="100000"/>
              </a:lnSpc>
              <a:spcBef>
                <a:spcPts val="800"/>
              </a:spcBef>
              <a:buNone/>
              <a:defRPr lang="en-GB" sz="2398" kern="1200" noProof="0" smtClean="0">
                <a:solidFill>
                  <a:schemeClr val="tx2"/>
                </a:solidFill>
                <a:latin typeface="Arial" pitchFamily="34" charset="0"/>
                <a:ea typeface="+mn-ea"/>
                <a:cs typeface="Arial" pitchFamily="34" charset="0"/>
              </a:defRPr>
            </a:lvl7pPr>
            <a:lvl8pPr marL="0" indent="0">
              <a:lnSpc>
                <a:spcPct val="100000"/>
              </a:lnSpc>
              <a:spcBef>
                <a:spcPts val="800"/>
              </a:spcBef>
              <a:buNone/>
              <a:defRPr lang="en-GB" sz="2398" kern="1200" noProof="0" smtClean="0">
                <a:solidFill>
                  <a:schemeClr val="tx2"/>
                </a:solidFill>
                <a:latin typeface="Arial" pitchFamily="34" charset="0"/>
                <a:ea typeface="+mn-ea"/>
                <a:cs typeface="Arial" pitchFamily="34" charset="0"/>
              </a:defRPr>
            </a:lvl8pPr>
            <a:lvl9pPr marL="0" indent="0">
              <a:lnSpc>
                <a:spcPct val="100000"/>
              </a:lnSpc>
              <a:spcBef>
                <a:spcPts val="800"/>
              </a:spcBef>
              <a:buNone/>
              <a:defRPr lang="de-DE" sz="2398" kern="1200" noProof="0" smtClean="0">
                <a:solidFill>
                  <a:schemeClr val="tx2"/>
                </a:solidFill>
                <a:latin typeface="Arial" pitchFamily="34" charset="0"/>
                <a:ea typeface="+mn-ea"/>
                <a:cs typeface="Arial" pitchFamily="34" charset="0"/>
              </a:defRPr>
            </a:lvl9pPr>
          </a:lstStyle>
          <a:p>
            <a:pPr lvl="0"/>
            <a:r>
              <a:rPr lang="en-US"/>
              <a:t>Click to add </a:t>
            </a:r>
            <a:r>
              <a:rPr lang="en-US" err="1"/>
              <a:t>subheadline</a:t>
            </a:r>
            <a:endParaRPr lang="en-US"/>
          </a:p>
        </p:txBody>
      </p:sp>
      <p:sp>
        <p:nvSpPr>
          <p:cNvPr id="8" name="Textplatzhalter 3"/>
          <p:cNvSpPr>
            <a:spLocks noGrp="1"/>
          </p:cNvSpPr>
          <p:nvPr>
            <p:ph type="body" sz="quarter" idx="12" hasCustomPrompt="1"/>
          </p:nvPr>
        </p:nvSpPr>
        <p:spPr bwMode="gray">
          <a:xfrm>
            <a:off x="431371" y="6404740"/>
            <a:ext cx="11328400" cy="192617"/>
          </a:xfrm>
        </p:spPr>
        <p:txBody>
          <a:bodyPr tIns="0" bIns="36000" anchor="b" anchorCtr="0">
            <a:noAutofit/>
          </a:bodyPr>
          <a:lstStyle>
            <a:lvl1pPr marL="0" marR="0" indent="0" algn="l" defTabSz="1218043" rtl="0" eaLnBrk="1" fontAlgn="auto" latinLnBrk="0" hangingPunct="1">
              <a:lnSpc>
                <a:spcPct val="100000"/>
              </a:lnSpc>
              <a:spcBef>
                <a:spcPts val="0"/>
              </a:spcBef>
              <a:spcAft>
                <a:spcPts val="0"/>
              </a:spcAft>
              <a:buClrTx/>
              <a:buSzTx/>
              <a:buFont typeface="Arial" pitchFamily="34" charset="0"/>
              <a:buNone/>
              <a:tabLst/>
              <a:defRPr lang="de-DE" sz="1066" kern="1200" baseline="0" noProof="0" smtClean="0">
                <a:solidFill>
                  <a:schemeClr val="bg2"/>
                </a:solidFill>
                <a:latin typeface="Arial" pitchFamily="34" charset="0"/>
                <a:ea typeface="+mn-ea"/>
                <a:cs typeface="Arial" pitchFamily="34" charset="0"/>
              </a:defRPr>
            </a:lvl1pPr>
            <a:lvl2pPr marL="0" indent="0">
              <a:lnSpc>
                <a:spcPct val="100000"/>
              </a:lnSpc>
              <a:spcBef>
                <a:spcPts val="0"/>
              </a:spcBef>
              <a:buFont typeface="Arial" panose="020B0604020202020204" pitchFamily="34" charset="0"/>
              <a:buNone/>
              <a:defRPr lang="de-DE" sz="1066" kern="1200" baseline="0" noProof="0" smtClean="0">
                <a:solidFill>
                  <a:schemeClr val="bg2"/>
                </a:solidFill>
                <a:latin typeface="Arial" pitchFamily="34" charset="0"/>
                <a:ea typeface="+mn-ea"/>
                <a:cs typeface="Arial" pitchFamily="34" charset="0"/>
              </a:defRPr>
            </a:lvl2pPr>
            <a:lvl3pPr marL="0" indent="0">
              <a:lnSpc>
                <a:spcPct val="100000"/>
              </a:lnSpc>
              <a:spcBef>
                <a:spcPts val="0"/>
              </a:spcBef>
              <a:buNone/>
              <a:defRPr lang="de-DE" sz="1066" kern="1200" baseline="0" noProof="0" smtClean="0">
                <a:solidFill>
                  <a:schemeClr val="bg2"/>
                </a:solidFill>
                <a:latin typeface="Arial" pitchFamily="34" charset="0"/>
                <a:ea typeface="+mn-ea"/>
                <a:cs typeface="Arial" pitchFamily="34" charset="0"/>
              </a:defRPr>
            </a:lvl3pPr>
            <a:lvl4pPr marL="0" indent="0">
              <a:lnSpc>
                <a:spcPct val="100000"/>
              </a:lnSpc>
              <a:spcBef>
                <a:spcPts val="0"/>
              </a:spcBef>
              <a:buNone/>
              <a:defRPr lang="de-DE" sz="1066" kern="1200" baseline="0" noProof="0" smtClean="0">
                <a:solidFill>
                  <a:schemeClr val="bg2"/>
                </a:solidFill>
                <a:latin typeface="Arial" pitchFamily="34" charset="0"/>
                <a:ea typeface="+mn-ea"/>
                <a:cs typeface="Arial" pitchFamily="34" charset="0"/>
              </a:defRPr>
            </a:lvl4pPr>
            <a:lvl5pPr marL="0" indent="0">
              <a:lnSpc>
                <a:spcPct val="100000"/>
              </a:lnSpc>
              <a:spcBef>
                <a:spcPts val="0"/>
              </a:spcBef>
              <a:buNone/>
              <a:defRPr lang="de-DE" sz="1066" kern="1200" baseline="0" noProof="0" smtClean="0">
                <a:solidFill>
                  <a:schemeClr val="bg2"/>
                </a:solidFill>
                <a:latin typeface="Arial" pitchFamily="34" charset="0"/>
                <a:ea typeface="+mn-ea"/>
                <a:cs typeface="Arial" pitchFamily="34" charset="0"/>
              </a:defRPr>
            </a:lvl5pPr>
            <a:lvl6pPr marL="0" indent="0">
              <a:lnSpc>
                <a:spcPct val="100000"/>
              </a:lnSpc>
              <a:spcBef>
                <a:spcPts val="0"/>
              </a:spcBef>
              <a:buNone/>
              <a:defRPr lang="de-DE" sz="1066" kern="1200" baseline="0" noProof="0" smtClean="0">
                <a:solidFill>
                  <a:schemeClr val="bg2"/>
                </a:solidFill>
                <a:latin typeface="Arial" pitchFamily="34" charset="0"/>
                <a:ea typeface="+mn-ea"/>
                <a:cs typeface="Arial" pitchFamily="34" charset="0"/>
              </a:defRPr>
            </a:lvl6pPr>
            <a:lvl7pPr marL="0" indent="0">
              <a:lnSpc>
                <a:spcPct val="100000"/>
              </a:lnSpc>
              <a:spcBef>
                <a:spcPts val="0"/>
              </a:spcBef>
              <a:buNone/>
              <a:defRPr lang="de-DE" sz="1066" kern="1200" baseline="0" noProof="0" dirty="0" smtClean="0">
                <a:solidFill>
                  <a:schemeClr val="bg2"/>
                </a:solidFill>
                <a:latin typeface="Arial" pitchFamily="34" charset="0"/>
                <a:ea typeface="+mn-ea"/>
                <a:cs typeface="Arial" pitchFamily="34" charset="0"/>
              </a:defRPr>
            </a:lvl7pPr>
            <a:lvl8pPr marL="0" indent="0">
              <a:lnSpc>
                <a:spcPct val="100000"/>
              </a:lnSpc>
              <a:spcBef>
                <a:spcPts val="0"/>
              </a:spcBef>
              <a:buNone/>
              <a:defRPr lang="de-DE" sz="1066" kern="1200" baseline="0" noProof="0" smtClean="0">
                <a:solidFill>
                  <a:schemeClr val="bg2"/>
                </a:solidFill>
                <a:latin typeface="Arial" pitchFamily="34" charset="0"/>
                <a:ea typeface="+mn-ea"/>
                <a:cs typeface="Arial" pitchFamily="34" charset="0"/>
              </a:defRPr>
            </a:lvl8pPr>
            <a:lvl9pPr marL="0" indent="0">
              <a:lnSpc>
                <a:spcPct val="100000"/>
              </a:lnSpc>
              <a:spcBef>
                <a:spcPts val="0"/>
              </a:spcBef>
              <a:buNone/>
              <a:defRPr lang="de-DE" sz="1066" kern="1200" baseline="0" noProof="0" smtClean="0">
                <a:solidFill>
                  <a:schemeClr val="bg2"/>
                </a:solidFill>
                <a:latin typeface="Arial" pitchFamily="34" charset="0"/>
                <a:ea typeface="+mn-ea"/>
                <a:cs typeface="Arial" pitchFamily="34" charset="0"/>
              </a:defRPr>
            </a:lvl9pPr>
          </a:lstStyle>
          <a:p>
            <a:pPr lvl="0"/>
            <a:r>
              <a:rPr lang="en-US"/>
              <a:t>Click to add source information</a:t>
            </a:r>
          </a:p>
        </p:txBody>
      </p:sp>
      <p:sp>
        <p:nvSpPr>
          <p:cNvPr id="4" name="Content Placeholder 3"/>
          <p:cNvSpPr>
            <a:spLocks noGrp="1"/>
          </p:cNvSpPr>
          <p:nvPr>
            <p:ph sz="quarter" idx="13" hasCustomPrompt="1"/>
          </p:nvPr>
        </p:nvSpPr>
        <p:spPr>
          <a:xfrm>
            <a:off x="431216" y="1700765"/>
            <a:ext cx="5568773" cy="2208306"/>
          </a:xfrm>
        </p:spPr>
        <p:txBody>
          <a:bodyPr/>
          <a:lstStyle/>
          <a:p>
            <a:pPr lvl="0"/>
            <a:r>
              <a:rPr lang="en-US" noProof="0"/>
              <a:t>Click to add tex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Content Placeholder 3"/>
          <p:cNvSpPr>
            <a:spLocks noGrp="1"/>
          </p:cNvSpPr>
          <p:nvPr>
            <p:ph sz="quarter" idx="14" hasCustomPrompt="1"/>
          </p:nvPr>
        </p:nvSpPr>
        <p:spPr>
          <a:xfrm>
            <a:off x="6192015" y="1700765"/>
            <a:ext cx="5568773" cy="2208306"/>
          </a:xfrm>
        </p:spPr>
        <p:txBody>
          <a:bodyPr/>
          <a:lstStyle/>
          <a:p>
            <a:pPr lvl="0"/>
            <a:r>
              <a:rPr lang="en-US" noProof="0"/>
              <a:t>Click to add tex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Content Placeholder 3"/>
          <p:cNvSpPr>
            <a:spLocks noGrp="1"/>
          </p:cNvSpPr>
          <p:nvPr>
            <p:ph sz="quarter" idx="15" hasCustomPrompt="1"/>
          </p:nvPr>
        </p:nvSpPr>
        <p:spPr>
          <a:xfrm>
            <a:off x="431216" y="4101097"/>
            <a:ext cx="5568773" cy="2208306"/>
          </a:xfrm>
        </p:spPr>
        <p:txBody>
          <a:bodyPr/>
          <a:lstStyle/>
          <a:p>
            <a:pPr lvl="0"/>
            <a:r>
              <a:rPr lang="en-US" noProof="0"/>
              <a:t>Click to add tex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5" name="Content Placeholder 3"/>
          <p:cNvSpPr>
            <a:spLocks noGrp="1"/>
          </p:cNvSpPr>
          <p:nvPr>
            <p:ph sz="quarter" idx="16" hasCustomPrompt="1"/>
          </p:nvPr>
        </p:nvSpPr>
        <p:spPr>
          <a:xfrm>
            <a:off x="6192015" y="4101097"/>
            <a:ext cx="5568773" cy="2208306"/>
          </a:xfrm>
        </p:spPr>
        <p:txBody>
          <a:bodyPr/>
          <a:lstStyle/>
          <a:p>
            <a:pPr lvl="0"/>
            <a:r>
              <a:rPr lang="en-US" noProof="0"/>
              <a:t>Click to add text</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3299077445"/>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showMasterSp="0" preserve="1">
  <p:cSld name="Title 1">
    <p:spTree>
      <p:nvGrpSpPr>
        <p:cNvPr id="1" name=""/>
        <p:cNvGrpSpPr/>
        <p:nvPr/>
      </p:nvGrpSpPr>
      <p:grpSpPr>
        <a:xfrm>
          <a:off x="0" y="0"/>
          <a:ext cx="0" cy="0"/>
          <a:chOff x="0" y="0"/>
          <a:chExt cx="0" cy="0"/>
        </a:xfrm>
      </p:grpSpPr>
      <p:pic>
        <p:nvPicPr>
          <p:cNvPr id="32" name="picture">
            <a:extLst>
              <a:ext uri="{FF2B5EF4-FFF2-40B4-BE49-F238E27FC236}">
                <a16:creationId xmlns:a16="http://schemas.microsoft.com/office/drawing/2014/main" id="{4F153214-AFE7-D540-937D-96E89FDAD54B}"/>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2620212" y="-8808"/>
            <a:ext cx="9697299" cy="6866807"/>
          </a:xfrm>
          <a:prstGeom prst="rect">
            <a:avLst/>
          </a:prstGeom>
        </p:spPr>
      </p:pic>
      <p:sp>
        <p:nvSpPr>
          <p:cNvPr id="29" name="shpPicture"/>
          <p:cNvSpPr/>
          <p:nvPr/>
        </p:nvSpPr>
        <p:spPr>
          <a:xfrm>
            <a:off x="0" y="0"/>
            <a:ext cx="4956718" cy="6858000"/>
          </a:xfrm>
          <a:custGeom>
            <a:avLst/>
            <a:gdLst>
              <a:gd name="connsiteX0" fmla="*/ 0 w 4956718"/>
              <a:gd name="connsiteY0" fmla="*/ 0 h 6858000"/>
              <a:gd name="connsiteX1" fmla="*/ 3707268 w 4956718"/>
              <a:gd name="connsiteY1" fmla="*/ 0 h 6858000"/>
              <a:gd name="connsiteX2" fmla="*/ 4956718 w 4956718"/>
              <a:gd name="connsiteY2" fmla="*/ 4163677 h 6858000"/>
              <a:gd name="connsiteX3" fmla="*/ 3376226 w 4956718"/>
              <a:gd name="connsiteY3" fmla="*/ 6858000 h 6858000"/>
              <a:gd name="connsiteX4" fmla="*/ 0 w 4956718"/>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56718" h="6858000">
                <a:moveTo>
                  <a:pt x="0" y="0"/>
                </a:moveTo>
                <a:lnTo>
                  <a:pt x="3707268" y="0"/>
                </a:lnTo>
                <a:lnTo>
                  <a:pt x="4956718" y="4163677"/>
                </a:lnTo>
                <a:lnTo>
                  <a:pt x="3376226"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125000"/>
              </a:lnSpc>
            </a:pPr>
            <a:endParaRPr lang="en-US" sz="1600" dirty="0"/>
          </a:p>
        </p:txBody>
      </p:sp>
      <p:grpSp>
        <p:nvGrpSpPr>
          <p:cNvPr id="14" name="logo">
            <a:extLst>
              <a:ext uri="{FF2B5EF4-FFF2-40B4-BE49-F238E27FC236}">
                <a16:creationId xmlns:a16="http://schemas.microsoft.com/office/drawing/2014/main" id="{18C26D95-70F8-8A4D-9F18-DCCB92522AF8}"/>
              </a:ext>
            </a:extLst>
          </p:cNvPr>
          <p:cNvGrpSpPr/>
          <p:nvPr/>
        </p:nvGrpSpPr>
        <p:grpSpPr bwMode="gray">
          <a:xfrm>
            <a:off x="417363" y="407485"/>
            <a:ext cx="1518585" cy="646507"/>
            <a:chOff x="334963" y="296652"/>
            <a:chExt cx="1268411" cy="540000"/>
          </a:xfrm>
        </p:grpSpPr>
        <p:sp>
          <p:nvSpPr>
            <p:cNvPr id="17" name="Freeform 6">
              <a:extLst>
                <a:ext uri="{FF2B5EF4-FFF2-40B4-BE49-F238E27FC236}">
                  <a16:creationId xmlns:a16="http://schemas.microsoft.com/office/drawing/2014/main" id="{08737AD0-E375-E445-97E6-CD2E2DF60620}"/>
                </a:ext>
              </a:extLst>
            </p:cNvPr>
            <p:cNvSpPr>
              <a:spLocks noEditPoints="1"/>
            </p:cNvSpPr>
            <p:nvPr/>
          </p:nvSpPr>
          <p:spPr bwMode="gray">
            <a:xfrm>
              <a:off x="982662" y="360462"/>
              <a:ext cx="620712" cy="431800"/>
            </a:xfrm>
            <a:custGeom>
              <a:avLst/>
              <a:gdLst>
                <a:gd name="T0" fmla="*/ 19 w 1809"/>
                <a:gd name="T1" fmla="*/ 97 h 1253"/>
                <a:gd name="T2" fmla="*/ 165 w 1809"/>
                <a:gd name="T3" fmla="*/ 41 h 1253"/>
                <a:gd name="T4" fmla="*/ 211 w 1809"/>
                <a:gd name="T5" fmla="*/ 224 h 1253"/>
                <a:gd name="T6" fmla="*/ 248 w 1809"/>
                <a:gd name="T7" fmla="*/ 155 h 1253"/>
                <a:gd name="T8" fmla="*/ 931 w 1809"/>
                <a:gd name="T9" fmla="*/ 995 h 1253"/>
                <a:gd name="T10" fmla="*/ 858 w 1809"/>
                <a:gd name="T11" fmla="*/ 1115 h 1253"/>
                <a:gd name="T12" fmla="*/ 749 w 1809"/>
                <a:gd name="T13" fmla="*/ 1117 h 1253"/>
                <a:gd name="T14" fmla="*/ 681 w 1809"/>
                <a:gd name="T15" fmla="*/ 1055 h 1253"/>
                <a:gd name="T16" fmla="*/ 800 w 1809"/>
                <a:gd name="T17" fmla="*/ 1054 h 1253"/>
                <a:gd name="T18" fmla="*/ 884 w 1809"/>
                <a:gd name="T19" fmla="*/ 1181 h 1253"/>
                <a:gd name="T20" fmla="*/ 118 w 1809"/>
                <a:gd name="T21" fmla="*/ 1086 h 1253"/>
                <a:gd name="T22" fmla="*/ 147 w 1809"/>
                <a:gd name="T23" fmla="*/ 1026 h 1253"/>
                <a:gd name="T24" fmla="*/ 102 w 1809"/>
                <a:gd name="T25" fmla="*/ 1026 h 1253"/>
                <a:gd name="T26" fmla="*/ 639 w 1809"/>
                <a:gd name="T27" fmla="*/ 84 h 1253"/>
                <a:gd name="T28" fmla="*/ 763 w 1809"/>
                <a:gd name="T29" fmla="*/ 145 h 1253"/>
                <a:gd name="T30" fmla="*/ 863 w 1809"/>
                <a:gd name="T31" fmla="*/ 221 h 1253"/>
                <a:gd name="T32" fmla="*/ 834 w 1809"/>
                <a:gd name="T33" fmla="*/ 208 h 1253"/>
                <a:gd name="T34" fmla="*/ 719 w 1809"/>
                <a:gd name="T35" fmla="*/ 182 h 1253"/>
                <a:gd name="T36" fmla="*/ 507 w 1809"/>
                <a:gd name="T37" fmla="*/ 711 h 1253"/>
                <a:gd name="T38" fmla="*/ 614 w 1809"/>
                <a:gd name="T39" fmla="*/ 706 h 1253"/>
                <a:gd name="T40" fmla="*/ 736 w 1809"/>
                <a:gd name="T41" fmla="*/ 730 h 1253"/>
                <a:gd name="T42" fmla="*/ 607 w 1809"/>
                <a:gd name="T43" fmla="*/ 539 h 1253"/>
                <a:gd name="T44" fmla="*/ 1505 w 1809"/>
                <a:gd name="T45" fmla="*/ 1136 h 1253"/>
                <a:gd name="T46" fmla="*/ 1613 w 1809"/>
                <a:gd name="T47" fmla="*/ 1002 h 1253"/>
                <a:gd name="T48" fmla="*/ 1472 w 1809"/>
                <a:gd name="T49" fmla="*/ 1164 h 1253"/>
                <a:gd name="T50" fmla="*/ 1525 w 1809"/>
                <a:gd name="T51" fmla="*/ 1142 h 1253"/>
                <a:gd name="T52" fmla="*/ 1556 w 1809"/>
                <a:gd name="T53" fmla="*/ 1172 h 1253"/>
                <a:gd name="T54" fmla="*/ 1387 w 1809"/>
                <a:gd name="T55" fmla="*/ 910 h 1253"/>
                <a:gd name="T56" fmla="*/ 1261 w 1809"/>
                <a:gd name="T57" fmla="*/ 1157 h 1253"/>
                <a:gd name="T58" fmla="*/ 1413 w 1809"/>
                <a:gd name="T59" fmla="*/ 934 h 1253"/>
                <a:gd name="T60" fmla="*/ 1378 w 1809"/>
                <a:gd name="T61" fmla="*/ 1052 h 1253"/>
                <a:gd name="T62" fmla="*/ 488 w 1809"/>
                <a:gd name="T63" fmla="*/ 85 h 1253"/>
                <a:gd name="T64" fmla="*/ 509 w 1809"/>
                <a:gd name="T65" fmla="*/ 112 h 1253"/>
                <a:gd name="T66" fmla="*/ 548 w 1809"/>
                <a:gd name="T67" fmla="*/ 1187 h 1253"/>
                <a:gd name="T68" fmla="*/ 472 w 1809"/>
                <a:gd name="T69" fmla="*/ 1122 h 1253"/>
                <a:gd name="T70" fmla="*/ 558 w 1809"/>
                <a:gd name="T71" fmla="*/ 1157 h 1253"/>
                <a:gd name="T72" fmla="*/ 287 w 1809"/>
                <a:gd name="T73" fmla="*/ 654 h 1253"/>
                <a:gd name="T74" fmla="*/ 416 w 1809"/>
                <a:gd name="T75" fmla="*/ 684 h 1253"/>
                <a:gd name="T76" fmla="*/ 1106 w 1809"/>
                <a:gd name="T77" fmla="*/ 147 h 1253"/>
                <a:gd name="T78" fmla="*/ 1229 w 1809"/>
                <a:gd name="T79" fmla="*/ 258 h 1253"/>
                <a:gd name="T80" fmla="*/ 1106 w 1809"/>
                <a:gd name="T81" fmla="*/ 96 h 1253"/>
                <a:gd name="T82" fmla="*/ 1219 w 1809"/>
                <a:gd name="T83" fmla="*/ 1077 h 1253"/>
                <a:gd name="T84" fmla="*/ 1214 w 1809"/>
                <a:gd name="T85" fmla="*/ 1157 h 1253"/>
                <a:gd name="T86" fmla="*/ 1150 w 1809"/>
                <a:gd name="T87" fmla="*/ 1092 h 1253"/>
                <a:gd name="T88" fmla="*/ 1139 w 1809"/>
                <a:gd name="T89" fmla="*/ 1070 h 1253"/>
                <a:gd name="T90" fmla="*/ 1659 w 1809"/>
                <a:gd name="T91" fmla="*/ 1031 h 1253"/>
                <a:gd name="T92" fmla="*/ 1714 w 1809"/>
                <a:gd name="T93" fmla="*/ 1155 h 1253"/>
                <a:gd name="T94" fmla="*/ 1760 w 1809"/>
                <a:gd name="T95" fmla="*/ 1030 h 1253"/>
                <a:gd name="T96" fmla="*/ 111 w 1809"/>
                <a:gd name="T97" fmla="*/ 569 h 1253"/>
                <a:gd name="T98" fmla="*/ 109 w 1809"/>
                <a:gd name="T99" fmla="*/ 460 h 1253"/>
                <a:gd name="T100" fmla="*/ 32 w 1809"/>
                <a:gd name="T101" fmla="*/ 704 h 1253"/>
                <a:gd name="T102" fmla="*/ 310 w 1809"/>
                <a:gd name="T103" fmla="*/ 1058 h 1253"/>
                <a:gd name="T104" fmla="*/ 431 w 1809"/>
                <a:gd name="T105" fmla="*/ 1044 h 1253"/>
                <a:gd name="T106" fmla="*/ 278 w 1809"/>
                <a:gd name="T107" fmla="*/ 1165 h 1253"/>
                <a:gd name="T108" fmla="*/ 261 w 1809"/>
                <a:gd name="T109" fmla="*/ 540 h 1253"/>
                <a:gd name="T110" fmla="*/ 150 w 1809"/>
                <a:gd name="T111" fmla="*/ 635 h 1253"/>
                <a:gd name="T112" fmla="*/ 994 w 1809"/>
                <a:gd name="T113" fmla="*/ 1185 h 1253"/>
                <a:gd name="T114" fmla="*/ 331 w 1809"/>
                <a:gd name="T115" fmla="*/ 176 h 1253"/>
                <a:gd name="T116" fmla="*/ 333 w 1809"/>
                <a:gd name="T117" fmla="*/ 109 h 1253"/>
                <a:gd name="T118" fmla="*/ 946 w 1809"/>
                <a:gd name="T119" fmla="*/ 234 h 1253"/>
                <a:gd name="T120" fmla="*/ 1022 w 1809"/>
                <a:gd name="T121" fmla="*/ 113 h 1253"/>
                <a:gd name="T122" fmla="*/ 949 w 1809"/>
                <a:gd name="T123" fmla="*/ 65 h 1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09" h="1253">
                  <a:moveTo>
                    <a:pt x="248" y="198"/>
                  </a:moveTo>
                  <a:cubicBezTo>
                    <a:pt x="248" y="211"/>
                    <a:pt x="248" y="224"/>
                    <a:pt x="249" y="237"/>
                  </a:cubicBezTo>
                  <a:cubicBezTo>
                    <a:pt x="249" y="245"/>
                    <a:pt x="246" y="249"/>
                    <a:pt x="240" y="253"/>
                  </a:cubicBezTo>
                  <a:cubicBezTo>
                    <a:pt x="231" y="260"/>
                    <a:pt x="220" y="264"/>
                    <a:pt x="209" y="268"/>
                  </a:cubicBezTo>
                  <a:cubicBezTo>
                    <a:pt x="179" y="279"/>
                    <a:pt x="148" y="280"/>
                    <a:pt x="118" y="275"/>
                  </a:cubicBezTo>
                  <a:cubicBezTo>
                    <a:pt x="86" y="269"/>
                    <a:pt x="58" y="252"/>
                    <a:pt x="39" y="224"/>
                  </a:cubicBezTo>
                  <a:cubicBezTo>
                    <a:pt x="24" y="203"/>
                    <a:pt x="18" y="180"/>
                    <a:pt x="15" y="155"/>
                  </a:cubicBezTo>
                  <a:cubicBezTo>
                    <a:pt x="11" y="135"/>
                    <a:pt x="15" y="115"/>
                    <a:pt x="19" y="97"/>
                  </a:cubicBezTo>
                  <a:cubicBezTo>
                    <a:pt x="26" y="68"/>
                    <a:pt x="42" y="44"/>
                    <a:pt x="68" y="27"/>
                  </a:cubicBezTo>
                  <a:cubicBezTo>
                    <a:pt x="87" y="14"/>
                    <a:pt x="109" y="6"/>
                    <a:pt x="133" y="5"/>
                  </a:cubicBezTo>
                  <a:cubicBezTo>
                    <a:pt x="149" y="4"/>
                    <a:pt x="165" y="5"/>
                    <a:pt x="181" y="6"/>
                  </a:cubicBezTo>
                  <a:cubicBezTo>
                    <a:pt x="204" y="8"/>
                    <a:pt x="225" y="20"/>
                    <a:pt x="243" y="35"/>
                  </a:cubicBezTo>
                  <a:cubicBezTo>
                    <a:pt x="246" y="37"/>
                    <a:pt x="246" y="40"/>
                    <a:pt x="244" y="43"/>
                  </a:cubicBezTo>
                  <a:cubicBezTo>
                    <a:pt x="242" y="47"/>
                    <a:pt x="239" y="52"/>
                    <a:pt x="236" y="55"/>
                  </a:cubicBezTo>
                  <a:cubicBezTo>
                    <a:pt x="226" y="65"/>
                    <a:pt x="224" y="65"/>
                    <a:pt x="206" y="54"/>
                  </a:cubicBezTo>
                  <a:cubicBezTo>
                    <a:pt x="193" y="46"/>
                    <a:pt x="180" y="40"/>
                    <a:pt x="165" y="41"/>
                  </a:cubicBezTo>
                  <a:cubicBezTo>
                    <a:pt x="151" y="41"/>
                    <a:pt x="137" y="39"/>
                    <a:pt x="124" y="42"/>
                  </a:cubicBezTo>
                  <a:cubicBezTo>
                    <a:pt x="104" y="46"/>
                    <a:pt x="87" y="57"/>
                    <a:pt x="75" y="74"/>
                  </a:cubicBezTo>
                  <a:cubicBezTo>
                    <a:pt x="56" y="99"/>
                    <a:pt x="51" y="129"/>
                    <a:pt x="55" y="159"/>
                  </a:cubicBezTo>
                  <a:cubicBezTo>
                    <a:pt x="60" y="189"/>
                    <a:pt x="73" y="214"/>
                    <a:pt x="98" y="230"/>
                  </a:cubicBezTo>
                  <a:cubicBezTo>
                    <a:pt x="109" y="237"/>
                    <a:pt x="121" y="242"/>
                    <a:pt x="135" y="241"/>
                  </a:cubicBezTo>
                  <a:cubicBezTo>
                    <a:pt x="146" y="241"/>
                    <a:pt x="158" y="241"/>
                    <a:pt x="169" y="241"/>
                  </a:cubicBezTo>
                  <a:cubicBezTo>
                    <a:pt x="182" y="242"/>
                    <a:pt x="193" y="235"/>
                    <a:pt x="205" y="232"/>
                  </a:cubicBezTo>
                  <a:cubicBezTo>
                    <a:pt x="210" y="231"/>
                    <a:pt x="211" y="227"/>
                    <a:pt x="211" y="224"/>
                  </a:cubicBezTo>
                  <a:cubicBezTo>
                    <a:pt x="211" y="210"/>
                    <a:pt x="211" y="196"/>
                    <a:pt x="211" y="183"/>
                  </a:cubicBezTo>
                  <a:cubicBezTo>
                    <a:pt x="211" y="177"/>
                    <a:pt x="207" y="175"/>
                    <a:pt x="202" y="175"/>
                  </a:cubicBezTo>
                  <a:cubicBezTo>
                    <a:pt x="193" y="175"/>
                    <a:pt x="184" y="175"/>
                    <a:pt x="175" y="175"/>
                  </a:cubicBezTo>
                  <a:cubicBezTo>
                    <a:pt x="171" y="175"/>
                    <a:pt x="168" y="174"/>
                    <a:pt x="166" y="171"/>
                  </a:cubicBezTo>
                  <a:cubicBezTo>
                    <a:pt x="163" y="163"/>
                    <a:pt x="164" y="154"/>
                    <a:pt x="166" y="146"/>
                  </a:cubicBezTo>
                  <a:cubicBezTo>
                    <a:pt x="167" y="142"/>
                    <a:pt x="171" y="142"/>
                    <a:pt x="175" y="142"/>
                  </a:cubicBezTo>
                  <a:cubicBezTo>
                    <a:pt x="196" y="142"/>
                    <a:pt x="217" y="142"/>
                    <a:pt x="238" y="142"/>
                  </a:cubicBezTo>
                  <a:cubicBezTo>
                    <a:pt x="247" y="142"/>
                    <a:pt x="248" y="148"/>
                    <a:pt x="248" y="155"/>
                  </a:cubicBezTo>
                  <a:cubicBezTo>
                    <a:pt x="249" y="169"/>
                    <a:pt x="248" y="183"/>
                    <a:pt x="248" y="198"/>
                  </a:cubicBezTo>
                  <a:close/>
                  <a:moveTo>
                    <a:pt x="884" y="1181"/>
                  </a:moveTo>
                  <a:cubicBezTo>
                    <a:pt x="889" y="1167"/>
                    <a:pt x="894" y="1152"/>
                    <a:pt x="898" y="1137"/>
                  </a:cubicBezTo>
                  <a:cubicBezTo>
                    <a:pt x="901" y="1127"/>
                    <a:pt x="905" y="1116"/>
                    <a:pt x="908" y="1106"/>
                  </a:cubicBezTo>
                  <a:cubicBezTo>
                    <a:pt x="911" y="1098"/>
                    <a:pt x="912" y="1089"/>
                    <a:pt x="916" y="1081"/>
                  </a:cubicBezTo>
                  <a:cubicBezTo>
                    <a:pt x="921" y="1072"/>
                    <a:pt x="923" y="1060"/>
                    <a:pt x="927" y="1050"/>
                  </a:cubicBezTo>
                  <a:cubicBezTo>
                    <a:pt x="932" y="1037"/>
                    <a:pt x="934" y="1023"/>
                    <a:pt x="940" y="1010"/>
                  </a:cubicBezTo>
                  <a:cubicBezTo>
                    <a:pt x="945" y="1001"/>
                    <a:pt x="941" y="995"/>
                    <a:pt x="931" y="995"/>
                  </a:cubicBezTo>
                  <a:cubicBezTo>
                    <a:pt x="927" y="995"/>
                    <a:pt x="922" y="995"/>
                    <a:pt x="918" y="995"/>
                  </a:cubicBezTo>
                  <a:cubicBezTo>
                    <a:pt x="913" y="995"/>
                    <a:pt x="908" y="997"/>
                    <a:pt x="907" y="1001"/>
                  </a:cubicBezTo>
                  <a:cubicBezTo>
                    <a:pt x="904" y="1008"/>
                    <a:pt x="900" y="1015"/>
                    <a:pt x="899" y="1023"/>
                  </a:cubicBezTo>
                  <a:cubicBezTo>
                    <a:pt x="897" y="1034"/>
                    <a:pt x="893" y="1045"/>
                    <a:pt x="889" y="1055"/>
                  </a:cubicBezTo>
                  <a:cubicBezTo>
                    <a:pt x="887" y="1064"/>
                    <a:pt x="885" y="1072"/>
                    <a:pt x="882" y="1080"/>
                  </a:cubicBezTo>
                  <a:cubicBezTo>
                    <a:pt x="878" y="1091"/>
                    <a:pt x="874" y="1103"/>
                    <a:pt x="871" y="1115"/>
                  </a:cubicBezTo>
                  <a:cubicBezTo>
                    <a:pt x="870" y="1118"/>
                    <a:pt x="871" y="1124"/>
                    <a:pt x="866" y="1124"/>
                  </a:cubicBezTo>
                  <a:cubicBezTo>
                    <a:pt x="861" y="1125"/>
                    <a:pt x="859" y="1120"/>
                    <a:pt x="858" y="1115"/>
                  </a:cubicBezTo>
                  <a:cubicBezTo>
                    <a:pt x="856" y="1110"/>
                    <a:pt x="856" y="1104"/>
                    <a:pt x="854" y="1099"/>
                  </a:cubicBezTo>
                  <a:cubicBezTo>
                    <a:pt x="848" y="1080"/>
                    <a:pt x="841" y="1062"/>
                    <a:pt x="835" y="1044"/>
                  </a:cubicBezTo>
                  <a:cubicBezTo>
                    <a:pt x="831" y="1030"/>
                    <a:pt x="828" y="1016"/>
                    <a:pt x="822" y="1003"/>
                  </a:cubicBezTo>
                  <a:cubicBezTo>
                    <a:pt x="819" y="997"/>
                    <a:pt x="814" y="994"/>
                    <a:pt x="808" y="994"/>
                  </a:cubicBezTo>
                  <a:cubicBezTo>
                    <a:pt x="799" y="993"/>
                    <a:pt x="791" y="993"/>
                    <a:pt x="787" y="1001"/>
                  </a:cubicBezTo>
                  <a:cubicBezTo>
                    <a:pt x="783" y="1008"/>
                    <a:pt x="780" y="1015"/>
                    <a:pt x="779" y="1022"/>
                  </a:cubicBezTo>
                  <a:cubicBezTo>
                    <a:pt x="778" y="1034"/>
                    <a:pt x="772" y="1044"/>
                    <a:pt x="769" y="1055"/>
                  </a:cubicBezTo>
                  <a:cubicBezTo>
                    <a:pt x="762" y="1076"/>
                    <a:pt x="754" y="1096"/>
                    <a:pt x="749" y="1117"/>
                  </a:cubicBezTo>
                  <a:cubicBezTo>
                    <a:pt x="748" y="1120"/>
                    <a:pt x="747" y="1124"/>
                    <a:pt x="742" y="1124"/>
                  </a:cubicBezTo>
                  <a:cubicBezTo>
                    <a:pt x="737" y="1124"/>
                    <a:pt x="737" y="1120"/>
                    <a:pt x="736" y="1116"/>
                  </a:cubicBezTo>
                  <a:cubicBezTo>
                    <a:pt x="734" y="1104"/>
                    <a:pt x="730" y="1092"/>
                    <a:pt x="726" y="1080"/>
                  </a:cubicBezTo>
                  <a:cubicBezTo>
                    <a:pt x="720" y="1061"/>
                    <a:pt x="714" y="1040"/>
                    <a:pt x="708" y="1020"/>
                  </a:cubicBezTo>
                  <a:cubicBezTo>
                    <a:pt x="703" y="1000"/>
                    <a:pt x="698" y="994"/>
                    <a:pt x="676" y="995"/>
                  </a:cubicBezTo>
                  <a:cubicBezTo>
                    <a:pt x="665" y="996"/>
                    <a:pt x="661" y="1001"/>
                    <a:pt x="667" y="1011"/>
                  </a:cubicBezTo>
                  <a:cubicBezTo>
                    <a:pt x="669" y="1016"/>
                    <a:pt x="670" y="1021"/>
                    <a:pt x="672" y="1025"/>
                  </a:cubicBezTo>
                  <a:cubicBezTo>
                    <a:pt x="675" y="1035"/>
                    <a:pt x="678" y="1046"/>
                    <a:pt x="681" y="1055"/>
                  </a:cubicBezTo>
                  <a:cubicBezTo>
                    <a:pt x="685" y="1068"/>
                    <a:pt x="689" y="1080"/>
                    <a:pt x="693" y="1092"/>
                  </a:cubicBezTo>
                  <a:cubicBezTo>
                    <a:pt x="697" y="1103"/>
                    <a:pt x="699" y="1113"/>
                    <a:pt x="703" y="1124"/>
                  </a:cubicBezTo>
                  <a:cubicBezTo>
                    <a:pt x="707" y="1136"/>
                    <a:pt x="711" y="1147"/>
                    <a:pt x="715" y="1160"/>
                  </a:cubicBezTo>
                  <a:cubicBezTo>
                    <a:pt x="717" y="1168"/>
                    <a:pt x="720" y="1176"/>
                    <a:pt x="724" y="1183"/>
                  </a:cubicBezTo>
                  <a:cubicBezTo>
                    <a:pt x="728" y="1189"/>
                    <a:pt x="752" y="1185"/>
                    <a:pt x="757" y="1180"/>
                  </a:cubicBezTo>
                  <a:cubicBezTo>
                    <a:pt x="764" y="1173"/>
                    <a:pt x="762" y="1163"/>
                    <a:pt x="766" y="1156"/>
                  </a:cubicBezTo>
                  <a:cubicBezTo>
                    <a:pt x="774" y="1140"/>
                    <a:pt x="778" y="1122"/>
                    <a:pt x="784" y="1105"/>
                  </a:cubicBezTo>
                  <a:cubicBezTo>
                    <a:pt x="789" y="1088"/>
                    <a:pt x="796" y="1072"/>
                    <a:pt x="800" y="1054"/>
                  </a:cubicBezTo>
                  <a:cubicBezTo>
                    <a:pt x="800" y="1053"/>
                    <a:pt x="801" y="1050"/>
                    <a:pt x="803" y="1050"/>
                  </a:cubicBezTo>
                  <a:cubicBezTo>
                    <a:pt x="806" y="1050"/>
                    <a:pt x="806" y="1052"/>
                    <a:pt x="807" y="1055"/>
                  </a:cubicBezTo>
                  <a:cubicBezTo>
                    <a:pt x="807" y="1060"/>
                    <a:pt x="810" y="1066"/>
                    <a:pt x="811" y="1071"/>
                  </a:cubicBezTo>
                  <a:cubicBezTo>
                    <a:pt x="814" y="1081"/>
                    <a:pt x="818" y="1090"/>
                    <a:pt x="821" y="1099"/>
                  </a:cubicBezTo>
                  <a:cubicBezTo>
                    <a:pt x="824" y="1110"/>
                    <a:pt x="827" y="1120"/>
                    <a:pt x="831" y="1131"/>
                  </a:cubicBezTo>
                  <a:cubicBezTo>
                    <a:pt x="834" y="1142"/>
                    <a:pt x="839" y="1153"/>
                    <a:pt x="842" y="1164"/>
                  </a:cubicBezTo>
                  <a:cubicBezTo>
                    <a:pt x="846" y="1179"/>
                    <a:pt x="850" y="1188"/>
                    <a:pt x="869" y="1185"/>
                  </a:cubicBezTo>
                  <a:cubicBezTo>
                    <a:pt x="873" y="1184"/>
                    <a:pt x="881" y="1189"/>
                    <a:pt x="884" y="1181"/>
                  </a:cubicBezTo>
                  <a:close/>
                  <a:moveTo>
                    <a:pt x="33" y="1051"/>
                  </a:moveTo>
                  <a:cubicBezTo>
                    <a:pt x="33" y="1087"/>
                    <a:pt x="33" y="1124"/>
                    <a:pt x="33" y="1160"/>
                  </a:cubicBezTo>
                  <a:cubicBezTo>
                    <a:pt x="33" y="1188"/>
                    <a:pt x="29" y="1184"/>
                    <a:pt x="58" y="1185"/>
                  </a:cubicBezTo>
                  <a:cubicBezTo>
                    <a:pt x="72" y="1185"/>
                    <a:pt x="73" y="1184"/>
                    <a:pt x="73" y="1170"/>
                  </a:cubicBezTo>
                  <a:cubicBezTo>
                    <a:pt x="73" y="1138"/>
                    <a:pt x="73" y="1107"/>
                    <a:pt x="73" y="1076"/>
                  </a:cubicBezTo>
                  <a:cubicBezTo>
                    <a:pt x="73" y="1071"/>
                    <a:pt x="72" y="1067"/>
                    <a:pt x="78" y="1065"/>
                  </a:cubicBezTo>
                  <a:cubicBezTo>
                    <a:pt x="91" y="1062"/>
                    <a:pt x="102" y="1067"/>
                    <a:pt x="110" y="1076"/>
                  </a:cubicBezTo>
                  <a:cubicBezTo>
                    <a:pt x="112" y="1080"/>
                    <a:pt x="115" y="1083"/>
                    <a:pt x="118" y="1086"/>
                  </a:cubicBezTo>
                  <a:cubicBezTo>
                    <a:pt x="132" y="1103"/>
                    <a:pt x="146" y="1119"/>
                    <a:pt x="161" y="1136"/>
                  </a:cubicBezTo>
                  <a:cubicBezTo>
                    <a:pt x="173" y="1150"/>
                    <a:pt x="186" y="1165"/>
                    <a:pt x="198" y="1179"/>
                  </a:cubicBezTo>
                  <a:cubicBezTo>
                    <a:pt x="207" y="1188"/>
                    <a:pt x="218" y="1184"/>
                    <a:pt x="228" y="1185"/>
                  </a:cubicBezTo>
                  <a:cubicBezTo>
                    <a:pt x="233" y="1185"/>
                    <a:pt x="241" y="1188"/>
                    <a:pt x="244" y="1182"/>
                  </a:cubicBezTo>
                  <a:cubicBezTo>
                    <a:pt x="246" y="1178"/>
                    <a:pt x="239" y="1173"/>
                    <a:pt x="235" y="1169"/>
                  </a:cubicBezTo>
                  <a:cubicBezTo>
                    <a:pt x="206" y="1133"/>
                    <a:pt x="176" y="1098"/>
                    <a:pt x="146" y="1062"/>
                  </a:cubicBezTo>
                  <a:cubicBezTo>
                    <a:pt x="141" y="1056"/>
                    <a:pt x="131" y="1052"/>
                    <a:pt x="132" y="1044"/>
                  </a:cubicBezTo>
                  <a:cubicBezTo>
                    <a:pt x="132" y="1036"/>
                    <a:pt x="142" y="1032"/>
                    <a:pt x="147" y="1026"/>
                  </a:cubicBezTo>
                  <a:cubicBezTo>
                    <a:pt x="164" y="1006"/>
                    <a:pt x="182" y="988"/>
                    <a:pt x="198" y="968"/>
                  </a:cubicBezTo>
                  <a:cubicBezTo>
                    <a:pt x="209" y="954"/>
                    <a:pt x="221" y="942"/>
                    <a:pt x="234" y="929"/>
                  </a:cubicBezTo>
                  <a:cubicBezTo>
                    <a:pt x="236" y="926"/>
                    <a:pt x="238" y="923"/>
                    <a:pt x="237" y="920"/>
                  </a:cubicBezTo>
                  <a:cubicBezTo>
                    <a:pt x="235" y="915"/>
                    <a:pt x="231" y="917"/>
                    <a:pt x="228" y="917"/>
                  </a:cubicBezTo>
                  <a:cubicBezTo>
                    <a:pt x="224" y="918"/>
                    <a:pt x="221" y="918"/>
                    <a:pt x="217" y="918"/>
                  </a:cubicBezTo>
                  <a:cubicBezTo>
                    <a:pt x="204" y="917"/>
                    <a:pt x="193" y="922"/>
                    <a:pt x="185" y="931"/>
                  </a:cubicBezTo>
                  <a:cubicBezTo>
                    <a:pt x="172" y="946"/>
                    <a:pt x="158" y="961"/>
                    <a:pt x="145" y="977"/>
                  </a:cubicBezTo>
                  <a:cubicBezTo>
                    <a:pt x="131" y="993"/>
                    <a:pt x="117" y="1010"/>
                    <a:pt x="102" y="1026"/>
                  </a:cubicBezTo>
                  <a:cubicBezTo>
                    <a:pt x="96" y="1032"/>
                    <a:pt x="87" y="1037"/>
                    <a:pt x="78" y="1034"/>
                  </a:cubicBezTo>
                  <a:cubicBezTo>
                    <a:pt x="70" y="1030"/>
                    <a:pt x="73" y="1021"/>
                    <a:pt x="73" y="1015"/>
                  </a:cubicBezTo>
                  <a:cubicBezTo>
                    <a:pt x="73" y="991"/>
                    <a:pt x="73" y="967"/>
                    <a:pt x="73" y="944"/>
                  </a:cubicBezTo>
                  <a:cubicBezTo>
                    <a:pt x="73" y="916"/>
                    <a:pt x="75" y="917"/>
                    <a:pt x="46" y="918"/>
                  </a:cubicBezTo>
                  <a:cubicBezTo>
                    <a:pt x="33" y="918"/>
                    <a:pt x="33" y="918"/>
                    <a:pt x="33" y="931"/>
                  </a:cubicBezTo>
                  <a:cubicBezTo>
                    <a:pt x="33" y="971"/>
                    <a:pt x="33" y="1011"/>
                    <a:pt x="33" y="1051"/>
                  </a:cubicBezTo>
                  <a:cubicBezTo>
                    <a:pt x="33" y="1051"/>
                    <a:pt x="33" y="1051"/>
                    <a:pt x="33" y="1051"/>
                  </a:cubicBezTo>
                  <a:close/>
                  <a:moveTo>
                    <a:pt x="639" y="84"/>
                  </a:moveTo>
                  <a:cubicBezTo>
                    <a:pt x="627" y="84"/>
                    <a:pt x="626" y="84"/>
                    <a:pt x="629" y="95"/>
                  </a:cubicBezTo>
                  <a:cubicBezTo>
                    <a:pt x="634" y="113"/>
                    <a:pt x="640" y="131"/>
                    <a:pt x="646" y="148"/>
                  </a:cubicBezTo>
                  <a:cubicBezTo>
                    <a:pt x="652" y="166"/>
                    <a:pt x="658" y="185"/>
                    <a:pt x="664" y="203"/>
                  </a:cubicBezTo>
                  <a:cubicBezTo>
                    <a:pt x="671" y="223"/>
                    <a:pt x="676" y="244"/>
                    <a:pt x="684" y="264"/>
                  </a:cubicBezTo>
                  <a:cubicBezTo>
                    <a:pt x="688" y="274"/>
                    <a:pt x="694" y="274"/>
                    <a:pt x="702" y="274"/>
                  </a:cubicBezTo>
                  <a:cubicBezTo>
                    <a:pt x="711" y="274"/>
                    <a:pt x="719" y="272"/>
                    <a:pt x="723" y="263"/>
                  </a:cubicBezTo>
                  <a:cubicBezTo>
                    <a:pt x="733" y="236"/>
                    <a:pt x="741" y="208"/>
                    <a:pt x="750" y="181"/>
                  </a:cubicBezTo>
                  <a:cubicBezTo>
                    <a:pt x="754" y="169"/>
                    <a:pt x="757" y="156"/>
                    <a:pt x="763" y="145"/>
                  </a:cubicBezTo>
                  <a:cubicBezTo>
                    <a:pt x="764" y="143"/>
                    <a:pt x="764" y="140"/>
                    <a:pt x="767" y="140"/>
                  </a:cubicBezTo>
                  <a:cubicBezTo>
                    <a:pt x="770" y="140"/>
                    <a:pt x="770" y="143"/>
                    <a:pt x="771" y="145"/>
                  </a:cubicBezTo>
                  <a:cubicBezTo>
                    <a:pt x="771" y="156"/>
                    <a:pt x="777" y="165"/>
                    <a:pt x="780" y="175"/>
                  </a:cubicBezTo>
                  <a:cubicBezTo>
                    <a:pt x="782" y="184"/>
                    <a:pt x="785" y="193"/>
                    <a:pt x="788" y="201"/>
                  </a:cubicBezTo>
                  <a:cubicBezTo>
                    <a:pt x="794" y="219"/>
                    <a:pt x="801" y="237"/>
                    <a:pt x="806" y="255"/>
                  </a:cubicBezTo>
                  <a:cubicBezTo>
                    <a:pt x="811" y="272"/>
                    <a:pt x="825" y="280"/>
                    <a:pt x="842" y="273"/>
                  </a:cubicBezTo>
                  <a:cubicBezTo>
                    <a:pt x="845" y="271"/>
                    <a:pt x="847" y="269"/>
                    <a:pt x="848" y="266"/>
                  </a:cubicBezTo>
                  <a:cubicBezTo>
                    <a:pt x="853" y="251"/>
                    <a:pt x="859" y="236"/>
                    <a:pt x="863" y="221"/>
                  </a:cubicBezTo>
                  <a:cubicBezTo>
                    <a:pt x="867" y="202"/>
                    <a:pt x="875" y="185"/>
                    <a:pt x="880" y="166"/>
                  </a:cubicBezTo>
                  <a:cubicBezTo>
                    <a:pt x="886" y="144"/>
                    <a:pt x="895" y="123"/>
                    <a:pt x="900" y="101"/>
                  </a:cubicBezTo>
                  <a:cubicBezTo>
                    <a:pt x="901" y="96"/>
                    <a:pt x="909" y="91"/>
                    <a:pt x="904" y="86"/>
                  </a:cubicBezTo>
                  <a:cubicBezTo>
                    <a:pt x="900" y="81"/>
                    <a:pt x="892" y="84"/>
                    <a:pt x="886" y="84"/>
                  </a:cubicBezTo>
                  <a:cubicBezTo>
                    <a:pt x="885" y="84"/>
                    <a:pt x="883" y="84"/>
                    <a:pt x="881" y="84"/>
                  </a:cubicBezTo>
                  <a:cubicBezTo>
                    <a:pt x="875" y="84"/>
                    <a:pt x="872" y="86"/>
                    <a:pt x="869" y="91"/>
                  </a:cubicBezTo>
                  <a:cubicBezTo>
                    <a:pt x="860" y="110"/>
                    <a:pt x="856" y="131"/>
                    <a:pt x="850" y="151"/>
                  </a:cubicBezTo>
                  <a:cubicBezTo>
                    <a:pt x="844" y="170"/>
                    <a:pt x="836" y="188"/>
                    <a:pt x="834" y="208"/>
                  </a:cubicBezTo>
                  <a:cubicBezTo>
                    <a:pt x="833" y="211"/>
                    <a:pt x="831" y="214"/>
                    <a:pt x="827" y="214"/>
                  </a:cubicBezTo>
                  <a:cubicBezTo>
                    <a:pt x="823" y="214"/>
                    <a:pt x="822" y="210"/>
                    <a:pt x="822" y="207"/>
                  </a:cubicBezTo>
                  <a:cubicBezTo>
                    <a:pt x="817" y="188"/>
                    <a:pt x="811" y="170"/>
                    <a:pt x="805" y="152"/>
                  </a:cubicBezTo>
                  <a:cubicBezTo>
                    <a:pt x="799" y="133"/>
                    <a:pt x="794" y="114"/>
                    <a:pt x="786" y="96"/>
                  </a:cubicBezTo>
                  <a:cubicBezTo>
                    <a:pt x="783" y="87"/>
                    <a:pt x="779" y="84"/>
                    <a:pt x="770" y="84"/>
                  </a:cubicBezTo>
                  <a:cubicBezTo>
                    <a:pt x="761" y="84"/>
                    <a:pt x="752" y="82"/>
                    <a:pt x="748" y="94"/>
                  </a:cubicBezTo>
                  <a:cubicBezTo>
                    <a:pt x="744" y="109"/>
                    <a:pt x="738" y="123"/>
                    <a:pt x="734" y="138"/>
                  </a:cubicBezTo>
                  <a:cubicBezTo>
                    <a:pt x="729" y="153"/>
                    <a:pt x="724" y="167"/>
                    <a:pt x="719" y="182"/>
                  </a:cubicBezTo>
                  <a:cubicBezTo>
                    <a:pt x="716" y="192"/>
                    <a:pt x="715" y="203"/>
                    <a:pt x="708" y="212"/>
                  </a:cubicBezTo>
                  <a:cubicBezTo>
                    <a:pt x="707" y="214"/>
                    <a:pt x="707" y="217"/>
                    <a:pt x="704" y="217"/>
                  </a:cubicBezTo>
                  <a:cubicBezTo>
                    <a:pt x="701" y="217"/>
                    <a:pt x="701" y="213"/>
                    <a:pt x="700" y="211"/>
                  </a:cubicBezTo>
                  <a:cubicBezTo>
                    <a:pt x="699" y="198"/>
                    <a:pt x="694" y="186"/>
                    <a:pt x="690" y="174"/>
                  </a:cubicBezTo>
                  <a:cubicBezTo>
                    <a:pt x="684" y="153"/>
                    <a:pt x="677" y="131"/>
                    <a:pt x="672" y="110"/>
                  </a:cubicBezTo>
                  <a:cubicBezTo>
                    <a:pt x="667" y="88"/>
                    <a:pt x="663" y="84"/>
                    <a:pt x="645" y="84"/>
                  </a:cubicBezTo>
                  <a:cubicBezTo>
                    <a:pt x="643" y="84"/>
                    <a:pt x="641" y="84"/>
                    <a:pt x="639" y="84"/>
                  </a:cubicBezTo>
                  <a:close/>
                  <a:moveTo>
                    <a:pt x="507" y="711"/>
                  </a:moveTo>
                  <a:cubicBezTo>
                    <a:pt x="507" y="730"/>
                    <a:pt x="507" y="730"/>
                    <a:pt x="526" y="730"/>
                  </a:cubicBezTo>
                  <a:cubicBezTo>
                    <a:pt x="539" y="730"/>
                    <a:pt x="541" y="729"/>
                    <a:pt x="541" y="715"/>
                  </a:cubicBezTo>
                  <a:cubicBezTo>
                    <a:pt x="541" y="677"/>
                    <a:pt x="541" y="638"/>
                    <a:pt x="540" y="600"/>
                  </a:cubicBezTo>
                  <a:cubicBezTo>
                    <a:pt x="540" y="593"/>
                    <a:pt x="543" y="587"/>
                    <a:pt x="548" y="582"/>
                  </a:cubicBezTo>
                  <a:cubicBezTo>
                    <a:pt x="553" y="576"/>
                    <a:pt x="559" y="573"/>
                    <a:pt x="564" y="569"/>
                  </a:cubicBezTo>
                  <a:cubicBezTo>
                    <a:pt x="574" y="564"/>
                    <a:pt x="594" y="566"/>
                    <a:pt x="602" y="574"/>
                  </a:cubicBezTo>
                  <a:cubicBezTo>
                    <a:pt x="611" y="582"/>
                    <a:pt x="614" y="592"/>
                    <a:pt x="614" y="604"/>
                  </a:cubicBezTo>
                  <a:cubicBezTo>
                    <a:pt x="614" y="638"/>
                    <a:pt x="614" y="672"/>
                    <a:pt x="614" y="706"/>
                  </a:cubicBezTo>
                  <a:cubicBezTo>
                    <a:pt x="614" y="730"/>
                    <a:pt x="614" y="730"/>
                    <a:pt x="638" y="730"/>
                  </a:cubicBezTo>
                  <a:cubicBezTo>
                    <a:pt x="650" y="730"/>
                    <a:pt x="650" y="730"/>
                    <a:pt x="650" y="717"/>
                  </a:cubicBezTo>
                  <a:cubicBezTo>
                    <a:pt x="650" y="684"/>
                    <a:pt x="650" y="650"/>
                    <a:pt x="650" y="617"/>
                  </a:cubicBezTo>
                  <a:cubicBezTo>
                    <a:pt x="650" y="606"/>
                    <a:pt x="651" y="597"/>
                    <a:pt x="657" y="586"/>
                  </a:cubicBezTo>
                  <a:cubicBezTo>
                    <a:pt x="667" y="565"/>
                    <a:pt x="703" y="560"/>
                    <a:pt x="716" y="579"/>
                  </a:cubicBezTo>
                  <a:cubicBezTo>
                    <a:pt x="723" y="588"/>
                    <a:pt x="724" y="598"/>
                    <a:pt x="724" y="609"/>
                  </a:cubicBezTo>
                  <a:cubicBezTo>
                    <a:pt x="724" y="645"/>
                    <a:pt x="724" y="682"/>
                    <a:pt x="724" y="718"/>
                  </a:cubicBezTo>
                  <a:cubicBezTo>
                    <a:pt x="724" y="727"/>
                    <a:pt x="727" y="731"/>
                    <a:pt x="736" y="730"/>
                  </a:cubicBezTo>
                  <a:cubicBezTo>
                    <a:pt x="738" y="730"/>
                    <a:pt x="741" y="730"/>
                    <a:pt x="743" y="730"/>
                  </a:cubicBezTo>
                  <a:cubicBezTo>
                    <a:pt x="758" y="730"/>
                    <a:pt x="759" y="729"/>
                    <a:pt x="759" y="715"/>
                  </a:cubicBezTo>
                  <a:cubicBezTo>
                    <a:pt x="759" y="677"/>
                    <a:pt x="758" y="639"/>
                    <a:pt x="759" y="601"/>
                  </a:cubicBezTo>
                  <a:cubicBezTo>
                    <a:pt x="759" y="571"/>
                    <a:pt x="742" y="540"/>
                    <a:pt x="704" y="538"/>
                  </a:cubicBezTo>
                  <a:cubicBezTo>
                    <a:pt x="681" y="536"/>
                    <a:pt x="661" y="542"/>
                    <a:pt x="646" y="560"/>
                  </a:cubicBezTo>
                  <a:cubicBezTo>
                    <a:pt x="638" y="569"/>
                    <a:pt x="638" y="569"/>
                    <a:pt x="631" y="559"/>
                  </a:cubicBezTo>
                  <a:cubicBezTo>
                    <a:pt x="630" y="558"/>
                    <a:pt x="630" y="557"/>
                    <a:pt x="629" y="556"/>
                  </a:cubicBezTo>
                  <a:cubicBezTo>
                    <a:pt x="623" y="548"/>
                    <a:pt x="616" y="541"/>
                    <a:pt x="607" y="539"/>
                  </a:cubicBezTo>
                  <a:cubicBezTo>
                    <a:pt x="584" y="534"/>
                    <a:pt x="563" y="539"/>
                    <a:pt x="545" y="555"/>
                  </a:cubicBezTo>
                  <a:cubicBezTo>
                    <a:pt x="540" y="559"/>
                    <a:pt x="537" y="561"/>
                    <a:pt x="537" y="552"/>
                  </a:cubicBezTo>
                  <a:cubicBezTo>
                    <a:pt x="536" y="543"/>
                    <a:pt x="526" y="538"/>
                    <a:pt x="515" y="539"/>
                  </a:cubicBezTo>
                  <a:cubicBezTo>
                    <a:pt x="506" y="540"/>
                    <a:pt x="507" y="546"/>
                    <a:pt x="507" y="552"/>
                  </a:cubicBezTo>
                  <a:cubicBezTo>
                    <a:pt x="507" y="580"/>
                    <a:pt x="507" y="607"/>
                    <a:pt x="507" y="634"/>
                  </a:cubicBezTo>
                  <a:cubicBezTo>
                    <a:pt x="507" y="660"/>
                    <a:pt x="507" y="685"/>
                    <a:pt x="507" y="711"/>
                  </a:cubicBezTo>
                  <a:close/>
                  <a:moveTo>
                    <a:pt x="1525" y="1142"/>
                  </a:moveTo>
                  <a:cubicBezTo>
                    <a:pt x="1517" y="1143"/>
                    <a:pt x="1511" y="1141"/>
                    <a:pt x="1505" y="1136"/>
                  </a:cubicBezTo>
                  <a:cubicBezTo>
                    <a:pt x="1501" y="1133"/>
                    <a:pt x="1495" y="1130"/>
                    <a:pt x="1498" y="1124"/>
                  </a:cubicBezTo>
                  <a:cubicBezTo>
                    <a:pt x="1500" y="1118"/>
                    <a:pt x="1504" y="1114"/>
                    <a:pt x="1512" y="1114"/>
                  </a:cubicBezTo>
                  <a:cubicBezTo>
                    <a:pt x="1521" y="1115"/>
                    <a:pt x="1530" y="1114"/>
                    <a:pt x="1538" y="1115"/>
                  </a:cubicBezTo>
                  <a:cubicBezTo>
                    <a:pt x="1573" y="1117"/>
                    <a:pt x="1610" y="1084"/>
                    <a:pt x="1602" y="1044"/>
                  </a:cubicBezTo>
                  <a:cubicBezTo>
                    <a:pt x="1600" y="1035"/>
                    <a:pt x="1599" y="1028"/>
                    <a:pt x="1611" y="1027"/>
                  </a:cubicBezTo>
                  <a:cubicBezTo>
                    <a:pt x="1614" y="1027"/>
                    <a:pt x="1617" y="1024"/>
                    <a:pt x="1619" y="1023"/>
                  </a:cubicBezTo>
                  <a:cubicBezTo>
                    <a:pt x="1626" y="1019"/>
                    <a:pt x="1624" y="1013"/>
                    <a:pt x="1623" y="1008"/>
                  </a:cubicBezTo>
                  <a:cubicBezTo>
                    <a:pt x="1623" y="1002"/>
                    <a:pt x="1618" y="1003"/>
                    <a:pt x="1613" y="1002"/>
                  </a:cubicBezTo>
                  <a:cubicBezTo>
                    <a:pt x="1598" y="1002"/>
                    <a:pt x="1582" y="1004"/>
                    <a:pt x="1567" y="1000"/>
                  </a:cubicBezTo>
                  <a:cubicBezTo>
                    <a:pt x="1560" y="999"/>
                    <a:pt x="1554" y="993"/>
                    <a:pt x="1546" y="993"/>
                  </a:cubicBezTo>
                  <a:cubicBezTo>
                    <a:pt x="1536" y="994"/>
                    <a:pt x="1525" y="992"/>
                    <a:pt x="1515" y="993"/>
                  </a:cubicBezTo>
                  <a:cubicBezTo>
                    <a:pt x="1490" y="997"/>
                    <a:pt x="1469" y="1010"/>
                    <a:pt x="1462" y="1034"/>
                  </a:cubicBezTo>
                  <a:cubicBezTo>
                    <a:pt x="1455" y="1056"/>
                    <a:pt x="1457" y="1079"/>
                    <a:pt x="1476" y="1096"/>
                  </a:cubicBezTo>
                  <a:cubicBezTo>
                    <a:pt x="1483" y="1103"/>
                    <a:pt x="1483" y="1107"/>
                    <a:pt x="1476" y="1113"/>
                  </a:cubicBezTo>
                  <a:cubicBezTo>
                    <a:pt x="1462" y="1126"/>
                    <a:pt x="1462" y="1142"/>
                    <a:pt x="1473" y="1157"/>
                  </a:cubicBezTo>
                  <a:cubicBezTo>
                    <a:pt x="1476" y="1160"/>
                    <a:pt x="1476" y="1162"/>
                    <a:pt x="1472" y="1164"/>
                  </a:cubicBezTo>
                  <a:cubicBezTo>
                    <a:pt x="1470" y="1166"/>
                    <a:pt x="1468" y="1168"/>
                    <a:pt x="1466" y="1170"/>
                  </a:cubicBezTo>
                  <a:cubicBezTo>
                    <a:pt x="1449" y="1183"/>
                    <a:pt x="1444" y="1201"/>
                    <a:pt x="1454" y="1218"/>
                  </a:cubicBezTo>
                  <a:cubicBezTo>
                    <a:pt x="1464" y="1235"/>
                    <a:pt x="1479" y="1246"/>
                    <a:pt x="1499" y="1249"/>
                  </a:cubicBezTo>
                  <a:cubicBezTo>
                    <a:pt x="1517" y="1252"/>
                    <a:pt x="1535" y="1253"/>
                    <a:pt x="1553" y="1250"/>
                  </a:cubicBezTo>
                  <a:cubicBezTo>
                    <a:pt x="1584" y="1245"/>
                    <a:pt x="1607" y="1232"/>
                    <a:pt x="1619" y="1200"/>
                  </a:cubicBezTo>
                  <a:cubicBezTo>
                    <a:pt x="1627" y="1180"/>
                    <a:pt x="1611" y="1155"/>
                    <a:pt x="1593" y="1148"/>
                  </a:cubicBezTo>
                  <a:cubicBezTo>
                    <a:pt x="1578" y="1142"/>
                    <a:pt x="1563" y="1143"/>
                    <a:pt x="1549" y="1142"/>
                  </a:cubicBezTo>
                  <a:cubicBezTo>
                    <a:pt x="1540" y="1142"/>
                    <a:pt x="1532" y="1142"/>
                    <a:pt x="1525" y="1142"/>
                  </a:cubicBezTo>
                  <a:close/>
                  <a:moveTo>
                    <a:pt x="1556" y="1172"/>
                  </a:moveTo>
                  <a:cubicBezTo>
                    <a:pt x="1566" y="1172"/>
                    <a:pt x="1576" y="1176"/>
                    <a:pt x="1583" y="1183"/>
                  </a:cubicBezTo>
                  <a:cubicBezTo>
                    <a:pt x="1589" y="1190"/>
                    <a:pt x="1589" y="1198"/>
                    <a:pt x="1583" y="1205"/>
                  </a:cubicBezTo>
                  <a:cubicBezTo>
                    <a:pt x="1575" y="1215"/>
                    <a:pt x="1565" y="1220"/>
                    <a:pt x="1553" y="1223"/>
                  </a:cubicBezTo>
                  <a:cubicBezTo>
                    <a:pt x="1534" y="1228"/>
                    <a:pt x="1516" y="1225"/>
                    <a:pt x="1499" y="1219"/>
                  </a:cubicBezTo>
                  <a:cubicBezTo>
                    <a:pt x="1486" y="1214"/>
                    <a:pt x="1479" y="1203"/>
                    <a:pt x="1482" y="1193"/>
                  </a:cubicBezTo>
                  <a:cubicBezTo>
                    <a:pt x="1485" y="1182"/>
                    <a:pt x="1496" y="1168"/>
                    <a:pt x="1514" y="1171"/>
                  </a:cubicBezTo>
                  <a:cubicBezTo>
                    <a:pt x="1526" y="1173"/>
                    <a:pt x="1541" y="1171"/>
                    <a:pt x="1556" y="1172"/>
                  </a:cubicBezTo>
                  <a:close/>
                  <a:moveTo>
                    <a:pt x="1531" y="1019"/>
                  </a:moveTo>
                  <a:cubicBezTo>
                    <a:pt x="1553" y="1017"/>
                    <a:pt x="1570" y="1033"/>
                    <a:pt x="1570" y="1052"/>
                  </a:cubicBezTo>
                  <a:cubicBezTo>
                    <a:pt x="1570" y="1075"/>
                    <a:pt x="1554" y="1093"/>
                    <a:pt x="1532" y="1091"/>
                  </a:cubicBezTo>
                  <a:cubicBezTo>
                    <a:pt x="1508" y="1089"/>
                    <a:pt x="1494" y="1082"/>
                    <a:pt x="1493" y="1053"/>
                  </a:cubicBezTo>
                  <a:cubicBezTo>
                    <a:pt x="1494" y="1029"/>
                    <a:pt x="1508" y="1020"/>
                    <a:pt x="1531" y="1019"/>
                  </a:cubicBezTo>
                  <a:close/>
                  <a:moveTo>
                    <a:pt x="1413" y="934"/>
                  </a:moveTo>
                  <a:cubicBezTo>
                    <a:pt x="1413" y="909"/>
                    <a:pt x="1413" y="909"/>
                    <a:pt x="1389" y="910"/>
                  </a:cubicBezTo>
                  <a:cubicBezTo>
                    <a:pt x="1388" y="910"/>
                    <a:pt x="1387" y="910"/>
                    <a:pt x="1387" y="910"/>
                  </a:cubicBezTo>
                  <a:cubicBezTo>
                    <a:pt x="1379" y="910"/>
                    <a:pt x="1376" y="915"/>
                    <a:pt x="1376" y="921"/>
                  </a:cubicBezTo>
                  <a:cubicBezTo>
                    <a:pt x="1376" y="939"/>
                    <a:pt x="1377" y="956"/>
                    <a:pt x="1377" y="974"/>
                  </a:cubicBezTo>
                  <a:cubicBezTo>
                    <a:pt x="1377" y="983"/>
                    <a:pt x="1377" y="991"/>
                    <a:pt x="1377" y="1000"/>
                  </a:cubicBezTo>
                  <a:cubicBezTo>
                    <a:pt x="1377" y="1005"/>
                    <a:pt x="1374" y="1009"/>
                    <a:pt x="1369" y="1005"/>
                  </a:cubicBezTo>
                  <a:cubicBezTo>
                    <a:pt x="1352" y="990"/>
                    <a:pt x="1332" y="993"/>
                    <a:pt x="1312" y="993"/>
                  </a:cubicBezTo>
                  <a:cubicBezTo>
                    <a:pt x="1303" y="994"/>
                    <a:pt x="1294" y="998"/>
                    <a:pt x="1287" y="1003"/>
                  </a:cubicBezTo>
                  <a:cubicBezTo>
                    <a:pt x="1265" y="1017"/>
                    <a:pt x="1252" y="1039"/>
                    <a:pt x="1248" y="1065"/>
                  </a:cubicBezTo>
                  <a:cubicBezTo>
                    <a:pt x="1244" y="1096"/>
                    <a:pt x="1244" y="1128"/>
                    <a:pt x="1261" y="1157"/>
                  </a:cubicBezTo>
                  <a:cubicBezTo>
                    <a:pt x="1270" y="1170"/>
                    <a:pt x="1281" y="1181"/>
                    <a:pt x="1296" y="1185"/>
                  </a:cubicBezTo>
                  <a:cubicBezTo>
                    <a:pt x="1323" y="1191"/>
                    <a:pt x="1349" y="1188"/>
                    <a:pt x="1370" y="1167"/>
                  </a:cubicBezTo>
                  <a:cubicBezTo>
                    <a:pt x="1372" y="1165"/>
                    <a:pt x="1375" y="1162"/>
                    <a:pt x="1379" y="1163"/>
                  </a:cubicBezTo>
                  <a:cubicBezTo>
                    <a:pt x="1382" y="1165"/>
                    <a:pt x="1381" y="1169"/>
                    <a:pt x="1381" y="1172"/>
                  </a:cubicBezTo>
                  <a:cubicBezTo>
                    <a:pt x="1383" y="1181"/>
                    <a:pt x="1390" y="1186"/>
                    <a:pt x="1403" y="1186"/>
                  </a:cubicBezTo>
                  <a:cubicBezTo>
                    <a:pt x="1413" y="1185"/>
                    <a:pt x="1413" y="1178"/>
                    <a:pt x="1413" y="1172"/>
                  </a:cubicBezTo>
                  <a:cubicBezTo>
                    <a:pt x="1413" y="1131"/>
                    <a:pt x="1413" y="1090"/>
                    <a:pt x="1413" y="1049"/>
                  </a:cubicBezTo>
                  <a:cubicBezTo>
                    <a:pt x="1413" y="1010"/>
                    <a:pt x="1413" y="972"/>
                    <a:pt x="1413" y="934"/>
                  </a:cubicBezTo>
                  <a:close/>
                  <a:moveTo>
                    <a:pt x="1378" y="1113"/>
                  </a:moveTo>
                  <a:cubicBezTo>
                    <a:pt x="1378" y="1136"/>
                    <a:pt x="1360" y="1155"/>
                    <a:pt x="1337" y="1157"/>
                  </a:cubicBezTo>
                  <a:cubicBezTo>
                    <a:pt x="1319" y="1159"/>
                    <a:pt x="1304" y="1154"/>
                    <a:pt x="1294" y="1139"/>
                  </a:cubicBezTo>
                  <a:cubicBezTo>
                    <a:pt x="1286" y="1128"/>
                    <a:pt x="1283" y="1116"/>
                    <a:pt x="1283" y="1102"/>
                  </a:cubicBezTo>
                  <a:cubicBezTo>
                    <a:pt x="1282" y="1085"/>
                    <a:pt x="1282" y="1067"/>
                    <a:pt x="1290" y="1051"/>
                  </a:cubicBezTo>
                  <a:cubicBezTo>
                    <a:pt x="1297" y="1036"/>
                    <a:pt x="1308" y="1024"/>
                    <a:pt x="1325" y="1022"/>
                  </a:cubicBezTo>
                  <a:cubicBezTo>
                    <a:pt x="1342" y="1020"/>
                    <a:pt x="1358" y="1021"/>
                    <a:pt x="1371" y="1035"/>
                  </a:cubicBezTo>
                  <a:cubicBezTo>
                    <a:pt x="1376" y="1041"/>
                    <a:pt x="1378" y="1046"/>
                    <a:pt x="1378" y="1052"/>
                  </a:cubicBezTo>
                  <a:cubicBezTo>
                    <a:pt x="1378" y="1064"/>
                    <a:pt x="1378" y="1075"/>
                    <a:pt x="1378" y="1086"/>
                  </a:cubicBezTo>
                  <a:cubicBezTo>
                    <a:pt x="1378" y="1086"/>
                    <a:pt x="1378" y="1086"/>
                    <a:pt x="1378" y="1086"/>
                  </a:cubicBezTo>
                  <a:cubicBezTo>
                    <a:pt x="1378" y="1095"/>
                    <a:pt x="1378" y="1104"/>
                    <a:pt x="1378" y="1113"/>
                  </a:cubicBezTo>
                  <a:close/>
                  <a:moveTo>
                    <a:pt x="578" y="259"/>
                  </a:moveTo>
                  <a:cubicBezTo>
                    <a:pt x="603" y="241"/>
                    <a:pt x="611" y="213"/>
                    <a:pt x="614" y="183"/>
                  </a:cubicBezTo>
                  <a:cubicBezTo>
                    <a:pt x="615" y="171"/>
                    <a:pt x="610" y="159"/>
                    <a:pt x="609" y="147"/>
                  </a:cubicBezTo>
                  <a:cubicBezTo>
                    <a:pt x="608" y="137"/>
                    <a:pt x="603" y="129"/>
                    <a:pt x="599" y="121"/>
                  </a:cubicBezTo>
                  <a:cubicBezTo>
                    <a:pt x="579" y="87"/>
                    <a:pt x="527" y="70"/>
                    <a:pt x="488" y="85"/>
                  </a:cubicBezTo>
                  <a:cubicBezTo>
                    <a:pt x="453" y="99"/>
                    <a:pt x="436" y="127"/>
                    <a:pt x="431" y="163"/>
                  </a:cubicBezTo>
                  <a:cubicBezTo>
                    <a:pt x="429" y="180"/>
                    <a:pt x="430" y="196"/>
                    <a:pt x="436" y="213"/>
                  </a:cubicBezTo>
                  <a:cubicBezTo>
                    <a:pt x="439" y="222"/>
                    <a:pt x="442" y="232"/>
                    <a:pt x="447" y="239"/>
                  </a:cubicBezTo>
                  <a:cubicBezTo>
                    <a:pt x="465" y="265"/>
                    <a:pt x="491" y="277"/>
                    <a:pt x="525" y="276"/>
                  </a:cubicBezTo>
                  <a:cubicBezTo>
                    <a:pt x="543" y="278"/>
                    <a:pt x="562" y="271"/>
                    <a:pt x="578" y="259"/>
                  </a:cubicBezTo>
                  <a:close/>
                  <a:moveTo>
                    <a:pt x="471" y="205"/>
                  </a:moveTo>
                  <a:cubicBezTo>
                    <a:pt x="466" y="185"/>
                    <a:pt x="468" y="167"/>
                    <a:pt x="472" y="147"/>
                  </a:cubicBezTo>
                  <a:cubicBezTo>
                    <a:pt x="477" y="130"/>
                    <a:pt x="493" y="116"/>
                    <a:pt x="509" y="112"/>
                  </a:cubicBezTo>
                  <a:cubicBezTo>
                    <a:pt x="525" y="108"/>
                    <a:pt x="539" y="110"/>
                    <a:pt x="553" y="119"/>
                  </a:cubicBezTo>
                  <a:cubicBezTo>
                    <a:pt x="563" y="125"/>
                    <a:pt x="568" y="135"/>
                    <a:pt x="571" y="146"/>
                  </a:cubicBezTo>
                  <a:cubicBezTo>
                    <a:pt x="577" y="167"/>
                    <a:pt x="578" y="189"/>
                    <a:pt x="571" y="211"/>
                  </a:cubicBezTo>
                  <a:cubicBezTo>
                    <a:pt x="565" y="231"/>
                    <a:pt x="549" y="249"/>
                    <a:pt x="521" y="247"/>
                  </a:cubicBezTo>
                  <a:cubicBezTo>
                    <a:pt x="496" y="247"/>
                    <a:pt x="478" y="230"/>
                    <a:pt x="471" y="205"/>
                  </a:cubicBezTo>
                  <a:close/>
                  <a:moveTo>
                    <a:pt x="472" y="1122"/>
                  </a:moveTo>
                  <a:cubicBezTo>
                    <a:pt x="475" y="1136"/>
                    <a:pt x="481" y="1148"/>
                    <a:pt x="491" y="1158"/>
                  </a:cubicBezTo>
                  <a:cubicBezTo>
                    <a:pt x="506" y="1176"/>
                    <a:pt x="524" y="1185"/>
                    <a:pt x="548" y="1187"/>
                  </a:cubicBezTo>
                  <a:cubicBezTo>
                    <a:pt x="568" y="1188"/>
                    <a:pt x="587" y="1187"/>
                    <a:pt x="605" y="1177"/>
                  </a:cubicBezTo>
                  <a:cubicBezTo>
                    <a:pt x="632" y="1162"/>
                    <a:pt x="644" y="1136"/>
                    <a:pt x="649" y="1107"/>
                  </a:cubicBezTo>
                  <a:cubicBezTo>
                    <a:pt x="652" y="1089"/>
                    <a:pt x="649" y="1072"/>
                    <a:pt x="644" y="1054"/>
                  </a:cubicBezTo>
                  <a:cubicBezTo>
                    <a:pt x="638" y="1034"/>
                    <a:pt x="627" y="1019"/>
                    <a:pt x="610" y="1007"/>
                  </a:cubicBezTo>
                  <a:cubicBezTo>
                    <a:pt x="589" y="992"/>
                    <a:pt x="566" y="991"/>
                    <a:pt x="541" y="994"/>
                  </a:cubicBezTo>
                  <a:cubicBezTo>
                    <a:pt x="526" y="995"/>
                    <a:pt x="512" y="1002"/>
                    <a:pt x="500" y="1012"/>
                  </a:cubicBezTo>
                  <a:cubicBezTo>
                    <a:pt x="476" y="1032"/>
                    <a:pt x="469" y="1060"/>
                    <a:pt x="466" y="1095"/>
                  </a:cubicBezTo>
                  <a:cubicBezTo>
                    <a:pt x="465" y="1101"/>
                    <a:pt x="470" y="1111"/>
                    <a:pt x="472" y="1122"/>
                  </a:cubicBezTo>
                  <a:close/>
                  <a:moveTo>
                    <a:pt x="508" y="1113"/>
                  </a:moveTo>
                  <a:cubicBezTo>
                    <a:pt x="505" y="1095"/>
                    <a:pt x="506" y="1078"/>
                    <a:pt x="508" y="1061"/>
                  </a:cubicBezTo>
                  <a:cubicBezTo>
                    <a:pt x="511" y="1042"/>
                    <a:pt x="538" y="1021"/>
                    <a:pt x="554" y="1022"/>
                  </a:cubicBezTo>
                  <a:cubicBezTo>
                    <a:pt x="570" y="1022"/>
                    <a:pt x="586" y="1024"/>
                    <a:pt x="596" y="1037"/>
                  </a:cubicBezTo>
                  <a:cubicBezTo>
                    <a:pt x="602" y="1044"/>
                    <a:pt x="607" y="1052"/>
                    <a:pt x="608" y="1061"/>
                  </a:cubicBezTo>
                  <a:cubicBezTo>
                    <a:pt x="608" y="1064"/>
                    <a:pt x="609" y="1067"/>
                    <a:pt x="610" y="1070"/>
                  </a:cubicBezTo>
                  <a:cubicBezTo>
                    <a:pt x="618" y="1089"/>
                    <a:pt x="612" y="1107"/>
                    <a:pt x="607" y="1125"/>
                  </a:cubicBezTo>
                  <a:cubicBezTo>
                    <a:pt x="601" y="1143"/>
                    <a:pt x="588" y="1160"/>
                    <a:pt x="558" y="1157"/>
                  </a:cubicBezTo>
                  <a:cubicBezTo>
                    <a:pt x="530" y="1157"/>
                    <a:pt x="512" y="1141"/>
                    <a:pt x="508" y="1113"/>
                  </a:cubicBezTo>
                  <a:close/>
                  <a:moveTo>
                    <a:pt x="430" y="716"/>
                  </a:moveTo>
                  <a:cubicBezTo>
                    <a:pt x="450" y="703"/>
                    <a:pt x="459" y="683"/>
                    <a:pt x="464" y="661"/>
                  </a:cubicBezTo>
                  <a:cubicBezTo>
                    <a:pt x="468" y="648"/>
                    <a:pt x="467" y="635"/>
                    <a:pt x="466" y="621"/>
                  </a:cubicBezTo>
                  <a:cubicBezTo>
                    <a:pt x="463" y="592"/>
                    <a:pt x="453" y="567"/>
                    <a:pt x="427" y="550"/>
                  </a:cubicBezTo>
                  <a:cubicBezTo>
                    <a:pt x="401" y="534"/>
                    <a:pt x="372" y="532"/>
                    <a:pt x="345" y="541"/>
                  </a:cubicBezTo>
                  <a:cubicBezTo>
                    <a:pt x="310" y="552"/>
                    <a:pt x="291" y="580"/>
                    <a:pt x="287" y="617"/>
                  </a:cubicBezTo>
                  <a:cubicBezTo>
                    <a:pt x="286" y="629"/>
                    <a:pt x="286" y="641"/>
                    <a:pt x="287" y="654"/>
                  </a:cubicBezTo>
                  <a:cubicBezTo>
                    <a:pt x="289" y="671"/>
                    <a:pt x="295" y="686"/>
                    <a:pt x="306" y="700"/>
                  </a:cubicBezTo>
                  <a:cubicBezTo>
                    <a:pt x="324" y="722"/>
                    <a:pt x="348" y="733"/>
                    <a:pt x="378" y="731"/>
                  </a:cubicBezTo>
                  <a:cubicBezTo>
                    <a:pt x="396" y="733"/>
                    <a:pt x="414" y="727"/>
                    <a:pt x="430" y="716"/>
                  </a:cubicBezTo>
                  <a:close/>
                  <a:moveTo>
                    <a:pt x="331" y="592"/>
                  </a:moveTo>
                  <a:cubicBezTo>
                    <a:pt x="339" y="580"/>
                    <a:pt x="349" y="569"/>
                    <a:pt x="365" y="567"/>
                  </a:cubicBezTo>
                  <a:cubicBezTo>
                    <a:pt x="387" y="564"/>
                    <a:pt x="406" y="568"/>
                    <a:pt x="419" y="588"/>
                  </a:cubicBezTo>
                  <a:cubicBezTo>
                    <a:pt x="423" y="595"/>
                    <a:pt x="426" y="603"/>
                    <a:pt x="427" y="610"/>
                  </a:cubicBezTo>
                  <a:cubicBezTo>
                    <a:pt x="433" y="635"/>
                    <a:pt x="431" y="661"/>
                    <a:pt x="416" y="684"/>
                  </a:cubicBezTo>
                  <a:cubicBezTo>
                    <a:pt x="403" y="706"/>
                    <a:pt x="362" y="708"/>
                    <a:pt x="345" y="692"/>
                  </a:cubicBezTo>
                  <a:cubicBezTo>
                    <a:pt x="329" y="678"/>
                    <a:pt x="323" y="661"/>
                    <a:pt x="323" y="631"/>
                  </a:cubicBezTo>
                  <a:cubicBezTo>
                    <a:pt x="323" y="619"/>
                    <a:pt x="323" y="605"/>
                    <a:pt x="331" y="592"/>
                  </a:cubicBezTo>
                  <a:close/>
                  <a:moveTo>
                    <a:pt x="1073" y="259"/>
                  </a:moveTo>
                  <a:cubicBezTo>
                    <a:pt x="1073" y="269"/>
                    <a:pt x="1075" y="272"/>
                    <a:pt x="1086" y="272"/>
                  </a:cubicBezTo>
                  <a:cubicBezTo>
                    <a:pt x="1088" y="272"/>
                    <a:pt x="1090" y="272"/>
                    <a:pt x="1092" y="272"/>
                  </a:cubicBezTo>
                  <a:cubicBezTo>
                    <a:pt x="1105" y="272"/>
                    <a:pt x="1106" y="271"/>
                    <a:pt x="1106" y="258"/>
                  </a:cubicBezTo>
                  <a:cubicBezTo>
                    <a:pt x="1106" y="221"/>
                    <a:pt x="1106" y="184"/>
                    <a:pt x="1106" y="147"/>
                  </a:cubicBezTo>
                  <a:cubicBezTo>
                    <a:pt x="1106" y="143"/>
                    <a:pt x="1106" y="140"/>
                    <a:pt x="1107" y="137"/>
                  </a:cubicBezTo>
                  <a:cubicBezTo>
                    <a:pt x="1117" y="117"/>
                    <a:pt x="1157" y="104"/>
                    <a:pt x="1177" y="114"/>
                  </a:cubicBezTo>
                  <a:cubicBezTo>
                    <a:pt x="1179" y="115"/>
                    <a:pt x="1180" y="117"/>
                    <a:pt x="1182" y="118"/>
                  </a:cubicBezTo>
                  <a:cubicBezTo>
                    <a:pt x="1194" y="131"/>
                    <a:pt x="1196" y="147"/>
                    <a:pt x="1196" y="163"/>
                  </a:cubicBezTo>
                  <a:cubicBezTo>
                    <a:pt x="1197" y="195"/>
                    <a:pt x="1196" y="226"/>
                    <a:pt x="1196" y="258"/>
                  </a:cubicBezTo>
                  <a:cubicBezTo>
                    <a:pt x="1196" y="271"/>
                    <a:pt x="1197" y="272"/>
                    <a:pt x="1210" y="272"/>
                  </a:cubicBezTo>
                  <a:cubicBezTo>
                    <a:pt x="1212" y="272"/>
                    <a:pt x="1213" y="272"/>
                    <a:pt x="1215" y="272"/>
                  </a:cubicBezTo>
                  <a:cubicBezTo>
                    <a:pt x="1227" y="272"/>
                    <a:pt x="1229" y="270"/>
                    <a:pt x="1229" y="258"/>
                  </a:cubicBezTo>
                  <a:cubicBezTo>
                    <a:pt x="1229" y="222"/>
                    <a:pt x="1229" y="187"/>
                    <a:pt x="1229" y="151"/>
                  </a:cubicBezTo>
                  <a:cubicBezTo>
                    <a:pt x="1229" y="142"/>
                    <a:pt x="1228" y="132"/>
                    <a:pt x="1225" y="123"/>
                  </a:cubicBezTo>
                  <a:cubicBezTo>
                    <a:pt x="1219" y="105"/>
                    <a:pt x="1208" y="91"/>
                    <a:pt x="1189" y="85"/>
                  </a:cubicBezTo>
                  <a:cubicBezTo>
                    <a:pt x="1173" y="80"/>
                    <a:pt x="1156" y="84"/>
                    <a:pt x="1139" y="84"/>
                  </a:cubicBezTo>
                  <a:cubicBezTo>
                    <a:pt x="1137" y="84"/>
                    <a:pt x="1136" y="86"/>
                    <a:pt x="1134" y="87"/>
                  </a:cubicBezTo>
                  <a:cubicBezTo>
                    <a:pt x="1128" y="91"/>
                    <a:pt x="1121" y="96"/>
                    <a:pt x="1115" y="100"/>
                  </a:cubicBezTo>
                  <a:cubicBezTo>
                    <a:pt x="1113" y="102"/>
                    <a:pt x="1111" y="105"/>
                    <a:pt x="1108" y="103"/>
                  </a:cubicBezTo>
                  <a:cubicBezTo>
                    <a:pt x="1105" y="102"/>
                    <a:pt x="1106" y="98"/>
                    <a:pt x="1106" y="96"/>
                  </a:cubicBezTo>
                  <a:cubicBezTo>
                    <a:pt x="1106" y="69"/>
                    <a:pt x="1106" y="43"/>
                    <a:pt x="1106" y="17"/>
                  </a:cubicBezTo>
                  <a:cubicBezTo>
                    <a:pt x="1106" y="0"/>
                    <a:pt x="1106" y="0"/>
                    <a:pt x="1089" y="0"/>
                  </a:cubicBezTo>
                  <a:cubicBezTo>
                    <a:pt x="1074" y="0"/>
                    <a:pt x="1073" y="1"/>
                    <a:pt x="1073" y="16"/>
                  </a:cubicBezTo>
                  <a:cubicBezTo>
                    <a:pt x="1073" y="56"/>
                    <a:pt x="1073" y="96"/>
                    <a:pt x="1073" y="136"/>
                  </a:cubicBezTo>
                  <a:cubicBezTo>
                    <a:pt x="1073" y="177"/>
                    <a:pt x="1073" y="218"/>
                    <a:pt x="1073" y="259"/>
                  </a:cubicBezTo>
                  <a:close/>
                  <a:moveTo>
                    <a:pt x="1150" y="1092"/>
                  </a:moveTo>
                  <a:cubicBezTo>
                    <a:pt x="1168" y="1092"/>
                    <a:pt x="1186" y="1092"/>
                    <a:pt x="1204" y="1092"/>
                  </a:cubicBezTo>
                  <a:cubicBezTo>
                    <a:pt x="1215" y="1092"/>
                    <a:pt x="1218" y="1087"/>
                    <a:pt x="1219" y="1077"/>
                  </a:cubicBezTo>
                  <a:cubicBezTo>
                    <a:pt x="1220" y="1062"/>
                    <a:pt x="1216" y="1049"/>
                    <a:pt x="1210" y="1036"/>
                  </a:cubicBezTo>
                  <a:cubicBezTo>
                    <a:pt x="1204" y="1020"/>
                    <a:pt x="1193" y="1008"/>
                    <a:pt x="1177" y="1001"/>
                  </a:cubicBezTo>
                  <a:cubicBezTo>
                    <a:pt x="1155" y="992"/>
                    <a:pt x="1133" y="991"/>
                    <a:pt x="1109" y="999"/>
                  </a:cubicBezTo>
                  <a:cubicBezTo>
                    <a:pt x="1079" y="1010"/>
                    <a:pt x="1062" y="1031"/>
                    <a:pt x="1056" y="1061"/>
                  </a:cubicBezTo>
                  <a:cubicBezTo>
                    <a:pt x="1051" y="1090"/>
                    <a:pt x="1052" y="1120"/>
                    <a:pt x="1069" y="1148"/>
                  </a:cubicBezTo>
                  <a:cubicBezTo>
                    <a:pt x="1081" y="1169"/>
                    <a:pt x="1100" y="1180"/>
                    <a:pt x="1122" y="1185"/>
                  </a:cubicBezTo>
                  <a:cubicBezTo>
                    <a:pt x="1149" y="1190"/>
                    <a:pt x="1176" y="1186"/>
                    <a:pt x="1200" y="1171"/>
                  </a:cubicBezTo>
                  <a:cubicBezTo>
                    <a:pt x="1206" y="1168"/>
                    <a:pt x="1213" y="1165"/>
                    <a:pt x="1214" y="1157"/>
                  </a:cubicBezTo>
                  <a:cubicBezTo>
                    <a:pt x="1215" y="1147"/>
                    <a:pt x="1202" y="1139"/>
                    <a:pt x="1193" y="1144"/>
                  </a:cubicBezTo>
                  <a:cubicBezTo>
                    <a:pt x="1187" y="1147"/>
                    <a:pt x="1180" y="1150"/>
                    <a:pt x="1174" y="1153"/>
                  </a:cubicBezTo>
                  <a:cubicBezTo>
                    <a:pt x="1158" y="1161"/>
                    <a:pt x="1140" y="1161"/>
                    <a:pt x="1124" y="1155"/>
                  </a:cubicBezTo>
                  <a:cubicBezTo>
                    <a:pt x="1112" y="1151"/>
                    <a:pt x="1102" y="1142"/>
                    <a:pt x="1096" y="1129"/>
                  </a:cubicBezTo>
                  <a:cubicBezTo>
                    <a:pt x="1092" y="1121"/>
                    <a:pt x="1091" y="1112"/>
                    <a:pt x="1089" y="1104"/>
                  </a:cubicBezTo>
                  <a:cubicBezTo>
                    <a:pt x="1087" y="1093"/>
                    <a:pt x="1087" y="1092"/>
                    <a:pt x="1099" y="1092"/>
                  </a:cubicBezTo>
                  <a:cubicBezTo>
                    <a:pt x="1116" y="1092"/>
                    <a:pt x="1133" y="1092"/>
                    <a:pt x="1150" y="1092"/>
                  </a:cubicBezTo>
                  <a:cubicBezTo>
                    <a:pt x="1150" y="1092"/>
                    <a:pt x="1150" y="1092"/>
                    <a:pt x="1150" y="1092"/>
                  </a:cubicBezTo>
                  <a:close/>
                  <a:moveTo>
                    <a:pt x="1099" y="1070"/>
                  </a:moveTo>
                  <a:cubicBezTo>
                    <a:pt x="1092" y="1071"/>
                    <a:pt x="1089" y="1067"/>
                    <a:pt x="1091" y="1060"/>
                  </a:cubicBezTo>
                  <a:cubicBezTo>
                    <a:pt x="1094" y="1045"/>
                    <a:pt x="1108" y="1023"/>
                    <a:pt x="1128" y="1022"/>
                  </a:cubicBezTo>
                  <a:cubicBezTo>
                    <a:pt x="1142" y="1021"/>
                    <a:pt x="1156" y="1018"/>
                    <a:pt x="1168" y="1029"/>
                  </a:cubicBezTo>
                  <a:cubicBezTo>
                    <a:pt x="1181" y="1038"/>
                    <a:pt x="1185" y="1051"/>
                    <a:pt x="1187" y="1066"/>
                  </a:cubicBezTo>
                  <a:cubicBezTo>
                    <a:pt x="1188" y="1071"/>
                    <a:pt x="1183" y="1070"/>
                    <a:pt x="1180" y="1070"/>
                  </a:cubicBezTo>
                  <a:cubicBezTo>
                    <a:pt x="1166" y="1070"/>
                    <a:pt x="1153" y="1070"/>
                    <a:pt x="1139" y="1070"/>
                  </a:cubicBezTo>
                  <a:cubicBezTo>
                    <a:pt x="1139" y="1070"/>
                    <a:pt x="1139" y="1070"/>
                    <a:pt x="1139" y="1070"/>
                  </a:cubicBezTo>
                  <a:cubicBezTo>
                    <a:pt x="1126" y="1070"/>
                    <a:pt x="1113" y="1070"/>
                    <a:pt x="1099" y="1070"/>
                  </a:cubicBezTo>
                  <a:close/>
                  <a:moveTo>
                    <a:pt x="1741" y="1092"/>
                  </a:moveTo>
                  <a:cubicBezTo>
                    <a:pt x="1759" y="1092"/>
                    <a:pt x="1776" y="1092"/>
                    <a:pt x="1793" y="1092"/>
                  </a:cubicBezTo>
                  <a:cubicBezTo>
                    <a:pt x="1806" y="1092"/>
                    <a:pt x="1808" y="1089"/>
                    <a:pt x="1808" y="1076"/>
                  </a:cubicBezTo>
                  <a:cubicBezTo>
                    <a:pt x="1809" y="1063"/>
                    <a:pt x="1807" y="1051"/>
                    <a:pt x="1802" y="1038"/>
                  </a:cubicBezTo>
                  <a:cubicBezTo>
                    <a:pt x="1794" y="1021"/>
                    <a:pt x="1782" y="1008"/>
                    <a:pt x="1764" y="1000"/>
                  </a:cubicBezTo>
                  <a:cubicBezTo>
                    <a:pt x="1742" y="991"/>
                    <a:pt x="1720" y="991"/>
                    <a:pt x="1698" y="1000"/>
                  </a:cubicBezTo>
                  <a:cubicBezTo>
                    <a:pt x="1681" y="1006"/>
                    <a:pt x="1668" y="1016"/>
                    <a:pt x="1659" y="1031"/>
                  </a:cubicBezTo>
                  <a:cubicBezTo>
                    <a:pt x="1646" y="1050"/>
                    <a:pt x="1643" y="1071"/>
                    <a:pt x="1644" y="1094"/>
                  </a:cubicBezTo>
                  <a:cubicBezTo>
                    <a:pt x="1644" y="1110"/>
                    <a:pt x="1647" y="1127"/>
                    <a:pt x="1655" y="1141"/>
                  </a:cubicBezTo>
                  <a:cubicBezTo>
                    <a:pt x="1669" y="1168"/>
                    <a:pt x="1691" y="1183"/>
                    <a:pt x="1722" y="1186"/>
                  </a:cubicBezTo>
                  <a:cubicBezTo>
                    <a:pt x="1750" y="1188"/>
                    <a:pt x="1775" y="1183"/>
                    <a:pt x="1798" y="1165"/>
                  </a:cubicBezTo>
                  <a:cubicBezTo>
                    <a:pt x="1803" y="1161"/>
                    <a:pt x="1806" y="1157"/>
                    <a:pt x="1802" y="1151"/>
                  </a:cubicBezTo>
                  <a:cubicBezTo>
                    <a:pt x="1798" y="1144"/>
                    <a:pt x="1791" y="1140"/>
                    <a:pt x="1783" y="1144"/>
                  </a:cubicBezTo>
                  <a:cubicBezTo>
                    <a:pt x="1778" y="1147"/>
                    <a:pt x="1771" y="1149"/>
                    <a:pt x="1766" y="1152"/>
                  </a:cubicBezTo>
                  <a:cubicBezTo>
                    <a:pt x="1749" y="1161"/>
                    <a:pt x="1730" y="1162"/>
                    <a:pt x="1714" y="1155"/>
                  </a:cubicBezTo>
                  <a:cubicBezTo>
                    <a:pt x="1692" y="1145"/>
                    <a:pt x="1680" y="1127"/>
                    <a:pt x="1679" y="1102"/>
                  </a:cubicBezTo>
                  <a:cubicBezTo>
                    <a:pt x="1678" y="1095"/>
                    <a:pt x="1681" y="1092"/>
                    <a:pt x="1689" y="1092"/>
                  </a:cubicBezTo>
                  <a:cubicBezTo>
                    <a:pt x="1706" y="1092"/>
                    <a:pt x="1724" y="1092"/>
                    <a:pt x="1741" y="1092"/>
                  </a:cubicBezTo>
                  <a:cubicBezTo>
                    <a:pt x="1741" y="1092"/>
                    <a:pt x="1741" y="1092"/>
                    <a:pt x="1741" y="1092"/>
                  </a:cubicBezTo>
                  <a:close/>
                  <a:moveTo>
                    <a:pt x="1690" y="1070"/>
                  </a:moveTo>
                  <a:cubicBezTo>
                    <a:pt x="1683" y="1071"/>
                    <a:pt x="1680" y="1068"/>
                    <a:pt x="1681" y="1062"/>
                  </a:cubicBezTo>
                  <a:cubicBezTo>
                    <a:pt x="1683" y="1048"/>
                    <a:pt x="1697" y="1024"/>
                    <a:pt x="1716" y="1022"/>
                  </a:cubicBezTo>
                  <a:cubicBezTo>
                    <a:pt x="1731" y="1020"/>
                    <a:pt x="1747" y="1018"/>
                    <a:pt x="1760" y="1030"/>
                  </a:cubicBezTo>
                  <a:cubicBezTo>
                    <a:pt x="1771" y="1038"/>
                    <a:pt x="1775" y="1050"/>
                    <a:pt x="1778" y="1062"/>
                  </a:cubicBezTo>
                  <a:cubicBezTo>
                    <a:pt x="1780" y="1068"/>
                    <a:pt x="1775" y="1070"/>
                    <a:pt x="1769" y="1070"/>
                  </a:cubicBezTo>
                  <a:cubicBezTo>
                    <a:pt x="1756" y="1070"/>
                    <a:pt x="1742" y="1070"/>
                    <a:pt x="1729" y="1070"/>
                  </a:cubicBezTo>
                  <a:cubicBezTo>
                    <a:pt x="1729" y="1070"/>
                    <a:pt x="1729" y="1070"/>
                    <a:pt x="1729" y="1070"/>
                  </a:cubicBezTo>
                  <a:cubicBezTo>
                    <a:pt x="1716" y="1070"/>
                    <a:pt x="1703" y="1070"/>
                    <a:pt x="1690" y="1070"/>
                  </a:cubicBezTo>
                  <a:close/>
                  <a:moveTo>
                    <a:pt x="68" y="581"/>
                  </a:moveTo>
                  <a:cubicBezTo>
                    <a:pt x="68" y="573"/>
                    <a:pt x="70" y="568"/>
                    <a:pt x="80" y="569"/>
                  </a:cubicBezTo>
                  <a:cubicBezTo>
                    <a:pt x="90" y="570"/>
                    <a:pt x="101" y="570"/>
                    <a:pt x="111" y="569"/>
                  </a:cubicBezTo>
                  <a:cubicBezTo>
                    <a:pt x="120" y="569"/>
                    <a:pt x="120" y="563"/>
                    <a:pt x="120" y="556"/>
                  </a:cubicBezTo>
                  <a:cubicBezTo>
                    <a:pt x="120" y="549"/>
                    <a:pt x="119" y="544"/>
                    <a:pt x="111" y="544"/>
                  </a:cubicBezTo>
                  <a:cubicBezTo>
                    <a:pt x="104" y="544"/>
                    <a:pt x="97" y="544"/>
                    <a:pt x="91" y="544"/>
                  </a:cubicBezTo>
                  <a:cubicBezTo>
                    <a:pt x="66" y="544"/>
                    <a:pt x="65" y="543"/>
                    <a:pt x="68" y="518"/>
                  </a:cubicBezTo>
                  <a:cubicBezTo>
                    <a:pt x="69" y="504"/>
                    <a:pt x="83" y="487"/>
                    <a:pt x="99" y="489"/>
                  </a:cubicBezTo>
                  <a:cubicBezTo>
                    <a:pt x="103" y="489"/>
                    <a:pt x="107" y="489"/>
                    <a:pt x="110" y="488"/>
                  </a:cubicBezTo>
                  <a:cubicBezTo>
                    <a:pt x="118" y="487"/>
                    <a:pt x="123" y="479"/>
                    <a:pt x="123" y="471"/>
                  </a:cubicBezTo>
                  <a:cubicBezTo>
                    <a:pt x="123" y="461"/>
                    <a:pt x="116" y="462"/>
                    <a:pt x="109" y="460"/>
                  </a:cubicBezTo>
                  <a:cubicBezTo>
                    <a:pt x="100" y="458"/>
                    <a:pt x="92" y="460"/>
                    <a:pt x="84" y="460"/>
                  </a:cubicBezTo>
                  <a:cubicBezTo>
                    <a:pt x="68" y="461"/>
                    <a:pt x="56" y="469"/>
                    <a:pt x="47" y="480"/>
                  </a:cubicBezTo>
                  <a:cubicBezTo>
                    <a:pt x="34" y="493"/>
                    <a:pt x="32" y="511"/>
                    <a:pt x="32" y="529"/>
                  </a:cubicBezTo>
                  <a:cubicBezTo>
                    <a:pt x="32" y="544"/>
                    <a:pt x="32" y="544"/>
                    <a:pt x="17" y="544"/>
                  </a:cubicBezTo>
                  <a:cubicBezTo>
                    <a:pt x="4" y="543"/>
                    <a:pt x="0" y="548"/>
                    <a:pt x="4" y="561"/>
                  </a:cubicBezTo>
                  <a:cubicBezTo>
                    <a:pt x="6" y="569"/>
                    <a:pt x="13" y="568"/>
                    <a:pt x="19" y="569"/>
                  </a:cubicBezTo>
                  <a:cubicBezTo>
                    <a:pt x="32" y="571"/>
                    <a:pt x="32" y="571"/>
                    <a:pt x="32" y="584"/>
                  </a:cubicBezTo>
                  <a:cubicBezTo>
                    <a:pt x="32" y="624"/>
                    <a:pt x="32" y="664"/>
                    <a:pt x="32" y="704"/>
                  </a:cubicBezTo>
                  <a:cubicBezTo>
                    <a:pt x="32" y="731"/>
                    <a:pt x="32" y="730"/>
                    <a:pt x="57" y="731"/>
                  </a:cubicBezTo>
                  <a:cubicBezTo>
                    <a:pt x="66" y="731"/>
                    <a:pt x="68" y="727"/>
                    <a:pt x="68" y="720"/>
                  </a:cubicBezTo>
                  <a:cubicBezTo>
                    <a:pt x="68" y="697"/>
                    <a:pt x="68" y="674"/>
                    <a:pt x="68" y="651"/>
                  </a:cubicBezTo>
                  <a:cubicBezTo>
                    <a:pt x="68" y="628"/>
                    <a:pt x="68" y="605"/>
                    <a:pt x="68" y="581"/>
                  </a:cubicBezTo>
                  <a:close/>
                  <a:moveTo>
                    <a:pt x="278" y="1165"/>
                  </a:moveTo>
                  <a:cubicBezTo>
                    <a:pt x="278" y="1183"/>
                    <a:pt x="278" y="1183"/>
                    <a:pt x="296" y="1184"/>
                  </a:cubicBezTo>
                  <a:cubicBezTo>
                    <a:pt x="310" y="1184"/>
                    <a:pt x="310" y="1184"/>
                    <a:pt x="310" y="1169"/>
                  </a:cubicBezTo>
                  <a:cubicBezTo>
                    <a:pt x="310" y="1132"/>
                    <a:pt x="310" y="1095"/>
                    <a:pt x="310" y="1058"/>
                  </a:cubicBezTo>
                  <a:cubicBezTo>
                    <a:pt x="310" y="1052"/>
                    <a:pt x="312" y="1047"/>
                    <a:pt x="316" y="1042"/>
                  </a:cubicBezTo>
                  <a:cubicBezTo>
                    <a:pt x="324" y="1033"/>
                    <a:pt x="334" y="1027"/>
                    <a:pt x="345" y="1024"/>
                  </a:cubicBezTo>
                  <a:cubicBezTo>
                    <a:pt x="357" y="1020"/>
                    <a:pt x="371" y="1018"/>
                    <a:pt x="383" y="1028"/>
                  </a:cubicBezTo>
                  <a:cubicBezTo>
                    <a:pt x="397" y="1039"/>
                    <a:pt x="401" y="1054"/>
                    <a:pt x="401" y="1071"/>
                  </a:cubicBezTo>
                  <a:cubicBezTo>
                    <a:pt x="401" y="1102"/>
                    <a:pt x="401" y="1132"/>
                    <a:pt x="401" y="1163"/>
                  </a:cubicBezTo>
                  <a:cubicBezTo>
                    <a:pt x="401" y="1183"/>
                    <a:pt x="401" y="1182"/>
                    <a:pt x="420" y="1184"/>
                  </a:cubicBezTo>
                  <a:cubicBezTo>
                    <a:pt x="429" y="1185"/>
                    <a:pt x="433" y="1181"/>
                    <a:pt x="433" y="1173"/>
                  </a:cubicBezTo>
                  <a:cubicBezTo>
                    <a:pt x="432" y="1130"/>
                    <a:pt x="435" y="1087"/>
                    <a:pt x="431" y="1044"/>
                  </a:cubicBezTo>
                  <a:cubicBezTo>
                    <a:pt x="427" y="1014"/>
                    <a:pt x="404" y="996"/>
                    <a:pt x="376" y="994"/>
                  </a:cubicBezTo>
                  <a:cubicBezTo>
                    <a:pt x="353" y="992"/>
                    <a:pt x="333" y="1000"/>
                    <a:pt x="317" y="1017"/>
                  </a:cubicBezTo>
                  <a:cubicBezTo>
                    <a:pt x="312" y="1021"/>
                    <a:pt x="311" y="1019"/>
                    <a:pt x="309" y="1015"/>
                  </a:cubicBezTo>
                  <a:cubicBezTo>
                    <a:pt x="309" y="1013"/>
                    <a:pt x="308" y="1011"/>
                    <a:pt x="308" y="1008"/>
                  </a:cubicBezTo>
                  <a:cubicBezTo>
                    <a:pt x="306" y="1001"/>
                    <a:pt x="298" y="997"/>
                    <a:pt x="287" y="998"/>
                  </a:cubicBezTo>
                  <a:cubicBezTo>
                    <a:pt x="279" y="999"/>
                    <a:pt x="278" y="1004"/>
                    <a:pt x="278" y="1011"/>
                  </a:cubicBezTo>
                  <a:cubicBezTo>
                    <a:pt x="278" y="1037"/>
                    <a:pt x="278" y="1064"/>
                    <a:pt x="278" y="1091"/>
                  </a:cubicBezTo>
                  <a:cubicBezTo>
                    <a:pt x="278" y="1115"/>
                    <a:pt x="278" y="1140"/>
                    <a:pt x="278" y="1165"/>
                  </a:cubicBezTo>
                  <a:close/>
                  <a:moveTo>
                    <a:pt x="150" y="705"/>
                  </a:moveTo>
                  <a:cubicBezTo>
                    <a:pt x="150" y="734"/>
                    <a:pt x="145" y="730"/>
                    <a:pt x="176" y="731"/>
                  </a:cubicBezTo>
                  <a:cubicBezTo>
                    <a:pt x="185" y="731"/>
                    <a:pt x="187" y="727"/>
                    <a:pt x="187" y="719"/>
                  </a:cubicBezTo>
                  <a:cubicBezTo>
                    <a:pt x="187" y="685"/>
                    <a:pt x="187" y="651"/>
                    <a:pt x="187" y="618"/>
                  </a:cubicBezTo>
                  <a:cubicBezTo>
                    <a:pt x="187" y="597"/>
                    <a:pt x="204" y="578"/>
                    <a:pt x="225" y="574"/>
                  </a:cubicBezTo>
                  <a:cubicBezTo>
                    <a:pt x="232" y="572"/>
                    <a:pt x="240" y="574"/>
                    <a:pt x="247" y="575"/>
                  </a:cubicBezTo>
                  <a:cubicBezTo>
                    <a:pt x="257" y="576"/>
                    <a:pt x="261" y="572"/>
                    <a:pt x="265" y="564"/>
                  </a:cubicBezTo>
                  <a:cubicBezTo>
                    <a:pt x="269" y="556"/>
                    <a:pt x="267" y="542"/>
                    <a:pt x="261" y="540"/>
                  </a:cubicBezTo>
                  <a:cubicBezTo>
                    <a:pt x="253" y="538"/>
                    <a:pt x="244" y="534"/>
                    <a:pt x="237" y="536"/>
                  </a:cubicBezTo>
                  <a:cubicBezTo>
                    <a:pt x="228" y="537"/>
                    <a:pt x="217" y="537"/>
                    <a:pt x="209" y="544"/>
                  </a:cubicBezTo>
                  <a:cubicBezTo>
                    <a:pt x="204" y="549"/>
                    <a:pt x="198" y="553"/>
                    <a:pt x="194" y="558"/>
                  </a:cubicBezTo>
                  <a:cubicBezTo>
                    <a:pt x="192" y="561"/>
                    <a:pt x="189" y="563"/>
                    <a:pt x="185" y="562"/>
                  </a:cubicBezTo>
                  <a:cubicBezTo>
                    <a:pt x="182" y="561"/>
                    <a:pt x="182" y="558"/>
                    <a:pt x="182" y="556"/>
                  </a:cubicBezTo>
                  <a:cubicBezTo>
                    <a:pt x="180" y="539"/>
                    <a:pt x="179" y="539"/>
                    <a:pt x="162" y="539"/>
                  </a:cubicBezTo>
                  <a:cubicBezTo>
                    <a:pt x="151" y="539"/>
                    <a:pt x="150" y="540"/>
                    <a:pt x="150" y="551"/>
                  </a:cubicBezTo>
                  <a:cubicBezTo>
                    <a:pt x="150" y="579"/>
                    <a:pt x="150" y="607"/>
                    <a:pt x="150" y="635"/>
                  </a:cubicBezTo>
                  <a:cubicBezTo>
                    <a:pt x="150" y="658"/>
                    <a:pt x="149" y="682"/>
                    <a:pt x="150" y="705"/>
                  </a:cubicBezTo>
                  <a:close/>
                  <a:moveTo>
                    <a:pt x="1011" y="1049"/>
                  </a:moveTo>
                  <a:cubicBezTo>
                    <a:pt x="1011" y="1008"/>
                    <a:pt x="1011" y="966"/>
                    <a:pt x="1011" y="924"/>
                  </a:cubicBezTo>
                  <a:cubicBezTo>
                    <a:pt x="1011" y="913"/>
                    <a:pt x="1008" y="910"/>
                    <a:pt x="997" y="910"/>
                  </a:cubicBezTo>
                  <a:cubicBezTo>
                    <a:pt x="995" y="910"/>
                    <a:pt x="992" y="910"/>
                    <a:pt x="990" y="910"/>
                  </a:cubicBezTo>
                  <a:cubicBezTo>
                    <a:pt x="976" y="910"/>
                    <a:pt x="975" y="911"/>
                    <a:pt x="975" y="926"/>
                  </a:cubicBezTo>
                  <a:cubicBezTo>
                    <a:pt x="975" y="1006"/>
                    <a:pt x="975" y="1085"/>
                    <a:pt x="975" y="1165"/>
                  </a:cubicBezTo>
                  <a:cubicBezTo>
                    <a:pt x="975" y="1185"/>
                    <a:pt x="975" y="1185"/>
                    <a:pt x="994" y="1185"/>
                  </a:cubicBezTo>
                  <a:cubicBezTo>
                    <a:pt x="1009" y="1185"/>
                    <a:pt x="1011" y="1184"/>
                    <a:pt x="1011" y="1169"/>
                  </a:cubicBezTo>
                  <a:cubicBezTo>
                    <a:pt x="1011" y="1129"/>
                    <a:pt x="1011" y="1089"/>
                    <a:pt x="1011" y="1049"/>
                  </a:cubicBezTo>
                  <a:cubicBezTo>
                    <a:pt x="1011" y="1049"/>
                    <a:pt x="1011" y="1049"/>
                    <a:pt x="1011" y="1049"/>
                  </a:cubicBezTo>
                  <a:close/>
                  <a:moveTo>
                    <a:pt x="296" y="176"/>
                  </a:moveTo>
                  <a:cubicBezTo>
                    <a:pt x="296" y="201"/>
                    <a:pt x="296" y="226"/>
                    <a:pt x="296" y="251"/>
                  </a:cubicBezTo>
                  <a:cubicBezTo>
                    <a:pt x="295" y="276"/>
                    <a:pt x="296" y="274"/>
                    <a:pt x="318" y="274"/>
                  </a:cubicBezTo>
                  <a:cubicBezTo>
                    <a:pt x="330" y="274"/>
                    <a:pt x="331" y="274"/>
                    <a:pt x="331" y="260"/>
                  </a:cubicBezTo>
                  <a:cubicBezTo>
                    <a:pt x="331" y="232"/>
                    <a:pt x="331" y="204"/>
                    <a:pt x="331" y="176"/>
                  </a:cubicBezTo>
                  <a:cubicBezTo>
                    <a:pt x="331" y="165"/>
                    <a:pt x="331" y="155"/>
                    <a:pt x="337" y="145"/>
                  </a:cubicBezTo>
                  <a:cubicBezTo>
                    <a:pt x="349" y="123"/>
                    <a:pt x="359" y="117"/>
                    <a:pt x="377" y="118"/>
                  </a:cubicBezTo>
                  <a:cubicBezTo>
                    <a:pt x="383" y="118"/>
                    <a:pt x="389" y="119"/>
                    <a:pt x="395" y="120"/>
                  </a:cubicBezTo>
                  <a:cubicBezTo>
                    <a:pt x="401" y="120"/>
                    <a:pt x="407" y="118"/>
                    <a:pt x="408" y="112"/>
                  </a:cubicBezTo>
                  <a:cubicBezTo>
                    <a:pt x="409" y="103"/>
                    <a:pt x="415" y="93"/>
                    <a:pt x="407" y="85"/>
                  </a:cubicBezTo>
                  <a:cubicBezTo>
                    <a:pt x="406" y="84"/>
                    <a:pt x="404" y="84"/>
                    <a:pt x="402" y="84"/>
                  </a:cubicBezTo>
                  <a:cubicBezTo>
                    <a:pt x="376" y="78"/>
                    <a:pt x="353" y="82"/>
                    <a:pt x="337" y="106"/>
                  </a:cubicBezTo>
                  <a:cubicBezTo>
                    <a:pt x="336" y="108"/>
                    <a:pt x="335" y="110"/>
                    <a:pt x="333" y="109"/>
                  </a:cubicBezTo>
                  <a:cubicBezTo>
                    <a:pt x="331" y="109"/>
                    <a:pt x="330" y="107"/>
                    <a:pt x="330" y="105"/>
                  </a:cubicBezTo>
                  <a:cubicBezTo>
                    <a:pt x="329" y="101"/>
                    <a:pt x="329" y="97"/>
                    <a:pt x="328" y="94"/>
                  </a:cubicBezTo>
                  <a:cubicBezTo>
                    <a:pt x="325" y="85"/>
                    <a:pt x="318" y="82"/>
                    <a:pt x="303" y="84"/>
                  </a:cubicBezTo>
                  <a:cubicBezTo>
                    <a:pt x="297" y="84"/>
                    <a:pt x="295" y="86"/>
                    <a:pt x="295" y="92"/>
                  </a:cubicBezTo>
                  <a:cubicBezTo>
                    <a:pt x="296" y="120"/>
                    <a:pt x="295" y="148"/>
                    <a:pt x="295" y="176"/>
                  </a:cubicBezTo>
                  <a:cubicBezTo>
                    <a:pt x="296" y="176"/>
                    <a:pt x="296" y="176"/>
                    <a:pt x="296" y="176"/>
                  </a:cubicBezTo>
                  <a:close/>
                  <a:moveTo>
                    <a:pt x="946" y="179"/>
                  </a:moveTo>
                  <a:cubicBezTo>
                    <a:pt x="946" y="197"/>
                    <a:pt x="946" y="215"/>
                    <a:pt x="946" y="234"/>
                  </a:cubicBezTo>
                  <a:cubicBezTo>
                    <a:pt x="946" y="248"/>
                    <a:pt x="951" y="260"/>
                    <a:pt x="963" y="268"/>
                  </a:cubicBezTo>
                  <a:cubicBezTo>
                    <a:pt x="982" y="280"/>
                    <a:pt x="1011" y="277"/>
                    <a:pt x="1029" y="264"/>
                  </a:cubicBezTo>
                  <a:cubicBezTo>
                    <a:pt x="1036" y="259"/>
                    <a:pt x="1036" y="254"/>
                    <a:pt x="1032" y="248"/>
                  </a:cubicBezTo>
                  <a:cubicBezTo>
                    <a:pt x="1026" y="239"/>
                    <a:pt x="1020" y="238"/>
                    <a:pt x="1013" y="242"/>
                  </a:cubicBezTo>
                  <a:cubicBezTo>
                    <a:pt x="996" y="252"/>
                    <a:pt x="978" y="243"/>
                    <a:pt x="978" y="223"/>
                  </a:cubicBezTo>
                  <a:cubicBezTo>
                    <a:pt x="978" y="190"/>
                    <a:pt x="978" y="157"/>
                    <a:pt x="978" y="123"/>
                  </a:cubicBezTo>
                  <a:cubicBezTo>
                    <a:pt x="978" y="116"/>
                    <a:pt x="981" y="113"/>
                    <a:pt x="988" y="113"/>
                  </a:cubicBezTo>
                  <a:cubicBezTo>
                    <a:pt x="999" y="114"/>
                    <a:pt x="1011" y="113"/>
                    <a:pt x="1022" y="113"/>
                  </a:cubicBezTo>
                  <a:cubicBezTo>
                    <a:pt x="1028" y="113"/>
                    <a:pt x="1033" y="112"/>
                    <a:pt x="1033" y="104"/>
                  </a:cubicBezTo>
                  <a:cubicBezTo>
                    <a:pt x="1033" y="96"/>
                    <a:pt x="1032" y="90"/>
                    <a:pt x="1022" y="90"/>
                  </a:cubicBezTo>
                  <a:cubicBezTo>
                    <a:pt x="1011" y="90"/>
                    <a:pt x="1001" y="90"/>
                    <a:pt x="990" y="90"/>
                  </a:cubicBezTo>
                  <a:cubicBezTo>
                    <a:pt x="981" y="91"/>
                    <a:pt x="977" y="88"/>
                    <a:pt x="978" y="78"/>
                  </a:cubicBezTo>
                  <a:cubicBezTo>
                    <a:pt x="978" y="64"/>
                    <a:pt x="978" y="49"/>
                    <a:pt x="978" y="35"/>
                  </a:cubicBezTo>
                  <a:cubicBezTo>
                    <a:pt x="978" y="30"/>
                    <a:pt x="978" y="25"/>
                    <a:pt x="971" y="24"/>
                  </a:cubicBezTo>
                  <a:cubicBezTo>
                    <a:pt x="964" y="24"/>
                    <a:pt x="956" y="24"/>
                    <a:pt x="955" y="32"/>
                  </a:cubicBezTo>
                  <a:cubicBezTo>
                    <a:pt x="952" y="43"/>
                    <a:pt x="949" y="54"/>
                    <a:pt x="949" y="65"/>
                  </a:cubicBezTo>
                  <a:cubicBezTo>
                    <a:pt x="948" y="88"/>
                    <a:pt x="947" y="88"/>
                    <a:pt x="924" y="91"/>
                  </a:cubicBezTo>
                  <a:cubicBezTo>
                    <a:pt x="919" y="92"/>
                    <a:pt x="914" y="92"/>
                    <a:pt x="914" y="99"/>
                  </a:cubicBezTo>
                  <a:cubicBezTo>
                    <a:pt x="915" y="107"/>
                    <a:pt x="917" y="113"/>
                    <a:pt x="926" y="113"/>
                  </a:cubicBezTo>
                  <a:cubicBezTo>
                    <a:pt x="929" y="114"/>
                    <a:pt x="932" y="113"/>
                    <a:pt x="935" y="113"/>
                  </a:cubicBezTo>
                  <a:cubicBezTo>
                    <a:pt x="943" y="113"/>
                    <a:pt x="946" y="116"/>
                    <a:pt x="946" y="124"/>
                  </a:cubicBezTo>
                  <a:cubicBezTo>
                    <a:pt x="946" y="142"/>
                    <a:pt x="946" y="161"/>
                    <a:pt x="946" y="179"/>
                  </a:cubicBezTo>
                  <a:cubicBezTo>
                    <a:pt x="946" y="179"/>
                    <a:pt x="946" y="179"/>
                    <a:pt x="946" y="179"/>
                  </a:cubicBezTo>
                  <a:close/>
                </a:path>
              </a:pathLst>
            </a:custGeom>
            <a:solidFill>
              <a:srgbClr val="4C505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grpSp>
          <p:nvGrpSpPr>
            <p:cNvPr id="18" name="Group 4">
              <a:extLst>
                <a:ext uri="{FF2B5EF4-FFF2-40B4-BE49-F238E27FC236}">
                  <a16:creationId xmlns:a16="http://schemas.microsoft.com/office/drawing/2014/main" id="{57BD2C4C-DC67-B843-B26C-309622FC75F7}"/>
                </a:ext>
              </a:extLst>
            </p:cNvPr>
            <p:cNvGrpSpPr>
              <a:grpSpLocks noChangeAspect="1"/>
            </p:cNvGrpSpPr>
            <p:nvPr/>
          </p:nvGrpSpPr>
          <p:grpSpPr bwMode="gray">
            <a:xfrm>
              <a:off x="334963" y="296652"/>
              <a:ext cx="538094" cy="540000"/>
              <a:chOff x="2711" y="1027"/>
              <a:chExt cx="2258" cy="2266"/>
            </a:xfrm>
          </p:grpSpPr>
          <p:sp>
            <p:nvSpPr>
              <p:cNvPr id="19" name="AutoShape 3">
                <a:extLst>
                  <a:ext uri="{FF2B5EF4-FFF2-40B4-BE49-F238E27FC236}">
                    <a16:creationId xmlns:a16="http://schemas.microsoft.com/office/drawing/2014/main" id="{FE1DC41B-291E-574C-9F2C-874E70A40758}"/>
                  </a:ext>
                </a:extLst>
              </p:cNvPr>
              <p:cNvSpPr>
                <a:spLocks noChangeAspect="1" noChangeArrowheads="1" noTextEdit="1"/>
              </p:cNvSpPr>
              <p:nvPr/>
            </p:nvSpPr>
            <p:spPr bwMode="gray">
              <a:xfrm>
                <a:off x="2711" y="1027"/>
                <a:ext cx="2258" cy="22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sp>
            <p:nvSpPr>
              <p:cNvPr id="20" name="Freeform 5">
                <a:extLst>
                  <a:ext uri="{FF2B5EF4-FFF2-40B4-BE49-F238E27FC236}">
                    <a16:creationId xmlns:a16="http://schemas.microsoft.com/office/drawing/2014/main" id="{D4B633C8-F761-C54B-9BD2-EB59D49A2DBC}"/>
                  </a:ext>
                </a:extLst>
              </p:cNvPr>
              <p:cNvSpPr>
                <a:spLocks/>
              </p:cNvSpPr>
              <p:nvPr/>
            </p:nvSpPr>
            <p:spPr bwMode="gray">
              <a:xfrm>
                <a:off x="2709" y="1029"/>
                <a:ext cx="2260" cy="2262"/>
              </a:xfrm>
              <a:custGeom>
                <a:avLst/>
                <a:gdLst>
                  <a:gd name="T0" fmla="*/ 2260 w 2260"/>
                  <a:gd name="T1" fmla="*/ 0 h 2262"/>
                  <a:gd name="T2" fmla="*/ 1612 w 2260"/>
                  <a:gd name="T3" fmla="*/ 649 h 2262"/>
                  <a:gd name="T4" fmla="*/ 1612 w 2260"/>
                  <a:gd name="T5" fmla="*/ 649 h 2262"/>
                  <a:gd name="T6" fmla="*/ 2035 w 2260"/>
                  <a:gd name="T7" fmla="*/ 0 h 2262"/>
                  <a:gd name="T8" fmla="*/ 0 w 2260"/>
                  <a:gd name="T9" fmla="*/ 0 h 2262"/>
                  <a:gd name="T10" fmla="*/ 0 w 2260"/>
                  <a:gd name="T11" fmla="*/ 2262 h 2262"/>
                  <a:gd name="T12" fmla="*/ 2260 w 2260"/>
                  <a:gd name="T13" fmla="*/ 2262 h 2262"/>
                  <a:gd name="T14" fmla="*/ 2260 w 2260"/>
                  <a:gd name="T15" fmla="*/ 0 h 2262"/>
                  <a:gd name="T16" fmla="*/ 2260 w 2260"/>
                  <a:gd name="T17" fmla="*/ 0 h 2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0" h="2262">
                    <a:moveTo>
                      <a:pt x="2260" y="0"/>
                    </a:moveTo>
                    <a:lnTo>
                      <a:pt x="1612" y="649"/>
                    </a:lnTo>
                    <a:lnTo>
                      <a:pt x="1612" y="649"/>
                    </a:lnTo>
                    <a:lnTo>
                      <a:pt x="2035" y="0"/>
                    </a:lnTo>
                    <a:lnTo>
                      <a:pt x="0" y="0"/>
                    </a:lnTo>
                    <a:lnTo>
                      <a:pt x="0" y="2262"/>
                    </a:lnTo>
                    <a:lnTo>
                      <a:pt x="2260" y="2262"/>
                    </a:lnTo>
                    <a:lnTo>
                      <a:pt x="2260" y="0"/>
                    </a:lnTo>
                    <a:lnTo>
                      <a:pt x="2260" y="0"/>
                    </a:lnTo>
                    <a:close/>
                  </a:path>
                </a:pathLst>
              </a:custGeom>
              <a:solidFill>
                <a:srgbClr val="E55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sp>
            <p:nvSpPr>
              <p:cNvPr id="21" name="Freeform 6">
                <a:extLst>
                  <a:ext uri="{FF2B5EF4-FFF2-40B4-BE49-F238E27FC236}">
                    <a16:creationId xmlns:a16="http://schemas.microsoft.com/office/drawing/2014/main" id="{B16BAAE4-1A41-C843-9754-490F7A1E1270}"/>
                  </a:ext>
                </a:extLst>
              </p:cNvPr>
              <p:cNvSpPr>
                <a:spLocks noEditPoints="1"/>
              </p:cNvSpPr>
              <p:nvPr/>
            </p:nvSpPr>
            <p:spPr bwMode="gray">
              <a:xfrm>
                <a:off x="3623" y="1696"/>
                <a:ext cx="1167" cy="922"/>
              </a:xfrm>
              <a:custGeom>
                <a:avLst/>
                <a:gdLst>
                  <a:gd name="T0" fmla="*/ 411 w 580"/>
                  <a:gd name="T1" fmla="*/ 213 h 458"/>
                  <a:gd name="T2" fmla="*/ 570 w 580"/>
                  <a:gd name="T3" fmla="*/ 37 h 458"/>
                  <a:gd name="T4" fmla="*/ 580 w 580"/>
                  <a:gd name="T5" fmla="*/ 20 h 458"/>
                  <a:gd name="T6" fmla="*/ 545 w 580"/>
                  <a:gd name="T7" fmla="*/ 0 h 458"/>
                  <a:gd name="T8" fmla="*/ 519 w 580"/>
                  <a:gd name="T9" fmla="*/ 16 h 458"/>
                  <a:gd name="T10" fmla="*/ 344 w 580"/>
                  <a:gd name="T11" fmla="*/ 210 h 458"/>
                  <a:gd name="T12" fmla="*/ 334 w 580"/>
                  <a:gd name="T13" fmla="*/ 229 h 458"/>
                  <a:gd name="T14" fmla="*/ 344 w 580"/>
                  <a:gd name="T15" fmla="*/ 248 h 458"/>
                  <a:gd name="T16" fmla="*/ 519 w 580"/>
                  <a:gd name="T17" fmla="*/ 442 h 458"/>
                  <a:gd name="T18" fmla="*/ 545 w 580"/>
                  <a:gd name="T19" fmla="*/ 458 h 458"/>
                  <a:gd name="T20" fmla="*/ 580 w 580"/>
                  <a:gd name="T21" fmla="*/ 438 h 458"/>
                  <a:gd name="T22" fmla="*/ 570 w 580"/>
                  <a:gd name="T23" fmla="*/ 421 h 458"/>
                  <a:gd name="T24" fmla="*/ 411 w 580"/>
                  <a:gd name="T25" fmla="*/ 245 h 458"/>
                  <a:gd name="T26" fmla="*/ 399 w 580"/>
                  <a:gd name="T27" fmla="*/ 229 h 458"/>
                  <a:gd name="T28" fmla="*/ 411 w 580"/>
                  <a:gd name="T29" fmla="*/ 213 h 458"/>
                  <a:gd name="T30" fmla="*/ 252 w 580"/>
                  <a:gd name="T31" fmla="*/ 439 h 458"/>
                  <a:gd name="T32" fmla="*/ 281 w 580"/>
                  <a:gd name="T33" fmla="*/ 454 h 458"/>
                  <a:gd name="T34" fmla="*/ 309 w 580"/>
                  <a:gd name="T35" fmla="*/ 439 h 458"/>
                  <a:gd name="T36" fmla="*/ 309 w 580"/>
                  <a:gd name="T37" fmla="*/ 19 h 458"/>
                  <a:gd name="T38" fmla="*/ 281 w 580"/>
                  <a:gd name="T39" fmla="*/ 4 h 458"/>
                  <a:gd name="T40" fmla="*/ 252 w 580"/>
                  <a:gd name="T41" fmla="*/ 19 h 458"/>
                  <a:gd name="T42" fmla="*/ 252 w 580"/>
                  <a:gd name="T43" fmla="*/ 439 h 458"/>
                  <a:gd name="T44" fmla="*/ 0 w 580"/>
                  <a:gd name="T45" fmla="*/ 439 h 458"/>
                  <a:gd name="T46" fmla="*/ 28 w 580"/>
                  <a:gd name="T47" fmla="*/ 454 h 458"/>
                  <a:gd name="T48" fmla="*/ 56 w 580"/>
                  <a:gd name="T49" fmla="*/ 439 h 458"/>
                  <a:gd name="T50" fmla="*/ 56 w 580"/>
                  <a:gd name="T51" fmla="*/ 157 h 458"/>
                  <a:gd name="T52" fmla="*/ 165 w 580"/>
                  <a:gd name="T53" fmla="*/ 53 h 458"/>
                  <a:gd name="T54" fmla="*/ 180 w 580"/>
                  <a:gd name="T55" fmla="*/ 53 h 458"/>
                  <a:gd name="T56" fmla="*/ 196 w 580"/>
                  <a:gd name="T57" fmla="*/ 27 h 458"/>
                  <a:gd name="T58" fmla="*/ 154 w 580"/>
                  <a:gd name="T59" fmla="*/ 4 h 458"/>
                  <a:gd name="T60" fmla="*/ 0 w 580"/>
                  <a:gd name="T61" fmla="*/ 152 h 458"/>
                  <a:gd name="T62" fmla="*/ 0 w 580"/>
                  <a:gd name="T63" fmla="*/ 439 h 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80" h="458">
                    <a:moveTo>
                      <a:pt x="411" y="213"/>
                    </a:moveTo>
                    <a:cubicBezTo>
                      <a:pt x="570" y="37"/>
                      <a:pt x="570" y="37"/>
                      <a:pt x="570" y="37"/>
                    </a:cubicBezTo>
                    <a:cubicBezTo>
                      <a:pt x="576" y="30"/>
                      <a:pt x="580" y="25"/>
                      <a:pt x="580" y="20"/>
                    </a:cubicBezTo>
                    <a:cubicBezTo>
                      <a:pt x="580" y="10"/>
                      <a:pt x="559" y="0"/>
                      <a:pt x="545" y="0"/>
                    </a:cubicBezTo>
                    <a:cubicBezTo>
                      <a:pt x="535" y="0"/>
                      <a:pt x="526" y="8"/>
                      <a:pt x="519" y="16"/>
                    </a:cubicBezTo>
                    <a:cubicBezTo>
                      <a:pt x="344" y="210"/>
                      <a:pt x="344" y="210"/>
                      <a:pt x="344" y="210"/>
                    </a:cubicBezTo>
                    <a:cubicBezTo>
                      <a:pt x="336" y="219"/>
                      <a:pt x="334" y="224"/>
                      <a:pt x="334" y="229"/>
                    </a:cubicBezTo>
                    <a:cubicBezTo>
                      <a:pt x="334" y="234"/>
                      <a:pt x="336" y="239"/>
                      <a:pt x="344" y="248"/>
                    </a:cubicBezTo>
                    <a:cubicBezTo>
                      <a:pt x="519" y="442"/>
                      <a:pt x="519" y="442"/>
                      <a:pt x="519" y="442"/>
                    </a:cubicBezTo>
                    <a:cubicBezTo>
                      <a:pt x="526" y="450"/>
                      <a:pt x="535" y="458"/>
                      <a:pt x="545" y="458"/>
                    </a:cubicBezTo>
                    <a:cubicBezTo>
                      <a:pt x="559" y="458"/>
                      <a:pt x="580" y="448"/>
                      <a:pt x="580" y="438"/>
                    </a:cubicBezTo>
                    <a:cubicBezTo>
                      <a:pt x="580" y="433"/>
                      <a:pt x="576" y="428"/>
                      <a:pt x="570" y="421"/>
                    </a:cubicBezTo>
                    <a:cubicBezTo>
                      <a:pt x="411" y="245"/>
                      <a:pt x="411" y="245"/>
                      <a:pt x="411" y="245"/>
                    </a:cubicBezTo>
                    <a:cubicBezTo>
                      <a:pt x="403" y="236"/>
                      <a:pt x="399" y="232"/>
                      <a:pt x="399" y="229"/>
                    </a:cubicBezTo>
                    <a:cubicBezTo>
                      <a:pt x="399" y="226"/>
                      <a:pt x="403" y="222"/>
                      <a:pt x="411" y="213"/>
                    </a:cubicBezTo>
                    <a:moveTo>
                      <a:pt x="252" y="439"/>
                    </a:moveTo>
                    <a:cubicBezTo>
                      <a:pt x="252" y="449"/>
                      <a:pt x="261" y="454"/>
                      <a:pt x="281" y="454"/>
                    </a:cubicBezTo>
                    <a:cubicBezTo>
                      <a:pt x="300" y="454"/>
                      <a:pt x="309" y="449"/>
                      <a:pt x="309" y="439"/>
                    </a:cubicBezTo>
                    <a:cubicBezTo>
                      <a:pt x="309" y="19"/>
                      <a:pt x="309" y="19"/>
                      <a:pt x="309" y="19"/>
                    </a:cubicBezTo>
                    <a:cubicBezTo>
                      <a:pt x="309" y="9"/>
                      <a:pt x="300" y="4"/>
                      <a:pt x="281" y="4"/>
                    </a:cubicBezTo>
                    <a:cubicBezTo>
                      <a:pt x="261" y="4"/>
                      <a:pt x="252" y="9"/>
                      <a:pt x="252" y="19"/>
                    </a:cubicBezTo>
                    <a:lnTo>
                      <a:pt x="252" y="439"/>
                    </a:lnTo>
                    <a:close/>
                    <a:moveTo>
                      <a:pt x="0" y="439"/>
                    </a:moveTo>
                    <a:cubicBezTo>
                      <a:pt x="0" y="449"/>
                      <a:pt x="8" y="454"/>
                      <a:pt x="28" y="454"/>
                    </a:cubicBezTo>
                    <a:cubicBezTo>
                      <a:pt x="48" y="454"/>
                      <a:pt x="56" y="449"/>
                      <a:pt x="56" y="439"/>
                    </a:cubicBezTo>
                    <a:cubicBezTo>
                      <a:pt x="56" y="157"/>
                      <a:pt x="56" y="157"/>
                      <a:pt x="56" y="157"/>
                    </a:cubicBezTo>
                    <a:cubicBezTo>
                      <a:pt x="56" y="83"/>
                      <a:pt x="85" y="53"/>
                      <a:pt x="165" y="53"/>
                    </a:cubicBezTo>
                    <a:cubicBezTo>
                      <a:pt x="180" y="53"/>
                      <a:pt x="180" y="53"/>
                      <a:pt x="180" y="53"/>
                    </a:cubicBezTo>
                    <a:cubicBezTo>
                      <a:pt x="192" y="53"/>
                      <a:pt x="196" y="43"/>
                      <a:pt x="196" y="27"/>
                    </a:cubicBezTo>
                    <a:cubicBezTo>
                      <a:pt x="196" y="8"/>
                      <a:pt x="185" y="4"/>
                      <a:pt x="154" y="4"/>
                    </a:cubicBezTo>
                    <a:cubicBezTo>
                      <a:pt x="64" y="4"/>
                      <a:pt x="0" y="43"/>
                      <a:pt x="0" y="152"/>
                    </a:cubicBezTo>
                    <a:lnTo>
                      <a:pt x="0" y="43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sp>
            <p:nvSpPr>
              <p:cNvPr id="22" name="Freeform 7">
                <a:extLst>
                  <a:ext uri="{FF2B5EF4-FFF2-40B4-BE49-F238E27FC236}">
                    <a16:creationId xmlns:a16="http://schemas.microsoft.com/office/drawing/2014/main" id="{2F32DCBD-8628-F245-85CD-97686A20ECFD}"/>
                  </a:ext>
                </a:extLst>
              </p:cNvPr>
              <p:cNvSpPr>
                <a:spLocks/>
              </p:cNvSpPr>
              <p:nvPr/>
            </p:nvSpPr>
            <p:spPr bwMode="gray">
              <a:xfrm>
                <a:off x="2880" y="1704"/>
                <a:ext cx="618" cy="916"/>
              </a:xfrm>
              <a:custGeom>
                <a:avLst/>
                <a:gdLst>
                  <a:gd name="T0" fmla="*/ 307 w 307"/>
                  <a:gd name="T1" fmla="*/ 405 h 455"/>
                  <a:gd name="T2" fmla="*/ 307 w 307"/>
                  <a:gd name="T3" fmla="*/ 244 h 455"/>
                  <a:gd name="T4" fmla="*/ 279 w 307"/>
                  <a:gd name="T5" fmla="*/ 229 h 455"/>
                  <a:gd name="T6" fmla="*/ 250 w 307"/>
                  <a:gd name="T7" fmla="*/ 244 h 455"/>
                  <a:gd name="T8" fmla="*/ 250 w 307"/>
                  <a:gd name="T9" fmla="*/ 378 h 455"/>
                  <a:gd name="T10" fmla="*/ 199 w 307"/>
                  <a:gd name="T11" fmla="*/ 408 h 455"/>
                  <a:gd name="T12" fmla="*/ 61 w 307"/>
                  <a:gd name="T13" fmla="*/ 231 h 455"/>
                  <a:gd name="T14" fmla="*/ 238 w 307"/>
                  <a:gd name="T15" fmla="*/ 49 h 455"/>
                  <a:gd name="T16" fmla="*/ 270 w 307"/>
                  <a:gd name="T17" fmla="*/ 49 h 455"/>
                  <a:gd name="T18" fmla="*/ 286 w 307"/>
                  <a:gd name="T19" fmla="*/ 23 h 455"/>
                  <a:gd name="T20" fmla="*/ 244 w 307"/>
                  <a:gd name="T21" fmla="*/ 0 h 455"/>
                  <a:gd name="T22" fmla="*/ 231 w 307"/>
                  <a:gd name="T23" fmla="*/ 0 h 455"/>
                  <a:gd name="T24" fmla="*/ 0 w 307"/>
                  <a:gd name="T25" fmla="*/ 232 h 455"/>
                  <a:gd name="T26" fmla="*/ 198 w 307"/>
                  <a:gd name="T27" fmla="*/ 455 h 455"/>
                  <a:gd name="T28" fmla="*/ 307 w 307"/>
                  <a:gd name="T29" fmla="*/ 405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7" h="455">
                    <a:moveTo>
                      <a:pt x="307" y="405"/>
                    </a:moveTo>
                    <a:cubicBezTo>
                      <a:pt x="307" y="244"/>
                      <a:pt x="307" y="244"/>
                      <a:pt x="307" y="244"/>
                    </a:cubicBezTo>
                    <a:cubicBezTo>
                      <a:pt x="307" y="234"/>
                      <a:pt x="298" y="229"/>
                      <a:pt x="279" y="229"/>
                    </a:cubicBezTo>
                    <a:cubicBezTo>
                      <a:pt x="259" y="229"/>
                      <a:pt x="250" y="234"/>
                      <a:pt x="250" y="244"/>
                    </a:cubicBezTo>
                    <a:cubicBezTo>
                      <a:pt x="250" y="378"/>
                      <a:pt x="250" y="378"/>
                      <a:pt x="250" y="378"/>
                    </a:cubicBezTo>
                    <a:cubicBezTo>
                      <a:pt x="250" y="399"/>
                      <a:pt x="241" y="408"/>
                      <a:pt x="199" y="408"/>
                    </a:cubicBezTo>
                    <a:cubicBezTo>
                      <a:pt x="114" y="408"/>
                      <a:pt x="61" y="342"/>
                      <a:pt x="61" y="231"/>
                    </a:cubicBezTo>
                    <a:cubicBezTo>
                      <a:pt x="61" y="115"/>
                      <a:pt x="126" y="49"/>
                      <a:pt x="238" y="49"/>
                    </a:cubicBezTo>
                    <a:cubicBezTo>
                      <a:pt x="270" y="49"/>
                      <a:pt x="270" y="49"/>
                      <a:pt x="270" y="49"/>
                    </a:cubicBezTo>
                    <a:cubicBezTo>
                      <a:pt x="282" y="49"/>
                      <a:pt x="286" y="39"/>
                      <a:pt x="286" y="23"/>
                    </a:cubicBezTo>
                    <a:cubicBezTo>
                      <a:pt x="286" y="4"/>
                      <a:pt x="275" y="0"/>
                      <a:pt x="244" y="0"/>
                    </a:cubicBezTo>
                    <a:cubicBezTo>
                      <a:pt x="231" y="0"/>
                      <a:pt x="231" y="0"/>
                      <a:pt x="231" y="0"/>
                    </a:cubicBezTo>
                    <a:cubicBezTo>
                      <a:pt x="101" y="0"/>
                      <a:pt x="0" y="71"/>
                      <a:pt x="0" y="232"/>
                    </a:cubicBezTo>
                    <a:cubicBezTo>
                      <a:pt x="0" y="386"/>
                      <a:pt x="88" y="455"/>
                      <a:pt x="198" y="455"/>
                    </a:cubicBezTo>
                    <a:cubicBezTo>
                      <a:pt x="286" y="455"/>
                      <a:pt x="307" y="430"/>
                      <a:pt x="307" y="40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sp>
            <p:nvSpPr>
              <p:cNvPr id="23" name="Oval 8">
                <a:extLst>
                  <a:ext uri="{FF2B5EF4-FFF2-40B4-BE49-F238E27FC236}">
                    <a16:creationId xmlns:a16="http://schemas.microsoft.com/office/drawing/2014/main" id="{60D97C11-1A3B-5449-A48D-98A3E79B3810}"/>
                  </a:ext>
                </a:extLst>
              </p:cNvPr>
              <p:cNvSpPr>
                <a:spLocks noChangeArrowheads="1"/>
              </p:cNvSpPr>
              <p:nvPr/>
            </p:nvSpPr>
            <p:spPr bwMode="gray">
              <a:xfrm>
                <a:off x="3778" y="2099"/>
                <a:ext cx="122" cy="12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sp>
            <p:nvSpPr>
              <p:cNvPr id="24" name="Freeform 9">
                <a:extLst>
                  <a:ext uri="{FF2B5EF4-FFF2-40B4-BE49-F238E27FC236}">
                    <a16:creationId xmlns:a16="http://schemas.microsoft.com/office/drawing/2014/main" id="{5856770D-B8F0-244E-A05D-AED190086F10}"/>
                  </a:ext>
                </a:extLst>
              </p:cNvPr>
              <p:cNvSpPr>
                <a:spLocks noEditPoints="1"/>
              </p:cNvSpPr>
              <p:nvPr/>
            </p:nvSpPr>
            <p:spPr bwMode="gray">
              <a:xfrm>
                <a:off x="3623" y="1696"/>
                <a:ext cx="1167" cy="922"/>
              </a:xfrm>
              <a:custGeom>
                <a:avLst/>
                <a:gdLst>
                  <a:gd name="T0" fmla="*/ 411 w 580"/>
                  <a:gd name="T1" fmla="*/ 213 h 458"/>
                  <a:gd name="T2" fmla="*/ 570 w 580"/>
                  <a:gd name="T3" fmla="*/ 37 h 458"/>
                  <a:gd name="T4" fmla="*/ 580 w 580"/>
                  <a:gd name="T5" fmla="*/ 20 h 458"/>
                  <a:gd name="T6" fmla="*/ 545 w 580"/>
                  <a:gd name="T7" fmla="*/ 0 h 458"/>
                  <a:gd name="T8" fmla="*/ 519 w 580"/>
                  <a:gd name="T9" fmla="*/ 16 h 458"/>
                  <a:gd name="T10" fmla="*/ 344 w 580"/>
                  <a:gd name="T11" fmla="*/ 210 h 458"/>
                  <a:gd name="T12" fmla="*/ 334 w 580"/>
                  <a:gd name="T13" fmla="*/ 229 h 458"/>
                  <a:gd name="T14" fmla="*/ 344 w 580"/>
                  <a:gd name="T15" fmla="*/ 248 h 458"/>
                  <a:gd name="T16" fmla="*/ 519 w 580"/>
                  <a:gd name="T17" fmla="*/ 442 h 458"/>
                  <a:gd name="T18" fmla="*/ 545 w 580"/>
                  <a:gd name="T19" fmla="*/ 458 h 458"/>
                  <a:gd name="T20" fmla="*/ 580 w 580"/>
                  <a:gd name="T21" fmla="*/ 438 h 458"/>
                  <a:gd name="T22" fmla="*/ 570 w 580"/>
                  <a:gd name="T23" fmla="*/ 421 h 458"/>
                  <a:gd name="T24" fmla="*/ 411 w 580"/>
                  <a:gd name="T25" fmla="*/ 245 h 458"/>
                  <a:gd name="T26" fmla="*/ 399 w 580"/>
                  <a:gd name="T27" fmla="*/ 229 h 458"/>
                  <a:gd name="T28" fmla="*/ 411 w 580"/>
                  <a:gd name="T29" fmla="*/ 213 h 458"/>
                  <a:gd name="T30" fmla="*/ 252 w 580"/>
                  <a:gd name="T31" fmla="*/ 439 h 458"/>
                  <a:gd name="T32" fmla="*/ 281 w 580"/>
                  <a:gd name="T33" fmla="*/ 454 h 458"/>
                  <a:gd name="T34" fmla="*/ 309 w 580"/>
                  <a:gd name="T35" fmla="*/ 439 h 458"/>
                  <a:gd name="T36" fmla="*/ 309 w 580"/>
                  <a:gd name="T37" fmla="*/ 19 h 458"/>
                  <a:gd name="T38" fmla="*/ 281 w 580"/>
                  <a:gd name="T39" fmla="*/ 4 h 458"/>
                  <a:gd name="T40" fmla="*/ 252 w 580"/>
                  <a:gd name="T41" fmla="*/ 19 h 458"/>
                  <a:gd name="T42" fmla="*/ 252 w 580"/>
                  <a:gd name="T43" fmla="*/ 439 h 458"/>
                  <a:gd name="T44" fmla="*/ 0 w 580"/>
                  <a:gd name="T45" fmla="*/ 439 h 458"/>
                  <a:gd name="T46" fmla="*/ 28 w 580"/>
                  <a:gd name="T47" fmla="*/ 454 h 458"/>
                  <a:gd name="T48" fmla="*/ 56 w 580"/>
                  <a:gd name="T49" fmla="*/ 439 h 458"/>
                  <a:gd name="T50" fmla="*/ 56 w 580"/>
                  <a:gd name="T51" fmla="*/ 157 h 458"/>
                  <a:gd name="T52" fmla="*/ 165 w 580"/>
                  <a:gd name="T53" fmla="*/ 53 h 458"/>
                  <a:gd name="T54" fmla="*/ 180 w 580"/>
                  <a:gd name="T55" fmla="*/ 53 h 458"/>
                  <a:gd name="T56" fmla="*/ 196 w 580"/>
                  <a:gd name="T57" fmla="*/ 27 h 458"/>
                  <a:gd name="T58" fmla="*/ 154 w 580"/>
                  <a:gd name="T59" fmla="*/ 4 h 458"/>
                  <a:gd name="T60" fmla="*/ 0 w 580"/>
                  <a:gd name="T61" fmla="*/ 152 h 458"/>
                  <a:gd name="T62" fmla="*/ 0 w 580"/>
                  <a:gd name="T63" fmla="*/ 439 h 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80" h="458">
                    <a:moveTo>
                      <a:pt x="411" y="213"/>
                    </a:moveTo>
                    <a:cubicBezTo>
                      <a:pt x="570" y="37"/>
                      <a:pt x="570" y="37"/>
                      <a:pt x="570" y="37"/>
                    </a:cubicBezTo>
                    <a:cubicBezTo>
                      <a:pt x="576" y="30"/>
                      <a:pt x="580" y="25"/>
                      <a:pt x="580" y="20"/>
                    </a:cubicBezTo>
                    <a:cubicBezTo>
                      <a:pt x="580" y="10"/>
                      <a:pt x="559" y="0"/>
                      <a:pt x="545" y="0"/>
                    </a:cubicBezTo>
                    <a:cubicBezTo>
                      <a:pt x="535" y="0"/>
                      <a:pt x="526" y="8"/>
                      <a:pt x="519" y="16"/>
                    </a:cubicBezTo>
                    <a:cubicBezTo>
                      <a:pt x="344" y="210"/>
                      <a:pt x="344" y="210"/>
                      <a:pt x="344" y="210"/>
                    </a:cubicBezTo>
                    <a:cubicBezTo>
                      <a:pt x="336" y="219"/>
                      <a:pt x="334" y="224"/>
                      <a:pt x="334" y="229"/>
                    </a:cubicBezTo>
                    <a:cubicBezTo>
                      <a:pt x="334" y="234"/>
                      <a:pt x="336" y="239"/>
                      <a:pt x="344" y="248"/>
                    </a:cubicBezTo>
                    <a:cubicBezTo>
                      <a:pt x="519" y="442"/>
                      <a:pt x="519" y="442"/>
                      <a:pt x="519" y="442"/>
                    </a:cubicBezTo>
                    <a:cubicBezTo>
                      <a:pt x="526" y="450"/>
                      <a:pt x="535" y="458"/>
                      <a:pt x="545" y="458"/>
                    </a:cubicBezTo>
                    <a:cubicBezTo>
                      <a:pt x="559" y="458"/>
                      <a:pt x="580" y="448"/>
                      <a:pt x="580" y="438"/>
                    </a:cubicBezTo>
                    <a:cubicBezTo>
                      <a:pt x="580" y="433"/>
                      <a:pt x="576" y="428"/>
                      <a:pt x="570" y="421"/>
                    </a:cubicBezTo>
                    <a:cubicBezTo>
                      <a:pt x="411" y="245"/>
                      <a:pt x="411" y="245"/>
                      <a:pt x="411" y="245"/>
                    </a:cubicBezTo>
                    <a:cubicBezTo>
                      <a:pt x="403" y="236"/>
                      <a:pt x="399" y="232"/>
                      <a:pt x="399" y="229"/>
                    </a:cubicBezTo>
                    <a:cubicBezTo>
                      <a:pt x="399" y="226"/>
                      <a:pt x="403" y="222"/>
                      <a:pt x="411" y="213"/>
                    </a:cubicBezTo>
                    <a:moveTo>
                      <a:pt x="252" y="439"/>
                    </a:moveTo>
                    <a:cubicBezTo>
                      <a:pt x="252" y="449"/>
                      <a:pt x="261" y="454"/>
                      <a:pt x="281" y="454"/>
                    </a:cubicBezTo>
                    <a:cubicBezTo>
                      <a:pt x="300" y="454"/>
                      <a:pt x="309" y="449"/>
                      <a:pt x="309" y="439"/>
                    </a:cubicBezTo>
                    <a:cubicBezTo>
                      <a:pt x="309" y="19"/>
                      <a:pt x="309" y="19"/>
                      <a:pt x="309" y="19"/>
                    </a:cubicBezTo>
                    <a:cubicBezTo>
                      <a:pt x="309" y="9"/>
                      <a:pt x="300" y="4"/>
                      <a:pt x="281" y="4"/>
                    </a:cubicBezTo>
                    <a:cubicBezTo>
                      <a:pt x="261" y="4"/>
                      <a:pt x="252" y="9"/>
                      <a:pt x="252" y="19"/>
                    </a:cubicBezTo>
                    <a:lnTo>
                      <a:pt x="252" y="439"/>
                    </a:lnTo>
                    <a:close/>
                    <a:moveTo>
                      <a:pt x="0" y="439"/>
                    </a:moveTo>
                    <a:cubicBezTo>
                      <a:pt x="0" y="449"/>
                      <a:pt x="8" y="454"/>
                      <a:pt x="28" y="454"/>
                    </a:cubicBezTo>
                    <a:cubicBezTo>
                      <a:pt x="48" y="454"/>
                      <a:pt x="56" y="449"/>
                      <a:pt x="56" y="439"/>
                    </a:cubicBezTo>
                    <a:cubicBezTo>
                      <a:pt x="56" y="157"/>
                      <a:pt x="56" y="157"/>
                      <a:pt x="56" y="157"/>
                    </a:cubicBezTo>
                    <a:cubicBezTo>
                      <a:pt x="56" y="83"/>
                      <a:pt x="85" y="53"/>
                      <a:pt x="165" y="53"/>
                    </a:cubicBezTo>
                    <a:cubicBezTo>
                      <a:pt x="180" y="53"/>
                      <a:pt x="180" y="53"/>
                      <a:pt x="180" y="53"/>
                    </a:cubicBezTo>
                    <a:cubicBezTo>
                      <a:pt x="192" y="53"/>
                      <a:pt x="196" y="43"/>
                      <a:pt x="196" y="27"/>
                    </a:cubicBezTo>
                    <a:cubicBezTo>
                      <a:pt x="196" y="8"/>
                      <a:pt x="185" y="4"/>
                      <a:pt x="154" y="4"/>
                    </a:cubicBezTo>
                    <a:cubicBezTo>
                      <a:pt x="64" y="4"/>
                      <a:pt x="0" y="43"/>
                      <a:pt x="0" y="152"/>
                    </a:cubicBezTo>
                    <a:lnTo>
                      <a:pt x="0" y="43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sp>
            <p:nvSpPr>
              <p:cNvPr id="25" name="Freeform 10">
                <a:extLst>
                  <a:ext uri="{FF2B5EF4-FFF2-40B4-BE49-F238E27FC236}">
                    <a16:creationId xmlns:a16="http://schemas.microsoft.com/office/drawing/2014/main" id="{2B91B16B-BC11-E547-8FAC-B9B8D18EA449}"/>
                  </a:ext>
                </a:extLst>
              </p:cNvPr>
              <p:cNvSpPr>
                <a:spLocks/>
              </p:cNvSpPr>
              <p:nvPr/>
            </p:nvSpPr>
            <p:spPr bwMode="gray">
              <a:xfrm>
                <a:off x="2880" y="1704"/>
                <a:ext cx="618" cy="916"/>
              </a:xfrm>
              <a:custGeom>
                <a:avLst/>
                <a:gdLst>
                  <a:gd name="T0" fmla="*/ 307 w 307"/>
                  <a:gd name="T1" fmla="*/ 405 h 455"/>
                  <a:gd name="T2" fmla="*/ 307 w 307"/>
                  <a:gd name="T3" fmla="*/ 244 h 455"/>
                  <a:gd name="T4" fmla="*/ 279 w 307"/>
                  <a:gd name="T5" fmla="*/ 229 h 455"/>
                  <a:gd name="T6" fmla="*/ 250 w 307"/>
                  <a:gd name="T7" fmla="*/ 244 h 455"/>
                  <a:gd name="T8" fmla="*/ 250 w 307"/>
                  <a:gd name="T9" fmla="*/ 378 h 455"/>
                  <a:gd name="T10" fmla="*/ 199 w 307"/>
                  <a:gd name="T11" fmla="*/ 408 h 455"/>
                  <a:gd name="T12" fmla="*/ 61 w 307"/>
                  <a:gd name="T13" fmla="*/ 231 h 455"/>
                  <a:gd name="T14" fmla="*/ 238 w 307"/>
                  <a:gd name="T15" fmla="*/ 49 h 455"/>
                  <a:gd name="T16" fmla="*/ 270 w 307"/>
                  <a:gd name="T17" fmla="*/ 49 h 455"/>
                  <a:gd name="T18" fmla="*/ 286 w 307"/>
                  <a:gd name="T19" fmla="*/ 23 h 455"/>
                  <a:gd name="T20" fmla="*/ 244 w 307"/>
                  <a:gd name="T21" fmla="*/ 0 h 455"/>
                  <a:gd name="T22" fmla="*/ 231 w 307"/>
                  <a:gd name="T23" fmla="*/ 0 h 455"/>
                  <a:gd name="T24" fmla="*/ 0 w 307"/>
                  <a:gd name="T25" fmla="*/ 232 h 455"/>
                  <a:gd name="T26" fmla="*/ 198 w 307"/>
                  <a:gd name="T27" fmla="*/ 455 h 455"/>
                  <a:gd name="T28" fmla="*/ 307 w 307"/>
                  <a:gd name="T29" fmla="*/ 405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7" h="455">
                    <a:moveTo>
                      <a:pt x="307" y="405"/>
                    </a:moveTo>
                    <a:cubicBezTo>
                      <a:pt x="307" y="244"/>
                      <a:pt x="307" y="244"/>
                      <a:pt x="307" y="244"/>
                    </a:cubicBezTo>
                    <a:cubicBezTo>
                      <a:pt x="307" y="234"/>
                      <a:pt x="298" y="229"/>
                      <a:pt x="279" y="229"/>
                    </a:cubicBezTo>
                    <a:cubicBezTo>
                      <a:pt x="259" y="229"/>
                      <a:pt x="250" y="234"/>
                      <a:pt x="250" y="244"/>
                    </a:cubicBezTo>
                    <a:cubicBezTo>
                      <a:pt x="250" y="378"/>
                      <a:pt x="250" y="378"/>
                      <a:pt x="250" y="378"/>
                    </a:cubicBezTo>
                    <a:cubicBezTo>
                      <a:pt x="250" y="399"/>
                      <a:pt x="241" y="408"/>
                      <a:pt x="199" y="408"/>
                    </a:cubicBezTo>
                    <a:cubicBezTo>
                      <a:pt x="114" y="408"/>
                      <a:pt x="61" y="342"/>
                      <a:pt x="61" y="231"/>
                    </a:cubicBezTo>
                    <a:cubicBezTo>
                      <a:pt x="61" y="115"/>
                      <a:pt x="126" y="49"/>
                      <a:pt x="238" y="49"/>
                    </a:cubicBezTo>
                    <a:cubicBezTo>
                      <a:pt x="270" y="49"/>
                      <a:pt x="270" y="49"/>
                      <a:pt x="270" y="49"/>
                    </a:cubicBezTo>
                    <a:cubicBezTo>
                      <a:pt x="282" y="49"/>
                      <a:pt x="286" y="39"/>
                      <a:pt x="286" y="23"/>
                    </a:cubicBezTo>
                    <a:cubicBezTo>
                      <a:pt x="286" y="4"/>
                      <a:pt x="275" y="0"/>
                      <a:pt x="244" y="0"/>
                    </a:cubicBezTo>
                    <a:cubicBezTo>
                      <a:pt x="231" y="0"/>
                      <a:pt x="231" y="0"/>
                      <a:pt x="231" y="0"/>
                    </a:cubicBezTo>
                    <a:cubicBezTo>
                      <a:pt x="101" y="0"/>
                      <a:pt x="0" y="71"/>
                      <a:pt x="0" y="232"/>
                    </a:cubicBezTo>
                    <a:cubicBezTo>
                      <a:pt x="0" y="386"/>
                      <a:pt x="88" y="455"/>
                      <a:pt x="198" y="455"/>
                    </a:cubicBezTo>
                    <a:cubicBezTo>
                      <a:pt x="286" y="455"/>
                      <a:pt x="307" y="430"/>
                      <a:pt x="307" y="40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sp>
            <p:nvSpPr>
              <p:cNvPr id="26" name="Oval 11">
                <a:extLst>
                  <a:ext uri="{FF2B5EF4-FFF2-40B4-BE49-F238E27FC236}">
                    <a16:creationId xmlns:a16="http://schemas.microsoft.com/office/drawing/2014/main" id="{14F8C3C8-4888-7646-B9B4-64EB46A1DA23}"/>
                  </a:ext>
                </a:extLst>
              </p:cNvPr>
              <p:cNvSpPr>
                <a:spLocks noChangeArrowheads="1"/>
              </p:cNvSpPr>
              <p:nvPr/>
            </p:nvSpPr>
            <p:spPr bwMode="gray">
              <a:xfrm>
                <a:off x="3778" y="2099"/>
                <a:ext cx="122" cy="12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sp>
            <p:nvSpPr>
              <p:cNvPr id="27" name="Freeform 12">
                <a:extLst>
                  <a:ext uri="{FF2B5EF4-FFF2-40B4-BE49-F238E27FC236}">
                    <a16:creationId xmlns:a16="http://schemas.microsoft.com/office/drawing/2014/main" id="{D79D01D1-4E3E-F34B-97D7-2D387E68746E}"/>
                  </a:ext>
                </a:extLst>
              </p:cNvPr>
              <p:cNvSpPr>
                <a:spLocks/>
              </p:cNvSpPr>
              <p:nvPr/>
            </p:nvSpPr>
            <p:spPr bwMode="gray">
              <a:xfrm>
                <a:off x="4321" y="1029"/>
                <a:ext cx="648" cy="649"/>
              </a:xfrm>
              <a:custGeom>
                <a:avLst/>
                <a:gdLst>
                  <a:gd name="T0" fmla="*/ 0 w 648"/>
                  <a:gd name="T1" fmla="*/ 649 h 649"/>
                  <a:gd name="T2" fmla="*/ 2 w 648"/>
                  <a:gd name="T3" fmla="*/ 649 h 649"/>
                  <a:gd name="T4" fmla="*/ 648 w 648"/>
                  <a:gd name="T5" fmla="*/ 0 h 649"/>
                  <a:gd name="T6" fmla="*/ 423 w 648"/>
                  <a:gd name="T7" fmla="*/ 0 h 649"/>
                  <a:gd name="T8" fmla="*/ 0 w 648"/>
                  <a:gd name="T9" fmla="*/ 649 h 649"/>
                </a:gdLst>
                <a:ahLst/>
                <a:cxnLst>
                  <a:cxn ang="0">
                    <a:pos x="T0" y="T1"/>
                  </a:cxn>
                  <a:cxn ang="0">
                    <a:pos x="T2" y="T3"/>
                  </a:cxn>
                  <a:cxn ang="0">
                    <a:pos x="T4" y="T5"/>
                  </a:cxn>
                  <a:cxn ang="0">
                    <a:pos x="T6" y="T7"/>
                  </a:cxn>
                  <a:cxn ang="0">
                    <a:pos x="T8" y="T9"/>
                  </a:cxn>
                </a:cxnLst>
                <a:rect l="0" t="0" r="r" b="b"/>
                <a:pathLst>
                  <a:path w="648" h="649">
                    <a:moveTo>
                      <a:pt x="0" y="649"/>
                    </a:moveTo>
                    <a:lnTo>
                      <a:pt x="2" y="649"/>
                    </a:lnTo>
                    <a:lnTo>
                      <a:pt x="648" y="0"/>
                    </a:lnTo>
                    <a:lnTo>
                      <a:pt x="423" y="0"/>
                    </a:lnTo>
                    <a:lnTo>
                      <a:pt x="0" y="64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sp>
            <p:nvSpPr>
              <p:cNvPr id="28" name="Freeform 13">
                <a:extLst>
                  <a:ext uri="{FF2B5EF4-FFF2-40B4-BE49-F238E27FC236}">
                    <a16:creationId xmlns:a16="http://schemas.microsoft.com/office/drawing/2014/main" id="{46549898-6C52-B147-A8F6-A73FDBE6163B}"/>
                  </a:ext>
                </a:extLst>
              </p:cNvPr>
              <p:cNvSpPr>
                <a:spLocks/>
              </p:cNvSpPr>
              <p:nvPr/>
            </p:nvSpPr>
            <p:spPr bwMode="gray">
              <a:xfrm>
                <a:off x="4321" y="1029"/>
                <a:ext cx="648" cy="649"/>
              </a:xfrm>
              <a:custGeom>
                <a:avLst/>
                <a:gdLst>
                  <a:gd name="T0" fmla="*/ 0 w 648"/>
                  <a:gd name="T1" fmla="*/ 649 h 649"/>
                  <a:gd name="T2" fmla="*/ 2 w 648"/>
                  <a:gd name="T3" fmla="*/ 649 h 649"/>
                  <a:gd name="T4" fmla="*/ 648 w 648"/>
                  <a:gd name="T5" fmla="*/ 0 h 649"/>
                  <a:gd name="T6" fmla="*/ 423 w 648"/>
                  <a:gd name="T7" fmla="*/ 0 h 649"/>
                  <a:gd name="T8" fmla="*/ 0 w 648"/>
                  <a:gd name="T9" fmla="*/ 649 h 649"/>
                </a:gdLst>
                <a:ahLst/>
                <a:cxnLst>
                  <a:cxn ang="0">
                    <a:pos x="T0" y="T1"/>
                  </a:cxn>
                  <a:cxn ang="0">
                    <a:pos x="T2" y="T3"/>
                  </a:cxn>
                  <a:cxn ang="0">
                    <a:pos x="T4" y="T5"/>
                  </a:cxn>
                  <a:cxn ang="0">
                    <a:pos x="T6" y="T7"/>
                  </a:cxn>
                  <a:cxn ang="0">
                    <a:pos x="T8" y="T9"/>
                  </a:cxn>
                </a:cxnLst>
                <a:rect l="0" t="0" r="r" b="b"/>
                <a:pathLst>
                  <a:path w="648" h="649">
                    <a:moveTo>
                      <a:pt x="0" y="649"/>
                    </a:moveTo>
                    <a:lnTo>
                      <a:pt x="2" y="649"/>
                    </a:lnTo>
                    <a:lnTo>
                      <a:pt x="648" y="0"/>
                    </a:lnTo>
                    <a:lnTo>
                      <a:pt x="423" y="0"/>
                    </a:lnTo>
                    <a:lnTo>
                      <a:pt x="0" y="64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grpSp>
      </p:grpSp>
      <p:sp>
        <p:nvSpPr>
          <p:cNvPr id="7" name="Date Placeholder 6"/>
          <p:cNvSpPr>
            <a:spLocks noGrp="1"/>
          </p:cNvSpPr>
          <p:nvPr>
            <p:ph type="dt" sz="half" idx="10"/>
          </p:nvPr>
        </p:nvSpPr>
        <p:spPr>
          <a:xfrm>
            <a:off x="0" y="0"/>
            <a:ext cx="0" cy="0"/>
          </a:xfrm>
          <a:prstGeom prst="rect">
            <a:avLst/>
          </a:prstGeom>
        </p:spPr>
        <p:txBody>
          <a:bodyPr/>
          <a:lstStyle>
            <a:lvl1pPr>
              <a:defRPr sz="100">
                <a:noFill/>
              </a:defRPr>
            </a:lvl1pPr>
          </a:lstStyle>
          <a:p>
            <a:fld id="{3EA3BA3C-82AC-45BA-9659-DD8E28BB5C16}" type="datetime5">
              <a:rPr lang="en-US" smtClean="0"/>
              <a:t>26-Jun-20</a:t>
            </a:fld>
            <a:endParaRPr lang="en-US" dirty="0"/>
          </a:p>
        </p:txBody>
      </p:sp>
      <p:sp>
        <p:nvSpPr>
          <p:cNvPr id="8" name="Footer Placeholder 7"/>
          <p:cNvSpPr>
            <a:spLocks noGrp="1"/>
          </p:cNvSpPr>
          <p:nvPr>
            <p:ph type="ftr" sz="quarter" idx="11"/>
          </p:nvPr>
        </p:nvSpPr>
        <p:spPr>
          <a:xfrm>
            <a:off x="0" y="0"/>
            <a:ext cx="0" cy="0"/>
          </a:xfrm>
          <a:prstGeom prst="rect">
            <a:avLst/>
          </a:prstGeom>
        </p:spPr>
        <p:txBody>
          <a:bodyPr/>
          <a:lstStyle>
            <a:lvl1pPr marL="0" indent="0">
              <a:buNone/>
              <a:defRPr sz="100">
                <a:noFill/>
              </a:defRPr>
            </a:lvl1pPr>
          </a:lstStyle>
          <a:p>
            <a:r>
              <a:rPr lang="en-US"/>
              <a:t>Title of presentation (Insert / Header &amp; Footer / Apply to All)</a:t>
            </a:r>
            <a:endParaRPr lang="en-US" dirty="0"/>
          </a:p>
        </p:txBody>
      </p:sp>
      <p:sp>
        <p:nvSpPr>
          <p:cNvPr id="9" name="Slide Number Placeholder 8"/>
          <p:cNvSpPr>
            <a:spLocks noGrp="1"/>
          </p:cNvSpPr>
          <p:nvPr>
            <p:ph type="sldNum" sz="quarter" idx="12"/>
          </p:nvPr>
        </p:nvSpPr>
        <p:spPr>
          <a:xfrm>
            <a:off x="0" y="0"/>
            <a:ext cx="0" cy="0"/>
          </a:xfrm>
          <a:prstGeom prst="rect">
            <a:avLst/>
          </a:prstGeom>
        </p:spPr>
        <p:txBody>
          <a:bodyPr/>
          <a:lstStyle>
            <a:lvl1pPr>
              <a:defRPr sz="100">
                <a:noFill/>
              </a:defRPr>
            </a:lvl1pPr>
          </a:lstStyle>
          <a:p>
            <a:fld id="{8E3B25F7-8D1F-44B5-B485-EE3C438CFD7B}" type="slidenum">
              <a:rPr lang="en-US" smtClean="0"/>
              <a:pPr/>
              <a:t>‹#›</a:t>
            </a:fld>
            <a:endParaRPr lang="en-US"/>
          </a:p>
        </p:txBody>
      </p:sp>
      <p:sp>
        <p:nvSpPr>
          <p:cNvPr id="2" name="Title 1"/>
          <p:cNvSpPr>
            <a:spLocks noGrp="1"/>
          </p:cNvSpPr>
          <p:nvPr>
            <p:ph type="ctrTitle" hasCustomPrompt="1"/>
          </p:nvPr>
        </p:nvSpPr>
        <p:spPr>
          <a:xfrm>
            <a:off x="417600" y="1628775"/>
            <a:ext cx="3816000" cy="2236264"/>
          </a:xfrm>
        </p:spPr>
        <p:txBody>
          <a:bodyPr anchor="b"/>
          <a:lstStyle>
            <a:lvl1pPr algn="l">
              <a:defRPr sz="3600" baseline="0"/>
            </a:lvl1pPr>
          </a:lstStyle>
          <a:p>
            <a:r>
              <a:rPr lang="en-US" dirty="0"/>
              <a:t>Click to add presentation title</a:t>
            </a:r>
          </a:p>
        </p:txBody>
      </p:sp>
      <p:sp>
        <p:nvSpPr>
          <p:cNvPr id="3" name="Subtitle 2"/>
          <p:cNvSpPr>
            <a:spLocks noGrp="1"/>
          </p:cNvSpPr>
          <p:nvPr>
            <p:ph type="subTitle" idx="1" hasCustomPrompt="1"/>
          </p:nvPr>
        </p:nvSpPr>
        <p:spPr>
          <a:xfrm>
            <a:off x="417600" y="4094163"/>
            <a:ext cx="3816000" cy="1080000"/>
          </a:xfrm>
        </p:spPr>
        <p:txBody>
          <a:bodyPr/>
          <a:lstStyle>
            <a:lvl1pPr marL="0" indent="0" algn="l">
              <a:spcBef>
                <a:spcPts val="0"/>
              </a:spcBef>
              <a:buNone/>
              <a:defRPr sz="1800" b="1"/>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31" name="Text Placeholder 30"/>
          <p:cNvSpPr>
            <a:spLocks noGrp="1"/>
          </p:cNvSpPr>
          <p:nvPr>
            <p:ph type="body" sz="quarter" idx="14" hasCustomPrompt="1"/>
          </p:nvPr>
        </p:nvSpPr>
        <p:spPr>
          <a:xfrm>
            <a:off x="417600" y="5393268"/>
            <a:ext cx="3816000" cy="296332"/>
          </a:xfrm>
        </p:spPr>
        <p:txBody>
          <a:bodyPr wrap="none"/>
          <a:lstStyle>
            <a:lvl1pPr marL="0" indent="0">
              <a:spcBef>
                <a:spcPts val="0"/>
              </a:spcBef>
              <a:buNone/>
              <a:defRPr sz="1200"/>
            </a:lvl1pPr>
            <a:lvl2pPr marL="0" indent="0">
              <a:buNone/>
              <a:defRPr sz="1200"/>
            </a:lvl2pPr>
            <a:lvl3pPr marL="0" indent="0">
              <a:buNone/>
              <a:defRPr sz="1200"/>
            </a:lvl3pPr>
            <a:lvl4pPr marL="0">
              <a:buNone/>
              <a:defRPr sz="1200"/>
            </a:lvl4pPr>
            <a:lvl5pPr marL="0" indent="0">
              <a:buNone/>
              <a:defRPr sz="1200"/>
            </a:lvl5pPr>
          </a:lstStyle>
          <a:p>
            <a:pPr lvl="0"/>
            <a:r>
              <a:rPr lang="en-US" dirty="0"/>
              <a:t>Name</a:t>
            </a:r>
          </a:p>
        </p:txBody>
      </p:sp>
      <p:sp>
        <p:nvSpPr>
          <p:cNvPr id="34" name="Text Placeholder 30"/>
          <p:cNvSpPr>
            <a:spLocks noGrp="1"/>
          </p:cNvSpPr>
          <p:nvPr>
            <p:ph type="body" sz="quarter" idx="15" hasCustomPrompt="1"/>
          </p:nvPr>
        </p:nvSpPr>
        <p:spPr>
          <a:xfrm>
            <a:off x="417600" y="5691446"/>
            <a:ext cx="3816000" cy="296332"/>
          </a:xfrm>
        </p:spPr>
        <p:txBody>
          <a:bodyPr wrap="none"/>
          <a:lstStyle>
            <a:lvl1pPr marL="0" indent="0">
              <a:spcBef>
                <a:spcPts val="0"/>
              </a:spcBef>
              <a:buNone/>
              <a:defRPr sz="1200"/>
            </a:lvl1pPr>
            <a:lvl2pPr marL="0" indent="0">
              <a:buNone/>
              <a:defRPr sz="1200"/>
            </a:lvl2pPr>
            <a:lvl3pPr marL="0" indent="0">
              <a:buNone/>
              <a:defRPr sz="1200"/>
            </a:lvl3pPr>
            <a:lvl4pPr marL="0">
              <a:buNone/>
              <a:defRPr sz="1200"/>
            </a:lvl4pPr>
            <a:lvl5pPr marL="0" indent="0">
              <a:buNone/>
              <a:defRPr sz="1200"/>
            </a:lvl5pPr>
          </a:lstStyle>
          <a:p>
            <a:pPr lvl="0"/>
            <a:r>
              <a:rPr lang="en-US" dirty="0"/>
              <a:t>Department</a:t>
            </a:r>
          </a:p>
        </p:txBody>
      </p:sp>
    </p:spTree>
    <p:extLst>
      <p:ext uri="{BB962C8B-B14F-4D97-AF65-F5344CB8AC3E}">
        <p14:creationId xmlns:p14="http://schemas.microsoft.com/office/powerpoint/2010/main" val="2842625367"/>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showMasterSp="0" preserve="1">
  <p:cSld name="Title 2">
    <p:spTree>
      <p:nvGrpSpPr>
        <p:cNvPr id="1" name=""/>
        <p:cNvGrpSpPr/>
        <p:nvPr/>
      </p:nvGrpSpPr>
      <p:grpSpPr>
        <a:xfrm>
          <a:off x="0" y="0"/>
          <a:ext cx="0" cy="0"/>
          <a:chOff x="0" y="0"/>
          <a:chExt cx="0" cy="0"/>
        </a:xfrm>
      </p:grpSpPr>
      <p:pic>
        <p:nvPicPr>
          <p:cNvPr id="29" name="picture">
            <a:extLst>
              <a:ext uri="{FF2B5EF4-FFF2-40B4-BE49-F238E27FC236}">
                <a16:creationId xmlns:a16="http://schemas.microsoft.com/office/drawing/2014/main" id="{8BF907F5-A9CD-2740-AF54-6BACB62334AE}"/>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2620212" y="-8808"/>
            <a:ext cx="9697299" cy="6866807"/>
          </a:xfrm>
          <a:prstGeom prst="rect">
            <a:avLst/>
          </a:prstGeom>
        </p:spPr>
      </p:pic>
      <p:sp>
        <p:nvSpPr>
          <p:cNvPr id="32" name="shpPicture"/>
          <p:cNvSpPr/>
          <p:nvPr/>
        </p:nvSpPr>
        <p:spPr>
          <a:xfrm>
            <a:off x="1" y="0"/>
            <a:ext cx="4112145" cy="6858000"/>
          </a:xfrm>
          <a:custGeom>
            <a:avLst/>
            <a:gdLst>
              <a:gd name="connsiteX0" fmla="*/ 0 w 4112145"/>
              <a:gd name="connsiteY0" fmla="*/ 0 h 6858000"/>
              <a:gd name="connsiteX1" fmla="*/ 2588964 w 4112145"/>
              <a:gd name="connsiteY1" fmla="*/ 0 h 6858000"/>
              <a:gd name="connsiteX2" fmla="*/ 4112145 w 4112145"/>
              <a:gd name="connsiteY2" fmla="*/ 3083531 h 6858000"/>
              <a:gd name="connsiteX3" fmla="*/ 2697661 w 4112145"/>
              <a:gd name="connsiteY3" fmla="*/ 6858000 h 6858000"/>
              <a:gd name="connsiteX4" fmla="*/ 0 w 4112145"/>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12145" h="6858000">
                <a:moveTo>
                  <a:pt x="0" y="0"/>
                </a:moveTo>
                <a:lnTo>
                  <a:pt x="2588964" y="0"/>
                </a:lnTo>
                <a:lnTo>
                  <a:pt x="4112145" y="3083531"/>
                </a:lnTo>
                <a:lnTo>
                  <a:pt x="2697661"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US" sz="1600" dirty="0"/>
          </a:p>
        </p:txBody>
      </p:sp>
      <p:grpSp>
        <p:nvGrpSpPr>
          <p:cNvPr id="14" name="logo">
            <a:extLst>
              <a:ext uri="{FF2B5EF4-FFF2-40B4-BE49-F238E27FC236}">
                <a16:creationId xmlns:a16="http://schemas.microsoft.com/office/drawing/2014/main" id="{18C26D95-70F8-8A4D-9F18-DCCB92522AF8}"/>
              </a:ext>
            </a:extLst>
          </p:cNvPr>
          <p:cNvGrpSpPr/>
          <p:nvPr/>
        </p:nvGrpSpPr>
        <p:grpSpPr bwMode="gray">
          <a:xfrm>
            <a:off x="417363" y="407485"/>
            <a:ext cx="1518585" cy="646507"/>
            <a:chOff x="334963" y="296652"/>
            <a:chExt cx="1268411" cy="540000"/>
          </a:xfrm>
        </p:grpSpPr>
        <p:sp>
          <p:nvSpPr>
            <p:cNvPr id="17" name="Freeform 6">
              <a:extLst>
                <a:ext uri="{FF2B5EF4-FFF2-40B4-BE49-F238E27FC236}">
                  <a16:creationId xmlns:a16="http://schemas.microsoft.com/office/drawing/2014/main" id="{08737AD0-E375-E445-97E6-CD2E2DF60620}"/>
                </a:ext>
              </a:extLst>
            </p:cNvPr>
            <p:cNvSpPr>
              <a:spLocks noEditPoints="1"/>
            </p:cNvSpPr>
            <p:nvPr/>
          </p:nvSpPr>
          <p:spPr bwMode="gray">
            <a:xfrm>
              <a:off x="982662" y="360462"/>
              <a:ext cx="620712" cy="431800"/>
            </a:xfrm>
            <a:custGeom>
              <a:avLst/>
              <a:gdLst>
                <a:gd name="T0" fmla="*/ 19 w 1809"/>
                <a:gd name="T1" fmla="*/ 97 h 1253"/>
                <a:gd name="T2" fmla="*/ 165 w 1809"/>
                <a:gd name="T3" fmla="*/ 41 h 1253"/>
                <a:gd name="T4" fmla="*/ 211 w 1809"/>
                <a:gd name="T5" fmla="*/ 224 h 1253"/>
                <a:gd name="T6" fmla="*/ 248 w 1809"/>
                <a:gd name="T7" fmla="*/ 155 h 1253"/>
                <a:gd name="T8" fmla="*/ 931 w 1809"/>
                <a:gd name="T9" fmla="*/ 995 h 1253"/>
                <a:gd name="T10" fmla="*/ 858 w 1809"/>
                <a:gd name="T11" fmla="*/ 1115 h 1253"/>
                <a:gd name="T12" fmla="*/ 749 w 1809"/>
                <a:gd name="T13" fmla="*/ 1117 h 1253"/>
                <a:gd name="T14" fmla="*/ 681 w 1809"/>
                <a:gd name="T15" fmla="*/ 1055 h 1253"/>
                <a:gd name="T16" fmla="*/ 800 w 1809"/>
                <a:gd name="T17" fmla="*/ 1054 h 1253"/>
                <a:gd name="T18" fmla="*/ 884 w 1809"/>
                <a:gd name="T19" fmla="*/ 1181 h 1253"/>
                <a:gd name="T20" fmla="*/ 118 w 1809"/>
                <a:gd name="T21" fmla="*/ 1086 h 1253"/>
                <a:gd name="T22" fmla="*/ 147 w 1809"/>
                <a:gd name="T23" fmla="*/ 1026 h 1253"/>
                <a:gd name="T24" fmla="*/ 102 w 1809"/>
                <a:gd name="T25" fmla="*/ 1026 h 1253"/>
                <a:gd name="T26" fmla="*/ 639 w 1809"/>
                <a:gd name="T27" fmla="*/ 84 h 1253"/>
                <a:gd name="T28" fmla="*/ 763 w 1809"/>
                <a:gd name="T29" fmla="*/ 145 h 1253"/>
                <a:gd name="T30" fmla="*/ 863 w 1809"/>
                <a:gd name="T31" fmla="*/ 221 h 1253"/>
                <a:gd name="T32" fmla="*/ 834 w 1809"/>
                <a:gd name="T33" fmla="*/ 208 h 1253"/>
                <a:gd name="T34" fmla="*/ 719 w 1809"/>
                <a:gd name="T35" fmla="*/ 182 h 1253"/>
                <a:gd name="T36" fmla="*/ 507 w 1809"/>
                <a:gd name="T37" fmla="*/ 711 h 1253"/>
                <a:gd name="T38" fmla="*/ 614 w 1809"/>
                <a:gd name="T39" fmla="*/ 706 h 1253"/>
                <a:gd name="T40" fmla="*/ 736 w 1809"/>
                <a:gd name="T41" fmla="*/ 730 h 1253"/>
                <a:gd name="T42" fmla="*/ 607 w 1809"/>
                <a:gd name="T43" fmla="*/ 539 h 1253"/>
                <a:gd name="T44" fmla="*/ 1505 w 1809"/>
                <a:gd name="T45" fmla="*/ 1136 h 1253"/>
                <a:gd name="T46" fmla="*/ 1613 w 1809"/>
                <a:gd name="T47" fmla="*/ 1002 h 1253"/>
                <a:gd name="T48" fmla="*/ 1472 w 1809"/>
                <a:gd name="T49" fmla="*/ 1164 h 1253"/>
                <a:gd name="T50" fmla="*/ 1525 w 1809"/>
                <a:gd name="T51" fmla="*/ 1142 h 1253"/>
                <a:gd name="T52" fmla="*/ 1556 w 1809"/>
                <a:gd name="T53" fmla="*/ 1172 h 1253"/>
                <a:gd name="T54" fmla="*/ 1387 w 1809"/>
                <a:gd name="T55" fmla="*/ 910 h 1253"/>
                <a:gd name="T56" fmla="*/ 1261 w 1809"/>
                <a:gd name="T57" fmla="*/ 1157 h 1253"/>
                <a:gd name="T58" fmla="*/ 1413 w 1809"/>
                <a:gd name="T59" fmla="*/ 934 h 1253"/>
                <a:gd name="T60" fmla="*/ 1378 w 1809"/>
                <a:gd name="T61" fmla="*/ 1052 h 1253"/>
                <a:gd name="T62" fmla="*/ 488 w 1809"/>
                <a:gd name="T63" fmla="*/ 85 h 1253"/>
                <a:gd name="T64" fmla="*/ 509 w 1809"/>
                <a:gd name="T65" fmla="*/ 112 h 1253"/>
                <a:gd name="T66" fmla="*/ 548 w 1809"/>
                <a:gd name="T67" fmla="*/ 1187 h 1253"/>
                <a:gd name="T68" fmla="*/ 472 w 1809"/>
                <a:gd name="T69" fmla="*/ 1122 h 1253"/>
                <a:gd name="T70" fmla="*/ 558 w 1809"/>
                <a:gd name="T71" fmla="*/ 1157 h 1253"/>
                <a:gd name="T72" fmla="*/ 287 w 1809"/>
                <a:gd name="T73" fmla="*/ 654 h 1253"/>
                <a:gd name="T74" fmla="*/ 416 w 1809"/>
                <a:gd name="T75" fmla="*/ 684 h 1253"/>
                <a:gd name="T76" fmla="*/ 1106 w 1809"/>
                <a:gd name="T77" fmla="*/ 147 h 1253"/>
                <a:gd name="T78" fmla="*/ 1229 w 1809"/>
                <a:gd name="T79" fmla="*/ 258 h 1253"/>
                <a:gd name="T80" fmla="*/ 1106 w 1809"/>
                <a:gd name="T81" fmla="*/ 96 h 1253"/>
                <a:gd name="T82" fmla="*/ 1219 w 1809"/>
                <a:gd name="T83" fmla="*/ 1077 h 1253"/>
                <a:gd name="T84" fmla="*/ 1214 w 1809"/>
                <a:gd name="T85" fmla="*/ 1157 h 1253"/>
                <a:gd name="T86" fmla="*/ 1150 w 1809"/>
                <a:gd name="T87" fmla="*/ 1092 h 1253"/>
                <a:gd name="T88" fmla="*/ 1139 w 1809"/>
                <a:gd name="T89" fmla="*/ 1070 h 1253"/>
                <a:gd name="T90" fmla="*/ 1659 w 1809"/>
                <a:gd name="T91" fmla="*/ 1031 h 1253"/>
                <a:gd name="T92" fmla="*/ 1714 w 1809"/>
                <a:gd name="T93" fmla="*/ 1155 h 1253"/>
                <a:gd name="T94" fmla="*/ 1760 w 1809"/>
                <a:gd name="T95" fmla="*/ 1030 h 1253"/>
                <a:gd name="T96" fmla="*/ 111 w 1809"/>
                <a:gd name="T97" fmla="*/ 569 h 1253"/>
                <a:gd name="T98" fmla="*/ 109 w 1809"/>
                <a:gd name="T99" fmla="*/ 460 h 1253"/>
                <a:gd name="T100" fmla="*/ 32 w 1809"/>
                <a:gd name="T101" fmla="*/ 704 h 1253"/>
                <a:gd name="T102" fmla="*/ 310 w 1809"/>
                <a:gd name="T103" fmla="*/ 1058 h 1253"/>
                <a:gd name="T104" fmla="*/ 431 w 1809"/>
                <a:gd name="T105" fmla="*/ 1044 h 1253"/>
                <a:gd name="T106" fmla="*/ 278 w 1809"/>
                <a:gd name="T107" fmla="*/ 1165 h 1253"/>
                <a:gd name="T108" fmla="*/ 261 w 1809"/>
                <a:gd name="T109" fmla="*/ 540 h 1253"/>
                <a:gd name="T110" fmla="*/ 150 w 1809"/>
                <a:gd name="T111" fmla="*/ 635 h 1253"/>
                <a:gd name="T112" fmla="*/ 994 w 1809"/>
                <a:gd name="T113" fmla="*/ 1185 h 1253"/>
                <a:gd name="T114" fmla="*/ 331 w 1809"/>
                <a:gd name="T115" fmla="*/ 176 h 1253"/>
                <a:gd name="T116" fmla="*/ 333 w 1809"/>
                <a:gd name="T117" fmla="*/ 109 h 1253"/>
                <a:gd name="T118" fmla="*/ 946 w 1809"/>
                <a:gd name="T119" fmla="*/ 234 h 1253"/>
                <a:gd name="T120" fmla="*/ 1022 w 1809"/>
                <a:gd name="T121" fmla="*/ 113 h 1253"/>
                <a:gd name="T122" fmla="*/ 949 w 1809"/>
                <a:gd name="T123" fmla="*/ 65 h 1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09" h="1253">
                  <a:moveTo>
                    <a:pt x="248" y="198"/>
                  </a:moveTo>
                  <a:cubicBezTo>
                    <a:pt x="248" y="211"/>
                    <a:pt x="248" y="224"/>
                    <a:pt x="249" y="237"/>
                  </a:cubicBezTo>
                  <a:cubicBezTo>
                    <a:pt x="249" y="245"/>
                    <a:pt x="246" y="249"/>
                    <a:pt x="240" y="253"/>
                  </a:cubicBezTo>
                  <a:cubicBezTo>
                    <a:pt x="231" y="260"/>
                    <a:pt x="220" y="264"/>
                    <a:pt x="209" y="268"/>
                  </a:cubicBezTo>
                  <a:cubicBezTo>
                    <a:pt x="179" y="279"/>
                    <a:pt x="148" y="280"/>
                    <a:pt x="118" y="275"/>
                  </a:cubicBezTo>
                  <a:cubicBezTo>
                    <a:pt x="86" y="269"/>
                    <a:pt x="58" y="252"/>
                    <a:pt x="39" y="224"/>
                  </a:cubicBezTo>
                  <a:cubicBezTo>
                    <a:pt x="24" y="203"/>
                    <a:pt x="18" y="180"/>
                    <a:pt x="15" y="155"/>
                  </a:cubicBezTo>
                  <a:cubicBezTo>
                    <a:pt x="11" y="135"/>
                    <a:pt x="15" y="115"/>
                    <a:pt x="19" y="97"/>
                  </a:cubicBezTo>
                  <a:cubicBezTo>
                    <a:pt x="26" y="68"/>
                    <a:pt x="42" y="44"/>
                    <a:pt x="68" y="27"/>
                  </a:cubicBezTo>
                  <a:cubicBezTo>
                    <a:pt x="87" y="14"/>
                    <a:pt x="109" y="6"/>
                    <a:pt x="133" y="5"/>
                  </a:cubicBezTo>
                  <a:cubicBezTo>
                    <a:pt x="149" y="4"/>
                    <a:pt x="165" y="5"/>
                    <a:pt x="181" y="6"/>
                  </a:cubicBezTo>
                  <a:cubicBezTo>
                    <a:pt x="204" y="8"/>
                    <a:pt x="225" y="20"/>
                    <a:pt x="243" y="35"/>
                  </a:cubicBezTo>
                  <a:cubicBezTo>
                    <a:pt x="246" y="37"/>
                    <a:pt x="246" y="40"/>
                    <a:pt x="244" y="43"/>
                  </a:cubicBezTo>
                  <a:cubicBezTo>
                    <a:pt x="242" y="47"/>
                    <a:pt x="239" y="52"/>
                    <a:pt x="236" y="55"/>
                  </a:cubicBezTo>
                  <a:cubicBezTo>
                    <a:pt x="226" y="65"/>
                    <a:pt x="224" y="65"/>
                    <a:pt x="206" y="54"/>
                  </a:cubicBezTo>
                  <a:cubicBezTo>
                    <a:pt x="193" y="46"/>
                    <a:pt x="180" y="40"/>
                    <a:pt x="165" y="41"/>
                  </a:cubicBezTo>
                  <a:cubicBezTo>
                    <a:pt x="151" y="41"/>
                    <a:pt x="137" y="39"/>
                    <a:pt x="124" y="42"/>
                  </a:cubicBezTo>
                  <a:cubicBezTo>
                    <a:pt x="104" y="46"/>
                    <a:pt x="87" y="57"/>
                    <a:pt x="75" y="74"/>
                  </a:cubicBezTo>
                  <a:cubicBezTo>
                    <a:pt x="56" y="99"/>
                    <a:pt x="51" y="129"/>
                    <a:pt x="55" y="159"/>
                  </a:cubicBezTo>
                  <a:cubicBezTo>
                    <a:pt x="60" y="189"/>
                    <a:pt x="73" y="214"/>
                    <a:pt x="98" y="230"/>
                  </a:cubicBezTo>
                  <a:cubicBezTo>
                    <a:pt x="109" y="237"/>
                    <a:pt x="121" y="242"/>
                    <a:pt x="135" y="241"/>
                  </a:cubicBezTo>
                  <a:cubicBezTo>
                    <a:pt x="146" y="241"/>
                    <a:pt x="158" y="241"/>
                    <a:pt x="169" y="241"/>
                  </a:cubicBezTo>
                  <a:cubicBezTo>
                    <a:pt x="182" y="242"/>
                    <a:pt x="193" y="235"/>
                    <a:pt x="205" y="232"/>
                  </a:cubicBezTo>
                  <a:cubicBezTo>
                    <a:pt x="210" y="231"/>
                    <a:pt x="211" y="227"/>
                    <a:pt x="211" y="224"/>
                  </a:cubicBezTo>
                  <a:cubicBezTo>
                    <a:pt x="211" y="210"/>
                    <a:pt x="211" y="196"/>
                    <a:pt x="211" y="183"/>
                  </a:cubicBezTo>
                  <a:cubicBezTo>
                    <a:pt x="211" y="177"/>
                    <a:pt x="207" y="175"/>
                    <a:pt x="202" y="175"/>
                  </a:cubicBezTo>
                  <a:cubicBezTo>
                    <a:pt x="193" y="175"/>
                    <a:pt x="184" y="175"/>
                    <a:pt x="175" y="175"/>
                  </a:cubicBezTo>
                  <a:cubicBezTo>
                    <a:pt x="171" y="175"/>
                    <a:pt x="168" y="174"/>
                    <a:pt x="166" y="171"/>
                  </a:cubicBezTo>
                  <a:cubicBezTo>
                    <a:pt x="163" y="163"/>
                    <a:pt x="164" y="154"/>
                    <a:pt x="166" y="146"/>
                  </a:cubicBezTo>
                  <a:cubicBezTo>
                    <a:pt x="167" y="142"/>
                    <a:pt x="171" y="142"/>
                    <a:pt x="175" y="142"/>
                  </a:cubicBezTo>
                  <a:cubicBezTo>
                    <a:pt x="196" y="142"/>
                    <a:pt x="217" y="142"/>
                    <a:pt x="238" y="142"/>
                  </a:cubicBezTo>
                  <a:cubicBezTo>
                    <a:pt x="247" y="142"/>
                    <a:pt x="248" y="148"/>
                    <a:pt x="248" y="155"/>
                  </a:cubicBezTo>
                  <a:cubicBezTo>
                    <a:pt x="249" y="169"/>
                    <a:pt x="248" y="183"/>
                    <a:pt x="248" y="198"/>
                  </a:cubicBezTo>
                  <a:close/>
                  <a:moveTo>
                    <a:pt x="884" y="1181"/>
                  </a:moveTo>
                  <a:cubicBezTo>
                    <a:pt x="889" y="1167"/>
                    <a:pt x="894" y="1152"/>
                    <a:pt x="898" y="1137"/>
                  </a:cubicBezTo>
                  <a:cubicBezTo>
                    <a:pt x="901" y="1127"/>
                    <a:pt x="905" y="1116"/>
                    <a:pt x="908" y="1106"/>
                  </a:cubicBezTo>
                  <a:cubicBezTo>
                    <a:pt x="911" y="1098"/>
                    <a:pt x="912" y="1089"/>
                    <a:pt x="916" y="1081"/>
                  </a:cubicBezTo>
                  <a:cubicBezTo>
                    <a:pt x="921" y="1072"/>
                    <a:pt x="923" y="1060"/>
                    <a:pt x="927" y="1050"/>
                  </a:cubicBezTo>
                  <a:cubicBezTo>
                    <a:pt x="932" y="1037"/>
                    <a:pt x="934" y="1023"/>
                    <a:pt x="940" y="1010"/>
                  </a:cubicBezTo>
                  <a:cubicBezTo>
                    <a:pt x="945" y="1001"/>
                    <a:pt x="941" y="995"/>
                    <a:pt x="931" y="995"/>
                  </a:cubicBezTo>
                  <a:cubicBezTo>
                    <a:pt x="927" y="995"/>
                    <a:pt x="922" y="995"/>
                    <a:pt x="918" y="995"/>
                  </a:cubicBezTo>
                  <a:cubicBezTo>
                    <a:pt x="913" y="995"/>
                    <a:pt x="908" y="997"/>
                    <a:pt x="907" y="1001"/>
                  </a:cubicBezTo>
                  <a:cubicBezTo>
                    <a:pt x="904" y="1008"/>
                    <a:pt x="900" y="1015"/>
                    <a:pt x="899" y="1023"/>
                  </a:cubicBezTo>
                  <a:cubicBezTo>
                    <a:pt x="897" y="1034"/>
                    <a:pt x="893" y="1045"/>
                    <a:pt x="889" y="1055"/>
                  </a:cubicBezTo>
                  <a:cubicBezTo>
                    <a:pt x="887" y="1064"/>
                    <a:pt x="885" y="1072"/>
                    <a:pt x="882" y="1080"/>
                  </a:cubicBezTo>
                  <a:cubicBezTo>
                    <a:pt x="878" y="1091"/>
                    <a:pt x="874" y="1103"/>
                    <a:pt x="871" y="1115"/>
                  </a:cubicBezTo>
                  <a:cubicBezTo>
                    <a:pt x="870" y="1118"/>
                    <a:pt x="871" y="1124"/>
                    <a:pt x="866" y="1124"/>
                  </a:cubicBezTo>
                  <a:cubicBezTo>
                    <a:pt x="861" y="1125"/>
                    <a:pt x="859" y="1120"/>
                    <a:pt x="858" y="1115"/>
                  </a:cubicBezTo>
                  <a:cubicBezTo>
                    <a:pt x="856" y="1110"/>
                    <a:pt x="856" y="1104"/>
                    <a:pt x="854" y="1099"/>
                  </a:cubicBezTo>
                  <a:cubicBezTo>
                    <a:pt x="848" y="1080"/>
                    <a:pt x="841" y="1062"/>
                    <a:pt x="835" y="1044"/>
                  </a:cubicBezTo>
                  <a:cubicBezTo>
                    <a:pt x="831" y="1030"/>
                    <a:pt x="828" y="1016"/>
                    <a:pt x="822" y="1003"/>
                  </a:cubicBezTo>
                  <a:cubicBezTo>
                    <a:pt x="819" y="997"/>
                    <a:pt x="814" y="994"/>
                    <a:pt x="808" y="994"/>
                  </a:cubicBezTo>
                  <a:cubicBezTo>
                    <a:pt x="799" y="993"/>
                    <a:pt x="791" y="993"/>
                    <a:pt x="787" y="1001"/>
                  </a:cubicBezTo>
                  <a:cubicBezTo>
                    <a:pt x="783" y="1008"/>
                    <a:pt x="780" y="1015"/>
                    <a:pt x="779" y="1022"/>
                  </a:cubicBezTo>
                  <a:cubicBezTo>
                    <a:pt x="778" y="1034"/>
                    <a:pt x="772" y="1044"/>
                    <a:pt x="769" y="1055"/>
                  </a:cubicBezTo>
                  <a:cubicBezTo>
                    <a:pt x="762" y="1076"/>
                    <a:pt x="754" y="1096"/>
                    <a:pt x="749" y="1117"/>
                  </a:cubicBezTo>
                  <a:cubicBezTo>
                    <a:pt x="748" y="1120"/>
                    <a:pt x="747" y="1124"/>
                    <a:pt x="742" y="1124"/>
                  </a:cubicBezTo>
                  <a:cubicBezTo>
                    <a:pt x="737" y="1124"/>
                    <a:pt x="737" y="1120"/>
                    <a:pt x="736" y="1116"/>
                  </a:cubicBezTo>
                  <a:cubicBezTo>
                    <a:pt x="734" y="1104"/>
                    <a:pt x="730" y="1092"/>
                    <a:pt x="726" y="1080"/>
                  </a:cubicBezTo>
                  <a:cubicBezTo>
                    <a:pt x="720" y="1061"/>
                    <a:pt x="714" y="1040"/>
                    <a:pt x="708" y="1020"/>
                  </a:cubicBezTo>
                  <a:cubicBezTo>
                    <a:pt x="703" y="1000"/>
                    <a:pt x="698" y="994"/>
                    <a:pt x="676" y="995"/>
                  </a:cubicBezTo>
                  <a:cubicBezTo>
                    <a:pt x="665" y="996"/>
                    <a:pt x="661" y="1001"/>
                    <a:pt x="667" y="1011"/>
                  </a:cubicBezTo>
                  <a:cubicBezTo>
                    <a:pt x="669" y="1016"/>
                    <a:pt x="670" y="1021"/>
                    <a:pt x="672" y="1025"/>
                  </a:cubicBezTo>
                  <a:cubicBezTo>
                    <a:pt x="675" y="1035"/>
                    <a:pt x="678" y="1046"/>
                    <a:pt x="681" y="1055"/>
                  </a:cubicBezTo>
                  <a:cubicBezTo>
                    <a:pt x="685" y="1068"/>
                    <a:pt x="689" y="1080"/>
                    <a:pt x="693" y="1092"/>
                  </a:cubicBezTo>
                  <a:cubicBezTo>
                    <a:pt x="697" y="1103"/>
                    <a:pt x="699" y="1113"/>
                    <a:pt x="703" y="1124"/>
                  </a:cubicBezTo>
                  <a:cubicBezTo>
                    <a:pt x="707" y="1136"/>
                    <a:pt x="711" y="1147"/>
                    <a:pt x="715" y="1160"/>
                  </a:cubicBezTo>
                  <a:cubicBezTo>
                    <a:pt x="717" y="1168"/>
                    <a:pt x="720" y="1176"/>
                    <a:pt x="724" y="1183"/>
                  </a:cubicBezTo>
                  <a:cubicBezTo>
                    <a:pt x="728" y="1189"/>
                    <a:pt x="752" y="1185"/>
                    <a:pt x="757" y="1180"/>
                  </a:cubicBezTo>
                  <a:cubicBezTo>
                    <a:pt x="764" y="1173"/>
                    <a:pt x="762" y="1163"/>
                    <a:pt x="766" y="1156"/>
                  </a:cubicBezTo>
                  <a:cubicBezTo>
                    <a:pt x="774" y="1140"/>
                    <a:pt x="778" y="1122"/>
                    <a:pt x="784" y="1105"/>
                  </a:cubicBezTo>
                  <a:cubicBezTo>
                    <a:pt x="789" y="1088"/>
                    <a:pt x="796" y="1072"/>
                    <a:pt x="800" y="1054"/>
                  </a:cubicBezTo>
                  <a:cubicBezTo>
                    <a:pt x="800" y="1053"/>
                    <a:pt x="801" y="1050"/>
                    <a:pt x="803" y="1050"/>
                  </a:cubicBezTo>
                  <a:cubicBezTo>
                    <a:pt x="806" y="1050"/>
                    <a:pt x="806" y="1052"/>
                    <a:pt x="807" y="1055"/>
                  </a:cubicBezTo>
                  <a:cubicBezTo>
                    <a:pt x="807" y="1060"/>
                    <a:pt x="810" y="1066"/>
                    <a:pt x="811" y="1071"/>
                  </a:cubicBezTo>
                  <a:cubicBezTo>
                    <a:pt x="814" y="1081"/>
                    <a:pt x="818" y="1090"/>
                    <a:pt x="821" y="1099"/>
                  </a:cubicBezTo>
                  <a:cubicBezTo>
                    <a:pt x="824" y="1110"/>
                    <a:pt x="827" y="1120"/>
                    <a:pt x="831" y="1131"/>
                  </a:cubicBezTo>
                  <a:cubicBezTo>
                    <a:pt x="834" y="1142"/>
                    <a:pt x="839" y="1153"/>
                    <a:pt x="842" y="1164"/>
                  </a:cubicBezTo>
                  <a:cubicBezTo>
                    <a:pt x="846" y="1179"/>
                    <a:pt x="850" y="1188"/>
                    <a:pt x="869" y="1185"/>
                  </a:cubicBezTo>
                  <a:cubicBezTo>
                    <a:pt x="873" y="1184"/>
                    <a:pt x="881" y="1189"/>
                    <a:pt x="884" y="1181"/>
                  </a:cubicBezTo>
                  <a:close/>
                  <a:moveTo>
                    <a:pt x="33" y="1051"/>
                  </a:moveTo>
                  <a:cubicBezTo>
                    <a:pt x="33" y="1087"/>
                    <a:pt x="33" y="1124"/>
                    <a:pt x="33" y="1160"/>
                  </a:cubicBezTo>
                  <a:cubicBezTo>
                    <a:pt x="33" y="1188"/>
                    <a:pt x="29" y="1184"/>
                    <a:pt x="58" y="1185"/>
                  </a:cubicBezTo>
                  <a:cubicBezTo>
                    <a:pt x="72" y="1185"/>
                    <a:pt x="73" y="1184"/>
                    <a:pt x="73" y="1170"/>
                  </a:cubicBezTo>
                  <a:cubicBezTo>
                    <a:pt x="73" y="1138"/>
                    <a:pt x="73" y="1107"/>
                    <a:pt x="73" y="1076"/>
                  </a:cubicBezTo>
                  <a:cubicBezTo>
                    <a:pt x="73" y="1071"/>
                    <a:pt x="72" y="1067"/>
                    <a:pt x="78" y="1065"/>
                  </a:cubicBezTo>
                  <a:cubicBezTo>
                    <a:pt x="91" y="1062"/>
                    <a:pt x="102" y="1067"/>
                    <a:pt x="110" y="1076"/>
                  </a:cubicBezTo>
                  <a:cubicBezTo>
                    <a:pt x="112" y="1080"/>
                    <a:pt x="115" y="1083"/>
                    <a:pt x="118" y="1086"/>
                  </a:cubicBezTo>
                  <a:cubicBezTo>
                    <a:pt x="132" y="1103"/>
                    <a:pt x="146" y="1119"/>
                    <a:pt x="161" y="1136"/>
                  </a:cubicBezTo>
                  <a:cubicBezTo>
                    <a:pt x="173" y="1150"/>
                    <a:pt x="186" y="1165"/>
                    <a:pt x="198" y="1179"/>
                  </a:cubicBezTo>
                  <a:cubicBezTo>
                    <a:pt x="207" y="1188"/>
                    <a:pt x="218" y="1184"/>
                    <a:pt x="228" y="1185"/>
                  </a:cubicBezTo>
                  <a:cubicBezTo>
                    <a:pt x="233" y="1185"/>
                    <a:pt x="241" y="1188"/>
                    <a:pt x="244" y="1182"/>
                  </a:cubicBezTo>
                  <a:cubicBezTo>
                    <a:pt x="246" y="1178"/>
                    <a:pt x="239" y="1173"/>
                    <a:pt x="235" y="1169"/>
                  </a:cubicBezTo>
                  <a:cubicBezTo>
                    <a:pt x="206" y="1133"/>
                    <a:pt x="176" y="1098"/>
                    <a:pt x="146" y="1062"/>
                  </a:cubicBezTo>
                  <a:cubicBezTo>
                    <a:pt x="141" y="1056"/>
                    <a:pt x="131" y="1052"/>
                    <a:pt x="132" y="1044"/>
                  </a:cubicBezTo>
                  <a:cubicBezTo>
                    <a:pt x="132" y="1036"/>
                    <a:pt x="142" y="1032"/>
                    <a:pt x="147" y="1026"/>
                  </a:cubicBezTo>
                  <a:cubicBezTo>
                    <a:pt x="164" y="1006"/>
                    <a:pt x="182" y="988"/>
                    <a:pt x="198" y="968"/>
                  </a:cubicBezTo>
                  <a:cubicBezTo>
                    <a:pt x="209" y="954"/>
                    <a:pt x="221" y="942"/>
                    <a:pt x="234" y="929"/>
                  </a:cubicBezTo>
                  <a:cubicBezTo>
                    <a:pt x="236" y="926"/>
                    <a:pt x="238" y="923"/>
                    <a:pt x="237" y="920"/>
                  </a:cubicBezTo>
                  <a:cubicBezTo>
                    <a:pt x="235" y="915"/>
                    <a:pt x="231" y="917"/>
                    <a:pt x="228" y="917"/>
                  </a:cubicBezTo>
                  <a:cubicBezTo>
                    <a:pt x="224" y="918"/>
                    <a:pt x="221" y="918"/>
                    <a:pt x="217" y="918"/>
                  </a:cubicBezTo>
                  <a:cubicBezTo>
                    <a:pt x="204" y="917"/>
                    <a:pt x="193" y="922"/>
                    <a:pt x="185" y="931"/>
                  </a:cubicBezTo>
                  <a:cubicBezTo>
                    <a:pt x="172" y="946"/>
                    <a:pt x="158" y="961"/>
                    <a:pt x="145" y="977"/>
                  </a:cubicBezTo>
                  <a:cubicBezTo>
                    <a:pt x="131" y="993"/>
                    <a:pt x="117" y="1010"/>
                    <a:pt x="102" y="1026"/>
                  </a:cubicBezTo>
                  <a:cubicBezTo>
                    <a:pt x="96" y="1032"/>
                    <a:pt x="87" y="1037"/>
                    <a:pt x="78" y="1034"/>
                  </a:cubicBezTo>
                  <a:cubicBezTo>
                    <a:pt x="70" y="1030"/>
                    <a:pt x="73" y="1021"/>
                    <a:pt x="73" y="1015"/>
                  </a:cubicBezTo>
                  <a:cubicBezTo>
                    <a:pt x="73" y="991"/>
                    <a:pt x="73" y="967"/>
                    <a:pt x="73" y="944"/>
                  </a:cubicBezTo>
                  <a:cubicBezTo>
                    <a:pt x="73" y="916"/>
                    <a:pt x="75" y="917"/>
                    <a:pt x="46" y="918"/>
                  </a:cubicBezTo>
                  <a:cubicBezTo>
                    <a:pt x="33" y="918"/>
                    <a:pt x="33" y="918"/>
                    <a:pt x="33" y="931"/>
                  </a:cubicBezTo>
                  <a:cubicBezTo>
                    <a:pt x="33" y="971"/>
                    <a:pt x="33" y="1011"/>
                    <a:pt x="33" y="1051"/>
                  </a:cubicBezTo>
                  <a:cubicBezTo>
                    <a:pt x="33" y="1051"/>
                    <a:pt x="33" y="1051"/>
                    <a:pt x="33" y="1051"/>
                  </a:cubicBezTo>
                  <a:close/>
                  <a:moveTo>
                    <a:pt x="639" y="84"/>
                  </a:moveTo>
                  <a:cubicBezTo>
                    <a:pt x="627" y="84"/>
                    <a:pt x="626" y="84"/>
                    <a:pt x="629" y="95"/>
                  </a:cubicBezTo>
                  <a:cubicBezTo>
                    <a:pt x="634" y="113"/>
                    <a:pt x="640" y="131"/>
                    <a:pt x="646" y="148"/>
                  </a:cubicBezTo>
                  <a:cubicBezTo>
                    <a:pt x="652" y="166"/>
                    <a:pt x="658" y="185"/>
                    <a:pt x="664" y="203"/>
                  </a:cubicBezTo>
                  <a:cubicBezTo>
                    <a:pt x="671" y="223"/>
                    <a:pt x="676" y="244"/>
                    <a:pt x="684" y="264"/>
                  </a:cubicBezTo>
                  <a:cubicBezTo>
                    <a:pt x="688" y="274"/>
                    <a:pt x="694" y="274"/>
                    <a:pt x="702" y="274"/>
                  </a:cubicBezTo>
                  <a:cubicBezTo>
                    <a:pt x="711" y="274"/>
                    <a:pt x="719" y="272"/>
                    <a:pt x="723" y="263"/>
                  </a:cubicBezTo>
                  <a:cubicBezTo>
                    <a:pt x="733" y="236"/>
                    <a:pt x="741" y="208"/>
                    <a:pt x="750" y="181"/>
                  </a:cubicBezTo>
                  <a:cubicBezTo>
                    <a:pt x="754" y="169"/>
                    <a:pt x="757" y="156"/>
                    <a:pt x="763" y="145"/>
                  </a:cubicBezTo>
                  <a:cubicBezTo>
                    <a:pt x="764" y="143"/>
                    <a:pt x="764" y="140"/>
                    <a:pt x="767" y="140"/>
                  </a:cubicBezTo>
                  <a:cubicBezTo>
                    <a:pt x="770" y="140"/>
                    <a:pt x="770" y="143"/>
                    <a:pt x="771" y="145"/>
                  </a:cubicBezTo>
                  <a:cubicBezTo>
                    <a:pt x="771" y="156"/>
                    <a:pt x="777" y="165"/>
                    <a:pt x="780" y="175"/>
                  </a:cubicBezTo>
                  <a:cubicBezTo>
                    <a:pt x="782" y="184"/>
                    <a:pt x="785" y="193"/>
                    <a:pt x="788" y="201"/>
                  </a:cubicBezTo>
                  <a:cubicBezTo>
                    <a:pt x="794" y="219"/>
                    <a:pt x="801" y="237"/>
                    <a:pt x="806" y="255"/>
                  </a:cubicBezTo>
                  <a:cubicBezTo>
                    <a:pt x="811" y="272"/>
                    <a:pt x="825" y="280"/>
                    <a:pt x="842" y="273"/>
                  </a:cubicBezTo>
                  <a:cubicBezTo>
                    <a:pt x="845" y="271"/>
                    <a:pt x="847" y="269"/>
                    <a:pt x="848" y="266"/>
                  </a:cubicBezTo>
                  <a:cubicBezTo>
                    <a:pt x="853" y="251"/>
                    <a:pt x="859" y="236"/>
                    <a:pt x="863" y="221"/>
                  </a:cubicBezTo>
                  <a:cubicBezTo>
                    <a:pt x="867" y="202"/>
                    <a:pt x="875" y="185"/>
                    <a:pt x="880" y="166"/>
                  </a:cubicBezTo>
                  <a:cubicBezTo>
                    <a:pt x="886" y="144"/>
                    <a:pt x="895" y="123"/>
                    <a:pt x="900" y="101"/>
                  </a:cubicBezTo>
                  <a:cubicBezTo>
                    <a:pt x="901" y="96"/>
                    <a:pt x="909" y="91"/>
                    <a:pt x="904" y="86"/>
                  </a:cubicBezTo>
                  <a:cubicBezTo>
                    <a:pt x="900" y="81"/>
                    <a:pt x="892" y="84"/>
                    <a:pt x="886" y="84"/>
                  </a:cubicBezTo>
                  <a:cubicBezTo>
                    <a:pt x="885" y="84"/>
                    <a:pt x="883" y="84"/>
                    <a:pt x="881" y="84"/>
                  </a:cubicBezTo>
                  <a:cubicBezTo>
                    <a:pt x="875" y="84"/>
                    <a:pt x="872" y="86"/>
                    <a:pt x="869" y="91"/>
                  </a:cubicBezTo>
                  <a:cubicBezTo>
                    <a:pt x="860" y="110"/>
                    <a:pt x="856" y="131"/>
                    <a:pt x="850" y="151"/>
                  </a:cubicBezTo>
                  <a:cubicBezTo>
                    <a:pt x="844" y="170"/>
                    <a:pt x="836" y="188"/>
                    <a:pt x="834" y="208"/>
                  </a:cubicBezTo>
                  <a:cubicBezTo>
                    <a:pt x="833" y="211"/>
                    <a:pt x="831" y="214"/>
                    <a:pt x="827" y="214"/>
                  </a:cubicBezTo>
                  <a:cubicBezTo>
                    <a:pt x="823" y="214"/>
                    <a:pt x="822" y="210"/>
                    <a:pt x="822" y="207"/>
                  </a:cubicBezTo>
                  <a:cubicBezTo>
                    <a:pt x="817" y="188"/>
                    <a:pt x="811" y="170"/>
                    <a:pt x="805" y="152"/>
                  </a:cubicBezTo>
                  <a:cubicBezTo>
                    <a:pt x="799" y="133"/>
                    <a:pt x="794" y="114"/>
                    <a:pt x="786" y="96"/>
                  </a:cubicBezTo>
                  <a:cubicBezTo>
                    <a:pt x="783" y="87"/>
                    <a:pt x="779" y="84"/>
                    <a:pt x="770" y="84"/>
                  </a:cubicBezTo>
                  <a:cubicBezTo>
                    <a:pt x="761" y="84"/>
                    <a:pt x="752" y="82"/>
                    <a:pt x="748" y="94"/>
                  </a:cubicBezTo>
                  <a:cubicBezTo>
                    <a:pt x="744" y="109"/>
                    <a:pt x="738" y="123"/>
                    <a:pt x="734" y="138"/>
                  </a:cubicBezTo>
                  <a:cubicBezTo>
                    <a:pt x="729" y="153"/>
                    <a:pt x="724" y="167"/>
                    <a:pt x="719" y="182"/>
                  </a:cubicBezTo>
                  <a:cubicBezTo>
                    <a:pt x="716" y="192"/>
                    <a:pt x="715" y="203"/>
                    <a:pt x="708" y="212"/>
                  </a:cubicBezTo>
                  <a:cubicBezTo>
                    <a:pt x="707" y="214"/>
                    <a:pt x="707" y="217"/>
                    <a:pt x="704" y="217"/>
                  </a:cubicBezTo>
                  <a:cubicBezTo>
                    <a:pt x="701" y="217"/>
                    <a:pt x="701" y="213"/>
                    <a:pt x="700" y="211"/>
                  </a:cubicBezTo>
                  <a:cubicBezTo>
                    <a:pt x="699" y="198"/>
                    <a:pt x="694" y="186"/>
                    <a:pt x="690" y="174"/>
                  </a:cubicBezTo>
                  <a:cubicBezTo>
                    <a:pt x="684" y="153"/>
                    <a:pt x="677" y="131"/>
                    <a:pt x="672" y="110"/>
                  </a:cubicBezTo>
                  <a:cubicBezTo>
                    <a:pt x="667" y="88"/>
                    <a:pt x="663" y="84"/>
                    <a:pt x="645" y="84"/>
                  </a:cubicBezTo>
                  <a:cubicBezTo>
                    <a:pt x="643" y="84"/>
                    <a:pt x="641" y="84"/>
                    <a:pt x="639" y="84"/>
                  </a:cubicBezTo>
                  <a:close/>
                  <a:moveTo>
                    <a:pt x="507" y="711"/>
                  </a:moveTo>
                  <a:cubicBezTo>
                    <a:pt x="507" y="730"/>
                    <a:pt x="507" y="730"/>
                    <a:pt x="526" y="730"/>
                  </a:cubicBezTo>
                  <a:cubicBezTo>
                    <a:pt x="539" y="730"/>
                    <a:pt x="541" y="729"/>
                    <a:pt x="541" y="715"/>
                  </a:cubicBezTo>
                  <a:cubicBezTo>
                    <a:pt x="541" y="677"/>
                    <a:pt x="541" y="638"/>
                    <a:pt x="540" y="600"/>
                  </a:cubicBezTo>
                  <a:cubicBezTo>
                    <a:pt x="540" y="593"/>
                    <a:pt x="543" y="587"/>
                    <a:pt x="548" y="582"/>
                  </a:cubicBezTo>
                  <a:cubicBezTo>
                    <a:pt x="553" y="576"/>
                    <a:pt x="559" y="573"/>
                    <a:pt x="564" y="569"/>
                  </a:cubicBezTo>
                  <a:cubicBezTo>
                    <a:pt x="574" y="564"/>
                    <a:pt x="594" y="566"/>
                    <a:pt x="602" y="574"/>
                  </a:cubicBezTo>
                  <a:cubicBezTo>
                    <a:pt x="611" y="582"/>
                    <a:pt x="614" y="592"/>
                    <a:pt x="614" y="604"/>
                  </a:cubicBezTo>
                  <a:cubicBezTo>
                    <a:pt x="614" y="638"/>
                    <a:pt x="614" y="672"/>
                    <a:pt x="614" y="706"/>
                  </a:cubicBezTo>
                  <a:cubicBezTo>
                    <a:pt x="614" y="730"/>
                    <a:pt x="614" y="730"/>
                    <a:pt x="638" y="730"/>
                  </a:cubicBezTo>
                  <a:cubicBezTo>
                    <a:pt x="650" y="730"/>
                    <a:pt x="650" y="730"/>
                    <a:pt x="650" y="717"/>
                  </a:cubicBezTo>
                  <a:cubicBezTo>
                    <a:pt x="650" y="684"/>
                    <a:pt x="650" y="650"/>
                    <a:pt x="650" y="617"/>
                  </a:cubicBezTo>
                  <a:cubicBezTo>
                    <a:pt x="650" y="606"/>
                    <a:pt x="651" y="597"/>
                    <a:pt x="657" y="586"/>
                  </a:cubicBezTo>
                  <a:cubicBezTo>
                    <a:pt x="667" y="565"/>
                    <a:pt x="703" y="560"/>
                    <a:pt x="716" y="579"/>
                  </a:cubicBezTo>
                  <a:cubicBezTo>
                    <a:pt x="723" y="588"/>
                    <a:pt x="724" y="598"/>
                    <a:pt x="724" y="609"/>
                  </a:cubicBezTo>
                  <a:cubicBezTo>
                    <a:pt x="724" y="645"/>
                    <a:pt x="724" y="682"/>
                    <a:pt x="724" y="718"/>
                  </a:cubicBezTo>
                  <a:cubicBezTo>
                    <a:pt x="724" y="727"/>
                    <a:pt x="727" y="731"/>
                    <a:pt x="736" y="730"/>
                  </a:cubicBezTo>
                  <a:cubicBezTo>
                    <a:pt x="738" y="730"/>
                    <a:pt x="741" y="730"/>
                    <a:pt x="743" y="730"/>
                  </a:cubicBezTo>
                  <a:cubicBezTo>
                    <a:pt x="758" y="730"/>
                    <a:pt x="759" y="729"/>
                    <a:pt x="759" y="715"/>
                  </a:cubicBezTo>
                  <a:cubicBezTo>
                    <a:pt x="759" y="677"/>
                    <a:pt x="758" y="639"/>
                    <a:pt x="759" y="601"/>
                  </a:cubicBezTo>
                  <a:cubicBezTo>
                    <a:pt x="759" y="571"/>
                    <a:pt x="742" y="540"/>
                    <a:pt x="704" y="538"/>
                  </a:cubicBezTo>
                  <a:cubicBezTo>
                    <a:pt x="681" y="536"/>
                    <a:pt x="661" y="542"/>
                    <a:pt x="646" y="560"/>
                  </a:cubicBezTo>
                  <a:cubicBezTo>
                    <a:pt x="638" y="569"/>
                    <a:pt x="638" y="569"/>
                    <a:pt x="631" y="559"/>
                  </a:cubicBezTo>
                  <a:cubicBezTo>
                    <a:pt x="630" y="558"/>
                    <a:pt x="630" y="557"/>
                    <a:pt x="629" y="556"/>
                  </a:cubicBezTo>
                  <a:cubicBezTo>
                    <a:pt x="623" y="548"/>
                    <a:pt x="616" y="541"/>
                    <a:pt x="607" y="539"/>
                  </a:cubicBezTo>
                  <a:cubicBezTo>
                    <a:pt x="584" y="534"/>
                    <a:pt x="563" y="539"/>
                    <a:pt x="545" y="555"/>
                  </a:cubicBezTo>
                  <a:cubicBezTo>
                    <a:pt x="540" y="559"/>
                    <a:pt x="537" y="561"/>
                    <a:pt x="537" y="552"/>
                  </a:cubicBezTo>
                  <a:cubicBezTo>
                    <a:pt x="536" y="543"/>
                    <a:pt x="526" y="538"/>
                    <a:pt x="515" y="539"/>
                  </a:cubicBezTo>
                  <a:cubicBezTo>
                    <a:pt x="506" y="540"/>
                    <a:pt x="507" y="546"/>
                    <a:pt x="507" y="552"/>
                  </a:cubicBezTo>
                  <a:cubicBezTo>
                    <a:pt x="507" y="580"/>
                    <a:pt x="507" y="607"/>
                    <a:pt x="507" y="634"/>
                  </a:cubicBezTo>
                  <a:cubicBezTo>
                    <a:pt x="507" y="660"/>
                    <a:pt x="507" y="685"/>
                    <a:pt x="507" y="711"/>
                  </a:cubicBezTo>
                  <a:close/>
                  <a:moveTo>
                    <a:pt x="1525" y="1142"/>
                  </a:moveTo>
                  <a:cubicBezTo>
                    <a:pt x="1517" y="1143"/>
                    <a:pt x="1511" y="1141"/>
                    <a:pt x="1505" y="1136"/>
                  </a:cubicBezTo>
                  <a:cubicBezTo>
                    <a:pt x="1501" y="1133"/>
                    <a:pt x="1495" y="1130"/>
                    <a:pt x="1498" y="1124"/>
                  </a:cubicBezTo>
                  <a:cubicBezTo>
                    <a:pt x="1500" y="1118"/>
                    <a:pt x="1504" y="1114"/>
                    <a:pt x="1512" y="1114"/>
                  </a:cubicBezTo>
                  <a:cubicBezTo>
                    <a:pt x="1521" y="1115"/>
                    <a:pt x="1530" y="1114"/>
                    <a:pt x="1538" y="1115"/>
                  </a:cubicBezTo>
                  <a:cubicBezTo>
                    <a:pt x="1573" y="1117"/>
                    <a:pt x="1610" y="1084"/>
                    <a:pt x="1602" y="1044"/>
                  </a:cubicBezTo>
                  <a:cubicBezTo>
                    <a:pt x="1600" y="1035"/>
                    <a:pt x="1599" y="1028"/>
                    <a:pt x="1611" y="1027"/>
                  </a:cubicBezTo>
                  <a:cubicBezTo>
                    <a:pt x="1614" y="1027"/>
                    <a:pt x="1617" y="1024"/>
                    <a:pt x="1619" y="1023"/>
                  </a:cubicBezTo>
                  <a:cubicBezTo>
                    <a:pt x="1626" y="1019"/>
                    <a:pt x="1624" y="1013"/>
                    <a:pt x="1623" y="1008"/>
                  </a:cubicBezTo>
                  <a:cubicBezTo>
                    <a:pt x="1623" y="1002"/>
                    <a:pt x="1618" y="1003"/>
                    <a:pt x="1613" y="1002"/>
                  </a:cubicBezTo>
                  <a:cubicBezTo>
                    <a:pt x="1598" y="1002"/>
                    <a:pt x="1582" y="1004"/>
                    <a:pt x="1567" y="1000"/>
                  </a:cubicBezTo>
                  <a:cubicBezTo>
                    <a:pt x="1560" y="999"/>
                    <a:pt x="1554" y="993"/>
                    <a:pt x="1546" y="993"/>
                  </a:cubicBezTo>
                  <a:cubicBezTo>
                    <a:pt x="1536" y="994"/>
                    <a:pt x="1525" y="992"/>
                    <a:pt x="1515" y="993"/>
                  </a:cubicBezTo>
                  <a:cubicBezTo>
                    <a:pt x="1490" y="997"/>
                    <a:pt x="1469" y="1010"/>
                    <a:pt x="1462" y="1034"/>
                  </a:cubicBezTo>
                  <a:cubicBezTo>
                    <a:pt x="1455" y="1056"/>
                    <a:pt x="1457" y="1079"/>
                    <a:pt x="1476" y="1096"/>
                  </a:cubicBezTo>
                  <a:cubicBezTo>
                    <a:pt x="1483" y="1103"/>
                    <a:pt x="1483" y="1107"/>
                    <a:pt x="1476" y="1113"/>
                  </a:cubicBezTo>
                  <a:cubicBezTo>
                    <a:pt x="1462" y="1126"/>
                    <a:pt x="1462" y="1142"/>
                    <a:pt x="1473" y="1157"/>
                  </a:cubicBezTo>
                  <a:cubicBezTo>
                    <a:pt x="1476" y="1160"/>
                    <a:pt x="1476" y="1162"/>
                    <a:pt x="1472" y="1164"/>
                  </a:cubicBezTo>
                  <a:cubicBezTo>
                    <a:pt x="1470" y="1166"/>
                    <a:pt x="1468" y="1168"/>
                    <a:pt x="1466" y="1170"/>
                  </a:cubicBezTo>
                  <a:cubicBezTo>
                    <a:pt x="1449" y="1183"/>
                    <a:pt x="1444" y="1201"/>
                    <a:pt x="1454" y="1218"/>
                  </a:cubicBezTo>
                  <a:cubicBezTo>
                    <a:pt x="1464" y="1235"/>
                    <a:pt x="1479" y="1246"/>
                    <a:pt x="1499" y="1249"/>
                  </a:cubicBezTo>
                  <a:cubicBezTo>
                    <a:pt x="1517" y="1252"/>
                    <a:pt x="1535" y="1253"/>
                    <a:pt x="1553" y="1250"/>
                  </a:cubicBezTo>
                  <a:cubicBezTo>
                    <a:pt x="1584" y="1245"/>
                    <a:pt x="1607" y="1232"/>
                    <a:pt x="1619" y="1200"/>
                  </a:cubicBezTo>
                  <a:cubicBezTo>
                    <a:pt x="1627" y="1180"/>
                    <a:pt x="1611" y="1155"/>
                    <a:pt x="1593" y="1148"/>
                  </a:cubicBezTo>
                  <a:cubicBezTo>
                    <a:pt x="1578" y="1142"/>
                    <a:pt x="1563" y="1143"/>
                    <a:pt x="1549" y="1142"/>
                  </a:cubicBezTo>
                  <a:cubicBezTo>
                    <a:pt x="1540" y="1142"/>
                    <a:pt x="1532" y="1142"/>
                    <a:pt x="1525" y="1142"/>
                  </a:cubicBezTo>
                  <a:close/>
                  <a:moveTo>
                    <a:pt x="1556" y="1172"/>
                  </a:moveTo>
                  <a:cubicBezTo>
                    <a:pt x="1566" y="1172"/>
                    <a:pt x="1576" y="1176"/>
                    <a:pt x="1583" y="1183"/>
                  </a:cubicBezTo>
                  <a:cubicBezTo>
                    <a:pt x="1589" y="1190"/>
                    <a:pt x="1589" y="1198"/>
                    <a:pt x="1583" y="1205"/>
                  </a:cubicBezTo>
                  <a:cubicBezTo>
                    <a:pt x="1575" y="1215"/>
                    <a:pt x="1565" y="1220"/>
                    <a:pt x="1553" y="1223"/>
                  </a:cubicBezTo>
                  <a:cubicBezTo>
                    <a:pt x="1534" y="1228"/>
                    <a:pt x="1516" y="1225"/>
                    <a:pt x="1499" y="1219"/>
                  </a:cubicBezTo>
                  <a:cubicBezTo>
                    <a:pt x="1486" y="1214"/>
                    <a:pt x="1479" y="1203"/>
                    <a:pt x="1482" y="1193"/>
                  </a:cubicBezTo>
                  <a:cubicBezTo>
                    <a:pt x="1485" y="1182"/>
                    <a:pt x="1496" y="1168"/>
                    <a:pt x="1514" y="1171"/>
                  </a:cubicBezTo>
                  <a:cubicBezTo>
                    <a:pt x="1526" y="1173"/>
                    <a:pt x="1541" y="1171"/>
                    <a:pt x="1556" y="1172"/>
                  </a:cubicBezTo>
                  <a:close/>
                  <a:moveTo>
                    <a:pt x="1531" y="1019"/>
                  </a:moveTo>
                  <a:cubicBezTo>
                    <a:pt x="1553" y="1017"/>
                    <a:pt x="1570" y="1033"/>
                    <a:pt x="1570" y="1052"/>
                  </a:cubicBezTo>
                  <a:cubicBezTo>
                    <a:pt x="1570" y="1075"/>
                    <a:pt x="1554" y="1093"/>
                    <a:pt x="1532" y="1091"/>
                  </a:cubicBezTo>
                  <a:cubicBezTo>
                    <a:pt x="1508" y="1089"/>
                    <a:pt x="1494" y="1082"/>
                    <a:pt x="1493" y="1053"/>
                  </a:cubicBezTo>
                  <a:cubicBezTo>
                    <a:pt x="1494" y="1029"/>
                    <a:pt x="1508" y="1020"/>
                    <a:pt x="1531" y="1019"/>
                  </a:cubicBezTo>
                  <a:close/>
                  <a:moveTo>
                    <a:pt x="1413" y="934"/>
                  </a:moveTo>
                  <a:cubicBezTo>
                    <a:pt x="1413" y="909"/>
                    <a:pt x="1413" y="909"/>
                    <a:pt x="1389" y="910"/>
                  </a:cubicBezTo>
                  <a:cubicBezTo>
                    <a:pt x="1388" y="910"/>
                    <a:pt x="1387" y="910"/>
                    <a:pt x="1387" y="910"/>
                  </a:cubicBezTo>
                  <a:cubicBezTo>
                    <a:pt x="1379" y="910"/>
                    <a:pt x="1376" y="915"/>
                    <a:pt x="1376" y="921"/>
                  </a:cubicBezTo>
                  <a:cubicBezTo>
                    <a:pt x="1376" y="939"/>
                    <a:pt x="1377" y="956"/>
                    <a:pt x="1377" y="974"/>
                  </a:cubicBezTo>
                  <a:cubicBezTo>
                    <a:pt x="1377" y="983"/>
                    <a:pt x="1377" y="991"/>
                    <a:pt x="1377" y="1000"/>
                  </a:cubicBezTo>
                  <a:cubicBezTo>
                    <a:pt x="1377" y="1005"/>
                    <a:pt x="1374" y="1009"/>
                    <a:pt x="1369" y="1005"/>
                  </a:cubicBezTo>
                  <a:cubicBezTo>
                    <a:pt x="1352" y="990"/>
                    <a:pt x="1332" y="993"/>
                    <a:pt x="1312" y="993"/>
                  </a:cubicBezTo>
                  <a:cubicBezTo>
                    <a:pt x="1303" y="994"/>
                    <a:pt x="1294" y="998"/>
                    <a:pt x="1287" y="1003"/>
                  </a:cubicBezTo>
                  <a:cubicBezTo>
                    <a:pt x="1265" y="1017"/>
                    <a:pt x="1252" y="1039"/>
                    <a:pt x="1248" y="1065"/>
                  </a:cubicBezTo>
                  <a:cubicBezTo>
                    <a:pt x="1244" y="1096"/>
                    <a:pt x="1244" y="1128"/>
                    <a:pt x="1261" y="1157"/>
                  </a:cubicBezTo>
                  <a:cubicBezTo>
                    <a:pt x="1270" y="1170"/>
                    <a:pt x="1281" y="1181"/>
                    <a:pt x="1296" y="1185"/>
                  </a:cubicBezTo>
                  <a:cubicBezTo>
                    <a:pt x="1323" y="1191"/>
                    <a:pt x="1349" y="1188"/>
                    <a:pt x="1370" y="1167"/>
                  </a:cubicBezTo>
                  <a:cubicBezTo>
                    <a:pt x="1372" y="1165"/>
                    <a:pt x="1375" y="1162"/>
                    <a:pt x="1379" y="1163"/>
                  </a:cubicBezTo>
                  <a:cubicBezTo>
                    <a:pt x="1382" y="1165"/>
                    <a:pt x="1381" y="1169"/>
                    <a:pt x="1381" y="1172"/>
                  </a:cubicBezTo>
                  <a:cubicBezTo>
                    <a:pt x="1383" y="1181"/>
                    <a:pt x="1390" y="1186"/>
                    <a:pt x="1403" y="1186"/>
                  </a:cubicBezTo>
                  <a:cubicBezTo>
                    <a:pt x="1413" y="1185"/>
                    <a:pt x="1413" y="1178"/>
                    <a:pt x="1413" y="1172"/>
                  </a:cubicBezTo>
                  <a:cubicBezTo>
                    <a:pt x="1413" y="1131"/>
                    <a:pt x="1413" y="1090"/>
                    <a:pt x="1413" y="1049"/>
                  </a:cubicBezTo>
                  <a:cubicBezTo>
                    <a:pt x="1413" y="1010"/>
                    <a:pt x="1413" y="972"/>
                    <a:pt x="1413" y="934"/>
                  </a:cubicBezTo>
                  <a:close/>
                  <a:moveTo>
                    <a:pt x="1378" y="1113"/>
                  </a:moveTo>
                  <a:cubicBezTo>
                    <a:pt x="1378" y="1136"/>
                    <a:pt x="1360" y="1155"/>
                    <a:pt x="1337" y="1157"/>
                  </a:cubicBezTo>
                  <a:cubicBezTo>
                    <a:pt x="1319" y="1159"/>
                    <a:pt x="1304" y="1154"/>
                    <a:pt x="1294" y="1139"/>
                  </a:cubicBezTo>
                  <a:cubicBezTo>
                    <a:pt x="1286" y="1128"/>
                    <a:pt x="1283" y="1116"/>
                    <a:pt x="1283" y="1102"/>
                  </a:cubicBezTo>
                  <a:cubicBezTo>
                    <a:pt x="1282" y="1085"/>
                    <a:pt x="1282" y="1067"/>
                    <a:pt x="1290" y="1051"/>
                  </a:cubicBezTo>
                  <a:cubicBezTo>
                    <a:pt x="1297" y="1036"/>
                    <a:pt x="1308" y="1024"/>
                    <a:pt x="1325" y="1022"/>
                  </a:cubicBezTo>
                  <a:cubicBezTo>
                    <a:pt x="1342" y="1020"/>
                    <a:pt x="1358" y="1021"/>
                    <a:pt x="1371" y="1035"/>
                  </a:cubicBezTo>
                  <a:cubicBezTo>
                    <a:pt x="1376" y="1041"/>
                    <a:pt x="1378" y="1046"/>
                    <a:pt x="1378" y="1052"/>
                  </a:cubicBezTo>
                  <a:cubicBezTo>
                    <a:pt x="1378" y="1064"/>
                    <a:pt x="1378" y="1075"/>
                    <a:pt x="1378" y="1086"/>
                  </a:cubicBezTo>
                  <a:cubicBezTo>
                    <a:pt x="1378" y="1086"/>
                    <a:pt x="1378" y="1086"/>
                    <a:pt x="1378" y="1086"/>
                  </a:cubicBezTo>
                  <a:cubicBezTo>
                    <a:pt x="1378" y="1095"/>
                    <a:pt x="1378" y="1104"/>
                    <a:pt x="1378" y="1113"/>
                  </a:cubicBezTo>
                  <a:close/>
                  <a:moveTo>
                    <a:pt x="578" y="259"/>
                  </a:moveTo>
                  <a:cubicBezTo>
                    <a:pt x="603" y="241"/>
                    <a:pt x="611" y="213"/>
                    <a:pt x="614" y="183"/>
                  </a:cubicBezTo>
                  <a:cubicBezTo>
                    <a:pt x="615" y="171"/>
                    <a:pt x="610" y="159"/>
                    <a:pt x="609" y="147"/>
                  </a:cubicBezTo>
                  <a:cubicBezTo>
                    <a:pt x="608" y="137"/>
                    <a:pt x="603" y="129"/>
                    <a:pt x="599" y="121"/>
                  </a:cubicBezTo>
                  <a:cubicBezTo>
                    <a:pt x="579" y="87"/>
                    <a:pt x="527" y="70"/>
                    <a:pt x="488" y="85"/>
                  </a:cubicBezTo>
                  <a:cubicBezTo>
                    <a:pt x="453" y="99"/>
                    <a:pt x="436" y="127"/>
                    <a:pt x="431" y="163"/>
                  </a:cubicBezTo>
                  <a:cubicBezTo>
                    <a:pt x="429" y="180"/>
                    <a:pt x="430" y="196"/>
                    <a:pt x="436" y="213"/>
                  </a:cubicBezTo>
                  <a:cubicBezTo>
                    <a:pt x="439" y="222"/>
                    <a:pt x="442" y="232"/>
                    <a:pt x="447" y="239"/>
                  </a:cubicBezTo>
                  <a:cubicBezTo>
                    <a:pt x="465" y="265"/>
                    <a:pt x="491" y="277"/>
                    <a:pt x="525" y="276"/>
                  </a:cubicBezTo>
                  <a:cubicBezTo>
                    <a:pt x="543" y="278"/>
                    <a:pt x="562" y="271"/>
                    <a:pt x="578" y="259"/>
                  </a:cubicBezTo>
                  <a:close/>
                  <a:moveTo>
                    <a:pt x="471" y="205"/>
                  </a:moveTo>
                  <a:cubicBezTo>
                    <a:pt x="466" y="185"/>
                    <a:pt x="468" y="167"/>
                    <a:pt x="472" y="147"/>
                  </a:cubicBezTo>
                  <a:cubicBezTo>
                    <a:pt x="477" y="130"/>
                    <a:pt x="493" y="116"/>
                    <a:pt x="509" y="112"/>
                  </a:cubicBezTo>
                  <a:cubicBezTo>
                    <a:pt x="525" y="108"/>
                    <a:pt x="539" y="110"/>
                    <a:pt x="553" y="119"/>
                  </a:cubicBezTo>
                  <a:cubicBezTo>
                    <a:pt x="563" y="125"/>
                    <a:pt x="568" y="135"/>
                    <a:pt x="571" y="146"/>
                  </a:cubicBezTo>
                  <a:cubicBezTo>
                    <a:pt x="577" y="167"/>
                    <a:pt x="578" y="189"/>
                    <a:pt x="571" y="211"/>
                  </a:cubicBezTo>
                  <a:cubicBezTo>
                    <a:pt x="565" y="231"/>
                    <a:pt x="549" y="249"/>
                    <a:pt x="521" y="247"/>
                  </a:cubicBezTo>
                  <a:cubicBezTo>
                    <a:pt x="496" y="247"/>
                    <a:pt x="478" y="230"/>
                    <a:pt x="471" y="205"/>
                  </a:cubicBezTo>
                  <a:close/>
                  <a:moveTo>
                    <a:pt x="472" y="1122"/>
                  </a:moveTo>
                  <a:cubicBezTo>
                    <a:pt x="475" y="1136"/>
                    <a:pt x="481" y="1148"/>
                    <a:pt x="491" y="1158"/>
                  </a:cubicBezTo>
                  <a:cubicBezTo>
                    <a:pt x="506" y="1176"/>
                    <a:pt x="524" y="1185"/>
                    <a:pt x="548" y="1187"/>
                  </a:cubicBezTo>
                  <a:cubicBezTo>
                    <a:pt x="568" y="1188"/>
                    <a:pt x="587" y="1187"/>
                    <a:pt x="605" y="1177"/>
                  </a:cubicBezTo>
                  <a:cubicBezTo>
                    <a:pt x="632" y="1162"/>
                    <a:pt x="644" y="1136"/>
                    <a:pt x="649" y="1107"/>
                  </a:cubicBezTo>
                  <a:cubicBezTo>
                    <a:pt x="652" y="1089"/>
                    <a:pt x="649" y="1072"/>
                    <a:pt x="644" y="1054"/>
                  </a:cubicBezTo>
                  <a:cubicBezTo>
                    <a:pt x="638" y="1034"/>
                    <a:pt x="627" y="1019"/>
                    <a:pt x="610" y="1007"/>
                  </a:cubicBezTo>
                  <a:cubicBezTo>
                    <a:pt x="589" y="992"/>
                    <a:pt x="566" y="991"/>
                    <a:pt x="541" y="994"/>
                  </a:cubicBezTo>
                  <a:cubicBezTo>
                    <a:pt x="526" y="995"/>
                    <a:pt x="512" y="1002"/>
                    <a:pt x="500" y="1012"/>
                  </a:cubicBezTo>
                  <a:cubicBezTo>
                    <a:pt x="476" y="1032"/>
                    <a:pt x="469" y="1060"/>
                    <a:pt x="466" y="1095"/>
                  </a:cubicBezTo>
                  <a:cubicBezTo>
                    <a:pt x="465" y="1101"/>
                    <a:pt x="470" y="1111"/>
                    <a:pt x="472" y="1122"/>
                  </a:cubicBezTo>
                  <a:close/>
                  <a:moveTo>
                    <a:pt x="508" y="1113"/>
                  </a:moveTo>
                  <a:cubicBezTo>
                    <a:pt x="505" y="1095"/>
                    <a:pt x="506" y="1078"/>
                    <a:pt x="508" y="1061"/>
                  </a:cubicBezTo>
                  <a:cubicBezTo>
                    <a:pt x="511" y="1042"/>
                    <a:pt x="538" y="1021"/>
                    <a:pt x="554" y="1022"/>
                  </a:cubicBezTo>
                  <a:cubicBezTo>
                    <a:pt x="570" y="1022"/>
                    <a:pt x="586" y="1024"/>
                    <a:pt x="596" y="1037"/>
                  </a:cubicBezTo>
                  <a:cubicBezTo>
                    <a:pt x="602" y="1044"/>
                    <a:pt x="607" y="1052"/>
                    <a:pt x="608" y="1061"/>
                  </a:cubicBezTo>
                  <a:cubicBezTo>
                    <a:pt x="608" y="1064"/>
                    <a:pt x="609" y="1067"/>
                    <a:pt x="610" y="1070"/>
                  </a:cubicBezTo>
                  <a:cubicBezTo>
                    <a:pt x="618" y="1089"/>
                    <a:pt x="612" y="1107"/>
                    <a:pt x="607" y="1125"/>
                  </a:cubicBezTo>
                  <a:cubicBezTo>
                    <a:pt x="601" y="1143"/>
                    <a:pt x="588" y="1160"/>
                    <a:pt x="558" y="1157"/>
                  </a:cubicBezTo>
                  <a:cubicBezTo>
                    <a:pt x="530" y="1157"/>
                    <a:pt x="512" y="1141"/>
                    <a:pt x="508" y="1113"/>
                  </a:cubicBezTo>
                  <a:close/>
                  <a:moveTo>
                    <a:pt x="430" y="716"/>
                  </a:moveTo>
                  <a:cubicBezTo>
                    <a:pt x="450" y="703"/>
                    <a:pt x="459" y="683"/>
                    <a:pt x="464" y="661"/>
                  </a:cubicBezTo>
                  <a:cubicBezTo>
                    <a:pt x="468" y="648"/>
                    <a:pt x="467" y="635"/>
                    <a:pt x="466" y="621"/>
                  </a:cubicBezTo>
                  <a:cubicBezTo>
                    <a:pt x="463" y="592"/>
                    <a:pt x="453" y="567"/>
                    <a:pt x="427" y="550"/>
                  </a:cubicBezTo>
                  <a:cubicBezTo>
                    <a:pt x="401" y="534"/>
                    <a:pt x="372" y="532"/>
                    <a:pt x="345" y="541"/>
                  </a:cubicBezTo>
                  <a:cubicBezTo>
                    <a:pt x="310" y="552"/>
                    <a:pt x="291" y="580"/>
                    <a:pt x="287" y="617"/>
                  </a:cubicBezTo>
                  <a:cubicBezTo>
                    <a:pt x="286" y="629"/>
                    <a:pt x="286" y="641"/>
                    <a:pt x="287" y="654"/>
                  </a:cubicBezTo>
                  <a:cubicBezTo>
                    <a:pt x="289" y="671"/>
                    <a:pt x="295" y="686"/>
                    <a:pt x="306" y="700"/>
                  </a:cubicBezTo>
                  <a:cubicBezTo>
                    <a:pt x="324" y="722"/>
                    <a:pt x="348" y="733"/>
                    <a:pt x="378" y="731"/>
                  </a:cubicBezTo>
                  <a:cubicBezTo>
                    <a:pt x="396" y="733"/>
                    <a:pt x="414" y="727"/>
                    <a:pt x="430" y="716"/>
                  </a:cubicBezTo>
                  <a:close/>
                  <a:moveTo>
                    <a:pt x="331" y="592"/>
                  </a:moveTo>
                  <a:cubicBezTo>
                    <a:pt x="339" y="580"/>
                    <a:pt x="349" y="569"/>
                    <a:pt x="365" y="567"/>
                  </a:cubicBezTo>
                  <a:cubicBezTo>
                    <a:pt x="387" y="564"/>
                    <a:pt x="406" y="568"/>
                    <a:pt x="419" y="588"/>
                  </a:cubicBezTo>
                  <a:cubicBezTo>
                    <a:pt x="423" y="595"/>
                    <a:pt x="426" y="603"/>
                    <a:pt x="427" y="610"/>
                  </a:cubicBezTo>
                  <a:cubicBezTo>
                    <a:pt x="433" y="635"/>
                    <a:pt x="431" y="661"/>
                    <a:pt x="416" y="684"/>
                  </a:cubicBezTo>
                  <a:cubicBezTo>
                    <a:pt x="403" y="706"/>
                    <a:pt x="362" y="708"/>
                    <a:pt x="345" y="692"/>
                  </a:cubicBezTo>
                  <a:cubicBezTo>
                    <a:pt x="329" y="678"/>
                    <a:pt x="323" y="661"/>
                    <a:pt x="323" y="631"/>
                  </a:cubicBezTo>
                  <a:cubicBezTo>
                    <a:pt x="323" y="619"/>
                    <a:pt x="323" y="605"/>
                    <a:pt x="331" y="592"/>
                  </a:cubicBezTo>
                  <a:close/>
                  <a:moveTo>
                    <a:pt x="1073" y="259"/>
                  </a:moveTo>
                  <a:cubicBezTo>
                    <a:pt x="1073" y="269"/>
                    <a:pt x="1075" y="272"/>
                    <a:pt x="1086" y="272"/>
                  </a:cubicBezTo>
                  <a:cubicBezTo>
                    <a:pt x="1088" y="272"/>
                    <a:pt x="1090" y="272"/>
                    <a:pt x="1092" y="272"/>
                  </a:cubicBezTo>
                  <a:cubicBezTo>
                    <a:pt x="1105" y="272"/>
                    <a:pt x="1106" y="271"/>
                    <a:pt x="1106" y="258"/>
                  </a:cubicBezTo>
                  <a:cubicBezTo>
                    <a:pt x="1106" y="221"/>
                    <a:pt x="1106" y="184"/>
                    <a:pt x="1106" y="147"/>
                  </a:cubicBezTo>
                  <a:cubicBezTo>
                    <a:pt x="1106" y="143"/>
                    <a:pt x="1106" y="140"/>
                    <a:pt x="1107" y="137"/>
                  </a:cubicBezTo>
                  <a:cubicBezTo>
                    <a:pt x="1117" y="117"/>
                    <a:pt x="1157" y="104"/>
                    <a:pt x="1177" y="114"/>
                  </a:cubicBezTo>
                  <a:cubicBezTo>
                    <a:pt x="1179" y="115"/>
                    <a:pt x="1180" y="117"/>
                    <a:pt x="1182" y="118"/>
                  </a:cubicBezTo>
                  <a:cubicBezTo>
                    <a:pt x="1194" y="131"/>
                    <a:pt x="1196" y="147"/>
                    <a:pt x="1196" y="163"/>
                  </a:cubicBezTo>
                  <a:cubicBezTo>
                    <a:pt x="1197" y="195"/>
                    <a:pt x="1196" y="226"/>
                    <a:pt x="1196" y="258"/>
                  </a:cubicBezTo>
                  <a:cubicBezTo>
                    <a:pt x="1196" y="271"/>
                    <a:pt x="1197" y="272"/>
                    <a:pt x="1210" y="272"/>
                  </a:cubicBezTo>
                  <a:cubicBezTo>
                    <a:pt x="1212" y="272"/>
                    <a:pt x="1213" y="272"/>
                    <a:pt x="1215" y="272"/>
                  </a:cubicBezTo>
                  <a:cubicBezTo>
                    <a:pt x="1227" y="272"/>
                    <a:pt x="1229" y="270"/>
                    <a:pt x="1229" y="258"/>
                  </a:cubicBezTo>
                  <a:cubicBezTo>
                    <a:pt x="1229" y="222"/>
                    <a:pt x="1229" y="187"/>
                    <a:pt x="1229" y="151"/>
                  </a:cubicBezTo>
                  <a:cubicBezTo>
                    <a:pt x="1229" y="142"/>
                    <a:pt x="1228" y="132"/>
                    <a:pt x="1225" y="123"/>
                  </a:cubicBezTo>
                  <a:cubicBezTo>
                    <a:pt x="1219" y="105"/>
                    <a:pt x="1208" y="91"/>
                    <a:pt x="1189" y="85"/>
                  </a:cubicBezTo>
                  <a:cubicBezTo>
                    <a:pt x="1173" y="80"/>
                    <a:pt x="1156" y="84"/>
                    <a:pt x="1139" y="84"/>
                  </a:cubicBezTo>
                  <a:cubicBezTo>
                    <a:pt x="1137" y="84"/>
                    <a:pt x="1136" y="86"/>
                    <a:pt x="1134" y="87"/>
                  </a:cubicBezTo>
                  <a:cubicBezTo>
                    <a:pt x="1128" y="91"/>
                    <a:pt x="1121" y="96"/>
                    <a:pt x="1115" y="100"/>
                  </a:cubicBezTo>
                  <a:cubicBezTo>
                    <a:pt x="1113" y="102"/>
                    <a:pt x="1111" y="105"/>
                    <a:pt x="1108" y="103"/>
                  </a:cubicBezTo>
                  <a:cubicBezTo>
                    <a:pt x="1105" y="102"/>
                    <a:pt x="1106" y="98"/>
                    <a:pt x="1106" y="96"/>
                  </a:cubicBezTo>
                  <a:cubicBezTo>
                    <a:pt x="1106" y="69"/>
                    <a:pt x="1106" y="43"/>
                    <a:pt x="1106" y="17"/>
                  </a:cubicBezTo>
                  <a:cubicBezTo>
                    <a:pt x="1106" y="0"/>
                    <a:pt x="1106" y="0"/>
                    <a:pt x="1089" y="0"/>
                  </a:cubicBezTo>
                  <a:cubicBezTo>
                    <a:pt x="1074" y="0"/>
                    <a:pt x="1073" y="1"/>
                    <a:pt x="1073" y="16"/>
                  </a:cubicBezTo>
                  <a:cubicBezTo>
                    <a:pt x="1073" y="56"/>
                    <a:pt x="1073" y="96"/>
                    <a:pt x="1073" y="136"/>
                  </a:cubicBezTo>
                  <a:cubicBezTo>
                    <a:pt x="1073" y="177"/>
                    <a:pt x="1073" y="218"/>
                    <a:pt x="1073" y="259"/>
                  </a:cubicBezTo>
                  <a:close/>
                  <a:moveTo>
                    <a:pt x="1150" y="1092"/>
                  </a:moveTo>
                  <a:cubicBezTo>
                    <a:pt x="1168" y="1092"/>
                    <a:pt x="1186" y="1092"/>
                    <a:pt x="1204" y="1092"/>
                  </a:cubicBezTo>
                  <a:cubicBezTo>
                    <a:pt x="1215" y="1092"/>
                    <a:pt x="1218" y="1087"/>
                    <a:pt x="1219" y="1077"/>
                  </a:cubicBezTo>
                  <a:cubicBezTo>
                    <a:pt x="1220" y="1062"/>
                    <a:pt x="1216" y="1049"/>
                    <a:pt x="1210" y="1036"/>
                  </a:cubicBezTo>
                  <a:cubicBezTo>
                    <a:pt x="1204" y="1020"/>
                    <a:pt x="1193" y="1008"/>
                    <a:pt x="1177" y="1001"/>
                  </a:cubicBezTo>
                  <a:cubicBezTo>
                    <a:pt x="1155" y="992"/>
                    <a:pt x="1133" y="991"/>
                    <a:pt x="1109" y="999"/>
                  </a:cubicBezTo>
                  <a:cubicBezTo>
                    <a:pt x="1079" y="1010"/>
                    <a:pt x="1062" y="1031"/>
                    <a:pt x="1056" y="1061"/>
                  </a:cubicBezTo>
                  <a:cubicBezTo>
                    <a:pt x="1051" y="1090"/>
                    <a:pt x="1052" y="1120"/>
                    <a:pt x="1069" y="1148"/>
                  </a:cubicBezTo>
                  <a:cubicBezTo>
                    <a:pt x="1081" y="1169"/>
                    <a:pt x="1100" y="1180"/>
                    <a:pt x="1122" y="1185"/>
                  </a:cubicBezTo>
                  <a:cubicBezTo>
                    <a:pt x="1149" y="1190"/>
                    <a:pt x="1176" y="1186"/>
                    <a:pt x="1200" y="1171"/>
                  </a:cubicBezTo>
                  <a:cubicBezTo>
                    <a:pt x="1206" y="1168"/>
                    <a:pt x="1213" y="1165"/>
                    <a:pt x="1214" y="1157"/>
                  </a:cubicBezTo>
                  <a:cubicBezTo>
                    <a:pt x="1215" y="1147"/>
                    <a:pt x="1202" y="1139"/>
                    <a:pt x="1193" y="1144"/>
                  </a:cubicBezTo>
                  <a:cubicBezTo>
                    <a:pt x="1187" y="1147"/>
                    <a:pt x="1180" y="1150"/>
                    <a:pt x="1174" y="1153"/>
                  </a:cubicBezTo>
                  <a:cubicBezTo>
                    <a:pt x="1158" y="1161"/>
                    <a:pt x="1140" y="1161"/>
                    <a:pt x="1124" y="1155"/>
                  </a:cubicBezTo>
                  <a:cubicBezTo>
                    <a:pt x="1112" y="1151"/>
                    <a:pt x="1102" y="1142"/>
                    <a:pt x="1096" y="1129"/>
                  </a:cubicBezTo>
                  <a:cubicBezTo>
                    <a:pt x="1092" y="1121"/>
                    <a:pt x="1091" y="1112"/>
                    <a:pt x="1089" y="1104"/>
                  </a:cubicBezTo>
                  <a:cubicBezTo>
                    <a:pt x="1087" y="1093"/>
                    <a:pt x="1087" y="1092"/>
                    <a:pt x="1099" y="1092"/>
                  </a:cubicBezTo>
                  <a:cubicBezTo>
                    <a:pt x="1116" y="1092"/>
                    <a:pt x="1133" y="1092"/>
                    <a:pt x="1150" y="1092"/>
                  </a:cubicBezTo>
                  <a:cubicBezTo>
                    <a:pt x="1150" y="1092"/>
                    <a:pt x="1150" y="1092"/>
                    <a:pt x="1150" y="1092"/>
                  </a:cubicBezTo>
                  <a:close/>
                  <a:moveTo>
                    <a:pt x="1099" y="1070"/>
                  </a:moveTo>
                  <a:cubicBezTo>
                    <a:pt x="1092" y="1071"/>
                    <a:pt x="1089" y="1067"/>
                    <a:pt x="1091" y="1060"/>
                  </a:cubicBezTo>
                  <a:cubicBezTo>
                    <a:pt x="1094" y="1045"/>
                    <a:pt x="1108" y="1023"/>
                    <a:pt x="1128" y="1022"/>
                  </a:cubicBezTo>
                  <a:cubicBezTo>
                    <a:pt x="1142" y="1021"/>
                    <a:pt x="1156" y="1018"/>
                    <a:pt x="1168" y="1029"/>
                  </a:cubicBezTo>
                  <a:cubicBezTo>
                    <a:pt x="1181" y="1038"/>
                    <a:pt x="1185" y="1051"/>
                    <a:pt x="1187" y="1066"/>
                  </a:cubicBezTo>
                  <a:cubicBezTo>
                    <a:pt x="1188" y="1071"/>
                    <a:pt x="1183" y="1070"/>
                    <a:pt x="1180" y="1070"/>
                  </a:cubicBezTo>
                  <a:cubicBezTo>
                    <a:pt x="1166" y="1070"/>
                    <a:pt x="1153" y="1070"/>
                    <a:pt x="1139" y="1070"/>
                  </a:cubicBezTo>
                  <a:cubicBezTo>
                    <a:pt x="1139" y="1070"/>
                    <a:pt x="1139" y="1070"/>
                    <a:pt x="1139" y="1070"/>
                  </a:cubicBezTo>
                  <a:cubicBezTo>
                    <a:pt x="1126" y="1070"/>
                    <a:pt x="1113" y="1070"/>
                    <a:pt x="1099" y="1070"/>
                  </a:cubicBezTo>
                  <a:close/>
                  <a:moveTo>
                    <a:pt x="1741" y="1092"/>
                  </a:moveTo>
                  <a:cubicBezTo>
                    <a:pt x="1759" y="1092"/>
                    <a:pt x="1776" y="1092"/>
                    <a:pt x="1793" y="1092"/>
                  </a:cubicBezTo>
                  <a:cubicBezTo>
                    <a:pt x="1806" y="1092"/>
                    <a:pt x="1808" y="1089"/>
                    <a:pt x="1808" y="1076"/>
                  </a:cubicBezTo>
                  <a:cubicBezTo>
                    <a:pt x="1809" y="1063"/>
                    <a:pt x="1807" y="1051"/>
                    <a:pt x="1802" y="1038"/>
                  </a:cubicBezTo>
                  <a:cubicBezTo>
                    <a:pt x="1794" y="1021"/>
                    <a:pt x="1782" y="1008"/>
                    <a:pt x="1764" y="1000"/>
                  </a:cubicBezTo>
                  <a:cubicBezTo>
                    <a:pt x="1742" y="991"/>
                    <a:pt x="1720" y="991"/>
                    <a:pt x="1698" y="1000"/>
                  </a:cubicBezTo>
                  <a:cubicBezTo>
                    <a:pt x="1681" y="1006"/>
                    <a:pt x="1668" y="1016"/>
                    <a:pt x="1659" y="1031"/>
                  </a:cubicBezTo>
                  <a:cubicBezTo>
                    <a:pt x="1646" y="1050"/>
                    <a:pt x="1643" y="1071"/>
                    <a:pt x="1644" y="1094"/>
                  </a:cubicBezTo>
                  <a:cubicBezTo>
                    <a:pt x="1644" y="1110"/>
                    <a:pt x="1647" y="1127"/>
                    <a:pt x="1655" y="1141"/>
                  </a:cubicBezTo>
                  <a:cubicBezTo>
                    <a:pt x="1669" y="1168"/>
                    <a:pt x="1691" y="1183"/>
                    <a:pt x="1722" y="1186"/>
                  </a:cubicBezTo>
                  <a:cubicBezTo>
                    <a:pt x="1750" y="1188"/>
                    <a:pt x="1775" y="1183"/>
                    <a:pt x="1798" y="1165"/>
                  </a:cubicBezTo>
                  <a:cubicBezTo>
                    <a:pt x="1803" y="1161"/>
                    <a:pt x="1806" y="1157"/>
                    <a:pt x="1802" y="1151"/>
                  </a:cubicBezTo>
                  <a:cubicBezTo>
                    <a:pt x="1798" y="1144"/>
                    <a:pt x="1791" y="1140"/>
                    <a:pt x="1783" y="1144"/>
                  </a:cubicBezTo>
                  <a:cubicBezTo>
                    <a:pt x="1778" y="1147"/>
                    <a:pt x="1771" y="1149"/>
                    <a:pt x="1766" y="1152"/>
                  </a:cubicBezTo>
                  <a:cubicBezTo>
                    <a:pt x="1749" y="1161"/>
                    <a:pt x="1730" y="1162"/>
                    <a:pt x="1714" y="1155"/>
                  </a:cubicBezTo>
                  <a:cubicBezTo>
                    <a:pt x="1692" y="1145"/>
                    <a:pt x="1680" y="1127"/>
                    <a:pt x="1679" y="1102"/>
                  </a:cubicBezTo>
                  <a:cubicBezTo>
                    <a:pt x="1678" y="1095"/>
                    <a:pt x="1681" y="1092"/>
                    <a:pt x="1689" y="1092"/>
                  </a:cubicBezTo>
                  <a:cubicBezTo>
                    <a:pt x="1706" y="1092"/>
                    <a:pt x="1724" y="1092"/>
                    <a:pt x="1741" y="1092"/>
                  </a:cubicBezTo>
                  <a:cubicBezTo>
                    <a:pt x="1741" y="1092"/>
                    <a:pt x="1741" y="1092"/>
                    <a:pt x="1741" y="1092"/>
                  </a:cubicBezTo>
                  <a:close/>
                  <a:moveTo>
                    <a:pt x="1690" y="1070"/>
                  </a:moveTo>
                  <a:cubicBezTo>
                    <a:pt x="1683" y="1071"/>
                    <a:pt x="1680" y="1068"/>
                    <a:pt x="1681" y="1062"/>
                  </a:cubicBezTo>
                  <a:cubicBezTo>
                    <a:pt x="1683" y="1048"/>
                    <a:pt x="1697" y="1024"/>
                    <a:pt x="1716" y="1022"/>
                  </a:cubicBezTo>
                  <a:cubicBezTo>
                    <a:pt x="1731" y="1020"/>
                    <a:pt x="1747" y="1018"/>
                    <a:pt x="1760" y="1030"/>
                  </a:cubicBezTo>
                  <a:cubicBezTo>
                    <a:pt x="1771" y="1038"/>
                    <a:pt x="1775" y="1050"/>
                    <a:pt x="1778" y="1062"/>
                  </a:cubicBezTo>
                  <a:cubicBezTo>
                    <a:pt x="1780" y="1068"/>
                    <a:pt x="1775" y="1070"/>
                    <a:pt x="1769" y="1070"/>
                  </a:cubicBezTo>
                  <a:cubicBezTo>
                    <a:pt x="1756" y="1070"/>
                    <a:pt x="1742" y="1070"/>
                    <a:pt x="1729" y="1070"/>
                  </a:cubicBezTo>
                  <a:cubicBezTo>
                    <a:pt x="1729" y="1070"/>
                    <a:pt x="1729" y="1070"/>
                    <a:pt x="1729" y="1070"/>
                  </a:cubicBezTo>
                  <a:cubicBezTo>
                    <a:pt x="1716" y="1070"/>
                    <a:pt x="1703" y="1070"/>
                    <a:pt x="1690" y="1070"/>
                  </a:cubicBezTo>
                  <a:close/>
                  <a:moveTo>
                    <a:pt x="68" y="581"/>
                  </a:moveTo>
                  <a:cubicBezTo>
                    <a:pt x="68" y="573"/>
                    <a:pt x="70" y="568"/>
                    <a:pt x="80" y="569"/>
                  </a:cubicBezTo>
                  <a:cubicBezTo>
                    <a:pt x="90" y="570"/>
                    <a:pt x="101" y="570"/>
                    <a:pt x="111" y="569"/>
                  </a:cubicBezTo>
                  <a:cubicBezTo>
                    <a:pt x="120" y="569"/>
                    <a:pt x="120" y="563"/>
                    <a:pt x="120" y="556"/>
                  </a:cubicBezTo>
                  <a:cubicBezTo>
                    <a:pt x="120" y="549"/>
                    <a:pt x="119" y="544"/>
                    <a:pt x="111" y="544"/>
                  </a:cubicBezTo>
                  <a:cubicBezTo>
                    <a:pt x="104" y="544"/>
                    <a:pt x="97" y="544"/>
                    <a:pt x="91" y="544"/>
                  </a:cubicBezTo>
                  <a:cubicBezTo>
                    <a:pt x="66" y="544"/>
                    <a:pt x="65" y="543"/>
                    <a:pt x="68" y="518"/>
                  </a:cubicBezTo>
                  <a:cubicBezTo>
                    <a:pt x="69" y="504"/>
                    <a:pt x="83" y="487"/>
                    <a:pt x="99" y="489"/>
                  </a:cubicBezTo>
                  <a:cubicBezTo>
                    <a:pt x="103" y="489"/>
                    <a:pt x="107" y="489"/>
                    <a:pt x="110" y="488"/>
                  </a:cubicBezTo>
                  <a:cubicBezTo>
                    <a:pt x="118" y="487"/>
                    <a:pt x="123" y="479"/>
                    <a:pt x="123" y="471"/>
                  </a:cubicBezTo>
                  <a:cubicBezTo>
                    <a:pt x="123" y="461"/>
                    <a:pt x="116" y="462"/>
                    <a:pt x="109" y="460"/>
                  </a:cubicBezTo>
                  <a:cubicBezTo>
                    <a:pt x="100" y="458"/>
                    <a:pt x="92" y="460"/>
                    <a:pt x="84" y="460"/>
                  </a:cubicBezTo>
                  <a:cubicBezTo>
                    <a:pt x="68" y="461"/>
                    <a:pt x="56" y="469"/>
                    <a:pt x="47" y="480"/>
                  </a:cubicBezTo>
                  <a:cubicBezTo>
                    <a:pt x="34" y="493"/>
                    <a:pt x="32" y="511"/>
                    <a:pt x="32" y="529"/>
                  </a:cubicBezTo>
                  <a:cubicBezTo>
                    <a:pt x="32" y="544"/>
                    <a:pt x="32" y="544"/>
                    <a:pt x="17" y="544"/>
                  </a:cubicBezTo>
                  <a:cubicBezTo>
                    <a:pt x="4" y="543"/>
                    <a:pt x="0" y="548"/>
                    <a:pt x="4" y="561"/>
                  </a:cubicBezTo>
                  <a:cubicBezTo>
                    <a:pt x="6" y="569"/>
                    <a:pt x="13" y="568"/>
                    <a:pt x="19" y="569"/>
                  </a:cubicBezTo>
                  <a:cubicBezTo>
                    <a:pt x="32" y="571"/>
                    <a:pt x="32" y="571"/>
                    <a:pt x="32" y="584"/>
                  </a:cubicBezTo>
                  <a:cubicBezTo>
                    <a:pt x="32" y="624"/>
                    <a:pt x="32" y="664"/>
                    <a:pt x="32" y="704"/>
                  </a:cubicBezTo>
                  <a:cubicBezTo>
                    <a:pt x="32" y="731"/>
                    <a:pt x="32" y="730"/>
                    <a:pt x="57" y="731"/>
                  </a:cubicBezTo>
                  <a:cubicBezTo>
                    <a:pt x="66" y="731"/>
                    <a:pt x="68" y="727"/>
                    <a:pt x="68" y="720"/>
                  </a:cubicBezTo>
                  <a:cubicBezTo>
                    <a:pt x="68" y="697"/>
                    <a:pt x="68" y="674"/>
                    <a:pt x="68" y="651"/>
                  </a:cubicBezTo>
                  <a:cubicBezTo>
                    <a:pt x="68" y="628"/>
                    <a:pt x="68" y="605"/>
                    <a:pt x="68" y="581"/>
                  </a:cubicBezTo>
                  <a:close/>
                  <a:moveTo>
                    <a:pt x="278" y="1165"/>
                  </a:moveTo>
                  <a:cubicBezTo>
                    <a:pt x="278" y="1183"/>
                    <a:pt x="278" y="1183"/>
                    <a:pt x="296" y="1184"/>
                  </a:cubicBezTo>
                  <a:cubicBezTo>
                    <a:pt x="310" y="1184"/>
                    <a:pt x="310" y="1184"/>
                    <a:pt x="310" y="1169"/>
                  </a:cubicBezTo>
                  <a:cubicBezTo>
                    <a:pt x="310" y="1132"/>
                    <a:pt x="310" y="1095"/>
                    <a:pt x="310" y="1058"/>
                  </a:cubicBezTo>
                  <a:cubicBezTo>
                    <a:pt x="310" y="1052"/>
                    <a:pt x="312" y="1047"/>
                    <a:pt x="316" y="1042"/>
                  </a:cubicBezTo>
                  <a:cubicBezTo>
                    <a:pt x="324" y="1033"/>
                    <a:pt x="334" y="1027"/>
                    <a:pt x="345" y="1024"/>
                  </a:cubicBezTo>
                  <a:cubicBezTo>
                    <a:pt x="357" y="1020"/>
                    <a:pt x="371" y="1018"/>
                    <a:pt x="383" y="1028"/>
                  </a:cubicBezTo>
                  <a:cubicBezTo>
                    <a:pt x="397" y="1039"/>
                    <a:pt x="401" y="1054"/>
                    <a:pt x="401" y="1071"/>
                  </a:cubicBezTo>
                  <a:cubicBezTo>
                    <a:pt x="401" y="1102"/>
                    <a:pt x="401" y="1132"/>
                    <a:pt x="401" y="1163"/>
                  </a:cubicBezTo>
                  <a:cubicBezTo>
                    <a:pt x="401" y="1183"/>
                    <a:pt x="401" y="1182"/>
                    <a:pt x="420" y="1184"/>
                  </a:cubicBezTo>
                  <a:cubicBezTo>
                    <a:pt x="429" y="1185"/>
                    <a:pt x="433" y="1181"/>
                    <a:pt x="433" y="1173"/>
                  </a:cubicBezTo>
                  <a:cubicBezTo>
                    <a:pt x="432" y="1130"/>
                    <a:pt x="435" y="1087"/>
                    <a:pt x="431" y="1044"/>
                  </a:cubicBezTo>
                  <a:cubicBezTo>
                    <a:pt x="427" y="1014"/>
                    <a:pt x="404" y="996"/>
                    <a:pt x="376" y="994"/>
                  </a:cubicBezTo>
                  <a:cubicBezTo>
                    <a:pt x="353" y="992"/>
                    <a:pt x="333" y="1000"/>
                    <a:pt x="317" y="1017"/>
                  </a:cubicBezTo>
                  <a:cubicBezTo>
                    <a:pt x="312" y="1021"/>
                    <a:pt x="311" y="1019"/>
                    <a:pt x="309" y="1015"/>
                  </a:cubicBezTo>
                  <a:cubicBezTo>
                    <a:pt x="309" y="1013"/>
                    <a:pt x="308" y="1011"/>
                    <a:pt x="308" y="1008"/>
                  </a:cubicBezTo>
                  <a:cubicBezTo>
                    <a:pt x="306" y="1001"/>
                    <a:pt x="298" y="997"/>
                    <a:pt x="287" y="998"/>
                  </a:cubicBezTo>
                  <a:cubicBezTo>
                    <a:pt x="279" y="999"/>
                    <a:pt x="278" y="1004"/>
                    <a:pt x="278" y="1011"/>
                  </a:cubicBezTo>
                  <a:cubicBezTo>
                    <a:pt x="278" y="1037"/>
                    <a:pt x="278" y="1064"/>
                    <a:pt x="278" y="1091"/>
                  </a:cubicBezTo>
                  <a:cubicBezTo>
                    <a:pt x="278" y="1115"/>
                    <a:pt x="278" y="1140"/>
                    <a:pt x="278" y="1165"/>
                  </a:cubicBezTo>
                  <a:close/>
                  <a:moveTo>
                    <a:pt x="150" y="705"/>
                  </a:moveTo>
                  <a:cubicBezTo>
                    <a:pt x="150" y="734"/>
                    <a:pt x="145" y="730"/>
                    <a:pt x="176" y="731"/>
                  </a:cubicBezTo>
                  <a:cubicBezTo>
                    <a:pt x="185" y="731"/>
                    <a:pt x="187" y="727"/>
                    <a:pt x="187" y="719"/>
                  </a:cubicBezTo>
                  <a:cubicBezTo>
                    <a:pt x="187" y="685"/>
                    <a:pt x="187" y="651"/>
                    <a:pt x="187" y="618"/>
                  </a:cubicBezTo>
                  <a:cubicBezTo>
                    <a:pt x="187" y="597"/>
                    <a:pt x="204" y="578"/>
                    <a:pt x="225" y="574"/>
                  </a:cubicBezTo>
                  <a:cubicBezTo>
                    <a:pt x="232" y="572"/>
                    <a:pt x="240" y="574"/>
                    <a:pt x="247" y="575"/>
                  </a:cubicBezTo>
                  <a:cubicBezTo>
                    <a:pt x="257" y="576"/>
                    <a:pt x="261" y="572"/>
                    <a:pt x="265" y="564"/>
                  </a:cubicBezTo>
                  <a:cubicBezTo>
                    <a:pt x="269" y="556"/>
                    <a:pt x="267" y="542"/>
                    <a:pt x="261" y="540"/>
                  </a:cubicBezTo>
                  <a:cubicBezTo>
                    <a:pt x="253" y="538"/>
                    <a:pt x="244" y="534"/>
                    <a:pt x="237" y="536"/>
                  </a:cubicBezTo>
                  <a:cubicBezTo>
                    <a:pt x="228" y="537"/>
                    <a:pt x="217" y="537"/>
                    <a:pt x="209" y="544"/>
                  </a:cubicBezTo>
                  <a:cubicBezTo>
                    <a:pt x="204" y="549"/>
                    <a:pt x="198" y="553"/>
                    <a:pt x="194" y="558"/>
                  </a:cubicBezTo>
                  <a:cubicBezTo>
                    <a:pt x="192" y="561"/>
                    <a:pt x="189" y="563"/>
                    <a:pt x="185" y="562"/>
                  </a:cubicBezTo>
                  <a:cubicBezTo>
                    <a:pt x="182" y="561"/>
                    <a:pt x="182" y="558"/>
                    <a:pt x="182" y="556"/>
                  </a:cubicBezTo>
                  <a:cubicBezTo>
                    <a:pt x="180" y="539"/>
                    <a:pt x="179" y="539"/>
                    <a:pt x="162" y="539"/>
                  </a:cubicBezTo>
                  <a:cubicBezTo>
                    <a:pt x="151" y="539"/>
                    <a:pt x="150" y="540"/>
                    <a:pt x="150" y="551"/>
                  </a:cubicBezTo>
                  <a:cubicBezTo>
                    <a:pt x="150" y="579"/>
                    <a:pt x="150" y="607"/>
                    <a:pt x="150" y="635"/>
                  </a:cubicBezTo>
                  <a:cubicBezTo>
                    <a:pt x="150" y="658"/>
                    <a:pt x="149" y="682"/>
                    <a:pt x="150" y="705"/>
                  </a:cubicBezTo>
                  <a:close/>
                  <a:moveTo>
                    <a:pt x="1011" y="1049"/>
                  </a:moveTo>
                  <a:cubicBezTo>
                    <a:pt x="1011" y="1008"/>
                    <a:pt x="1011" y="966"/>
                    <a:pt x="1011" y="924"/>
                  </a:cubicBezTo>
                  <a:cubicBezTo>
                    <a:pt x="1011" y="913"/>
                    <a:pt x="1008" y="910"/>
                    <a:pt x="997" y="910"/>
                  </a:cubicBezTo>
                  <a:cubicBezTo>
                    <a:pt x="995" y="910"/>
                    <a:pt x="992" y="910"/>
                    <a:pt x="990" y="910"/>
                  </a:cubicBezTo>
                  <a:cubicBezTo>
                    <a:pt x="976" y="910"/>
                    <a:pt x="975" y="911"/>
                    <a:pt x="975" y="926"/>
                  </a:cubicBezTo>
                  <a:cubicBezTo>
                    <a:pt x="975" y="1006"/>
                    <a:pt x="975" y="1085"/>
                    <a:pt x="975" y="1165"/>
                  </a:cubicBezTo>
                  <a:cubicBezTo>
                    <a:pt x="975" y="1185"/>
                    <a:pt x="975" y="1185"/>
                    <a:pt x="994" y="1185"/>
                  </a:cubicBezTo>
                  <a:cubicBezTo>
                    <a:pt x="1009" y="1185"/>
                    <a:pt x="1011" y="1184"/>
                    <a:pt x="1011" y="1169"/>
                  </a:cubicBezTo>
                  <a:cubicBezTo>
                    <a:pt x="1011" y="1129"/>
                    <a:pt x="1011" y="1089"/>
                    <a:pt x="1011" y="1049"/>
                  </a:cubicBezTo>
                  <a:cubicBezTo>
                    <a:pt x="1011" y="1049"/>
                    <a:pt x="1011" y="1049"/>
                    <a:pt x="1011" y="1049"/>
                  </a:cubicBezTo>
                  <a:close/>
                  <a:moveTo>
                    <a:pt x="296" y="176"/>
                  </a:moveTo>
                  <a:cubicBezTo>
                    <a:pt x="296" y="201"/>
                    <a:pt x="296" y="226"/>
                    <a:pt x="296" y="251"/>
                  </a:cubicBezTo>
                  <a:cubicBezTo>
                    <a:pt x="295" y="276"/>
                    <a:pt x="296" y="274"/>
                    <a:pt x="318" y="274"/>
                  </a:cubicBezTo>
                  <a:cubicBezTo>
                    <a:pt x="330" y="274"/>
                    <a:pt x="331" y="274"/>
                    <a:pt x="331" y="260"/>
                  </a:cubicBezTo>
                  <a:cubicBezTo>
                    <a:pt x="331" y="232"/>
                    <a:pt x="331" y="204"/>
                    <a:pt x="331" y="176"/>
                  </a:cubicBezTo>
                  <a:cubicBezTo>
                    <a:pt x="331" y="165"/>
                    <a:pt x="331" y="155"/>
                    <a:pt x="337" y="145"/>
                  </a:cubicBezTo>
                  <a:cubicBezTo>
                    <a:pt x="349" y="123"/>
                    <a:pt x="359" y="117"/>
                    <a:pt x="377" y="118"/>
                  </a:cubicBezTo>
                  <a:cubicBezTo>
                    <a:pt x="383" y="118"/>
                    <a:pt x="389" y="119"/>
                    <a:pt x="395" y="120"/>
                  </a:cubicBezTo>
                  <a:cubicBezTo>
                    <a:pt x="401" y="120"/>
                    <a:pt x="407" y="118"/>
                    <a:pt x="408" y="112"/>
                  </a:cubicBezTo>
                  <a:cubicBezTo>
                    <a:pt x="409" y="103"/>
                    <a:pt x="415" y="93"/>
                    <a:pt x="407" y="85"/>
                  </a:cubicBezTo>
                  <a:cubicBezTo>
                    <a:pt x="406" y="84"/>
                    <a:pt x="404" y="84"/>
                    <a:pt x="402" y="84"/>
                  </a:cubicBezTo>
                  <a:cubicBezTo>
                    <a:pt x="376" y="78"/>
                    <a:pt x="353" y="82"/>
                    <a:pt x="337" y="106"/>
                  </a:cubicBezTo>
                  <a:cubicBezTo>
                    <a:pt x="336" y="108"/>
                    <a:pt x="335" y="110"/>
                    <a:pt x="333" y="109"/>
                  </a:cubicBezTo>
                  <a:cubicBezTo>
                    <a:pt x="331" y="109"/>
                    <a:pt x="330" y="107"/>
                    <a:pt x="330" y="105"/>
                  </a:cubicBezTo>
                  <a:cubicBezTo>
                    <a:pt x="329" y="101"/>
                    <a:pt x="329" y="97"/>
                    <a:pt x="328" y="94"/>
                  </a:cubicBezTo>
                  <a:cubicBezTo>
                    <a:pt x="325" y="85"/>
                    <a:pt x="318" y="82"/>
                    <a:pt x="303" y="84"/>
                  </a:cubicBezTo>
                  <a:cubicBezTo>
                    <a:pt x="297" y="84"/>
                    <a:pt x="295" y="86"/>
                    <a:pt x="295" y="92"/>
                  </a:cubicBezTo>
                  <a:cubicBezTo>
                    <a:pt x="296" y="120"/>
                    <a:pt x="295" y="148"/>
                    <a:pt x="295" y="176"/>
                  </a:cubicBezTo>
                  <a:cubicBezTo>
                    <a:pt x="296" y="176"/>
                    <a:pt x="296" y="176"/>
                    <a:pt x="296" y="176"/>
                  </a:cubicBezTo>
                  <a:close/>
                  <a:moveTo>
                    <a:pt x="946" y="179"/>
                  </a:moveTo>
                  <a:cubicBezTo>
                    <a:pt x="946" y="197"/>
                    <a:pt x="946" y="215"/>
                    <a:pt x="946" y="234"/>
                  </a:cubicBezTo>
                  <a:cubicBezTo>
                    <a:pt x="946" y="248"/>
                    <a:pt x="951" y="260"/>
                    <a:pt x="963" y="268"/>
                  </a:cubicBezTo>
                  <a:cubicBezTo>
                    <a:pt x="982" y="280"/>
                    <a:pt x="1011" y="277"/>
                    <a:pt x="1029" y="264"/>
                  </a:cubicBezTo>
                  <a:cubicBezTo>
                    <a:pt x="1036" y="259"/>
                    <a:pt x="1036" y="254"/>
                    <a:pt x="1032" y="248"/>
                  </a:cubicBezTo>
                  <a:cubicBezTo>
                    <a:pt x="1026" y="239"/>
                    <a:pt x="1020" y="238"/>
                    <a:pt x="1013" y="242"/>
                  </a:cubicBezTo>
                  <a:cubicBezTo>
                    <a:pt x="996" y="252"/>
                    <a:pt x="978" y="243"/>
                    <a:pt x="978" y="223"/>
                  </a:cubicBezTo>
                  <a:cubicBezTo>
                    <a:pt x="978" y="190"/>
                    <a:pt x="978" y="157"/>
                    <a:pt x="978" y="123"/>
                  </a:cubicBezTo>
                  <a:cubicBezTo>
                    <a:pt x="978" y="116"/>
                    <a:pt x="981" y="113"/>
                    <a:pt x="988" y="113"/>
                  </a:cubicBezTo>
                  <a:cubicBezTo>
                    <a:pt x="999" y="114"/>
                    <a:pt x="1011" y="113"/>
                    <a:pt x="1022" y="113"/>
                  </a:cubicBezTo>
                  <a:cubicBezTo>
                    <a:pt x="1028" y="113"/>
                    <a:pt x="1033" y="112"/>
                    <a:pt x="1033" y="104"/>
                  </a:cubicBezTo>
                  <a:cubicBezTo>
                    <a:pt x="1033" y="96"/>
                    <a:pt x="1032" y="90"/>
                    <a:pt x="1022" y="90"/>
                  </a:cubicBezTo>
                  <a:cubicBezTo>
                    <a:pt x="1011" y="90"/>
                    <a:pt x="1001" y="90"/>
                    <a:pt x="990" y="90"/>
                  </a:cubicBezTo>
                  <a:cubicBezTo>
                    <a:pt x="981" y="91"/>
                    <a:pt x="977" y="88"/>
                    <a:pt x="978" y="78"/>
                  </a:cubicBezTo>
                  <a:cubicBezTo>
                    <a:pt x="978" y="64"/>
                    <a:pt x="978" y="49"/>
                    <a:pt x="978" y="35"/>
                  </a:cubicBezTo>
                  <a:cubicBezTo>
                    <a:pt x="978" y="30"/>
                    <a:pt x="978" y="25"/>
                    <a:pt x="971" y="24"/>
                  </a:cubicBezTo>
                  <a:cubicBezTo>
                    <a:pt x="964" y="24"/>
                    <a:pt x="956" y="24"/>
                    <a:pt x="955" y="32"/>
                  </a:cubicBezTo>
                  <a:cubicBezTo>
                    <a:pt x="952" y="43"/>
                    <a:pt x="949" y="54"/>
                    <a:pt x="949" y="65"/>
                  </a:cubicBezTo>
                  <a:cubicBezTo>
                    <a:pt x="948" y="88"/>
                    <a:pt x="947" y="88"/>
                    <a:pt x="924" y="91"/>
                  </a:cubicBezTo>
                  <a:cubicBezTo>
                    <a:pt x="919" y="92"/>
                    <a:pt x="914" y="92"/>
                    <a:pt x="914" y="99"/>
                  </a:cubicBezTo>
                  <a:cubicBezTo>
                    <a:pt x="915" y="107"/>
                    <a:pt x="917" y="113"/>
                    <a:pt x="926" y="113"/>
                  </a:cubicBezTo>
                  <a:cubicBezTo>
                    <a:pt x="929" y="114"/>
                    <a:pt x="932" y="113"/>
                    <a:pt x="935" y="113"/>
                  </a:cubicBezTo>
                  <a:cubicBezTo>
                    <a:pt x="943" y="113"/>
                    <a:pt x="946" y="116"/>
                    <a:pt x="946" y="124"/>
                  </a:cubicBezTo>
                  <a:cubicBezTo>
                    <a:pt x="946" y="142"/>
                    <a:pt x="946" y="161"/>
                    <a:pt x="946" y="179"/>
                  </a:cubicBezTo>
                  <a:cubicBezTo>
                    <a:pt x="946" y="179"/>
                    <a:pt x="946" y="179"/>
                    <a:pt x="946" y="179"/>
                  </a:cubicBezTo>
                  <a:close/>
                </a:path>
              </a:pathLst>
            </a:custGeom>
            <a:solidFill>
              <a:srgbClr val="4C505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grpSp>
          <p:nvGrpSpPr>
            <p:cNvPr id="18" name="Group 4">
              <a:extLst>
                <a:ext uri="{FF2B5EF4-FFF2-40B4-BE49-F238E27FC236}">
                  <a16:creationId xmlns:a16="http://schemas.microsoft.com/office/drawing/2014/main" id="{57BD2C4C-DC67-B843-B26C-309622FC75F7}"/>
                </a:ext>
              </a:extLst>
            </p:cNvPr>
            <p:cNvGrpSpPr>
              <a:grpSpLocks noChangeAspect="1"/>
            </p:cNvGrpSpPr>
            <p:nvPr/>
          </p:nvGrpSpPr>
          <p:grpSpPr bwMode="gray">
            <a:xfrm>
              <a:off x="334963" y="296652"/>
              <a:ext cx="538094" cy="540000"/>
              <a:chOff x="2711" y="1027"/>
              <a:chExt cx="2258" cy="2266"/>
            </a:xfrm>
          </p:grpSpPr>
          <p:sp>
            <p:nvSpPr>
              <p:cNvPr id="19" name="AutoShape 3">
                <a:extLst>
                  <a:ext uri="{FF2B5EF4-FFF2-40B4-BE49-F238E27FC236}">
                    <a16:creationId xmlns:a16="http://schemas.microsoft.com/office/drawing/2014/main" id="{FE1DC41B-291E-574C-9F2C-874E70A40758}"/>
                  </a:ext>
                </a:extLst>
              </p:cNvPr>
              <p:cNvSpPr>
                <a:spLocks noChangeAspect="1" noChangeArrowheads="1" noTextEdit="1"/>
              </p:cNvSpPr>
              <p:nvPr/>
            </p:nvSpPr>
            <p:spPr bwMode="gray">
              <a:xfrm>
                <a:off x="2711" y="1027"/>
                <a:ext cx="2258" cy="22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sp>
            <p:nvSpPr>
              <p:cNvPr id="20" name="Freeform 5">
                <a:extLst>
                  <a:ext uri="{FF2B5EF4-FFF2-40B4-BE49-F238E27FC236}">
                    <a16:creationId xmlns:a16="http://schemas.microsoft.com/office/drawing/2014/main" id="{D4B633C8-F761-C54B-9BD2-EB59D49A2DBC}"/>
                  </a:ext>
                </a:extLst>
              </p:cNvPr>
              <p:cNvSpPr>
                <a:spLocks/>
              </p:cNvSpPr>
              <p:nvPr/>
            </p:nvSpPr>
            <p:spPr bwMode="gray">
              <a:xfrm>
                <a:off x="2709" y="1029"/>
                <a:ext cx="2260" cy="2262"/>
              </a:xfrm>
              <a:custGeom>
                <a:avLst/>
                <a:gdLst>
                  <a:gd name="T0" fmla="*/ 2260 w 2260"/>
                  <a:gd name="T1" fmla="*/ 0 h 2262"/>
                  <a:gd name="T2" fmla="*/ 1612 w 2260"/>
                  <a:gd name="T3" fmla="*/ 649 h 2262"/>
                  <a:gd name="T4" fmla="*/ 1612 w 2260"/>
                  <a:gd name="T5" fmla="*/ 649 h 2262"/>
                  <a:gd name="T6" fmla="*/ 2035 w 2260"/>
                  <a:gd name="T7" fmla="*/ 0 h 2262"/>
                  <a:gd name="T8" fmla="*/ 0 w 2260"/>
                  <a:gd name="T9" fmla="*/ 0 h 2262"/>
                  <a:gd name="T10" fmla="*/ 0 w 2260"/>
                  <a:gd name="T11" fmla="*/ 2262 h 2262"/>
                  <a:gd name="T12" fmla="*/ 2260 w 2260"/>
                  <a:gd name="T13" fmla="*/ 2262 h 2262"/>
                  <a:gd name="T14" fmla="*/ 2260 w 2260"/>
                  <a:gd name="T15" fmla="*/ 0 h 2262"/>
                  <a:gd name="T16" fmla="*/ 2260 w 2260"/>
                  <a:gd name="T17" fmla="*/ 0 h 2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0" h="2262">
                    <a:moveTo>
                      <a:pt x="2260" y="0"/>
                    </a:moveTo>
                    <a:lnTo>
                      <a:pt x="1612" y="649"/>
                    </a:lnTo>
                    <a:lnTo>
                      <a:pt x="1612" y="649"/>
                    </a:lnTo>
                    <a:lnTo>
                      <a:pt x="2035" y="0"/>
                    </a:lnTo>
                    <a:lnTo>
                      <a:pt x="0" y="0"/>
                    </a:lnTo>
                    <a:lnTo>
                      <a:pt x="0" y="2262"/>
                    </a:lnTo>
                    <a:lnTo>
                      <a:pt x="2260" y="2262"/>
                    </a:lnTo>
                    <a:lnTo>
                      <a:pt x="2260" y="0"/>
                    </a:lnTo>
                    <a:lnTo>
                      <a:pt x="2260" y="0"/>
                    </a:lnTo>
                    <a:close/>
                  </a:path>
                </a:pathLst>
              </a:custGeom>
              <a:solidFill>
                <a:srgbClr val="E55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sp>
            <p:nvSpPr>
              <p:cNvPr id="21" name="Freeform 6">
                <a:extLst>
                  <a:ext uri="{FF2B5EF4-FFF2-40B4-BE49-F238E27FC236}">
                    <a16:creationId xmlns:a16="http://schemas.microsoft.com/office/drawing/2014/main" id="{B16BAAE4-1A41-C843-9754-490F7A1E1270}"/>
                  </a:ext>
                </a:extLst>
              </p:cNvPr>
              <p:cNvSpPr>
                <a:spLocks noEditPoints="1"/>
              </p:cNvSpPr>
              <p:nvPr/>
            </p:nvSpPr>
            <p:spPr bwMode="gray">
              <a:xfrm>
                <a:off x="3623" y="1696"/>
                <a:ext cx="1167" cy="922"/>
              </a:xfrm>
              <a:custGeom>
                <a:avLst/>
                <a:gdLst>
                  <a:gd name="T0" fmla="*/ 411 w 580"/>
                  <a:gd name="T1" fmla="*/ 213 h 458"/>
                  <a:gd name="T2" fmla="*/ 570 w 580"/>
                  <a:gd name="T3" fmla="*/ 37 h 458"/>
                  <a:gd name="T4" fmla="*/ 580 w 580"/>
                  <a:gd name="T5" fmla="*/ 20 h 458"/>
                  <a:gd name="T6" fmla="*/ 545 w 580"/>
                  <a:gd name="T7" fmla="*/ 0 h 458"/>
                  <a:gd name="T8" fmla="*/ 519 w 580"/>
                  <a:gd name="T9" fmla="*/ 16 h 458"/>
                  <a:gd name="T10" fmla="*/ 344 w 580"/>
                  <a:gd name="T11" fmla="*/ 210 h 458"/>
                  <a:gd name="T12" fmla="*/ 334 w 580"/>
                  <a:gd name="T13" fmla="*/ 229 h 458"/>
                  <a:gd name="T14" fmla="*/ 344 w 580"/>
                  <a:gd name="T15" fmla="*/ 248 h 458"/>
                  <a:gd name="T16" fmla="*/ 519 w 580"/>
                  <a:gd name="T17" fmla="*/ 442 h 458"/>
                  <a:gd name="T18" fmla="*/ 545 w 580"/>
                  <a:gd name="T19" fmla="*/ 458 h 458"/>
                  <a:gd name="T20" fmla="*/ 580 w 580"/>
                  <a:gd name="T21" fmla="*/ 438 h 458"/>
                  <a:gd name="T22" fmla="*/ 570 w 580"/>
                  <a:gd name="T23" fmla="*/ 421 h 458"/>
                  <a:gd name="T24" fmla="*/ 411 w 580"/>
                  <a:gd name="T25" fmla="*/ 245 h 458"/>
                  <a:gd name="T26" fmla="*/ 399 w 580"/>
                  <a:gd name="T27" fmla="*/ 229 h 458"/>
                  <a:gd name="T28" fmla="*/ 411 w 580"/>
                  <a:gd name="T29" fmla="*/ 213 h 458"/>
                  <a:gd name="T30" fmla="*/ 252 w 580"/>
                  <a:gd name="T31" fmla="*/ 439 h 458"/>
                  <a:gd name="T32" fmla="*/ 281 w 580"/>
                  <a:gd name="T33" fmla="*/ 454 h 458"/>
                  <a:gd name="T34" fmla="*/ 309 w 580"/>
                  <a:gd name="T35" fmla="*/ 439 h 458"/>
                  <a:gd name="T36" fmla="*/ 309 w 580"/>
                  <a:gd name="T37" fmla="*/ 19 h 458"/>
                  <a:gd name="T38" fmla="*/ 281 w 580"/>
                  <a:gd name="T39" fmla="*/ 4 h 458"/>
                  <a:gd name="T40" fmla="*/ 252 w 580"/>
                  <a:gd name="T41" fmla="*/ 19 h 458"/>
                  <a:gd name="T42" fmla="*/ 252 w 580"/>
                  <a:gd name="T43" fmla="*/ 439 h 458"/>
                  <a:gd name="T44" fmla="*/ 0 w 580"/>
                  <a:gd name="T45" fmla="*/ 439 h 458"/>
                  <a:gd name="T46" fmla="*/ 28 w 580"/>
                  <a:gd name="T47" fmla="*/ 454 h 458"/>
                  <a:gd name="T48" fmla="*/ 56 w 580"/>
                  <a:gd name="T49" fmla="*/ 439 h 458"/>
                  <a:gd name="T50" fmla="*/ 56 w 580"/>
                  <a:gd name="T51" fmla="*/ 157 h 458"/>
                  <a:gd name="T52" fmla="*/ 165 w 580"/>
                  <a:gd name="T53" fmla="*/ 53 h 458"/>
                  <a:gd name="T54" fmla="*/ 180 w 580"/>
                  <a:gd name="T55" fmla="*/ 53 h 458"/>
                  <a:gd name="T56" fmla="*/ 196 w 580"/>
                  <a:gd name="T57" fmla="*/ 27 h 458"/>
                  <a:gd name="T58" fmla="*/ 154 w 580"/>
                  <a:gd name="T59" fmla="*/ 4 h 458"/>
                  <a:gd name="T60" fmla="*/ 0 w 580"/>
                  <a:gd name="T61" fmla="*/ 152 h 458"/>
                  <a:gd name="T62" fmla="*/ 0 w 580"/>
                  <a:gd name="T63" fmla="*/ 439 h 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80" h="458">
                    <a:moveTo>
                      <a:pt x="411" y="213"/>
                    </a:moveTo>
                    <a:cubicBezTo>
                      <a:pt x="570" y="37"/>
                      <a:pt x="570" y="37"/>
                      <a:pt x="570" y="37"/>
                    </a:cubicBezTo>
                    <a:cubicBezTo>
                      <a:pt x="576" y="30"/>
                      <a:pt x="580" y="25"/>
                      <a:pt x="580" y="20"/>
                    </a:cubicBezTo>
                    <a:cubicBezTo>
                      <a:pt x="580" y="10"/>
                      <a:pt x="559" y="0"/>
                      <a:pt x="545" y="0"/>
                    </a:cubicBezTo>
                    <a:cubicBezTo>
                      <a:pt x="535" y="0"/>
                      <a:pt x="526" y="8"/>
                      <a:pt x="519" y="16"/>
                    </a:cubicBezTo>
                    <a:cubicBezTo>
                      <a:pt x="344" y="210"/>
                      <a:pt x="344" y="210"/>
                      <a:pt x="344" y="210"/>
                    </a:cubicBezTo>
                    <a:cubicBezTo>
                      <a:pt x="336" y="219"/>
                      <a:pt x="334" y="224"/>
                      <a:pt x="334" y="229"/>
                    </a:cubicBezTo>
                    <a:cubicBezTo>
                      <a:pt x="334" y="234"/>
                      <a:pt x="336" y="239"/>
                      <a:pt x="344" y="248"/>
                    </a:cubicBezTo>
                    <a:cubicBezTo>
                      <a:pt x="519" y="442"/>
                      <a:pt x="519" y="442"/>
                      <a:pt x="519" y="442"/>
                    </a:cubicBezTo>
                    <a:cubicBezTo>
                      <a:pt x="526" y="450"/>
                      <a:pt x="535" y="458"/>
                      <a:pt x="545" y="458"/>
                    </a:cubicBezTo>
                    <a:cubicBezTo>
                      <a:pt x="559" y="458"/>
                      <a:pt x="580" y="448"/>
                      <a:pt x="580" y="438"/>
                    </a:cubicBezTo>
                    <a:cubicBezTo>
                      <a:pt x="580" y="433"/>
                      <a:pt x="576" y="428"/>
                      <a:pt x="570" y="421"/>
                    </a:cubicBezTo>
                    <a:cubicBezTo>
                      <a:pt x="411" y="245"/>
                      <a:pt x="411" y="245"/>
                      <a:pt x="411" y="245"/>
                    </a:cubicBezTo>
                    <a:cubicBezTo>
                      <a:pt x="403" y="236"/>
                      <a:pt x="399" y="232"/>
                      <a:pt x="399" y="229"/>
                    </a:cubicBezTo>
                    <a:cubicBezTo>
                      <a:pt x="399" y="226"/>
                      <a:pt x="403" y="222"/>
                      <a:pt x="411" y="213"/>
                    </a:cubicBezTo>
                    <a:moveTo>
                      <a:pt x="252" y="439"/>
                    </a:moveTo>
                    <a:cubicBezTo>
                      <a:pt x="252" y="449"/>
                      <a:pt x="261" y="454"/>
                      <a:pt x="281" y="454"/>
                    </a:cubicBezTo>
                    <a:cubicBezTo>
                      <a:pt x="300" y="454"/>
                      <a:pt x="309" y="449"/>
                      <a:pt x="309" y="439"/>
                    </a:cubicBezTo>
                    <a:cubicBezTo>
                      <a:pt x="309" y="19"/>
                      <a:pt x="309" y="19"/>
                      <a:pt x="309" y="19"/>
                    </a:cubicBezTo>
                    <a:cubicBezTo>
                      <a:pt x="309" y="9"/>
                      <a:pt x="300" y="4"/>
                      <a:pt x="281" y="4"/>
                    </a:cubicBezTo>
                    <a:cubicBezTo>
                      <a:pt x="261" y="4"/>
                      <a:pt x="252" y="9"/>
                      <a:pt x="252" y="19"/>
                    </a:cubicBezTo>
                    <a:lnTo>
                      <a:pt x="252" y="439"/>
                    </a:lnTo>
                    <a:close/>
                    <a:moveTo>
                      <a:pt x="0" y="439"/>
                    </a:moveTo>
                    <a:cubicBezTo>
                      <a:pt x="0" y="449"/>
                      <a:pt x="8" y="454"/>
                      <a:pt x="28" y="454"/>
                    </a:cubicBezTo>
                    <a:cubicBezTo>
                      <a:pt x="48" y="454"/>
                      <a:pt x="56" y="449"/>
                      <a:pt x="56" y="439"/>
                    </a:cubicBezTo>
                    <a:cubicBezTo>
                      <a:pt x="56" y="157"/>
                      <a:pt x="56" y="157"/>
                      <a:pt x="56" y="157"/>
                    </a:cubicBezTo>
                    <a:cubicBezTo>
                      <a:pt x="56" y="83"/>
                      <a:pt x="85" y="53"/>
                      <a:pt x="165" y="53"/>
                    </a:cubicBezTo>
                    <a:cubicBezTo>
                      <a:pt x="180" y="53"/>
                      <a:pt x="180" y="53"/>
                      <a:pt x="180" y="53"/>
                    </a:cubicBezTo>
                    <a:cubicBezTo>
                      <a:pt x="192" y="53"/>
                      <a:pt x="196" y="43"/>
                      <a:pt x="196" y="27"/>
                    </a:cubicBezTo>
                    <a:cubicBezTo>
                      <a:pt x="196" y="8"/>
                      <a:pt x="185" y="4"/>
                      <a:pt x="154" y="4"/>
                    </a:cubicBezTo>
                    <a:cubicBezTo>
                      <a:pt x="64" y="4"/>
                      <a:pt x="0" y="43"/>
                      <a:pt x="0" y="152"/>
                    </a:cubicBezTo>
                    <a:lnTo>
                      <a:pt x="0" y="43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sp>
            <p:nvSpPr>
              <p:cNvPr id="22" name="Freeform 7">
                <a:extLst>
                  <a:ext uri="{FF2B5EF4-FFF2-40B4-BE49-F238E27FC236}">
                    <a16:creationId xmlns:a16="http://schemas.microsoft.com/office/drawing/2014/main" id="{2F32DCBD-8628-F245-85CD-97686A20ECFD}"/>
                  </a:ext>
                </a:extLst>
              </p:cNvPr>
              <p:cNvSpPr>
                <a:spLocks/>
              </p:cNvSpPr>
              <p:nvPr/>
            </p:nvSpPr>
            <p:spPr bwMode="gray">
              <a:xfrm>
                <a:off x="2880" y="1704"/>
                <a:ext cx="618" cy="916"/>
              </a:xfrm>
              <a:custGeom>
                <a:avLst/>
                <a:gdLst>
                  <a:gd name="T0" fmla="*/ 307 w 307"/>
                  <a:gd name="T1" fmla="*/ 405 h 455"/>
                  <a:gd name="T2" fmla="*/ 307 w 307"/>
                  <a:gd name="T3" fmla="*/ 244 h 455"/>
                  <a:gd name="T4" fmla="*/ 279 w 307"/>
                  <a:gd name="T5" fmla="*/ 229 h 455"/>
                  <a:gd name="T6" fmla="*/ 250 w 307"/>
                  <a:gd name="T7" fmla="*/ 244 h 455"/>
                  <a:gd name="T8" fmla="*/ 250 w 307"/>
                  <a:gd name="T9" fmla="*/ 378 h 455"/>
                  <a:gd name="T10" fmla="*/ 199 w 307"/>
                  <a:gd name="T11" fmla="*/ 408 h 455"/>
                  <a:gd name="T12" fmla="*/ 61 w 307"/>
                  <a:gd name="T13" fmla="*/ 231 h 455"/>
                  <a:gd name="T14" fmla="*/ 238 w 307"/>
                  <a:gd name="T15" fmla="*/ 49 h 455"/>
                  <a:gd name="T16" fmla="*/ 270 w 307"/>
                  <a:gd name="T17" fmla="*/ 49 h 455"/>
                  <a:gd name="T18" fmla="*/ 286 w 307"/>
                  <a:gd name="T19" fmla="*/ 23 h 455"/>
                  <a:gd name="T20" fmla="*/ 244 w 307"/>
                  <a:gd name="T21" fmla="*/ 0 h 455"/>
                  <a:gd name="T22" fmla="*/ 231 w 307"/>
                  <a:gd name="T23" fmla="*/ 0 h 455"/>
                  <a:gd name="T24" fmla="*/ 0 w 307"/>
                  <a:gd name="T25" fmla="*/ 232 h 455"/>
                  <a:gd name="T26" fmla="*/ 198 w 307"/>
                  <a:gd name="T27" fmla="*/ 455 h 455"/>
                  <a:gd name="T28" fmla="*/ 307 w 307"/>
                  <a:gd name="T29" fmla="*/ 405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7" h="455">
                    <a:moveTo>
                      <a:pt x="307" y="405"/>
                    </a:moveTo>
                    <a:cubicBezTo>
                      <a:pt x="307" y="244"/>
                      <a:pt x="307" y="244"/>
                      <a:pt x="307" y="244"/>
                    </a:cubicBezTo>
                    <a:cubicBezTo>
                      <a:pt x="307" y="234"/>
                      <a:pt x="298" y="229"/>
                      <a:pt x="279" y="229"/>
                    </a:cubicBezTo>
                    <a:cubicBezTo>
                      <a:pt x="259" y="229"/>
                      <a:pt x="250" y="234"/>
                      <a:pt x="250" y="244"/>
                    </a:cubicBezTo>
                    <a:cubicBezTo>
                      <a:pt x="250" y="378"/>
                      <a:pt x="250" y="378"/>
                      <a:pt x="250" y="378"/>
                    </a:cubicBezTo>
                    <a:cubicBezTo>
                      <a:pt x="250" y="399"/>
                      <a:pt x="241" y="408"/>
                      <a:pt x="199" y="408"/>
                    </a:cubicBezTo>
                    <a:cubicBezTo>
                      <a:pt x="114" y="408"/>
                      <a:pt x="61" y="342"/>
                      <a:pt x="61" y="231"/>
                    </a:cubicBezTo>
                    <a:cubicBezTo>
                      <a:pt x="61" y="115"/>
                      <a:pt x="126" y="49"/>
                      <a:pt x="238" y="49"/>
                    </a:cubicBezTo>
                    <a:cubicBezTo>
                      <a:pt x="270" y="49"/>
                      <a:pt x="270" y="49"/>
                      <a:pt x="270" y="49"/>
                    </a:cubicBezTo>
                    <a:cubicBezTo>
                      <a:pt x="282" y="49"/>
                      <a:pt x="286" y="39"/>
                      <a:pt x="286" y="23"/>
                    </a:cubicBezTo>
                    <a:cubicBezTo>
                      <a:pt x="286" y="4"/>
                      <a:pt x="275" y="0"/>
                      <a:pt x="244" y="0"/>
                    </a:cubicBezTo>
                    <a:cubicBezTo>
                      <a:pt x="231" y="0"/>
                      <a:pt x="231" y="0"/>
                      <a:pt x="231" y="0"/>
                    </a:cubicBezTo>
                    <a:cubicBezTo>
                      <a:pt x="101" y="0"/>
                      <a:pt x="0" y="71"/>
                      <a:pt x="0" y="232"/>
                    </a:cubicBezTo>
                    <a:cubicBezTo>
                      <a:pt x="0" y="386"/>
                      <a:pt x="88" y="455"/>
                      <a:pt x="198" y="455"/>
                    </a:cubicBezTo>
                    <a:cubicBezTo>
                      <a:pt x="286" y="455"/>
                      <a:pt x="307" y="430"/>
                      <a:pt x="307" y="40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sp>
            <p:nvSpPr>
              <p:cNvPr id="23" name="Oval 8">
                <a:extLst>
                  <a:ext uri="{FF2B5EF4-FFF2-40B4-BE49-F238E27FC236}">
                    <a16:creationId xmlns:a16="http://schemas.microsoft.com/office/drawing/2014/main" id="{60D97C11-1A3B-5449-A48D-98A3E79B3810}"/>
                  </a:ext>
                </a:extLst>
              </p:cNvPr>
              <p:cNvSpPr>
                <a:spLocks noChangeArrowheads="1"/>
              </p:cNvSpPr>
              <p:nvPr/>
            </p:nvSpPr>
            <p:spPr bwMode="gray">
              <a:xfrm>
                <a:off x="3778" y="2099"/>
                <a:ext cx="122" cy="12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sp>
            <p:nvSpPr>
              <p:cNvPr id="24" name="Freeform 9">
                <a:extLst>
                  <a:ext uri="{FF2B5EF4-FFF2-40B4-BE49-F238E27FC236}">
                    <a16:creationId xmlns:a16="http://schemas.microsoft.com/office/drawing/2014/main" id="{5856770D-B8F0-244E-A05D-AED190086F10}"/>
                  </a:ext>
                </a:extLst>
              </p:cNvPr>
              <p:cNvSpPr>
                <a:spLocks noEditPoints="1"/>
              </p:cNvSpPr>
              <p:nvPr/>
            </p:nvSpPr>
            <p:spPr bwMode="gray">
              <a:xfrm>
                <a:off x="3623" y="1696"/>
                <a:ext cx="1167" cy="922"/>
              </a:xfrm>
              <a:custGeom>
                <a:avLst/>
                <a:gdLst>
                  <a:gd name="T0" fmla="*/ 411 w 580"/>
                  <a:gd name="T1" fmla="*/ 213 h 458"/>
                  <a:gd name="T2" fmla="*/ 570 w 580"/>
                  <a:gd name="T3" fmla="*/ 37 h 458"/>
                  <a:gd name="T4" fmla="*/ 580 w 580"/>
                  <a:gd name="T5" fmla="*/ 20 h 458"/>
                  <a:gd name="T6" fmla="*/ 545 w 580"/>
                  <a:gd name="T7" fmla="*/ 0 h 458"/>
                  <a:gd name="T8" fmla="*/ 519 w 580"/>
                  <a:gd name="T9" fmla="*/ 16 h 458"/>
                  <a:gd name="T10" fmla="*/ 344 w 580"/>
                  <a:gd name="T11" fmla="*/ 210 h 458"/>
                  <a:gd name="T12" fmla="*/ 334 w 580"/>
                  <a:gd name="T13" fmla="*/ 229 h 458"/>
                  <a:gd name="T14" fmla="*/ 344 w 580"/>
                  <a:gd name="T15" fmla="*/ 248 h 458"/>
                  <a:gd name="T16" fmla="*/ 519 w 580"/>
                  <a:gd name="T17" fmla="*/ 442 h 458"/>
                  <a:gd name="T18" fmla="*/ 545 w 580"/>
                  <a:gd name="T19" fmla="*/ 458 h 458"/>
                  <a:gd name="T20" fmla="*/ 580 w 580"/>
                  <a:gd name="T21" fmla="*/ 438 h 458"/>
                  <a:gd name="T22" fmla="*/ 570 w 580"/>
                  <a:gd name="T23" fmla="*/ 421 h 458"/>
                  <a:gd name="T24" fmla="*/ 411 w 580"/>
                  <a:gd name="T25" fmla="*/ 245 h 458"/>
                  <a:gd name="T26" fmla="*/ 399 w 580"/>
                  <a:gd name="T27" fmla="*/ 229 h 458"/>
                  <a:gd name="T28" fmla="*/ 411 w 580"/>
                  <a:gd name="T29" fmla="*/ 213 h 458"/>
                  <a:gd name="T30" fmla="*/ 252 w 580"/>
                  <a:gd name="T31" fmla="*/ 439 h 458"/>
                  <a:gd name="T32" fmla="*/ 281 w 580"/>
                  <a:gd name="T33" fmla="*/ 454 h 458"/>
                  <a:gd name="T34" fmla="*/ 309 w 580"/>
                  <a:gd name="T35" fmla="*/ 439 h 458"/>
                  <a:gd name="T36" fmla="*/ 309 w 580"/>
                  <a:gd name="T37" fmla="*/ 19 h 458"/>
                  <a:gd name="T38" fmla="*/ 281 w 580"/>
                  <a:gd name="T39" fmla="*/ 4 h 458"/>
                  <a:gd name="T40" fmla="*/ 252 w 580"/>
                  <a:gd name="T41" fmla="*/ 19 h 458"/>
                  <a:gd name="T42" fmla="*/ 252 w 580"/>
                  <a:gd name="T43" fmla="*/ 439 h 458"/>
                  <a:gd name="T44" fmla="*/ 0 w 580"/>
                  <a:gd name="T45" fmla="*/ 439 h 458"/>
                  <a:gd name="T46" fmla="*/ 28 w 580"/>
                  <a:gd name="T47" fmla="*/ 454 h 458"/>
                  <a:gd name="T48" fmla="*/ 56 w 580"/>
                  <a:gd name="T49" fmla="*/ 439 h 458"/>
                  <a:gd name="T50" fmla="*/ 56 w 580"/>
                  <a:gd name="T51" fmla="*/ 157 h 458"/>
                  <a:gd name="T52" fmla="*/ 165 w 580"/>
                  <a:gd name="T53" fmla="*/ 53 h 458"/>
                  <a:gd name="T54" fmla="*/ 180 w 580"/>
                  <a:gd name="T55" fmla="*/ 53 h 458"/>
                  <a:gd name="T56" fmla="*/ 196 w 580"/>
                  <a:gd name="T57" fmla="*/ 27 h 458"/>
                  <a:gd name="T58" fmla="*/ 154 w 580"/>
                  <a:gd name="T59" fmla="*/ 4 h 458"/>
                  <a:gd name="T60" fmla="*/ 0 w 580"/>
                  <a:gd name="T61" fmla="*/ 152 h 458"/>
                  <a:gd name="T62" fmla="*/ 0 w 580"/>
                  <a:gd name="T63" fmla="*/ 439 h 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80" h="458">
                    <a:moveTo>
                      <a:pt x="411" y="213"/>
                    </a:moveTo>
                    <a:cubicBezTo>
                      <a:pt x="570" y="37"/>
                      <a:pt x="570" y="37"/>
                      <a:pt x="570" y="37"/>
                    </a:cubicBezTo>
                    <a:cubicBezTo>
                      <a:pt x="576" y="30"/>
                      <a:pt x="580" y="25"/>
                      <a:pt x="580" y="20"/>
                    </a:cubicBezTo>
                    <a:cubicBezTo>
                      <a:pt x="580" y="10"/>
                      <a:pt x="559" y="0"/>
                      <a:pt x="545" y="0"/>
                    </a:cubicBezTo>
                    <a:cubicBezTo>
                      <a:pt x="535" y="0"/>
                      <a:pt x="526" y="8"/>
                      <a:pt x="519" y="16"/>
                    </a:cubicBezTo>
                    <a:cubicBezTo>
                      <a:pt x="344" y="210"/>
                      <a:pt x="344" y="210"/>
                      <a:pt x="344" y="210"/>
                    </a:cubicBezTo>
                    <a:cubicBezTo>
                      <a:pt x="336" y="219"/>
                      <a:pt x="334" y="224"/>
                      <a:pt x="334" y="229"/>
                    </a:cubicBezTo>
                    <a:cubicBezTo>
                      <a:pt x="334" y="234"/>
                      <a:pt x="336" y="239"/>
                      <a:pt x="344" y="248"/>
                    </a:cubicBezTo>
                    <a:cubicBezTo>
                      <a:pt x="519" y="442"/>
                      <a:pt x="519" y="442"/>
                      <a:pt x="519" y="442"/>
                    </a:cubicBezTo>
                    <a:cubicBezTo>
                      <a:pt x="526" y="450"/>
                      <a:pt x="535" y="458"/>
                      <a:pt x="545" y="458"/>
                    </a:cubicBezTo>
                    <a:cubicBezTo>
                      <a:pt x="559" y="458"/>
                      <a:pt x="580" y="448"/>
                      <a:pt x="580" y="438"/>
                    </a:cubicBezTo>
                    <a:cubicBezTo>
                      <a:pt x="580" y="433"/>
                      <a:pt x="576" y="428"/>
                      <a:pt x="570" y="421"/>
                    </a:cubicBezTo>
                    <a:cubicBezTo>
                      <a:pt x="411" y="245"/>
                      <a:pt x="411" y="245"/>
                      <a:pt x="411" y="245"/>
                    </a:cubicBezTo>
                    <a:cubicBezTo>
                      <a:pt x="403" y="236"/>
                      <a:pt x="399" y="232"/>
                      <a:pt x="399" y="229"/>
                    </a:cubicBezTo>
                    <a:cubicBezTo>
                      <a:pt x="399" y="226"/>
                      <a:pt x="403" y="222"/>
                      <a:pt x="411" y="213"/>
                    </a:cubicBezTo>
                    <a:moveTo>
                      <a:pt x="252" y="439"/>
                    </a:moveTo>
                    <a:cubicBezTo>
                      <a:pt x="252" y="449"/>
                      <a:pt x="261" y="454"/>
                      <a:pt x="281" y="454"/>
                    </a:cubicBezTo>
                    <a:cubicBezTo>
                      <a:pt x="300" y="454"/>
                      <a:pt x="309" y="449"/>
                      <a:pt x="309" y="439"/>
                    </a:cubicBezTo>
                    <a:cubicBezTo>
                      <a:pt x="309" y="19"/>
                      <a:pt x="309" y="19"/>
                      <a:pt x="309" y="19"/>
                    </a:cubicBezTo>
                    <a:cubicBezTo>
                      <a:pt x="309" y="9"/>
                      <a:pt x="300" y="4"/>
                      <a:pt x="281" y="4"/>
                    </a:cubicBezTo>
                    <a:cubicBezTo>
                      <a:pt x="261" y="4"/>
                      <a:pt x="252" y="9"/>
                      <a:pt x="252" y="19"/>
                    </a:cubicBezTo>
                    <a:lnTo>
                      <a:pt x="252" y="439"/>
                    </a:lnTo>
                    <a:close/>
                    <a:moveTo>
                      <a:pt x="0" y="439"/>
                    </a:moveTo>
                    <a:cubicBezTo>
                      <a:pt x="0" y="449"/>
                      <a:pt x="8" y="454"/>
                      <a:pt x="28" y="454"/>
                    </a:cubicBezTo>
                    <a:cubicBezTo>
                      <a:pt x="48" y="454"/>
                      <a:pt x="56" y="449"/>
                      <a:pt x="56" y="439"/>
                    </a:cubicBezTo>
                    <a:cubicBezTo>
                      <a:pt x="56" y="157"/>
                      <a:pt x="56" y="157"/>
                      <a:pt x="56" y="157"/>
                    </a:cubicBezTo>
                    <a:cubicBezTo>
                      <a:pt x="56" y="83"/>
                      <a:pt x="85" y="53"/>
                      <a:pt x="165" y="53"/>
                    </a:cubicBezTo>
                    <a:cubicBezTo>
                      <a:pt x="180" y="53"/>
                      <a:pt x="180" y="53"/>
                      <a:pt x="180" y="53"/>
                    </a:cubicBezTo>
                    <a:cubicBezTo>
                      <a:pt x="192" y="53"/>
                      <a:pt x="196" y="43"/>
                      <a:pt x="196" y="27"/>
                    </a:cubicBezTo>
                    <a:cubicBezTo>
                      <a:pt x="196" y="8"/>
                      <a:pt x="185" y="4"/>
                      <a:pt x="154" y="4"/>
                    </a:cubicBezTo>
                    <a:cubicBezTo>
                      <a:pt x="64" y="4"/>
                      <a:pt x="0" y="43"/>
                      <a:pt x="0" y="152"/>
                    </a:cubicBezTo>
                    <a:lnTo>
                      <a:pt x="0" y="43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sp>
            <p:nvSpPr>
              <p:cNvPr id="25" name="Freeform 10">
                <a:extLst>
                  <a:ext uri="{FF2B5EF4-FFF2-40B4-BE49-F238E27FC236}">
                    <a16:creationId xmlns:a16="http://schemas.microsoft.com/office/drawing/2014/main" id="{2B91B16B-BC11-E547-8FAC-B9B8D18EA449}"/>
                  </a:ext>
                </a:extLst>
              </p:cNvPr>
              <p:cNvSpPr>
                <a:spLocks/>
              </p:cNvSpPr>
              <p:nvPr/>
            </p:nvSpPr>
            <p:spPr bwMode="gray">
              <a:xfrm>
                <a:off x="2880" y="1704"/>
                <a:ext cx="618" cy="916"/>
              </a:xfrm>
              <a:custGeom>
                <a:avLst/>
                <a:gdLst>
                  <a:gd name="T0" fmla="*/ 307 w 307"/>
                  <a:gd name="T1" fmla="*/ 405 h 455"/>
                  <a:gd name="T2" fmla="*/ 307 w 307"/>
                  <a:gd name="T3" fmla="*/ 244 h 455"/>
                  <a:gd name="T4" fmla="*/ 279 w 307"/>
                  <a:gd name="T5" fmla="*/ 229 h 455"/>
                  <a:gd name="T6" fmla="*/ 250 w 307"/>
                  <a:gd name="T7" fmla="*/ 244 h 455"/>
                  <a:gd name="T8" fmla="*/ 250 w 307"/>
                  <a:gd name="T9" fmla="*/ 378 h 455"/>
                  <a:gd name="T10" fmla="*/ 199 w 307"/>
                  <a:gd name="T11" fmla="*/ 408 h 455"/>
                  <a:gd name="T12" fmla="*/ 61 w 307"/>
                  <a:gd name="T13" fmla="*/ 231 h 455"/>
                  <a:gd name="T14" fmla="*/ 238 w 307"/>
                  <a:gd name="T15" fmla="*/ 49 h 455"/>
                  <a:gd name="T16" fmla="*/ 270 w 307"/>
                  <a:gd name="T17" fmla="*/ 49 h 455"/>
                  <a:gd name="T18" fmla="*/ 286 w 307"/>
                  <a:gd name="T19" fmla="*/ 23 h 455"/>
                  <a:gd name="T20" fmla="*/ 244 w 307"/>
                  <a:gd name="T21" fmla="*/ 0 h 455"/>
                  <a:gd name="T22" fmla="*/ 231 w 307"/>
                  <a:gd name="T23" fmla="*/ 0 h 455"/>
                  <a:gd name="T24" fmla="*/ 0 w 307"/>
                  <a:gd name="T25" fmla="*/ 232 h 455"/>
                  <a:gd name="T26" fmla="*/ 198 w 307"/>
                  <a:gd name="T27" fmla="*/ 455 h 455"/>
                  <a:gd name="T28" fmla="*/ 307 w 307"/>
                  <a:gd name="T29" fmla="*/ 405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7" h="455">
                    <a:moveTo>
                      <a:pt x="307" y="405"/>
                    </a:moveTo>
                    <a:cubicBezTo>
                      <a:pt x="307" y="244"/>
                      <a:pt x="307" y="244"/>
                      <a:pt x="307" y="244"/>
                    </a:cubicBezTo>
                    <a:cubicBezTo>
                      <a:pt x="307" y="234"/>
                      <a:pt x="298" y="229"/>
                      <a:pt x="279" y="229"/>
                    </a:cubicBezTo>
                    <a:cubicBezTo>
                      <a:pt x="259" y="229"/>
                      <a:pt x="250" y="234"/>
                      <a:pt x="250" y="244"/>
                    </a:cubicBezTo>
                    <a:cubicBezTo>
                      <a:pt x="250" y="378"/>
                      <a:pt x="250" y="378"/>
                      <a:pt x="250" y="378"/>
                    </a:cubicBezTo>
                    <a:cubicBezTo>
                      <a:pt x="250" y="399"/>
                      <a:pt x="241" y="408"/>
                      <a:pt x="199" y="408"/>
                    </a:cubicBezTo>
                    <a:cubicBezTo>
                      <a:pt x="114" y="408"/>
                      <a:pt x="61" y="342"/>
                      <a:pt x="61" y="231"/>
                    </a:cubicBezTo>
                    <a:cubicBezTo>
                      <a:pt x="61" y="115"/>
                      <a:pt x="126" y="49"/>
                      <a:pt x="238" y="49"/>
                    </a:cubicBezTo>
                    <a:cubicBezTo>
                      <a:pt x="270" y="49"/>
                      <a:pt x="270" y="49"/>
                      <a:pt x="270" y="49"/>
                    </a:cubicBezTo>
                    <a:cubicBezTo>
                      <a:pt x="282" y="49"/>
                      <a:pt x="286" y="39"/>
                      <a:pt x="286" y="23"/>
                    </a:cubicBezTo>
                    <a:cubicBezTo>
                      <a:pt x="286" y="4"/>
                      <a:pt x="275" y="0"/>
                      <a:pt x="244" y="0"/>
                    </a:cubicBezTo>
                    <a:cubicBezTo>
                      <a:pt x="231" y="0"/>
                      <a:pt x="231" y="0"/>
                      <a:pt x="231" y="0"/>
                    </a:cubicBezTo>
                    <a:cubicBezTo>
                      <a:pt x="101" y="0"/>
                      <a:pt x="0" y="71"/>
                      <a:pt x="0" y="232"/>
                    </a:cubicBezTo>
                    <a:cubicBezTo>
                      <a:pt x="0" y="386"/>
                      <a:pt x="88" y="455"/>
                      <a:pt x="198" y="455"/>
                    </a:cubicBezTo>
                    <a:cubicBezTo>
                      <a:pt x="286" y="455"/>
                      <a:pt x="307" y="430"/>
                      <a:pt x="307" y="40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sp>
            <p:nvSpPr>
              <p:cNvPr id="26" name="Oval 11">
                <a:extLst>
                  <a:ext uri="{FF2B5EF4-FFF2-40B4-BE49-F238E27FC236}">
                    <a16:creationId xmlns:a16="http://schemas.microsoft.com/office/drawing/2014/main" id="{14F8C3C8-4888-7646-B9B4-64EB46A1DA23}"/>
                  </a:ext>
                </a:extLst>
              </p:cNvPr>
              <p:cNvSpPr>
                <a:spLocks noChangeArrowheads="1"/>
              </p:cNvSpPr>
              <p:nvPr/>
            </p:nvSpPr>
            <p:spPr bwMode="gray">
              <a:xfrm>
                <a:off x="3778" y="2099"/>
                <a:ext cx="122" cy="12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sp>
            <p:nvSpPr>
              <p:cNvPr id="27" name="Freeform 12">
                <a:extLst>
                  <a:ext uri="{FF2B5EF4-FFF2-40B4-BE49-F238E27FC236}">
                    <a16:creationId xmlns:a16="http://schemas.microsoft.com/office/drawing/2014/main" id="{D79D01D1-4E3E-F34B-97D7-2D387E68746E}"/>
                  </a:ext>
                </a:extLst>
              </p:cNvPr>
              <p:cNvSpPr>
                <a:spLocks/>
              </p:cNvSpPr>
              <p:nvPr/>
            </p:nvSpPr>
            <p:spPr bwMode="gray">
              <a:xfrm>
                <a:off x="4321" y="1029"/>
                <a:ext cx="648" cy="649"/>
              </a:xfrm>
              <a:custGeom>
                <a:avLst/>
                <a:gdLst>
                  <a:gd name="T0" fmla="*/ 0 w 648"/>
                  <a:gd name="T1" fmla="*/ 649 h 649"/>
                  <a:gd name="T2" fmla="*/ 2 w 648"/>
                  <a:gd name="T3" fmla="*/ 649 h 649"/>
                  <a:gd name="T4" fmla="*/ 648 w 648"/>
                  <a:gd name="T5" fmla="*/ 0 h 649"/>
                  <a:gd name="T6" fmla="*/ 423 w 648"/>
                  <a:gd name="T7" fmla="*/ 0 h 649"/>
                  <a:gd name="T8" fmla="*/ 0 w 648"/>
                  <a:gd name="T9" fmla="*/ 649 h 649"/>
                </a:gdLst>
                <a:ahLst/>
                <a:cxnLst>
                  <a:cxn ang="0">
                    <a:pos x="T0" y="T1"/>
                  </a:cxn>
                  <a:cxn ang="0">
                    <a:pos x="T2" y="T3"/>
                  </a:cxn>
                  <a:cxn ang="0">
                    <a:pos x="T4" y="T5"/>
                  </a:cxn>
                  <a:cxn ang="0">
                    <a:pos x="T6" y="T7"/>
                  </a:cxn>
                  <a:cxn ang="0">
                    <a:pos x="T8" y="T9"/>
                  </a:cxn>
                </a:cxnLst>
                <a:rect l="0" t="0" r="r" b="b"/>
                <a:pathLst>
                  <a:path w="648" h="649">
                    <a:moveTo>
                      <a:pt x="0" y="649"/>
                    </a:moveTo>
                    <a:lnTo>
                      <a:pt x="2" y="649"/>
                    </a:lnTo>
                    <a:lnTo>
                      <a:pt x="648" y="0"/>
                    </a:lnTo>
                    <a:lnTo>
                      <a:pt x="423" y="0"/>
                    </a:lnTo>
                    <a:lnTo>
                      <a:pt x="0" y="64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sp>
            <p:nvSpPr>
              <p:cNvPr id="28" name="Freeform 13">
                <a:extLst>
                  <a:ext uri="{FF2B5EF4-FFF2-40B4-BE49-F238E27FC236}">
                    <a16:creationId xmlns:a16="http://schemas.microsoft.com/office/drawing/2014/main" id="{46549898-6C52-B147-A8F6-A73FDBE6163B}"/>
                  </a:ext>
                </a:extLst>
              </p:cNvPr>
              <p:cNvSpPr>
                <a:spLocks/>
              </p:cNvSpPr>
              <p:nvPr/>
            </p:nvSpPr>
            <p:spPr bwMode="gray">
              <a:xfrm>
                <a:off x="4321" y="1029"/>
                <a:ext cx="648" cy="649"/>
              </a:xfrm>
              <a:custGeom>
                <a:avLst/>
                <a:gdLst>
                  <a:gd name="T0" fmla="*/ 0 w 648"/>
                  <a:gd name="T1" fmla="*/ 649 h 649"/>
                  <a:gd name="T2" fmla="*/ 2 w 648"/>
                  <a:gd name="T3" fmla="*/ 649 h 649"/>
                  <a:gd name="T4" fmla="*/ 648 w 648"/>
                  <a:gd name="T5" fmla="*/ 0 h 649"/>
                  <a:gd name="T6" fmla="*/ 423 w 648"/>
                  <a:gd name="T7" fmla="*/ 0 h 649"/>
                  <a:gd name="T8" fmla="*/ 0 w 648"/>
                  <a:gd name="T9" fmla="*/ 649 h 649"/>
                </a:gdLst>
                <a:ahLst/>
                <a:cxnLst>
                  <a:cxn ang="0">
                    <a:pos x="T0" y="T1"/>
                  </a:cxn>
                  <a:cxn ang="0">
                    <a:pos x="T2" y="T3"/>
                  </a:cxn>
                  <a:cxn ang="0">
                    <a:pos x="T4" y="T5"/>
                  </a:cxn>
                  <a:cxn ang="0">
                    <a:pos x="T6" y="T7"/>
                  </a:cxn>
                  <a:cxn ang="0">
                    <a:pos x="T8" y="T9"/>
                  </a:cxn>
                </a:cxnLst>
                <a:rect l="0" t="0" r="r" b="b"/>
                <a:pathLst>
                  <a:path w="648" h="649">
                    <a:moveTo>
                      <a:pt x="0" y="649"/>
                    </a:moveTo>
                    <a:lnTo>
                      <a:pt x="2" y="649"/>
                    </a:lnTo>
                    <a:lnTo>
                      <a:pt x="648" y="0"/>
                    </a:lnTo>
                    <a:lnTo>
                      <a:pt x="423" y="0"/>
                    </a:lnTo>
                    <a:lnTo>
                      <a:pt x="0" y="64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grpSp>
      </p:grpSp>
      <p:sp>
        <p:nvSpPr>
          <p:cNvPr id="7" name="Date Placeholder 6"/>
          <p:cNvSpPr>
            <a:spLocks noGrp="1"/>
          </p:cNvSpPr>
          <p:nvPr>
            <p:ph type="dt" sz="half" idx="10"/>
          </p:nvPr>
        </p:nvSpPr>
        <p:spPr>
          <a:xfrm>
            <a:off x="0" y="0"/>
            <a:ext cx="0" cy="0"/>
          </a:xfrm>
          <a:prstGeom prst="rect">
            <a:avLst/>
          </a:prstGeom>
        </p:spPr>
        <p:txBody>
          <a:bodyPr/>
          <a:lstStyle>
            <a:lvl1pPr>
              <a:defRPr sz="100">
                <a:noFill/>
              </a:defRPr>
            </a:lvl1pPr>
          </a:lstStyle>
          <a:p>
            <a:fld id="{7630F4D0-4FCA-495D-93CB-4308FDD6CACA}" type="datetime5">
              <a:rPr lang="en-US" smtClean="0"/>
              <a:t>26-Jun-20</a:t>
            </a:fld>
            <a:endParaRPr lang="en-US" dirty="0"/>
          </a:p>
        </p:txBody>
      </p:sp>
      <p:sp>
        <p:nvSpPr>
          <p:cNvPr id="8" name="Footer Placeholder 7"/>
          <p:cNvSpPr>
            <a:spLocks noGrp="1"/>
          </p:cNvSpPr>
          <p:nvPr>
            <p:ph type="ftr" sz="quarter" idx="11"/>
          </p:nvPr>
        </p:nvSpPr>
        <p:spPr>
          <a:xfrm>
            <a:off x="0" y="0"/>
            <a:ext cx="0" cy="0"/>
          </a:xfrm>
          <a:prstGeom prst="rect">
            <a:avLst/>
          </a:prstGeom>
        </p:spPr>
        <p:txBody>
          <a:bodyPr/>
          <a:lstStyle>
            <a:lvl1pPr marL="0" indent="0">
              <a:buNone/>
              <a:defRPr sz="100">
                <a:noFill/>
              </a:defRPr>
            </a:lvl1pPr>
          </a:lstStyle>
          <a:p>
            <a:r>
              <a:rPr lang="en-US"/>
              <a:t>Title of presentation (Insert / Header &amp; Footer / Apply to All)</a:t>
            </a:r>
            <a:endParaRPr lang="en-US" dirty="0"/>
          </a:p>
        </p:txBody>
      </p:sp>
      <p:sp>
        <p:nvSpPr>
          <p:cNvPr id="9" name="Slide Number Placeholder 8"/>
          <p:cNvSpPr>
            <a:spLocks noGrp="1"/>
          </p:cNvSpPr>
          <p:nvPr>
            <p:ph type="sldNum" sz="quarter" idx="12"/>
          </p:nvPr>
        </p:nvSpPr>
        <p:spPr>
          <a:xfrm>
            <a:off x="0" y="0"/>
            <a:ext cx="0" cy="0"/>
          </a:xfrm>
          <a:prstGeom prst="rect">
            <a:avLst/>
          </a:prstGeom>
        </p:spPr>
        <p:txBody>
          <a:bodyPr/>
          <a:lstStyle>
            <a:lvl1pPr>
              <a:defRPr sz="100">
                <a:noFill/>
              </a:defRPr>
            </a:lvl1pPr>
          </a:lstStyle>
          <a:p>
            <a:fld id="{8E3B25F7-8D1F-44B5-B485-EE3C438CFD7B}" type="slidenum">
              <a:rPr lang="en-US" smtClean="0"/>
              <a:pPr/>
              <a:t>‹#›</a:t>
            </a:fld>
            <a:endParaRPr lang="en-US"/>
          </a:p>
        </p:txBody>
      </p:sp>
      <p:sp>
        <p:nvSpPr>
          <p:cNvPr id="31" name="Text Placeholder 30"/>
          <p:cNvSpPr>
            <a:spLocks noGrp="1"/>
          </p:cNvSpPr>
          <p:nvPr>
            <p:ph type="body" sz="quarter" idx="14" hasCustomPrompt="1"/>
          </p:nvPr>
        </p:nvSpPr>
        <p:spPr>
          <a:xfrm>
            <a:off x="417600" y="5393268"/>
            <a:ext cx="2494933" cy="296332"/>
          </a:xfrm>
        </p:spPr>
        <p:txBody>
          <a:bodyPr wrap="none"/>
          <a:lstStyle>
            <a:lvl1pPr marL="0" indent="0">
              <a:spcBef>
                <a:spcPts val="0"/>
              </a:spcBef>
              <a:buNone/>
              <a:defRPr sz="1200"/>
            </a:lvl1pPr>
            <a:lvl2pPr marL="0" indent="0">
              <a:buNone/>
              <a:defRPr sz="1200"/>
            </a:lvl2pPr>
            <a:lvl3pPr marL="0" indent="0">
              <a:buNone/>
              <a:defRPr sz="1200"/>
            </a:lvl3pPr>
            <a:lvl4pPr marL="0">
              <a:buNone/>
              <a:defRPr sz="1200"/>
            </a:lvl4pPr>
            <a:lvl5pPr marL="0" indent="0">
              <a:buNone/>
              <a:defRPr sz="1200"/>
            </a:lvl5pPr>
          </a:lstStyle>
          <a:p>
            <a:pPr lvl="0"/>
            <a:r>
              <a:rPr lang="en-US" dirty="0"/>
              <a:t>Name</a:t>
            </a:r>
          </a:p>
        </p:txBody>
      </p:sp>
      <p:sp>
        <p:nvSpPr>
          <p:cNvPr id="34" name="Text Placeholder 30"/>
          <p:cNvSpPr>
            <a:spLocks noGrp="1"/>
          </p:cNvSpPr>
          <p:nvPr>
            <p:ph type="body" sz="quarter" idx="15" hasCustomPrompt="1"/>
          </p:nvPr>
        </p:nvSpPr>
        <p:spPr>
          <a:xfrm>
            <a:off x="417600" y="5691446"/>
            <a:ext cx="2494933" cy="296332"/>
          </a:xfrm>
        </p:spPr>
        <p:txBody>
          <a:bodyPr wrap="none"/>
          <a:lstStyle>
            <a:lvl1pPr marL="0" indent="0">
              <a:spcBef>
                <a:spcPts val="0"/>
              </a:spcBef>
              <a:buNone/>
              <a:defRPr sz="1200"/>
            </a:lvl1pPr>
            <a:lvl2pPr marL="0" indent="0">
              <a:buNone/>
              <a:defRPr sz="1200"/>
            </a:lvl2pPr>
            <a:lvl3pPr marL="0" indent="0">
              <a:buNone/>
              <a:defRPr sz="1200"/>
            </a:lvl3pPr>
            <a:lvl4pPr marL="0">
              <a:buNone/>
              <a:defRPr sz="1200"/>
            </a:lvl4pPr>
            <a:lvl5pPr marL="0" indent="0">
              <a:buNone/>
              <a:defRPr sz="1200"/>
            </a:lvl5pPr>
          </a:lstStyle>
          <a:p>
            <a:pPr lvl="0"/>
            <a:r>
              <a:rPr lang="en-US" dirty="0"/>
              <a:t>Department</a:t>
            </a:r>
          </a:p>
        </p:txBody>
      </p:sp>
      <p:sp>
        <p:nvSpPr>
          <p:cNvPr id="2" name="Title 1"/>
          <p:cNvSpPr>
            <a:spLocks noGrp="1"/>
          </p:cNvSpPr>
          <p:nvPr>
            <p:ph type="ctrTitle" hasCustomPrompt="1"/>
          </p:nvPr>
        </p:nvSpPr>
        <p:spPr>
          <a:xfrm>
            <a:off x="4524589" y="1628775"/>
            <a:ext cx="5707662" cy="2236264"/>
          </a:xfrm>
        </p:spPr>
        <p:txBody>
          <a:bodyPr anchor="b"/>
          <a:lstStyle>
            <a:lvl1pPr algn="l">
              <a:defRPr sz="3600" baseline="0"/>
            </a:lvl1pPr>
          </a:lstStyle>
          <a:p>
            <a:r>
              <a:rPr lang="en-US" dirty="0"/>
              <a:t>Click to add a longer presentation title</a:t>
            </a:r>
          </a:p>
        </p:txBody>
      </p:sp>
      <p:sp>
        <p:nvSpPr>
          <p:cNvPr id="3" name="Subtitle 2"/>
          <p:cNvSpPr>
            <a:spLocks noGrp="1"/>
          </p:cNvSpPr>
          <p:nvPr>
            <p:ph type="subTitle" idx="1" hasCustomPrompt="1"/>
          </p:nvPr>
        </p:nvSpPr>
        <p:spPr>
          <a:xfrm>
            <a:off x="4524589" y="4094163"/>
            <a:ext cx="5707662" cy="1080000"/>
          </a:xfrm>
        </p:spPr>
        <p:txBody>
          <a:bodyPr/>
          <a:lstStyle>
            <a:lvl1pPr marL="0" indent="0" algn="l">
              <a:spcBef>
                <a:spcPts val="0"/>
              </a:spcBef>
              <a:buNone/>
              <a:defRPr sz="1800" b="1"/>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Tree>
    <p:extLst>
      <p:ext uri="{BB962C8B-B14F-4D97-AF65-F5344CB8AC3E}">
        <p14:creationId xmlns:p14="http://schemas.microsoft.com/office/powerpoint/2010/main" val="264344823"/>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showMasterSp="0" preserve="1">
  <p:cSld name="Title with picture">
    <p:spTree>
      <p:nvGrpSpPr>
        <p:cNvPr id="1" name=""/>
        <p:cNvGrpSpPr/>
        <p:nvPr/>
      </p:nvGrpSpPr>
      <p:grpSpPr>
        <a:xfrm>
          <a:off x="0" y="0"/>
          <a:ext cx="0" cy="0"/>
          <a:chOff x="0" y="0"/>
          <a:chExt cx="0" cy="0"/>
        </a:xfrm>
      </p:grpSpPr>
      <p:sp>
        <p:nvSpPr>
          <p:cNvPr id="12" name="Picture Placeholder 11"/>
          <p:cNvSpPr>
            <a:spLocks noGrp="1"/>
          </p:cNvSpPr>
          <p:nvPr>
            <p:ph type="pic" sz="quarter" idx="13" hasCustomPrompt="1"/>
          </p:nvPr>
        </p:nvSpPr>
        <p:spPr>
          <a:xfrm>
            <a:off x="3376226" y="0"/>
            <a:ext cx="8815774" cy="6858000"/>
          </a:xfrm>
          <a:custGeom>
            <a:avLst/>
            <a:gdLst>
              <a:gd name="connsiteX0" fmla="*/ 331042 w 8815774"/>
              <a:gd name="connsiteY0" fmla="*/ 0 h 6858000"/>
              <a:gd name="connsiteX1" fmla="*/ 8815774 w 8815774"/>
              <a:gd name="connsiteY1" fmla="*/ 0 h 6858000"/>
              <a:gd name="connsiteX2" fmla="*/ 8815774 w 8815774"/>
              <a:gd name="connsiteY2" fmla="*/ 6858000 h 6858000"/>
              <a:gd name="connsiteX3" fmla="*/ 0 w 8815774"/>
              <a:gd name="connsiteY3" fmla="*/ 6858000 h 6858000"/>
              <a:gd name="connsiteX4" fmla="*/ 1580491 w 8815774"/>
              <a:gd name="connsiteY4" fmla="*/ 4163677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15774" h="6858000">
                <a:moveTo>
                  <a:pt x="331042" y="0"/>
                </a:moveTo>
                <a:lnTo>
                  <a:pt x="8815774" y="0"/>
                </a:lnTo>
                <a:lnTo>
                  <a:pt x="8815774" y="6858000"/>
                </a:lnTo>
                <a:lnTo>
                  <a:pt x="0" y="6858000"/>
                </a:lnTo>
                <a:lnTo>
                  <a:pt x="1580491" y="4163677"/>
                </a:lnTo>
                <a:close/>
              </a:path>
            </a:pathLst>
          </a:custGeom>
          <a:solidFill>
            <a:srgbClr val="D9DADB"/>
          </a:solidFill>
        </p:spPr>
        <p:txBody>
          <a:bodyPr wrap="square">
            <a:noAutofit/>
          </a:bodyPr>
          <a:lstStyle>
            <a:lvl1pPr marL="0" indent="0" algn="ctr">
              <a:buNone/>
              <a:defRPr/>
            </a:lvl1pPr>
          </a:lstStyle>
          <a:p>
            <a:r>
              <a:rPr lang="en-US" dirty="0"/>
              <a:t>Insert picture</a:t>
            </a:r>
          </a:p>
        </p:txBody>
      </p:sp>
      <p:grpSp>
        <p:nvGrpSpPr>
          <p:cNvPr id="14" name="logo">
            <a:extLst>
              <a:ext uri="{FF2B5EF4-FFF2-40B4-BE49-F238E27FC236}">
                <a16:creationId xmlns:a16="http://schemas.microsoft.com/office/drawing/2014/main" id="{18C26D95-70F8-8A4D-9F18-DCCB92522AF8}"/>
              </a:ext>
            </a:extLst>
          </p:cNvPr>
          <p:cNvGrpSpPr/>
          <p:nvPr/>
        </p:nvGrpSpPr>
        <p:grpSpPr bwMode="gray">
          <a:xfrm>
            <a:off x="417363" y="407485"/>
            <a:ext cx="1518585" cy="646507"/>
            <a:chOff x="334963" y="296652"/>
            <a:chExt cx="1268411" cy="540000"/>
          </a:xfrm>
        </p:grpSpPr>
        <p:sp>
          <p:nvSpPr>
            <p:cNvPr id="17" name="Freeform 6">
              <a:extLst>
                <a:ext uri="{FF2B5EF4-FFF2-40B4-BE49-F238E27FC236}">
                  <a16:creationId xmlns:a16="http://schemas.microsoft.com/office/drawing/2014/main" id="{08737AD0-E375-E445-97E6-CD2E2DF60620}"/>
                </a:ext>
              </a:extLst>
            </p:cNvPr>
            <p:cNvSpPr>
              <a:spLocks noEditPoints="1"/>
            </p:cNvSpPr>
            <p:nvPr/>
          </p:nvSpPr>
          <p:spPr bwMode="gray">
            <a:xfrm>
              <a:off x="982662" y="360462"/>
              <a:ext cx="620712" cy="431800"/>
            </a:xfrm>
            <a:custGeom>
              <a:avLst/>
              <a:gdLst>
                <a:gd name="T0" fmla="*/ 19 w 1809"/>
                <a:gd name="T1" fmla="*/ 97 h 1253"/>
                <a:gd name="T2" fmla="*/ 165 w 1809"/>
                <a:gd name="T3" fmla="*/ 41 h 1253"/>
                <a:gd name="T4" fmla="*/ 211 w 1809"/>
                <a:gd name="T5" fmla="*/ 224 h 1253"/>
                <a:gd name="T6" fmla="*/ 248 w 1809"/>
                <a:gd name="T7" fmla="*/ 155 h 1253"/>
                <a:gd name="T8" fmla="*/ 931 w 1809"/>
                <a:gd name="T9" fmla="*/ 995 h 1253"/>
                <a:gd name="T10" fmla="*/ 858 w 1809"/>
                <a:gd name="T11" fmla="*/ 1115 h 1253"/>
                <a:gd name="T12" fmla="*/ 749 w 1809"/>
                <a:gd name="T13" fmla="*/ 1117 h 1253"/>
                <a:gd name="T14" fmla="*/ 681 w 1809"/>
                <a:gd name="T15" fmla="*/ 1055 h 1253"/>
                <a:gd name="T16" fmla="*/ 800 w 1809"/>
                <a:gd name="T17" fmla="*/ 1054 h 1253"/>
                <a:gd name="T18" fmla="*/ 884 w 1809"/>
                <a:gd name="T19" fmla="*/ 1181 h 1253"/>
                <a:gd name="T20" fmla="*/ 118 w 1809"/>
                <a:gd name="T21" fmla="*/ 1086 h 1253"/>
                <a:gd name="T22" fmla="*/ 147 w 1809"/>
                <a:gd name="T23" fmla="*/ 1026 h 1253"/>
                <a:gd name="T24" fmla="*/ 102 w 1809"/>
                <a:gd name="T25" fmla="*/ 1026 h 1253"/>
                <a:gd name="T26" fmla="*/ 639 w 1809"/>
                <a:gd name="T27" fmla="*/ 84 h 1253"/>
                <a:gd name="T28" fmla="*/ 763 w 1809"/>
                <a:gd name="T29" fmla="*/ 145 h 1253"/>
                <a:gd name="T30" fmla="*/ 863 w 1809"/>
                <a:gd name="T31" fmla="*/ 221 h 1253"/>
                <a:gd name="T32" fmla="*/ 834 w 1809"/>
                <a:gd name="T33" fmla="*/ 208 h 1253"/>
                <a:gd name="T34" fmla="*/ 719 w 1809"/>
                <a:gd name="T35" fmla="*/ 182 h 1253"/>
                <a:gd name="T36" fmla="*/ 507 w 1809"/>
                <a:gd name="T37" fmla="*/ 711 h 1253"/>
                <a:gd name="T38" fmla="*/ 614 w 1809"/>
                <a:gd name="T39" fmla="*/ 706 h 1253"/>
                <a:gd name="T40" fmla="*/ 736 w 1809"/>
                <a:gd name="T41" fmla="*/ 730 h 1253"/>
                <a:gd name="T42" fmla="*/ 607 w 1809"/>
                <a:gd name="T43" fmla="*/ 539 h 1253"/>
                <a:gd name="T44" fmla="*/ 1505 w 1809"/>
                <a:gd name="T45" fmla="*/ 1136 h 1253"/>
                <a:gd name="T46" fmla="*/ 1613 w 1809"/>
                <a:gd name="T47" fmla="*/ 1002 h 1253"/>
                <a:gd name="T48" fmla="*/ 1472 w 1809"/>
                <a:gd name="T49" fmla="*/ 1164 h 1253"/>
                <a:gd name="T50" fmla="*/ 1525 w 1809"/>
                <a:gd name="T51" fmla="*/ 1142 h 1253"/>
                <a:gd name="T52" fmla="*/ 1556 w 1809"/>
                <a:gd name="T53" fmla="*/ 1172 h 1253"/>
                <a:gd name="T54" fmla="*/ 1387 w 1809"/>
                <a:gd name="T55" fmla="*/ 910 h 1253"/>
                <a:gd name="T56" fmla="*/ 1261 w 1809"/>
                <a:gd name="T57" fmla="*/ 1157 h 1253"/>
                <a:gd name="T58" fmla="*/ 1413 w 1809"/>
                <a:gd name="T59" fmla="*/ 934 h 1253"/>
                <a:gd name="T60" fmla="*/ 1378 w 1809"/>
                <a:gd name="T61" fmla="*/ 1052 h 1253"/>
                <a:gd name="T62" fmla="*/ 488 w 1809"/>
                <a:gd name="T63" fmla="*/ 85 h 1253"/>
                <a:gd name="T64" fmla="*/ 509 w 1809"/>
                <a:gd name="T65" fmla="*/ 112 h 1253"/>
                <a:gd name="T66" fmla="*/ 548 w 1809"/>
                <a:gd name="T67" fmla="*/ 1187 h 1253"/>
                <a:gd name="T68" fmla="*/ 472 w 1809"/>
                <a:gd name="T69" fmla="*/ 1122 h 1253"/>
                <a:gd name="T70" fmla="*/ 558 w 1809"/>
                <a:gd name="T71" fmla="*/ 1157 h 1253"/>
                <a:gd name="T72" fmla="*/ 287 w 1809"/>
                <a:gd name="T73" fmla="*/ 654 h 1253"/>
                <a:gd name="T74" fmla="*/ 416 w 1809"/>
                <a:gd name="T75" fmla="*/ 684 h 1253"/>
                <a:gd name="T76" fmla="*/ 1106 w 1809"/>
                <a:gd name="T77" fmla="*/ 147 h 1253"/>
                <a:gd name="T78" fmla="*/ 1229 w 1809"/>
                <a:gd name="T79" fmla="*/ 258 h 1253"/>
                <a:gd name="T80" fmla="*/ 1106 w 1809"/>
                <a:gd name="T81" fmla="*/ 96 h 1253"/>
                <a:gd name="T82" fmla="*/ 1219 w 1809"/>
                <a:gd name="T83" fmla="*/ 1077 h 1253"/>
                <a:gd name="T84" fmla="*/ 1214 w 1809"/>
                <a:gd name="T85" fmla="*/ 1157 h 1253"/>
                <a:gd name="T86" fmla="*/ 1150 w 1809"/>
                <a:gd name="T87" fmla="*/ 1092 h 1253"/>
                <a:gd name="T88" fmla="*/ 1139 w 1809"/>
                <a:gd name="T89" fmla="*/ 1070 h 1253"/>
                <a:gd name="T90" fmla="*/ 1659 w 1809"/>
                <a:gd name="T91" fmla="*/ 1031 h 1253"/>
                <a:gd name="T92" fmla="*/ 1714 w 1809"/>
                <a:gd name="T93" fmla="*/ 1155 h 1253"/>
                <a:gd name="T94" fmla="*/ 1760 w 1809"/>
                <a:gd name="T95" fmla="*/ 1030 h 1253"/>
                <a:gd name="T96" fmla="*/ 111 w 1809"/>
                <a:gd name="T97" fmla="*/ 569 h 1253"/>
                <a:gd name="T98" fmla="*/ 109 w 1809"/>
                <a:gd name="T99" fmla="*/ 460 h 1253"/>
                <a:gd name="T100" fmla="*/ 32 w 1809"/>
                <a:gd name="T101" fmla="*/ 704 h 1253"/>
                <a:gd name="T102" fmla="*/ 310 w 1809"/>
                <a:gd name="T103" fmla="*/ 1058 h 1253"/>
                <a:gd name="T104" fmla="*/ 431 w 1809"/>
                <a:gd name="T105" fmla="*/ 1044 h 1253"/>
                <a:gd name="T106" fmla="*/ 278 w 1809"/>
                <a:gd name="T107" fmla="*/ 1165 h 1253"/>
                <a:gd name="T108" fmla="*/ 261 w 1809"/>
                <a:gd name="T109" fmla="*/ 540 h 1253"/>
                <a:gd name="T110" fmla="*/ 150 w 1809"/>
                <a:gd name="T111" fmla="*/ 635 h 1253"/>
                <a:gd name="T112" fmla="*/ 994 w 1809"/>
                <a:gd name="T113" fmla="*/ 1185 h 1253"/>
                <a:gd name="T114" fmla="*/ 331 w 1809"/>
                <a:gd name="T115" fmla="*/ 176 h 1253"/>
                <a:gd name="T116" fmla="*/ 333 w 1809"/>
                <a:gd name="T117" fmla="*/ 109 h 1253"/>
                <a:gd name="T118" fmla="*/ 946 w 1809"/>
                <a:gd name="T119" fmla="*/ 234 h 1253"/>
                <a:gd name="T120" fmla="*/ 1022 w 1809"/>
                <a:gd name="T121" fmla="*/ 113 h 1253"/>
                <a:gd name="T122" fmla="*/ 949 w 1809"/>
                <a:gd name="T123" fmla="*/ 65 h 1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09" h="1253">
                  <a:moveTo>
                    <a:pt x="248" y="198"/>
                  </a:moveTo>
                  <a:cubicBezTo>
                    <a:pt x="248" y="211"/>
                    <a:pt x="248" y="224"/>
                    <a:pt x="249" y="237"/>
                  </a:cubicBezTo>
                  <a:cubicBezTo>
                    <a:pt x="249" y="245"/>
                    <a:pt x="246" y="249"/>
                    <a:pt x="240" y="253"/>
                  </a:cubicBezTo>
                  <a:cubicBezTo>
                    <a:pt x="231" y="260"/>
                    <a:pt x="220" y="264"/>
                    <a:pt x="209" y="268"/>
                  </a:cubicBezTo>
                  <a:cubicBezTo>
                    <a:pt x="179" y="279"/>
                    <a:pt x="148" y="280"/>
                    <a:pt x="118" y="275"/>
                  </a:cubicBezTo>
                  <a:cubicBezTo>
                    <a:pt x="86" y="269"/>
                    <a:pt x="58" y="252"/>
                    <a:pt x="39" y="224"/>
                  </a:cubicBezTo>
                  <a:cubicBezTo>
                    <a:pt x="24" y="203"/>
                    <a:pt x="18" y="180"/>
                    <a:pt x="15" y="155"/>
                  </a:cubicBezTo>
                  <a:cubicBezTo>
                    <a:pt x="11" y="135"/>
                    <a:pt x="15" y="115"/>
                    <a:pt x="19" y="97"/>
                  </a:cubicBezTo>
                  <a:cubicBezTo>
                    <a:pt x="26" y="68"/>
                    <a:pt x="42" y="44"/>
                    <a:pt x="68" y="27"/>
                  </a:cubicBezTo>
                  <a:cubicBezTo>
                    <a:pt x="87" y="14"/>
                    <a:pt x="109" y="6"/>
                    <a:pt x="133" y="5"/>
                  </a:cubicBezTo>
                  <a:cubicBezTo>
                    <a:pt x="149" y="4"/>
                    <a:pt x="165" y="5"/>
                    <a:pt x="181" y="6"/>
                  </a:cubicBezTo>
                  <a:cubicBezTo>
                    <a:pt x="204" y="8"/>
                    <a:pt x="225" y="20"/>
                    <a:pt x="243" y="35"/>
                  </a:cubicBezTo>
                  <a:cubicBezTo>
                    <a:pt x="246" y="37"/>
                    <a:pt x="246" y="40"/>
                    <a:pt x="244" y="43"/>
                  </a:cubicBezTo>
                  <a:cubicBezTo>
                    <a:pt x="242" y="47"/>
                    <a:pt x="239" y="52"/>
                    <a:pt x="236" y="55"/>
                  </a:cubicBezTo>
                  <a:cubicBezTo>
                    <a:pt x="226" y="65"/>
                    <a:pt x="224" y="65"/>
                    <a:pt x="206" y="54"/>
                  </a:cubicBezTo>
                  <a:cubicBezTo>
                    <a:pt x="193" y="46"/>
                    <a:pt x="180" y="40"/>
                    <a:pt x="165" y="41"/>
                  </a:cubicBezTo>
                  <a:cubicBezTo>
                    <a:pt x="151" y="41"/>
                    <a:pt x="137" y="39"/>
                    <a:pt x="124" y="42"/>
                  </a:cubicBezTo>
                  <a:cubicBezTo>
                    <a:pt x="104" y="46"/>
                    <a:pt x="87" y="57"/>
                    <a:pt x="75" y="74"/>
                  </a:cubicBezTo>
                  <a:cubicBezTo>
                    <a:pt x="56" y="99"/>
                    <a:pt x="51" y="129"/>
                    <a:pt x="55" y="159"/>
                  </a:cubicBezTo>
                  <a:cubicBezTo>
                    <a:pt x="60" y="189"/>
                    <a:pt x="73" y="214"/>
                    <a:pt x="98" y="230"/>
                  </a:cubicBezTo>
                  <a:cubicBezTo>
                    <a:pt x="109" y="237"/>
                    <a:pt x="121" y="242"/>
                    <a:pt x="135" y="241"/>
                  </a:cubicBezTo>
                  <a:cubicBezTo>
                    <a:pt x="146" y="241"/>
                    <a:pt x="158" y="241"/>
                    <a:pt x="169" y="241"/>
                  </a:cubicBezTo>
                  <a:cubicBezTo>
                    <a:pt x="182" y="242"/>
                    <a:pt x="193" y="235"/>
                    <a:pt x="205" y="232"/>
                  </a:cubicBezTo>
                  <a:cubicBezTo>
                    <a:pt x="210" y="231"/>
                    <a:pt x="211" y="227"/>
                    <a:pt x="211" y="224"/>
                  </a:cubicBezTo>
                  <a:cubicBezTo>
                    <a:pt x="211" y="210"/>
                    <a:pt x="211" y="196"/>
                    <a:pt x="211" y="183"/>
                  </a:cubicBezTo>
                  <a:cubicBezTo>
                    <a:pt x="211" y="177"/>
                    <a:pt x="207" y="175"/>
                    <a:pt x="202" y="175"/>
                  </a:cubicBezTo>
                  <a:cubicBezTo>
                    <a:pt x="193" y="175"/>
                    <a:pt x="184" y="175"/>
                    <a:pt x="175" y="175"/>
                  </a:cubicBezTo>
                  <a:cubicBezTo>
                    <a:pt x="171" y="175"/>
                    <a:pt x="168" y="174"/>
                    <a:pt x="166" y="171"/>
                  </a:cubicBezTo>
                  <a:cubicBezTo>
                    <a:pt x="163" y="163"/>
                    <a:pt x="164" y="154"/>
                    <a:pt x="166" y="146"/>
                  </a:cubicBezTo>
                  <a:cubicBezTo>
                    <a:pt x="167" y="142"/>
                    <a:pt x="171" y="142"/>
                    <a:pt x="175" y="142"/>
                  </a:cubicBezTo>
                  <a:cubicBezTo>
                    <a:pt x="196" y="142"/>
                    <a:pt x="217" y="142"/>
                    <a:pt x="238" y="142"/>
                  </a:cubicBezTo>
                  <a:cubicBezTo>
                    <a:pt x="247" y="142"/>
                    <a:pt x="248" y="148"/>
                    <a:pt x="248" y="155"/>
                  </a:cubicBezTo>
                  <a:cubicBezTo>
                    <a:pt x="249" y="169"/>
                    <a:pt x="248" y="183"/>
                    <a:pt x="248" y="198"/>
                  </a:cubicBezTo>
                  <a:close/>
                  <a:moveTo>
                    <a:pt x="884" y="1181"/>
                  </a:moveTo>
                  <a:cubicBezTo>
                    <a:pt x="889" y="1167"/>
                    <a:pt x="894" y="1152"/>
                    <a:pt x="898" y="1137"/>
                  </a:cubicBezTo>
                  <a:cubicBezTo>
                    <a:pt x="901" y="1127"/>
                    <a:pt x="905" y="1116"/>
                    <a:pt x="908" y="1106"/>
                  </a:cubicBezTo>
                  <a:cubicBezTo>
                    <a:pt x="911" y="1098"/>
                    <a:pt x="912" y="1089"/>
                    <a:pt x="916" y="1081"/>
                  </a:cubicBezTo>
                  <a:cubicBezTo>
                    <a:pt x="921" y="1072"/>
                    <a:pt x="923" y="1060"/>
                    <a:pt x="927" y="1050"/>
                  </a:cubicBezTo>
                  <a:cubicBezTo>
                    <a:pt x="932" y="1037"/>
                    <a:pt x="934" y="1023"/>
                    <a:pt x="940" y="1010"/>
                  </a:cubicBezTo>
                  <a:cubicBezTo>
                    <a:pt x="945" y="1001"/>
                    <a:pt x="941" y="995"/>
                    <a:pt x="931" y="995"/>
                  </a:cubicBezTo>
                  <a:cubicBezTo>
                    <a:pt x="927" y="995"/>
                    <a:pt x="922" y="995"/>
                    <a:pt x="918" y="995"/>
                  </a:cubicBezTo>
                  <a:cubicBezTo>
                    <a:pt x="913" y="995"/>
                    <a:pt x="908" y="997"/>
                    <a:pt x="907" y="1001"/>
                  </a:cubicBezTo>
                  <a:cubicBezTo>
                    <a:pt x="904" y="1008"/>
                    <a:pt x="900" y="1015"/>
                    <a:pt x="899" y="1023"/>
                  </a:cubicBezTo>
                  <a:cubicBezTo>
                    <a:pt x="897" y="1034"/>
                    <a:pt x="893" y="1045"/>
                    <a:pt x="889" y="1055"/>
                  </a:cubicBezTo>
                  <a:cubicBezTo>
                    <a:pt x="887" y="1064"/>
                    <a:pt x="885" y="1072"/>
                    <a:pt x="882" y="1080"/>
                  </a:cubicBezTo>
                  <a:cubicBezTo>
                    <a:pt x="878" y="1091"/>
                    <a:pt x="874" y="1103"/>
                    <a:pt x="871" y="1115"/>
                  </a:cubicBezTo>
                  <a:cubicBezTo>
                    <a:pt x="870" y="1118"/>
                    <a:pt x="871" y="1124"/>
                    <a:pt x="866" y="1124"/>
                  </a:cubicBezTo>
                  <a:cubicBezTo>
                    <a:pt x="861" y="1125"/>
                    <a:pt x="859" y="1120"/>
                    <a:pt x="858" y="1115"/>
                  </a:cubicBezTo>
                  <a:cubicBezTo>
                    <a:pt x="856" y="1110"/>
                    <a:pt x="856" y="1104"/>
                    <a:pt x="854" y="1099"/>
                  </a:cubicBezTo>
                  <a:cubicBezTo>
                    <a:pt x="848" y="1080"/>
                    <a:pt x="841" y="1062"/>
                    <a:pt x="835" y="1044"/>
                  </a:cubicBezTo>
                  <a:cubicBezTo>
                    <a:pt x="831" y="1030"/>
                    <a:pt x="828" y="1016"/>
                    <a:pt x="822" y="1003"/>
                  </a:cubicBezTo>
                  <a:cubicBezTo>
                    <a:pt x="819" y="997"/>
                    <a:pt x="814" y="994"/>
                    <a:pt x="808" y="994"/>
                  </a:cubicBezTo>
                  <a:cubicBezTo>
                    <a:pt x="799" y="993"/>
                    <a:pt x="791" y="993"/>
                    <a:pt x="787" y="1001"/>
                  </a:cubicBezTo>
                  <a:cubicBezTo>
                    <a:pt x="783" y="1008"/>
                    <a:pt x="780" y="1015"/>
                    <a:pt x="779" y="1022"/>
                  </a:cubicBezTo>
                  <a:cubicBezTo>
                    <a:pt x="778" y="1034"/>
                    <a:pt x="772" y="1044"/>
                    <a:pt x="769" y="1055"/>
                  </a:cubicBezTo>
                  <a:cubicBezTo>
                    <a:pt x="762" y="1076"/>
                    <a:pt x="754" y="1096"/>
                    <a:pt x="749" y="1117"/>
                  </a:cubicBezTo>
                  <a:cubicBezTo>
                    <a:pt x="748" y="1120"/>
                    <a:pt x="747" y="1124"/>
                    <a:pt x="742" y="1124"/>
                  </a:cubicBezTo>
                  <a:cubicBezTo>
                    <a:pt x="737" y="1124"/>
                    <a:pt x="737" y="1120"/>
                    <a:pt x="736" y="1116"/>
                  </a:cubicBezTo>
                  <a:cubicBezTo>
                    <a:pt x="734" y="1104"/>
                    <a:pt x="730" y="1092"/>
                    <a:pt x="726" y="1080"/>
                  </a:cubicBezTo>
                  <a:cubicBezTo>
                    <a:pt x="720" y="1061"/>
                    <a:pt x="714" y="1040"/>
                    <a:pt x="708" y="1020"/>
                  </a:cubicBezTo>
                  <a:cubicBezTo>
                    <a:pt x="703" y="1000"/>
                    <a:pt x="698" y="994"/>
                    <a:pt x="676" y="995"/>
                  </a:cubicBezTo>
                  <a:cubicBezTo>
                    <a:pt x="665" y="996"/>
                    <a:pt x="661" y="1001"/>
                    <a:pt x="667" y="1011"/>
                  </a:cubicBezTo>
                  <a:cubicBezTo>
                    <a:pt x="669" y="1016"/>
                    <a:pt x="670" y="1021"/>
                    <a:pt x="672" y="1025"/>
                  </a:cubicBezTo>
                  <a:cubicBezTo>
                    <a:pt x="675" y="1035"/>
                    <a:pt x="678" y="1046"/>
                    <a:pt x="681" y="1055"/>
                  </a:cubicBezTo>
                  <a:cubicBezTo>
                    <a:pt x="685" y="1068"/>
                    <a:pt x="689" y="1080"/>
                    <a:pt x="693" y="1092"/>
                  </a:cubicBezTo>
                  <a:cubicBezTo>
                    <a:pt x="697" y="1103"/>
                    <a:pt x="699" y="1113"/>
                    <a:pt x="703" y="1124"/>
                  </a:cubicBezTo>
                  <a:cubicBezTo>
                    <a:pt x="707" y="1136"/>
                    <a:pt x="711" y="1147"/>
                    <a:pt x="715" y="1160"/>
                  </a:cubicBezTo>
                  <a:cubicBezTo>
                    <a:pt x="717" y="1168"/>
                    <a:pt x="720" y="1176"/>
                    <a:pt x="724" y="1183"/>
                  </a:cubicBezTo>
                  <a:cubicBezTo>
                    <a:pt x="728" y="1189"/>
                    <a:pt x="752" y="1185"/>
                    <a:pt x="757" y="1180"/>
                  </a:cubicBezTo>
                  <a:cubicBezTo>
                    <a:pt x="764" y="1173"/>
                    <a:pt x="762" y="1163"/>
                    <a:pt x="766" y="1156"/>
                  </a:cubicBezTo>
                  <a:cubicBezTo>
                    <a:pt x="774" y="1140"/>
                    <a:pt x="778" y="1122"/>
                    <a:pt x="784" y="1105"/>
                  </a:cubicBezTo>
                  <a:cubicBezTo>
                    <a:pt x="789" y="1088"/>
                    <a:pt x="796" y="1072"/>
                    <a:pt x="800" y="1054"/>
                  </a:cubicBezTo>
                  <a:cubicBezTo>
                    <a:pt x="800" y="1053"/>
                    <a:pt x="801" y="1050"/>
                    <a:pt x="803" y="1050"/>
                  </a:cubicBezTo>
                  <a:cubicBezTo>
                    <a:pt x="806" y="1050"/>
                    <a:pt x="806" y="1052"/>
                    <a:pt x="807" y="1055"/>
                  </a:cubicBezTo>
                  <a:cubicBezTo>
                    <a:pt x="807" y="1060"/>
                    <a:pt x="810" y="1066"/>
                    <a:pt x="811" y="1071"/>
                  </a:cubicBezTo>
                  <a:cubicBezTo>
                    <a:pt x="814" y="1081"/>
                    <a:pt x="818" y="1090"/>
                    <a:pt x="821" y="1099"/>
                  </a:cubicBezTo>
                  <a:cubicBezTo>
                    <a:pt x="824" y="1110"/>
                    <a:pt x="827" y="1120"/>
                    <a:pt x="831" y="1131"/>
                  </a:cubicBezTo>
                  <a:cubicBezTo>
                    <a:pt x="834" y="1142"/>
                    <a:pt x="839" y="1153"/>
                    <a:pt x="842" y="1164"/>
                  </a:cubicBezTo>
                  <a:cubicBezTo>
                    <a:pt x="846" y="1179"/>
                    <a:pt x="850" y="1188"/>
                    <a:pt x="869" y="1185"/>
                  </a:cubicBezTo>
                  <a:cubicBezTo>
                    <a:pt x="873" y="1184"/>
                    <a:pt x="881" y="1189"/>
                    <a:pt x="884" y="1181"/>
                  </a:cubicBezTo>
                  <a:close/>
                  <a:moveTo>
                    <a:pt x="33" y="1051"/>
                  </a:moveTo>
                  <a:cubicBezTo>
                    <a:pt x="33" y="1087"/>
                    <a:pt x="33" y="1124"/>
                    <a:pt x="33" y="1160"/>
                  </a:cubicBezTo>
                  <a:cubicBezTo>
                    <a:pt x="33" y="1188"/>
                    <a:pt x="29" y="1184"/>
                    <a:pt x="58" y="1185"/>
                  </a:cubicBezTo>
                  <a:cubicBezTo>
                    <a:pt x="72" y="1185"/>
                    <a:pt x="73" y="1184"/>
                    <a:pt x="73" y="1170"/>
                  </a:cubicBezTo>
                  <a:cubicBezTo>
                    <a:pt x="73" y="1138"/>
                    <a:pt x="73" y="1107"/>
                    <a:pt x="73" y="1076"/>
                  </a:cubicBezTo>
                  <a:cubicBezTo>
                    <a:pt x="73" y="1071"/>
                    <a:pt x="72" y="1067"/>
                    <a:pt x="78" y="1065"/>
                  </a:cubicBezTo>
                  <a:cubicBezTo>
                    <a:pt x="91" y="1062"/>
                    <a:pt x="102" y="1067"/>
                    <a:pt x="110" y="1076"/>
                  </a:cubicBezTo>
                  <a:cubicBezTo>
                    <a:pt x="112" y="1080"/>
                    <a:pt x="115" y="1083"/>
                    <a:pt x="118" y="1086"/>
                  </a:cubicBezTo>
                  <a:cubicBezTo>
                    <a:pt x="132" y="1103"/>
                    <a:pt x="146" y="1119"/>
                    <a:pt x="161" y="1136"/>
                  </a:cubicBezTo>
                  <a:cubicBezTo>
                    <a:pt x="173" y="1150"/>
                    <a:pt x="186" y="1165"/>
                    <a:pt x="198" y="1179"/>
                  </a:cubicBezTo>
                  <a:cubicBezTo>
                    <a:pt x="207" y="1188"/>
                    <a:pt x="218" y="1184"/>
                    <a:pt x="228" y="1185"/>
                  </a:cubicBezTo>
                  <a:cubicBezTo>
                    <a:pt x="233" y="1185"/>
                    <a:pt x="241" y="1188"/>
                    <a:pt x="244" y="1182"/>
                  </a:cubicBezTo>
                  <a:cubicBezTo>
                    <a:pt x="246" y="1178"/>
                    <a:pt x="239" y="1173"/>
                    <a:pt x="235" y="1169"/>
                  </a:cubicBezTo>
                  <a:cubicBezTo>
                    <a:pt x="206" y="1133"/>
                    <a:pt x="176" y="1098"/>
                    <a:pt x="146" y="1062"/>
                  </a:cubicBezTo>
                  <a:cubicBezTo>
                    <a:pt x="141" y="1056"/>
                    <a:pt x="131" y="1052"/>
                    <a:pt x="132" y="1044"/>
                  </a:cubicBezTo>
                  <a:cubicBezTo>
                    <a:pt x="132" y="1036"/>
                    <a:pt x="142" y="1032"/>
                    <a:pt x="147" y="1026"/>
                  </a:cubicBezTo>
                  <a:cubicBezTo>
                    <a:pt x="164" y="1006"/>
                    <a:pt x="182" y="988"/>
                    <a:pt x="198" y="968"/>
                  </a:cubicBezTo>
                  <a:cubicBezTo>
                    <a:pt x="209" y="954"/>
                    <a:pt x="221" y="942"/>
                    <a:pt x="234" y="929"/>
                  </a:cubicBezTo>
                  <a:cubicBezTo>
                    <a:pt x="236" y="926"/>
                    <a:pt x="238" y="923"/>
                    <a:pt x="237" y="920"/>
                  </a:cubicBezTo>
                  <a:cubicBezTo>
                    <a:pt x="235" y="915"/>
                    <a:pt x="231" y="917"/>
                    <a:pt x="228" y="917"/>
                  </a:cubicBezTo>
                  <a:cubicBezTo>
                    <a:pt x="224" y="918"/>
                    <a:pt x="221" y="918"/>
                    <a:pt x="217" y="918"/>
                  </a:cubicBezTo>
                  <a:cubicBezTo>
                    <a:pt x="204" y="917"/>
                    <a:pt x="193" y="922"/>
                    <a:pt x="185" y="931"/>
                  </a:cubicBezTo>
                  <a:cubicBezTo>
                    <a:pt x="172" y="946"/>
                    <a:pt x="158" y="961"/>
                    <a:pt x="145" y="977"/>
                  </a:cubicBezTo>
                  <a:cubicBezTo>
                    <a:pt x="131" y="993"/>
                    <a:pt x="117" y="1010"/>
                    <a:pt x="102" y="1026"/>
                  </a:cubicBezTo>
                  <a:cubicBezTo>
                    <a:pt x="96" y="1032"/>
                    <a:pt x="87" y="1037"/>
                    <a:pt x="78" y="1034"/>
                  </a:cubicBezTo>
                  <a:cubicBezTo>
                    <a:pt x="70" y="1030"/>
                    <a:pt x="73" y="1021"/>
                    <a:pt x="73" y="1015"/>
                  </a:cubicBezTo>
                  <a:cubicBezTo>
                    <a:pt x="73" y="991"/>
                    <a:pt x="73" y="967"/>
                    <a:pt x="73" y="944"/>
                  </a:cubicBezTo>
                  <a:cubicBezTo>
                    <a:pt x="73" y="916"/>
                    <a:pt x="75" y="917"/>
                    <a:pt x="46" y="918"/>
                  </a:cubicBezTo>
                  <a:cubicBezTo>
                    <a:pt x="33" y="918"/>
                    <a:pt x="33" y="918"/>
                    <a:pt x="33" y="931"/>
                  </a:cubicBezTo>
                  <a:cubicBezTo>
                    <a:pt x="33" y="971"/>
                    <a:pt x="33" y="1011"/>
                    <a:pt x="33" y="1051"/>
                  </a:cubicBezTo>
                  <a:cubicBezTo>
                    <a:pt x="33" y="1051"/>
                    <a:pt x="33" y="1051"/>
                    <a:pt x="33" y="1051"/>
                  </a:cubicBezTo>
                  <a:close/>
                  <a:moveTo>
                    <a:pt x="639" y="84"/>
                  </a:moveTo>
                  <a:cubicBezTo>
                    <a:pt x="627" y="84"/>
                    <a:pt x="626" y="84"/>
                    <a:pt x="629" y="95"/>
                  </a:cubicBezTo>
                  <a:cubicBezTo>
                    <a:pt x="634" y="113"/>
                    <a:pt x="640" y="131"/>
                    <a:pt x="646" y="148"/>
                  </a:cubicBezTo>
                  <a:cubicBezTo>
                    <a:pt x="652" y="166"/>
                    <a:pt x="658" y="185"/>
                    <a:pt x="664" y="203"/>
                  </a:cubicBezTo>
                  <a:cubicBezTo>
                    <a:pt x="671" y="223"/>
                    <a:pt x="676" y="244"/>
                    <a:pt x="684" y="264"/>
                  </a:cubicBezTo>
                  <a:cubicBezTo>
                    <a:pt x="688" y="274"/>
                    <a:pt x="694" y="274"/>
                    <a:pt x="702" y="274"/>
                  </a:cubicBezTo>
                  <a:cubicBezTo>
                    <a:pt x="711" y="274"/>
                    <a:pt x="719" y="272"/>
                    <a:pt x="723" y="263"/>
                  </a:cubicBezTo>
                  <a:cubicBezTo>
                    <a:pt x="733" y="236"/>
                    <a:pt x="741" y="208"/>
                    <a:pt x="750" y="181"/>
                  </a:cubicBezTo>
                  <a:cubicBezTo>
                    <a:pt x="754" y="169"/>
                    <a:pt x="757" y="156"/>
                    <a:pt x="763" y="145"/>
                  </a:cubicBezTo>
                  <a:cubicBezTo>
                    <a:pt x="764" y="143"/>
                    <a:pt x="764" y="140"/>
                    <a:pt x="767" y="140"/>
                  </a:cubicBezTo>
                  <a:cubicBezTo>
                    <a:pt x="770" y="140"/>
                    <a:pt x="770" y="143"/>
                    <a:pt x="771" y="145"/>
                  </a:cubicBezTo>
                  <a:cubicBezTo>
                    <a:pt x="771" y="156"/>
                    <a:pt x="777" y="165"/>
                    <a:pt x="780" y="175"/>
                  </a:cubicBezTo>
                  <a:cubicBezTo>
                    <a:pt x="782" y="184"/>
                    <a:pt x="785" y="193"/>
                    <a:pt x="788" y="201"/>
                  </a:cubicBezTo>
                  <a:cubicBezTo>
                    <a:pt x="794" y="219"/>
                    <a:pt x="801" y="237"/>
                    <a:pt x="806" y="255"/>
                  </a:cubicBezTo>
                  <a:cubicBezTo>
                    <a:pt x="811" y="272"/>
                    <a:pt x="825" y="280"/>
                    <a:pt x="842" y="273"/>
                  </a:cubicBezTo>
                  <a:cubicBezTo>
                    <a:pt x="845" y="271"/>
                    <a:pt x="847" y="269"/>
                    <a:pt x="848" y="266"/>
                  </a:cubicBezTo>
                  <a:cubicBezTo>
                    <a:pt x="853" y="251"/>
                    <a:pt x="859" y="236"/>
                    <a:pt x="863" y="221"/>
                  </a:cubicBezTo>
                  <a:cubicBezTo>
                    <a:pt x="867" y="202"/>
                    <a:pt x="875" y="185"/>
                    <a:pt x="880" y="166"/>
                  </a:cubicBezTo>
                  <a:cubicBezTo>
                    <a:pt x="886" y="144"/>
                    <a:pt x="895" y="123"/>
                    <a:pt x="900" y="101"/>
                  </a:cubicBezTo>
                  <a:cubicBezTo>
                    <a:pt x="901" y="96"/>
                    <a:pt x="909" y="91"/>
                    <a:pt x="904" y="86"/>
                  </a:cubicBezTo>
                  <a:cubicBezTo>
                    <a:pt x="900" y="81"/>
                    <a:pt x="892" y="84"/>
                    <a:pt x="886" y="84"/>
                  </a:cubicBezTo>
                  <a:cubicBezTo>
                    <a:pt x="885" y="84"/>
                    <a:pt x="883" y="84"/>
                    <a:pt x="881" y="84"/>
                  </a:cubicBezTo>
                  <a:cubicBezTo>
                    <a:pt x="875" y="84"/>
                    <a:pt x="872" y="86"/>
                    <a:pt x="869" y="91"/>
                  </a:cubicBezTo>
                  <a:cubicBezTo>
                    <a:pt x="860" y="110"/>
                    <a:pt x="856" y="131"/>
                    <a:pt x="850" y="151"/>
                  </a:cubicBezTo>
                  <a:cubicBezTo>
                    <a:pt x="844" y="170"/>
                    <a:pt x="836" y="188"/>
                    <a:pt x="834" y="208"/>
                  </a:cubicBezTo>
                  <a:cubicBezTo>
                    <a:pt x="833" y="211"/>
                    <a:pt x="831" y="214"/>
                    <a:pt x="827" y="214"/>
                  </a:cubicBezTo>
                  <a:cubicBezTo>
                    <a:pt x="823" y="214"/>
                    <a:pt x="822" y="210"/>
                    <a:pt x="822" y="207"/>
                  </a:cubicBezTo>
                  <a:cubicBezTo>
                    <a:pt x="817" y="188"/>
                    <a:pt x="811" y="170"/>
                    <a:pt x="805" y="152"/>
                  </a:cubicBezTo>
                  <a:cubicBezTo>
                    <a:pt x="799" y="133"/>
                    <a:pt x="794" y="114"/>
                    <a:pt x="786" y="96"/>
                  </a:cubicBezTo>
                  <a:cubicBezTo>
                    <a:pt x="783" y="87"/>
                    <a:pt x="779" y="84"/>
                    <a:pt x="770" y="84"/>
                  </a:cubicBezTo>
                  <a:cubicBezTo>
                    <a:pt x="761" y="84"/>
                    <a:pt x="752" y="82"/>
                    <a:pt x="748" y="94"/>
                  </a:cubicBezTo>
                  <a:cubicBezTo>
                    <a:pt x="744" y="109"/>
                    <a:pt x="738" y="123"/>
                    <a:pt x="734" y="138"/>
                  </a:cubicBezTo>
                  <a:cubicBezTo>
                    <a:pt x="729" y="153"/>
                    <a:pt x="724" y="167"/>
                    <a:pt x="719" y="182"/>
                  </a:cubicBezTo>
                  <a:cubicBezTo>
                    <a:pt x="716" y="192"/>
                    <a:pt x="715" y="203"/>
                    <a:pt x="708" y="212"/>
                  </a:cubicBezTo>
                  <a:cubicBezTo>
                    <a:pt x="707" y="214"/>
                    <a:pt x="707" y="217"/>
                    <a:pt x="704" y="217"/>
                  </a:cubicBezTo>
                  <a:cubicBezTo>
                    <a:pt x="701" y="217"/>
                    <a:pt x="701" y="213"/>
                    <a:pt x="700" y="211"/>
                  </a:cubicBezTo>
                  <a:cubicBezTo>
                    <a:pt x="699" y="198"/>
                    <a:pt x="694" y="186"/>
                    <a:pt x="690" y="174"/>
                  </a:cubicBezTo>
                  <a:cubicBezTo>
                    <a:pt x="684" y="153"/>
                    <a:pt x="677" y="131"/>
                    <a:pt x="672" y="110"/>
                  </a:cubicBezTo>
                  <a:cubicBezTo>
                    <a:pt x="667" y="88"/>
                    <a:pt x="663" y="84"/>
                    <a:pt x="645" y="84"/>
                  </a:cubicBezTo>
                  <a:cubicBezTo>
                    <a:pt x="643" y="84"/>
                    <a:pt x="641" y="84"/>
                    <a:pt x="639" y="84"/>
                  </a:cubicBezTo>
                  <a:close/>
                  <a:moveTo>
                    <a:pt x="507" y="711"/>
                  </a:moveTo>
                  <a:cubicBezTo>
                    <a:pt x="507" y="730"/>
                    <a:pt x="507" y="730"/>
                    <a:pt x="526" y="730"/>
                  </a:cubicBezTo>
                  <a:cubicBezTo>
                    <a:pt x="539" y="730"/>
                    <a:pt x="541" y="729"/>
                    <a:pt x="541" y="715"/>
                  </a:cubicBezTo>
                  <a:cubicBezTo>
                    <a:pt x="541" y="677"/>
                    <a:pt x="541" y="638"/>
                    <a:pt x="540" y="600"/>
                  </a:cubicBezTo>
                  <a:cubicBezTo>
                    <a:pt x="540" y="593"/>
                    <a:pt x="543" y="587"/>
                    <a:pt x="548" y="582"/>
                  </a:cubicBezTo>
                  <a:cubicBezTo>
                    <a:pt x="553" y="576"/>
                    <a:pt x="559" y="573"/>
                    <a:pt x="564" y="569"/>
                  </a:cubicBezTo>
                  <a:cubicBezTo>
                    <a:pt x="574" y="564"/>
                    <a:pt x="594" y="566"/>
                    <a:pt x="602" y="574"/>
                  </a:cubicBezTo>
                  <a:cubicBezTo>
                    <a:pt x="611" y="582"/>
                    <a:pt x="614" y="592"/>
                    <a:pt x="614" y="604"/>
                  </a:cubicBezTo>
                  <a:cubicBezTo>
                    <a:pt x="614" y="638"/>
                    <a:pt x="614" y="672"/>
                    <a:pt x="614" y="706"/>
                  </a:cubicBezTo>
                  <a:cubicBezTo>
                    <a:pt x="614" y="730"/>
                    <a:pt x="614" y="730"/>
                    <a:pt x="638" y="730"/>
                  </a:cubicBezTo>
                  <a:cubicBezTo>
                    <a:pt x="650" y="730"/>
                    <a:pt x="650" y="730"/>
                    <a:pt x="650" y="717"/>
                  </a:cubicBezTo>
                  <a:cubicBezTo>
                    <a:pt x="650" y="684"/>
                    <a:pt x="650" y="650"/>
                    <a:pt x="650" y="617"/>
                  </a:cubicBezTo>
                  <a:cubicBezTo>
                    <a:pt x="650" y="606"/>
                    <a:pt x="651" y="597"/>
                    <a:pt x="657" y="586"/>
                  </a:cubicBezTo>
                  <a:cubicBezTo>
                    <a:pt x="667" y="565"/>
                    <a:pt x="703" y="560"/>
                    <a:pt x="716" y="579"/>
                  </a:cubicBezTo>
                  <a:cubicBezTo>
                    <a:pt x="723" y="588"/>
                    <a:pt x="724" y="598"/>
                    <a:pt x="724" y="609"/>
                  </a:cubicBezTo>
                  <a:cubicBezTo>
                    <a:pt x="724" y="645"/>
                    <a:pt x="724" y="682"/>
                    <a:pt x="724" y="718"/>
                  </a:cubicBezTo>
                  <a:cubicBezTo>
                    <a:pt x="724" y="727"/>
                    <a:pt x="727" y="731"/>
                    <a:pt x="736" y="730"/>
                  </a:cubicBezTo>
                  <a:cubicBezTo>
                    <a:pt x="738" y="730"/>
                    <a:pt x="741" y="730"/>
                    <a:pt x="743" y="730"/>
                  </a:cubicBezTo>
                  <a:cubicBezTo>
                    <a:pt x="758" y="730"/>
                    <a:pt x="759" y="729"/>
                    <a:pt x="759" y="715"/>
                  </a:cubicBezTo>
                  <a:cubicBezTo>
                    <a:pt x="759" y="677"/>
                    <a:pt x="758" y="639"/>
                    <a:pt x="759" y="601"/>
                  </a:cubicBezTo>
                  <a:cubicBezTo>
                    <a:pt x="759" y="571"/>
                    <a:pt x="742" y="540"/>
                    <a:pt x="704" y="538"/>
                  </a:cubicBezTo>
                  <a:cubicBezTo>
                    <a:pt x="681" y="536"/>
                    <a:pt x="661" y="542"/>
                    <a:pt x="646" y="560"/>
                  </a:cubicBezTo>
                  <a:cubicBezTo>
                    <a:pt x="638" y="569"/>
                    <a:pt x="638" y="569"/>
                    <a:pt x="631" y="559"/>
                  </a:cubicBezTo>
                  <a:cubicBezTo>
                    <a:pt x="630" y="558"/>
                    <a:pt x="630" y="557"/>
                    <a:pt x="629" y="556"/>
                  </a:cubicBezTo>
                  <a:cubicBezTo>
                    <a:pt x="623" y="548"/>
                    <a:pt x="616" y="541"/>
                    <a:pt x="607" y="539"/>
                  </a:cubicBezTo>
                  <a:cubicBezTo>
                    <a:pt x="584" y="534"/>
                    <a:pt x="563" y="539"/>
                    <a:pt x="545" y="555"/>
                  </a:cubicBezTo>
                  <a:cubicBezTo>
                    <a:pt x="540" y="559"/>
                    <a:pt x="537" y="561"/>
                    <a:pt x="537" y="552"/>
                  </a:cubicBezTo>
                  <a:cubicBezTo>
                    <a:pt x="536" y="543"/>
                    <a:pt x="526" y="538"/>
                    <a:pt x="515" y="539"/>
                  </a:cubicBezTo>
                  <a:cubicBezTo>
                    <a:pt x="506" y="540"/>
                    <a:pt x="507" y="546"/>
                    <a:pt x="507" y="552"/>
                  </a:cubicBezTo>
                  <a:cubicBezTo>
                    <a:pt x="507" y="580"/>
                    <a:pt x="507" y="607"/>
                    <a:pt x="507" y="634"/>
                  </a:cubicBezTo>
                  <a:cubicBezTo>
                    <a:pt x="507" y="660"/>
                    <a:pt x="507" y="685"/>
                    <a:pt x="507" y="711"/>
                  </a:cubicBezTo>
                  <a:close/>
                  <a:moveTo>
                    <a:pt x="1525" y="1142"/>
                  </a:moveTo>
                  <a:cubicBezTo>
                    <a:pt x="1517" y="1143"/>
                    <a:pt x="1511" y="1141"/>
                    <a:pt x="1505" y="1136"/>
                  </a:cubicBezTo>
                  <a:cubicBezTo>
                    <a:pt x="1501" y="1133"/>
                    <a:pt x="1495" y="1130"/>
                    <a:pt x="1498" y="1124"/>
                  </a:cubicBezTo>
                  <a:cubicBezTo>
                    <a:pt x="1500" y="1118"/>
                    <a:pt x="1504" y="1114"/>
                    <a:pt x="1512" y="1114"/>
                  </a:cubicBezTo>
                  <a:cubicBezTo>
                    <a:pt x="1521" y="1115"/>
                    <a:pt x="1530" y="1114"/>
                    <a:pt x="1538" y="1115"/>
                  </a:cubicBezTo>
                  <a:cubicBezTo>
                    <a:pt x="1573" y="1117"/>
                    <a:pt x="1610" y="1084"/>
                    <a:pt x="1602" y="1044"/>
                  </a:cubicBezTo>
                  <a:cubicBezTo>
                    <a:pt x="1600" y="1035"/>
                    <a:pt x="1599" y="1028"/>
                    <a:pt x="1611" y="1027"/>
                  </a:cubicBezTo>
                  <a:cubicBezTo>
                    <a:pt x="1614" y="1027"/>
                    <a:pt x="1617" y="1024"/>
                    <a:pt x="1619" y="1023"/>
                  </a:cubicBezTo>
                  <a:cubicBezTo>
                    <a:pt x="1626" y="1019"/>
                    <a:pt x="1624" y="1013"/>
                    <a:pt x="1623" y="1008"/>
                  </a:cubicBezTo>
                  <a:cubicBezTo>
                    <a:pt x="1623" y="1002"/>
                    <a:pt x="1618" y="1003"/>
                    <a:pt x="1613" y="1002"/>
                  </a:cubicBezTo>
                  <a:cubicBezTo>
                    <a:pt x="1598" y="1002"/>
                    <a:pt x="1582" y="1004"/>
                    <a:pt x="1567" y="1000"/>
                  </a:cubicBezTo>
                  <a:cubicBezTo>
                    <a:pt x="1560" y="999"/>
                    <a:pt x="1554" y="993"/>
                    <a:pt x="1546" y="993"/>
                  </a:cubicBezTo>
                  <a:cubicBezTo>
                    <a:pt x="1536" y="994"/>
                    <a:pt x="1525" y="992"/>
                    <a:pt x="1515" y="993"/>
                  </a:cubicBezTo>
                  <a:cubicBezTo>
                    <a:pt x="1490" y="997"/>
                    <a:pt x="1469" y="1010"/>
                    <a:pt x="1462" y="1034"/>
                  </a:cubicBezTo>
                  <a:cubicBezTo>
                    <a:pt x="1455" y="1056"/>
                    <a:pt x="1457" y="1079"/>
                    <a:pt x="1476" y="1096"/>
                  </a:cubicBezTo>
                  <a:cubicBezTo>
                    <a:pt x="1483" y="1103"/>
                    <a:pt x="1483" y="1107"/>
                    <a:pt x="1476" y="1113"/>
                  </a:cubicBezTo>
                  <a:cubicBezTo>
                    <a:pt x="1462" y="1126"/>
                    <a:pt x="1462" y="1142"/>
                    <a:pt x="1473" y="1157"/>
                  </a:cubicBezTo>
                  <a:cubicBezTo>
                    <a:pt x="1476" y="1160"/>
                    <a:pt x="1476" y="1162"/>
                    <a:pt x="1472" y="1164"/>
                  </a:cubicBezTo>
                  <a:cubicBezTo>
                    <a:pt x="1470" y="1166"/>
                    <a:pt x="1468" y="1168"/>
                    <a:pt x="1466" y="1170"/>
                  </a:cubicBezTo>
                  <a:cubicBezTo>
                    <a:pt x="1449" y="1183"/>
                    <a:pt x="1444" y="1201"/>
                    <a:pt x="1454" y="1218"/>
                  </a:cubicBezTo>
                  <a:cubicBezTo>
                    <a:pt x="1464" y="1235"/>
                    <a:pt x="1479" y="1246"/>
                    <a:pt x="1499" y="1249"/>
                  </a:cubicBezTo>
                  <a:cubicBezTo>
                    <a:pt x="1517" y="1252"/>
                    <a:pt x="1535" y="1253"/>
                    <a:pt x="1553" y="1250"/>
                  </a:cubicBezTo>
                  <a:cubicBezTo>
                    <a:pt x="1584" y="1245"/>
                    <a:pt x="1607" y="1232"/>
                    <a:pt x="1619" y="1200"/>
                  </a:cubicBezTo>
                  <a:cubicBezTo>
                    <a:pt x="1627" y="1180"/>
                    <a:pt x="1611" y="1155"/>
                    <a:pt x="1593" y="1148"/>
                  </a:cubicBezTo>
                  <a:cubicBezTo>
                    <a:pt x="1578" y="1142"/>
                    <a:pt x="1563" y="1143"/>
                    <a:pt x="1549" y="1142"/>
                  </a:cubicBezTo>
                  <a:cubicBezTo>
                    <a:pt x="1540" y="1142"/>
                    <a:pt x="1532" y="1142"/>
                    <a:pt x="1525" y="1142"/>
                  </a:cubicBezTo>
                  <a:close/>
                  <a:moveTo>
                    <a:pt x="1556" y="1172"/>
                  </a:moveTo>
                  <a:cubicBezTo>
                    <a:pt x="1566" y="1172"/>
                    <a:pt x="1576" y="1176"/>
                    <a:pt x="1583" y="1183"/>
                  </a:cubicBezTo>
                  <a:cubicBezTo>
                    <a:pt x="1589" y="1190"/>
                    <a:pt x="1589" y="1198"/>
                    <a:pt x="1583" y="1205"/>
                  </a:cubicBezTo>
                  <a:cubicBezTo>
                    <a:pt x="1575" y="1215"/>
                    <a:pt x="1565" y="1220"/>
                    <a:pt x="1553" y="1223"/>
                  </a:cubicBezTo>
                  <a:cubicBezTo>
                    <a:pt x="1534" y="1228"/>
                    <a:pt x="1516" y="1225"/>
                    <a:pt x="1499" y="1219"/>
                  </a:cubicBezTo>
                  <a:cubicBezTo>
                    <a:pt x="1486" y="1214"/>
                    <a:pt x="1479" y="1203"/>
                    <a:pt x="1482" y="1193"/>
                  </a:cubicBezTo>
                  <a:cubicBezTo>
                    <a:pt x="1485" y="1182"/>
                    <a:pt x="1496" y="1168"/>
                    <a:pt x="1514" y="1171"/>
                  </a:cubicBezTo>
                  <a:cubicBezTo>
                    <a:pt x="1526" y="1173"/>
                    <a:pt x="1541" y="1171"/>
                    <a:pt x="1556" y="1172"/>
                  </a:cubicBezTo>
                  <a:close/>
                  <a:moveTo>
                    <a:pt x="1531" y="1019"/>
                  </a:moveTo>
                  <a:cubicBezTo>
                    <a:pt x="1553" y="1017"/>
                    <a:pt x="1570" y="1033"/>
                    <a:pt x="1570" y="1052"/>
                  </a:cubicBezTo>
                  <a:cubicBezTo>
                    <a:pt x="1570" y="1075"/>
                    <a:pt x="1554" y="1093"/>
                    <a:pt x="1532" y="1091"/>
                  </a:cubicBezTo>
                  <a:cubicBezTo>
                    <a:pt x="1508" y="1089"/>
                    <a:pt x="1494" y="1082"/>
                    <a:pt x="1493" y="1053"/>
                  </a:cubicBezTo>
                  <a:cubicBezTo>
                    <a:pt x="1494" y="1029"/>
                    <a:pt x="1508" y="1020"/>
                    <a:pt x="1531" y="1019"/>
                  </a:cubicBezTo>
                  <a:close/>
                  <a:moveTo>
                    <a:pt x="1413" y="934"/>
                  </a:moveTo>
                  <a:cubicBezTo>
                    <a:pt x="1413" y="909"/>
                    <a:pt x="1413" y="909"/>
                    <a:pt x="1389" y="910"/>
                  </a:cubicBezTo>
                  <a:cubicBezTo>
                    <a:pt x="1388" y="910"/>
                    <a:pt x="1387" y="910"/>
                    <a:pt x="1387" y="910"/>
                  </a:cubicBezTo>
                  <a:cubicBezTo>
                    <a:pt x="1379" y="910"/>
                    <a:pt x="1376" y="915"/>
                    <a:pt x="1376" y="921"/>
                  </a:cubicBezTo>
                  <a:cubicBezTo>
                    <a:pt x="1376" y="939"/>
                    <a:pt x="1377" y="956"/>
                    <a:pt x="1377" y="974"/>
                  </a:cubicBezTo>
                  <a:cubicBezTo>
                    <a:pt x="1377" y="983"/>
                    <a:pt x="1377" y="991"/>
                    <a:pt x="1377" y="1000"/>
                  </a:cubicBezTo>
                  <a:cubicBezTo>
                    <a:pt x="1377" y="1005"/>
                    <a:pt x="1374" y="1009"/>
                    <a:pt x="1369" y="1005"/>
                  </a:cubicBezTo>
                  <a:cubicBezTo>
                    <a:pt x="1352" y="990"/>
                    <a:pt x="1332" y="993"/>
                    <a:pt x="1312" y="993"/>
                  </a:cubicBezTo>
                  <a:cubicBezTo>
                    <a:pt x="1303" y="994"/>
                    <a:pt x="1294" y="998"/>
                    <a:pt x="1287" y="1003"/>
                  </a:cubicBezTo>
                  <a:cubicBezTo>
                    <a:pt x="1265" y="1017"/>
                    <a:pt x="1252" y="1039"/>
                    <a:pt x="1248" y="1065"/>
                  </a:cubicBezTo>
                  <a:cubicBezTo>
                    <a:pt x="1244" y="1096"/>
                    <a:pt x="1244" y="1128"/>
                    <a:pt x="1261" y="1157"/>
                  </a:cubicBezTo>
                  <a:cubicBezTo>
                    <a:pt x="1270" y="1170"/>
                    <a:pt x="1281" y="1181"/>
                    <a:pt x="1296" y="1185"/>
                  </a:cubicBezTo>
                  <a:cubicBezTo>
                    <a:pt x="1323" y="1191"/>
                    <a:pt x="1349" y="1188"/>
                    <a:pt x="1370" y="1167"/>
                  </a:cubicBezTo>
                  <a:cubicBezTo>
                    <a:pt x="1372" y="1165"/>
                    <a:pt x="1375" y="1162"/>
                    <a:pt x="1379" y="1163"/>
                  </a:cubicBezTo>
                  <a:cubicBezTo>
                    <a:pt x="1382" y="1165"/>
                    <a:pt x="1381" y="1169"/>
                    <a:pt x="1381" y="1172"/>
                  </a:cubicBezTo>
                  <a:cubicBezTo>
                    <a:pt x="1383" y="1181"/>
                    <a:pt x="1390" y="1186"/>
                    <a:pt x="1403" y="1186"/>
                  </a:cubicBezTo>
                  <a:cubicBezTo>
                    <a:pt x="1413" y="1185"/>
                    <a:pt x="1413" y="1178"/>
                    <a:pt x="1413" y="1172"/>
                  </a:cubicBezTo>
                  <a:cubicBezTo>
                    <a:pt x="1413" y="1131"/>
                    <a:pt x="1413" y="1090"/>
                    <a:pt x="1413" y="1049"/>
                  </a:cubicBezTo>
                  <a:cubicBezTo>
                    <a:pt x="1413" y="1010"/>
                    <a:pt x="1413" y="972"/>
                    <a:pt x="1413" y="934"/>
                  </a:cubicBezTo>
                  <a:close/>
                  <a:moveTo>
                    <a:pt x="1378" y="1113"/>
                  </a:moveTo>
                  <a:cubicBezTo>
                    <a:pt x="1378" y="1136"/>
                    <a:pt x="1360" y="1155"/>
                    <a:pt x="1337" y="1157"/>
                  </a:cubicBezTo>
                  <a:cubicBezTo>
                    <a:pt x="1319" y="1159"/>
                    <a:pt x="1304" y="1154"/>
                    <a:pt x="1294" y="1139"/>
                  </a:cubicBezTo>
                  <a:cubicBezTo>
                    <a:pt x="1286" y="1128"/>
                    <a:pt x="1283" y="1116"/>
                    <a:pt x="1283" y="1102"/>
                  </a:cubicBezTo>
                  <a:cubicBezTo>
                    <a:pt x="1282" y="1085"/>
                    <a:pt x="1282" y="1067"/>
                    <a:pt x="1290" y="1051"/>
                  </a:cubicBezTo>
                  <a:cubicBezTo>
                    <a:pt x="1297" y="1036"/>
                    <a:pt x="1308" y="1024"/>
                    <a:pt x="1325" y="1022"/>
                  </a:cubicBezTo>
                  <a:cubicBezTo>
                    <a:pt x="1342" y="1020"/>
                    <a:pt x="1358" y="1021"/>
                    <a:pt x="1371" y="1035"/>
                  </a:cubicBezTo>
                  <a:cubicBezTo>
                    <a:pt x="1376" y="1041"/>
                    <a:pt x="1378" y="1046"/>
                    <a:pt x="1378" y="1052"/>
                  </a:cubicBezTo>
                  <a:cubicBezTo>
                    <a:pt x="1378" y="1064"/>
                    <a:pt x="1378" y="1075"/>
                    <a:pt x="1378" y="1086"/>
                  </a:cubicBezTo>
                  <a:cubicBezTo>
                    <a:pt x="1378" y="1086"/>
                    <a:pt x="1378" y="1086"/>
                    <a:pt x="1378" y="1086"/>
                  </a:cubicBezTo>
                  <a:cubicBezTo>
                    <a:pt x="1378" y="1095"/>
                    <a:pt x="1378" y="1104"/>
                    <a:pt x="1378" y="1113"/>
                  </a:cubicBezTo>
                  <a:close/>
                  <a:moveTo>
                    <a:pt x="578" y="259"/>
                  </a:moveTo>
                  <a:cubicBezTo>
                    <a:pt x="603" y="241"/>
                    <a:pt x="611" y="213"/>
                    <a:pt x="614" y="183"/>
                  </a:cubicBezTo>
                  <a:cubicBezTo>
                    <a:pt x="615" y="171"/>
                    <a:pt x="610" y="159"/>
                    <a:pt x="609" y="147"/>
                  </a:cubicBezTo>
                  <a:cubicBezTo>
                    <a:pt x="608" y="137"/>
                    <a:pt x="603" y="129"/>
                    <a:pt x="599" y="121"/>
                  </a:cubicBezTo>
                  <a:cubicBezTo>
                    <a:pt x="579" y="87"/>
                    <a:pt x="527" y="70"/>
                    <a:pt x="488" y="85"/>
                  </a:cubicBezTo>
                  <a:cubicBezTo>
                    <a:pt x="453" y="99"/>
                    <a:pt x="436" y="127"/>
                    <a:pt x="431" y="163"/>
                  </a:cubicBezTo>
                  <a:cubicBezTo>
                    <a:pt x="429" y="180"/>
                    <a:pt x="430" y="196"/>
                    <a:pt x="436" y="213"/>
                  </a:cubicBezTo>
                  <a:cubicBezTo>
                    <a:pt x="439" y="222"/>
                    <a:pt x="442" y="232"/>
                    <a:pt x="447" y="239"/>
                  </a:cubicBezTo>
                  <a:cubicBezTo>
                    <a:pt x="465" y="265"/>
                    <a:pt x="491" y="277"/>
                    <a:pt x="525" y="276"/>
                  </a:cubicBezTo>
                  <a:cubicBezTo>
                    <a:pt x="543" y="278"/>
                    <a:pt x="562" y="271"/>
                    <a:pt x="578" y="259"/>
                  </a:cubicBezTo>
                  <a:close/>
                  <a:moveTo>
                    <a:pt x="471" y="205"/>
                  </a:moveTo>
                  <a:cubicBezTo>
                    <a:pt x="466" y="185"/>
                    <a:pt x="468" y="167"/>
                    <a:pt x="472" y="147"/>
                  </a:cubicBezTo>
                  <a:cubicBezTo>
                    <a:pt x="477" y="130"/>
                    <a:pt x="493" y="116"/>
                    <a:pt x="509" y="112"/>
                  </a:cubicBezTo>
                  <a:cubicBezTo>
                    <a:pt x="525" y="108"/>
                    <a:pt x="539" y="110"/>
                    <a:pt x="553" y="119"/>
                  </a:cubicBezTo>
                  <a:cubicBezTo>
                    <a:pt x="563" y="125"/>
                    <a:pt x="568" y="135"/>
                    <a:pt x="571" y="146"/>
                  </a:cubicBezTo>
                  <a:cubicBezTo>
                    <a:pt x="577" y="167"/>
                    <a:pt x="578" y="189"/>
                    <a:pt x="571" y="211"/>
                  </a:cubicBezTo>
                  <a:cubicBezTo>
                    <a:pt x="565" y="231"/>
                    <a:pt x="549" y="249"/>
                    <a:pt x="521" y="247"/>
                  </a:cubicBezTo>
                  <a:cubicBezTo>
                    <a:pt x="496" y="247"/>
                    <a:pt x="478" y="230"/>
                    <a:pt x="471" y="205"/>
                  </a:cubicBezTo>
                  <a:close/>
                  <a:moveTo>
                    <a:pt x="472" y="1122"/>
                  </a:moveTo>
                  <a:cubicBezTo>
                    <a:pt x="475" y="1136"/>
                    <a:pt x="481" y="1148"/>
                    <a:pt x="491" y="1158"/>
                  </a:cubicBezTo>
                  <a:cubicBezTo>
                    <a:pt x="506" y="1176"/>
                    <a:pt x="524" y="1185"/>
                    <a:pt x="548" y="1187"/>
                  </a:cubicBezTo>
                  <a:cubicBezTo>
                    <a:pt x="568" y="1188"/>
                    <a:pt x="587" y="1187"/>
                    <a:pt x="605" y="1177"/>
                  </a:cubicBezTo>
                  <a:cubicBezTo>
                    <a:pt x="632" y="1162"/>
                    <a:pt x="644" y="1136"/>
                    <a:pt x="649" y="1107"/>
                  </a:cubicBezTo>
                  <a:cubicBezTo>
                    <a:pt x="652" y="1089"/>
                    <a:pt x="649" y="1072"/>
                    <a:pt x="644" y="1054"/>
                  </a:cubicBezTo>
                  <a:cubicBezTo>
                    <a:pt x="638" y="1034"/>
                    <a:pt x="627" y="1019"/>
                    <a:pt x="610" y="1007"/>
                  </a:cubicBezTo>
                  <a:cubicBezTo>
                    <a:pt x="589" y="992"/>
                    <a:pt x="566" y="991"/>
                    <a:pt x="541" y="994"/>
                  </a:cubicBezTo>
                  <a:cubicBezTo>
                    <a:pt x="526" y="995"/>
                    <a:pt x="512" y="1002"/>
                    <a:pt x="500" y="1012"/>
                  </a:cubicBezTo>
                  <a:cubicBezTo>
                    <a:pt x="476" y="1032"/>
                    <a:pt x="469" y="1060"/>
                    <a:pt x="466" y="1095"/>
                  </a:cubicBezTo>
                  <a:cubicBezTo>
                    <a:pt x="465" y="1101"/>
                    <a:pt x="470" y="1111"/>
                    <a:pt x="472" y="1122"/>
                  </a:cubicBezTo>
                  <a:close/>
                  <a:moveTo>
                    <a:pt x="508" y="1113"/>
                  </a:moveTo>
                  <a:cubicBezTo>
                    <a:pt x="505" y="1095"/>
                    <a:pt x="506" y="1078"/>
                    <a:pt x="508" y="1061"/>
                  </a:cubicBezTo>
                  <a:cubicBezTo>
                    <a:pt x="511" y="1042"/>
                    <a:pt x="538" y="1021"/>
                    <a:pt x="554" y="1022"/>
                  </a:cubicBezTo>
                  <a:cubicBezTo>
                    <a:pt x="570" y="1022"/>
                    <a:pt x="586" y="1024"/>
                    <a:pt x="596" y="1037"/>
                  </a:cubicBezTo>
                  <a:cubicBezTo>
                    <a:pt x="602" y="1044"/>
                    <a:pt x="607" y="1052"/>
                    <a:pt x="608" y="1061"/>
                  </a:cubicBezTo>
                  <a:cubicBezTo>
                    <a:pt x="608" y="1064"/>
                    <a:pt x="609" y="1067"/>
                    <a:pt x="610" y="1070"/>
                  </a:cubicBezTo>
                  <a:cubicBezTo>
                    <a:pt x="618" y="1089"/>
                    <a:pt x="612" y="1107"/>
                    <a:pt x="607" y="1125"/>
                  </a:cubicBezTo>
                  <a:cubicBezTo>
                    <a:pt x="601" y="1143"/>
                    <a:pt x="588" y="1160"/>
                    <a:pt x="558" y="1157"/>
                  </a:cubicBezTo>
                  <a:cubicBezTo>
                    <a:pt x="530" y="1157"/>
                    <a:pt x="512" y="1141"/>
                    <a:pt x="508" y="1113"/>
                  </a:cubicBezTo>
                  <a:close/>
                  <a:moveTo>
                    <a:pt x="430" y="716"/>
                  </a:moveTo>
                  <a:cubicBezTo>
                    <a:pt x="450" y="703"/>
                    <a:pt x="459" y="683"/>
                    <a:pt x="464" y="661"/>
                  </a:cubicBezTo>
                  <a:cubicBezTo>
                    <a:pt x="468" y="648"/>
                    <a:pt x="467" y="635"/>
                    <a:pt x="466" y="621"/>
                  </a:cubicBezTo>
                  <a:cubicBezTo>
                    <a:pt x="463" y="592"/>
                    <a:pt x="453" y="567"/>
                    <a:pt x="427" y="550"/>
                  </a:cubicBezTo>
                  <a:cubicBezTo>
                    <a:pt x="401" y="534"/>
                    <a:pt x="372" y="532"/>
                    <a:pt x="345" y="541"/>
                  </a:cubicBezTo>
                  <a:cubicBezTo>
                    <a:pt x="310" y="552"/>
                    <a:pt x="291" y="580"/>
                    <a:pt x="287" y="617"/>
                  </a:cubicBezTo>
                  <a:cubicBezTo>
                    <a:pt x="286" y="629"/>
                    <a:pt x="286" y="641"/>
                    <a:pt x="287" y="654"/>
                  </a:cubicBezTo>
                  <a:cubicBezTo>
                    <a:pt x="289" y="671"/>
                    <a:pt x="295" y="686"/>
                    <a:pt x="306" y="700"/>
                  </a:cubicBezTo>
                  <a:cubicBezTo>
                    <a:pt x="324" y="722"/>
                    <a:pt x="348" y="733"/>
                    <a:pt x="378" y="731"/>
                  </a:cubicBezTo>
                  <a:cubicBezTo>
                    <a:pt x="396" y="733"/>
                    <a:pt x="414" y="727"/>
                    <a:pt x="430" y="716"/>
                  </a:cubicBezTo>
                  <a:close/>
                  <a:moveTo>
                    <a:pt x="331" y="592"/>
                  </a:moveTo>
                  <a:cubicBezTo>
                    <a:pt x="339" y="580"/>
                    <a:pt x="349" y="569"/>
                    <a:pt x="365" y="567"/>
                  </a:cubicBezTo>
                  <a:cubicBezTo>
                    <a:pt x="387" y="564"/>
                    <a:pt x="406" y="568"/>
                    <a:pt x="419" y="588"/>
                  </a:cubicBezTo>
                  <a:cubicBezTo>
                    <a:pt x="423" y="595"/>
                    <a:pt x="426" y="603"/>
                    <a:pt x="427" y="610"/>
                  </a:cubicBezTo>
                  <a:cubicBezTo>
                    <a:pt x="433" y="635"/>
                    <a:pt x="431" y="661"/>
                    <a:pt x="416" y="684"/>
                  </a:cubicBezTo>
                  <a:cubicBezTo>
                    <a:pt x="403" y="706"/>
                    <a:pt x="362" y="708"/>
                    <a:pt x="345" y="692"/>
                  </a:cubicBezTo>
                  <a:cubicBezTo>
                    <a:pt x="329" y="678"/>
                    <a:pt x="323" y="661"/>
                    <a:pt x="323" y="631"/>
                  </a:cubicBezTo>
                  <a:cubicBezTo>
                    <a:pt x="323" y="619"/>
                    <a:pt x="323" y="605"/>
                    <a:pt x="331" y="592"/>
                  </a:cubicBezTo>
                  <a:close/>
                  <a:moveTo>
                    <a:pt x="1073" y="259"/>
                  </a:moveTo>
                  <a:cubicBezTo>
                    <a:pt x="1073" y="269"/>
                    <a:pt x="1075" y="272"/>
                    <a:pt x="1086" y="272"/>
                  </a:cubicBezTo>
                  <a:cubicBezTo>
                    <a:pt x="1088" y="272"/>
                    <a:pt x="1090" y="272"/>
                    <a:pt x="1092" y="272"/>
                  </a:cubicBezTo>
                  <a:cubicBezTo>
                    <a:pt x="1105" y="272"/>
                    <a:pt x="1106" y="271"/>
                    <a:pt x="1106" y="258"/>
                  </a:cubicBezTo>
                  <a:cubicBezTo>
                    <a:pt x="1106" y="221"/>
                    <a:pt x="1106" y="184"/>
                    <a:pt x="1106" y="147"/>
                  </a:cubicBezTo>
                  <a:cubicBezTo>
                    <a:pt x="1106" y="143"/>
                    <a:pt x="1106" y="140"/>
                    <a:pt x="1107" y="137"/>
                  </a:cubicBezTo>
                  <a:cubicBezTo>
                    <a:pt x="1117" y="117"/>
                    <a:pt x="1157" y="104"/>
                    <a:pt x="1177" y="114"/>
                  </a:cubicBezTo>
                  <a:cubicBezTo>
                    <a:pt x="1179" y="115"/>
                    <a:pt x="1180" y="117"/>
                    <a:pt x="1182" y="118"/>
                  </a:cubicBezTo>
                  <a:cubicBezTo>
                    <a:pt x="1194" y="131"/>
                    <a:pt x="1196" y="147"/>
                    <a:pt x="1196" y="163"/>
                  </a:cubicBezTo>
                  <a:cubicBezTo>
                    <a:pt x="1197" y="195"/>
                    <a:pt x="1196" y="226"/>
                    <a:pt x="1196" y="258"/>
                  </a:cubicBezTo>
                  <a:cubicBezTo>
                    <a:pt x="1196" y="271"/>
                    <a:pt x="1197" y="272"/>
                    <a:pt x="1210" y="272"/>
                  </a:cubicBezTo>
                  <a:cubicBezTo>
                    <a:pt x="1212" y="272"/>
                    <a:pt x="1213" y="272"/>
                    <a:pt x="1215" y="272"/>
                  </a:cubicBezTo>
                  <a:cubicBezTo>
                    <a:pt x="1227" y="272"/>
                    <a:pt x="1229" y="270"/>
                    <a:pt x="1229" y="258"/>
                  </a:cubicBezTo>
                  <a:cubicBezTo>
                    <a:pt x="1229" y="222"/>
                    <a:pt x="1229" y="187"/>
                    <a:pt x="1229" y="151"/>
                  </a:cubicBezTo>
                  <a:cubicBezTo>
                    <a:pt x="1229" y="142"/>
                    <a:pt x="1228" y="132"/>
                    <a:pt x="1225" y="123"/>
                  </a:cubicBezTo>
                  <a:cubicBezTo>
                    <a:pt x="1219" y="105"/>
                    <a:pt x="1208" y="91"/>
                    <a:pt x="1189" y="85"/>
                  </a:cubicBezTo>
                  <a:cubicBezTo>
                    <a:pt x="1173" y="80"/>
                    <a:pt x="1156" y="84"/>
                    <a:pt x="1139" y="84"/>
                  </a:cubicBezTo>
                  <a:cubicBezTo>
                    <a:pt x="1137" y="84"/>
                    <a:pt x="1136" y="86"/>
                    <a:pt x="1134" y="87"/>
                  </a:cubicBezTo>
                  <a:cubicBezTo>
                    <a:pt x="1128" y="91"/>
                    <a:pt x="1121" y="96"/>
                    <a:pt x="1115" y="100"/>
                  </a:cubicBezTo>
                  <a:cubicBezTo>
                    <a:pt x="1113" y="102"/>
                    <a:pt x="1111" y="105"/>
                    <a:pt x="1108" y="103"/>
                  </a:cubicBezTo>
                  <a:cubicBezTo>
                    <a:pt x="1105" y="102"/>
                    <a:pt x="1106" y="98"/>
                    <a:pt x="1106" y="96"/>
                  </a:cubicBezTo>
                  <a:cubicBezTo>
                    <a:pt x="1106" y="69"/>
                    <a:pt x="1106" y="43"/>
                    <a:pt x="1106" y="17"/>
                  </a:cubicBezTo>
                  <a:cubicBezTo>
                    <a:pt x="1106" y="0"/>
                    <a:pt x="1106" y="0"/>
                    <a:pt x="1089" y="0"/>
                  </a:cubicBezTo>
                  <a:cubicBezTo>
                    <a:pt x="1074" y="0"/>
                    <a:pt x="1073" y="1"/>
                    <a:pt x="1073" y="16"/>
                  </a:cubicBezTo>
                  <a:cubicBezTo>
                    <a:pt x="1073" y="56"/>
                    <a:pt x="1073" y="96"/>
                    <a:pt x="1073" y="136"/>
                  </a:cubicBezTo>
                  <a:cubicBezTo>
                    <a:pt x="1073" y="177"/>
                    <a:pt x="1073" y="218"/>
                    <a:pt x="1073" y="259"/>
                  </a:cubicBezTo>
                  <a:close/>
                  <a:moveTo>
                    <a:pt x="1150" y="1092"/>
                  </a:moveTo>
                  <a:cubicBezTo>
                    <a:pt x="1168" y="1092"/>
                    <a:pt x="1186" y="1092"/>
                    <a:pt x="1204" y="1092"/>
                  </a:cubicBezTo>
                  <a:cubicBezTo>
                    <a:pt x="1215" y="1092"/>
                    <a:pt x="1218" y="1087"/>
                    <a:pt x="1219" y="1077"/>
                  </a:cubicBezTo>
                  <a:cubicBezTo>
                    <a:pt x="1220" y="1062"/>
                    <a:pt x="1216" y="1049"/>
                    <a:pt x="1210" y="1036"/>
                  </a:cubicBezTo>
                  <a:cubicBezTo>
                    <a:pt x="1204" y="1020"/>
                    <a:pt x="1193" y="1008"/>
                    <a:pt x="1177" y="1001"/>
                  </a:cubicBezTo>
                  <a:cubicBezTo>
                    <a:pt x="1155" y="992"/>
                    <a:pt x="1133" y="991"/>
                    <a:pt x="1109" y="999"/>
                  </a:cubicBezTo>
                  <a:cubicBezTo>
                    <a:pt x="1079" y="1010"/>
                    <a:pt x="1062" y="1031"/>
                    <a:pt x="1056" y="1061"/>
                  </a:cubicBezTo>
                  <a:cubicBezTo>
                    <a:pt x="1051" y="1090"/>
                    <a:pt x="1052" y="1120"/>
                    <a:pt x="1069" y="1148"/>
                  </a:cubicBezTo>
                  <a:cubicBezTo>
                    <a:pt x="1081" y="1169"/>
                    <a:pt x="1100" y="1180"/>
                    <a:pt x="1122" y="1185"/>
                  </a:cubicBezTo>
                  <a:cubicBezTo>
                    <a:pt x="1149" y="1190"/>
                    <a:pt x="1176" y="1186"/>
                    <a:pt x="1200" y="1171"/>
                  </a:cubicBezTo>
                  <a:cubicBezTo>
                    <a:pt x="1206" y="1168"/>
                    <a:pt x="1213" y="1165"/>
                    <a:pt x="1214" y="1157"/>
                  </a:cubicBezTo>
                  <a:cubicBezTo>
                    <a:pt x="1215" y="1147"/>
                    <a:pt x="1202" y="1139"/>
                    <a:pt x="1193" y="1144"/>
                  </a:cubicBezTo>
                  <a:cubicBezTo>
                    <a:pt x="1187" y="1147"/>
                    <a:pt x="1180" y="1150"/>
                    <a:pt x="1174" y="1153"/>
                  </a:cubicBezTo>
                  <a:cubicBezTo>
                    <a:pt x="1158" y="1161"/>
                    <a:pt x="1140" y="1161"/>
                    <a:pt x="1124" y="1155"/>
                  </a:cubicBezTo>
                  <a:cubicBezTo>
                    <a:pt x="1112" y="1151"/>
                    <a:pt x="1102" y="1142"/>
                    <a:pt x="1096" y="1129"/>
                  </a:cubicBezTo>
                  <a:cubicBezTo>
                    <a:pt x="1092" y="1121"/>
                    <a:pt x="1091" y="1112"/>
                    <a:pt x="1089" y="1104"/>
                  </a:cubicBezTo>
                  <a:cubicBezTo>
                    <a:pt x="1087" y="1093"/>
                    <a:pt x="1087" y="1092"/>
                    <a:pt x="1099" y="1092"/>
                  </a:cubicBezTo>
                  <a:cubicBezTo>
                    <a:pt x="1116" y="1092"/>
                    <a:pt x="1133" y="1092"/>
                    <a:pt x="1150" y="1092"/>
                  </a:cubicBezTo>
                  <a:cubicBezTo>
                    <a:pt x="1150" y="1092"/>
                    <a:pt x="1150" y="1092"/>
                    <a:pt x="1150" y="1092"/>
                  </a:cubicBezTo>
                  <a:close/>
                  <a:moveTo>
                    <a:pt x="1099" y="1070"/>
                  </a:moveTo>
                  <a:cubicBezTo>
                    <a:pt x="1092" y="1071"/>
                    <a:pt x="1089" y="1067"/>
                    <a:pt x="1091" y="1060"/>
                  </a:cubicBezTo>
                  <a:cubicBezTo>
                    <a:pt x="1094" y="1045"/>
                    <a:pt x="1108" y="1023"/>
                    <a:pt x="1128" y="1022"/>
                  </a:cubicBezTo>
                  <a:cubicBezTo>
                    <a:pt x="1142" y="1021"/>
                    <a:pt x="1156" y="1018"/>
                    <a:pt x="1168" y="1029"/>
                  </a:cubicBezTo>
                  <a:cubicBezTo>
                    <a:pt x="1181" y="1038"/>
                    <a:pt x="1185" y="1051"/>
                    <a:pt x="1187" y="1066"/>
                  </a:cubicBezTo>
                  <a:cubicBezTo>
                    <a:pt x="1188" y="1071"/>
                    <a:pt x="1183" y="1070"/>
                    <a:pt x="1180" y="1070"/>
                  </a:cubicBezTo>
                  <a:cubicBezTo>
                    <a:pt x="1166" y="1070"/>
                    <a:pt x="1153" y="1070"/>
                    <a:pt x="1139" y="1070"/>
                  </a:cubicBezTo>
                  <a:cubicBezTo>
                    <a:pt x="1139" y="1070"/>
                    <a:pt x="1139" y="1070"/>
                    <a:pt x="1139" y="1070"/>
                  </a:cubicBezTo>
                  <a:cubicBezTo>
                    <a:pt x="1126" y="1070"/>
                    <a:pt x="1113" y="1070"/>
                    <a:pt x="1099" y="1070"/>
                  </a:cubicBezTo>
                  <a:close/>
                  <a:moveTo>
                    <a:pt x="1741" y="1092"/>
                  </a:moveTo>
                  <a:cubicBezTo>
                    <a:pt x="1759" y="1092"/>
                    <a:pt x="1776" y="1092"/>
                    <a:pt x="1793" y="1092"/>
                  </a:cubicBezTo>
                  <a:cubicBezTo>
                    <a:pt x="1806" y="1092"/>
                    <a:pt x="1808" y="1089"/>
                    <a:pt x="1808" y="1076"/>
                  </a:cubicBezTo>
                  <a:cubicBezTo>
                    <a:pt x="1809" y="1063"/>
                    <a:pt x="1807" y="1051"/>
                    <a:pt x="1802" y="1038"/>
                  </a:cubicBezTo>
                  <a:cubicBezTo>
                    <a:pt x="1794" y="1021"/>
                    <a:pt x="1782" y="1008"/>
                    <a:pt x="1764" y="1000"/>
                  </a:cubicBezTo>
                  <a:cubicBezTo>
                    <a:pt x="1742" y="991"/>
                    <a:pt x="1720" y="991"/>
                    <a:pt x="1698" y="1000"/>
                  </a:cubicBezTo>
                  <a:cubicBezTo>
                    <a:pt x="1681" y="1006"/>
                    <a:pt x="1668" y="1016"/>
                    <a:pt x="1659" y="1031"/>
                  </a:cubicBezTo>
                  <a:cubicBezTo>
                    <a:pt x="1646" y="1050"/>
                    <a:pt x="1643" y="1071"/>
                    <a:pt x="1644" y="1094"/>
                  </a:cubicBezTo>
                  <a:cubicBezTo>
                    <a:pt x="1644" y="1110"/>
                    <a:pt x="1647" y="1127"/>
                    <a:pt x="1655" y="1141"/>
                  </a:cubicBezTo>
                  <a:cubicBezTo>
                    <a:pt x="1669" y="1168"/>
                    <a:pt x="1691" y="1183"/>
                    <a:pt x="1722" y="1186"/>
                  </a:cubicBezTo>
                  <a:cubicBezTo>
                    <a:pt x="1750" y="1188"/>
                    <a:pt x="1775" y="1183"/>
                    <a:pt x="1798" y="1165"/>
                  </a:cubicBezTo>
                  <a:cubicBezTo>
                    <a:pt x="1803" y="1161"/>
                    <a:pt x="1806" y="1157"/>
                    <a:pt x="1802" y="1151"/>
                  </a:cubicBezTo>
                  <a:cubicBezTo>
                    <a:pt x="1798" y="1144"/>
                    <a:pt x="1791" y="1140"/>
                    <a:pt x="1783" y="1144"/>
                  </a:cubicBezTo>
                  <a:cubicBezTo>
                    <a:pt x="1778" y="1147"/>
                    <a:pt x="1771" y="1149"/>
                    <a:pt x="1766" y="1152"/>
                  </a:cubicBezTo>
                  <a:cubicBezTo>
                    <a:pt x="1749" y="1161"/>
                    <a:pt x="1730" y="1162"/>
                    <a:pt x="1714" y="1155"/>
                  </a:cubicBezTo>
                  <a:cubicBezTo>
                    <a:pt x="1692" y="1145"/>
                    <a:pt x="1680" y="1127"/>
                    <a:pt x="1679" y="1102"/>
                  </a:cubicBezTo>
                  <a:cubicBezTo>
                    <a:pt x="1678" y="1095"/>
                    <a:pt x="1681" y="1092"/>
                    <a:pt x="1689" y="1092"/>
                  </a:cubicBezTo>
                  <a:cubicBezTo>
                    <a:pt x="1706" y="1092"/>
                    <a:pt x="1724" y="1092"/>
                    <a:pt x="1741" y="1092"/>
                  </a:cubicBezTo>
                  <a:cubicBezTo>
                    <a:pt x="1741" y="1092"/>
                    <a:pt x="1741" y="1092"/>
                    <a:pt x="1741" y="1092"/>
                  </a:cubicBezTo>
                  <a:close/>
                  <a:moveTo>
                    <a:pt x="1690" y="1070"/>
                  </a:moveTo>
                  <a:cubicBezTo>
                    <a:pt x="1683" y="1071"/>
                    <a:pt x="1680" y="1068"/>
                    <a:pt x="1681" y="1062"/>
                  </a:cubicBezTo>
                  <a:cubicBezTo>
                    <a:pt x="1683" y="1048"/>
                    <a:pt x="1697" y="1024"/>
                    <a:pt x="1716" y="1022"/>
                  </a:cubicBezTo>
                  <a:cubicBezTo>
                    <a:pt x="1731" y="1020"/>
                    <a:pt x="1747" y="1018"/>
                    <a:pt x="1760" y="1030"/>
                  </a:cubicBezTo>
                  <a:cubicBezTo>
                    <a:pt x="1771" y="1038"/>
                    <a:pt x="1775" y="1050"/>
                    <a:pt x="1778" y="1062"/>
                  </a:cubicBezTo>
                  <a:cubicBezTo>
                    <a:pt x="1780" y="1068"/>
                    <a:pt x="1775" y="1070"/>
                    <a:pt x="1769" y="1070"/>
                  </a:cubicBezTo>
                  <a:cubicBezTo>
                    <a:pt x="1756" y="1070"/>
                    <a:pt x="1742" y="1070"/>
                    <a:pt x="1729" y="1070"/>
                  </a:cubicBezTo>
                  <a:cubicBezTo>
                    <a:pt x="1729" y="1070"/>
                    <a:pt x="1729" y="1070"/>
                    <a:pt x="1729" y="1070"/>
                  </a:cubicBezTo>
                  <a:cubicBezTo>
                    <a:pt x="1716" y="1070"/>
                    <a:pt x="1703" y="1070"/>
                    <a:pt x="1690" y="1070"/>
                  </a:cubicBezTo>
                  <a:close/>
                  <a:moveTo>
                    <a:pt x="68" y="581"/>
                  </a:moveTo>
                  <a:cubicBezTo>
                    <a:pt x="68" y="573"/>
                    <a:pt x="70" y="568"/>
                    <a:pt x="80" y="569"/>
                  </a:cubicBezTo>
                  <a:cubicBezTo>
                    <a:pt x="90" y="570"/>
                    <a:pt x="101" y="570"/>
                    <a:pt x="111" y="569"/>
                  </a:cubicBezTo>
                  <a:cubicBezTo>
                    <a:pt x="120" y="569"/>
                    <a:pt x="120" y="563"/>
                    <a:pt x="120" y="556"/>
                  </a:cubicBezTo>
                  <a:cubicBezTo>
                    <a:pt x="120" y="549"/>
                    <a:pt x="119" y="544"/>
                    <a:pt x="111" y="544"/>
                  </a:cubicBezTo>
                  <a:cubicBezTo>
                    <a:pt x="104" y="544"/>
                    <a:pt x="97" y="544"/>
                    <a:pt x="91" y="544"/>
                  </a:cubicBezTo>
                  <a:cubicBezTo>
                    <a:pt x="66" y="544"/>
                    <a:pt x="65" y="543"/>
                    <a:pt x="68" y="518"/>
                  </a:cubicBezTo>
                  <a:cubicBezTo>
                    <a:pt x="69" y="504"/>
                    <a:pt x="83" y="487"/>
                    <a:pt x="99" y="489"/>
                  </a:cubicBezTo>
                  <a:cubicBezTo>
                    <a:pt x="103" y="489"/>
                    <a:pt x="107" y="489"/>
                    <a:pt x="110" y="488"/>
                  </a:cubicBezTo>
                  <a:cubicBezTo>
                    <a:pt x="118" y="487"/>
                    <a:pt x="123" y="479"/>
                    <a:pt x="123" y="471"/>
                  </a:cubicBezTo>
                  <a:cubicBezTo>
                    <a:pt x="123" y="461"/>
                    <a:pt x="116" y="462"/>
                    <a:pt x="109" y="460"/>
                  </a:cubicBezTo>
                  <a:cubicBezTo>
                    <a:pt x="100" y="458"/>
                    <a:pt x="92" y="460"/>
                    <a:pt x="84" y="460"/>
                  </a:cubicBezTo>
                  <a:cubicBezTo>
                    <a:pt x="68" y="461"/>
                    <a:pt x="56" y="469"/>
                    <a:pt x="47" y="480"/>
                  </a:cubicBezTo>
                  <a:cubicBezTo>
                    <a:pt x="34" y="493"/>
                    <a:pt x="32" y="511"/>
                    <a:pt x="32" y="529"/>
                  </a:cubicBezTo>
                  <a:cubicBezTo>
                    <a:pt x="32" y="544"/>
                    <a:pt x="32" y="544"/>
                    <a:pt x="17" y="544"/>
                  </a:cubicBezTo>
                  <a:cubicBezTo>
                    <a:pt x="4" y="543"/>
                    <a:pt x="0" y="548"/>
                    <a:pt x="4" y="561"/>
                  </a:cubicBezTo>
                  <a:cubicBezTo>
                    <a:pt x="6" y="569"/>
                    <a:pt x="13" y="568"/>
                    <a:pt x="19" y="569"/>
                  </a:cubicBezTo>
                  <a:cubicBezTo>
                    <a:pt x="32" y="571"/>
                    <a:pt x="32" y="571"/>
                    <a:pt x="32" y="584"/>
                  </a:cubicBezTo>
                  <a:cubicBezTo>
                    <a:pt x="32" y="624"/>
                    <a:pt x="32" y="664"/>
                    <a:pt x="32" y="704"/>
                  </a:cubicBezTo>
                  <a:cubicBezTo>
                    <a:pt x="32" y="731"/>
                    <a:pt x="32" y="730"/>
                    <a:pt x="57" y="731"/>
                  </a:cubicBezTo>
                  <a:cubicBezTo>
                    <a:pt x="66" y="731"/>
                    <a:pt x="68" y="727"/>
                    <a:pt x="68" y="720"/>
                  </a:cubicBezTo>
                  <a:cubicBezTo>
                    <a:pt x="68" y="697"/>
                    <a:pt x="68" y="674"/>
                    <a:pt x="68" y="651"/>
                  </a:cubicBezTo>
                  <a:cubicBezTo>
                    <a:pt x="68" y="628"/>
                    <a:pt x="68" y="605"/>
                    <a:pt x="68" y="581"/>
                  </a:cubicBezTo>
                  <a:close/>
                  <a:moveTo>
                    <a:pt x="278" y="1165"/>
                  </a:moveTo>
                  <a:cubicBezTo>
                    <a:pt x="278" y="1183"/>
                    <a:pt x="278" y="1183"/>
                    <a:pt x="296" y="1184"/>
                  </a:cubicBezTo>
                  <a:cubicBezTo>
                    <a:pt x="310" y="1184"/>
                    <a:pt x="310" y="1184"/>
                    <a:pt x="310" y="1169"/>
                  </a:cubicBezTo>
                  <a:cubicBezTo>
                    <a:pt x="310" y="1132"/>
                    <a:pt x="310" y="1095"/>
                    <a:pt x="310" y="1058"/>
                  </a:cubicBezTo>
                  <a:cubicBezTo>
                    <a:pt x="310" y="1052"/>
                    <a:pt x="312" y="1047"/>
                    <a:pt x="316" y="1042"/>
                  </a:cubicBezTo>
                  <a:cubicBezTo>
                    <a:pt x="324" y="1033"/>
                    <a:pt x="334" y="1027"/>
                    <a:pt x="345" y="1024"/>
                  </a:cubicBezTo>
                  <a:cubicBezTo>
                    <a:pt x="357" y="1020"/>
                    <a:pt x="371" y="1018"/>
                    <a:pt x="383" y="1028"/>
                  </a:cubicBezTo>
                  <a:cubicBezTo>
                    <a:pt x="397" y="1039"/>
                    <a:pt x="401" y="1054"/>
                    <a:pt x="401" y="1071"/>
                  </a:cubicBezTo>
                  <a:cubicBezTo>
                    <a:pt x="401" y="1102"/>
                    <a:pt x="401" y="1132"/>
                    <a:pt x="401" y="1163"/>
                  </a:cubicBezTo>
                  <a:cubicBezTo>
                    <a:pt x="401" y="1183"/>
                    <a:pt x="401" y="1182"/>
                    <a:pt x="420" y="1184"/>
                  </a:cubicBezTo>
                  <a:cubicBezTo>
                    <a:pt x="429" y="1185"/>
                    <a:pt x="433" y="1181"/>
                    <a:pt x="433" y="1173"/>
                  </a:cubicBezTo>
                  <a:cubicBezTo>
                    <a:pt x="432" y="1130"/>
                    <a:pt x="435" y="1087"/>
                    <a:pt x="431" y="1044"/>
                  </a:cubicBezTo>
                  <a:cubicBezTo>
                    <a:pt x="427" y="1014"/>
                    <a:pt x="404" y="996"/>
                    <a:pt x="376" y="994"/>
                  </a:cubicBezTo>
                  <a:cubicBezTo>
                    <a:pt x="353" y="992"/>
                    <a:pt x="333" y="1000"/>
                    <a:pt x="317" y="1017"/>
                  </a:cubicBezTo>
                  <a:cubicBezTo>
                    <a:pt x="312" y="1021"/>
                    <a:pt x="311" y="1019"/>
                    <a:pt x="309" y="1015"/>
                  </a:cubicBezTo>
                  <a:cubicBezTo>
                    <a:pt x="309" y="1013"/>
                    <a:pt x="308" y="1011"/>
                    <a:pt x="308" y="1008"/>
                  </a:cubicBezTo>
                  <a:cubicBezTo>
                    <a:pt x="306" y="1001"/>
                    <a:pt x="298" y="997"/>
                    <a:pt x="287" y="998"/>
                  </a:cubicBezTo>
                  <a:cubicBezTo>
                    <a:pt x="279" y="999"/>
                    <a:pt x="278" y="1004"/>
                    <a:pt x="278" y="1011"/>
                  </a:cubicBezTo>
                  <a:cubicBezTo>
                    <a:pt x="278" y="1037"/>
                    <a:pt x="278" y="1064"/>
                    <a:pt x="278" y="1091"/>
                  </a:cubicBezTo>
                  <a:cubicBezTo>
                    <a:pt x="278" y="1115"/>
                    <a:pt x="278" y="1140"/>
                    <a:pt x="278" y="1165"/>
                  </a:cubicBezTo>
                  <a:close/>
                  <a:moveTo>
                    <a:pt x="150" y="705"/>
                  </a:moveTo>
                  <a:cubicBezTo>
                    <a:pt x="150" y="734"/>
                    <a:pt x="145" y="730"/>
                    <a:pt x="176" y="731"/>
                  </a:cubicBezTo>
                  <a:cubicBezTo>
                    <a:pt x="185" y="731"/>
                    <a:pt x="187" y="727"/>
                    <a:pt x="187" y="719"/>
                  </a:cubicBezTo>
                  <a:cubicBezTo>
                    <a:pt x="187" y="685"/>
                    <a:pt x="187" y="651"/>
                    <a:pt x="187" y="618"/>
                  </a:cubicBezTo>
                  <a:cubicBezTo>
                    <a:pt x="187" y="597"/>
                    <a:pt x="204" y="578"/>
                    <a:pt x="225" y="574"/>
                  </a:cubicBezTo>
                  <a:cubicBezTo>
                    <a:pt x="232" y="572"/>
                    <a:pt x="240" y="574"/>
                    <a:pt x="247" y="575"/>
                  </a:cubicBezTo>
                  <a:cubicBezTo>
                    <a:pt x="257" y="576"/>
                    <a:pt x="261" y="572"/>
                    <a:pt x="265" y="564"/>
                  </a:cubicBezTo>
                  <a:cubicBezTo>
                    <a:pt x="269" y="556"/>
                    <a:pt x="267" y="542"/>
                    <a:pt x="261" y="540"/>
                  </a:cubicBezTo>
                  <a:cubicBezTo>
                    <a:pt x="253" y="538"/>
                    <a:pt x="244" y="534"/>
                    <a:pt x="237" y="536"/>
                  </a:cubicBezTo>
                  <a:cubicBezTo>
                    <a:pt x="228" y="537"/>
                    <a:pt x="217" y="537"/>
                    <a:pt x="209" y="544"/>
                  </a:cubicBezTo>
                  <a:cubicBezTo>
                    <a:pt x="204" y="549"/>
                    <a:pt x="198" y="553"/>
                    <a:pt x="194" y="558"/>
                  </a:cubicBezTo>
                  <a:cubicBezTo>
                    <a:pt x="192" y="561"/>
                    <a:pt x="189" y="563"/>
                    <a:pt x="185" y="562"/>
                  </a:cubicBezTo>
                  <a:cubicBezTo>
                    <a:pt x="182" y="561"/>
                    <a:pt x="182" y="558"/>
                    <a:pt x="182" y="556"/>
                  </a:cubicBezTo>
                  <a:cubicBezTo>
                    <a:pt x="180" y="539"/>
                    <a:pt x="179" y="539"/>
                    <a:pt x="162" y="539"/>
                  </a:cubicBezTo>
                  <a:cubicBezTo>
                    <a:pt x="151" y="539"/>
                    <a:pt x="150" y="540"/>
                    <a:pt x="150" y="551"/>
                  </a:cubicBezTo>
                  <a:cubicBezTo>
                    <a:pt x="150" y="579"/>
                    <a:pt x="150" y="607"/>
                    <a:pt x="150" y="635"/>
                  </a:cubicBezTo>
                  <a:cubicBezTo>
                    <a:pt x="150" y="658"/>
                    <a:pt x="149" y="682"/>
                    <a:pt x="150" y="705"/>
                  </a:cubicBezTo>
                  <a:close/>
                  <a:moveTo>
                    <a:pt x="1011" y="1049"/>
                  </a:moveTo>
                  <a:cubicBezTo>
                    <a:pt x="1011" y="1008"/>
                    <a:pt x="1011" y="966"/>
                    <a:pt x="1011" y="924"/>
                  </a:cubicBezTo>
                  <a:cubicBezTo>
                    <a:pt x="1011" y="913"/>
                    <a:pt x="1008" y="910"/>
                    <a:pt x="997" y="910"/>
                  </a:cubicBezTo>
                  <a:cubicBezTo>
                    <a:pt x="995" y="910"/>
                    <a:pt x="992" y="910"/>
                    <a:pt x="990" y="910"/>
                  </a:cubicBezTo>
                  <a:cubicBezTo>
                    <a:pt x="976" y="910"/>
                    <a:pt x="975" y="911"/>
                    <a:pt x="975" y="926"/>
                  </a:cubicBezTo>
                  <a:cubicBezTo>
                    <a:pt x="975" y="1006"/>
                    <a:pt x="975" y="1085"/>
                    <a:pt x="975" y="1165"/>
                  </a:cubicBezTo>
                  <a:cubicBezTo>
                    <a:pt x="975" y="1185"/>
                    <a:pt x="975" y="1185"/>
                    <a:pt x="994" y="1185"/>
                  </a:cubicBezTo>
                  <a:cubicBezTo>
                    <a:pt x="1009" y="1185"/>
                    <a:pt x="1011" y="1184"/>
                    <a:pt x="1011" y="1169"/>
                  </a:cubicBezTo>
                  <a:cubicBezTo>
                    <a:pt x="1011" y="1129"/>
                    <a:pt x="1011" y="1089"/>
                    <a:pt x="1011" y="1049"/>
                  </a:cubicBezTo>
                  <a:cubicBezTo>
                    <a:pt x="1011" y="1049"/>
                    <a:pt x="1011" y="1049"/>
                    <a:pt x="1011" y="1049"/>
                  </a:cubicBezTo>
                  <a:close/>
                  <a:moveTo>
                    <a:pt x="296" y="176"/>
                  </a:moveTo>
                  <a:cubicBezTo>
                    <a:pt x="296" y="201"/>
                    <a:pt x="296" y="226"/>
                    <a:pt x="296" y="251"/>
                  </a:cubicBezTo>
                  <a:cubicBezTo>
                    <a:pt x="295" y="276"/>
                    <a:pt x="296" y="274"/>
                    <a:pt x="318" y="274"/>
                  </a:cubicBezTo>
                  <a:cubicBezTo>
                    <a:pt x="330" y="274"/>
                    <a:pt x="331" y="274"/>
                    <a:pt x="331" y="260"/>
                  </a:cubicBezTo>
                  <a:cubicBezTo>
                    <a:pt x="331" y="232"/>
                    <a:pt x="331" y="204"/>
                    <a:pt x="331" y="176"/>
                  </a:cubicBezTo>
                  <a:cubicBezTo>
                    <a:pt x="331" y="165"/>
                    <a:pt x="331" y="155"/>
                    <a:pt x="337" y="145"/>
                  </a:cubicBezTo>
                  <a:cubicBezTo>
                    <a:pt x="349" y="123"/>
                    <a:pt x="359" y="117"/>
                    <a:pt x="377" y="118"/>
                  </a:cubicBezTo>
                  <a:cubicBezTo>
                    <a:pt x="383" y="118"/>
                    <a:pt x="389" y="119"/>
                    <a:pt x="395" y="120"/>
                  </a:cubicBezTo>
                  <a:cubicBezTo>
                    <a:pt x="401" y="120"/>
                    <a:pt x="407" y="118"/>
                    <a:pt x="408" y="112"/>
                  </a:cubicBezTo>
                  <a:cubicBezTo>
                    <a:pt x="409" y="103"/>
                    <a:pt x="415" y="93"/>
                    <a:pt x="407" y="85"/>
                  </a:cubicBezTo>
                  <a:cubicBezTo>
                    <a:pt x="406" y="84"/>
                    <a:pt x="404" y="84"/>
                    <a:pt x="402" y="84"/>
                  </a:cubicBezTo>
                  <a:cubicBezTo>
                    <a:pt x="376" y="78"/>
                    <a:pt x="353" y="82"/>
                    <a:pt x="337" y="106"/>
                  </a:cubicBezTo>
                  <a:cubicBezTo>
                    <a:pt x="336" y="108"/>
                    <a:pt x="335" y="110"/>
                    <a:pt x="333" y="109"/>
                  </a:cubicBezTo>
                  <a:cubicBezTo>
                    <a:pt x="331" y="109"/>
                    <a:pt x="330" y="107"/>
                    <a:pt x="330" y="105"/>
                  </a:cubicBezTo>
                  <a:cubicBezTo>
                    <a:pt x="329" y="101"/>
                    <a:pt x="329" y="97"/>
                    <a:pt x="328" y="94"/>
                  </a:cubicBezTo>
                  <a:cubicBezTo>
                    <a:pt x="325" y="85"/>
                    <a:pt x="318" y="82"/>
                    <a:pt x="303" y="84"/>
                  </a:cubicBezTo>
                  <a:cubicBezTo>
                    <a:pt x="297" y="84"/>
                    <a:pt x="295" y="86"/>
                    <a:pt x="295" y="92"/>
                  </a:cubicBezTo>
                  <a:cubicBezTo>
                    <a:pt x="296" y="120"/>
                    <a:pt x="295" y="148"/>
                    <a:pt x="295" y="176"/>
                  </a:cubicBezTo>
                  <a:cubicBezTo>
                    <a:pt x="296" y="176"/>
                    <a:pt x="296" y="176"/>
                    <a:pt x="296" y="176"/>
                  </a:cubicBezTo>
                  <a:close/>
                  <a:moveTo>
                    <a:pt x="946" y="179"/>
                  </a:moveTo>
                  <a:cubicBezTo>
                    <a:pt x="946" y="197"/>
                    <a:pt x="946" y="215"/>
                    <a:pt x="946" y="234"/>
                  </a:cubicBezTo>
                  <a:cubicBezTo>
                    <a:pt x="946" y="248"/>
                    <a:pt x="951" y="260"/>
                    <a:pt x="963" y="268"/>
                  </a:cubicBezTo>
                  <a:cubicBezTo>
                    <a:pt x="982" y="280"/>
                    <a:pt x="1011" y="277"/>
                    <a:pt x="1029" y="264"/>
                  </a:cubicBezTo>
                  <a:cubicBezTo>
                    <a:pt x="1036" y="259"/>
                    <a:pt x="1036" y="254"/>
                    <a:pt x="1032" y="248"/>
                  </a:cubicBezTo>
                  <a:cubicBezTo>
                    <a:pt x="1026" y="239"/>
                    <a:pt x="1020" y="238"/>
                    <a:pt x="1013" y="242"/>
                  </a:cubicBezTo>
                  <a:cubicBezTo>
                    <a:pt x="996" y="252"/>
                    <a:pt x="978" y="243"/>
                    <a:pt x="978" y="223"/>
                  </a:cubicBezTo>
                  <a:cubicBezTo>
                    <a:pt x="978" y="190"/>
                    <a:pt x="978" y="157"/>
                    <a:pt x="978" y="123"/>
                  </a:cubicBezTo>
                  <a:cubicBezTo>
                    <a:pt x="978" y="116"/>
                    <a:pt x="981" y="113"/>
                    <a:pt x="988" y="113"/>
                  </a:cubicBezTo>
                  <a:cubicBezTo>
                    <a:pt x="999" y="114"/>
                    <a:pt x="1011" y="113"/>
                    <a:pt x="1022" y="113"/>
                  </a:cubicBezTo>
                  <a:cubicBezTo>
                    <a:pt x="1028" y="113"/>
                    <a:pt x="1033" y="112"/>
                    <a:pt x="1033" y="104"/>
                  </a:cubicBezTo>
                  <a:cubicBezTo>
                    <a:pt x="1033" y="96"/>
                    <a:pt x="1032" y="90"/>
                    <a:pt x="1022" y="90"/>
                  </a:cubicBezTo>
                  <a:cubicBezTo>
                    <a:pt x="1011" y="90"/>
                    <a:pt x="1001" y="90"/>
                    <a:pt x="990" y="90"/>
                  </a:cubicBezTo>
                  <a:cubicBezTo>
                    <a:pt x="981" y="91"/>
                    <a:pt x="977" y="88"/>
                    <a:pt x="978" y="78"/>
                  </a:cubicBezTo>
                  <a:cubicBezTo>
                    <a:pt x="978" y="64"/>
                    <a:pt x="978" y="49"/>
                    <a:pt x="978" y="35"/>
                  </a:cubicBezTo>
                  <a:cubicBezTo>
                    <a:pt x="978" y="30"/>
                    <a:pt x="978" y="25"/>
                    <a:pt x="971" y="24"/>
                  </a:cubicBezTo>
                  <a:cubicBezTo>
                    <a:pt x="964" y="24"/>
                    <a:pt x="956" y="24"/>
                    <a:pt x="955" y="32"/>
                  </a:cubicBezTo>
                  <a:cubicBezTo>
                    <a:pt x="952" y="43"/>
                    <a:pt x="949" y="54"/>
                    <a:pt x="949" y="65"/>
                  </a:cubicBezTo>
                  <a:cubicBezTo>
                    <a:pt x="948" y="88"/>
                    <a:pt x="947" y="88"/>
                    <a:pt x="924" y="91"/>
                  </a:cubicBezTo>
                  <a:cubicBezTo>
                    <a:pt x="919" y="92"/>
                    <a:pt x="914" y="92"/>
                    <a:pt x="914" y="99"/>
                  </a:cubicBezTo>
                  <a:cubicBezTo>
                    <a:pt x="915" y="107"/>
                    <a:pt x="917" y="113"/>
                    <a:pt x="926" y="113"/>
                  </a:cubicBezTo>
                  <a:cubicBezTo>
                    <a:pt x="929" y="114"/>
                    <a:pt x="932" y="113"/>
                    <a:pt x="935" y="113"/>
                  </a:cubicBezTo>
                  <a:cubicBezTo>
                    <a:pt x="943" y="113"/>
                    <a:pt x="946" y="116"/>
                    <a:pt x="946" y="124"/>
                  </a:cubicBezTo>
                  <a:cubicBezTo>
                    <a:pt x="946" y="142"/>
                    <a:pt x="946" y="161"/>
                    <a:pt x="946" y="179"/>
                  </a:cubicBezTo>
                  <a:cubicBezTo>
                    <a:pt x="946" y="179"/>
                    <a:pt x="946" y="179"/>
                    <a:pt x="946" y="179"/>
                  </a:cubicBezTo>
                  <a:close/>
                </a:path>
              </a:pathLst>
            </a:custGeom>
            <a:solidFill>
              <a:srgbClr val="4C505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grpSp>
          <p:nvGrpSpPr>
            <p:cNvPr id="18" name="Group 4">
              <a:extLst>
                <a:ext uri="{FF2B5EF4-FFF2-40B4-BE49-F238E27FC236}">
                  <a16:creationId xmlns:a16="http://schemas.microsoft.com/office/drawing/2014/main" id="{57BD2C4C-DC67-B843-B26C-309622FC75F7}"/>
                </a:ext>
              </a:extLst>
            </p:cNvPr>
            <p:cNvGrpSpPr>
              <a:grpSpLocks noChangeAspect="1"/>
            </p:cNvGrpSpPr>
            <p:nvPr/>
          </p:nvGrpSpPr>
          <p:grpSpPr bwMode="gray">
            <a:xfrm>
              <a:off x="334963" y="296652"/>
              <a:ext cx="538094" cy="540000"/>
              <a:chOff x="2711" y="1027"/>
              <a:chExt cx="2258" cy="2266"/>
            </a:xfrm>
          </p:grpSpPr>
          <p:sp>
            <p:nvSpPr>
              <p:cNvPr id="19" name="AutoShape 3">
                <a:extLst>
                  <a:ext uri="{FF2B5EF4-FFF2-40B4-BE49-F238E27FC236}">
                    <a16:creationId xmlns:a16="http://schemas.microsoft.com/office/drawing/2014/main" id="{FE1DC41B-291E-574C-9F2C-874E70A40758}"/>
                  </a:ext>
                </a:extLst>
              </p:cNvPr>
              <p:cNvSpPr>
                <a:spLocks noChangeAspect="1" noChangeArrowheads="1" noTextEdit="1"/>
              </p:cNvSpPr>
              <p:nvPr/>
            </p:nvSpPr>
            <p:spPr bwMode="gray">
              <a:xfrm>
                <a:off x="2711" y="1027"/>
                <a:ext cx="2258" cy="22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sp>
            <p:nvSpPr>
              <p:cNvPr id="20" name="Freeform 5">
                <a:extLst>
                  <a:ext uri="{FF2B5EF4-FFF2-40B4-BE49-F238E27FC236}">
                    <a16:creationId xmlns:a16="http://schemas.microsoft.com/office/drawing/2014/main" id="{D4B633C8-F761-C54B-9BD2-EB59D49A2DBC}"/>
                  </a:ext>
                </a:extLst>
              </p:cNvPr>
              <p:cNvSpPr>
                <a:spLocks/>
              </p:cNvSpPr>
              <p:nvPr/>
            </p:nvSpPr>
            <p:spPr bwMode="gray">
              <a:xfrm>
                <a:off x="2709" y="1029"/>
                <a:ext cx="2260" cy="2262"/>
              </a:xfrm>
              <a:custGeom>
                <a:avLst/>
                <a:gdLst>
                  <a:gd name="T0" fmla="*/ 2260 w 2260"/>
                  <a:gd name="T1" fmla="*/ 0 h 2262"/>
                  <a:gd name="T2" fmla="*/ 1612 w 2260"/>
                  <a:gd name="T3" fmla="*/ 649 h 2262"/>
                  <a:gd name="T4" fmla="*/ 1612 w 2260"/>
                  <a:gd name="T5" fmla="*/ 649 h 2262"/>
                  <a:gd name="T6" fmla="*/ 2035 w 2260"/>
                  <a:gd name="T7" fmla="*/ 0 h 2262"/>
                  <a:gd name="T8" fmla="*/ 0 w 2260"/>
                  <a:gd name="T9" fmla="*/ 0 h 2262"/>
                  <a:gd name="T10" fmla="*/ 0 w 2260"/>
                  <a:gd name="T11" fmla="*/ 2262 h 2262"/>
                  <a:gd name="T12" fmla="*/ 2260 w 2260"/>
                  <a:gd name="T13" fmla="*/ 2262 h 2262"/>
                  <a:gd name="T14" fmla="*/ 2260 w 2260"/>
                  <a:gd name="T15" fmla="*/ 0 h 2262"/>
                  <a:gd name="T16" fmla="*/ 2260 w 2260"/>
                  <a:gd name="T17" fmla="*/ 0 h 2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0" h="2262">
                    <a:moveTo>
                      <a:pt x="2260" y="0"/>
                    </a:moveTo>
                    <a:lnTo>
                      <a:pt x="1612" y="649"/>
                    </a:lnTo>
                    <a:lnTo>
                      <a:pt x="1612" y="649"/>
                    </a:lnTo>
                    <a:lnTo>
                      <a:pt x="2035" y="0"/>
                    </a:lnTo>
                    <a:lnTo>
                      <a:pt x="0" y="0"/>
                    </a:lnTo>
                    <a:lnTo>
                      <a:pt x="0" y="2262"/>
                    </a:lnTo>
                    <a:lnTo>
                      <a:pt x="2260" y="2262"/>
                    </a:lnTo>
                    <a:lnTo>
                      <a:pt x="2260" y="0"/>
                    </a:lnTo>
                    <a:lnTo>
                      <a:pt x="2260" y="0"/>
                    </a:lnTo>
                    <a:close/>
                  </a:path>
                </a:pathLst>
              </a:custGeom>
              <a:solidFill>
                <a:srgbClr val="E55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sp>
            <p:nvSpPr>
              <p:cNvPr id="21" name="Freeform 6">
                <a:extLst>
                  <a:ext uri="{FF2B5EF4-FFF2-40B4-BE49-F238E27FC236}">
                    <a16:creationId xmlns:a16="http://schemas.microsoft.com/office/drawing/2014/main" id="{B16BAAE4-1A41-C843-9754-490F7A1E1270}"/>
                  </a:ext>
                </a:extLst>
              </p:cNvPr>
              <p:cNvSpPr>
                <a:spLocks noEditPoints="1"/>
              </p:cNvSpPr>
              <p:nvPr/>
            </p:nvSpPr>
            <p:spPr bwMode="gray">
              <a:xfrm>
                <a:off x="3623" y="1696"/>
                <a:ext cx="1167" cy="922"/>
              </a:xfrm>
              <a:custGeom>
                <a:avLst/>
                <a:gdLst>
                  <a:gd name="T0" fmla="*/ 411 w 580"/>
                  <a:gd name="T1" fmla="*/ 213 h 458"/>
                  <a:gd name="T2" fmla="*/ 570 w 580"/>
                  <a:gd name="T3" fmla="*/ 37 h 458"/>
                  <a:gd name="T4" fmla="*/ 580 w 580"/>
                  <a:gd name="T5" fmla="*/ 20 h 458"/>
                  <a:gd name="T6" fmla="*/ 545 w 580"/>
                  <a:gd name="T7" fmla="*/ 0 h 458"/>
                  <a:gd name="T8" fmla="*/ 519 w 580"/>
                  <a:gd name="T9" fmla="*/ 16 h 458"/>
                  <a:gd name="T10" fmla="*/ 344 w 580"/>
                  <a:gd name="T11" fmla="*/ 210 h 458"/>
                  <a:gd name="T12" fmla="*/ 334 w 580"/>
                  <a:gd name="T13" fmla="*/ 229 h 458"/>
                  <a:gd name="T14" fmla="*/ 344 w 580"/>
                  <a:gd name="T15" fmla="*/ 248 h 458"/>
                  <a:gd name="T16" fmla="*/ 519 w 580"/>
                  <a:gd name="T17" fmla="*/ 442 h 458"/>
                  <a:gd name="T18" fmla="*/ 545 w 580"/>
                  <a:gd name="T19" fmla="*/ 458 h 458"/>
                  <a:gd name="T20" fmla="*/ 580 w 580"/>
                  <a:gd name="T21" fmla="*/ 438 h 458"/>
                  <a:gd name="T22" fmla="*/ 570 w 580"/>
                  <a:gd name="T23" fmla="*/ 421 h 458"/>
                  <a:gd name="T24" fmla="*/ 411 w 580"/>
                  <a:gd name="T25" fmla="*/ 245 h 458"/>
                  <a:gd name="T26" fmla="*/ 399 w 580"/>
                  <a:gd name="T27" fmla="*/ 229 h 458"/>
                  <a:gd name="T28" fmla="*/ 411 w 580"/>
                  <a:gd name="T29" fmla="*/ 213 h 458"/>
                  <a:gd name="T30" fmla="*/ 252 w 580"/>
                  <a:gd name="T31" fmla="*/ 439 h 458"/>
                  <a:gd name="T32" fmla="*/ 281 w 580"/>
                  <a:gd name="T33" fmla="*/ 454 h 458"/>
                  <a:gd name="T34" fmla="*/ 309 w 580"/>
                  <a:gd name="T35" fmla="*/ 439 h 458"/>
                  <a:gd name="T36" fmla="*/ 309 w 580"/>
                  <a:gd name="T37" fmla="*/ 19 h 458"/>
                  <a:gd name="T38" fmla="*/ 281 w 580"/>
                  <a:gd name="T39" fmla="*/ 4 h 458"/>
                  <a:gd name="T40" fmla="*/ 252 w 580"/>
                  <a:gd name="T41" fmla="*/ 19 h 458"/>
                  <a:gd name="T42" fmla="*/ 252 w 580"/>
                  <a:gd name="T43" fmla="*/ 439 h 458"/>
                  <a:gd name="T44" fmla="*/ 0 w 580"/>
                  <a:gd name="T45" fmla="*/ 439 h 458"/>
                  <a:gd name="T46" fmla="*/ 28 w 580"/>
                  <a:gd name="T47" fmla="*/ 454 h 458"/>
                  <a:gd name="T48" fmla="*/ 56 w 580"/>
                  <a:gd name="T49" fmla="*/ 439 h 458"/>
                  <a:gd name="T50" fmla="*/ 56 w 580"/>
                  <a:gd name="T51" fmla="*/ 157 h 458"/>
                  <a:gd name="T52" fmla="*/ 165 w 580"/>
                  <a:gd name="T53" fmla="*/ 53 h 458"/>
                  <a:gd name="T54" fmla="*/ 180 w 580"/>
                  <a:gd name="T55" fmla="*/ 53 h 458"/>
                  <a:gd name="T56" fmla="*/ 196 w 580"/>
                  <a:gd name="T57" fmla="*/ 27 h 458"/>
                  <a:gd name="T58" fmla="*/ 154 w 580"/>
                  <a:gd name="T59" fmla="*/ 4 h 458"/>
                  <a:gd name="T60" fmla="*/ 0 w 580"/>
                  <a:gd name="T61" fmla="*/ 152 h 458"/>
                  <a:gd name="T62" fmla="*/ 0 w 580"/>
                  <a:gd name="T63" fmla="*/ 439 h 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80" h="458">
                    <a:moveTo>
                      <a:pt x="411" y="213"/>
                    </a:moveTo>
                    <a:cubicBezTo>
                      <a:pt x="570" y="37"/>
                      <a:pt x="570" y="37"/>
                      <a:pt x="570" y="37"/>
                    </a:cubicBezTo>
                    <a:cubicBezTo>
                      <a:pt x="576" y="30"/>
                      <a:pt x="580" y="25"/>
                      <a:pt x="580" y="20"/>
                    </a:cubicBezTo>
                    <a:cubicBezTo>
                      <a:pt x="580" y="10"/>
                      <a:pt x="559" y="0"/>
                      <a:pt x="545" y="0"/>
                    </a:cubicBezTo>
                    <a:cubicBezTo>
                      <a:pt x="535" y="0"/>
                      <a:pt x="526" y="8"/>
                      <a:pt x="519" y="16"/>
                    </a:cubicBezTo>
                    <a:cubicBezTo>
                      <a:pt x="344" y="210"/>
                      <a:pt x="344" y="210"/>
                      <a:pt x="344" y="210"/>
                    </a:cubicBezTo>
                    <a:cubicBezTo>
                      <a:pt x="336" y="219"/>
                      <a:pt x="334" y="224"/>
                      <a:pt x="334" y="229"/>
                    </a:cubicBezTo>
                    <a:cubicBezTo>
                      <a:pt x="334" y="234"/>
                      <a:pt x="336" y="239"/>
                      <a:pt x="344" y="248"/>
                    </a:cubicBezTo>
                    <a:cubicBezTo>
                      <a:pt x="519" y="442"/>
                      <a:pt x="519" y="442"/>
                      <a:pt x="519" y="442"/>
                    </a:cubicBezTo>
                    <a:cubicBezTo>
                      <a:pt x="526" y="450"/>
                      <a:pt x="535" y="458"/>
                      <a:pt x="545" y="458"/>
                    </a:cubicBezTo>
                    <a:cubicBezTo>
                      <a:pt x="559" y="458"/>
                      <a:pt x="580" y="448"/>
                      <a:pt x="580" y="438"/>
                    </a:cubicBezTo>
                    <a:cubicBezTo>
                      <a:pt x="580" y="433"/>
                      <a:pt x="576" y="428"/>
                      <a:pt x="570" y="421"/>
                    </a:cubicBezTo>
                    <a:cubicBezTo>
                      <a:pt x="411" y="245"/>
                      <a:pt x="411" y="245"/>
                      <a:pt x="411" y="245"/>
                    </a:cubicBezTo>
                    <a:cubicBezTo>
                      <a:pt x="403" y="236"/>
                      <a:pt x="399" y="232"/>
                      <a:pt x="399" y="229"/>
                    </a:cubicBezTo>
                    <a:cubicBezTo>
                      <a:pt x="399" y="226"/>
                      <a:pt x="403" y="222"/>
                      <a:pt x="411" y="213"/>
                    </a:cubicBezTo>
                    <a:moveTo>
                      <a:pt x="252" y="439"/>
                    </a:moveTo>
                    <a:cubicBezTo>
                      <a:pt x="252" y="449"/>
                      <a:pt x="261" y="454"/>
                      <a:pt x="281" y="454"/>
                    </a:cubicBezTo>
                    <a:cubicBezTo>
                      <a:pt x="300" y="454"/>
                      <a:pt x="309" y="449"/>
                      <a:pt x="309" y="439"/>
                    </a:cubicBezTo>
                    <a:cubicBezTo>
                      <a:pt x="309" y="19"/>
                      <a:pt x="309" y="19"/>
                      <a:pt x="309" y="19"/>
                    </a:cubicBezTo>
                    <a:cubicBezTo>
                      <a:pt x="309" y="9"/>
                      <a:pt x="300" y="4"/>
                      <a:pt x="281" y="4"/>
                    </a:cubicBezTo>
                    <a:cubicBezTo>
                      <a:pt x="261" y="4"/>
                      <a:pt x="252" y="9"/>
                      <a:pt x="252" y="19"/>
                    </a:cubicBezTo>
                    <a:lnTo>
                      <a:pt x="252" y="439"/>
                    </a:lnTo>
                    <a:close/>
                    <a:moveTo>
                      <a:pt x="0" y="439"/>
                    </a:moveTo>
                    <a:cubicBezTo>
                      <a:pt x="0" y="449"/>
                      <a:pt x="8" y="454"/>
                      <a:pt x="28" y="454"/>
                    </a:cubicBezTo>
                    <a:cubicBezTo>
                      <a:pt x="48" y="454"/>
                      <a:pt x="56" y="449"/>
                      <a:pt x="56" y="439"/>
                    </a:cubicBezTo>
                    <a:cubicBezTo>
                      <a:pt x="56" y="157"/>
                      <a:pt x="56" y="157"/>
                      <a:pt x="56" y="157"/>
                    </a:cubicBezTo>
                    <a:cubicBezTo>
                      <a:pt x="56" y="83"/>
                      <a:pt x="85" y="53"/>
                      <a:pt x="165" y="53"/>
                    </a:cubicBezTo>
                    <a:cubicBezTo>
                      <a:pt x="180" y="53"/>
                      <a:pt x="180" y="53"/>
                      <a:pt x="180" y="53"/>
                    </a:cubicBezTo>
                    <a:cubicBezTo>
                      <a:pt x="192" y="53"/>
                      <a:pt x="196" y="43"/>
                      <a:pt x="196" y="27"/>
                    </a:cubicBezTo>
                    <a:cubicBezTo>
                      <a:pt x="196" y="8"/>
                      <a:pt x="185" y="4"/>
                      <a:pt x="154" y="4"/>
                    </a:cubicBezTo>
                    <a:cubicBezTo>
                      <a:pt x="64" y="4"/>
                      <a:pt x="0" y="43"/>
                      <a:pt x="0" y="152"/>
                    </a:cubicBezTo>
                    <a:lnTo>
                      <a:pt x="0" y="43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sp>
            <p:nvSpPr>
              <p:cNvPr id="22" name="Freeform 7">
                <a:extLst>
                  <a:ext uri="{FF2B5EF4-FFF2-40B4-BE49-F238E27FC236}">
                    <a16:creationId xmlns:a16="http://schemas.microsoft.com/office/drawing/2014/main" id="{2F32DCBD-8628-F245-85CD-97686A20ECFD}"/>
                  </a:ext>
                </a:extLst>
              </p:cNvPr>
              <p:cNvSpPr>
                <a:spLocks/>
              </p:cNvSpPr>
              <p:nvPr/>
            </p:nvSpPr>
            <p:spPr bwMode="gray">
              <a:xfrm>
                <a:off x="2880" y="1704"/>
                <a:ext cx="618" cy="916"/>
              </a:xfrm>
              <a:custGeom>
                <a:avLst/>
                <a:gdLst>
                  <a:gd name="T0" fmla="*/ 307 w 307"/>
                  <a:gd name="T1" fmla="*/ 405 h 455"/>
                  <a:gd name="T2" fmla="*/ 307 w 307"/>
                  <a:gd name="T3" fmla="*/ 244 h 455"/>
                  <a:gd name="T4" fmla="*/ 279 w 307"/>
                  <a:gd name="T5" fmla="*/ 229 h 455"/>
                  <a:gd name="T6" fmla="*/ 250 w 307"/>
                  <a:gd name="T7" fmla="*/ 244 h 455"/>
                  <a:gd name="T8" fmla="*/ 250 w 307"/>
                  <a:gd name="T9" fmla="*/ 378 h 455"/>
                  <a:gd name="T10" fmla="*/ 199 w 307"/>
                  <a:gd name="T11" fmla="*/ 408 h 455"/>
                  <a:gd name="T12" fmla="*/ 61 w 307"/>
                  <a:gd name="T13" fmla="*/ 231 h 455"/>
                  <a:gd name="T14" fmla="*/ 238 w 307"/>
                  <a:gd name="T15" fmla="*/ 49 h 455"/>
                  <a:gd name="T16" fmla="*/ 270 w 307"/>
                  <a:gd name="T17" fmla="*/ 49 h 455"/>
                  <a:gd name="T18" fmla="*/ 286 w 307"/>
                  <a:gd name="T19" fmla="*/ 23 h 455"/>
                  <a:gd name="T20" fmla="*/ 244 w 307"/>
                  <a:gd name="T21" fmla="*/ 0 h 455"/>
                  <a:gd name="T22" fmla="*/ 231 w 307"/>
                  <a:gd name="T23" fmla="*/ 0 h 455"/>
                  <a:gd name="T24" fmla="*/ 0 w 307"/>
                  <a:gd name="T25" fmla="*/ 232 h 455"/>
                  <a:gd name="T26" fmla="*/ 198 w 307"/>
                  <a:gd name="T27" fmla="*/ 455 h 455"/>
                  <a:gd name="T28" fmla="*/ 307 w 307"/>
                  <a:gd name="T29" fmla="*/ 405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7" h="455">
                    <a:moveTo>
                      <a:pt x="307" y="405"/>
                    </a:moveTo>
                    <a:cubicBezTo>
                      <a:pt x="307" y="244"/>
                      <a:pt x="307" y="244"/>
                      <a:pt x="307" y="244"/>
                    </a:cubicBezTo>
                    <a:cubicBezTo>
                      <a:pt x="307" y="234"/>
                      <a:pt x="298" y="229"/>
                      <a:pt x="279" y="229"/>
                    </a:cubicBezTo>
                    <a:cubicBezTo>
                      <a:pt x="259" y="229"/>
                      <a:pt x="250" y="234"/>
                      <a:pt x="250" y="244"/>
                    </a:cubicBezTo>
                    <a:cubicBezTo>
                      <a:pt x="250" y="378"/>
                      <a:pt x="250" y="378"/>
                      <a:pt x="250" y="378"/>
                    </a:cubicBezTo>
                    <a:cubicBezTo>
                      <a:pt x="250" y="399"/>
                      <a:pt x="241" y="408"/>
                      <a:pt x="199" y="408"/>
                    </a:cubicBezTo>
                    <a:cubicBezTo>
                      <a:pt x="114" y="408"/>
                      <a:pt x="61" y="342"/>
                      <a:pt x="61" y="231"/>
                    </a:cubicBezTo>
                    <a:cubicBezTo>
                      <a:pt x="61" y="115"/>
                      <a:pt x="126" y="49"/>
                      <a:pt x="238" y="49"/>
                    </a:cubicBezTo>
                    <a:cubicBezTo>
                      <a:pt x="270" y="49"/>
                      <a:pt x="270" y="49"/>
                      <a:pt x="270" y="49"/>
                    </a:cubicBezTo>
                    <a:cubicBezTo>
                      <a:pt x="282" y="49"/>
                      <a:pt x="286" y="39"/>
                      <a:pt x="286" y="23"/>
                    </a:cubicBezTo>
                    <a:cubicBezTo>
                      <a:pt x="286" y="4"/>
                      <a:pt x="275" y="0"/>
                      <a:pt x="244" y="0"/>
                    </a:cubicBezTo>
                    <a:cubicBezTo>
                      <a:pt x="231" y="0"/>
                      <a:pt x="231" y="0"/>
                      <a:pt x="231" y="0"/>
                    </a:cubicBezTo>
                    <a:cubicBezTo>
                      <a:pt x="101" y="0"/>
                      <a:pt x="0" y="71"/>
                      <a:pt x="0" y="232"/>
                    </a:cubicBezTo>
                    <a:cubicBezTo>
                      <a:pt x="0" y="386"/>
                      <a:pt x="88" y="455"/>
                      <a:pt x="198" y="455"/>
                    </a:cubicBezTo>
                    <a:cubicBezTo>
                      <a:pt x="286" y="455"/>
                      <a:pt x="307" y="430"/>
                      <a:pt x="307" y="40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sp>
            <p:nvSpPr>
              <p:cNvPr id="23" name="Oval 8">
                <a:extLst>
                  <a:ext uri="{FF2B5EF4-FFF2-40B4-BE49-F238E27FC236}">
                    <a16:creationId xmlns:a16="http://schemas.microsoft.com/office/drawing/2014/main" id="{60D97C11-1A3B-5449-A48D-98A3E79B3810}"/>
                  </a:ext>
                </a:extLst>
              </p:cNvPr>
              <p:cNvSpPr>
                <a:spLocks noChangeArrowheads="1"/>
              </p:cNvSpPr>
              <p:nvPr/>
            </p:nvSpPr>
            <p:spPr bwMode="gray">
              <a:xfrm>
                <a:off x="3778" y="2099"/>
                <a:ext cx="122" cy="12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sp>
            <p:nvSpPr>
              <p:cNvPr id="24" name="Freeform 9">
                <a:extLst>
                  <a:ext uri="{FF2B5EF4-FFF2-40B4-BE49-F238E27FC236}">
                    <a16:creationId xmlns:a16="http://schemas.microsoft.com/office/drawing/2014/main" id="{5856770D-B8F0-244E-A05D-AED190086F10}"/>
                  </a:ext>
                </a:extLst>
              </p:cNvPr>
              <p:cNvSpPr>
                <a:spLocks noEditPoints="1"/>
              </p:cNvSpPr>
              <p:nvPr/>
            </p:nvSpPr>
            <p:spPr bwMode="gray">
              <a:xfrm>
                <a:off x="3623" y="1696"/>
                <a:ext cx="1167" cy="922"/>
              </a:xfrm>
              <a:custGeom>
                <a:avLst/>
                <a:gdLst>
                  <a:gd name="T0" fmla="*/ 411 w 580"/>
                  <a:gd name="T1" fmla="*/ 213 h 458"/>
                  <a:gd name="T2" fmla="*/ 570 w 580"/>
                  <a:gd name="T3" fmla="*/ 37 h 458"/>
                  <a:gd name="T4" fmla="*/ 580 w 580"/>
                  <a:gd name="T5" fmla="*/ 20 h 458"/>
                  <a:gd name="T6" fmla="*/ 545 w 580"/>
                  <a:gd name="T7" fmla="*/ 0 h 458"/>
                  <a:gd name="T8" fmla="*/ 519 w 580"/>
                  <a:gd name="T9" fmla="*/ 16 h 458"/>
                  <a:gd name="T10" fmla="*/ 344 w 580"/>
                  <a:gd name="T11" fmla="*/ 210 h 458"/>
                  <a:gd name="T12" fmla="*/ 334 w 580"/>
                  <a:gd name="T13" fmla="*/ 229 h 458"/>
                  <a:gd name="T14" fmla="*/ 344 w 580"/>
                  <a:gd name="T15" fmla="*/ 248 h 458"/>
                  <a:gd name="T16" fmla="*/ 519 w 580"/>
                  <a:gd name="T17" fmla="*/ 442 h 458"/>
                  <a:gd name="T18" fmla="*/ 545 w 580"/>
                  <a:gd name="T19" fmla="*/ 458 h 458"/>
                  <a:gd name="T20" fmla="*/ 580 w 580"/>
                  <a:gd name="T21" fmla="*/ 438 h 458"/>
                  <a:gd name="T22" fmla="*/ 570 w 580"/>
                  <a:gd name="T23" fmla="*/ 421 h 458"/>
                  <a:gd name="T24" fmla="*/ 411 w 580"/>
                  <a:gd name="T25" fmla="*/ 245 h 458"/>
                  <a:gd name="T26" fmla="*/ 399 w 580"/>
                  <a:gd name="T27" fmla="*/ 229 h 458"/>
                  <a:gd name="T28" fmla="*/ 411 w 580"/>
                  <a:gd name="T29" fmla="*/ 213 h 458"/>
                  <a:gd name="T30" fmla="*/ 252 w 580"/>
                  <a:gd name="T31" fmla="*/ 439 h 458"/>
                  <a:gd name="T32" fmla="*/ 281 w 580"/>
                  <a:gd name="T33" fmla="*/ 454 h 458"/>
                  <a:gd name="T34" fmla="*/ 309 w 580"/>
                  <a:gd name="T35" fmla="*/ 439 h 458"/>
                  <a:gd name="T36" fmla="*/ 309 w 580"/>
                  <a:gd name="T37" fmla="*/ 19 h 458"/>
                  <a:gd name="T38" fmla="*/ 281 w 580"/>
                  <a:gd name="T39" fmla="*/ 4 h 458"/>
                  <a:gd name="T40" fmla="*/ 252 w 580"/>
                  <a:gd name="T41" fmla="*/ 19 h 458"/>
                  <a:gd name="T42" fmla="*/ 252 w 580"/>
                  <a:gd name="T43" fmla="*/ 439 h 458"/>
                  <a:gd name="T44" fmla="*/ 0 w 580"/>
                  <a:gd name="T45" fmla="*/ 439 h 458"/>
                  <a:gd name="T46" fmla="*/ 28 w 580"/>
                  <a:gd name="T47" fmla="*/ 454 h 458"/>
                  <a:gd name="T48" fmla="*/ 56 w 580"/>
                  <a:gd name="T49" fmla="*/ 439 h 458"/>
                  <a:gd name="T50" fmla="*/ 56 w 580"/>
                  <a:gd name="T51" fmla="*/ 157 h 458"/>
                  <a:gd name="T52" fmla="*/ 165 w 580"/>
                  <a:gd name="T53" fmla="*/ 53 h 458"/>
                  <a:gd name="T54" fmla="*/ 180 w 580"/>
                  <a:gd name="T55" fmla="*/ 53 h 458"/>
                  <a:gd name="T56" fmla="*/ 196 w 580"/>
                  <a:gd name="T57" fmla="*/ 27 h 458"/>
                  <a:gd name="T58" fmla="*/ 154 w 580"/>
                  <a:gd name="T59" fmla="*/ 4 h 458"/>
                  <a:gd name="T60" fmla="*/ 0 w 580"/>
                  <a:gd name="T61" fmla="*/ 152 h 458"/>
                  <a:gd name="T62" fmla="*/ 0 w 580"/>
                  <a:gd name="T63" fmla="*/ 439 h 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80" h="458">
                    <a:moveTo>
                      <a:pt x="411" y="213"/>
                    </a:moveTo>
                    <a:cubicBezTo>
                      <a:pt x="570" y="37"/>
                      <a:pt x="570" y="37"/>
                      <a:pt x="570" y="37"/>
                    </a:cubicBezTo>
                    <a:cubicBezTo>
                      <a:pt x="576" y="30"/>
                      <a:pt x="580" y="25"/>
                      <a:pt x="580" y="20"/>
                    </a:cubicBezTo>
                    <a:cubicBezTo>
                      <a:pt x="580" y="10"/>
                      <a:pt x="559" y="0"/>
                      <a:pt x="545" y="0"/>
                    </a:cubicBezTo>
                    <a:cubicBezTo>
                      <a:pt x="535" y="0"/>
                      <a:pt x="526" y="8"/>
                      <a:pt x="519" y="16"/>
                    </a:cubicBezTo>
                    <a:cubicBezTo>
                      <a:pt x="344" y="210"/>
                      <a:pt x="344" y="210"/>
                      <a:pt x="344" y="210"/>
                    </a:cubicBezTo>
                    <a:cubicBezTo>
                      <a:pt x="336" y="219"/>
                      <a:pt x="334" y="224"/>
                      <a:pt x="334" y="229"/>
                    </a:cubicBezTo>
                    <a:cubicBezTo>
                      <a:pt x="334" y="234"/>
                      <a:pt x="336" y="239"/>
                      <a:pt x="344" y="248"/>
                    </a:cubicBezTo>
                    <a:cubicBezTo>
                      <a:pt x="519" y="442"/>
                      <a:pt x="519" y="442"/>
                      <a:pt x="519" y="442"/>
                    </a:cubicBezTo>
                    <a:cubicBezTo>
                      <a:pt x="526" y="450"/>
                      <a:pt x="535" y="458"/>
                      <a:pt x="545" y="458"/>
                    </a:cubicBezTo>
                    <a:cubicBezTo>
                      <a:pt x="559" y="458"/>
                      <a:pt x="580" y="448"/>
                      <a:pt x="580" y="438"/>
                    </a:cubicBezTo>
                    <a:cubicBezTo>
                      <a:pt x="580" y="433"/>
                      <a:pt x="576" y="428"/>
                      <a:pt x="570" y="421"/>
                    </a:cubicBezTo>
                    <a:cubicBezTo>
                      <a:pt x="411" y="245"/>
                      <a:pt x="411" y="245"/>
                      <a:pt x="411" y="245"/>
                    </a:cubicBezTo>
                    <a:cubicBezTo>
                      <a:pt x="403" y="236"/>
                      <a:pt x="399" y="232"/>
                      <a:pt x="399" y="229"/>
                    </a:cubicBezTo>
                    <a:cubicBezTo>
                      <a:pt x="399" y="226"/>
                      <a:pt x="403" y="222"/>
                      <a:pt x="411" y="213"/>
                    </a:cubicBezTo>
                    <a:moveTo>
                      <a:pt x="252" y="439"/>
                    </a:moveTo>
                    <a:cubicBezTo>
                      <a:pt x="252" y="449"/>
                      <a:pt x="261" y="454"/>
                      <a:pt x="281" y="454"/>
                    </a:cubicBezTo>
                    <a:cubicBezTo>
                      <a:pt x="300" y="454"/>
                      <a:pt x="309" y="449"/>
                      <a:pt x="309" y="439"/>
                    </a:cubicBezTo>
                    <a:cubicBezTo>
                      <a:pt x="309" y="19"/>
                      <a:pt x="309" y="19"/>
                      <a:pt x="309" y="19"/>
                    </a:cubicBezTo>
                    <a:cubicBezTo>
                      <a:pt x="309" y="9"/>
                      <a:pt x="300" y="4"/>
                      <a:pt x="281" y="4"/>
                    </a:cubicBezTo>
                    <a:cubicBezTo>
                      <a:pt x="261" y="4"/>
                      <a:pt x="252" y="9"/>
                      <a:pt x="252" y="19"/>
                    </a:cubicBezTo>
                    <a:lnTo>
                      <a:pt x="252" y="439"/>
                    </a:lnTo>
                    <a:close/>
                    <a:moveTo>
                      <a:pt x="0" y="439"/>
                    </a:moveTo>
                    <a:cubicBezTo>
                      <a:pt x="0" y="449"/>
                      <a:pt x="8" y="454"/>
                      <a:pt x="28" y="454"/>
                    </a:cubicBezTo>
                    <a:cubicBezTo>
                      <a:pt x="48" y="454"/>
                      <a:pt x="56" y="449"/>
                      <a:pt x="56" y="439"/>
                    </a:cubicBezTo>
                    <a:cubicBezTo>
                      <a:pt x="56" y="157"/>
                      <a:pt x="56" y="157"/>
                      <a:pt x="56" y="157"/>
                    </a:cubicBezTo>
                    <a:cubicBezTo>
                      <a:pt x="56" y="83"/>
                      <a:pt x="85" y="53"/>
                      <a:pt x="165" y="53"/>
                    </a:cubicBezTo>
                    <a:cubicBezTo>
                      <a:pt x="180" y="53"/>
                      <a:pt x="180" y="53"/>
                      <a:pt x="180" y="53"/>
                    </a:cubicBezTo>
                    <a:cubicBezTo>
                      <a:pt x="192" y="53"/>
                      <a:pt x="196" y="43"/>
                      <a:pt x="196" y="27"/>
                    </a:cubicBezTo>
                    <a:cubicBezTo>
                      <a:pt x="196" y="8"/>
                      <a:pt x="185" y="4"/>
                      <a:pt x="154" y="4"/>
                    </a:cubicBezTo>
                    <a:cubicBezTo>
                      <a:pt x="64" y="4"/>
                      <a:pt x="0" y="43"/>
                      <a:pt x="0" y="152"/>
                    </a:cubicBezTo>
                    <a:lnTo>
                      <a:pt x="0" y="43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sp>
            <p:nvSpPr>
              <p:cNvPr id="25" name="Freeform 10">
                <a:extLst>
                  <a:ext uri="{FF2B5EF4-FFF2-40B4-BE49-F238E27FC236}">
                    <a16:creationId xmlns:a16="http://schemas.microsoft.com/office/drawing/2014/main" id="{2B91B16B-BC11-E547-8FAC-B9B8D18EA449}"/>
                  </a:ext>
                </a:extLst>
              </p:cNvPr>
              <p:cNvSpPr>
                <a:spLocks/>
              </p:cNvSpPr>
              <p:nvPr/>
            </p:nvSpPr>
            <p:spPr bwMode="gray">
              <a:xfrm>
                <a:off x="2880" y="1704"/>
                <a:ext cx="618" cy="916"/>
              </a:xfrm>
              <a:custGeom>
                <a:avLst/>
                <a:gdLst>
                  <a:gd name="T0" fmla="*/ 307 w 307"/>
                  <a:gd name="T1" fmla="*/ 405 h 455"/>
                  <a:gd name="T2" fmla="*/ 307 w 307"/>
                  <a:gd name="T3" fmla="*/ 244 h 455"/>
                  <a:gd name="T4" fmla="*/ 279 w 307"/>
                  <a:gd name="T5" fmla="*/ 229 h 455"/>
                  <a:gd name="T6" fmla="*/ 250 w 307"/>
                  <a:gd name="T7" fmla="*/ 244 h 455"/>
                  <a:gd name="T8" fmla="*/ 250 w 307"/>
                  <a:gd name="T9" fmla="*/ 378 h 455"/>
                  <a:gd name="T10" fmla="*/ 199 w 307"/>
                  <a:gd name="T11" fmla="*/ 408 h 455"/>
                  <a:gd name="T12" fmla="*/ 61 w 307"/>
                  <a:gd name="T13" fmla="*/ 231 h 455"/>
                  <a:gd name="T14" fmla="*/ 238 w 307"/>
                  <a:gd name="T15" fmla="*/ 49 h 455"/>
                  <a:gd name="T16" fmla="*/ 270 w 307"/>
                  <a:gd name="T17" fmla="*/ 49 h 455"/>
                  <a:gd name="T18" fmla="*/ 286 w 307"/>
                  <a:gd name="T19" fmla="*/ 23 h 455"/>
                  <a:gd name="T20" fmla="*/ 244 w 307"/>
                  <a:gd name="T21" fmla="*/ 0 h 455"/>
                  <a:gd name="T22" fmla="*/ 231 w 307"/>
                  <a:gd name="T23" fmla="*/ 0 h 455"/>
                  <a:gd name="T24" fmla="*/ 0 w 307"/>
                  <a:gd name="T25" fmla="*/ 232 h 455"/>
                  <a:gd name="T26" fmla="*/ 198 w 307"/>
                  <a:gd name="T27" fmla="*/ 455 h 455"/>
                  <a:gd name="T28" fmla="*/ 307 w 307"/>
                  <a:gd name="T29" fmla="*/ 405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7" h="455">
                    <a:moveTo>
                      <a:pt x="307" y="405"/>
                    </a:moveTo>
                    <a:cubicBezTo>
                      <a:pt x="307" y="244"/>
                      <a:pt x="307" y="244"/>
                      <a:pt x="307" y="244"/>
                    </a:cubicBezTo>
                    <a:cubicBezTo>
                      <a:pt x="307" y="234"/>
                      <a:pt x="298" y="229"/>
                      <a:pt x="279" y="229"/>
                    </a:cubicBezTo>
                    <a:cubicBezTo>
                      <a:pt x="259" y="229"/>
                      <a:pt x="250" y="234"/>
                      <a:pt x="250" y="244"/>
                    </a:cubicBezTo>
                    <a:cubicBezTo>
                      <a:pt x="250" y="378"/>
                      <a:pt x="250" y="378"/>
                      <a:pt x="250" y="378"/>
                    </a:cubicBezTo>
                    <a:cubicBezTo>
                      <a:pt x="250" y="399"/>
                      <a:pt x="241" y="408"/>
                      <a:pt x="199" y="408"/>
                    </a:cubicBezTo>
                    <a:cubicBezTo>
                      <a:pt x="114" y="408"/>
                      <a:pt x="61" y="342"/>
                      <a:pt x="61" y="231"/>
                    </a:cubicBezTo>
                    <a:cubicBezTo>
                      <a:pt x="61" y="115"/>
                      <a:pt x="126" y="49"/>
                      <a:pt x="238" y="49"/>
                    </a:cubicBezTo>
                    <a:cubicBezTo>
                      <a:pt x="270" y="49"/>
                      <a:pt x="270" y="49"/>
                      <a:pt x="270" y="49"/>
                    </a:cubicBezTo>
                    <a:cubicBezTo>
                      <a:pt x="282" y="49"/>
                      <a:pt x="286" y="39"/>
                      <a:pt x="286" y="23"/>
                    </a:cubicBezTo>
                    <a:cubicBezTo>
                      <a:pt x="286" y="4"/>
                      <a:pt x="275" y="0"/>
                      <a:pt x="244" y="0"/>
                    </a:cubicBezTo>
                    <a:cubicBezTo>
                      <a:pt x="231" y="0"/>
                      <a:pt x="231" y="0"/>
                      <a:pt x="231" y="0"/>
                    </a:cubicBezTo>
                    <a:cubicBezTo>
                      <a:pt x="101" y="0"/>
                      <a:pt x="0" y="71"/>
                      <a:pt x="0" y="232"/>
                    </a:cubicBezTo>
                    <a:cubicBezTo>
                      <a:pt x="0" y="386"/>
                      <a:pt x="88" y="455"/>
                      <a:pt x="198" y="455"/>
                    </a:cubicBezTo>
                    <a:cubicBezTo>
                      <a:pt x="286" y="455"/>
                      <a:pt x="307" y="430"/>
                      <a:pt x="307" y="40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sp>
            <p:nvSpPr>
              <p:cNvPr id="26" name="Oval 11">
                <a:extLst>
                  <a:ext uri="{FF2B5EF4-FFF2-40B4-BE49-F238E27FC236}">
                    <a16:creationId xmlns:a16="http://schemas.microsoft.com/office/drawing/2014/main" id="{14F8C3C8-4888-7646-B9B4-64EB46A1DA23}"/>
                  </a:ext>
                </a:extLst>
              </p:cNvPr>
              <p:cNvSpPr>
                <a:spLocks noChangeArrowheads="1"/>
              </p:cNvSpPr>
              <p:nvPr/>
            </p:nvSpPr>
            <p:spPr bwMode="gray">
              <a:xfrm>
                <a:off x="3778" y="2099"/>
                <a:ext cx="122" cy="12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sp>
            <p:nvSpPr>
              <p:cNvPr id="27" name="Freeform 12">
                <a:extLst>
                  <a:ext uri="{FF2B5EF4-FFF2-40B4-BE49-F238E27FC236}">
                    <a16:creationId xmlns:a16="http://schemas.microsoft.com/office/drawing/2014/main" id="{D79D01D1-4E3E-F34B-97D7-2D387E68746E}"/>
                  </a:ext>
                </a:extLst>
              </p:cNvPr>
              <p:cNvSpPr>
                <a:spLocks/>
              </p:cNvSpPr>
              <p:nvPr/>
            </p:nvSpPr>
            <p:spPr bwMode="gray">
              <a:xfrm>
                <a:off x="4321" y="1029"/>
                <a:ext cx="648" cy="649"/>
              </a:xfrm>
              <a:custGeom>
                <a:avLst/>
                <a:gdLst>
                  <a:gd name="T0" fmla="*/ 0 w 648"/>
                  <a:gd name="T1" fmla="*/ 649 h 649"/>
                  <a:gd name="T2" fmla="*/ 2 w 648"/>
                  <a:gd name="T3" fmla="*/ 649 h 649"/>
                  <a:gd name="T4" fmla="*/ 648 w 648"/>
                  <a:gd name="T5" fmla="*/ 0 h 649"/>
                  <a:gd name="T6" fmla="*/ 423 w 648"/>
                  <a:gd name="T7" fmla="*/ 0 h 649"/>
                  <a:gd name="T8" fmla="*/ 0 w 648"/>
                  <a:gd name="T9" fmla="*/ 649 h 649"/>
                </a:gdLst>
                <a:ahLst/>
                <a:cxnLst>
                  <a:cxn ang="0">
                    <a:pos x="T0" y="T1"/>
                  </a:cxn>
                  <a:cxn ang="0">
                    <a:pos x="T2" y="T3"/>
                  </a:cxn>
                  <a:cxn ang="0">
                    <a:pos x="T4" y="T5"/>
                  </a:cxn>
                  <a:cxn ang="0">
                    <a:pos x="T6" y="T7"/>
                  </a:cxn>
                  <a:cxn ang="0">
                    <a:pos x="T8" y="T9"/>
                  </a:cxn>
                </a:cxnLst>
                <a:rect l="0" t="0" r="r" b="b"/>
                <a:pathLst>
                  <a:path w="648" h="649">
                    <a:moveTo>
                      <a:pt x="0" y="649"/>
                    </a:moveTo>
                    <a:lnTo>
                      <a:pt x="2" y="649"/>
                    </a:lnTo>
                    <a:lnTo>
                      <a:pt x="648" y="0"/>
                    </a:lnTo>
                    <a:lnTo>
                      <a:pt x="423" y="0"/>
                    </a:lnTo>
                    <a:lnTo>
                      <a:pt x="0" y="64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sp>
            <p:nvSpPr>
              <p:cNvPr id="28" name="Freeform 13">
                <a:extLst>
                  <a:ext uri="{FF2B5EF4-FFF2-40B4-BE49-F238E27FC236}">
                    <a16:creationId xmlns:a16="http://schemas.microsoft.com/office/drawing/2014/main" id="{46549898-6C52-B147-A8F6-A73FDBE6163B}"/>
                  </a:ext>
                </a:extLst>
              </p:cNvPr>
              <p:cNvSpPr>
                <a:spLocks/>
              </p:cNvSpPr>
              <p:nvPr/>
            </p:nvSpPr>
            <p:spPr bwMode="gray">
              <a:xfrm>
                <a:off x="4321" y="1029"/>
                <a:ext cx="648" cy="649"/>
              </a:xfrm>
              <a:custGeom>
                <a:avLst/>
                <a:gdLst>
                  <a:gd name="T0" fmla="*/ 0 w 648"/>
                  <a:gd name="T1" fmla="*/ 649 h 649"/>
                  <a:gd name="T2" fmla="*/ 2 w 648"/>
                  <a:gd name="T3" fmla="*/ 649 h 649"/>
                  <a:gd name="T4" fmla="*/ 648 w 648"/>
                  <a:gd name="T5" fmla="*/ 0 h 649"/>
                  <a:gd name="T6" fmla="*/ 423 w 648"/>
                  <a:gd name="T7" fmla="*/ 0 h 649"/>
                  <a:gd name="T8" fmla="*/ 0 w 648"/>
                  <a:gd name="T9" fmla="*/ 649 h 649"/>
                </a:gdLst>
                <a:ahLst/>
                <a:cxnLst>
                  <a:cxn ang="0">
                    <a:pos x="T0" y="T1"/>
                  </a:cxn>
                  <a:cxn ang="0">
                    <a:pos x="T2" y="T3"/>
                  </a:cxn>
                  <a:cxn ang="0">
                    <a:pos x="T4" y="T5"/>
                  </a:cxn>
                  <a:cxn ang="0">
                    <a:pos x="T6" y="T7"/>
                  </a:cxn>
                  <a:cxn ang="0">
                    <a:pos x="T8" y="T9"/>
                  </a:cxn>
                </a:cxnLst>
                <a:rect l="0" t="0" r="r" b="b"/>
                <a:pathLst>
                  <a:path w="648" h="649">
                    <a:moveTo>
                      <a:pt x="0" y="649"/>
                    </a:moveTo>
                    <a:lnTo>
                      <a:pt x="2" y="649"/>
                    </a:lnTo>
                    <a:lnTo>
                      <a:pt x="648" y="0"/>
                    </a:lnTo>
                    <a:lnTo>
                      <a:pt x="423" y="0"/>
                    </a:lnTo>
                    <a:lnTo>
                      <a:pt x="0" y="64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grpSp>
      </p:grpSp>
      <p:sp>
        <p:nvSpPr>
          <p:cNvPr id="7" name="Date Placeholder 6"/>
          <p:cNvSpPr>
            <a:spLocks noGrp="1"/>
          </p:cNvSpPr>
          <p:nvPr>
            <p:ph type="dt" sz="half" idx="10"/>
          </p:nvPr>
        </p:nvSpPr>
        <p:spPr>
          <a:xfrm>
            <a:off x="0" y="0"/>
            <a:ext cx="0" cy="0"/>
          </a:xfrm>
          <a:prstGeom prst="rect">
            <a:avLst/>
          </a:prstGeom>
        </p:spPr>
        <p:txBody>
          <a:bodyPr/>
          <a:lstStyle>
            <a:lvl1pPr>
              <a:defRPr sz="100">
                <a:noFill/>
              </a:defRPr>
            </a:lvl1pPr>
          </a:lstStyle>
          <a:p>
            <a:fld id="{D6D08F88-38D2-4786-82D6-89211B05083D}" type="datetime5">
              <a:rPr lang="en-US" smtClean="0"/>
              <a:t>26-Jun-20</a:t>
            </a:fld>
            <a:endParaRPr lang="en-US" dirty="0"/>
          </a:p>
        </p:txBody>
      </p:sp>
      <p:sp>
        <p:nvSpPr>
          <p:cNvPr id="8" name="Footer Placeholder 7"/>
          <p:cNvSpPr>
            <a:spLocks noGrp="1"/>
          </p:cNvSpPr>
          <p:nvPr>
            <p:ph type="ftr" sz="quarter" idx="11"/>
          </p:nvPr>
        </p:nvSpPr>
        <p:spPr>
          <a:xfrm>
            <a:off x="0" y="0"/>
            <a:ext cx="0" cy="0"/>
          </a:xfrm>
          <a:prstGeom prst="rect">
            <a:avLst/>
          </a:prstGeom>
        </p:spPr>
        <p:txBody>
          <a:bodyPr/>
          <a:lstStyle>
            <a:lvl1pPr marL="0" indent="0">
              <a:buNone/>
              <a:defRPr sz="100">
                <a:noFill/>
              </a:defRPr>
            </a:lvl1pPr>
          </a:lstStyle>
          <a:p>
            <a:r>
              <a:rPr lang="en-US"/>
              <a:t>Title of presentation (Insert / Header &amp; Footer / Apply to All)</a:t>
            </a:r>
            <a:endParaRPr lang="en-US" dirty="0"/>
          </a:p>
        </p:txBody>
      </p:sp>
      <p:sp>
        <p:nvSpPr>
          <p:cNvPr id="9" name="Slide Number Placeholder 8"/>
          <p:cNvSpPr>
            <a:spLocks noGrp="1"/>
          </p:cNvSpPr>
          <p:nvPr>
            <p:ph type="sldNum" sz="quarter" idx="12"/>
          </p:nvPr>
        </p:nvSpPr>
        <p:spPr>
          <a:xfrm>
            <a:off x="0" y="0"/>
            <a:ext cx="0" cy="0"/>
          </a:xfrm>
          <a:prstGeom prst="rect">
            <a:avLst/>
          </a:prstGeom>
        </p:spPr>
        <p:txBody>
          <a:bodyPr/>
          <a:lstStyle>
            <a:lvl1pPr>
              <a:defRPr sz="100">
                <a:noFill/>
              </a:defRPr>
            </a:lvl1pPr>
          </a:lstStyle>
          <a:p>
            <a:fld id="{8E3B25F7-8D1F-44B5-B485-EE3C438CFD7B}" type="slidenum">
              <a:rPr lang="en-US" smtClean="0"/>
              <a:pPr/>
              <a:t>‹#›</a:t>
            </a:fld>
            <a:endParaRPr lang="en-US"/>
          </a:p>
        </p:txBody>
      </p:sp>
      <p:sp>
        <p:nvSpPr>
          <p:cNvPr id="2" name="Title 1"/>
          <p:cNvSpPr>
            <a:spLocks noGrp="1"/>
          </p:cNvSpPr>
          <p:nvPr>
            <p:ph type="ctrTitle" hasCustomPrompt="1"/>
          </p:nvPr>
        </p:nvSpPr>
        <p:spPr>
          <a:xfrm>
            <a:off x="417600" y="1628775"/>
            <a:ext cx="3816000" cy="2236264"/>
          </a:xfrm>
        </p:spPr>
        <p:txBody>
          <a:bodyPr anchor="b"/>
          <a:lstStyle>
            <a:lvl1pPr algn="l">
              <a:defRPr sz="3600"/>
            </a:lvl1pPr>
          </a:lstStyle>
          <a:p>
            <a:r>
              <a:rPr lang="en-US" dirty="0"/>
              <a:t>Click to add presentation title</a:t>
            </a:r>
          </a:p>
        </p:txBody>
      </p:sp>
      <p:sp>
        <p:nvSpPr>
          <p:cNvPr id="3" name="Subtitle 2"/>
          <p:cNvSpPr>
            <a:spLocks noGrp="1"/>
          </p:cNvSpPr>
          <p:nvPr>
            <p:ph type="subTitle" idx="1" hasCustomPrompt="1"/>
          </p:nvPr>
        </p:nvSpPr>
        <p:spPr>
          <a:xfrm>
            <a:off x="417600" y="4094163"/>
            <a:ext cx="3816000" cy="1080000"/>
          </a:xfrm>
        </p:spPr>
        <p:txBody>
          <a:bodyPr/>
          <a:lstStyle>
            <a:lvl1pPr marL="0" indent="0" algn="l">
              <a:spcBef>
                <a:spcPts val="0"/>
              </a:spcBef>
              <a:buNone/>
              <a:defRPr sz="1800" b="1"/>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31" name="Text Placeholder 30"/>
          <p:cNvSpPr>
            <a:spLocks noGrp="1"/>
          </p:cNvSpPr>
          <p:nvPr>
            <p:ph type="body" sz="quarter" idx="14" hasCustomPrompt="1"/>
          </p:nvPr>
        </p:nvSpPr>
        <p:spPr>
          <a:xfrm>
            <a:off x="417600" y="5393268"/>
            <a:ext cx="3816000" cy="296332"/>
          </a:xfrm>
        </p:spPr>
        <p:txBody>
          <a:bodyPr wrap="none"/>
          <a:lstStyle>
            <a:lvl1pPr marL="0" indent="0">
              <a:spcBef>
                <a:spcPts val="0"/>
              </a:spcBef>
              <a:buNone/>
              <a:defRPr sz="1200"/>
            </a:lvl1pPr>
            <a:lvl2pPr marL="0" indent="0">
              <a:buNone/>
              <a:defRPr sz="1200"/>
            </a:lvl2pPr>
            <a:lvl3pPr marL="0" indent="0">
              <a:buNone/>
              <a:defRPr sz="1200"/>
            </a:lvl3pPr>
            <a:lvl4pPr marL="0">
              <a:buNone/>
              <a:defRPr sz="1200"/>
            </a:lvl4pPr>
            <a:lvl5pPr marL="0" indent="0">
              <a:buNone/>
              <a:defRPr sz="1200"/>
            </a:lvl5pPr>
          </a:lstStyle>
          <a:p>
            <a:pPr lvl="0"/>
            <a:r>
              <a:rPr lang="en-US" dirty="0"/>
              <a:t>Name</a:t>
            </a:r>
          </a:p>
        </p:txBody>
      </p:sp>
      <p:sp>
        <p:nvSpPr>
          <p:cNvPr id="34" name="Text Placeholder 30"/>
          <p:cNvSpPr>
            <a:spLocks noGrp="1"/>
          </p:cNvSpPr>
          <p:nvPr>
            <p:ph type="body" sz="quarter" idx="15" hasCustomPrompt="1"/>
          </p:nvPr>
        </p:nvSpPr>
        <p:spPr>
          <a:xfrm>
            <a:off x="417600" y="5691446"/>
            <a:ext cx="3816000" cy="296332"/>
          </a:xfrm>
        </p:spPr>
        <p:txBody>
          <a:bodyPr wrap="none"/>
          <a:lstStyle>
            <a:lvl1pPr marL="0" indent="0">
              <a:spcBef>
                <a:spcPts val="0"/>
              </a:spcBef>
              <a:buNone/>
              <a:defRPr sz="1200"/>
            </a:lvl1pPr>
            <a:lvl2pPr marL="0" indent="0">
              <a:buNone/>
              <a:defRPr sz="1200"/>
            </a:lvl2pPr>
            <a:lvl3pPr marL="0" indent="0">
              <a:buNone/>
              <a:defRPr sz="1200"/>
            </a:lvl3pPr>
            <a:lvl4pPr marL="0">
              <a:buNone/>
              <a:defRPr sz="1200"/>
            </a:lvl4pPr>
            <a:lvl5pPr marL="0" indent="0">
              <a:buNone/>
              <a:defRPr sz="1200"/>
            </a:lvl5pPr>
          </a:lstStyle>
          <a:p>
            <a:pPr lvl="0"/>
            <a:r>
              <a:rPr lang="en-US" dirty="0"/>
              <a:t>Department</a:t>
            </a:r>
          </a:p>
        </p:txBody>
      </p:sp>
    </p:spTree>
    <p:extLst>
      <p:ext uri="{BB962C8B-B14F-4D97-AF65-F5344CB8AC3E}">
        <p14:creationId xmlns:p14="http://schemas.microsoft.com/office/powerpoint/2010/main" val="1448340086"/>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p:cSld name="Divider 1">
    <p:spTree>
      <p:nvGrpSpPr>
        <p:cNvPr id="1" name=""/>
        <p:cNvGrpSpPr/>
        <p:nvPr/>
      </p:nvGrpSpPr>
      <p:grpSpPr>
        <a:xfrm>
          <a:off x="0" y="0"/>
          <a:ext cx="0" cy="0"/>
          <a:chOff x="0" y="0"/>
          <a:chExt cx="0" cy="0"/>
        </a:xfrm>
      </p:grpSpPr>
      <p:sp>
        <p:nvSpPr>
          <p:cNvPr id="12" name="Picture Placeholder 11"/>
          <p:cNvSpPr>
            <a:spLocks noGrp="1"/>
          </p:cNvSpPr>
          <p:nvPr>
            <p:ph type="pic" sz="quarter" idx="17" hasCustomPrompt="1"/>
          </p:nvPr>
        </p:nvSpPr>
        <p:spPr>
          <a:xfrm>
            <a:off x="-1" y="0"/>
            <a:ext cx="8822478" cy="6858000"/>
          </a:xfrm>
          <a:custGeom>
            <a:avLst/>
            <a:gdLst>
              <a:gd name="connsiteX0" fmla="*/ 0 w 8822478"/>
              <a:gd name="connsiteY0" fmla="*/ 0 h 6858000"/>
              <a:gd name="connsiteX1" fmla="*/ 8477306 w 8822478"/>
              <a:gd name="connsiteY1" fmla="*/ 0 h 6858000"/>
              <a:gd name="connsiteX2" fmla="*/ 6998505 w 8822478"/>
              <a:gd name="connsiteY2" fmla="*/ 3834029 h 6858000"/>
              <a:gd name="connsiteX3" fmla="*/ 8822478 w 8822478"/>
              <a:gd name="connsiteY3" fmla="*/ 6858000 h 6858000"/>
              <a:gd name="connsiteX4" fmla="*/ 0 w 8822478"/>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22478" h="6858000">
                <a:moveTo>
                  <a:pt x="0" y="0"/>
                </a:moveTo>
                <a:lnTo>
                  <a:pt x="8477306" y="0"/>
                </a:lnTo>
                <a:lnTo>
                  <a:pt x="6998505" y="3834029"/>
                </a:lnTo>
                <a:lnTo>
                  <a:pt x="8822478" y="6858000"/>
                </a:lnTo>
                <a:lnTo>
                  <a:pt x="0" y="6858000"/>
                </a:lnTo>
                <a:close/>
              </a:path>
            </a:pathLst>
          </a:custGeom>
          <a:solidFill>
            <a:srgbClr val="D9DADB"/>
          </a:solidFill>
        </p:spPr>
        <p:txBody>
          <a:bodyPr wrap="square">
            <a:noAutofit/>
          </a:bodyPr>
          <a:lstStyle>
            <a:lvl1pPr marL="0" indent="0">
              <a:buNone/>
              <a:defRPr/>
            </a:lvl1pPr>
          </a:lstStyle>
          <a:p>
            <a:r>
              <a:rPr lang="en-US" dirty="0"/>
              <a:t>Insert picture</a:t>
            </a:r>
          </a:p>
        </p:txBody>
      </p:sp>
      <p:sp>
        <p:nvSpPr>
          <p:cNvPr id="21" name="Date Placeholder 20"/>
          <p:cNvSpPr>
            <a:spLocks noGrp="1"/>
          </p:cNvSpPr>
          <p:nvPr>
            <p:ph type="dt" sz="half" idx="14"/>
          </p:nvPr>
        </p:nvSpPr>
        <p:spPr>
          <a:xfrm>
            <a:off x="192089" y="6237288"/>
            <a:ext cx="863600" cy="358173"/>
          </a:xfrm>
          <a:prstGeom prst="rect">
            <a:avLst/>
          </a:prstGeom>
        </p:spPr>
        <p:txBody>
          <a:bodyPr/>
          <a:lstStyle>
            <a:lvl1pPr>
              <a:defRPr>
                <a:solidFill>
                  <a:schemeClr val="bg1"/>
                </a:solidFill>
              </a:defRPr>
            </a:lvl1pPr>
          </a:lstStyle>
          <a:p>
            <a:fld id="{4A274CF1-226C-4201-826C-EA56EA2B3C12}" type="datetime5">
              <a:rPr lang="en-US" smtClean="0"/>
              <a:t>26-Jun-20</a:t>
            </a:fld>
            <a:endParaRPr lang="en-US"/>
          </a:p>
        </p:txBody>
      </p:sp>
      <p:sp>
        <p:nvSpPr>
          <p:cNvPr id="22" name="Footer Placeholder 21"/>
          <p:cNvSpPr>
            <a:spLocks noGrp="1"/>
          </p:cNvSpPr>
          <p:nvPr>
            <p:ph type="ftr" sz="quarter" idx="15"/>
          </p:nvPr>
        </p:nvSpPr>
        <p:spPr>
          <a:xfrm>
            <a:off x="1177999" y="6237288"/>
            <a:ext cx="8162717" cy="358173"/>
          </a:xfrm>
          <a:prstGeom prst="rect">
            <a:avLst/>
          </a:prstGeom>
        </p:spPr>
        <p:txBody>
          <a:bodyPr/>
          <a:lstStyle>
            <a:lvl1pPr>
              <a:defRPr>
                <a:solidFill>
                  <a:schemeClr val="bg1"/>
                </a:solidFill>
              </a:defRPr>
            </a:lvl1pPr>
          </a:lstStyle>
          <a:p>
            <a:r>
              <a:rPr lang="en-US"/>
              <a:t>Title of presentation (Insert / Header &amp; Footer / Apply to All)</a:t>
            </a:r>
            <a:endParaRPr lang="en-US" dirty="0"/>
          </a:p>
        </p:txBody>
      </p:sp>
      <p:sp>
        <p:nvSpPr>
          <p:cNvPr id="23" name="Slide Number Placeholder 22"/>
          <p:cNvSpPr>
            <a:spLocks noGrp="1"/>
          </p:cNvSpPr>
          <p:nvPr>
            <p:ph type="sldNum" sz="quarter" idx="16"/>
          </p:nvPr>
        </p:nvSpPr>
        <p:spPr/>
        <p:txBody>
          <a:bodyPr/>
          <a:lstStyle>
            <a:lvl1pPr>
              <a:defRPr>
                <a:solidFill>
                  <a:schemeClr val="tx1"/>
                </a:solidFill>
              </a:defRPr>
            </a:lvl1pPr>
          </a:lstStyle>
          <a:p>
            <a:fld id="{5F3E29E4-0979-4FCA-B4C5-5FC6044C982A}" type="slidenum">
              <a:rPr lang="en-US" smtClean="0"/>
              <a:pPr/>
              <a:t>‹#›</a:t>
            </a:fld>
            <a:endParaRPr lang="en-US"/>
          </a:p>
        </p:txBody>
      </p:sp>
      <p:sp>
        <p:nvSpPr>
          <p:cNvPr id="2" name="Title 1"/>
          <p:cNvSpPr>
            <a:spLocks noGrp="1"/>
          </p:cNvSpPr>
          <p:nvPr>
            <p:ph type="title" hasCustomPrompt="1"/>
          </p:nvPr>
        </p:nvSpPr>
        <p:spPr>
          <a:xfrm>
            <a:off x="7737533" y="2908628"/>
            <a:ext cx="4082992" cy="2103640"/>
          </a:xfrm>
        </p:spPr>
        <p:txBody>
          <a:bodyPr/>
          <a:lstStyle>
            <a:lvl1pPr>
              <a:defRPr>
                <a:solidFill>
                  <a:schemeClr val="tx1"/>
                </a:solidFill>
              </a:defRPr>
            </a:lvl1pPr>
          </a:lstStyle>
          <a:p>
            <a:r>
              <a:rPr lang="en-US" dirty="0"/>
              <a:t>Click to add section title</a:t>
            </a:r>
          </a:p>
        </p:txBody>
      </p:sp>
    </p:spTree>
    <p:extLst>
      <p:ext uri="{BB962C8B-B14F-4D97-AF65-F5344CB8AC3E}">
        <p14:creationId xmlns:p14="http://schemas.microsoft.com/office/powerpoint/2010/main" val="3766691680"/>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p:cSld name="Divider 2">
    <p:spTree>
      <p:nvGrpSpPr>
        <p:cNvPr id="1" name=""/>
        <p:cNvGrpSpPr/>
        <p:nvPr/>
      </p:nvGrpSpPr>
      <p:grpSpPr>
        <a:xfrm>
          <a:off x="0" y="0"/>
          <a:ext cx="0" cy="0"/>
          <a:chOff x="0" y="0"/>
          <a:chExt cx="0" cy="0"/>
        </a:xfrm>
      </p:grpSpPr>
      <p:sp>
        <p:nvSpPr>
          <p:cNvPr id="4" name="shp2"/>
          <p:cNvSpPr/>
          <p:nvPr/>
        </p:nvSpPr>
        <p:spPr>
          <a:xfrm>
            <a:off x="0" y="0"/>
            <a:ext cx="121932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a:p>
        </p:txBody>
      </p:sp>
      <p:sp>
        <p:nvSpPr>
          <p:cNvPr id="21" name="Date Placeholder 20"/>
          <p:cNvSpPr>
            <a:spLocks noGrp="1"/>
          </p:cNvSpPr>
          <p:nvPr>
            <p:ph type="dt" sz="half" idx="14"/>
          </p:nvPr>
        </p:nvSpPr>
        <p:spPr bwMode="ltGray">
          <a:xfrm>
            <a:off x="192089" y="6237288"/>
            <a:ext cx="863600" cy="358173"/>
          </a:xfrm>
          <a:prstGeom prst="rect">
            <a:avLst/>
          </a:prstGeom>
        </p:spPr>
        <p:txBody>
          <a:bodyPr/>
          <a:lstStyle>
            <a:lvl1pPr>
              <a:defRPr>
                <a:solidFill>
                  <a:schemeClr val="bg1"/>
                </a:solidFill>
              </a:defRPr>
            </a:lvl1pPr>
          </a:lstStyle>
          <a:p>
            <a:fld id="{3869822F-F9F4-4987-AC88-332F892BB2CC}" type="datetime5">
              <a:rPr lang="en-US" smtClean="0"/>
              <a:t>26-Jun-20</a:t>
            </a:fld>
            <a:endParaRPr lang="en-US"/>
          </a:p>
        </p:txBody>
      </p:sp>
      <p:sp>
        <p:nvSpPr>
          <p:cNvPr id="22" name="Footer Placeholder 21"/>
          <p:cNvSpPr>
            <a:spLocks noGrp="1"/>
          </p:cNvSpPr>
          <p:nvPr>
            <p:ph type="ftr" sz="quarter" idx="15"/>
          </p:nvPr>
        </p:nvSpPr>
        <p:spPr bwMode="ltGray">
          <a:xfrm>
            <a:off x="1177999" y="6237288"/>
            <a:ext cx="8162717" cy="358173"/>
          </a:xfrm>
          <a:prstGeom prst="rect">
            <a:avLst/>
          </a:prstGeom>
        </p:spPr>
        <p:txBody>
          <a:bodyPr/>
          <a:lstStyle>
            <a:lvl1pPr>
              <a:defRPr>
                <a:solidFill>
                  <a:schemeClr val="bg1"/>
                </a:solidFill>
              </a:defRPr>
            </a:lvl1pPr>
          </a:lstStyle>
          <a:p>
            <a:r>
              <a:rPr lang="en-US"/>
              <a:t>Title of presentation (Insert / Header &amp; Footer / Apply to All)</a:t>
            </a:r>
            <a:endParaRPr lang="en-US" dirty="0"/>
          </a:p>
        </p:txBody>
      </p:sp>
      <p:sp>
        <p:nvSpPr>
          <p:cNvPr id="23" name="Slide Number Placeholder 22"/>
          <p:cNvSpPr>
            <a:spLocks noGrp="1"/>
          </p:cNvSpPr>
          <p:nvPr>
            <p:ph type="sldNum" sz="quarter" idx="16"/>
          </p:nvPr>
        </p:nvSpPr>
        <p:spPr bwMode="ltGray"/>
        <p:txBody>
          <a:bodyPr/>
          <a:lstStyle>
            <a:lvl1pPr>
              <a:defRPr>
                <a:solidFill>
                  <a:schemeClr val="bg1"/>
                </a:solidFill>
              </a:defRPr>
            </a:lvl1pPr>
          </a:lstStyle>
          <a:p>
            <a:fld id="{5F3E29E4-0979-4FCA-B4C5-5FC6044C982A}" type="slidenum">
              <a:rPr lang="en-US" smtClean="0"/>
              <a:pPr/>
              <a:t>‹#›</a:t>
            </a:fld>
            <a:endParaRPr lang="en-US"/>
          </a:p>
        </p:txBody>
      </p:sp>
      <p:sp>
        <p:nvSpPr>
          <p:cNvPr id="8" name="copyright"/>
          <p:cNvSpPr txBox="1"/>
          <p:nvPr/>
        </p:nvSpPr>
        <p:spPr>
          <a:xfrm>
            <a:off x="10672209" y="6237288"/>
            <a:ext cx="500617" cy="358173"/>
          </a:xfrm>
          <a:prstGeom prst="rect">
            <a:avLst/>
          </a:prstGeom>
          <a:noFill/>
        </p:spPr>
        <p:txBody>
          <a:bodyPr wrap="none" lIns="0" tIns="0" rIns="0" bIns="0" rtlCol="0" anchor="b" anchorCtr="0">
            <a:noAutofit/>
          </a:bodyPr>
          <a:lstStyle/>
          <a:p>
            <a:pPr marL="0" indent="0" algn="r">
              <a:lnSpc>
                <a:spcPct val="125000"/>
              </a:lnSpc>
              <a:buClr>
                <a:schemeClr val="tx2"/>
              </a:buClr>
              <a:buFont typeface="Wingdings" panose="05000000000000000000" pitchFamily="2" charset="2"/>
              <a:buNone/>
            </a:pPr>
            <a:r>
              <a:rPr lang="en-US" sz="800" dirty="0">
                <a:solidFill>
                  <a:schemeClr val="bg1"/>
                </a:solidFill>
              </a:rPr>
              <a:t>© GfK</a:t>
            </a:r>
          </a:p>
        </p:txBody>
      </p:sp>
      <p:sp>
        <p:nvSpPr>
          <p:cNvPr id="2" name="Title 1"/>
          <p:cNvSpPr>
            <a:spLocks noGrp="1"/>
          </p:cNvSpPr>
          <p:nvPr>
            <p:ph type="title" hasCustomPrompt="1"/>
          </p:nvPr>
        </p:nvSpPr>
        <p:spPr bwMode="ltGray">
          <a:xfrm>
            <a:off x="1075062" y="1519552"/>
            <a:ext cx="10097763" cy="2273171"/>
          </a:xfrm>
        </p:spPr>
        <p:txBody>
          <a:bodyPr/>
          <a:lstStyle>
            <a:lvl1pPr>
              <a:defRPr>
                <a:solidFill>
                  <a:schemeClr val="bg1"/>
                </a:solidFill>
              </a:defRPr>
            </a:lvl1pPr>
          </a:lstStyle>
          <a:p>
            <a:r>
              <a:rPr lang="en-US" dirty="0"/>
              <a:t>Click to add section title</a:t>
            </a:r>
          </a:p>
        </p:txBody>
      </p:sp>
      <p:grpSp>
        <p:nvGrpSpPr>
          <p:cNvPr id="9" name="logo">
            <a:extLst>
              <a:ext uri="{FF2B5EF4-FFF2-40B4-BE49-F238E27FC236}">
                <a16:creationId xmlns:a16="http://schemas.microsoft.com/office/drawing/2014/main" id="{57BD2C4C-DC67-B843-B26C-309622FC75F7}"/>
              </a:ext>
            </a:extLst>
          </p:cNvPr>
          <p:cNvGrpSpPr>
            <a:grpSpLocks noChangeAspect="1"/>
          </p:cNvGrpSpPr>
          <p:nvPr/>
        </p:nvGrpSpPr>
        <p:grpSpPr bwMode="gray">
          <a:xfrm>
            <a:off x="11174018" y="401441"/>
            <a:ext cx="644225" cy="646507"/>
            <a:chOff x="2711" y="1027"/>
            <a:chExt cx="2258" cy="2266"/>
          </a:xfrm>
        </p:grpSpPr>
        <p:sp>
          <p:nvSpPr>
            <p:cNvPr id="11" name="AutoShape 3">
              <a:extLst>
                <a:ext uri="{FF2B5EF4-FFF2-40B4-BE49-F238E27FC236}">
                  <a16:creationId xmlns:a16="http://schemas.microsoft.com/office/drawing/2014/main" id="{FE1DC41B-291E-574C-9F2C-874E70A40758}"/>
                </a:ext>
              </a:extLst>
            </p:cNvPr>
            <p:cNvSpPr>
              <a:spLocks noChangeAspect="1" noChangeArrowheads="1" noTextEdit="1"/>
            </p:cNvSpPr>
            <p:nvPr/>
          </p:nvSpPr>
          <p:spPr bwMode="gray">
            <a:xfrm>
              <a:off x="2711" y="1027"/>
              <a:ext cx="2258" cy="22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sp>
          <p:nvSpPr>
            <p:cNvPr id="12" name="Freeform 5">
              <a:extLst>
                <a:ext uri="{FF2B5EF4-FFF2-40B4-BE49-F238E27FC236}">
                  <a16:creationId xmlns:a16="http://schemas.microsoft.com/office/drawing/2014/main" id="{D4B633C8-F761-C54B-9BD2-EB59D49A2DBC}"/>
                </a:ext>
              </a:extLst>
            </p:cNvPr>
            <p:cNvSpPr>
              <a:spLocks/>
            </p:cNvSpPr>
            <p:nvPr/>
          </p:nvSpPr>
          <p:spPr bwMode="gray">
            <a:xfrm>
              <a:off x="2709" y="1029"/>
              <a:ext cx="2260" cy="2262"/>
            </a:xfrm>
            <a:custGeom>
              <a:avLst/>
              <a:gdLst>
                <a:gd name="T0" fmla="*/ 2260 w 2260"/>
                <a:gd name="T1" fmla="*/ 0 h 2262"/>
                <a:gd name="T2" fmla="*/ 1612 w 2260"/>
                <a:gd name="T3" fmla="*/ 649 h 2262"/>
                <a:gd name="T4" fmla="*/ 1612 w 2260"/>
                <a:gd name="T5" fmla="*/ 649 h 2262"/>
                <a:gd name="T6" fmla="*/ 2035 w 2260"/>
                <a:gd name="T7" fmla="*/ 0 h 2262"/>
                <a:gd name="T8" fmla="*/ 0 w 2260"/>
                <a:gd name="T9" fmla="*/ 0 h 2262"/>
                <a:gd name="T10" fmla="*/ 0 w 2260"/>
                <a:gd name="T11" fmla="*/ 2262 h 2262"/>
                <a:gd name="T12" fmla="*/ 2260 w 2260"/>
                <a:gd name="T13" fmla="*/ 2262 h 2262"/>
                <a:gd name="T14" fmla="*/ 2260 w 2260"/>
                <a:gd name="T15" fmla="*/ 0 h 2262"/>
                <a:gd name="T16" fmla="*/ 2260 w 2260"/>
                <a:gd name="T17" fmla="*/ 0 h 2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0" h="2262">
                  <a:moveTo>
                    <a:pt x="2260" y="0"/>
                  </a:moveTo>
                  <a:lnTo>
                    <a:pt x="1612" y="649"/>
                  </a:lnTo>
                  <a:lnTo>
                    <a:pt x="1612" y="649"/>
                  </a:lnTo>
                  <a:lnTo>
                    <a:pt x="2035" y="0"/>
                  </a:lnTo>
                  <a:lnTo>
                    <a:pt x="0" y="0"/>
                  </a:lnTo>
                  <a:lnTo>
                    <a:pt x="0" y="2262"/>
                  </a:lnTo>
                  <a:lnTo>
                    <a:pt x="2260" y="2262"/>
                  </a:lnTo>
                  <a:lnTo>
                    <a:pt x="2260" y="0"/>
                  </a:lnTo>
                  <a:lnTo>
                    <a:pt x="2260" y="0"/>
                  </a:lnTo>
                  <a:close/>
                </a:path>
              </a:pathLst>
            </a:custGeom>
            <a:solidFill>
              <a:srgbClr val="E55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sp>
          <p:nvSpPr>
            <p:cNvPr id="13" name="Freeform 6">
              <a:extLst>
                <a:ext uri="{FF2B5EF4-FFF2-40B4-BE49-F238E27FC236}">
                  <a16:creationId xmlns:a16="http://schemas.microsoft.com/office/drawing/2014/main" id="{B16BAAE4-1A41-C843-9754-490F7A1E1270}"/>
                </a:ext>
              </a:extLst>
            </p:cNvPr>
            <p:cNvSpPr>
              <a:spLocks noEditPoints="1"/>
            </p:cNvSpPr>
            <p:nvPr/>
          </p:nvSpPr>
          <p:spPr bwMode="gray">
            <a:xfrm>
              <a:off x="3623" y="1696"/>
              <a:ext cx="1167" cy="922"/>
            </a:xfrm>
            <a:custGeom>
              <a:avLst/>
              <a:gdLst>
                <a:gd name="T0" fmla="*/ 411 w 580"/>
                <a:gd name="T1" fmla="*/ 213 h 458"/>
                <a:gd name="T2" fmla="*/ 570 w 580"/>
                <a:gd name="T3" fmla="*/ 37 h 458"/>
                <a:gd name="T4" fmla="*/ 580 w 580"/>
                <a:gd name="T5" fmla="*/ 20 h 458"/>
                <a:gd name="T6" fmla="*/ 545 w 580"/>
                <a:gd name="T7" fmla="*/ 0 h 458"/>
                <a:gd name="T8" fmla="*/ 519 w 580"/>
                <a:gd name="T9" fmla="*/ 16 h 458"/>
                <a:gd name="T10" fmla="*/ 344 w 580"/>
                <a:gd name="T11" fmla="*/ 210 h 458"/>
                <a:gd name="T12" fmla="*/ 334 w 580"/>
                <a:gd name="T13" fmla="*/ 229 h 458"/>
                <a:gd name="T14" fmla="*/ 344 w 580"/>
                <a:gd name="T15" fmla="*/ 248 h 458"/>
                <a:gd name="T16" fmla="*/ 519 w 580"/>
                <a:gd name="T17" fmla="*/ 442 h 458"/>
                <a:gd name="T18" fmla="*/ 545 w 580"/>
                <a:gd name="T19" fmla="*/ 458 h 458"/>
                <a:gd name="T20" fmla="*/ 580 w 580"/>
                <a:gd name="T21" fmla="*/ 438 h 458"/>
                <a:gd name="T22" fmla="*/ 570 w 580"/>
                <a:gd name="T23" fmla="*/ 421 h 458"/>
                <a:gd name="T24" fmla="*/ 411 w 580"/>
                <a:gd name="T25" fmla="*/ 245 h 458"/>
                <a:gd name="T26" fmla="*/ 399 w 580"/>
                <a:gd name="T27" fmla="*/ 229 h 458"/>
                <a:gd name="T28" fmla="*/ 411 w 580"/>
                <a:gd name="T29" fmla="*/ 213 h 458"/>
                <a:gd name="T30" fmla="*/ 252 w 580"/>
                <a:gd name="T31" fmla="*/ 439 h 458"/>
                <a:gd name="T32" fmla="*/ 281 w 580"/>
                <a:gd name="T33" fmla="*/ 454 h 458"/>
                <a:gd name="T34" fmla="*/ 309 w 580"/>
                <a:gd name="T35" fmla="*/ 439 h 458"/>
                <a:gd name="T36" fmla="*/ 309 w 580"/>
                <a:gd name="T37" fmla="*/ 19 h 458"/>
                <a:gd name="T38" fmla="*/ 281 w 580"/>
                <a:gd name="T39" fmla="*/ 4 h 458"/>
                <a:gd name="T40" fmla="*/ 252 w 580"/>
                <a:gd name="T41" fmla="*/ 19 h 458"/>
                <a:gd name="T42" fmla="*/ 252 w 580"/>
                <a:gd name="T43" fmla="*/ 439 h 458"/>
                <a:gd name="T44" fmla="*/ 0 w 580"/>
                <a:gd name="T45" fmla="*/ 439 h 458"/>
                <a:gd name="T46" fmla="*/ 28 w 580"/>
                <a:gd name="T47" fmla="*/ 454 h 458"/>
                <a:gd name="T48" fmla="*/ 56 w 580"/>
                <a:gd name="T49" fmla="*/ 439 h 458"/>
                <a:gd name="T50" fmla="*/ 56 w 580"/>
                <a:gd name="T51" fmla="*/ 157 h 458"/>
                <a:gd name="T52" fmla="*/ 165 w 580"/>
                <a:gd name="T53" fmla="*/ 53 h 458"/>
                <a:gd name="T54" fmla="*/ 180 w 580"/>
                <a:gd name="T55" fmla="*/ 53 h 458"/>
                <a:gd name="T56" fmla="*/ 196 w 580"/>
                <a:gd name="T57" fmla="*/ 27 h 458"/>
                <a:gd name="T58" fmla="*/ 154 w 580"/>
                <a:gd name="T59" fmla="*/ 4 h 458"/>
                <a:gd name="T60" fmla="*/ 0 w 580"/>
                <a:gd name="T61" fmla="*/ 152 h 458"/>
                <a:gd name="T62" fmla="*/ 0 w 580"/>
                <a:gd name="T63" fmla="*/ 439 h 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80" h="458">
                  <a:moveTo>
                    <a:pt x="411" y="213"/>
                  </a:moveTo>
                  <a:cubicBezTo>
                    <a:pt x="570" y="37"/>
                    <a:pt x="570" y="37"/>
                    <a:pt x="570" y="37"/>
                  </a:cubicBezTo>
                  <a:cubicBezTo>
                    <a:pt x="576" y="30"/>
                    <a:pt x="580" y="25"/>
                    <a:pt x="580" y="20"/>
                  </a:cubicBezTo>
                  <a:cubicBezTo>
                    <a:pt x="580" y="10"/>
                    <a:pt x="559" y="0"/>
                    <a:pt x="545" y="0"/>
                  </a:cubicBezTo>
                  <a:cubicBezTo>
                    <a:pt x="535" y="0"/>
                    <a:pt x="526" y="8"/>
                    <a:pt x="519" y="16"/>
                  </a:cubicBezTo>
                  <a:cubicBezTo>
                    <a:pt x="344" y="210"/>
                    <a:pt x="344" y="210"/>
                    <a:pt x="344" y="210"/>
                  </a:cubicBezTo>
                  <a:cubicBezTo>
                    <a:pt x="336" y="219"/>
                    <a:pt x="334" y="224"/>
                    <a:pt x="334" y="229"/>
                  </a:cubicBezTo>
                  <a:cubicBezTo>
                    <a:pt x="334" y="234"/>
                    <a:pt x="336" y="239"/>
                    <a:pt x="344" y="248"/>
                  </a:cubicBezTo>
                  <a:cubicBezTo>
                    <a:pt x="519" y="442"/>
                    <a:pt x="519" y="442"/>
                    <a:pt x="519" y="442"/>
                  </a:cubicBezTo>
                  <a:cubicBezTo>
                    <a:pt x="526" y="450"/>
                    <a:pt x="535" y="458"/>
                    <a:pt x="545" y="458"/>
                  </a:cubicBezTo>
                  <a:cubicBezTo>
                    <a:pt x="559" y="458"/>
                    <a:pt x="580" y="448"/>
                    <a:pt x="580" y="438"/>
                  </a:cubicBezTo>
                  <a:cubicBezTo>
                    <a:pt x="580" y="433"/>
                    <a:pt x="576" y="428"/>
                    <a:pt x="570" y="421"/>
                  </a:cubicBezTo>
                  <a:cubicBezTo>
                    <a:pt x="411" y="245"/>
                    <a:pt x="411" y="245"/>
                    <a:pt x="411" y="245"/>
                  </a:cubicBezTo>
                  <a:cubicBezTo>
                    <a:pt x="403" y="236"/>
                    <a:pt x="399" y="232"/>
                    <a:pt x="399" y="229"/>
                  </a:cubicBezTo>
                  <a:cubicBezTo>
                    <a:pt x="399" y="226"/>
                    <a:pt x="403" y="222"/>
                    <a:pt x="411" y="213"/>
                  </a:cubicBezTo>
                  <a:moveTo>
                    <a:pt x="252" y="439"/>
                  </a:moveTo>
                  <a:cubicBezTo>
                    <a:pt x="252" y="449"/>
                    <a:pt x="261" y="454"/>
                    <a:pt x="281" y="454"/>
                  </a:cubicBezTo>
                  <a:cubicBezTo>
                    <a:pt x="300" y="454"/>
                    <a:pt x="309" y="449"/>
                    <a:pt x="309" y="439"/>
                  </a:cubicBezTo>
                  <a:cubicBezTo>
                    <a:pt x="309" y="19"/>
                    <a:pt x="309" y="19"/>
                    <a:pt x="309" y="19"/>
                  </a:cubicBezTo>
                  <a:cubicBezTo>
                    <a:pt x="309" y="9"/>
                    <a:pt x="300" y="4"/>
                    <a:pt x="281" y="4"/>
                  </a:cubicBezTo>
                  <a:cubicBezTo>
                    <a:pt x="261" y="4"/>
                    <a:pt x="252" y="9"/>
                    <a:pt x="252" y="19"/>
                  </a:cubicBezTo>
                  <a:lnTo>
                    <a:pt x="252" y="439"/>
                  </a:lnTo>
                  <a:close/>
                  <a:moveTo>
                    <a:pt x="0" y="439"/>
                  </a:moveTo>
                  <a:cubicBezTo>
                    <a:pt x="0" y="449"/>
                    <a:pt x="8" y="454"/>
                    <a:pt x="28" y="454"/>
                  </a:cubicBezTo>
                  <a:cubicBezTo>
                    <a:pt x="48" y="454"/>
                    <a:pt x="56" y="449"/>
                    <a:pt x="56" y="439"/>
                  </a:cubicBezTo>
                  <a:cubicBezTo>
                    <a:pt x="56" y="157"/>
                    <a:pt x="56" y="157"/>
                    <a:pt x="56" y="157"/>
                  </a:cubicBezTo>
                  <a:cubicBezTo>
                    <a:pt x="56" y="83"/>
                    <a:pt x="85" y="53"/>
                    <a:pt x="165" y="53"/>
                  </a:cubicBezTo>
                  <a:cubicBezTo>
                    <a:pt x="180" y="53"/>
                    <a:pt x="180" y="53"/>
                    <a:pt x="180" y="53"/>
                  </a:cubicBezTo>
                  <a:cubicBezTo>
                    <a:pt x="192" y="53"/>
                    <a:pt x="196" y="43"/>
                    <a:pt x="196" y="27"/>
                  </a:cubicBezTo>
                  <a:cubicBezTo>
                    <a:pt x="196" y="8"/>
                    <a:pt x="185" y="4"/>
                    <a:pt x="154" y="4"/>
                  </a:cubicBezTo>
                  <a:cubicBezTo>
                    <a:pt x="64" y="4"/>
                    <a:pt x="0" y="43"/>
                    <a:pt x="0" y="152"/>
                  </a:cubicBezTo>
                  <a:lnTo>
                    <a:pt x="0" y="43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sp>
          <p:nvSpPr>
            <p:cNvPr id="14" name="Freeform 7">
              <a:extLst>
                <a:ext uri="{FF2B5EF4-FFF2-40B4-BE49-F238E27FC236}">
                  <a16:creationId xmlns:a16="http://schemas.microsoft.com/office/drawing/2014/main" id="{2F32DCBD-8628-F245-85CD-97686A20ECFD}"/>
                </a:ext>
              </a:extLst>
            </p:cNvPr>
            <p:cNvSpPr>
              <a:spLocks/>
            </p:cNvSpPr>
            <p:nvPr/>
          </p:nvSpPr>
          <p:spPr bwMode="gray">
            <a:xfrm>
              <a:off x="2880" y="1704"/>
              <a:ext cx="618" cy="916"/>
            </a:xfrm>
            <a:custGeom>
              <a:avLst/>
              <a:gdLst>
                <a:gd name="T0" fmla="*/ 307 w 307"/>
                <a:gd name="T1" fmla="*/ 405 h 455"/>
                <a:gd name="T2" fmla="*/ 307 w 307"/>
                <a:gd name="T3" fmla="*/ 244 h 455"/>
                <a:gd name="T4" fmla="*/ 279 w 307"/>
                <a:gd name="T5" fmla="*/ 229 h 455"/>
                <a:gd name="T6" fmla="*/ 250 w 307"/>
                <a:gd name="T7" fmla="*/ 244 h 455"/>
                <a:gd name="T8" fmla="*/ 250 w 307"/>
                <a:gd name="T9" fmla="*/ 378 h 455"/>
                <a:gd name="T10" fmla="*/ 199 w 307"/>
                <a:gd name="T11" fmla="*/ 408 h 455"/>
                <a:gd name="T12" fmla="*/ 61 w 307"/>
                <a:gd name="T13" fmla="*/ 231 h 455"/>
                <a:gd name="T14" fmla="*/ 238 w 307"/>
                <a:gd name="T15" fmla="*/ 49 h 455"/>
                <a:gd name="T16" fmla="*/ 270 w 307"/>
                <a:gd name="T17" fmla="*/ 49 h 455"/>
                <a:gd name="T18" fmla="*/ 286 w 307"/>
                <a:gd name="T19" fmla="*/ 23 h 455"/>
                <a:gd name="T20" fmla="*/ 244 w 307"/>
                <a:gd name="T21" fmla="*/ 0 h 455"/>
                <a:gd name="T22" fmla="*/ 231 w 307"/>
                <a:gd name="T23" fmla="*/ 0 h 455"/>
                <a:gd name="T24" fmla="*/ 0 w 307"/>
                <a:gd name="T25" fmla="*/ 232 h 455"/>
                <a:gd name="T26" fmla="*/ 198 w 307"/>
                <a:gd name="T27" fmla="*/ 455 h 455"/>
                <a:gd name="T28" fmla="*/ 307 w 307"/>
                <a:gd name="T29" fmla="*/ 405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7" h="455">
                  <a:moveTo>
                    <a:pt x="307" y="405"/>
                  </a:moveTo>
                  <a:cubicBezTo>
                    <a:pt x="307" y="244"/>
                    <a:pt x="307" y="244"/>
                    <a:pt x="307" y="244"/>
                  </a:cubicBezTo>
                  <a:cubicBezTo>
                    <a:pt x="307" y="234"/>
                    <a:pt x="298" y="229"/>
                    <a:pt x="279" y="229"/>
                  </a:cubicBezTo>
                  <a:cubicBezTo>
                    <a:pt x="259" y="229"/>
                    <a:pt x="250" y="234"/>
                    <a:pt x="250" y="244"/>
                  </a:cubicBezTo>
                  <a:cubicBezTo>
                    <a:pt x="250" y="378"/>
                    <a:pt x="250" y="378"/>
                    <a:pt x="250" y="378"/>
                  </a:cubicBezTo>
                  <a:cubicBezTo>
                    <a:pt x="250" y="399"/>
                    <a:pt x="241" y="408"/>
                    <a:pt x="199" y="408"/>
                  </a:cubicBezTo>
                  <a:cubicBezTo>
                    <a:pt x="114" y="408"/>
                    <a:pt x="61" y="342"/>
                    <a:pt x="61" y="231"/>
                  </a:cubicBezTo>
                  <a:cubicBezTo>
                    <a:pt x="61" y="115"/>
                    <a:pt x="126" y="49"/>
                    <a:pt x="238" y="49"/>
                  </a:cubicBezTo>
                  <a:cubicBezTo>
                    <a:pt x="270" y="49"/>
                    <a:pt x="270" y="49"/>
                    <a:pt x="270" y="49"/>
                  </a:cubicBezTo>
                  <a:cubicBezTo>
                    <a:pt x="282" y="49"/>
                    <a:pt x="286" y="39"/>
                    <a:pt x="286" y="23"/>
                  </a:cubicBezTo>
                  <a:cubicBezTo>
                    <a:pt x="286" y="4"/>
                    <a:pt x="275" y="0"/>
                    <a:pt x="244" y="0"/>
                  </a:cubicBezTo>
                  <a:cubicBezTo>
                    <a:pt x="231" y="0"/>
                    <a:pt x="231" y="0"/>
                    <a:pt x="231" y="0"/>
                  </a:cubicBezTo>
                  <a:cubicBezTo>
                    <a:pt x="101" y="0"/>
                    <a:pt x="0" y="71"/>
                    <a:pt x="0" y="232"/>
                  </a:cubicBezTo>
                  <a:cubicBezTo>
                    <a:pt x="0" y="386"/>
                    <a:pt x="88" y="455"/>
                    <a:pt x="198" y="455"/>
                  </a:cubicBezTo>
                  <a:cubicBezTo>
                    <a:pt x="286" y="455"/>
                    <a:pt x="307" y="430"/>
                    <a:pt x="307" y="40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sp>
          <p:nvSpPr>
            <p:cNvPr id="15" name="Oval 8">
              <a:extLst>
                <a:ext uri="{FF2B5EF4-FFF2-40B4-BE49-F238E27FC236}">
                  <a16:creationId xmlns:a16="http://schemas.microsoft.com/office/drawing/2014/main" id="{60D97C11-1A3B-5449-A48D-98A3E79B3810}"/>
                </a:ext>
              </a:extLst>
            </p:cNvPr>
            <p:cNvSpPr>
              <a:spLocks noChangeArrowheads="1"/>
            </p:cNvSpPr>
            <p:nvPr/>
          </p:nvSpPr>
          <p:spPr bwMode="gray">
            <a:xfrm>
              <a:off x="3778" y="2099"/>
              <a:ext cx="122" cy="12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sp>
          <p:nvSpPr>
            <p:cNvPr id="16" name="Freeform 9">
              <a:extLst>
                <a:ext uri="{FF2B5EF4-FFF2-40B4-BE49-F238E27FC236}">
                  <a16:creationId xmlns:a16="http://schemas.microsoft.com/office/drawing/2014/main" id="{5856770D-B8F0-244E-A05D-AED190086F10}"/>
                </a:ext>
              </a:extLst>
            </p:cNvPr>
            <p:cNvSpPr>
              <a:spLocks noEditPoints="1"/>
            </p:cNvSpPr>
            <p:nvPr/>
          </p:nvSpPr>
          <p:spPr bwMode="gray">
            <a:xfrm>
              <a:off x="3623" y="1696"/>
              <a:ext cx="1167" cy="922"/>
            </a:xfrm>
            <a:custGeom>
              <a:avLst/>
              <a:gdLst>
                <a:gd name="T0" fmla="*/ 411 w 580"/>
                <a:gd name="T1" fmla="*/ 213 h 458"/>
                <a:gd name="T2" fmla="*/ 570 w 580"/>
                <a:gd name="T3" fmla="*/ 37 h 458"/>
                <a:gd name="T4" fmla="*/ 580 w 580"/>
                <a:gd name="T5" fmla="*/ 20 h 458"/>
                <a:gd name="T6" fmla="*/ 545 w 580"/>
                <a:gd name="T7" fmla="*/ 0 h 458"/>
                <a:gd name="T8" fmla="*/ 519 w 580"/>
                <a:gd name="T9" fmla="*/ 16 h 458"/>
                <a:gd name="T10" fmla="*/ 344 w 580"/>
                <a:gd name="T11" fmla="*/ 210 h 458"/>
                <a:gd name="T12" fmla="*/ 334 w 580"/>
                <a:gd name="T13" fmla="*/ 229 h 458"/>
                <a:gd name="T14" fmla="*/ 344 w 580"/>
                <a:gd name="T15" fmla="*/ 248 h 458"/>
                <a:gd name="T16" fmla="*/ 519 w 580"/>
                <a:gd name="T17" fmla="*/ 442 h 458"/>
                <a:gd name="T18" fmla="*/ 545 w 580"/>
                <a:gd name="T19" fmla="*/ 458 h 458"/>
                <a:gd name="T20" fmla="*/ 580 w 580"/>
                <a:gd name="T21" fmla="*/ 438 h 458"/>
                <a:gd name="T22" fmla="*/ 570 w 580"/>
                <a:gd name="T23" fmla="*/ 421 h 458"/>
                <a:gd name="T24" fmla="*/ 411 w 580"/>
                <a:gd name="T25" fmla="*/ 245 h 458"/>
                <a:gd name="T26" fmla="*/ 399 w 580"/>
                <a:gd name="T27" fmla="*/ 229 h 458"/>
                <a:gd name="T28" fmla="*/ 411 w 580"/>
                <a:gd name="T29" fmla="*/ 213 h 458"/>
                <a:gd name="T30" fmla="*/ 252 w 580"/>
                <a:gd name="T31" fmla="*/ 439 h 458"/>
                <a:gd name="T32" fmla="*/ 281 w 580"/>
                <a:gd name="T33" fmla="*/ 454 h 458"/>
                <a:gd name="T34" fmla="*/ 309 w 580"/>
                <a:gd name="T35" fmla="*/ 439 h 458"/>
                <a:gd name="T36" fmla="*/ 309 w 580"/>
                <a:gd name="T37" fmla="*/ 19 h 458"/>
                <a:gd name="T38" fmla="*/ 281 w 580"/>
                <a:gd name="T39" fmla="*/ 4 h 458"/>
                <a:gd name="T40" fmla="*/ 252 w 580"/>
                <a:gd name="T41" fmla="*/ 19 h 458"/>
                <a:gd name="T42" fmla="*/ 252 w 580"/>
                <a:gd name="T43" fmla="*/ 439 h 458"/>
                <a:gd name="T44" fmla="*/ 0 w 580"/>
                <a:gd name="T45" fmla="*/ 439 h 458"/>
                <a:gd name="T46" fmla="*/ 28 w 580"/>
                <a:gd name="T47" fmla="*/ 454 h 458"/>
                <a:gd name="T48" fmla="*/ 56 w 580"/>
                <a:gd name="T49" fmla="*/ 439 h 458"/>
                <a:gd name="T50" fmla="*/ 56 w 580"/>
                <a:gd name="T51" fmla="*/ 157 h 458"/>
                <a:gd name="T52" fmla="*/ 165 w 580"/>
                <a:gd name="T53" fmla="*/ 53 h 458"/>
                <a:gd name="T54" fmla="*/ 180 w 580"/>
                <a:gd name="T55" fmla="*/ 53 h 458"/>
                <a:gd name="T56" fmla="*/ 196 w 580"/>
                <a:gd name="T57" fmla="*/ 27 h 458"/>
                <a:gd name="T58" fmla="*/ 154 w 580"/>
                <a:gd name="T59" fmla="*/ 4 h 458"/>
                <a:gd name="T60" fmla="*/ 0 w 580"/>
                <a:gd name="T61" fmla="*/ 152 h 458"/>
                <a:gd name="T62" fmla="*/ 0 w 580"/>
                <a:gd name="T63" fmla="*/ 439 h 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80" h="458">
                  <a:moveTo>
                    <a:pt x="411" y="213"/>
                  </a:moveTo>
                  <a:cubicBezTo>
                    <a:pt x="570" y="37"/>
                    <a:pt x="570" y="37"/>
                    <a:pt x="570" y="37"/>
                  </a:cubicBezTo>
                  <a:cubicBezTo>
                    <a:pt x="576" y="30"/>
                    <a:pt x="580" y="25"/>
                    <a:pt x="580" y="20"/>
                  </a:cubicBezTo>
                  <a:cubicBezTo>
                    <a:pt x="580" y="10"/>
                    <a:pt x="559" y="0"/>
                    <a:pt x="545" y="0"/>
                  </a:cubicBezTo>
                  <a:cubicBezTo>
                    <a:pt x="535" y="0"/>
                    <a:pt x="526" y="8"/>
                    <a:pt x="519" y="16"/>
                  </a:cubicBezTo>
                  <a:cubicBezTo>
                    <a:pt x="344" y="210"/>
                    <a:pt x="344" y="210"/>
                    <a:pt x="344" y="210"/>
                  </a:cubicBezTo>
                  <a:cubicBezTo>
                    <a:pt x="336" y="219"/>
                    <a:pt x="334" y="224"/>
                    <a:pt x="334" y="229"/>
                  </a:cubicBezTo>
                  <a:cubicBezTo>
                    <a:pt x="334" y="234"/>
                    <a:pt x="336" y="239"/>
                    <a:pt x="344" y="248"/>
                  </a:cubicBezTo>
                  <a:cubicBezTo>
                    <a:pt x="519" y="442"/>
                    <a:pt x="519" y="442"/>
                    <a:pt x="519" y="442"/>
                  </a:cubicBezTo>
                  <a:cubicBezTo>
                    <a:pt x="526" y="450"/>
                    <a:pt x="535" y="458"/>
                    <a:pt x="545" y="458"/>
                  </a:cubicBezTo>
                  <a:cubicBezTo>
                    <a:pt x="559" y="458"/>
                    <a:pt x="580" y="448"/>
                    <a:pt x="580" y="438"/>
                  </a:cubicBezTo>
                  <a:cubicBezTo>
                    <a:pt x="580" y="433"/>
                    <a:pt x="576" y="428"/>
                    <a:pt x="570" y="421"/>
                  </a:cubicBezTo>
                  <a:cubicBezTo>
                    <a:pt x="411" y="245"/>
                    <a:pt x="411" y="245"/>
                    <a:pt x="411" y="245"/>
                  </a:cubicBezTo>
                  <a:cubicBezTo>
                    <a:pt x="403" y="236"/>
                    <a:pt x="399" y="232"/>
                    <a:pt x="399" y="229"/>
                  </a:cubicBezTo>
                  <a:cubicBezTo>
                    <a:pt x="399" y="226"/>
                    <a:pt x="403" y="222"/>
                    <a:pt x="411" y="213"/>
                  </a:cubicBezTo>
                  <a:moveTo>
                    <a:pt x="252" y="439"/>
                  </a:moveTo>
                  <a:cubicBezTo>
                    <a:pt x="252" y="449"/>
                    <a:pt x="261" y="454"/>
                    <a:pt x="281" y="454"/>
                  </a:cubicBezTo>
                  <a:cubicBezTo>
                    <a:pt x="300" y="454"/>
                    <a:pt x="309" y="449"/>
                    <a:pt x="309" y="439"/>
                  </a:cubicBezTo>
                  <a:cubicBezTo>
                    <a:pt x="309" y="19"/>
                    <a:pt x="309" y="19"/>
                    <a:pt x="309" y="19"/>
                  </a:cubicBezTo>
                  <a:cubicBezTo>
                    <a:pt x="309" y="9"/>
                    <a:pt x="300" y="4"/>
                    <a:pt x="281" y="4"/>
                  </a:cubicBezTo>
                  <a:cubicBezTo>
                    <a:pt x="261" y="4"/>
                    <a:pt x="252" y="9"/>
                    <a:pt x="252" y="19"/>
                  </a:cubicBezTo>
                  <a:lnTo>
                    <a:pt x="252" y="439"/>
                  </a:lnTo>
                  <a:close/>
                  <a:moveTo>
                    <a:pt x="0" y="439"/>
                  </a:moveTo>
                  <a:cubicBezTo>
                    <a:pt x="0" y="449"/>
                    <a:pt x="8" y="454"/>
                    <a:pt x="28" y="454"/>
                  </a:cubicBezTo>
                  <a:cubicBezTo>
                    <a:pt x="48" y="454"/>
                    <a:pt x="56" y="449"/>
                    <a:pt x="56" y="439"/>
                  </a:cubicBezTo>
                  <a:cubicBezTo>
                    <a:pt x="56" y="157"/>
                    <a:pt x="56" y="157"/>
                    <a:pt x="56" y="157"/>
                  </a:cubicBezTo>
                  <a:cubicBezTo>
                    <a:pt x="56" y="83"/>
                    <a:pt x="85" y="53"/>
                    <a:pt x="165" y="53"/>
                  </a:cubicBezTo>
                  <a:cubicBezTo>
                    <a:pt x="180" y="53"/>
                    <a:pt x="180" y="53"/>
                    <a:pt x="180" y="53"/>
                  </a:cubicBezTo>
                  <a:cubicBezTo>
                    <a:pt x="192" y="53"/>
                    <a:pt x="196" y="43"/>
                    <a:pt x="196" y="27"/>
                  </a:cubicBezTo>
                  <a:cubicBezTo>
                    <a:pt x="196" y="8"/>
                    <a:pt x="185" y="4"/>
                    <a:pt x="154" y="4"/>
                  </a:cubicBezTo>
                  <a:cubicBezTo>
                    <a:pt x="64" y="4"/>
                    <a:pt x="0" y="43"/>
                    <a:pt x="0" y="152"/>
                  </a:cubicBezTo>
                  <a:lnTo>
                    <a:pt x="0" y="43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sp>
          <p:nvSpPr>
            <p:cNvPr id="17" name="Freeform 10">
              <a:extLst>
                <a:ext uri="{FF2B5EF4-FFF2-40B4-BE49-F238E27FC236}">
                  <a16:creationId xmlns:a16="http://schemas.microsoft.com/office/drawing/2014/main" id="{2B91B16B-BC11-E547-8FAC-B9B8D18EA449}"/>
                </a:ext>
              </a:extLst>
            </p:cNvPr>
            <p:cNvSpPr>
              <a:spLocks/>
            </p:cNvSpPr>
            <p:nvPr/>
          </p:nvSpPr>
          <p:spPr bwMode="gray">
            <a:xfrm>
              <a:off x="2880" y="1704"/>
              <a:ext cx="618" cy="916"/>
            </a:xfrm>
            <a:custGeom>
              <a:avLst/>
              <a:gdLst>
                <a:gd name="T0" fmla="*/ 307 w 307"/>
                <a:gd name="T1" fmla="*/ 405 h 455"/>
                <a:gd name="T2" fmla="*/ 307 w 307"/>
                <a:gd name="T3" fmla="*/ 244 h 455"/>
                <a:gd name="T4" fmla="*/ 279 w 307"/>
                <a:gd name="T5" fmla="*/ 229 h 455"/>
                <a:gd name="T6" fmla="*/ 250 w 307"/>
                <a:gd name="T7" fmla="*/ 244 h 455"/>
                <a:gd name="T8" fmla="*/ 250 w 307"/>
                <a:gd name="T9" fmla="*/ 378 h 455"/>
                <a:gd name="T10" fmla="*/ 199 w 307"/>
                <a:gd name="T11" fmla="*/ 408 h 455"/>
                <a:gd name="T12" fmla="*/ 61 w 307"/>
                <a:gd name="T13" fmla="*/ 231 h 455"/>
                <a:gd name="T14" fmla="*/ 238 w 307"/>
                <a:gd name="T15" fmla="*/ 49 h 455"/>
                <a:gd name="T16" fmla="*/ 270 w 307"/>
                <a:gd name="T17" fmla="*/ 49 h 455"/>
                <a:gd name="T18" fmla="*/ 286 w 307"/>
                <a:gd name="T19" fmla="*/ 23 h 455"/>
                <a:gd name="T20" fmla="*/ 244 w 307"/>
                <a:gd name="T21" fmla="*/ 0 h 455"/>
                <a:gd name="T22" fmla="*/ 231 w 307"/>
                <a:gd name="T23" fmla="*/ 0 h 455"/>
                <a:gd name="T24" fmla="*/ 0 w 307"/>
                <a:gd name="T25" fmla="*/ 232 h 455"/>
                <a:gd name="T26" fmla="*/ 198 w 307"/>
                <a:gd name="T27" fmla="*/ 455 h 455"/>
                <a:gd name="T28" fmla="*/ 307 w 307"/>
                <a:gd name="T29" fmla="*/ 405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7" h="455">
                  <a:moveTo>
                    <a:pt x="307" y="405"/>
                  </a:moveTo>
                  <a:cubicBezTo>
                    <a:pt x="307" y="244"/>
                    <a:pt x="307" y="244"/>
                    <a:pt x="307" y="244"/>
                  </a:cubicBezTo>
                  <a:cubicBezTo>
                    <a:pt x="307" y="234"/>
                    <a:pt x="298" y="229"/>
                    <a:pt x="279" y="229"/>
                  </a:cubicBezTo>
                  <a:cubicBezTo>
                    <a:pt x="259" y="229"/>
                    <a:pt x="250" y="234"/>
                    <a:pt x="250" y="244"/>
                  </a:cubicBezTo>
                  <a:cubicBezTo>
                    <a:pt x="250" y="378"/>
                    <a:pt x="250" y="378"/>
                    <a:pt x="250" y="378"/>
                  </a:cubicBezTo>
                  <a:cubicBezTo>
                    <a:pt x="250" y="399"/>
                    <a:pt x="241" y="408"/>
                    <a:pt x="199" y="408"/>
                  </a:cubicBezTo>
                  <a:cubicBezTo>
                    <a:pt x="114" y="408"/>
                    <a:pt x="61" y="342"/>
                    <a:pt x="61" y="231"/>
                  </a:cubicBezTo>
                  <a:cubicBezTo>
                    <a:pt x="61" y="115"/>
                    <a:pt x="126" y="49"/>
                    <a:pt x="238" y="49"/>
                  </a:cubicBezTo>
                  <a:cubicBezTo>
                    <a:pt x="270" y="49"/>
                    <a:pt x="270" y="49"/>
                    <a:pt x="270" y="49"/>
                  </a:cubicBezTo>
                  <a:cubicBezTo>
                    <a:pt x="282" y="49"/>
                    <a:pt x="286" y="39"/>
                    <a:pt x="286" y="23"/>
                  </a:cubicBezTo>
                  <a:cubicBezTo>
                    <a:pt x="286" y="4"/>
                    <a:pt x="275" y="0"/>
                    <a:pt x="244" y="0"/>
                  </a:cubicBezTo>
                  <a:cubicBezTo>
                    <a:pt x="231" y="0"/>
                    <a:pt x="231" y="0"/>
                    <a:pt x="231" y="0"/>
                  </a:cubicBezTo>
                  <a:cubicBezTo>
                    <a:pt x="101" y="0"/>
                    <a:pt x="0" y="71"/>
                    <a:pt x="0" y="232"/>
                  </a:cubicBezTo>
                  <a:cubicBezTo>
                    <a:pt x="0" y="386"/>
                    <a:pt x="88" y="455"/>
                    <a:pt x="198" y="455"/>
                  </a:cubicBezTo>
                  <a:cubicBezTo>
                    <a:pt x="286" y="455"/>
                    <a:pt x="307" y="430"/>
                    <a:pt x="307" y="40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sp>
          <p:nvSpPr>
            <p:cNvPr id="18" name="Oval 11">
              <a:extLst>
                <a:ext uri="{FF2B5EF4-FFF2-40B4-BE49-F238E27FC236}">
                  <a16:creationId xmlns:a16="http://schemas.microsoft.com/office/drawing/2014/main" id="{14F8C3C8-4888-7646-B9B4-64EB46A1DA23}"/>
                </a:ext>
              </a:extLst>
            </p:cNvPr>
            <p:cNvSpPr>
              <a:spLocks noChangeArrowheads="1"/>
            </p:cNvSpPr>
            <p:nvPr/>
          </p:nvSpPr>
          <p:spPr bwMode="gray">
            <a:xfrm>
              <a:off x="3778" y="2099"/>
              <a:ext cx="122" cy="12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sp>
          <p:nvSpPr>
            <p:cNvPr id="19" name="Freeform 12">
              <a:extLst>
                <a:ext uri="{FF2B5EF4-FFF2-40B4-BE49-F238E27FC236}">
                  <a16:creationId xmlns:a16="http://schemas.microsoft.com/office/drawing/2014/main" id="{D79D01D1-4E3E-F34B-97D7-2D387E68746E}"/>
                </a:ext>
              </a:extLst>
            </p:cNvPr>
            <p:cNvSpPr>
              <a:spLocks/>
            </p:cNvSpPr>
            <p:nvPr/>
          </p:nvSpPr>
          <p:spPr bwMode="gray">
            <a:xfrm>
              <a:off x="4321" y="1029"/>
              <a:ext cx="648" cy="649"/>
            </a:xfrm>
            <a:custGeom>
              <a:avLst/>
              <a:gdLst>
                <a:gd name="T0" fmla="*/ 0 w 648"/>
                <a:gd name="T1" fmla="*/ 649 h 649"/>
                <a:gd name="T2" fmla="*/ 2 w 648"/>
                <a:gd name="T3" fmla="*/ 649 h 649"/>
                <a:gd name="T4" fmla="*/ 648 w 648"/>
                <a:gd name="T5" fmla="*/ 0 h 649"/>
                <a:gd name="T6" fmla="*/ 423 w 648"/>
                <a:gd name="T7" fmla="*/ 0 h 649"/>
                <a:gd name="T8" fmla="*/ 0 w 648"/>
                <a:gd name="T9" fmla="*/ 649 h 649"/>
              </a:gdLst>
              <a:ahLst/>
              <a:cxnLst>
                <a:cxn ang="0">
                  <a:pos x="T0" y="T1"/>
                </a:cxn>
                <a:cxn ang="0">
                  <a:pos x="T2" y="T3"/>
                </a:cxn>
                <a:cxn ang="0">
                  <a:pos x="T4" y="T5"/>
                </a:cxn>
                <a:cxn ang="0">
                  <a:pos x="T6" y="T7"/>
                </a:cxn>
                <a:cxn ang="0">
                  <a:pos x="T8" y="T9"/>
                </a:cxn>
              </a:cxnLst>
              <a:rect l="0" t="0" r="r" b="b"/>
              <a:pathLst>
                <a:path w="648" h="649">
                  <a:moveTo>
                    <a:pt x="0" y="649"/>
                  </a:moveTo>
                  <a:lnTo>
                    <a:pt x="2" y="649"/>
                  </a:lnTo>
                  <a:lnTo>
                    <a:pt x="648" y="0"/>
                  </a:lnTo>
                  <a:lnTo>
                    <a:pt x="423" y="0"/>
                  </a:lnTo>
                  <a:lnTo>
                    <a:pt x="0" y="64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sp>
          <p:nvSpPr>
            <p:cNvPr id="20" name="Freeform 13">
              <a:extLst>
                <a:ext uri="{FF2B5EF4-FFF2-40B4-BE49-F238E27FC236}">
                  <a16:creationId xmlns:a16="http://schemas.microsoft.com/office/drawing/2014/main" id="{46549898-6C52-B147-A8F6-A73FDBE6163B}"/>
                </a:ext>
              </a:extLst>
            </p:cNvPr>
            <p:cNvSpPr>
              <a:spLocks/>
            </p:cNvSpPr>
            <p:nvPr/>
          </p:nvSpPr>
          <p:spPr bwMode="gray">
            <a:xfrm>
              <a:off x="4321" y="1029"/>
              <a:ext cx="648" cy="649"/>
            </a:xfrm>
            <a:custGeom>
              <a:avLst/>
              <a:gdLst>
                <a:gd name="T0" fmla="*/ 0 w 648"/>
                <a:gd name="T1" fmla="*/ 649 h 649"/>
                <a:gd name="T2" fmla="*/ 2 w 648"/>
                <a:gd name="T3" fmla="*/ 649 h 649"/>
                <a:gd name="T4" fmla="*/ 648 w 648"/>
                <a:gd name="T5" fmla="*/ 0 h 649"/>
                <a:gd name="T6" fmla="*/ 423 w 648"/>
                <a:gd name="T7" fmla="*/ 0 h 649"/>
                <a:gd name="T8" fmla="*/ 0 w 648"/>
                <a:gd name="T9" fmla="*/ 649 h 649"/>
              </a:gdLst>
              <a:ahLst/>
              <a:cxnLst>
                <a:cxn ang="0">
                  <a:pos x="T0" y="T1"/>
                </a:cxn>
                <a:cxn ang="0">
                  <a:pos x="T2" y="T3"/>
                </a:cxn>
                <a:cxn ang="0">
                  <a:pos x="T4" y="T5"/>
                </a:cxn>
                <a:cxn ang="0">
                  <a:pos x="T6" y="T7"/>
                </a:cxn>
                <a:cxn ang="0">
                  <a:pos x="T8" y="T9"/>
                </a:cxn>
              </a:cxnLst>
              <a:rect l="0" t="0" r="r" b="b"/>
              <a:pathLst>
                <a:path w="648" h="649">
                  <a:moveTo>
                    <a:pt x="0" y="649"/>
                  </a:moveTo>
                  <a:lnTo>
                    <a:pt x="2" y="649"/>
                  </a:lnTo>
                  <a:lnTo>
                    <a:pt x="648" y="0"/>
                  </a:lnTo>
                  <a:lnTo>
                    <a:pt x="423" y="0"/>
                  </a:lnTo>
                  <a:lnTo>
                    <a:pt x="0" y="64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grpSp>
    </p:spTree>
    <p:extLst>
      <p:ext uri="{BB962C8B-B14F-4D97-AF65-F5344CB8AC3E}">
        <p14:creationId xmlns:p14="http://schemas.microsoft.com/office/powerpoint/2010/main" val="2271143319"/>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p:cSld name="Headline only">
    <p:spTree>
      <p:nvGrpSpPr>
        <p:cNvPr id="1" name=""/>
        <p:cNvGrpSpPr/>
        <p:nvPr/>
      </p:nvGrpSpPr>
      <p:grpSpPr>
        <a:xfrm>
          <a:off x="0" y="0"/>
          <a:ext cx="0" cy="0"/>
          <a:chOff x="0" y="0"/>
          <a:chExt cx="0" cy="0"/>
        </a:xfrm>
      </p:grpSpPr>
      <p:sp>
        <p:nvSpPr>
          <p:cNvPr id="23" name="Slide Number Placeholder 22"/>
          <p:cNvSpPr>
            <a:spLocks noGrp="1"/>
          </p:cNvSpPr>
          <p:nvPr>
            <p:ph type="sldNum" sz="quarter" idx="16"/>
          </p:nvPr>
        </p:nvSpPr>
        <p:spPr/>
        <p:txBody>
          <a:bodyPr/>
          <a:lstStyle/>
          <a:p>
            <a:fld id="{5F3E29E4-0979-4FCA-B4C5-5FC6044C982A}" type="slidenum">
              <a:rPr lang="en-US" smtClean="0"/>
              <a:t>‹#›</a:t>
            </a:fld>
            <a:endParaRPr lang="en-US"/>
          </a:p>
        </p:txBody>
      </p:sp>
      <p:sp>
        <p:nvSpPr>
          <p:cNvPr id="2" name="Title 1"/>
          <p:cNvSpPr>
            <a:spLocks noGrp="1"/>
          </p:cNvSpPr>
          <p:nvPr>
            <p:ph type="title" hasCustomPrompt="1"/>
          </p:nvPr>
        </p:nvSpPr>
        <p:spPr/>
        <p:txBody>
          <a:bodyPr/>
          <a:lstStyle>
            <a:lvl1pPr>
              <a:defRPr/>
            </a:lvl1pPr>
          </a:lstStyle>
          <a:p>
            <a:r>
              <a:rPr lang="en-US" dirty="0"/>
              <a:t>Click to add slide title</a:t>
            </a:r>
          </a:p>
        </p:txBody>
      </p:sp>
      <p:sp>
        <p:nvSpPr>
          <p:cNvPr id="7" name="Subtitle 2"/>
          <p:cNvSpPr>
            <a:spLocks noGrp="1"/>
          </p:cNvSpPr>
          <p:nvPr>
            <p:ph type="subTitle" idx="13" hasCustomPrompt="1"/>
          </p:nvPr>
        </p:nvSpPr>
        <p:spPr>
          <a:xfrm>
            <a:off x="1075061" y="964671"/>
            <a:ext cx="7910158" cy="490042"/>
          </a:xfrm>
        </p:spPr>
        <p:txBody>
          <a:bodyPr wrap="none"/>
          <a:lstStyle>
            <a:lvl1pPr marL="0" indent="0" algn="l">
              <a:spcBef>
                <a:spcPts val="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Tree>
    <p:extLst>
      <p:ext uri="{BB962C8B-B14F-4D97-AF65-F5344CB8AC3E}">
        <p14:creationId xmlns:p14="http://schemas.microsoft.com/office/powerpoint/2010/main" val="1701917062"/>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p:cSld name="One content">
    <p:spTree>
      <p:nvGrpSpPr>
        <p:cNvPr id="1" name=""/>
        <p:cNvGrpSpPr/>
        <p:nvPr/>
      </p:nvGrpSpPr>
      <p:grpSpPr>
        <a:xfrm>
          <a:off x="0" y="0"/>
          <a:ext cx="0" cy="0"/>
          <a:chOff x="0" y="0"/>
          <a:chExt cx="0" cy="0"/>
        </a:xfrm>
      </p:grpSpPr>
      <p:sp>
        <p:nvSpPr>
          <p:cNvPr id="21" name="Date Placeholder 20"/>
          <p:cNvSpPr>
            <a:spLocks noGrp="1"/>
          </p:cNvSpPr>
          <p:nvPr>
            <p:ph type="dt" sz="half" idx="14"/>
          </p:nvPr>
        </p:nvSpPr>
        <p:spPr>
          <a:xfrm>
            <a:off x="192089" y="6237288"/>
            <a:ext cx="863600" cy="358173"/>
          </a:xfrm>
          <a:prstGeom prst="rect">
            <a:avLst/>
          </a:prstGeom>
        </p:spPr>
        <p:txBody>
          <a:bodyPr/>
          <a:lstStyle/>
          <a:p>
            <a:fld id="{4CC19292-71B2-4BF0-8023-C669B9188137}" type="datetime5">
              <a:rPr lang="en-US" smtClean="0"/>
              <a:t>26-Jun-20</a:t>
            </a:fld>
            <a:endParaRPr lang="en-US"/>
          </a:p>
        </p:txBody>
      </p:sp>
      <p:sp>
        <p:nvSpPr>
          <p:cNvPr id="22" name="Footer Placeholder 21"/>
          <p:cNvSpPr>
            <a:spLocks noGrp="1"/>
          </p:cNvSpPr>
          <p:nvPr>
            <p:ph type="ftr" sz="quarter" idx="15"/>
          </p:nvPr>
        </p:nvSpPr>
        <p:spPr>
          <a:xfrm>
            <a:off x="1177999" y="6237288"/>
            <a:ext cx="8162717" cy="358173"/>
          </a:xfrm>
          <a:prstGeom prst="rect">
            <a:avLst/>
          </a:prstGeom>
        </p:spPr>
        <p:txBody>
          <a:bodyPr/>
          <a:lstStyle/>
          <a:p>
            <a:r>
              <a:rPr lang="en-US" dirty="0"/>
              <a:t>Syndicated Surveys  Portfolio 2019</a:t>
            </a:r>
          </a:p>
        </p:txBody>
      </p:sp>
      <p:sp>
        <p:nvSpPr>
          <p:cNvPr id="23" name="Slide Number Placeholder 22"/>
          <p:cNvSpPr>
            <a:spLocks noGrp="1"/>
          </p:cNvSpPr>
          <p:nvPr>
            <p:ph type="sldNum" sz="quarter" idx="16"/>
          </p:nvPr>
        </p:nvSpPr>
        <p:spPr/>
        <p:txBody>
          <a:bodyPr/>
          <a:lstStyle/>
          <a:p>
            <a:fld id="{5F3E29E4-0979-4FCA-B4C5-5FC6044C982A}" type="slidenum">
              <a:rPr lang="en-US" smtClean="0"/>
              <a:t>‹#›</a:t>
            </a:fld>
            <a:endParaRPr lang="en-US"/>
          </a:p>
        </p:txBody>
      </p:sp>
      <p:sp>
        <p:nvSpPr>
          <p:cNvPr id="2" name="Title 1"/>
          <p:cNvSpPr>
            <a:spLocks noGrp="1"/>
          </p:cNvSpPr>
          <p:nvPr>
            <p:ph type="title" hasCustomPrompt="1"/>
          </p:nvPr>
        </p:nvSpPr>
        <p:spPr/>
        <p:txBody>
          <a:bodyPr/>
          <a:lstStyle>
            <a:lvl1pPr>
              <a:defRPr/>
            </a:lvl1pPr>
          </a:lstStyle>
          <a:p>
            <a:r>
              <a:rPr lang="en-US" dirty="0"/>
              <a:t>Click to add slide title</a:t>
            </a:r>
          </a:p>
        </p:txBody>
      </p:sp>
      <p:sp>
        <p:nvSpPr>
          <p:cNvPr id="7" name="Subtitle 2"/>
          <p:cNvSpPr>
            <a:spLocks noGrp="1"/>
          </p:cNvSpPr>
          <p:nvPr>
            <p:ph type="subTitle" idx="13" hasCustomPrompt="1"/>
          </p:nvPr>
        </p:nvSpPr>
        <p:spPr>
          <a:xfrm>
            <a:off x="1075061" y="964671"/>
            <a:ext cx="7910158" cy="490042"/>
          </a:xfrm>
        </p:spPr>
        <p:txBody>
          <a:bodyPr wrap="none"/>
          <a:lstStyle>
            <a:lvl1pPr marL="0" indent="0" algn="l">
              <a:spcBef>
                <a:spcPts val="0"/>
              </a:spcBef>
              <a:buNone/>
              <a:defRPr sz="2400" baseline="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3" name="Content Placeholder 2"/>
          <p:cNvSpPr>
            <a:spLocks noGrp="1"/>
          </p:cNvSpPr>
          <p:nvPr>
            <p:ph idx="1" hasCustomPrompt="1"/>
          </p:nvPr>
        </p:nvSpPr>
        <p:spPr/>
        <p:txBody>
          <a:bodyPr/>
          <a:lstStyle>
            <a:lvl1pPr>
              <a:defRPr baseline="0"/>
            </a:lvl1pPr>
          </a:lstStyle>
          <a:p>
            <a:pPr lvl="0"/>
            <a:r>
              <a:rPr lang="en-US" dirty="0"/>
              <a:t>Click to add text or content</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369883066"/>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p:cSld name="Content and picture">
    <p:spTree>
      <p:nvGrpSpPr>
        <p:cNvPr id="1" name=""/>
        <p:cNvGrpSpPr/>
        <p:nvPr/>
      </p:nvGrpSpPr>
      <p:grpSpPr>
        <a:xfrm>
          <a:off x="0" y="0"/>
          <a:ext cx="0" cy="0"/>
          <a:chOff x="0" y="0"/>
          <a:chExt cx="0" cy="0"/>
        </a:xfrm>
      </p:grpSpPr>
      <p:sp>
        <p:nvSpPr>
          <p:cNvPr id="21" name="Date Placeholder 20"/>
          <p:cNvSpPr>
            <a:spLocks noGrp="1"/>
          </p:cNvSpPr>
          <p:nvPr>
            <p:ph type="dt" sz="half" idx="14"/>
          </p:nvPr>
        </p:nvSpPr>
        <p:spPr>
          <a:xfrm>
            <a:off x="192089" y="6237288"/>
            <a:ext cx="863600" cy="358173"/>
          </a:xfrm>
          <a:prstGeom prst="rect">
            <a:avLst/>
          </a:prstGeom>
        </p:spPr>
        <p:txBody>
          <a:bodyPr/>
          <a:lstStyle/>
          <a:p>
            <a:fld id="{97AF90B7-6970-4C8C-AA59-7302F717A183}" type="datetime5">
              <a:rPr lang="en-US" smtClean="0"/>
              <a:t>26-Jun-20</a:t>
            </a:fld>
            <a:endParaRPr lang="en-US"/>
          </a:p>
        </p:txBody>
      </p:sp>
      <p:sp>
        <p:nvSpPr>
          <p:cNvPr id="22" name="Footer Placeholder 21"/>
          <p:cNvSpPr>
            <a:spLocks noGrp="1"/>
          </p:cNvSpPr>
          <p:nvPr>
            <p:ph type="ftr" sz="quarter" idx="15"/>
          </p:nvPr>
        </p:nvSpPr>
        <p:spPr>
          <a:xfrm>
            <a:off x="1177999" y="6237288"/>
            <a:ext cx="8162717" cy="358173"/>
          </a:xfrm>
          <a:prstGeom prst="rect">
            <a:avLst/>
          </a:prstGeom>
        </p:spPr>
        <p:txBody>
          <a:bodyPr/>
          <a:lstStyle/>
          <a:p>
            <a:r>
              <a:rPr lang="en-US"/>
              <a:t>Title of presentation (Insert / Header &amp; Footer / Apply to All)</a:t>
            </a:r>
            <a:endParaRPr lang="en-US" dirty="0"/>
          </a:p>
        </p:txBody>
      </p:sp>
      <p:sp>
        <p:nvSpPr>
          <p:cNvPr id="23" name="Slide Number Placeholder 22"/>
          <p:cNvSpPr>
            <a:spLocks noGrp="1"/>
          </p:cNvSpPr>
          <p:nvPr>
            <p:ph type="sldNum" sz="quarter" idx="16"/>
          </p:nvPr>
        </p:nvSpPr>
        <p:spPr/>
        <p:txBody>
          <a:bodyPr/>
          <a:lstStyle/>
          <a:p>
            <a:fld id="{5F3E29E4-0979-4FCA-B4C5-5FC6044C982A}" type="slidenum">
              <a:rPr lang="en-US" smtClean="0"/>
              <a:t>‹#›</a:t>
            </a:fld>
            <a:endParaRPr lang="en-US"/>
          </a:p>
        </p:txBody>
      </p:sp>
      <p:sp>
        <p:nvSpPr>
          <p:cNvPr id="2" name="Title 1"/>
          <p:cNvSpPr>
            <a:spLocks noGrp="1"/>
          </p:cNvSpPr>
          <p:nvPr>
            <p:ph type="title" hasCustomPrompt="1"/>
          </p:nvPr>
        </p:nvSpPr>
        <p:spPr/>
        <p:txBody>
          <a:bodyPr/>
          <a:lstStyle>
            <a:lvl1pPr>
              <a:defRPr/>
            </a:lvl1pPr>
          </a:lstStyle>
          <a:p>
            <a:r>
              <a:rPr lang="en-US" dirty="0"/>
              <a:t>Click to add slide title</a:t>
            </a:r>
          </a:p>
        </p:txBody>
      </p:sp>
      <p:sp>
        <p:nvSpPr>
          <p:cNvPr id="7" name="Subtitle 2"/>
          <p:cNvSpPr>
            <a:spLocks noGrp="1"/>
          </p:cNvSpPr>
          <p:nvPr>
            <p:ph type="subTitle" idx="13" hasCustomPrompt="1"/>
          </p:nvPr>
        </p:nvSpPr>
        <p:spPr>
          <a:xfrm>
            <a:off x="1075061" y="964671"/>
            <a:ext cx="7910158" cy="490042"/>
          </a:xfrm>
        </p:spPr>
        <p:txBody>
          <a:bodyPr wrap="none"/>
          <a:lstStyle>
            <a:lvl1pPr marL="0" indent="0" algn="l">
              <a:spcBef>
                <a:spcPts val="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3" name="Content Placeholder 2"/>
          <p:cNvSpPr>
            <a:spLocks noGrp="1"/>
          </p:cNvSpPr>
          <p:nvPr>
            <p:ph idx="1" hasCustomPrompt="1"/>
          </p:nvPr>
        </p:nvSpPr>
        <p:spPr>
          <a:xfrm>
            <a:off x="1075062" y="1629618"/>
            <a:ext cx="5220000" cy="4139357"/>
          </a:xfrm>
        </p:spPr>
        <p:txBody>
          <a:bodyPr/>
          <a:lstStyle>
            <a:lvl1pPr>
              <a:defRPr/>
            </a:lvl1pPr>
          </a:lstStyle>
          <a:p>
            <a:pPr lvl="0"/>
            <a:r>
              <a:rPr lang="en-US" dirty="0"/>
              <a:t>Click to add text or conten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Picture Placeholder 4"/>
          <p:cNvSpPr>
            <a:spLocks noGrp="1"/>
          </p:cNvSpPr>
          <p:nvPr>
            <p:ph type="pic" sz="quarter" idx="17" hasCustomPrompt="1"/>
          </p:nvPr>
        </p:nvSpPr>
        <p:spPr>
          <a:xfrm>
            <a:off x="6600525" y="1637783"/>
            <a:ext cx="5220000" cy="4599506"/>
          </a:xfrm>
          <a:solidFill>
            <a:srgbClr val="D9DADB"/>
          </a:solidFill>
        </p:spPr>
        <p:txBody>
          <a:bodyPr/>
          <a:lstStyle>
            <a:lvl1pPr marL="0" indent="0">
              <a:buNone/>
              <a:defRPr/>
            </a:lvl1pPr>
          </a:lstStyle>
          <a:p>
            <a:r>
              <a:rPr lang="en-US" dirty="0"/>
              <a:t>Insert picture</a:t>
            </a:r>
          </a:p>
        </p:txBody>
      </p:sp>
    </p:spTree>
    <p:extLst>
      <p:ext uri="{BB962C8B-B14F-4D97-AF65-F5344CB8AC3E}">
        <p14:creationId xmlns:p14="http://schemas.microsoft.com/office/powerpoint/2010/main" val="404153239"/>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p:cSld name="Content with full picture">
    <p:spTree>
      <p:nvGrpSpPr>
        <p:cNvPr id="1" name=""/>
        <p:cNvGrpSpPr/>
        <p:nvPr/>
      </p:nvGrpSpPr>
      <p:grpSpPr>
        <a:xfrm>
          <a:off x="0" y="0"/>
          <a:ext cx="0" cy="0"/>
          <a:chOff x="0" y="0"/>
          <a:chExt cx="0" cy="0"/>
        </a:xfrm>
      </p:grpSpPr>
      <p:sp>
        <p:nvSpPr>
          <p:cNvPr id="12" name="Picture Placeholder 11"/>
          <p:cNvSpPr>
            <a:spLocks noGrp="1"/>
          </p:cNvSpPr>
          <p:nvPr>
            <p:ph type="pic" sz="quarter" idx="17" hasCustomPrompt="1"/>
          </p:nvPr>
        </p:nvSpPr>
        <p:spPr>
          <a:xfrm>
            <a:off x="0" y="0"/>
            <a:ext cx="12193200" cy="6858000"/>
          </a:xfrm>
          <a:prstGeom prst="rect">
            <a:avLst/>
          </a:prstGeom>
          <a:solidFill>
            <a:srgbClr val="D9DADB"/>
          </a:solidFill>
        </p:spPr>
        <p:txBody>
          <a:bodyPr wrap="square">
            <a:noAutofit/>
          </a:bodyPr>
          <a:lstStyle>
            <a:lvl1pPr marL="0" indent="0">
              <a:buNone/>
              <a:defRPr/>
            </a:lvl1pPr>
          </a:lstStyle>
          <a:p>
            <a:r>
              <a:rPr lang="en-US" dirty="0"/>
              <a:t>Insert picture</a:t>
            </a:r>
          </a:p>
        </p:txBody>
      </p:sp>
      <p:sp>
        <p:nvSpPr>
          <p:cNvPr id="9" name="copyright"/>
          <p:cNvSpPr txBox="1"/>
          <p:nvPr/>
        </p:nvSpPr>
        <p:spPr>
          <a:xfrm>
            <a:off x="10672209" y="6237288"/>
            <a:ext cx="500617" cy="358173"/>
          </a:xfrm>
          <a:prstGeom prst="rect">
            <a:avLst/>
          </a:prstGeom>
          <a:noFill/>
        </p:spPr>
        <p:txBody>
          <a:bodyPr wrap="none" lIns="0" tIns="0" rIns="0" bIns="0" rtlCol="0" anchor="b" anchorCtr="0">
            <a:noAutofit/>
          </a:bodyPr>
          <a:lstStyle/>
          <a:p>
            <a:pPr marL="0" indent="0" algn="r">
              <a:lnSpc>
                <a:spcPct val="125000"/>
              </a:lnSpc>
              <a:buClr>
                <a:schemeClr val="tx2"/>
              </a:buClr>
              <a:buFont typeface="Wingdings" panose="05000000000000000000" pitchFamily="2" charset="2"/>
              <a:buNone/>
            </a:pPr>
            <a:r>
              <a:rPr lang="en-US" sz="800" dirty="0">
                <a:solidFill>
                  <a:schemeClr val="bg1"/>
                </a:solidFill>
              </a:rPr>
              <a:t>© GfK</a:t>
            </a:r>
          </a:p>
        </p:txBody>
      </p:sp>
      <p:sp>
        <p:nvSpPr>
          <p:cNvPr id="21" name="Date Placeholder 20"/>
          <p:cNvSpPr>
            <a:spLocks noGrp="1"/>
          </p:cNvSpPr>
          <p:nvPr>
            <p:ph type="dt" sz="half" idx="14"/>
          </p:nvPr>
        </p:nvSpPr>
        <p:spPr>
          <a:xfrm>
            <a:off x="192089" y="6237288"/>
            <a:ext cx="863600" cy="358173"/>
          </a:xfrm>
          <a:prstGeom prst="rect">
            <a:avLst/>
          </a:prstGeom>
        </p:spPr>
        <p:txBody>
          <a:bodyPr/>
          <a:lstStyle>
            <a:lvl1pPr>
              <a:defRPr>
                <a:solidFill>
                  <a:schemeClr val="bg1"/>
                </a:solidFill>
              </a:defRPr>
            </a:lvl1pPr>
          </a:lstStyle>
          <a:p>
            <a:fld id="{50FDD96B-8754-4910-8CA2-9F882EDC331D}" type="datetime5">
              <a:rPr lang="en-US" smtClean="0"/>
              <a:t>26-Jun-20</a:t>
            </a:fld>
            <a:endParaRPr lang="en-US"/>
          </a:p>
        </p:txBody>
      </p:sp>
      <p:sp>
        <p:nvSpPr>
          <p:cNvPr id="22" name="Footer Placeholder 21"/>
          <p:cNvSpPr>
            <a:spLocks noGrp="1"/>
          </p:cNvSpPr>
          <p:nvPr>
            <p:ph type="ftr" sz="quarter" idx="15"/>
          </p:nvPr>
        </p:nvSpPr>
        <p:spPr>
          <a:xfrm>
            <a:off x="1177999" y="6237288"/>
            <a:ext cx="8162717" cy="358173"/>
          </a:xfrm>
          <a:prstGeom prst="rect">
            <a:avLst/>
          </a:prstGeom>
        </p:spPr>
        <p:txBody>
          <a:bodyPr/>
          <a:lstStyle>
            <a:lvl1pPr>
              <a:defRPr>
                <a:solidFill>
                  <a:schemeClr val="bg1"/>
                </a:solidFill>
              </a:defRPr>
            </a:lvl1pPr>
          </a:lstStyle>
          <a:p>
            <a:r>
              <a:rPr lang="en-US"/>
              <a:t>Title of presentation (Insert / Header &amp; Footer / Apply to All)</a:t>
            </a:r>
            <a:endParaRPr lang="en-US" dirty="0"/>
          </a:p>
        </p:txBody>
      </p:sp>
      <p:sp>
        <p:nvSpPr>
          <p:cNvPr id="23" name="Slide Number Placeholder 22"/>
          <p:cNvSpPr>
            <a:spLocks noGrp="1"/>
          </p:cNvSpPr>
          <p:nvPr>
            <p:ph type="sldNum" sz="quarter" idx="16"/>
          </p:nvPr>
        </p:nvSpPr>
        <p:spPr/>
        <p:txBody>
          <a:bodyPr/>
          <a:lstStyle>
            <a:lvl1pPr>
              <a:defRPr>
                <a:solidFill>
                  <a:schemeClr val="bg1"/>
                </a:solidFill>
              </a:defRPr>
            </a:lvl1pPr>
          </a:lstStyle>
          <a:p>
            <a:fld id="{5F3E29E4-0979-4FCA-B4C5-5FC6044C982A}" type="slidenum">
              <a:rPr lang="en-US" smtClean="0"/>
              <a:pPr/>
              <a:t>‹#›</a:t>
            </a:fld>
            <a:endParaRPr lang="en-US"/>
          </a:p>
        </p:txBody>
      </p:sp>
      <p:sp>
        <p:nvSpPr>
          <p:cNvPr id="2" name="Title 1"/>
          <p:cNvSpPr>
            <a:spLocks noGrp="1"/>
          </p:cNvSpPr>
          <p:nvPr>
            <p:ph type="title" hasCustomPrompt="1"/>
          </p:nvPr>
        </p:nvSpPr>
        <p:spPr>
          <a:xfrm>
            <a:off x="6543675" y="1519552"/>
            <a:ext cx="4629150" cy="4249423"/>
          </a:xfrm>
        </p:spPr>
        <p:txBody>
          <a:bodyPr/>
          <a:lstStyle>
            <a:lvl1pPr>
              <a:defRPr>
                <a:solidFill>
                  <a:schemeClr val="bg1"/>
                </a:solidFill>
              </a:defRPr>
            </a:lvl1pPr>
          </a:lstStyle>
          <a:p>
            <a:r>
              <a:rPr lang="en-US" dirty="0"/>
              <a:t>Click to add text</a:t>
            </a:r>
          </a:p>
        </p:txBody>
      </p:sp>
    </p:spTree>
    <p:extLst>
      <p:ext uri="{BB962C8B-B14F-4D97-AF65-F5344CB8AC3E}">
        <p14:creationId xmlns:p14="http://schemas.microsoft.com/office/powerpoint/2010/main" val="4052201428"/>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p:cSld name="Two pictures">
    <p:spTree>
      <p:nvGrpSpPr>
        <p:cNvPr id="1" name=""/>
        <p:cNvGrpSpPr/>
        <p:nvPr/>
      </p:nvGrpSpPr>
      <p:grpSpPr>
        <a:xfrm>
          <a:off x="0" y="0"/>
          <a:ext cx="0" cy="0"/>
          <a:chOff x="0" y="0"/>
          <a:chExt cx="0" cy="0"/>
        </a:xfrm>
      </p:grpSpPr>
      <p:sp>
        <p:nvSpPr>
          <p:cNvPr id="21" name="Date Placeholder 20"/>
          <p:cNvSpPr>
            <a:spLocks noGrp="1"/>
          </p:cNvSpPr>
          <p:nvPr>
            <p:ph type="dt" sz="half" idx="14"/>
          </p:nvPr>
        </p:nvSpPr>
        <p:spPr>
          <a:xfrm>
            <a:off x="192089" y="6237288"/>
            <a:ext cx="863600" cy="358173"/>
          </a:xfrm>
          <a:prstGeom prst="rect">
            <a:avLst/>
          </a:prstGeom>
        </p:spPr>
        <p:txBody>
          <a:bodyPr/>
          <a:lstStyle/>
          <a:p>
            <a:fld id="{0C2FFEBC-2BB8-4026-95F3-22D358B37101}" type="datetime5">
              <a:rPr lang="en-US" smtClean="0"/>
              <a:t>26-Jun-20</a:t>
            </a:fld>
            <a:endParaRPr lang="en-US"/>
          </a:p>
        </p:txBody>
      </p:sp>
      <p:sp>
        <p:nvSpPr>
          <p:cNvPr id="22" name="Footer Placeholder 21"/>
          <p:cNvSpPr>
            <a:spLocks noGrp="1"/>
          </p:cNvSpPr>
          <p:nvPr>
            <p:ph type="ftr" sz="quarter" idx="15"/>
          </p:nvPr>
        </p:nvSpPr>
        <p:spPr>
          <a:xfrm>
            <a:off x="1177999" y="6237288"/>
            <a:ext cx="8162717" cy="358173"/>
          </a:xfrm>
          <a:prstGeom prst="rect">
            <a:avLst/>
          </a:prstGeom>
        </p:spPr>
        <p:txBody>
          <a:bodyPr/>
          <a:lstStyle/>
          <a:p>
            <a:r>
              <a:rPr lang="en-US"/>
              <a:t>Title of presentation (Insert / Header &amp; Footer / Apply to All)</a:t>
            </a:r>
            <a:endParaRPr lang="en-US" dirty="0"/>
          </a:p>
        </p:txBody>
      </p:sp>
      <p:sp>
        <p:nvSpPr>
          <p:cNvPr id="23" name="Slide Number Placeholder 22"/>
          <p:cNvSpPr>
            <a:spLocks noGrp="1"/>
          </p:cNvSpPr>
          <p:nvPr>
            <p:ph type="sldNum" sz="quarter" idx="16"/>
          </p:nvPr>
        </p:nvSpPr>
        <p:spPr/>
        <p:txBody>
          <a:bodyPr/>
          <a:lstStyle/>
          <a:p>
            <a:fld id="{5F3E29E4-0979-4FCA-B4C5-5FC6044C982A}" type="slidenum">
              <a:rPr lang="en-US" smtClean="0"/>
              <a:t>‹#›</a:t>
            </a:fld>
            <a:endParaRPr lang="en-US"/>
          </a:p>
        </p:txBody>
      </p:sp>
      <p:sp>
        <p:nvSpPr>
          <p:cNvPr id="2" name="Title 1"/>
          <p:cNvSpPr>
            <a:spLocks noGrp="1"/>
          </p:cNvSpPr>
          <p:nvPr>
            <p:ph type="title" hasCustomPrompt="1"/>
          </p:nvPr>
        </p:nvSpPr>
        <p:spPr/>
        <p:txBody>
          <a:bodyPr/>
          <a:lstStyle>
            <a:lvl1pPr>
              <a:defRPr/>
            </a:lvl1pPr>
          </a:lstStyle>
          <a:p>
            <a:r>
              <a:rPr lang="en-US" dirty="0"/>
              <a:t>Click to add slide title</a:t>
            </a:r>
          </a:p>
        </p:txBody>
      </p:sp>
      <p:sp>
        <p:nvSpPr>
          <p:cNvPr id="7" name="Subtitle 2"/>
          <p:cNvSpPr>
            <a:spLocks noGrp="1"/>
          </p:cNvSpPr>
          <p:nvPr>
            <p:ph type="subTitle" idx="13" hasCustomPrompt="1"/>
          </p:nvPr>
        </p:nvSpPr>
        <p:spPr>
          <a:xfrm>
            <a:off x="1075061" y="964671"/>
            <a:ext cx="7910158" cy="490042"/>
          </a:xfrm>
        </p:spPr>
        <p:txBody>
          <a:bodyPr wrap="none"/>
          <a:lstStyle>
            <a:lvl1pPr marL="0" indent="0" algn="l">
              <a:spcBef>
                <a:spcPts val="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5" name="Picture Placeholder 4"/>
          <p:cNvSpPr>
            <a:spLocks noGrp="1"/>
          </p:cNvSpPr>
          <p:nvPr>
            <p:ph type="pic" sz="quarter" idx="17" hasCustomPrompt="1"/>
          </p:nvPr>
        </p:nvSpPr>
        <p:spPr>
          <a:xfrm>
            <a:off x="1075062" y="1637783"/>
            <a:ext cx="5220000" cy="4599506"/>
          </a:xfrm>
          <a:solidFill>
            <a:srgbClr val="D9DADB"/>
          </a:solidFill>
        </p:spPr>
        <p:txBody>
          <a:bodyPr/>
          <a:lstStyle>
            <a:lvl1pPr marL="0" indent="0">
              <a:buNone/>
              <a:defRPr/>
            </a:lvl1pPr>
          </a:lstStyle>
          <a:p>
            <a:r>
              <a:rPr lang="en-US" dirty="0"/>
              <a:t>Insert picture</a:t>
            </a:r>
          </a:p>
        </p:txBody>
      </p:sp>
      <p:sp>
        <p:nvSpPr>
          <p:cNvPr id="9" name="Picture Placeholder 4"/>
          <p:cNvSpPr>
            <a:spLocks noGrp="1"/>
          </p:cNvSpPr>
          <p:nvPr>
            <p:ph type="pic" sz="quarter" idx="18" hasCustomPrompt="1"/>
          </p:nvPr>
        </p:nvSpPr>
        <p:spPr>
          <a:xfrm>
            <a:off x="6600525" y="1637783"/>
            <a:ext cx="5220000" cy="4599506"/>
          </a:xfrm>
          <a:solidFill>
            <a:srgbClr val="D9DADB"/>
          </a:solidFill>
        </p:spPr>
        <p:txBody>
          <a:bodyPr/>
          <a:lstStyle>
            <a:lvl1pPr marL="0" indent="0">
              <a:buNone/>
              <a:defRPr/>
            </a:lvl1pPr>
          </a:lstStyle>
          <a:p>
            <a:r>
              <a:rPr lang="en-US" dirty="0"/>
              <a:t>Insert picture</a:t>
            </a:r>
          </a:p>
        </p:txBody>
      </p:sp>
    </p:spTree>
    <p:extLst>
      <p:ext uri="{BB962C8B-B14F-4D97-AF65-F5344CB8AC3E}">
        <p14:creationId xmlns:p14="http://schemas.microsoft.com/office/powerpoint/2010/main" val="66977937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blank" preserve="1">
  <p:cSld name="Empty">
    <p:spTree>
      <p:nvGrpSpPr>
        <p:cNvPr id="1" name=""/>
        <p:cNvGrpSpPr/>
        <p:nvPr/>
      </p:nvGrpSpPr>
      <p:grpSpPr>
        <a:xfrm>
          <a:off x="0" y="0"/>
          <a:ext cx="0" cy="0"/>
          <a:chOff x="0" y="0"/>
          <a:chExt cx="0" cy="0"/>
        </a:xfrm>
      </p:grpSpPr>
      <p:sp>
        <p:nvSpPr>
          <p:cNvPr id="5" name="Rectangle 4"/>
          <p:cNvSpPr/>
          <p:nvPr/>
        </p:nvSpPr>
        <p:spPr bwMode="gray">
          <a:xfrm>
            <a:off x="0" y="0"/>
            <a:ext cx="12192000" cy="685800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802" tIns="60901" rIns="121802" bIns="60901" numCol="1" spcCol="0" rtlCol="0" fromWordArt="0" anchor="ctr" anchorCtr="0" forceAA="0" compatLnSpc="1">
            <a:prstTxWarp prst="textNoShape">
              <a:avLst/>
            </a:prstTxWarp>
            <a:noAutofit/>
          </a:bodyPr>
          <a:lstStyle/>
          <a:p>
            <a:pPr marL="0" indent="0" algn="ctr">
              <a:spcBef>
                <a:spcPts val="400"/>
              </a:spcBef>
              <a:buFont typeface="Courier New" pitchFamily="49" charset="0"/>
              <a:buNone/>
            </a:pPr>
            <a:endParaRPr lang="en-US" sz="2133">
              <a:solidFill>
                <a:schemeClr val="tx1"/>
              </a:solidFill>
              <a:latin typeface="Arial" pitchFamily="34" charset="0"/>
              <a:cs typeface="Arial" pitchFamily="34" charset="0"/>
            </a:endParaRPr>
          </a:p>
        </p:txBody>
      </p:sp>
      <p:pic>
        <p:nvPicPr>
          <p:cNvPr id="3" name="Grafik 75"/>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gray">
          <a:xfrm>
            <a:off x="10992258" y="260560"/>
            <a:ext cx="770129" cy="768000"/>
          </a:xfrm>
          <a:prstGeom prst="rect">
            <a:avLst/>
          </a:prstGeom>
        </p:spPr>
      </p:pic>
    </p:spTree>
    <p:extLst>
      <p:ext uri="{BB962C8B-B14F-4D97-AF65-F5344CB8AC3E}">
        <p14:creationId xmlns:p14="http://schemas.microsoft.com/office/powerpoint/2010/main" val="282133097"/>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p:cSld name="Two contents">
    <p:spTree>
      <p:nvGrpSpPr>
        <p:cNvPr id="1" name=""/>
        <p:cNvGrpSpPr/>
        <p:nvPr/>
      </p:nvGrpSpPr>
      <p:grpSpPr>
        <a:xfrm>
          <a:off x="0" y="0"/>
          <a:ext cx="0" cy="0"/>
          <a:chOff x="0" y="0"/>
          <a:chExt cx="0" cy="0"/>
        </a:xfrm>
      </p:grpSpPr>
      <p:sp>
        <p:nvSpPr>
          <p:cNvPr id="21" name="Date Placeholder 20"/>
          <p:cNvSpPr>
            <a:spLocks noGrp="1"/>
          </p:cNvSpPr>
          <p:nvPr>
            <p:ph type="dt" sz="half" idx="14"/>
          </p:nvPr>
        </p:nvSpPr>
        <p:spPr>
          <a:xfrm>
            <a:off x="192089" y="6237288"/>
            <a:ext cx="863600" cy="358173"/>
          </a:xfrm>
          <a:prstGeom prst="rect">
            <a:avLst/>
          </a:prstGeom>
        </p:spPr>
        <p:txBody>
          <a:bodyPr/>
          <a:lstStyle/>
          <a:p>
            <a:fld id="{9D45F382-CD09-4611-8552-1549F9F12240}" type="datetime5">
              <a:rPr lang="en-US" smtClean="0"/>
              <a:t>26-Jun-20</a:t>
            </a:fld>
            <a:endParaRPr lang="en-US"/>
          </a:p>
        </p:txBody>
      </p:sp>
      <p:sp>
        <p:nvSpPr>
          <p:cNvPr id="22" name="Footer Placeholder 21"/>
          <p:cNvSpPr>
            <a:spLocks noGrp="1"/>
          </p:cNvSpPr>
          <p:nvPr>
            <p:ph type="ftr" sz="quarter" idx="15"/>
          </p:nvPr>
        </p:nvSpPr>
        <p:spPr>
          <a:xfrm>
            <a:off x="1177999" y="6237288"/>
            <a:ext cx="8162717" cy="358173"/>
          </a:xfrm>
          <a:prstGeom prst="rect">
            <a:avLst/>
          </a:prstGeom>
        </p:spPr>
        <p:txBody>
          <a:bodyPr/>
          <a:lstStyle/>
          <a:p>
            <a:r>
              <a:rPr lang="en-US"/>
              <a:t>Title of presentation (Insert / Header &amp; Footer / Apply to All)</a:t>
            </a:r>
            <a:endParaRPr lang="en-US" dirty="0"/>
          </a:p>
        </p:txBody>
      </p:sp>
      <p:sp>
        <p:nvSpPr>
          <p:cNvPr id="23" name="Slide Number Placeholder 22"/>
          <p:cNvSpPr>
            <a:spLocks noGrp="1"/>
          </p:cNvSpPr>
          <p:nvPr>
            <p:ph type="sldNum" sz="quarter" idx="16"/>
          </p:nvPr>
        </p:nvSpPr>
        <p:spPr/>
        <p:txBody>
          <a:bodyPr/>
          <a:lstStyle/>
          <a:p>
            <a:fld id="{5F3E29E4-0979-4FCA-B4C5-5FC6044C982A}" type="slidenum">
              <a:rPr lang="en-US" smtClean="0"/>
              <a:t>‹#›</a:t>
            </a:fld>
            <a:endParaRPr lang="en-US"/>
          </a:p>
        </p:txBody>
      </p:sp>
      <p:sp>
        <p:nvSpPr>
          <p:cNvPr id="2" name="Title 1"/>
          <p:cNvSpPr>
            <a:spLocks noGrp="1"/>
          </p:cNvSpPr>
          <p:nvPr>
            <p:ph type="title" hasCustomPrompt="1"/>
          </p:nvPr>
        </p:nvSpPr>
        <p:spPr/>
        <p:txBody>
          <a:bodyPr/>
          <a:lstStyle>
            <a:lvl1pPr>
              <a:defRPr/>
            </a:lvl1pPr>
          </a:lstStyle>
          <a:p>
            <a:r>
              <a:rPr lang="en-US" dirty="0"/>
              <a:t>Click to add slide title</a:t>
            </a:r>
          </a:p>
        </p:txBody>
      </p:sp>
      <p:sp>
        <p:nvSpPr>
          <p:cNvPr id="7" name="Subtitle 2"/>
          <p:cNvSpPr>
            <a:spLocks noGrp="1"/>
          </p:cNvSpPr>
          <p:nvPr>
            <p:ph type="subTitle" idx="13" hasCustomPrompt="1"/>
          </p:nvPr>
        </p:nvSpPr>
        <p:spPr>
          <a:xfrm>
            <a:off x="1075061" y="964671"/>
            <a:ext cx="7910158" cy="490042"/>
          </a:xfrm>
        </p:spPr>
        <p:txBody>
          <a:bodyPr wrap="none"/>
          <a:lstStyle>
            <a:lvl1pPr marL="0" indent="0" algn="l">
              <a:spcBef>
                <a:spcPts val="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3" name="Content Placeholder 2"/>
          <p:cNvSpPr>
            <a:spLocks noGrp="1"/>
          </p:cNvSpPr>
          <p:nvPr>
            <p:ph idx="1" hasCustomPrompt="1"/>
          </p:nvPr>
        </p:nvSpPr>
        <p:spPr>
          <a:xfrm>
            <a:off x="1075062" y="1629618"/>
            <a:ext cx="5220000" cy="4139357"/>
          </a:xfrm>
        </p:spPr>
        <p:txBody>
          <a:bodyPr/>
          <a:lstStyle>
            <a:lvl1pPr>
              <a:defRPr/>
            </a:lvl1pPr>
          </a:lstStyle>
          <a:p>
            <a:pPr lvl="0"/>
            <a:r>
              <a:rPr lang="en-US" dirty="0"/>
              <a:t>Click to add text or conten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Content Placeholder 2"/>
          <p:cNvSpPr>
            <a:spLocks noGrp="1"/>
          </p:cNvSpPr>
          <p:nvPr>
            <p:ph idx="17" hasCustomPrompt="1"/>
          </p:nvPr>
        </p:nvSpPr>
        <p:spPr>
          <a:xfrm>
            <a:off x="6600525" y="1629618"/>
            <a:ext cx="5220000" cy="4139357"/>
          </a:xfrm>
        </p:spPr>
        <p:txBody>
          <a:bodyPr/>
          <a:lstStyle>
            <a:lvl1pPr>
              <a:defRPr/>
            </a:lvl1pPr>
          </a:lstStyle>
          <a:p>
            <a:pPr lvl="0"/>
            <a:r>
              <a:rPr lang="en-US" dirty="0"/>
              <a:t>Click to add text or content</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841265445"/>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p:cSld name="Three contents">
    <p:spTree>
      <p:nvGrpSpPr>
        <p:cNvPr id="1" name=""/>
        <p:cNvGrpSpPr/>
        <p:nvPr/>
      </p:nvGrpSpPr>
      <p:grpSpPr>
        <a:xfrm>
          <a:off x="0" y="0"/>
          <a:ext cx="0" cy="0"/>
          <a:chOff x="0" y="0"/>
          <a:chExt cx="0" cy="0"/>
        </a:xfrm>
      </p:grpSpPr>
      <p:sp>
        <p:nvSpPr>
          <p:cNvPr id="21" name="Date Placeholder 20"/>
          <p:cNvSpPr>
            <a:spLocks noGrp="1"/>
          </p:cNvSpPr>
          <p:nvPr>
            <p:ph type="dt" sz="half" idx="14"/>
          </p:nvPr>
        </p:nvSpPr>
        <p:spPr>
          <a:xfrm>
            <a:off x="192089" y="6237288"/>
            <a:ext cx="863600" cy="358173"/>
          </a:xfrm>
          <a:prstGeom prst="rect">
            <a:avLst/>
          </a:prstGeom>
        </p:spPr>
        <p:txBody>
          <a:bodyPr/>
          <a:lstStyle/>
          <a:p>
            <a:fld id="{E67FA33E-39D1-4C68-AC07-495881E0A93B}" type="datetime5">
              <a:rPr lang="en-US" smtClean="0"/>
              <a:t>26-Jun-20</a:t>
            </a:fld>
            <a:endParaRPr lang="en-US"/>
          </a:p>
        </p:txBody>
      </p:sp>
      <p:sp>
        <p:nvSpPr>
          <p:cNvPr id="22" name="Footer Placeholder 21"/>
          <p:cNvSpPr>
            <a:spLocks noGrp="1"/>
          </p:cNvSpPr>
          <p:nvPr>
            <p:ph type="ftr" sz="quarter" idx="15"/>
          </p:nvPr>
        </p:nvSpPr>
        <p:spPr>
          <a:xfrm>
            <a:off x="1177999" y="6237288"/>
            <a:ext cx="8162717" cy="358173"/>
          </a:xfrm>
          <a:prstGeom prst="rect">
            <a:avLst/>
          </a:prstGeom>
        </p:spPr>
        <p:txBody>
          <a:bodyPr/>
          <a:lstStyle/>
          <a:p>
            <a:r>
              <a:rPr lang="en-US"/>
              <a:t>Title of presentation (Insert / Header &amp; Footer / Apply to All)</a:t>
            </a:r>
            <a:endParaRPr lang="en-US" dirty="0"/>
          </a:p>
        </p:txBody>
      </p:sp>
      <p:sp>
        <p:nvSpPr>
          <p:cNvPr id="23" name="Slide Number Placeholder 22"/>
          <p:cNvSpPr>
            <a:spLocks noGrp="1"/>
          </p:cNvSpPr>
          <p:nvPr>
            <p:ph type="sldNum" sz="quarter" idx="16"/>
          </p:nvPr>
        </p:nvSpPr>
        <p:spPr/>
        <p:txBody>
          <a:bodyPr/>
          <a:lstStyle/>
          <a:p>
            <a:fld id="{5F3E29E4-0979-4FCA-B4C5-5FC6044C982A}" type="slidenum">
              <a:rPr lang="en-US" smtClean="0"/>
              <a:t>‹#›</a:t>
            </a:fld>
            <a:endParaRPr lang="en-US"/>
          </a:p>
        </p:txBody>
      </p:sp>
      <p:sp>
        <p:nvSpPr>
          <p:cNvPr id="2" name="Title 1"/>
          <p:cNvSpPr>
            <a:spLocks noGrp="1"/>
          </p:cNvSpPr>
          <p:nvPr>
            <p:ph type="title" hasCustomPrompt="1"/>
          </p:nvPr>
        </p:nvSpPr>
        <p:spPr/>
        <p:txBody>
          <a:bodyPr/>
          <a:lstStyle>
            <a:lvl1pPr>
              <a:defRPr/>
            </a:lvl1pPr>
          </a:lstStyle>
          <a:p>
            <a:r>
              <a:rPr lang="en-US" dirty="0"/>
              <a:t>Click to add slide title</a:t>
            </a:r>
          </a:p>
        </p:txBody>
      </p:sp>
      <p:sp>
        <p:nvSpPr>
          <p:cNvPr id="7" name="Subtitle 2"/>
          <p:cNvSpPr>
            <a:spLocks noGrp="1"/>
          </p:cNvSpPr>
          <p:nvPr>
            <p:ph type="subTitle" idx="13" hasCustomPrompt="1"/>
          </p:nvPr>
        </p:nvSpPr>
        <p:spPr>
          <a:xfrm>
            <a:off x="1075061" y="964671"/>
            <a:ext cx="7910158" cy="490042"/>
          </a:xfrm>
        </p:spPr>
        <p:txBody>
          <a:bodyPr wrap="none"/>
          <a:lstStyle>
            <a:lvl1pPr marL="0" indent="0" algn="l">
              <a:spcBef>
                <a:spcPts val="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3" name="Content Placeholder 2"/>
          <p:cNvSpPr>
            <a:spLocks noGrp="1"/>
          </p:cNvSpPr>
          <p:nvPr>
            <p:ph idx="1" hasCustomPrompt="1"/>
          </p:nvPr>
        </p:nvSpPr>
        <p:spPr>
          <a:xfrm>
            <a:off x="1075061" y="1629618"/>
            <a:ext cx="3384000" cy="4139357"/>
          </a:xfrm>
        </p:spPr>
        <p:txBody>
          <a:bodyPr/>
          <a:lstStyle>
            <a:lvl1pPr>
              <a:defRPr/>
            </a:lvl1pPr>
          </a:lstStyle>
          <a:p>
            <a:pPr lvl="0"/>
            <a:r>
              <a:rPr lang="en-US" dirty="0"/>
              <a:t>Click to add text or conten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Content Placeholder 2"/>
          <p:cNvSpPr>
            <a:spLocks noGrp="1"/>
          </p:cNvSpPr>
          <p:nvPr>
            <p:ph idx="17" hasCustomPrompt="1"/>
          </p:nvPr>
        </p:nvSpPr>
        <p:spPr>
          <a:xfrm>
            <a:off x="4755793" y="1629618"/>
            <a:ext cx="3384000" cy="4139357"/>
          </a:xfrm>
        </p:spPr>
        <p:txBody>
          <a:bodyPr/>
          <a:lstStyle>
            <a:lvl1pPr>
              <a:defRPr/>
            </a:lvl1pPr>
          </a:lstStyle>
          <a:p>
            <a:pPr lvl="0"/>
            <a:r>
              <a:rPr lang="en-US" dirty="0"/>
              <a:t>Click to add text or conten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Content Placeholder 2"/>
          <p:cNvSpPr>
            <a:spLocks noGrp="1"/>
          </p:cNvSpPr>
          <p:nvPr>
            <p:ph idx="18" hasCustomPrompt="1"/>
          </p:nvPr>
        </p:nvSpPr>
        <p:spPr>
          <a:xfrm>
            <a:off x="8436525" y="1629618"/>
            <a:ext cx="3384000" cy="4139357"/>
          </a:xfrm>
        </p:spPr>
        <p:txBody>
          <a:bodyPr/>
          <a:lstStyle>
            <a:lvl1pPr>
              <a:defRPr/>
            </a:lvl1pPr>
          </a:lstStyle>
          <a:p>
            <a:pPr lvl="0"/>
            <a:r>
              <a:rPr lang="en-US" dirty="0"/>
              <a:t>Click to add text or content</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48409799"/>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p:cSld name="Four contents 1">
    <p:spTree>
      <p:nvGrpSpPr>
        <p:cNvPr id="1" name=""/>
        <p:cNvGrpSpPr/>
        <p:nvPr/>
      </p:nvGrpSpPr>
      <p:grpSpPr>
        <a:xfrm>
          <a:off x="0" y="0"/>
          <a:ext cx="0" cy="0"/>
          <a:chOff x="0" y="0"/>
          <a:chExt cx="0" cy="0"/>
        </a:xfrm>
      </p:grpSpPr>
      <p:sp>
        <p:nvSpPr>
          <p:cNvPr id="21" name="Date Placeholder 20"/>
          <p:cNvSpPr>
            <a:spLocks noGrp="1"/>
          </p:cNvSpPr>
          <p:nvPr>
            <p:ph type="dt" sz="half" idx="14"/>
          </p:nvPr>
        </p:nvSpPr>
        <p:spPr>
          <a:xfrm>
            <a:off x="192089" y="6237288"/>
            <a:ext cx="863600" cy="358173"/>
          </a:xfrm>
          <a:prstGeom prst="rect">
            <a:avLst/>
          </a:prstGeom>
        </p:spPr>
        <p:txBody>
          <a:bodyPr/>
          <a:lstStyle/>
          <a:p>
            <a:fld id="{C2672A55-7139-4AA9-8041-42818C956C2C}" type="datetime5">
              <a:rPr lang="en-US" smtClean="0"/>
              <a:t>26-Jun-20</a:t>
            </a:fld>
            <a:endParaRPr lang="en-US"/>
          </a:p>
        </p:txBody>
      </p:sp>
      <p:sp>
        <p:nvSpPr>
          <p:cNvPr id="22" name="Footer Placeholder 21"/>
          <p:cNvSpPr>
            <a:spLocks noGrp="1"/>
          </p:cNvSpPr>
          <p:nvPr>
            <p:ph type="ftr" sz="quarter" idx="15"/>
          </p:nvPr>
        </p:nvSpPr>
        <p:spPr>
          <a:xfrm>
            <a:off x="1177999" y="6237288"/>
            <a:ext cx="8162717" cy="358173"/>
          </a:xfrm>
          <a:prstGeom prst="rect">
            <a:avLst/>
          </a:prstGeom>
        </p:spPr>
        <p:txBody>
          <a:bodyPr/>
          <a:lstStyle/>
          <a:p>
            <a:r>
              <a:rPr lang="en-US"/>
              <a:t>Title of presentation (Insert / Header &amp; Footer / Apply to All)</a:t>
            </a:r>
            <a:endParaRPr lang="en-US" dirty="0"/>
          </a:p>
        </p:txBody>
      </p:sp>
      <p:sp>
        <p:nvSpPr>
          <p:cNvPr id="23" name="Slide Number Placeholder 22"/>
          <p:cNvSpPr>
            <a:spLocks noGrp="1"/>
          </p:cNvSpPr>
          <p:nvPr>
            <p:ph type="sldNum" sz="quarter" idx="16"/>
          </p:nvPr>
        </p:nvSpPr>
        <p:spPr/>
        <p:txBody>
          <a:bodyPr/>
          <a:lstStyle/>
          <a:p>
            <a:fld id="{5F3E29E4-0979-4FCA-B4C5-5FC6044C982A}" type="slidenum">
              <a:rPr lang="en-US" smtClean="0"/>
              <a:t>‹#›</a:t>
            </a:fld>
            <a:endParaRPr lang="en-US"/>
          </a:p>
        </p:txBody>
      </p:sp>
      <p:sp>
        <p:nvSpPr>
          <p:cNvPr id="2" name="Title 1"/>
          <p:cNvSpPr>
            <a:spLocks noGrp="1"/>
          </p:cNvSpPr>
          <p:nvPr>
            <p:ph type="title" hasCustomPrompt="1"/>
          </p:nvPr>
        </p:nvSpPr>
        <p:spPr/>
        <p:txBody>
          <a:bodyPr/>
          <a:lstStyle>
            <a:lvl1pPr>
              <a:defRPr/>
            </a:lvl1pPr>
          </a:lstStyle>
          <a:p>
            <a:r>
              <a:rPr lang="en-US" dirty="0"/>
              <a:t>Click to add slide title</a:t>
            </a:r>
          </a:p>
        </p:txBody>
      </p:sp>
      <p:sp>
        <p:nvSpPr>
          <p:cNvPr id="7" name="Subtitle 2"/>
          <p:cNvSpPr>
            <a:spLocks noGrp="1"/>
          </p:cNvSpPr>
          <p:nvPr>
            <p:ph type="subTitle" idx="13" hasCustomPrompt="1"/>
          </p:nvPr>
        </p:nvSpPr>
        <p:spPr>
          <a:xfrm>
            <a:off x="1075061" y="964671"/>
            <a:ext cx="7910158" cy="490042"/>
          </a:xfrm>
        </p:spPr>
        <p:txBody>
          <a:bodyPr wrap="none"/>
          <a:lstStyle>
            <a:lvl1pPr marL="0" indent="0" algn="l">
              <a:spcBef>
                <a:spcPts val="0"/>
              </a:spcBef>
              <a:buNone/>
              <a:defRPr sz="2400" baseline="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3" name="Content Placeholder 2"/>
          <p:cNvSpPr>
            <a:spLocks noGrp="1"/>
          </p:cNvSpPr>
          <p:nvPr>
            <p:ph idx="1" hasCustomPrompt="1"/>
          </p:nvPr>
        </p:nvSpPr>
        <p:spPr>
          <a:xfrm>
            <a:off x="192088" y="1629618"/>
            <a:ext cx="2682000" cy="4139357"/>
          </a:xfrm>
        </p:spPr>
        <p:txBody>
          <a:bodyPr/>
          <a:lstStyle>
            <a:lvl1pPr>
              <a:defRPr/>
            </a:lvl1pPr>
          </a:lstStyle>
          <a:p>
            <a:pPr lvl="0"/>
            <a:r>
              <a:rPr lang="en-US" dirty="0"/>
              <a:t>Click to add text or conten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Content Placeholder 2"/>
          <p:cNvSpPr>
            <a:spLocks noGrp="1"/>
          </p:cNvSpPr>
          <p:nvPr>
            <p:ph idx="17" hasCustomPrompt="1"/>
          </p:nvPr>
        </p:nvSpPr>
        <p:spPr>
          <a:xfrm>
            <a:off x="3174234" y="1629618"/>
            <a:ext cx="2682000" cy="4139357"/>
          </a:xfrm>
        </p:spPr>
        <p:txBody>
          <a:bodyPr/>
          <a:lstStyle>
            <a:lvl1pPr>
              <a:defRPr/>
            </a:lvl1pPr>
          </a:lstStyle>
          <a:p>
            <a:pPr lvl="0"/>
            <a:r>
              <a:rPr lang="en-US" dirty="0"/>
              <a:t>Click to add text or conten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Content Placeholder 2"/>
          <p:cNvSpPr>
            <a:spLocks noGrp="1"/>
          </p:cNvSpPr>
          <p:nvPr>
            <p:ph idx="18" hasCustomPrompt="1"/>
          </p:nvPr>
        </p:nvSpPr>
        <p:spPr>
          <a:xfrm>
            <a:off x="6156380" y="1629618"/>
            <a:ext cx="2682000" cy="4139357"/>
          </a:xfrm>
        </p:spPr>
        <p:txBody>
          <a:bodyPr/>
          <a:lstStyle>
            <a:lvl1pPr>
              <a:defRPr/>
            </a:lvl1pPr>
          </a:lstStyle>
          <a:p>
            <a:pPr lvl="0"/>
            <a:r>
              <a:rPr lang="en-US" dirty="0"/>
              <a:t>Click to add text or conten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Content Placeholder 2"/>
          <p:cNvSpPr>
            <a:spLocks noGrp="1"/>
          </p:cNvSpPr>
          <p:nvPr>
            <p:ph idx="19" hasCustomPrompt="1"/>
          </p:nvPr>
        </p:nvSpPr>
        <p:spPr>
          <a:xfrm>
            <a:off x="9138525" y="1629618"/>
            <a:ext cx="2682000" cy="4139357"/>
          </a:xfrm>
        </p:spPr>
        <p:txBody>
          <a:bodyPr/>
          <a:lstStyle>
            <a:lvl1pPr>
              <a:defRPr/>
            </a:lvl1pPr>
          </a:lstStyle>
          <a:p>
            <a:pPr lvl="0"/>
            <a:r>
              <a:rPr lang="en-US" dirty="0"/>
              <a:t>Click to add text or content</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807653584"/>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p:cSld name="Four contents 2">
    <p:spTree>
      <p:nvGrpSpPr>
        <p:cNvPr id="1" name=""/>
        <p:cNvGrpSpPr/>
        <p:nvPr/>
      </p:nvGrpSpPr>
      <p:grpSpPr>
        <a:xfrm>
          <a:off x="0" y="0"/>
          <a:ext cx="0" cy="0"/>
          <a:chOff x="0" y="0"/>
          <a:chExt cx="0" cy="0"/>
        </a:xfrm>
      </p:grpSpPr>
      <p:sp>
        <p:nvSpPr>
          <p:cNvPr id="21" name="Date Placeholder 20"/>
          <p:cNvSpPr>
            <a:spLocks noGrp="1"/>
          </p:cNvSpPr>
          <p:nvPr>
            <p:ph type="dt" sz="half" idx="14"/>
          </p:nvPr>
        </p:nvSpPr>
        <p:spPr>
          <a:xfrm>
            <a:off x="192089" y="6237288"/>
            <a:ext cx="863600" cy="358173"/>
          </a:xfrm>
          <a:prstGeom prst="rect">
            <a:avLst/>
          </a:prstGeom>
        </p:spPr>
        <p:txBody>
          <a:bodyPr/>
          <a:lstStyle/>
          <a:p>
            <a:fld id="{C1A94770-6330-463A-BD32-DB4363F98C83}" type="datetime5">
              <a:rPr lang="en-US" smtClean="0"/>
              <a:t>26-Jun-20</a:t>
            </a:fld>
            <a:endParaRPr lang="en-US"/>
          </a:p>
        </p:txBody>
      </p:sp>
      <p:sp>
        <p:nvSpPr>
          <p:cNvPr id="22" name="Footer Placeholder 21"/>
          <p:cNvSpPr>
            <a:spLocks noGrp="1"/>
          </p:cNvSpPr>
          <p:nvPr>
            <p:ph type="ftr" sz="quarter" idx="15"/>
          </p:nvPr>
        </p:nvSpPr>
        <p:spPr>
          <a:xfrm>
            <a:off x="1177999" y="6237288"/>
            <a:ext cx="8162717" cy="358173"/>
          </a:xfrm>
          <a:prstGeom prst="rect">
            <a:avLst/>
          </a:prstGeom>
        </p:spPr>
        <p:txBody>
          <a:bodyPr/>
          <a:lstStyle/>
          <a:p>
            <a:r>
              <a:rPr lang="en-US"/>
              <a:t>Title of presentation (Insert / Header &amp; Footer / Apply to All)</a:t>
            </a:r>
            <a:endParaRPr lang="en-US" dirty="0"/>
          </a:p>
        </p:txBody>
      </p:sp>
      <p:sp>
        <p:nvSpPr>
          <p:cNvPr id="23" name="Slide Number Placeholder 22"/>
          <p:cNvSpPr>
            <a:spLocks noGrp="1"/>
          </p:cNvSpPr>
          <p:nvPr>
            <p:ph type="sldNum" sz="quarter" idx="16"/>
          </p:nvPr>
        </p:nvSpPr>
        <p:spPr/>
        <p:txBody>
          <a:bodyPr/>
          <a:lstStyle/>
          <a:p>
            <a:fld id="{5F3E29E4-0979-4FCA-B4C5-5FC6044C982A}" type="slidenum">
              <a:rPr lang="en-US" smtClean="0"/>
              <a:t>‹#›</a:t>
            </a:fld>
            <a:endParaRPr lang="en-US"/>
          </a:p>
        </p:txBody>
      </p:sp>
      <p:sp>
        <p:nvSpPr>
          <p:cNvPr id="2" name="Title 1"/>
          <p:cNvSpPr>
            <a:spLocks noGrp="1"/>
          </p:cNvSpPr>
          <p:nvPr>
            <p:ph type="title" hasCustomPrompt="1"/>
          </p:nvPr>
        </p:nvSpPr>
        <p:spPr/>
        <p:txBody>
          <a:bodyPr/>
          <a:lstStyle>
            <a:lvl1pPr>
              <a:defRPr/>
            </a:lvl1pPr>
          </a:lstStyle>
          <a:p>
            <a:r>
              <a:rPr lang="en-US" dirty="0"/>
              <a:t>Click to add slide title</a:t>
            </a:r>
          </a:p>
        </p:txBody>
      </p:sp>
      <p:sp>
        <p:nvSpPr>
          <p:cNvPr id="7" name="Subtitle 2"/>
          <p:cNvSpPr>
            <a:spLocks noGrp="1"/>
          </p:cNvSpPr>
          <p:nvPr>
            <p:ph type="subTitle" idx="13" hasCustomPrompt="1"/>
          </p:nvPr>
        </p:nvSpPr>
        <p:spPr>
          <a:xfrm>
            <a:off x="1075061" y="964671"/>
            <a:ext cx="7910158" cy="490042"/>
          </a:xfrm>
        </p:spPr>
        <p:txBody>
          <a:bodyPr wrap="none"/>
          <a:lstStyle>
            <a:lvl1pPr marL="0" indent="0" algn="l">
              <a:spcBef>
                <a:spcPts val="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3" name="Content Placeholder 2"/>
          <p:cNvSpPr>
            <a:spLocks noGrp="1"/>
          </p:cNvSpPr>
          <p:nvPr>
            <p:ph idx="1" hasCustomPrompt="1"/>
          </p:nvPr>
        </p:nvSpPr>
        <p:spPr>
          <a:xfrm>
            <a:off x="192088" y="1629617"/>
            <a:ext cx="6102974" cy="2160000"/>
          </a:xfrm>
        </p:spPr>
        <p:txBody>
          <a:bodyPr/>
          <a:lstStyle>
            <a:lvl1pPr>
              <a:defRPr/>
            </a:lvl1pPr>
          </a:lstStyle>
          <a:p>
            <a:pPr lvl="0"/>
            <a:r>
              <a:rPr lang="en-US" dirty="0"/>
              <a:t>Click to add text or conten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Content Placeholder 2"/>
          <p:cNvSpPr>
            <a:spLocks noGrp="1"/>
          </p:cNvSpPr>
          <p:nvPr>
            <p:ph idx="17" hasCustomPrompt="1"/>
          </p:nvPr>
        </p:nvSpPr>
        <p:spPr>
          <a:xfrm>
            <a:off x="6600525" y="1629617"/>
            <a:ext cx="5234144" cy="2160000"/>
          </a:xfrm>
        </p:spPr>
        <p:txBody>
          <a:bodyPr/>
          <a:lstStyle>
            <a:lvl1pPr>
              <a:defRPr/>
            </a:lvl1pPr>
          </a:lstStyle>
          <a:p>
            <a:pPr lvl="0"/>
            <a:r>
              <a:rPr lang="en-US" dirty="0"/>
              <a:t>Click to add text or conten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Content Placeholder 2"/>
          <p:cNvSpPr>
            <a:spLocks noGrp="1"/>
          </p:cNvSpPr>
          <p:nvPr>
            <p:ph idx="18" hasCustomPrompt="1"/>
          </p:nvPr>
        </p:nvSpPr>
        <p:spPr>
          <a:xfrm>
            <a:off x="192088" y="4077289"/>
            <a:ext cx="6102974" cy="2160000"/>
          </a:xfrm>
        </p:spPr>
        <p:txBody>
          <a:bodyPr/>
          <a:lstStyle>
            <a:lvl1pPr>
              <a:defRPr/>
            </a:lvl1pPr>
          </a:lstStyle>
          <a:p>
            <a:pPr lvl="0"/>
            <a:r>
              <a:rPr lang="en-US" dirty="0"/>
              <a:t>Click to add text or conten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Content Placeholder 2"/>
          <p:cNvSpPr>
            <a:spLocks noGrp="1"/>
          </p:cNvSpPr>
          <p:nvPr>
            <p:ph idx="19" hasCustomPrompt="1"/>
          </p:nvPr>
        </p:nvSpPr>
        <p:spPr>
          <a:xfrm>
            <a:off x="6600525" y="4077289"/>
            <a:ext cx="5234144" cy="2160000"/>
          </a:xfrm>
        </p:spPr>
        <p:txBody>
          <a:bodyPr/>
          <a:lstStyle>
            <a:lvl1pPr>
              <a:defRPr/>
            </a:lvl1pPr>
          </a:lstStyle>
          <a:p>
            <a:pPr lvl="0"/>
            <a:r>
              <a:rPr lang="en-US" dirty="0"/>
              <a:t>Click to add text or content</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46664969"/>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p:cSld name="Large charts and tables">
    <p:spTree>
      <p:nvGrpSpPr>
        <p:cNvPr id="1" name=""/>
        <p:cNvGrpSpPr/>
        <p:nvPr/>
      </p:nvGrpSpPr>
      <p:grpSpPr>
        <a:xfrm>
          <a:off x="0" y="0"/>
          <a:ext cx="0" cy="0"/>
          <a:chOff x="0" y="0"/>
          <a:chExt cx="0" cy="0"/>
        </a:xfrm>
      </p:grpSpPr>
      <p:sp>
        <p:nvSpPr>
          <p:cNvPr id="21" name="Date Placeholder 20"/>
          <p:cNvSpPr>
            <a:spLocks noGrp="1"/>
          </p:cNvSpPr>
          <p:nvPr>
            <p:ph type="dt" sz="half" idx="14"/>
          </p:nvPr>
        </p:nvSpPr>
        <p:spPr>
          <a:xfrm>
            <a:off x="192089" y="6237288"/>
            <a:ext cx="863600" cy="358173"/>
          </a:xfrm>
          <a:prstGeom prst="rect">
            <a:avLst/>
          </a:prstGeom>
        </p:spPr>
        <p:txBody>
          <a:bodyPr/>
          <a:lstStyle/>
          <a:p>
            <a:fld id="{C8265AAA-10E5-49CF-B48E-DC443F79F14E}" type="datetime5">
              <a:rPr lang="en-US" smtClean="0"/>
              <a:t>26-Jun-20</a:t>
            </a:fld>
            <a:endParaRPr lang="en-US"/>
          </a:p>
        </p:txBody>
      </p:sp>
      <p:sp>
        <p:nvSpPr>
          <p:cNvPr id="22" name="Footer Placeholder 21"/>
          <p:cNvSpPr>
            <a:spLocks noGrp="1"/>
          </p:cNvSpPr>
          <p:nvPr>
            <p:ph type="ftr" sz="quarter" idx="15"/>
          </p:nvPr>
        </p:nvSpPr>
        <p:spPr>
          <a:xfrm>
            <a:off x="1177999" y="6237288"/>
            <a:ext cx="8162717" cy="358173"/>
          </a:xfrm>
          <a:prstGeom prst="rect">
            <a:avLst/>
          </a:prstGeom>
        </p:spPr>
        <p:txBody>
          <a:bodyPr/>
          <a:lstStyle/>
          <a:p>
            <a:r>
              <a:rPr lang="en-US" dirty="0"/>
              <a:t>Portfolio </a:t>
            </a:r>
            <a:r>
              <a:rPr lang="en-US" dirty="0" err="1"/>
              <a:t>Multiclient</a:t>
            </a:r>
            <a:r>
              <a:rPr lang="en-US" dirty="0"/>
              <a:t> 2019</a:t>
            </a:r>
          </a:p>
        </p:txBody>
      </p:sp>
      <p:sp>
        <p:nvSpPr>
          <p:cNvPr id="23" name="Slide Number Placeholder 22"/>
          <p:cNvSpPr>
            <a:spLocks noGrp="1"/>
          </p:cNvSpPr>
          <p:nvPr>
            <p:ph type="sldNum" sz="quarter" idx="16"/>
          </p:nvPr>
        </p:nvSpPr>
        <p:spPr/>
        <p:txBody>
          <a:bodyPr/>
          <a:lstStyle/>
          <a:p>
            <a:fld id="{5F3E29E4-0979-4FCA-B4C5-5FC6044C982A}" type="slidenum">
              <a:rPr lang="en-US" smtClean="0"/>
              <a:t>‹#›</a:t>
            </a:fld>
            <a:endParaRPr lang="en-US"/>
          </a:p>
        </p:txBody>
      </p:sp>
      <p:sp>
        <p:nvSpPr>
          <p:cNvPr id="2" name="Title 1"/>
          <p:cNvSpPr>
            <a:spLocks noGrp="1"/>
          </p:cNvSpPr>
          <p:nvPr>
            <p:ph type="title" hasCustomPrompt="1"/>
          </p:nvPr>
        </p:nvSpPr>
        <p:spPr/>
        <p:txBody>
          <a:bodyPr/>
          <a:lstStyle>
            <a:lvl1pPr>
              <a:defRPr/>
            </a:lvl1pPr>
          </a:lstStyle>
          <a:p>
            <a:r>
              <a:rPr lang="en-US" dirty="0"/>
              <a:t>Click to add slide title</a:t>
            </a:r>
          </a:p>
        </p:txBody>
      </p:sp>
      <p:sp>
        <p:nvSpPr>
          <p:cNvPr id="7" name="Subtitle 2"/>
          <p:cNvSpPr>
            <a:spLocks noGrp="1"/>
          </p:cNvSpPr>
          <p:nvPr>
            <p:ph type="subTitle" idx="13" hasCustomPrompt="1"/>
          </p:nvPr>
        </p:nvSpPr>
        <p:spPr>
          <a:xfrm>
            <a:off x="1075061" y="964671"/>
            <a:ext cx="7910158" cy="490042"/>
          </a:xfrm>
        </p:spPr>
        <p:txBody>
          <a:bodyPr wrap="none"/>
          <a:lstStyle>
            <a:lvl1pPr marL="0" indent="0" algn="l">
              <a:spcBef>
                <a:spcPts val="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3" name="Content Placeholder 2"/>
          <p:cNvSpPr>
            <a:spLocks noGrp="1"/>
          </p:cNvSpPr>
          <p:nvPr>
            <p:ph idx="1" hasCustomPrompt="1"/>
          </p:nvPr>
        </p:nvSpPr>
        <p:spPr>
          <a:xfrm>
            <a:off x="192088" y="1629617"/>
            <a:ext cx="11642581" cy="4599506"/>
          </a:xfrm>
        </p:spPr>
        <p:txBody>
          <a:bodyPr anchor="t"/>
          <a:lstStyle>
            <a:lvl1pPr marL="0" indent="0" algn="ctr">
              <a:spcBef>
                <a:spcPts val="1000"/>
              </a:spcBef>
              <a:buNone/>
              <a:defRPr sz="2800" baseline="0"/>
            </a:lvl1pPr>
            <a:lvl2pPr marL="0" indent="0">
              <a:spcBef>
                <a:spcPts val="1000"/>
              </a:spcBef>
              <a:buNone/>
              <a:defRPr sz="2800"/>
            </a:lvl2pPr>
            <a:lvl3pPr marL="0" indent="0">
              <a:spcBef>
                <a:spcPts val="1000"/>
              </a:spcBef>
              <a:buNone/>
              <a:defRPr sz="2800"/>
            </a:lvl3pPr>
            <a:lvl4pPr>
              <a:spcBef>
                <a:spcPts val="1000"/>
              </a:spcBef>
              <a:buNone/>
              <a:defRPr sz="2800"/>
            </a:lvl4pPr>
            <a:lvl5pPr marL="0" indent="0">
              <a:spcBef>
                <a:spcPts val="1000"/>
              </a:spcBef>
              <a:buNone/>
              <a:defRPr sz="2800"/>
            </a:lvl5pPr>
          </a:lstStyle>
          <a:p>
            <a:pPr lvl="0"/>
            <a:r>
              <a:rPr lang="en-US" dirty="0"/>
              <a:t>Use this layout for large charts and tables only. Please, do not use with text.</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731342013"/>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p:cSld name="Chart with description">
    <p:spTree>
      <p:nvGrpSpPr>
        <p:cNvPr id="1" name=""/>
        <p:cNvGrpSpPr/>
        <p:nvPr/>
      </p:nvGrpSpPr>
      <p:grpSpPr>
        <a:xfrm>
          <a:off x="0" y="0"/>
          <a:ext cx="0" cy="0"/>
          <a:chOff x="0" y="0"/>
          <a:chExt cx="0" cy="0"/>
        </a:xfrm>
      </p:grpSpPr>
      <p:sp>
        <p:nvSpPr>
          <p:cNvPr id="21" name="Date Placeholder 20"/>
          <p:cNvSpPr>
            <a:spLocks noGrp="1"/>
          </p:cNvSpPr>
          <p:nvPr>
            <p:ph type="dt" sz="half" idx="14"/>
          </p:nvPr>
        </p:nvSpPr>
        <p:spPr>
          <a:xfrm>
            <a:off x="192089" y="6237288"/>
            <a:ext cx="863600" cy="358173"/>
          </a:xfrm>
          <a:prstGeom prst="rect">
            <a:avLst/>
          </a:prstGeom>
        </p:spPr>
        <p:txBody>
          <a:bodyPr/>
          <a:lstStyle/>
          <a:p>
            <a:fld id="{7E0CC7EF-9DF0-4DDD-B873-4143C4455B77}" type="datetime5">
              <a:rPr lang="en-US" smtClean="0"/>
              <a:t>26-Jun-20</a:t>
            </a:fld>
            <a:endParaRPr lang="en-US"/>
          </a:p>
        </p:txBody>
      </p:sp>
      <p:sp>
        <p:nvSpPr>
          <p:cNvPr id="22" name="Footer Placeholder 21"/>
          <p:cNvSpPr>
            <a:spLocks noGrp="1"/>
          </p:cNvSpPr>
          <p:nvPr>
            <p:ph type="ftr" sz="quarter" idx="15"/>
          </p:nvPr>
        </p:nvSpPr>
        <p:spPr>
          <a:xfrm>
            <a:off x="1177999" y="6237288"/>
            <a:ext cx="8162717" cy="358173"/>
          </a:xfrm>
          <a:prstGeom prst="rect">
            <a:avLst/>
          </a:prstGeom>
        </p:spPr>
        <p:txBody>
          <a:bodyPr/>
          <a:lstStyle/>
          <a:p>
            <a:r>
              <a:rPr lang="en-US"/>
              <a:t>Title of presentation (Insert / Header &amp; Footer / Apply to All)</a:t>
            </a:r>
            <a:endParaRPr lang="en-US" dirty="0"/>
          </a:p>
        </p:txBody>
      </p:sp>
      <p:sp>
        <p:nvSpPr>
          <p:cNvPr id="23" name="Slide Number Placeholder 22"/>
          <p:cNvSpPr>
            <a:spLocks noGrp="1"/>
          </p:cNvSpPr>
          <p:nvPr>
            <p:ph type="sldNum" sz="quarter" idx="16"/>
          </p:nvPr>
        </p:nvSpPr>
        <p:spPr/>
        <p:txBody>
          <a:bodyPr/>
          <a:lstStyle/>
          <a:p>
            <a:fld id="{5F3E29E4-0979-4FCA-B4C5-5FC6044C982A}" type="slidenum">
              <a:rPr lang="en-US" smtClean="0"/>
              <a:t>‹#›</a:t>
            </a:fld>
            <a:endParaRPr lang="en-US"/>
          </a:p>
        </p:txBody>
      </p:sp>
      <p:sp>
        <p:nvSpPr>
          <p:cNvPr id="2" name="Title 1"/>
          <p:cNvSpPr>
            <a:spLocks noGrp="1"/>
          </p:cNvSpPr>
          <p:nvPr>
            <p:ph type="title" hasCustomPrompt="1"/>
          </p:nvPr>
        </p:nvSpPr>
        <p:spPr/>
        <p:txBody>
          <a:bodyPr/>
          <a:lstStyle>
            <a:lvl1pPr>
              <a:defRPr/>
            </a:lvl1pPr>
          </a:lstStyle>
          <a:p>
            <a:r>
              <a:rPr lang="en-US" dirty="0"/>
              <a:t>Click to add slide title</a:t>
            </a:r>
          </a:p>
        </p:txBody>
      </p:sp>
      <p:sp>
        <p:nvSpPr>
          <p:cNvPr id="7" name="Subtitle 2"/>
          <p:cNvSpPr>
            <a:spLocks noGrp="1"/>
          </p:cNvSpPr>
          <p:nvPr>
            <p:ph type="subTitle" idx="13" hasCustomPrompt="1"/>
          </p:nvPr>
        </p:nvSpPr>
        <p:spPr>
          <a:xfrm>
            <a:off x="1075061" y="964671"/>
            <a:ext cx="7910158" cy="490042"/>
          </a:xfrm>
        </p:spPr>
        <p:txBody>
          <a:bodyPr wrap="none"/>
          <a:lstStyle>
            <a:lvl1pPr marL="0" indent="0" algn="l">
              <a:spcBef>
                <a:spcPts val="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4" name="Chart Placeholder 3"/>
          <p:cNvSpPr>
            <a:spLocks noGrp="1"/>
          </p:cNvSpPr>
          <p:nvPr>
            <p:ph type="chart" sz="quarter" idx="17" hasCustomPrompt="1"/>
          </p:nvPr>
        </p:nvSpPr>
        <p:spPr>
          <a:xfrm>
            <a:off x="192088" y="1629617"/>
            <a:ext cx="5903913" cy="4599506"/>
          </a:xfrm>
        </p:spPr>
        <p:txBody>
          <a:bodyPr/>
          <a:lstStyle>
            <a:lvl1pPr>
              <a:defRPr/>
            </a:lvl1pPr>
          </a:lstStyle>
          <a:p>
            <a:r>
              <a:rPr lang="en-US" dirty="0"/>
              <a:t>Click to add chart</a:t>
            </a:r>
          </a:p>
        </p:txBody>
      </p:sp>
      <p:sp>
        <p:nvSpPr>
          <p:cNvPr id="6" name="Text Placeholder 5"/>
          <p:cNvSpPr>
            <a:spLocks noGrp="1"/>
          </p:cNvSpPr>
          <p:nvPr>
            <p:ph type="body" sz="quarter" idx="18" hasCustomPrompt="1"/>
          </p:nvPr>
        </p:nvSpPr>
        <p:spPr>
          <a:xfrm>
            <a:off x="6206067" y="3393019"/>
            <a:ext cx="5628602" cy="2023841"/>
          </a:xfrm>
          <a:solidFill>
            <a:srgbClr val="D9DADB"/>
          </a:solidFill>
        </p:spPr>
        <p:txBody>
          <a:bodyPr lIns="108000" tIns="108000" rIns="108000" bIns="108000"/>
          <a:lstStyle>
            <a:lvl1pPr>
              <a:defRPr sz="1600"/>
            </a:lvl1pPr>
            <a:lvl2pPr>
              <a:defRPr sz="1600"/>
            </a:lvl2pPr>
            <a:lvl3pPr>
              <a:defRPr sz="1600"/>
            </a:lvl3pPr>
            <a:lvl4pPr>
              <a:defRPr sz="1600"/>
            </a:lvl4pPr>
            <a:lvl5pPr>
              <a:defRPr sz="1600"/>
            </a:lvl5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720022945"/>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p:cSld name="Notebook">
    <p:spTree>
      <p:nvGrpSpPr>
        <p:cNvPr id="1" name=""/>
        <p:cNvGrpSpPr/>
        <p:nvPr/>
      </p:nvGrpSpPr>
      <p:grpSpPr>
        <a:xfrm>
          <a:off x="0" y="0"/>
          <a:ext cx="0" cy="0"/>
          <a:chOff x="0" y="0"/>
          <a:chExt cx="0" cy="0"/>
        </a:xfrm>
      </p:grpSpPr>
      <p:pic>
        <p:nvPicPr>
          <p:cNvPr id="13" name="Notebook">
            <a:extLst>
              <a:ext uri="{FF2B5EF4-FFF2-40B4-BE49-F238E27FC236}">
                <a16:creationId xmlns:a16="http://schemas.microsoft.com/office/drawing/2014/main" id="{6DEE1461-64EC-7246-8FA6-71C6BF497627}"/>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3651351" y="1292598"/>
            <a:ext cx="8528460" cy="5161713"/>
          </a:xfrm>
          <a:prstGeom prst="rect">
            <a:avLst/>
          </a:prstGeom>
        </p:spPr>
      </p:pic>
      <p:sp>
        <p:nvSpPr>
          <p:cNvPr id="21" name="Date Placeholder 20"/>
          <p:cNvSpPr>
            <a:spLocks noGrp="1"/>
          </p:cNvSpPr>
          <p:nvPr>
            <p:ph type="dt" sz="half" idx="14"/>
          </p:nvPr>
        </p:nvSpPr>
        <p:spPr>
          <a:xfrm>
            <a:off x="192089" y="6237288"/>
            <a:ext cx="863600" cy="358173"/>
          </a:xfrm>
          <a:prstGeom prst="rect">
            <a:avLst/>
          </a:prstGeom>
        </p:spPr>
        <p:txBody>
          <a:bodyPr/>
          <a:lstStyle/>
          <a:p>
            <a:fld id="{DC5CC4D7-5797-439F-A8BE-F20DB0B4B50C}" type="datetime5">
              <a:rPr lang="en-US" smtClean="0"/>
              <a:t>26-Jun-20</a:t>
            </a:fld>
            <a:endParaRPr lang="en-US"/>
          </a:p>
        </p:txBody>
      </p:sp>
      <p:sp>
        <p:nvSpPr>
          <p:cNvPr id="22" name="Footer Placeholder 21"/>
          <p:cNvSpPr>
            <a:spLocks noGrp="1"/>
          </p:cNvSpPr>
          <p:nvPr>
            <p:ph type="ftr" sz="quarter" idx="15"/>
          </p:nvPr>
        </p:nvSpPr>
        <p:spPr>
          <a:xfrm>
            <a:off x="1177999" y="6237288"/>
            <a:ext cx="8162717" cy="358173"/>
          </a:xfrm>
          <a:prstGeom prst="rect">
            <a:avLst/>
          </a:prstGeom>
        </p:spPr>
        <p:txBody>
          <a:bodyPr/>
          <a:lstStyle/>
          <a:p>
            <a:r>
              <a:rPr lang="en-US"/>
              <a:t>Title of presentation (Insert / Header &amp; Footer / Apply to All)</a:t>
            </a:r>
            <a:endParaRPr lang="en-US" dirty="0"/>
          </a:p>
        </p:txBody>
      </p:sp>
      <p:sp>
        <p:nvSpPr>
          <p:cNvPr id="23" name="Slide Number Placeholder 22"/>
          <p:cNvSpPr>
            <a:spLocks noGrp="1"/>
          </p:cNvSpPr>
          <p:nvPr>
            <p:ph type="sldNum" sz="quarter" idx="16"/>
          </p:nvPr>
        </p:nvSpPr>
        <p:spPr/>
        <p:txBody>
          <a:bodyPr/>
          <a:lstStyle/>
          <a:p>
            <a:fld id="{5F3E29E4-0979-4FCA-B4C5-5FC6044C982A}" type="slidenum">
              <a:rPr lang="en-US" smtClean="0"/>
              <a:t>‹#›</a:t>
            </a:fld>
            <a:endParaRPr lang="en-US"/>
          </a:p>
        </p:txBody>
      </p:sp>
      <p:sp>
        <p:nvSpPr>
          <p:cNvPr id="2" name="Title 1"/>
          <p:cNvSpPr>
            <a:spLocks noGrp="1"/>
          </p:cNvSpPr>
          <p:nvPr>
            <p:ph type="title" hasCustomPrompt="1"/>
          </p:nvPr>
        </p:nvSpPr>
        <p:spPr/>
        <p:txBody>
          <a:bodyPr/>
          <a:lstStyle>
            <a:lvl1pPr>
              <a:defRPr/>
            </a:lvl1pPr>
          </a:lstStyle>
          <a:p>
            <a:r>
              <a:rPr lang="en-US" dirty="0"/>
              <a:t>Click to add slide title</a:t>
            </a:r>
          </a:p>
        </p:txBody>
      </p:sp>
      <p:sp>
        <p:nvSpPr>
          <p:cNvPr id="7" name="Subtitle 2"/>
          <p:cNvSpPr>
            <a:spLocks noGrp="1"/>
          </p:cNvSpPr>
          <p:nvPr>
            <p:ph type="subTitle" idx="13" hasCustomPrompt="1"/>
          </p:nvPr>
        </p:nvSpPr>
        <p:spPr>
          <a:xfrm>
            <a:off x="1075061" y="964671"/>
            <a:ext cx="7910158" cy="490042"/>
          </a:xfrm>
        </p:spPr>
        <p:txBody>
          <a:bodyPr wrap="none"/>
          <a:lstStyle>
            <a:lvl1pPr marL="0" indent="0" algn="l">
              <a:spcBef>
                <a:spcPts val="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3" name="Content Placeholder 2"/>
          <p:cNvSpPr>
            <a:spLocks noGrp="1"/>
          </p:cNvSpPr>
          <p:nvPr>
            <p:ph idx="1" hasCustomPrompt="1"/>
          </p:nvPr>
        </p:nvSpPr>
        <p:spPr>
          <a:xfrm>
            <a:off x="1075062" y="1852623"/>
            <a:ext cx="3287388" cy="3658714"/>
          </a:xfrm>
        </p:spPr>
        <p:txBody>
          <a:bodyPr anchor="ctr"/>
          <a:lstStyle>
            <a:lvl1pPr>
              <a:defRPr sz="1600"/>
            </a:lvl1pPr>
            <a:lvl2pPr>
              <a:defRPr sz="1600"/>
            </a:lvl2pPr>
            <a:lvl3pPr>
              <a:defRPr sz="1600"/>
            </a:lvl3pPr>
            <a:lvl4pPr>
              <a:defRPr sz="1600"/>
            </a:lvl4pPr>
            <a:lvl5pPr>
              <a:defRPr sz="1600"/>
            </a:lvl5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Picture Placeholder 4"/>
          <p:cNvSpPr>
            <a:spLocks noGrp="1"/>
          </p:cNvSpPr>
          <p:nvPr>
            <p:ph type="pic" sz="quarter" idx="17" hasCustomPrompt="1"/>
          </p:nvPr>
        </p:nvSpPr>
        <p:spPr>
          <a:xfrm>
            <a:off x="4904507" y="1847011"/>
            <a:ext cx="6001200" cy="3664800"/>
          </a:xfrm>
          <a:solidFill>
            <a:srgbClr val="D9DADB"/>
          </a:solidFill>
        </p:spPr>
        <p:txBody>
          <a:bodyPr/>
          <a:lstStyle>
            <a:lvl1pPr marL="0" indent="0">
              <a:buNone/>
              <a:defRPr/>
            </a:lvl1pPr>
          </a:lstStyle>
          <a:p>
            <a:r>
              <a:rPr lang="en-US" dirty="0"/>
              <a:t>Insert picture</a:t>
            </a:r>
          </a:p>
        </p:txBody>
      </p:sp>
    </p:spTree>
    <p:extLst>
      <p:ext uri="{BB962C8B-B14F-4D97-AF65-F5344CB8AC3E}">
        <p14:creationId xmlns:p14="http://schemas.microsoft.com/office/powerpoint/2010/main" val="43206225"/>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p:cSld name="Tablet">
    <p:spTree>
      <p:nvGrpSpPr>
        <p:cNvPr id="1" name=""/>
        <p:cNvGrpSpPr/>
        <p:nvPr/>
      </p:nvGrpSpPr>
      <p:grpSpPr>
        <a:xfrm>
          <a:off x="0" y="0"/>
          <a:ext cx="0" cy="0"/>
          <a:chOff x="0" y="0"/>
          <a:chExt cx="0" cy="0"/>
        </a:xfrm>
      </p:grpSpPr>
      <p:pic>
        <p:nvPicPr>
          <p:cNvPr id="12" name="Grafik 3">
            <a:extLst>
              <a:ext uri="{FF2B5EF4-FFF2-40B4-BE49-F238E27FC236}">
                <a16:creationId xmlns:a16="http://schemas.microsoft.com/office/drawing/2014/main" id="{1D97A272-8DE5-144D-9076-0F435EC79171}"/>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4422451" y="1534416"/>
            <a:ext cx="6858000" cy="5323585"/>
          </a:xfrm>
          <a:prstGeom prst="rect">
            <a:avLst/>
          </a:prstGeom>
        </p:spPr>
      </p:pic>
      <p:sp>
        <p:nvSpPr>
          <p:cNvPr id="21" name="Date Placeholder 20"/>
          <p:cNvSpPr>
            <a:spLocks noGrp="1"/>
          </p:cNvSpPr>
          <p:nvPr>
            <p:ph type="dt" sz="half" idx="14"/>
          </p:nvPr>
        </p:nvSpPr>
        <p:spPr>
          <a:xfrm>
            <a:off x="192089" y="6237288"/>
            <a:ext cx="863600" cy="358173"/>
          </a:xfrm>
          <a:prstGeom prst="rect">
            <a:avLst/>
          </a:prstGeom>
        </p:spPr>
        <p:txBody>
          <a:bodyPr/>
          <a:lstStyle/>
          <a:p>
            <a:fld id="{22BF40EB-4E4B-4735-9535-C7494D4B38E6}" type="datetime5">
              <a:rPr lang="en-US" smtClean="0"/>
              <a:t>26-Jun-20</a:t>
            </a:fld>
            <a:endParaRPr lang="en-US"/>
          </a:p>
        </p:txBody>
      </p:sp>
      <p:sp>
        <p:nvSpPr>
          <p:cNvPr id="22" name="Footer Placeholder 21"/>
          <p:cNvSpPr>
            <a:spLocks noGrp="1"/>
          </p:cNvSpPr>
          <p:nvPr>
            <p:ph type="ftr" sz="quarter" idx="15"/>
          </p:nvPr>
        </p:nvSpPr>
        <p:spPr>
          <a:xfrm>
            <a:off x="1177999" y="6237288"/>
            <a:ext cx="8162717" cy="358173"/>
          </a:xfrm>
          <a:prstGeom prst="rect">
            <a:avLst/>
          </a:prstGeom>
        </p:spPr>
        <p:txBody>
          <a:bodyPr/>
          <a:lstStyle/>
          <a:p>
            <a:r>
              <a:rPr lang="en-US"/>
              <a:t>Title of presentation (Insert / Header &amp; Footer / Apply to All)</a:t>
            </a:r>
            <a:endParaRPr lang="en-US" dirty="0"/>
          </a:p>
        </p:txBody>
      </p:sp>
      <p:sp>
        <p:nvSpPr>
          <p:cNvPr id="23" name="Slide Number Placeholder 22"/>
          <p:cNvSpPr>
            <a:spLocks noGrp="1"/>
          </p:cNvSpPr>
          <p:nvPr>
            <p:ph type="sldNum" sz="quarter" idx="16"/>
          </p:nvPr>
        </p:nvSpPr>
        <p:spPr/>
        <p:txBody>
          <a:bodyPr/>
          <a:lstStyle/>
          <a:p>
            <a:fld id="{5F3E29E4-0979-4FCA-B4C5-5FC6044C982A}" type="slidenum">
              <a:rPr lang="en-US" smtClean="0"/>
              <a:t>‹#›</a:t>
            </a:fld>
            <a:endParaRPr lang="en-US"/>
          </a:p>
        </p:txBody>
      </p:sp>
      <p:sp>
        <p:nvSpPr>
          <p:cNvPr id="2" name="Title 1"/>
          <p:cNvSpPr>
            <a:spLocks noGrp="1"/>
          </p:cNvSpPr>
          <p:nvPr>
            <p:ph type="title" hasCustomPrompt="1"/>
          </p:nvPr>
        </p:nvSpPr>
        <p:spPr/>
        <p:txBody>
          <a:bodyPr/>
          <a:lstStyle>
            <a:lvl1pPr>
              <a:defRPr/>
            </a:lvl1pPr>
          </a:lstStyle>
          <a:p>
            <a:r>
              <a:rPr lang="en-US" dirty="0"/>
              <a:t>Click to add slide title</a:t>
            </a:r>
          </a:p>
        </p:txBody>
      </p:sp>
      <p:sp>
        <p:nvSpPr>
          <p:cNvPr id="7" name="Subtitle 2"/>
          <p:cNvSpPr>
            <a:spLocks noGrp="1"/>
          </p:cNvSpPr>
          <p:nvPr>
            <p:ph type="subTitle" idx="13" hasCustomPrompt="1"/>
          </p:nvPr>
        </p:nvSpPr>
        <p:spPr>
          <a:xfrm>
            <a:off x="1075061" y="964671"/>
            <a:ext cx="7910158" cy="490042"/>
          </a:xfrm>
        </p:spPr>
        <p:txBody>
          <a:bodyPr wrap="none"/>
          <a:lstStyle>
            <a:lvl1pPr marL="0" indent="0" algn="l">
              <a:spcBef>
                <a:spcPts val="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3" name="Content Placeholder 2"/>
          <p:cNvSpPr>
            <a:spLocks noGrp="1"/>
          </p:cNvSpPr>
          <p:nvPr>
            <p:ph idx="1" hasCustomPrompt="1"/>
          </p:nvPr>
        </p:nvSpPr>
        <p:spPr>
          <a:xfrm>
            <a:off x="1075062" y="1852623"/>
            <a:ext cx="3287388" cy="3658714"/>
          </a:xfrm>
        </p:spPr>
        <p:txBody>
          <a:bodyPr anchor="ctr"/>
          <a:lstStyle>
            <a:lvl1pPr>
              <a:defRPr sz="1600"/>
            </a:lvl1pPr>
            <a:lvl2pPr>
              <a:defRPr sz="1600"/>
            </a:lvl2pPr>
            <a:lvl3pPr>
              <a:defRPr sz="1600"/>
            </a:lvl3pPr>
            <a:lvl4pPr>
              <a:defRPr sz="1600"/>
            </a:lvl4pPr>
            <a:lvl5pPr>
              <a:defRPr sz="1600"/>
            </a:lvl5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Picture Placeholder 4"/>
          <p:cNvSpPr>
            <a:spLocks noGrp="1"/>
          </p:cNvSpPr>
          <p:nvPr>
            <p:ph type="pic" sz="quarter" idx="17" hasCustomPrompt="1"/>
          </p:nvPr>
        </p:nvSpPr>
        <p:spPr>
          <a:xfrm>
            <a:off x="5135561" y="2104071"/>
            <a:ext cx="5491064" cy="3428280"/>
          </a:xfrm>
          <a:solidFill>
            <a:srgbClr val="D9DADB"/>
          </a:solidFill>
        </p:spPr>
        <p:txBody>
          <a:bodyPr/>
          <a:lstStyle>
            <a:lvl1pPr marL="0" indent="0">
              <a:buNone/>
              <a:defRPr/>
            </a:lvl1pPr>
          </a:lstStyle>
          <a:p>
            <a:r>
              <a:rPr lang="en-US" dirty="0"/>
              <a:t>Insert picture</a:t>
            </a:r>
          </a:p>
        </p:txBody>
      </p:sp>
    </p:spTree>
    <p:extLst>
      <p:ext uri="{BB962C8B-B14F-4D97-AF65-F5344CB8AC3E}">
        <p14:creationId xmlns:p14="http://schemas.microsoft.com/office/powerpoint/2010/main" val="2772528405"/>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p:cSld name="Smartphone">
    <p:spTree>
      <p:nvGrpSpPr>
        <p:cNvPr id="1" name=""/>
        <p:cNvGrpSpPr/>
        <p:nvPr/>
      </p:nvGrpSpPr>
      <p:grpSpPr>
        <a:xfrm>
          <a:off x="0" y="0"/>
          <a:ext cx="0" cy="0"/>
          <a:chOff x="0" y="0"/>
          <a:chExt cx="0" cy="0"/>
        </a:xfrm>
      </p:grpSpPr>
      <p:pic>
        <p:nvPicPr>
          <p:cNvPr id="10" name="Grafik 2">
            <a:extLst>
              <a:ext uri="{FF2B5EF4-FFF2-40B4-BE49-F238E27FC236}">
                <a16:creationId xmlns:a16="http://schemas.microsoft.com/office/drawing/2014/main" id="{6421FD8A-F5D4-E041-A727-98ABA693B1A7}"/>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5201513" y="1362516"/>
            <a:ext cx="5183129" cy="5091203"/>
          </a:xfrm>
          <a:prstGeom prst="rect">
            <a:avLst/>
          </a:prstGeom>
          <a:effectLst>
            <a:reflection blurRad="6350" stA="48000" endPos="6000" dir="5400000" sy="-100000" algn="bl" rotWithShape="0"/>
          </a:effectLst>
        </p:spPr>
      </p:pic>
      <p:sp>
        <p:nvSpPr>
          <p:cNvPr id="21" name="Date Placeholder 20"/>
          <p:cNvSpPr>
            <a:spLocks noGrp="1"/>
          </p:cNvSpPr>
          <p:nvPr>
            <p:ph type="dt" sz="half" idx="14"/>
          </p:nvPr>
        </p:nvSpPr>
        <p:spPr>
          <a:xfrm>
            <a:off x="192089" y="6237288"/>
            <a:ext cx="863600" cy="358173"/>
          </a:xfrm>
          <a:prstGeom prst="rect">
            <a:avLst/>
          </a:prstGeom>
        </p:spPr>
        <p:txBody>
          <a:bodyPr/>
          <a:lstStyle/>
          <a:p>
            <a:fld id="{3A57DC1E-3194-45CD-A5C4-CC4893251E0F}" type="datetime5">
              <a:rPr lang="en-US" smtClean="0"/>
              <a:t>26-Jun-20</a:t>
            </a:fld>
            <a:endParaRPr lang="en-US"/>
          </a:p>
        </p:txBody>
      </p:sp>
      <p:sp>
        <p:nvSpPr>
          <p:cNvPr id="22" name="Footer Placeholder 21"/>
          <p:cNvSpPr>
            <a:spLocks noGrp="1"/>
          </p:cNvSpPr>
          <p:nvPr>
            <p:ph type="ftr" sz="quarter" idx="15"/>
          </p:nvPr>
        </p:nvSpPr>
        <p:spPr>
          <a:xfrm>
            <a:off x="1177999" y="6237288"/>
            <a:ext cx="8162717" cy="358173"/>
          </a:xfrm>
          <a:prstGeom prst="rect">
            <a:avLst/>
          </a:prstGeom>
        </p:spPr>
        <p:txBody>
          <a:bodyPr/>
          <a:lstStyle/>
          <a:p>
            <a:r>
              <a:rPr lang="en-US"/>
              <a:t>Title of presentation (Insert / Header &amp; Footer / Apply to All)</a:t>
            </a:r>
            <a:endParaRPr lang="en-US" dirty="0"/>
          </a:p>
        </p:txBody>
      </p:sp>
      <p:sp>
        <p:nvSpPr>
          <p:cNvPr id="23" name="Slide Number Placeholder 22"/>
          <p:cNvSpPr>
            <a:spLocks noGrp="1"/>
          </p:cNvSpPr>
          <p:nvPr>
            <p:ph type="sldNum" sz="quarter" idx="16"/>
          </p:nvPr>
        </p:nvSpPr>
        <p:spPr/>
        <p:txBody>
          <a:bodyPr/>
          <a:lstStyle/>
          <a:p>
            <a:fld id="{5F3E29E4-0979-4FCA-B4C5-5FC6044C982A}" type="slidenum">
              <a:rPr lang="en-US" smtClean="0"/>
              <a:t>‹#›</a:t>
            </a:fld>
            <a:endParaRPr lang="en-US"/>
          </a:p>
        </p:txBody>
      </p:sp>
      <p:sp>
        <p:nvSpPr>
          <p:cNvPr id="2" name="Title 1"/>
          <p:cNvSpPr>
            <a:spLocks noGrp="1"/>
          </p:cNvSpPr>
          <p:nvPr>
            <p:ph type="title" hasCustomPrompt="1"/>
          </p:nvPr>
        </p:nvSpPr>
        <p:spPr/>
        <p:txBody>
          <a:bodyPr/>
          <a:lstStyle>
            <a:lvl1pPr>
              <a:defRPr/>
            </a:lvl1pPr>
          </a:lstStyle>
          <a:p>
            <a:r>
              <a:rPr lang="en-US" dirty="0"/>
              <a:t>Click to add slide title</a:t>
            </a:r>
          </a:p>
        </p:txBody>
      </p:sp>
      <p:sp>
        <p:nvSpPr>
          <p:cNvPr id="7" name="Subtitle 2"/>
          <p:cNvSpPr>
            <a:spLocks noGrp="1"/>
          </p:cNvSpPr>
          <p:nvPr>
            <p:ph type="subTitle" idx="13" hasCustomPrompt="1"/>
          </p:nvPr>
        </p:nvSpPr>
        <p:spPr>
          <a:xfrm>
            <a:off x="1075061" y="964671"/>
            <a:ext cx="7910158" cy="490042"/>
          </a:xfrm>
        </p:spPr>
        <p:txBody>
          <a:bodyPr wrap="none"/>
          <a:lstStyle>
            <a:lvl1pPr marL="0" indent="0" algn="l">
              <a:spcBef>
                <a:spcPts val="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3" name="Content Placeholder 2"/>
          <p:cNvSpPr>
            <a:spLocks noGrp="1"/>
          </p:cNvSpPr>
          <p:nvPr>
            <p:ph idx="1" hasCustomPrompt="1"/>
          </p:nvPr>
        </p:nvSpPr>
        <p:spPr>
          <a:xfrm>
            <a:off x="1075062" y="1852623"/>
            <a:ext cx="3287388" cy="3658714"/>
          </a:xfrm>
        </p:spPr>
        <p:txBody>
          <a:bodyPr anchor="ctr"/>
          <a:lstStyle>
            <a:lvl1pPr>
              <a:defRPr sz="1600"/>
            </a:lvl1pPr>
            <a:lvl2pPr>
              <a:defRPr sz="1600"/>
            </a:lvl2pPr>
            <a:lvl3pPr>
              <a:defRPr sz="1600"/>
            </a:lvl3pPr>
            <a:lvl4pPr>
              <a:defRPr sz="1600"/>
            </a:lvl4pPr>
            <a:lvl5pPr>
              <a:defRPr sz="1600"/>
            </a:lvl5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Picture Placeholder 4"/>
          <p:cNvSpPr>
            <a:spLocks noGrp="1"/>
          </p:cNvSpPr>
          <p:nvPr>
            <p:ph type="pic" sz="quarter" idx="17" hasCustomPrompt="1"/>
          </p:nvPr>
        </p:nvSpPr>
        <p:spPr>
          <a:xfrm>
            <a:off x="6720917" y="1795105"/>
            <a:ext cx="2101436" cy="4307023"/>
          </a:xfrm>
          <a:solidFill>
            <a:srgbClr val="D9DADB"/>
          </a:solidFill>
        </p:spPr>
        <p:txBody>
          <a:bodyPr/>
          <a:lstStyle>
            <a:lvl1pPr marL="0" indent="0">
              <a:buNone/>
              <a:defRPr/>
            </a:lvl1pPr>
          </a:lstStyle>
          <a:p>
            <a:r>
              <a:rPr lang="en-US" dirty="0"/>
              <a:t>Insert picture</a:t>
            </a:r>
          </a:p>
        </p:txBody>
      </p:sp>
    </p:spTree>
    <p:extLst>
      <p:ext uri="{BB962C8B-B14F-4D97-AF65-F5344CB8AC3E}">
        <p14:creationId xmlns:p14="http://schemas.microsoft.com/office/powerpoint/2010/main" val="158578235"/>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p:cSld name="One contact">
    <p:spTree>
      <p:nvGrpSpPr>
        <p:cNvPr id="1" name=""/>
        <p:cNvGrpSpPr/>
        <p:nvPr/>
      </p:nvGrpSpPr>
      <p:grpSpPr>
        <a:xfrm>
          <a:off x="0" y="0"/>
          <a:ext cx="0" cy="0"/>
          <a:chOff x="0" y="0"/>
          <a:chExt cx="0" cy="0"/>
        </a:xfrm>
      </p:grpSpPr>
      <p:sp>
        <p:nvSpPr>
          <p:cNvPr id="4" name="Picture Placeholder 3"/>
          <p:cNvSpPr>
            <a:spLocks noGrp="1"/>
          </p:cNvSpPr>
          <p:nvPr>
            <p:ph type="pic" sz="quarter" idx="17" hasCustomPrompt="1"/>
          </p:nvPr>
        </p:nvSpPr>
        <p:spPr>
          <a:xfrm>
            <a:off x="1056217" y="1833656"/>
            <a:ext cx="3203503" cy="3935319"/>
          </a:xfrm>
          <a:solidFill>
            <a:srgbClr val="D9DADB"/>
          </a:solidFill>
        </p:spPr>
        <p:txBody>
          <a:bodyPr/>
          <a:lstStyle>
            <a:lvl1pPr marL="0" indent="0">
              <a:buNone/>
              <a:defRPr sz="1400"/>
            </a:lvl1pPr>
          </a:lstStyle>
          <a:p>
            <a:r>
              <a:rPr lang="en-US" dirty="0"/>
              <a:t>Insert picture</a:t>
            </a:r>
          </a:p>
        </p:txBody>
      </p:sp>
      <p:sp>
        <p:nvSpPr>
          <p:cNvPr id="21" name="Date Placeholder 20"/>
          <p:cNvSpPr>
            <a:spLocks noGrp="1"/>
          </p:cNvSpPr>
          <p:nvPr>
            <p:ph type="dt" sz="half" idx="14"/>
          </p:nvPr>
        </p:nvSpPr>
        <p:spPr>
          <a:xfrm>
            <a:off x="192089" y="6237288"/>
            <a:ext cx="863600" cy="358173"/>
          </a:xfrm>
          <a:prstGeom prst="rect">
            <a:avLst/>
          </a:prstGeom>
        </p:spPr>
        <p:txBody>
          <a:bodyPr/>
          <a:lstStyle/>
          <a:p>
            <a:fld id="{59171ED9-6851-4525-A763-2524710A57F8}" type="datetime5">
              <a:rPr lang="en-US" smtClean="0"/>
              <a:t>26-Jun-20</a:t>
            </a:fld>
            <a:endParaRPr lang="en-US"/>
          </a:p>
        </p:txBody>
      </p:sp>
      <p:sp>
        <p:nvSpPr>
          <p:cNvPr id="22" name="Footer Placeholder 21"/>
          <p:cNvSpPr>
            <a:spLocks noGrp="1"/>
          </p:cNvSpPr>
          <p:nvPr>
            <p:ph type="ftr" sz="quarter" idx="15"/>
          </p:nvPr>
        </p:nvSpPr>
        <p:spPr>
          <a:xfrm>
            <a:off x="1177999" y="6237288"/>
            <a:ext cx="8162717" cy="358173"/>
          </a:xfrm>
          <a:prstGeom prst="rect">
            <a:avLst/>
          </a:prstGeom>
        </p:spPr>
        <p:txBody>
          <a:bodyPr/>
          <a:lstStyle/>
          <a:p>
            <a:r>
              <a:rPr lang="en-US"/>
              <a:t>Title of presentation (Insert / Header &amp; Footer / Apply to All)</a:t>
            </a:r>
            <a:endParaRPr lang="en-US" dirty="0"/>
          </a:p>
        </p:txBody>
      </p:sp>
      <p:sp>
        <p:nvSpPr>
          <p:cNvPr id="23" name="Slide Number Placeholder 22"/>
          <p:cNvSpPr>
            <a:spLocks noGrp="1"/>
          </p:cNvSpPr>
          <p:nvPr>
            <p:ph type="sldNum" sz="quarter" idx="16"/>
          </p:nvPr>
        </p:nvSpPr>
        <p:spPr/>
        <p:txBody>
          <a:bodyPr/>
          <a:lstStyle/>
          <a:p>
            <a:fld id="{5F3E29E4-0979-4FCA-B4C5-5FC6044C982A}" type="slidenum">
              <a:rPr lang="en-US" smtClean="0"/>
              <a:t>‹#›</a:t>
            </a:fld>
            <a:endParaRPr lang="en-US"/>
          </a:p>
        </p:txBody>
      </p:sp>
      <p:sp>
        <p:nvSpPr>
          <p:cNvPr id="2" name="Title 1"/>
          <p:cNvSpPr>
            <a:spLocks noGrp="1"/>
          </p:cNvSpPr>
          <p:nvPr>
            <p:ph type="title" hasCustomPrompt="1"/>
          </p:nvPr>
        </p:nvSpPr>
        <p:spPr/>
        <p:txBody>
          <a:bodyPr/>
          <a:lstStyle>
            <a:lvl1pPr>
              <a:defRPr/>
            </a:lvl1pPr>
          </a:lstStyle>
          <a:p>
            <a:r>
              <a:rPr lang="en-US" dirty="0"/>
              <a:t>Click to add contact title</a:t>
            </a:r>
          </a:p>
        </p:txBody>
      </p:sp>
      <p:sp>
        <p:nvSpPr>
          <p:cNvPr id="7" name="Subtitle 2"/>
          <p:cNvSpPr>
            <a:spLocks noGrp="1"/>
          </p:cNvSpPr>
          <p:nvPr>
            <p:ph type="subTitle" idx="13" hasCustomPrompt="1"/>
          </p:nvPr>
        </p:nvSpPr>
        <p:spPr>
          <a:xfrm>
            <a:off x="1075061" y="964671"/>
            <a:ext cx="7910158" cy="490042"/>
          </a:xfrm>
        </p:spPr>
        <p:txBody>
          <a:bodyPr wrap="none"/>
          <a:lstStyle>
            <a:lvl1pPr marL="0" indent="0" algn="l">
              <a:spcBef>
                <a:spcPts val="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grpSp>
        <p:nvGrpSpPr>
          <p:cNvPr id="8" name="Gruppieren 80">
            <a:extLst>
              <a:ext uri="{FF2B5EF4-FFF2-40B4-BE49-F238E27FC236}">
                <a16:creationId xmlns:a16="http://schemas.microsoft.com/office/drawing/2014/main" id="{6B969E7B-9C39-4443-9B02-74C1E7C5CCAC}"/>
              </a:ext>
            </a:extLst>
          </p:cNvPr>
          <p:cNvGrpSpPr/>
          <p:nvPr/>
        </p:nvGrpSpPr>
        <p:grpSpPr>
          <a:xfrm>
            <a:off x="4451001" y="2884199"/>
            <a:ext cx="171180" cy="171180"/>
            <a:chOff x="3392092" y="1841122"/>
            <a:chExt cx="646508" cy="646508"/>
          </a:xfrm>
        </p:grpSpPr>
        <p:sp>
          <p:nvSpPr>
            <p:cNvPr id="9" name="Rechteck 14">
              <a:extLst>
                <a:ext uri="{FF2B5EF4-FFF2-40B4-BE49-F238E27FC236}">
                  <a16:creationId xmlns:a16="http://schemas.microsoft.com/office/drawing/2014/main" id="{D78F58EA-5525-8D43-8295-FEA52ECF6BFA}"/>
                </a:ext>
              </a:extLst>
            </p:cNvPr>
            <p:cNvSpPr>
              <a:spLocks noChangeAspect="1"/>
            </p:cNvSpPr>
            <p:nvPr/>
          </p:nvSpPr>
          <p:spPr bwMode="gray">
            <a:xfrm>
              <a:off x="3392092" y="1841122"/>
              <a:ext cx="646508" cy="646508"/>
            </a:xfrm>
            <a:prstGeom prst="rect">
              <a:avLst/>
            </a:prstGeom>
            <a:solidFill>
              <a:srgbClr val="E55A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pPr>
              <a:endParaRPr lang="en-US" sz="1000" dirty="0">
                <a:solidFill>
                  <a:schemeClr val="tx1"/>
                </a:solidFill>
                <a:latin typeface="Arial" pitchFamily="34" charset="0"/>
                <a:cs typeface="Arial" pitchFamily="34" charset="0"/>
              </a:endParaRPr>
            </a:p>
          </p:txBody>
        </p:sp>
        <p:sp>
          <p:nvSpPr>
            <p:cNvPr id="10" name="Freeform 67">
              <a:extLst>
                <a:ext uri="{FF2B5EF4-FFF2-40B4-BE49-F238E27FC236}">
                  <a16:creationId xmlns:a16="http://schemas.microsoft.com/office/drawing/2014/main" id="{D01A6292-2776-4945-B828-483D79DC4908}"/>
                </a:ext>
              </a:extLst>
            </p:cNvPr>
            <p:cNvSpPr>
              <a:spLocks noChangeAspect="1"/>
            </p:cNvSpPr>
            <p:nvPr/>
          </p:nvSpPr>
          <p:spPr bwMode="auto">
            <a:xfrm>
              <a:off x="3546638" y="1970424"/>
              <a:ext cx="337415" cy="387905"/>
            </a:xfrm>
            <a:custGeom>
              <a:avLst/>
              <a:gdLst>
                <a:gd name="T0" fmla="*/ 573 w 1624"/>
                <a:gd name="T1" fmla="*/ 1257 h 1867"/>
                <a:gd name="T2" fmla="*/ 662 w 1624"/>
                <a:gd name="T3" fmla="*/ 1288 h 1867"/>
                <a:gd name="T4" fmla="*/ 938 w 1624"/>
                <a:gd name="T5" fmla="*/ 1051 h 1867"/>
                <a:gd name="T6" fmla="*/ 1106 w 1624"/>
                <a:gd name="T7" fmla="*/ 731 h 1867"/>
                <a:gd name="T8" fmla="*/ 1059 w 1624"/>
                <a:gd name="T9" fmla="*/ 645 h 1867"/>
                <a:gd name="T10" fmla="*/ 1001 w 1624"/>
                <a:gd name="T11" fmla="*/ 613 h 1867"/>
                <a:gd name="T12" fmla="*/ 924 w 1624"/>
                <a:gd name="T13" fmla="*/ 432 h 1867"/>
                <a:gd name="T14" fmla="*/ 1114 w 1624"/>
                <a:gd name="T15" fmla="*/ 81 h 1867"/>
                <a:gd name="T16" fmla="*/ 1287 w 1624"/>
                <a:gd name="T17" fmla="*/ 35 h 1867"/>
                <a:gd name="T18" fmla="*/ 1350 w 1624"/>
                <a:gd name="T19" fmla="*/ 69 h 1867"/>
                <a:gd name="T20" fmla="*/ 1527 w 1624"/>
                <a:gd name="T21" fmla="*/ 235 h 1867"/>
                <a:gd name="T22" fmla="*/ 1583 w 1624"/>
                <a:gd name="T23" fmla="*/ 555 h 1867"/>
                <a:gd name="T24" fmla="*/ 1172 w 1624"/>
                <a:gd name="T25" fmla="*/ 1253 h 1867"/>
                <a:gd name="T26" fmla="*/ 586 w 1624"/>
                <a:gd name="T27" fmla="*/ 1803 h 1867"/>
                <a:gd name="T28" fmla="*/ 269 w 1624"/>
                <a:gd name="T29" fmla="*/ 1807 h 1867"/>
                <a:gd name="T30" fmla="*/ 33 w 1624"/>
                <a:gd name="T31" fmla="*/ 1602 h 1867"/>
                <a:gd name="T32" fmla="*/ 2 w 1624"/>
                <a:gd name="T33" fmla="*/ 1508 h 1867"/>
                <a:gd name="T34" fmla="*/ 45 w 1624"/>
                <a:gd name="T35" fmla="*/ 1421 h 1867"/>
                <a:gd name="T36" fmla="*/ 346 w 1624"/>
                <a:gd name="T37" fmla="*/ 1158 h 1867"/>
                <a:gd name="T38" fmla="*/ 448 w 1624"/>
                <a:gd name="T39" fmla="*/ 1145 h 1867"/>
                <a:gd name="T40" fmla="*/ 573 w 1624"/>
                <a:gd name="T41" fmla="*/ 1257 h 18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24" h="1867">
                  <a:moveTo>
                    <a:pt x="573" y="1257"/>
                  </a:moveTo>
                  <a:cubicBezTo>
                    <a:pt x="592" y="1282"/>
                    <a:pt x="630" y="1303"/>
                    <a:pt x="662" y="1288"/>
                  </a:cubicBezTo>
                  <a:cubicBezTo>
                    <a:pt x="753" y="1245"/>
                    <a:pt x="854" y="1156"/>
                    <a:pt x="938" y="1051"/>
                  </a:cubicBezTo>
                  <a:cubicBezTo>
                    <a:pt x="1020" y="948"/>
                    <a:pt x="1084" y="831"/>
                    <a:pt x="1106" y="731"/>
                  </a:cubicBezTo>
                  <a:cubicBezTo>
                    <a:pt x="1113" y="696"/>
                    <a:pt x="1089" y="661"/>
                    <a:pt x="1059" y="645"/>
                  </a:cubicBezTo>
                  <a:cubicBezTo>
                    <a:pt x="1001" y="613"/>
                    <a:pt x="1001" y="613"/>
                    <a:pt x="1001" y="613"/>
                  </a:cubicBezTo>
                  <a:cubicBezTo>
                    <a:pt x="942" y="580"/>
                    <a:pt x="888" y="499"/>
                    <a:pt x="924" y="432"/>
                  </a:cubicBezTo>
                  <a:cubicBezTo>
                    <a:pt x="1114" y="81"/>
                    <a:pt x="1114" y="81"/>
                    <a:pt x="1114" y="81"/>
                  </a:cubicBezTo>
                  <a:cubicBezTo>
                    <a:pt x="1150" y="16"/>
                    <a:pt x="1224" y="0"/>
                    <a:pt x="1287" y="35"/>
                  </a:cubicBezTo>
                  <a:cubicBezTo>
                    <a:pt x="1350" y="69"/>
                    <a:pt x="1350" y="69"/>
                    <a:pt x="1350" y="69"/>
                  </a:cubicBezTo>
                  <a:cubicBezTo>
                    <a:pt x="1415" y="105"/>
                    <a:pt x="1479" y="165"/>
                    <a:pt x="1527" y="235"/>
                  </a:cubicBezTo>
                  <a:cubicBezTo>
                    <a:pt x="1593" y="332"/>
                    <a:pt x="1624" y="442"/>
                    <a:pt x="1583" y="555"/>
                  </a:cubicBezTo>
                  <a:cubicBezTo>
                    <a:pt x="1500" y="781"/>
                    <a:pt x="1351" y="1030"/>
                    <a:pt x="1172" y="1253"/>
                  </a:cubicBezTo>
                  <a:cubicBezTo>
                    <a:pt x="994" y="1477"/>
                    <a:pt x="786" y="1676"/>
                    <a:pt x="586" y="1803"/>
                  </a:cubicBezTo>
                  <a:cubicBezTo>
                    <a:pt x="486" y="1867"/>
                    <a:pt x="375" y="1856"/>
                    <a:pt x="269" y="1807"/>
                  </a:cubicBezTo>
                  <a:cubicBezTo>
                    <a:pt x="157" y="1755"/>
                    <a:pt x="106" y="1695"/>
                    <a:pt x="33" y="1602"/>
                  </a:cubicBezTo>
                  <a:cubicBezTo>
                    <a:pt x="11" y="1573"/>
                    <a:pt x="0" y="1540"/>
                    <a:pt x="2" y="1508"/>
                  </a:cubicBezTo>
                  <a:cubicBezTo>
                    <a:pt x="4" y="1475"/>
                    <a:pt x="18" y="1444"/>
                    <a:pt x="45" y="1421"/>
                  </a:cubicBezTo>
                  <a:cubicBezTo>
                    <a:pt x="70" y="1399"/>
                    <a:pt x="346" y="1158"/>
                    <a:pt x="346" y="1158"/>
                  </a:cubicBezTo>
                  <a:cubicBezTo>
                    <a:pt x="376" y="1134"/>
                    <a:pt x="413" y="1133"/>
                    <a:pt x="448" y="1145"/>
                  </a:cubicBezTo>
                  <a:cubicBezTo>
                    <a:pt x="510" y="1166"/>
                    <a:pt x="536" y="1210"/>
                    <a:pt x="573" y="1257"/>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351" dirty="0"/>
            </a:p>
          </p:txBody>
        </p:sp>
      </p:grpSp>
      <p:grpSp>
        <p:nvGrpSpPr>
          <p:cNvPr id="11" name="Group 3">
            <a:extLst>
              <a:ext uri="{FF2B5EF4-FFF2-40B4-BE49-F238E27FC236}">
                <a16:creationId xmlns:a16="http://schemas.microsoft.com/office/drawing/2014/main" id="{DED6A25A-5DE2-1441-8BA2-C68D3B4F9209}"/>
              </a:ext>
            </a:extLst>
          </p:cNvPr>
          <p:cNvGrpSpPr>
            <a:grpSpLocks noChangeAspect="1"/>
          </p:cNvGrpSpPr>
          <p:nvPr>
            <p:custDataLst>
              <p:tags r:id="rId1"/>
            </p:custDataLst>
          </p:nvPr>
        </p:nvGrpSpPr>
        <p:grpSpPr>
          <a:xfrm>
            <a:off x="4451002" y="3169087"/>
            <a:ext cx="171180" cy="171180"/>
            <a:chOff x="328396" y="5313940"/>
            <a:chExt cx="720000" cy="720000"/>
          </a:xfrm>
        </p:grpSpPr>
        <p:sp>
          <p:nvSpPr>
            <p:cNvPr id="12" name="Rectangle 4">
              <a:extLst>
                <a:ext uri="{FF2B5EF4-FFF2-40B4-BE49-F238E27FC236}">
                  <a16:creationId xmlns:a16="http://schemas.microsoft.com/office/drawing/2014/main" id="{5F49E67F-D4FA-9D48-96BC-59AE946ECD15}"/>
                </a:ext>
              </a:extLst>
            </p:cNvPr>
            <p:cNvSpPr/>
            <p:nvPr/>
          </p:nvSpPr>
          <p:spPr bwMode="gray">
            <a:xfrm>
              <a:off x="328396" y="5313940"/>
              <a:ext cx="720000" cy="720000"/>
            </a:xfrm>
            <a:prstGeom prst="rect">
              <a:avLst/>
            </a:prstGeom>
            <a:solidFill>
              <a:srgbClr val="E55A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pPr>
              <a:endParaRPr lang="en-US" sz="1000" dirty="0">
                <a:solidFill>
                  <a:schemeClr val="tx1"/>
                </a:solidFill>
                <a:latin typeface="Arial" pitchFamily="34" charset="0"/>
                <a:cs typeface="Arial" pitchFamily="34" charset="0"/>
              </a:endParaRPr>
            </a:p>
          </p:txBody>
        </p:sp>
        <p:sp>
          <p:nvSpPr>
            <p:cNvPr id="13" name="Freeform 76">
              <a:extLst>
                <a:ext uri="{FF2B5EF4-FFF2-40B4-BE49-F238E27FC236}">
                  <a16:creationId xmlns:a16="http://schemas.microsoft.com/office/drawing/2014/main" id="{187E70E6-AF3F-2549-908E-DF4BA61040AA}"/>
                </a:ext>
              </a:extLst>
            </p:cNvPr>
            <p:cNvSpPr>
              <a:spLocks noChangeAspect="1" noEditPoints="1"/>
            </p:cNvSpPr>
            <p:nvPr/>
          </p:nvSpPr>
          <p:spPr bwMode="auto">
            <a:xfrm>
              <a:off x="456202" y="5509222"/>
              <a:ext cx="504000" cy="329436"/>
            </a:xfrm>
            <a:custGeom>
              <a:avLst/>
              <a:gdLst>
                <a:gd name="T0" fmla="*/ 0 w 2080"/>
                <a:gd name="T1" fmla="*/ 65 h 1360"/>
                <a:gd name="T2" fmla="*/ 0 w 2080"/>
                <a:gd name="T3" fmla="*/ 0 h 1360"/>
                <a:gd name="T4" fmla="*/ 2080 w 2080"/>
                <a:gd name="T5" fmla="*/ 0 h 1360"/>
                <a:gd name="T6" fmla="*/ 2080 w 2080"/>
                <a:gd name="T7" fmla="*/ 65 h 1360"/>
                <a:gd name="T8" fmla="*/ 1089 w 2080"/>
                <a:gd name="T9" fmla="*/ 862 h 1360"/>
                <a:gd name="T10" fmla="*/ 991 w 2080"/>
                <a:gd name="T11" fmla="*/ 862 h 1360"/>
                <a:gd name="T12" fmla="*/ 0 w 2080"/>
                <a:gd name="T13" fmla="*/ 65 h 1360"/>
                <a:gd name="T14" fmla="*/ 1139 w 2080"/>
                <a:gd name="T15" fmla="*/ 924 h 1360"/>
                <a:gd name="T16" fmla="*/ 1282 w 2080"/>
                <a:gd name="T17" fmla="*/ 810 h 1360"/>
                <a:gd name="T18" fmla="*/ 2076 w 2080"/>
                <a:gd name="T19" fmla="*/ 1360 h 1360"/>
                <a:gd name="T20" fmla="*/ 4 w 2080"/>
                <a:gd name="T21" fmla="*/ 1360 h 1360"/>
                <a:gd name="T22" fmla="*/ 798 w 2080"/>
                <a:gd name="T23" fmla="*/ 810 h 1360"/>
                <a:gd name="T24" fmla="*/ 941 w 2080"/>
                <a:gd name="T25" fmla="*/ 924 h 1360"/>
                <a:gd name="T26" fmla="*/ 1139 w 2080"/>
                <a:gd name="T27" fmla="*/ 924 h 1360"/>
                <a:gd name="T28" fmla="*/ 2 w 2080"/>
                <a:gd name="T29" fmla="*/ 137 h 1360"/>
                <a:gd name="T30" fmla="*/ 42 w 2080"/>
                <a:gd name="T31" fmla="*/ 201 h 1360"/>
                <a:gd name="T32" fmla="*/ 734 w 2080"/>
                <a:gd name="T33" fmla="*/ 758 h 1360"/>
                <a:gd name="T34" fmla="*/ 0 w 2080"/>
                <a:gd name="T35" fmla="*/ 1266 h 1360"/>
                <a:gd name="T36" fmla="*/ 0 w 2080"/>
                <a:gd name="T37" fmla="*/ 135 h 1360"/>
                <a:gd name="T38" fmla="*/ 2 w 2080"/>
                <a:gd name="T39" fmla="*/ 137 h 1360"/>
                <a:gd name="T40" fmla="*/ 2080 w 2080"/>
                <a:gd name="T41" fmla="*/ 136 h 1360"/>
                <a:gd name="T42" fmla="*/ 2080 w 2080"/>
                <a:gd name="T43" fmla="*/ 1265 h 1360"/>
                <a:gd name="T44" fmla="*/ 1346 w 2080"/>
                <a:gd name="T45" fmla="*/ 758 h 1360"/>
                <a:gd name="T46" fmla="*/ 2038 w 2080"/>
                <a:gd name="T47" fmla="*/ 201 h 1360"/>
                <a:gd name="T48" fmla="*/ 2080 w 2080"/>
                <a:gd name="T49" fmla="*/ 136 h 1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080" h="1360">
                  <a:moveTo>
                    <a:pt x="0" y="65"/>
                  </a:moveTo>
                  <a:cubicBezTo>
                    <a:pt x="0" y="0"/>
                    <a:pt x="0" y="0"/>
                    <a:pt x="0" y="0"/>
                  </a:cubicBezTo>
                  <a:cubicBezTo>
                    <a:pt x="2080" y="0"/>
                    <a:pt x="2080" y="0"/>
                    <a:pt x="2080" y="0"/>
                  </a:cubicBezTo>
                  <a:cubicBezTo>
                    <a:pt x="2080" y="65"/>
                    <a:pt x="2080" y="65"/>
                    <a:pt x="2080" y="65"/>
                  </a:cubicBezTo>
                  <a:cubicBezTo>
                    <a:pt x="1089" y="862"/>
                    <a:pt x="1089" y="862"/>
                    <a:pt x="1089" y="862"/>
                  </a:cubicBezTo>
                  <a:cubicBezTo>
                    <a:pt x="1060" y="886"/>
                    <a:pt x="1020" y="886"/>
                    <a:pt x="991" y="862"/>
                  </a:cubicBezTo>
                  <a:lnTo>
                    <a:pt x="0" y="65"/>
                  </a:lnTo>
                  <a:close/>
                  <a:moveTo>
                    <a:pt x="1139" y="924"/>
                  </a:moveTo>
                  <a:cubicBezTo>
                    <a:pt x="1282" y="810"/>
                    <a:pt x="1282" y="810"/>
                    <a:pt x="1282" y="810"/>
                  </a:cubicBezTo>
                  <a:cubicBezTo>
                    <a:pt x="2076" y="1360"/>
                    <a:pt x="2076" y="1360"/>
                    <a:pt x="2076" y="1360"/>
                  </a:cubicBezTo>
                  <a:cubicBezTo>
                    <a:pt x="4" y="1360"/>
                    <a:pt x="4" y="1360"/>
                    <a:pt x="4" y="1360"/>
                  </a:cubicBezTo>
                  <a:cubicBezTo>
                    <a:pt x="798" y="810"/>
                    <a:pt x="798" y="810"/>
                    <a:pt x="798" y="810"/>
                  </a:cubicBezTo>
                  <a:cubicBezTo>
                    <a:pt x="941" y="924"/>
                    <a:pt x="941" y="924"/>
                    <a:pt x="941" y="924"/>
                  </a:cubicBezTo>
                  <a:cubicBezTo>
                    <a:pt x="1000" y="972"/>
                    <a:pt x="1080" y="972"/>
                    <a:pt x="1139" y="924"/>
                  </a:cubicBezTo>
                  <a:close/>
                  <a:moveTo>
                    <a:pt x="2" y="137"/>
                  </a:moveTo>
                  <a:cubicBezTo>
                    <a:pt x="8" y="163"/>
                    <a:pt x="22" y="185"/>
                    <a:pt x="42" y="201"/>
                  </a:cubicBezTo>
                  <a:cubicBezTo>
                    <a:pt x="734" y="758"/>
                    <a:pt x="734" y="758"/>
                    <a:pt x="734" y="758"/>
                  </a:cubicBezTo>
                  <a:cubicBezTo>
                    <a:pt x="0" y="1266"/>
                    <a:pt x="0" y="1266"/>
                    <a:pt x="0" y="1266"/>
                  </a:cubicBezTo>
                  <a:cubicBezTo>
                    <a:pt x="0" y="135"/>
                    <a:pt x="0" y="135"/>
                    <a:pt x="0" y="135"/>
                  </a:cubicBezTo>
                  <a:lnTo>
                    <a:pt x="2" y="137"/>
                  </a:lnTo>
                  <a:close/>
                  <a:moveTo>
                    <a:pt x="2080" y="136"/>
                  </a:moveTo>
                  <a:cubicBezTo>
                    <a:pt x="2080" y="1265"/>
                    <a:pt x="2080" y="1265"/>
                    <a:pt x="2080" y="1265"/>
                  </a:cubicBezTo>
                  <a:cubicBezTo>
                    <a:pt x="1346" y="758"/>
                    <a:pt x="1346" y="758"/>
                    <a:pt x="1346" y="758"/>
                  </a:cubicBezTo>
                  <a:cubicBezTo>
                    <a:pt x="2038" y="201"/>
                    <a:pt x="2038" y="201"/>
                    <a:pt x="2038" y="201"/>
                  </a:cubicBezTo>
                  <a:cubicBezTo>
                    <a:pt x="2060" y="182"/>
                    <a:pt x="2072" y="162"/>
                    <a:pt x="2080" y="13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000"/>
            </a:p>
          </p:txBody>
        </p:sp>
      </p:grpSp>
      <p:cxnSp>
        <p:nvCxnSpPr>
          <p:cNvPr id="20" name="Straight Connector 19"/>
          <p:cNvCxnSpPr/>
          <p:nvPr/>
        </p:nvCxnSpPr>
        <p:spPr>
          <a:xfrm>
            <a:off x="4451001" y="3494093"/>
            <a:ext cx="2463190" cy="0"/>
          </a:xfrm>
          <a:prstGeom prst="line">
            <a:avLst/>
          </a:prstGeom>
          <a:ln w="6350">
            <a:solidFill>
              <a:schemeClr val="tx2"/>
            </a:solidFill>
            <a:prstDash val="dash"/>
          </a:ln>
        </p:spPr>
        <p:style>
          <a:lnRef idx="1">
            <a:schemeClr val="accent1"/>
          </a:lnRef>
          <a:fillRef idx="0">
            <a:schemeClr val="accent1"/>
          </a:fillRef>
          <a:effectRef idx="0">
            <a:schemeClr val="accent1"/>
          </a:effectRef>
          <a:fontRef idx="minor">
            <a:schemeClr val="tx1"/>
          </a:fontRef>
        </p:style>
      </p:cxnSp>
      <p:sp>
        <p:nvSpPr>
          <p:cNvPr id="6" name="Text Placeholder 5"/>
          <p:cNvSpPr>
            <a:spLocks noGrp="1"/>
          </p:cNvSpPr>
          <p:nvPr>
            <p:ph type="body" sz="quarter" idx="19" hasCustomPrompt="1"/>
          </p:nvPr>
        </p:nvSpPr>
        <p:spPr>
          <a:xfrm>
            <a:off x="4451001" y="1824401"/>
            <a:ext cx="2463190" cy="192360"/>
          </a:xfrm>
        </p:spPr>
        <p:txBody>
          <a:bodyPr lIns="0" tIns="0" rIns="0" bIns="0" anchor="ctr" anchorCtr="0"/>
          <a:lstStyle>
            <a:lvl1pPr marL="0" indent="0" algn="l">
              <a:lnSpc>
                <a:spcPct val="100000"/>
              </a:lnSpc>
              <a:buNone/>
              <a:defRPr sz="100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Country</a:t>
            </a:r>
          </a:p>
        </p:txBody>
      </p:sp>
      <p:sp>
        <p:nvSpPr>
          <p:cNvPr id="26" name="Text Placeholder 5"/>
          <p:cNvSpPr>
            <a:spLocks noGrp="1"/>
          </p:cNvSpPr>
          <p:nvPr>
            <p:ph type="body" sz="quarter" idx="20" hasCustomPrompt="1"/>
          </p:nvPr>
        </p:nvSpPr>
        <p:spPr>
          <a:xfrm>
            <a:off x="4451001" y="2036217"/>
            <a:ext cx="2463190" cy="266182"/>
          </a:xfrm>
        </p:spPr>
        <p:txBody>
          <a:bodyPr lIns="0" tIns="0" rIns="0" bIns="0" anchor="b" anchorCtr="0"/>
          <a:lstStyle>
            <a:lvl1pPr marL="0" indent="0" algn="l">
              <a:lnSpc>
                <a:spcPct val="100000"/>
              </a:lnSpc>
              <a:buNone/>
              <a:defRPr sz="1400" b="1" baseline="0">
                <a:solidFill>
                  <a:schemeClr val="tx2"/>
                </a:solidFill>
              </a:defRPr>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Name, Surname</a:t>
            </a:r>
          </a:p>
        </p:txBody>
      </p:sp>
      <p:sp>
        <p:nvSpPr>
          <p:cNvPr id="27" name="Text Placeholder 5"/>
          <p:cNvSpPr>
            <a:spLocks noGrp="1"/>
          </p:cNvSpPr>
          <p:nvPr>
            <p:ph type="body" sz="quarter" idx="21" hasCustomPrompt="1"/>
          </p:nvPr>
        </p:nvSpPr>
        <p:spPr>
          <a:xfrm>
            <a:off x="4451001" y="2332792"/>
            <a:ext cx="2463190"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Job Position</a:t>
            </a:r>
          </a:p>
        </p:txBody>
      </p:sp>
      <p:sp>
        <p:nvSpPr>
          <p:cNvPr id="28" name="Text Placeholder 5"/>
          <p:cNvSpPr>
            <a:spLocks noGrp="1"/>
          </p:cNvSpPr>
          <p:nvPr>
            <p:ph type="body" sz="quarter" idx="22" hasCustomPrompt="1"/>
          </p:nvPr>
        </p:nvSpPr>
        <p:spPr>
          <a:xfrm>
            <a:off x="4695884" y="2861468"/>
            <a:ext cx="2218307"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Phone number</a:t>
            </a:r>
          </a:p>
        </p:txBody>
      </p:sp>
      <p:sp>
        <p:nvSpPr>
          <p:cNvPr id="29" name="Text Placeholder 5"/>
          <p:cNvSpPr>
            <a:spLocks noGrp="1"/>
          </p:cNvSpPr>
          <p:nvPr>
            <p:ph type="body" sz="quarter" idx="23" hasCustomPrompt="1"/>
          </p:nvPr>
        </p:nvSpPr>
        <p:spPr>
          <a:xfrm>
            <a:off x="4695884" y="3144275"/>
            <a:ext cx="2218307"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Email address</a:t>
            </a:r>
          </a:p>
        </p:txBody>
      </p:sp>
      <p:sp>
        <p:nvSpPr>
          <p:cNvPr id="35" name="Text Placeholder 34"/>
          <p:cNvSpPr>
            <a:spLocks noGrp="1"/>
          </p:cNvSpPr>
          <p:nvPr>
            <p:ph type="body" sz="quarter" idx="24" hasCustomPrompt="1"/>
          </p:nvPr>
        </p:nvSpPr>
        <p:spPr>
          <a:xfrm>
            <a:off x="4492626" y="3681413"/>
            <a:ext cx="4492594" cy="2087562"/>
          </a:xfrm>
        </p:spPr>
        <p:txBody>
          <a:bodyPr/>
          <a:lstStyle>
            <a:lvl1pPr>
              <a:defRPr sz="1400" baseline="0"/>
            </a:lvl1pPr>
            <a:lvl2pPr>
              <a:defRPr sz="1400"/>
            </a:lvl2pPr>
            <a:lvl3pPr>
              <a:defRPr sz="1400"/>
            </a:lvl3pPr>
            <a:lvl4pPr>
              <a:defRPr sz="1400"/>
            </a:lvl4pPr>
            <a:lvl5pPr>
              <a:defRPr sz="1400"/>
            </a:lvl5pPr>
          </a:lstStyle>
          <a:p>
            <a:pPr lvl="0"/>
            <a:r>
              <a:rPr lang="en-US" dirty="0"/>
              <a:t>Additional information (if needed)</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70491889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White and text">
    <p:spTree>
      <p:nvGrpSpPr>
        <p:cNvPr id="1" name=""/>
        <p:cNvGrpSpPr/>
        <p:nvPr/>
      </p:nvGrpSpPr>
      <p:grpSpPr>
        <a:xfrm>
          <a:off x="0" y="0"/>
          <a:ext cx="0" cy="0"/>
          <a:chOff x="0" y="0"/>
          <a:chExt cx="0" cy="0"/>
        </a:xfrm>
      </p:grpSpPr>
      <p:sp>
        <p:nvSpPr>
          <p:cNvPr id="62" name="Rechteck 61"/>
          <p:cNvSpPr/>
          <p:nvPr/>
        </p:nvSpPr>
        <p:spPr bwMode="gray">
          <a:xfrm>
            <a:off x="0" y="0"/>
            <a:ext cx="12192000" cy="685800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802" tIns="60901" rIns="121802" bIns="60901" numCol="1" spcCol="0" rtlCol="0" fromWordArt="0" anchor="ctr" anchorCtr="0" forceAA="0" compatLnSpc="1">
            <a:prstTxWarp prst="textNoShape">
              <a:avLst/>
            </a:prstTxWarp>
            <a:noAutofit/>
          </a:bodyPr>
          <a:lstStyle/>
          <a:p>
            <a:pPr marL="0" indent="0" algn="ctr">
              <a:buFont typeface="Courier New" pitchFamily="49" charset="0"/>
              <a:buNone/>
            </a:pPr>
            <a:endParaRPr lang="en-US" sz="2133">
              <a:solidFill>
                <a:schemeClr val="tx1"/>
              </a:solidFill>
              <a:latin typeface="Arial" pitchFamily="34" charset="0"/>
            </a:endParaRPr>
          </a:p>
        </p:txBody>
      </p:sp>
      <p:sp>
        <p:nvSpPr>
          <p:cNvPr id="2" name="Titel 1"/>
          <p:cNvSpPr>
            <a:spLocks noGrp="1"/>
          </p:cNvSpPr>
          <p:nvPr>
            <p:ph type="title" hasCustomPrompt="1"/>
          </p:nvPr>
        </p:nvSpPr>
        <p:spPr bwMode="gray">
          <a:xfrm>
            <a:off x="431805" y="1221319"/>
            <a:ext cx="11328399" cy="2685635"/>
          </a:xfrm>
        </p:spPr>
        <p:txBody>
          <a:bodyPr vert="horz" lIns="0" tIns="18000" rIns="0" bIns="0" rtlCol="0" anchor="b" anchorCtr="0">
            <a:noAutofit/>
          </a:bodyPr>
          <a:lstStyle>
            <a:lvl1pPr>
              <a:defRPr lang="de-DE" sz="4796" cap="none" baseline="0">
                <a:solidFill>
                  <a:schemeClr val="tx2"/>
                </a:solidFill>
                <a:latin typeface="Arial" pitchFamily="34" charset="0"/>
                <a:ea typeface="+mn-ea"/>
                <a:cs typeface="+mn-cs"/>
              </a:defRPr>
            </a:lvl1pPr>
          </a:lstStyle>
          <a:p>
            <a:pPr lvl="0"/>
            <a:r>
              <a:rPr lang="en-US"/>
              <a:t>Click to add text</a:t>
            </a:r>
          </a:p>
        </p:txBody>
      </p:sp>
    </p:spTree>
    <p:extLst>
      <p:ext uri="{BB962C8B-B14F-4D97-AF65-F5344CB8AC3E}">
        <p14:creationId xmlns:p14="http://schemas.microsoft.com/office/powerpoint/2010/main" val="1027194203"/>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p:cSld name="Two contacts">
    <p:spTree>
      <p:nvGrpSpPr>
        <p:cNvPr id="1" name=""/>
        <p:cNvGrpSpPr/>
        <p:nvPr/>
      </p:nvGrpSpPr>
      <p:grpSpPr>
        <a:xfrm>
          <a:off x="0" y="0"/>
          <a:ext cx="0" cy="0"/>
          <a:chOff x="0" y="0"/>
          <a:chExt cx="0" cy="0"/>
        </a:xfrm>
      </p:grpSpPr>
      <p:sp>
        <p:nvSpPr>
          <p:cNvPr id="21" name="Date Placeholder 20"/>
          <p:cNvSpPr>
            <a:spLocks noGrp="1"/>
          </p:cNvSpPr>
          <p:nvPr>
            <p:ph type="dt" sz="half" idx="14"/>
          </p:nvPr>
        </p:nvSpPr>
        <p:spPr>
          <a:xfrm>
            <a:off x="192089" y="6237288"/>
            <a:ext cx="863600" cy="358173"/>
          </a:xfrm>
          <a:prstGeom prst="rect">
            <a:avLst/>
          </a:prstGeom>
        </p:spPr>
        <p:txBody>
          <a:bodyPr/>
          <a:lstStyle/>
          <a:p>
            <a:fld id="{3F4603FF-FCF6-4AE0-9349-4AF38C1FF5B2}" type="datetime5">
              <a:rPr lang="en-US" smtClean="0"/>
              <a:t>26-Jun-20</a:t>
            </a:fld>
            <a:endParaRPr lang="en-US"/>
          </a:p>
        </p:txBody>
      </p:sp>
      <p:sp>
        <p:nvSpPr>
          <p:cNvPr id="22" name="Footer Placeholder 21"/>
          <p:cNvSpPr>
            <a:spLocks noGrp="1"/>
          </p:cNvSpPr>
          <p:nvPr>
            <p:ph type="ftr" sz="quarter" idx="15"/>
          </p:nvPr>
        </p:nvSpPr>
        <p:spPr>
          <a:xfrm>
            <a:off x="1177999" y="6237288"/>
            <a:ext cx="8162717" cy="358173"/>
          </a:xfrm>
          <a:prstGeom prst="rect">
            <a:avLst/>
          </a:prstGeom>
        </p:spPr>
        <p:txBody>
          <a:bodyPr/>
          <a:lstStyle/>
          <a:p>
            <a:r>
              <a:rPr lang="en-US"/>
              <a:t>Title of presentation (Insert / Header &amp; Footer / Apply to All)</a:t>
            </a:r>
            <a:endParaRPr lang="en-US" dirty="0"/>
          </a:p>
        </p:txBody>
      </p:sp>
      <p:sp>
        <p:nvSpPr>
          <p:cNvPr id="23" name="Slide Number Placeholder 22"/>
          <p:cNvSpPr>
            <a:spLocks noGrp="1"/>
          </p:cNvSpPr>
          <p:nvPr>
            <p:ph type="sldNum" sz="quarter" idx="16"/>
          </p:nvPr>
        </p:nvSpPr>
        <p:spPr/>
        <p:txBody>
          <a:bodyPr/>
          <a:lstStyle/>
          <a:p>
            <a:fld id="{5F3E29E4-0979-4FCA-B4C5-5FC6044C982A}" type="slidenum">
              <a:rPr lang="en-US" smtClean="0"/>
              <a:t>‹#›</a:t>
            </a:fld>
            <a:endParaRPr lang="en-US"/>
          </a:p>
        </p:txBody>
      </p:sp>
      <p:sp>
        <p:nvSpPr>
          <p:cNvPr id="2" name="Title 1"/>
          <p:cNvSpPr>
            <a:spLocks noGrp="1"/>
          </p:cNvSpPr>
          <p:nvPr>
            <p:ph type="title" hasCustomPrompt="1"/>
          </p:nvPr>
        </p:nvSpPr>
        <p:spPr/>
        <p:txBody>
          <a:bodyPr/>
          <a:lstStyle>
            <a:lvl1pPr>
              <a:defRPr/>
            </a:lvl1pPr>
          </a:lstStyle>
          <a:p>
            <a:r>
              <a:rPr lang="en-US" dirty="0"/>
              <a:t>Click to add contact title</a:t>
            </a:r>
          </a:p>
        </p:txBody>
      </p:sp>
      <p:sp>
        <p:nvSpPr>
          <p:cNvPr id="7" name="Subtitle 2"/>
          <p:cNvSpPr>
            <a:spLocks noGrp="1"/>
          </p:cNvSpPr>
          <p:nvPr>
            <p:ph type="subTitle" idx="13" hasCustomPrompt="1"/>
          </p:nvPr>
        </p:nvSpPr>
        <p:spPr>
          <a:xfrm>
            <a:off x="1075061" y="964671"/>
            <a:ext cx="7910158" cy="490042"/>
          </a:xfrm>
        </p:spPr>
        <p:txBody>
          <a:bodyPr wrap="none"/>
          <a:lstStyle>
            <a:lvl1pPr marL="0" indent="0" algn="l">
              <a:spcBef>
                <a:spcPts val="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grpSp>
        <p:nvGrpSpPr>
          <p:cNvPr id="8" name="Gruppieren 80">
            <a:extLst>
              <a:ext uri="{FF2B5EF4-FFF2-40B4-BE49-F238E27FC236}">
                <a16:creationId xmlns:a16="http://schemas.microsoft.com/office/drawing/2014/main" id="{6B969E7B-9C39-4443-9B02-74C1E7C5CCAC}"/>
              </a:ext>
            </a:extLst>
          </p:cNvPr>
          <p:cNvGrpSpPr/>
          <p:nvPr/>
        </p:nvGrpSpPr>
        <p:grpSpPr>
          <a:xfrm>
            <a:off x="3770065" y="2868319"/>
            <a:ext cx="171180" cy="171180"/>
            <a:chOff x="3392092" y="1841122"/>
            <a:chExt cx="646508" cy="646508"/>
          </a:xfrm>
        </p:grpSpPr>
        <p:sp>
          <p:nvSpPr>
            <p:cNvPr id="9" name="Rechteck 14">
              <a:extLst>
                <a:ext uri="{FF2B5EF4-FFF2-40B4-BE49-F238E27FC236}">
                  <a16:creationId xmlns:a16="http://schemas.microsoft.com/office/drawing/2014/main" id="{D78F58EA-5525-8D43-8295-FEA52ECF6BFA}"/>
                </a:ext>
              </a:extLst>
            </p:cNvPr>
            <p:cNvSpPr>
              <a:spLocks noChangeAspect="1"/>
            </p:cNvSpPr>
            <p:nvPr/>
          </p:nvSpPr>
          <p:spPr bwMode="gray">
            <a:xfrm>
              <a:off x="3392092" y="1841122"/>
              <a:ext cx="646508" cy="646508"/>
            </a:xfrm>
            <a:prstGeom prst="rect">
              <a:avLst/>
            </a:prstGeom>
            <a:solidFill>
              <a:srgbClr val="E55A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pPr>
              <a:endParaRPr lang="en-US" sz="1000" dirty="0">
                <a:solidFill>
                  <a:schemeClr val="tx1"/>
                </a:solidFill>
                <a:latin typeface="Arial" pitchFamily="34" charset="0"/>
                <a:cs typeface="Arial" pitchFamily="34" charset="0"/>
              </a:endParaRPr>
            </a:p>
          </p:txBody>
        </p:sp>
        <p:sp>
          <p:nvSpPr>
            <p:cNvPr id="10" name="Freeform 67">
              <a:extLst>
                <a:ext uri="{FF2B5EF4-FFF2-40B4-BE49-F238E27FC236}">
                  <a16:creationId xmlns:a16="http://schemas.microsoft.com/office/drawing/2014/main" id="{D01A6292-2776-4945-B828-483D79DC4908}"/>
                </a:ext>
              </a:extLst>
            </p:cNvPr>
            <p:cNvSpPr>
              <a:spLocks noChangeAspect="1"/>
            </p:cNvSpPr>
            <p:nvPr/>
          </p:nvSpPr>
          <p:spPr bwMode="auto">
            <a:xfrm>
              <a:off x="3546638" y="1970424"/>
              <a:ext cx="337415" cy="387905"/>
            </a:xfrm>
            <a:custGeom>
              <a:avLst/>
              <a:gdLst>
                <a:gd name="T0" fmla="*/ 573 w 1624"/>
                <a:gd name="T1" fmla="*/ 1257 h 1867"/>
                <a:gd name="T2" fmla="*/ 662 w 1624"/>
                <a:gd name="T3" fmla="*/ 1288 h 1867"/>
                <a:gd name="T4" fmla="*/ 938 w 1624"/>
                <a:gd name="T5" fmla="*/ 1051 h 1867"/>
                <a:gd name="T6" fmla="*/ 1106 w 1624"/>
                <a:gd name="T7" fmla="*/ 731 h 1867"/>
                <a:gd name="T8" fmla="*/ 1059 w 1624"/>
                <a:gd name="T9" fmla="*/ 645 h 1867"/>
                <a:gd name="T10" fmla="*/ 1001 w 1624"/>
                <a:gd name="T11" fmla="*/ 613 h 1867"/>
                <a:gd name="T12" fmla="*/ 924 w 1624"/>
                <a:gd name="T13" fmla="*/ 432 h 1867"/>
                <a:gd name="T14" fmla="*/ 1114 w 1624"/>
                <a:gd name="T15" fmla="*/ 81 h 1867"/>
                <a:gd name="T16" fmla="*/ 1287 w 1624"/>
                <a:gd name="T17" fmla="*/ 35 h 1867"/>
                <a:gd name="T18" fmla="*/ 1350 w 1624"/>
                <a:gd name="T19" fmla="*/ 69 h 1867"/>
                <a:gd name="T20" fmla="*/ 1527 w 1624"/>
                <a:gd name="T21" fmla="*/ 235 h 1867"/>
                <a:gd name="T22" fmla="*/ 1583 w 1624"/>
                <a:gd name="T23" fmla="*/ 555 h 1867"/>
                <a:gd name="T24" fmla="*/ 1172 w 1624"/>
                <a:gd name="T25" fmla="*/ 1253 h 1867"/>
                <a:gd name="T26" fmla="*/ 586 w 1624"/>
                <a:gd name="T27" fmla="*/ 1803 h 1867"/>
                <a:gd name="T28" fmla="*/ 269 w 1624"/>
                <a:gd name="T29" fmla="*/ 1807 h 1867"/>
                <a:gd name="T30" fmla="*/ 33 w 1624"/>
                <a:gd name="T31" fmla="*/ 1602 h 1867"/>
                <a:gd name="T32" fmla="*/ 2 w 1624"/>
                <a:gd name="T33" fmla="*/ 1508 h 1867"/>
                <a:gd name="T34" fmla="*/ 45 w 1624"/>
                <a:gd name="T35" fmla="*/ 1421 h 1867"/>
                <a:gd name="T36" fmla="*/ 346 w 1624"/>
                <a:gd name="T37" fmla="*/ 1158 h 1867"/>
                <a:gd name="T38" fmla="*/ 448 w 1624"/>
                <a:gd name="T39" fmla="*/ 1145 h 1867"/>
                <a:gd name="T40" fmla="*/ 573 w 1624"/>
                <a:gd name="T41" fmla="*/ 1257 h 18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24" h="1867">
                  <a:moveTo>
                    <a:pt x="573" y="1257"/>
                  </a:moveTo>
                  <a:cubicBezTo>
                    <a:pt x="592" y="1282"/>
                    <a:pt x="630" y="1303"/>
                    <a:pt x="662" y="1288"/>
                  </a:cubicBezTo>
                  <a:cubicBezTo>
                    <a:pt x="753" y="1245"/>
                    <a:pt x="854" y="1156"/>
                    <a:pt x="938" y="1051"/>
                  </a:cubicBezTo>
                  <a:cubicBezTo>
                    <a:pt x="1020" y="948"/>
                    <a:pt x="1084" y="831"/>
                    <a:pt x="1106" y="731"/>
                  </a:cubicBezTo>
                  <a:cubicBezTo>
                    <a:pt x="1113" y="696"/>
                    <a:pt x="1089" y="661"/>
                    <a:pt x="1059" y="645"/>
                  </a:cubicBezTo>
                  <a:cubicBezTo>
                    <a:pt x="1001" y="613"/>
                    <a:pt x="1001" y="613"/>
                    <a:pt x="1001" y="613"/>
                  </a:cubicBezTo>
                  <a:cubicBezTo>
                    <a:pt x="942" y="580"/>
                    <a:pt x="888" y="499"/>
                    <a:pt x="924" y="432"/>
                  </a:cubicBezTo>
                  <a:cubicBezTo>
                    <a:pt x="1114" y="81"/>
                    <a:pt x="1114" y="81"/>
                    <a:pt x="1114" y="81"/>
                  </a:cubicBezTo>
                  <a:cubicBezTo>
                    <a:pt x="1150" y="16"/>
                    <a:pt x="1224" y="0"/>
                    <a:pt x="1287" y="35"/>
                  </a:cubicBezTo>
                  <a:cubicBezTo>
                    <a:pt x="1350" y="69"/>
                    <a:pt x="1350" y="69"/>
                    <a:pt x="1350" y="69"/>
                  </a:cubicBezTo>
                  <a:cubicBezTo>
                    <a:pt x="1415" y="105"/>
                    <a:pt x="1479" y="165"/>
                    <a:pt x="1527" y="235"/>
                  </a:cubicBezTo>
                  <a:cubicBezTo>
                    <a:pt x="1593" y="332"/>
                    <a:pt x="1624" y="442"/>
                    <a:pt x="1583" y="555"/>
                  </a:cubicBezTo>
                  <a:cubicBezTo>
                    <a:pt x="1500" y="781"/>
                    <a:pt x="1351" y="1030"/>
                    <a:pt x="1172" y="1253"/>
                  </a:cubicBezTo>
                  <a:cubicBezTo>
                    <a:pt x="994" y="1477"/>
                    <a:pt x="786" y="1676"/>
                    <a:pt x="586" y="1803"/>
                  </a:cubicBezTo>
                  <a:cubicBezTo>
                    <a:pt x="486" y="1867"/>
                    <a:pt x="375" y="1856"/>
                    <a:pt x="269" y="1807"/>
                  </a:cubicBezTo>
                  <a:cubicBezTo>
                    <a:pt x="157" y="1755"/>
                    <a:pt x="106" y="1695"/>
                    <a:pt x="33" y="1602"/>
                  </a:cubicBezTo>
                  <a:cubicBezTo>
                    <a:pt x="11" y="1573"/>
                    <a:pt x="0" y="1540"/>
                    <a:pt x="2" y="1508"/>
                  </a:cubicBezTo>
                  <a:cubicBezTo>
                    <a:pt x="4" y="1475"/>
                    <a:pt x="18" y="1444"/>
                    <a:pt x="45" y="1421"/>
                  </a:cubicBezTo>
                  <a:cubicBezTo>
                    <a:pt x="70" y="1399"/>
                    <a:pt x="346" y="1158"/>
                    <a:pt x="346" y="1158"/>
                  </a:cubicBezTo>
                  <a:cubicBezTo>
                    <a:pt x="376" y="1134"/>
                    <a:pt x="413" y="1133"/>
                    <a:pt x="448" y="1145"/>
                  </a:cubicBezTo>
                  <a:cubicBezTo>
                    <a:pt x="510" y="1166"/>
                    <a:pt x="536" y="1210"/>
                    <a:pt x="573" y="1257"/>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351" dirty="0"/>
            </a:p>
          </p:txBody>
        </p:sp>
      </p:grpSp>
      <p:grpSp>
        <p:nvGrpSpPr>
          <p:cNvPr id="11" name="Group 3">
            <a:extLst>
              <a:ext uri="{FF2B5EF4-FFF2-40B4-BE49-F238E27FC236}">
                <a16:creationId xmlns:a16="http://schemas.microsoft.com/office/drawing/2014/main" id="{DED6A25A-5DE2-1441-8BA2-C68D3B4F9209}"/>
              </a:ext>
            </a:extLst>
          </p:cNvPr>
          <p:cNvGrpSpPr>
            <a:grpSpLocks noChangeAspect="1"/>
          </p:cNvGrpSpPr>
          <p:nvPr>
            <p:custDataLst>
              <p:tags r:id="rId1"/>
            </p:custDataLst>
          </p:nvPr>
        </p:nvGrpSpPr>
        <p:grpSpPr>
          <a:xfrm>
            <a:off x="3770066" y="3153207"/>
            <a:ext cx="171180" cy="171180"/>
            <a:chOff x="328396" y="5313940"/>
            <a:chExt cx="720000" cy="720000"/>
          </a:xfrm>
        </p:grpSpPr>
        <p:sp>
          <p:nvSpPr>
            <p:cNvPr id="12" name="Rectangle 4">
              <a:extLst>
                <a:ext uri="{FF2B5EF4-FFF2-40B4-BE49-F238E27FC236}">
                  <a16:creationId xmlns:a16="http://schemas.microsoft.com/office/drawing/2014/main" id="{5F49E67F-D4FA-9D48-96BC-59AE946ECD15}"/>
                </a:ext>
              </a:extLst>
            </p:cNvPr>
            <p:cNvSpPr/>
            <p:nvPr/>
          </p:nvSpPr>
          <p:spPr bwMode="gray">
            <a:xfrm>
              <a:off x="328396" y="5313940"/>
              <a:ext cx="720000" cy="720000"/>
            </a:xfrm>
            <a:prstGeom prst="rect">
              <a:avLst/>
            </a:prstGeom>
            <a:solidFill>
              <a:srgbClr val="E55A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pPr>
              <a:endParaRPr lang="en-US" sz="1000" dirty="0">
                <a:solidFill>
                  <a:schemeClr val="tx1"/>
                </a:solidFill>
                <a:latin typeface="Arial" pitchFamily="34" charset="0"/>
                <a:cs typeface="Arial" pitchFamily="34" charset="0"/>
              </a:endParaRPr>
            </a:p>
          </p:txBody>
        </p:sp>
        <p:sp>
          <p:nvSpPr>
            <p:cNvPr id="13" name="Freeform 76">
              <a:extLst>
                <a:ext uri="{FF2B5EF4-FFF2-40B4-BE49-F238E27FC236}">
                  <a16:creationId xmlns:a16="http://schemas.microsoft.com/office/drawing/2014/main" id="{187E70E6-AF3F-2549-908E-DF4BA61040AA}"/>
                </a:ext>
              </a:extLst>
            </p:cNvPr>
            <p:cNvSpPr>
              <a:spLocks noChangeAspect="1" noEditPoints="1"/>
            </p:cNvSpPr>
            <p:nvPr/>
          </p:nvSpPr>
          <p:spPr bwMode="auto">
            <a:xfrm>
              <a:off x="456202" y="5509222"/>
              <a:ext cx="504000" cy="329436"/>
            </a:xfrm>
            <a:custGeom>
              <a:avLst/>
              <a:gdLst>
                <a:gd name="T0" fmla="*/ 0 w 2080"/>
                <a:gd name="T1" fmla="*/ 65 h 1360"/>
                <a:gd name="T2" fmla="*/ 0 w 2080"/>
                <a:gd name="T3" fmla="*/ 0 h 1360"/>
                <a:gd name="T4" fmla="*/ 2080 w 2080"/>
                <a:gd name="T5" fmla="*/ 0 h 1360"/>
                <a:gd name="T6" fmla="*/ 2080 w 2080"/>
                <a:gd name="T7" fmla="*/ 65 h 1360"/>
                <a:gd name="T8" fmla="*/ 1089 w 2080"/>
                <a:gd name="T9" fmla="*/ 862 h 1360"/>
                <a:gd name="T10" fmla="*/ 991 w 2080"/>
                <a:gd name="T11" fmla="*/ 862 h 1360"/>
                <a:gd name="T12" fmla="*/ 0 w 2080"/>
                <a:gd name="T13" fmla="*/ 65 h 1360"/>
                <a:gd name="T14" fmla="*/ 1139 w 2080"/>
                <a:gd name="T15" fmla="*/ 924 h 1360"/>
                <a:gd name="T16" fmla="*/ 1282 w 2080"/>
                <a:gd name="T17" fmla="*/ 810 h 1360"/>
                <a:gd name="T18" fmla="*/ 2076 w 2080"/>
                <a:gd name="T19" fmla="*/ 1360 h 1360"/>
                <a:gd name="T20" fmla="*/ 4 w 2080"/>
                <a:gd name="T21" fmla="*/ 1360 h 1360"/>
                <a:gd name="T22" fmla="*/ 798 w 2080"/>
                <a:gd name="T23" fmla="*/ 810 h 1360"/>
                <a:gd name="T24" fmla="*/ 941 w 2080"/>
                <a:gd name="T25" fmla="*/ 924 h 1360"/>
                <a:gd name="T26" fmla="*/ 1139 w 2080"/>
                <a:gd name="T27" fmla="*/ 924 h 1360"/>
                <a:gd name="T28" fmla="*/ 2 w 2080"/>
                <a:gd name="T29" fmla="*/ 137 h 1360"/>
                <a:gd name="T30" fmla="*/ 42 w 2080"/>
                <a:gd name="T31" fmla="*/ 201 h 1360"/>
                <a:gd name="T32" fmla="*/ 734 w 2080"/>
                <a:gd name="T33" fmla="*/ 758 h 1360"/>
                <a:gd name="T34" fmla="*/ 0 w 2080"/>
                <a:gd name="T35" fmla="*/ 1266 h 1360"/>
                <a:gd name="T36" fmla="*/ 0 w 2080"/>
                <a:gd name="T37" fmla="*/ 135 h 1360"/>
                <a:gd name="T38" fmla="*/ 2 w 2080"/>
                <a:gd name="T39" fmla="*/ 137 h 1360"/>
                <a:gd name="T40" fmla="*/ 2080 w 2080"/>
                <a:gd name="T41" fmla="*/ 136 h 1360"/>
                <a:gd name="T42" fmla="*/ 2080 w 2080"/>
                <a:gd name="T43" fmla="*/ 1265 h 1360"/>
                <a:gd name="T44" fmla="*/ 1346 w 2080"/>
                <a:gd name="T45" fmla="*/ 758 h 1360"/>
                <a:gd name="T46" fmla="*/ 2038 w 2080"/>
                <a:gd name="T47" fmla="*/ 201 h 1360"/>
                <a:gd name="T48" fmla="*/ 2080 w 2080"/>
                <a:gd name="T49" fmla="*/ 136 h 1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080" h="1360">
                  <a:moveTo>
                    <a:pt x="0" y="65"/>
                  </a:moveTo>
                  <a:cubicBezTo>
                    <a:pt x="0" y="0"/>
                    <a:pt x="0" y="0"/>
                    <a:pt x="0" y="0"/>
                  </a:cubicBezTo>
                  <a:cubicBezTo>
                    <a:pt x="2080" y="0"/>
                    <a:pt x="2080" y="0"/>
                    <a:pt x="2080" y="0"/>
                  </a:cubicBezTo>
                  <a:cubicBezTo>
                    <a:pt x="2080" y="65"/>
                    <a:pt x="2080" y="65"/>
                    <a:pt x="2080" y="65"/>
                  </a:cubicBezTo>
                  <a:cubicBezTo>
                    <a:pt x="1089" y="862"/>
                    <a:pt x="1089" y="862"/>
                    <a:pt x="1089" y="862"/>
                  </a:cubicBezTo>
                  <a:cubicBezTo>
                    <a:pt x="1060" y="886"/>
                    <a:pt x="1020" y="886"/>
                    <a:pt x="991" y="862"/>
                  </a:cubicBezTo>
                  <a:lnTo>
                    <a:pt x="0" y="65"/>
                  </a:lnTo>
                  <a:close/>
                  <a:moveTo>
                    <a:pt x="1139" y="924"/>
                  </a:moveTo>
                  <a:cubicBezTo>
                    <a:pt x="1282" y="810"/>
                    <a:pt x="1282" y="810"/>
                    <a:pt x="1282" y="810"/>
                  </a:cubicBezTo>
                  <a:cubicBezTo>
                    <a:pt x="2076" y="1360"/>
                    <a:pt x="2076" y="1360"/>
                    <a:pt x="2076" y="1360"/>
                  </a:cubicBezTo>
                  <a:cubicBezTo>
                    <a:pt x="4" y="1360"/>
                    <a:pt x="4" y="1360"/>
                    <a:pt x="4" y="1360"/>
                  </a:cubicBezTo>
                  <a:cubicBezTo>
                    <a:pt x="798" y="810"/>
                    <a:pt x="798" y="810"/>
                    <a:pt x="798" y="810"/>
                  </a:cubicBezTo>
                  <a:cubicBezTo>
                    <a:pt x="941" y="924"/>
                    <a:pt x="941" y="924"/>
                    <a:pt x="941" y="924"/>
                  </a:cubicBezTo>
                  <a:cubicBezTo>
                    <a:pt x="1000" y="972"/>
                    <a:pt x="1080" y="972"/>
                    <a:pt x="1139" y="924"/>
                  </a:cubicBezTo>
                  <a:close/>
                  <a:moveTo>
                    <a:pt x="2" y="137"/>
                  </a:moveTo>
                  <a:cubicBezTo>
                    <a:pt x="8" y="163"/>
                    <a:pt x="22" y="185"/>
                    <a:pt x="42" y="201"/>
                  </a:cubicBezTo>
                  <a:cubicBezTo>
                    <a:pt x="734" y="758"/>
                    <a:pt x="734" y="758"/>
                    <a:pt x="734" y="758"/>
                  </a:cubicBezTo>
                  <a:cubicBezTo>
                    <a:pt x="0" y="1266"/>
                    <a:pt x="0" y="1266"/>
                    <a:pt x="0" y="1266"/>
                  </a:cubicBezTo>
                  <a:cubicBezTo>
                    <a:pt x="0" y="135"/>
                    <a:pt x="0" y="135"/>
                    <a:pt x="0" y="135"/>
                  </a:cubicBezTo>
                  <a:lnTo>
                    <a:pt x="2" y="137"/>
                  </a:lnTo>
                  <a:close/>
                  <a:moveTo>
                    <a:pt x="2080" y="136"/>
                  </a:moveTo>
                  <a:cubicBezTo>
                    <a:pt x="2080" y="1265"/>
                    <a:pt x="2080" y="1265"/>
                    <a:pt x="2080" y="1265"/>
                  </a:cubicBezTo>
                  <a:cubicBezTo>
                    <a:pt x="1346" y="758"/>
                    <a:pt x="1346" y="758"/>
                    <a:pt x="1346" y="758"/>
                  </a:cubicBezTo>
                  <a:cubicBezTo>
                    <a:pt x="2038" y="201"/>
                    <a:pt x="2038" y="201"/>
                    <a:pt x="2038" y="201"/>
                  </a:cubicBezTo>
                  <a:cubicBezTo>
                    <a:pt x="2060" y="182"/>
                    <a:pt x="2072" y="162"/>
                    <a:pt x="2080" y="13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000"/>
            </a:p>
          </p:txBody>
        </p:sp>
      </p:grpSp>
      <p:grpSp>
        <p:nvGrpSpPr>
          <p:cNvPr id="14" name="Gruppieren 2">
            <a:extLst>
              <a:ext uri="{FF2B5EF4-FFF2-40B4-BE49-F238E27FC236}">
                <a16:creationId xmlns:a16="http://schemas.microsoft.com/office/drawing/2014/main" id="{BE697CE9-EBDE-6B4A-BE70-582D92A8A831}"/>
              </a:ext>
            </a:extLst>
          </p:cNvPr>
          <p:cNvGrpSpPr/>
          <p:nvPr/>
        </p:nvGrpSpPr>
        <p:grpSpPr>
          <a:xfrm>
            <a:off x="8701917" y="2868319"/>
            <a:ext cx="171180" cy="171180"/>
            <a:chOff x="3392092" y="1841122"/>
            <a:chExt cx="646508" cy="646508"/>
          </a:xfrm>
        </p:grpSpPr>
        <p:sp>
          <p:nvSpPr>
            <p:cNvPr id="15" name="Rechteck 14">
              <a:extLst>
                <a:ext uri="{FF2B5EF4-FFF2-40B4-BE49-F238E27FC236}">
                  <a16:creationId xmlns:a16="http://schemas.microsoft.com/office/drawing/2014/main" id="{E142A731-19B7-C34D-9534-9E05108F895F}"/>
                </a:ext>
              </a:extLst>
            </p:cNvPr>
            <p:cNvSpPr>
              <a:spLocks noChangeAspect="1"/>
            </p:cNvSpPr>
            <p:nvPr/>
          </p:nvSpPr>
          <p:spPr bwMode="gray">
            <a:xfrm>
              <a:off x="3392092" y="1841122"/>
              <a:ext cx="646508" cy="646508"/>
            </a:xfrm>
            <a:prstGeom prst="rect">
              <a:avLst/>
            </a:prstGeom>
            <a:solidFill>
              <a:srgbClr val="E55A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pPr>
              <a:endParaRPr lang="en-US" sz="1000" dirty="0">
                <a:solidFill>
                  <a:schemeClr val="tx1"/>
                </a:solidFill>
                <a:latin typeface="Arial" pitchFamily="34" charset="0"/>
                <a:cs typeface="Arial" pitchFamily="34" charset="0"/>
              </a:endParaRPr>
            </a:p>
          </p:txBody>
        </p:sp>
        <p:sp>
          <p:nvSpPr>
            <p:cNvPr id="16" name="Freeform 15">
              <a:extLst>
                <a:ext uri="{FF2B5EF4-FFF2-40B4-BE49-F238E27FC236}">
                  <a16:creationId xmlns:a16="http://schemas.microsoft.com/office/drawing/2014/main" id="{F97E84AE-4AD9-4B44-9AA1-F797FC373809}"/>
                </a:ext>
              </a:extLst>
            </p:cNvPr>
            <p:cNvSpPr>
              <a:spLocks noChangeAspect="1"/>
            </p:cNvSpPr>
            <p:nvPr/>
          </p:nvSpPr>
          <p:spPr bwMode="auto">
            <a:xfrm>
              <a:off x="3546638" y="1970424"/>
              <a:ext cx="337415" cy="387905"/>
            </a:xfrm>
            <a:custGeom>
              <a:avLst/>
              <a:gdLst>
                <a:gd name="T0" fmla="*/ 573 w 1624"/>
                <a:gd name="T1" fmla="*/ 1257 h 1867"/>
                <a:gd name="T2" fmla="*/ 662 w 1624"/>
                <a:gd name="T3" fmla="*/ 1288 h 1867"/>
                <a:gd name="T4" fmla="*/ 938 w 1624"/>
                <a:gd name="T5" fmla="*/ 1051 h 1867"/>
                <a:gd name="T6" fmla="*/ 1106 w 1624"/>
                <a:gd name="T7" fmla="*/ 731 h 1867"/>
                <a:gd name="T8" fmla="*/ 1059 w 1624"/>
                <a:gd name="T9" fmla="*/ 645 h 1867"/>
                <a:gd name="T10" fmla="*/ 1001 w 1624"/>
                <a:gd name="T11" fmla="*/ 613 h 1867"/>
                <a:gd name="T12" fmla="*/ 924 w 1624"/>
                <a:gd name="T13" fmla="*/ 432 h 1867"/>
                <a:gd name="T14" fmla="*/ 1114 w 1624"/>
                <a:gd name="T15" fmla="*/ 81 h 1867"/>
                <a:gd name="T16" fmla="*/ 1287 w 1624"/>
                <a:gd name="T17" fmla="*/ 35 h 1867"/>
                <a:gd name="T18" fmla="*/ 1350 w 1624"/>
                <a:gd name="T19" fmla="*/ 69 h 1867"/>
                <a:gd name="T20" fmla="*/ 1527 w 1624"/>
                <a:gd name="T21" fmla="*/ 235 h 1867"/>
                <a:gd name="T22" fmla="*/ 1583 w 1624"/>
                <a:gd name="T23" fmla="*/ 555 h 1867"/>
                <a:gd name="T24" fmla="*/ 1172 w 1624"/>
                <a:gd name="T25" fmla="*/ 1253 h 1867"/>
                <a:gd name="T26" fmla="*/ 586 w 1624"/>
                <a:gd name="T27" fmla="*/ 1803 h 1867"/>
                <a:gd name="T28" fmla="*/ 269 w 1624"/>
                <a:gd name="T29" fmla="*/ 1807 h 1867"/>
                <a:gd name="T30" fmla="*/ 33 w 1624"/>
                <a:gd name="T31" fmla="*/ 1602 h 1867"/>
                <a:gd name="T32" fmla="*/ 2 w 1624"/>
                <a:gd name="T33" fmla="*/ 1508 h 1867"/>
                <a:gd name="T34" fmla="*/ 45 w 1624"/>
                <a:gd name="T35" fmla="*/ 1421 h 1867"/>
                <a:gd name="T36" fmla="*/ 346 w 1624"/>
                <a:gd name="T37" fmla="*/ 1158 h 1867"/>
                <a:gd name="T38" fmla="*/ 448 w 1624"/>
                <a:gd name="T39" fmla="*/ 1145 h 1867"/>
                <a:gd name="T40" fmla="*/ 573 w 1624"/>
                <a:gd name="T41" fmla="*/ 1257 h 18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24" h="1867">
                  <a:moveTo>
                    <a:pt x="573" y="1257"/>
                  </a:moveTo>
                  <a:cubicBezTo>
                    <a:pt x="592" y="1282"/>
                    <a:pt x="630" y="1303"/>
                    <a:pt x="662" y="1288"/>
                  </a:cubicBezTo>
                  <a:cubicBezTo>
                    <a:pt x="753" y="1245"/>
                    <a:pt x="854" y="1156"/>
                    <a:pt x="938" y="1051"/>
                  </a:cubicBezTo>
                  <a:cubicBezTo>
                    <a:pt x="1020" y="948"/>
                    <a:pt x="1084" y="831"/>
                    <a:pt x="1106" y="731"/>
                  </a:cubicBezTo>
                  <a:cubicBezTo>
                    <a:pt x="1113" y="696"/>
                    <a:pt x="1089" y="661"/>
                    <a:pt x="1059" y="645"/>
                  </a:cubicBezTo>
                  <a:cubicBezTo>
                    <a:pt x="1001" y="613"/>
                    <a:pt x="1001" y="613"/>
                    <a:pt x="1001" y="613"/>
                  </a:cubicBezTo>
                  <a:cubicBezTo>
                    <a:pt x="942" y="580"/>
                    <a:pt x="888" y="499"/>
                    <a:pt x="924" y="432"/>
                  </a:cubicBezTo>
                  <a:cubicBezTo>
                    <a:pt x="1114" y="81"/>
                    <a:pt x="1114" y="81"/>
                    <a:pt x="1114" y="81"/>
                  </a:cubicBezTo>
                  <a:cubicBezTo>
                    <a:pt x="1150" y="16"/>
                    <a:pt x="1224" y="0"/>
                    <a:pt x="1287" y="35"/>
                  </a:cubicBezTo>
                  <a:cubicBezTo>
                    <a:pt x="1350" y="69"/>
                    <a:pt x="1350" y="69"/>
                    <a:pt x="1350" y="69"/>
                  </a:cubicBezTo>
                  <a:cubicBezTo>
                    <a:pt x="1415" y="105"/>
                    <a:pt x="1479" y="165"/>
                    <a:pt x="1527" y="235"/>
                  </a:cubicBezTo>
                  <a:cubicBezTo>
                    <a:pt x="1593" y="332"/>
                    <a:pt x="1624" y="442"/>
                    <a:pt x="1583" y="555"/>
                  </a:cubicBezTo>
                  <a:cubicBezTo>
                    <a:pt x="1500" y="781"/>
                    <a:pt x="1351" y="1030"/>
                    <a:pt x="1172" y="1253"/>
                  </a:cubicBezTo>
                  <a:cubicBezTo>
                    <a:pt x="994" y="1477"/>
                    <a:pt x="786" y="1676"/>
                    <a:pt x="586" y="1803"/>
                  </a:cubicBezTo>
                  <a:cubicBezTo>
                    <a:pt x="486" y="1867"/>
                    <a:pt x="375" y="1856"/>
                    <a:pt x="269" y="1807"/>
                  </a:cubicBezTo>
                  <a:cubicBezTo>
                    <a:pt x="157" y="1755"/>
                    <a:pt x="106" y="1695"/>
                    <a:pt x="33" y="1602"/>
                  </a:cubicBezTo>
                  <a:cubicBezTo>
                    <a:pt x="11" y="1573"/>
                    <a:pt x="0" y="1540"/>
                    <a:pt x="2" y="1508"/>
                  </a:cubicBezTo>
                  <a:cubicBezTo>
                    <a:pt x="4" y="1475"/>
                    <a:pt x="18" y="1444"/>
                    <a:pt x="45" y="1421"/>
                  </a:cubicBezTo>
                  <a:cubicBezTo>
                    <a:pt x="70" y="1399"/>
                    <a:pt x="346" y="1158"/>
                    <a:pt x="346" y="1158"/>
                  </a:cubicBezTo>
                  <a:cubicBezTo>
                    <a:pt x="376" y="1134"/>
                    <a:pt x="413" y="1133"/>
                    <a:pt x="448" y="1145"/>
                  </a:cubicBezTo>
                  <a:cubicBezTo>
                    <a:pt x="510" y="1166"/>
                    <a:pt x="536" y="1210"/>
                    <a:pt x="573" y="1257"/>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351" dirty="0"/>
            </a:p>
          </p:txBody>
        </p:sp>
      </p:grpSp>
      <p:grpSp>
        <p:nvGrpSpPr>
          <p:cNvPr id="17" name="Group 3">
            <a:extLst>
              <a:ext uri="{FF2B5EF4-FFF2-40B4-BE49-F238E27FC236}">
                <a16:creationId xmlns:a16="http://schemas.microsoft.com/office/drawing/2014/main" id="{7104BADD-8CD1-6F4A-B894-869C3BDB3EEB}"/>
              </a:ext>
            </a:extLst>
          </p:cNvPr>
          <p:cNvGrpSpPr>
            <a:grpSpLocks noChangeAspect="1"/>
          </p:cNvGrpSpPr>
          <p:nvPr>
            <p:custDataLst>
              <p:tags r:id="rId2"/>
            </p:custDataLst>
          </p:nvPr>
        </p:nvGrpSpPr>
        <p:grpSpPr>
          <a:xfrm>
            <a:off x="8701918" y="3153207"/>
            <a:ext cx="171180" cy="171180"/>
            <a:chOff x="328396" y="5313940"/>
            <a:chExt cx="720000" cy="720000"/>
          </a:xfrm>
        </p:grpSpPr>
        <p:sp>
          <p:nvSpPr>
            <p:cNvPr id="18" name="Rectangle 4">
              <a:extLst>
                <a:ext uri="{FF2B5EF4-FFF2-40B4-BE49-F238E27FC236}">
                  <a16:creationId xmlns:a16="http://schemas.microsoft.com/office/drawing/2014/main" id="{74BE3D5F-1445-6E40-8B49-72E15568383B}"/>
                </a:ext>
              </a:extLst>
            </p:cNvPr>
            <p:cNvSpPr/>
            <p:nvPr/>
          </p:nvSpPr>
          <p:spPr bwMode="gray">
            <a:xfrm>
              <a:off x="328396" y="5313940"/>
              <a:ext cx="720000" cy="720000"/>
            </a:xfrm>
            <a:prstGeom prst="rect">
              <a:avLst/>
            </a:prstGeom>
            <a:solidFill>
              <a:srgbClr val="E55A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pPr>
              <a:endParaRPr lang="en-US" sz="1000" dirty="0">
                <a:solidFill>
                  <a:schemeClr val="tx1"/>
                </a:solidFill>
                <a:latin typeface="Arial" pitchFamily="34" charset="0"/>
                <a:cs typeface="Arial" pitchFamily="34" charset="0"/>
              </a:endParaRPr>
            </a:p>
          </p:txBody>
        </p:sp>
        <p:sp>
          <p:nvSpPr>
            <p:cNvPr id="19" name="Freeform 76">
              <a:extLst>
                <a:ext uri="{FF2B5EF4-FFF2-40B4-BE49-F238E27FC236}">
                  <a16:creationId xmlns:a16="http://schemas.microsoft.com/office/drawing/2014/main" id="{55DB3C95-7D0C-D141-901E-96D692794D2B}"/>
                </a:ext>
              </a:extLst>
            </p:cNvPr>
            <p:cNvSpPr>
              <a:spLocks noChangeAspect="1" noEditPoints="1"/>
            </p:cNvSpPr>
            <p:nvPr/>
          </p:nvSpPr>
          <p:spPr bwMode="auto">
            <a:xfrm>
              <a:off x="456202" y="5509222"/>
              <a:ext cx="504000" cy="329436"/>
            </a:xfrm>
            <a:custGeom>
              <a:avLst/>
              <a:gdLst>
                <a:gd name="T0" fmla="*/ 0 w 2080"/>
                <a:gd name="T1" fmla="*/ 65 h 1360"/>
                <a:gd name="T2" fmla="*/ 0 w 2080"/>
                <a:gd name="T3" fmla="*/ 0 h 1360"/>
                <a:gd name="T4" fmla="*/ 2080 w 2080"/>
                <a:gd name="T5" fmla="*/ 0 h 1360"/>
                <a:gd name="T6" fmla="*/ 2080 w 2080"/>
                <a:gd name="T7" fmla="*/ 65 h 1360"/>
                <a:gd name="T8" fmla="*/ 1089 w 2080"/>
                <a:gd name="T9" fmla="*/ 862 h 1360"/>
                <a:gd name="T10" fmla="*/ 991 w 2080"/>
                <a:gd name="T11" fmla="*/ 862 h 1360"/>
                <a:gd name="T12" fmla="*/ 0 w 2080"/>
                <a:gd name="T13" fmla="*/ 65 h 1360"/>
                <a:gd name="T14" fmla="*/ 1139 w 2080"/>
                <a:gd name="T15" fmla="*/ 924 h 1360"/>
                <a:gd name="T16" fmla="*/ 1282 w 2080"/>
                <a:gd name="T17" fmla="*/ 810 h 1360"/>
                <a:gd name="T18" fmla="*/ 2076 w 2080"/>
                <a:gd name="T19" fmla="*/ 1360 h 1360"/>
                <a:gd name="T20" fmla="*/ 4 w 2080"/>
                <a:gd name="T21" fmla="*/ 1360 h 1360"/>
                <a:gd name="T22" fmla="*/ 798 w 2080"/>
                <a:gd name="T23" fmla="*/ 810 h 1360"/>
                <a:gd name="T24" fmla="*/ 941 w 2080"/>
                <a:gd name="T25" fmla="*/ 924 h 1360"/>
                <a:gd name="T26" fmla="*/ 1139 w 2080"/>
                <a:gd name="T27" fmla="*/ 924 h 1360"/>
                <a:gd name="T28" fmla="*/ 2 w 2080"/>
                <a:gd name="T29" fmla="*/ 137 h 1360"/>
                <a:gd name="T30" fmla="*/ 42 w 2080"/>
                <a:gd name="T31" fmla="*/ 201 h 1360"/>
                <a:gd name="T32" fmla="*/ 734 w 2080"/>
                <a:gd name="T33" fmla="*/ 758 h 1360"/>
                <a:gd name="T34" fmla="*/ 0 w 2080"/>
                <a:gd name="T35" fmla="*/ 1266 h 1360"/>
                <a:gd name="T36" fmla="*/ 0 w 2080"/>
                <a:gd name="T37" fmla="*/ 135 h 1360"/>
                <a:gd name="T38" fmla="*/ 2 w 2080"/>
                <a:gd name="T39" fmla="*/ 137 h 1360"/>
                <a:gd name="T40" fmla="*/ 2080 w 2080"/>
                <a:gd name="T41" fmla="*/ 136 h 1360"/>
                <a:gd name="T42" fmla="*/ 2080 w 2080"/>
                <a:gd name="T43" fmla="*/ 1265 h 1360"/>
                <a:gd name="T44" fmla="*/ 1346 w 2080"/>
                <a:gd name="T45" fmla="*/ 758 h 1360"/>
                <a:gd name="T46" fmla="*/ 2038 w 2080"/>
                <a:gd name="T47" fmla="*/ 201 h 1360"/>
                <a:gd name="T48" fmla="*/ 2080 w 2080"/>
                <a:gd name="T49" fmla="*/ 136 h 1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080" h="1360">
                  <a:moveTo>
                    <a:pt x="0" y="65"/>
                  </a:moveTo>
                  <a:cubicBezTo>
                    <a:pt x="0" y="0"/>
                    <a:pt x="0" y="0"/>
                    <a:pt x="0" y="0"/>
                  </a:cubicBezTo>
                  <a:cubicBezTo>
                    <a:pt x="2080" y="0"/>
                    <a:pt x="2080" y="0"/>
                    <a:pt x="2080" y="0"/>
                  </a:cubicBezTo>
                  <a:cubicBezTo>
                    <a:pt x="2080" y="65"/>
                    <a:pt x="2080" y="65"/>
                    <a:pt x="2080" y="65"/>
                  </a:cubicBezTo>
                  <a:cubicBezTo>
                    <a:pt x="1089" y="862"/>
                    <a:pt x="1089" y="862"/>
                    <a:pt x="1089" y="862"/>
                  </a:cubicBezTo>
                  <a:cubicBezTo>
                    <a:pt x="1060" y="886"/>
                    <a:pt x="1020" y="886"/>
                    <a:pt x="991" y="862"/>
                  </a:cubicBezTo>
                  <a:lnTo>
                    <a:pt x="0" y="65"/>
                  </a:lnTo>
                  <a:close/>
                  <a:moveTo>
                    <a:pt x="1139" y="924"/>
                  </a:moveTo>
                  <a:cubicBezTo>
                    <a:pt x="1282" y="810"/>
                    <a:pt x="1282" y="810"/>
                    <a:pt x="1282" y="810"/>
                  </a:cubicBezTo>
                  <a:cubicBezTo>
                    <a:pt x="2076" y="1360"/>
                    <a:pt x="2076" y="1360"/>
                    <a:pt x="2076" y="1360"/>
                  </a:cubicBezTo>
                  <a:cubicBezTo>
                    <a:pt x="4" y="1360"/>
                    <a:pt x="4" y="1360"/>
                    <a:pt x="4" y="1360"/>
                  </a:cubicBezTo>
                  <a:cubicBezTo>
                    <a:pt x="798" y="810"/>
                    <a:pt x="798" y="810"/>
                    <a:pt x="798" y="810"/>
                  </a:cubicBezTo>
                  <a:cubicBezTo>
                    <a:pt x="941" y="924"/>
                    <a:pt x="941" y="924"/>
                    <a:pt x="941" y="924"/>
                  </a:cubicBezTo>
                  <a:cubicBezTo>
                    <a:pt x="1000" y="972"/>
                    <a:pt x="1080" y="972"/>
                    <a:pt x="1139" y="924"/>
                  </a:cubicBezTo>
                  <a:close/>
                  <a:moveTo>
                    <a:pt x="2" y="137"/>
                  </a:moveTo>
                  <a:cubicBezTo>
                    <a:pt x="8" y="163"/>
                    <a:pt x="22" y="185"/>
                    <a:pt x="42" y="201"/>
                  </a:cubicBezTo>
                  <a:cubicBezTo>
                    <a:pt x="734" y="758"/>
                    <a:pt x="734" y="758"/>
                    <a:pt x="734" y="758"/>
                  </a:cubicBezTo>
                  <a:cubicBezTo>
                    <a:pt x="0" y="1266"/>
                    <a:pt x="0" y="1266"/>
                    <a:pt x="0" y="1266"/>
                  </a:cubicBezTo>
                  <a:cubicBezTo>
                    <a:pt x="0" y="135"/>
                    <a:pt x="0" y="135"/>
                    <a:pt x="0" y="135"/>
                  </a:cubicBezTo>
                  <a:lnTo>
                    <a:pt x="2" y="137"/>
                  </a:lnTo>
                  <a:close/>
                  <a:moveTo>
                    <a:pt x="2080" y="136"/>
                  </a:moveTo>
                  <a:cubicBezTo>
                    <a:pt x="2080" y="1265"/>
                    <a:pt x="2080" y="1265"/>
                    <a:pt x="2080" y="1265"/>
                  </a:cubicBezTo>
                  <a:cubicBezTo>
                    <a:pt x="1346" y="758"/>
                    <a:pt x="1346" y="758"/>
                    <a:pt x="1346" y="758"/>
                  </a:cubicBezTo>
                  <a:cubicBezTo>
                    <a:pt x="2038" y="201"/>
                    <a:pt x="2038" y="201"/>
                    <a:pt x="2038" y="201"/>
                  </a:cubicBezTo>
                  <a:cubicBezTo>
                    <a:pt x="2060" y="182"/>
                    <a:pt x="2072" y="162"/>
                    <a:pt x="2080" y="13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000"/>
            </a:p>
          </p:txBody>
        </p:sp>
      </p:grpSp>
      <p:cxnSp>
        <p:nvCxnSpPr>
          <p:cNvPr id="20" name="Straight Connector 19"/>
          <p:cNvCxnSpPr/>
          <p:nvPr/>
        </p:nvCxnSpPr>
        <p:spPr>
          <a:xfrm>
            <a:off x="2371725" y="3478213"/>
            <a:ext cx="3888000" cy="0"/>
          </a:xfrm>
          <a:prstGeom prst="line">
            <a:avLst/>
          </a:prstGeom>
          <a:ln w="6350">
            <a:solidFill>
              <a:schemeClr val="tx2"/>
            </a:solidFill>
            <a:prstDash val="dash"/>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p:nvCxnSpPr>
        <p:spPr>
          <a:xfrm>
            <a:off x="7287766" y="3478213"/>
            <a:ext cx="3888000" cy="0"/>
          </a:xfrm>
          <a:prstGeom prst="line">
            <a:avLst/>
          </a:prstGeom>
          <a:ln w="6350">
            <a:solidFill>
              <a:schemeClr val="tx2"/>
            </a:solidFill>
            <a:prstDash val="dash"/>
          </a:ln>
        </p:spPr>
        <p:style>
          <a:lnRef idx="1">
            <a:schemeClr val="accent1"/>
          </a:lnRef>
          <a:fillRef idx="0">
            <a:schemeClr val="accent1"/>
          </a:fillRef>
          <a:effectRef idx="0">
            <a:schemeClr val="accent1"/>
          </a:effectRef>
          <a:fontRef idx="minor">
            <a:schemeClr val="tx1"/>
          </a:fontRef>
        </p:style>
      </p:cxnSp>
      <p:sp>
        <p:nvSpPr>
          <p:cNvPr id="4" name="Picture Placeholder 3"/>
          <p:cNvSpPr>
            <a:spLocks noGrp="1"/>
          </p:cNvSpPr>
          <p:nvPr>
            <p:ph type="pic" sz="quarter" idx="17" hasCustomPrompt="1"/>
          </p:nvPr>
        </p:nvSpPr>
        <p:spPr>
          <a:xfrm>
            <a:off x="2355914" y="1808984"/>
            <a:ext cx="1188677" cy="1547840"/>
          </a:xfrm>
          <a:solidFill>
            <a:srgbClr val="D9DADB"/>
          </a:solidFill>
        </p:spPr>
        <p:txBody>
          <a:bodyPr/>
          <a:lstStyle>
            <a:lvl1pPr marL="0" indent="0">
              <a:buNone/>
              <a:defRPr sz="1400"/>
            </a:lvl1pPr>
          </a:lstStyle>
          <a:p>
            <a:r>
              <a:rPr lang="en-US" dirty="0"/>
              <a:t>Insert picture</a:t>
            </a:r>
          </a:p>
        </p:txBody>
      </p:sp>
      <p:sp>
        <p:nvSpPr>
          <p:cNvPr id="25" name="Picture Placeholder 3"/>
          <p:cNvSpPr>
            <a:spLocks noGrp="1"/>
          </p:cNvSpPr>
          <p:nvPr>
            <p:ph type="pic" sz="quarter" idx="18" hasCustomPrompt="1"/>
          </p:nvPr>
        </p:nvSpPr>
        <p:spPr>
          <a:xfrm>
            <a:off x="7287766" y="1808984"/>
            <a:ext cx="1188677" cy="1547840"/>
          </a:xfrm>
          <a:solidFill>
            <a:srgbClr val="D9DADB"/>
          </a:solidFill>
        </p:spPr>
        <p:txBody>
          <a:bodyPr/>
          <a:lstStyle>
            <a:lvl1pPr marL="0" indent="0">
              <a:buNone/>
              <a:defRPr sz="1400"/>
            </a:lvl1pPr>
          </a:lstStyle>
          <a:p>
            <a:r>
              <a:rPr lang="en-US" dirty="0"/>
              <a:t>Insert picture</a:t>
            </a:r>
          </a:p>
        </p:txBody>
      </p:sp>
      <p:sp>
        <p:nvSpPr>
          <p:cNvPr id="6" name="Text Placeholder 5"/>
          <p:cNvSpPr>
            <a:spLocks noGrp="1"/>
          </p:cNvSpPr>
          <p:nvPr>
            <p:ph type="body" sz="quarter" idx="19" hasCustomPrompt="1"/>
          </p:nvPr>
        </p:nvSpPr>
        <p:spPr>
          <a:xfrm>
            <a:off x="3770065" y="1808521"/>
            <a:ext cx="2463190" cy="192360"/>
          </a:xfrm>
        </p:spPr>
        <p:txBody>
          <a:bodyPr lIns="0" tIns="0" rIns="0" bIns="0" anchor="ctr" anchorCtr="0"/>
          <a:lstStyle>
            <a:lvl1pPr marL="0" indent="0" algn="l">
              <a:lnSpc>
                <a:spcPct val="100000"/>
              </a:lnSpc>
              <a:buNone/>
              <a:defRPr sz="100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Country</a:t>
            </a:r>
          </a:p>
        </p:txBody>
      </p:sp>
      <p:sp>
        <p:nvSpPr>
          <p:cNvPr id="26" name="Text Placeholder 5"/>
          <p:cNvSpPr>
            <a:spLocks noGrp="1"/>
          </p:cNvSpPr>
          <p:nvPr>
            <p:ph type="body" sz="quarter" idx="20" hasCustomPrompt="1"/>
          </p:nvPr>
        </p:nvSpPr>
        <p:spPr>
          <a:xfrm>
            <a:off x="3770065" y="2020337"/>
            <a:ext cx="2463190" cy="266182"/>
          </a:xfrm>
        </p:spPr>
        <p:txBody>
          <a:bodyPr lIns="0" tIns="0" rIns="0" bIns="0" anchor="b" anchorCtr="0"/>
          <a:lstStyle>
            <a:lvl1pPr marL="0" indent="0" algn="l">
              <a:lnSpc>
                <a:spcPct val="100000"/>
              </a:lnSpc>
              <a:buNone/>
              <a:defRPr sz="1400" b="1" baseline="0">
                <a:solidFill>
                  <a:schemeClr val="tx2"/>
                </a:solidFill>
              </a:defRPr>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Name, Surname</a:t>
            </a:r>
          </a:p>
        </p:txBody>
      </p:sp>
      <p:sp>
        <p:nvSpPr>
          <p:cNvPr id="27" name="Text Placeholder 5"/>
          <p:cNvSpPr>
            <a:spLocks noGrp="1"/>
          </p:cNvSpPr>
          <p:nvPr>
            <p:ph type="body" sz="quarter" idx="21" hasCustomPrompt="1"/>
          </p:nvPr>
        </p:nvSpPr>
        <p:spPr>
          <a:xfrm>
            <a:off x="3770065" y="2316912"/>
            <a:ext cx="2463190"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Job Position</a:t>
            </a:r>
          </a:p>
        </p:txBody>
      </p:sp>
      <p:sp>
        <p:nvSpPr>
          <p:cNvPr id="28" name="Text Placeholder 5"/>
          <p:cNvSpPr>
            <a:spLocks noGrp="1"/>
          </p:cNvSpPr>
          <p:nvPr>
            <p:ph type="body" sz="quarter" idx="22" hasCustomPrompt="1"/>
          </p:nvPr>
        </p:nvSpPr>
        <p:spPr>
          <a:xfrm>
            <a:off x="4014948" y="2845588"/>
            <a:ext cx="2218307"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Phone number</a:t>
            </a:r>
          </a:p>
        </p:txBody>
      </p:sp>
      <p:sp>
        <p:nvSpPr>
          <p:cNvPr id="29" name="Text Placeholder 5"/>
          <p:cNvSpPr>
            <a:spLocks noGrp="1"/>
          </p:cNvSpPr>
          <p:nvPr>
            <p:ph type="body" sz="quarter" idx="23" hasCustomPrompt="1"/>
          </p:nvPr>
        </p:nvSpPr>
        <p:spPr>
          <a:xfrm>
            <a:off x="4014948" y="3128395"/>
            <a:ext cx="2218307"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Email address</a:t>
            </a:r>
          </a:p>
        </p:txBody>
      </p:sp>
      <p:sp>
        <p:nvSpPr>
          <p:cNvPr id="30" name="Text Placeholder 5"/>
          <p:cNvSpPr>
            <a:spLocks noGrp="1"/>
          </p:cNvSpPr>
          <p:nvPr>
            <p:ph type="body" sz="quarter" idx="24" hasCustomPrompt="1"/>
          </p:nvPr>
        </p:nvSpPr>
        <p:spPr>
          <a:xfrm>
            <a:off x="8701917" y="1808521"/>
            <a:ext cx="2463190" cy="192360"/>
          </a:xfrm>
        </p:spPr>
        <p:txBody>
          <a:bodyPr lIns="0" tIns="0" rIns="0" bIns="0" anchor="ctr" anchorCtr="0"/>
          <a:lstStyle>
            <a:lvl1pPr marL="0" indent="0" algn="l">
              <a:lnSpc>
                <a:spcPct val="100000"/>
              </a:lnSpc>
              <a:buNone/>
              <a:defRPr sz="100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Country</a:t>
            </a:r>
          </a:p>
        </p:txBody>
      </p:sp>
      <p:sp>
        <p:nvSpPr>
          <p:cNvPr id="31" name="Text Placeholder 5"/>
          <p:cNvSpPr>
            <a:spLocks noGrp="1"/>
          </p:cNvSpPr>
          <p:nvPr>
            <p:ph type="body" sz="quarter" idx="25" hasCustomPrompt="1"/>
          </p:nvPr>
        </p:nvSpPr>
        <p:spPr>
          <a:xfrm>
            <a:off x="8701917" y="2020337"/>
            <a:ext cx="2463190" cy="266182"/>
          </a:xfrm>
        </p:spPr>
        <p:txBody>
          <a:bodyPr lIns="0" tIns="0" rIns="0" bIns="0" anchor="b" anchorCtr="0"/>
          <a:lstStyle>
            <a:lvl1pPr marL="0" indent="0" algn="l">
              <a:lnSpc>
                <a:spcPct val="100000"/>
              </a:lnSpc>
              <a:buNone/>
              <a:defRPr sz="1400" b="1" baseline="0">
                <a:solidFill>
                  <a:schemeClr val="tx2"/>
                </a:solidFill>
              </a:defRPr>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Name, Surname</a:t>
            </a:r>
          </a:p>
        </p:txBody>
      </p:sp>
      <p:sp>
        <p:nvSpPr>
          <p:cNvPr id="32" name="Text Placeholder 5"/>
          <p:cNvSpPr>
            <a:spLocks noGrp="1"/>
          </p:cNvSpPr>
          <p:nvPr>
            <p:ph type="body" sz="quarter" idx="26" hasCustomPrompt="1"/>
          </p:nvPr>
        </p:nvSpPr>
        <p:spPr>
          <a:xfrm>
            <a:off x="8701917" y="2316912"/>
            <a:ext cx="2463190"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Job Position</a:t>
            </a:r>
          </a:p>
        </p:txBody>
      </p:sp>
      <p:sp>
        <p:nvSpPr>
          <p:cNvPr id="33" name="Text Placeholder 5"/>
          <p:cNvSpPr>
            <a:spLocks noGrp="1"/>
          </p:cNvSpPr>
          <p:nvPr>
            <p:ph type="body" sz="quarter" idx="27" hasCustomPrompt="1"/>
          </p:nvPr>
        </p:nvSpPr>
        <p:spPr>
          <a:xfrm>
            <a:off x="8946800" y="2845588"/>
            <a:ext cx="2218307"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Phone number</a:t>
            </a:r>
          </a:p>
        </p:txBody>
      </p:sp>
      <p:sp>
        <p:nvSpPr>
          <p:cNvPr id="34" name="Text Placeholder 5"/>
          <p:cNvSpPr>
            <a:spLocks noGrp="1"/>
          </p:cNvSpPr>
          <p:nvPr>
            <p:ph type="body" sz="quarter" idx="28" hasCustomPrompt="1"/>
          </p:nvPr>
        </p:nvSpPr>
        <p:spPr>
          <a:xfrm>
            <a:off x="8946800" y="3128395"/>
            <a:ext cx="2218307"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Email address</a:t>
            </a:r>
          </a:p>
        </p:txBody>
      </p:sp>
    </p:spTree>
    <p:extLst>
      <p:ext uri="{BB962C8B-B14F-4D97-AF65-F5344CB8AC3E}">
        <p14:creationId xmlns:p14="http://schemas.microsoft.com/office/powerpoint/2010/main" val="3271617437"/>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p:cSld name="Three contacts">
    <p:spTree>
      <p:nvGrpSpPr>
        <p:cNvPr id="1" name=""/>
        <p:cNvGrpSpPr/>
        <p:nvPr/>
      </p:nvGrpSpPr>
      <p:grpSpPr>
        <a:xfrm>
          <a:off x="0" y="0"/>
          <a:ext cx="0" cy="0"/>
          <a:chOff x="0" y="0"/>
          <a:chExt cx="0" cy="0"/>
        </a:xfrm>
      </p:grpSpPr>
      <p:sp>
        <p:nvSpPr>
          <p:cNvPr id="21" name="Date Placeholder 20"/>
          <p:cNvSpPr>
            <a:spLocks noGrp="1"/>
          </p:cNvSpPr>
          <p:nvPr>
            <p:ph type="dt" sz="half" idx="14"/>
          </p:nvPr>
        </p:nvSpPr>
        <p:spPr>
          <a:xfrm>
            <a:off x="192089" y="6237288"/>
            <a:ext cx="863600" cy="358173"/>
          </a:xfrm>
          <a:prstGeom prst="rect">
            <a:avLst/>
          </a:prstGeom>
        </p:spPr>
        <p:txBody>
          <a:bodyPr/>
          <a:lstStyle/>
          <a:p>
            <a:fld id="{6580B400-49DF-489E-B82C-8D138BFCC234}" type="datetime5">
              <a:rPr lang="en-US" smtClean="0"/>
              <a:t>26-Jun-20</a:t>
            </a:fld>
            <a:endParaRPr lang="en-US"/>
          </a:p>
        </p:txBody>
      </p:sp>
      <p:sp>
        <p:nvSpPr>
          <p:cNvPr id="22" name="Footer Placeholder 21"/>
          <p:cNvSpPr>
            <a:spLocks noGrp="1"/>
          </p:cNvSpPr>
          <p:nvPr>
            <p:ph type="ftr" sz="quarter" idx="15"/>
          </p:nvPr>
        </p:nvSpPr>
        <p:spPr>
          <a:xfrm>
            <a:off x="1177999" y="6237288"/>
            <a:ext cx="8162717" cy="358173"/>
          </a:xfrm>
          <a:prstGeom prst="rect">
            <a:avLst/>
          </a:prstGeom>
        </p:spPr>
        <p:txBody>
          <a:bodyPr/>
          <a:lstStyle/>
          <a:p>
            <a:r>
              <a:rPr lang="en-US"/>
              <a:t>Title of presentation (Insert / Header &amp; Footer / Apply to All)</a:t>
            </a:r>
            <a:endParaRPr lang="en-US" dirty="0"/>
          </a:p>
        </p:txBody>
      </p:sp>
      <p:sp>
        <p:nvSpPr>
          <p:cNvPr id="23" name="Slide Number Placeholder 22"/>
          <p:cNvSpPr>
            <a:spLocks noGrp="1"/>
          </p:cNvSpPr>
          <p:nvPr>
            <p:ph type="sldNum" sz="quarter" idx="16"/>
          </p:nvPr>
        </p:nvSpPr>
        <p:spPr/>
        <p:txBody>
          <a:bodyPr/>
          <a:lstStyle/>
          <a:p>
            <a:fld id="{5F3E29E4-0979-4FCA-B4C5-5FC6044C982A}" type="slidenum">
              <a:rPr lang="en-US" smtClean="0"/>
              <a:t>‹#›</a:t>
            </a:fld>
            <a:endParaRPr lang="en-US"/>
          </a:p>
        </p:txBody>
      </p:sp>
      <p:sp>
        <p:nvSpPr>
          <p:cNvPr id="2" name="Title 1"/>
          <p:cNvSpPr>
            <a:spLocks noGrp="1"/>
          </p:cNvSpPr>
          <p:nvPr>
            <p:ph type="title" hasCustomPrompt="1"/>
          </p:nvPr>
        </p:nvSpPr>
        <p:spPr/>
        <p:txBody>
          <a:bodyPr/>
          <a:lstStyle>
            <a:lvl1pPr>
              <a:defRPr/>
            </a:lvl1pPr>
          </a:lstStyle>
          <a:p>
            <a:r>
              <a:rPr lang="en-US" dirty="0"/>
              <a:t>Click to add contact title</a:t>
            </a:r>
          </a:p>
        </p:txBody>
      </p:sp>
      <p:sp>
        <p:nvSpPr>
          <p:cNvPr id="7" name="Subtitle 2"/>
          <p:cNvSpPr>
            <a:spLocks noGrp="1"/>
          </p:cNvSpPr>
          <p:nvPr>
            <p:ph type="subTitle" idx="13" hasCustomPrompt="1"/>
          </p:nvPr>
        </p:nvSpPr>
        <p:spPr>
          <a:xfrm>
            <a:off x="1075061" y="964671"/>
            <a:ext cx="7910158" cy="490042"/>
          </a:xfrm>
        </p:spPr>
        <p:txBody>
          <a:bodyPr wrap="none"/>
          <a:lstStyle>
            <a:lvl1pPr marL="0" indent="0" algn="l">
              <a:spcBef>
                <a:spcPts val="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grpSp>
        <p:nvGrpSpPr>
          <p:cNvPr id="8" name="Gruppieren 80">
            <a:extLst>
              <a:ext uri="{FF2B5EF4-FFF2-40B4-BE49-F238E27FC236}">
                <a16:creationId xmlns:a16="http://schemas.microsoft.com/office/drawing/2014/main" id="{6B969E7B-9C39-4443-9B02-74C1E7C5CCAC}"/>
              </a:ext>
            </a:extLst>
          </p:cNvPr>
          <p:cNvGrpSpPr/>
          <p:nvPr/>
        </p:nvGrpSpPr>
        <p:grpSpPr>
          <a:xfrm>
            <a:off x="3770065" y="2868319"/>
            <a:ext cx="171180" cy="171180"/>
            <a:chOff x="3392092" y="1841122"/>
            <a:chExt cx="646508" cy="646508"/>
          </a:xfrm>
        </p:grpSpPr>
        <p:sp>
          <p:nvSpPr>
            <p:cNvPr id="9" name="Rechteck 14">
              <a:extLst>
                <a:ext uri="{FF2B5EF4-FFF2-40B4-BE49-F238E27FC236}">
                  <a16:creationId xmlns:a16="http://schemas.microsoft.com/office/drawing/2014/main" id="{D78F58EA-5525-8D43-8295-FEA52ECF6BFA}"/>
                </a:ext>
              </a:extLst>
            </p:cNvPr>
            <p:cNvSpPr>
              <a:spLocks noChangeAspect="1"/>
            </p:cNvSpPr>
            <p:nvPr/>
          </p:nvSpPr>
          <p:spPr bwMode="gray">
            <a:xfrm>
              <a:off x="3392092" y="1841122"/>
              <a:ext cx="646508" cy="646508"/>
            </a:xfrm>
            <a:prstGeom prst="rect">
              <a:avLst/>
            </a:prstGeom>
            <a:solidFill>
              <a:srgbClr val="E55A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pPr>
              <a:endParaRPr lang="en-US" sz="1000" dirty="0">
                <a:solidFill>
                  <a:schemeClr val="tx1"/>
                </a:solidFill>
                <a:latin typeface="Arial" pitchFamily="34" charset="0"/>
                <a:cs typeface="Arial" pitchFamily="34" charset="0"/>
              </a:endParaRPr>
            </a:p>
          </p:txBody>
        </p:sp>
        <p:sp>
          <p:nvSpPr>
            <p:cNvPr id="10" name="Freeform 67">
              <a:extLst>
                <a:ext uri="{FF2B5EF4-FFF2-40B4-BE49-F238E27FC236}">
                  <a16:creationId xmlns:a16="http://schemas.microsoft.com/office/drawing/2014/main" id="{D01A6292-2776-4945-B828-483D79DC4908}"/>
                </a:ext>
              </a:extLst>
            </p:cNvPr>
            <p:cNvSpPr>
              <a:spLocks noChangeAspect="1"/>
            </p:cNvSpPr>
            <p:nvPr/>
          </p:nvSpPr>
          <p:spPr bwMode="auto">
            <a:xfrm>
              <a:off x="3546638" y="1970424"/>
              <a:ext cx="337415" cy="387905"/>
            </a:xfrm>
            <a:custGeom>
              <a:avLst/>
              <a:gdLst>
                <a:gd name="T0" fmla="*/ 573 w 1624"/>
                <a:gd name="T1" fmla="*/ 1257 h 1867"/>
                <a:gd name="T2" fmla="*/ 662 w 1624"/>
                <a:gd name="T3" fmla="*/ 1288 h 1867"/>
                <a:gd name="T4" fmla="*/ 938 w 1624"/>
                <a:gd name="T5" fmla="*/ 1051 h 1867"/>
                <a:gd name="T6" fmla="*/ 1106 w 1624"/>
                <a:gd name="T7" fmla="*/ 731 h 1867"/>
                <a:gd name="T8" fmla="*/ 1059 w 1624"/>
                <a:gd name="T9" fmla="*/ 645 h 1867"/>
                <a:gd name="T10" fmla="*/ 1001 w 1624"/>
                <a:gd name="T11" fmla="*/ 613 h 1867"/>
                <a:gd name="T12" fmla="*/ 924 w 1624"/>
                <a:gd name="T13" fmla="*/ 432 h 1867"/>
                <a:gd name="T14" fmla="*/ 1114 w 1624"/>
                <a:gd name="T15" fmla="*/ 81 h 1867"/>
                <a:gd name="T16" fmla="*/ 1287 w 1624"/>
                <a:gd name="T17" fmla="*/ 35 h 1867"/>
                <a:gd name="T18" fmla="*/ 1350 w 1624"/>
                <a:gd name="T19" fmla="*/ 69 h 1867"/>
                <a:gd name="T20" fmla="*/ 1527 w 1624"/>
                <a:gd name="T21" fmla="*/ 235 h 1867"/>
                <a:gd name="T22" fmla="*/ 1583 w 1624"/>
                <a:gd name="T23" fmla="*/ 555 h 1867"/>
                <a:gd name="T24" fmla="*/ 1172 w 1624"/>
                <a:gd name="T25" fmla="*/ 1253 h 1867"/>
                <a:gd name="T26" fmla="*/ 586 w 1624"/>
                <a:gd name="T27" fmla="*/ 1803 h 1867"/>
                <a:gd name="T28" fmla="*/ 269 w 1624"/>
                <a:gd name="T29" fmla="*/ 1807 h 1867"/>
                <a:gd name="T30" fmla="*/ 33 w 1624"/>
                <a:gd name="T31" fmla="*/ 1602 h 1867"/>
                <a:gd name="T32" fmla="*/ 2 w 1624"/>
                <a:gd name="T33" fmla="*/ 1508 h 1867"/>
                <a:gd name="T34" fmla="*/ 45 w 1624"/>
                <a:gd name="T35" fmla="*/ 1421 h 1867"/>
                <a:gd name="T36" fmla="*/ 346 w 1624"/>
                <a:gd name="T37" fmla="*/ 1158 h 1867"/>
                <a:gd name="T38" fmla="*/ 448 w 1624"/>
                <a:gd name="T39" fmla="*/ 1145 h 1867"/>
                <a:gd name="T40" fmla="*/ 573 w 1624"/>
                <a:gd name="T41" fmla="*/ 1257 h 18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24" h="1867">
                  <a:moveTo>
                    <a:pt x="573" y="1257"/>
                  </a:moveTo>
                  <a:cubicBezTo>
                    <a:pt x="592" y="1282"/>
                    <a:pt x="630" y="1303"/>
                    <a:pt x="662" y="1288"/>
                  </a:cubicBezTo>
                  <a:cubicBezTo>
                    <a:pt x="753" y="1245"/>
                    <a:pt x="854" y="1156"/>
                    <a:pt x="938" y="1051"/>
                  </a:cubicBezTo>
                  <a:cubicBezTo>
                    <a:pt x="1020" y="948"/>
                    <a:pt x="1084" y="831"/>
                    <a:pt x="1106" y="731"/>
                  </a:cubicBezTo>
                  <a:cubicBezTo>
                    <a:pt x="1113" y="696"/>
                    <a:pt x="1089" y="661"/>
                    <a:pt x="1059" y="645"/>
                  </a:cubicBezTo>
                  <a:cubicBezTo>
                    <a:pt x="1001" y="613"/>
                    <a:pt x="1001" y="613"/>
                    <a:pt x="1001" y="613"/>
                  </a:cubicBezTo>
                  <a:cubicBezTo>
                    <a:pt x="942" y="580"/>
                    <a:pt x="888" y="499"/>
                    <a:pt x="924" y="432"/>
                  </a:cubicBezTo>
                  <a:cubicBezTo>
                    <a:pt x="1114" y="81"/>
                    <a:pt x="1114" y="81"/>
                    <a:pt x="1114" y="81"/>
                  </a:cubicBezTo>
                  <a:cubicBezTo>
                    <a:pt x="1150" y="16"/>
                    <a:pt x="1224" y="0"/>
                    <a:pt x="1287" y="35"/>
                  </a:cubicBezTo>
                  <a:cubicBezTo>
                    <a:pt x="1350" y="69"/>
                    <a:pt x="1350" y="69"/>
                    <a:pt x="1350" y="69"/>
                  </a:cubicBezTo>
                  <a:cubicBezTo>
                    <a:pt x="1415" y="105"/>
                    <a:pt x="1479" y="165"/>
                    <a:pt x="1527" y="235"/>
                  </a:cubicBezTo>
                  <a:cubicBezTo>
                    <a:pt x="1593" y="332"/>
                    <a:pt x="1624" y="442"/>
                    <a:pt x="1583" y="555"/>
                  </a:cubicBezTo>
                  <a:cubicBezTo>
                    <a:pt x="1500" y="781"/>
                    <a:pt x="1351" y="1030"/>
                    <a:pt x="1172" y="1253"/>
                  </a:cubicBezTo>
                  <a:cubicBezTo>
                    <a:pt x="994" y="1477"/>
                    <a:pt x="786" y="1676"/>
                    <a:pt x="586" y="1803"/>
                  </a:cubicBezTo>
                  <a:cubicBezTo>
                    <a:pt x="486" y="1867"/>
                    <a:pt x="375" y="1856"/>
                    <a:pt x="269" y="1807"/>
                  </a:cubicBezTo>
                  <a:cubicBezTo>
                    <a:pt x="157" y="1755"/>
                    <a:pt x="106" y="1695"/>
                    <a:pt x="33" y="1602"/>
                  </a:cubicBezTo>
                  <a:cubicBezTo>
                    <a:pt x="11" y="1573"/>
                    <a:pt x="0" y="1540"/>
                    <a:pt x="2" y="1508"/>
                  </a:cubicBezTo>
                  <a:cubicBezTo>
                    <a:pt x="4" y="1475"/>
                    <a:pt x="18" y="1444"/>
                    <a:pt x="45" y="1421"/>
                  </a:cubicBezTo>
                  <a:cubicBezTo>
                    <a:pt x="70" y="1399"/>
                    <a:pt x="346" y="1158"/>
                    <a:pt x="346" y="1158"/>
                  </a:cubicBezTo>
                  <a:cubicBezTo>
                    <a:pt x="376" y="1134"/>
                    <a:pt x="413" y="1133"/>
                    <a:pt x="448" y="1145"/>
                  </a:cubicBezTo>
                  <a:cubicBezTo>
                    <a:pt x="510" y="1166"/>
                    <a:pt x="536" y="1210"/>
                    <a:pt x="573" y="1257"/>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351" dirty="0"/>
            </a:p>
          </p:txBody>
        </p:sp>
      </p:grpSp>
      <p:grpSp>
        <p:nvGrpSpPr>
          <p:cNvPr id="11" name="Group 3">
            <a:extLst>
              <a:ext uri="{FF2B5EF4-FFF2-40B4-BE49-F238E27FC236}">
                <a16:creationId xmlns:a16="http://schemas.microsoft.com/office/drawing/2014/main" id="{DED6A25A-5DE2-1441-8BA2-C68D3B4F9209}"/>
              </a:ext>
            </a:extLst>
          </p:cNvPr>
          <p:cNvGrpSpPr>
            <a:grpSpLocks noChangeAspect="1"/>
          </p:cNvGrpSpPr>
          <p:nvPr>
            <p:custDataLst>
              <p:tags r:id="rId1"/>
            </p:custDataLst>
          </p:nvPr>
        </p:nvGrpSpPr>
        <p:grpSpPr>
          <a:xfrm>
            <a:off x="3770066" y="3153207"/>
            <a:ext cx="171180" cy="171180"/>
            <a:chOff x="328396" y="5313940"/>
            <a:chExt cx="720000" cy="720000"/>
          </a:xfrm>
        </p:grpSpPr>
        <p:sp>
          <p:nvSpPr>
            <p:cNvPr id="12" name="Rectangle 4">
              <a:extLst>
                <a:ext uri="{FF2B5EF4-FFF2-40B4-BE49-F238E27FC236}">
                  <a16:creationId xmlns:a16="http://schemas.microsoft.com/office/drawing/2014/main" id="{5F49E67F-D4FA-9D48-96BC-59AE946ECD15}"/>
                </a:ext>
              </a:extLst>
            </p:cNvPr>
            <p:cNvSpPr/>
            <p:nvPr/>
          </p:nvSpPr>
          <p:spPr bwMode="gray">
            <a:xfrm>
              <a:off x="328396" y="5313940"/>
              <a:ext cx="720000" cy="720000"/>
            </a:xfrm>
            <a:prstGeom prst="rect">
              <a:avLst/>
            </a:prstGeom>
            <a:solidFill>
              <a:srgbClr val="E55A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pPr>
              <a:endParaRPr lang="en-US" sz="1000" dirty="0">
                <a:solidFill>
                  <a:schemeClr val="tx1"/>
                </a:solidFill>
                <a:latin typeface="Arial" pitchFamily="34" charset="0"/>
                <a:cs typeface="Arial" pitchFamily="34" charset="0"/>
              </a:endParaRPr>
            </a:p>
          </p:txBody>
        </p:sp>
        <p:sp>
          <p:nvSpPr>
            <p:cNvPr id="13" name="Freeform 76">
              <a:extLst>
                <a:ext uri="{FF2B5EF4-FFF2-40B4-BE49-F238E27FC236}">
                  <a16:creationId xmlns:a16="http://schemas.microsoft.com/office/drawing/2014/main" id="{187E70E6-AF3F-2549-908E-DF4BA61040AA}"/>
                </a:ext>
              </a:extLst>
            </p:cNvPr>
            <p:cNvSpPr>
              <a:spLocks noChangeAspect="1" noEditPoints="1"/>
            </p:cNvSpPr>
            <p:nvPr/>
          </p:nvSpPr>
          <p:spPr bwMode="auto">
            <a:xfrm>
              <a:off x="456202" y="5509222"/>
              <a:ext cx="504000" cy="329436"/>
            </a:xfrm>
            <a:custGeom>
              <a:avLst/>
              <a:gdLst>
                <a:gd name="T0" fmla="*/ 0 w 2080"/>
                <a:gd name="T1" fmla="*/ 65 h 1360"/>
                <a:gd name="T2" fmla="*/ 0 w 2080"/>
                <a:gd name="T3" fmla="*/ 0 h 1360"/>
                <a:gd name="T4" fmla="*/ 2080 w 2080"/>
                <a:gd name="T5" fmla="*/ 0 h 1360"/>
                <a:gd name="T6" fmla="*/ 2080 w 2080"/>
                <a:gd name="T7" fmla="*/ 65 h 1360"/>
                <a:gd name="T8" fmla="*/ 1089 w 2080"/>
                <a:gd name="T9" fmla="*/ 862 h 1360"/>
                <a:gd name="T10" fmla="*/ 991 w 2080"/>
                <a:gd name="T11" fmla="*/ 862 h 1360"/>
                <a:gd name="T12" fmla="*/ 0 w 2080"/>
                <a:gd name="T13" fmla="*/ 65 h 1360"/>
                <a:gd name="T14" fmla="*/ 1139 w 2080"/>
                <a:gd name="T15" fmla="*/ 924 h 1360"/>
                <a:gd name="T16" fmla="*/ 1282 w 2080"/>
                <a:gd name="T17" fmla="*/ 810 h 1360"/>
                <a:gd name="T18" fmla="*/ 2076 w 2080"/>
                <a:gd name="T19" fmla="*/ 1360 h 1360"/>
                <a:gd name="T20" fmla="*/ 4 w 2080"/>
                <a:gd name="T21" fmla="*/ 1360 h 1360"/>
                <a:gd name="T22" fmla="*/ 798 w 2080"/>
                <a:gd name="T23" fmla="*/ 810 h 1360"/>
                <a:gd name="T24" fmla="*/ 941 w 2080"/>
                <a:gd name="T25" fmla="*/ 924 h 1360"/>
                <a:gd name="T26" fmla="*/ 1139 w 2080"/>
                <a:gd name="T27" fmla="*/ 924 h 1360"/>
                <a:gd name="T28" fmla="*/ 2 w 2080"/>
                <a:gd name="T29" fmla="*/ 137 h 1360"/>
                <a:gd name="T30" fmla="*/ 42 w 2080"/>
                <a:gd name="T31" fmla="*/ 201 h 1360"/>
                <a:gd name="T32" fmla="*/ 734 w 2080"/>
                <a:gd name="T33" fmla="*/ 758 h 1360"/>
                <a:gd name="T34" fmla="*/ 0 w 2080"/>
                <a:gd name="T35" fmla="*/ 1266 h 1360"/>
                <a:gd name="T36" fmla="*/ 0 w 2080"/>
                <a:gd name="T37" fmla="*/ 135 h 1360"/>
                <a:gd name="T38" fmla="*/ 2 w 2080"/>
                <a:gd name="T39" fmla="*/ 137 h 1360"/>
                <a:gd name="T40" fmla="*/ 2080 w 2080"/>
                <a:gd name="T41" fmla="*/ 136 h 1360"/>
                <a:gd name="T42" fmla="*/ 2080 w 2080"/>
                <a:gd name="T43" fmla="*/ 1265 h 1360"/>
                <a:gd name="T44" fmla="*/ 1346 w 2080"/>
                <a:gd name="T45" fmla="*/ 758 h 1360"/>
                <a:gd name="T46" fmla="*/ 2038 w 2080"/>
                <a:gd name="T47" fmla="*/ 201 h 1360"/>
                <a:gd name="T48" fmla="*/ 2080 w 2080"/>
                <a:gd name="T49" fmla="*/ 136 h 1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080" h="1360">
                  <a:moveTo>
                    <a:pt x="0" y="65"/>
                  </a:moveTo>
                  <a:cubicBezTo>
                    <a:pt x="0" y="0"/>
                    <a:pt x="0" y="0"/>
                    <a:pt x="0" y="0"/>
                  </a:cubicBezTo>
                  <a:cubicBezTo>
                    <a:pt x="2080" y="0"/>
                    <a:pt x="2080" y="0"/>
                    <a:pt x="2080" y="0"/>
                  </a:cubicBezTo>
                  <a:cubicBezTo>
                    <a:pt x="2080" y="65"/>
                    <a:pt x="2080" y="65"/>
                    <a:pt x="2080" y="65"/>
                  </a:cubicBezTo>
                  <a:cubicBezTo>
                    <a:pt x="1089" y="862"/>
                    <a:pt x="1089" y="862"/>
                    <a:pt x="1089" y="862"/>
                  </a:cubicBezTo>
                  <a:cubicBezTo>
                    <a:pt x="1060" y="886"/>
                    <a:pt x="1020" y="886"/>
                    <a:pt x="991" y="862"/>
                  </a:cubicBezTo>
                  <a:lnTo>
                    <a:pt x="0" y="65"/>
                  </a:lnTo>
                  <a:close/>
                  <a:moveTo>
                    <a:pt x="1139" y="924"/>
                  </a:moveTo>
                  <a:cubicBezTo>
                    <a:pt x="1282" y="810"/>
                    <a:pt x="1282" y="810"/>
                    <a:pt x="1282" y="810"/>
                  </a:cubicBezTo>
                  <a:cubicBezTo>
                    <a:pt x="2076" y="1360"/>
                    <a:pt x="2076" y="1360"/>
                    <a:pt x="2076" y="1360"/>
                  </a:cubicBezTo>
                  <a:cubicBezTo>
                    <a:pt x="4" y="1360"/>
                    <a:pt x="4" y="1360"/>
                    <a:pt x="4" y="1360"/>
                  </a:cubicBezTo>
                  <a:cubicBezTo>
                    <a:pt x="798" y="810"/>
                    <a:pt x="798" y="810"/>
                    <a:pt x="798" y="810"/>
                  </a:cubicBezTo>
                  <a:cubicBezTo>
                    <a:pt x="941" y="924"/>
                    <a:pt x="941" y="924"/>
                    <a:pt x="941" y="924"/>
                  </a:cubicBezTo>
                  <a:cubicBezTo>
                    <a:pt x="1000" y="972"/>
                    <a:pt x="1080" y="972"/>
                    <a:pt x="1139" y="924"/>
                  </a:cubicBezTo>
                  <a:close/>
                  <a:moveTo>
                    <a:pt x="2" y="137"/>
                  </a:moveTo>
                  <a:cubicBezTo>
                    <a:pt x="8" y="163"/>
                    <a:pt x="22" y="185"/>
                    <a:pt x="42" y="201"/>
                  </a:cubicBezTo>
                  <a:cubicBezTo>
                    <a:pt x="734" y="758"/>
                    <a:pt x="734" y="758"/>
                    <a:pt x="734" y="758"/>
                  </a:cubicBezTo>
                  <a:cubicBezTo>
                    <a:pt x="0" y="1266"/>
                    <a:pt x="0" y="1266"/>
                    <a:pt x="0" y="1266"/>
                  </a:cubicBezTo>
                  <a:cubicBezTo>
                    <a:pt x="0" y="135"/>
                    <a:pt x="0" y="135"/>
                    <a:pt x="0" y="135"/>
                  </a:cubicBezTo>
                  <a:lnTo>
                    <a:pt x="2" y="137"/>
                  </a:lnTo>
                  <a:close/>
                  <a:moveTo>
                    <a:pt x="2080" y="136"/>
                  </a:moveTo>
                  <a:cubicBezTo>
                    <a:pt x="2080" y="1265"/>
                    <a:pt x="2080" y="1265"/>
                    <a:pt x="2080" y="1265"/>
                  </a:cubicBezTo>
                  <a:cubicBezTo>
                    <a:pt x="1346" y="758"/>
                    <a:pt x="1346" y="758"/>
                    <a:pt x="1346" y="758"/>
                  </a:cubicBezTo>
                  <a:cubicBezTo>
                    <a:pt x="2038" y="201"/>
                    <a:pt x="2038" y="201"/>
                    <a:pt x="2038" y="201"/>
                  </a:cubicBezTo>
                  <a:cubicBezTo>
                    <a:pt x="2060" y="182"/>
                    <a:pt x="2072" y="162"/>
                    <a:pt x="2080" y="13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000"/>
            </a:p>
          </p:txBody>
        </p:sp>
      </p:grpSp>
      <p:grpSp>
        <p:nvGrpSpPr>
          <p:cNvPr id="14" name="Gruppieren 2">
            <a:extLst>
              <a:ext uri="{FF2B5EF4-FFF2-40B4-BE49-F238E27FC236}">
                <a16:creationId xmlns:a16="http://schemas.microsoft.com/office/drawing/2014/main" id="{BE697CE9-EBDE-6B4A-BE70-582D92A8A831}"/>
              </a:ext>
            </a:extLst>
          </p:cNvPr>
          <p:cNvGrpSpPr/>
          <p:nvPr/>
        </p:nvGrpSpPr>
        <p:grpSpPr>
          <a:xfrm>
            <a:off x="8701917" y="2868319"/>
            <a:ext cx="171180" cy="171180"/>
            <a:chOff x="3392092" y="1841122"/>
            <a:chExt cx="646508" cy="646508"/>
          </a:xfrm>
        </p:grpSpPr>
        <p:sp>
          <p:nvSpPr>
            <p:cNvPr id="15" name="Rechteck 14">
              <a:extLst>
                <a:ext uri="{FF2B5EF4-FFF2-40B4-BE49-F238E27FC236}">
                  <a16:creationId xmlns:a16="http://schemas.microsoft.com/office/drawing/2014/main" id="{E142A731-19B7-C34D-9534-9E05108F895F}"/>
                </a:ext>
              </a:extLst>
            </p:cNvPr>
            <p:cNvSpPr>
              <a:spLocks noChangeAspect="1"/>
            </p:cNvSpPr>
            <p:nvPr/>
          </p:nvSpPr>
          <p:spPr bwMode="gray">
            <a:xfrm>
              <a:off x="3392092" y="1841122"/>
              <a:ext cx="646508" cy="646508"/>
            </a:xfrm>
            <a:prstGeom prst="rect">
              <a:avLst/>
            </a:prstGeom>
            <a:solidFill>
              <a:srgbClr val="E55A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pPr>
              <a:endParaRPr lang="en-US" sz="1000" dirty="0">
                <a:solidFill>
                  <a:schemeClr val="tx1"/>
                </a:solidFill>
                <a:latin typeface="Arial" pitchFamily="34" charset="0"/>
                <a:cs typeface="Arial" pitchFamily="34" charset="0"/>
              </a:endParaRPr>
            </a:p>
          </p:txBody>
        </p:sp>
        <p:sp>
          <p:nvSpPr>
            <p:cNvPr id="16" name="Freeform 15">
              <a:extLst>
                <a:ext uri="{FF2B5EF4-FFF2-40B4-BE49-F238E27FC236}">
                  <a16:creationId xmlns:a16="http://schemas.microsoft.com/office/drawing/2014/main" id="{F97E84AE-4AD9-4B44-9AA1-F797FC373809}"/>
                </a:ext>
              </a:extLst>
            </p:cNvPr>
            <p:cNvSpPr>
              <a:spLocks noChangeAspect="1"/>
            </p:cNvSpPr>
            <p:nvPr/>
          </p:nvSpPr>
          <p:spPr bwMode="auto">
            <a:xfrm>
              <a:off x="3546638" y="1970424"/>
              <a:ext cx="337415" cy="387905"/>
            </a:xfrm>
            <a:custGeom>
              <a:avLst/>
              <a:gdLst>
                <a:gd name="T0" fmla="*/ 573 w 1624"/>
                <a:gd name="T1" fmla="*/ 1257 h 1867"/>
                <a:gd name="T2" fmla="*/ 662 w 1624"/>
                <a:gd name="T3" fmla="*/ 1288 h 1867"/>
                <a:gd name="T4" fmla="*/ 938 w 1624"/>
                <a:gd name="T5" fmla="*/ 1051 h 1867"/>
                <a:gd name="T6" fmla="*/ 1106 w 1624"/>
                <a:gd name="T7" fmla="*/ 731 h 1867"/>
                <a:gd name="T8" fmla="*/ 1059 w 1624"/>
                <a:gd name="T9" fmla="*/ 645 h 1867"/>
                <a:gd name="T10" fmla="*/ 1001 w 1624"/>
                <a:gd name="T11" fmla="*/ 613 h 1867"/>
                <a:gd name="T12" fmla="*/ 924 w 1624"/>
                <a:gd name="T13" fmla="*/ 432 h 1867"/>
                <a:gd name="T14" fmla="*/ 1114 w 1624"/>
                <a:gd name="T15" fmla="*/ 81 h 1867"/>
                <a:gd name="T16" fmla="*/ 1287 w 1624"/>
                <a:gd name="T17" fmla="*/ 35 h 1867"/>
                <a:gd name="T18" fmla="*/ 1350 w 1624"/>
                <a:gd name="T19" fmla="*/ 69 h 1867"/>
                <a:gd name="T20" fmla="*/ 1527 w 1624"/>
                <a:gd name="T21" fmla="*/ 235 h 1867"/>
                <a:gd name="T22" fmla="*/ 1583 w 1624"/>
                <a:gd name="T23" fmla="*/ 555 h 1867"/>
                <a:gd name="T24" fmla="*/ 1172 w 1624"/>
                <a:gd name="T25" fmla="*/ 1253 h 1867"/>
                <a:gd name="T26" fmla="*/ 586 w 1624"/>
                <a:gd name="T27" fmla="*/ 1803 h 1867"/>
                <a:gd name="T28" fmla="*/ 269 w 1624"/>
                <a:gd name="T29" fmla="*/ 1807 h 1867"/>
                <a:gd name="T30" fmla="*/ 33 w 1624"/>
                <a:gd name="T31" fmla="*/ 1602 h 1867"/>
                <a:gd name="T32" fmla="*/ 2 w 1624"/>
                <a:gd name="T33" fmla="*/ 1508 h 1867"/>
                <a:gd name="T34" fmla="*/ 45 w 1624"/>
                <a:gd name="T35" fmla="*/ 1421 h 1867"/>
                <a:gd name="T36" fmla="*/ 346 w 1624"/>
                <a:gd name="T37" fmla="*/ 1158 h 1867"/>
                <a:gd name="T38" fmla="*/ 448 w 1624"/>
                <a:gd name="T39" fmla="*/ 1145 h 1867"/>
                <a:gd name="T40" fmla="*/ 573 w 1624"/>
                <a:gd name="T41" fmla="*/ 1257 h 18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24" h="1867">
                  <a:moveTo>
                    <a:pt x="573" y="1257"/>
                  </a:moveTo>
                  <a:cubicBezTo>
                    <a:pt x="592" y="1282"/>
                    <a:pt x="630" y="1303"/>
                    <a:pt x="662" y="1288"/>
                  </a:cubicBezTo>
                  <a:cubicBezTo>
                    <a:pt x="753" y="1245"/>
                    <a:pt x="854" y="1156"/>
                    <a:pt x="938" y="1051"/>
                  </a:cubicBezTo>
                  <a:cubicBezTo>
                    <a:pt x="1020" y="948"/>
                    <a:pt x="1084" y="831"/>
                    <a:pt x="1106" y="731"/>
                  </a:cubicBezTo>
                  <a:cubicBezTo>
                    <a:pt x="1113" y="696"/>
                    <a:pt x="1089" y="661"/>
                    <a:pt x="1059" y="645"/>
                  </a:cubicBezTo>
                  <a:cubicBezTo>
                    <a:pt x="1001" y="613"/>
                    <a:pt x="1001" y="613"/>
                    <a:pt x="1001" y="613"/>
                  </a:cubicBezTo>
                  <a:cubicBezTo>
                    <a:pt x="942" y="580"/>
                    <a:pt x="888" y="499"/>
                    <a:pt x="924" y="432"/>
                  </a:cubicBezTo>
                  <a:cubicBezTo>
                    <a:pt x="1114" y="81"/>
                    <a:pt x="1114" y="81"/>
                    <a:pt x="1114" y="81"/>
                  </a:cubicBezTo>
                  <a:cubicBezTo>
                    <a:pt x="1150" y="16"/>
                    <a:pt x="1224" y="0"/>
                    <a:pt x="1287" y="35"/>
                  </a:cubicBezTo>
                  <a:cubicBezTo>
                    <a:pt x="1350" y="69"/>
                    <a:pt x="1350" y="69"/>
                    <a:pt x="1350" y="69"/>
                  </a:cubicBezTo>
                  <a:cubicBezTo>
                    <a:pt x="1415" y="105"/>
                    <a:pt x="1479" y="165"/>
                    <a:pt x="1527" y="235"/>
                  </a:cubicBezTo>
                  <a:cubicBezTo>
                    <a:pt x="1593" y="332"/>
                    <a:pt x="1624" y="442"/>
                    <a:pt x="1583" y="555"/>
                  </a:cubicBezTo>
                  <a:cubicBezTo>
                    <a:pt x="1500" y="781"/>
                    <a:pt x="1351" y="1030"/>
                    <a:pt x="1172" y="1253"/>
                  </a:cubicBezTo>
                  <a:cubicBezTo>
                    <a:pt x="994" y="1477"/>
                    <a:pt x="786" y="1676"/>
                    <a:pt x="586" y="1803"/>
                  </a:cubicBezTo>
                  <a:cubicBezTo>
                    <a:pt x="486" y="1867"/>
                    <a:pt x="375" y="1856"/>
                    <a:pt x="269" y="1807"/>
                  </a:cubicBezTo>
                  <a:cubicBezTo>
                    <a:pt x="157" y="1755"/>
                    <a:pt x="106" y="1695"/>
                    <a:pt x="33" y="1602"/>
                  </a:cubicBezTo>
                  <a:cubicBezTo>
                    <a:pt x="11" y="1573"/>
                    <a:pt x="0" y="1540"/>
                    <a:pt x="2" y="1508"/>
                  </a:cubicBezTo>
                  <a:cubicBezTo>
                    <a:pt x="4" y="1475"/>
                    <a:pt x="18" y="1444"/>
                    <a:pt x="45" y="1421"/>
                  </a:cubicBezTo>
                  <a:cubicBezTo>
                    <a:pt x="70" y="1399"/>
                    <a:pt x="346" y="1158"/>
                    <a:pt x="346" y="1158"/>
                  </a:cubicBezTo>
                  <a:cubicBezTo>
                    <a:pt x="376" y="1134"/>
                    <a:pt x="413" y="1133"/>
                    <a:pt x="448" y="1145"/>
                  </a:cubicBezTo>
                  <a:cubicBezTo>
                    <a:pt x="510" y="1166"/>
                    <a:pt x="536" y="1210"/>
                    <a:pt x="573" y="1257"/>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351" dirty="0"/>
            </a:p>
          </p:txBody>
        </p:sp>
      </p:grpSp>
      <p:grpSp>
        <p:nvGrpSpPr>
          <p:cNvPr id="17" name="Group 3">
            <a:extLst>
              <a:ext uri="{FF2B5EF4-FFF2-40B4-BE49-F238E27FC236}">
                <a16:creationId xmlns:a16="http://schemas.microsoft.com/office/drawing/2014/main" id="{7104BADD-8CD1-6F4A-B894-869C3BDB3EEB}"/>
              </a:ext>
            </a:extLst>
          </p:cNvPr>
          <p:cNvGrpSpPr>
            <a:grpSpLocks noChangeAspect="1"/>
          </p:cNvGrpSpPr>
          <p:nvPr>
            <p:custDataLst>
              <p:tags r:id="rId2"/>
            </p:custDataLst>
          </p:nvPr>
        </p:nvGrpSpPr>
        <p:grpSpPr>
          <a:xfrm>
            <a:off x="8701918" y="3153207"/>
            <a:ext cx="171180" cy="171180"/>
            <a:chOff x="328396" y="5313940"/>
            <a:chExt cx="720000" cy="720000"/>
          </a:xfrm>
        </p:grpSpPr>
        <p:sp>
          <p:nvSpPr>
            <p:cNvPr id="18" name="Rectangle 4">
              <a:extLst>
                <a:ext uri="{FF2B5EF4-FFF2-40B4-BE49-F238E27FC236}">
                  <a16:creationId xmlns:a16="http://schemas.microsoft.com/office/drawing/2014/main" id="{74BE3D5F-1445-6E40-8B49-72E15568383B}"/>
                </a:ext>
              </a:extLst>
            </p:cNvPr>
            <p:cNvSpPr/>
            <p:nvPr/>
          </p:nvSpPr>
          <p:spPr bwMode="gray">
            <a:xfrm>
              <a:off x="328396" y="5313940"/>
              <a:ext cx="720000" cy="720000"/>
            </a:xfrm>
            <a:prstGeom prst="rect">
              <a:avLst/>
            </a:prstGeom>
            <a:solidFill>
              <a:srgbClr val="E55A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pPr>
              <a:endParaRPr lang="en-US" sz="1000" dirty="0">
                <a:solidFill>
                  <a:schemeClr val="tx1"/>
                </a:solidFill>
                <a:latin typeface="Arial" pitchFamily="34" charset="0"/>
                <a:cs typeface="Arial" pitchFamily="34" charset="0"/>
              </a:endParaRPr>
            </a:p>
          </p:txBody>
        </p:sp>
        <p:sp>
          <p:nvSpPr>
            <p:cNvPr id="19" name="Freeform 76">
              <a:extLst>
                <a:ext uri="{FF2B5EF4-FFF2-40B4-BE49-F238E27FC236}">
                  <a16:creationId xmlns:a16="http://schemas.microsoft.com/office/drawing/2014/main" id="{55DB3C95-7D0C-D141-901E-96D692794D2B}"/>
                </a:ext>
              </a:extLst>
            </p:cNvPr>
            <p:cNvSpPr>
              <a:spLocks noChangeAspect="1" noEditPoints="1"/>
            </p:cNvSpPr>
            <p:nvPr/>
          </p:nvSpPr>
          <p:spPr bwMode="auto">
            <a:xfrm>
              <a:off x="456202" y="5509222"/>
              <a:ext cx="504000" cy="329436"/>
            </a:xfrm>
            <a:custGeom>
              <a:avLst/>
              <a:gdLst>
                <a:gd name="T0" fmla="*/ 0 w 2080"/>
                <a:gd name="T1" fmla="*/ 65 h 1360"/>
                <a:gd name="T2" fmla="*/ 0 w 2080"/>
                <a:gd name="T3" fmla="*/ 0 h 1360"/>
                <a:gd name="T4" fmla="*/ 2080 w 2080"/>
                <a:gd name="T5" fmla="*/ 0 h 1360"/>
                <a:gd name="T6" fmla="*/ 2080 w 2080"/>
                <a:gd name="T7" fmla="*/ 65 h 1360"/>
                <a:gd name="T8" fmla="*/ 1089 w 2080"/>
                <a:gd name="T9" fmla="*/ 862 h 1360"/>
                <a:gd name="T10" fmla="*/ 991 w 2080"/>
                <a:gd name="T11" fmla="*/ 862 h 1360"/>
                <a:gd name="T12" fmla="*/ 0 w 2080"/>
                <a:gd name="T13" fmla="*/ 65 h 1360"/>
                <a:gd name="T14" fmla="*/ 1139 w 2080"/>
                <a:gd name="T15" fmla="*/ 924 h 1360"/>
                <a:gd name="T16" fmla="*/ 1282 w 2080"/>
                <a:gd name="T17" fmla="*/ 810 h 1360"/>
                <a:gd name="T18" fmla="*/ 2076 w 2080"/>
                <a:gd name="T19" fmla="*/ 1360 h 1360"/>
                <a:gd name="T20" fmla="*/ 4 w 2080"/>
                <a:gd name="T21" fmla="*/ 1360 h 1360"/>
                <a:gd name="T22" fmla="*/ 798 w 2080"/>
                <a:gd name="T23" fmla="*/ 810 h 1360"/>
                <a:gd name="T24" fmla="*/ 941 w 2080"/>
                <a:gd name="T25" fmla="*/ 924 h 1360"/>
                <a:gd name="T26" fmla="*/ 1139 w 2080"/>
                <a:gd name="T27" fmla="*/ 924 h 1360"/>
                <a:gd name="T28" fmla="*/ 2 w 2080"/>
                <a:gd name="T29" fmla="*/ 137 h 1360"/>
                <a:gd name="T30" fmla="*/ 42 w 2080"/>
                <a:gd name="T31" fmla="*/ 201 h 1360"/>
                <a:gd name="T32" fmla="*/ 734 w 2080"/>
                <a:gd name="T33" fmla="*/ 758 h 1360"/>
                <a:gd name="T34" fmla="*/ 0 w 2080"/>
                <a:gd name="T35" fmla="*/ 1266 h 1360"/>
                <a:gd name="T36" fmla="*/ 0 w 2080"/>
                <a:gd name="T37" fmla="*/ 135 h 1360"/>
                <a:gd name="T38" fmla="*/ 2 w 2080"/>
                <a:gd name="T39" fmla="*/ 137 h 1360"/>
                <a:gd name="T40" fmla="*/ 2080 w 2080"/>
                <a:gd name="T41" fmla="*/ 136 h 1360"/>
                <a:gd name="T42" fmla="*/ 2080 w 2080"/>
                <a:gd name="T43" fmla="*/ 1265 h 1360"/>
                <a:gd name="T44" fmla="*/ 1346 w 2080"/>
                <a:gd name="T45" fmla="*/ 758 h 1360"/>
                <a:gd name="T46" fmla="*/ 2038 w 2080"/>
                <a:gd name="T47" fmla="*/ 201 h 1360"/>
                <a:gd name="T48" fmla="*/ 2080 w 2080"/>
                <a:gd name="T49" fmla="*/ 136 h 1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080" h="1360">
                  <a:moveTo>
                    <a:pt x="0" y="65"/>
                  </a:moveTo>
                  <a:cubicBezTo>
                    <a:pt x="0" y="0"/>
                    <a:pt x="0" y="0"/>
                    <a:pt x="0" y="0"/>
                  </a:cubicBezTo>
                  <a:cubicBezTo>
                    <a:pt x="2080" y="0"/>
                    <a:pt x="2080" y="0"/>
                    <a:pt x="2080" y="0"/>
                  </a:cubicBezTo>
                  <a:cubicBezTo>
                    <a:pt x="2080" y="65"/>
                    <a:pt x="2080" y="65"/>
                    <a:pt x="2080" y="65"/>
                  </a:cubicBezTo>
                  <a:cubicBezTo>
                    <a:pt x="1089" y="862"/>
                    <a:pt x="1089" y="862"/>
                    <a:pt x="1089" y="862"/>
                  </a:cubicBezTo>
                  <a:cubicBezTo>
                    <a:pt x="1060" y="886"/>
                    <a:pt x="1020" y="886"/>
                    <a:pt x="991" y="862"/>
                  </a:cubicBezTo>
                  <a:lnTo>
                    <a:pt x="0" y="65"/>
                  </a:lnTo>
                  <a:close/>
                  <a:moveTo>
                    <a:pt x="1139" y="924"/>
                  </a:moveTo>
                  <a:cubicBezTo>
                    <a:pt x="1282" y="810"/>
                    <a:pt x="1282" y="810"/>
                    <a:pt x="1282" y="810"/>
                  </a:cubicBezTo>
                  <a:cubicBezTo>
                    <a:pt x="2076" y="1360"/>
                    <a:pt x="2076" y="1360"/>
                    <a:pt x="2076" y="1360"/>
                  </a:cubicBezTo>
                  <a:cubicBezTo>
                    <a:pt x="4" y="1360"/>
                    <a:pt x="4" y="1360"/>
                    <a:pt x="4" y="1360"/>
                  </a:cubicBezTo>
                  <a:cubicBezTo>
                    <a:pt x="798" y="810"/>
                    <a:pt x="798" y="810"/>
                    <a:pt x="798" y="810"/>
                  </a:cubicBezTo>
                  <a:cubicBezTo>
                    <a:pt x="941" y="924"/>
                    <a:pt x="941" y="924"/>
                    <a:pt x="941" y="924"/>
                  </a:cubicBezTo>
                  <a:cubicBezTo>
                    <a:pt x="1000" y="972"/>
                    <a:pt x="1080" y="972"/>
                    <a:pt x="1139" y="924"/>
                  </a:cubicBezTo>
                  <a:close/>
                  <a:moveTo>
                    <a:pt x="2" y="137"/>
                  </a:moveTo>
                  <a:cubicBezTo>
                    <a:pt x="8" y="163"/>
                    <a:pt x="22" y="185"/>
                    <a:pt x="42" y="201"/>
                  </a:cubicBezTo>
                  <a:cubicBezTo>
                    <a:pt x="734" y="758"/>
                    <a:pt x="734" y="758"/>
                    <a:pt x="734" y="758"/>
                  </a:cubicBezTo>
                  <a:cubicBezTo>
                    <a:pt x="0" y="1266"/>
                    <a:pt x="0" y="1266"/>
                    <a:pt x="0" y="1266"/>
                  </a:cubicBezTo>
                  <a:cubicBezTo>
                    <a:pt x="0" y="135"/>
                    <a:pt x="0" y="135"/>
                    <a:pt x="0" y="135"/>
                  </a:cubicBezTo>
                  <a:lnTo>
                    <a:pt x="2" y="137"/>
                  </a:lnTo>
                  <a:close/>
                  <a:moveTo>
                    <a:pt x="2080" y="136"/>
                  </a:moveTo>
                  <a:cubicBezTo>
                    <a:pt x="2080" y="1265"/>
                    <a:pt x="2080" y="1265"/>
                    <a:pt x="2080" y="1265"/>
                  </a:cubicBezTo>
                  <a:cubicBezTo>
                    <a:pt x="1346" y="758"/>
                    <a:pt x="1346" y="758"/>
                    <a:pt x="1346" y="758"/>
                  </a:cubicBezTo>
                  <a:cubicBezTo>
                    <a:pt x="2038" y="201"/>
                    <a:pt x="2038" y="201"/>
                    <a:pt x="2038" y="201"/>
                  </a:cubicBezTo>
                  <a:cubicBezTo>
                    <a:pt x="2060" y="182"/>
                    <a:pt x="2072" y="162"/>
                    <a:pt x="2080" y="13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000"/>
            </a:p>
          </p:txBody>
        </p:sp>
      </p:grpSp>
      <p:cxnSp>
        <p:nvCxnSpPr>
          <p:cNvPr id="20" name="Straight Connector 19"/>
          <p:cNvCxnSpPr/>
          <p:nvPr/>
        </p:nvCxnSpPr>
        <p:spPr>
          <a:xfrm>
            <a:off x="2371725" y="3478213"/>
            <a:ext cx="3888000" cy="0"/>
          </a:xfrm>
          <a:prstGeom prst="line">
            <a:avLst/>
          </a:prstGeom>
          <a:ln w="6350">
            <a:solidFill>
              <a:schemeClr val="tx2"/>
            </a:solidFill>
            <a:prstDash val="dash"/>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p:nvCxnSpPr>
        <p:spPr>
          <a:xfrm>
            <a:off x="7287766" y="3478213"/>
            <a:ext cx="3888000" cy="0"/>
          </a:xfrm>
          <a:prstGeom prst="line">
            <a:avLst/>
          </a:prstGeom>
          <a:ln w="6350">
            <a:solidFill>
              <a:schemeClr val="tx2"/>
            </a:solidFill>
            <a:prstDash val="dash"/>
          </a:ln>
        </p:spPr>
        <p:style>
          <a:lnRef idx="1">
            <a:schemeClr val="accent1"/>
          </a:lnRef>
          <a:fillRef idx="0">
            <a:schemeClr val="accent1"/>
          </a:fillRef>
          <a:effectRef idx="0">
            <a:schemeClr val="accent1"/>
          </a:effectRef>
          <a:fontRef idx="minor">
            <a:schemeClr val="tx1"/>
          </a:fontRef>
        </p:style>
      </p:cxnSp>
      <p:sp>
        <p:nvSpPr>
          <p:cNvPr id="4" name="Picture Placeholder 3"/>
          <p:cNvSpPr>
            <a:spLocks noGrp="1"/>
          </p:cNvSpPr>
          <p:nvPr>
            <p:ph type="pic" sz="quarter" idx="17" hasCustomPrompt="1"/>
          </p:nvPr>
        </p:nvSpPr>
        <p:spPr>
          <a:xfrm>
            <a:off x="2355914" y="1808984"/>
            <a:ext cx="1188677" cy="1547840"/>
          </a:xfrm>
          <a:solidFill>
            <a:srgbClr val="D9DADB"/>
          </a:solidFill>
        </p:spPr>
        <p:txBody>
          <a:bodyPr/>
          <a:lstStyle>
            <a:lvl1pPr marL="0" indent="0">
              <a:buNone/>
              <a:defRPr sz="1400"/>
            </a:lvl1pPr>
          </a:lstStyle>
          <a:p>
            <a:r>
              <a:rPr lang="en-US" dirty="0"/>
              <a:t>Insert picture</a:t>
            </a:r>
          </a:p>
        </p:txBody>
      </p:sp>
      <p:sp>
        <p:nvSpPr>
          <p:cNvPr id="25" name="Picture Placeholder 3"/>
          <p:cNvSpPr>
            <a:spLocks noGrp="1"/>
          </p:cNvSpPr>
          <p:nvPr>
            <p:ph type="pic" sz="quarter" idx="18" hasCustomPrompt="1"/>
          </p:nvPr>
        </p:nvSpPr>
        <p:spPr>
          <a:xfrm>
            <a:off x="7287766" y="1808984"/>
            <a:ext cx="1188677" cy="1547840"/>
          </a:xfrm>
          <a:solidFill>
            <a:srgbClr val="D9DADB"/>
          </a:solidFill>
        </p:spPr>
        <p:txBody>
          <a:bodyPr/>
          <a:lstStyle>
            <a:lvl1pPr marL="0" indent="0">
              <a:buNone/>
              <a:defRPr sz="1400"/>
            </a:lvl1pPr>
          </a:lstStyle>
          <a:p>
            <a:r>
              <a:rPr lang="en-US" dirty="0"/>
              <a:t>Insert picture</a:t>
            </a:r>
          </a:p>
        </p:txBody>
      </p:sp>
      <p:sp>
        <p:nvSpPr>
          <p:cNvPr id="6" name="Text Placeholder 5"/>
          <p:cNvSpPr>
            <a:spLocks noGrp="1"/>
          </p:cNvSpPr>
          <p:nvPr>
            <p:ph type="body" sz="quarter" idx="19" hasCustomPrompt="1"/>
          </p:nvPr>
        </p:nvSpPr>
        <p:spPr>
          <a:xfrm>
            <a:off x="3770065" y="1808521"/>
            <a:ext cx="2463190" cy="192360"/>
          </a:xfrm>
        </p:spPr>
        <p:txBody>
          <a:bodyPr lIns="0" tIns="0" rIns="0" bIns="0" anchor="ctr" anchorCtr="0"/>
          <a:lstStyle>
            <a:lvl1pPr marL="0" indent="0" algn="l">
              <a:lnSpc>
                <a:spcPct val="100000"/>
              </a:lnSpc>
              <a:buNone/>
              <a:defRPr sz="100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Country</a:t>
            </a:r>
          </a:p>
        </p:txBody>
      </p:sp>
      <p:sp>
        <p:nvSpPr>
          <p:cNvPr id="26" name="Text Placeholder 5"/>
          <p:cNvSpPr>
            <a:spLocks noGrp="1"/>
          </p:cNvSpPr>
          <p:nvPr>
            <p:ph type="body" sz="quarter" idx="20" hasCustomPrompt="1"/>
          </p:nvPr>
        </p:nvSpPr>
        <p:spPr>
          <a:xfrm>
            <a:off x="3770065" y="2020337"/>
            <a:ext cx="2463190" cy="266182"/>
          </a:xfrm>
        </p:spPr>
        <p:txBody>
          <a:bodyPr lIns="0" tIns="0" rIns="0" bIns="0" anchor="b" anchorCtr="0"/>
          <a:lstStyle>
            <a:lvl1pPr marL="0" indent="0" algn="l">
              <a:lnSpc>
                <a:spcPct val="100000"/>
              </a:lnSpc>
              <a:buNone/>
              <a:defRPr sz="1400" b="1" baseline="0">
                <a:solidFill>
                  <a:schemeClr val="tx2"/>
                </a:solidFill>
              </a:defRPr>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Name, Surname</a:t>
            </a:r>
          </a:p>
        </p:txBody>
      </p:sp>
      <p:sp>
        <p:nvSpPr>
          <p:cNvPr id="27" name="Text Placeholder 5"/>
          <p:cNvSpPr>
            <a:spLocks noGrp="1"/>
          </p:cNvSpPr>
          <p:nvPr>
            <p:ph type="body" sz="quarter" idx="21" hasCustomPrompt="1"/>
          </p:nvPr>
        </p:nvSpPr>
        <p:spPr>
          <a:xfrm>
            <a:off x="3770065" y="2316912"/>
            <a:ext cx="2463190"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Job Position</a:t>
            </a:r>
          </a:p>
        </p:txBody>
      </p:sp>
      <p:sp>
        <p:nvSpPr>
          <p:cNvPr id="28" name="Text Placeholder 5"/>
          <p:cNvSpPr>
            <a:spLocks noGrp="1"/>
          </p:cNvSpPr>
          <p:nvPr>
            <p:ph type="body" sz="quarter" idx="22" hasCustomPrompt="1"/>
          </p:nvPr>
        </p:nvSpPr>
        <p:spPr>
          <a:xfrm>
            <a:off x="4014948" y="2845588"/>
            <a:ext cx="2218307"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Phone number</a:t>
            </a:r>
          </a:p>
        </p:txBody>
      </p:sp>
      <p:sp>
        <p:nvSpPr>
          <p:cNvPr id="29" name="Text Placeholder 5"/>
          <p:cNvSpPr>
            <a:spLocks noGrp="1"/>
          </p:cNvSpPr>
          <p:nvPr>
            <p:ph type="body" sz="quarter" idx="23" hasCustomPrompt="1"/>
          </p:nvPr>
        </p:nvSpPr>
        <p:spPr>
          <a:xfrm>
            <a:off x="4014948" y="3128395"/>
            <a:ext cx="2218307"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Email address</a:t>
            </a:r>
          </a:p>
        </p:txBody>
      </p:sp>
      <p:sp>
        <p:nvSpPr>
          <p:cNvPr id="30" name="Text Placeholder 5"/>
          <p:cNvSpPr>
            <a:spLocks noGrp="1"/>
          </p:cNvSpPr>
          <p:nvPr>
            <p:ph type="body" sz="quarter" idx="24" hasCustomPrompt="1"/>
          </p:nvPr>
        </p:nvSpPr>
        <p:spPr>
          <a:xfrm>
            <a:off x="8701917" y="1808521"/>
            <a:ext cx="2463190" cy="192360"/>
          </a:xfrm>
        </p:spPr>
        <p:txBody>
          <a:bodyPr lIns="0" tIns="0" rIns="0" bIns="0" anchor="ctr" anchorCtr="0"/>
          <a:lstStyle>
            <a:lvl1pPr marL="0" indent="0" algn="l">
              <a:lnSpc>
                <a:spcPct val="100000"/>
              </a:lnSpc>
              <a:buNone/>
              <a:defRPr sz="100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Country</a:t>
            </a:r>
          </a:p>
        </p:txBody>
      </p:sp>
      <p:sp>
        <p:nvSpPr>
          <p:cNvPr id="31" name="Text Placeholder 5"/>
          <p:cNvSpPr>
            <a:spLocks noGrp="1"/>
          </p:cNvSpPr>
          <p:nvPr>
            <p:ph type="body" sz="quarter" idx="25" hasCustomPrompt="1"/>
          </p:nvPr>
        </p:nvSpPr>
        <p:spPr>
          <a:xfrm>
            <a:off x="8701917" y="2020337"/>
            <a:ext cx="2463190" cy="266182"/>
          </a:xfrm>
        </p:spPr>
        <p:txBody>
          <a:bodyPr lIns="0" tIns="0" rIns="0" bIns="0" anchor="b" anchorCtr="0"/>
          <a:lstStyle>
            <a:lvl1pPr marL="0" indent="0" algn="l">
              <a:lnSpc>
                <a:spcPct val="100000"/>
              </a:lnSpc>
              <a:buNone/>
              <a:defRPr sz="1400" b="1" baseline="0">
                <a:solidFill>
                  <a:schemeClr val="tx2"/>
                </a:solidFill>
              </a:defRPr>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Name, Surname</a:t>
            </a:r>
          </a:p>
        </p:txBody>
      </p:sp>
      <p:sp>
        <p:nvSpPr>
          <p:cNvPr id="32" name="Text Placeholder 5"/>
          <p:cNvSpPr>
            <a:spLocks noGrp="1"/>
          </p:cNvSpPr>
          <p:nvPr>
            <p:ph type="body" sz="quarter" idx="26" hasCustomPrompt="1"/>
          </p:nvPr>
        </p:nvSpPr>
        <p:spPr>
          <a:xfrm>
            <a:off x="8701917" y="2316912"/>
            <a:ext cx="2463190"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Job Position</a:t>
            </a:r>
          </a:p>
        </p:txBody>
      </p:sp>
      <p:sp>
        <p:nvSpPr>
          <p:cNvPr id="33" name="Text Placeholder 5"/>
          <p:cNvSpPr>
            <a:spLocks noGrp="1"/>
          </p:cNvSpPr>
          <p:nvPr>
            <p:ph type="body" sz="quarter" idx="27" hasCustomPrompt="1"/>
          </p:nvPr>
        </p:nvSpPr>
        <p:spPr>
          <a:xfrm>
            <a:off x="8946800" y="2845588"/>
            <a:ext cx="2218307"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Phone number</a:t>
            </a:r>
          </a:p>
        </p:txBody>
      </p:sp>
      <p:sp>
        <p:nvSpPr>
          <p:cNvPr id="34" name="Text Placeholder 5"/>
          <p:cNvSpPr>
            <a:spLocks noGrp="1"/>
          </p:cNvSpPr>
          <p:nvPr>
            <p:ph type="body" sz="quarter" idx="28" hasCustomPrompt="1"/>
          </p:nvPr>
        </p:nvSpPr>
        <p:spPr>
          <a:xfrm>
            <a:off x="8946800" y="3128395"/>
            <a:ext cx="2218307"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Email address</a:t>
            </a:r>
          </a:p>
        </p:txBody>
      </p:sp>
      <p:grpSp>
        <p:nvGrpSpPr>
          <p:cNvPr id="35" name="Gruppieren 2">
            <a:extLst>
              <a:ext uri="{FF2B5EF4-FFF2-40B4-BE49-F238E27FC236}">
                <a16:creationId xmlns:a16="http://schemas.microsoft.com/office/drawing/2014/main" id="{BE697CE9-EBDE-6B4A-BE70-582D92A8A831}"/>
              </a:ext>
            </a:extLst>
          </p:cNvPr>
          <p:cNvGrpSpPr/>
          <p:nvPr/>
        </p:nvGrpSpPr>
        <p:grpSpPr>
          <a:xfrm>
            <a:off x="3770065" y="5045939"/>
            <a:ext cx="171180" cy="171180"/>
            <a:chOff x="3392092" y="1841122"/>
            <a:chExt cx="646508" cy="646508"/>
          </a:xfrm>
        </p:grpSpPr>
        <p:sp>
          <p:nvSpPr>
            <p:cNvPr id="36" name="Rechteck 14">
              <a:extLst>
                <a:ext uri="{FF2B5EF4-FFF2-40B4-BE49-F238E27FC236}">
                  <a16:creationId xmlns:a16="http://schemas.microsoft.com/office/drawing/2014/main" id="{E142A731-19B7-C34D-9534-9E05108F895F}"/>
                </a:ext>
              </a:extLst>
            </p:cNvPr>
            <p:cNvSpPr>
              <a:spLocks noChangeAspect="1"/>
            </p:cNvSpPr>
            <p:nvPr/>
          </p:nvSpPr>
          <p:spPr bwMode="gray">
            <a:xfrm>
              <a:off x="3392092" y="1841122"/>
              <a:ext cx="646508" cy="646508"/>
            </a:xfrm>
            <a:prstGeom prst="rect">
              <a:avLst/>
            </a:prstGeom>
            <a:solidFill>
              <a:srgbClr val="E55A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pPr>
              <a:endParaRPr lang="en-US" sz="1000" dirty="0">
                <a:solidFill>
                  <a:schemeClr val="tx1"/>
                </a:solidFill>
                <a:latin typeface="Arial" pitchFamily="34" charset="0"/>
                <a:cs typeface="Arial" pitchFamily="34" charset="0"/>
              </a:endParaRPr>
            </a:p>
          </p:txBody>
        </p:sp>
        <p:sp>
          <p:nvSpPr>
            <p:cNvPr id="37" name="Freeform 36">
              <a:extLst>
                <a:ext uri="{FF2B5EF4-FFF2-40B4-BE49-F238E27FC236}">
                  <a16:creationId xmlns:a16="http://schemas.microsoft.com/office/drawing/2014/main" id="{F97E84AE-4AD9-4B44-9AA1-F797FC373809}"/>
                </a:ext>
              </a:extLst>
            </p:cNvPr>
            <p:cNvSpPr>
              <a:spLocks noChangeAspect="1"/>
            </p:cNvSpPr>
            <p:nvPr/>
          </p:nvSpPr>
          <p:spPr bwMode="auto">
            <a:xfrm>
              <a:off x="3546638" y="1970424"/>
              <a:ext cx="337415" cy="387905"/>
            </a:xfrm>
            <a:custGeom>
              <a:avLst/>
              <a:gdLst>
                <a:gd name="T0" fmla="*/ 573 w 1624"/>
                <a:gd name="T1" fmla="*/ 1257 h 1867"/>
                <a:gd name="T2" fmla="*/ 662 w 1624"/>
                <a:gd name="T3" fmla="*/ 1288 h 1867"/>
                <a:gd name="T4" fmla="*/ 938 w 1624"/>
                <a:gd name="T5" fmla="*/ 1051 h 1867"/>
                <a:gd name="T6" fmla="*/ 1106 w 1624"/>
                <a:gd name="T7" fmla="*/ 731 h 1867"/>
                <a:gd name="T8" fmla="*/ 1059 w 1624"/>
                <a:gd name="T9" fmla="*/ 645 h 1867"/>
                <a:gd name="T10" fmla="*/ 1001 w 1624"/>
                <a:gd name="T11" fmla="*/ 613 h 1867"/>
                <a:gd name="T12" fmla="*/ 924 w 1624"/>
                <a:gd name="T13" fmla="*/ 432 h 1867"/>
                <a:gd name="T14" fmla="*/ 1114 w 1624"/>
                <a:gd name="T15" fmla="*/ 81 h 1867"/>
                <a:gd name="T16" fmla="*/ 1287 w 1624"/>
                <a:gd name="T17" fmla="*/ 35 h 1867"/>
                <a:gd name="T18" fmla="*/ 1350 w 1624"/>
                <a:gd name="T19" fmla="*/ 69 h 1867"/>
                <a:gd name="T20" fmla="*/ 1527 w 1624"/>
                <a:gd name="T21" fmla="*/ 235 h 1867"/>
                <a:gd name="T22" fmla="*/ 1583 w 1624"/>
                <a:gd name="T23" fmla="*/ 555 h 1867"/>
                <a:gd name="T24" fmla="*/ 1172 w 1624"/>
                <a:gd name="T25" fmla="*/ 1253 h 1867"/>
                <a:gd name="T26" fmla="*/ 586 w 1624"/>
                <a:gd name="T27" fmla="*/ 1803 h 1867"/>
                <a:gd name="T28" fmla="*/ 269 w 1624"/>
                <a:gd name="T29" fmla="*/ 1807 h 1867"/>
                <a:gd name="T30" fmla="*/ 33 w 1624"/>
                <a:gd name="T31" fmla="*/ 1602 h 1867"/>
                <a:gd name="T32" fmla="*/ 2 w 1624"/>
                <a:gd name="T33" fmla="*/ 1508 h 1867"/>
                <a:gd name="T34" fmla="*/ 45 w 1624"/>
                <a:gd name="T35" fmla="*/ 1421 h 1867"/>
                <a:gd name="T36" fmla="*/ 346 w 1624"/>
                <a:gd name="T37" fmla="*/ 1158 h 1867"/>
                <a:gd name="T38" fmla="*/ 448 w 1624"/>
                <a:gd name="T39" fmla="*/ 1145 h 1867"/>
                <a:gd name="T40" fmla="*/ 573 w 1624"/>
                <a:gd name="T41" fmla="*/ 1257 h 18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24" h="1867">
                  <a:moveTo>
                    <a:pt x="573" y="1257"/>
                  </a:moveTo>
                  <a:cubicBezTo>
                    <a:pt x="592" y="1282"/>
                    <a:pt x="630" y="1303"/>
                    <a:pt x="662" y="1288"/>
                  </a:cubicBezTo>
                  <a:cubicBezTo>
                    <a:pt x="753" y="1245"/>
                    <a:pt x="854" y="1156"/>
                    <a:pt x="938" y="1051"/>
                  </a:cubicBezTo>
                  <a:cubicBezTo>
                    <a:pt x="1020" y="948"/>
                    <a:pt x="1084" y="831"/>
                    <a:pt x="1106" y="731"/>
                  </a:cubicBezTo>
                  <a:cubicBezTo>
                    <a:pt x="1113" y="696"/>
                    <a:pt x="1089" y="661"/>
                    <a:pt x="1059" y="645"/>
                  </a:cubicBezTo>
                  <a:cubicBezTo>
                    <a:pt x="1001" y="613"/>
                    <a:pt x="1001" y="613"/>
                    <a:pt x="1001" y="613"/>
                  </a:cubicBezTo>
                  <a:cubicBezTo>
                    <a:pt x="942" y="580"/>
                    <a:pt x="888" y="499"/>
                    <a:pt x="924" y="432"/>
                  </a:cubicBezTo>
                  <a:cubicBezTo>
                    <a:pt x="1114" y="81"/>
                    <a:pt x="1114" y="81"/>
                    <a:pt x="1114" y="81"/>
                  </a:cubicBezTo>
                  <a:cubicBezTo>
                    <a:pt x="1150" y="16"/>
                    <a:pt x="1224" y="0"/>
                    <a:pt x="1287" y="35"/>
                  </a:cubicBezTo>
                  <a:cubicBezTo>
                    <a:pt x="1350" y="69"/>
                    <a:pt x="1350" y="69"/>
                    <a:pt x="1350" y="69"/>
                  </a:cubicBezTo>
                  <a:cubicBezTo>
                    <a:pt x="1415" y="105"/>
                    <a:pt x="1479" y="165"/>
                    <a:pt x="1527" y="235"/>
                  </a:cubicBezTo>
                  <a:cubicBezTo>
                    <a:pt x="1593" y="332"/>
                    <a:pt x="1624" y="442"/>
                    <a:pt x="1583" y="555"/>
                  </a:cubicBezTo>
                  <a:cubicBezTo>
                    <a:pt x="1500" y="781"/>
                    <a:pt x="1351" y="1030"/>
                    <a:pt x="1172" y="1253"/>
                  </a:cubicBezTo>
                  <a:cubicBezTo>
                    <a:pt x="994" y="1477"/>
                    <a:pt x="786" y="1676"/>
                    <a:pt x="586" y="1803"/>
                  </a:cubicBezTo>
                  <a:cubicBezTo>
                    <a:pt x="486" y="1867"/>
                    <a:pt x="375" y="1856"/>
                    <a:pt x="269" y="1807"/>
                  </a:cubicBezTo>
                  <a:cubicBezTo>
                    <a:pt x="157" y="1755"/>
                    <a:pt x="106" y="1695"/>
                    <a:pt x="33" y="1602"/>
                  </a:cubicBezTo>
                  <a:cubicBezTo>
                    <a:pt x="11" y="1573"/>
                    <a:pt x="0" y="1540"/>
                    <a:pt x="2" y="1508"/>
                  </a:cubicBezTo>
                  <a:cubicBezTo>
                    <a:pt x="4" y="1475"/>
                    <a:pt x="18" y="1444"/>
                    <a:pt x="45" y="1421"/>
                  </a:cubicBezTo>
                  <a:cubicBezTo>
                    <a:pt x="70" y="1399"/>
                    <a:pt x="346" y="1158"/>
                    <a:pt x="346" y="1158"/>
                  </a:cubicBezTo>
                  <a:cubicBezTo>
                    <a:pt x="376" y="1134"/>
                    <a:pt x="413" y="1133"/>
                    <a:pt x="448" y="1145"/>
                  </a:cubicBezTo>
                  <a:cubicBezTo>
                    <a:pt x="510" y="1166"/>
                    <a:pt x="536" y="1210"/>
                    <a:pt x="573" y="1257"/>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351" dirty="0"/>
            </a:p>
          </p:txBody>
        </p:sp>
      </p:grpSp>
      <p:grpSp>
        <p:nvGrpSpPr>
          <p:cNvPr id="38" name="Group 3">
            <a:extLst>
              <a:ext uri="{FF2B5EF4-FFF2-40B4-BE49-F238E27FC236}">
                <a16:creationId xmlns:a16="http://schemas.microsoft.com/office/drawing/2014/main" id="{7104BADD-8CD1-6F4A-B894-869C3BDB3EEB}"/>
              </a:ext>
            </a:extLst>
          </p:cNvPr>
          <p:cNvGrpSpPr>
            <a:grpSpLocks noChangeAspect="1"/>
          </p:cNvGrpSpPr>
          <p:nvPr>
            <p:custDataLst>
              <p:tags r:id="rId3"/>
            </p:custDataLst>
          </p:nvPr>
        </p:nvGrpSpPr>
        <p:grpSpPr>
          <a:xfrm>
            <a:off x="3770066" y="5330827"/>
            <a:ext cx="171180" cy="171180"/>
            <a:chOff x="328396" y="5313940"/>
            <a:chExt cx="720000" cy="720000"/>
          </a:xfrm>
        </p:grpSpPr>
        <p:sp>
          <p:nvSpPr>
            <p:cNvPr id="39" name="Rectangle 4">
              <a:extLst>
                <a:ext uri="{FF2B5EF4-FFF2-40B4-BE49-F238E27FC236}">
                  <a16:creationId xmlns:a16="http://schemas.microsoft.com/office/drawing/2014/main" id="{74BE3D5F-1445-6E40-8B49-72E15568383B}"/>
                </a:ext>
              </a:extLst>
            </p:cNvPr>
            <p:cNvSpPr/>
            <p:nvPr/>
          </p:nvSpPr>
          <p:spPr bwMode="gray">
            <a:xfrm>
              <a:off x="328396" y="5313940"/>
              <a:ext cx="720000" cy="720000"/>
            </a:xfrm>
            <a:prstGeom prst="rect">
              <a:avLst/>
            </a:prstGeom>
            <a:solidFill>
              <a:srgbClr val="E55A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pPr>
              <a:endParaRPr lang="en-US" sz="1000" dirty="0">
                <a:solidFill>
                  <a:schemeClr val="tx1"/>
                </a:solidFill>
                <a:latin typeface="Arial" pitchFamily="34" charset="0"/>
                <a:cs typeface="Arial" pitchFamily="34" charset="0"/>
              </a:endParaRPr>
            </a:p>
          </p:txBody>
        </p:sp>
        <p:sp>
          <p:nvSpPr>
            <p:cNvPr id="40" name="Freeform 76">
              <a:extLst>
                <a:ext uri="{FF2B5EF4-FFF2-40B4-BE49-F238E27FC236}">
                  <a16:creationId xmlns:a16="http://schemas.microsoft.com/office/drawing/2014/main" id="{55DB3C95-7D0C-D141-901E-96D692794D2B}"/>
                </a:ext>
              </a:extLst>
            </p:cNvPr>
            <p:cNvSpPr>
              <a:spLocks noChangeAspect="1" noEditPoints="1"/>
            </p:cNvSpPr>
            <p:nvPr/>
          </p:nvSpPr>
          <p:spPr bwMode="auto">
            <a:xfrm>
              <a:off x="456202" y="5509222"/>
              <a:ext cx="504000" cy="329436"/>
            </a:xfrm>
            <a:custGeom>
              <a:avLst/>
              <a:gdLst>
                <a:gd name="T0" fmla="*/ 0 w 2080"/>
                <a:gd name="T1" fmla="*/ 65 h 1360"/>
                <a:gd name="T2" fmla="*/ 0 w 2080"/>
                <a:gd name="T3" fmla="*/ 0 h 1360"/>
                <a:gd name="T4" fmla="*/ 2080 w 2080"/>
                <a:gd name="T5" fmla="*/ 0 h 1360"/>
                <a:gd name="T6" fmla="*/ 2080 w 2080"/>
                <a:gd name="T7" fmla="*/ 65 h 1360"/>
                <a:gd name="T8" fmla="*/ 1089 w 2080"/>
                <a:gd name="T9" fmla="*/ 862 h 1360"/>
                <a:gd name="T10" fmla="*/ 991 w 2080"/>
                <a:gd name="T11" fmla="*/ 862 h 1360"/>
                <a:gd name="T12" fmla="*/ 0 w 2080"/>
                <a:gd name="T13" fmla="*/ 65 h 1360"/>
                <a:gd name="T14" fmla="*/ 1139 w 2080"/>
                <a:gd name="T15" fmla="*/ 924 h 1360"/>
                <a:gd name="T16" fmla="*/ 1282 w 2080"/>
                <a:gd name="T17" fmla="*/ 810 h 1360"/>
                <a:gd name="T18" fmla="*/ 2076 w 2080"/>
                <a:gd name="T19" fmla="*/ 1360 h 1360"/>
                <a:gd name="T20" fmla="*/ 4 w 2080"/>
                <a:gd name="T21" fmla="*/ 1360 h 1360"/>
                <a:gd name="T22" fmla="*/ 798 w 2080"/>
                <a:gd name="T23" fmla="*/ 810 h 1360"/>
                <a:gd name="T24" fmla="*/ 941 w 2080"/>
                <a:gd name="T25" fmla="*/ 924 h 1360"/>
                <a:gd name="T26" fmla="*/ 1139 w 2080"/>
                <a:gd name="T27" fmla="*/ 924 h 1360"/>
                <a:gd name="T28" fmla="*/ 2 w 2080"/>
                <a:gd name="T29" fmla="*/ 137 h 1360"/>
                <a:gd name="T30" fmla="*/ 42 w 2080"/>
                <a:gd name="T31" fmla="*/ 201 h 1360"/>
                <a:gd name="T32" fmla="*/ 734 w 2080"/>
                <a:gd name="T33" fmla="*/ 758 h 1360"/>
                <a:gd name="T34" fmla="*/ 0 w 2080"/>
                <a:gd name="T35" fmla="*/ 1266 h 1360"/>
                <a:gd name="T36" fmla="*/ 0 w 2080"/>
                <a:gd name="T37" fmla="*/ 135 h 1360"/>
                <a:gd name="T38" fmla="*/ 2 w 2080"/>
                <a:gd name="T39" fmla="*/ 137 h 1360"/>
                <a:gd name="T40" fmla="*/ 2080 w 2080"/>
                <a:gd name="T41" fmla="*/ 136 h 1360"/>
                <a:gd name="T42" fmla="*/ 2080 w 2080"/>
                <a:gd name="T43" fmla="*/ 1265 h 1360"/>
                <a:gd name="T44" fmla="*/ 1346 w 2080"/>
                <a:gd name="T45" fmla="*/ 758 h 1360"/>
                <a:gd name="T46" fmla="*/ 2038 w 2080"/>
                <a:gd name="T47" fmla="*/ 201 h 1360"/>
                <a:gd name="T48" fmla="*/ 2080 w 2080"/>
                <a:gd name="T49" fmla="*/ 136 h 1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080" h="1360">
                  <a:moveTo>
                    <a:pt x="0" y="65"/>
                  </a:moveTo>
                  <a:cubicBezTo>
                    <a:pt x="0" y="0"/>
                    <a:pt x="0" y="0"/>
                    <a:pt x="0" y="0"/>
                  </a:cubicBezTo>
                  <a:cubicBezTo>
                    <a:pt x="2080" y="0"/>
                    <a:pt x="2080" y="0"/>
                    <a:pt x="2080" y="0"/>
                  </a:cubicBezTo>
                  <a:cubicBezTo>
                    <a:pt x="2080" y="65"/>
                    <a:pt x="2080" y="65"/>
                    <a:pt x="2080" y="65"/>
                  </a:cubicBezTo>
                  <a:cubicBezTo>
                    <a:pt x="1089" y="862"/>
                    <a:pt x="1089" y="862"/>
                    <a:pt x="1089" y="862"/>
                  </a:cubicBezTo>
                  <a:cubicBezTo>
                    <a:pt x="1060" y="886"/>
                    <a:pt x="1020" y="886"/>
                    <a:pt x="991" y="862"/>
                  </a:cubicBezTo>
                  <a:lnTo>
                    <a:pt x="0" y="65"/>
                  </a:lnTo>
                  <a:close/>
                  <a:moveTo>
                    <a:pt x="1139" y="924"/>
                  </a:moveTo>
                  <a:cubicBezTo>
                    <a:pt x="1282" y="810"/>
                    <a:pt x="1282" y="810"/>
                    <a:pt x="1282" y="810"/>
                  </a:cubicBezTo>
                  <a:cubicBezTo>
                    <a:pt x="2076" y="1360"/>
                    <a:pt x="2076" y="1360"/>
                    <a:pt x="2076" y="1360"/>
                  </a:cubicBezTo>
                  <a:cubicBezTo>
                    <a:pt x="4" y="1360"/>
                    <a:pt x="4" y="1360"/>
                    <a:pt x="4" y="1360"/>
                  </a:cubicBezTo>
                  <a:cubicBezTo>
                    <a:pt x="798" y="810"/>
                    <a:pt x="798" y="810"/>
                    <a:pt x="798" y="810"/>
                  </a:cubicBezTo>
                  <a:cubicBezTo>
                    <a:pt x="941" y="924"/>
                    <a:pt x="941" y="924"/>
                    <a:pt x="941" y="924"/>
                  </a:cubicBezTo>
                  <a:cubicBezTo>
                    <a:pt x="1000" y="972"/>
                    <a:pt x="1080" y="972"/>
                    <a:pt x="1139" y="924"/>
                  </a:cubicBezTo>
                  <a:close/>
                  <a:moveTo>
                    <a:pt x="2" y="137"/>
                  </a:moveTo>
                  <a:cubicBezTo>
                    <a:pt x="8" y="163"/>
                    <a:pt x="22" y="185"/>
                    <a:pt x="42" y="201"/>
                  </a:cubicBezTo>
                  <a:cubicBezTo>
                    <a:pt x="734" y="758"/>
                    <a:pt x="734" y="758"/>
                    <a:pt x="734" y="758"/>
                  </a:cubicBezTo>
                  <a:cubicBezTo>
                    <a:pt x="0" y="1266"/>
                    <a:pt x="0" y="1266"/>
                    <a:pt x="0" y="1266"/>
                  </a:cubicBezTo>
                  <a:cubicBezTo>
                    <a:pt x="0" y="135"/>
                    <a:pt x="0" y="135"/>
                    <a:pt x="0" y="135"/>
                  </a:cubicBezTo>
                  <a:lnTo>
                    <a:pt x="2" y="137"/>
                  </a:lnTo>
                  <a:close/>
                  <a:moveTo>
                    <a:pt x="2080" y="136"/>
                  </a:moveTo>
                  <a:cubicBezTo>
                    <a:pt x="2080" y="1265"/>
                    <a:pt x="2080" y="1265"/>
                    <a:pt x="2080" y="1265"/>
                  </a:cubicBezTo>
                  <a:cubicBezTo>
                    <a:pt x="1346" y="758"/>
                    <a:pt x="1346" y="758"/>
                    <a:pt x="1346" y="758"/>
                  </a:cubicBezTo>
                  <a:cubicBezTo>
                    <a:pt x="2038" y="201"/>
                    <a:pt x="2038" y="201"/>
                    <a:pt x="2038" y="201"/>
                  </a:cubicBezTo>
                  <a:cubicBezTo>
                    <a:pt x="2060" y="182"/>
                    <a:pt x="2072" y="162"/>
                    <a:pt x="2080" y="13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000"/>
            </a:p>
          </p:txBody>
        </p:sp>
      </p:grpSp>
      <p:cxnSp>
        <p:nvCxnSpPr>
          <p:cNvPr id="41" name="Straight Connector 40"/>
          <p:cNvCxnSpPr/>
          <p:nvPr/>
        </p:nvCxnSpPr>
        <p:spPr>
          <a:xfrm>
            <a:off x="2355914" y="5655833"/>
            <a:ext cx="3888000" cy="0"/>
          </a:xfrm>
          <a:prstGeom prst="line">
            <a:avLst/>
          </a:prstGeom>
          <a:ln w="6350">
            <a:solidFill>
              <a:schemeClr val="tx2"/>
            </a:solidFill>
            <a:prstDash val="dash"/>
          </a:ln>
        </p:spPr>
        <p:style>
          <a:lnRef idx="1">
            <a:schemeClr val="accent1"/>
          </a:lnRef>
          <a:fillRef idx="0">
            <a:schemeClr val="accent1"/>
          </a:fillRef>
          <a:effectRef idx="0">
            <a:schemeClr val="accent1"/>
          </a:effectRef>
          <a:fontRef idx="minor">
            <a:schemeClr val="tx1"/>
          </a:fontRef>
        </p:style>
      </p:cxnSp>
      <p:sp>
        <p:nvSpPr>
          <p:cNvPr id="42" name="Picture Placeholder 3"/>
          <p:cNvSpPr>
            <a:spLocks noGrp="1"/>
          </p:cNvSpPr>
          <p:nvPr>
            <p:ph type="pic" sz="quarter" idx="29" hasCustomPrompt="1"/>
          </p:nvPr>
        </p:nvSpPr>
        <p:spPr>
          <a:xfrm>
            <a:off x="2355914" y="3986604"/>
            <a:ext cx="1188677" cy="1547840"/>
          </a:xfrm>
          <a:solidFill>
            <a:srgbClr val="D9DADB"/>
          </a:solidFill>
        </p:spPr>
        <p:txBody>
          <a:bodyPr/>
          <a:lstStyle>
            <a:lvl1pPr marL="0" indent="0">
              <a:buNone/>
              <a:defRPr sz="1400"/>
            </a:lvl1pPr>
          </a:lstStyle>
          <a:p>
            <a:r>
              <a:rPr lang="en-US" dirty="0"/>
              <a:t>Insert picture</a:t>
            </a:r>
          </a:p>
        </p:txBody>
      </p:sp>
      <p:sp>
        <p:nvSpPr>
          <p:cNvPr id="43" name="Text Placeholder 5"/>
          <p:cNvSpPr>
            <a:spLocks noGrp="1"/>
          </p:cNvSpPr>
          <p:nvPr>
            <p:ph type="body" sz="quarter" idx="30" hasCustomPrompt="1"/>
          </p:nvPr>
        </p:nvSpPr>
        <p:spPr>
          <a:xfrm>
            <a:off x="3770065" y="3986141"/>
            <a:ext cx="2463190" cy="192360"/>
          </a:xfrm>
        </p:spPr>
        <p:txBody>
          <a:bodyPr lIns="0" tIns="0" rIns="0" bIns="0" anchor="ctr" anchorCtr="0"/>
          <a:lstStyle>
            <a:lvl1pPr marL="0" indent="0" algn="l">
              <a:lnSpc>
                <a:spcPct val="100000"/>
              </a:lnSpc>
              <a:buNone/>
              <a:defRPr sz="100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Country</a:t>
            </a:r>
          </a:p>
        </p:txBody>
      </p:sp>
      <p:sp>
        <p:nvSpPr>
          <p:cNvPr id="44" name="Text Placeholder 5"/>
          <p:cNvSpPr>
            <a:spLocks noGrp="1"/>
          </p:cNvSpPr>
          <p:nvPr>
            <p:ph type="body" sz="quarter" idx="31" hasCustomPrompt="1"/>
          </p:nvPr>
        </p:nvSpPr>
        <p:spPr>
          <a:xfrm>
            <a:off x="3770065" y="4197957"/>
            <a:ext cx="2463190" cy="266182"/>
          </a:xfrm>
        </p:spPr>
        <p:txBody>
          <a:bodyPr lIns="0" tIns="0" rIns="0" bIns="0" anchor="b" anchorCtr="0"/>
          <a:lstStyle>
            <a:lvl1pPr marL="0" indent="0" algn="l">
              <a:lnSpc>
                <a:spcPct val="100000"/>
              </a:lnSpc>
              <a:buNone/>
              <a:defRPr sz="1400" b="1" baseline="0">
                <a:solidFill>
                  <a:schemeClr val="tx2"/>
                </a:solidFill>
              </a:defRPr>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Name, Surname</a:t>
            </a:r>
          </a:p>
        </p:txBody>
      </p:sp>
      <p:sp>
        <p:nvSpPr>
          <p:cNvPr id="45" name="Text Placeholder 5"/>
          <p:cNvSpPr>
            <a:spLocks noGrp="1"/>
          </p:cNvSpPr>
          <p:nvPr>
            <p:ph type="body" sz="quarter" idx="32" hasCustomPrompt="1"/>
          </p:nvPr>
        </p:nvSpPr>
        <p:spPr>
          <a:xfrm>
            <a:off x="3770065" y="4494532"/>
            <a:ext cx="2463190"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Job Position</a:t>
            </a:r>
          </a:p>
        </p:txBody>
      </p:sp>
      <p:sp>
        <p:nvSpPr>
          <p:cNvPr id="46" name="Text Placeholder 5"/>
          <p:cNvSpPr>
            <a:spLocks noGrp="1"/>
          </p:cNvSpPr>
          <p:nvPr>
            <p:ph type="body" sz="quarter" idx="33" hasCustomPrompt="1"/>
          </p:nvPr>
        </p:nvSpPr>
        <p:spPr>
          <a:xfrm>
            <a:off x="4014948" y="5023208"/>
            <a:ext cx="2218307"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Phone number</a:t>
            </a:r>
          </a:p>
        </p:txBody>
      </p:sp>
      <p:sp>
        <p:nvSpPr>
          <p:cNvPr id="47" name="Text Placeholder 5"/>
          <p:cNvSpPr>
            <a:spLocks noGrp="1"/>
          </p:cNvSpPr>
          <p:nvPr>
            <p:ph type="body" sz="quarter" idx="34" hasCustomPrompt="1"/>
          </p:nvPr>
        </p:nvSpPr>
        <p:spPr>
          <a:xfrm>
            <a:off x="4014948" y="5306015"/>
            <a:ext cx="2218307"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Email address</a:t>
            </a:r>
          </a:p>
        </p:txBody>
      </p:sp>
    </p:spTree>
    <p:extLst>
      <p:ext uri="{BB962C8B-B14F-4D97-AF65-F5344CB8AC3E}">
        <p14:creationId xmlns:p14="http://schemas.microsoft.com/office/powerpoint/2010/main" val="1649852490"/>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p:cSld name="Four contacts">
    <p:spTree>
      <p:nvGrpSpPr>
        <p:cNvPr id="1" name=""/>
        <p:cNvGrpSpPr/>
        <p:nvPr/>
      </p:nvGrpSpPr>
      <p:grpSpPr>
        <a:xfrm>
          <a:off x="0" y="0"/>
          <a:ext cx="0" cy="0"/>
          <a:chOff x="0" y="0"/>
          <a:chExt cx="0" cy="0"/>
        </a:xfrm>
      </p:grpSpPr>
      <p:sp>
        <p:nvSpPr>
          <p:cNvPr id="21" name="Date Placeholder 20"/>
          <p:cNvSpPr>
            <a:spLocks noGrp="1"/>
          </p:cNvSpPr>
          <p:nvPr>
            <p:ph type="dt" sz="half" idx="14"/>
          </p:nvPr>
        </p:nvSpPr>
        <p:spPr>
          <a:xfrm>
            <a:off x="192089" y="6237288"/>
            <a:ext cx="863600" cy="358173"/>
          </a:xfrm>
          <a:prstGeom prst="rect">
            <a:avLst/>
          </a:prstGeom>
        </p:spPr>
        <p:txBody>
          <a:bodyPr/>
          <a:lstStyle/>
          <a:p>
            <a:fld id="{279C7CF9-AE45-4637-9DF5-AFC713D6D2FE}" type="datetime5">
              <a:rPr lang="en-US" smtClean="0"/>
              <a:t>26-Jun-20</a:t>
            </a:fld>
            <a:endParaRPr lang="en-US"/>
          </a:p>
        </p:txBody>
      </p:sp>
      <p:sp>
        <p:nvSpPr>
          <p:cNvPr id="22" name="Footer Placeholder 21"/>
          <p:cNvSpPr>
            <a:spLocks noGrp="1"/>
          </p:cNvSpPr>
          <p:nvPr>
            <p:ph type="ftr" sz="quarter" idx="15"/>
          </p:nvPr>
        </p:nvSpPr>
        <p:spPr>
          <a:xfrm>
            <a:off x="1177999" y="6237288"/>
            <a:ext cx="8162717" cy="358173"/>
          </a:xfrm>
          <a:prstGeom prst="rect">
            <a:avLst/>
          </a:prstGeom>
        </p:spPr>
        <p:txBody>
          <a:bodyPr/>
          <a:lstStyle/>
          <a:p>
            <a:r>
              <a:rPr lang="en-US"/>
              <a:t>Title of presentation (Insert / Header &amp; Footer / Apply to All)</a:t>
            </a:r>
            <a:endParaRPr lang="en-US" dirty="0"/>
          </a:p>
        </p:txBody>
      </p:sp>
      <p:sp>
        <p:nvSpPr>
          <p:cNvPr id="23" name="Slide Number Placeholder 22"/>
          <p:cNvSpPr>
            <a:spLocks noGrp="1"/>
          </p:cNvSpPr>
          <p:nvPr>
            <p:ph type="sldNum" sz="quarter" idx="16"/>
          </p:nvPr>
        </p:nvSpPr>
        <p:spPr/>
        <p:txBody>
          <a:bodyPr/>
          <a:lstStyle/>
          <a:p>
            <a:fld id="{5F3E29E4-0979-4FCA-B4C5-5FC6044C982A}" type="slidenum">
              <a:rPr lang="en-US" smtClean="0"/>
              <a:t>‹#›</a:t>
            </a:fld>
            <a:endParaRPr lang="en-US"/>
          </a:p>
        </p:txBody>
      </p:sp>
      <p:sp>
        <p:nvSpPr>
          <p:cNvPr id="2" name="Title 1"/>
          <p:cNvSpPr>
            <a:spLocks noGrp="1"/>
          </p:cNvSpPr>
          <p:nvPr>
            <p:ph type="title" hasCustomPrompt="1"/>
          </p:nvPr>
        </p:nvSpPr>
        <p:spPr/>
        <p:txBody>
          <a:bodyPr/>
          <a:lstStyle>
            <a:lvl1pPr>
              <a:defRPr/>
            </a:lvl1pPr>
          </a:lstStyle>
          <a:p>
            <a:r>
              <a:rPr lang="en-US" dirty="0"/>
              <a:t>Click to add contact title</a:t>
            </a:r>
          </a:p>
        </p:txBody>
      </p:sp>
      <p:sp>
        <p:nvSpPr>
          <p:cNvPr id="7" name="Subtitle 2"/>
          <p:cNvSpPr>
            <a:spLocks noGrp="1"/>
          </p:cNvSpPr>
          <p:nvPr>
            <p:ph type="subTitle" idx="13" hasCustomPrompt="1"/>
          </p:nvPr>
        </p:nvSpPr>
        <p:spPr>
          <a:xfrm>
            <a:off x="1075061" y="964671"/>
            <a:ext cx="7910158" cy="490042"/>
          </a:xfrm>
        </p:spPr>
        <p:txBody>
          <a:bodyPr wrap="none"/>
          <a:lstStyle>
            <a:lvl1pPr marL="0" indent="0" algn="l">
              <a:spcBef>
                <a:spcPts val="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grpSp>
        <p:nvGrpSpPr>
          <p:cNvPr id="8" name="Gruppieren 80">
            <a:extLst>
              <a:ext uri="{FF2B5EF4-FFF2-40B4-BE49-F238E27FC236}">
                <a16:creationId xmlns:a16="http://schemas.microsoft.com/office/drawing/2014/main" id="{6B969E7B-9C39-4443-9B02-74C1E7C5CCAC}"/>
              </a:ext>
            </a:extLst>
          </p:cNvPr>
          <p:cNvGrpSpPr/>
          <p:nvPr/>
        </p:nvGrpSpPr>
        <p:grpSpPr>
          <a:xfrm>
            <a:off x="3770065" y="2868319"/>
            <a:ext cx="171180" cy="171180"/>
            <a:chOff x="3392092" y="1841122"/>
            <a:chExt cx="646508" cy="646508"/>
          </a:xfrm>
        </p:grpSpPr>
        <p:sp>
          <p:nvSpPr>
            <p:cNvPr id="9" name="Rechteck 14">
              <a:extLst>
                <a:ext uri="{FF2B5EF4-FFF2-40B4-BE49-F238E27FC236}">
                  <a16:creationId xmlns:a16="http://schemas.microsoft.com/office/drawing/2014/main" id="{D78F58EA-5525-8D43-8295-FEA52ECF6BFA}"/>
                </a:ext>
              </a:extLst>
            </p:cNvPr>
            <p:cNvSpPr>
              <a:spLocks noChangeAspect="1"/>
            </p:cNvSpPr>
            <p:nvPr/>
          </p:nvSpPr>
          <p:spPr bwMode="gray">
            <a:xfrm>
              <a:off x="3392092" y="1841122"/>
              <a:ext cx="646508" cy="646508"/>
            </a:xfrm>
            <a:prstGeom prst="rect">
              <a:avLst/>
            </a:prstGeom>
            <a:solidFill>
              <a:srgbClr val="E55A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pPr>
              <a:endParaRPr lang="en-US" sz="1000" dirty="0">
                <a:solidFill>
                  <a:schemeClr val="tx1"/>
                </a:solidFill>
                <a:latin typeface="Arial" pitchFamily="34" charset="0"/>
                <a:cs typeface="Arial" pitchFamily="34" charset="0"/>
              </a:endParaRPr>
            </a:p>
          </p:txBody>
        </p:sp>
        <p:sp>
          <p:nvSpPr>
            <p:cNvPr id="10" name="Freeform 67">
              <a:extLst>
                <a:ext uri="{FF2B5EF4-FFF2-40B4-BE49-F238E27FC236}">
                  <a16:creationId xmlns:a16="http://schemas.microsoft.com/office/drawing/2014/main" id="{D01A6292-2776-4945-B828-483D79DC4908}"/>
                </a:ext>
              </a:extLst>
            </p:cNvPr>
            <p:cNvSpPr>
              <a:spLocks noChangeAspect="1"/>
            </p:cNvSpPr>
            <p:nvPr/>
          </p:nvSpPr>
          <p:spPr bwMode="auto">
            <a:xfrm>
              <a:off x="3546638" y="1970424"/>
              <a:ext cx="337415" cy="387905"/>
            </a:xfrm>
            <a:custGeom>
              <a:avLst/>
              <a:gdLst>
                <a:gd name="T0" fmla="*/ 573 w 1624"/>
                <a:gd name="T1" fmla="*/ 1257 h 1867"/>
                <a:gd name="T2" fmla="*/ 662 w 1624"/>
                <a:gd name="T3" fmla="*/ 1288 h 1867"/>
                <a:gd name="T4" fmla="*/ 938 w 1624"/>
                <a:gd name="T5" fmla="*/ 1051 h 1867"/>
                <a:gd name="T6" fmla="*/ 1106 w 1624"/>
                <a:gd name="T7" fmla="*/ 731 h 1867"/>
                <a:gd name="T8" fmla="*/ 1059 w 1624"/>
                <a:gd name="T9" fmla="*/ 645 h 1867"/>
                <a:gd name="T10" fmla="*/ 1001 w 1624"/>
                <a:gd name="T11" fmla="*/ 613 h 1867"/>
                <a:gd name="T12" fmla="*/ 924 w 1624"/>
                <a:gd name="T13" fmla="*/ 432 h 1867"/>
                <a:gd name="T14" fmla="*/ 1114 w 1624"/>
                <a:gd name="T15" fmla="*/ 81 h 1867"/>
                <a:gd name="T16" fmla="*/ 1287 w 1624"/>
                <a:gd name="T17" fmla="*/ 35 h 1867"/>
                <a:gd name="T18" fmla="*/ 1350 w 1624"/>
                <a:gd name="T19" fmla="*/ 69 h 1867"/>
                <a:gd name="T20" fmla="*/ 1527 w 1624"/>
                <a:gd name="T21" fmla="*/ 235 h 1867"/>
                <a:gd name="T22" fmla="*/ 1583 w 1624"/>
                <a:gd name="T23" fmla="*/ 555 h 1867"/>
                <a:gd name="T24" fmla="*/ 1172 w 1624"/>
                <a:gd name="T25" fmla="*/ 1253 h 1867"/>
                <a:gd name="T26" fmla="*/ 586 w 1624"/>
                <a:gd name="T27" fmla="*/ 1803 h 1867"/>
                <a:gd name="T28" fmla="*/ 269 w 1624"/>
                <a:gd name="T29" fmla="*/ 1807 h 1867"/>
                <a:gd name="T30" fmla="*/ 33 w 1624"/>
                <a:gd name="T31" fmla="*/ 1602 h 1867"/>
                <a:gd name="T32" fmla="*/ 2 w 1624"/>
                <a:gd name="T33" fmla="*/ 1508 h 1867"/>
                <a:gd name="T34" fmla="*/ 45 w 1624"/>
                <a:gd name="T35" fmla="*/ 1421 h 1867"/>
                <a:gd name="T36" fmla="*/ 346 w 1624"/>
                <a:gd name="T37" fmla="*/ 1158 h 1867"/>
                <a:gd name="T38" fmla="*/ 448 w 1624"/>
                <a:gd name="T39" fmla="*/ 1145 h 1867"/>
                <a:gd name="T40" fmla="*/ 573 w 1624"/>
                <a:gd name="T41" fmla="*/ 1257 h 18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24" h="1867">
                  <a:moveTo>
                    <a:pt x="573" y="1257"/>
                  </a:moveTo>
                  <a:cubicBezTo>
                    <a:pt x="592" y="1282"/>
                    <a:pt x="630" y="1303"/>
                    <a:pt x="662" y="1288"/>
                  </a:cubicBezTo>
                  <a:cubicBezTo>
                    <a:pt x="753" y="1245"/>
                    <a:pt x="854" y="1156"/>
                    <a:pt x="938" y="1051"/>
                  </a:cubicBezTo>
                  <a:cubicBezTo>
                    <a:pt x="1020" y="948"/>
                    <a:pt x="1084" y="831"/>
                    <a:pt x="1106" y="731"/>
                  </a:cubicBezTo>
                  <a:cubicBezTo>
                    <a:pt x="1113" y="696"/>
                    <a:pt x="1089" y="661"/>
                    <a:pt x="1059" y="645"/>
                  </a:cubicBezTo>
                  <a:cubicBezTo>
                    <a:pt x="1001" y="613"/>
                    <a:pt x="1001" y="613"/>
                    <a:pt x="1001" y="613"/>
                  </a:cubicBezTo>
                  <a:cubicBezTo>
                    <a:pt x="942" y="580"/>
                    <a:pt x="888" y="499"/>
                    <a:pt x="924" y="432"/>
                  </a:cubicBezTo>
                  <a:cubicBezTo>
                    <a:pt x="1114" y="81"/>
                    <a:pt x="1114" y="81"/>
                    <a:pt x="1114" y="81"/>
                  </a:cubicBezTo>
                  <a:cubicBezTo>
                    <a:pt x="1150" y="16"/>
                    <a:pt x="1224" y="0"/>
                    <a:pt x="1287" y="35"/>
                  </a:cubicBezTo>
                  <a:cubicBezTo>
                    <a:pt x="1350" y="69"/>
                    <a:pt x="1350" y="69"/>
                    <a:pt x="1350" y="69"/>
                  </a:cubicBezTo>
                  <a:cubicBezTo>
                    <a:pt x="1415" y="105"/>
                    <a:pt x="1479" y="165"/>
                    <a:pt x="1527" y="235"/>
                  </a:cubicBezTo>
                  <a:cubicBezTo>
                    <a:pt x="1593" y="332"/>
                    <a:pt x="1624" y="442"/>
                    <a:pt x="1583" y="555"/>
                  </a:cubicBezTo>
                  <a:cubicBezTo>
                    <a:pt x="1500" y="781"/>
                    <a:pt x="1351" y="1030"/>
                    <a:pt x="1172" y="1253"/>
                  </a:cubicBezTo>
                  <a:cubicBezTo>
                    <a:pt x="994" y="1477"/>
                    <a:pt x="786" y="1676"/>
                    <a:pt x="586" y="1803"/>
                  </a:cubicBezTo>
                  <a:cubicBezTo>
                    <a:pt x="486" y="1867"/>
                    <a:pt x="375" y="1856"/>
                    <a:pt x="269" y="1807"/>
                  </a:cubicBezTo>
                  <a:cubicBezTo>
                    <a:pt x="157" y="1755"/>
                    <a:pt x="106" y="1695"/>
                    <a:pt x="33" y="1602"/>
                  </a:cubicBezTo>
                  <a:cubicBezTo>
                    <a:pt x="11" y="1573"/>
                    <a:pt x="0" y="1540"/>
                    <a:pt x="2" y="1508"/>
                  </a:cubicBezTo>
                  <a:cubicBezTo>
                    <a:pt x="4" y="1475"/>
                    <a:pt x="18" y="1444"/>
                    <a:pt x="45" y="1421"/>
                  </a:cubicBezTo>
                  <a:cubicBezTo>
                    <a:pt x="70" y="1399"/>
                    <a:pt x="346" y="1158"/>
                    <a:pt x="346" y="1158"/>
                  </a:cubicBezTo>
                  <a:cubicBezTo>
                    <a:pt x="376" y="1134"/>
                    <a:pt x="413" y="1133"/>
                    <a:pt x="448" y="1145"/>
                  </a:cubicBezTo>
                  <a:cubicBezTo>
                    <a:pt x="510" y="1166"/>
                    <a:pt x="536" y="1210"/>
                    <a:pt x="573" y="1257"/>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351" dirty="0"/>
            </a:p>
          </p:txBody>
        </p:sp>
      </p:grpSp>
      <p:grpSp>
        <p:nvGrpSpPr>
          <p:cNvPr id="11" name="Group 3">
            <a:extLst>
              <a:ext uri="{FF2B5EF4-FFF2-40B4-BE49-F238E27FC236}">
                <a16:creationId xmlns:a16="http://schemas.microsoft.com/office/drawing/2014/main" id="{DED6A25A-5DE2-1441-8BA2-C68D3B4F9209}"/>
              </a:ext>
            </a:extLst>
          </p:cNvPr>
          <p:cNvGrpSpPr>
            <a:grpSpLocks noChangeAspect="1"/>
          </p:cNvGrpSpPr>
          <p:nvPr>
            <p:custDataLst>
              <p:tags r:id="rId1"/>
            </p:custDataLst>
          </p:nvPr>
        </p:nvGrpSpPr>
        <p:grpSpPr>
          <a:xfrm>
            <a:off x="3770066" y="3153207"/>
            <a:ext cx="171180" cy="171180"/>
            <a:chOff x="328396" y="5313940"/>
            <a:chExt cx="720000" cy="720000"/>
          </a:xfrm>
        </p:grpSpPr>
        <p:sp>
          <p:nvSpPr>
            <p:cNvPr id="12" name="Rectangle 4">
              <a:extLst>
                <a:ext uri="{FF2B5EF4-FFF2-40B4-BE49-F238E27FC236}">
                  <a16:creationId xmlns:a16="http://schemas.microsoft.com/office/drawing/2014/main" id="{5F49E67F-D4FA-9D48-96BC-59AE946ECD15}"/>
                </a:ext>
              </a:extLst>
            </p:cNvPr>
            <p:cNvSpPr/>
            <p:nvPr/>
          </p:nvSpPr>
          <p:spPr bwMode="gray">
            <a:xfrm>
              <a:off x="328396" y="5313940"/>
              <a:ext cx="720000" cy="720000"/>
            </a:xfrm>
            <a:prstGeom prst="rect">
              <a:avLst/>
            </a:prstGeom>
            <a:solidFill>
              <a:srgbClr val="E55A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pPr>
              <a:endParaRPr lang="en-US" sz="1000" dirty="0">
                <a:solidFill>
                  <a:schemeClr val="tx1"/>
                </a:solidFill>
                <a:latin typeface="Arial" pitchFamily="34" charset="0"/>
                <a:cs typeface="Arial" pitchFamily="34" charset="0"/>
              </a:endParaRPr>
            </a:p>
          </p:txBody>
        </p:sp>
        <p:sp>
          <p:nvSpPr>
            <p:cNvPr id="13" name="Freeform 76">
              <a:extLst>
                <a:ext uri="{FF2B5EF4-FFF2-40B4-BE49-F238E27FC236}">
                  <a16:creationId xmlns:a16="http://schemas.microsoft.com/office/drawing/2014/main" id="{187E70E6-AF3F-2549-908E-DF4BA61040AA}"/>
                </a:ext>
              </a:extLst>
            </p:cNvPr>
            <p:cNvSpPr>
              <a:spLocks noChangeAspect="1" noEditPoints="1"/>
            </p:cNvSpPr>
            <p:nvPr/>
          </p:nvSpPr>
          <p:spPr bwMode="auto">
            <a:xfrm>
              <a:off x="456202" y="5509222"/>
              <a:ext cx="504000" cy="329436"/>
            </a:xfrm>
            <a:custGeom>
              <a:avLst/>
              <a:gdLst>
                <a:gd name="T0" fmla="*/ 0 w 2080"/>
                <a:gd name="T1" fmla="*/ 65 h 1360"/>
                <a:gd name="T2" fmla="*/ 0 w 2080"/>
                <a:gd name="T3" fmla="*/ 0 h 1360"/>
                <a:gd name="T4" fmla="*/ 2080 w 2080"/>
                <a:gd name="T5" fmla="*/ 0 h 1360"/>
                <a:gd name="T6" fmla="*/ 2080 w 2080"/>
                <a:gd name="T7" fmla="*/ 65 h 1360"/>
                <a:gd name="T8" fmla="*/ 1089 w 2080"/>
                <a:gd name="T9" fmla="*/ 862 h 1360"/>
                <a:gd name="T10" fmla="*/ 991 w 2080"/>
                <a:gd name="T11" fmla="*/ 862 h 1360"/>
                <a:gd name="T12" fmla="*/ 0 w 2080"/>
                <a:gd name="T13" fmla="*/ 65 h 1360"/>
                <a:gd name="T14" fmla="*/ 1139 w 2080"/>
                <a:gd name="T15" fmla="*/ 924 h 1360"/>
                <a:gd name="T16" fmla="*/ 1282 w 2080"/>
                <a:gd name="T17" fmla="*/ 810 h 1360"/>
                <a:gd name="T18" fmla="*/ 2076 w 2080"/>
                <a:gd name="T19" fmla="*/ 1360 h 1360"/>
                <a:gd name="T20" fmla="*/ 4 w 2080"/>
                <a:gd name="T21" fmla="*/ 1360 h 1360"/>
                <a:gd name="T22" fmla="*/ 798 w 2080"/>
                <a:gd name="T23" fmla="*/ 810 h 1360"/>
                <a:gd name="T24" fmla="*/ 941 w 2080"/>
                <a:gd name="T25" fmla="*/ 924 h 1360"/>
                <a:gd name="T26" fmla="*/ 1139 w 2080"/>
                <a:gd name="T27" fmla="*/ 924 h 1360"/>
                <a:gd name="T28" fmla="*/ 2 w 2080"/>
                <a:gd name="T29" fmla="*/ 137 h 1360"/>
                <a:gd name="T30" fmla="*/ 42 w 2080"/>
                <a:gd name="T31" fmla="*/ 201 h 1360"/>
                <a:gd name="T32" fmla="*/ 734 w 2080"/>
                <a:gd name="T33" fmla="*/ 758 h 1360"/>
                <a:gd name="T34" fmla="*/ 0 w 2080"/>
                <a:gd name="T35" fmla="*/ 1266 h 1360"/>
                <a:gd name="T36" fmla="*/ 0 w 2080"/>
                <a:gd name="T37" fmla="*/ 135 h 1360"/>
                <a:gd name="T38" fmla="*/ 2 w 2080"/>
                <a:gd name="T39" fmla="*/ 137 h 1360"/>
                <a:gd name="T40" fmla="*/ 2080 w 2080"/>
                <a:gd name="T41" fmla="*/ 136 h 1360"/>
                <a:gd name="T42" fmla="*/ 2080 w 2080"/>
                <a:gd name="T43" fmla="*/ 1265 h 1360"/>
                <a:gd name="T44" fmla="*/ 1346 w 2080"/>
                <a:gd name="T45" fmla="*/ 758 h 1360"/>
                <a:gd name="T46" fmla="*/ 2038 w 2080"/>
                <a:gd name="T47" fmla="*/ 201 h 1360"/>
                <a:gd name="T48" fmla="*/ 2080 w 2080"/>
                <a:gd name="T49" fmla="*/ 136 h 1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080" h="1360">
                  <a:moveTo>
                    <a:pt x="0" y="65"/>
                  </a:moveTo>
                  <a:cubicBezTo>
                    <a:pt x="0" y="0"/>
                    <a:pt x="0" y="0"/>
                    <a:pt x="0" y="0"/>
                  </a:cubicBezTo>
                  <a:cubicBezTo>
                    <a:pt x="2080" y="0"/>
                    <a:pt x="2080" y="0"/>
                    <a:pt x="2080" y="0"/>
                  </a:cubicBezTo>
                  <a:cubicBezTo>
                    <a:pt x="2080" y="65"/>
                    <a:pt x="2080" y="65"/>
                    <a:pt x="2080" y="65"/>
                  </a:cubicBezTo>
                  <a:cubicBezTo>
                    <a:pt x="1089" y="862"/>
                    <a:pt x="1089" y="862"/>
                    <a:pt x="1089" y="862"/>
                  </a:cubicBezTo>
                  <a:cubicBezTo>
                    <a:pt x="1060" y="886"/>
                    <a:pt x="1020" y="886"/>
                    <a:pt x="991" y="862"/>
                  </a:cubicBezTo>
                  <a:lnTo>
                    <a:pt x="0" y="65"/>
                  </a:lnTo>
                  <a:close/>
                  <a:moveTo>
                    <a:pt x="1139" y="924"/>
                  </a:moveTo>
                  <a:cubicBezTo>
                    <a:pt x="1282" y="810"/>
                    <a:pt x="1282" y="810"/>
                    <a:pt x="1282" y="810"/>
                  </a:cubicBezTo>
                  <a:cubicBezTo>
                    <a:pt x="2076" y="1360"/>
                    <a:pt x="2076" y="1360"/>
                    <a:pt x="2076" y="1360"/>
                  </a:cubicBezTo>
                  <a:cubicBezTo>
                    <a:pt x="4" y="1360"/>
                    <a:pt x="4" y="1360"/>
                    <a:pt x="4" y="1360"/>
                  </a:cubicBezTo>
                  <a:cubicBezTo>
                    <a:pt x="798" y="810"/>
                    <a:pt x="798" y="810"/>
                    <a:pt x="798" y="810"/>
                  </a:cubicBezTo>
                  <a:cubicBezTo>
                    <a:pt x="941" y="924"/>
                    <a:pt x="941" y="924"/>
                    <a:pt x="941" y="924"/>
                  </a:cubicBezTo>
                  <a:cubicBezTo>
                    <a:pt x="1000" y="972"/>
                    <a:pt x="1080" y="972"/>
                    <a:pt x="1139" y="924"/>
                  </a:cubicBezTo>
                  <a:close/>
                  <a:moveTo>
                    <a:pt x="2" y="137"/>
                  </a:moveTo>
                  <a:cubicBezTo>
                    <a:pt x="8" y="163"/>
                    <a:pt x="22" y="185"/>
                    <a:pt x="42" y="201"/>
                  </a:cubicBezTo>
                  <a:cubicBezTo>
                    <a:pt x="734" y="758"/>
                    <a:pt x="734" y="758"/>
                    <a:pt x="734" y="758"/>
                  </a:cubicBezTo>
                  <a:cubicBezTo>
                    <a:pt x="0" y="1266"/>
                    <a:pt x="0" y="1266"/>
                    <a:pt x="0" y="1266"/>
                  </a:cubicBezTo>
                  <a:cubicBezTo>
                    <a:pt x="0" y="135"/>
                    <a:pt x="0" y="135"/>
                    <a:pt x="0" y="135"/>
                  </a:cubicBezTo>
                  <a:lnTo>
                    <a:pt x="2" y="137"/>
                  </a:lnTo>
                  <a:close/>
                  <a:moveTo>
                    <a:pt x="2080" y="136"/>
                  </a:moveTo>
                  <a:cubicBezTo>
                    <a:pt x="2080" y="1265"/>
                    <a:pt x="2080" y="1265"/>
                    <a:pt x="2080" y="1265"/>
                  </a:cubicBezTo>
                  <a:cubicBezTo>
                    <a:pt x="1346" y="758"/>
                    <a:pt x="1346" y="758"/>
                    <a:pt x="1346" y="758"/>
                  </a:cubicBezTo>
                  <a:cubicBezTo>
                    <a:pt x="2038" y="201"/>
                    <a:pt x="2038" y="201"/>
                    <a:pt x="2038" y="201"/>
                  </a:cubicBezTo>
                  <a:cubicBezTo>
                    <a:pt x="2060" y="182"/>
                    <a:pt x="2072" y="162"/>
                    <a:pt x="2080" y="13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000"/>
            </a:p>
          </p:txBody>
        </p:sp>
      </p:grpSp>
      <p:grpSp>
        <p:nvGrpSpPr>
          <p:cNvPr id="14" name="Gruppieren 2">
            <a:extLst>
              <a:ext uri="{FF2B5EF4-FFF2-40B4-BE49-F238E27FC236}">
                <a16:creationId xmlns:a16="http://schemas.microsoft.com/office/drawing/2014/main" id="{BE697CE9-EBDE-6B4A-BE70-582D92A8A831}"/>
              </a:ext>
            </a:extLst>
          </p:cNvPr>
          <p:cNvGrpSpPr/>
          <p:nvPr/>
        </p:nvGrpSpPr>
        <p:grpSpPr>
          <a:xfrm>
            <a:off x="8701917" y="2868319"/>
            <a:ext cx="171180" cy="171180"/>
            <a:chOff x="3392092" y="1841122"/>
            <a:chExt cx="646508" cy="646508"/>
          </a:xfrm>
        </p:grpSpPr>
        <p:sp>
          <p:nvSpPr>
            <p:cNvPr id="15" name="Rechteck 14">
              <a:extLst>
                <a:ext uri="{FF2B5EF4-FFF2-40B4-BE49-F238E27FC236}">
                  <a16:creationId xmlns:a16="http://schemas.microsoft.com/office/drawing/2014/main" id="{E142A731-19B7-C34D-9534-9E05108F895F}"/>
                </a:ext>
              </a:extLst>
            </p:cNvPr>
            <p:cNvSpPr>
              <a:spLocks noChangeAspect="1"/>
            </p:cNvSpPr>
            <p:nvPr/>
          </p:nvSpPr>
          <p:spPr bwMode="gray">
            <a:xfrm>
              <a:off x="3392092" y="1841122"/>
              <a:ext cx="646508" cy="646508"/>
            </a:xfrm>
            <a:prstGeom prst="rect">
              <a:avLst/>
            </a:prstGeom>
            <a:solidFill>
              <a:srgbClr val="E55A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pPr>
              <a:endParaRPr lang="en-US" sz="1000" dirty="0">
                <a:solidFill>
                  <a:schemeClr val="tx1"/>
                </a:solidFill>
                <a:latin typeface="Arial" pitchFamily="34" charset="0"/>
                <a:cs typeface="Arial" pitchFamily="34" charset="0"/>
              </a:endParaRPr>
            </a:p>
          </p:txBody>
        </p:sp>
        <p:sp>
          <p:nvSpPr>
            <p:cNvPr id="16" name="Freeform 15">
              <a:extLst>
                <a:ext uri="{FF2B5EF4-FFF2-40B4-BE49-F238E27FC236}">
                  <a16:creationId xmlns:a16="http://schemas.microsoft.com/office/drawing/2014/main" id="{F97E84AE-4AD9-4B44-9AA1-F797FC373809}"/>
                </a:ext>
              </a:extLst>
            </p:cNvPr>
            <p:cNvSpPr>
              <a:spLocks noChangeAspect="1"/>
            </p:cNvSpPr>
            <p:nvPr/>
          </p:nvSpPr>
          <p:spPr bwMode="auto">
            <a:xfrm>
              <a:off x="3546638" y="1970424"/>
              <a:ext cx="337415" cy="387905"/>
            </a:xfrm>
            <a:custGeom>
              <a:avLst/>
              <a:gdLst>
                <a:gd name="T0" fmla="*/ 573 w 1624"/>
                <a:gd name="T1" fmla="*/ 1257 h 1867"/>
                <a:gd name="T2" fmla="*/ 662 w 1624"/>
                <a:gd name="T3" fmla="*/ 1288 h 1867"/>
                <a:gd name="T4" fmla="*/ 938 w 1624"/>
                <a:gd name="T5" fmla="*/ 1051 h 1867"/>
                <a:gd name="T6" fmla="*/ 1106 w 1624"/>
                <a:gd name="T7" fmla="*/ 731 h 1867"/>
                <a:gd name="T8" fmla="*/ 1059 w 1624"/>
                <a:gd name="T9" fmla="*/ 645 h 1867"/>
                <a:gd name="T10" fmla="*/ 1001 w 1624"/>
                <a:gd name="T11" fmla="*/ 613 h 1867"/>
                <a:gd name="T12" fmla="*/ 924 w 1624"/>
                <a:gd name="T13" fmla="*/ 432 h 1867"/>
                <a:gd name="T14" fmla="*/ 1114 w 1624"/>
                <a:gd name="T15" fmla="*/ 81 h 1867"/>
                <a:gd name="T16" fmla="*/ 1287 w 1624"/>
                <a:gd name="T17" fmla="*/ 35 h 1867"/>
                <a:gd name="T18" fmla="*/ 1350 w 1624"/>
                <a:gd name="T19" fmla="*/ 69 h 1867"/>
                <a:gd name="T20" fmla="*/ 1527 w 1624"/>
                <a:gd name="T21" fmla="*/ 235 h 1867"/>
                <a:gd name="T22" fmla="*/ 1583 w 1624"/>
                <a:gd name="T23" fmla="*/ 555 h 1867"/>
                <a:gd name="T24" fmla="*/ 1172 w 1624"/>
                <a:gd name="T25" fmla="*/ 1253 h 1867"/>
                <a:gd name="T26" fmla="*/ 586 w 1624"/>
                <a:gd name="T27" fmla="*/ 1803 h 1867"/>
                <a:gd name="T28" fmla="*/ 269 w 1624"/>
                <a:gd name="T29" fmla="*/ 1807 h 1867"/>
                <a:gd name="T30" fmla="*/ 33 w 1624"/>
                <a:gd name="T31" fmla="*/ 1602 h 1867"/>
                <a:gd name="T32" fmla="*/ 2 w 1624"/>
                <a:gd name="T33" fmla="*/ 1508 h 1867"/>
                <a:gd name="T34" fmla="*/ 45 w 1624"/>
                <a:gd name="T35" fmla="*/ 1421 h 1867"/>
                <a:gd name="T36" fmla="*/ 346 w 1624"/>
                <a:gd name="T37" fmla="*/ 1158 h 1867"/>
                <a:gd name="T38" fmla="*/ 448 w 1624"/>
                <a:gd name="T39" fmla="*/ 1145 h 1867"/>
                <a:gd name="T40" fmla="*/ 573 w 1624"/>
                <a:gd name="T41" fmla="*/ 1257 h 18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24" h="1867">
                  <a:moveTo>
                    <a:pt x="573" y="1257"/>
                  </a:moveTo>
                  <a:cubicBezTo>
                    <a:pt x="592" y="1282"/>
                    <a:pt x="630" y="1303"/>
                    <a:pt x="662" y="1288"/>
                  </a:cubicBezTo>
                  <a:cubicBezTo>
                    <a:pt x="753" y="1245"/>
                    <a:pt x="854" y="1156"/>
                    <a:pt x="938" y="1051"/>
                  </a:cubicBezTo>
                  <a:cubicBezTo>
                    <a:pt x="1020" y="948"/>
                    <a:pt x="1084" y="831"/>
                    <a:pt x="1106" y="731"/>
                  </a:cubicBezTo>
                  <a:cubicBezTo>
                    <a:pt x="1113" y="696"/>
                    <a:pt x="1089" y="661"/>
                    <a:pt x="1059" y="645"/>
                  </a:cubicBezTo>
                  <a:cubicBezTo>
                    <a:pt x="1001" y="613"/>
                    <a:pt x="1001" y="613"/>
                    <a:pt x="1001" y="613"/>
                  </a:cubicBezTo>
                  <a:cubicBezTo>
                    <a:pt x="942" y="580"/>
                    <a:pt x="888" y="499"/>
                    <a:pt x="924" y="432"/>
                  </a:cubicBezTo>
                  <a:cubicBezTo>
                    <a:pt x="1114" y="81"/>
                    <a:pt x="1114" y="81"/>
                    <a:pt x="1114" y="81"/>
                  </a:cubicBezTo>
                  <a:cubicBezTo>
                    <a:pt x="1150" y="16"/>
                    <a:pt x="1224" y="0"/>
                    <a:pt x="1287" y="35"/>
                  </a:cubicBezTo>
                  <a:cubicBezTo>
                    <a:pt x="1350" y="69"/>
                    <a:pt x="1350" y="69"/>
                    <a:pt x="1350" y="69"/>
                  </a:cubicBezTo>
                  <a:cubicBezTo>
                    <a:pt x="1415" y="105"/>
                    <a:pt x="1479" y="165"/>
                    <a:pt x="1527" y="235"/>
                  </a:cubicBezTo>
                  <a:cubicBezTo>
                    <a:pt x="1593" y="332"/>
                    <a:pt x="1624" y="442"/>
                    <a:pt x="1583" y="555"/>
                  </a:cubicBezTo>
                  <a:cubicBezTo>
                    <a:pt x="1500" y="781"/>
                    <a:pt x="1351" y="1030"/>
                    <a:pt x="1172" y="1253"/>
                  </a:cubicBezTo>
                  <a:cubicBezTo>
                    <a:pt x="994" y="1477"/>
                    <a:pt x="786" y="1676"/>
                    <a:pt x="586" y="1803"/>
                  </a:cubicBezTo>
                  <a:cubicBezTo>
                    <a:pt x="486" y="1867"/>
                    <a:pt x="375" y="1856"/>
                    <a:pt x="269" y="1807"/>
                  </a:cubicBezTo>
                  <a:cubicBezTo>
                    <a:pt x="157" y="1755"/>
                    <a:pt x="106" y="1695"/>
                    <a:pt x="33" y="1602"/>
                  </a:cubicBezTo>
                  <a:cubicBezTo>
                    <a:pt x="11" y="1573"/>
                    <a:pt x="0" y="1540"/>
                    <a:pt x="2" y="1508"/>
                  </a:cubicBezTo>
                  <a:cubicBezTo>
                    <a:pt x="4" y="1475"/>
                    <a:pt x="18" y="1444"/>
                    <a:pt x="45" y="1421"/>
                  </a:cubicBezTo>
                  <a:cubicBezTo>
                    <a:pt x="70" y="1399"/>
                    <a:pt x="346" y="1158"/>
                    <a:pt x="346" y="1158"/>
                  </a:cubicBezTo>
                  <a:cubicBezTo>
                    <a:pt x="376" y="1134"/>
                    <a:pt x="413" y="1133"/>
                    <a:pt x="448" y="1145"/>
                  </a:cubicBezTo>
                  <a:cubicBezTo>
                    <a:pt x="510" y="1166"/>
                    <a:pt x="536" y="1210"/>
                    <a:pt x="573" y="1257"/>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351" dirty="0"/>
            </a:p>
          </p:txBody>
        </p:sp>
      </p:grpSp>
      <p:grpSp>
        <p:nvGrpSpPr>
          <p:cNvPr id="17" name="Group 3">
            <a:extLst>
              <a:ext uri="{FF2B5EF4-FFF2-40B4-BE49-F238E27FC236}">
                <a16:creationId xmlns:a16="http://schemas.microsoft.com/office/drawing/2014/main" id="{7104BADD-8CD1-6F4A-B894-869C3BDB3EEB}"/>
              </a:ext>
            </a:extLst>
          </p:cNvPr>
          <p:cNvGrpSpPr>
            <a:grpSpLocks noChangeAspect="1"/>
          </p:cNvGrpSpPr>
          <p:nvPr>
            <p:custDataLst>
              <p:tags r:id="rId2"/>
            </p:custDataLst>
          </p:nvPr>
        </p:nvGrpSpPr>
        <p:grpSpPr>
          <a:xfrm>
            <a:off x="8701918" y="3153207"/>
            <a:ext cx="171180" cy="171180"/>
            <a:chOff x="328396" y="5313940"/>
            <a:chExt cx="720000" cy="720000"/>
          </a:xfrm>
        </p:grpSpPr>
        <p:sp>
          <p:nvSpPr>
            <p:cNvPr id="18" name="Rectangle 4">
              <a:extLst>
                <a:ext uri="{FF2B5EF4-FFF2-40B4-BE49-F238E27FC236}">
                  <a16:creationId xmlns:a16="http://schemas.microsoft.com/office/drawing/2014/main" id="{74BE3D5F-1445-6E40-8B49-72E15568383B}"/>
                </a:ext>
              </a:extLst>
            </p:cNvPr>
            <p:cNvSpPr/>
            <p:nvPr/>
          </p:nvSpPr>
          <p:spPr bwMode="gray">
            <a:xfrm>
              <a:off x="328396" y="5313940"/>
              <a:ext cx="720000" cy="720000"/>
            </a:xfrm>
            <a:prstGeom prst="rect">
              <a:avLst/>
            </a:prstGeom>
            <a:solidFill>
              <a:srgbClr val="E55A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pPr>
              <a:endParaRPr lang="en-US" sz="1000" dirty="0">
                <a:solidFill>
                  <a:schemeClr val="tx1"/>
                </a:solidFill>
                <a:latin typeface="Arial" pitchFamily="34" charset="0"/>
                <a:cs typeface="Arial" pitchFamily="34" charset="0"/>
              </a:endParaRPr>
            </a:p>
          </p:txBody>
        </p:sp>
        <p:sp>
          <p:nvSpPr>
            <p:cNvPr id="19" name="Freeform 76">
              <a:extLst>
                <a:ext uri="{FF2B5EF4-FFF2-40B4-BE49-F238E27FC236}">
                  <a16:creationId xmlns:a16="http://schemas.microsoft.com/office/drawing/2014/main" id="{55DB3C95-7D0C-D141-901E-96D692794D2B}"/>
                </a:ext>
              </a:extLst>
            </p:cNvPr>
            <p:cNvSpPr>
              <a:spLocks noChangeAspect="1" noEditPoints="1"/>
            </p:cNvSpPr>
            <p:nvPr/>
          </p:nvSpPr>
          <p:spPr bwMode="auto">
            <a:xfrm>
              <a:off x="456202" y="5509222"/>
              <a:ext cx="504000" cy="329436"/>
            </a:xfrm>
            <a:custGeom>
              <a:avLst/>
              <a:gdLst>
                <a:gd name="T0" fmla="*/ 0 w 2080"/>
                <a:gd name="T1" fmla="*/ 65 h 1360"/>
                <a:gd name="T2" fmla="*/ 0 w 2080"/>
                <a:gd name="T3" fmla="*/ 0 h 1360"/>
                <a:gd name="T4" fmla="*/ 2080 w 2080"/>
                <a:gd name="T5" fmla="*/ 0 h 1360"/>
                <a:gd name="T6" fmla="*/ 2080 w 2080"/>
                <a:gd name="T7" fmla="*/ 65 h 1360"/>
                <a:gd name="T8" fmla="*/ 1089 w 2080"/>
                <a:gd name="T9" fmla="*/ 862 h 1360"/>
                <a:gd name="T10" fmla="*/ 991 w 2080"/>
                <a:gd name="T11" fmla="*/ 862 h 1360"/>
                <a:gd name="T12" fmla="*/ 0 w 2080"/>
                <a:gd name="T13" fmla="*/ 65 h 1360"/>
                <a:gd name="T14" fmla="*/ 1139 w 2080"/>
                <a:gd name="T15" fmla="*/ 924 h 1360"/>
                <a:gd name="T16" fmla="*/ 1282 w 2080"/>
                <a:gd name="T17" fmla="*/ 810 h 1360"/>
                <a:gd name="T18" fmla="*/ 2076 w 2080"/>
                <a:gd name="T19" fmla="*/ 1360 h 1360"/>
                <a:gd name="T20" fmla="*/ 4 w 2080"/>
                <a:gd name="T21" fmla="*/ 1360 h 1360"/>
                <a:gd name="T22" fmla="*/ 798 w 2080"/>
                <a:gd name="T23" fmla="*/ 810 h 1360"/>
                <a:gd name="T24" fmla="*/ 941 w 2080"/>
                <a:gd name="T25" fmla="*/ 924 h 1360"/>
                <a:gd name="T26" fmla="*/ 1139 w 2080"/>
                <a:gd name="T27" fmla="*/ 924 h 1360"/>
                <a:gd name="T28" fmla="*/ 2 w 2080"/>
                <a:gd name="T29" fmla="*/ 137 h 1360"/>
                <a:gd name="T30" fmla="*/ 42 w 2080"/>
                <a:gd name="T31" fmla="*/ 201 h 1360"/>
                <a:gd name="T32" fmla="*/ 734 w 2080"/>
                <a:gd name="T33" fmla="*/ 758 h 1360"/>
                <a:gd name="T34" fmla="*/ 0 w 2080"/>
                <a:gd name="T35" fmla="*/ 1266 h 1360"/>
                <a:gd name="T36" fmla="*/ 0 w 2080"/>
                <a:gd name="T37" fmla="*/ 135 h 1360"/>
                <a:gd name="T38" fmla="*/ 2 w 2080"/>
                <a:gd name="T39" fmla="*/ 137 h 1360"/>
                <a:gd name="T40" fmla="*/ 2080 w 2080"/>
                <a:gd name="T41" fmla="*/ 136 h 1360"/>
                <a:gd name="T42" fmla="*/ 2080 w 2080"/>
                <a:gd name="T43" fmla="*/ 1265 h 1360"/>
                <a:gd name="T44" fmla="*/ 1346 w 2080"/>
                <a:gd name="T45" fmla="*/ 758 h 1360"/>
                <a:gd name="T46" fmla="*/ 2038 w 2080"/>
                <a:gd name="T47" fmla="*/ 201 h 1360"/>
                <a:gd name="T48" fmla="*/ 2080 w 2080"/>
                <a:gd name="T49" fmla="*/ 136 h 1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080" h="1360">
                  <a:moveTo>
                    <a:pt x="0" y="65"/>
                  </a:moveTo>
                  <a:cubicBezTo>
                    <a:pt x="0" y="0"/>
                    <a:pt x="0" y="0"/>
                    <a:pt x="0" y="0"/>
                  </a:cubicBezTo>
                  <a:cubicBezTo>
                    <a:pt x="2080" y="0"/>
                    <a:pt x="2080" y="0"/>
                    <a:pt x="2080" y="0"/>
                  </a:cubicBezTo>
                  <a:cubicBezTo>
                    <a:pt x="2080" y="65"/>
                    <a:pt x="2080" y="65"/>
                    <a:pt x="2080" y="65"/>
                  </a:cubicBezTo>
                  <a:cubicBezTo>
                    <a:pt x="1089" y="862"/>
                    <a:pt x="1089" y="862"/>
                    <a:pt x="1089" y="862"/>
                  </a:cubicBezTo>
                  <a:cubicBezTo>
                    <a:pt x="1060" y="886"/>
                    <a:pt x="1020" y="886"/>
                    <a:pt x="991" y="862"/>
                  </a:cubicBezTo>
                  <a:lnTo>
                    <a:pt x="0" y="65"/>
                  </a:lnTo>
                  <a:close/>
                  <a:moveTo>
                    <a:pt x="1139" y="924"/>
                  </a:moveTo>
                  <a:cubicBezTo>
                    <a:pt x="1282" y="810"/>
                    <a:pt x="1282" y="810"/>
                    <a:pt x="1282" y="810"/>
                  </a:cubicBezTo>
                  <a:cubicBezTo>
                    <a:pt x="2076" y="1360"/>
                    <a:pt x="2076" y="1360"/>
                    <a:pt x="2076" y="1360"/>
                  </a:cubicBezTo>
                  <a:cubicBezTo>
                    <a:pt x="4" y="1360"/>
                    <a:pt x="4" y="1360"/>
                    <a:pt x="4" y="1360"/>
                  </a:cubicBezTo>
                  <a:cubicBezTo>
                    <a:pt x="798" y="810"/>
                    <a:pt x="798" y="810"/>
                    <a:pt x="798" y="810"/>
                  </a:cubicBezTo>
                  <a:cubicBezTo>
                    <a:pt x="941" y="924"/>
                    <a:pt x="941" y="924"/>
                    <a:pt x="941" y="924"/>
                  </a:cubicBezTo>
                  <a:cubicBezTo>
                    <a:pt x="1000" y="972"/>
                    <a:pt x="1080" y="972"/>
                    <a:pt x="1139" y="924"/>
                  </a:cubicBezTo>
                  <a:close/>
                  <a:moveTo>
                    <a:pt x="2" y="137"/>
                  </a:moveTo>
                  <a:cubicBezTo>
                    <a:pt x="8" y="163"/>
                    <a:pt x="22" y="185"/>
                    <a:pt x="42" y="201"/>
                  </a:cubicBezTo>
                  <a:cubicBezTo>
                    <a:pt x="734" y="758"/>
                    <a:pt x="734" y="758"/>
                    <a:pt x="734" y="758"/>
                  </a:cubicBezTo>
                  <a:cubicBezTo>
                    <a:pt x="0" y="1266"/>
                    <a:pt x="0" y="1266"/>
                    <a:pt x="0" y="1266"/>
                  </a:cubicBezTo>
                  <a:cubicBezTo>
                    <a:pt x="0" y="135"/>
                    <a:pt x="0" y="135"/>
                    <a:pt x="0" y="135"/>
                  </a:cubicBezTo>
                  <a:lnTo>
                    <a:pt x="2" y="137"/>
                  </a:lnTo>
                  <a:close/>
                  <a:moveTo>
                    <a:pt x="2080" y="136"/>
                  </a:moveTo>
                  <a:cubicBezTo>
                    <a:pt x="2080" y="1265"/>
                    <a:pt x="2080" y="1265"/>
                    <a:pt x="2080" y="1265"/>
                  </a:cubicBezTo>
                  <a:cubicBezTo>
                    <a:pt x="1346" y="758"/>
                    <a:pt x="1346" y="758"/>
                    <a:pt x="1346" y="758"/>
                  </a:cubicBezTo>
                  <a:cubicBezTo>
                    <a:pt x="2038" y="201"/>
                    <a:pt x="2038" y="201"/>
                    <a:pt x="2038" y="201"/>
                  </a:cubicBezTo>
                  <a:cubicBezTo>
                    <a:pt x="2060" y="182"/>
                    <a:pt x="2072" y="162"/>
                    <a:pt x="2080" y="13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000"/>
            </a:p>
          </p:txBody>
        </p:sp>
      </p:grpSp>
      <p:cxnSp>
        <p:nvCxnSpPr>
          <p:cNvPr id="20" name="Straight Connector 19"/>
          <p:cNvCxnSpPr/>
          <p:nvPr/>
        </p:nvCxnSpPr>
        <p:spPr>
          <a:xfrm>
            <a:off x="2371725" y="3478213"/>
            <a:ext cx="3888000" cy="0"/>
          </a:xfrm>
          <a:prstGeom prst="line">
            <a:avLst/>
          </a:prstGeom>
          <a:ln w="6350">
            <a:solidFill>
              <a:schemeClr val="tx2"/>
            </a:solidFill>
            <a:prstDash val="dash"/>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p:nvCxnSpPr>
        <p:spPr>
          <a:xfrm>
            <a:off x="7287766" y="3478213"/>
            <a:ext cx="3888000" cy="0"/>
          </a:xfrm>
          <a:prstGeom prst="line">
            <a:avLst/>
          </a:prstGeom>
          <a:ln w="6350">
            <a:solidFill>
              <a:schemeClr val="tx2"/>
            </a:solidFill>
            <a:prstDash val="dash"/>
          </a:ln>
        </p:spPr>
        <p:style>
          <a:lnRef idx="1">
            <a:schemeClr val="accent1"/>
          </a:lnRef>
          <a:fillRef idx="0">
            <a:schemeClr val="accent1"/>
          </a:fillRef>
          <a:effectRef idx="0">
            <a:schemeClr val="accent1"/>
          </a:effectRef>
          <a:fontRef idx="minor">
            <a:schemeClr val="tx1"/>
          </a:fontRef>
        </p:style>
      </p:cxnSp>
      <p:sp>
        <p:nvSpPr>
          <p:cNvPr id="4" name="Picture Placeholder 3"/>
          <p:cNvSpPr>
            <a:spLocks noGrp="1"/>
          </p:cNvSpPr>
          <p:nvPr>
            <p:ph type="pic" sz="quarter" idx="17" hasCustomPrompt="1"/>
          </p:nvPr>
        </p:nvSpPr>
        <p:spPr>
          <a:xfrm>
            <a:off x="2355914" y="1808984"/>
            <a:ext cx="1188677" cy="1547840"/>
          </a:xfrm>
          <a:solidFill>
            <a:srgbClr val="D9DADB"/>
          </a:solidFill>
        </p:spPr>
        <p:txBody>
          <a:bodyPr/>
          <a:lstStyle>
            <a:lvl1pPr marL="0" indent="0">
              <a:buNone/>
              <a:defRPr sz="1400"/>
            </a:lvl1pPr>
          </a:lstStyle>
          <a:p>
            <a:r>
              <a:rPr lang="en-US" dirty="0"/>
              <a:t>Insert picture</a:t>
            </a:r>
          </a:p>
        </p:txBody>
      </p:sp>
      <p:sp>
        <p:nvSpPr>
          <p:cNvPr id="25" name="Picture Placeholder 3"/>
          <p:cNvSpPr>
            <a:spLocks noGrp="1"/>
          </p:cNvSpPr>
          <p:nvPr>
            <p:ph type="pic" sz="quarter" idx="18" hasCustomPrompt="1"/>
          </p:nvPr>
        </p:nvSpPr>
        <p:spPr>
          <a:xfrm>
            <a:off x="7287766" y="1808984"/>
            <a:ext cx="1188677" cy="1547840"/>
          </a:xfrm>
          <a:solidFill>
            <a:srgbClr val="D9DADB"/>
          </a:solidFill>
        </p:spPr>
        <p:txBody>
          <a:bodyPr/>
          <a:lstStyle>
            <a:lvl1pPr marL="0" indent="0">
              <a:buNone/>
              <a:defRPr sz="1400"/>
            </a:lvl1pPr>
          </a:lstStyle>
          <a:p>
            <a:r>
              <a:rPr lang="en-US" dirty="0"/>
              <a:t>Insert picture</a:t>
            </a:r>
          </a:p>
        </p:txBody>
      </p:sp>
      <p:sp>
        <p:nvSpPr>
          <p:cNvPr id="6" name="Text Placeholder 5"/>
          <p:cNvSpPr>
            <a:spLocks noGrp="1"/>
          </p:cNvSpPr>
          <p:nvPr>
            <p:ph type="body" sz="quarter" idx="19" hasCustomPrompt="1"/>
          </p:nvPr>
        </p:nvSpPr>
        <p:spPr>
          <a:xfrm>
            <a:off x="3770065" y="1808521"/>
            <a:ext cx="2463190" cy="192360"/>
          </a:xfrm>
        </p:spPr>
        <p:txBody>
          <a:bodyPr lIns="0" tIns="0" rIns="0" bIns="0" anchor="ctr" anchorCtr="0"/>
          <a:lstStyle>
            <a:lvl1pPr marL="0" indent="0" algn="l">
              <a:lnSpc>
                <a:spcPct val="100000"/>
              </a:lnSpc>
              <a:buNone/>
              <a:defRPr sz="100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Country</a:t>
            </a:r>
          </a:p>
        </p:txBody>
      </p:sp>
      <p:sp>
        <p:nvSpPr>
          <p:cNvPr id="26" name="Text Placeholder 5"/>
          <p:cNvSpPr>
            <a:spLocks noGrp="1"/>
          </p:cNvSpPr>
          <p:nvPr>
            <p:ph type="body" sz="quarter" idx="20" hasCustomPrompt="1"/>
          </p:nvPr>
        </p:nvSpPr>
        <p:spPr>
          <a:xfrm>
            <a:off x="3770065" y="2020337"/>
            <a:ext cx="2463190" cy="266182"/>
          </a:xfrm>
        </p:spPr>
        <p:txBody>
          <a:bodyPr lIns="0" tIns="0" rIns="0" bIns="0" anchor="b" anchorCtr="0"/>
          <a:lstStyle>
            <a:lvl1pPr marL="0" indent="0" algn="l">
              <a:lnSpc>
                <a:spcPct val="100000"/>
              </a:lnSpc>
              <a:buNone/>
              <a:defRPr sz="1400" b="1" baseline="0">
                <a:solidFill>
                  <a:schemeClr val="tx2"/>
                </a:solidFill>
              </a:defRPr>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Name, Surname</a:t>
            </a:r>
          </a:p>
        </p:txBody>
      </p:sp>
      <p:sp>
        <p:nvSpPr>
          <p:cNvPr id="27" name="Text Placeholder 5"/>
          <p:cNvSpPr>
            <a:spLocks noGrp="1"/>
          </p:cNvSpPr>
          <p:nvPr>
            <p:ph type="body" sz="quarter" idx="21" hasCustomPrompt="1"/>
          </p:nvPr>
        </p:nvSpPr>
        <p:spPr>
          <a:xfrm>
            <a:off x="3770065" y="2316912"/>
            <a:ext cx="2463190"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Job Position</a:t>
            </a:r>
          </a:p>
        </p:txBody>
      </p:sp>
      <p:sp>
        <p:nvSpPr>
          <p:cNvPr id="28" name="Text Placeholder 5"/>
          <p:cNvSpPr>
            <a:spLocks noGrp="1"/>
          </p:cNvSpPr>
          <p:nvPr>
            <p:ph type="body" sz="quarter" idx="22" hasCustomPrompt="1"/>
          </p:nvPr>
        </p:nvSpPr>
        <p:spPr>
          <a:xfrm>
            <a:off x="4014948" y="2845588"/>
            <a:ext cx="2218307"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Phone number</a:t>
            </a:r>
          </a:p>
        </p:txBody>
      </p:sp>
      <p:sp>
        <p:nvSpPr>
          <p:cNvPr id="29" name="Text Placeholder 5"/>
          <p:cNvSpPr>
            <a:spLocks noGrp="1"/>
          </p:cNvSpPr>
          <p:nvPr>
            <p:ph type="body" sz="quarter" idx="23" hasCustomPrompt="1"/>
          </p:nvPr>
        </p:nvSpPr>
        <p:spPr>
          <a:xfrm>
            <a:off x="4014948" y="3128395"/>
            <a:ext cx="2218307"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Email address</a:t>
            </a:r>
          </a:p>
        </p:txBody>
      </p:sp>
      <p:sp>
        <p:nvSpPr>
          <p:cNvPr id="30" name="Text Placeholder 5"/>
          <p:cNvSpPr>
            <a:spLocks noGrp="1"/>
          </p:cNvSpPr>
          <p:nvPr>
            <p:ph type="body" sz="quarter" idx="24" hasCustomPrompt="1"/>
          </p:nvPr>
        </p:nvSpPr>
        <p:spPr>
          <a:xfrm>
            <a:off x="8701917" y="1808521"/>
            <a:ext cx="2463190" cy="192360"/>
          </a:xfrm>
        </p:spPr>
        <p:txBody>
          <a:bodyPr lIns="0" tIns="0" rIns="0" bIns="0" anchor="ctr" anchorCtr="0"/>
          <a:lstStyle>
            <a:lvl1pPr marL="0" indent="0" algn="l">
              <a:lnSpc>
                <a:spcPct val="100000"/>
              </a:lnSpc>
              <a:buNone/>
              <a:defRPr sz="100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Country</a:t>
            </a:r>
          </a:p>
        </p:txBody>
      </p:sp>
      <p:sp>
        <p:nvSpPr>
          <p:cNvPr id="31" name="Text Placeholder 5"/>
          <p:cNvSpPr>
            <a:spLocks noGrp="1"/>
          </p:cNvSpPr>
          <p:nvPr>
            <p:ph type="body" sz="quarter" idx="25" hasCustomPrompt="1"/>
          </p:nvPr>
        </p:nvSpPr>
        <p:spPr>
          <a:xfrm>
            <a:off x="8701917" y="2020337"/>
            <a:ext cx="2463190" cy="266182"/>
          </a:xfrm>
        </p:spPr>
        <p:txBody>
          <a:bodyPr lIns="0" tIns="0" rIns="0" bIns="0" anchor="b" anchorCtr="0"/>
          <a:lstStyle>
            <a:lvl1pPr marL="0" indent="0" algn="l">
              <a:lnSpc>
                <a:spcPct val="100000"/>
              </a:lnSpc>
              <a:buNone/>
              <a:defRPr sz="1400" b="1" baseline="0">
                <a:solidFill>
                  <a:schemeClr val="tx2"/>
                </a:solidFill>
              </a:defRPr>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Name, Surname</a:t>
            </a:r>
          </a:p>
        </p:txBody>
      </p:sp>
      <p:sp>
        <p:nvSpPr>
          <p:cNvPr id="32" name="Text Placeholder 5"/>
          <p:cNvSpPr>
            <a:spLocks noGrp="1"/>
          </p:cNvSpPr>
          <p:nvPr>
            <p:ph type="body" sz="quarter" idx="26" hasCustomPrompt="1"/>
          </p:nvPr>
        </p:nvSpPr>
        <p:spPr>
          <a:xfrm>
            <a:off x="8701917" y="2316912"/>
            <a:ext cx="2463190"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Job Position</a:t>
            </a:r>
          </a:p>
        </p:txBody>
      </p:sp>
      <p:sp>
        <p:nvSpPr>
          <p:cNvPr id="33" name="Text Placeholder 5"/>
          <p:cNvSpPr>
            <a:spLocks noGrp="1"/>
          </p:cNvSpPr>
          <p:nvPr>
            <p:ph type="body" sz="quarter" idx="27" hasCustomPrompt="1"/>
          </p:nvPr>
        </p:nvSpPr>
        <p:spPr>
          <a:xfrm>
            <a:off x="8946800" y="2845588"/>
            <a:ext cx="2218307"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Phone number</a:t>
            </a:r>
          </a:p>
        </p:txBody>
      </p:sp>
      <p:sp>
        <p:nvSpPr>
          <p:cNvPr id="34" name="Text Placeholder 5"/>
          <p:cNvSpPr>
            <a:spLocks noGrp="1"/>
          </p:cNvSpPr>
          <p:nvPr>
            <p:ph type="body" sz="quarter" idx="28" hasCustomPrompt="1"/>
          </p:nvPr>
        </p:nvSpPr>
        <p:spPr>
          <a:xfrm>
            <a:off x="8946800" y="3128395"/>
            <a:ext cx="2218307"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Email address</a:t>
            </a:r>
          </a:p>
        </p:txBody>
      </p:sp>
      <p:grpSp>
        <p:nvGrpSpPr>
          <p:cNvPr id="35" name="Gruppieren 2">
            <a:extLst>
              <a:ext uri="{FF2B5EF4-FFF2-40B4-BE49-F238E27FC236}">
                <a16:creationId xmlns:a16="http://schemas.microsoft.com/office/drawing/2014/main" id="{BE697CE9-EBDE-6B4A-BE70-582D92A8A831}"/>
              </a:ext>
            </a:extLst>
          </p:cNvPr>
          <p:cNvGrpSpPr/>
          <p:nvPr/>
        </p:nvGrpSpPr>
        <p:grpSpPr>
          <a:xfrm>
            <a:off x="3770065" y="5045939"/>
            <a:ext cx="171180" cy="171180"/>
            <a:chOff x="3392092" y="1841122"/>
            <a:chExt cx="646508" cy="646508"/>
          </a:xfrm>
        </p:grpSpPr>
        <p:sp>
          <p:nvSpPr>
            <p:cNvPr id="36" name="Rechteck 14">
              <a:extLst>
                <a:ext uri="{FF2B5EF4-FFF2-40B4-BE49-F238E27FC236}">
                  <a16:creationId xmlns:a16="http://schemas.microsoft.com/office/drawing/2014/main" id="{E142A731-19B7-C34D-9534-9E05108F895F}"/>
                </a:ext>
              </a:extLst>
            </p:cNvPr>
            <p:cNvSpPr>
              <a:spLocks noChangeAspect="1"/>
            </p:cNvSpPr>
            <p:nvPr/>
          </p:nvSpPr>
          <p:spPr bwMode="gray">
            <a:xfrm>
              <a:off x="3392092" y="1841122"/>
              <a:ext cx="646508" cy="646508"/>
            </a:xfrm>
            <a:prstGeom prst="rect">
              <a:avLst/>
            </a:prstGeom>
            <a:solidFill>
              <a:srgbClr val="E55A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pPr>
              <a:endParaRPr lang="en-US" sz="1000" dirty="0">
                <a:solidFill>
                  <a:schemeClr val="tx1"/>
                </a:solidFill>
                <a:latin typeface="Arial" pitchFamily="34" charset="0"/>
                <a:cs typeface="Arial" pitchFamily="34" charset="0"/>
              </a:endParaRPr>
            </a:p>
          </p:txBody>
        </p:sp>
        <p:sp>
          <p:nvSpPr>
            <p:cNvPr id="37" name="Freeform 36">
              <a:extLst>
                <a:ext uri="{FF2B5EF4-FFF2-40B4-BE49-F238E27FC236}">
                  <a16:creationId xmlns:a16="http://schemas.microsoft.com/office/drawing/2014/main" id="{F97E84AE-4AD9-4B44-9AA1-F797FC373809}"/>
                </a:ext>
              </a:extLst>
            </p:cNvPr>
            <p:cNvSpPr>
              <a:spLocks noChangeAspect="1"/>
            </p:cNvSpPr>
            <p:nvPr/>
          </p:nvSpPr>
          <p:spPr bwMode="auto">
            <a:xfrm>
              <a:off x="3546638" y="1970424"/>
              <a:ext cx="337415" cy="387905"/>
            </a:xfrm>
            <a:custGeom>
              <a:avLst/>
              <a:gdLst>
                <a:gd name="T0" fmla="*/ 573 w 1624"/>
                <a:gd name="T1" fmla="*/ 1257 h 1867"/>
                <a:gd name="T2" fmla="*/ 662 w 1624"/>
                <a:gd name="T3" fmla="*/ 1288 h 1867"/>
                <a:gd name="T4" fmla="*/ 938 w 1624"/>
                <a:gd name="T5" fmla="*/ 1051 h 1867"/>
                <a:gd name="T6" fmla="*/ 1106 w 1624"/>
                <a:gd name="T7" fmla="*/ 731 h 1867"/>
                <a:gd name="T8" fmla="*/ 1059 w 1624"/>
                <a:gd name="T9" fmla="*/ 645 h 1867"/>
                <a:gd name="T10" fmla="*/ 1001 w 1624"/>
                <a:gd name="T11" fmla="*/ 613 h 1867"/>
                <a:gd name="T12" fmla="*/ 924 w 1624"/>
                <a:gd name="T13" fmla="*/ 432 h 1867"/>
                <a:gd name="T14" fmla="*/ 1114 w 1624"/>
                <a:gd name="T15" fmla="*/ 81 h 1867"/>
                <a:gd name="T16" fmla="*/ 1287 w 1624"/>
                <a:gd name="T17" fmla="*/ 35 h 1867"/>
                <a:gd name="T18" fmla="*/ 1350 w 1624"/>
                <a:gd name="T19" fmla="*/ 69 h 1867"/>
                <a:gd name="T20" fmla="*/ 1527 w 1624"/>
                <a:gd name="T21" fmla="*/ 235 h 1867"/>
                <a:gd name="T22" fmla="*/ 1583 w 1624"/>
                <a:gd name="T23" fmla="*/ 555 h 1867"/>
                <a:gd name="T24" fmla="*/ 1172 w 1624"/>
                <a:gd name="T25" fmla="*/ 1253 h 1867"/>
                <a:gd name="T26" fmla="*/ 586 w 1624"/>
                <a:gd name="T27" fmla="*/ 1803 h 1867"/>
                <a:gd name="T28" fmla="*/ 269 w 1624"/>
                <a:gd name="T29" fmla="*/ 1807 h 1867"/>
                <a:gd name="T30" fmla="*/ 33 w 1624"/>
                <a:gd name="T31" fmla="*/ 1602 h 1867"/>
                <a:gd name="T32" fmla="*/ 2 w 1624"/>
                <a:gd name="T33" fmla="*/ 1508 h 1867"/>
                <a:gd name="T34" fmla="*/ 45 w 1624"/>
                <a:gd name="T35" fmla="*/ 1421 h 1867"/>
                <a:gd name="T36" fmla="*/ 346 w 1624"/>
                <a:gd name="T37" fmla="*/ 1158 h 1867"/>
                <a:gd name="T38" fmla="*/ 448 w 1624"/>
                <a:gd name="T39" fmla="*/ 1145 h 1867"/>
                <a:gd name="T40" fmla="*/ 573 w 1624"/>
                <a:gd name="T41" fmla="*/ 1257 h 18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24" h="1867">
                  <a:moveTo>
                    <a:pt x="573" y="1257"/>
                  </a:moveTo>
                  <a:cubicBezTo>
                    <a:pt x="592" y="1282"/>
                    <a:pt x="630" y="1303"/>
                    <a:pt x="662" y="1288"/>
                  </a:cubicBezTo>
                  <a:cubicBezTo>
                    <a:pt x="753" y="1245"/>
                    <a:pt x="854" y="1156"/>
                    <a:pt x="938" y="1051"/>
                  </a:cubicBezTo>
                  <a:cubicBezTo>
                    <a:pt x="1020" y="948"/>
                    <a:pt x="1084" y="831"/>
                    <a:pt x="1106" y="731"/>
                  </a:cubicBezTo>
                  <a:cubicBezTo>
                    <a:pt x="1113" y="696"/>
                    <a:pt x="1089" y="661"/>
                    <a:pt x="1059" y="645"/>
                  </a:cubicBezTo>
                  <a:cubicBezTo>
                    <a:pt x="1001" y="613"/>
                    <a:pt x="1001" y="613"/>
                    <a:pt x="1001" y="613"/>
                  </a:cubicBezTo>
                  <a:cubicBezTo>
                    <a:pt x="942" y="580"/>
                    <a:pt x="888" y="499"/>
                    <a:pt x="924" y="432"/>
                  </a:cubicBezTo>
                  <a:cubicBezTo>
                    <a:pt x="1114" y="81"/>
                    <a:pt x="1114" y="81"/>
                    <a:pt x="1114" y="81"/>
                  </a:cubicBezTo>
                  <a:cubicBezTo>
                    <a:pt x="1150" y="16"/>
                    <a:pt x="1224" y="0"/>
                    <a:pt x="1287" y="35"/>
                  </a:cubicBezTo>
                  <a:cubicBezTo>
                    <a:pt x="1350" y="69"/>
                    <a:pt x="1350" y="69"/>
                    <a:pt x="1350" y="69"/>
                  </a:cubicBezTo>
                  <a:cubicBezTo>
                    <a:pt x="1415" y="105"/>
                    <a:pt x="1479" y="165"/>
                    <a:pt x="1527" y="235"/>
                  </a:cubicBezTo>
                  <a:cubicBezTo>
                    <a:pt x="1593" y="332"/>
                    <a:pt x="1624" y="442"/>
                    <a:pt x="1583" y="555"/>
                  </a:cubicBezTo>
                  <a:cubicBezTo>
                    <a:pt x="1500" y="781"/>
                    <a:pt x="1351" y="1030"/>
                    <a:pt x="1172" y="1253"/>
                  </a:cubicBezTo>
                  <a:cubicBezTo>
                    <a:pt x="994" y="1477"/>
                    <a:pt x="786" y="1676"/>
                    <a:pt x="586" y="1803"/>
                  </a:cubicBezTo>
                  <a:cubicBezTo>
                    <a:pt x="486" y="1867"/>
                    <a:pt x="375" y="1856"/>
                    <a:pt x="269" y="1807"/>
                  </a:cubicBezTo>
                  <a:cubicBezTo>
                    <a:pt x="157" y="1755"/>
                    <a:pt x="106" y="1695"/>
                    <a:pt x="33" y="1602"/>
                  </a:cubicBezTo>
                  <a:cubicBezTo>
                    <a:pt x="11" y="1573"/>
                    <a:pt x="0" y="1540"/>
                    <a:pt x="2" y="1508"/>
                  </a:cubicBezTo>
                  <a:cubicBezTo>
                    <a:pt x="4" y="1475"/>
                    <a:pt x="18" y="1444"/>
                    <a:pt x="45" y="1421"/>
                  </a:cubicBezTo>
                  <a:cubicBezTo>
                    <a:pt x="70" y="1399"/>
                    <a:pt x="346" y="1158"/>
                    <a:pt x="346" y="1158"/>
                  </a:cubicBezTo>
                  <a:cubicBezTo>
                    <a:pt x="376" y="1134"/>
                    <a:pt x="413" y="1133"/>
                    <a:pt x="448" y="1145"/>
                  </a:cubicBezTo>
                  <a:cubicBezTo>
                    <a:pt x="510" y="1166"/>
                    <a:pt x="536" y="1210"/>
                    <a:pt x="573" y="1257"/>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351" dirty="0"/>
            </a:p>
          </p:txBody>
        </p:sp>
      </p:grpSp>
      <p:grpSp>
        <p:nvGrpSpPr>
          <p:cNvPr id="38" name="Group 3">
            <a:extLst>
              <a:ext uri="{FF2B5EF4-FFF2-40B4-BE49-F238E27FC236}">
                <a16:creationId xmlns:a16="http://schemas.microsoft.com/office/drawing/2014/main" id="{7104BADD-8CD1-6F4A-B894-869C3BDB3EEB}"/>
              </a:ext>
            </a:extLst>
          </p:cNvPr>
          <p:cNvGrpSpPr>
            <a:grpSpLocks noChangeAspect="1"/>
          </p:cNvGrpSpPr>
          <p:nvPr>
            <p:custDataLst>
              <p:tags r:id="rId3"/>
            </p:custDataLst>
          </p:nvPr>
        </p:nvGrpSpPr>
        <p:grpSpPr>
          <a:xfrm>
            <a:off x="3770066" y="5330827"/>
            <a:ext cx="171180" cy="171180"/>
            <a:chOff x="328396" y="5313940"/>
            <a:chExt cx="720000" cy="720000"/>
          </a:xfrm>
        </p:grpSpPr>
        <p:sp>
          <p:nvSpPr>
            <p:cNvPr id="39" name="Rectangle 4">
              <a:extLst>
                <a:ext uri="{FF2B5EF4-FFF2-40B4-BE49-F238E27FC236}">
                  <a16:creationId xmlns:a16="http://schemas.microsoft.com/office/drawing/2014/main" id="{74BE3D5F-1445-6E40-8B49-72E15568383B}"/>
                </a:ext>
              </a:extLst>
            </p:cNvPr>
            <p:cNvSpPr/>
            <p:nvPr/>
          </p:nvSpPr>
          <p:spPr bwMode="gray">
            <a:xfrm>
              <a:off x="328396" y="5313940"/>
              <a:ext cx="720000" cy="720000"/>
            </a:xfrm>
            <a:prstGeom prst="rect">
              <a:avLst/>
            </a:prstGeom>
            <a:solidFill>
              <a:srgbClr val="E55A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pPr>
              <a:endParaRPr lang="en-US" sz="1000" dirty="0">
                <a:solidFill>
                  <a:schemeClr val="tx1"/>
                </a:solidFill>
                <a:latin typeface="Arial" pitchFamily="34" charset="0"/>
                <a:cs typeface="Arial" pitchFamily="34" charset="0"/>
              </a:endParaRPr>
            </a:p>
          </p:txBody>
        </p:sp>
        <p:sp>
          <p:nvSpPr>
            <p:cNvPr id="40" name="Freeform 76">
              <a:extLst>
                <a:ext uri="{FF2B5EF4-FFF2-40B4-BE49-F238E27FC236}">
                  <a16:creationId xmlns:a16="http://schemas.microsoft.com/office/drawing/2014/main" id="{55DB3C95-7D0C-D141-901E-96D692794D2B}"/>
                </a:ext>
              </a:extLst>
            </p:cNvPr>
            <p:cNvSpPr>
              <a:spLocks noChangeAspect="1" noEditPoints="1"/>
            </p:cNvSpPr>
            <p:nvPr/>
          </p:nvSpPr>
          <p:spPr bwMode="auto">
            <a:xfrm>
              <a:off x="456202" y="5509222"/>
              <a:ext cx="504000" cy="329436"/>
            </a:xfrm>
            <a:custGeom>
              <a:avLst/>
              <a:gdLst>
                <a:gd name="T0" fmla="*/ 0 w 2080"/>
                <a:gd name="T1" fmla="*/ 65 h 1360"/>
                <a:gd name="T2" fmla="*/ 0 w 2080"/>
                <a:gd name="T3" fmla="*/ 0 h 1360"/>
                <a:gd name="T4" fmla="*/ 2080 w 2080"/>
                <a:gd name="T5" fmla="*/ 0 h 1360"/>
                <a:gd name="T6" fmla="*/ 2080 w 2080"/>
                <a:gd name="T7" fmla="*/ 65 h 1360"/>
                <a:gd name="T8" fmla="*/ 1089 w 2080"/>
                <a:gd name="T9" fmla="*/ 862 h 1360"/>
                <a:gd name="T10" fmla="*/ 991 w 2080"/>
                <a:gd name="T11" fmla="*/ 862 h 1360"/>
                <a:gd name="T12" fmla="*/ 0 w 2080"/>
                <a:gd name="T13" fmla="*/ 65 h 1360"/>
                <a:gd name="T14" fmla="*/ 1139 w 2080"/>
                <a:gd name="T15" fmla="*/ 924 h 1360"/>
                <a:gd name="T16" fmla="*/ 1282 w 2080"/>
                <a:gd name="T17" fmla="*/ 810 h 1360"/>
                <a:gd name="T18" fmla="*/ 2076 w 2080"/>
                <a:gd name="T19" fmla="*/ 1360 h 1360"/>
                <a:gd name="T20" fmla="*/ 4 w 2080"/>
                <a:gd name="T21" fmla="*/ 1360 h 1360"/>
                <a:gd name="T22" fmla="*/ 798 w 2080"/>
                <a:gd name="T23" fmla="*/ 810 h 1360"/>
                <a:gd name="T24" fmla="*/ 941 w 2080"/>
                <a:gd name="T25" fmla="*/ 924 h 1360"/>
                <a:gd name="T26" fmla="*/ 1139 w 2080"/>
                <a:gd name="T27" fmla="*/ 924 h 1360"/>
                <a:gd name="T28" fmla="*/ 2 w 2080"/>
                <a:gd name="T29" fmla="*/ 137 h 1360"/>
                <a:gd name="T30" fmla="*/ 42 w 2080"/>
                <a:gd name="T31" fmla="*/ 201 h 1360"/>
                <a:gd name="T32" fmla="*/ 734 w 2080"/>
                <a:gd name="T33" fmla="*/ 758 h 1360"/>
                <a:gd name="T34" fmla="*/ 0 w 2080"/>
                <a:gd name="T35" fmla="*/ 1266 h 1360"/>
                <a:gd name="T36" fmla="*/ 0 w 2080"/>
                <a:gd name="T37" fmla="*/ 135 h 1360"/>
                <a:gd name="T38" fmla="*/ 2 w 2080"/>
                <a:gd name="T39" fmla="*/ 137 h 1360"/>
                <a:gd name="T40" fmla="*/ 2080 w 2080"/>
                <a:gd name="T41" fmla="*/ 136 h 1360"/>
                <a:gd name="T42" fmla="*/ 2080 w 2080"/>
                <a:gd name="T43" fmla="*/ 1265 h 1360"/>
                <a:gd name="T44" fmla="*/ 1346 w 2080"/>
                <a:gd name="T45" fmla="*/ 758 h 1360"/>
                <a:gd name="T46" fmla="*/ 2038 w 2080"/>
                <a:gd name="T47" fmla="*/ 201 h 1360"/>
                <a:gd name="T48" fmla="*/ 2080 w 2080"/>
                <a:gd name="T49" fmla="*/ 136 h 1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080" h="1360">
                  <a:moveTo>
                    <a:pt x="0" y="65"/>
                  </a:moveTo>
                  <a:cubicBezTo>
                    <a:pt x="0" y="0"/>
                    <a:pt x="0" y="0"/>
                    <a:pt x="0" y="0"/>
                  </a:cubicBezTo>
                  <a:cubicBezTo>
                    <a:pt x="2080" y="0"/>
                    <a:pt x="2080" y="0"/>
                    <a:pt x="2080" y="0"/>
                  </a:cubicBezTo>
                  <a:cubicBezTo>
                    <a:pt x="2080" y="65"/>
                    <a:pt x="2080" y="65"/>
                    <a:pt x="2080" y="65"/>
                  </a:cubicBezTo>
                  <a:cubicBezTo>
                    <a:pt x="1089" y="862"/>
                    <a:pt x="1089" y="862"/>
                    <a:pt x="1089" y="862"/>
                  </a:cubicBezTo>
                  <a:cubicBezTo>
                    <a:pt x="1060" y="886"/>
                    <a:pt x="1020" y="886"/>
                    <a:pt x="991" y="862"/>
                  </a:cubicBezTo>
                  <a:lnTo>
                    <a:pt x="0" y="65"/>
                  </a:lnTo>
                  <a:close/>
                  <a:moveTo>
                    <a:pt x="1139" y="924"/>
                  </a:moveTo>
                  <a:cubicBezTo>
                    <a:pt x="1282" y="810"/>
                    <a:pt x="1282" y="810"/>
                    <a:pt x="1282" y="810"/>
                  </a:cubicBezTo>
                  <a:cubicBezTo>
                    <a:pt x="2076" y="1360"/>
                    <a:pt x="2076" y="1360"/>
                    <a:pt x="2076" y="1360"/>
                  </a:cubicBezTo>
                  <a:cubicBezTo>
                    <a:pt x="4" y="1360"/>
                    <a:pt x="4" y="1360"/>
                    <a:pt x="4" y="1360"/>
                  </a:cubicBezTo>
                  <a:cubicBezTo>
                    <a:pt x="798" y="810"/>
                    <a:pt x="798" y="810"/>
                    <a:pt x="798" y="810"/>
                  </a:cubicBezTo>
                  <a:cubicBezTo>
                    <a:pt x="941" y="924"/>
                    <a:pt x="941" y="924"/>
                    <a:pt x="941" y="924"/>
                  </a:cubicBezTo>
                  <a:cubicBezTo>
                    <a:pt x="1000" y="972"/>
                    <a:pt x="1080" y="972"/>
                    <a:pt x="1139" y="924"/>
                  </a:cubicBezTo>
                  <a:close/>
                  <a:moveTo>
                    <a:pt x="2" y="137"/>
                  </a:moveTo>
                  <a:cubicBezTo>
                    <a:pt x="8" y="163"/>
                    <a:pt x="22" y="185"/>
                    <a:pt x="42" y="201"/>
                  </a:cubicBezTo>
                  <a:cubicBezTo>
                    <a:pt x="734" y="758"/>
                    <a:pt x="734" y="758"/>
                    <a:pt x="734" y="758"/>
                  </a:cubicBezTo>
                  <a:cubicBezTo>
                    <a:pt x="0" y="1266"/>
                    <a:pt x="0" y="1266"/>
                    <a:pt x="0" y="1266"/>
                  </a:cubicBezTo>
                  <a:cubicBezTo>
                    <a:pt x="0" y="135"/>
                    <a:pt x="0" y="135"/>
                    <a:pt x="0" y="135"/>
                  </a:cubicBezTo>
                  <a:lnTo>
                    <a:pt x="2" y="137"/>
                  </a:lnTo>
                  <a:close/>
                  <a:moveTo>
                    <a:pt x="2080" y="136"/>
                  </a:moveTo>
                  <a:cubicBezTo>
                    <a:pt x="2080" y="1265"/>
                    <a:pt x="2080" y="1265"/>
                    <a:pt x="2080" y="1265"/>
                  </a:cubicBezTo>
                  <a:cubicBezTo>
                    <a:pt x="1346" y="758"/>
                    <a:pt x="1346" y="758"/>
                    <a:pt x="1346" y="758"/>
                  </a:cubicBezTo>
                  <a:cubicBezTo>
                    <a:pt x="2038" y="201"/>
                    <a:pt x="2038" y="201"/>
                    <a:pt x="2038" y="201"/>
                  </a:cubicBezTo>
                  <a:cubicBezTo>
                    <a:pt x="2060" y="182"/>
                    <a:pt x="2072" y="162"/>
                    <a:pt x="2080" y="13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000"/>
            </a:p>
          </p:txBody>
        </p:sp>
      </p:grpSp>
      <p:cxnSp>
        <p:nvCxnSpPr>
          <p:cNvPr id="41" name="Straight Connector 40"/>
          <p:cNvCxnSpPr/>
          <p:nvPr/>
        </p:nvCxnSpPr>
        <p:spPr>
          <a:xfrm>
            <a:off x="2355914" y="5655833"/>
            <a:ext cx="3888000" cy="0"/>
          </a:xfrm>
          <a:prstGeom prst="line">
            <a:avLst/>
          </a:prstGeom>
          <a:ln w="6350">
            <a:solidFill>
              <a:schemeClr val="tx2"/>
            </a:solidFill>
            <a:prstDash val="dash"/>
          </a:ln>
        </p:spPr>
        <p:style>
          <a:lnRef idx="1">
            <a:schemeClr val="accent1"/>
          </a:lnRef>
          <a:fillRef idx="0">
            <a:schemeClr val="accent1"/>
          </a:fillRef>
          <a:effectRef idx="0">
            <a:schemeClr val="accent1"/>
          </a:effectRef>
          <a:fontRef idx="minor">
            <a:schemeClr val="tx1"/>
          </a:fontRef>
        </p:style>
      </p:cxnSp>
      <p:sp>
        <p:nvSpPr>
          <p:cNvPr id="42" name="Picture Placeholder 3"/>
          <p:cNvSpPr>
            <a:spLocks noGrp="1"/>
          </p:cNvSpPr>
          <p:nvPr>
            <p:ph type="pic" sz="quarter" idx="29" hasCustomPrompt="1"/>
          </p:nvPr>
        </p:nvSpPr>
        <p:spPr>
          <a:xfrm>
            <a:off x="2355914" y="3986604"/>
            <a:ext cx="1188677" cy="1547840"/>
          </a:xfrm>
          <a:solidFill>
            <a:srgbClr val="D9DADB"/>
          </a:solidFill>
        </p:spPr>
        <p:txBody>
          <a:bodyPr/>
          <a:lstStyle>
            <a:lvl1pPr marL="0" indent="0">
              <a:buNone/>
              <a:defRPr sz="1400"/>
            </a:lvl1pPr>
          </a:lstStyle>
          <a:p>
            <a:r>
              <a:rPr lang="en-US" dirty="0"/>
              <a:t>Insert picture</a:t>
            </a:r>
          </a:p>
        </p:txBody>
      </p:sp>
      <p:sp>
        <p:nvSpPr>
          <p:cNvPr id="43" name="Text Placeholder 5"/>
          <p:cNvSpPr>
            <a:spLocks noGrp="1"/>
          </p:cNvSpPr>
          <p:nvPr>
            <p:ph type="body" sz="quarter" idx="30" hasCustomPrompt="1"/>
          </p:nvPr>
        </p:nvSpPr>
        <p:spPr>
          <a:xfrm>
            <a:off x="3770065" y="3986141"/>
            <a:ext cx="2463190" cy="192360"/>
          </a:xfrm>
        </p:spPr>
        <p:txBody>
          <a:bodyPr lIns="0" tIns="0" rIns="0" bIns="0" anchor="ctr" anchorCtr="0"/>
          <a:lstStyle>
            <a:lvl1pPr marL="0" indent="0" algn="l">
              <a:lnSpc>
                <a:spcPct val="100000"/>
              </a:lnSpc>
              <a:buNone/>
              <a:defRPr sz="100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Country</a:t>
            </a:r>
          </a:p>
        </p:txBody>
      </p:sp>
      <p:sp>
        <p:nvSpPr>
          <p:cNvPr id="44" name="Text Placeholder 5"/>
          <p:cNvSpPr>
            <a:spLocks noGrp="1"/>
          </p:cNvSpPr>
          <p:nvPr>
            <p:ph type="body" sz="quarter" idx="31" hasCustomPrompt="1"/>
          </p:nvPr>
        </p:nvSpPr>
        <p:spPr>
          <a:xfrm>
            <a:off x="3770065" y="4197957"/>
            <a:ext cx="2463190" cy="266182"/>
          </a:xfrm>
        </p:spPr>
        <p:txBody>
          <a:bodyPr lIns="0" tIns="0" rIns="0" bIns="0" anchor="b" anchorCtr="0"/>
          <a:lstStyle>
            <a:lvl1pPr marL="0" indent="0" algn="l">
              <a:lnSpc>
                <a:spcPct val="100000"/>
              </a:lnSpc>
              <a:buNone/>
              <a:defRPr sz="1400" b="1" baseline="0">
                <a:solidFill>
                  <a:schemeClr val="tx2"/>
                </a:solidFill>
              </a:defRPr>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Name, Surname</a:t>
            </a:r>
          </a:p>
        </p:txBody>
      </p:sp>
      <p:sp>
        <p:nvSpPr>
          <p:cNvPr id="45" name="Text Placeholder 5"/>
          <p:cNvSpPr>
            <a:spLocks noGrp="1"/>
          </p:cNvSpPr>
          <p:nvPr>
            <p:ph type="body" sz="quarter" idx="32" hasCustomPrompt="1"/>
          </p:nvPr>
        </p:nvSpPr>
        <p:spPr>
          <a:xfrm>
            <a:off x="3770065" y="4494532"/>
            <a:ext cx="2463190"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Job Position</a:t>
            </a:r>
          </a:p>
        </p:txBody>
      </p:sp>
      <p:sp>
        <p:nvSpPr>
          <p:cNvPr id="46" name="Text Placeholder 5"/>
          <p:cNvSpPr>
            <a:spLocks noGrp="1"/>
          </p:cNvSpPr>
          <p:nvPr>
            <p:ph type="body" sz="quarter" idx="33" hasCustomPrompt="1"/>
          </p:nvPr>
        </p:nvSpPr>
        <p:spPr>
          <a:xfrm>
            <a:off x="4014948" y="5023208"/>
            <a:ext cx="2218307"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Phone number</a:t>
            </a:r>
          </a:p>
        </p:txBody>
      </p:sp>
      <p:sp>
        <p:nvSpPr>
          <p:cNvPr id="47" name="Text Placeholder 5"/>
          <p:cNvSpPr>
            <a:spLocks noGrp="1"/>
          </p:cNvSpPr>
          <p:nvPr>
            <p:ph type="body" sz="quarter" idx="34" hasCustomPrompt="1"/>
          </p:nvPr>
        </p:nvSpPr>
        <p:spPr>
          <a:xfrm>
            <a:off x="4014948" y="5306015"/>
            <a:ext cx="2218307"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Email address</a:t>
            </a:r>
          </a:p>
        </p:txBody>
      </p:sp>
      <p:grpSp>
        <p:nvGrpSpPr>
          <p:cNvPr id="48" name="Gruppieren 2">
            <a:extLst>
              <a:ext uri="{FF2B5EF4-FFF2-40B4-BE49-F238E27FC236}">
                <a16:creationId xmlns:a16="http://schemas.microsoft.com/office/drawing/2014/main" id="{BE697CE9-EBDE-6B4A-BE70-582D92A8A831}"/>
              </a:ext>
            </a:extLst>
          </p:cNvPr>
          <p:cNvGrpSpPr/>
          <p:nvPr/>
        </p:nvGrpSpPr>
        <p:grpSpPr>
          <a:xfrm>
            <a:off x="8701917" y="5043528"/>
            <a:ext cx="171180" cy="171180"/>
            <a:chOff x="3392092" y="1841122"/>
            <a:chExt cx="646508" cy="646508"/>
          </a:xfrm>
        </p:grpSpPr>
        <p:sp>
          <p:nvSpPr>
            <p:cNvPr id="49" name="Rechteck 14">
              <a:extLst>
                <a:ext uri="{FF2B5EF4-FFF2-40B4-BE49-F238E27FC236}">
                  <a16:creationId xmlns:a16="http://schemas.microsoft.com/office/drawing/2014/main" id="{E142A731-19B7-C34D-9534-9E05108F895F}"/>
                </a:ext>
              </a:extLst>
            </p:cNvPr>
            <p:cNvSpPr>
              <a:spLocks noChangeAspect="1"/>
            </p:cNvSpPr>
            <p:nvPr/>
          </p:nvSpPr>
          <p:spPr bwMode="gray">
            <a:xfrm>
              <a:off x="3392092" y="1841122"/>
              <a:ext cx="646508" cy="646508"/>
            </a:xfrm>
            <a:prstGeom prst="rect">
              <a:avLst/>
            </a:prstGeom>
            <a:solidFill>
              <a:srgbClr val="E55A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pPr>
              <a:endParaRPr lang="en-US" sz="1000" dirty="0">
                <a:solidFill>
                  <a:schemeClr val="tx1"/>
                </a:solidFill>
                <a:latin typeface="Arial" pitchFamily="34" charset="0"/>
                <a:cs typeface="Arial" pitchFamily="34" charset="0"/>
              </a:endParaRPr>
            </a:p>
          </p:txBody>
        </p:sp>
        <p:sp>
          <p:nvSpPr>
            <p:cNvPr id="50" name="Freeform 49">
              <a:extLst>
                <a:ext uri="{FF2B5EF4-FFF2-40B4-BE49-F238E27FC236}">
                  <a16:creationId xmlns:a16="http://schemas.microsoft.com/office/drawing/2014/main" id="{F97E84AE-4AD9-4B44-9AA1-F797FC373809}"/>
                </a:ext>
              </a:extLst>
            </p:cNvPr>
            <p:cNvSpPr>
              <a:spLocks noChangeAspect="1"/>
            </p:cNvSpPr>
            <p:nvPr/>
          </p:nvSpPr>
          <p:spPr bwMode="auto">
            <a:xfrm>
              <a:off x="3546638" y="1970424"/>
              <a:ext cx="337415" cy="387905"/>
            </a:xfrm>
            <a:custGeom>
              <a:avLst/>
              <a:gdLst>
                <a:gd name="T0" fmla="*/ 573 w 1624"/>
                <a:gd name="T1" fmla="*/ 1257 h 1867"/>
                <a:gd name="T2" fmla="*/ 662 w 1624"/>
                <a:gd name="T3" fmla="*/ 1288 h 1867"/>
                <a:gd name="T4" fmla="*/ 938 w 1624"/>
                <a:gd name="T5" fmla="*/ 1051 h 1867"/>
                <a:gd name="T6" fmla="*/ 1106 w 1624"/>
                <a:gd name="T7" fmla="*/ 731 h 1867"/>
                <a:gd name="T8" fmla="*/ 1059 w 1624"/>
                <a:gd name="T9" fmla="*/ 645 h 1867"/>
                <a:gd name="T10" fmla="*/ 1001 w 1624"/>
                <a:gd name="T11" fmla="*/ 613 h 1867"/>
                <a:gd name="T12" fmla="*/ 924 w 1624"/>
                <a:gd name="T13" fmla="*/ 432 h 1867"/>
                <a:gd name="T14" fmla="*/ 1114 w 1624"/>
                <a:gd name="T15" fmla="*/ 81 h 1867"/>
                <a:gd name="T16" fmla="*/ 1287 w 1624"/>
                <a:gd name="T17" fmla="*/ 35 h 1867"/>
                <a:gd name="T18" fmla="*/ 1350 w 1624"/>
                <a:gd name="T19" fmla="*/ 69 h 1867"/>
                <a:gd name="T20" fmla="*/ 1527 w 1624"/>
                <a:gd name="T21" fmla="*/ 235 h 1867"/>
                <a:gd name="T22" fmla="*/ 1583 w 1624"/>
                <a:gd name="T23" fmla="*/ 555 h 1867"/>
                <a:gd name="T24" fmla="*/ 1172 w 1624"/>
                <a:gd name="T25" fmla="*/ 1253 h 1867"/>
                <a:gd name="T26" fmla="*/ 586 w 1624"/>
                <a:gd name="T27" fmla="*/ 1803 h 1867"/>
                <a:gd name="T28" fmla="*/ 269 w 1624"/>
                <a:gd name="T29" fmla="*/ 1807 h 1867"/>
                <a:gd name="T30" fmla="*/ 33 w 1624"/>
                <a:gd name="T31" fmla="*/ 1602 h 1867"/>
                <a:gd name="T32" fmla="*/ 2 w 1624"/>
                <a:gd name="T33" fmla="*/ 1508 h 1867"/>
                <a:gd name="T34" fmla="*/ 45 w 1624"/>
                <a:gd name="T35" fmla="*/ 1421 h 1867"/>
                <a:gd name="T36" fmla="*/ 346 w 1624"/>
                <a:gd name="T37" fmla="*/ 1158 h 1867"/>
                <a:gd name="T38" fmla="*/ 448 w 1624"/>
                <a:gd name="T39" fmla="*/ 1145 h 1867"/>
                <a:gd name="T40" fmla="*/ 573 w 1624"/>
                <a:gd name="T41" fmla="*/ 1257 h 18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24" h="1867">
                  <a:moveTo>
                    <a:pt x="573" y="1257"/>
                  </a:moveTo>
                  <a:cubicBezTo>
                    <a:pt x="592" y="1282"/>
                    <a:pt x="630" y="1303"/>
                    <a:pt x="662" y="1288"/>
                  </a:cubicBezTo>
                  <a:cubicBezTo>
                    <a:pt x="753" y="1245"/>
                    <a:pt x="854" y="1156"/>
                    <a:pt x="938" y="1051"/>
                  </a:cubicBezTo>
                  <a:cubicBezTo>
                    <a:pt x="1020" y="948"/>
                    <a:pt x="1084" y="831"/>
                    <a:pt x="1106" y="731"/>
                  </a:cubicBezTo>
                  <a:cubicBezTo>
                    <a:pt x="1113" y="696"/>
                    <a:pt x="1089" y="661"/>
                    <a:pt x="1059" y="645"/>
                  </a:cubicBezTo>
                  <a:cubicBezTo>
                    <a:pt x="1001" y="613"/>
                    <a:pt x="1001" y="613"/>
                    <a:pt x="1001" y="613"/>
                  </a:cubicBezTo>
                  <a:cubicBezTo>
                    <a:pt x="942" y="580"/>
                    <a:pt x="888" y="499"/>
                    <a:pt x="924" y="432"/>
                  </a:cubicBezTo>
                  <a:cubicBezTo>
                    <a:pt x="1114" y="81"/>
                    <a:pt x="1114" y="81"/>
                    <a:pt x="1114" y="81"/>
                  </a:cubicBezTo>
                  <a:cubicBezTo>
                    <a:pt x="1150" y="16"/>
                    <a:pt x="1224" y="0"/>
                    <a:pt x="1287" y="35"/>
                  </a:cubicBezTo>
                  <a:cubicBezTo>
                    <a:pt x="1350" y="69"/>
                    <a:pt x="1350" y="69"/>
                    <a:pt x="1350" y="69"/>
                  </a:cubicBezTo>
                  <a:cubicBezTo>
                    <a:pt x="1415" y="105"/>
                    <a:pt x="1479" y="165"/>
                    <a:pt x="1527" y="235"/>
                  </a:cubicBezTo>
                  <a:cubicBezTo>
                    <a:pt x="1593" y="332"/>
                    <a:pt x="1624" y="442"/>
                    <a:pt x="1583" y="555"/>
                  </a:cubicBezTo>
                  <a:cubicBezTo>
                    <a:pt x="1500" y="781"/>
                    <a:pt x="1351" y="1030"/>
                    <a:pt x="1172" y="1253"/>
                  </a:cubicBezTo>
                  <a:cubicBezTo>
                    <a:pt x="994" y="1477"/>
                    <a:pt x="786" y="1676"/>
                    <a:pt x="586" y="1803"/>
                  </a:cubicBezTo>
                  <a:cubicBezTo>
                    <a:pt x="486" y="1867"/>
                    <a:pt x="375" y="1856"/>
                    <a:pt x="269" y="1807"/>
                  </a:cubicBezTo>
                  <a:cubicBezTo>
                    <a:pt x="157" y="1755"/>
                    <a:pt x="106" y="1695"/>
                    <a:pt x="33" y="1602"/>
                  </a:cubicBezTo>
                  <a:cubicBezTo>
                    <a:pt x="11" y="1573"/>
                    <a:pt x="0" y="1540"/>
                    <a:pt x="2" y="1508"/>
                  </a:cubicBezTo>
                  <a:cubicBezTo>
                    <a:pt x="4" y="1475"/>
                    <a:pt x="18" y="1444"/>
                    <a:pt x="45" y="1421"/>
                  </a:cubicBezTo>
                  <a:cubicBezTo>
                    <a:pt x="70" y="1399"/>
                    <a:pt x="346" y="1158"/>
                    <a:pt x="346" y="1158"/>
                  </a:cubicBezTo>
                  <a:cubicBezTo>
                    <a:pt x="376" y="1134"/>
                    <a:pt x="413" y="1133"/>
                    <a:pt x="448" y="1145"/>
                  </a:cubicBezTo>
                  <a:cubicBezTo>
                    <a:pt x="510" y="1166"/>
                    <a:pt x="536" y="1210"/>
                    <a:pt x="573" y="1257"/>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351" dirty="0"/>
            </a:p>
          </p:txBody>
        </p:sp>
      </p:grpSp>
      <p:grpSp>
        <p:nvGrpSpPr>
          <p:cNvPr id="51" name="Group 3">
            <a:extLst>
              <a:ext uri="{FF2B5EF4-FFF2-40B4-BE49-F238E27FC236}">
                <a16:creationId xmlns:a16="http://schemas.microsoft.com/office/drawing/2014/main" id="{7104BADD-8CD1-6F4A-B894-869C3BDB3EEB}"/>
              </a:ext>
            </a:extLst>
          </p:cNvPr>
          <p:cNvGrpSpPr>
            <a:grpSpLocks noChangeAspect="1"/>
          </p:cNvGrpSpPr>
          <p:nvPr>
            <p:custDataLst>
              <p:tags r:id="rId4"/>
            </p:custDataLst>
          </p:nvPr>
        </p:nvGrpSpPr>
        <p:grpSpPr>
          <a:xfrm>
            <a:off x="8701918" y="5328416"/>
            <a:ext cx="171180" cy="171180"/>
            <a:chOff x="328396" y="5313940"/>
            <a:chExt cx="720000" cy="720000"/>
          </a:xfrm>
        </p:grpSpPr>
        <p:sp>
          <p:nvSpPr>
            <p:cNvPr id="52" name="Rectangle 4">
              <a:extLst>
                <a:ext uri="{FF2B5EF4-FFF2-40B4-BE49-F238E27FC236}">
                  <a16:creationId xmlns:a16="http://schemas.microsoft.com/office/drawing/2014/main" id="{74BE3D5F-1445-6E40-8B49-72E15568383B}"/>
                </a:ext>
              </a:extLst>
            </p:cNvPr>
            <p:cNvSpPr/>
            <p:nvPr/>
          </p:nvSpPr>
          <p:spPr bwMode="gray">
            <a:xfrm>
              <a:off x="328396" y="5313940"/>
              <a:ext cx="720000" cy="720000"/>
            </a:xfrm>
            <a:prstGeom prst="rect">
              <a:avLst/>
            </a:prstGeom>
            <a:solidFill>
              <a:srgbClr val="E55A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pPr>
              <a:endParaRPr lang="en-US" sz="1000" dirty="0">
                <a:solidFill>
                  <a:schemeClr val="tx1"/>
                </a:solidFill>
                <a:latin typeface="Arial" pitchFamily="34" charset="0"/>
                <a:cs typeface="Arial" pitchFamily="34" charset="0"/>
              </a:endParaRPr>
            </a:p>
          </p:txBody>
        </p:sp>
        <p:sp>
          <p:nvSpPr>
            <p:cNvPr id="53" name="Freeform 76">
              <a:extLst>
                <a:ext uri="{FF2B5EF4-FFF2-40B4-BE49-F238E27FC236}">
                  <a16:creationId xmlns:a16="http://schemas.microsoft.com/office/drawing/2014/main" id="{55DB3C95-7D0C-D141-901E-96D692794D2B}"/>
                </a:ext>
              </a:extLst>
            </p:cNvPr>
            <p:cNvSpPr>
              <a:spLocks noChangeAspect="1" noEditPoints="1"/>
            </p:cNvSpPr>
            <p:nvPr/>
          </p:nvSpPr>
          <p:spPr bwMode="auto">
            <a:xfrm>
              <a:off x="456202" y="5509222"/>
              <a:ext cx="504000" cy="329436"/>
            </a:xfrm>
            <a:custGeom>
              <a:avLst/>
              <a:gdLst>
                <a:gd name="T0" fmla="*/ 0 w 2080"/>
                <a:gd name="T1" fmla="*/ 65 h 1360"/>
                <a:gd name="T2" fmla="*/ 0 w 2080"/>
                <a:gd name="T3" fmla="*/ 0 h 1360"/>
                <a:gd name="T4" fmla="*/ 2080 w 2080"/>
                <a:gd name="T5" fmla="*/ 0 h 1360"/>
                <a:gd name="T6" fmla="*/ 2080 w 2080"/>
                <a:gd name="T7" fmla="*/ 65 h 1360"/>
                <a:gd name="T8" fmla="*/ 1089 w 2080"/>
                <a:gd name="T9" fmla="*/ 862 h 1360"/>
                <a:gd name="T10" fmla="*/ 991 w 2080"/>
                <a:gd name="T11" fmla="*/ 862 h 1360"/>
                <a:gd name="T12" fmla="*/ 0 w 2080"/>
                <a:gd name="T13" fmla="*/ 65 h 1360"/>
                <a:gd name="T14" fmla="*/ 1139 w 2080"/>
                <a:gd name="T15" fmla="*/ 924 h 1360"/>
                <a:gd name="T16" fmla="*/ 1282 w 2080"/>
                <a:gd name="T17" fmla="*/ 810 h 1360"/>
                <a:gd name="T18" fmla="*/ 2076 w 2080"/>
                <a:gd name="T19" fmla="*/ 1360 h 1360"/>
                <a:gd name="T20" fmla="*/ 4 w 2080"/>
                <a:gd name="T21" fmla="*/ 1360 h 1360"/>
                <a:gd name="T22" fmla="*/ 798 w 2080"/>
                <a:gd name="T23" fmla="*/ 810 h 1360"/>
                <a:gd name="T24" fmla="*/ 941 w 2080"/>
                <a:gd name="T25" fmla="*/ 924 h 1360"/>
                <a:gd name="T26" fmla="*/ 1139 w 2080"/>
                <a:gd name="T27" fmla="*/ 924 h 1360"/>
                <a:gd name="T28" fmla="*/ 2 w 2080"/>
                <a:gd name="T29" fmla="*/ 137 h 1360"/>
                <a:gd name="T30" fmla="*/ 42 w 2080"/>
                <a:gd name="T31" fmla="*/ 201 h 1360"/>
                <a:gd name="T32" fmla="*/ 734 w 2080"/>
                <a:gd name="T33" fmla="*/ 758 h 1360"/>
                <a:gd name="T34" fmla="*/ 0 w 2080"/>
                <a:gd name="T35" fmla="*/ 1266 h 1360"/>
                <a:gd name="T36" fmla="*/ 0 w 2080"/>
                <a:gd name="T37" fmla="*/ 135 h 1360"/>
                <a:gd name="T38" fmla="*/ 2 w 2080"/>
                <a:gd name="T39" fmla="*/ 137 h 1360"/>
                <a:gd name="T40" fmla="*/ 2080 w 2080"/>
                <a:gd name="T41" fmla="*/ 136 h 1360"/>
                <a:gd name="T42" fmla="*/ 2080 w 2080"/>
                <a:gd name="T43" fmla="*/ 1265 h 1360"/>
                <a:gd name="T44" fmla="*/ 1346 w 2080"/>
                <a:gd name="T45" fmla="*/ 758 h 1360"/>
                <a:gd name="T46" fmla="*/ 2038 w 2080"/>
                <a:gd name="T47" fmla="*/ 201 h 1360"/>
                <a:gd name="T48" fmla="*/ 2080 w 2080"/>
                <a:gd name="T49" fmla="*/ 136 h 1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080" h="1360">
                  <a:moveTo>
                    <a:pt x="0" y="65"/>
                  </a:moveTo>
                  <a:cubicBezTo>
                    <a:pt x="0" y="0"/>
                    <a:pt x="0" y="0"/>
                    <a:pt x="0" y="0"/>
                  </a:cubicBezTo>
                  <a:cubicBezTo>
                    <a:pt x="2080" y="0"/>
                    <a:pt x="2080" y="0"/>
                    <a:pt x="2080" y="0"/>
                  </a:cubicBezTo>
                  <a:cubicBezTo>
                    <a:pt x="2080" y="65"/>
                    <a:pt x="2080" y="65"/>
                    <a:pt x="2080" y="65"/>
                  </a:cubicBezTo>
                  <a:cubicBezTo>
                    <a:pt x="1089" y="862"/>
                    <a:pt x="1089" y="862"/>
                    <a:pt x="1089" y="862"/>
                  </a:cubicBezTo>
                  <a:cubicBezTo>
                    <a:pt x="1060" y="886"/>
                    <a:pt x="1020" y="886"/>
                    <a:pt x="991" y="862"/>
                  </a:cubicBezTo>
                  <a:lnTo>
                    <a:pt x="0" y="65"/>
                  </a:lnTo>
                  <a:close/>
                  <a:moveTo>
                    <a:pt x="1139" y="924"/>
                  </a:moveTo>
                  <a:cubicBezTo>
                    <a:pt x="1282" y="810"/>
                    <a:pt x="1282" y="810"/>
                    <a:pt x="1282" y="810"/>
                  </a:cubicBezTo>
                  <a:cubicBezTo>
                    <a:pt x="2076" y="1360"/>
                    <a:pt x="2076" y="1360"/>
                    <a:pt x="2076" y="1360"/>
                  </a:cubicBezTo>
                  <a:cubicBezTo>
                    <a:pt x="4" y="1360"/>
                    <a:pt x="4" y="1360"/>
                    <a:pt x="4" y="1360"/>
                  </a:cubicBezTo>
                  <a:cubicBezTo>
                    <a:pt x="798" y="810"/>
                    <a:pt x="798" y="810"/>
                    <a:pt x="798" y="810"/>
                  </a:cubicBezTo>
                  <a:cubicBezTo>
                    <a:pt x="941" y="924"/>
                    <a:pt x="941" y="924"/>
                    <a:pt x="941" y="924"/>
                  </a:cubicBezTo>
                  <a:cubicBezTo>
                    <a:pt x="1000" y="972"/>
                    <a:pt x="1080" y="972"/>
                    <a:pt x="1139" y="924"/>
                  </a:cubicBezTo>
                  <a:close/>
                  <a:moveTo>
                    <a:pt x="2" y="137"/>
                  </a:moveTo>
                  <a:cubicBezTo>
                    <a:pt x="8" y="163"/>
                    <a:pt x="22" y="185"/>
                    <a:pt x="42" y="201"/>
                  </a:cubicBezTo>
                  <a:cubicBezTo>
                    <a:pt x="734" y="758"/>
                    <a:pt x="734" y="758"/>
                    <a:pt x="734" y="758"/>
                  </a:cubicBezTo>
                  <a:cubicBezTo>
                    <a:pt x="0" y="1266"/>
                    <a:pt x="0" y="1266"/>
                    <a:pt x="0" y="1266"/>
                  </a:cubicBezTo>
                  <a:cubicBezTo>
                    <a:pt x="0" y="135"/>
                    <a:pt x="0" y="135"/>
                    <a:pt x="0" y="135"/>
                  </a:cubicBezTo>
                  <a:lnTo>
                    <a:pt x="2" y="137"/>
                  </a:lnTo>
                  <a:close/>
                  <a:moveTo>
                    <a:pt x="2080" y="136"/>
                  </a:moveTo>
                  <a:cubicBezTo>
                    <a:pt x="2080" y="1265"/>
                    <a:pt x="2080" y="1265"/>
                    <a:pt x="2080" y="1265"/>
                  </a:cubicBezTo>
                  <a:cubicBezTo>
                    <a:pt x="1346" y="758"/>
                    <a:pt x="1346" y="758"/>
                    <a:pt x="1346" y="758"/>
                  </a:cubicBezTo>
                  <a:cubicBezTo>
                    <a:pt x="2038" y="201"/>
                    <a:pt x="2038" y="201"/>
                    <a:pt x="2038" y="201"/>
                  </a:cubicBezTo>
                  <a:cubicBezTo>
                    <a:pt x="2060" y="182"/>
                    <a:pt x="2072" y="162"/>
                    <a:pt x="2080" y="13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000"/>
            </a:p>
          </p:txBody>
        </p:sp>
      </p:grpSp>
      <p:cxnSp>
        <p:nvCxnSpPr>
          <p:cNvPr id="54" name="Straight Connector 53"/>
          <p:cNvCxnSpPr/>
          <p:nvPr/>
        </p:nvCxnSpPr>
        <p:spPr>
          <a:xfrm>
            <a:off x="7287766" y="5653422"/>
            <a:ext cx="3888000" cy="0"/>
          </a:xfrm>
          <a:prstGeom prst="line">
            <a:avLst/>
          </a:prstGeom>
          <a:ln w="6350">
            <a:solidFill>
              <a:schemeClr val="tx2"/>
            </a:solidFill>
            <a:prstDash val="dash"/>
          </a:ln>
        </p:spPr>
        <p:style>
          <a:lnRef idx="1">
            <a:schemeClr val="accent1"/>
          </a:lnRef>
          <a:fillRef idx="0">
            <a:schemeClr val="accent1"/>
          </a:fillRef>
          <a:effectRef idx="0">
            <a:schemeClr val="accent1"/>
          </a:effectRef>
          <a:fontRef idx="minor">
            <a:schemeClr val="tx1"/>
          </a:fontRef>
        </p:style>
      </p:cxnSp>
      <p:sp>
        <p:nvSpPr>
          <p:cNvPr id="55" name="Picture Placeholder 3"/>
          <p:cNvSpPr>
            <a:spLocks noGrp="1"/>
          </p:cNvSpPr>
          <p:nvPr>
            <p:ph type="pic" sz="quarter" idx="35" hasCustomPrompt="1"/>
          </p:nvPr>
        </p:nvSpPr>
        <p:spPr>
          <a:xfrm>
            <a:off x="7287766" y="3984193"/>
            <a:ext cx="1188677" cy="1547840"/>
          </a:xfrm>
          <a:solidFill>
            <a:srgbClr val="D9DADB"/>
          </a:solidFill>
        </p:spPr>
        <p:txBody>
          <a:bodyPr/>
          <a:lstStyle>
            <a:lvl1pPr marL="0" indent="0">
              <a:buNone/>
              <a:defRPr sz="1400"/>
            </a:lvl1pPr>
          </a:lstStyle>
          <a:p>
            <a:r>
              <a:rPr lang="en-US" dirty="0"/>
              <a:t>Insert picture</a:t>
            </a:r>
          </a:p>
        </p:txBody>
      </p:sp>
      <p:sp>
        <p:nvSpPr>
          <p:cNvPr id="56" name="Text Placeholder 5"/>
          <p:cNvSpPr>
            <a:spLocks noGrp="1"/>
          </p:cNvSpPr>
          <p:nvPr>
            <p:ph type="body" sz="quarter" idx="36" hasCustomPrompt="1"/>
          </p:nvPr>
        </p:nvSpPr>
        <p:spPr>
          <a:xfrm>
            <a:off x="8701917" y="3983730"/>
            <a:ext cx="2463190" cy="192360"/>
          </a:xfrm>
        </p:spPr>
        <p:txBody>
          <a:bodyPr lIns="0" tIns="0" rIns="0" bIns="0" anchor="ctr" anchorCtr="0"/>
          <a:lstStyle>
            <a:lvl1pPr marL="0" indent="0" algn="l">
              <a:lnSpc>
                <a:spcPct val="100000"/>
              </a:lnSpc>
              <a:buNone/>
              <a:defRPr sz="100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Country</a:t>
            </a:r>
          </a:p>
        </p:txBody>
      </p:sp>
      <p:sp>
        <p:nvSpPr>
          <p:cNvPr id="57" name="Text Placeholder 5"/>
          <p:cNvSpPr>
            <a:spLocks noGrp="1"/>
          </p:cNvSpPr>
          <p:nvPr>
            <p:ph type="body" sz="quarter" idx="37" hasCustomPrompt="1"/>
          </p:nvPr>
        </p:nvSpPr>
        <p:spPr>
          <a:xfrm>
            <a:off x="8701917" y="4195546"/>
            <a:ext cx="2463190" cy="266182"/>
          </a:xfrm>
        </p:spPr>
        <p:txBody>
          <a:bodyPr lIns="0" tIns="0" rIns="0" bIns="0" anchor="b" anchorCtr="0"/>
          <a:lstStyle>
            <a:lvl1pPr marL="0" indent="0" algn="l">
              <a:lnSpc>
                <a:spcPct val="100000"/>
              </a:lnSpc>
              <a:buNone/>
              <a:defRPr sz="1400" b="1" baseline="0">
                <a:solidFill>
                  <a:schemeClr val="tx2"/>
                </a:solidFill>
              </a:defRPr>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Name, Surname</a:t>
            </a:r>
          </a:p>
        </p:txBody>
      </p:sp>
      <p:sp>
        <p:nvSpPr>
          <p:cNvPr id="58" name="Text Placeholder 5"/>
          <p:cNvSpPr>
            <a:spLocks noGrp="1"/>
          </p:cNvSpPr>
          <p:nvPr>
            <p:ph type="body" sz="quarter" idx="38" hasCustomPrompt="1"/>
          </p:nvPr>
        </p:nvSpPr>
        <p:spPr>
          <a:xfrm>
            <a:off x="8701917" y="4492121"/>
            <a:ext cx="2463190"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Job Position</a:t>
            </a:r>
          </a:p>
        </p:txBody>
      </p:sp>
      <p:sp>
        <p:nvSpPr>
          <p:cNvPr id="59" name="Text Placeholder 5"/>
          <p:cNvSpPr>
            <a:spLocks noGrp="1"/>
          </p:cNvSpPr>
          <p:nvPr>
            <p:ph type="body" sz="quarter" idx="39" hasCustomPrompt="1"/>
          </p:nvPr>
        </p:nvSpPr>
        <p:spPr>
          <a:xfrm>
            <a:off x="8946800" y="5020797"/>
            <a:ext cx="2218307"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Phone number</a:t>
            </a:r>
          </a:p>
        </p:txBody>
      </p:sp>
      <p:sp>
        <p:nvSpPr>
          <p:cNvPr id="60" name="Text Placeholder 5"/>
          <p:cNvSpPr>
            <a:spLocks noGrp="1"/>
          </p:cNvSpPr>
          <p:nvPr>
            <p:ph type="body" sz="quarter" idx="40" hasCustomPrompt="1"/>
          </p:nvPr>
        </p:nvSpPr>
        <p:spPr>
          <a:xfrm>
            <a:off x="8946800" y="5303604"/>
            <a:ext cx="2218307"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Email address</a:t>
            </a:r>
          </a:p>
        </p:txBody>
      </p:sp>
    </p:spTree>
    <p:extLst>
      <p:ext uri="{BB962C8B-B14F-4D97-AF65-F5344CB8AC3E}">
        <p14:creationId xmlns:p14="http://schemas.microsoft.com/office/powerpoint/2010/main" val="3643268862"/>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showMasterSp="0" preserve="1">
  <p:cSld name="End slide">
    <p:spTree>
      <p:nvGrpSpPr>
        <p:cNvPr id="1" name=""/>
        <p:cNvGrpSpPr/>
        <p:nvPr/>
      </p:nvGrpSpPr>
      <p:grpSpPr>
        <a:xfrm>
          <a:off x="0" y="0"/>
          <a:ext cx="0" cy="0"/>
          <a:chOff x="0" y="0"/>
          <a:chExt cx="0" cy="0"/>
        </a:xfrm>
      </p:grpSpPr>
      <p:pic>
        <p:nvPicPr>
          <p:cNvPr id="30" name="picture">
            <a:extLst>
              <a:ext uri="{FF2B5EF4-FFF2-40B4-BE49-F238E27FC236}">
                <a16:creationId xmlns:a16="http://schemas.microsoft.com/office/drawing/2014/main" id="{8BF907F5-A9CD-2740-AF54-6BACB62334AE}"/>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2620212" y="-8808"/>
            <a:ext cx="9697299" cy="6866807"/>
          </a:xfrm>
          <a:prstGeom prst="rect">
            <a:avLst/>
          </a:prstGeom>
        </p:spPr>
      </p:pic>
      <p:sp>
        <p:nvSpPr>
          <p:cNvPr id="29" name="shpPicture"/>
          <p:cNvSpPr/>
          <p:nvPr/>
        </p:nvSpPr>
        <p:spPr>
          <a:xfrm>
            <a:off x="0" y="0"/>
            <a:ext cx="4347306" cy="6858000"/>
          </a:xfrm>
          <a:custGeom>
            <a:avLst/>
            <a:gdLst>
              <a:gd name="connsiteX0" fmla="*/ 0 w 4347306"/>
              <a:gd name="connsiteY0" fmla="*/ 0 h 6858000"/>
              <a:gd name="connsiteX1" fmla="*/ 3252806 w 4347306"/>
              <a:gd name="connsiteY1" fmla="*/ 0 h 6858000"/>
              <a:gd name="connsiteX2" fmla="*/ 4347306 w 4347306"/>
              <a:gd name="connsiteY2" fmla="*/ 4140909 h 6858000"/>
              <a:gd name="connsiteX3" fmla="*/ 2943442 w 4347306"/>
              <a:gd name="connsiteY3" fmla="*/ 6858000 h 6858000"/>
              <a:gd name="connsiteX4" fmla="*/ 0 w 4347306"/>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47306" h="6858000">
                <a:moveTo>
                  <a:pt x="0" y="0"/>
                </a:moveTo>
                <a:lnTo>
                  <a:pt x="3252806" y="0"/>
                </a:lnTo>
                <a:lnTo>
                  <a:pt x="4347306" y="4140909"/>
                </a:lnTo>
                <a:lnTo>
                  <a:pt x="2943442"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US" sz="1600" dirty="0"/>
          </a:p>
        </p:txBody>
      </p:sp>
      <p:grpSp>
        <p:nvGrpSpPr>
          <p:cNvPr id="14" name="logo">
            <a:extLst>
              <a:ext uri="{FF2B5EF4-FFF2-40B4-BE49-F238E27FC236}">
                <a16:creationId xmlns:a16="http://schemas.microsoft.com/office/drawing/2014/main" id="{18C26D95-70F8-8A4D-9F18-DCCB92522AF8}"/>
              </a:ext>
            </a:extLst>
          </p:cNvPr>
          <p:cNvGrpSpPr/>
          <p:nvPr/>
        </p:nvGrpSpPr>
        <p:grpSpPr bwMode="gray">
          <a:xfrm>
            <a:off x="417363" y="407485"/>
            <a:ext cx="1518585" cy="646507"/>
            <a:chOff x="334963" y="296652"/>
            <a:chExt cx="1268411" cy="540000"/>
          </a:xfrm>
        </p:grpSpPr>
        <p:sp>
          <p:nvSpPr>
            <p:cNvPr id="17" name="Freeform 6">
              <a:extLst>
                <a:ext uri="{FF2B5EF4-FFF2-40B4-BE49-F238E27FC236}">
                  <a16:creationId xmlns:a16="http://schemas.microsoft.com/office/drawing/2014/main" id="{08737AD0-E375-E445-97E6-CD2E2DF60620}"/>
                </a:ext>
              </a:extLst>
            </p:cNvPr>
            <p:cNvSpPr>
              <a:spLocks noEditPoints="1"/>
            </p:cNvSpPr>
            <p:nvPr/>
          </p:nvSpPr>
          <p:spPr bwMode="gray">
            <a:xfrm>
              <a:off x="982662" y="360462"/>
              <a:ext cx="620712" cy="431800"/>
            </a:xfrm>
            <a:custGeom>
              <a:avLst/>
              <a:gdLst>
                <a:gd name="T0" fmla="*/ 19 w 1809"/>
                <a:gd name="T1" fmla="*/ 97 h 1253"/>
                <a:gd name="T2" fmla="*/ 165 w 1809"/>
                <a:gd name="T3" fmla="*/ 41 h 1253"/>
                <a:gd name="T4" fmla="*/ 211 w 1809"/>
                <a:gd name="T5" fmla="*/ 224 h 1253"/>
                <a:gd name="T6" fmla="*/ 248 w 1809"/>
                <a:gd name="T7" fmla="*/ 155 h 1253"/>
                <a:gd name="T8" fmla="*/ 931 w 1809"/>
                <a:gd name="T9" fmla="*/ 995 h 1253"/>
                <a:gd name="T10" fmla="*/ 858 w 1809"/>
                <a:gd name="T11" fmla="*/ 1115 h 1253"/>
                <a:gd name="T12" fmla="*/ 749 w 1809"/>
                <a:gd name="T13" fmla="*/ 1117 h 1253"/>
                <a:gd name="T14" fmla="*/ 681 w 1809"/>
                <a:gd name="T15" fmla="*/ 1055 h 1253"/>
                <a:gd name="T16" fmla="*/ 800 w 1809"/>
                <a:gd name="T17" fmla="*/ 1054 h 1253"/>
                <a:gd name="T18" fmla="*/ 884 w 1809"/>
                <a:gd name="T19" fmla="*/ 1181 h 1253"/>
                <a:gd name="T20" fmla="*/ 118 w 1809"/>
                <a:gd name="T21" fmla="*/ 1086 h 1253"/>
                <a:gd name="T22" fmla="*/ 147 w 1809"/>
                <a:gd name="T23" fmla="*/ 1026 h 1253"/>
                <a:gd name="T24" fmla="*/ 102 w 1809"/>
                <a:gd name="T25" fmla="*/ 1026 h 1253"/>
                <a:gd name="T26" fmla="*/ 639 w 1809"/>
                <a:gd name="T27" fmla="*/ 84 h 1253"/>
                <a:gd name="T28" fmla="*/ 763 w 1809"/>
                <a:gd name="T29" fmla="*/ 145 h 1253"/>
                <a:gd name="T30" fmla="*/ 863 w 1809"/>
                <a:gd name="T31" fmla="*/ 221 h 1253"/>
                <a:gd name="T32" fmla="*/ 834 w 1809"/>
                <a:gd name="T33" fmla="*/ 208 h 1253"/>
                <a:gd name="T34" fmla="*/ 719 w 1809"/>
                <a:gd name="T35" fmla="*/ 182 h 1253"/>
                <a:gd name="T36" fmla="*/ 507 w 1809"/>
                <a:gd name="T37" fmla="*/ 711 h 1253"/>
                <a:gd name="T38" fmla="*/ 614 w 1809"/>
                <a:gd name="T39" fmla="*/ 706 h 1253"/>
                <a:gd name="T40" fmla="*/ 736 w 1809"/>
                <a:gd name="T41" fmla="*/ 730 h 1253"/>
                <a:gd name="T42" fmla="*/ 607 w 1809"/>
                <a:gd name="T43" fmla="*/ 539 h 1253"/>
                <a:gd name="T44" fmla="*/ 1505 w 1809"/>
                <a:gd name="T45" fmla="*/ 1136 h 1253"/>
                <a:gd name="T46" fmla="*/ 1613 w 1809"/>
                <a:gd name="T47" fmla="*/ 1002 h 1253"/>
                <a:gd name="T48" fmla="*/ 1472 w 1809"/>
                <a:gd name="T49" fmla="*/ 1164 h 1253"/>
                <a:gd name="T50" fmla="*/ 1525 w 1809"/>
                <a:gd name="T51" fmla="*/ 1142 h 1253"/>
                <a:gd name="T52" fmla="*/ 1556 w 1809"/>
                <a:gd name="T53" fmla="*/ 1172 h 1253"/>
                <a:gd name="T54" fmla="*/ 1387 w 1809"/>
                <a:gd name="T55" fmla="*/ 910 h 1253"/>
                <a:gd name="T56" fmla="*/ 1261 w 1809"/>
                <a:gd name="T57" fmla="*/ 1157 h 1253"/>
                <a:gd name="T58" fmla="*/ 1413 w 1809"/>
                <a:gd name="T59" fmla="*/ 934 h 1253"/>
                <a:gd name="T60" fmla="*/ 1378 w 1809"/>
                <a:gd name="T61" fmla="*/ 1052 h 1253"/>
                <a:gd name="T62" fmla="*/ 488 w 1809"/>
                <a:gd name="T63" fmla="*/ 85 h 1253"/>
                <a:gd name="T64" fmla="*/ 509 w 1809"/>
                <a:gd name="T65" fmla="*/ 112 h 1253"/>
                <a:gd name="T66" fmla="*/ 548 w 1809"/>
                <a:gd name="T67" fmla="*/ 1187 h 1253"/>
                <a:gd name="T68" fmla="*/ 472 w 1809"/>
                <a:gd name="T69" fmla="*/ 1122 h 1253"/>
                <a:gd name="T70" fmla="*/ 558 w 1809"/>
                <a:gd name="T71" fmla="*/ 1157 h 1253"/>
                <a:gd name="T72" fmla="*/ 287 w 1809"/>
                <a:gd name="T73" fmla="*/ 654 h 1253"/>
                <a:gd name="T74" fmla="*/ 416 w 1809"/>
                <a:gd name="T75" fmla="*/ 684 h 1253"/>
                <a:gd name="T76" fmla="*/ 1106 w 1809"/>
                <a:gd name="T77" fmla="*/ 147 h 1253"/>
                <a:gd name="T78" fmla="*/ 1229 w 1809"/>
                <a:gd name="T79" fmla="*/ 258 h 1253"/>
                <a:gd name="T80" fmla="*/ 1106 w 1809"/>
                <a:gd name="T81" fmla="*/ 96 h 1253"/>
                <a:gd name="T82" fmla="*/ 1219 w 1809"/>
                <a:gd name="T83" fmla="*/ 1077 h 1253"/>
                <a:gd name="T84" fmla="*/ 1214 w 1809"/>
                <a:gd name="T85" fmla="*/ 1157 h 1253"/>
                <a:gd name="T86" fmla="*/ 1150 w 1809"/>
                <a:gd name="T87" fmla="*/ 1092 h 1253"/>
                <a:gd name="T88" fmla="*/ 1139 w 1809"/>
                <a:gd name="T89" fmla="*/ 1070 h 1253"/>
                <a:gd name="T90" fmla="*/ 1659 w 1809"/>
                <a:gd name="T91" fmla="*/ 1031 h 1253"/>
                <a:gd name="T92" fmla="*/ 1714 w 1809"/>
                <a:gd name="T93" fmla="*/ 1155 h 1253"/>
                <a:gd name="T94" fmla="*/ 1760 w 1809"/>
                <a:gd name="T95" fmla="*/ 1030 h 1253"/>
                <a:gd name="T96" fmla="*/ 111 w 1809"/>
                <a:gd name="T97" fmla="*/ 569 h 1253"/>
                <a:gd name="T98" fmla="*/ 109 w 1809"/>
                <a:gd name="T99" fmla="*/ 460 h 1253"/>
                <a:gd name="T100" fmla="*/ 32 w 1809"/>
                <a:gd name="T101" fmla="*/ 704 h 1253"/>
                <a:gd name="T102" fmla="*/ 310 w 1809"/>
                <a:gd name="T103" fmla="*/ 1058 h 1253"/>
                <a:gd name="T104" fmla="*/ 431 w 1809"/>
                <a:gd name="T105" fmla="*/ 1044 h 1253"/>
                <a:gd name="T106" fmla="*/ 278 w 1809"/>
                <a:gd name="T107" fmla="*/ 1165 h 1253"/>
                <a:gd name="T108" fmla="*/ 261 w 1809"/>
                <a:gd name="T109" fmla="*/ 540 h 1253"/>
                <a:gd name="T110" fmla="*/ 150 w 1809"/>
                <a:gd name="T111" fmla="*/ 635 h 1253"/>
                <a:gd name="T112" fmla="*/ 994 w 1809"/>
                <a:gd name="T113" fmla="*/ 1185 h 1253"/>
                <a:gd name="T114" fmla="*/ 331 w 1809"/>
                <a:gd name="T115" fmla="*/ 176 h 1253"/>
                <a:gd name="T116" fmla="*/ 333 w 1809"/>
                <a:gd name="T117" fmla="*/ 109 h 1253"/>
                <a:gd name="T118" fmla="*/ 946 w 1809"/>
                <a:gd name="T119" fmla="*/ 234 h 1253"/>
                <a:gd name="T120" fmla="*/ 1022 w 1809"/>
                <a:gd name="T121" fmla="*/ 113 h 1253"/>
                <a:gd name="T122" fmla="*/ 949 w 1809"/>
                <a:gd name="T123" fmla="*/ 65 h 1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09" h="1253">
                  <a:moveTo>
                    <a:pt x="248" y="198"/>
                  </a:moveTo>
                  <a:cubicBezTo>
                    <a:pt x="248" y="211"/>
                    <a:pt x="248" y="224"/>
                    <a:pt x="249" y="237"/>
                  </a:cubicBezTo>
                  <a:cubicBezTo>
                    <a:pt x="249" y="245"/>
                    <a:pt x="246" y="249"/>
                    <a:pt x="240" y="253"/>
                  </a:cubicBezTo>
                  <a:cubicBezTo>
                    <a:pt x="231" y="260"/>
                    <a:pt x="220" y="264"/>
                    <a:pt x="209" y="268"/>
                  </a:cubicBezTo>
                  <a:cubicBezTo>
                    <a:pt x="179" y="279"/>
                    <a:pt x="148" y="280"/>
                    <a:pt x="118" y="275"/>
                  </a:cubicBezTo>
                  <a:cubicBezTo>
                    <a:pt x="86" y="269"/>
                    <a:pt x="58" y="252"/>
                    <a:pt x="39" y="224"/>
                  </a:cubicBezTo>
                  <a:cubicBezTo>
                    <a:pt x="24" y="203"/>
                    <a:pt x="18" y="180"/>
                    <a:pt x="15" y="155"/>
                  </a:cubicBezTo>
                  <a:cubicBezTo>
                    <a:pt x="11" y="135"/>
                    <a:pt x="15" y="115"/>
                    <a:pt x="19" y="97"/>
                  </a:cubicBezTo>
                  <a:cubicBezTo>
                    <a:pt x="26" y="68"/>
                    <a:pt x="42" y="44"/>
                    <a:pt x="68" y="27"/>
                  </a:cubicBezTo>
                  <a:cubicBezTo>
                    <a:pt x="87" y="14"/>
                    <a:pt x="109" y="6"/>
                    <a:pt x="133" y="5"/>
                  </a:cubicBezTo>
                  <a:cubicBezTo>
                    <a:pt x="149" y="4"/>
                    <a:pt x="165" y="5"/>
                    <a:pt x="181" y="6"/>
                  </a:cubicBezTo>
                  <a:cubicBezTo>
                    <a:pt x="204" y="8"/>
                    <a:pt x="225" y="20"/>
                    <a:pt x="243" y="35"/>
                  </a:cubicBezTo>
                  <a:cubicBezTo>
                    <a:pt x="246" y="37"/>
                    <a:pt x="246" y="40"/>
                    <a:pt x="244" y="43"/>
                  </a:cubicBezTo>
                  <a:cubicBezTo>
                    <a:pt x="242" y="47"/>
                    <a:pt x="239" y="52"/>
                    <a:pt x="236" y="55"/>
                  </a:cubicBezTo>
                  <a:cubicBezTo>
                    <a:pt x="226" y="65"/>
                    <a:pt x="224" y="65"/>
                    <a:pt x="206" y="54"/>
                  </a:cubicBezTo>
                  <a:cubicBezTo>
                    <a:pt x="193" y="46"/>
                    <a:pt x="180" y="40"/>
                    <a:pt x="165" y="41"/>
                  </a:cubicBezTo>
                  <a:cubicBezTo>
                    <a:pt x="151" y="41"/>
                    <a:pt x="137" y="39"/>
                    <a:pt x="124" y="42"/>
                  </a:cubicBezTo>
                  <a:cubicBezTo>
                    <a:pt x="104" y="46"/>
                    <a:pt x="87" y="57"/>
                    <a:pt x="75" y="74"/>
                  </a:cubicBezTo>
                  <a:cubicBezTo>
                    <a:pt x="56" y="99"/>
                    <a:pt x="51" y="129"/>
                    <a:pt x="55" y="159"/>
                  </a:cubicBezTo>
                  <a:cubicBezTo>
                    <a:pt x="60" y="189"/>
                    <a:pt x="73" y="214"/>
                    <a:pt x="98" y="230"/>
                  </a:cubicBezTo>
                  <a:cubicBezTo>
                    <a:pt x="109" y="237"/>
                    <a:pt x="121" y="242"/>
                    <a:pt x="135" y="241"/>
                  </a:cubicBezTo>
                  <a:cubicBezTo>
                    <a:pt x="146" y="241"/>
                    <a:pt x="158" y="241"/>
                    <a:pt x="169" y="241"/>
                  </a:cubicBezTo>
                  <a:cubicBezTo>
                    <a:pt x="182" y="242"/>
                    <a:pt x="193" y="235"/>
                    <a:pt x="205" y="232"/>
                  </a:cubicBezTo>
                  <a:cubicBezTo>
                    <a:pt x="210" y="231"/>
                    <a:pt x="211" y="227"/>
                    <a:pt x="211" y="224"/>
                  </a:cubicBezTo>
                  <a:cubicBezTo>
                    <a:pt x="211" y="210"/>
                    <a:pt x="211" y="196"/>
                    <a:pt x="211" y="183"/>
                  </a:cubicBezTo>
                  <a:cubicBezTo>
                    <a:pt x="211" y="177"/>
                    <a:pt x="207" y="175"/>
                    <a:pt x="202" y="175"/>
                  </a:cubicBezTo>
                  <a:cubicBezTo>
                    <a:pt x="193" y="175"/>
                    <a:pt x="184" y="175"/>
                    <a:pt x="175" y="175"/>
                  </a:cubicBezTo>
                  <a:cubicBezTo>
                    <a:pt x="171" y="175"/>
                    <a:pt x="168" y="174"/>
                    <a:pt x="166" y="171"/>
                  </a:cubicBezTo>
                  <a:cubicBezTo>
                    <a:pt x="163" y="163"/>
                    <a:pt x="164" y="154"/>
                    <a:pt x="166" y="146"/>
                  </a:cubicBezTo>
                  <a:cubicBezTo>
                    <a:pt x="167" y="142"/>
                    <a:pt x="171" y="142"/>
                    <a:pt x="175" y="142"/>
                  </a:cubicBezTo>
                  <a:cubicBezTo>
                    <a:pt x="196" y="142"/>
                    <a:pt x="217" y="142"/>
                    <a:pt x="238" y="142"/>
                  </a:cubicBezTo>
                  <a:cubicBezTo>
                    <a:pt x="247" y="142"/>
                    <a:pt x="248" y="148"/>
                    <a:pt x="248" y="155"/>
                  </a:cubicBezTo>
                  <a:cubicBezTo>
                    <a:pt x="249" y="169"/>
                    <a:pt x="248" y="183"/>
                    <a:pt x="248" y="198"/>
                  </a:cubicBezTo>
                  <a:close/>
                  <a:moveTo>
                    <a:pt x="884" y="1181"/>
                  </a:moveTo>
                  <a:cubicBezTo>
                    <a:pt x="889" y="1167"/>
                    <a:pt x="894" y="1152"/>
                    <a:pt x="898" y="1137"/>
                  </a:cubicBezTo>
                  <a:cubicBezTo>
                    <a:pt x="901" y="1127"/>
                    <a:pt x="905" y="1116"/>
                    <a:pt x="908" y="1106"/>
                  </a:cubicBezTo>
                  <a:cubicBezTo>
                    <a:pt x="911" y="1098"/>
                    <a:pt x="912" y="1089"/>
                    <a:pt x="916" y="1081"/>
                  </a:cubicBezTo>
                  <a:cubicBezTo>
                    <a:pt x="921" y="1072"/>
                    <a:pt x="923" y="1060"/>
                    <a:pt x="927" y="1050"/>
                  </a:cubicBezTo>
                  <a:cubicBezTo>
                    <a:pt x="932" y="1037"/>
                    <a:pt x="934" y="1023"/>
                    <a:pt x="940" y="1010"/>
                  </a:cubicBezTo>
                  <a:cubicBezTo>
                    <a:pt x="945" y="1001"/>
                    <a:pt x="941" y="995"/>
                    <a:pt x="931" y="995"/>
                  </a:cubicBezTo>
                  <a:cubicBezTo>
                    <a:pt x="927" y="995"/>
                    <a:pt x="922" y="995"/>
                    <a:pt x="918" y="995"/>
                  </a:cubicBezTo>
                  <a:cubicBezTo>
                    <a:pt x="913" y="995"/>
                    <a:pt x="908" y="997"/>
                    <a:pt x="907" y="1001"/>
                  </a:cubicBezTo>
                  <a:cubicBezTo>
                    <a:pt x="904" y="1008"/>
                    <a:pt x="900" y="1015"/>
                    <a:pt x="899" y="1023"/>
                  </a:cubicBezTo>
                  <a:cubicBezTo>
                    <a:pt x="897" y="1034"/>
                    <a:pt x="893" y="1045"/>
                    <a:pt x="889" y="1055"/>
                  </a:cubicBezTo>
                  <a:cubicBezTo>
                    <a:pt x="887" y="1064"/>
                    <a:pt x="885" y="1072"/>
                    <a:pt x="882" y="1080"/>
                  </a:cubicBezTo>
                  <a:cubicBezTo>
                    <a:pt x="878" y="1091"/>
                    <a:pt x="874" y="1103"/>
                    <a:pt x="871" y="1115"/>
                  </a:cubicBezTo>
                  <a:cubicBezTo>
                    <a:pt x="870" y="1118"/>
                    <a:pt x="871" y="1124"/>
                    <a:pt x="866" y="1124"/>
                  </a:cubicBezTo>
                  <a:cubicBezTo>
                    <a:pt x="861" y="1125"/>
                    <a:pt x="859" y="1120"/>
                    <a:pt x="858" y="1115"/>
                  </a:cubicBezTo>
                  <a:cubicBezTo>
                    <a:pt x="856" y="1110"/>
                    <a:pt x="856" y="1104"/>
                    <a:pt x="854" y="1099"/>
                  </a:cubicBezTo>
                  <a:cubicBezTo>
                    <a:pt x="848" y="1080"/>
                    <a:pt x="841" y="1062"/>
                    <a:pt x="835" y="1044"/>
                  </a:cubicBezTo>
                  <a:cubicBezTo>
                    <a:pt x="831" y="1030"/>
                    <a:pt x="828" y="1016"/>
                    <a:pt x="822" y="1003"/>
                  </a:cubicBezTo>
                  <a:cubicBezTo>
                    <a:pt x="819" y="997"/>
                    <a:pt x="814" y="994"/>
                    <a:pt x="808" y="994"/>
                  </a:cubicBezTo>
                  <a:cubicBezTo>
                    <a:pt x="799" y="993"/>
                    <a:pt x="791" y="993"/>
                    <a:pt x="787" y="1001"/>
                  </a:cubicBezTo>
                  <a:cubicBezTo>
                    <a:pt x="783" y="1008"/>
                    <a:pt x="780" y="1015"/>
                    <a:pt x="779" y="1022"/>
                  </a:cubicBezTo>
                  <a:cubicBezTo>
                    <a:pt x="778" y="1034"/>
                    <a:pt x="772" y="1044"/>
                    <a:pt x="769" y="1055"/>
                  </a:cubicBezTo>
                  <a:cubicBezTo>
                    <a:pt x="762" y="1076"/>
                    <a:pt x="754" y="1096"/>
                    <a:pt x="749" y="1117"/>
                  </a:cubicBezTo>
                  <a:cubicBezTo>
                    <a:pt x="748" y="1120"/>
                    <a:pt x="747" y="1124"/>
                    <a:pt x="742" y="1124"/>
                  </a:cubicBezTo>
                  <a:cubicBezTo>
                    <a:pt x="737" y="1124"/>
                    <a:pt x="737" y="1120"/>
                    <a:pt x="736" y="1116"/>
                  </a:cubicBezTo>
                  <a:cubicBezTo>
                    <a:pt x="734" y="1104"/>
                    <a:pt x="730" y="1092"/>
                    <a:pt x="726" y="1080"/>
                  </a:cubicBezTo>
                  <a:cubicBezTo>
                    <a:pt x="720" y="1061"/>
                    <a:pt x="714" y="1040"/>
                    <a:pt x="708" y="1020"/>
                  </a:cubicBezTo>
                  <a:cubicBezTo>
                    <a:pt x="703" y="1000"/>
                    <a:pt x="698" y="994"/>
                    <a:pt x="676" y="995"/>
                  </a:cubicBezTo>
                  <a:cubicBezTo>
                    <a:pt x="665" y="996"/>
                    <a:pt x="661" y="1001"/>
                    <a:pt x="667" y="1011"/>
                  </a:cubicBezTo>
                  <a:cubicBezTo>
                    <a:pt x="669" y="1016"/>
                    <a:pt x="670" y="1021"/>
                    <a:pt x="672" y="1025"/>
                  </a:cubicBezTo>
                  <a:cubicBezTo>
                    <a:pt x="675" y="1035"/>
                    <a:pt x="678" y="1046"/>
                    <a:pt x="681" y="1055"/>
                  </a:cubicBezTo>
                  <a:cubicBezTo>
                    <a:pt x="685" y="1068"/>
                    <a:pt x="689" y="1080"/>
                    <a:pt x="693" y="1092"/>
                  </a:cubicBezTo>
                  <a:cubicBezTo>
                    <a:pt x="697" y="1103"/>
                    <a:pt x="699" y="1113"/>
                    <a:pt x="703" y="1124"/>
                  </a:cubicBezTo>
                  <a:cubicBezTo>
                    <a:pt x="707" y="1136"/>
                    <a:pt x="711" y="1147"/>
                    <a:pt x="715" y="1160"/>
                  </a:cubicBezTo>
                  <a:cubicBezTo>
                    <a:pt x="717" y="1168"/>
                    <a:pt x="720" y="1176"/>
                    <a:pt x="724" y="1183"/>
                  </a:cubicBezTo>
                  <a:cubicBezTo>
                    <a:pt x="728" y="1189"/>
                    <a:pt x="752" y="1185"/>
                    <a:pt x="757" y="1180"/>
                  </a:cubicBezTo>
                  <a:cubicBezTo>
                    <a:pt x="764" y="1173"/>
                    <a:pt x="762" y="1163"/>
                    <a:pt x="766" y="1156"/>
                  </a:cubicBezTo>
                  <a:cubicBezTo>
                    <a:pt x="774" y="1140"/>
                    <a:pt x="778" y="1122"/>
                    <a:pt x="784" y="1105"/>
                  </a:cubicBezTo>
                  <a:cubicBezTo>
                    <a:pt x="789" y="1088"/>
                    <a:pt x="796" y="1072"/>
                    <a:pt x="800" y="1054"/>
                  </a:cubicBezTo>
                  <a:cubicBezTo>
                    <a:pt x="800" y="1053"/>
                    <a:pt x="801" y="1050"/>
                    <a:pt x="803" y="1050"/>
                  </a:cubicBezTo>
                  <a:cubicBezTo>
                    <a:pt x="806" y="1050"/>
                    <a:pt x="806" y="1052"/>
                    <a:pt x="807" y="1055"/>
                  </a:cubicBezTo>
                  <a:cubicBezTo>
                    <a:pt x="807" y="1060"/>
                    <a:pt x="810" y="1066"/>
                    <a:pt x="811" y="1071"/>
                  </a:cubicBezTo>
                  <a:cubicBezTo>
                    <a:pt x="814" y="1081"/>
                    <a:pt x="818" y="1090"/>
                    <a:pt x="821" y="1099"/>
                  </a:cubicBezTo>
                  <a:cubicBezTo>
                    <a:pt x="824" y="1110"/>
                    <a:pt x="827" y="1120"/>
                    <a:pt x="831" y="1131"/>
                  </a:cubicBezTo>
                  <a:cubicBezTo>
                    <a:pt x="834" y="1142"/>
                    <a:pt x="839" y="1153"/>
                    <a:pt x="842" y="1164"/>
                  </a:cubicBezTo>
                  <a:cubicBezTo>
                    <a:pt x="846" y="1179"/>
                    <a:pt x="850" y="1188"/>
                    <a:pt x="869" y="1185"/>
                  </a:cubicBezTo>
                  <a:cubicBezTo>
                    <a:pt x="873" y="1184"/>
                    <a:pt x="881" y="1189"/>
                    <a:pt x="884" y="1181"/>
                  </a:cubicBezTo>
                  <a:close/>
                  <a:moveTo>
                    <a:pt x="33" y="1051"/>
                  </a:moveTo>
                  <a:cubicBezTo>
                    <a:pt x="33" y="1087"/>
                    <a:pt x="33" y="1124"/>
                    <a:pt x="33" y="1160"/>
                  </a:cubicBezTo>
                  <a:cubicBezTo>
                    <a:pt x="33" y="1188"/>
                    <a:pt x="29" y="1184"/>
                    <a:pt x="58" y="1185"/>
                  </a:cubicBezTo>
                  <a:cubicBezTo>
                    <a:pt x="72" y="1185"/>
                    <a:pt x="73" y="1184"/>
                    <a:pt x="73" y="1170"/>
                  </a:cubicBezTo>
                  <a:cubicBezTo>
                    <a:pt x="73" y="1138"/>
                    <a:pt x="73" y="1107"/>
                    <a:pt x="73" y="1076"/>
                  </a:cubicBezTo>
                  <a:cubicBezTo>
                    <a:pt x="73" y="1071"/>
                    <a:pt x="72" y="1067"/>
                    <a:pt x="78" y="1065"/>
                  </a:cubicBezTo>
                  <a:cubicBezTo>
                    <a:pt x="91" y="1062"/>
                    <a:pt x="102" y="1067"/>
                    <a:pt x="110" y="1076"/>
                  </a:cubicBezTo>
                  <a:cubicBezTo>
                    <a:pt x="112" y="1080"/>
                    <a:pt x="115" y="1083"/>
                    <a:pt x="118" y="1086"/>
                  </a:cubicBezTo>
                  <a:cubicBezTo>
                    <a:pt x="132" y="1103"/>
                    <a:pt x="146" y="1119"/>
                    <a:pt x="161" y="1136"/>
                  </a:cubicBezTo>
                  <a:cubicBezTo>
                    <a:pt x="173" y="1150"/>
                    <a:pt x="186" y="1165"/>
                    <a:pt x="198" y="1179"/>
                  </a:cubicBezTo>
                  <a:cubicBezTo>
                    <a:pt x="207" y="1188"/>
                    <a:pt x="218" y="1184"/>
                    <a:pt x="228" y="1185"/>
                  </a:cubicBezTo>
                  <a:cubicBezTo>
                    <a:pt x="233" y="1185"/>
                    <a:pt x="241" y="1188"/>
                    <a:pt x="244" y="1182"/>
                  </a:cubicBezTo>
                  <a:cubicBezTo>
                    <a:pt x="246" y="1178"/>
                    <a:pt x="239" y="1173"/>
                    <a:pt x="235" y="1169"/>
                  </a:cubicBezTo>
                  <a:cubicBezTo>
                    <a:pt x="206" y="1133"/>
                    <a:pt x="176" y="1098"/>
                    <a:pt x="146" y="1062"/>
                  </a:cubicBezTo>
                  <a:cubicBezTo>
                    <a:pt x="141" y="1056"/>
                    <a:pt x="131" y="1052"/>
                    <a:pt x="132" y="1044"/>
                  </a:cubicBezTo>
                  <a:cubicBezTo>
                    <a:pt x="132" y="1036"/>
                    <a:pt x="142" y="1032"/>
                    <a:pt x="147" y="1026"/>
                  </a:cubicBezTo>
                  <a:cubicBezTo>
                    <a:pt x="164" y="1006"/>
                    <a:pt x="182" y="988"/>
                    <a:pt x="198" y="968"/>
                  </a:cubicBezTo>
                  <a:cubicBezTo>
                    <a:pt x="209" y="954"/>
                    <a:pt x="221" y="942"/>
                    <a:pt x="234" y="929"/>
                  </a:cubicBezTo>
                  <a:cubicBezTo>
                    <a:pt x="236" y="926"/>
                    <a:pt x="238" y="923"/>
                    <a:pt x="237" y="920"/>
                  </a:cubicBezTo>
                  <a:cubicBezTo>
                    <a:pt x="235" y="915"/>
                    <a:pt x="231" y="917"/>
                    <a:pt x="228" y="917"/>
                  </a:cubicBezTo>
                  <a:cubicBezTo>
                    <a:pt x="224" y="918"/>
                    <a:pt x="221" y="918"/>
                    <a:pt x="217" y="918"/>
                  </a:cubicBezTo>
                  <a:cubicBezTo>
                    <a:pt x="204" y="917"/>
                    <a:pt x="193" y="922"/>
                    <a:pt x="185" y="931"/>
                  </a:cubicBezTo>
                  <a:cubicBezTo>
                    <a:pt x="172" y="946"/>
                    <a:pt x="158" y="961"/>
                    <a:pt x="145" y="977"/>
                  </a:cubicBezTo>
                  <a:cubicBezTo>
                    <a:pt x="131" y="993"/>
                    <a:pt x="117" y="1010"/>
                    <a:pt x="102" y="1026"/>
                  </a:cubicBezTo>
                  <a:cubicBezTo>
                    <a:pt x="96" y="1032"/>
                    <a:pt x="87" y="1037"/>
                    <a:pt x="78" y="1034"/>
                  </a:cubicBezTo>
                  <a:cubicBezTo>
                    <a:pt x="70" y="1030"/>
                    <a:pt x="73" y="1021"/>
                    <a:pt x="73" y="1015"/>
                  </a:cubicBezTo>
                  <a:cubicBezTo>
                    <a:pt x="73" y="991"/>
                    <a:pt x="73" y="967"/>
                    <a:pt x="73" y="944"/>
                  </a:cubicBezTo>
                  <a:cubicBezTo>
                    <a:pt x="73" y="916"/>
                    <a:pt x="75" y="917"/>
                    <a:pt x="46" y="918"/>
                  </a:cubicBezTo>
                  <a:cubicBezTo>
                    <a:pt x="33" y="918"/>
                    <a:pt x="33" y="918"/>
                    <a:pt x="33" y="931"/>
                  </a:cubicBezTo>
                  <a:cubicBezTo>
                    <a:pt x="33" y="971"/>
                    <a:pt x="33" y="1011"/>
                    <a:pt x="33" y="1051"/>
                  </a:cubicBezTo>
                  <a:cubicBezTo>
                    <a:pt x="33" y="1051"/>
                    <a:pt x="33" y="1051"/>
                    <a:pt x="33" y="1051"/>
                  </a:cubicBezTo>
                  <a:close/>
                  <a:moveTo>
                    <a:pt x="639" y="84"/>
                  </a:moveTo>
                  <a:cubicBezTo>
                    <a:pt x="627" y="84"/>
                    <a:pt x="626" y="84"/>
                    <a:pt x="629" y="95"/>
                  </a:cubicBezTo>
                  <a:cubicBezTo>
                    <a:pt x="634" y="113"/>
                    <a:pt x="640" y="131"/>
                    <a:pt x="646" y="148"/>
                  </a:cubicBezTo>
                  <a:cubicBezTo>
                    <a:pt x="652" y="166"/>
                    <a:pt x="658" y="185"/>
                    <a:pt x="664" y="203"/>
                  </a:cubicBezTo>
                  <a:cubicBezTo>
                    <a:pt x="671" y="223"/>
                    <a:pt x="676" y="244"/>
                    <a:pt x="684" y="264"/>
                  </a:cubicBezTo>
                  <a:cubicBezTo>
                    <a:pt x="688" y="274"/>
                    <a:pt x="694" y="274"/>
                    <a:pt x="702" y="274"/>
                  </a:cubicBezTo>
                  <a:cubicBezTo>
                    <a:pt x="711" y="274"/>
                    <a:pt x="719" y="272"/>
                    <a:pt x="723" y="263"/>
                  </a:cubicBezTo>
                  <a:cubicBezTo>
                    <a:pt x="733" y="236"/>
                    <a:pt x="741" y="208"/>
                    <a:pt x="750" y="181"/>
                  </a:cubicBezTo>
                  <a:cubicBezTo>
                    <a:pt x="754" y="169"/>
                    <a:pt x="757" y="156"/>
                    <a:pt x="763" y="145"/>
                  </a:cubicBezTo>
                  <a:cubicBezTo>
                    <a:pt x="764" y="143"/>
                    <a:pt x="764" y="140"/>
                    <a:pt x="767" y="140"/>
                  </a:cubicBezTo>
                  <a:cubicBezTo>
                    <a:pt x="770" y="140"/>
                    <a:pt x="770" y="143"/>
                    <a:pt x="771" y="145"/>
                  </a:cubicBezTo>
                  <a:cubicBezTo>
                    <a:pt x="771" y="156"/>
                    <a:pt x="777" y="165"/>
                    <a:pt x="780" y="175"/>
                  </a:cubicBezTo>
                  <a:cubicBezTo>
                    <a:pt x="782" y="184"/>
                    <a:pt x="785" y="193"/>
                    <a:pt x="788" y="201"/>
                  </a:cubicBezTo>
                  <a:cubicBezTo>
                    <a:pt x="794" y="219"/>
                    <a:pt x="801" y="237"/>
                    <a:pt x="806" y="255"/>
                  </a:cubicBezTo>
                  <a:cubicBezTo>
                    <a:pt x="811" y="272"/>
                    <a:pt x="825" y="280"/>
                    <a:pt x="842" y="273"/>
                  </a:cubicBezTo>
                  <a:cubicBezTo>
                    <a:pt x="845" y="271"/>
                    <a:pt x="847" y="269"/>
                    <a:pt x="848" y="266"/>
                  </a:cubicBezTo>
                  <a:cubicBezTo>
                    <a:pt x="853" y="251"/>
                    <a:pt x="859" y="236"/>
                    <a:pt x="863" y="221"/>
                  </a:cubicBezTo>
                  <a:cubicBezTo>
                    <a:pt x="867" y="202"/>
                    <a:pt x="875" y="185"/>
                    <a:pt x="880" y="166"/>
                  </a:cubicBezTo>
                  <a:cubicBezTo>
                    <a:pt x="886" y="144"/>
                    <a:pt x="895" y="123"/>
                    <a:pt x="900" y="101"/>
                  </a:cubicBezTo>
                  <a:cubicBezTo>
                    <a:pt x="901" y="96"/>
                    <a:pt x="909" y="91"/>
                    <a:pt x="904" y="86"/>
                  </a:cubicBezTo>
                  <a:cubicBezTo>
                    <a:pt x="900" y="81"/>
                    <a:pt x="892" y="84"/>
                    <a:pt x="886" y="84"/>
                  </a:cubicBezTo>
                  <a:cubicBezTo>
                    <a:pt x="885" y="84"/>
                    <a:pt x="883" y="84"/>
                    <a:pt x="881" y="84"/>
                  </a:cubicBezTo>
                  <a:cubicBezTo>
                    <a:pt x="875" y="84"/>
                    <a:pt x="872" y="86"/>
                    <a:pt x="869" y="91"/>
                  </a:cubicBezTo>
                  <a:cubicBezTo>
                    <a:pt x="860" y="110"/>
                    <a:pt x="856" y="131"/>
                    <a:pt x="850" y="151"/>
                  </a:cubicBezTo>
                  <a:cubicBezTo>
                    <a:pt x="844" y="170"/>
                    <a:pt x="836" y="188"/>
                    <a:pt x="834" y="208"/>
                  </a:cubicBezTo>
                  <a:cubicBezTo>
                    <a:pt x="833" y="211"/>
                    <a:pt x="831" y="214"/>
                    <a:pt x="827" y="214"/>
                  </a:cubicBezTo>
                  <a:cubicBezTo>
                    <a:pt x="823" y="214"/>
                    <a:pt x="822" y="210"/>
                    <a:pt x="822" y="207"/>
                  </a:cubicBezTo>
                  <a:cubicBezTo>
                    <a:pt x="817" y="188"/>
                    <a:pt x="811" y="170"/>
                    <a:pt x="805" y="152"/>
                  </a:cubicBezTo>
                  <a:cubicBezTo>
                    <a:pt x="799" y="133"/>
                    <a:pt x="794" y="114"/>
                    <a:pt x="786" y="96"/>
                  </a:cubicBezTo>
                  <a:cubicBezTo>
                    <a:pt x="783" y="87"/>
                    <a:pt x="779" y="84"/>
                    <a:pt x="770" y="84"/>
                  </a:cubicBezTo>
                  <a:cubicBezTo>
                    <a:pt x="761" y="84"/>
                    <a:pt x="752" y="82"/>
                    <a:pt x="748" y="94"/>
                  </a:cubicBezTo>
                  <a:cubicBezTo>
                    <a:pt x="744" y="109"/>
                    <a:pt x="738" y="123"/>
                    <a:pt x="734" y="138"/>
                  </a:cubicBezTo>
                  <a:cubicBezTo>
                    <a:pt x="729" y="153"/>
                    <a:pt x="724" y="167"/>
                    <a:pt x="719" y="182"/>
                  </a:cubicBezTo>
                  <a:cubicBezTo>
                    <a:pt x="716" y="192"/>
                    <a:pt x="715" y="203"/>
                    <a:pt x="708" y="212"/>
                  </a:cubicBezTo>
                  <a:cubicBezTo>
                    <a:pt x="707" y="214"/>
                    <a:pt x="707" y="217"/>
                    <a:pt x="704" y="217"/>
                  </a:cubicBezTo>
                  <a:cubicBezTo>
                    <a:pt x="701" y="217"/>
                    <a:pt x="701" y="213"/>
                    <a:pt x="700" y="211"/>
                  </a:cubicBezTo>
                  <a:cubicBezTo>
                    <a:pt x="699" y="198"/>
                    <a:pt x="694" y="186"/>
                    <a:pt x="690" y="174"/>
                  </a:cubicBezTo>
                  <a:cubicBezTo>
                    <a:pt x="684" y="153"/>
                    <a:pt x="677" y="131"/>
                    <a:pt x="672" y="110"/>
                  </a:cubicBezTo>
                  <a:cubicBezTo>
                    <a:pt x="667" y="88"/>
                    <a:pt x="663" y="84"/>
                    <a:pt x="645" y="84"/>
                  </a:cubicBezTo>
                  <a:cubicBezTo>
                    <a:pt x="643" y="84"/>
                    <a:pt x="641" y="84"/>
                    <a:pt x="639" y="84"/>
                  </a:cubicBezTo>
                  <a:close/>
                  <a:moveTo>
                    <a:pt x="507" y="711"/>
                  </a:moveTo>
                  <a:cubicBezTo>
                    <a:pt x="507" y="730"/>
                    <a:pt x="507" y="730"/>
                    <a:pt x="526" y="730"/>
                  </a:cubicBezTo>
                  <a:cubicBezTo>
                    <a:pt x="539" y="730"/>
                    <a:pt x="541" y="729"/>
                    <a:pt x="541" y="715"/>
                  </a:cubicBezTo>
                  <a:cubicBezTo>
                    <a:pt x="541" y="677"/>
                    <a:pt x="541" y="638"/>
                    <a:pt x="540" y="600"/>
                  </a:cubicBezTo>
                  <a:cubicBezTo>
                    <a:pt x="540" y="593"/>
                    <a:pt x="543" y="587"/>
                    <a:pt x="548" y="582"/>
                  </a:cubicBezTo>
                  <a:cubicBezTo>
                    <a:pt x="553" y="576"/>
                    <a:pt x="559" y="573"/>
                    <a:pt x="564" y="569"/>
                  </a:cubicBezTo>
                  <a:cubicBezTo>
                    <a:pt x="574" y="564"/>
                    <a:pt x="594" y="566"/>
                    <a:pt x="602" y="574"/>
                  </a:cubicBezTo>
                  <a:cubicBezTo>
                    <a:pt x="611" y="582"/>
                    <a:pt x="614" y="592"/>
                    <a:pt x="614" y="604"/>
                  </a:cubicBezTo>
                  <a:cubicBezTo>
                    <a:pt x="614" y="638"/>
                    <a:pt x="614" y="672"/>
                    <a:pt x="614" y="706"/>
                  </a:cubicBezTo>
                  <a:cubicBezTo>
                    <a:pt x="614" y="730"/>
                    <a:pt x="614" y="730"/>
                    <a:pt x="638" y="730"/>
                  </a:cubicBezTo>
                  <a:cubicBezTo>
                    <a:pt x="650" y="730"/>
                    <a:pt x="650" y="730"/>
                    <a:pt x="650" y="717"/>
                  </a:cubicBezTo>
                  <a:cubicBezTo>
                    <a:pt x="650" y="684"/>
                    <a:pt x="650" y="650"/>
                    <a:pt x="650" y="617"/>
                  </a:cubicBezTo>
                  <a:cubicBezTo>
                    <a:pt x="650" y="606"/>
                    <a:pt x="651" y="597"/>
                    <a:pt x="657" y="586"/>
                  </a:cubicBezTo>
                  <a:cubicBezTo>
                    <a:pt x="667" y="565"/>
                    <a:pt x="703" y="560"/>
                    <a:pt x="716" y="579"/>
                  </a:cubicBezTo>
                  <a:cubicBezTo>
                    <a:pt x="723" y="588"/>
                    <a:pt x="724" y="598"/>
                    <a:pt x="724" y="609"/>
                  </a:cubicBezTo>
                  <a:cubicBezTo>
                    <a:pt x="724" y="645"/>
                    <a:pt x="724" y="682"/>
                    <a:pt x="724" y="718"/>
                  </a:cubicBezTo>
                  <a:cubicBezTo>
                    <a:pt x="724" y="727"/>
                    <a:pt x="727" y="731"/>
                    <a:pt x="736" y="730"/>
                  </a:cubicBezTo>
                  <a:cubicBezTo>
                    <a:pt x="738" y="730"/>
                    <a:pt x="741" y="730"/>
                    <a:pt x="743" y="730"/>
                  </a:cubicBezTo>
                  <a:cubicBezTo>
                    <a:pt x="758" y="730"/>
                    <a:pt x="759" y="729"/>
                    <a:pt x="759" y="715"/>
                  </a:cubicBezTo>
                  <a:cubicBezTo>
                    <a:pt x="759" y="677"/>
                    <a:pt x="758" y="639"/>
                    <a:pt x="759" y="601"/>
                  </a:cubicBezTo>
                  <a:cubicBezTo>
                    <a:pt x="759" y="571"/>
                    <a:pt x="742" y="540"/>
                    <a:pt x="704" y="538"/>
                  </a:cubicBezTo>
                  <a:cubicBezTo>
                    <a:pt x="681" y="536"/>
                    <a:pt x="661" y="542"/>
                    <a:pt x="646" y="560"/>
                  </a:cubicBezTo>
                  <a:cubicBezTo>
                    <a:pt x="638" y="569"/>
                    <a:pt x="638" y="569"/>
                    <a:pt x="631" y="559"/>
                  </a:cubicBezTo>
                  <a:cubicBezTo>
                    <a:pt x="630" y="558"/>
                    <a:pt x="630" y="557"/>
                    <a:pt x="629" y="556"/>
                  </a:cubicBezTo>
                  <a:cubicBezTo>
                    <a:pt x="623" y="548"/>
                    <a:pt x="616" y="541"/>
                    <a:pt x="607" y="539"/>
                  </a:cubicBezTo>
                  <a:cubicBezTo>
                    <a:pt x="584" y="534"/>
                    <a:pt x="563" y="539"/>
                    <a:pt x="545" y="555"/>
                  </a:cubicBezTo>
                  <a:cubicBezTo>
                    <a:pt x="540" y="559"/>
                    <a:pt x="537" y="561"/>
                    <a:pt x="537" y="552"/>
                  </a:cubicBezTo>
                  <a:cubicBezTo>
                    <a:pt x="536" y="543"/>
                    <a:pt x="526" y="538"/>
                    <a:pt x="515" y="539"/>
                  </a:cubicBezTo>
                  <a:cubicBezTo>
                    <a:pt x="506" y="540"/>
                    <a:pt x="507" y="546"/>
                    <a:pt x="507" y="552"/>
                  </a:cubicBezTo>
                  <a:cubicBezTo>
                    <a:pt x="507" y="580"/>
                    <a:pt x="507" y="607"/>
                    <a:pt x="507" y="634"/>
                  </a:cubicBezTo>
                  <a:cubicBezTo>
                    <a:pt x="507" y="660"/>
                    <a:pt x="507" y="685"/>
                    <a:pt x="507" y="711"/>
                  </a:cubicBezTo>
                  <a:close/>
                  <a:moveTo>
                    <a:pt x="1525" y="1142"/>
                  </a:moveTo>
                  <a:cubicBezTo>
                    <a:pt x="1517" y="1143"/>
                    <a:pt x="1511" y="1141"/>
                    <a:pt x="1505" y="1136"/>
                  </a:cubicBezTo>
                  <a:cubicBezTo>
                    <a:pt x="1501" y="1133"/>
                    <a:pt x="1495" y="1130"/>
                    <a:pt x="1498" y="1124"/>
                  </a:cubicBezTo>
                  <a:cubicBezTo>
                    <a:pt x="1500" y="1118"/>
                    <a:pt x="1504" y="1114"/>
                    <a:pt x="1512" y="1114"/>
                  </a:cubicBezTo>
                  <a:cubicBezTo>
                    <a:pt x="1521" y="1115"/>
                    <a:pt x="1530" y="1114"/>
                    <a:pt x="1538" y="1115"/>
                  </a:cubicBezTo>
                  <a:cubicBezTo>
                    <a:pt x="1573" y="1117"/>
                    <a:pt x="1610" y="1084"/>
                    <a:pt x="1602" y="1044"/>
                  </a:cubicBezTo>
                  <a:cubicBezTo>
                    <a:pt x="1600" y="1035"/>
                    <a:pt x="1599" y="1028"/>
                    <a:pt x="1611" y="1027"/>
                  </a:cubicBezTo>
                  <a:cubicBezTo>
                    <a:pt x="1614" y="1027"/>
                    <a:pt x="1617" y="1024"/>
                    <a:pt x="1619" y="1023"/>
                  </a:cubicBezTo>
                  <a:cubicBezTo>
                    <a:pt x="1626" y="1019"/>
                    <a:pt x="1624" y="1013"/>
                    <a:pt x="1623" y="1008"/>
                  </a:cubicBezTo>
                  <a:cubicBezTo>
                    <a:pt x="1623" y="1002"/>
                    <a:pt x="1618" y="1003"/>
                    <a:pt x="1613" y="1002"/>
                  </a:cubicBezTo>
                  <a:cubicBezTo>
                    <a:pt x="1598" y="1002"/>
                    <a:pt x="1582" y="1004"/>
                    <a:pt x="1567" y="1000"/>
                  </a:cubicBezTo>
                  <a:cubicBezTo>
                    <a:pt x="1560" y="999"/>
                    <a:pt x="1554" y="993"/>
                    <a:pt x="1546" y="993"/>
                  </a:cubicBezTo>
                  <a:cubicBezTo>
                    <a:pt x="1536" y="994"/>
                    <a:pt x="1525" y="992"/>
                    <a:pt x="1515" y="993"/>
                  </a:cubicBezTo>
                  <a:cubicBezTo>
                    <a:pt x="1490" y="997"/>
                    <a:pt x="1469" y="1010"/>
                    <a:pt x="1462" y="1034"/>
                  </a:cubicBezTo>
                  <a:cubicBezTo>
                    <a:pt x="1455" y="1056"/>
                    <a:pt x="1457" y="1079"/>
                    <a:pt x="1476" y="1096"/>
                  </a:cubicBezTo>
                  <a:cubicBezTo>
                    <a:pt x="1483" y="1103"/>
                    <a:pt x="1483" y="1107"/>
                    <a:pt x="1476" y="1113"/>
                  </a:cubicBezTo>
                  <a:cubicBezTo>
                    <a:pt x="1462" y="1126"/>
                    <a:pt x="1462" y="1142"/>
                    <a:pt x="1473" y="1157"/>
                  </a:cubicBezTo>
                  <a:cubicBezTo>
                    <a:pt x="1476" y="1160"/>
                    <a:pt x="1476" y="1162"/>
                    <a:pt x="1472" y="1164"/>
                  </a:cubicBezTo>
                  <a:cubicBezTo>
                    <a:pt x="1470" y="1166"/>
                    <a:pt x="1468" y="1168"/>
                    <a:pt x="1466" y="1170"/>
                  </a:cubicBezTo>
                  <a:cubicBezTo>
                    <a:pt x="1449" y="1183"/>
                    <a:pt x="1444" y="1201"/>
                    <a:pt x="1454" y="1218"/>
                  </a:cubicBezTo>
                  <a:cubicBezTo>
                    <a:pt x="1464" y="1235"/>
                    <a:pt x="1479" y="1246"/>
                    <a:pt x="1499" y="1249"/>
                  </a:cubicBezTo>
                  <a:cubicBezTo>
                    <a:pt x="1517" y="1252"/>
                    <a:pt x="1535" y="1253"/>
                    <a:pt x="1553" y="1250"/>
                  </a:cubicBezTo>
                  <a:cubicBezTo>
                    <a:pt x="1584" y="1245"/>
                    <a:pt x="1607" y="1232"/>
                    <a:pt x="1619" y="1200"/>
                  </a:cubicBezTo>
                  <a:cubicBezTo>
                    <a:pt x="1627" y="1180"/>
                    <a:pt x="1611" y="1155"/>
                    <a:pt x="1593" y="1148"/>
                  </a:cubicBezTo>
                  <a:cubicBezTo>
                    <a:pt x="1578" y="1142"/>
                    <a:pt x="1563" y="1143"/>
                    <a:pt x="1549" y="1142"/>
                  </a:cubicBezTo>
                  <a:cubicBezTo>
                    <a:pt x="1540" y="1142"/>
                    <a:pt x="1532" y="1142"/>
                    <a:pt x="1525" y="1142"/>
                  </a:cubicBezTo>
                  <a:close/>
                  <a:moveTo>
                    <a:pt x="1556" y="1172"/>
                  </a:moveTo>
                  <a:cubicBezTo>
                    <a:pt x="1566" y="1172"/>
                    <a:pt x="1576" y="1176"/>
                    <a:pt x="1583" y="1183"/>
                  </a:cubicBezTo>
                  <a:cubicBezTo>
                    <a:pt x="1589" y="1190"/>
                    <a:pt x="1589" y="1198"/>
                    <a:pt x="1583" y="1205"/>
                  </a:cubicBezTo>
                  <a:cubicBezTo>
                    <a:pt x="1575" y="1215"/>
                    <a:pt x="1565" y="1220"/>
                    <a:pt x="1553" y="1223"/>
                  </a:cubicBezTo>
                  <a:cubicBezTo>
                    <a:pt x="1534" y="1228"/>
                    <a:pt x="1516" y="1225"/>
                    <a:pt x="1499" y="1219"/>
                  </a:cubicBezTo>
                  <a:cubicBezTo>
                    <a:pt x="1486" y="1214"/>
                    <a:pt x="1479" y="1203"/>
                    <a:pt x="1482" y="1193"/>
                  </a:cubicBezTo>
                  <a:cubicBezTo>
                    <a:pt x="1485" y="1182"/>
                    <a:pt x="1496" y="1168"/>
                    <a:pt x="1514" y="1171"/>
                  </a:cubicBezTo>
                  <a:cubicBezTo>
                    <a:pt x="1526" y="1173"/>
                    <a:pt x="1541" y="1171"/>
                    <a:pt x="1556" y="1172"/>
                  </a:cubicBezTo>
                  <a:close/>
                  <a:moveTo>
                    <a:pt x="1531" y="1019"/>
                  </a:moveTo>
                  <a:cubicBezTo>
                    <a:pt x="1553" y="1017"/>
                    <a:pt x="1570" y="1033"/>
                    <a:pt x="1570" y="1052"/>
                  </a:cubicBezTo>
                  <a:cubicBezTo>
                    <a:pt x="1570" y="1075"/>
                    <a:pt x="1554" y="1093"/>
                    <a:pt x="1532" y="1091"/>
                  </a:cubicBezTo>
                  <a:cubicBezTo>
                    <a:pt x="1508" y="1089"/>
                    <a:pt x="1494" y="1082"/>
                    <a:pt x="1493" y="1053"/>
                  </a:cubicBezTo>
                  <a:cubicBezTo>
                    <a:pt x="1494" y="1029"/>
                    <a:pt x="1508" y="1020"/>
                    <a:pt x="1531" y="1019"/>
                  </a:cubicBezTo>
                  <a:close/>
                  <a:moveTo>
                    <a:pt x="1413" y="934"/>
                  </a:moveTo>
                  <a:cubicBezTo>
                    <a:pt x="1413" y="909"/>
                    <a:pt x="1413" y="909"/>
                    <a:pt x="1389" y="910"/>
                  </a:cubicBezTo>
                  <a:cubicBezTo>
                    <a:pt x="1388" y="910"/>
                    <a:pt x="1387" y="910"/>
                    <a:pt x="1387" y="910"/>
                  </a:cubicBezTo>
                  <a:cubicBezTo>
                    <a:pt x="1379" y="910"/>
                    <a:pt x="1376" y="915"/>
                    <a:pt x="1376" y="921"/>
                  </a:cubicBezTo>
                  <a:cubicBezTo>
                    <a:pt x="1376" y="939"/>
                    <a:pt x="1377" y="956"/>
                    <a:pt x="1377" y="974"/>
                  </a:cubicBezTo>
                  <a:cubicBezTo>
                    <a:pt x="1377" y="983"/>
                    <a:pt x="1377" y="991"/>
                    <a:pt x="1377" y="1000"/>
                  </a:cubicBezTo>
                  <a:cubicBezTo>
                    <a:pt x="1377" y="1005"/>
                    <a:pt x="1374" y="1009"/>
                    <a:pt x="1369" y="1005"/>
                  </a:cubicBezTo>
                  <a:cubicBezTo>
                    <a:pt x="1352" y="990"/>
                    <a:pt x="1332" y="993"/>
                    <a:pt x="1312" y="993"/>
                  </a:cubicBezTo>
                  <a:cubicBezTo>
                    <a:pt x="1303" y="994"/>
                    <a:pt x="1294" y="998"/>
                    <a:pt x="1287" y="1003"/>
                  </a:cubicBezTo>
                  <a:cubicBezTo>
                    <a:pt x="1265" y="1017"/>
                    <a:pt x="1252" y="1039"/>
                    <a:pt x="1248" y="1065"/>
                  </a:cubicBezTo>
                  <a:cubicBezTo>
                    <a:pt x="1244" y="1096"/>
                    <a:pt x="1244" y="1128"/>
                    <a:pt x="1261" y="1157"/>
                  </a:cubicBezTo>
                  <a:cubicBezTo>
                    <a:pt x="1270" y="1170"/>
                    <a:pt x="1281" y="1181"/>
                    <a:pt x="1296" y="1185"/>
                  </a:cubicBezTo>
                  <a:cubicBezTo>
                    <a:pt x="1323" y="1191"/>
                    <a:pt x="1349" y="1188"/>
                    <a:pt x="1370" y="1167"/>
                  </a:cubicBezTo>
                  <a:cubicBezTo>
                    <a:pt x="1372" y="1165"/>
                    <a:pt x="1375" y="1162"/>
                    <a:pt x="1379" y="1163"/>
                  </a:cubicBezTo>
                  <a:cubicBezTo>
                    <a:pt x="1382" y="1165"/>
                    <a:pt x="1381" y="1169"/>
                    <a:pt x="1381" y="1172"/>
                  </a:cubicBezTo>
                  <a:cubicBezTo>
                    <a:pt x="1383" y="1181"/>
                    <a:pt x="1390" y="1186"/>
                    <a:pt x="1403" y="1186"/>
                  </a:cubicBezTo>
                  <a:cubicBezTo>
                    <a:pt x="1413" y="1185"/>
                    <a:pt x="1413" y="1178"/>
                    <a:pt x="1413" y="1172"/>
                  </a:cubicBezTo>
                  <a:cubicBezTo>
                    <a:pt x="1413" y="1131"/>
                    <a:pt x="1413" y="1090"/>
                    <a:pt x="1413" y="1049"/>
                  </a:cubicBezTo>
                  <a:cubicBezTo>
                    <a:pt x="1413" y="1010"/>
                    <a:pt x="1413" y="972"/>
                    <a:pt x="1413" y="934"/>
                  </a:cubicBezTo>
                  <a:close/>
                  <a:moveTo>
                    <a:pt x="1378" y="1113"/>
                  </a:moveTo>
                  <a:cubicBezTo>
                    <a:pt x="1378" y="1136"/>
                    <a:pt x="1360" y="1155"/>
                    <a:pt x="1337" y="1157"/>
                  </a:cubicBezTo>
                  <a:cubicBezTo>
                    <a:pt x="1319" y="1159"/>
                    <a:pt x="1304" y="1154"/>
                    <a:pt x="1294" y="1139"/>
                  </a:cubicBezTo>
                  <a:cubicBezTo>
                    <a:pt x="1286" y="1128"/>
                    <a:pt x="1283" y="1116"/>
                    <a:pt x="1283" y="1102"/>
                  </a:cubicBezTo>
                  <a:cubicBezTo>
                    <a:pt x="1282" y="1085"/>
                    <a:pt x="1282" y="1067"/>
                    <a:pt x="1290" y="1051"/>
                  </a:cubicBezTo>
                  <a:cubicBezTo>
                    <a:pt x="1297" y="1036"/>
                    <a:pt x="1308" y="1024"/>
                    <a:pt x="1325" y="1022"/>
                  </a:cubicBezTo>
                  <a:cubicBezTo>
                    <a:pt x="1342" y="1020"/>
                    <a:pt x="1358" y="1021"/>
                    <a:pt x="1371" y="1035"/>
                  </a:cubicBezTo>
                  <a:cubicBezTo>
                    <a:pt x="1376" y="1041"/>
                    <a:pt x="1378" y="1046"/>
                    <a:pt x="1378" y="1052"/>
                  </a:cubicBezTo>
                  <a:cubicBezTo>
                    <a:pt x="1378" y="1064"/>
                    <a:pt x="1378" y="1075"/>
                    <a:pt x="1378" y="1086"/>
                  </a:cubicBezTo>
                  <a:cubicBezTo>
                    <a:pt x="1378" y="1086"/>
                    <a:pt x="1378" y="1086"/>
                    <a:pt x="1378" y="1086"/>
                  </a:cubicBezTo>
                  <a:cubicBezTo>
                    <a:pt x="1378" y="1095"/>
                    <a:pt x="1378" y="1104"/>
                    <a:pt x="1378" y="1113"/>
                  </a:cubicBezTo>
                  <a:close/>
                  <a:moveTo>
                    <a:pt x="578" y="259"/>
                  </a:moveTo>
                  <a:cubicBezTo>
                    <a:pt x="603" y="241"/>
                    <a:pt x="611" y="213"/>
                    <a:pt x="614" y="183"/>
                  </a:cubicBezTo>
                  <a:cubicBezTo>
                    <a:pt x="615" y="171"/>
                    <a:pt x="610" y="159"/>
                    <a:pt x="609" y="147"/>
                  </a:cubicBezTo>
                  <a:cubicBezTo>
                    <a:pt x="608" y="137"/>
                    <a:pt x="603" y="129"/>
                    <a:pt x="599" y="121"/>
                  </a:cubicBezTo>
                  <a:cubicBezTo>
                    <a:pt x="579" y="87"/>
                    <a:pt x="527" y="70"/>
                    <a:pt x="488" y="85"/>
                  </a:cubicBezTo>
                  <a:cubicBezTo>
                    <a:pt x="453" y="99"/>
                    <a:pt x="436" y="127"/>
                    <a:pt x="431" y="163"/>
                  </a:cubicBezTo>
                  <a:cubicBezTo>
                    <a:pt x="429" y="180"/>
                    <a:pt x="430" y="196"/>
                    <a:pt x="436" y="213"/>
                  </a:cubicBezTo>
                  <a:cubicBezTo>
                    <a:pt x="439" y="222"/>
                    <a:pt x="442" y="232"/>
                    <a:pt x="447" y="239"/>
                  </a:cubicBezTo>
                  <a:cubicBezTo>
                    <a:pt x="465" y="265"/>
                    <a:pt x="491" y="277"/>
                    <a:pt x="525" y="276"/>
                  </a:cubicBezTo>
                  <a:cubicBezTo>
                    <a:pt x="543" y="278"/>
                    <a:pt x="562" y="271"/>
                    <a:pt x="578" y="259"/>
                  </a:cubicBezTo>
                  <a:close/>
                  <a:moveTo>
                    <a:pt x="471" y="205"/>
                  </a:moveTo>
                  <a:cubicBezTo>
                    <a:pt x="466" y="185"/>
                    <a:pt x="468" y="167"/>
                    <a:pt x="472" y="147"/>
                  </a:cubicBezTo>
                  <a:cubicBezTo>
                    <a:pt x="477" y="130"/>
                    <a:pt x="493" y="116"/>
                    <a:pt x="509" y="112"/>
                  </a:cubicBezTo>
                  <a:cubicBezTo>
                    <a:pt x="525" y="108"/>
                    <a:pt x="539" y="110"/>
                    <a:pt x="553" y="119"/>
                  </a:cubicBezTo>
                  <a:cubicBezTo>
                    <a:pt x="563" y="125"/>
                    <a:pt x="568" y="135"/>
                    <a:pt x="571" y="146"/>
                  </a:cubicBezTo>
                  <a:cubicBezTo>
                    <a:pt x="577" y="167"/>
                    <a:pt x="578" y="189"/>
                    <a:pt x="571" y="211"/>
                  </a:cubicBezTo>
                  <a:cubicBezTo>
                    <a:pt x="565" y="231"/>
                    <a:pt x="549" y="249"/>
                    <a:pt x="521" y="247"/>
                  </a:cubicBezTo>
                  <a:cubicBezTo>
                    <a:pt x="496" y="247"/>
                    <a:pt x="478" y="230"/>
                    <a:pt x="471" y="205"/>
                  </a:cubicBezTo>
                  <a:close/>
                  <a:moveTo>
                    <a:pt x="472" y="1122"/>
                  </a:moveTo>
                  <a:cubicBezTo>
                    <a:pt x="475" y="1136"/>
                    <a:pt x="481" y="1148"/>
                    <a:pt x="491" y="1158"/>
                  </a:cubicBezTo>
                  <a:cubicBezTo>
                    <a:pt x="506" y="1176"/>
                    <a:pt x="524" y="1185"/>
                    <a:pt x="548" y="1187"/>
                  </a:cubicBezTo>
                  <a:cubicBezTo>
                    <a:pt x="568" y="1188"/>
                    <a:pt x="587" y="1187"/>
                    <a:pt x="605" y="1177"/>
                  </a:cubicBezTo>
                  <a:cubicBezTo>
                    <a:pt x="632" y="1162"/>
                    <a:pt x="644" y="1136"/>
                    <a:pt x="649" y="1107"/>
                  </a:cubicBezTo>
                  <a:cubicBezTo>
                    <a:pt x="652" y="1089"/>
                    <a:pt x="649" y="1072"/>
                    <a:pt x="644" y="1054"/>
                  </a:cubicBezTo>
                  <a:cubicBezTo>
                    <a:pt x="638" y="1034"/>
                    <a:pt x="627" y="1019"/>
                    <a:pt x="610" y="1007"/>
                  </a:cubicBezTo>
                  <a:cubicBezTo>
                    <a:pt x="589" y="992"/>
                    <a:pt x="566" y="991"/>
                    <a:pt x="541" y="994"/>
                  </a:cubicBezTo>
                  <a:cubicBezTo>
                    <a:pt x="526" y="995"/>
                    <a:pt x="512" y="1002"/>
                    <a:pt x="500" y="1012"/>
                  </a:cubicBezTo>
                  <a:cubicBezTo>
                    <a:pt x="476" y="1032"/>
                    <a:pt x="469" y="1060"/>
                    <a:pt x="466" y="1095"/>
                  </a:cubicBezTo>
                  <a:cubicBezTo>
                    <a:pt x="465" y="1101"/>
                    <a:pt x="470" y="1111"/>
                    <a:pt x="472" y="1122"/>
                  </a:cubicBezTo>
                  <a:close/>
                  <a:moveTo>
                    <a:pt x="508" y="1113"/>
                  </a:moveTo>
                  <a:cubicBezTo>
                    <a:pt x="505" y="1095"/>
                    <a:pt x="506" y="1078"/>
                    <a:pt x="508" y="1061"/>
                  </a:cubicBezTo>
                  <a:cubicBezTo>
                    <a:pt x="511" y="1042"/>
                    <a:pt x="538" y="1021"/>
                    <a:pt x="554" y="1022"/>
                  </a:cubicBezTo>
                  <a:cubicBezTo>
                    <a:pt x="570" y="1022"/>
                    <a:pt x="586" y="1024"/>
                    <a:pt x="596" y="1037"/>
                  </a:cubicBezTo>
                  <a:cubicBezTo>
                    <a:pt x="602" y="1044"/>
                    <a:pt x="607" y="1052"/>
                    <a:pt x="608" y="1061"/>
                  </a:cubicBezTo>
                  <a:cubicBezTo>
                    <a:pt x="608" y="1064"/>
                    <a:pt x="609" y="1067"/>
                    <a:pt x="610" y="1070"/>
                  </a:cubicBezTo>
                  <a:cubicBezTo>
                    <a:pt x="618" y="1089"/>
                    <a:pt x="612" y="1107"/>
                    <a:pt x="607" y="1125"/>
                  </a:cubicBezTo>
                  <a:cubicBezTo>
                    <a:pt x="601" y="1143"/>
                    <a:pt x="588" y="1160"/>
                    <a:pt x="558" y="1157"/>
                  </a:cubicBezTo>
                  <a:cubicBezTo>
                    <a:pt x="530" y="1157"/>
                    <a:pt x="512" y="1141"/>
                    <a:pt x="508" y="1113"/>
                  </a:cubicBezTo>
                  <a:close/>
                  <a:moveTo>
                    <a:pt x="430" y="716"/>
                  </a:moveTo>
                  <a:cubicBezTo>
                    <a:pt x="450" y="703"/>
                    <a:pt x="459" y="683"/>
                    <a:pt x="464" y="661"/>
                  </a:cubicBezTo>
                  <a:cubicBezTo>
                    <a:pt x="468" y="648"/>
                    <a:pt x="467" y="635"/>
                    <a:pt x="466" y="621"/>
                  </a:cubicBezTo>
                  <a:cubicBezTo>
                    <a:pt x="463" y="592"/>
                    <a:pt x="453" y="567"/>
                    <a:pt x="427" y="550"/>
                  </a:cubicBezTo>
                  <a:cubicBezTo>
                    <a:pt x="401" y="534"/>
                    <a:pt x="372" y="532"/>
                    <a:pt x="345" y="541"/>
                  </a:cubicBezTo>
                  <a:cubicBezTo>
                    <a:pt x="310" y="552"/>
                    <a:pt x="291" y="580"/>
                    <a:pt x="287" y="617"/>
                  </a:cubicBezTo>
                  <a:cubicBezTo>
                    <a:pt x="286" y="629"/>
                    <a:pt x="286" y="641"/>
                    <a:pt x="287" y="654"/>
                  </a:cubicBezTo>
                  <a:cubicBezTo>
                    <a:pt x="289" y="671"/>
                    <a:pt x="295" y="686"/>
                    <a:pt x="306" y="700"/>
                  </a:cubicBezTo>
                  <a:cubicBezTo>
                    <a:pt x="324" y="722"/>
                    <a:pt x="348" y="733"/>
                    <a:pt x="378" y="731"/>
                  </a:cubicBezTo>
                  <a:cubicBezTo>
                    <a:pt x="396" y="733"/>
                    <a:pt x="414" y="727"/>
                    <a:pt x="430" y="716"/>
                  </a:cubicBezTo>
                  <a:close/>
                  <a:moveTo>
                    <a:pt x="331" y="592"/>
                  </a:moveTo>
                  <a:cubicBezTo>
                    <a:pt x="339" y="580"/>
                    <a:pt x="349" y="569"/>
                    <a:pt x="365" y="567"/>
                  </a:cubicBezTo>
                  <a:cubicBezTo>
                    <a:pt x="387" y="564"/>
                    <a:pt x="406" y="568"/>
                    <a:pt x="419" y="588"/>
                  </a:cubicBezTo>
                  <a:cubicBezTo>
                    <a:pt x="423" y="595"/>
                    <a:pt x="426" y="603"/>
                    <a:pt x="427" y="610"/>
                  </a:cubicBezTo>
                  <a:cubicBezTo>
                    <a:pt x="433" y="635"/>
                    <a:pt x="431" y="661"/>
                    <a:pt x="416" y="684"/>
                  </a:cubicBezTo>
                  <a:cubicBezTo>
                    <a:pt x="403" y="706"/>
                    <a:pt x="362" y="708"/>
                    <a:pt x="345" y="692"/>
                  </a:cubicBezTo>
                  <a:cubicBezTo>
                    <a:pt x="329" y="678"/>
                    <a:pt x="323" y="661"/>
                    <a:pt x="323" y="631"/>
                  </a:cubicBezTo>
                  <a:cubicBezTo>
                    <a:pt x="323" y="619"/>
                    <a:pt x="323" y="605"/>
                    <a:pt x="331" y="592"/>
                  </a:cubicBezTo>
                  <a:close/>
                  <a:moveTo>
                    <a:pt x="1073" y="259"/>
                  </a:moveTo>
                  <a:cubicBezTo>
                    <a:pt x="1073" y="269"/>
                    <a:pt x="1075" y="272"/>
                    <a:pt x="1086" y="272"/>
                  </a:cubicBezTo>
                  <a:cubicBezTo>
                    <a:pt x="1088" y="272"/>
                    <a:pt x="1090" y="272"/>
                    <a:pt x="1092" y="272"/>
                  </a:cubicBezTo>
                  <a:cubicBezTo>
                    <a:pt x="1105" y="272"/>
                    <a:pt x="1106" y="271"/>
                    <a:pt x="1106" y="258"/>
                  </a:cubicBezTo>
                  <a:cubicBezTo>
                    <a:pt x="1106" y="221"/>
                    <a:pt x="1106" y="184"/>
                    <a:pt x="1106" y="147"/>
                  </a:cubicBezTo>
                  <a:cubicBezTo>
                    <a:pt x="1106" y="143"/>
                    <a:pt x="1106" y="140"/>
                    <a:pt x="1107" y="137"/>
                  </a:cubicBezTo>
                  <a:cubicBezTo>
                    <a:pt x="1117" y="117"/>
                    <a:pt x="1157" y="104"/>
                    <a:pt x="1177" y="114"/>
                  </a:cubicBezTo>
                  <a:cubicBezTo>
                    <a:pt x="1179" y="115"/>
                    <a:pt x="1180" y="117"/>
                    <a:pt x="1182" y="118"/>
                  </a:cubicBezTo>
                  <a:cubicBezTo>
                    <a:pt x="1194" y="131"/>
                    <a:pt x="1196" y="147"/>
                    <a:pt x="1196" y="163"/>
                  </a:cubicBezTo>
                  <a:cubicBezTo>
                    <a:pt x="1197" y="195"/>
                    <a:pt x="1196" y="226"/>
                    <a:pt x="1196" y="258"/>
                  </a:cubicBezTo>
                  <a:cubicBezTo>
                    <a:pt x="1196" y="271"/>
                    <a:pt x="1197" y="272"/>
                    <a:pt x="1210" y="272"/>
                  </a:cubicBezTo>
                  <a:cubicBezTo>
                    <a:pt x="1212" y="272"/>
                    <a:pt x="1213" y="272"/>
                    <a:pt x="1215" y="272"/>
                  </a:cubicBezTo>
                  <a:cubicBezTo>
                    <a:pt x="1227" y="272"/>
                    <a:pt x="1229" y="270"/>
                    <a:pt x="1229" y="258"/>
                  </a:cubicBezTo>
                  <a:cubicBezTo>
                    <a:pt x="1229" y="222"/>
                    <a:pt x="1229" y="187"/>
                    <a:pt x="1229" y="151"/>
                  </a:cubicBezTo>
                  <a:cubicBezTo>
                    <a:pt x="1229" y="142"/>
                    <a:pt x="1228" y="132"/>
                    <a:pt x="1225" y="123"/>
                  </a:cubicBezTo>
                  <a:cubicBezTo>
                    <a:pt x="1219" y="105"/>
                    <a:pt x="1208" y="91"/>
                    <a:pt x="1189" y="85"/>
                  </a:cubicBezTo>
                  <a:cubicBezTo>
                    <a:pt x="1173" y="80"/>
                    <a:pt x="1156" y="84"/>
                    <a:pt x="1139" y="84"/>
                  </a:cubicBezTo>
                  <a:cubicBezTo>
                    <a:pt x="1137" y="84"/>
                    <a:pt x="1136" y="86"/>
                    <a:pt x="1134" y="87"/>
                  </a:cubicBezTo>
                  <a:cubicBezTo>
                    <a:pt x="1128" y="91"/>
                    <a:pt x="1121" y="96"/>
                    <a:pt x="1115" y="100"/>
                  </a:cubicBezTo>
                  <a:cubicBezTo>
                    <a:pt x="1113" y="102"/>
                    <a:pt x="1111" y="105"/>
                    <a:pt x="1108" y="103"/>
                  </a:cubicBezTo>
                  <a:cubicBezTo>
                    <a:pt x="1105" y="102"/>
                    <a:pt x="1106" y="98"/>
                    <a:pt x="1106" y="96"/>
                  </a:cubicBezTo>
                  <a:cubicBezTo>
                    <a:pt x="1106" y="69"/>
                    <a:pt x="1106" y="43"/>
                    <a:pt x="1106" y="17"/>
                  </a:cubicBezTo>
                  <a:cubicBezTo>
                    <a:pt x="1106" y="0"/>
                    <a:pt x="1106" y="0"/>
                    <a:pt x="1089" y="0"/>
                  </a:cubicBezTo>
                  <a:cubicBezTo>
                    <a:pt x="1074" y="0"/>
                    <a:pt x="1073" y="1"/>
                    <a:pt x="1073" y="16"/>
                  </a:cubicBezTo>
                  <a:cubicBezTo>
                    <a:pt x="1073" y="56"/>
                    <a:pt x="1073" y="96"/>
                    <a:pt x="1073" y="136"/>
                  </a:cubicBezTo>
                  <a:cubicBezTo>
                    <a:pt x="1073" y="177"/>
                    <a:pt x="1073" y="218"/>
                    <a:pt x="1073" y="259"/>
                  </a:cubicBezTo>
                  <a:close/>
                  <a:moveTo>
                    <a:pt x="1150" y="1092"/>
                  </a:moveTo>
                  <a:cubicBezTo>
                    <a:pt x="1168" y="1092"/>
                    <a:pt x="1186" y="1092"/>
                    <a:pt x="1204" y="1092"/>
                  </a:cubicBezTo>
                  <a:cubicBezTo>
                    <a:pt x="1215" y="1092"/>
                    <a:pt x="1218" y="1087"/>
                    <a:pt x="1219" y="1077"/>
                  </a:cubicBezTo>
                  <a:cubicBezTo>
                    <a:pt x="1220" y="1062"/>
                    <a:pt x="1216" y="1049"/>
                    <a:pt x="1210" y="1036"/>
                  </a:cubicBezTo>
                  <a:cubicBezTo>
                    <a:pt x="1204" y="1020"/>
                    <a:pt x="1193" y="1008"/>
                    <a:pt x="1177" y="1001"/>
                  </a:cubicBezTo>
                  <a:cubicBezTo>
                    <a:pt x="1155" y="992"/>
                    <a:pt x="1133" y="991"/>
                    <a:pt x="1109" y="999"/>
                  </a:cubicBezTo>
                  <a:cubicBezTo>
                    <a:pt x="1079" y="1010"/>
                    <a:pt x="1062" y="1031"/>
                    <a:pt x="1056" y="1061"/>
                  </a:cubicBezTo>
                  <a:cubicBezTo>
                    <a:pt x="1051" y="1090"/>
                    <a:pt x="1052" y="1120"/>
                    <a:pt x="1069" y="1148"/>
                  </a:cubicBezTo>
                  <a:cubicBezTo>
                    <a:pt x="1081" y="1169"/>
                    <a:pt x="1100" y="1180"/>
                    <a:pt x="1122" y="1185"/>
                  </a:cubicBezTo>
                  <a:cubicBezTo>
                    <a:pt x="1149" y="1190"/>
                    <a:pt x="1176" y="1186"/>
                    <a:pt x="1200" y="1171"/>
                  </a:cubicBezTo>
                  <a:cubicBezTo>
                    <a:pt x="1206" y="1168"/>
                    <a:pt x="1213" y="1165"/>
                    <a:pt x="1214" y="1157"/>
                  </a:cubicBezTo>
                  <a:cubicBezTo>
                    <a:pt x="1215" y="1147"/>
                    <a:pt x="1202" y="1139"/>
                    <a:pt x="1193" y="1144"/>
                  </a:cubicBezTo>
                  <a:cubicBezTo>
                    <a:pt x="1187" y="1147"/>
                    <a:pt x="1180" y="1150"/>
                    <a:pt x="1174" y="1153"/>
                  </a:cubicBezTo>
                  <a:cubicBezTo>
                    <a:pt x="1158" y="1161"/>
                    <a:pt x="1140" y="1161"/>
                    <a:pt x="1124" y="1155"/>
                  </a:cubicBezTo>
                  <a:cubicBezTo>
                    <a:pt x="1112" y="1151"/>
                    <a:pt x="1102" y="1142"/>
                    <a:pt x="1096" y="1129"/>
                  </a:cubicBezTo>
                  <a:cubicBezTo>
                    <a:pt x="1092" y="1121"/>
                    <a:pt x="1091" y="1112"/>
                    <a:pt x="1089" y="1104"/>
                  </a:cubicBezTo>
                  <a:cubicBezTo>
                    <a:pt x="1087" y="1093"/>
                    <a:pt x="1087" y="1092"/>
                    <a:pt x="1099" y="1092"/>
                  </a:cubicBezTo>
                  <a:cubicBezTo>
                    <a:pt x="1116" y="1092"/>
                    <a:pt x="1133" y="1092"/>
                    <a:pt x="1150" y="1092"/>
                  </a:cubicBezTo>
                  <a:cubicBezTo>
                    <a:pt x="1150" y="1092"/>
                    <a:pt x="1150" y="1092"/>
                    <a:pt x="1150" y="1092"/>
                  </a:cubicBezTo>
                  <a:close/>
                  <a:moveTo>
                    <a:pt x="1099" y="1070"/>
                  </a:moveTo>
                  <a:cubicBezTo>
                    <a:pt x="1092" y="1071"/>
                    <a:pt x="1089" y="1067"/>
                    <a:pt x="1091" y="1060"/>
                  </a:cubicBezTo>
                  <a:cubicBezTo>
                    <a:pt x="1094" y="1045"/>
                    <a:pt x="1108" y="1023"/>
                    <a:pt x="1128" y="1022"/>
                  </a:cubicBezTo>
                  <a:cubicBezTo>
                    <a:pt x="1142" y="1021"/>
                    <a:pt x="1156" y="1018"/>
                    <a:pt x="1168" y="1029"/>
                  </a:cubicBezTo>
                  <a:cubicBezTo>
                    <a:pt x="1181" y="1038"/>
                    <a:pt x="1185" y="1051"/>
                    <a:pt x="1187" y="1066"/>
                  </a:cubicBezTo>
                  <a:cubicBezTo>
                    <a:pt x="1188" y="1071"/>
                    <a:pt x="1183" y="1070"/>
                    <a:pt x="1180" y="1070"/>
                  </a:cubicBezTo>
                  <a:cubicBezTo>
                    <a:pt x="1166" y="1070"/>
                    <a:pt x="1153" y="1070"/>
                    <a:pt x="1139" y="1070"/>
                  </a:cubicBezTo>
                  <a:cubicBezTo>
                    <a:pt x="1139" y="1070"/>
                    <a:pt x="1139" y="1070"/>
                    <a:pt x="1139" y="1070"/>
                  </a:cubicBezTo>
                  <a:cubicBezTo>
                    <a:pt x="1126" y="1070"/>
                    <a:pt x="1113" y="1070"/>
                    <a:pt x="1099" y="1070"/>
                  </a:cubicBezTo>
                  <a:close/>
                  <a:moveTo>
                    <a:pt x="1741" y="1092"/>
                  </a:moveTo>
                  <a:cubicBezTo>
                    <a:pt x="1759" y="1092"/>
                    <a:pt x="1776" y="1092"/>
                    <a:pt x="1793" y="1092"/>
                  </a:cubicBezTo>
                  <a:cubicBezTo>
                    <a:pt x="1806" y="1092"/>
                    <a:pt x="1808" y="1089"/>
                    <a:pt x="1808" y="1076"/>
                  </a:cubicBezTo>
                  <a:cubicBezTo>
                    <a:pt x="1809" y="1063"/>
                    <a:pt x="1807" y="1051"/>
                    <a:pt x="1802" y="1038"/>
                  </a:cubicBezTo>
                  <a:cubicBezTo>
                    <a:pt x="1794" y="1021"/>
                    <a:pt x="1782" y="1008"/>
                    <a:pt x="1764" y="1000"/>
                  </a:cubicBezTo>
                  <a:cubicBezTo>
                    <a:pt x="1742" y="991"/>
                    <a:pt x="1720" y="991"/>
                    <a:pt x="1698" y="1000"/>
                  </a:cubicBezTo>
                  <a:cubicBezTo>
                    <a:pt x="1681" y="1006"/>
                    <a:pt x="1668" y="1016"/>
                    <a:pt x="1659" y="1031"/>
                  </a:cubicBezTo>
                  <a:cubicBezTo>
                    <a:pt x="1646" y="1050"/>
                    <a:pt x="1643" y="1071"/>
                    <a:pt x="1644" y="1094"/>
                  </a:cubicBezTo>
                  <a:cubicBezTo>
                    <a:pt x="1644" y="1110"/>
                    <a:pt x="1647" y="1127"/>
                    <a:pt x="1655" y="1141"/>
                  </a:cubicBezTo>
                  <a:cubicBezTo>
                    <a:pt x="1669" y="1168"/>
                    <a:pt x="1691" y="1183"/>
                    <a:pt x="1722" y="1186"/>
                  </a:cubicBezTo>
                  <a:cubicBezTo>
                    <a:pt x="1750" y="1188"/>
                    <a:pt x="1775" y="1183"/>
                    <a:pt x="1798" y="1165"/>
                  </a:cubicBezTo>
                  <a:cubicBezTo>
                    <a:pt x="1803" y="1161"/>
                    <a:pt x="1806" y="1157"/>
                    <a:pt x="1802" y="1151"/>
                  </a:cubicBezTo>
                  <a:cubicBezTo>
                    <a:pt x="1798" y="1144"/>
                    <a:pt x="1791" y="1140"/>
                    <a:pt x="1783" y="1144"/>
                  </a:cubicBezTo>
                  <a:cubicBezTo>
                    <a:pt x="1778" y="1147"/>
                    <a:pt x="1771" y="1149"/>
                    <a:pt x="1766" y="1152"/>
                  </a:cubicBezTo>
                  <a:cubicBezTo>
                    <a:pt x="1749" y="1161"/>
                    <a:pt x="1730" y="1162"/>
                    <a:pt x="1714" y="1155"/>
                  </a:cubicBezTo>
                  <a:cubicBezTo>
                    <a:pt x="1692" y="1145"/>
                    <a:pt x="1680" y="1127"/>
                    <a:pt x="1679" y="1102"/>
                  </a:cubicBezTo>
                  <a:cubicBezTo>
                    <a:pt x="1678" y="1095"/>
                    <a:pt x="1681" y="1092"/>
                    <a:pt x="1689" y="1092"/>
                  </a:cubicBezTo>
                  <a:cubicBezTo>
                    <a:pt x="1706" y="1092"/>
                    <a:pt x="1724" y="1092"/>
                    <a:pt x="1741" y="1092"/>
                  </a:cubicBezTo>
                  <a:cubicBezTo>
                    <a:pt x="1741" y="1092"/>
                    <a:pt x="1741" y="1092"/>
                    <a:pt x="1741" y="1092"/>
                  </a:cubicBezTo>
                  <a:close/>
                  <a:moveTo>
                    <a:pt x="1690" y="1070"/>
                  </a:moveTo>
                  <a:cubicBezTo>
                    <a:pt x="1683" y="1071"/>
                    <a:pt x="1680" y="1068"/>
                    <a:pt x="1681" y="1062"/>
                  </a:cubicBezTo>
                  <a:cubicBezTo>
                    <a:pt x="1683" y="1048"/>
                    <a:pt x="1697" y="1024"/>
                    <a:pt x="1716" y="1022"/>
                  </a:cubicBezTo>
                  <a:cubicBezTo>
                    <a:pt x="1731" y="1020"/>
                    <a:pt x="1747" y="1018"/>
                    <a:pt x="1760" y="1030"/>
                  </a:cubicBezTo>
                  <a:cubicBezTo>
                    <a:pt x="1771" y="1038"/>
                    <a:pt x="1775" y="1050"/>
                    <a:pt x="1778" y="1062"/>
                  </a:cubicBezTo>
                  <a:cubicBezTo>
                    <a:pt x="1780" y="1068"/>
                    <a:pt x="1775" y="1070"/>
                    <a:pt x="1769" y="1070"/>
                  </a:cubicBezTo>
                  <a:cubicBezTo>
                    <a:pt x="1756" y="1070"/>
                    <a:pt x="1742" y="1070"/>
                    <a:pt x="1729" y="1070"/>
                  </a:cubicBezTo>
                  <a:cubicBezTo>
                    <a:pt x="1729" y="1070"/>
                    <a:pt x="1729" y="1070"/>
                    <a:pt x="1729" y="1070"/>
                  </a:cubicBezTo>
                  <a:cubicBezTo>
                    <a:pt x="1716" y="1070"/>
                    <a:pt x="1703" y="1070"/>
                    <a:pt x="1690" y="1070"/>
                  </a:cubicBezTo>
                  <a:close/>
                  <a:moveTo>
                    <a:pt x="68" y="581"/>
                  </a:moveTo>
                  <a:cubicBezTo>
                    <a:pt x="68" y="573"/>
                    <a:pt x="70" y="568"/>
                    <a:pt x="80" y="569"/>
                  </a:cubicBezTo>
                  <a:cubicBezTo>
                    <a:pt x="90" y="570"/>
                    <a:pt x="101" y="570"/>
                    <a:pt x="111" y="569"/>
                  </a:cubicBezTo>
                  <a:cubicBezTo>
                    <a:pt x="120" y="569"/>
                    <a:pt x="120" y="563"/>
                    <a:pt x="120" y="556"/>
                  </a:cubicBezTo>
                  <a:cubicBezTo>
                    <a:pt x="120" y="549"/>
                    <a:pt x="119" y="544"/>
                    <a:pt x="111" y="544"/>
                  </a:cubicBezTo>
                  <a:cubicBezTo>
                    <a:pt x="104" y="544"/>
                    <a:pt x="97" y="544"/>
                    <a:pt x="91" y="544"/>
                  </a:cubicBezTo>
                  <a:cubicBezTo>
                    <a:pt x="66" y="544"/>
                    <a:pt x="65" y="543"/>
                    <a:pt x="68" y="518"/>
                  </a:cubicBezTo>
                  <a:cubicBezTo>
                    <a:pt x="69" y="504"/>
                    <a:pt x="83" y="487"/>
                    <a:pt x="99" y="489"/>
                  </a:cubicBezTo>
                  <a:cubicBezTo>
                    <a:pt x="103" y="489"/>
                    <a:pt x="107" y="489"/>
                    <a:pt x="110" y="488"/>
                  </a:cubicBezTo>
                  <a:cubicBezTo>
                    <a:pt x="118" y="487"/>
                    <a:pt x="123" y="479"/>
                    <a:pt x="123" y="471"/>
                  </a:cubicBezTo>
                  <a:cubicBezTo>
                    <a:pt x="123" y="461"/>
                    <a:pt x="116" y="462"/>
                    <a:pt x="109" y="460"/>
                  </a:cubicBezTo>
                  <a:cubicBezTo>
                    <a:pt x="100" y="458"/>
                    <a:pt x="92" y="460"/>
                    <a:pt x="84" y="460"/>
                  </a:cubicBezTo>
                  <a:cubicBezTo>
                    <a:pt x="68" y="461"/>
                    <a:pt x="56" y="469"/>
                    <a:pt x="47" y="480"/>
                  </a:cubicBezTo>
                  <a:cubicBezTo>
                    <a:pt x="34" y="493"/>
                    <a:pt x="32" y="511"/>
                    <a:pt x="32" y="529"/>
                  </a:cubicBezTo>
                  <a:cubicBezTo>
                    <a:pt x="32" y="544"/>
                    <a:pt x="32" y="544"/>
                    <a:pt x="17" y="544"/>
                  </a:cubicBezTo>
                  <a:cubicBezTo>
                    <a:pt x="4" y="543"/>
                    <a:pt x="0" y="548"/>
                    <a:pt x="4" y="561"/>
                  </a:cubicBezTo>
                  <a:cubicBezTo>
                    <a:pt x="6" y="569"/>
                    <a:pt x="13" y="568"/>
                    <a:pt x="19" y="569"/>
                  </a:cubicBezTo>
                  <a:cubicBezTo>
                    <a:pt x="32" y="571"/>
                    <a:pt x="32" y="571"/>
                    <a:pt x="32" y="584"/>
                  </a:cubicBezTo>
                  <a:cubicBezTo>
                    <a:pt x="32" y="624"/>
                    <a:pt x="32" y="664"/>
                    <a:pt x="32" y="704"/>
                  </a:cubicBezTo>
                  <a:cubicBezTo>
                    <a:pt x="32" y="731"/>
                    <a:pt x="32" y="730"/>
                    <a:pt x="57" y="731"/>
                  </a:cubicBezTo>
                  <a:cubicBezTo>
                    <a:pt x="66" y="731"/>
                    <a:pt x="68" y="727"/>
                    <a:pt x="68" y="720"/>
                  </a:cubicBezTo>
                  <a:cubicBezTo>
                    <a:pt x="68" y="697"/>
                    <a:pt x="68" y="674"/>
                    <a:pt x="68" y="651"/>
                  </a:cubicBezTo>
                  <a:cubicBezTo>
                    <a:pt x="68" y="628"/>
                    <a:pt x="68" y="605"/>
                    <a:pt x="68" y="581"/>
                  </a:cubicBezTo>
                  <a:close/>
                  <a:moveTo>
                    <a:pt x="278" y="1165"/>
                  </a:moveTo>
                  <a:cubicBezTo>
                    <a:pt x="278" y="1183"/>
                    <a:pt x="278" y="1183"/>
                    <a:pt x="296" y="1184"/>
                  </a:cubicBezTo>
                  <a:cubicBezTo>
                    <a:pt x="310" y="1184"/>
                    <a:pt x="310" y="1184"/>
                    <a:pt x="310" y="1169"/>
                  </a:cubicBezTo>
                  <a:cubicBezTo>
                    <a:pt x="310" y="1132"/>
                    <a:pt x="310" y="1095"/>
                    <a:pt x="310" y="1058"/>
                  </a:cubicBezTo>
                  <a:cubicBezTo>
                    <a:pt x="310" y="1052"/>
                    <a:pt x="312" y="1047"/>
                    <a:pt x="316" y="1042"/>
                  </a:cubicBezTo>
                  <a:cubicBezTo>
                    <a:pt x="324" y="1033"/>
                    <a:pt x="334" y="1027"/>
                    <a:pt x="345" y="1024"/>
                  </a:cubicBezTo>
                  <a:cubicBezTo>
                    <a:pt x="357" y="1020"/>
                    <a:pt x="371" y="1018"/>
                    <a:pt x="383" y="1028"/>
                  </a:cubicBezTo>
                  <a:cubicBezTo>
                    <a:pt x="397" y="1039"/>
                    <a:pt x="401" y="1054"/>
                    <a:pt x="401" y="1071"/>
                  </a:cubicBezTo>
                  <a:cubicBezTo>
                    <a:pt x="401" y="1102"/>
                    <a:pt x="401" y="1132"/>
                    <a:pt x="401" y="1163"/>
                  </a:cubicBezTo>
                  <a:cubicBezTo>
                    <a:pt x="401" y="1183"/>
                    <a:pt x="401" y="1182"/>
                    <a:pt x="420" y="1184"/>
                  </a:cubicBezTo>
                  <a:cubicBezTo>
                    <a:pt x="429" y="1185"/>
                    <a:pt x="433" y="1181"/>
                    <a:pt x="433" y="1173"/>
                  </a:cubicBezTo>
                  <a:cubicBezTo>
                    <a:pt x="432" y="1130"/>
                    <a:pt x="435" y="1087"/>
                    <a:pt x="431" y="1044"/>
                  </a:cubicBezTo>
                  <a:cubicBezTo>
                    <a:pt x="427" y="1014"/>
                    <a:pt x="404" y="996"/>
                    <a:pt x="376" y="994"/>
                  </a:cubicBezTo>
                  <a:cubicBezTo>
                    <a:pt x="353" y="992"/>
                    <a:pt x="333" y="1000"/>
                    <a:pt x="317" y="1017"/>
                  </a:cubicBezTo>
                  <a:cubicBezTo>
                    <a:pt x="312" y="1021"/>
                    <a:pt x="311" y="1019"/>
                    <a:pt x="309" y="1015"/>
                  </a:cubicBezTo>
                  <a:cubicBezTo>
                    <a:pt x="309" y="1013"/>
                    <a:pt x="308" y="1011"/>
                    <a:pt x="308" y="1008"/>
                  </a:cubicBezTo>
                  <a:cubicBezTo>
                    <a:pt x="306" y="1001"/>
                    <a:pt x="298" y="997"/>
                    <a:pt x="287" y="998"/>
                  </a:cubicBezTo>
                  <a:cubicBezTo>
                    <a:pt x="279" y="999"/>
                    <a:pt x="278" y="1004"/>
                    <a:pt x="278" y="1011"/>
                  </a:cubicBezTo>
                  <a:cubicBezTo>
                    <a:pt x="278" y="1037"/>
                    <a:pt x="278" y="1064"/>
                    <a:pt x="278" y="1091"/>
                  </a:cubicBezTo>
                  <a:cubicBezTo>
                    <a:pt x="278" y="1115"/>
                    <a:pt x="278" y="1140"/>
                    <a:pt x="278" y="1165"/>
                  </a:cubicBezTo>
                  <a:close/>
                  <a:moveTo>
                    <a:pt x="150" y="705"/>
                  </a:moveTo>
                  <a:cubicBezTo>
                    <a:pt x="150" y="734"/>
                    <a:pt x="145" y="730"/>
                    <a:pt x="176" y="731"/>
                  </a:cubicBezTo>
                  <a:cubicBezTo>
                    <a:pt x="185" y="731"/>
                    <a:pt x="187" y="727"/>
                    <a:pt x="187" y="719"/>
                  </a:cubicBezTo>
                  <a:cubicBezTo>
                    <a:pt x="187" y="685"/>
                    <a:pt x="187" y="651"/>
                    <a:pt x="187" y="618"/>
                  </a:cubicBezTo>
                  <a:cubicBezTo>
                    <a:pt x="187" y="597"/>
                    <a:pt x="204" y="578"/>
                    <a:pt x="225" y="574"/>
                  </a:cubicBezTo>
                  <a:cubicBezTo>
                    <a:pt x="232" y="572"/>
                    <a:pt x="240" y="574"/>
                    <a:pt x="247" y="575"/>
                  </a:cubicBezTo>
                  <a:cubicBezTo>
                    <a:pt x="257" y="576"/>
                    <a:pt x="261" y="572"/>
                    <a:pt x="265" y="564"/>
                  </a:cubicBezTo>
                  <a:cubicBezTo>
                    <a:pt x="269" y="556"/>
                    <a:pt x="267" y="542"/>
                    <a:pt x="261" y="540"/>
                  </a:cubicBezTo>
                  <a:cubicBezTo>
                    <a:pt x="253" y="538"/>
                    <a:pt x="244" y="534"/>
                    <a:pt x="237" y="536"/>
                  </a:cubicBezTo>
                  <a:cubicBezTo>
                    <a:pt x="228" y="537"/>
                    <a:pt x="217" y="537"/>
                    <a:pt x="209" y="544"/>
                  </a:cubicBezTo>
                  <a:cubicBezTo>
                    <a:pt x="204" y="549"/>
                    <a:pt x="198" y="553"/>
                    <a:pt x="194" y="558"/>
                  </a:cubicBezTo>
                  <a:cubicBezTo>
                    <a:pt x="192" y="561"/>
                    <a:pt x="189" y="563"/>
                    <a:pt x="185" y="562"/>
                  </a:cubicBezTo>
                  <a:cubicBezTo>
                    <a:pt x="182" y="561"/>
                    <a:pt x="182" y="558"/>
                    <a:pt x="182" y="556"/>
                  </a:cubicBezTo>
                  <a:cubicBezTo>
                    <a:pt x="180" y="539"/>
                    <a:pt x="179" y="539"/>
                    <a:pt x="162" y="539"/>
                  </a:cubicBezTo>
                  <a:cubicBezTo>
                    <a:pt x="151" y="539"/>
                    <a:pt x="150" y="540"/>
                    <a:pt x="150" y="551"/>
                  </a:cubicBezTo>
                  <a:cubicBezTo>
                    <a:pt x="150" y="579"/>
                    <a:pt x="150" y="607"/>
                    <a:pt x="150" y="635"/>
                  </a:cubicBezTo>
                  <a:cubicBezTo>
                    <a:pt x="150" y="658"/>
                    <a:pt x="149" y="682"/>
                    <a:pt x="150" y="705"/>
                  </a:cubicBezTo>
                  <a:close/>
                  <a:moveTo>
                    <a:pt x="1011" y="1049"/>
                  </a:moveTo>
                  <a:cubicBezTo>
                    <a:pt x="1011" y="1008"/>
                    <a:pt x="1011" y="966"/>
                    <a:pt x="1011" y="924"/>
                  </a:cubicBezTo>
                  <a:cubicBezTo>
                    <a:pt x="1011" y="913"/>
                    <a:pt x="1008" y="910"/>
                    <a:pt x="997" y="910"/>
                  </a:cubicBezTo>
                  <a:cubicBezTo>
                    <a:pt x="995" y="910"/>
                    <a:pt x="992" y="910"/>
                    <a:pt x="990" y="910"/>
                  </a:cubicBezTo>
                  <a:cubicBezTo>
                    <a:pt x="976" y="910"/>
                    <a:pt x="975" y="911"/>
                    <a:pt x="975" y="926"/>
                  </a:cubicBezTo>
                  <a:cubicBezTo>
                    <a:pt x="975" y="1006"/>
                    <a:pt x="975" y="1085"/>
                    <a:pt x="975" y="1165"/>
                  </a:cubicBezTo>
                  <a:cubicBezTo>
                    <a:pt x="975" y="1185"/>
                    <a:pt x="975" y="1185"/>
                    <a:pt x="994" y="1185"/>
                  </a:cubicBezTo>
                  <a:cubicBezTo>
                    <a:pt x="1009" y="1185"/>
                    <a:pt x="1011" y="1184"/>
                    <a:pt x="1011" y="1169"/>
                  </a:cubicBezTo>
                  <a:cubicBezTo>
                    <a:pt x="1011" y="1129"/>
                    <a:pt x="1011" y="1089"/>
                    <a:pt x="1011" y="1049"/>
                  </a:cubicBezTo>
                  <a:cubicBezTo>
                    <a:pt x="1011" y="1049"/>
                    <a:pt x="1011" y="1049"/>
                    <a:pt x="1011" y="1049"/>
                  </a:cubicBezTo>
                  <a:close/>
                  <a:moveTo>
                    <a:pt x="296" y="176"/>
                  </a:moveTo>
                  <a:cubicBezTo>
                    <a:pt x="296" y="201"/>
                    <a:pt x="296" y="226"/>
                    <a:pt x="296" y="251"/>
                  </a:cubicBezTo>
                  <a:cubicBezTo>
                    <a:pt x="295" y="276"/>
                    <a:pt x="296" y="274"/>
                    <a:pt x="318" y="274"/>
                  </a:cubicBezTo>
                  <a:cubicBezTo>
                    <a:pt x="330" y="274"/>
                    <a:pt x="331" y="274"/>
                    <a:pt x="331" y="260"/>
                  </a:cubicBezTo>
                  <a:cubicBezTo>
                    <a:pt x="331" y="232"/>
                    <a:pt x="331" y="204"/>
                    <a:pt x="331" y="176"/>
                  </a:cubicBezTo>
                  <a:cubicBezTo>
                    <a:pt x="331" y="165"/>
                    <a:pt x="331" y="155"/>
                    <a:pt x="337" y="145"/>
                  </a:cubicBezTo>
                  <a:cubicBezTo>
                    <a:pt x="349" y="123"/>
                    <a:pt x="359" y="117"/>
                    <a:pt x="377" y="118"/>
                  </a:cubicBezTo>
                  <a:cubicBezTo>
                    <a:pt x="383" y="118"/>
                    <a:pt x="389" y="119"/>
                    <a:pt x="395" y="120"/>
                  </a:cubicBezTo>
                  <a:cubicBezTo>
                    <a:pt x="401" y="120"/>
                    <a:pt x="407" y="118"/>
                    <a:pt x="408" y="112"/>
                  </a:cubicBezTo>
                  <a:cubicBezTo>
                    <a:pt x="409" y="103"/>
                    <a:pt x="415" y="93"/>
                    <a:pt x="407" y="85"/>
                  </a:cubicBezTo>
                  <a:cubicBezTo>
                    <a:pt x="406" y="84"/>
                    <a:pt x="404" y="84"/>
                    <a:pt x="402" y="84"/>
                  </a:cubicBezTo>
                  <a:cubicBezTo>
                    <a:pt x="376" y="78"/>
                    <a:pt x="353" y="82"/>
                    <a:pt x="337" y="106"/>
                  </a:cubicBezTo>
                  <a:cubicBezTo>
                    <a:pt x="336" y="108"/>
                    <a:pt x="335" y="110"/>
                    <a:pt x="333" y="109"/>
                  </a:cubicBezTo>
                  <a:cubicBezTo>
                    <a:pt x="331" y="109"/>
                    <a:pt x="330" y="107"/>
                    <a:pt x="330" y="105"/>
                  </a:cubicBezTo>
                  <a:cubicBezTo>
                    <a:pt x="329" y="101"/>
                    <a:pt x="329" y="97"/>
                    <a:pt x="328" y="94"/>
                  </a:cubicBezTo>
                  <a:cubicBezTo>
                    <a:pt x="325" y="85"/>
                    <a:pt x="318" y="82"/>
                    <a:pt x="303" y="84"/>
                  </a:cubicBezTo>
                  <a:cubicBezTo>
                    <a:pt x="297" y="84"/>
                    <a:pt x="295" y="86"/>
                    <a:pt x="295" y="92"/>
                  </a:cubicBezTo>
                  <a:cubicBezTo>
                    <a:pt x="296" y="120"/>
                    <a:pt x="295" y="148"/>
                    <a:pt x="295" y="176"/>
                  </a:cubicBezTo>
                  <a:cubicBezTo>
                    <a:pt x="296" y="176"/>
                    <a:pt x="296" y="176"/>
                    <a:pt x="296" y="176"/>
                  </a:cubicBezTo>
                  <a:close/>
                  <a:moveTo>
                    <a:pt x="946" y="179"/>
                  </a:moveTo>
                  <a:cubicBezTo>
                    <a:pt x="946" y="197"/>
                    <a:pt x="946" y="215"/>
                    <a:pt x="946" y="234"/>
                  </a:cubicBezTo>
                  <a:cubicBezTo>
                    <a:pt x="946" y="248"/>
                    <a:pt x="951" y="260"/>
                    <a:pt x="963" y="268"/>
                  </a:cubicBezTo>
                  <a:cubicBezTo>
                    <a:pt x="982" y="280"/>
                    <a:pt x="1011" y="277"/>
                    <a:pt x="1029" y="264"/>
                  </a:cubicBezTo>
                  <a:cubicBezTo>
                    <a:pt x="1036" y="259"/>
                    <a:pt x="1036" y="254"/>
                    <a:pt x="1032" y="248"/>
                  </a:cubicBezTo>
                  <a:cubicBezTo>
                    <a:pt x="1026" y="239"/>
                    <a:pt x="1020" y="238"/>
                    <a:pt x="1013" y="242"/>
                  </a:cubicBezTo>
                  <a:cubicBezTo>
                    <a:pt x="996" y="252"/>
                    <a:pt x="978" y="243"/>
                    <a:pt x="978" y="223"/>
                  </a:cubicBezTo>
                  <a:cubicBezTo>
                    <a:pt x="978" y="190"/>
                    <a:pt x="978" y="157"/>
                    <a:pt x="978" y="123"/>
                  </a:cubicBezTo>
                  <a:cubicBezTo>
                    <a:pt x="978" y="116"/>
                    <a:pt x="981" y="113"/>
                    <a:pt x="988" y="113"/>
                  </a:cubicBezTo>
                  <a:cubicBezTo>
                    <a:pt x="999" y="114"/>
                    <a:pt x="1011" y="113"/>
                    <a:pt x="1022" y="113"/>
                  </a:cubicBezTo>
                  <a:cubicBezTo>
                    <a:pt x="1028" y="113"/>
                    <a:pt x="1033" y="112"/>
                    <a:pt x="1033" y="104"/>
                  </a:cubicBezTo>
                  <a:cubicBezTo>
                    <a:pt x="1033" y="96"/>
                    <a:pt x="1032" y="90"/>
                    <a:pt x="1022" y="90"/>
                  </a:cubicBezTo>
                  <a:cubicBezTo>
                    <a:pt x="1011" y="90"/>
                    <a:pt x="1001" y="90"/>
                    <a:pt x="990" y="90"/>
                  </a:cubicBezTo>
                  <a:cubicBezTo>
                    <a:pt x="981" y="91"/>
                    <a:pt x="977" y="88"/>
                    <a:pt x="978" y="78"/>
                  </a:cubicBezTo>
                  <a:cubicBezTo>
                    <a:pt x="978" y="64"/>
                    <a:pt x="978" y="49"/>
                    <a:pt x="978" y="35"/>
                  </a:cubicBezTo>
                  <a:cubicBezTo>
                    <a:pt x="978" y="30"/>
                    <a:pt x="978" y="25"/>
                    <a:pt x="971" y="24"/>
                  </a:cubicBezTo>
                  <a:cubicBezTo>
                    <a:pt x="964" y="24"/>
                    <a:pt x="956" y="24"/>
                    <a:pt x="955" y="32"/>
                  </a:cubicBezTo>
                  <a:cubicBezTo>
                    <a:pt x="952" y="43"/>
                    <a:pt x="949" y="54"/>
                    <a:pt x="949" y="65"/>
                  </a:cubicBezTo>
                  <a:cubicBezTo>
                    <a:pt x="948" y="88"/>
                    <a:pt x="947" y="88"/>
                    <a:pt x="924" y="91"/>
                  </a:cubicBezTo>
                  <a:cubicBezTo>
                    <a:pt x="919" y="92"/>
                    <a:pt x="914" y="92"/>
                    <a:pt x="914" y="99"/>
                  </a:cubicBezTo>
                  <a:cubicBezTo>
                    <a:pt x="915" y="107"/>
                    <a:pt x="917" y="113"/>
                    <a:pt x="926" y="113"/>
                  </a:cubicBezTo>
                  <a:cubicBezTo>
                    <a:pt x="929" y="114"/>
                    <a:pt x="932" y="113"/>
                    <a:pt x="935" y="113"/>
                  </a:cubicBezTo>
                  <a:cubicBezTo>
                    <a:pt x="943" y="113"/>
                    <a:pt x="946" y="116"/>
                    <a:pt x="946" y="124"/>
                  </a:cubicBezTo>
                  <a:cubicBezTo>
                    <a:pt x="946" y="142"/>
                    <a:pt x="946" y="161"/>
                    <a:pt x="946" y="179"/>
                  </a:cubicBezTo>
                  <a:cubicBezTo>
                    <a:pt x="946" y="179"/>
                    <a:pt x="946" y="179"/>
                    <a:pt x="946" y="179"/>
                  </a:cubicBezTo>
                  <a:close/>
                </a:path>
              </a:pathLst>
            </a:custGeom>
            <a:solidFill>
              <a:srgbClr val="4C505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grpSp>
          <p:nvGrpSpPr>
            <p:cNvPr id="18" name="Group 4">
              <a:extLst>
                <a:ext uri="{FF2B5EF4-FFF2-40B4-BE49-F238E27FC236}">
                  <a16:creationId xmlns:a16="http://schemas.microsoft.com/office/drawing/2014/main" id="{57BD2C4C-DC67-B843-B26C-309622FC75F7}"/>
                </a:ext>
              </a:extLst>
            </p:cNvPr>
            <p:cNvGrpSpPr>
              <a:grpSpLocks noChangeAspect="1"/>
            </p:cNvGrpSpPr>
            <p:nvPr/>
          </p:nvGrpSpPr>
          <p:grpSpPr bwMode="gray">
            <a:xfrm>
              <a:off x="334963" y="296652"/>
              <a:ext cx="538094" cy="540000"/>
              <a:chOff x="2711" y="1027"/>
              <a:chExt cx="2258" cy="2266"/>
            </a:xfrm>
          </p:grpSpPr>
          <p:sp>
            <p:nvSpPr>
              <p:cNvPr id="19" name="AutoShape 3">
                <a:extLst>
                  <a:ext uri="{FF2B5EF4-FFF2-40B4-BE49-F238E27FC236}">
                    <a16:creationId xmlns:a16="http://schemas.microsoft.com/office/drawing/2014/main" id="{FE1DC41B-291E-574C-9F2C-874E70A40758}"/>
                  </a:ext>
                </a:extLst>
              </p:cNvPr>
              <p:cNvSpPr>
                <a:spLocks noChangeAspect="1" noChangeArrowheads="1" noTextEdit="1"/>
              </p:cNvSpPr>
              <p:nvPr/>
            </p:nvSpPr>
            <p:spPr bwMode="gray">
              <a:xfrm>
                <a:off x="2711" y="1027"/>
                <a:ext cx="2258" cy="22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sp>
            <p:nvSpPr>
              <p:cNvPr id="20" name="Freeform 5">
                <a:extLst>
                  <a:ext uri="{FF2B5EF4-FFF2-40B4-BE49-F238E27FC236}">
                    <a16:creationId xmlns:a16="http://schemas.microsoft.com/office/drawing/2014/main" id="{D4B633C8-F761-C54B-9BD2-EB59D49A2DBC}"/>
                  </a:ext>
                </a:extLst>
              </p:cNvPr>
              <p:cNvSpPr>
                <a:spLocks/>
              </p:cNvSpPr>
              <p:nvPr/>
            </p:nvSpPr>
            <p:spPr bwMode="gray">
              <a:xfrm>
                <a:off x="2709" y="1029"/>
                <a:ext cx="2260" cy="2262"/>
              </a:xfrm>
              <a:custGeom>
                <a:avLst/>
                <a:gdLst>
                  <a:gd name="T0" fmla="*/ 2260 w 2260"/>
                  <a:gd name="T1" fmla="*/ 0 h 2262"/>
                  <a:gd name="T2" fmla="*/ 1612 w 2260"/>
                  <a:gd name="T3" fmla="*/ 649 h 2262"/>
                  <a:gd name="T4" fmla="*/ 1612 w 2260"/>
                  <a:gd name="T5" fmla="*/ 649 h 2262"/>
                  <a:gd name="T6" fmla="*/ 2035 w 2260"/>
                  <a:gd name="T7" fmla="*/ 0 h 2262"/>
                  <a:gd name="T8" fmla="*/ 0 w 2260"/>
                  <a:gd name="T9" fmla="*/ 0 h 2262"/>
                  <a:gd name="T10" fmla="*/ 0 w 2260"/>
                  <a:gd name="T11" fmla="*/ 2262 h 2262"/>
                  <a:gd name="T12" fmla="*/ 2260 w 2260"/>
                  <a:gd name="T13" fmla="*/ 2262 h 2262"/>
                  <a:gd name="T14" fmla="*/ 2260 w 2260"/>
                  <a:gd name="T15" fmla="*/ 0 h 2262"/>
                  <a:gd name="T16" fmla="*/ 2260 w 2260"/>
                  <a:gd name="T17" fmla="*/ 0 h 2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0" h="2262">
                    <a:moveTo>
                      <a:pt x="2260" y="0"/>
                    </a:moveTo>
                    <a:lnTo>
                      <a:pt x="1612" y="649"/>
                    </a:lnTo>
                    <a:lnTo>
                      <a:pt x="1612" y="649"/>
                    </a:lnTo>
                    <a:lnTo>
                      <a:pt x="2035" y="0"/>
                    </a:lnTo>
                    <a:lnTo>
                      <a:pt x="0" y="0"/>
                    </a:lnTo>
                    <a:lnTo>
                      <a:pt x="0" y="2262"/>
                    </a:lnTo>
                    <a:lnTo>
                      <a:pt x="2260" y="2262"/>
                    </a:lnTo>
                    <a:lnTo>
                      <a:pt x="2260" y="0"/>
                    </a:lnTo>
                    <a:lnTo>
                      <a:pt x="2260" y="0"/>
                    </a:lnTo>
                    <a:close/>
                  </a:path>
                </a:pathLst>
              </a:custGeom>
              <a:solidFill>
                <a:srgbClr val="E55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sp>
            <p:nvSpPr>
              <p:cNvPr id="21" name="Freeform 6">
                <a:extLst>
                  <a:ext uri="{FF2B5EF4-FFF2-40B4-BE49-F238E27FC236}">
                    <a16:creationId xmlns:a16="http://schemas.microsoft.com/office/drawing/2014/main" id="{B16BAAE4-1A41-C843-9754-490F7A1E1270}"/>
                  </a:ext>
                </a:extLst>
              </p:cNvPr>
              <p:cNvSpPr>
                <a:spLocks noEditPoints="1"/>
              </p:cNvSpPr>
              <p:nvPr/>
            </p:nvSpPr>
            <p:spPr bwMode="gray">
              <a:xfrm>
                <a:off x="3623" y="1696"/>
                <a:ext cx="1167" cy="922"/>
              </a:xfrm>
              <a:custGeom>
                <a:avLst/>
                <a:gdLst>
                  <a:gd name="T0" fmla="*/ 411 w 580"/>
                  <a:gd name="T1" fmla="*/ 213 h 458"/>
                  <a:gd name="T2" fmla="*/ 570 w 580"/>
                  <a:gd name="T3" fmla="*/ 37 h 458"/>
                  <a:gd name="T4" fmla="*/ 580 w 580"/>
                  <a:gd name="T5" fmla="*/ 20 h 458"/>
                  <a:gd name="T6" fmla="*/ 545 w 580"/>
                  <a:gd name="T7" fmla="*/ 0 h 458"/>
                  <a:gd name="T8" fmla="*/ 519 w 580"/>
                  <a:gd name="T9" fmla="*/ 16 h 458"/>
                  <a:gd name="T10" fmla="*/ 344 w 580"/>
                  <a:gd name="T11" fmla="*/ 210 h 458"/>
                  <a:gd name="T12" fmla="*/ 334 w 580"/>
                  <a:gd name="T13" fmla="*/ 229 h 458"/>
                  <a:gd name="T14" fmla="*/ 344 w 580"/>
                  <a:gd name="T15" fmla="*/ 248 h 458"/>
                  <a:gd name="T16" fmla="*/ 519 w 580"/>
                  <a:gd name="T17" fmla="*/ 442 h 458"/>
                  <a:gd name="T18" fmla="*/ 545 w 580"/>
                  <a:gd name="T19" fmla="*/ 458 h 458"/>
                  <a:gd name="T20" fmla="*/ 580 w 580"/>
                  <a:gd name="T21" fmla="*/ 438 h 458"/>
                  <a:gd name="T22" fmla="*/ 570 w 580"/>
                  <a:gd name="T23" fmla="*/ 421 h 458"/>
                  <a:gd name="T24" fmla="*/ 411 w 580"/>
                  <a:gd name="T25" fmla="*/ 245 h 458"/>
                  <a:gd name="T26" fmla="*/ 399 w 580"/>
                  <a:gd name="T27" fmla="*/ 229 h 458"/>
                  <a:gd name="T28" fmla="*/ 411 w 580"/>
                  <a:gd name="T29" fmla="*/ 213 h 458"/>
                  <a:gd name="T30" fmla="*/ 252 w 580"/>
                  <a:gd name="T31" fmla="*/ 439 h 458"/>
                  <a:gd name="T32" fmla="*/ 281 w 580"/>
                  <a:gd name="T33" fmla="*/ 454 h 458"/>
                  <a:gd name="T34" fmla="*/ 309 w 580"/>
                  <a:gd name="T35" fmla="*/ 439 h 458"/>
                  <a:gd name="T36" fmla="*/ 309 w 580"/>
                  <a:gd name="T37" fmla="*/ 19 h 458"/>
                  <a:gd name="T38" fmla="*/ 281 w 580"/>
                  <a:gd name="T39" fmla="*/ 4 h 458"/>
                  <a:gd name="T40" fmla="*/ 252 w 580"/>
                  <a:gd name="T41" fmla="*/ 19 h 458"/>
                  <a:gd name="T42" fmla="*/ 252 w 580"/>
                  <a:gd name="T43" fmla="*/ 439 h 458"/>
                  <a:gd name="T44" fmla="*/ 0 w 580"/>
                  <a:gd name="T45" fmla="*/ 439 h 458"/>
                  <a:gd name="T46" fmla="*/ 28 w 580"/>
                  <a:gd name="T47" fmla="*/ 454 h 458"/>
                  <a:gd name="T48" fmla="*/ 56 w 580"/>
                  <a:gd name="T49" fmla="*/ 439 h 458"/>
                  <a:gd name="T50" fmla="*/ 56 w 580"/>
                  <a:gd name="T51" fmla="*/ 157 h 458"/>
                  <a:gd name="T52" fmla="*/ 165 w 580"/>
                  <a:gd name="T53" fmla="*/ 53 h 458"/>
                  <a:gd name="T54" fmla="*/ 180 w 580"/>
                  <a:gd name="T55" fmla="*/ 53 h 458"/>
                  <a:gd name="T56" fmla="*/ 196 w 580"/>
                  <a:gd name="T57" fmla="*/ 27 h 458"/>
                  <a:gd name="T58" fmla="*/ 154 w 580"/>
                  <a:gd name="T59" fmla="*/ 4 h 458"/>
                  <a:gd name="T60" fmla="*/ 0 w 580"/>
                  <a:gd name="T61" fmla="*/ 152 h 458"/>
                  <a:gd name="T62" fmla="*/ 0 w 580"/>
                  <a:gd name="T63" fmla="*/ 439 h 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80" h="458">
                    <a:moveTo>
                      <a:pt x="411" y="213"/>
                    </a:moveTo>
                    <a:cubicBezTo>
                      <a:pt x="570" y="37"/>
                      <a:pt x="570" y="37"/>
                      <a:pt x="570" y="37"/>
                    </a:cubicBezTo>
                    <a:cubicBezTo>
                      <a:pt x="576" y="30"/>
                      <a:pt x="580" y="25"/>
                      <a:pt x="580" y="20"/>
                    </a:cubicBezTo>
                    <a:cubicBezTo>
                      <a:pt x="580" y="10"/>
                      <a:pt x="559" y="0"/>
                      <a:pt x="545" y="0"/>
                    </a:cubicBezTo>
                    <a:cubicBezTo>
                      <a:pt x="535" y="0"/>
                      <a:pt x="526" y="8"/>
                      <a:pt x="519" y="16"/>
                    </a:cubicBezTo>
                    <a:cubicBezTo>
                      <a:pt x="344" y="210"/>
                      <a:pt x="344" y="210"/>
                      <a:pt x="344" y="210"/>
                    </a:cubicBezTo>
                    <a:cubicBezTo>
                      <a:pt x="336" y="219"/>
                      <a:pt x="334" y="224"/>
                      <a:pt x="334" y="229"/>
                    </a:cubicBezTo>
                    <a:cubicBezTo>
                      <a:pt x="334" y="234"/>
                      <a:pt x="336" y="239"/>
                      <a:pt x="344" y="248"/>
                    </a:cubicBezTo>
                    <a:cubicBezTo>
                      <a:pt x="519" y="442"/>
                      <a:pt x="519" y="442"/>
                      <a:pt x="519" y="442"/>
                    </a:cubicBezTo>
                    <a:cubicBezTo>
                      <a:pt x="526" y="450"/>
                      <a:pt x="535" y="458"/>
                      <a:pt x="545" y="458"/>
                    </a:cubicBezTo>
                    <a:cubicBezTo>
                      <a:pt x="559" y="458"/>
                      <a:pt x="580" y="448"/>
                      <a:pt x="580" y="438"/>
                    </a:cubicBezTo>
                    <a:cubicBezTo>
                      <a:pt x="580" y="433"/>
                      <a:pt x="576" y="428"/>
                      <a:pt x="570" y="421"/>
                    </a:cubicBezTo>
                    <a:cubicBezTo>
                      <a:pt x="411" y="245"/>
                      <a:pt x="411" y="245"/>
                      <a:pt x="411" y="245"/>
                    </a:cubicBezTo>
                    <a:cubicBezTo>
                      <a:pt x="403" y="236"/>
                      <a:pt x="399" y="232"/>
                      <a:pt x="399" y="229"/>
                    </a:cubicBezTo>
                    <a:cubicBezTo>
                      <a:pt x="399" y="226"/>
                      <a:pt x="403" y="222"/>
                      <a:pt x="411" y="213"/>
                    </a:cubicBezTo>
                    <a:moveTo>
                      <a:pt x="252" y="439"/>
                    </a:moveTo>
                    <a:cubicBezTo>
                      <a:pt x="252" y="449"/>
                      <a:pt x="261" y="454"/>
                      <a:pt x="281" y="454"/>
                    </a:cubicBezTo>
                    <a:cubicBezTo>
                      <a:pt x="300" y="454"/>
                      <a:pt x="309" y="449"/>
                      <a:pt x="309" y="439"/>
                    </a:cubicBezTo>
                    <a:cubicBezTo>
                      <a:pt x="309" y="19"/>
                      <a:pt x="309" y="19"/>
                      <a:pt x="309" y="19"/>
                    </a:cubicBezTo>
                    <a:cubicBezTo>
                      <a:pt x="309" y="9"/>
                      <a:pt x="300" y="4"/>
                      <a:pt x="281" y="4"/>
                    </a:cubicBezTo>
                    <a:cubicBezTo>
                      <a:pt x="261" y="4"/>
                      <a:pt x="252" y="9"/>
                      <a:pt x="252" y="19"/>
                    </a:cubicBezTo>
                    <a:lnTo>
                      <a:pt x="252" y="439"/>
                    </a:lnTo>
                    <a:close/>
                    <a:moveTo>
                      <a:pt x="0" y="439"/>
                    </a:moveTo>
                    <a:cubicBezTo>
                      <a:pt x="0" y="449"/>
                      <a:pt x="8" y="454"/>
                      <a:pt x="28" y="454"/>
                    </a:cubicBezTo>
                    <a:cubicBezTo>
                      <a:pt x="48" y="454"/>
                      <a:pt x="56" y="449"/>
                      <a:pt x="56" y="439"/>
                    </a:cubicBezTo>
                    <a:cubicBezTo>
                      <a:pt x="56" y="157"/>
                      <a:pt x="56" y="157"/>
                      <a:pt x="56" y="157"/>
                    </a:cubicBezTo>
                    <a:cubicBezTo>
                      <a:pt x="56" y="83"/>
                      <a:pt x="85" y="53"/>
                      <a:pt x="165" y="53"/>
                    </a:cubicBezTo>
                    <a:cubicBezTo>
                      <a:pt x="180" y="53"/>
                      <a:pt x="180" y="53"/>
                      <a:pt x="180" y="53"/>
                    </a:cubicBezTo>
                    <a:cubicBezTo>
                      <a:pt x="192" y="53"/>
                      <a:pt x="196" y="43"/>
                      <a:pt x="196" y="27"/>
                    </a:cubicBezTo>
                    <a:cubicBezTo>
                      <a:pt x="196" y="8"/>
                      <a:pt x="185" y="4"/>
                      <a:pt x="154" y="4"/>
                    </a:cubicBezTo>
                    <a:cubicBezTo>
                      <a:pt x="64" y="4"/>
                      <a:pt x="0" y="43"/>
                      <a:pt x="0" y="152"/>
                    </a:cubicBezTo>
                    <a:lnTo>
                      <a:pt x="0" y="43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sp>
            <p:nvSpPr>
              <p:cNvPr id="22" name="Freeform 7">
                <a:extLst>
                  <a:ext uri="{FF2B5EF4-FFF2-40B4-BE49-F238E27FC236}">
                    <a16:creationId xmlns:a16="http://schemas.microsoft.com/office/drawing/2014/main" id="{2F32DCBD-8628-F245-85CD-97686A20ECFD}"/>
                  </a:ext>
                </a:extLst>
              </p:cNvPr>
              <p:cNvSpPr>
                <a:spLocks/>
              </p:cNvSpPr>
              <p:nvPr/>
            </p:nvSpPr>
            <p:spPr bwMode="gray">
              <a:xfrm>
                <a:off x="2880" y="1704"/>
                <a:ext cx="618" cy="916"/>
              </a:xfrm>
              <a:custGeom>
                <a:avLst/>
                <a:gdLst>
                  <a:gd name="T0" fmla="*/ 307 w 307"/>
                  <a:gd name="T1" fmla="*/ 405 h 455"/>
                  <a:gd name="T2" fmla="*/ 307 w 307"/>
                  <a:gd name="T3" fmla="*/ 244 h 455"/>
                  <a:gd name="T4" fmla="*/ 279 w 307"/>
                  <a:gd name="T5" fmla="*/ 229 h 455"/>
                  <a:gd name="T6" fmla="*/ 250 w 307"/>
                  <a:gd name="T7" fmla="*/ 244 h 455"/>
                  <a:gd name="T8" fmla="*/ 250 w 307"/>
                  <a:gd name="T9" fmla="*/ 378 h 455"/>
                  <a:gd name="T10" fmla="*/ 199 w 307"/>
                  <a:gd name="T11" fmla="*/ 408 h 455"/>
                  <a:gd name="T12" fmla="*/ 61 w 307"/>
                  <a:gd name="T13" fmla="*/ 231 h 455"/>
                  <a:gd name="T14" fmla="*/ 238 w 307"/>
                  <a:gd name="T15" fmla="*/ 49 h 455"/>
                  <a:gd name="T16" fmla="*/ 270 w 307"/>
                  <a:gd name="T17" fmla="*/ 49 h 455"/>
                  <a:gd name="T18" fmla="*/ 286 w 307"/>
                  <a:gd name="T19" fmla="*/ 23 h 455"/>
                  <a:gd name="T20" fmla="*/ 244 w 307"/>
                  <a:gd name="T21" fmla="*/ 0 h 455"/>
                  <a:gd name="T22" fmla="*/ 231 w 307"/>
                  <a:gd name="T23" fmla="*/ 0 h 455"/>
                  <a:gd name="T24" fmla="*/ 0 w 307"/>
                  <a:gd name="T25" fmla="*/ 232 h 455"/>
                  <a:gd name="T26" fmla="*/ 198 w 307"/>
                  <a:gd name="T27" fmla="*/ 455 h 455"/>
                  <a:gd name="T28" fmla="*/ 307 w 307"/>
                  <a:gd name="T29" fmla="*/ 405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7" h="455">
                    <a:moveTo>
                      <a:pt x="307" y="405"/>
                    </a:moveTo>
                    <a:cubicBezTo>
                      <a:pt x="307" y="244"/>
                      <a:pt x="307" y="244"/>
                      <a:pt x="307" y="244"/>
                    </a:cubicBezTo>
                    <a:cubicBezTo>
                      <a:pt x="307" y="234"/>
                      <a:pt x="298" y="229"/>
                      <a:pt x="279" y="229"/>
                    </a:cubicBezTo>
                    <a:cubicBezTo>
                      <a:pt x="259" y="229"/>
                      <a:pt x="250" y="234"/>
                      <a:pt x="250" y="244"/>
                    </a:cubicBezTo>
                    <a:cubicBezTo>
                      <a:pt x="250" y="378"/>
                      <a:pt x="250" y="378"/>
                      <a:pt x="250" y="378"/>
                    </a:cubicBezTo>
                    <a:cubicBezTo>
                      <a:pt x="250" y="399"/>
                      <a:pt x="241" y="408"/>
                      <a:pt x="199" y="408"/>
                    </a:cubicBezTo>
                    <a:cubicBezTo>
                      <a:pt x="114" y="408"/>
                      <a:pt x="61" y="342"/>
                      <a:pt x="61" y="231"/>
                    </a:cubicBezTo>
                    <a:cubicBezTo>
                      <a:pt x="61" y="115"/>
                      <a:pt x="126" y="49"/>
                      <a:pt x="238" y="49"/>
                    </a:cubicBezTo>
                    <a:cubicBezTo>
                      <a:pt x="270" y="49"/>
                      <a:pt x="270" y="49"/>
                      <a:pt x="270" y="49"/>
                    </a:cubicBezTo>
                    <a:cubicBezTo>
                      <a:pt x="282" y="49"/>
                      <a:pt x="286" y="39"/>
                      <a:pt x="286" y="23"/>
                    </a:cubicBezTo>
                    <a:cubicBezTo>
                      <a:pt x="286" y="4"/>
                      <a:pt x="275" y="0"/>
                      <a:pt x="244" y="0"/>
                    </a:cubicBezTo>
                    <a:cubicBezTo>
                      <a:pt x="231" y="0"/>
                      <a:pt x="231" y="0"/>
                      <a:pt x="231" y="0"/>
                    </a:cubicBezTo>
                    <a:cubicBezTo>
                      <a:pt x="101" y="0"/>
                      <a:pt x="0" y="71"/>
                      <a:pt x="0" y="232"/>
                    </a:cubicBezTo>
                    <a:cubicBezTo>
                      <a:pt x="0" y="386"/>
                      <a:pt x="88" y="455"/>
                      <a:pt x="198" y="455"/>
                    </a:cubicBezTo>
                    <a:cubicBezTo>
                      <a:pt x="286" y="455"/>
                      <a:pt x="307" y="430"/>
                      <a:pt x="307" y="40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sp>
            <p:nvSpPr>
              <p:cNvPr id="23" name="Oval 8">
                <a:extLst>
                  <a:ext uri="{FF2B5EF4-FFF2-40B4-BE49-F238E27FC236}">
                    <a16:creationId xmlns:a16="http://schemas.microsoft.com/office/drawing/2014/main" id="{60D97C11-1A3B-5449-A48D-98A3E79B3810}"/>
                  </a:ext>
                </a:extLst>
              </p:cNvPr>
              <p:cNvSpPr>
                <a:spLocks noChangeArrowheads="1"/>
              </p:cNvSpPr>
              <p:nvPr/>
            </p:nvSpPr>
            <p:spPr bwMode="gray">
              <a:xfrm>
                <a:off x="3778" y="2099"/>
                <a:ext cx="122" cy="12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sp>
            <p:nvSpPr>
              <p:cNvPr id="24" name="Freeform 9">
                <a:extLst>
                  <a:ext uri="{FF2B5EF4-FFF2-40B4-BE49-F238E27FC236}">
                    <a16:creationId xmlns:a16="http://schemas.microsoft.com/office/drawing/2014/main" id="{5856770D-B8F0-244E-A05D-AED190086F10}"/>
                  </a:ext>
                </a:extLst>
              </p:cNvPr>
              <p:cNvSpPr>
                <a:spLocks noEditPoints="1"/>
              </p:cNvSpPr>
              <p:nvPr/>
            </p:nvSpPr>
            <p:spPr bwMode="gray">
              <a:xfrm>
                <a:off x="3623" y="1696"/>
                <a:ext cx="1167" cy="922"/>
              </a:xfrm>
              <a:custGeom>
                <a:avLst/>
                <a:gdLst>
                  <a:gd name="T0" fmla="*/ 411 w 580"/>
                  <a:gd name="T1" fmla="*/ 213 h 458"/>
                  <a:gd name="T2" fmla="*/ 570 w 580"/>
                  <a:gd name="T3" fmla="*/ 37 h 458"/>
                  <a:gd name="T4" fmla="*/ 580 w 580"/>
                  <a:gd name="T5" fmla="*/ 20 h 458"/>
                  <a:gd name="T6" fmla="*/ 545 w 580"/>
                  <a:gd name="T7" fmla="*/ 0 h 458"/>
                  <a:gd name="T8" fmla="*/ 519 w 580"/>
                  <a:gd name="T9" fmla="*/ 16 h 458"/>
                  <a:gd name="T10" fmla="*/ 344 w 580"/>
                  <a:gd name="T11" fmla="*/ 210 h 458"/>
                  <a:gd name="T12" fmla="*/ 334 w 580"/>
                  <a:gd name="T13" fmla="*/ 229 h 458"/>
                  <a:gd name="T14" fmla="*/ 344 w 580"/>
                  <a:gd name="T15" fmla="*/ 248 h 458"/>
                  <a:gd name="T16" fmla="*/ 519 w 580"/>
                  <a:gd name="T17" fmla="*/ 442 h 458"/>
                  <a:gd name="T18" fmla="*/ 545 w 580"/>
                  <a:gd name="T19" fmla="*/ 458 h 458"/>
                  <a:gd name="T20" fmla="*/ 580 w 580"/>
                  <a:gd name="T21" fmla="*/ 438 h 458"/>
                  <a:gd name="T22" fmla="*/ 570 w 580"/>
                  <a:gd name="T23" fmla="*/ 421 h 458"/>
                  <a:gd name="T24" fmla="*/ 411 w 580"/>
                  <a:gd name="T25" fmla="*/ 245 h 458"/>
                  <a:gd name="T26" fmla="*/ 399 w 580"/>
                  <a:gd name="T27" fmla="*/ 229 h 458"/>
                  <a:gd name="T28" fmla="*/ 411 w 580"/>
                  <a:gd name="T29" fmla="*/ 213 h 458"/>
                  <a:gd name="T30" fmla="*/ 252 w 580"/>
                  <a:gd name="T31" fmla="*/ 439 h 458"/>
                  <a:gd name="T32" fmla="*/ 281 w 580"/>
                  <a:gd name="T33" fmla="*/ 454 h 458"/>
                  <a:gd name="T34" fmla="*/ 309 w 580"/>
                  <a:gd name="T35" fmla="*/ 439 h 458"/>
                  <a:gd name="T36" fmla="*/ 309 w 580"/>
                  <a:gd name="T37" fmla="*/ 19 h 458"/>
                  <a:gd name="T38" fmla="*/ 281 w 580"/>
                  <a:gd name="T39" fmla="*/ 4 h 458"/>
                  <a:gd name="T40" fmla="*/ 252 w 580"/>
                  <a:gd name="T41" fmla="*/ 19 h 458"/>
                  <a:gd name="T42" fmla="*/ 252 w 580"/>
                  <a:gd name="T43" fmla="*/ 439 h 458"/>
                  <a:gd name="T44" fmla="*/ 0 w 580"/>
                  <a:gd name="T45" fmla="*/ 439 h 458"/>
                  <a:gd name="T46" fmla="*/ 28 w 580"/>
                  <a:gd name="T47" fmla="*/ 454 h 458"/>
                  <a:gd name="T48" fmla="*/ 56 w 580"/>
                  <a:gd name="T49" fmla="*/ 439 h 458"/>
                  <a:gd name="T50" fmla="*/ 56 w 580"/>
                  <a:gd name="T51" fmla="*/ 157 h 458"/>
                  <a:gd name="T52" fmla="*/ 165 w 580"/>
                  <a:gd name="T53" fmla="*/ 53 h 458"/>
                  <a:gd name="T54" fmla="*/ 180 w 580"/>
                  <a:gd name="T55" fmla="*/ 53 h 458"/>
                  <a:gd name="T56" fmla="*/ 196 w 580"/>
                  <a:gd name="T57" fmla="*/ 27 h 458"/>
                  <a:gd name="T58" fmla="*/ 154 w 580"/>
                  <a:gd name="T59" fmla="*/ 4 h 458"/>
                  <a:gd name="T60" fmla="*/ 0 w 580"/>
                  <a:gd name="T61" fmla="*/ 152 h 458"/>
                  <a:gd name="T62" fmla="*/ 0 w 580"/>
                  <a:gd name="T63" fmla="*/ 439 h 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80" h="458">
                    <a:moveTo>
                      <a:pt x="411" y="213"/>
                    </a:moveTo>
                    <a:cubicBezTo>
                      <a:pt x="570" y="37"/>
                      <a:pt x="570" y="37"/>
                      <a:pt x="570" y="37"/>
                    </a:cubicBezTo>
                    <a:cubicBezTo>
                      <a:pt x="576" y="30"/>
                      <a:pt x="580" y="25"/>
                      <a:pt x="580" y="20"/>
                    </a:cubicBezTo>
                    <a:cubicBezTo>
                      <a:pt x="580" y="10"/>
                      <a:pt x="559" y="0"/>
                      <a:pt x="545" y="0"/>
                    </a:cubicBezTo>
                    <a:cubicBezTo>
                      <a:pt x="535" y="0"/>
                      <a:pt x="526" y="8"/>
                      <a:pt x="519" y="16"/>
                    </a:cubicBezTo>
                    <a:cubicBezTo>
                      <a:pt x="344" y="210"/>
                      <a:pt x="344" y="210"/>
                      <a:pt x="344" y="210"/>
                    </a:cubicBezTo>
                    <a:cubicBezTo>
                      <a:pt x="336" y="219"/>
                      <a:pt x="334" y="224"/>
                      <a:pt x="334" y="229"/>
                    </a:cubicBezTo>
                    <a:cubicBezTo>
                      <a:pt x="334" y="234"/>
                      <a:pt x="336" y="239"/>
                      <a:pt x="344" y="248"/>
                    </a:cubicBezTo>
                    <a:cubicBezTo>
                      <a:pt x="519" y="442"/>
                      <a:pt x="519" y="442"/>
                      <a:pt x="519" y="442"/>
                    </a:cubicBezTo>
                    <a:cubicBezTo>
                      <a:pt x="526" y="450"/>
                      <a:pt x="535" y="458"/>
                      <a:pt x="545" y="458"/>
                    </a:cubicBezTo>
                    <a:cubicBezTo>
                      <a:pt x="559" y="458"/>
                      <a:pt x="580" y="448"/>
                      <a:pt x="580" y="438"/>
                    </a:cubicBezTo>
                    <a:cubicBezTo>
                      <a:pt x="580" y="433"/>
                      <a:pt x="576" y="428"/>
                      <a:pt x="570" y="421"/>
                    </a:cubicBezTo>
                    <a:cubicBezTo>
                      <a:pt x="411" y="245"/>
                      <a:pt x="411" y="245"/>
                      <a:pt x="411" y="245"/>
                    </a:cubicBezTo>
                    <a:cubicBezTo>
                      <a:pt x="403" y="236"/>
                      <a:pt x="399" y="232"/>
                      <a:pt x="399" y="229"/>
                    </a:cubicBezTo>
                    <a:cubicBezTo>
                      <a:pt x="399" y="226"/>
                      <a:pt x="403" y="222"/>
                      <a:pt x="411" y="213"/>
                    </a:cubicBezTo>
                    <a:moveTo>
                      <a:pt x="252" y="439"/>
                    </a:moveTo>
                    <a:cubicBezTo>
                      <a:pt x="252" y="449"/>
                      <a:pt x="261" y="454"/>
                      <a:pt x="281" y="454"/>
                    </a:cubicBezTo>
                    <a:cubicBezTo>
                      <a:pt x="300" y="454"/>
                      <a:pt x="309" y="449"/>
                      <a:pt x="309" y="439"/>
                    </a:cubicBezTo>
                    <a:cubicBezTo>
                      <a:pt x="309" y="19"/>
                      <a:pt x="309" y="19"/>
                      <a:pt x="309" y="19"/>
                    </a:cubicBezTo>
                    <a:cubicBezTo>
                      <a:pt x="309" y="9"/>
                      <a:pt x="300" y="4"/>
                      <a:pt x="281" y="4"/>
                    </a:cubicBezTo>
                    <a:cubicBezTo>
                      <a:pt x="261" y="4"/>
                      <a:pt x="252" y="9"/>
                      <a:pt x="252" y="19"/>
                    </a:cubicBezTo>
                    <a:lnTo>
                      <a:pt x="252" y="439"/>
                    </a:lnTo>
                    <a:close/>
                    <a:moveTo>
                      <a:pt x="0" y="439"/>
                    </a:moveTo>
                    <a:cubicBezTo>
                      <a:pt x="0" y="449"/>
                      <a:pt x="8" y="454"/>
                      <a:pt x="28" y="454"/>
                    </a:cubicBezTo>
                    <a:cubicBezTo>
                      <a:pt x="48" y="454"/>
                      <a:pt x="56" y="449"/>
                      <a:pt x="56" y="439"/>
                    </a:cubicBezTo>
                    <a:cubicBezTo>
                      <a:pt x="56" y="157"/>
                      <a:pt x="56" y="157"/>
                      <a:pt x="56" y="157"/>
                    </a:cubicBezTo>
                    <a:cubicBezTo>
                      <a:pt x="56" y="83"/>
                      <a:pt x="85" y="53"/>
                      <a:pt x="165" y="53"/>
                    </a:cubicBezTo>
                    <a:cubicBezTo>
                      <a:pt x="180" y="53"/>
                      <a:pt x="180" y="53"/>
                      <a:pt x="180" y="53"/>
                    </a:cubicBezTo>
                    <a:cubicBezTo>
                      <a:pt x="192" y="53"/>
                      <a:pt x="196" y="43"/>
                      <a:pt x="196" y="27"/>
                    </a:cubicBezTo>
                    <a:cubicBezTo>
                      <a:pt x="196" y="8"/>
                      <a:pt x="185" y="4"/>
                      <a:pt x="154" y="4"/>
                    </a:cubicBezTo>
                    <a:cubicBezTo>
                      <a:pt x="64" y="4"/>
                      <a:pt x="0" y="43"/>
                      <a:pt x="0" y="152"/>
                    </a:cubicBezTo>
                    <a:lnTo>
                      <a:pt x="0" y="43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sp>
            <p:nvSpPr>
              <p:cNvPr id="25" name="Freeform 10">
                <a:extLst>
                  <a:ext uri="{FF2B5EF4-FFF2-40B4-BE49-F238E27FC236}">
                    <a16:creationId xmlns:a16="http://schemas.microsoft.com/office/drawing/2014/main" id="{2B91B16B-BC11-E547-8FAC-B9B8D18EA449}"/>
                  </a:ext>
                </a:extLst>
              </p:cNvPr>
              <p:cNvSpPr>
                <a:spLocks/>
              </p:cNvSpPr>
              <p:nvPr/>
            </p:nvSpPr>
            <p:spPr bwMode="gray">
              <a:xfrm>
                <a:off x="2880" y="1704"/>
                <a:ext cx="618" cy="916"/>
              </a:xfrm>
              <a:custGeom>
                <a:avLst/>
                <a:gdLst>
                  <a:gd name="T0" fmla="*/ 307 w 307"/>
                  <a:gd name="T1" fmla="*/ 405 h 455"/>
                  <a:gd name="T2" fmla="*/ 307 w 307"/>
                  <a:gd name="T3" fmla="*/ 244 h 455"/>
                  <a:gd name="T4" fmla="*/ 279 w 307"/>
                  <a:gd name="T5" fmla="*/ 229 h 455"/>
                  <a:gd name="T6" fmla="*/ 250 w 307"/>
                  <a:gd name="T7" fmla="*/ 244 h 455"/>
                  <a:gd name="T8" fmla="*/ 250 w 307"/>
                  <a:gd name="T9" fmla="*/ 378 h 455"/>
                  <a:gd name="T10" fmla="*/ 199 w 307"/>
                  <a:gd name="T11" fmla="*/ 408 h 455"/>
                  <a:gd name="T12" fmla="*/ 61 w 307"/>
                  <a:gd name="T13" fmla="*/ 231 h 455"/>
                  <a:gd name="T14" fmla="*/ 238 w 307"/>
                  <a:gd name="T15" fmla="*/ 49 h 455"/>
                  <a:gd name="T16" fmla="*/ 270 w 307"/>
                  <a:gd name="T17" fmla="*/ 49 h 455"/>
                  <a:gd name="T18" fmla="*/ 286 w 307"/>
                  <a:gd name="T19" fmla="*/ 23 h 455"/>
                  <a:gd name="T20" fmla="*/ 244 w 307"/>
                  <a:gd name="T21" fmla="*/ 0 h 455"/>
                  <a:gd name="T22" fmla="*/ 231 w 307"/>
                  <a:gd name="T23" fmla="*/ 0 h 455"/>
                  <a:gd name="T24" fmla="*/ 0 w 307"/>
                  <a:gd name="T25" fmla="*/ 232 h 455"/>
                  <a:gd name="T26" fmla="*/ 198 w 307"/>
                  <a:gd name="T27" fmla="*/ 455 h 455"/>
                  <a:gd name="T28" fmla="*/ 307 w 307"/>
                  <a:gd name="T29" fmla="*/ 405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7" h="455">
                    <a:moveTo>
                      <a:pt x="307" y="405"/>
                    </a:moveTo>
                    <a:cubicBezTo>
                      <a:pt x="307" y="244"/>
                      <a:pt x="307" y="244"/>
                      <a:pt x="307" y="244"/>
                    </a:cubicBezTo>
                    <a:cubicBezTo>
                      <a:pt x="307" y="234"/>
                      <a:pt x="298" y="229"/>
                      <a:pt x="279" y="229"/>
                    </a:cubicBezTo>
                    <a:cubicBezTo>
                      <a:pt x="259" y="229"/>
                      <a:pt x="250" y="234"/>
                      <a:pt x="250" y="244"/>
                    </a:cubicBezTo>
                    <a:cubicBezTo>
                      <a:pt x="250" y="378"/>
                      <a:pt x="250" y="378"/>
                      <a:pt x="250" y="378"/>
                    </a:cubicBezTo>
                    <a:cubicBezTo>
                      <a:pt x="250" y="399"/>
                      <a:pt x="241" y="408"/>
                      <a:pt x="199" y="408"/>
                    </a:cubicBezTo>
                    <a:cubicBezTo>
                      <a:pt x="114" y="408"/>
                      <a:pt x="61" y="342"/>
                      <a:pt x="61" y="231"/>
                    </a:cubicBezTo>
                    <a:cubicBezTo>
                      <a:pt x="61" y="115"/>
                      <a:pt x="126" y="49"/>
                      <a:pt x="238" y="49"/>
                    </a:cubicBezTo>
                    <a:cubicBezTo>
                      <a:pt x="270" y="49"/>
                      <a:pt x="270" y="49"/>
                      <a:pt x="270" y="49"/>
                    </a:cubicBezTo>
                    <a:cubicBezTo>
                      <a:pt x="282" y="49"/>
                      <a:pt x="286" y="39"/>
                      <a:pt x="286" y="23"/>
                    </a:cubicBezTo>
                    <a:cubicBezTo>
                      <a:pt x="286" y="4"/>
                      <a:pt x="275" y="0"/>
                      <a:pt x="244" y="0"/>
                    </a:cubicBezTo>
                    <a:cubicBezTo>
                      <a:pt x="231" y="0"/>
                      <a:pt x="231" y="0"/>
                      <a:pt x="231" y="0"/>
                    </a:cubicBezTo>
                    <a:cubicBezTo>
                      <a:pt x="101" y="0"/>
                      <a:pt x="0" y="71"/>
                      <a:pt x="0" y="232"/>
                    </a:cubicBezTo>
                    <a:cubicBezTo>
                      <a:pt x="0" y="386"/>
                      <a:pt x="88" y="455"/>
                      <a:pt x="198" y="455"/>
                    </a:cubicBezTo>
                    <a:cubicBezTo>
                      <a:pt x="286" y="455"/>
                      <a:pt x="307" y="430"/>
                      <a:pt x="307" y="40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sp>
            <p:nvSpPr>
              <p:cNvPr id="26" name="Oval 11">
                <a:extLst>
                  <a:ext uri="{FF2B5EF4-FFF2-40B4-BE49-F238E27FC236}">
                    <a16:creationId xmlns:a16="http://schemas.microsoft.com/office/drawing/2014/main" id="{14F8C3C8-4888-7646-B9B4-64EB46A1DA23}"/>
                  </a:ext>
                </a:extLst>
              </p:cNvPr>
              <p:cNvSpPr>
                <a:spLocks noChangeArrowheads="1"/>
              </p:cNvSpPr>
              <p:nvPr/>
            </p:nvSpPr>
            <p:spPr bwMode="gray">
              <a:xfrm>
                <a:off x="3778" y="2099"/>
                <a:ext cx="122" cy="12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sp>
            <p:nvSpPr>
              <p:cNvPr id="27" name="Freeform 12">
                <a:extLst>
                  <a:ext uri="{FF2B5EF4-FFF2-40B4-BE49-F238E27FC236}">
                    <a16:creationId xmlns:a16="http://schemas.microsoft.com/office/drawing/2014/main" id="{D79D01D1-4E3E-F34B-97D7-2D387E68746E}"/>
                  </a:ext>
                </a:extLst>
              </p:cNvPr>
              <p:cNvSpPr>
                <a:spLocks/>
              </p:cNvSpPr>
              <p:nvPr/>
            </p:nvSpPr>
            <p:spPr bwMode="gray">
              <a:xfrm>
                <a:off x="4321" y="1029"/>
                <a:ext cx="648" cy="649"/>
              </a:xfrm>
              <a:custGeom>
                <a:avLst/>
                <a:gdLst>
                  <a:gd name="T0" fmla="*/ 0 w 648"/>
                  <a:gd name="T1" fmla="*/ 649 h 649"/>
                  <a:gd name="T2" fmla="*/ 2 w 648"/>
                  <a:gd name="T3" fmla="*/ 649 h 649"/>
                  <a:gd name="T4" fmla="*/ 648 w 648"/>
                  <a:gd name="T5" fmla="*/ 0 h 649"/>
                  <a:gd name="T6" fmla="*/ 423 w 648"/>
                  <a:gd name="T7" fmla="*/ 0 h 649"/>
                  <a:gd name="T8" fmla="*/ 0 w 648"/>
                  <a:gd name="T9" fmla="*/ 649 h 649"/>
                </a:gdLst>
                <a:ahLst/>
                <a:cxnLst>
                  <a:cxn ang="0">
                    <a:pos x="T0" y="T1"/>
                  </a:cxn>
                  <a:cxn ang="0">
                    <a:pos x="T2" y="T3"/>
                  </a:cxn>
                  <a:cxn ang="0">
                    <a:pos x="T4" y="T5"/>
                  </a:cxn>
                  <a:cxn ang="0">
                    <a:pos x="T6" y="T7"/>
                  </a:cxn>
                  <a:cxn ang="0">
                    <a:pos x="T8" y="T9"/>
                  </a:cxn>
                </a:cxnLst>
                <a:rect l="0" t="0" r="r" b="b"/>
                <a:pathLst>
                  <a:path w="648" h="649">
                    <a:moveTo>
                      <a:pt x="0" y="649"/>
                    </a:moveTo>
                    <a:lnTo>
                      <a:pt x="2" y="649"/>
                    </a:lnTo>
                    <a:lnTo>
                      <a:pt x="648" y="0"/>
                    </a:lnTo>
                    <a:lnTo>
                      <a:pt x="423" y="0"/>
                    </a:lnTo>
                    <a:lnTo>
                      <a:pt x="0" y="64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sp>
            <p:nvSpPr>
              <p:cNvPr id="28" name="Freeform 13">
                <a:extLst>
                  <a:ext uri="{FF2B5EF4-FFF2-40B4-BE49-F238E27FC236}">
                    <a16:creationId xmlns:a16="http://schemas.microsoft.com/office/drawing/2014/main" id="{46549898-6C52-B147-A8F6-A73FDBE6163B}"/>
                  </a:ext>
                </a:extLst>
              </p:cNvPr>
              <p:cNvSpPr>
                <a:spLocks/>
              </p:cNvSpPr>
              <p:nvPr/>
            </p:nvSpPr>
            <p:spPr bwMode="gray">
              <a:xfrm>
                <a:off x="4321" y="1029"/>
                <a:ext cx="648" cy="649"/>
              </a:xfrm>
              <a:custGeom>
                <a:avLst/>
                <a:gdLst>
                  <a:gd name="T0" fmla="*/ 0 w 648"/>
                  <a:gd name="T1" fmla="*/ 649 h 649"/>
                  <a:gd name="T2" fmla="*/ 2 w 648"/>
                  <a:gd name="T3" fmla="*/ 649 h 649"/>
                  <a:gd name="T4" fmla="*/ 648 w 648"/>
                  <a:gd name="T5" fmla="*/ 0 h 649"/>
                  <a:gd name="T6" fmla="*/ 423 w 648"/>
                  <a:gd name="T7" fmla="*/ 0 h 649"/>
                  <a:gd name="T8" fmla="*/ 0 w 648"/>
                  <a:gd name="T9" fmla="*/ 649 h 649"/>
                </a:gdLst>
                <a:ahLst/>
                <a:cxnLst>
                  <a:cxn ang="0">
                    <a:pos x="T0" y="T1"/>
                  </a:cxn>
                  <a:cxn ang="0">
                    <a:pos x="T2" y="T3"/>
                  </a:cxn>
                  <a:cxn ang="0">
                    <a:pos x="T4" y="T5"/>
                  </a:cxn>
                  <a:cxn ang="0">
                    <a:pos x="T6" y="T7"/>
                  </a:cxn>
                  <a:cxn ang="0">
                    <a:pos x="T8" y="T9"/>
                  </a:cxn>
                </a:cxnLst>
                <a:rect l="0" t="0" r="r" b="b"/>
                <a:pathLst>
                  <a:path w="648" h="649">
                    <a:moveTo>
                      <a:pt x="0" y="649"/>
                    </a:moveTo>
                    <a:lnTo>
                      <a:pt x="2" y="649"/>
                    </a:lnTo>
                    <a:lnTo>
                      <a:pt x="648" y="0"/>
                    </a:lnTo>
                    <a:lnTo>
                      <a:pt x="423" y="0"/>
                    </a:lnTo>
                    <a:lnTo>
                      <a:pt x="0" y="64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grpSp>
      </p:grpSp>
      <p:sp>
        <p:nvSpPr>
          <p:cNvPr id="7" name="Date Placeholder 6"/>
          <p:cNvSpPr>
            <a:spLocks noGrp="1"/>
          </p:cNvSpPr>
          <p:nvPr>
            <p:ph type="dt" sz="half" idx="10"/>
          </p:nvPr>
        </p:nvSpPr>
        <p:spPr>
          <a:xfrm>
            <a:off x="0" y="0"/>
            <a:ext cx="0" cy="0"/>
          </a:xfrm>
          <a:prstGeom prst="rect">
            <a:avLst/>
          </a:prstGeom>
        </p:spPr>
        <p:txBody>
          <a:bodyPr/>
          <a:lstStyle>
            <a:lvl1pPr>
              <a:defRPr sz="100">
                <a:noFill/>
              </a:defRPr>
            </a:lvl1pPr>
          </a:lstStyle>
          <a:p>
            <a:fld id="{D76217CC-534C-41BF-930C-27B1184E95F2}" type="datetime5">
              <a:rPr lang="en-US" smtClean="0"/>
              <a:t>26-Jun-20</a:t>
            </a:fld>
            <a:endParaRPr lang="en-US" dirty="0"/>
          </a:p>
        </p:txBody>
      </p:sp>
      <p:sp>
        <p:nvSpPr>
          <p:cNvPr id="8" name="Footer Placeholder 7"/>
          <p:cNvSpPr>
            <a:spLocks noGrp="1"/>
          </p:cNvSpPr>
          <p:nvPr>
            <p:ph type="ftr" sz="quarter" idx="11"/>
          </p:nvPr>
        </p:nvSpPr>
        <p:spPr>
          <a:xfrm>
            <a:off x="0" y="0"/>
            <a:ext cx="0" cy="0"/>
          </a:xfrm>
          <a:prstGeom prst="rect">
            <a:avLst/>
          </a:prstGeom>
        </p:spPr>
        <p:txBody>
          <a:bodyPr/>
          <a:lstStyle>
            <a:lvl1pPr marL="0" indent="0">
              <a:buNone/>
              <a:defRPr sz="100">
                <a:noFill/>
              </a:defRPr>
            </a:lvl1pPr>
          </a:lstStyle>
          <a:p>
            <a:r>
              <a:rPr lang="en-US"/>
              <a:t>Title of presentation (Insert / Header &amp; Footer / Apply to All)</a:t>
            </a:r>
            <a:endParaRPr lang="en-US" dirty="0"/>
          </a:p>
        </p:txBody>
      </p:sp>
      <p:sp>
        <p:nvSpPr>
          <p:cNvPr id="9" name="Slide Number Placeholder 8"/>
          <p:cNvSpPr>
            <a:spLocks noGrp="1"/>
          </p:cNvSpPr>
          <p:nvPr>
            <p:ph type="sldNum" sz="quarter" idx="12"/>
          </p:nvPr>
        </p:nvSpPr>
        <p:spPr>
          <a:xfrm>
            <a:off x="0" y="0"/>
            <a:ext cx="0" cy="0"/>
          </a:xfrm>
          <a:prstGeom prst="rect">
            <a:avLst/>
          </a:prstGeom>
        </p:spPr>
        <p:txBody>
          <a:bodyPr/>
          <a:lstStyle>
            <a:lvl1pPr>
              <a:defRPr sz="100">
                <a:noFill/>
              </a:defRPr>
            </a:lvl1pPr>
          </a:lstStyle>
          <a:p>
            <a:fld id="{8E3B25F7-8D1F-44B5-B485-EE3C438CFD7B}" type="slidenum">
              <a:rPr lang="en-US" smtClean="0"/>
              <a:pPr/>
              <a:t>‹#›</a:t>
            </a:fld>
            <a:endParaRPr lang="en-US"/>
          </a:p>
        </p:txBody>
      </p:sp>
      <p:sp>
        <p:nvSpPr>
          <p:cNvPr id="2" name="Title 1"/>
          <p:cNvSpPr>
            <a:spLocks noGrp="1"/>
          </p:cNvSpPr>
          <p:nvPr>
            <p:ph type="ctrTitle" hasCustomPrompt="1"/>
          </p:nvPr>
        </p:nvSpPr>
        <p:spPr>
          <a:xfrm>
            <a:off x="4777671" y="2019727"/>
            <a:ext cx="3816000" cy="2236264"/>
          </a:xfrm>
        </p:spPr>
        <p:txBody>
          <a:bodyPr anchor="b"/>
          <a:lstStyle>
            <a:lvl1pPr algn="l">
              <a:defRPr sz="3600"/>
            </a:lvl1pPr>
          </a:lstStyle>
          <a:p>
            <a:r>
              <a:rPr lang="en-US" dirty="0"/>
              <a:t>Click to add thank you</a:t>
            </a:r>
          </a:p>
        </p:txBody>
      </p:sp>
    </p:spTree>
    <p:extLst>
      <p:ext uri="{BB962C8B-B14F-4D97-AF65-F5344CB8AC3E}">
        <p14:creationId xmlns:p14="http://schemas.microsoft.com/office/powerpoint/2010/main" val="1287515589"/>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type="blank" preserve="1">
  <p:cSld name="Empty">
    <p:spTree>
      <p:nvGrpSpPr>
        <p:cNvPr id="1" name=""/>
        <p:cNvGrpSpPr/>
        <p:nvPr/>
      </p:nvGrpSpPr>
      <p:grpSpPr>
        <a:xfrm>
          <a:off x="0" y="0"/>
          <a:ext cx="0" cy="0"/>
          <a:chOff x="0" y="0"/>
          <a:chExt cx="0" cy="0"/>
        </a:xfrm>
      </p:grpSpPr>
      <p:sp>
        <p:nvSpPr>
          <p:cNvPr id="5" name="Rectangle 4"/>
          <p:cNvSpPr/>
          <p:nvPr/>
        </p:nvSpPr>
        <p:spPr bwMode="white">
          <a:xfrm>
            <a:off x="0" y="0"/>
            <a:ext cx="514350" cy="16287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Date Placeholder 5"/>
          <p:cNvSpPr>
            <a:spLocks noGrp="1"/>
          </p:cNvSpPr>
          <p:nvPr>
            <p:ph type="dt" sz="half" idx="10"/>
          </p:nvPr>
        </p:nvSpPr>
        <p:spPr>
          <a:xfrm>
            <a:off x="192089" y="6237288"/>
            <a:ext cx="863600" cy="358173"/>
          </a:xfrm>
          <a:prstGeom prst="rect">
            <a:avLst/>
          </a:prstGeom>
        </p:spPr>
        <p:txBody>
          <a:bodyPr/>
          <a:lstStyle/>
          <a:p>
            <a:fld id="{2DD22AFC-145E-4433-8756-926F8A0E61FA}" type="datetime5">
              <a:rPr lang="en-US" smtClean="0"/>
              <a:t>26-Jun-20</a:t>
            </a:fld>
            <a:endParaRPr lang="en-US" dirty="0"/>
          </a:p>
        </p:txBody>
      </p:sp>
      <p:sp>
        <p:nvSpPr>
          <p:cNvPr id="7" name="Footer Placeholder 6"/>
          <p:cNvSpPr>
            <a:spLocks noGrp="1"/>
          </p:cNvSpPr>
          <p:nvPr>
            <p:ph type="ftr" sz="quarter" idx="11"/>
          </p:nvPr>
        </p:nvSpPr>
        <p:spPr>
          <a:xfrm>
            <a:off x="1177999" y="6237288"/>
            <a:ext cx="8162717" cy="358173"/>
          </a:xfrm>
          <a:prstGeom prst="rect">
            <a:avLst/>
          </a:prstGeom>
        </p:spPr>
        <p:txBody>
          <a:bodyPr/>
          <a:lstStyle/>
          <a:p>
            <a:r>
              <a:rPr lang="en-US"/>
              <a:t>Title of presentation (Insert / Header &amp; Footer / Apply to All)</a:t>
            </a:r>
            <a:endParaRPr lang="en-US" dirty="0"/>
          </a:p>
        </p:txBody>
      </p:sp>
      <p:sp>
        <p:nvSpPr>
          <p:cNvPr id="8" name="Slide Number Placeholder 7"/>
          <p:cNvSpPr>
            <a:spLocks noGrp="1"/>
          </p:cNvSpPr>
          <p:nvPr>
            <p:ph type="sldNum" sz="quarter" idx="12"/>
          </p:nvPr>
        </p:nvSpPr>
        <p:spPr/>
        <p:txBody>
          <a:bodyPr/>
          <a:lstStyle/>
          <a:p>
            <a:fld id="{5F3E29E4-0979-4FCA-B4C5-5FC6044C982A}" type="slidenum">
              <a:rPr lang="en-US" smtClean="0"/>
              <a:pPr/>
              <a:t>‹#›</a:t>
            </a:fld>
            <a:endParaRPr lang="en-US"/>
          </a:p>
        </p:txBody>
      </p:sp>
    </p:spTree>
    <p:extLst>
      <p:ext uri="{BB962C8B-B14F-4D97-AF65-F5344CB8AC3E}">
        <p14:creationId xmlns:p14="http://schemas.microsoft.com/office/powerpoint/2010/main" val="2785724091"/>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type="vertTx" preserve="1">
  <p:cSld name="Titolo e testo vertica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it-IT"/>
              <a:t>Fare clic per modificare lo stile del titolo</a:t>
            </a:r>
            <a:endParaRPr lang="en-US" dirty="0"/>
          </a:p>
        </p:txBody>
      </p:sp>
      <p:sp>
        <p:nvSpPr>
          <p:cNvPr id="3" name="Vertical Text Placeholder 2"/>
          <p:cNvSpPr>
            <a:spLocks noGrp="1"/>
          </p:cNvSpPr>
          <p:nvPr>
            <p:ph type="body" orient="vert" idx="1"/>
          </p:nvPr>
        </p:nvSpPr>
        <p:spPr/>
        <p:txBody>
          <a:bodyPr vert="eaVert"/>
          <a:lstStyle/>
          <a:p>
            <a:pPr lvl="0"/>
            <a:r>
              <a:rPr lang="it-IT"/>
              <a:t>Modifica gli stili del testo dello schema</a:t>
            </a:r>
          </a:p>
          <a:p>
            <a:pPr lvl="1"/>
            <a:r>
              <a:rPr lang="it-IT"/>
              <a:t>Secondo livello</a:t>
            </a:r>
          </a:p>
          <a:p>
            <a:pPr lvl="2"/>
            <a:r>
              <a:rPr lang="it-IT"/>
              <a:t>Terzo livello</a:t>
            </a:r>
          </a:p>
          <a:p>
            <a:pPr lvl="3"/>
            <a:r>
              <a:rPr lang="it-IT"/>
              <a:t>Quarto livello</a:t>
            </a:r>
          </a:p>
          <a:p>
            <a:pPr lvl="4"/>
            <a:r>
              <a:rPr lang="it-IT"/>
              <a:t>Quinto livello</a:t>
            </a:r>
            <a:endParaRPr lang="en-US" dirty="0"/>
          </a:p>
        </p:txBody>
      </p:sp>
      <p:sp>
        <p:nvSpPr>
          <p:cNvPr id="7" name="Date Placeholder 6"/>
          <p:cNvSpPr>
            <a:spLocks noGrp="1"/>
          </p:cNvSpPr>
          <p:nvPr>
            <p:ph type="dt" sz="half" idx="10"/>
          </p:nvPr>
        </p:nvSpPr>
        <p:spPr>
          <a:xfrm>
            <a:off x="192089" y="6237288"/>
            <a:ext cx="863600" cy="358173"/>
          </a:xfrm>
          <a:prstGeom prst="rect">
            <a:avLst/>
          </a:prstGeom>
        </p:spPr>
        <p:txBody>
          <a:bodyPr/>
          <a:lstStyle/>
          <a:p>
            <a:fld id="{AF5B2FD7-A1C3-4F99-9996-6254468DC4CB}" type="datetime5">
              <a:rPr lang="en-US" smtClean="0"/>
              <a:t>26-Jun-20</a:t>
            </a:fld>
            <a:endParaRPr lang="en-US" dirty="0"/>
          </a:p>
        </p:txBody>
      </p:sp>
      <p:sp>
        <p:nvSpPr>
          <p:cNvPr id="8" name="Footer Placeholder 7"/>
          <p:cNvSpPr>
            <a:spLocks noGrp="1"/>
          </p:cNvSpPr>
          <p:nvPr>
            <p:ph type="ftr" sz="quarter" idx="11"/>
          </p:nvPr>
        </p:nvSpPr>
        <p:spPr>
          <a:xfrm>
            <a:off x="1177999" y="6237288"/>
            <a:ext cx="8162717" cy="358173"/>
          </a:xfrm>
          <a:prstGeom prst="rect">
            <a:avLst/>
          </a:prstGeom>
        </p:spPr>
        <p:txBody>
          <a:bodyPr/>
          <a:lstStyle/>
          <a:p>
            <a:r>
              <a:rPr lang="en-US"/>
              <a:t>Title of presentation (Insert / Header &amp; Footer / Apply to All)</a:t>
            </a:r>
            <a:endParaRPr lang="en-US" dirty="0"/>
          </a:p>
        </p:txBody>
      </p:sp>
      <p:sp>
        <p:nvSpPr>
          <p:cNvPr id="9" name="Slide Number Placeholder 8"/>
          <p:cNvSpPr>
            <a:spLocks noGrp="1"/>
          </p:cNvSpPr>
          <p:nvPr>
            <p:ph type="sldNum" sz="quarter" idx="12"/>
          </p:nvPr>
        </p:nvSpPr>
        <p:spPr/>
        <p:txBody>
          <a:bodyPr/>
          <a:lstStyle/>
          <a:p>
            <a:fld id="{5F3E29E4-0979-4FCA-B4C5-5FC6044C982A}" type="slidenum">
              <a:rPr lang="en-US" smtClean="0"/>
              <a:pPr/>
              <a:t>‹#›</a:t>
            </a:fld>
            <a:endParaRPr lang="en-US"/>
          </a:p>
        </p:txBody>
      </p:sp>
    </p:spTree>
    <p:extLst>
      <p:ext uri="{BB962C8B-B14F-4D97-AF65-F5344CB8AC3E}">
        <p14:creationId xmlns:p14="http://schemas.microsoft.com/office/powerpoint/2010/main" val="1269719979"/>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type="vertTitleAndTx" preserve="1">
  <p:cSld name="1_Titolo e testo verticale">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196278" y="404813"/>
            <a:ext cx="1400175" cy="5832474"/>
          </a:xfrm>
        </p:spPr>
        <p:txBody>
          <a:bodyPr vert="eaVert"/>
          <a:lstStyle/>
          <a:p>
            <a:r>
              <a:rPr lang="it-IT"/>
              <a:t>Fare clic per modificare lo stile del titolo</a:t>
            </a:r>
            <a:endParaRPr lang="en-US" dirty="0"/>
          </a:p>
        </p:txBody>
      </p:sp>
      <p:sp>
        <p:nvSpPr>
          <p:cNvPr id="3" name="Vertical Text Placeholder 2"/>
          <p:cNvSpPr>
            <a:spLocks noGrp="1"/>
          </p:cNvSpPr>
          <p:nvPr>
            <p:ph type="body" orient="vert" idx="1"/>
          </p:nvPr>
        </p:nvSpPr>
        <p:spPr>
          <a:xfrm>
            <a:off x="1054436" y="404813"/>
            <a:ext cx="5965489" cy="5832474"/>
          </a:xfrm>
        </p:spPr>
        <p:txBody>
          <a:bodyPr vert="eaVert"/>
          <a:lstStyle/>
          <a:p>
            <a:pPr lvl="0"/>
            <a:r>
              <a:rPr lang="it-IT"/>
              <a:t>Modifica gli stili del testo dello schema</a:t>
            </a:r>
          </a:p>
          <a:p>
            <a:pPr lvl="1"/>
            <a:r>
              <a:rPr lang="it-IT"/>
              <a:t>Secondo livello</a:t>
            </a:r>
          </a:p>
          <a:p>
            <a:pPr lvl="2"/>
            <a:r>
              <a:rPr lang="it-IT"/>
              <a:t>Terzo livello</a:t>
            </a:r>
          </a:p>
          <a:p>
            <a:pPr lvl="3"/>
            <a:r>
              <a:rPr lang="it-IT"/>
              <a:t>Quarto livello</a:t>
            </a:r>
          </a:p>
          <a:p>
            <a:pPr lvl="4"/>
            <a:r>
              <a:rPr lang="it-IT"/>
              <a:t>Quinto livello</a:t>
            </a:r>
            <a:endParaRPr lang="en-US"/>
          </a:p>
        </p:txBody>
      </p:sp>
      <p:sp>
        <p:nvSpPr>
          <p:cNvPr id="7" name="Date Placeholder 6"/>
          <p:cNvSpPr>
            <a:spLocks noGrp="1"/>
          </p:cNvSpPr>
          <p:nvPr>
            <p:ph type="dt" sz="half" idx="10"/>
          </p:nvPr>
        </p:nvSpPr>
        <p:spPr>
          <a:xfrm>
            <a:off x="192089" y="6237288"/>
            <a:ext cx="863600" cy="358173"/>
          </a:xfrm>
          <a:prstGeom prst="rect">
            <a:avLst/>
          </a:prstGeom>
        </p:spPr>
        <p:txBody>
          <a:bodyPr/>
          <a:lstStyle/>
          <a:p>
            <a:fld id="{A1079567-0E61-4D85-B570-3273C3AD246A}" type="datetime5">
              <a:rPr lang="en-US" smtClean="0"/>
              <a:t>26-Jun-20</a:t>
            </a:fld>
            <a:endParaRPr lang="en-US" dirty="0"/>
          </a:p>
        </p:txBody>
      </p:sp>
      <p:sp>
        <p:nvSpPr>
          <p:cNvPr id="8" name="Footer Placeholder 7"/>
          <p:cNvSpPr>
            <a:spLocks noGrp="1"/>
          </p:cNvSpPr>
          <p:nvPr>
            <p:ph type="ftr" sz="quarter" idx="11"/>
          </p:nvPr>
        </p:nvSpPr>
        <p:spPr>
          <a:xfrm>
            <a:off x="1177999" y="6237288"/>
            <a:ext cx="8162717" cy="358173"/>
          </a:xfrm>
          <a:prstGeom prst="rect">
            <a:avLst/>
          </a:prstGeom>
        </p:spPr>
        <p:txBody>
          <a:bodyPr/>
          <a:lstStyle/>
          <a:p>
            <a:r>
              <a:rPr lang="en-US"/>
              <a:t>Title of presentation (Insert / Header &amp; Footer / Apply to All)</a:t>
            </a:r>
            <a:endParaRPr lang="en-US" dirty="0"/>
          </a:p>
        </p:txBody>
      </p:sp>
      <p:sp>
        <p:nvSpPr>
          <p:cNvPr id="9" name="Slide Number Placeholder 8"/>
          <p:cNvSpPr>
            <a:spLocks noGrp="1"/>
          </p:cNvSpPr>
          <p:nvPr>
            <p:ph type="sldNum" sz="quarter" idx="12"/>
          </p:nvPr>
        </p:nvSpPr>
        <p:spPr/>
        <p:txBody>
          <a:bodyPr/>
          <a:lstStyle/>
          <a:p>
            <a:fld id="{5F3E29E4-0979-4FCA-B4C5-5FC6044C982A}" type="slidenum">
              <a:rPr lang="en-US" smtClean="0"/>
              <a:pPr/>
              <a:t>‹#›</a:t>
            </a:fld>
            <a:endParaRPr lang="en-US"/>
          </a:p>
        </p:txBody>
      </p:sp>
    </p:spTree>
    <p:extLst>
      <p:ext uri="{BB962C8B-B14F-4D97-AF65-F5344CB8AC3E}">
        <p14:creationId xmlns:p14="http://schemas.microsoft.com/office/powerpoint/2010/main" val="4156238027"/>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userDrawn="1">
  <p:cSld name="1_Headline only">
    <p:spTree>
      <p:nvGrpSpPr>
        <p:cNvPr id="1" name=""/>
        <p:cNvGrpSpPr/>
        <p:nvPr/>
      </p:nvGrpSpPr>
      <p:grpSpPr>
        <a:xfrm>
          <a:off x="0" y="0"/>
          <a:ext cx="0" cy="0"/>
          <a:chOff x="0" y="0"/>
          <a:chExt cx="0" cy="0"/>
        </a:xfrm>
      </p:grpSpPr>
      <p:sp>
        <p:nvSpPr>
          <p:cNvPr id="23" name="Slide Number Placeholder 22"/>
          <p:cNvSpPr>
            <a:spLocks noGrp="1"/>
          </p:cNvSpPr>
          <p:nvPr>
            <p:ph type="sldNum" sz="quarter" idx="16"/>
          </p:nvPr>
        </p:nvSpPr>
        <p:spPr/>
        <p:txBody>
          <a:bodyPr/>
          <a:lstStyle/>
          <a:p>
            <a:fld id="{5F3E29E4-0979-4FCA-B4C5-5FC6044C982A}" type="slidenum">
              <a:rPr lang="en-US" smtClean="0"/>
              <a:t>‹#›</a:t>
            </a:fld>
            <a:endParaRPr lang="en-US"/>
          </a:p>
        </p:txBody>
      </p:sp>
      <p:sp>
        <p:nvSpPr>
          <p:cNvPr id="2" name="Title 1"/>
          <p:cNvSpPr>
            <a:spLocks noGrp="1"/>
          </p:cNvSpPr>
          <p:nvPr>
            <p:ph type="title" hasCustomPrompt="1"/>
          </p:nvPr>
        </p:nvSpPr>
        <p:spPr>
          <a:xfrm>
            <a:off x="1075060" y="288922"/>
            <a:ext cx="9561309" cy="648000"/>
          </a:xfrm>
        </p:spPr>
        <p:txBody>
          <a:bodyPr/>
          <a:lstStyle>
            <a:lvl1pPr>
              <a:defRPr sz="2800"/>
            </a:lvl1pPr>
          </a:lstStyle>
          <a:p>
            <a:r>
              <a:rPr lang="en-US" dirty="0"/>
              <a:t>Click to add slide title </a:t>
            </a:r>
            <a:br>
              <a:rPr lang="en-US" dirty="0"/>
            </a:br>
            <a:r>
              <a:rPr lang="en-US" dirty="0" err="1"/>
              <a:t>xxxxxxxxxxxxxxxxxxxxxxxxxxxxxxxx</a:t>
            </a:r>
            <a:endParaRPr lang="en-US" dirty="0"/>
          </a:p>
        </p:txBody>
      </p:sp>
      <p:sp>
        <p:nvSpPr>
          <p:cNvPr id="7" name="Subtitle 2"/>
          <p:cNvSpPr>
            <a:spLocks noGrp="1"/>
          </p:cNvSpPr>
          <p:nvPr>
            <p:ph type="subTitle" idx="13" hasCustomPrompt="1"/>
          </p:nvPr>
        </p:nvSpPr>
        <p:spPr>
          <a:xfrm>
            <a:off x="1075060" y="1163076"/>
            <a:ext cx="9940872" cy="490042"/>
          </a:xfrm>
        </p:spPr>
        <p:txBody>
          <a:bodyPr wrap="square"/>
          <a:lstStyle>
            <a:lvl1pPr marL="0" indent="0" algn="l">
              <a:lnSpc>
                <a:spcPct val="100000"/>
              </a:lnSpc>
              <a:spcBef>
                <a:spcPts val="0"/>
              </a:spcBef>
              <a:buNone/>
              <a:defRPr sz="1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a:p>
            <a:r>
              <a:rPr lang="en-US" dirty="0"/>
              <a:t>Subtitle</a:t>
            </a:r>
          </a:p>
          <a:p>
            <a:r>
              <a:rPr lang="en-US" dirty="0"/>
              <a:t>Subtitle</a:t>
            </a:r>
          </a:p>
          <a:p>
            <a:r>
              <a:rPr lang="en-US" dirty="0"/>
              <a:t>Subtitle</a:t>
            </a:r>
          </a:p>
        </p:txBody>
      </p:sp>
    </p:spTree>
    <p:extLst>
      <p:ext uri="{BB962C8B-B14F-4D97-AF65-F5344CB8AC3E}">
        <p14:creationId xmlns:p14="http://schemas.microsoft.com/office/powerpoint/2010/main" val="2820695849"/>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userDrawn="1">
  <p:cSld name="2_Headline only">
    <p:spTree>
      <p:nvGrpSpPr>
        <p:cNvPr id="1" name=""/>
        <p:cNvGrpSpPr/>
        <p:nvPr/>
      </p:nvGrpSpPr>
      <p:grpSpPr>
        <a:xfrm>
          <a:off x="0" y="0"/>
          <a:ext cx="0" cy="0"/>
          <a:chOff x="0" y="0"/>
          <a:chExt cx="0" cy="0"/>
        </a:xfrm>
      </p:grpSpPr>
      <p:sp>
        <p:nvSpPr>
          <p:cNvPr id="3" name="Textplatzhalter 2"/>
          <p:cNvSpPr>
            <a:spLocks noGrp="1"/>
          </p:cNvSpPr>
          <p:nvPr>
            <p:ph type="body" sz="quarter" idx="10" hasCustomPrompt="1"/>
          </p:nvPr>
        </p:nvSpPr>
        <p:spPr bwMode="gray">
          <a:xfrm>
            <a:off x="431213" y="1220755"/>
            <a:ext cx="11328987" cy="384340"/>
          </a:xfrm>
        </p:spPr>
        <p:txBody>
          <a:bodyPr>
            <a:noAutofit/>
          </a:bodyPr>
          <a:lstStyle>
            <a:lvl1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1pPr>
            <a:lvl2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2pPr>
            <a:lvl3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3pPr>
            <a:lvl4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4pPr>
            <a:lvl5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5pPr>
            <a:lvl6pPr marL="0" indent="0">
              <a:lnSpc>
                <a:spcPct val="100000"/>
              </a:lnSpc>
              <a:spcBef>
                <a:spcPts val="800"/>
              </a:spcBef>
              <a:buNone/>
              <a:defRPr lang="en-GB" sz="2400" kern="1200" noProof="0" smtClean="0">
                <a:solidFill>
                  <a:schemeClr val="tx2"/>
                </a:solidFill>
                <a:latin typeface="Arial" pitchFamily="34" charset="0"/>
                <a:ea typeface="+mn-ea"/>
                <a:cs typeface="Arial" pitchFamily="34" charset="0"/>
              </a:defRPr>
            </a:lvl6pPr>
            <a:lvl7pPr marL="0" indent="0">
              <a:lnSpc>
                <a:spcPct val="100000"/>
              </a:lnSpc>
              <a:spcBef>
                <a:spcPts val="800"/>
              </a:spcBef>
              <a:buNone/>
              <a:defRPr lang="en-GB" sz="2400" kern="1200" noProof="0" smtClean="0">
                <a:solidFill>
                  <a:schemeClr val="tx2"/>
                </a:solidFill>
                <a:latin typeface="Arial" pitchFamily="34" charset="0"/>
                <a:ea typeface="+mn-ea"/>
                <a:cs typeface="Arial" pitchFamily="34" charset="0"/>
              </a:defRPr>
            </a:lvl7pPr>
            <a:lvl8pPr marL="0" indent="0">
              <a:lnSpc>
                <a:spcPct val="100000"/>
              </a:lnSpc>
              <a:spcBef>
                <a:spcPts val="800"/>
              </a:spcBef>
              <a:buNone/>
              <a:defRPr lang="en-GB" sz="2400" kern="1200" noProof="0" smtClean="0">
                <a:solidFill>
                  <a:schemeClr val="tx2"/>
                </a:solidFill>
                <a:latin typeface="Arial" pitchFamily="34" charset="0"/>
                <a:ea typeface="+mn-ea"/>
                <a:cs typeface="Arial" pitchFamily="34" charset="0"/>
              </a:defRPr>
            </a:lvl8pPr>
            <a:lvl9pPr marL="0" indent="0">
              <a:lnSpc>
                <a:spcPct val="100000"/>
              </a:lnSpc>
              <a:spcBef>
                <a:spcPts val="800"/>
              </a:spcBef>
              <a:buNone/>
              <a:defRPr lang="de-DE" sz="2400" kern="1200" noProof="0" smtClean="0">
                <a:solidFill>
                  <a:schemeClr val="tx2"/>
                </a:solidFill>
                <a:latin typeface="Arial" pitchFamily="34" charset="0"/>
                <a:ea typeface="+mn-ea"/>
                <a:cs typeface="Arial" pitchFamily="34" charset="0"/>
              </a:defRPr>
            </a:lvl9pPr>
          </a:lstStyle>
          <a:p>
            <a:pPr lvl="0"/>
            <a:r>
              <a:rPr lang="pl-PL" dirty="0"/>
              <a:t>Click to add subheadline</a:t>
            </a:r>
          </a:p>
        </p:txBody>
      </p:sp>
      <p:sp>
        <p:nvSpPr>
          <p:cNvPr id="4" name="Textplatzhalter 3"/>
          <p:cNvSpPr>
            <a:spLocks noGrp="1"/>
          </p:cNvSpPr>
          <p:nvPr>
            <p:ph type="body" sz="quarter" idx="11" hasCustomPrompt="1"/>
          </p:nvPr>
        </p:nvSpPr>
        <p:spPr bwMode="gray">
          <a:xfrm>
            <a:off x="431371" y="6404736"/>
            <a:ext cx="11328400" cy="192616"/>
          </a:xfrm>
        </p:spPr>
        <p:txBody>
          <a:bodyPr tIns="0" bIns="36000" anchor="b" anchorCtr="0">
            <a:noAutofit/>
          </a:bodyPr>
          <a:lstStyle>
            <a:lvl1pPr marL="0" marR="0" indent="0" algn="l" defTabSz="1219170" rtl="0" eaLnBrk="1" fontAlgn="auto" latinLnBrk="0" hangingPunct="1">
              <a:lnSpc>
                <a:spcPct val="100000"/>
              </a:lnSpc>
              <a:spcBef>
                <a:spcPts val="0"/>
              </a:spcBef>
              <a:spcAft>
                <a:spcPts val="0"/>
              </a:spcAft>
              <a:buClrTx/>
              <a:buSzTx/>
              <a:buFont typeface="Arial" pitchFamily="34" charset="0"/>
              <a:buNone/>
              <a:tabLst/>
              <a:defRPr lang="de-DE" sz="1067" kern="1200" baseline="0" noProof="0" smtClean="0">
                <a:solidFill>
                  <a:schemeClr val="bg2"/>
                </a:solidFill>
                <a:latin typeface="Arial" pitchFamily="34" charset="0"/>
                <a:ea typeface="+mn-ea"/>
                <a:cs typeface="Arial" pitchFamily="34" charset="0"/>
              </a:defRPr>
            </a:lvl1pPr>
            <a:lvl2pPr marL="0" indent="0">
              <a:lnSpc>
                <a:spcPct val="100000"/>
              </a:lnSpc>
              <a:spcBef>
                <a:spcPts val="0"/>
              </a:spcBef>
              <a:buFont typeface="Arial" panose="020B0604020202020204" pitchFamily="34" charset="0"/>
              <a:buNone/>
              <a:defRPr lang="de-DE" sz="1067" kern="1200" baseline="0" noProof="0" smtClean="0">
                <a:solidFill>
                  <a:schemeClr val="bg2"/>
                </a:solidFill>
                <a:latin typeface="Arial" pitchFamily="34" charset="0"/>
                <a:ea typeface="+mn-ea"/>
                <a:cs typeface="Arial" pitchFamily="34" charset="0"/>
              </a:defRPr>
            </a:lvl2pPr>
            <a:lvl3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3pPr>
            <a:lvl4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4pPr>
            <a:lvl5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5pPr>
            <a:lvl6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6pPr>
            <a:lvl7pPr marL="0" indent="0">
              <a:lnSpc>
                <a:spcPct val="100000"/>
              </a:lnSpc>
              <a:spcBef>
                <a:spcPts val="0"/>
              </a:spcBef>
              <a:buNone/>
              <a:defRPr lang="de-DE" sz="1067" kern="1200" baseline="0" noProof="0" dirty="0" smtClean="0">
                <a:solidFill>
                  <a:schemeClr val="bg2"/>
                </a:solidFill>
                <a:latin typeface="Arial" pitchFamily="34" charset="0"/>
                <a:ea typeface="+mn-ea"/>
                <a:cs typeface="Arial" pitchFamily="34" charset="0"/>
              </a:defRPr>
            </a:lvl7pPr>
            <a:lvl8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8pPr>
            <a:lvl9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9pPr>
          </a:lstStyle>
          <a:p>
            <a:pPr lvl="0"/>
            <a:r>
              <a:rPr lang="pl-PL" dirty="0"/>
              <a:t>Click to add source information</a:t>
            </a:r>
          </a:p>
        </p:txBody>
      </p:sp>
      <p:sp>
        <p:nvSpPr>
          <p:cNvPr id="5" name="Title 4"/>
          <p:cNvSpPr>
            <a:spLocks noGrp="1"/>
          </p:cNvSpPr>
          <p:nvPr>
            <p:ph type="title" hasCustomPrompt="1"/>
          </p:nvPr>
        </p:nvSpPr>
        <p:spPr/>
        <p:txBody>
          <a:bodyPr/>
          <a:lstStyle/>
          <a:p>
            <a:r>
              <a:rPr lang="pl-PL" dirty="0"/>
              <a:t>Click to add headline</a:t>
            </a:r>
          </a:p>
        </p:txBody>
      </p:sp>
    </p:spTree>
    <p:extLst>
      <p:ext uri="{BB962C8B-B14F-4D97-AF65-F5344CB8AC3E}">
        <p14:creationId xmlns:p14="http://schemas.microsoft.com/office/powerpoint/2010/main" val="2526202513"/>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spid="_x0000_s592953" name="think-cell Slide" r:id="rId4" imgW="421" imgH="423" progId="TCLayout.ActiveDocument.1">
                  <p:embed/>
                </p:oleObj>
              </mc:Choice>
              <mc:Fallback>
                <p:oleObj name="think-cell Slide" r:id="rId4" imgW="421" imgH="423" progId="TCLayout.ActiveDocument.1">
                  <p:embed/>
                  <p:pic>
                    <p:nvPicPr>
                      <p:cNvPr id="4" name="Object 3" hidden="1"/>
                      <p:cNvPicPr/>
                      <p:nvPr/>
                    </p:nvPicPr>
                    <p:blipFill>
                      <a:blip r:embed="rId5"/>
                      <a:stretch>
                        <a:fillRect/>
                      </a:stretch>
                    </p:blipFill>
                    <p:spPr>
                      <a:xfrm>
                        <a:off x="2118" y="2118"/>
                        <a:ext cx="2116" cy="2116"/>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4063658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Black and text">
    <p:bg bwMode="gray">
      <p:bgPr>
        <a:solidFill>
          <a:schemeClr val="bg1"/>
        </a:solidFill>
        <a:effectLst/>
      </p:bgPr>
    </p:bg>
    <p:spTree>
      <p:nvGrpSpPr>
        <p:cNvPr id="1" name=""/>
        <p:cNvGrpSpPr/>
        <p:nvPr/>
      </p:nvGrpSpPr>
      <p:grpSpPr>
        <a:xfrm>
          <a:off x="0" y="0"/>
          <a:ext cx="0" cy="0"/>
          <a:chOff x="0" y="0"/>
          <a:chExt cx="0" cy="0"/>
        </a:xfrm>
      </p:grpSpPr>
      <p:sp>
        <p:nvSpPr>
          <p:cNvPr id="3" name="Rechteck 2"/>
          <p:cNvSpPr/>
          <p:nvPr/>
        </p:nvSpPr>
        <p:spPr bwMode="gray">
          <a:xfrm>
            <a:off x="0" y="0"/>
            <a:ext cx="12192000" cy="6858000"/>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802" tIns="60901" rIns="121802" bIns="60901" numCol="1" spcCol="0" rtlCol="0" fromWordArt="0" anchor="ctr" anchorCtr="0" forceAA="0" compatLnSpc="1">
            <a:prstTxWarp prst="textNoShape">
              <a:avLst/>
            </a:prstTxWarp>
            <a:noAutofit/>
          </a:bodyPr>
          <a:lstStyle/>
          <a:p>
            <a:pPr marL="0" indent="0" algn="ctr">
              <a:buFont typeface="Courier New" pitchFamily="49" charset="0"/>
              <a:buNone/>
            </a:pPr>
            <a:endParaRPr lang="en-US" sz="2133">
              <a:solidFill>
                <a:schemeClr val="tx1"/>
              </a:solidFill>
              <a:latin typeface="Arial" pitchFamily="34" charset="0"/>
            </a:endParaRPr>
          </a:p>
        </p:txBody>
      </p:sp>
      <p:sp>
        <p:nvSpPr>
          <p:cNvPr id="2" name="Titel 1"/>
          <p:cNvSpPr>
            <a:spLocks noGrp="1"/>
          </p:cNvSpPr>
          <p:nvPr>
            <p:ph type="title" hasCustomPrompt="1"/>
          </p:nvPr>
        </p:nvSpPr>
        <p:spPr bwMode="gray">
          <a:xfrm>
            <a:off x="431806" y="1221319"/>
            <a:ext cx="11328399" cy="2688167"/>
          </a:xfrm>
        </p:spPr>
        <p:txBody>
          <a:bodyPr vert="horz" lIns="0" tIns="18000" rIns="0" bIns="0" rtlCol="0" anchor="b" anchorCtr="0">
            <a:noAutofit/>
          </a:bodyPr>
          <a:lstStyle>
            <a:lvl1pPr>
              <a:defRPr lang="de-DE" sz="4796" cap="none" baseline="0">
                <a:solidFill>
                  <a:schemeClr val="bg1"/>
                </a:solidFill>
                <a:latin typeface="Arial" pitchFamily="34" charset="0"/>
                <a:ea typeface="+mn-ea"/>
                <a:cs typeface="+mn-cs"/>
              </a:defRPr>
            </a:lvl1pPr>
          </a:lstStyle>
          <a:p>
            <a:pPr lvl="0"/>
            <a:r>
              <a:rPr lang="en-US"/>
              <a:t>Click to add text</a:t>
            </a:r>
          </a:p>
        </p:txBody>
      </p:sp>
    </p:spTree>
    <p:extLst>
      <p:ext uri="{BB962C8B-B14F-4D97-AF65-F5344CB8AC3E}">
        <p14:creationId xmlns:p14="http://schemas.microsoft.com/office/powerpoint/2010/main" val="3458834409"/>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spid="_x0000_s593977" name="think-cell Slide" r:id="rId4" imgW="421" imgH="423" progId="TCLayout.ActiveDocument.1">
                  <p:embed/>
                </p:oleObj>
              </mc:Choice>
              <mc:Fallback>
                <p:oleObj name="think-cell Slide" r:id="rId4" imgW="421" imgH="423" progId="TCLayout.ActiveDocument.1">
                  <p:embed/>
                  <p:pic>
                    <p:nvPicPr>
                      <p:cNvPr id="3" name="Object 2" hidden="1"/>
                      <p:cNvPicPr/>
                      <p:nvPr/>
                    </p:nvPicPr>
                    <p:blipFill>
                      <a:blip r:embed="rId5"/>
                      <a:stretch>
                        <a:fillRect/>
                      </a:stretch>
                    </p:blipFill>
                    <p:spPr>
                      <a:xfrm>
                        <a:off x="2118" y="2118"/>
                        <a:ext cx="2116" cy="2116"/>
                      </a:xfrm>
                      <a:prstGeom prst="rect">
                        <a:avLst/>
                      </a:prstGeom>
                    </p:spPr>
                  </p:pic>
                </p:oleObj>
              </mc:Fallback>
            </mc:AlternateContent>
          </a:graphicData>
        </a:graphic>
      </p:graphicFrame>
      <p:sp>
        <p:nvSpPr>
          <p:cNvPr id="2" name="Title 1"/>
          <p:cNvSpPr>
            <a:spLocks noGrp="1"/>
          </p:cNvSpPr>
          <p:nvPr>
            <p:ph type="title" hasCustomPrompt="1"/>
          </p:nvPr>
        </p:nvSpPr>
        <p:spPr bwMode="gray"/>
        <p:txBody>
          <a:bodyPr/>
          <a:lstStyle/>
          <a:p>
            <a:r>
              <a:rPr lang="en-US" dirty="0"/>
              <a:t>Click to add text</a:t>
            </a:r>
          </a:p>
        </p:txBody>
      </p:sp>
      <p:sp>
        <p:nvSpPr>
          <p:cNvPr id="5" name="Textplatzhalter 6"/>
          <p:cNvSpPr>
            <a:spLocks noGrp="1"/>
          </p:cNvSpPr>
          <p:nvPr>
            <p:ph type="body" sz="quarter" idx="12" hasCustomPrompt="1"/>
          </p:nvPr>
        </p:nvSpPr>
        <p:spPr bwMode="gray">
          <a:xfrm>
            <a:off x="431800" y="6405033"/>
            <a:ext cx="11328400" cy="192616"/>
          </a:xfrm>
        </p:spPr>
        <p:txBody>
          <a:bodyPr tIns="0" bIns="36000" anchor="b" anchorCtr="0"/>
          <a:lstStyle>
            <a:lvl1pPr marL="0" marR="0" indent="0" algn="l" defTabSz="1219170" rtl="0" eaLnBrk="1" fontAlgn="auto" latinLnBrk="0" hangingPunct="1">
              <a:lnSpc>
                <a:spcPct val="100000"/>
              </a:lnSpc>
              <a:spcBef>
                <a:spcPts val="0"/>
              </a:spcBef>
              <a:spcAft>
                <a:spcPts val="0"/>
              </a:spcAft>
              <a:buClrTx/>
              <a:buSzTx/>
              <a:buFont typeface="Arial" pitchFamily="34" charset="0"/>
              <a:buNone/>
              <a:tabLst/>
              <a:defRPr sz="1067">
                <a:solidFill>
                  <a:schemeClr val="bg2"/>
                </a:solidFill>
              </a:defRPr>
            </a:lvl1pPr>
            <a:lvl2pPr marL="0" indent="0">
              <a:spcBef>
                <a:spcPts val="400"/>
              </a:spcBef>
              <a:spcAft>
                <a:spcPts val="0"/>
              </a:spcAft>
              <a:buFont typeface="Arial" pitchFamily="34" charset="0"/>
              <a:buNone/>
              <a:defRPr sz="1200">
                <a:solidFill>
                  <a:schemeClr val="bg2"/>
                </a:solidFill>
              </a:defRPr>
            </a:lvl2pPr>
            <a:lvl3pPr marL="0" indent="0">
              <a:spcBef>
                <a:spcPts val="400"/>
              </a:spcBef>
              <a:spcAft>
                <a:spcPts val="0"/>
              </a:spcAft>
              <a:buFont typeface="Arial" pitchFamily="34" charset="0"/>
              <a:buNone/>
              <a:defRPr sz="1200">
                <a:solidFill>
                  <a:schemeClr val="bg2"/>
                </a:solidFill>
              </a:defRPr>
            </a:lvl3pPr>
            <a:lvl4pPr marL="0" indent="0">
              <a:spcBef>
                <a:spcPts val="400"/>
              </a:spcBef>
              <a:spcAft>
                <a:spcPts val="0"/>
              </a:spcAft>
              <a:buNone/>
              <a:defRPr sz="1200">
                <a:solidFill>
                  <a:schemeClr val="bg2"/>
                </a:solidFill>
              </a:defRPr>
            </a:lvl4pPr>
            <a:lvl5pPr marL="0" indent="0">
              <a:spcBef>
                <a:spcPts val="400"/>
              </a:spcBef>
              <a:spcAft>
                <a:spcPts val="0"/>
              </a:spcAft>
              <a:buNone/>
              <a:defRPr sz="1200" b="0">
                <a:solidFill>
                  <a:schemeClr val="bg2"/>
                </a:solidFill>
              </a:defRPr>
            </a:lvl5pPr>
            <a:lvl6pPr marL="0" indent="0">
              <a:spcBef>
                <a:spcPts val="400"/>
              </a:spcBef>
              <a:buFont typeface="Arial" pitchFamily="34" charset="0"/>
              <a:buNone/>
              <a:defRPr sz="1200">
                <a:solidFill>
                  <a:schemeClr val="bg2"/>
                </a:solidFill>
              </a:defRPr>
            </a:lvl6pPr>
            <a:lvl7pPr marL="0" indent="0">
              <a:spcBef>
                <a:spcPts val="400"/>
              </a:spcBef>
              <a:buFont typeface="Arial" pitchFamily="34" charset="0"/>
              <a:buNone/>
              <a:defRPr sz="1200">
                <a:solidFill>
                  <a:schemeClr val="bg2"/>
                </a:solidFill>
              </a:defRPr>
            </a:lvl7pPr>
            <a:lvl8pPr marL="0" indent="0">
              <a:spcBef>
                <a:spcPts val="400"/>
              </a:spcBef>
              <a:buFont typeface="Arial" pitchFamily="34" charset="0"/>
              <a:buNone/>
              <a:defRPr sz="1200">
                <a:solidFill>
                  <a:schemeClr val="bg2"/>
                </a:solidFill>
              </a:defRPr>
            </a:lvl8pPr>
            <a:lvl9pPr marL="0" indent="0">
              <a:spcBef>
                <a:spcPts val="400"/>
              </a:spcBef>
              <a:buFont typeface="Arial" pitchFamily="34" charset="0"/>
              <a:buNone/>
              <a:defRPr sz="1200">
                <a:solidFill>
                  <a:schemeClr val="bg2"/>
                </a:solidFill>
              </a:defRPr>
            </a:lvl9pPr>
          </a:lstStyle>
          <a:p>
            <a:pPr lvl="0"/>
            <a:r>
              <a:rPr lang="en-US" noProof="0" dirty="0"/>
              <a:t>[Source information]</a:t>
            </a:r>
          </a:p>
        </p:txBody>
      </p:sp>
    </p:spTree>
    <p:extLst>
      <p:ext uri="{BB962C8B-B14F-4D97-AF65-F5344CB8AC3E}">
        <p14:creationId xmlns:p14="http://schemas.microsoft.com/office/powerpoint/2010/main" val="3877541104"/>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showMasterSp="0" preserve="1">
  <p:cSld name="Title 1">
    <p:bg>
      <p:bgPr>
        <a:blipFill dpi="0" rotWithShape="1">
          <a:blip r:embed="rId2" cstate="print">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9" name="shpPicture"/>
          <p:cNvSpPr/>
          <p:nvPr/>
        </p:nvSpPr>
        <p:spPr>
          <a:xfrm>
            <a:off x="1" y="0"/>
            <a:ext cx="4956719" cy="6858000"/>
          </a:xfrm>
          <a:custGeom>
            <a:avLst/>
            <a:gdLst>
              <a:gd name="connsiteX0" fmla="*/ 0 w 4956718"/>
              <a:gd name="connsiteY0" fmla="*/ 0 h 6858000"/>
              <a:gd name="connsiteX1" fmla="*/ 3707268 w 4956718"/>
              <a:gd name="connsiteY1" fmla="*/ 0 h 6858000"/>
              <a:gd name="connsiteX2" fmla="*/ 4956718 w 4956718"/>
              <a:gd name="connsiteY2" fmla="*/ 4163677 h 6858000"/>
              <a:gd name="connsiteX3" fmla="*/ 3376226 w 4956718"/>
              <a:gd name="connsiteY3" fmla="*/ 6858000 h 6858000"/>
              <a:gd name="connsiteX4" fmla="*/ 0 w 4956718"/>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56718" h="6858000">
                <a:moveTo>
                  <a:pt x="0" y="0"/>
                </a:moveTo>
                <a:lnTo>
                  <a:pt x="3707268" y="0"/>
                </a:lnTo>
                <a:lnTo>
                  <a:pt x="4956718" y="4163677"/>
                </a:lnTo>
                <a:lnTo>
                  <a:pt x="3376226"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125000"/>
              </a:lnSpc>
            </a:pPr>
            <a:endParaRPr lang="en-US" sz="1599" dirty="0"/>
          </a:p>
        </p:txBody>
      </p:sp>
      <p:grpSp>
        <p:nvGrpSpPr>
          <p:cNvPr id="14" name="logo">
            <a:extLst>
              <a:ext uri="{FF2B5EF4-FFF2-40B4-BE49-F238E27FC236}">
                <a16:creationId xmlns:a16="http://schemas.microsoft.com/office/drawing/2014/main" id="{18C26D95-70F8-8A4D-9F18-DCCB92522AF8}"/>
              </a:ext>
            </a:extLst>
          </p:cNvPr>
          <p:cNvGrpSpPr/>
          <p:nvPr/>
        </p:nvGrpSpPr>
        <p:grpSpPr bwMode="gray">
          <a:xfrm>
            <a:off x="417365" y="407485"/>
            <a:ext cx="1518585" cy="646507"/>
            <a:chOff x="334963" y="296652"/>
            <a:chExt cx="1268411" cy="540000"/>
          </a:xfrm>
        </p:grpSpPr>
        <p:sp>
          <p:nvSpPr>
            <p:cNvPr id="17" name="Freeform 6">
              <a:extLst>
                <a:ext uri="{FF2B5EF4-FFF2-40B4-BE49-F238E27FC236}">
                  <a16:creationId xmlns:a16="http://schemas.microsoft.com/office/drawing/2014/main" id="{08737AD0-E375-E445-97E6-CD2E2DF60620}"/>
                </a:ext>
              </a:extLst>
            </p:cNvPr>
            <p:cNvSpPr>
              <a:spLocks noEditPoints="1"/>
            </p:cNvSpPr>
            <p:nvPr/>
          </p:nvSpPr>
          <p:spPr bwMode="gray">
            <a:xfrm>
              <a:off x="982662" y="360462"/>
              <a:ext cx="620712" cy="431800"/>
            </a:xfrm>
            <a:custGeom>
              <a:avLst/>
              <a:gdLst>
                <a:gd name="T0" fmla="*/ 19 w 1809"/>
                <a:gd name="T1" fmla="*/ 97 h 1253"/>
                <a:gd name="T2" fmla="*/ 165 w 1809"/>
                <a:gd name="T3" fmla="*/ 41 h 1253"/>
                <a:gd name="T4" fmla="*/ 211 w 1809"/>
                <a:gd name="T5" fmla="*/ 224 h 1253"/>
                <a:gd name="T6" fmla="*/ 248 w 1809"/>
                <a:gd name="T7" fmla="*/ 155 h 1253"/>
                <a:gd name="T8" fmla="*/ 931 w 1809"/>
                <a:gd name="T9" fmla="*/ 995 h 1253"/>
                <a:gd name="T10" fmla="*/ 858 w 1809"/>
                <a:gd name="T11" fmla="*/ 1115 h 1253"/>
                <a:gd name="T12" fmla="*/ 749 w 1809"/>
                <a:gd name="T13" fmla="*/ 1117 h 1253"/>
                <a:gd name="T14" fmla="*/ 681 w 1809"/>
                <a:gd name="T15" fmla="*/ 1055 h 1253"/>
                <a:gd name="T16" fmla="*/ 800 w 1809"/>
                <a:gd name="T17" fmla="*/ 1054 h 1253"/>
                <a:gd name="T18" fmla="*/ 884 w 1809"/>
                <a:gd name="T19" fmla="*/ 1181 h 1253"/>
                <a:gd name="T20" fmla="*/ 118 w 1809"/>
                <a:gd name="T21" fmla="*/ 1086 h 1253"/>
                <a:gd name="T22" fmla="*/ 147 w 1809"/>
                <a:gd name="T23" fmla="*/ 1026 h 1253"/>
                <a:gd name="T24" fmla="*/ 102 w 1809"/>
                <a:gd name="T25" fmla="*/ 1026 h 1253"/>
                <a:gd name="T26" fmla="*/ 639 w 1809"/>
                <a:gd name="T27" fmla="*/ 84 h 1253"/>
                <a:gd name="T28" fmla="*/ 763 w 1809"/>
                <a:gd name="T29" fmla="*/ 145 h 1253"/>
                <a:gd name="T30" fmla="*/ 863 w 1809"/>
                <a:gd name="T31" fmla="*/ 221 h 1253"/>
                <a:gd name="T32" fmla="*/ 834 w 1809"/>
                <a:gd name="T33" fmla="*/ 208 h 1253"/>
                <a:gd name="T34" fmla="*/ 719 w 1809"/>
                <a:gd name="T35" fmla="*/ 182 h 1253"/>
                <a:gd name="T36" fmla="*/ 507 w 1809"/>
                <a:gd name="T37" fmla="*/ 711 h 1253"/>
                <a:gd name="T38" fmla="*/ 614 w 1809"/>
                <a:gd name="T39" fmla="*/ 706 h 1253"/>
                <a:gd name="T40" fmla="*/ 736 w 1809"/>
                <a:gd name="T41" fmla="*/ 730 h 1253"/>
                <a:gd name="T42" fmla="*/ 607 w 1809"/>
                <a:gd name="T43" fmla="*/ 539 h 1253"/>
                <a:gd name="T44" fmla="*/ 1505 w 1809"/>
                <a:gd name="T45" fmla="*/ 1136 h 1253"/>
                <a:gd name="T46" fmla="*/ 1613 w 1809"/>
                <a:gd name="T47" fmla="*/ 1002 h 1253"/>
                <a:gd name="T48" fmla="*/ 1472 w 1809"/>
                <a:gd name="T49" fmla="*/ 1164 h 1253"/>
                <a:gd name="T50" fmla="*/ 1525 w 1809"/>
                <a:gd name="T51" fmla="*/ 1142 h 1253"/>
                <a:gd name="T52" fmla="*/ 1556 w 1809"/>
                <a:gd name="T53" fmla="*/ 1172 h 1253"/>
                <a:gd name="T54" fmla="*/ 1387 w 1809"/>
                <a:gd name="T55" fmla="*/ 910 h 1253"/>
                <a:gd name="T56" fmla="*/ 1261 w 1809"/>
                <a:gd name="T57" fmla="*/ 1157 h 1253"/>
                <a:gd name="T58" fmla="*/ 1413 w 1809"/>
                <a:gd name="T59" fmla="*/ 934 h 1253"/>
                <a:gd name="T60" fmla="*/ 1378 w 1809"/>
                <a:gd name="T61" fmla="*/ 1052 h 1253"/>
                <a:gd name="T62" fmla="*/ 488 w 1809"/>
                <a:gd name="T63" fmla="*/ 85 h 1253"/>
                <a:gd name="T64" fmla="*/ 509 w 1809"/>
                <a:gd name="T65" fmla="*/ 112 h 1253"/>
                <a:gd name="T66" fmla="*/ 548 w 1809"/>
                <a:gd name="T67" fmla="*/ 1187 h 1253"/>
                <a:gd name="T68" fmla="*/ 472 w 1809"/>
                <a:gd name="T69" fmla="*/ 1122 h 1253"/>
                <a:gd name="T70" fmla="*/ 558 w 1809"/>
                <a:gd name="T71" fmla="*/ 1157 h 1253"/>
                <a:gd name="T72" fmla="*/ 287 w 1809"/>
                <a:gd name="T73" fmla="*/ 654 h 1253"/>
                <a:gd name="T74" fmla="*/ 416 w 1809"/>
                <a:gd name="T75" fmla="*/ 684 h 1253"/>
                <a:gd name="T76" fmla="*/ 1106 w 1809"/>
                <a:gd name="T77" fmla="*/ 147 h 1253"/>
                <a:gd name="T78" fmla="*/ 1229 w 1809"/>
                <a:gd name="T79" fmla="*/ 258 h 1253"/>
                <a:gd name="T80" fmla="*/ 1106 w 1809"/>
                <a:gd name="T81" fmla="*/ 96 h 1253"/>
                <a:gd name="T82" fmla="*/ 1219 w 1809"/>
                <a:gd name="T83" fmla="*/ 1077 h 1253"/>
                <a:gd name="T84" fmla="*/ 1214 w 1809"/>
                <a:gd name="T85" fmla="*/ 1157 h 1253"/>
                <a:gd name="T86" fmla="*/ 1150 w 1809"/>
                <a:gd name="T87" fmla="*/ 1092 h 1253"/>
                <a:gd name="T88" fmla="*/ 1139 w 1809"/>
                <a:gd name="T89" fmla="*/ 1070 h 1253"/>
                <a:gd name="T90" fmla="*/ 1659 w 1809"/>
                <a:gd name="T91" fmla="*/ 1031 h 1253"/>
                <a:gd name="T92" fmla="*/ 1714 w 1809"/>
                <a:gd name="T93" fmla="*/ 1155 h 1253"/>
                <a:gd name="T94" fmla="*/ 1760 w 1809"/>
                <a:gd name="T95" fmla="*/ 1030 h 1253"/>
                <a:gd name="T96" fmla="*/ 111 w 1809"/>
                <a:gd name="T97" fmla="*/ 569 h 1253"/>
                <a:gd name="T98" fmla="*/ 109 w 1809"/>
                <a:gd name="T99" fmla="*/ 460 h 1253"/>
                <a:gd name="T100" fmla="*/ 32 w 1809"/>
                <a:gd name="T101" fmla="*/ 704 h 1253"/>
                <a:gd name="T102" fmla="*/ 310 w 1809"/>
                <a:gd name="T103" fmla="*/ 1058 h 1253"/>
                <a:gd name="T104" fmla="*/ 431 w 1809"/>
                <a:gd name="T105" fmla="*/ 1044 h 1253"/>
                <a:gd name="T106" fmla="*/ 278 w 1809"/>
                <a:gd name="T107" fmla="*/ 1165 h 1253"/>
                <a:gd name="T108" fmla="*/ 261 w 1809"/>
                <a:gd name="T109" fmla="*/ 540 h 1253"/>
                <a:gd name="T110" fmla="*/ 150 w 1809"/>
                <a:gd name="T111" fmla="*/ 635 h 1253"/>
                <a:gd name="T112" fmla="*/ 994 w 1809"/>
                <a:gd name="T113" fmla="*/ 1185 h 1253"/>
                <a:gd name="T114" fmla="*/ 331 w 1809"/>
                <a:gd name="T115" fmla="*/ 176 h 1253"/>
                <a:gd name="T116" fmla="*/ 333 w 1809"/>
                <a:gd name="T117" fmla="*/ 109 h 1253"/>
                <a:gd name="T118" fmla="*/ 946 w 1809"/>
                <a:gd name="T119" fmla="*/ 234 h 1253"/>
                <a:gd name="T120" fmla="*/ 1022 w 1809"/>
                <a:gd name="T121" fmla="*/ 113 h 1253"/>
                <a:gd name="T122" fmla="*/ 949 w 1809"/>
                <a:gd name="T123" fmla="*/ 65 h 1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09" h="1253">
                  <a:moveTo>
                    <a:pt x="248" y="198"/>
                  </a:moveTo>
                  <a:cubicBezTo>
                    <a:pt x="248" y="211"/>
                    <a:pt x="248" y="224"/>
                    <a:pt x="249" y="237"/>
                  </a:cubicBezTo>
                  <a:cubicBezTo>
                    <a:pt x="249" y="245"/>
                    <a:pt x="246" y="249"/>
                    <a:pt x="240" y="253"/>
                  </a:cubicBezTo>
                  <a:cubicBezTo>
                    <a:pt x="231" y="260"/>
                    <a:pt x="220" y="264"/>
                    <a:pt x="209" y="268"/>
                  </a:cubicBezTo>
                  <a:cubicBezTo>
                    <a:pt x="179" y="279"/>
                    <a:pt x="148" y="280"/>
                    <a:pt x="118" y="275"/>
                  </a:cubicBezTo>
                  <a:cubicBezTo>
                    <a:pt x="86" y="269"/>
                    <a:pt x="58" y="252"/>
                    <a:pt x="39" y="224"/>
                  </a:cubicBezTo>
                  <a:cubicBezTo>
                    <a:pt x="24" y="203"/>
                    <a:pt x="18" y="180"/>
                    <a:pt x="15" y="155"/>
                  </a:cubicBezTo>
                  <a:cubicBezTo>
                    <a:pt x="11" y="135"/>
                    <a:pt x="15" y="115"/>
                    <a:pt x="19" y="97"/>
                  </a:cubicBezTo>
                  <a:cubicBezTo>
                    <a:pt x="26" y="68"/>
                    <a:pt x="42" y="44"/>
                    <a:pt x="68" y="27"/>
                  </a:cubicBezTo>
                  <a:cubicBezTo>
                    <a:pt x="87" y="14"/>
                    <a:pt x="109" y="6"/>
                    <a:pt x="133" y="5"/>
                  </a:cubicBezTo>
                  <a:cubicBezTo>
                    <a:pt x="149" y="4"/>
                    <a:pt x="165" y="5"/>
                    <a:pt x="181" y="6"/>
                  </a:cubicBezTo>
                  <a:cubicBezTo>
                    <a:pt x="204" y="8"/>
                    <a:pt x="225" y="20"/>
                    <a:pt x="243" y="35"/>
                  </a:cubicBezTo>
                  <a:cubicBezTo>
                    <a:pt x="246" y="37"/>
                    <a:pt x="246" y="40"/>
                    <a:pt x="244" y="43"/>
                  </a:cubicBezTo>
                  <a:cubicBezTo>
                    <a:pt x="242" y="47"/>
                    <a:pt x="239" y="52"/>
                    <a:pt x="236" y="55"/>
                  </a:cubicBezTo>
                  <a:cubicBezTo>
                    <a:pt x="226" y="65"/>
                    <a:pt x="224" y="65"/>
                    <a:pt x="206" y="54"/>
                  </a:cubicBezTo>
                  <a:cubicBezTo>
                    <a:pt x="193" y="46"/>
                    <a:pt x="180" y="40"/>
                    <a:pt x="165" y="41"/>
                  </a:cubicBezTo>
                  <a:cubicBezTo>
                    <a:pt x="151" y="41"/>
                    <a:pt x="137" y="39"/>
                    <a:pt x="124" y="42"/>
                  </a:cubicBezTo>
                  <a:cubicBezTo>
                    <a:pt x="104" y="46"/>
                    <a:pt x="87" y="57"/>
                    <a:pt x="75" y="74"/>
                  </a:cubicBezTo>
                  <a:cubicBezTo>
                    <a:pt x="56" y="99"/>
                    <a:pt x="51" y="129"/>
                    <a:pt x="55" y="159"/>
                  </a:cubicBezTo>
                  <a:cubicBezTo>
                    <a:pt x="60" y="189"/>
                    <a:pt x="73" y="214"/>
                    <a:pt x="98" y="230"/>
                  </a:cubicBezTo>
                  <a:cubicBezTo>
                    <a:pt x="109" y="237"/>
                    <a:pt x="121" y="242"/>
                    <a:pt x="135" y="241"/>
                  </a:cubicBezTo>
                  <a:cubicBezTo>
                    <a:pt x="146" y="241"/>
                    <a:pt x="158" y="241"/>
                    <a:pt x="169" y="241"/>
                  </a:cubicBezTo>
                  <a:cubicBezTo>
                    <a:pt x="182" y="242"/>
                    <a:pt x="193" y="235"/>
                    <a:pt x="205" y="232"/>
                  </a:cubicBezTo>
                  <a:cubicBezTo>
                    <a:pt x="210" y="231"/>
                    <a:pt x="211" y="227"/>
                    <a:pt x="211" y="224"/>
                  </a:cubicBezTo>
                  <a:cubicBezTo>
                    <a:pt x="211" y="210"/>
                    <a:pt x="211" y="196"/>
                    <a:pt x="211" y="183"/>
                  </a:cubicBezTo>
                  <a:cubicBezTo>
                    <a:pt x="211" y="177"/>
                    <a:pt x="207" y="175"/>
                    <a:pt x="202" y="175"/>
                  </a:cubicBezTo>
                  <a:cubicBezTo>
                    <a:pt x="193" y="175"/>
                    <a:pt x="184" y="175"/>
                    <a:pt x="175" y="175"/>
                  </a:cubicBezTo>
                  <a:cubicBezTo>
                    <a:pt x="171" y="175"/>
                    <a:pt x="168" y="174"/>
                    <a:pt x="166" y="171"/>
                  </a:cubicBezTo>
                  <a:cubicBezTo>
                    <a:pt x="163" y="163"/>
                    <a:pt x="164" y="154"/>
                    <a:pt x="166" y="146"/>
                  </a:cubicBezTo>
                  <a:cubicBezTo>
                    <a:pt x="167" y="142"/>
                    <a:pt x="171" y="142"/>
                    <a:pt x="175" y="142"/>
                  </a:cubicBezTo>
                  <a:cubicBezTo>
                    <a:pt x="196" y="142"/>
                    <a:pt x="217" y="142"/>
                    <a:pt x="238" y="142"/>
                  </a:cubicBezTo>
                  <a:cubicBezTo>
                    <a:pt x="247" y="142"/>
                    <a:pt x="248" y="148"/>
                    <a:pt x="248" y="155"/>
                  </a:cubicBezTo>
                  <a:cubicBezTo>
                    <a:pt x="249" y="169"/>
                    <a:pt x="248" y="183"/>
                    <a:pt x="248" y="198"/>
                  </a:cubicBezTo>
                  <a:close/>
                  <a:moveTo>
                    <a:pt x="884" y="1181"/>
                  </a:moveTo>
                  <a:cubicBezTo>
                    <a:pt x="889" y="1167"/>
                    <a:pt x="894" y="1152"/>
                    <a:pt x="898" y="1137"/>
                  </a:cubicBezTo>
                  <a:cubicBezTo>
                    <a:pt x="901" y="1127"/>
                    <a:pt x="905" y="1116"/>
                    <a:pt x="908" y="1106"/>
                  </a:cubicBezTo>
                  <a:cubicBezTo>
                    <a:pt x="911" y="1098"/>
                    <a:pt x="912" y="1089"/>
                    <a:pt x="916" y="1081"/>
                  </a:cubicBezTo>
                  <a:cubicBezTo>
                    <a:pt x="921" y="1072"/>
                    <a:pt x="923" y="1060"/>
                    <a:pt x="927" y="1050"/>
                  </a:cubicBezTo>
                  <a:cubicBezTo>
                    <a:pt x="932" y="1037"/>
                    <a:pt x="934" y="1023"/>
                    <a:pt x="940" y="1010"/>
                  </a:cubicBezTo>
                  <a:cubicBezTo>
                    <a:pt x="945" y="1001"/>
                    <a:pt x="941" y="995"/>
                    <a:pt x="931" y="995"/>
                  </a:cubicBezTo>
                  <a:cubicBezTo>
                    <a:pt x="927" y="995"/>
                    <a:pt x="922" y="995"/>
                    <a:pt x="918" y="995"/>
                  </a:cubicBezTo>
                  <a:cubicBezTo>
                    <a:pt x="913" y="995"/>
                    <a:pt x="908" y="997"/>
                    <a:pt x="907" y="1001"/>
                  </a:cubicBezTo>
                  <a:cubicBezTo>
                    <a:pt x="904" y="1008"/>
                    <a:pt x="900" y="1015"/>
                    <a:pt x="899" y="1023"/>
                  </a:cubicBezTo>
                  <a:cubicBezTo>
                    <a:pt x="897" y="1034"/>
                    <a:pt x="893" y="1045"/>
                    <a:pt x="889" y="1055"/>
                  </a:cubicBezTo>
                  <a:cubicBezTo>
                    <a:pt x="887" y="1064"/>
                    <a:pt x="885" y="1072"/>
                    <a:pt x="882" y="1080"/>
                  </a:cubicBezTo>
                  <a:cubicBezTo>
                    <a:pt x="878" y="1091"/>
                    <a:pt x="874" y="1103"/>
                    <a:pt x="871" y="1115"/>
                  </a:cubicBezTo>
                  <a:cubicBezTo>
                    <a:pt x="870" y="1118"/>
                    <a:pt x="871" y="1124"/>
                    <a:pt x="866" y="1124"/>
                  </a:cubicBezTo>
                  <a:cubicBezTo>
                    <a:pt x="861" y="1125"/>
                    <a:pt x="859" y="1120"/>
                    <a:pt x="858" y="1115"/>
                  </a:cubicBezTo>
                  <a:cubicBezTo>
                    <a:pt x="856" y="1110"/>
                    <a:pt x="856" y="1104"/>
                    <a:pt x="854" y="1099"/>
                  </a:cubicBezTo>
                  <a:cubicBezTo>
                    <a:pt x="848" y="1080"/>
                    <a:pt x="841" y="1062"/>
                    <a:pt x="835" y="1044"/>
                  </a:cubicBezTo>
                  <a:cubicBezTo>
                    <a:pt x="831" y="1030"/>
                    <a:pt x="828" y="1016"/>
                    <a:pt x="822" y="1003"/>
                  </a:cubicBezTo>
                  <a:cubicBezTo>
                    <a:pt x="819" y="997"/>
                    <a:pt x="814" y="994"/>
                    <a:pt x="808" y="994"/>
                  </a:cubicBezTo>
                  <a:cubicBezTo>
                    <a:pt x="799" y="993"/>
                    <a:pt x="791" y="993"/>
                    <a:pt x="787" y="1001"/>
                  </a:cubicBezTo>
                  <a:cubicBezTo>
                    <a:pt x="783" y="1008"/>
                    <a:pt x="780" y="1015"/>
                    <a:pt x="779" y="1022"/>
                  </a:cubicBezTo>
                  <a:cubicBezTo>
                    <a:pt x="778" y="1034"/>
                    <a:pt x="772" y="1044"/>
                    <a:pt x="769" y="1055"/>
                  </a:cubicBezTo>
                  <a:cubicBezTo>
                    <a:pt x="762" y="1076"/>
                    <a:pt x="754" y="1096"/>
                    <a:pt x="749" y="1117"/>
                  </a:cubicBezTo>
                  <a:cubicBezTo>
                    <a:pt x="748" y="1120"/>
                    <a:pt x="747" y="1124"/>
                    <a:pt x="742" y="1124"/>
                  </a:cubicBezTo>
                  <a:cubicBezTo>
                    <a:pt x="737" y="1124"/>
                    <a:pt x="737" y="1120"/>
                    <a:pt x="736" y="1116"/>
                  </a:cubicBezTo>
                  <a:cubicBezTo>
                    <a:pt x="734" y="1104"/>
                    <a:pt x="730" y="1092"/>
                    <a:pt x="726" y="1080"/>
                  </a:cubicBezTo>
                  <a:cubicBezTo>
                    <a:pt x="720" y="1061"/>
                    <a:pt x="714" y="1040"/>
                    <a:pt x="708" y="1020"/>
                  </a:cubicBezTo>
                  <a:cubicBezTo>
                    <a:pt x="703" y="1000"/>
                    <a:pt x="698" y="994"/>
                    <a:pt x="676" y="995"/>
                  </a:cubicBezTo>
                  <a:cubicBezTo>
                    <a:pt x="665" y="996"/>
                    <a:pt x="661" y="1001"/>
                    <a:pt x="667" y="1011"/>
                  </a:cubicBezTo>
                  <a:cubicBezTo>
                    <a:pt x="669" y="1016"/>
                    <a:pt x="670" y="1021"/>
                    <a:pt x="672" y="1025"/>
                  </a:cubicBezTo>
                  <a:cubicBezTo>
                    <a:pt x="675" y="1035"/>
                    <a:pt x="678" y="1046"/>
                    <a:pt x="681" y="1055"/>
                  </a:cubicBezTo>
                  <a:cubicBezTo>
                    <a:pt x="685" y="1068"/>
                    <a:pt x="689" y="1080"/>
                    <a:pt x="693" y="1092"/>
                  </a:cubicBezTo>
                  <a:cubicBezTo>
                    <a:pt x="697" y="1103"/>
                    <a:pt x="699" y="1113"/>
                    <a:pt x="703" y="1124"/>
                  </a:cubicBezTo>
                  <a:cubicBezTo>
                    <a:pt x="707" y="1136"/>
                    <a:pt x="711" y="1147"/>
                    <a:pt x="715" y="1160"/>
                  </a:cubicBezTo>
                  <a:cubicBezTo>
                    <a:pt x="717" y="1168"/>
                    <a:pt x="720" y="1176"/>
                    <a:pt x="724" y="1183"/>
                  </a:cubicBezTo>
                  <a:cubicBezTo>
                    <a:pt x="728" y="1189"/>
                    <a:pt x="752" y="1185"/>
                    <a:pt x="757" y="1180"/>
                  </a:cubicBezTo>
                  <a:cubicBezTo>
                    <a:pt x="764" y="1173"/>
                    <a:pt x="762" y="1163"/>
                    <a:pt x="766" y="1156"/>
                  </a:cubicBezTo>
                  <a:cubicBezTo>
                    <a:pt x="774" y="1140"/>
                    <a:pt x="778" y="1122"/>
                    <a:pt x="784" y="1105"/>
                  </a:cubicBezTo>
                  <a:cubicBezTo>
                    <a:pt x="789" y="1088"/>
                    <a:pt x="796" y="1072"/>
                    <a:pt x="800" y="1054"/>
                  </a:cubicBezTo>
                  <a:cubicBezTo>
                    <a:pt x="800" y="1053"/>
                    <a:pt x="801" y="1050"/>
                    <a:pt x="803" y="1050"/>
                  </a:cubicBezTo>
                  <a:cubicBezTo>
                    <a:pt x="806" y="1050"/>
                    <a:pt x="806" y="1052"/>
                    <a:pt x="807" y="1055"/>
                  </a:cubicBezTo>
                  <a:cubicBezTo>
                    <a:pt x="807" y="1060"/>
                    <a:pt x="810" y="1066"/>
                    <a:pt x="811" y="1071"/>
                  </a:cubicBezTo>
                  <a:cubicBezTo>
                    <a:pt x="814" y="1081"/>
                    <a:pt x="818" y="1090"/>
                    <a:pt x="821" y="1099"/>
                  </a:cubicBezTo>
                  <a:cubicBezTo>
                    <a:pt x="824" y="1110"/>
                    <a:pt x="827" y="1120"/>
                    <a:pt x="831" y="1131"/>
                  </a:cubicBezTo>
                  <a:cubicBezTo>
                    <a:pt x="834" y="1142"/>
                    <a:pt x="839" y="1153"/>
                    <a:pt x="842" y="1164"/>
                  </a:cubicBezTo>
                  <a:cubicBezTo>
                    <a:pt x="846" y="1179"/>
                    <a:pt x="850" y="1188"/>
                    <a:pt x="869" y="1185"/>
                  </a:cubicBezTo>
                  <a:cubicBezTo>
                    <a:pt x="873" y="1184"/>
                    <a:pt x="881" y="1189"/>
                    <a:pt x="884" y="1181"/>
                  </a:cubicBezTo>
                  <a:close/>
                  <a:moveTo>
                    <a:pt x="33" y="1051"/>
                  </a:moveTo>
                  <a:cubicBezTo>
                    <a:pt x="33" y="1087"/>
                    <a:pt x="33" y="1124"/>
                    <a:pt x="33" y="1160"/>
                  </a:cubicBezTo>
                  <a:cubicBezTo>
                    <a:pt x="33" y="1188"/>
                    <a:pt x="29" y="1184"/>
                    <a:pt x="58" y="1185"/>
                  </a:cubicBezTo>
                  <a:cubicBezTo>
                    <a:pt x="72" y="1185"/>
                    <a:pt x="73" y="1184"/>
                    <a:pt x="73" y="1170"/>
                  </a:cubicBezTo>
                  <a:cubicBezTo>
                    <a:pt x="73" y="1138"/>
                    <a:pt x="73" y="1107"/>
                    <a:pt x="73" y="1076"/>
                  </a:cubicBezTo>
                  <a:cubicBezTo>
                    <a:pt x="73" y="1071"/>
                    <a:pt x="72" y="1067"/>
                    <a:pt x="78" y="1065"/>
                  </a:cubicBezTo>
                  <a:cubicBezTo>
                    <a:pt x="91" y="1062"/>
                    <a:pt x="102" y="1067"/>
                    <a:pt x="110" y="1076"/>
                  </a:cubicBezTo>
                  <a:cubicBezTo>
                    <a:pt x="112" y="1080"/>
                    <a:pt x="115" y="1083"/>
                    <a:pt x="118" y="1086"/>
                  </a:cubicBezTo>
                  <a:cubicBezTo>
                    <a:pt x="132" y="1103"/>
                    <a:pt x="146" y="1119"/>
                    <a:pt x="161" y="1136"/>
                  </a:cubicBezTo>
                  <a:cubicBezTo>
                    <a:pt x="173" y="1150"/>
                    <a:pt x="186" y="1165"/>
                    <a:pt x="198" y="1179"/>
                  </a:cubicBezTo>
                  <a:cubicBezTo>
                    <a:pt x="207" y="1188"/>
                    <a:pt x="218" y="1184"/>
                    <a:pt x="228" y="1185"/>
                  </a:cubicBezTo>
                  <a:cubicBezTo>
                    <a:pt x="233" y="1185"/>
                    <a:pt x="241" y="1188"/>
                    <a:pt x="244" y="1182"/>
                  </a:cubicBezTo>
                  <a:cubicBezTo>
                    <a:pt x="246" y="1178"/>
                    <a:pt x="239" y="1173"/>
                    <a:pt x="235" y="1169"/>
                  </a:cubicBezTo>
                  <a:cubicBezTo>
                    <a:pt x="206" y="1133"/>
                    <a:pt x="176" y="1098"/>
                    <a:pt x="146" y="1062"/>
                  </a:cubicBezTo>
                  <a:cubicBezTo>
                    <a:pt x="141" y="1056"/>
                    <a:pt x="131" y="1052"/>
                    <a:pt x="132" y="1044"/>
                  </a:cubicBezTo>
                  <a:cubicBezTo>
                    <a:pt x="132" y="1036"/>
                    <a:pt x="142" y="1032"/>
                    <a:pt x="147" y="1026"/>
                  </a:cubicBezTo>
                  <a:cubicBezTo>
                    <a:pt x="164" y="1006"/>
                    <a:pt x="182" y="988"/>
                    <a:pt x="198" y="968"/>
                  </a:cubicBezTo>
                  <a:cubicBezTo>
                    <a:pt x="209" y="954"/>
                    <a:pt x="221" y="942"/>
                    <a:pt x="234" y="929"/>
                  </a:cubicBezTo>
                  <a:cubicBezTo>
                    <a:pt x="236" y="926"/>
                    <a:pt x="238" y="923"/>
                    <a:pt x="237" y="920"/>
                  </a:cubicBezTo>
                  <a:cubicBezTo>
                    <a:pt x="235" y="915"/>
                    <a:pt x="231" y="917"/>
                    <a:pt x="228" y="917"/>
                  </a:cubicBezTo>
                  <a:cubicBezTo>
                    <a:pt x="224" y="918"/>
                    <a:pt x="221" y="918"/>
                    <a:pt x="217" y="918"/>
                  </a:cubicBezTo>
                  <a:cubicBezTo>
                    <a:pt x="204" y="917"/>
                    <a:pt x="193" y="922"/>
                    <a:pt x="185" y="931"/>
                  </a:cubicBezTo>
                  <a:cubicBezTo>
                    <a:pt x="172" y="946"/>
                    <a:pt x="158" y="961"/>
                    <a:pt x="145" y="977"/>
                  </a:cubicBezTo>
                  <a:cubicBezTo>
                    <a:pt x="131" y="993"/>
                    <a:pt x="117" y="1010"/>
                    <a:pt x="102" y="1026"/>
                  </a:cubicBezTo>
                  <a:cubicBezTo>
                    <a:pt x="96" y="1032"/>
                    <a:pt x="87" y="1037"/>
                    <a:pt x="78" y="1034"/>
                  </a:cubicBezTo>
                  <a:cubicBezTo>
                    <a:pt x="70" y="1030"/>
                    <a:pt x="73" y="1021"/>
                    <a:pt x="73" y="1015"/>
                  </a:cubicBezTo>
                  <a:cubicBezTo>
                    <a:pt x="73" y="991"/>
                    <a:pt x="73" y="967"/>
                    <a:pt x="73" y="944"/>
                  </a:cubicBezTo>
                  <a:cubicBezTo>
                    <a:pt x="73" y="916"/>
                    <a:pt x="75" y="917"/>
                    <a:pt x="46" y="918"/>
                  </a:cubicBezTo>
                  <a:cubicBezTo>
                    <a:pt x="33" y="918"/>
                    <a:pt x="33" y="918"/>
                    <a:pt x="33" y="931"/>
                  </a:cubicBezTo>
                  <a:cubicBezTo>
                    <a:pt x="33" y="971"/>
                    <a:pt x="33" y="1011"/>
                    <a:pt x="33" y="1051"/>
                  </a:cubicBezTo>
                  <a:cubicBezTo>
                    <a:pt x="33" y="1051"/>
                    <a:pt x="33" y="1051"/>
                    <a:pt x="33" y="1051"/>
                  </a:cubicBezTo>
                  <a:close/>
                  <a:moveTo>
                    <a:pt x="639" y="84"/>
                  </a:moveTo>
                  <a:cubicBezTo>
                    <a:pt x="627" y="84"/>
                    <a:pt x="626" y="84"/>
                    <a:pt x="629" y="95"/>
                  </a:cubicBezTo>
                  <a:cubicBezTo>
                    <a:pt x="634" y="113"/>
                    <a:pt x="640" y="131"/>
                    <a:pt x="646" y="148"/>
                  </a:cubicBezTo>
                  <a:cubicBezTo>
                    <a:pt x="652" y="166"/>
                    <a:pt x="658" y="185"/>
                    <a:pt x="664" y="203"/>
                  </a:cubicBezTo>
                  <a:cubicBezTo>
                    <a:pt x="671" y="223"/>
                    <a:pt x="676" y="244"/>
                    <a:pt x="684" y="264"/>
                  </a:cubicBezTo>
                  <a:cubicBezTo>
                    <a:pt x="688" y="274"/>
                    <a:pt x="694" y="274"/>
                    <a:pt x="702" y="274"/>
                  </a:cubicBezTo>
                  <a:cubicBezTo>
                    <a:pt x="711" y="274"/>
                    <a:pt x="719" y="272"/>
                    <a:pt x="723" y="263"/>
                  </a:cubicBezTo>
                  <a:cubicBezTo>
                    <a:pt x="733" y="236"/>
                    <a:pt x="741" y="208"/>
                    <a:pt x="750" y="181"/>
                  </a:cubicBezTo>
                  <a:cubicBezTo>
                    <a:pt x="754" y="169"/>
                    <a:pt x="757" y="156"/>
                    <a:pt x="763" y="145"/>
                  </a:cubicBezTo>
                  <a:cubicBezTo>
                    <a:pt x="764" y="143"/>
                    <a:pt x="764" y="140"/>
                    <a:pt x="767" y="140"/>
                  </a:cubicBezTo>
                  <a:cubicBezTo>
                    <a:pt x="770" y="140"/>
                    <a:pt x="770" y="143"/>
                    <a:pt x="771" y="145"/>
                  </a:cubicBezTo>
                  <a:cubicBezTo>
                    <a:pt x="771" y="156"/>
                    <a:pt x="777" y="165"/>
                    <a:pt x="780" y="175"/>
                  </a:cubicBezTo>
                  <a:cubicBezTo>
                    <a:pt x="782" y="184"/>
                    <a:pt x="785" y="193"/>
                    <a:pt x="788" y="201"/>
                  </a:cubicBezTo>
                  <a:cubicBezTo>
                    <a:pt x="794" y="219"/>
                    <a:pt x="801" y="237"/>
                    <a:pt x="806" y="255"/>
                  </a:cubicBezTo>
                  <a:cubicBezTo>
                    <a:pt x="811" y="272"/>
                    <a:pt x="825" y="280"/>
                    <a:pt x="842" y="273"/>
                  </a:cubicBezTo>
                  <a:cubicBezTo>
                    <a:pt x="845" y="271"/>
                    <a:pt x="847" y="269"/>
                    <a:pt x="848" y="266"/>
                  </a:cubicBezTo>
                  <a:cubicBezTo>
                    <a:pt x="853" y="251"/>
                    <a:pt x="859" y="236"/>
                    <a:pt x="863" y="221"/>
                  </a:cubicBezTo>
                  <a:cubicBezTo>
                    <a:pt x="867" y="202"/>
                    <a:pt x="875" y="185"/>
                    <a:pt x="880" y="166"/>
                  </a:cubicBezTo>
                  <a:cubicBezTo>
                    <a:pt x="886" y="144"/>
                    <a:pt x="895" y="123"/>
                    <a:pt x="900" y="101"/>
                  </a:cubicBezTo>
                  <a:cubicBezTo>
                    <a:pt x="901" y="96"/>
                    <a:pt x="909" y="91"/>
                    <a:pt x="904" y="86"/>
                  </a:cubicBezTo>
                  <a:cubicBezTo>
                    <a:pt x="900" y="81"/>
                    <a:pt x="892" y="84"/>
                    <a:pt x="886" y="84"/>
                  </a:cubicBezTo>
                  <a:cubicBezTo>
                    <a:pt x="885" y="84"/>
                    <a:pt x="883" y="84"/>
                    <a:pt x="881" y="84"/>
                  </a:cubicBezTo>
                  <a:cubicBezTo>
                    <a:pt x="875" y="84"/>
                    <a:pt x="872" y="86"/>
                    <a:pt x="869" y="91"/>
                  </a:cubicBezTo>
                  <a:cubicBezTo>
                    <a:pt x="860" y="110"/>
                    <a:pt x="856" y="131"/>
                    <a:pt x="850" y="151"/>
                  </a:cubicBezTo>
                  <a:cubicBezTo>
                    <a:pt x="844" y="170"/>
                    <a:pt x="836" y="188"/>
                    <a:pt x="834" y="208"/>
                  </a:cubicBezTo>
                  <a:cubicBezTo>
                    <a:pt x="833" y="211"/>
                    <a:pt x="831" y="214"/>
                    <a:pt x="827" y="214"/>
                  </a:cubicBezTo>
                  <a:cubicBezTo>
                    <a:pt x="823" y="214"/>
                    <a:pt x="822" y="210"/>
                    <a:pt x="822" y="207"/>
                  </a:cubicBezTo>
                  <a:cubicBezTo>
                    <a:pt x="817" y="188"/>
                    <a:pt x="811" y="170"/>
                    <a:pt x="805" y="152"/>
                  </a:cubicBezTo>
                  <a:cubicBezTo>
                    <a:pt x="799" y="133"/>
                    <a:pt x="794" y="114"/>
                    <a:pt x="786" y="96"/>
                  </a:cubicBezTo>
                  <a:cubicBezTo>
                    <a:pt x="783" y="87"/>
                    <a:pt x="779" y="84"/>
                    <a:pt x="770" y="84"/>
                  </a:cubicBezTo>
                  <a:cubicBezTo>
                    <a:pt x="761" y="84"/>
                    <a:pt x="752" y="82"/>
                    <a:pt x="748" y="94"/>
                  </a:cubicBezTo>
                  <a:cubicBezTo>
                    <a:pt x="744" y="109"/>
                    <a:pt x="738" y="123"/>
                    <a:pt x="734" y="138"/>
                  </a:cubicBezTo>
                  <a:cubicBezTo>
                    <a:pt x="729" y="153"/>
                    <a:pt x="724" y="167"/>
                    <a:pt x="719" y="182"/>
                  </a:cubicBezTo>
                  <a:cubicBezTo>
                    <a:pt x="716" y="192"/>
                    <a:pt x="715" y="203"/>
                    <a:pt x="708" y="212"/>
                  </a:cubicBezTo>
                  <a:cubicBezTo>
                    <a:pt x="707" y="214"/>
                    <a:pt x="707" y="217"/>
                    <a:pt x="704" y="217"/>
                  </a:cubicBezTo>
                  <a:cubicBezTo>
                    <a:pt x="701" y="217"/>
                    <a:pt x="701" y="213"/>
                    <a:pt x="700" y="211"/>
                  </a:cubicBezTo>
                  <a:cubicBezTo>
                    <a:pt x="699" y="198"/>
                    <a:pt x="694" y="186"/>
                    <a:pt x="690" y="174"/>
                  </a:cubicBezTo>
                  <a:cubicBezTo>
                    <a:pt x="684" y="153"/>
                    <a:pt x="677" y="131"/>
                    <a:pt x="672" y="110"/>
                  </a:cubicBezTo>
                  <a:cubicBezTo>
                    <a:pt x="667" y="88"/>
                    <a:pt x="663" y="84"/>
                    <a:pt x="645" y="84"/>
                  </a:cubicBezTo>
                  <a:cubicBezTo>
                    <a:pt x="643" y="84"/>
                    <a:pt x="641" y="84"/>
                    <a:pt x="639" y="84"/>
                  </a:cubicBezTo>
                  <a:close/>
                  <a:moveTo>
                    <a:pt x="507" y="711"/>
                  </a:moveTo>
                  <a:cubicBezTo>
                    <a:pt x="507" y="730"/>
                    <a:pt x="507" y="730"/>
                    <a:pt x="526" y="730"/>
                  </a:cubicBezTo>
                  <a:cubicBezTo>
                    <a:pt x="539" y="730"/>
                    <a:pt x="541" y="729"/>
                    <a:pt x="541" y="715"/>
                  </a:cubicBezTo>
                  <a:cubicBezTo>
                    <a:pt x="541" y="677"/>
                    <a:pt x="541" y="638"/>
                    <a:pt x="540" y="600"/>
                  </a:cubicBezTo>
                  <a:cubicBezTo>
                    <a:pt x="540" y="593"/>
                    <a:pt x="543" y="587"/>
                    <a:pt x="548" y="582"/>
                  </a:cubicBezTo>
                  <a:cubicBezTo>
                    <a:pt x="553" y="576"/>
                    <a:pt x="559" y="573"/>
                    <a:pt x="564" y="569"/>
                  </a:cubicBezTo>
                  <a:cubicBezTo>
                    <a:pt x="574" y="564"/>
                    <a:pt x="594" y="566"/>
                    <a:pt x="602" y="574"/>
                  </a:cubicBezTo>
                  <a:cubicBezTo>
                    <a:pt x="611" y="582"/>
                    <a:pt x="614" y="592"/>
                    <a:pt x="614" y="604"/>
                  </a:cubicBezTo>
                  <a:cubicBezTo>
                    <a:pt x="614" y="638"/>
                    <a:pt x="614" y="672"/>
                    <a:pt x="614" y="706"/>
                  </a:cubicBezTo>
                  <a:cubicBezTo>
                    <a:pt x="614" y="730"/>
                    <a:pt x="614" y="730"/>
                    <a:pt x="638" y="730"/>
                  </a:cubicBezTo>
                  <a:cubicBezTo>
                    <a:pt x="650" y="730"/>
                    <a:pt x="650" y="730"/>
                    <a:pt x="650" y="717"/>
                  </a:cubicBezTo>
                  <a:cubicBezTo>
                    <a:pt x="650" y="684"/>
                    <a:pt x="650" y="650"/>
                    <a:pt x="650" y="617"/>
                  </a:cubicBezTo>
                  <a:cubicBezTo>
                    <a:pt x="650" y="606"/>
                    <a:pt x="651" y="597"/>
                    <a:pt x="657" y="586"/>
                  </a:cubicBezTo>
                  <a:cubicBezTo>
                    <a:pt x="667" y="565"/>
                    <a:pt x="703" y="560"/>
                    <a:pt x="716" y="579"/>
                  </a:cubicBezTo>
                  <a:cubicBezTo>
                    <a:pt x="723" y="588"/>
                    <a:pt x="724" y="598"/>
                    <a:pt x="724" y="609"/>
                  </a:cubicBezTo>
                  <a:cubicBezTo>
                    <a:pt x="724" y="645"/>
                    <a:pt x="724" y="682"/>
                    <a:pt x="724" y="718"/>
                  </a:cubicBezTo>
                  <a:cubicBezTo>
                    <a:pt x="724" y="727"/>
                    <a:pt x="727" y="731"/>
                    <a:pt x="736" y="730"/>
                  </a:cubicBezTo>
                  <a:cubicBezTo>
                    <a:pt x="738" y="730"/>
                    <a:pt x="741" y="730"/>
                    <a:pt x="743" y="730"/>
                  </a:cubicBezTo>
                  <a:cubicBezTo>
                    <a:pt x="758" y="730"/>
                    <a:pt x="759" y="729"/>
                    <a:pt x="759" y="715"/>
                  </a:cubicBezTo>
                  <a:cubicBezTo>
                    <a:pt x="759" y="677"/>
                    <a:pt x="758" y="639"/>
                    <a:pt x="759" y="601"/>
                  </a:cubicBezTo>
                  <a:cubicBezTo>
                    <a:pt x="759" y="571"/>
                    <a:pt x="742" y="540"/>
                    <a:pt x="704" y="538"/>
                  </a:cubicBezTo>
                  <a:cubicBezTo>
                    <a:pt x="681" y="536"/>
                    <a:pt x="661" y="542"/>
                    <a:pt x="646" y="560"/>
                  </a:cubicBezTo>
                  <a:cubicBezTo>
                    <a:pt x="638" y="569"/>
                    <a:pt x="638" y="569"/>
                    <a:pt x="631" y="559"/>
                  </a:cubicBezTo>
                  <a:cubicBezTo>
                    <a:pt x="630" y="558"/>
                    <a:pt x="630" y="557"/>
                    <a:pt x="629" y="556"/>
                  </a:cubicBezTo>
                  <a:cubicBezTo>
                    <a:pt x="623" y="548"/>
                    <a:pt x="616" y="541"/>
                    <a:pt x="607" y="539"/>
                  </a:cubicBezTo>
                  <a:cubicBezTo>
                    <a:pt x="584" y="534"/>
                    <a:pt x="563" y="539"/>
                    <a:pt x="545" y="555"/>
                  </a:cubicBezTo>
                  <a:cubicBezTo>
                    <a:pt x="540" y="559"/>
                    <a:pt x="537" y="561"/>
                    <a:pt x="537" y="552"/>
                  </a:cubicBezTo>
                  <a:cubicBezTo>
                    <a:pt x="536" y="543"/>
                    <a:pt x="526" y="538"/>
                    <a:pt x="515" y="539"/>
                  </a:cubicBezTo>
                  <a:cubicBezTo>
                    <a:pt x="506" y="540"/>
                    <a:pt x="507" y="546"/>
                    <a:pt x="507" y="552"/>
                  </a:cubicBezTo>
                  <a:cubicBezTo>
                    <a:pt x="507" y="580"/>
                    <a:pt x="507" y="607"/>
                    <a:pt x="507" y="634"/>
                  </a:cubicBezTo>
                  <a:cubicBezTo>
                    <a:pt x="507" y="660"/>
                    <a:pt x="507" y="685"/>
                    <a:pt x="507" y="711"/>
                  </a:cubicBezTo>
                  <a:close/>
                  <a:moveTo>
                    <a:pt x="1525" y="1142"/>
                  </a:moveTo>
                  <a:cubicBezTo>
                    <a:pt x="1517" y="1143"/>
                    <a:pt x="1511" y="1141"/>
                    <a:pt x="1505" y="1136"/>
                  </a:cubicBezTo>
                  <a:cubicBezTo>
                    <a:pt x="1501" y="1133"/>
                    <a:pt x="1495" y="1130"/>
                    <a:pt x="1498" y="1124"/>
                  </a:cubicBezTo>
                  <a:cubicBezTo>
                    <a:pt x="1500" y="1118"/>
                    <a:pt x="1504" y="1114"/>
                    <a:pt x="1512" y="1114"/>
                  </a:cubicBezTo>
                  <a:cubicBezTo>
                    <a:pt x="1521" y="1115"/>
                    <a:pt x="1530" y="1114"/>
                    <a:pt x="1538" y="1115"/>
                  </a:cubicBezTo>
                  <a:cubicBezTo>
                    <a:pt x="1573" y="1117"/>
                    <a:pt x="1610" y="1084"/>
                    <a:pt x="1602" y="1044"/>
                  </a:cubicBezTo>
                  <a:cubicBezTo>
                    <a:pt x="1600" y="1035"/>
                    <a:pt x="1599" y="1028"/>
                    <a:pt x="1611" y="1027"/>
                  </a:cubicBezTo>
                  <a:cubicBezTo>
                    <a:pt x="1614" y="1027"/>
                    <a:pt x="1617" y="1024"/>
                    <a:pt x="1619" y="1023"/>
                  </a:cubicBezTo>
                  <a:cubicBezTo>
                    <a:pt x="1626" y="1019"/>
                    <a:pt x="1624" y="1013"/>
                    <a:pt x="1623" y="1008"/>
                  </a:cubicBezTo>
                  <a:cubicBezTo>
                    <a:pt x="1623" y="1002"/>
                    <a:pt x="1618" y="1003"/>
                    <a:pt x="1613" y="1002"/>
                  </a:cubicBezTo>
                  <a:cubicBezTo>
                    <a:pt x="1598" y="1002"/>
                    <a:pt x="1582" y="1004"/>
                    <a:pt x="1567" y="1000"/>
                  </a:cubicBezTo>
                  <a:cubicBezTo>
                    <a:pt x="1560" y="999"/>
                    <a:pt x="1554" y="993"/>
                    <a:pt x="1546" y="993"/>
                  </a:cubicBezTo>
                  <a:cubicBezTo>
                    <a:pt x="1536" y="994"/>
                    <a:pt x="1525" y="992"/>
                    <a:pt x="1515" y="993"/>
                  </a:cubicBezTo>
                  <a:cubicBezTo>
                    <a:pt x="1490" y="997"/>
                    <a:pt x="1469" y="1010"/>
                    <a:pt x="1462" y="1034"/>
                  </a:cubicBezTo>
                  <a:cubicBezTo>
                    <a:pt x="1455" y="1056"/>
                    <a:pt x="1457" y="1079"/>
                    <a:pt x="1476" y="1096"/>
                  </a:cubicBezTo>
                  <a:cubicBezTo>
                    <a:pt x="1483" y="1103"/>
                    <a:pt x="1483" y="1107"/>
                    <a:pt x="1476" y="1113"/>
                  </a:cubicBezTo>
                  <a:cubicBezTo>
                    <a:pt x="1462" y="1126"/>
                    <a:pt x="1462" y="1142"/>
                    <a:pt x="1473" y="1157"/>
                  </a:cubicBezTo>
                  <a:cubicBezTo>
                    <a:pt x="1476" y="1160"/>
                    <a:pt x="1476" y="1162"/>
                    <a:pt x="1472" y="1164"/>
                  </a:cubicBezTo>
                  <a:cubicBezTo>
                    <a:pt x="1470" y="1166"/>
                    <a:pt x="1468" y="1168"/>
                    <a:pt x="1466" y="1170"/>
                  </a:cubicBezTo>
                  <a:cubicBezTo>
                    <a:pt x="1449" y="1183"/>
                    <a:pt x="1444" y="1201"/>
                    <a:pt x="1454" y="1218"/>
                  </a:cubicBezTo>
                  <a:cubicBezTo>
                    <a:pt x="1464" y="1235"/>
                    <a:pt x="1479" y="1246"/>
                    <a:pt x="1499" y="1249"/>
                  </a:cubicBezTo>
                  <a:cubicBezTo>
                    <a:pt x="1517" y="1252"/>
                    <a:pt x="1535" y="1253"/>
                    <a:pt x="1553" y="1250"/>
                  </a:cubicBezTo>
                  <a:cubicBezTo>
                    <a:pt x="1584" y="1245"/>
                    <a:pt x="1607" y="1232"/>
                    <a:pt x="1619" y="1200"/>
                  </a:cubicBezTo>
                  <a:cubicBezTo>
                    <a:pt x="1627" y="1180"/>
                    <a:pt x="1611" y="1155"/>
                    <a:pt x="1593" y="1148"/>
                  </a:cubicBezTo>
                  <a:cubicBezTo>
                    <a:pt x="1578" y="1142"/>
                    <a:pt x="1563" y="1143"/>
                    <a:pt x="1549" y="1142"/>
                  </a:cubicBezTo>
                  <a:cubicBezTo>
                    <a:pt x="1540" y="1142"/>
                    <a:pt x="1532" y="1142"/>
                    <a:pt x="1525" y="1142"/>
                  </a:cubicBezTo>
                  <a:close/>
                  <a:moveTo>
                    <a:pt x="1556" y="1172"/>
                  </a:moveTo>
                  <a:cubicBezTo>
                    <a:pt x="1566" y="1172"/>
                    <a:pt x="1576" y="1176"/>
                    <a:pt x="1583" y="1183"/>
                  </a:cubicBezTo>
                  <a:cubicBezTo>
                    <a:pt x="1589" y="1190"/>
                    <a:pt x="1589" y="1198"/>
                    <a:pt x="1583" y="1205"/>
                  </a:cubicBezTo>
                  <a:cubicBezTo>
                    <a:pt x="1575" y="1215"/>
                    <a:pt x="1565" y="1220"/>
                    <a:pt x="1553" y="1223"/>
                  </a:cubicBezTo>
                  <a:cubicBezTo>
                    <a:pt x="1534" y="1228"/>
                    <a:pt x="1516" y="1225"/>
                    <a:pt x="1499" y="1219"/>
                  </a:cubicBezTo>
                  <a:cubicBezTo>
                    <a:pt x="1486" y="1214"/>
                    <a:pt x="1479" y="1203"/>
                    <a:pt x="1482" y="1193"/>
                  </a:cubicBezTo>
                  <a:cubicBezTo>
                    <a:pt x="1485" y="1182"/>
                    <a:pt x="1496" y="1168"/>
                    <a:pt x="1514" y="1171"/>
                  </a:cubicBezTo>
                  <a:cubicBezTo>
                    <a:pt x="1526" y="1173"/>
                    <a:pt x="1541" y="1171"/>
                    <a:pt x="1556" y="1172"/>
                  </a:cubicBezTo>
                  <a:close/>
                  <a:moveTo>
                    <a:pt x="1531" y="1019"/>
                  </a:moveTo>
                  <a:cubicBezTo>
                    <a:pt x="1553" y="1017"/>
                    <a:pt x="1570" y="1033"/>
                    <a:pt x="1570" y="1052"/>
                  </a:cubicBezTo>
                  <a:cubicBezTo>
                    <a:pt x="1570" y="1075"/>
                    <a:pt x="1554" y="1093"/>
                    <a:pt x="1532" y="1091"/>
                  </a:cubicBezTo>
                  <a:cubicBezTo>
                    <a:pt x="1508" y="1089"/>
                    <a:pt x="1494" y="1082"/>
                    <a:pt x="1493" y="1053"/>
                  </a:cubicBezTo>
                  <a:cubicBezTo>
                    <a:pt x="1494" y="1029"/>
                    <a:pt x="1508" y="1020"/>
                    <a:pt x="1531" y="1019"/>
                  </a:cubicBezTo>
                  <a:close/>
                  <a:moveTo>
                    <a:pt x="1413" y="934"/>
                  </a:moveTo>
                  <a:cubicBezTo>
                    <a:pt x="1413" y="909"/>
                    <a:pt x="1413" y="909"/>
                    <a:pt x="1389" y="910"/>
                  </a:cubicBezTo>
                  <a:cubicBezTo>
                    <a:pt x="1388" y="910"/>
                    <a:pt x="1387" y="910"/>
                    <a:pt x="1387" y="910"/>
                  </a:cubicBezTo>
                  <a:cubicBezTo>
                    <a:pt x="1379" y="910"/>
                    <a:pt x="1376" y="915"/>
                    <a:pt x="1376" y="921"/>
                  </a:cubicBezTo>
                  <a:cubicBezTo>
                    <a:pt x="1376" y="939"/>
                    <a:pt x="1377" y="956"/>
                    <a:pt x="1377" y="974"/>
                  </a:cubicBezTo>
                  <a:cubicBezTo>
                    <a:pt x="1377" y="983"/>
                    <a:pt x="1377" y="991"/>
                    <a:pt x="1377" y="1000"/>
                  </a:cubicBezTo>
                  <a:cubicBezTo>
                    <a:pt x="1377" y="1005"/>
                    <a:pt x="1374" y="1009"/>
                    <a:pt x="1369" y="1005"/>
                  </a:cubicBezTo>
                  <a:cubicBezTo>
                    <a:pt x="1352" y="990"/>
                    <a:pt x="1332" y="993"/>
                    <a:pt x="1312" y="993"/>
                  </a:cubicBezTo>
                  <a:cubicBezTo>
                    <a:pt x="1303" y="994"/>
                    <a:pt x="1294" y="998"/>
                    <a:pt x="1287" y="1003"/>
                  </a:cubicBezTo>
                  <a:cubicBezTo>
                    <a:pt x="1265" y="1017"/>
                    <a:pt x="1252" y="1039"/>
                    <a:pt x="1248" y="1065"/>
                  </a:cubicBezTo>
                  <a:cubicBezTo>
                    <a:pt x="1244" y="1096"/>
                    <a:pt x="1244" y="1128"/>
                    <a:pt x="1261" y="1157"/>
                  </a:cubicBezTo>
                  <a:cubicBezTo>
                    <a:pt x="1270" y="1170"/>
                    <a:pt x="1281" y="1181"/>
                    <a:pt x="1296" y="1185"/>
                  </a:cubicBezTo>
                  <a:cubicBezTo>
                    <a:pt x="1323" y="1191"/>
                    <a:pt x="1349" y="1188"/>
                    <a:pt x="1370" y="1167"/>
                  </a:cubicBezTo>
                  <a:cubicBezTo>
                    <a:pt x="1372" y="1165"/>
                    <a:pt x="1375" y="1162"/>
                    <a:pt x="1379" y="1163"/>
                  </a:cubicBezTo>
                  <a:cubicBezTo>
                    <a:pt x="1382" y="1165"/>
                    <a:pt x="1381" y="1169"/>
                    <a:pt x="1381" y="1172"/>
                  </a:cubicBezTo>
                  <a:cubicBezTo>
                    <a:pt x="1383" y="1181"/>
                    <a:pt x="1390" y="1186"/>
                    <a:pt x="1403" y="1186"/>
                  </a:cubicBezTo>
                  <a:cubicBezTo>
                    <a:pt x="1413" y="1185"/>
                    <a:pt x="1413" y="1178"/>
                    <a:pt x="1413" y="1172"/>
                  </a:cubicBezTo>
                  <a:cubicBezTo>
                    <a:pt x="1413" y="1131"/>
                    <a:pt x="1413" y="1090"/>
                    <a:pt x="1413" y="1049"/>
                  </a:cubicBezTo>
                  <a:cubicBezTo>
                    <a:pt x="1413" y="1010"/>
                    <a:pt x="1413" y="972"/>
                    <a:pt x="1413" y="934"/>
                  </a:cubicBezTo>
                  <a:close/>
                  <a:moveTo>
                    <a:pt x="1378" y="1113"/>
                  </a:moveTo>
                  <a:cubicBezTo>
                    <a:pt x="1378" y="1136"/>
                    <a:pt x="1360" y="1155"/>
                    <a:pt x="1337" y="1157"/>
                  </a:cubicBezTo>
                  <a:cubicBezTo>
                    <a:pt x="1319" y="1159"/>
                    <a:pt x="1304" y="1154"/>
                    <a:pt x="1294" y="1139"/>
                  </a:cubicBezTo>
                  <a:cubicBezTo>
                    <a:pt x="1286" y="1128"/>
                    <a:pt x="1283" y="1116"/>
                    <a:pt x="1283" y="1102"/>
                  </a:cubicBezTo>
                  <a:cubicBezTo>
                    <a:pt x="1282" y="1085"/>
                    <a:pt x="1282" y="1067"/>
                    <a:pt x="1290" y="1051"/>
                  </a:cubicBezTo>
                  <a:cubicBezTo>
                    <a:pt x="1297" y="1036"/>
                    <a:pt x="1308" y="1024"/>
                    <a:pt x="1325" y="1022"/>
                  </a:cubicBezTo>
                  <a:cubicBezTo>
                    <a:pt x="1342" y="1020"/>
                    <a:pt x="1358" y="1021"/>
                    <a:pt x="1371" y="1035"/>
                  </a:cubicBezTo>
                  <a:cubicBezTo>
                    <a:pt x="1376" y="1041"/>
                    <a:pt x="1378" y="1046"/>
                    <a:pt x="1378" y="1052"/>
                  </a:cubicBezTo>
                  <a:cubicBezTo>
                    <a:pt x="1378" y="1064"/>
                    <a:pt x="1378" y="1075"/>
                    <a:pt x="1378" y="1086"/>
                  </a:cubicBezTo>
                  <a:cubicBezTo>
                    <a:pt x="1378" y="1086"/>
                    <a:pt x="1378" y="1086"/>
                    <a:pt x="1378" y="1086"/>
                  </a:cubicBezTo>
                  <a:cubicBezTo>
                    <a:pt x="1378" y="1095"/>
                    <a:pt x="1378" y="1104"/>
                    <a:pt x="1378" y="1113"/>
                  </a:cubicBezTo>
                  <a:close/>
                  <a:moveTo>
                    <a:pt x="578" y="259"/>
                  </a:moveTo>
                  <a:cubicBezTo>
                    <a:pt x="603" y="241"/>
                    <a:pt x="611" y="213"/>
                    <a:pt x="614" y="183"/>
                  </a:cubicBezTo>
                  <a:cubicBezTo>
                    <a:pt x="615" y="171"/>
                    <a:pt x="610" y="159"/>
                    <a:pt x="609" y="147"/>
                  </a:cubicBezTo>
                  <a:cubicBezTo>
                    <a:pt x="608" y="137"/>
                    <a:pt x="603" y="129"/>
                    <a:pt x="599" y="121"/>
                  </a:cubicBezTo>
                  <a:cubicBezTo>
                    <a:pt x="579" y="87"/>
                    <a:pt x="527" y="70"/>
                    <a:pt x="488" y="85"/>
                  </a:cubicBezTo>
                  <a:cubicBezTo>
                    <a:pt x="453" y="99"/>
                    <a:pt x="436" y="127"/>
                    <a:pt x="431" y="163"/>
                  </a:cubicBezTo>
                  <a:cubicBezTo>
                    <a:pt x="429" y="180"/>
                    <a:pt x="430" y="196"/>
                    <a:pt x="436" y="213"/>
                  </a:cubicBezTo>
                  <a:cubicBezTo>
                    <a:pt x="439" y="222"/>
                    <a:pt x="442" y="232"/>
                    <a:pt x="447" y="239"/>
                  </a:cubicBezTo>
                  <a:cubicBezTo>
                    <a:pt x="465" y="265"/>
                    <a:pt x="491" y="277"/>
                    <a:pt x="525" y="276"/>
                  </a:cubicBezTo>
                  <a:cubicBezTo>
                    <a:pt x="543" y="278"/>
                    <a:pt x="562" y="271"/>
                    <a:pt x="578" y="259"/>
                  </a:cubicBezTo>
                  <a:close/>
                  <a:moveTo>
                    <a:pt x="471" y="205"/>
                  </a:moveTo>
                  <a:cubicBezTo>
                    <a:pt x="466" y="185"/>
                    <a:pt x="468" y="167"/>
                    <a:pt x="472" y="147"/>
                  </a:cubicBezTo>
                  <a:cubicBezTo>
                    <a:pt x="477" y="130"/>
                    <a:pt x="493" y="116"/>
                    <a:pt x="509" y="112"/>
                  </a:cubicBezTo>
                  <a:cubicBezTo>
                    <a:pt x="525" y="108"/>
                    <a:pt x="539" y="110"/>
                    <a:pt x="553" y="119"/>
                  </a:cubicBezTo>
                  <a:cubicBezTo>
                    <a:pt x="563" y="125"/>
                    <a:pt x="568" y="135"/>
                    <a:pt x="571" y="146"/>
                  </a:cubicBezTo>
                  <a:cubicBezTo>
                    <a:pt x="577" y="167"/>
                    <a:pt x="578" y="189"/>
                    <a:pt x="571" y="211"/>
                  </a:cubicBezTo>
                  <a:cubicBezTo>
                    <a:pt x="565" y="231"/>
                    <a:pt x="549" y="249"/>
                    <a:pt x="521" y="247"/>
                  </a:cubicBezTo>
                  <a:cubicBezTo>
                    <a:pt x="496" y="247"/>
                    <a:pt x="478" y="230"/>
                    <a:pt x="471" y="205"/>
                  </a:cubicBezTo>
                  <a:close/>
                  <a:moveTo>
                    <a:pt x="472" y="1122"/>
                  </a:moveTo>
                  <a:cubicBezTo>
                    <a:pt x="475" y="1136"/>
                    <a:pt x="481" y="1148"/>
                    <a:pt x="491" y="1158"/>
                  </a:cubicBezTo>
                  <a:cubicBezTo>
                    <a:pt x="506" y="1176"/>
                    <a:pt x="524" y="1185"/>
                    <a:pt x="548" y="1187"/>
                  </a:cubicBezTo>
                  <a:cubicBezTo>
                    <a:pt x="568" y="1188"/>
                    <a:pt x="587" y="1187"/>
                    <a:pt x="605" y="1177"/>
                  </a:cubicBezTo>
                  <a:cubicBezTo>
                    <a:pt x="632" y="1162"/>
                    <a:pt x="644" y="1136"/>
                    <a:pt x="649" y="1107"/>
                  </a:cubicBezTo>
                  <a:cubicBezTo>
                    <a:pt x="652" y="1089"/>
                    <a:pt x="649" y="1072"/>
                    <a:pt x="644" y="1054"/>
                  </a:cubicBezTo>
                  <a:cubicBezTo>
                    <a:pt x="638" y="1034"/>
                    <a:pt x="627" y="1019"/>
                    <a:pt x="610" y="1007"/>
                  </a:cubicBezTo>
                  <a:cubicBezTo>
                    <a:pt x="589" y="992"/>
                    <a:pt x="566" y="991"/>
                    <a:pt x="541" y="994"/>
                  </a:cubicBezTo>
                  <a:cubicBezTo>
                    <a:pt x="526" y="995"/>
                    <a:pt x="512" y="1002"/>
                    <a:pt x="500" y="1012"/>
                  </a:cubicBezTo>
                  <a:cubicBezTo>
                    <a:pt x="476" y="1032"/>
                    <a:pt x="469" y="1060"/>
                    <a:pt x="466" y="1095"/>
                  </a:cubicBezTo>
                  <a:cubicBezTo>
                    <a:pt x="465" y="1101"/>
                    <a:pt x="470" y="1111"/>
                    <a:pt x="472" y="1122"/>
                  </a:cubicBezTo>
                  <a:close/>
                  <a:moveTo>
                    <a:pt x="508" y="1113"/>
                  </a:moveTo>
                  <a:cubicBezTo>
                    <a:pt x="505" y="1095"/>
                    <a:pt x="506" y="1078"/>
                    <a:pt x="508" y="1061"/>
                  </a:cubicBezTo>
                  <a:cubicBezTo>
                    <a:pt x="511" y="1042"/>
                    <a:pt x="538" y="1021"/>
                    <a:pt x="554" y="1022"/>
                  </a:cubicBezTo>
                  <a:cubicBezTo>
                    <a:pt x="570" y="1022"/>
                    <a:pt x="586" y="1024"/>
                    <a:pt x="596" y="1037"/>
                  </a:cubicBezTo>
                  <a:cubicBezTo>
                    <a:pt x="602" y="1044"/>
                    <a:pt x="607" y="1052"/>
                    <a:pt x="608" y="1061"/>
                  </a:cubicBezTo>
                  <a:cubicBezTo>
                    <a:pt x="608" y="1064"/>
                    <a:pt x="609" y="1067"/>
                    <a:pt x="610" y="1070"/>
                  </a:cubicBezTo>
                  <a:cubicBezTo>
                    <a:pt x="618" y="1089"/>
                    <a:pt x="612" y="1107"/>
                    <a:pt x="607" y="1125"/>
                  </a:cubicBezTo>
                  <a:cubicBezTo>
                    <a:pt x="601" y="1143"/>
                    <a:pt x="588" y="1160"/>
                    <a:pt x="558" y="1157"/>
                  </a:cubicBezTo>
                  <a:cubicBezTo>
                    <a:pt x="530" y="1157"/>
                    <a:pt x="512" y="1141"/>
                    <a:pt x="508" y="1113"/>
                  </a:cubicBezTo>
                  <a:close/>
                  <a:moveTo>
                    <a:pt x="430" y="716"/>
                  </a:moveTo>
                  <a:cubicBezTo>
                    <a:pt x="450" y="703"/>
                    <a:pt x="459" y="683"/>
                    <a:pt x="464" y="661"/>
                  </a:cubicBezTo>
                  <a:cubicBezTo>
                    <a:pt x="468" y="648"/>
                    <a:pt x="467" y="635"/>
                    <a:pt x="466" y="621"/>
                  </a:cubicBezTo>
                  <a:cubicBezTo>
                    <a:pt x="463" y="592"/>
                    <a:pt x="453" y="567"/>
                    <a:pt x="427" y="550"/>
                  </a:cubicBezTo>
                  <a:cubicBezTo>
                    <a:pt x="401" y="534"/>
                    <a:pt x="372" y="532"/>
                    <a:pt x="345" y="541"/>
                  </a:cubicBezTo>
                  <a:cubicBezTo>
                    <a:pt x="310" y="552"/>
                    <a:pt x="291" y="580"/>
                    <a:pt x="287" y="617"/>
                  </a:cubicBezTo>
                  <a:cubicBezTo>
                    <a:pt x="286" y="629"/>
                    <a:pt x="286" y="641"/>
                    <a:pt x="287" y="654"/>
                  </a:cubicBezTo>
                  <a:cubicBezTo>
                    <a:pt x="289" y="671"/>
                    <a:pt x="295" y="686"/>
                    <a:pt x="306" y="700"/>
                  </a:cubicBezTo>
                  <a:cubicBezTo>
                    <a:pt x="324" y="722"/>
                    <a:pt x="348" y="733"/>
                    <a:pt x="378" y="731"/>
                  </a:cubicBezTo>
                  <a:cubicBezTo>
                    <a:pt x="396" y="733"/>
                    <a:pt x="414" y="727"/>
                    <a:pt x="430" y="716"/>
                  </a:cubicBezTo>
                  <a:close/>
                  <a:moveTo>
                    <a:pt x="331" y="592"/>
                  </a:moveTo>
                  <a:cubicBezTo>
                    <a:pt x="339" y="580"/>
                    <a:pt x="349" y="569"/>
                    <a:pt x="365" y="567"/>
                  </a:cubicBezTo>
                  <a:cubicBezTo>
                    <a:pt x="387" y="564"/>
                    <a:pt x="406" y="568"/>
                    <a:pt x="419" y="588"/>
                  </a:cubicBezTo>
                  <a:cubicBezTo>
                    <a:pt x="423" y="595"/>
                    <a:pt x="426" y="603"/>
                    <a:pt x="427" y="610"/>
                  </a:cubicBezTo>
                  <a:cubicBezTo>
                    <a:pt x="433" y="635"/>
                    <a:pt x="431" y="661"/>
                    <a:pt x="416" y="684"/>
                  </a:cubicBezTo>
                  <a:cubicBezTo>
                    <a:pt x="403" y="706"/>
                    <a:pt x="362" y="708"/>
                    <a:pt x="345" y="692"/>
                  </a:cubicBezTo>
                  <a:cubicBezTo>
                    <a:pt x="329" y="678"/>
                    <a:pt x="323" y="661"/>
                    <a:pt x="323" y="631"/>
                  </a:cubicBezTo>
                  <a:cubicBezTo>
                    <a:pt x="323" y="619"/>
                    <a:pt x="323" y="605"/>
                    <a:pt x="331" y="592"/>
                  </a:cubicBezTo>
                  <a:close/>
                  <a:moveTo>
                    <a:pt x="1073" y="259"/>
                  </a:moveTo>
                  <a:cubicBezTo>
                    <a:pt x="1073" y="269"/>
                    <a:pt x="1075" y="272"/>
                    <a:pt x="1086" y="272"/>
                  </a:cubicBezTo>
                  <a:cubicBezTo>
                    <a:pt x="1088" y="272"/>
                    <a:pt x="1090" y="272"/>
                    <a:pt x="1092" y="272"/>
                  </a:cubicBezTo>
                  <a:cubicBezTo>
                    <a:pt x="1105" y="272"/>
                    <a:pt x="1106" y="271"/>
                    <a:pt x="1106" y="258"/>
                  </a:cubicBezTo>
                  <a:cubicBezTo>
                    <a:pt x="1106" y="221"/>
                    <a:pt x="1106" y="184"/>
                    <a:pt x="1106" y="147"/>
                  </a:cubicBezTo>
                  <a:cubicBezTo>
                    <a:pt x="1106" y="143"/>
                    <a:pt x="1106" y="140"/>
                    <a:pt x="1107" y="137"/>
                  </a:cubicBezTo>
                  <a:cubicBezTo>
                    <a:pt x="1117" y="117"/>
                    <a:pt x="1157" y="104"/>
                    <a:pt x="1177" y="114"/>
                  </a:cubicBezTo>
                  <a:cubicBezTo>
                    <a:pt x="1179" y="115"/>
                    <a:pt x="1180" y="117"/>
                    <a:pt x="1182" y="118"/>
                  </a:cubicBezTo>
                  <a:cubicBezTo>
                    <a:pt x="1194" y="131"/>
                    <a:pt x="1196" y="147"/>
                    <a:pt x="1196" y="163"/>
                  </a:cubicBezTo>
                  <a:cubicBezTo>
                    <a:pt x="1197" y="195"/>
                    <a:pt x="1196" y="226"/>
                    <a:pt x="1196" y="258"/>
                  </a:cubicBezTo>
                  <a:cubicBezTo>
                    <a:pt x="1196" y="271"/>
                    <a:pt x="1197" y="272"/>
                    <a:pt x="1210" y="272"/>
                  </a:cubicBezTo>
                  <a:cubicBezTo>
                    <a:pt x="1212" y="272"/>
                    <a:pt x="1213" y="272"/>
                    <a:pt x="1215" y="272"/>
                  </a:cubicBezTo>
                  <a:cubicBezTo>
                    <a:pt x="1227" y="272"/>
                    <a:pt x="1229" y="270"/>
                    <a:pt x="1229" y="258"/>
                  </a:cubicBezTo>
                  <a:cubicBezTo>
                    <a:pt x="1229" y="222"/>
                    <a:pt x="1229" y="187"/>
                    <a:pt x="1229" y="151"/>
                  </a:cubicBezTo>
                  <a:cubicBezTo>
                    <a:pt x="1229" y="142"/>
                    <a:pt x="1228" y="132"/>
                    <a:pt x="1225" y="123"/>
                  </a:cubicBezTo>
                  <a:cubicBezTo>
                    <a:pt x="1219" y="105"/>
                    <a:pt x="1208" y="91"/>
                    <a:pt x="1189" y="85"/>
                  </a:cubicBezTo>
                  <a:cubicBezTo>
                    <a:pt x="1173" y="80"/>
                    <a:pt x="1156" y="84"/>
                    <a:pt x="1139" y="84"/>
                  </a:cubicBezTo>
                  <a:cubicBezTo>
                    <a:pt x="1137" y="84"/>
                    <a:pt x="1136" y="86"/>
                    <a:pt x="1134" y="87"/>
                  </a:cubicBezTo>
                  <a:cubicBezTo>
                    <a:pt x="1128" y="91"/>
                    <a:pt x="1121" y="96"/>
                    <a:pt x="1115" y="100"/>
                  </a:cubicBezTo>
                  <a:cubicBezTo>
                    <a:pt x="1113" y="102"/>
                    <a:pt x="1111" y="105"/>
                    <a:pt x="1108" y="103"/>
                  </a:cubicBezTo>
                  <a:cubicBezTo>
                    <a:pt x="1105" y="102"/>
                    <a:pt x="1106" y="98"/>
                    <a:pt x="1106" y="96"/>
                  </a:cubicBezTo>
                  <a:cubicBezTo>
                    <a:pt x="1106" y="69"/>
                    <a:pt x="1106" y="43"/>
                    <a:pt x="1106" y="17"/>
                  </a:cubicBezTo>
                  <a:cubicBezTo>
                    <a:pt x="1106" y="0"/>
                    <a:pt x="1106" y="0"/>
                    <a:pt x="1089" y="0"/>
                  </a:cubicBezTo>
                  <a:cubicBezTo>
                    <a:pt x="1074" y="0"/>
                    <a:pt x="1073" y="1"/>
                    <a:pt x="1073" y="16"/>
                  </a:cubicBezTo>
                  <a:cubicBezTo>
                    <a:pt x="1073" y="56"/>
                    <a:pt x="1073" y="96"/>
                    <a:pt x="1073" y="136"/>
                  </a:cubicBezTo>
                  <a:cubicBezTo>
                    <a:pt x="1073" y="177"/>
                    <a:pt x="1073" y="218"/>
                    <a:pt x="1073" y="259"/>
                  </a:cubicBezTo>
                  <a:close/>
                  <a:moveTo>
                    <a:pt x="1150" y="1092"/>
                  </a:moveTo>
                  <a:cubicBezTo>
                    <a:pt x="1168" y="1092"/>
                    <a:pt x="1186" y="1092"/>
                    <a:pt x="1204" y="1092"/>
                  </a:cubicBezTo>
                  <a:cubicBezTo>
                    <a:pt x="1215" y="1092"/>
                    <a:pt x="1218" y="1087"/>
                    <a:pt x="1219" y="1077"/>
                  </a:cubicBezTo>
                  <a:cubicBezTo>
                    <a:pt x="1220" y="1062"/>
                    <a:pt x="1216" y="1049"/>
                    <a:pt x="1210" y="1036"/>
                  </a:cubicBezTo>
                  <a:cubicBezTo>
                    <a:pt x="1204" y="1020"/>
                    <a:pt x="1193" y="1008"/>
                    <a:pt x="1177" y="1001"/>
                  </a:cubicBezTo>
                  <a:cubicBezTo>
                    <a:pt x="1155" y="992"/>
                    <a:pt x="1133" y="991"/>
                    <a:pt x="1109" y="999"/>
                  </a:cubicBezTo>
                  <a:cubicBezTo>
                    <a:pt x="1079" y="1010"/>
                    <a:pt x="1062" y="1031"/>
                    <a:pt x="1056" y="1061"/>
                  </a:cubicBezTo>
                  <a:cubicBezTo>
                    <a:pt x="1051" y="1090"/>
                    <a:pt x="1052" y="1120"/>
                    <a:pt x="1069" y="1148"/>
                  </a:cubicBezTo>
                  <a:cubicBezTo>
                    <a:pt x="1081" y="1169"/>
                    <a:pt x="1100" y="1180"/>
                    <a:pt x="1122" y="1185"/>
                  </a:cubicBezTo>
                  <a:cubicBezTo>
                    <a:pt x="1149" y="1190"/>
                    <a:pt x="1176" y="1186"/>
                    <a:pt x="1200" y="1171"/>
                  </a:cubicBezTo>
                  <a:cubicBezTo>
                    <a:pt x="1206" y="1168"/>
                    <a:pt x="1213" y="1165"/>
                    <a:pt x="1214" y="1157"/>
                  </a:cubicBezTo>
                  <a:cubicBezTo>
                    <a:pt x="1215" y="1147"/>
                    <a:pt x="1202" y="1139"/>
                    <a:pt x="1193" y="1144"/>
                  </a:cubicBezTo>
                  <a:cubicBezTo>
                    <a:pt x="1187" y="1147"/>
                    <a:pt x="1180" y="1150"/>
                    <a:pt x="1174" y="1153"/>
                  </a:cubicBezTo>
                  <a:cubicBezTo>
                    <a:pt x="1158" y="1161"/>
                    <a:pt x="1140" y="1161"/>
                    <a:pt x="1124" y="1155"/>
                  </a:cubicBezTo>
                  <a:cubicBezTo>
                    <a:pt x="1112" y="1151"/>
                    <a:pt x="1102" y="1142"/>
                    <a:pt x="1096" y="1129"/>
                  </a:cubicBezTo>
                  <a:cubicBezTo>
                    <a:pt x="1092" y="1121"/>
                    <a:pt x="1091" y="1112"/>
                    <a:pt x="1089" y="1104"/>
                  </a:cubicBezTo>
                  <a:cubicBezTo>
                    <a:pt x="1087" y="1093"/>
                    <a:pt x="1087" y="1092"/>
                    <a:pt x="1099" y="1092"/>
                  </a:cubicBezTo>
                  <a:cubicBezTo>
                    <a:pt x="1116" y="1092"/>
                    <a:pt x="1133" y="1092"/>
                    <a:pt x="1150" y="1092"/>
                  </a:cubicBezTo>
                  <a:cubicBezTo>
                    <a:pt x="1150" y="1092"/>
                    <a:pt x="1150" y="1092"/>
                    <a:pt x="1150" y="1092"/>
                  </a:cubicBezTo>
                  <a:close/>
                  <a:moveTo>
                    <a:pt x="1099" y="1070"/>
                  </a:moveTo>
                  <a:cubicBezTo>
                    <a:pt x="1092" y="1071"/>
                    <a:pt x="1089" y="1067"/>
                    <a:pt x="1091" y="1060"/>
                  </a:cubicBezTo>
                  <a:cubicBezTo>
                    <a:pt x="1094" y="1045"/>
                    <a:pt x="1108" y="1023"/>
                    <a:pt x="1128" y="1022"/>
                  </a:cubicBezTo>
                  <a:cubicBezTo>
                    <a:pt x="1142" y="1021"/>
                    <a:pt x="1156" y="1018"/>
                    <a:pt x="1168" y="1029"/>
                  </a:cubicBezTo>
                  <a:cubicBezTo>
                    <a:pt x="1181" y="1038"/>
                    <a:pt x="1185" y="1051"/>
                    <a:pt x="1187" y="1066"/>
                  </a:cubicBezTo>
                  <a:cubicBezTo>
                    <a:pt x="1188" y="1071"/>
                    <a:pt x="1183" y="1070"/>
                    <a:pt x="1180" y="1070"/>
                  </a:cubicBezTo>
                  <a:cubicBezTo>
                    <a:pt x="1166" y="1070"/>
                    <a:pt x="1153" y="1070"/>
                    <a:pt x="1139" y="1070"/>
                  </a:cubicBezTo>
                  <a:cubicBezTo>
                    <a:pt x="1139" y="1070"/>
                    <a:pt x="1139" y="1070"/>
                    <a:pt x="1139" y="1070"/>
                  </a:cubicBezTo>
                  <a:cubicBezTo>
                    <a:pt x="1126" y="1070"/>
                    <a:pt x="1113" y="1070"/>
                    <a:pt x="1099" y="1070"/>
                  </a:cubicBezTo>
                  <a:close/>
                  <a:moveTo>
                    <a:pt x="1741" y="1092"/>
                  </a:moveTo>
                  <a:cubicBezTo>
                    <a:pt x="1759" y="1092"/>
                    <a:pt x="1776" y="1092"/>
                    <a:pt x="1793" y="1092"/>
                  </a:cubicBezTo>
                  <a:cubicBezTo>
                    <a:pt x="1806" y="1092"/>
                    <a:pt x="1808" y="1089"/>
                    <a:pt x="1808" y="1076"/>
                  </a:cubicBezTo>
                  <a:cubicBezTo>
                    <a:pt x="1809" y="1063"/>
                    <a:pt x="1807" y="1051"/>
                    <a:pt x="1802" y="1038"/>
                  </a:cubicBezTo>
                  <a:cubicBezTo>
                    <a:pt x="1794" y="1021"/>
                    <a:pt x="1782" y="1008"/>
                    <a:pt x="1764" y="1000"/>
                  </a:cubicBezTo>
                  <a:cubicBezTo>
                    <a:pt x="1742" y="991"/>
                    <a:pt x="1720" y="991"/>
                    <a:pt x="1698" y="1000"/>
                  </a:cubicBezTo>
                  <a:cubicBezTo>
                    <a:pt x="1681" y="1006"/>
                    <a:pt x="1668" y="1016"/>
                    <a:pt x="1659" y="1031"/>
                  </a:cubicBezTo>
                  <a:cubicBezTo>
                    <a:pt x="1646" y="1050"/>
                    <a:pt x="1643" y="1071"/>
                    <a:pt x="1644" y="1094"/>
                  </a:cubicBezTo>
                  <a:cubicBezTo>
                    <a:pt x="1644" y="1110"/>
                    <a:pt x="1647" y="1127"/>
                    <a:pt x="1655" y="1141"/>
                  </a:cubicBezTo>
                  <a:cubicBezTo>
                    <a:pt x="1669" y="1168"/>
                    <a:pt x="1691" y="1183"/>
                    <a:pt x="1722" y="1186"/>
                  </a:cubicBezTo>
                  <a:cubicBezTo>
                    <a:pt x="1750" y="1188"/>
                    <a:pt x="1775" y="1183"/>
                    <a:pt x="1798" y="1165"/>
                  </a:cubicBezTo>
                  <a:cubicBezTo>
                    <a:pt x="1803" y="1161"/>
                    <a:pt x="1806" y="1157"/>
                    <a:pt x="1802" y="1151"/>
                  </a:cubicBezTo>
                  <a:cubicBezTo>
                    <a:pt x="1798" y="1144"/>
                    <a:pt x="1791" y="1140"/>
                    <a:pt x="1783" y="1144"/>
                  </a:cubicBezTo>
                  <a:cubicBezTo>
                    <a:pt x="1778" y="1147"/>
                    <a:pt x="1771" y="1149"/>
                    <a:pt x="1766" y="1152"/>
                  </a:cubicBezTo>
                  <a:cubicBezTo>
                    <a:pt x="1749" y="1161"/>
                    <a:pt x="1730" y="1162"/>
                    <a:pt x="1714" y="1155"/>
                  </a:cubicBezTo>
                  <a:cubicBezTo>
                    <a:pt x="1692" y="1145"/>
                    <a:pt x="1680" y="1127"/>
                    <a:pt x="1679" y="1102"/>
                  </a:cubicBezTo>
                  <a:cubicBezTo>
                    <a:pt x="1678" y="1095"/>
                    <a:pt x="1681" y="1092"/>
                    <a:pt x="1689" y="1092"/>
                  </a:cubicBezTo>
                  <a:cubicBezTo>
                    <a:pt x="1706" y="1092"/>
                    <a:pt x="1724" y="1092"/>
                    <a:pt x="1741" y="1092"/>
                  </a:cubicBezTo>
                  <a:cubicBezTo>
                    <a:pt x="1741" y="1092"/>
                    <a:pt x="1741" y="1092"/>
                    <a:pt x="1741" y="1092"/>
                  </a:cubicBezTo>
                  <a:close/>
                  <a:moveTo>
                    <a:pt x="1690" y="1070"/>
                  </a:moveTo>
                  <a:cubicBezTo>
                    <a:pt x="1683" y="1071"/>
                    <a:pt x="1680" y="1068"/>
                    <a:pt x="1681" y="1062"/>
                  </a:cubicBezTo>
                  <a:cubicBezTo>
                    <a:pt x="1683" y="1048"/>
                    <a:pt x="1697" y="1024"/>
                    <a:pt x="1716" y="1022"/>
                  </a:cubicBezTo>
                  <a:cubicBezTo>
                    <a:pt x="1731" y="1020"/>
                    <a:pt x="1747" y="1018"/>
                    <a:pt x="1760" y="1030"/>
                  </a:cubicBezTo>
                  <a:cubicBezTo>
                    <a:pt x="1771" y="1038"/>
                    <a:pt x="1775" y="1050"/>
                    <a:pt x="1778" y="1062"/>
                  </a:cubicBezTo>
                  <a:cubicBezTo>
                    <a:pt x="1780" y="1068"/>
                    <a:pt x="1775" y="1070"/>
                    <a:pt x="1769" y="1070"/>
                  </a:cubicBezTo>
                  <a:cubicBezTo>
                    <a:pt x="1756" y="1070"/>
                    <a:pt x="1742" y="1070"/>
                    <a:pt x="1729" y="1070"/>
                  </a:cubicBezTo>
                  <a:cubicBezTo>
                    <a:pt x="1729" y="1070"/>
                    <a:pt x="1729" y="1070"/>
                    <a:pt x="1729" y="1070"/>
                  </a:cubicBezTo>
                  <a:cubicBezTo>
                    <a:pt x="1716" y="1070"/>
                    <a:pt x="1703" y="1070"/>
                    <a:pt x="1690" y="1070"/>
                  </a:cubicBezTo>
                  <a:close/>
                  <a:moveTo>
                    <a:pt x="68" y="581"/>
                  </a:moveTo>
                  <a:cubicBezTo>
                    <a:pt x="68" y="573"/>
                    <a:pt x="70" y="568"/>
                    <a:pt x="80" y="569"/>
                  </a:cubicBezTo>
                  <a:cubicBezTo>
                    <a:pt x="90" y="570"/>
                    <a:pt x="101" y="570"/>
                    <a:pt x="111" y="569"/>
                  </a:cubicBezTo>
                  <a:cubicBezTo>
                    <a:pt x="120" y="569"/>
                    <a:pt x="120" y="563"/>
                    <a:pt x="120" y="556"/>
                  </a:cubicBezTo>
                  <a:cubicBezTo>
                    <a:pt x="120" y="549"/>
                    <a:pt x="119" y="544"/>
                    <a:pt x="111" y="544"/>
                  </a:cubicBezTo>
                  <a:cubicBezTo>
                    <a:pt x="104" y="544"/>
                    <a:pt x="97" y="544"/>
                    <a:pt x="91" y="544"/>
                  </a:cubicBezTo>
                  <a:cubicBezTo>
                    <a:pt x="66" y="544"/>
                    <a:pt x="65" y="543"/>
                    <a:pt x="68" y="518"/>
                  </a:cubicBezTo>
                  <a:cubicBezTo>
                    <a:pt x="69" y="504"/>
                    <a:pt x="83" y="487"/>
                    <a:pt x="99" y="489"/>
                  </a:cubicBezTo>
                  <a:cubicBezTo>
                    <a:pt x="103" y="489"/>
                    <a:pt x="107" y="489"/>
                    <a:pt x="110" y="488"/>
                  </a:cubicBezTo>
                  <a:cubicBezTo>
                    <a:pt x="118" y="487"/>
                    <a:pt x="123" y="479"/>
                    <a:pt x="123" y="471"/>
                  </a:cubicBezTo>
                  <a:cubicBezTo>
                    <a:pt x="123" y="461"/>
                    <a:pt x="116" y="462"/>
                    <a:pt x="109" y="460"/>
                  </a:cubicBezTo>
                  <a:cubicBezTo>
                    <a:pt x="100" y="458"/>
                    <a:pt x="92" y="460"/>
                    <a:pt x="84" y="460"/>
                  </a:cubicBezTo>
                  <a:cubicBezTo>
                    <a:pt x="68" y="461"/>
                    <a:pt x="56" y="469"/>
                    <a:pt x="47" y="480"/>
                  </a:cubicBezTo>
                  <a:cubicBezTo>
                    <a:pt x="34" y="493"/>
                    <a:pt x="32" y="511"/>
                    <a:pt x="32" y="529"/>
                  </a:cubicBezTo>
                  <a:cubicBezTo>
                    <a:pt x="32" y="544"/>
                    <a:pt x="32" y="544"/>
                    <a:pt x="17" y="544"/>
                  </a:cubicBezTo>
                  <a:cubicBezTo>
                    <a:pt x="4" y="543"/>
                    <a:pt x="0" y="548"/>
                    <a:pt x="4" y="561"/>
                  </a:cubicBezTo>
                  <a:cubicBezTo>
                    <a:pt x="6" y="569"/>
                    <a:pt x="13" y="568"/>
                    <a:pt x="19" y="569"/>
                  </a:cubicBezTo>
                  <a:cubicBezTo>
                    <a:pt x="32" y="571"/>
                    <a:pt x="32" y="571"/>
                    <a:pt x="32" y="584"/>
                  </a:cubicBezTo>
                  <a:cubicBezTo>
                    <a:pt x="32" y="624"/>
                    <a:pt x="32" y="664"/>
                    <a:pt x="32" y="704"/>
                  </a:cubicBezTo>
                  <a:cubicBezTo>
                    <a:pt x="32" y="731"/>
                    <a:pt x="32" y="730"/>
                    <a:pt x="57" y="731"/>
                  </a:cubicBezTo>
                  <a:cubicBezTo>
                    <a:pt x="66" y="731"/>
                    <a:pt x="68" y="727"/>
                    <a:pt x="68" y="720"/>
                  </a:cubicBezTo>
                  <a:cubicBezTo>
                    <a:pt x="68" y="697"/>
                    <a:pt x="68" y="674"/>
                    <a:pt x="68" y="651"/>
                  </a:cubicBezTo>
                  <a:cubicBezTo>
                    <a:pt x="68" y="628"/>
                    <a:pt x="68" y="605"/>
                    <a:pt x="68" y="581"/>
                  </a:cubicBezTo>
                  <a:close/>
                  <a:moveTo>
                    <a:pt x="278" y="1165"/>
                  </a:moveTo>
                  <a:cubicBezTo>
                    <a:pt x="278" y="1183"/>
                    <a:pt x="278" y="1183"/>
                    <a:pt x="296" y="1184"/>
                  </a:cubicBezTo>
                  <a:cubicBezTo>
                    <a:pt x="310" y="1184"/>
                    <a:pt x="310" y="1184"/>
                    <a:pt x="310" y="1169"/>
                  </a:cubicBezTo>
                  <a:cubicBezTo>
                    <a:pt x="310" y="1132"/>
                    <a:pt x="310" y="1095"/>
                    <a:pt x="310" y="1058"/>
                  </a:cubicBezTo>
                  <a:cubicBezTo>
                    <a:pt x="310" y="1052"/>
                    <a:pt x="312" y="1047"/>
                    <a:pt x="316" y="1042"/>
                  </a:cubicBezTo>
                  <a:cubicBezTo>
                    <a:pt x="324" y="1033"/>
                    <a:pt x="334" y="1027"/>
                    <a:pt x="345" y="1024"/>
                  </a:cubicBezTo>
                  <a:cubicBezTo>
                    <a:pt x="357" y="1020"/>
                    <a:pt x="371" y="1018"/>
                    <a:pt x="383" y="1028"/>
                  </a:cubicBezTo>
                  <a:cubicBezTo>
                    <a:pt x="397" y="1039"/>
                    <a:pt x="401" y="1054"/>
                    <a:pt x="401" y="1071"/>
                  </a:cubicBezTo>
                  <a:cubicBezTo>
                    <a:pt x="401" y="1102"/>
                    <a:pt x="401" y="1132"/>
                    <a:pt x="401" y="1163"/>
                  </a:cubicBezTo>
                  <a:cubicBezTo>
                    <a:pt x="401" y="1183"/>
                    <a:pt x="401" y="1182"/>
                    <a:pt x="420" y="1184"/>
                  </a:cubicBezTo>
                  <a:cubicBezTo>
                    <a:pt x="429" y="1185"/>
                    <a:pt x="433" y="1181"/>
                    <a:pt x="433" y="1173"/>
                  </a:cubicBezTo>
                  <a:cubicBezTo>
                    <a:pt x="432" y="1130"/>
                    <a:pt x="435" y="1087"/>
                    <a:pt x="431" y="1044"/>
                  </a:cubicBezTo>
                  <a:cubicBezTo>
                    <a:pt x="427" y="1014"/>
                    <a:pt x="404" y="996"/>
                    <a:pt x="376" y="994"/>
                  </a:cubicBezTo>
                  <a:cubicBezTo>
                    <a:pt x="353" y="992"/>
                    <a:pt x="333" y="1000"/>
                    <a:pt x="317" y="1017"/>
                  </a:cubicBezTo>
                  <a:cubicBezTo>
                    <a:pt x="312" y="1021"/>
                    <a:pt x="311" y="1019"/>
                    <a:pt x="309" y="1015"/>
                  </a:cubicBezTo>
                  <a:cubicBezTo>
                    <a:pt x="309" y="1013"/>
                    <a:pt x="308" y="1011"/>
                    <a:pt x="308" y="1008"/>
                  </a:cubicBezTo>
                  <a:cubicBezTo>
                    <a:pt x="306" y="1001"/>
                    <a:pt x="298" y="997"/>
                    <a:pt x="287" y="998"/>
                  </a:cubicBezTo>
                  <a:cubicBezTo>
                    <a:pt x="279" y="999"/>
                    <a:pt x="278" y="1004"/>
                    <a:pt x="278" y="1011"/>
                  </a:cubicBezTo>
                  <a:cubicBezTo>
                    <a:pt x="278" y="1037"/>
                    <a:pt x="278" y="1064"/>
                    <a:pt x="278" y="1091"/>
                  </a:cubicBezTo>
                  <a:cubicBezTo>
                    <a:pt x="278" y="1115"/>
                    <a:pt x="278" y="1140"/>
                    <a:pt x="278" y="1165"/>
                  </a:cubicBezTo>
                  <a:close/>
                  <a:moveTo>
                    <a:pt x="150" y="705"/>
                  </a:moveTo>
                  <a:cubicBezTo>
                    <a:pt x="150" y="734"/>
                    <a:pt x="145" y="730"/>
                    <a:pt x="176" y="731"/>
                  </a:cubicBezTo>
                  <a:cubicBezTo>
                    <a:pt x="185" y="731"/>
                    <a:pt x="187" y="727"/>
                    <a:pt x="187" y="719"/>
                  </a:cubicBezTo>
                  <a:cubicBezTo>
                    <a:pt x="187" y="685"/>
                    <a:pt x="187" y="651"/>
                    <a:pt x="187" y="618"/>
                  </a:cubicBezTo>
                  <a:cubicBezTo>
                    <a:pt x="187" y="597"/>
                    <a:pt x="204" y="578"/>
                    <a:pt x="225" y="574"/>
                  </a:cubicBezTo>
                  <a:cubicBezTo>
                    <a:pt x="232" y="572"/>
                    <a:pt x="240" y="574"/>
                    <a:pt x="247" y="575"/>
                  </a:cubicBezTo>
                  <a:cubicBezTo>
                    <a:pt x="257" y="576"/>
                    <a:pt x="261" y="572"/>
                    <a:pt x="265" y="564"/>
                  </a:cubicBezTo>
                  <a:cubicBezTo>
                    <a:pt x="269" y="556"/>
                    <a:pt x="267" y="542"/>
                    <a:pt x="261" y="540"/>
                  </a:cubicBezTo>
                  <a:cubicBezTo>
                    <a:pt x="253" y="538"/>
                    <a:pt x="244" y="534"/>
                    <a:pt x="237" y="536"/>
                  </a:cubicBezTo>
                  <a:cubicBezTo>
                    <a:pt x="228" y="537"/>
                    <a:pt x="217" y="537"/>
                    <a:pt x="209" y="544"/>
                  </a:cubicBezTo>
                  <a:cubicBezTo>
                    <a:pt x="204" y="549"/>
                    <a:pt x="198" y="553"/>
                    <a:pt x="194" y="558"/>
                  </a:cubicBezTo>
                  <a:cubicBezTo>
                    <a:pt x="192" y="561"/>
                    <a:pt x="189" y="563"/>
                    <a:pt x="185" y="562"/>
                  </a:cubicBezTo>
                  <a:cubicBezTo>
                    <a:pt x="182" y="561"/>
                    <a:pt x="182" y="558"/>
                    <a:pt x="182" y="556"/>
                  </a:cubicBezTo>
                  <a:cubicBezTo>
                    <a:pt x="180" y="539"/>
                    <a:pt x="179" y="539"/>
                    <a:pt x="162" y="539"/>
                  </a:cubicBezTo>
                  <a:cubicBezTo>
                    <a:pt x="151" y="539"/>
                    <a:pt x="150" y="540"/>
                    <a:pt x="150" y="551"/>
                  </a:cubicBezTo>
                  <a:cubicBezTo>
                    <a:pt x="150" y="579"/>
                    <a:pt x="150" y="607"/>
                    <a:pt x="150" y="635"/>
                  </a:cubicBezTo>
                  <a:cubicBezTo>
                    <a:pt x="150" y="658"/>
                    <a:pt x="149" y="682"/>
                    <a:pt x="150" y="705"/>
                  </a:cubicBezTo>
                  <a:close/>
                  <a:moveTo>
                    <a:pt x="1011" y="1049"/>
                  </a:moveTo>
                  <a:cubicBezTo>
                    <a:pt x="1011" y="1008"/>
                    <a:pt x="1011" y="966"/>
                    <a:pt x="1011" y="924"/>
                  </a:cubicBezTo>
                  <a:cubicBezTo>
                    <a:pt x="1011" y="913"/>
                    <a:pt x="1008" y="910"/>
                    <a:pt x="997" y="910"/>
                  </a:cubicBezTo>
                  <a:cubicBezTo>
                    <a:pt x="995" y="910"/>
                    <a:pt x="992" y="910"/>
                    <a:pt x="990" y="910"/>
                  </a:cubicBezTo>
                  <a:cubicBezTo>
                    <a:pt x="976" y="910"/>
                    <a:pt x="975" y="911"/>
                    <a:pt x="975" y="926"/>
                  </a:cubicBezTo>
                  <a:cubicBezTo>
                    <a:pt x="975" y="1006"/>
                    <a:pt x="975" y="1085"/>
                    <a:pt x="975" y="1165"/>
                  </a:cubicBezTo>
                  <a:cubicBezTo>
                    <a:pt x="975" y="1185"/>
                    <a:pt x="975" y="1185"/>
                    <a:pt x="994" y="1185"/>
                  </a:cubicBezTo>
                  <a:cubicBezTo>
                    <a:pt x="1009" y="1185"/>
                    <a:pt x="1011" y="1184"/>
                    <a:pt x="1011" y="1169"/>
                  </a:cubicBezTo>
                  <a:cubicBezTo>
                    <a:pt x="1011" y="1129"/>
                    <a:pt x="1011" y="1089"/>
                    <a:pt x="1011" y="1049"/>
                  </a:cubicBezTo>
                  <a:cubicBezTo>
                    <a:pt x="1011" y="1049"/>
                    <a:pt x="1011" y="1049"/>
                    <a:pt x="1011" y="1049"/>
                  </a:cubicBezTo>
                  <a:close/>
                  <a:moveTo>
                    <a:pt x="296" y="176"/>
                  </a:moveTo>
                  <a:cubicBezTo>
                    <a:pt x="296" y="201"/>
                    <a:pt x="296" y="226"/>
                    <a:pt x="296" y="251"/>
                  </a:cubicBezTo>
                  <a:cubicBezTo>
                    <a:pt x="295" y="276"/>
                    <a:pt x="296" y="274"/>
                    <a:pt x="318" y="274"/>
                  </a:cubicBezTo>
                  <a:cubicBezTo>
                    <a:pt x="330" y="274"/>
                    <a:pt x="331" y="274"/>
                    <a:pt x="331" y="260"/>
                  </a:cubicBezTo>
                  <a:cubicBezTo>
                    <a:pt x="331" y="232"/>
                    <a:pt x="331" y="204"/>
                    <a:pt x="331" y="176"/>
                  </a:cubicBezTo>
                  <a:cubicBezTo>
                    <a:pt x="331" y="165"/>
                    <a:pt x="331" y="155"/>
                    <a:pt x="337" y="145"/>
                  </a:cubicBezTo>
                  <a:cubicBezTo>
                    <a:pt x="349" y="123"/>
                    <a:pt x="359" y="117"/>
                    <a:pt x="377" y="118"/>
                  </a:cubicBezTo>
                  <a:cubicBezTo>
                    <a:pt x="383" y="118"/>
                    <a:pt x="389" y="119"/>
                    <a:pt x="395" y="120"/>
                  </a:cubicBezTo>
                  <a:cubicBezTo>
                    <a:pt x="401" y="120"/>
                    <a:pt x="407" y="118"/>
                    <a:pt x="408" y="112"/>
                  </a:cubicBezTo>
                  <a:cubicBezTo>
                    <a:pt x="409" y="103"/>
                    <a:pt x="415" y="93"/>
                    <a:pt x="407" y="85"/>
                  </a:cubicBezTo>
                  <a:cubicBezTo>
                    <a:pt x="406" y="84"/>
                    <a:pt x="404" y="84"/>
                    <a:pt x="402" y="84"/>
                  </a:cubicBezTo>
                  <a:cubicBezTo>
                    <a:pt x="376" y="78"/>
                    <a:pt x="353" y="82"/>
                    <a:pt x="337" y="106"/>
                  </a:cubicBezTo>
                  <a:cubicBezTo>
                    <a:pt x="336" y="108"/>
                    <a:pt x="335" y="110"/>
                    <a:pt x="333" y="109"/>
                  </a:cubicBezTo>
                  <a:cubicBezTo>
                    <a:pt x="331" y="109"/>
                    <a:pt x="330" y="107"/>
                    <a:pt x="330" y="105"/>
                  </a:cubicBezTo>
                  <a:cubicBezTo>
                    <a:pt x="329" y="101"/>
                    <a:pt x="329" y="97"/>
                    <a:pt x="328" y="94"/>
                  </a:cubicBezTo>
                  <a:cubicBezTo>
                    <a:pt x="325" y="85"/>
                    <a:pt x="318" y="82"/>
                    <a:pt x="303" y="84"/>
                  </a:cubicBezTo>
                  <a:cubicBezTo>
                    <a:pt x="297" y="84"/>
                    <a:pt x="295" y="86"/>
                    <a:pt x="295" y="92"/>
                  </a:cubicBezTo>
                  <a:cubicBezTo>
                    <a:pt x="296" y="120"/>
                    <a:pt x="295" y="148"/>
                    <a:pt x="295" y="176"/>
                  </a:cubicBezTo>
                  <a:cubicBezTo>
                    <a:pt x="296" y="176"/>
                    <a:pt x="296" y="176"/>
                    <a:pt x="296" y="176"/>
                  </a:cubicBezTo>
                  <a:close/>
                  <a:moveTo>
                    <a:pt x="946" y="179"/>
                  </a:moveTo>
                  <a:cubicBezTo>
                    <a:pt x="946" y="197"/>
                    <a:pt x="946" y="215"/>
                    <a:pt x="946" y="234"/>
                  </a:cubicBezTo>
                  <a:cubicBezTo>
                    <a:pt x="946" y="248"/>
                    <a:pt x="951" y="260"/>
                    <a:pt x="963" y="268"/>
                  </a:cubicBezTo>
                  <a:cubicBezTo>
                    <a:pt x="982" y="280"/>
                    <a:pt x="1011" y="277"/>
                    <a:pt x="1029" y="264"/>
                  </a:cubicBezTo>
                  <a:cubicBezTo>
                    <a:pt x="1036" y="259"/>
                    <a:pt x="1036" y="254"/>
                    <a:pt x="1032" y="248"/>
                  </a:cubicBezTo>
                  <a:cubicBezTo>
                    <a:pt x="1026" y="239"/>
                    <a:pt x="1020" y="238"/>
                    <a:pt x="1013" y="242"/>
                  </a:cubicBezTo>
                  <a:cubicBezTo>
                    <a:pt x="996" y="252"/>
                    <a:pt x="978" y="243"/>
                    <a:pt x="978" y="223"/>
                  </a:cubicBezTo>
                  <a:cubicBezTo>
                    <a:pt x="978" y="190"/>
                    <a:pt x="978" y="157"/>
                    <a:pt x="978" y="123"/>
                  </a:cubicBezTo>
                  <a:cubicBezTo>
                    <a:pt x="978" y="116"/>
                    <a:pt x="981" y="113"/>
                    <a:pt x="988" y="113"/>
                  </a:cubicBezTo>
                  <a:cubicBezTo>
                    <a:pt x="999" y="114"/>
                    <a:pt x="1011" y="113"/>
                    <a:pt x="1022" y="113"/>
                  </a:cubicBezTo>
                  <a:cubicBezTo>
                    <a:pt x="1028" y="113"/>
                    <a:pt x="1033" y="112"/>
                    <a:pt x="1033" y="104"/>
                  </a:cubicBezTo>
                  <a:cubicBezTo>
                    <a:pt x="1033" y="96"/>
                    <a:pt x="1032" y="90"/>
                    <a:pt x="1022" y="90"/>
                  </a:cubicBezTo>
                  <a:cubicBezTo>
                    <a:pt x="1011" y="90"/>
                    <a:pt x="1001" y="90"/>
                    <a:pt x="990" y="90"/>
                  </a:cubicBezTo>
                  <a:cubicBezTo>
                    <a:pt x="981" y="91"/>
                    <a:pt x="977" y="88"/>
                    <a:pt x="978" y="78"/>
                  </a:cubicBezTo>
                  <a:cubicBezTo>
                    <a:pt x="978" y="64"/>
                    <a:pt x="978" y="49"/>
                    <a:pt x="978" y="35"/>
                  </a:cubicBezTo>
                  <a:cubicBezTo>
                    <a:pt x="978" y="30"/>
                    <a:pt x="978" y="25"/>
                    <a:pt x="971" y="24"/>
                  </a:cubicBezTo>
                  <a:cubicBezTo>
                    <a:pt x="964" y="24"/>
                    <a:pt x="956" y="24"/>
                    <a:pt x="955" y="32"/>
                  </a:cubicBezTo>
                  <a:cubicBezTo>
                    <a:pt x="952" y="43"/>
                    <a:pt x="949" y="54"/>
                    <a:pt x="949" y="65"/>
                  </a:cubicBezTo>
                  <a:cubicBezTo>
                    <a:pt x="948" y="88"/>
                    <a:pt x="947" y="88"/>
                    <a:pt x="924" y="91"/>
                  </a:cubicBezTo>
                  <a:cubicBezTo>
                    <a:pt x="919" y="92"/>
                    <a:pt x="914" y="92"/>
                    <a:pt x="914" y="99"/>
                  </a:cubicBezTo>
                  <a:cubicBezTo>
                    <a:pt x="915" y="107"/>
                    <a:pt x="917" y="113"/>
                    <a:pt x="926" y="113"/>
                  </a:cubicBezTo>
                  <a:cubicBezTo>
                    <a:pt x="929" y="114"/>
                    <a:pt x="932" y="113"/>
                    <a:pt x="935" y="113"/>
                  </a:cubicBezTo>
                  <a:cubicBezTo>
                    <a:pt x="943" y="113"/>
                    <a:pt x="946" y="116"/>
                    <a:pt x="946" y="124"/>
                  </a:cubicBezTo>
                  <a:cubicBezTo>
                    <a:pt x="946" y="142"/>
                    <a:pt x="946" y="161"/>
                    <a:pt x="946" y="179"/>
                  </a:cubicBezTo>
                  <a:cubicBezTo>
                    <a:pt x="946" y="179"/>
                    <a:pt x="946" y="179"/>
                    <a:pt x="946" y="179"/>
                  </a:cubicBezTo>
                  <a:close/>
                </a:path>
              </a:pathLst>
            </a:custGeom>
            <a:solidFill>
              <a:srgbClr val="4C505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0" dirty="0"/>
            </a:p>
          </p:txBody>
        </p:sp>
        <p:grpSp>
          <p:nvGrpSpPr>
            <p:cNvPr id="18" name="Group 4">
              <a:extLst>
                <a:ext uri="{FF2B5EF4-FFF2-40B4-BE49-F238E27FC236}">
                  <a16:creationId xmlns:a16="http://schemas.microsoft.com/office/drawing/2014/main" id="{57BD2C4C-DC67-B843-B26C-309622FC75F7}"/>
                </a:ext>
              </a:extLst>
            </p:cNvPr>
            <p:cNvGrpSpPr>
              <a:grpSpLocks noChangeAspect="1"/>
            </p:cNvGrpSpPr>
            <p:nvPr/>
          </p:nvGrpSpPr>
          <p:grpSpPr bwMode="gray">
            <a:xfrm>
              <a:off x="334963" y="296652"/>
              <a:ext cx="538094" cy="540000"/>
              <a:chOff x="2711" y="1027"/>
              <a:chExt cx="2258" cy="2266"/>
            </a:xfrm>
          </p:grpSpPr>
          <p:sp>
            <p:nvSpPr>
              <p:cNvPr id="19" name="AutoShape 3">
                <a:extLst>
                  <a:ext uri="{FF2B5EF4-FFF2-40B4-BE49-F238E27FC236}">
                    <a16:creationId xmlns:a16="http://schemas.microsoft.com/office/drawing/2014/main" id="{FE1DC41B-291E-574C-9F2C-874E70A40758}"/>
                  </a:ext>
                </a:extLst>
              </p:cNvPr>
              <p:cNvSpPr>
                <a:spLocks noChangeAspect="1" noChangeArrowheads="1" noTextEdit="1"/>
              </p:cNvSpPr>
              <p:nvPr/>
            </p:nvSpPr>
            <p:spPr bwMode="gray">
              <a:xfrm>
                <a:off x="2711" y="1027"/>
                <a:ext cx="2258" cy="22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sz="1350" dirty="0"/>
              </a:p>
            </p:txBody>
          </p:sp>
          <p:sp>
            <p:nvSpPr>
              <p:cNvPr id="20" name="Freeform 5">
                <a:extLst>
                  <a:ext uri="{FF2B5EF4-FFF2-40B4-BE49-F238E27FC236}">
                    <a16:creationId xmlns:a16="http://schemas.microsoft.com/office/drawing/2014/main" id="{D4B633C8-F761-C54B-9BD2-EB59D49A2DBC}"/>
                  </a:ext>
                </a:extLst>
              </p:cNvPr>
              <p:cNvSpPr>
                <a:spLocks/>
              </p:cNvSpPr>
              <p:nvPr/>
            </p:nvSpPr>
            <p:spPr bwMode="gray">
              <a:xfrm>
                <a:off x="2709" y="1029"/>
                <a:ext cx="2260" cy="2262"/>
              </a:xfrm>
              <a:custGeom>
                <a:avLst/>
                <a:gdLst>
                  <a:gd name="T0" fmla="*/ 2260 w 2260"/>
                  <a:gd name="T1" fmla="*/ 0 h 2262"/>
                  <a:gd name="T2" fmla="*/ 1612 w 2260"/>
                  <a:gd name="T3" fmla="*/ 649 h 2262"/>
                  <a:gd name="T4" fmla="*/ 1612 w 2260"/>
                  <a:gd name="T5" fmla="*/ 649 h 2262"/>
                  <a:gd name="T6" fmla="*/ 2035 w 2260"/>
                  <a:gd name="T7" fmla="*/ 0 h 2262"/>
                  <a:gd name="T8" fmla="*/ 0 w 2260"/>
                  <a:gd name="T9" fmla="*/ 0 h 2262"/>
                  <a:gd name="T10" fmla="*/ 0 w 2260"/>
                  <a:gd name="T11" fmla="*/ 2262 h 2262"/>
                  <a:gd name="T12" fmla="*/ 2260 w 2260"/>
                  <a:gd name="T13" fmla="*/ 2262 h 2262"/>
                  <a:gd name="T14" fmla="*/ 2260 w 2260"/>
                  <a:gd name="T15" fmla="*/ 0 h 2262"/>
                  <a:gd name="T16" fmla="*/ 2260 w 2260"/>
                  <a:gd name="T17" fmla="*/ 0 h 2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0" h="2262">
                    <a:moveTo>
                      <a:pt x="2260" y="0"/>
                    </a:moveTo>
                    <a:lnTo>
                      <a:pt x="1612" y="649"/>
                    </a:lnTo>
                    <a:lnTo>
                      <a:pt x="1612" y="649"/>
                    </a:lnTo>
                    <a:lnTo>
                      <a:pt x="2035" y="0"/>
                    </a:lnTo>
                    <a:lnTo>
                      <a:pt x="0" y="0"/>
                    </a:lnTo>
                    <a:lnTo>
                      <a:pt x="0" y="2262"/>
                    </a:lnTo>
                    <a:lnTo>
                      <a:pt x="2260" y="2262"/>
                    </a:lnTo>
                    <a:lnTo>
                      <a:pt x="2260" y="0"/>
                    </a:lnTo>
                    <a:lnTo>
                      <a:pt x="2260" y="0"/>
                    </a:lnTo>
                    <a:close/>
                  </a:path>
                </a:pathLst>
              </a:custGeom>
              <a:solidFill>
                <a:srgbClr val="E55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0" dirty="0"/>
              </a:p>
            </p:txBody>
          </p:sp>
          <p:sp>
            <p:nvSpPr>
              <p:cNvPr id="21" name="Freeform 6">
                <a:extLst>
                  <a:ext uri="{FF2B5EF4-FFF2-40B4-BE49-F238E27FC236}">
                    <a16:creationId xmlns:a16="http://schemas.microsoft.com/office/drawing/2014/main" id="{B16BAAE4-1A41-C843-9754-490F7A1E1270}"/>
                  </a:ext>
                </a:extLst>
              </p:cNvPr>
              <p:cNvSpPr>
                <a:spLocks noEditPoints="1"/>
              </p:cNvSpPr>
              <p:nvPr/>
            </p:nvSpPr>
            <p:spPr bwMode="gray">
              <a:xfrm>
                <a:off x="3623" y="1696"/>
                <a:ext cx="1167" cy="922"/>
              </a:xfrm>
              <a:custGeom>
                <a:avLst/>
                <a:gdLst>
                  <a:gd name="T0" fmla="*/ 411 w 580"/>
                  <a:gd name="T1" fmla="*/ 213 h 458"/>
                  <a:gd name="T2" fmla="*/ 570 w 580"/>
                  <a:gd name="T3" fmla="*/ 37 h 458"/>
                  <a:gd name="T4" fmla="*/ 580 w 580"/>
                  <a:gd name="T5" fmla="*/ 20 h 458"/>
                  <a:gd name="T6" fmla="*/ 545 w 580"/>
                  <a:gd name="T7" fmla="*/ 0 h 458"/>
                  <a:gd name="T8" fmla="*/ 519 w 580"/>
                  <a:gd name="T9" fmla="*/ 16 h 458"/>
                  <a:gd name="T10" fmla="*/ 344 w 580"/>
                  <a:gd name="T11" fmla="*/ 210 h 458"/>
                  <a:gd name="T12" fmla="*/ 334 w 580"/>
                  <a:gd name="T13" fmla="*/ 229 h 458"/>
                  <a:gd name="T14" fmla="*/ 344 w 580"/>
                  <a:gd name="T15" fmla="*/ 248 h 458"/>
                  <a:gd name="T16" fmla="*/ 519 w 580"/>
                  <a:gd name="T17" fmla="*/ 442 h 458"/>
                  <a:gd name="T18" fmla="*/ 545 w 580"/>
                  <a:gd name="T19" fmla="*/ 458 h 458"/>
                  <a:gd name="T20" fmla="*/ 580 w 580"/>
                  <a:gd name="T21" fmla="*/ 438 h 458"/>
                  <a:gd name="T22" fmla="*/ 570 w 580"/>
                  <a:gd name="T23" fmla="*/ 421 h 458"/>
                  <a:gd name="T24" fmla="*/ 411 w 580"/>
                  <a:gd name="T25" fmla="*/ 245 h 458"/>
                  <a:gd name="T26" fmla="*/ 399 w 580"/>
                  <a:gd name="T27" fmla="*/ 229 h 458"/>
                  <a:gd name="T28" fmla="*/ 411 w 580"/>
                  <a:gd name="T29" fmla="*/ 213 h 458"/>
                  <a:gd name="T30" fmla="*/ 252 w 580"/>
                  <a:gd name="T31" fmla="*/ 439 h 458"/>
                  <a:gd name="T32" fmla="*/ 281 w 580"/>
                  <a:gd name="T33" fmla="*/ 454 h 458"/>
                  <a:gd name="T34" fmla="*/ 309 w 580"/>
                  <a:gd name="T35" fmla="*/ 439 h 458"/>
                  <a:gd name="T36" fmla="*/ 309 w 580"/>
                  <a:gd name="T37" fmla="*/ 19 h 458"/>
                  <a:gd name="T38" fmla="*/ 281 w 580"/>
                  <a:gd name="T39" fmla="*/ 4 h 458"/>
                  <a:gd name="T40" fmla="*/ 252 w 580"/>
                  <a:gd name="T41" fmla="*/ 19 h 458"/>
                  <a:gd name="T42" fmla="*/ 252 w 580"/>
                  <a:gd name="T43" fmla="*/ 439 h 458"/>
                  <a:gd name="T44" fmla="*/ 0 w 580"/>
                  <a:gd name="T45" fmla="*/ 439 h 458"/>
                  <a:gd name="T46" fmla="*/ 28 w 580"/>
                  <a:gd name="T47" fmla="*/ 454 h 458"/>
                  <a:gd name="T48" fmla="*/ 56 w 580"/>
                  <a:gd name="T49" fmla="*/ 439 h 458"/>
                  <a:gd name="T50" fmla="*/ 56 w 580"/>
                  <a:gd name="T51" fmla="*/ 157 h 458"/>
                  <a:gd name="T52" fmla="*/ 165 w 580"/>
                  <a:gd name="T53" fmla="*/ 53 h 458"/>
                  <a:gd name="T54" fmla="*/ 180 w 580"/>
                  <a:gd name="T55" fmla="*/ 53 h 458"/>
                  <a:gd name="T56" fmla="*/ 196 w 580"/>
                  <a:gd name="T57" fmla="*/ 27 h 458"/>
                  <a:gd name="T58" fmla="*/ 154 w 580"/>
                  <a:gd name="T59" fmla="*/ 4 h 458"/>
                  <a:gd name="T60" fmla="*/ 0 w 580"/>
                  <a:gd name="T61" fmla="*/ 152 h 458"/>
                  <a:gd name="T62" fmla="*/ 0 w 580"/>
                  <a:gd name="T63" fmla="*/ 439 h 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80" h="458">
                    <a:moveTo>
                      <a:pt x="411" y="213"/>
                    </a:moveTo>
                    <a:cubicBezTo>
                      <a:pt x="570" y="37"/>
                      <a:pt x="570" y="37"/>
                      <a:pt x="570" y="37"/>
                    </a:cubicBezTo>
                    <a:cubicBezTo>
                      <a:pt x="576" y="30"/>
                      <a:pt x="580" y="25"/>
                      <a:pt x="580" y="20"/>
                    </a:cubicBezTo>
                    <a:cubicBezTo>
                      <a:pt x="580" y="10"/>
                      <a:pt x="559" y="0"/>
                      <a:pt x="545" y="0"/>
                    </a:cubicBezTo>
                    <a:cubicBezTo>
                      <a:pt x="535" y="0"/>
                      <a:pt x="526" y="8"/>
                      <a:pt x="519" y="16"/>
                    </a:cubicBezTo>
                    <a:cubicBezTo>
                      <a:pt x="344" y="210"/>
                      <a:pt x="344" y="210"/>
                      <a:pt x="344" y="210"/>
                    </a:cubicBezTo>
                    <a:cubicBezTo>
                      <a:pt x="336" y="219"/>
                      <a:pt x="334" y="224"/>
                      <a:pt x="334" y="229"/>
                    </a:cubicBezTo>
                    <a:cubicBezTo>
                      <a:pt x="334" y="234"/>
                      <a:pt x="336" y="239"/>
                      <a:pt x="344" y="248"/>
                    </a:cubicBezTo>
                    <a:cubicBezTo>
                      <a:pt x="519" y="442"/>
                      <a:pt x="519" y="442"/>
                      <a:pt x="519" y="442"/>
                    </a:cubicBezTo>
                    <a:cubicBezTo>
                      <a:pt x="526" y="450"/>
                      <a:pt x="535" y="458"/>
                      <a:pt x="545" y="458"/>
                    </a:cubicBezTo>
                    <a:cubicBezTo>
                      <a:pt x="559" y="458"/>
                      <a:pt x="580" y="448"/>
                      <a:pt x="580" y="438"/>
                    </a:cubicBezTo>
                    <a:cubicBezTo>
                      <a:pt x="580" y="433"/>
                      <a:pt x="576" y="428"/>
                      <a:pt x="570" y="421"/>
                    </a:cubicBezTo>
                    <a:cubicBezTo>
                      <a:pt x="411" y="245"/>
                      <a:pt x="411" y="245"/>
                      <a:pt x="411" y="245"/>
                    </a:cubicBezTo>
                    <a:cubicBezTo>
                      <a:pt x="403" y="236"/>
                      <a:pt x="399" y="232"/>
                      <a:pt x="399" y="229"/>
                    </a:cubicBezTo>
                    <a:cubicBezTo>
                      <a:pt x="399" y="226"/>
                      <a:pt x="403" y="222"/>
                      <a:pt x="411" y="213"/>
                    </a:cubicBezTo>
                    <a:moveTo>
                      <a:pt x="252" y="439"/>
                    </a:moveTo>
                    <a:cubicBezTo>
                      <a:pt x="252" y="449"/>
                      <a:pt x="261" y="454"/>
                      <a:pt x="281" y="454"/>
                    </a:cubicBezTo>
                    <a:cubicBezTo>
                      <a:pt x="300" y="454"/>
                      <a:pt x="309" y="449"/>
                      <a:pt x="309" y="439"/>
                    </a:cubicBezTo>
                    <a:cubicBezTo>
                      <a:pt x="309" y="19"/>
                      <a:pt x="309" y="19"/>
                      <a:pt x="309" y="19"/>
                    </a:cubicBezTo>
                    <a:cubicBezTo>
                      <a:pt x="309" y="9"/>
                      <a:pt x="300" y="4"/>
                      <a:pt x="281" y="4"/>
                    </a:cubicBezTo>
                    <a:cubicBezTo>
                      <a:pt x="261" y="4"/>
                      <a:pt x="252" y="9"/>
                      <a:pt x="252" y="19"/>
                    </a:cubicBezTo>
                    <a:lnTo>
                      <a:pt x="252" y="439"/>
                    </a:lnTo>
                    <a:close/>
                    <a:moveTo>
                      <a:pt x="0" y="439"/>
                    </a:moveTo>
                    <a:cubicBezTo>
                      <a:pt x="0" y="449"/>
                      <a:pt x="8" y="454"/>
                      <a:pt x="28" y="454"/>
                    </a:cubicBezTo>
                    <a:cubicBezTo>
                      <a:pt x="48" y="454"/>
                      <a:pt x="56" y="449"/>
                      <a:pt x="56" y="439"/>
                    </a:cubicBezTo>
                    <a:cubicBezTo>
                      <a:pt x="56" y="157"/>
                      <a:pt x="56" y="157"/>
                      <a:pt x="56" y="157"/>
                    </a:cubicBezTo>
                    <a:cubicBezTo>
                      <a:pt x="56" y="83"/>
                      <a:pt x="85" y="53"/>
                      <a:pt x="165" y="53"/>
                    </a:cubicBezTo>
                    <a:cubicBezTo>
                      <a:pt x="180" y="53"/>
                      <a:pt x="180" y="53"/>
                      <a:pt x="180" y="53"/>
                    </a:cubicBezTo>
                    <a:cubicBezTo>
                      <a:pt x="192" y="53"/>
                      <a:pt x="196" y="43"/>
                      <a:pt x="196" y="27"/>
                    </a:cubicBezTo>
                    <a:cubicBezTo>
                      <a:pt x="196" y="8"/>
                      <a:pt x="185" y="4"/>
                      <a:pt x="154" y="4"/>
                    </a:cubicBezTo>
                    <a:cubicBezTo>
                      <a:pt x="64" y="4"/>
                      <a:pt x="0" y="43"/>
                      <a:pt x="0" y="152"/>
                    </a:cubicBezTo>
                    <a:lnTo>
                      <a:pt x="0" y="43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0" dirty="0"/>
              </a:p>
            </p:txBody>
          </p:sp>
          <p:sp>
            <p:nvSpPr>
              <p:cNvPr id="22" name="Freeform 7">
                <a:extLst>
                  <a:ext uri="{FF2B5EF4-FFF2-40B4-BE49-F238E27FC236}">
                    <a16:creationId xmlns:a16="http://schemas.microsoft.com/office/drawing/2014/main" id="{2F32DCBD-8628-F245-85CD-97686A20ECFD}"/>
                  </a:ext>
                </a:extLst>
              </p:cNvPr>
              <p:cNvSpPr>
                <a:spLocks/>
              </p:cNvSpPr>
              <p:nvPr/>
            </p:nvSpPr>
            <p:spPr bwMode="gray">
              <a:xfrm>
                <a:off x="2880" y="1704"/>
                <a:ext cx="618" cy="916"/>
              </a:xfrm>
              <a:custGeom>
                <a:avLst/>
                <a:gdLst>
                  <a:gd name="T0" fmla="*/ 307 w 307"/>
                  <a:gd name="T1" fmla="*/ 405 h 455"/>
                  <a:gd name="T2" fmla="*/ 307 w 307"/>
                  <a:gd name="T3" fmla="*/ 244 h 455"/>
                  <a:gd name="T4" fmla="*/ 279 w 307"/>
                  <a:gd name="T5" fmla="*/ 229 h 455"/>
                  <a:gd name="T6" fmla="*/ 250 w 307"/>
                  <a:gd name="T7" fmla="*/ 244 h 455"/>
                  <a:gd name="T8" fmla="*/ 250 w 307"/>
                  <a:gd name="T9" fmla="*/ 378 h 455"/>
                  <a:gd name="T10" fmla="*/ 199 w 307"/>
                  <a:gd name="T11" fmla="*/ 408 h 455"/>
                  <a:gd name="T12" fmla="*/ 61 w 307"/>
                  <a:gd name="T13" fmla="*/ 231 h 455"/>
                  <a:gd name="T14" fmla="*/ 238 w 307"/>
                  <a:gd name="T15" fmla="*/ 49 h 455"/>
                  <a:gd name="T16" fmla="*/ 270 w 307"/>
                  <a:gd name="T17" fmla="*/ 49 h 455"/>
                  <a:gd name="T18" fmla="*/ 286 w 307"/>
                  <a:gd name="T19" fmla="*/ 23 h 455"/>
                  <a:gd name="T20" fmla="*/ 244 w 307"/>
                  <a:gd name="T21" fmla="*/ 0 h 455"/>
                  <a:gd name="T22" fmla="*/ 231 w 307"/>
                  <a:gd name="T23" fmla="*/ 0 h 455"/>
                  <a:gd name="T24" fmla="*/ 0 w 307"/>
                  <a:gd name="T25" fmla="*/ 232 h 455"/>
                  <a:gd name="T26" fmla="*/ 198 w 307"/>
                  <a:gd name="T27" fmla="*/ 455 h 455"/>
                  <a:gd name="T28" fmla="*/ 307 w 307"/>
                  <a:gd name="T29" fmla="*/ 405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7" h="455">
                    <a:moveTo>
                      <a:pt x="307" y="405"/>
                    </a:moveTo>
                    <a:cubicBezTo>
                      <a:pt x="307" y="244"/>
                      <a:pt x="307" y="244"/>
                      <a:pt x="307" y="244"/>
                    </a:cubicBezTo>
                    <a:cubicBezTo>
                      <a:pt x="307" y="234"/>
                      <a:pt x="298" y="229"/>
                      <a:pt x="279" y="229"/>
                    </a:cubicBezTo>
                    <a:cubicBezTo>
                      <a:pt x="259" y="229"/>
                      <a:pt x="250" y="234"/>
                      <a:pt x="250" y="244"/>
                    </a:cubicBezTo>
                    <a:cubicBezTo>
                      <a:pt x="250" y="378"/>
                      <a:pt x="250" y="378"/>
                      <a:pt x="250" y="378"/>
                    </a:cubicBezTo>
                    <a:cubicBezTo>
                      <a:pt x="250" y="399"/>
                      <a:pt x="241" y="408"/>
                      <a:pt x="199" y="408"/>
                    </a:cubicBezTo>
                    <a:cubicBezTo>
                      <a:pt x="114" y="408"/>
                      <a:pt x="61" y="342"/>
                      <a:pt x="61" y="231"/>
                    </a:cubicBezTo>
                    <a:cubicBezTo>
                      <a:pt x="61" y="115"/>
                      <a:pt x="126" y="49"/>
                      <a:pt x="238" y="49"/>
                    </a:cubicBezTo>
                    <a:cubicBezTo>
                      <a:pt x="270" y="49"/>
                      <a:pt x="270" y="49"/>
                      <a:pt x="270" y="49"/>
                    </a:cubicBezTo>
                    <a:cubicBezTo>
                      <a:pt x="282" y="49"/>
                      <a:pt x="286" y="39"/>
                      <a:pt x="286" y="23"/>
                    </a:cubicBezTo>
                    <a:cubicBezTo>
                      <a:pt x="286" y="4"/>
                      <a:pt x="275" y="0"/>
                      <a:pt x="244" y="0"/>
                    </a:cubicBezTo>
                    <a:cubicBezTo>
                      <a:pt x="231" y="0"/>
                      <a:pt x="231" y="0"/>
                      <a:pt x="231" y="0"/>
                    </a:cubicBezTo>
                    <a:cubicBezTo>
                      <a:pt x="101" y="0"/>
                      <a:pt x="0" y="71"/>
                      <a:pt x="0" y="232"/>
                    </a:cubicBezTo>
                    <a:cubicBezTo>
                      <a:pt x="0" y="386"/>
                      <a:pt x="88" y="455"/>
                      <a:pt x="198" y="455"/>
                    </a:cubicBezTo>
                    <a:cubicBezTo>
                      <a:pt x="286" y="455"/>
                      <a:pt x="307" y="430"/>
                      <a:pt x="307" y="40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0" dirty="0"/>
              </a:p>
            </p:txBody>
          </p:sp>
          <p:sp>
            <p:nvSpPr>
              <p:cNvPr id="23" name="Oval 8">
                <a:extLst>
                  <a:ext uri="{FF2B5EF4-FFF2-40B4-BE49-F238E27FC236}">
                    <a16:creationId xmlns:a16="http://schemas.microsoft.com/office/drawing/2014/main" id="{60D97C11-1A3B-5449-A48D-98A3E79B3810}"/>
                  </a:ext>
                </a:extLst>
              </p:cNvPr>
              <p:cNvSpPr>
                <a:spLocks noChangeArrowheads="1"/>
              </p:cNvSpPr>
              <p:nvPr/>
            </p:nvSpPr>
            <p:spPr bwMode="gray">
              <a:xfrm>
                <a:off x="3778" y="2099"/>
                <a:ext cx="122" cy="12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0" dirty="0"/>
              </a:p>
            </p:txBody>
          </p:sp>
          <p:sp>
            <p:nvSpPr>
              <p:cNvPr id="24" name="Freeform 9">
                <a:extLst>
                  <a:ext uri="{FF2B5EF4-FFF2-40B4-BE49-F238E27FC236}">
                    <a16:creationId xmlns:a16="http://schemas.microsoft.com/office/drawing/2014/main" id="{5856770D-B8F0-244E-A05D-AED190086F10}"/>
                  </a:ext>
                </a:extLst>
              </p:cNvPr>
              <p:cNvSpPr>
                <a:spLocks noEditPoints="1"/>
              </p:cNvSpPr>
              <p:nvPr/>
            </p:nvSpPr>
            <p:spPr bwMode="gray">
              <a:xfrm>
                <a:off x="3623" y="1696"/>
                <a:ext cx="1167" cy="922"/>
              </a:xfrm>
              <a:custGeom>
                <a:avLst/>
                <a:gdLst>
                  <a:gd name="T0" fmla="*/ 411 w 580"/>
                  <a:gd name="T1" fmla="*/ 213 h 458"/>
                  <a:gd name="T2" fmla="*/ 570 w 580"/>
                  <a:gd name="T3" fmla="*/ 37 h 458"/>
                  <a:gd name="T4" fmla="*/ 580 w 580"/>
                  <a:gd name="T5" fmla="*/ 20 h 458"/>
                  <a:gd name="T6" fmla="*/ 545 w 580"/>
                  <a:gd name="T7" fmla="*/ 0 h 458"/>
                  <a:gd name="T8" fmla="*/ 519 w 580"/>
                  <a:gd name="T9" fmla="*/ 16 h 458"/>
                  <a:gd name="T10" fmla="*/ 344 w 580"/>
                  <a:gd name="T11" fmla="*/ 210 h 458"/>
                  <a:gd name="T12" fmla="*/ 334 w 580"/>
                  <a:gd name="T13" fmla="*/ 229 h 458"/>
                  <a:gd name="T14" fmla="*/ 344 w 580"/>
                  <a:gd name="T15" fmla="*/ 248 h 458"/>
                  <a:gd name="T16" fmla="*/ 519 w 580"/>
                  <a:gd name="T17" fmla="*/ 442 h 458"/>
                  <a:gd name="T18" fmla="*/ 545 w 580"/>
                  <a:gd name="T19" fmla="*/ 458 h 458"/>
                  <a:gd name="T20" fmla="*/ 580 w 580"/>
                  <a:gd name="T21" fmla="*/ 438 h 458"/>
                  <a:gd name="T22" fmla="*/ 570 w 580"/>
                  <a:gd name="T23" fmla="*/ 421 h 458"/>
                  <a:gd name="T24" fmla="*/ 411 w 580"/>
                  <a:gd name="T25" fmla="*/ 245 h 458"/>
                  <a:gd name="T26" fmla="*/ 399 w 580"/>
                  <a:gd name="T27" fmla="*/ 229 h 458"/>
                  <a:gd name="T28" fmla="*/ 411 w 580"/>
                  <a:gd name="T29" fmla="*/ 213 h 458"/>
                  <a:gd name="T30" fmla="*/ 252 w 580"/>
                  <a:gd name="T31" fmla="*/ 439 h 458"/>
                  <a:gd name="T32" fmla="*/ 281 w 580"/>
                  <a:gd name="T33" fmla="*/ 454 h 458"/>
                  <a:gd name="T34" fmla="*/ 309 w 580"/>
                  <a:gd name="T35" fmla="*/ 439 h 458"/>
                  <a:gd name="T36" fmla="*/ 309 w 580"/>
                  <a:gd name="T37" fmla="*/ 19 h 458"/>
                  <a:gd name="T38" fmla="*/ 281 w 580"/>
                  <a:gd name="T39" fmla="*/ 4 h 458"/>
                  <a:gd name="T40" fmla="*/ 252 w 580"/>
                  <a:gd name="T41" fmla="*/ 19 h 458"/>
                  <a:gd name="T42" fmla="*/ 252 w 580"/>
                  <a:gd name="T43" fmla="*/ 439 h 458"/>
                  <a:gd name="T44" fmla="*/ 0 w 580"/>
                  <a:gd name="T45" fmla="*/ 439 h 458"/>
                  <a:gd name="T46" fmla="*/ 28 w 580"/>
                  <a:gd name="T47" fmla="*/ 454 h 458"/>
                  <a:gd name="T48" fmla="*/ 56 w 580"/>
                  <a:gd name="T49" fmla="*/ 439 h 458"/>
                  <a:gd name="T50" fmla="*/ 56 w 580"/>
                  <a:gd name="T51" fmla="*/ 157 h 458"/>
                  <a:gd name="T52" fmla="*/ 165 w 580"/>
                  <a:gd name="T53" fmla="*/ 53 h 458"/>
                  <a:gd name="T54" fmla="*/ 180 w 580"/>
                  <a:gd name="T55" fmla="*/ 53 h 458"/>
                  <a:gd name="T56" fmla="*/ 196 w 580"/>
                  <a:gd name="T57" fmla="*/ 27 h 458"/>
                  <a:gd name="T58" fmla="*/ 154 w 580"/>
                  <a:gd name="T59" fmla="*/ 4 h 458"/>
                  <a:gd name="T60" fmla="*/ 0 w 580"/>
                  <a:gd name="T61" fmla="*/ 152 h 458"/>
                  <a:gd name="T62" fmla="*/ 0 w 580"/>
                  <a:gd name="T63" fmla="*/ 439 h 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80" h="458">
                    <a:moveTo>
                      <a:pt x="411" y="213"/>
                    </a:moveTo>
                    <a:cubicBezTo>
                      <a:pt x="570" y="37"/>
                      <a:pt x="570" y="37"/>
                      <a:pt x="570" y="37"/>
                    </a:cubicBezTo>
                    <a:cubicBezTo>
                      <a:pt x="576" y="30"/>
                      <a:pt x="580" y="25"/>
                      <a:pt x="580" y="20"/>
                    </a:cubicBezTo>
                    <a:cubicBezTo>
                      <a:pt x="580" y="10"/>
                      <a:pt x="559" y="0"/>
                      <a:pt x="545" y="0"/>
                    </a:cubicBezTo>
                    <a:cubicBezTo>
                      <a:pt x="535" y="0"/>
                      <a:pt x="526" y="8"/>
                      <a:pt x="519" y="16"/>
                    </a:cubicBezTo>
                    <a:cubicBezTo>
                      <a:pt x="344" y="210"/>
                      <a:pt x="344" y="210"/>
                      <a:pt x="344" y="210"/>
                    </a:cubicBezTo>
                    <a:cubicBezTo>
                      <a:pt x="336" y="219"/>
                      <a:pt x="334" y="224"/>
                      <a:pt x="334" y="229"/>
                    </a:cubicBezTo>
                    <a:cubicBezTo>
                      <a:pt x="334" y="234"/>
                      <a:pt x="336" y="239"/>
                      <a:pt x="344" y="248"/>
                    </a:cubicBezTo>
                    <a:cubicBezTo>
                      <a:pt x="519" y="442"/>
                      <a:pt x="519" y="442"/>
                      <a:pt x="519" y="442"/>
                    </a:cubicBezTo>
                    <a:cubicBezTo>
                      <a:pt x="526" y="450"/>
                      <a:pt x="535" y="458"/>
                      <a:pt x="545" y="458"/>
                    </a:cubicBezTo>
                    <a:cubicBezTo>
                      <a:pt x="559" y="458"/>
                      <a:pt x="580" y="448"/>
                      <a:pt x="580" y="438"/>
                    </a:cubicBezTo>
                    <a:cubicBezTo>
                      <a:pt x="580" y="433"/>
                      <a:pt x="576" y="428"/>
                      <a:pt x="570" y="421"/>
                    </a:cubicBezTo>
                    <a:cubicBezTo>
                      <a:pt x="411" y="245"/>
                      <a:pt x="411" y="245"/>
                      <a:pt x="411" y="245"/>
                    </a:cubicBezTo>
                    <a:cubicBezTo>
                      <a:pt x="403" y="236"/>
                      <a:pt x="399" y="232"/>
                      <a:pt x="399" y="229"/>
                    </a:cubicBezTo>
                    <a:cubicBezTo>
                      <a:pt x="399" y="226"/>
                      <a:pt x="403" y="222"/>
                      <a:pt x="411" y="213"/>
                    </a:cubicBezTo>
                    <a:moveTo>
                      <a:pt x="252" y="439"/>
                    </a:moveTo>
                    <a:cubicBezTo>
                      <a:pt x="252" y="449"/>
                      <a:pt x="261" y="454"/>
                      <a:pt x="281" y="454"/>
                    </a:cubicBezTo>
                    <a:cubicBezTo>
                      <a:pt x="300" y="454"/>
                      <a:pt x="309" y="449"/>
                      <a:pt x="309" y="439"/>
                    </a:cubicBezTo>
                    <a:cubicBezTo>
                      <a:pt x="309" y="19"/>
                      <a:pt x="309" y="19"/>
                      <a:pt x="309" y="19"/>
                    </a:cubicBezTo>
                    <a:cubicBezTo>
                      <a:pt x="309" y="9"/>
                      <a:pt x="300" y="4"/>
                      <a:pt x="281" y="4"/>
                    </a:cubicBezTo>
                    <a:cubicBezTo>
                      <a:pt x="261" y="4"/>
                      <a:pt x="252" y="9"/>
                      <a:pt x="252" y="19"/>
                    </a:cubicBezTo>
                    <a:lnTo>
                      <a:pt x="252" y="439"/>
                    </a:lnTo>
                    <a:close/>
                    <a:moveTo>
                      <a:pt x="0" y="439"/>
                    </a:moveTo>
                    <a:cubicBezTo>
                      <a:pt x="0" y="449"/>
                      <a:pt x="8" y="454"/>
                      <a:pt x="28" y="454"/>
                    </a:cubicBezTo>
                    <a:cubicBezTo>
                      <a:pt x="48" y="454"/>
                      <a:pt x="56" y="449"/>
                      <a:pt x="56" y="439"/>
                    </a:cubicBezTo>
                    <a:cubicBezTo>
                      <a:pt x="56" y="157"/>
                      <a:pt x="56" y="157"/>
                      <a:pt x="56" y="157"/>
                    </a:cubicBezTo>
                    <a:cubicBezTo>
                      <a:pt x="56" y="83"/>
                      <a:pt x="85" y="53"/>
                      <a:pt x="165" y="53"/>
                    </a:cubicBezTo>
                    <a:cubicBezTo>
                      <a:pt x="180" y="53"/>
                      <a:pt x="180" y="53"/>
                      <a:pt x="180" y="53"/>
                    </a:cubicBezTo>
                    <a:cubicBezTo>
                      <a:pt x="192" y="53"/>
                      <a:pt x="196" y="43"/>
                      <a:pt x="196" y="27"/>
                    </a:cubicBezTo>
                    <a:cubicBezTo>
                      <a:pt x="196" y="8"/>
                      <a:pt x="185" y="4"/>
                      <a:pt x="154" y="4"/>
                    </a:cubicBezTo>
                    <a:cubicBezTo>
                      <a:pt x="64" y="4"/>
                      <a:pt x="0" y="43"/>
                      <a:pt x="0" y="152"/>
                    </a:cubicBezTo>
                    <a:lnTo>
                      <a:pt x="0" y="43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0" dirty="0"/>
              </a:p>
            </p:txBody>
          </p:sp>
          <p:sp>
            <p:nvSpPr>
              <p:cNvPr id="25" name="Freeform 10">
                <a:extLst>
                  <a:ext uri="{FF2B5EF4-FFF2-40B4-BE49-F238E27FC236}">
                    <a16:creationId xmlns:a16="http://schemas.microsoft.com/office/drawing/2014/main" id="{2B91B16B-BC11-E547-8FAC-B9B8D18EA449}"/>
                  </a:ext>
                </a:extLst>
              </p:cNvPr>
              <p:cNvSpPr>
                <a:spLocks/>
              </p:cNvSpPr>
              <p:nvPr/>
            </p:nvSpPr>
            <p:spPr bwMode="gray">
              <a:xfrm>
                <a:off x="2880" y="1704"/>
                <a:ext cx="618" cy="916"/>
              </a:xfrm>
              <a:custGeom>
                <a:avLst/>
                <a:gdLst>
                  <a:gd name="T0" fmla="*/ 307 w 307"/>
                  <a:gd name="T1" fmla="*/ 405 h 455"/>
                  <a:gd name="T2" fmla="*/ 307 w 307"/>
                  <a:gd name="T3" fmla="*/ 244 h 455"/>
                  <a:gd name="T4" fmla="*/ 279 w 307"/>
                  <a:gd name="T5" fmla="*/ 229 h 455"/>
                  <a:gd name="T6" fmla="*/ 250 w 307"/>
                  <a:gd name="T7" fmla="*/ 244 h 455"/>
                  <a:gd name="T8" fmla="*/ 250 w 307"/>
                  <a:gd name="T9" fmla="*/ 378 h 455"/>
                  <a:gd name="T10" fmla="*/ 199 w 307"/>
                  <a:gd name="T11" fmla="*/ 408 h 455"/>
                  <a:gd name="T12" fmla="*/ 61 w 307"/>
                  <a:gd name="T13" fmla="*/ 231 h 455"/>
                  <a:gd name="T14" fmla="*/ 238 w 307"/>
                  <a:gd name="T15" fmla="*/ 49 h 455"/>
                  <a:gd name="T16" fmla="*/ 270 w 307"/>
                  <a:gd name="T17" fmla="*/ 49 h 455"/>
                  <a:gd name="T18" fmla="*/ 286 w 307"/>
                  <a:gd name="T19" fmla="*/ 23 h 455"/>
                  <a:gd name="T20" fmla="*/ 244 w 307"/>
                  <a:gd name="T21" fmla="*/ 0 h 455"/>
                  <a:gd name="T22" fmla="*/ 231 w 307"/>
                  <a:gd name="T23" fmla="*/ 0 h 455"/>
                  <a:gd name="T24" fmla="*/ 0 w 307"/>
                  <a:gd name="T25" fmla="*/ 232 h 455"/>
                  <a:gd name="T26" fmla="*/ 198 w 307"/>
                  <a:gd name="T27" fmla="*/ 455 h 455"/>
                  <a:gd name="T28" fmla="*/ 307 w 307"/>
                  <a:gd name="T29" fmla="*/ 405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7" h="455">
                    <a:moveTo>
                      <a:pt x="307" y="405"/>
                    </a:moveTo>
                    <a:cubicBezTo>
                      <a:pt x="307" y="244"/>
                      <a:pt x="307" y="244"/>
                      <a:pt x="307" y="244"/>
                    </a:cubicBezTo>
                    <a:cubicBezTo>
                      <a:pt x="307" y="234"/>
                      <a:pt x="298" y="229"/>
                      <a:pt x="279" y="229"/>
                    </a:cubicBezTo>
                    <a:cubicBezTo>
                      <a:pt x="259" y="229"/>
                      <a:pt x="250" y="234"/>
                      <a:pt x="250" y="244"/>
                    </a:cubicBezTo>
                    <a:cubicBezTo>
                      <a:pt x="250" y="378"/>
                      <a:pt x="250" y="378"/>
                      <a:pt x="250" y="378"/>
                    </a:cubicBezTo>
                    <a:cubicBezTo>
                      <a:pt x="250" y="399"/>
                      <a:pt x="241" y="408"/>
                      <a:pt x="199" y="408"/>
                    </a:cubicBezTo>
                    <a:cubicBezTo>
                      <a:pt x="114" y="408"/>
                      <a:pt x="61" y="342"/>
                      <a:pt x="61" y="231"/>
                    </a:cubicBezTo>
                    <a:cubicBezTo>
                      <a:pt x="61" y="115"/>
                      <a:pt x="126" y="49"/>
                      <a:pt x="238" y="49"/>
                    </a:cubicBezTo>
                    <a:cubicBezTo>
                      <a:pt x="270" y="49"/>
                      <a:pt x="270" y="49"/>
                      <a:pt x="270" y="49"/>
                    </a:cubicBezTo>
                    <a:cubicBezTo>
                      <a:pt x="282" y="49"/>
                      <a:pt x="286" y="39"/>
                      <a:pt x="286" y="23"/>
                    </a:cubicBezTo>
                    <a:cubicBezTo>
                      <a:pt x="286" y="4"/>
                      <a:pt x="275" y="0"/>
                      <a:pt x="244" y="0"/>
                    </a:cubicBezTo>
                    <a:cubicBezTo>
                      <a:pt x="231" y="0"/>
                      <a:pt x="231" y="0"/>
                      <a:pt x="231" y="0"/>
                    </a:cubicBezTo>
                    <a:cubicBezTo>
                      <a:pt x="101" y="0"/>
                      <a:pt x="0" y="71"/>
                      <a:pt x="0" y="232"/>
                    </a:cubicBezTo>
                    <a:cubicBezTo>
                      <a:pt x="0" y="386"/>
                      <a:pt x="88" y="455"/>
                      <a:pt x="198" y="455"/>
                    </a:cubicBezTo>
                    <a:cubicBezTo>
                      <a:pt x="286" y="455"/>
                      <a:pt x="307" y="430"/>
                      <a:pt x="307" y="40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0" dirty="0"/>
              </a:p>
            </p:txBody>
          </p:sp>
          <p:sp>
            <p:nvSpPr>
              <p:cNvPr id="26" name="Oval 11">
                <a:extLst>
                  <a:ext uri="{FF2B5EF4-FFF2-40B4-BE49-F238E27FC236}">
                    <a16:creationId xmlns:a16="http://schemas.microsoft.com/office/drawing/2014/main" id="{14F8C3C8-4888-7646-B9B4-64EB46A1DA23}"/>
                  </a:ext>
                </a:extLst>
              </p:cNvPr>
              <p:cNvSpPr>
                <a:spLocks noChangeArrowheads="1"/>
              </p:cNvSpPr>
              <p:nvPr/>
            </p:nvSpPr>
            <p:spPr bwMode="gray">
              <a:xfrm>
                <a:off x="3778" y="2099"/>
                <a:ext cx="122" cy="12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0" dirty="0"/>
              </a:p>
            </p:txBody>
          </p:sp>
          <p:sp>
            <p:nvSpPr>
              <p:cNvPr id="27" name="Freeform 12">
                <a:extLst>
                  <a:ext uri="{FF2B5EF4-FFF2-40B4-BE49-F238E27FC236}">
                    <a16:creationId xmlns:a16="http://schemas.microsoft.com/office/drawing/2014/main" id="{D79D01D1-4E3E-F34B-97D7-2D387E68746E}"/>
                  </a:ext>
                </a:extLst>
              </p:cNvPr>
              <p:cNvSpPr>
                <a:spLocks/>
              </p:cNvSpPr>
              <p:nvPr/>
            </p:nvSpPr>
            <p:spPr bwMode="gray">
              <a:xfrm>
                <a:off x="4321" y="1029"/>
                <a:ext cx="648" cy="649"/>
              </a:xfrm>
              <a:custGeom>
                <a:avLst/>
                <a:gdLst>
                  <a:gd name="T0" fmla="*/ 0 w 648"/>
                  <a:gd name="T1" fmla="*/ 649 h 649"/>
                  <a:gd name="T2" fmla="*/ 2 w 648"/>
                  <a:gd name="T3" fmla="*/ 649 h 649"/>
                  <a:gd name="T4" fmla="*/ 648 w 648"/>
                  <a:gd name="T5" fmla="*/ 0 h 649"/>
                  <a:gd name="T6" fmla="*/ 423 w 648"/>
                  <a:gd name="T7" fmla="*/ 0 h 649"/>
                  <a:gd name="T8" fmla="*/ 0 w 648"/>
                  <a:gd name="T9" fmla="*/ 649 h 649"/>
                </a:gdLst>
                <a:ahLst/>
                <a:cxnLst>
                  <a:cxn ang="0">
                    <a:pos x="T0" y="T1"/>
                  </a:cxn>
                  <a:cxn ang="0">
                    <a:pos x="T2" y="T3"/>
                  </a:cxn>
                  <a:cxn ang="0">
                    <a:pos x="T4" y="T5"/>
                  </a:cxn>
                  <a:cxn ang="0">
                    <a:pos x="T6" y="T7"/>
                  </a:cxn>
                  <a:cxn ang="0">
                    <a:pos x="T8" y="T9"/>
                  </a:cxn>
                </a:cxnLst>
                <a:rect l="0" t="0" r="r" b="b"/>
                <a:pathLst>
                  <a:path w="648" h="649">
                    <a:moveTo>
                      <a:pt x="0" y="649"/>
                    </a:moveTo>
                    <a:lnTo>
                      <a:pt x="2" y="649"/>
                    </a:lnTo>
                    <a:lnTo>
                      <a:pt x="648" y="0"/>
                    </a:lnTo>
                    <a:lnTo>
                      <a:pt x="423" y="0"/>
                    </a:lnTo>
                    <a:lnTo>
                      <a:pt x="0" y="64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0" dirty="0"/>
              </a:p>
            </p:txBody>
          </p:sp>
          <p:sp>
            <p:nvSpPr>
              <p:cNvPr id="28" name="Freeform 13">
                <a:extLst>
                  <a:ext uri="{FF2B5EF4-FFF2-40B4-BE49-F238E27FC236}">
                    <a16:creationId xmlns:a16="http://schemas.microsoft.com/office/drawing/2014/main" id="{46549898-6C52-B147-A8F6-A73FDBE6163B}"/>
                  </a:ext>
                </a:extLst>
              </p:cNvPr>
              <p:cNvSpPr>
                <a:spLocks/>
              </p:cNvSpPr>
              <p:nvPr/>
            </p:nvSpPr>
            <p:spPr bwMode="gray">
              <a:xfrm>
                <a:off x="4321" y="1029"/>
                <a:ext cx="648" cy="649"/>
              </a:xfrm>
              <a:custGeom>
                <a:avLst/>
                <a:gdLst>
                  <a:gd name="T0" fmla="*/ 0 w 648"/>
                  <a:gd name="T1" fmla="*/ 649 h 649"/>
                  <a:gd name="T2" fmla="*/ 2 w 648"/>
                  <a:gd name="T3" fmla="*/ 649 h 649"/>
                  <a:gd name="T4" fmla="*/ 648 w 648"/>
                  <a:gd name="T5" fmla="*/ 0 h 649"/>
                  <a:gd name="T6" fmla="*/ 423 w 648"/>
                  <a:gd name="T7" fmla="*/ 0 h 649"/>
                  <a:gd name="T8" fmla="*/ 0 w 648"/>
                  <a:gd name="T9" fmla="*/ 649 h 649"/>
                </a:gdLst>
                <a:ahLst/>
                <a:cxnLst>
                  <a:cxn ang="0">
                    <a:pos x="T0" y="T1"/>
                  </a:cxn>
                  <a:cxn ang="0">
                    <a:pos x="T2" y="T3"/>
                  </a:cxn>
                  <a:cxn ang="0">
                    <a:pos x="T4" y="T5"/>
                  </a:cxn>
                  <a:cxn ang="0">
                    <a:pos x="T6" y="T7"/>
                  </a:cxn>
                  <a:cxn ang="0">
                    <a:pos x="T8" y="T9"/>
                  </a:cxn>
                </a:cxnLst>
                <a:rect l="0" t="0" r="r" b="b"/>
                <a:pathLst>
                  <a:path w="648" h="649">
                    <a:moveTo>
                      <a:pt x="0" y="649"/>
                    </a:moveTo>
                    <a:lnTo>
                      <a:pt x="2" y="649"/>
                    </a:lnTo>
                    <a:lnTo>
                      <a:pt x="648" y="0"/>
                    </a:lnTo>
                    <a:lnTo>
                      <a:pt x="423" y="0"/>
                    </a:lnTo>
                    <a:lnTo>
                      <a:pt x="0" y="64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0" dirty="0"/>
              </a:p>
            </p:txBody>
          </p:sp>
        </p:grpSp>
      </p:grpSp>
      <p:sp>
        <p:nvSpPr>
          <p:cNvPr id="7" name="Date Placeholder 6"/>
          <p:cNvSpPr>
            <a:spLocks noGrp="1"/>
          </p:cNvSpPr>
          <p:nvPr>
            <p:ph type="dt" sz="half" idx="10"/>
          </p:nvPr>
        </p:nvSpPr>
        <p:spPr>
          <a:xfrm>
            <a:off x="0" y="0"/>
            <a:ext cx="0" cy="0"/>
          </a:xfrm>
          <a:prstGeom prst="rect">
            <a:avLst/>
          </a:prstGeom>
        </p:spPr>
        <p:txBody>
          <a:bodyPr/>
          <a:lstStyle>
            <a:lvl1pPr>
              <a:defRPr sz="133">
                <a:noFill/>
              </a:defRPr>
            </a:lvl1pPr>
          </a:lstStyle>
          <a:p>
            <a:fld id="{3EA3BA3C-82AC-45BA-9659-DD8E28BB5C16}" type="datetime5">
              <a:rPr lang="en-US" smtClean="0"/>
              <a:t>26-Jun-20</a:t>
            </a:fld>
            <a:endParaRPr lang="en-US" dirty="0"/>
          </a:p>
        </p:txBody>
      </p:sp>
      <p:sp>
        <p:nvSpPr>
          <p:cNvPr id="8" name="Footer Placeholder 7"/>
          <p:cNvSpPr>
            <a:spLocks noGrp="1"/>
          </p:cNvSpPr>
          <p:nvPr>
            <p:ph type="ftr" sz="quarter" idx="11"/>
          </p:nvPr>
        </p:nvSpPr>
        <p:spPr>
          <a:xfrm>
            <a:off x="0" y="0"/>
            <a:ext cx="0" cy="0"/>
          </a:xfrm>
          <a:prstGeom prst="rect">
            <a:avLst/>
          </a:prstGeom>
        </p:spPr>
        <p:txBody>
          <a:bodyPr/>
          <a:lstStyle>
            <a:lvl1pPr marL="0" indent="0">
              <a:buNone/>
              <a:defRPr sz="133">
                <a:noFill/>
              </a:defRPr>
            </a:lvl1pPr>
          </a:lstStyle>
          <a:p>
            <a:r>
              <a:rPr lang="en-US"/>
              <a:t>Title of presentation (Insert / Header &amp; Footer / Apply to All)</a:t>
            </a:r>
            <a:endParaRPr lang="en-US" dirty="0"/>
          </a:p>
        </p:txBody>
      </p:sp>
      <p:sp>
        <p:nvSpPr>
          <p:cNvPr id="9" name="Slide Number Placeholder 8"/>
          <p:cNvSpPr>
            <a:spLocks noGrp="1"/>
          </p:cNvSpPr>
          <p:nvPr>
            <p:ph type="sldNum" sz="quarter" idx="12"/>
          </p:nvPr>
        </p:nvSpPr>
        <p:spPr>
          <a:xfrm>
            <a:off x="0" y="0"/>
            <a:ext cx="0" cy="0"/>
          </a:xfrm>
          <a:prstGeom prst="rect">
            <a:avLst/>
          </a:prstGeom>
        </p:spPr>
        <p:txBody>
          <a:bodyPr/>
          <a:lstStyle>
            <a:lvl1pPr>
              <a:defRPr sz="133">
                <a:noFill/>
              </a:defRPr>
            </a:lvl1pPr>
          </a:lstStyle>
          <a:p>
            <a:fld id="{8E3B25F7-8D1F-44B5-B485-EE3C438CFD7B}" type="slidenum">
              <a:rPr lang="en-US" smtClean="0"/>
              <a:pPr/>
              <a:t>‹#›</a:t>
            </a:fld>
            <a:endParaRPr lang="en-US"/>
          </a:p>
        </p:txBody>
      </p:sp>
      <p:sp>
        <p:nvSpPr>
          <p:cNvPr id="2" name="Title 1"/>
          <p:cNvSpPr>
            <a:spLocks noGrp="1"/>
          </p:cNvSpPr>
          <p:nvPr>
            <p:ph type="ctrTitle" hasCustomPrompt="1"/>
          </p:nvPr>
        </p:nvSpPr>
        <p:spPr>
          <a:xfrm>
            <a:off x="417600" y="1628775"/>
            <a:ext cx="3816000" cy="2236264"/>
          </a:xfrm>
        </p:spPr>
        <p:txBody>
          <a:bodyPr anchor="b"/>
          <a:lstStyle>
            <a:lvl1pPr algn="l">
              <a:defRPr sz="3599" baseline="0"/>
            </a:lvl1pPr>
          </a:lstStyle>
          <a:p>
            <a:r>
              <a:rPr lang="en-US" dirty="0"/>
              <a:t>Click to add presentation title</a:t>
            </a:r>
          </a:p>
        </p:txBody>
      </p:sp>
      <p:sp>
        <p:nvSpPr>
          <p:cNvPr id="3" name="Subtitle 2"/>
          <p:cNvSpPr>
            <a:spLocks noGrp="1"/>
          </p:cNvSpPr>
          <p:nvPr>
            <p:ph type="subTitle" idx="1" hasCustomPrompt="1"/>
          </p:nvPr>
        </p:nvSpPr>
        <p:spPr>
          <a:xfrm>
            <a:off x="417600" y="4094163"/>
            <a:ext cx="3816000" cy="1080000"/>
          </a:xfrm>
        </p:spPr>
        <p:txBody>
          <a:bodyPr/>
          <a:lstStyle>
            <a:lvl1pPr marL="0" indent="0" algn="l">
              <a:spcBef>
                <a:spcPts val="0"/>
              </a:spcBef>
              <a:buNone/>
              <a:defRPr sz="1799" b="1"/>
            </a:lvl1pPr>
            <a:lvl2pPr marL="457051" indent="0" algn="ctr">
              <a:buNone/>
              <a:defRPr sz="1999"/>
            </a:lvl2pPr>
            <a:lvl3pPr marL="914103" indent="0" algn="ctr">
              <a:buNone/>
              <a:defRPr sz="1799"/>
            </a:lvl3pPr>
            <a:lvl4pPr marL="1371154" indent="0" algn="ctr">
              <a:buNone/>
              <a:defRPr sz="1599"/>
            </a:lvl4pPr>
            <a:lvl5pPr marL="1828206" indent="0" algn="ctr">
              <a:buNone/>
              <a:defRPr sz="1599"/>
            </a:lvl5pPr>
            <a:lvl6pPr marL="2285257" indent="0" algn="ctr">
              <a:buNone/>
              <a:defRPr sz="1599"/>
            </a:lvl6pPr>
            <a:lvl7pPr marL="2742308" indent="0" algn="ctr">
              <a:buNone/>
              <a:defRPr sz="1599"/>
            </a:lvl7pPr>
            <a:lvl8pPr marL="3199360" indent="0" algn="ctr">
              <a:buNone/>
              <a:defRPr sz="1599"/>
            </a:lvl8pPr>
            <a:lvl9pPr marL="3656411" indent="0" algn="ctr">
              <a:buNone/>
              <a:defRPr sz="1599"/>
            </a:lvl9pPr>
          </a:lstStyle>
          <a:p>
            <a:r>
              <a:rPr lang="en-US" dirty="0"/>
              <a:t>Click to add subtitle</a:t>
            </a:r>
          </a:p>
        </p:txBody>
      </p:sp>
      <p:sp>
        <p:nvSpPr>
          <p:cNvPr id="31" name="Text Placeholder 30"/>
          <p:cNvSpPr>
            <a:spLocks noGrp="1"/>
          </p:cNvSpPr>
          <p:nvPr>
            <p:ph type="body" sz="quarter" idx="14" hasCustomPrompt="1"/>
          </p:nvPr>
        </p:nvSpPr>
        <p:spPr>
          <a:xfrm>
            <a:off x="417600" y="5393268"/>
            <a:ext cx="3816000" cy="296333"/>
          </a:xfrm>
        </p:spPr>
        <p:txBody>
          <a:bodyPr wrap="none"/>
          <a:lstStyle>
            <a:lvl1pPr marL="0" indent="0">
              <a:spcBef>
                <a:spcPts val="0"/>
              </a:spcBef>
              <a:buNone/>
              <a:defRPr sz="1200"/>
            </a:lvl1pPr>
            <a:lvl2pPr marL="0" indent="0">
              <a:buNone/>
              <a:defRPr sz="1200"/>
            </a:lvl2pPr>
            <a:lvl3pPr marL="0" indent="0">
              <a:buNone/>
              <a:defRPr sz="1200"/>
            </a:lvl3pPr>
            <a:lvl4pPr marL="0">
              <a:buNone/>
              <a:defRPr sz="1200"/>
            </a:lvl4pPr>
            <a:lvl5pPr marL="0" indent="0">
              <a:buNone/>
              <a:defRPr sz="1200"/>
            </a:lvl5pPr>
          </a:lstStyle>
          <a:p>
            <a:pPr lvl="0"/>
            <a:r>
              <a:rPr lang="en-US" dirty="0"/>
              <a:t>Name</a:t>
            </a:r>
          </a:p>
        </p:txBody>
      </p:sp>
      <p:sp>
        <p:nvSpPr>
          <p:cNvPr id="34" name="Text Placeholder 30"/>
          <p:cNvSpPr>
            <a:spLocks noGrp="1"/>
          </p:cNvSpPr>
          <p:nvPr>
            <p:ph type="body" sz="quarter" idx="15" hasCustomPrompt="1"/>
          </p:nvPr>
        </p:nvSpPr>
        <p:spPr>
          <a:xfrm>
            <a:off x="417600" y="5691445"/>
            <a:ext cx="3816000" cy="296333"/>
          </a:xfrm>
        </p:spPr>
        <p:txBody>
          <a:bodyPr wrap="none"/>
          <a:lstStyle>
            <a:lvl1pPr marL="0" indent="0">
              <a:spcBef>
                <a:spcPts val="0"/>
              </a:spcBef>
              <a:buNone/>
              <a:defRPr sz="1200"/>
            </a:lvl1pPr>
            <a:lvl2pPr marL="0" indent="0">
              <a:buNone/>
              <a:defRPr sz="1200"/>
            </a:lvl2pPr>
            <a:lvl3pPr marL="0" indent="0">
              <a:buNone/>
              <a:defRPr sz="1200"/>
            </a:lvl3pPr>
            <a:lvl4pPr marL="0">
              <a:buNone/>
              <a:defRPr sz="1200"/>
            </a:lvl4pPr>
            <a:lvl5pPr marL="0" indent="0">
              <a:buNone/>
              <a:defRPr sz="1200"/>
            </a:lvl5pPr>
          </a:lstStyle>
          <a:p>
            <a:pPr lvl="0"/>
            <a:r>
              <a:rPr lang="en-US" dirty="0"/>
              <a:t>Department</a:t>
            </a:r>
          </a:p>
        </p:txBody>
      </p:sp>
    </p:spTree>
    <p:extLst>
      <p:ext uri="{BB962C8B-B14F-4D97-AF65-F5344CB8AC3E}">
        <p14:creationId xmlns:p14="http://schemas.microsoft.com/office/powerpoint/2010/main" val="510750958"/>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showMasterSp="0" preserve="1">
  <p:cSld name="Title 2">
    <p:spTree>
      <p:nvGrpSpPr>
        <p:cNvPr id="1" name=""/>
        <p:cNvGrpSpPr/>
        <p:nvPr/>
      </p:nvGrpSpPr>
      <p:grpSpPr>
        <a:xfrm>
          <a:off x="0" y="0"/>
          <a:ext cx="0" cy="0"/>
          <a:chOff x="0" y="0"/>
          <a:chExt cx="0" cy="0"/>
        </a:xfrm>
      </p:grpSpPr>
      <p:pic>
        <p:nvPicPr>
          <p:cNvPr id="29" name="picture">
            <a:extLst>
              <a:ext uri="{FF2B5EF4-FFF2-40B4-BE49-F238E27FC236}">
                <a16:creationId xmlns:a16="http://schemas.microsoft.com/office/drawing/2014/main" id="{8BF907F5-A9CD-2740-AF54-6BACB62334AE}"/>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2620213" y="-8807"/>
            <a:ext cx="9697299" cy="6866807"/>
          </a:xfrm>
          <a:prstGeom prst="rect">
            <a:avLst/>
          </a:prstGeom>
        </p:spPr>
      </p:pic>
      <p:sp>
        <p:nvSpPr>
          <p:cNvPr id="32" name="shpPicture"/>
          <p:cNvSpPr/>
          <p:nvPr/>
        </p:nvSpPr>
        <p:spPr>
          <a:xfrm>
            <a:off x="2" y="0"/>
            <a:ext cx="4112145" cy="6858000"/>
          </a:xfrm>
          <a:custGeom>
            <a:avLst/>
            <a:gdLst>
              <a:gd name="connsiteX0" fmla="*/ 0 w 4112145"/>
              <a:gd name="connsiteY0" fmla="*/ 0 h 6858000"/>
              <a:gd name="connsiteX1" fmla="*/ 2588964 w 4112145"/>
              <a:gd name="connsiteY1" fmla="*/ 0 h 6858000"/>
              <a:gd name="connsiteX2" fmla="*/ 4112145 w 4112145"/>
              <a:gd name="connsiteY2" fmla="*/ 3083531 h 6858000"/>
              <a:gd name="connsiteX3" fmla="*/ 2697661 w 4112145"/>
              <a:gd name="connsiteY3" fmla="*/ 6858000 h 6858000"/>
              <a:gd name="connsiteX4" fmla="*/ 0 w 4112145"/>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12145" h="6858000">
                <a:moveTo>
                  <a:pt x="0" y="0"/>
                </a:moveTo>
                <a:lnTo>
                  <a:pt x="2588964" y="0"/>
                </a:lnTo>
                <a:lnTo>
                  <a:pt x="4112145" y="3083531"/>
                </a:lnTo>
                <a:lnTo>
                  <a:pt x="2697661"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1978" tIns="35989" rIns="71978" bIns="35989" rtlCol="0" anchor="ctr"/>
          <a:lstStyle/>
          <a:p>
            <a:pPr algn="ctr">
              <a:lnSpc>
                <a:spcPct val="125000"/>
              </a:lnSpc>
            </a:pPr>
            <a:endParaRPr lang="en-US" sz="1599" dirty="0"/>
          </a:p>
        </p:txBody>
      </p:sp>
      <p:grpSp>
        <p:nvGrpSpPr>
          <p:cNvPr id="14" name="logo">
            <a:extLst>
              <a:ext uri="{FF2B5EF4-FFF2-40B4-BE49-F238E27FC236}">
                <a16:creationId xmlns:a16="http://schemas.microsoft.com/office/drawing/2014/main" id="{18C26D95-70F8-8A4D-9F18-DCCB92522AF8}"/>
              </a:ext>
            </a:extLst>
          </p:cNvPr>
          <p:cNvGrpSpPr/>
          <p:nvPr/>
        </p:nvGrpSpPr>
        <p:grpSpPr bwMode="gray">
          <a:xfrm>
            <a:off x="417365" y="407485"/>
            <a:ext cx="1518585" cy="646507"/>
            <a:chOff x="334963" y="296652"/>
            <a:chExt cx="1268411" cy="540000"/>
          </a:xfrm>
        </p:grpSpPr>
        <p:sp>
          <p:nvSpPr>
            <p:cNvPr id="17" name="Freeform 6">
              <a:extLst>
                <a:ext uri="{FF2B5EF4-FFF2-40B4-BE49-F238E27FC236}">
                  <a16:creationId xmlns:a16="http://schemas.microsoft.com/office/drawing/2014/main" id="{08737AD0-E375-E445-97E6-CD2E2DF60620}"/>
                </a:ext>
              </a:extLst>
            </p:cNvPr>
            <p:cNvSpPr>
              <a:spLocks noEditPoints="1"/>
            </p:cNvSpPr>
            <p:nvPr/>
          </p:nvSpPr>
          <p:spPr bwMode="gray">
            <a:xfrm>
              <a:off x="982662" y="360462"/>
              <a:ext cx="620712" cy="431800"/>
            </a:xfrm>
            <a:custGeom>
              <a:avLst/>
              <a:gdLst>
                <a:gd name="T0" fmla="*/ 19 w 1809"/>
                <a:gd name="T1" fmla="*/ 97 h 1253"/>
                <a:gd name="T2" fmla="*/ 165 w 1809"/>
                <a:gd name="T3" fmla="*/ 41 h 1253"/>
                <a:gd name="T4" fmla="*/ 211 w 1809"/>
                <a:gd name="T5" fmla="*/ 224 h 1253"/>
                <a:gd name="T6" fmla="*/ 248 w 1809"/>
                <a:gd name="T7" fmla="*/ 155 h 1253"/>
                <a:gd name="T8" fmla="*/ 931 w 1809"/>
                <a:gd name="T9" fmla="*/ 995 h 1253"/>
                <a:gd name="T10" fmla="*/ 858 w 1809"/>
                <a:gd name="T11" fmla="*/ 1115 h 1253"/>
                <a:gd name="T12" fmla="*/ 749 w 1809"/>
                <a:gd name="T13" fmla="*/ 1117 h 1253"/>
                <a:gd name="T14" fmla="*/ 681 w 1809"/>
                <a:gd name="T15" fmla="*/ 1055 h 1253"/>
                <a:gd name="T16" fmla="*/ 800 w 1809"/>
                <a:gd name="T17" fmla="*/ 1054 h 1253"/>
                <a:gd name="T18" fmla="*/ 884 w 1809"/>
                <a:gd name="T19" fmla="*/ 1181 h 1253"/>
                <a:gd name="T20" fmla="*/ 118 w 1809"/>
                <a:gd name="T21" fmla="*/ 1086 h 1253"/>
                <a:gd name="T22" fmla="*/ 147 w 1809"/>
                <a:gd name="T23" fmla="*/ 1026 h 1253"/>
                <a:gd name="T24" fmla="*/ 102 w 1809"/>
                <a:gd name="T25" fmla="*/ 1026 h 1253"/>
                <a:gd name="T26" fmla="*/ 639 w 1809"/>
                <a:gd name="T27" fmla="*/ 84 h 1253"/>
                <a:gd name="T28" fmla="*/ 763 w 1809"/>
                <a:gd name="T29" fmla="*/ 145 h 1253"/>
                <a:gd name="T30" fmla="*/ 863 w 1809"/>
                <a:gd name="T31" fmla="*/ 221 h 1253"/>
                <a:gd name="T32" fmla="*/ 834 w 1809"/>
                <a:gd name="T33" fmla="*/ 208 h 1253"/>
                <a:gd name="T34" fmla="*/ 719 w 1809"/>
                <a:gd name="T35" fmla="*/ 182 h 1253"/>
                <a:gd name="T36" fmla="*/ 507 w 1809"/>
                <a:gd name="T37" fmla="*/ 711 h 1253"/>
                <a:gd name="T38" fmla="*/ 614 w 1809"/>
                <a:gd name="T39" fmla="*/ 706 h 1253"/>
                <a:gd name="T40" fmla="*/ 736 w 1809"/>
                <a:gd name="T41" fmla="*/ 730 h 1253"/>
                <a:gd name="T42" fmla="*/ 607 w 1809"/>
                <a:gd name="T43" fmla="*/ 539 h 1253"/>
                <a:gd name="T44" fmla="*/ 1505 w 1809"/>
                <a:gd name="T45" fmla="*/ 1136 h 1253"/>
                <a:gd name="T46" fmla="*/ 1613 w 1809"/>
                <a:gd name="T47" fmla="*/ 1002 h 1253"/>
                <a:gd name="T48" fmla="*/ 1472 w 1809"/>
                <a:gd name="T49" fmla="*/ 1164 h 1253"/>
                <a:gd name="T50" fmla="*/ 1525 w 1809"/>
                <a:gd name="T51" fmla="*/ 1142 h 1253"/>
                <a:gd name="T52" fmla="*/ 1556 w 1809"/>
                <a:gd name="T53" fmla="*/ 1172 h 1253"/>
                <a:gd name="T54" fmla="*/ 1387 w 1809"/>
                <a:gd name="T55" fmla="*/ 910 h 1253"/>
                <a:gd name="T56" fmla="*/ 1261 w 1809"/>
                <a:gd name="T57" fmla="*/ 1157 h 1253"/>
                <a:gd name="T58" fmla="*/ 1413 w 1809"/>
                <a:gd name="T59" fmla="*/ 934 h 1253"/>
                <a:gd name="T60" fmla="*/ 1378 w 1809"/>
                <a:gd name="T61" fmla="*/ 1052 h 1253"/>
                <a:gd name="T62" fmla="*/ 488 w 1809"/>
                <a:gd name="T63" fmla="*/ 85 h 1253"/>
                <a:gd name="T64" fmla="*/ 509 w 1809"/>
                <a:gd name="T65" fmla="*/ 112 h 1253"/>
                <a:gd name="T66" fmla="*/ 548 w 1809"/>
                <a:gd name="T67" fmla="*/ 1187 h 1253"/>
                <a:gd name="T68" fmla="*/ 472 w 1809"/>
                <a:gd name="T69" fmla="*/ 1122 h 1253"/>
                <a:gd name="T70" fmla="*/ 558 w 1809"/>
                <a:gd name="T71" fmla="*/ 1157 h 1253"/>
                <a:gd name="T72" fmla="*/ 287 w 1809"/>
                <a:gd name="T73" fmla="*/ 654 h 1253"/>
                <a:gd name="T74" fmla="*/ 416 w 1809"/>
                <a:gd name="T75" fmla="*/ 684 h 1253"/>
                <a:gd name="T76" fmla="*/ 1106 w 1809"/>
                <a:gd name="T77" fmla="*/ 147 h 1253"/>
                <a:gd name="T78" fmla="*/ 1229 w 1809"/>
                <a:gd name="T79" fmla="*/ 258 h 1253"/>
                <a:gd name="T80" fmla="*/ 1106 w 1809"/>
                <a:gd name="T81" fmla="*/ 96 h 1253"/>
                <a:gd name="T82" fmla="*/ 1219 w 1809"/>
                <a:gd name="T83" fmla="*/ 1077 h 1253"/>
                <a:gd name="T84" fmla="*/ 1214 w 1809"/>
                <a:gd name="T85" fmla="*/ 1157 h 1253"/>
                <a:gd name="T86" fmla="*/ 1150 w 1809"/>
                <a:gd name="T87" fmla="*/ 1092 h 1253"/>
                <a:gd name="T88" fmla="*/ 1139 w 1809"/>
                <a:gd name="T89" fmla="*/ 1070 h 1253"/>
                <a:gd name="T90" fmla="*/ 1659 w 1809"/>
                <a:gd name="T91" fmla="*/ 1031 h 1253"/>
                <a:gd name="T92" fmla="*/ 1714 w 1809"/>
                <a:gd name="T93" fmla="*/ 1155 h 1253"/>
                <a:gd name="T94" fmla="*/ 1760 w 1809"/>
                <a:gd name="T95" fmla="*/ 1030 h 1253"/>
                <a:gd name="T96" fmla="*/ 111 w 1809"/>
                <a:gd name="T97" fmla="*/ 569 h 1253"/>
                <a:gd name="T98" fmla="*/ 109 w 1809"/>
                <a:gd name="T99" fmla="*/ 460 h 1253"/>
                <a:gd name="T100" fmla="*/ 32 w 1809"/>
                <a:gd name="T101" fmla="*/ 704 h 1253"/>
                <a:gd name="T102" fmla="*/ 310 w 1809"/>
                <a:gd name="T103" fmla="*/ 1058 h 1253"/>
                <a:gd name="T104" fmla="*/ 431 w 1809"/>
                <a:gd name="T105" fmla="*/ 1044 h 1253"/>
                <a:gd name="T106" fmla="*/ 278 w 1809"/>
                <a:gd name="T107" fmla="*/ 1165 h 1253"/>
                <a:gd name="T108" fmla="*/ 261 w 1809"/>
                <a:gd name="T109" fmla="*/ 540 h 1253"/>
                <a:gd name="T110" fmla="*/ 150 w 1809"/>
                <a:gd name="T111" fmla="*/ 635 h 1253"/>
                <a:gd name="T112" fmla="*/ 994 w 1809"/>
                <a:gd name="T113" fmla="*/ 1185 h 1253"/>
                <a:gd name="T114" fmla="*/ 331 w 1809"/>
                <a:gd name="T115" fmla="*/ 176 h 1253"/>
                <a:gd name="T116" fmla="*/ 333 w 1809"/>
                <a:gd name="T117" fmla="*/ 109 h 1253"/>
                <a:gd name="T118" fmla="*/ 946 w 1809"/>
                <a:gd name="T119" fmla="*/ 234 h 1253"/>
                <a:gd name="T120" fmla="*/ 1022 w 1809"/>
                <a:gd name="T121" fmla="*/ 113 h 1253"/>
                <a:gd name="T122" fmla="*/ 949 w 1809"/>
                <a:gd name="T123" fmla="*/ 65 h 1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09" h="1253">
                  <a:moveTo>
                    <a:pt x="248" y="198"/>
                  </a:moveTo>
                  <a:cubicBezTo>
                    <a:pt x="248" y="211"/>
                    <a:pt x="248" y="224"/>
                    <a:pt x="249" y="237"/>
                  </a:cubicBezTo>
                  <a:cubicBezTo>
                    <a:pt x="249" y="245"/>
                    <a:pt x="246" y="249"/>
                    <a:pt x="240" y="253"/>
                  </a:cubicBezTo>
                  <a:cubicBezTo>
                    <a:pt x="231" y="260"/>
                    <a:pt x="220" y="264"/>
                    <a:pt x="209" y="268"/>
                  </a:cubicBezTo>
                  <a:cubicBezTo>
                    <a:pt x="179" y="279"/>
                    <a:pt x="148" y="280"/>
                    <a:pt x="118" y="275"/>
                  </a:cubicBezTo>
                  <a:cubicBezTo>
                    <a:pt x="86" y="269"/>
                    <a:pt x="58" y="252"/>
                    <a:pt x="39" y="224"/>
                  </a:cubicBezTo>
                  <a:cubicBezTo>
                    <a:pt x="24" y="203"/>
                    <a:pt x="18" y="180"/>
                    <a:pt x="15" y="155"/>
                  </a:cubicBezTo>
                  <a:cubicBezTo>
                    <a:pt x="11" y="135"/>
                    <a:pt x="15" y="115"/>
                    <a:pt x="19" y="97"/>
                  </a:cubicBezTo>
                  <a:cubicBezTo>
                    <a:pt x="26" y="68"/>
                    <a:pt x="42" y="44"/>
                    <a:pt x="68" y="27"/>
                  </a:cubicBezTo>
                  <a:cubicBezTo>
                    <a:pt x="87" y="14"/>
                    <a:pt x="109" y="6"/>
                    <a:pt x="133" y="5"/>
                  </a:cubicBezTo>
                  <a:cubicBezTo>
                    <a:pt x="149" y="4"/>
                    <a:pt x="165" y="5"/>
                    <a:pt x="181" y="6"/>
                  </a:cubicBezTo>
                  <a:cubicBezTo>
                    <a:pt x="204" y="8"/>
                    <a:pt x="225" y="20"/>
                    <a:pt x="243" y="35"/>
                  </a:cubicBezTo>
                  <a:cubicBezTo>
                    <a:pt x="246" y="37"/>
                    <a:pt x="246" y="40"/>
                    <a:pt x="244" y="43"/>
                  </a:cubicBezTo>
                  <a:cubicBezTo>
                    <a:pt x="242" y="47"/>
                    <a:pt x="239" y="52"/>
                    <a:pt x="236" y="55"/>
                  </a:cubicBezTo>
                  <a:cubicBezTo>
                    <a:pt x="226" y="65"/>
                    <a:pt x="224" y="65"/>
                    <a:pt x="206" y="54"/>
                  </a:cubicBezTo>
                  <a:cubicBezTo>
                    <a:pt x="193" y="46"/>
                    <a:pt x="180" y="40"/>
                    <a:pt x="165" y="41"/>
                  </a:cubicBezTo>
                  <a:cubicBezTo>
                    <a:pt x="151" y="41"/>
                    <a:pt x="137" y="39"/>
                    <a:pt x="124" y="42"/>
                  </a:cubicBezTo>
                  <a:cubicBezTo>
                    <a:pt x="104" y="46"/>
                    <a:pt x="87" y="57"/>
                    <a:pt x="75" y="74"/>
                  </a:cubicBezTo>
                  <a:cubicBezTo>
                    <a:pt x="56" y="99"/>
                    <a:pt x="51" y="129"/>
                    <a:pt x="55" y="159"/>
                  </a:cubicBezTo>
                  <a:cubicBezTo>
                    <a:pt x="60" y="189"/>
                    <a:pt x="73" y="214"/>
                    <a:pt x="98" y="230"/>
                  </a:cubicBezTo>
                  <a:cubicBezTo>
                    <a:pt x="109" y="237"/>
                    <a:pt x="121" y="242"/>
                    <a:pt x="135" y="241"/>
                  </a:cubicBezTo>
                  <a:cubicBezTo>
                    <a:pt x="146" y="241"/>
                    <a:pt x="158" y="241"/>
                    <a:pt x="169" y="241"/>
                  </a:cubicBezTo>
                  <a:cubicBezTo>
                    <a:pt x="182" y="242"/>
                    <a:pt x="193" y="235"/>
                    <a:pt x="205" y="232"/>
                  </a:cubicBezTo>
                  <a:cubicBezTo>
                    <a:pt x="210" y="231"/>
                    <a:pt x="211" y="227"/>
                    <a:pt x="211" y="224"/>
                  </a:cubicBezTo>
                  <a:cubicBezTo>
                    <a:pt x="211" y="210"/>
                    <a:pt x="211" y="196"/>
                    <a:pt x="211" y="183"/>
                  </a:cubicBezTo>
                  <a:cubicBezTo>
                    <a:pt x="211" y="177"/>
                    <a:pt x="207" y="175"/>
                    <a:pt x="202" y="175"/>
                  </a:cubicBezTo>
                  <a:cubicBezTo>
                    <a:pt x="193" y="175"/>
                    <a:pt x="184" y="175"/>
                    <a:pt x="175" y="175"/>
                  </a:cubicBezTo>
                  <a:cubicBezTo>
                    <a:pt x="171" y="175"/>
                    <a:pt x="168" y="174"/>
                    <a:pt x="166" y="171"/>
                  </a:cubicBezTo>
                  <a:cubicBezTo>
                    <a:pt x="163" y="163"/>
                    <a:pt x="164" y="154"/>
                    <a:pt x="166" y="146"/>
                  </a:cubicBezTo>
                  <a:cubicBezTo>
                    <a:pt x="167" y="142"/>
                    <a:pt x="171" y="142"/>
                    <a:pt x="175" y="142"/>
                  </a:cubicBezTo>
                  <a:cubicBezTo>
                    <a:pt x="196" y="142"/>
                    <a:pt x="217" y="142"/>
                    <a:pt x="238" y="142"/>
                  </a:cubicBezTo>
                  <a:cubicBezTo>
                    <a:pt x="247" y="142"/>
                    <a:pt x="248" y="148"/>
                    <a:pt x="248" y="155"/>
                  </a:cubicBezTo>
                  <a:cubicBezTo>
                    <a:pt x="249" y="169"/>
                    <a:pt x="248" y="183"/>
                    <a:pt x="248" y="198"/>
                  </a:cubicBezTo>
                  <a:close/>
                  <a:moveTo>
                    <a:pt x="884" y="1181"/>
                  </a:moveTo>
                  <a:cubicBezTo>
                    <a:pt x="889" y="1167"/>
                    <a:pt x="894" y="1152"/>
                    <a:pt x="898" y="1137"/>
                  </a:cubicBezTo>
                  <a:cubicBezTo>
                    <a:pt x="901" y="1127"/>
                    <a:pt x="905" y="1116"/>
                    <a:pt x="908" y="1106"/>
                  </a:cubicBezTo>
                  <a:cubicBezTo>
                    <a:pt x="911" y="1098"/>
                    <a:pt x="912" y="1089"/>
                    <a:pt x="916" y="1081"/>
                  </a:cubicBezTo>
                  <a:cubicBezTo>
                    <a:pt x="921" y="1072"/>
                    <a:pt x="923" y="1060"/>
                    <a:pt x="927" y="1050"/>
                  </a:cubicBezTo>
                  <a:cubicBezTo>
                    <a:pt x="932" y="1037"/>
                    <a:pt x="934" y="1023"/>
                    <a:pt x="940" y="1010"/>
                  </a:cubicBezTo>
                  <a:cubicBezTo>
                    <a:pt x="945" y="1001"/>
                    <a:pt x="941" y="995"/>
                    <a:pt x="931" y="995"/>
                  </a:cubicBezTo>
                  <a:cubicBezTo>
                    <a:pt x="927" y="995"/>
                    <a:pt x="922" y="995"/>
                    <a:pt x="918" y="995"/>
                  </a:cubicBezTo>
                  <a:cubicBezTo>
                    <a:pt x="913" y="995"/>
                    <a:pt x="908" y="997"/>
                    <a:pt x="907" y="1001"/>
                  </a:cubicBezTo>
                  <a:cubicBezTo>
                    <a:pt x="904" y="1008"/>
                    <a:pt x="900" y="1015"/>
                    <a:pt x="899" y="1023"/>
                  </a:cubicBezTo>
                  <a:cubicBezTo>
                    <a:pt x="897" y="1034"/>
                    <a:pt x="893" y="1045"/>
                    <a:pt x="889" y="1055"/>
                  </a:cubicBezTo>
                  <a:cubicBezTo>
                    <a:pt x="887" y="1064"/>
                    <a:pt x="885" y="1072"/>
                    <a:pt x="882" y="1080"/>
                  </a:cubicBezTo>
                  <a:cubicBezTo>
                    <a:pt x="878" y="1091"/>
                    <a:pt x="874" y="1103"/>
                    <a:pt x="871" y="1115"/>
                  </a:cubicBezTo>
                  <a:cubicBezTo>
                    <a:pt x="870" y="1118"/>
                    <a:pt x="871" y="1124"/>
                    <a:pt x="866" y="1124"/>
                  </a:cubicBezTo>
                  <a:cubicBezTo>
                    <a:pt x="861" y="1125"/>
                    <a:pt x="859" y="1120"/>
                    <a:pt x="858" y="1115"/>
                  </a:cubicBezTo>
                  <a:cubicBezTo>
                    <a:pt x="856" y="1110"/>
                    <a:pt x="856" y="1104"/>
                    <a:pt x="854" y="1099"/>
                  </a:cubicBezTo>
                  <a:cubicBezTo>
                    <a:pt x="848" y="1080"/>
                    <a:pt x="841" y="1062"/>
                    <a:pt x="835" y="1044"/>
                  </a:cubicBezTo>
                  <a:cubicBezTo>
                    <a:pt x="831" y="1030"/>
                    <a:pt x="828" y="1016"/>
                    <a:pt x="822" y="1003"/>
                  </a:cubicBezTo>
                  <a:cubicBezTo>
                    <a:pt x="819" y="997"/>
                    <a:pt x="814" y="994"/>
                    <a:pt x="808" y="994"/>
                  </a:cubicBezTo>
                  <a:cubicBezTo>
                    <a:pt x="799" y="993"/>
                    <a:pt x="791" y="993"/>
                    <a:pt x="787" y="1001"/>
                  </a:cubicBezTo>
                  <a:cubicBezTo>
                    <a:pt x="783" y="1008"/>
                    <a:pt x="780" y="1015"/>
                    <a:pt x="779" y="1022"/>
                  </a:cubicBezTo>
                  <a:cubicBezTo>
                    <a:pt x="778" y="1034"/>
                    <a:pt x="772" y="1044"/>
                    <a:pt x="769" y="1055"/>
                  </a:cubicBezTo>
                  <a:cubicBezTo>
                    <a:pt x="762" y="1076"/>
                    <a:pt x="754" y="1096"/>
                    <a:pt x="749" y="1117"/>
                  </a:cubicBezTo>
                  <a:cubicBezTo>
                    <a:pt x="748" y="1120"/>
                    <a:pt x="747" y="1124"/>
                    <a:pt x="742" y="1124"/>
                  </a:cubicBezTo>
                  <a:cubicBezTo>
                    <a:pt x="737" y="1124"/>
                    <a:pt x="737" y="1120"/>
                    <a:pt x="736" y="1116"/>
                  </a:cubicBezTo>
                  <a:cubicBezTo>
                    <a:pt x="734" y="1104"/>
                    <a:pt x="730" y="1092"/>
                    <a:pt x="726" y="1080"/>
                  </a:cubicBezTo>
                  <a:cubicBezTo>
                    <a:pt x="720" y="1061"/>
                    <a:pt x="714" y="1040"/>
                    <a:pt x="708" y="1020"/>
                  </a:cubicBezTo>
                  <a:cubicBezTo>
                    <a:pt x="703" y="1000"/>
                    <a:pt x="698" y="994"/>
                    <a:pt x="676" y="995"/>
                  </a:cubicBezTo>
                  <a:cubicBezTo>
                    <a:pt x="665" y="996"/>
                    <a:pt x="661" y="1001"/>
                    <a:pt x="667" y="1011"/>
                  </a:cubicBezTo>
                  <a:cubicBezTo>
                    <a:pt x="669" y="1016"/>
                    <a:pt x="670" y="1021"/>
                    <a:pt x="672" y="1025"/>
                  </a:cubicBezTo>
                  <a:cubicBezTo>
                    <a:pt x="675" y="1035"/>
                    <a:pt x="678" y="1046"/>
                    <a:pt x="681" y="1055"/>
                  </a:cubicBezTo>
                  <a:cubicBezTo>
                    <a:pt x="685" y="1068"/>
                    <a:pt x="689" y="1080"/>
                    <a:pt x="693" y="1092"/>
                  </a:cubicBezTo>
                  <a:cubicBezTo>
                    <a:pt x="697" y="1103"/>
                    <a:pt x="699" y="1113"/>
                    <a:pt x="703" y="1124"/>
                  </a:cubicBezTo>
                  <a:cubicBezTo>
                    <a:pt x="707" y="1136"/>
                    <a:pt x="711" y="1147"/>
                    <a:pt x="715" y="1160"/>
                  </a:cubicBezTo>
                  <a:cubicBezTo>
                    <a:pt x="717" y="1168"/>
                    <a:pt x="720" y="1176"/>
                    <a:pt x="724" y="1183"/>
                  </a:cubicBezTo>
                  <a:cubicBezTo>
                    <a:pt x="728" y="1189"/>
                    <a:pt x="752" y="1185"/>
                    <a:pt x="757" y="1180"/>
                  </a:cubicBezTo>
                  <a:cubicBezTo>
                    <a:pt x="764" y="1173"/>
                    <a:pt x="762" y="1163"/>
                    <a:pt x="766" y="1156"/>
                  </a:cubicBezTo>
                  <a:cubicBezTo>
                    <a:pt x="774" y="1140"/>
                    <a:pt x="778" y="1122"/>
                    <a:pt x="784" y="1105"/>
                  </a:cubicBezTo>
                  <a:cubicBezTo>
                    <a:pt x="789" y="1088"/>
                    <a:pt x="796" y="1072"/>
                    <a:pt x="800" y="1054"/>
                  </a:cubicBezTo>
                  <a:cubicBezTo>
                    <a:pt x="800" y="1053"/>
                    <a:pt x="801" y="1050"/>
                    <a:pt x="803" y="1050"/>
                  </a:cubicBezTo>
                  <a:cubicBezTo>
                    <a:pt x="806" y="1050"/>
                    <a:pt x="806" y="1052"/>
                    <a:pt x="807" y="1055"/>
                  </a:cubicBezTo>
                  <a:cubicBezTo>
                    <a:pt x="807" y="1060"/>
                    <a:pt x="810" y="1066"/>
                    <a:pt x="811" y="1071"/>
                  </a:cubicBezTo>
                  <a:cubicBezTo>
                    <a:pt x="814" y="1081"/>
                    <a:pt x="818" y="1090"/>
                    <a:pt x="821" y="1099"/>
                  </a:cubicBezTo>
                  <a:cubicBezTo>
                    <a:pt x="824" y="1110"/>
                    <a:pt x="827" y="1120"/>
                    <a:pt x="831" y="1131"/>
                  </a:cubicBezTo>
                  <a:cubicBezTo>
                    <a:pt x="834" y="1142"/>
                    <a:pt x="839" y="1153"/>
                    <a:pt x="842" y="1164"/>
                  </a:cubicBezTo>
                  <a:cubicBezTo>
                    <a:pt x="846" y="1179"/>
                    <a:pt x="850" y="1188"/>
                    <a:pt x="869" y="1185"/>
                  </a:cubicBezTo>
                  <a:cubicBezTo>
                    <a:pt x="873" y="1184"/>
                    <a:pt x="881" y="1189"/>
                    <a:pt x="884" y="1181"/>
                  </a:cubicBezTo>
                  <a:close/>
                  <a:moveTo>
                    <a:pt x="33" y="1051"/>
                  </a:moveTo>
                  <a:cubicBezTo>
                    <a:pt x="33" y="1087"/>
                    <a:pt x="33" y="1124"/>
                    <a:pt x="33" y="1160"/>
                  </a:cubicBezTo>
                  <a:cubicBezTo>
                    <a:pt x="33" y="1188"/>
                    <a:pt x="29" y="1184"/>
                    <a:pt x="58" y="1185"/>
                  </a:cubicBezTo>
                  <a:cubicBezTo>
                    <a:pt x="72" y="1185"/>
                    <a:pt x="73" y="1184"/>
                    <a:pt x="73" y="1170"/>
                  </a:cubicBezTo>
                  <a:cubicBezTo>
                    <a:pt x="73" y="1138"/>
                    <a:pt x="73" y="1107"/>
                    <a:pt x="73" y="1076"/>
                  </a:cubicBezTo>
                  <a:cubicBezTo>
                    <a:pt x="73" y="1071"/>
                    <a:pt x="72" y="1067"/>
                    <a:pt x="78" y="1065"/>
                  </a:cubicBezTo>
                  <a:cubicBezTo>
                    <a:pt x="91" y="1062"/>
                    <a:pt x="102" y="1067"/>
                    <a:pt x="110" y="1076"/>
                  </a:cubicBezTo>
                  <a:cubicBezTo>
                    <a:pt x="112" y="1080"/>
                    <a:pt x="115" y="1083"/>
                    <a:pt x="118" y="1086"/>
                  </a:cubicBezTo>
                  <a:cubicBezTo>
                    <a:pt x="132" y="1103"/>
                    <a:pt x="146" y="1119"/>
                    <a:pt x="161" y="1136"/>
                  </a:cubicBezTo>
                  <a:cubicBezTo>
                    <a:pt x="173" y="1150"/>
                    <a:pt x="186" y="1165"/>
                    <a:pt x="198" y="1179"/>
                  </a:cubicBezTo>
                  <a:cubicBezTo>
                    <a:pt x="207" y="1188"/>
                    <a:pt x="218" y="1184"/>
                    <a:pt x="228" y="1185"/>
                  </a:cubicBezTo>
                  <a:cubicBezTo>
                    <a:pt x="233" y="1185"/>
                    <a:pt x="241" y="1188"/>
                    <a:pt x="244" y="1182"/>
                  </a:cubicBezTo>
                  <a:cubicBezTo>
                    <a:pt x="246" y="1178"/>
                    <a:pt x="239" y="1173"/>
                    <a:pt x="235" y="1169"/>
                  </a:cubicBezTo>
                  <a:cubicBezTo>
                    <a:pt x="206" y="1133"/>
                    <a:pt x="176" y="1098"/>
                    <a:pt x="146" y="1062"/>
                  </a:cubicBezTo>
                  <a:cubicBezTo>
                    <a:pt x="141" y="1056"/>
                    <a:pt x="131" y="1052"/>
                    <a:pt x="132" y="1044"/>
                  </a:cubicBezTo>
                  <a:cubicBezTo>
                    <a:pt x="132" y="1036"/>
                    <a:pt x="142" y="1032"/>
                    <a:pt x="147" y="1026"/>
                  </a:cubicBezTo>
                  <a:cubicBezTo>
                    <a:pt x="164" y="1006"/>
                    <a:pt x="182" y="988"/>
                    <a:pt x="198" y="968"/>
                  </a:cubicBezTo>
                  <a:cubicBezTo>
                    <a:pt x="209" y="954"/>
                    <a:pt x="221" y="942"/>
                    <a:pt x="234" y="929"/>
                  </a:cubicBezTo>
                  <a:cubicBezTo>
                    <a:pt x="236" y="926"/>
                    <a:pt x="238" y="923"/>
                    <a:pt x="237" y="920"/>
                  </a:cubicBezTo>
                  <a:cubicBezTo>
                    <a:pt x="235" y="915"/>
                    <a:pt x="231" y="917"/>
                    <a:pt x="228" y="917"/>
                  </a:cubicBezTo>
                  <a:cubicBezTo>
                    <a:pt x="224" y="918"/>
                    <a:pt x="221" y="918"/>
                    <a:pt x="217" y="918"/>
                  </a:cubicBezTo>
                  <a:cubicBezTo>
                    <a:pt x="204" y="917"/>
                    <a:pt x="193" y="922"/>
                    <a:pt x="185" y="931"/>
                  </a:cubicBezTo>
                  <a:cubicBezTo>
                    <a:pt x="172" y="946"/>
                    <a:pt x="158" y="961"/>
                    <a:pt x="145" y="977"/>
                  </a:cubicBezTo>
                  <a:cubicBezTo>
                    <a:pt x="131" y="993"/>
                    <a:pt x="117" y="1010"/>
                    <a:pt x="102" y="1026"/>
                  </a:cubicBezTo>
                  <a:cubicBezTo>
                    <a:pt x="96" y="1032"/>
                    <a:pt x="87" y="1037"/>
                    <a:pt x="78" y="1034"/>
                  </a:cubicBezTo>
                  <a:cubicBezTo>
                    <a:pt x="70" y="1030"/>
                    <a:pt x="73" y="1021"/>
                    <a:pt x="73" y="1015"/>
                  </a:cubicBezTo>
                  <a:cubicBezTo>
                    <a:pt x="73" y="991"/>
                    <a:pt x="73" y="967"/>
                    <a:pt x="73" y="944"/>
                  </a:cubicBezTo>
                  <a:cubicBezTo>
                    <a:pt x="73" y="916"/>
                    <a:pt x="75" y="917"/>
                    <a:pt x="46" y="918"/>
                  </a:cubicBezTo>
                  <a:cubicBezTo>
                    <a:pt x="33" y="918"/>
                    <a:pt x="33" y="918"/>
                    <a:pt x="33" y="931"/>
                  </a:cubicBezTo>
                  <a:cubicBezTo>
                    <a:pt x="33" y="971"/>
                    <a:pt x="33" y="1011"/>
                    <a:pt x="33" y="1051"/>
                  </a:cubicBezTo>
                  <a:cubicBezTo>
                    <a:pt x="33" y="1051"/>
                    <a:pt x="33" y="1051"/>
                    <a:pt x="33" y="1051"/>
                  </a:cubicBezTo>
                  <a:close/>
                  <a:moveTo>
                    <a:pt x="639" y="84"/>
                  </a:moveTo>
                  <a:cubicBezTo>
                    <a:pt x="627" y="84"/>
                    <a:pt x="626" y="84"/>
                    <a:pt x="629" y="95"/>
                  </a:cubicBezTo>
                  <a:cubicBezTo>
                    <a:pt x="634" y="113"/>
                    <a:pt x="640" y="131"/>
                    <a:pt x="646" y="148"/>
                  </a:cubicBezTo>
                  <a:cubicBezTo>
                    <a:pt x="652" y="166"/>
                    <a:pt x="658" y="185"/>
                    <a:pt x="664" y="203"/>
                  </a:cubicBezTo>
                  <a:cubicBezTo>
                    <a:pt x="671" y="223"/>
                    <a:pt x="676" y="244"/>
                    <a:pt x="684" y="264"/>
                  </a:cubicBezTo>
                  <a:cubicBezTo>
                    <a:pt x="688" y="274"/>
                    <a:pt x="694" y="274"/>
                    <a:pt x="702" y="274"/>
                  </a:cubicBezTo>
                  <a:cubicBezTo>
                    <a:pt x="711" y="274"/>
                    <a:pt x="719" y="272"/>
                    <a:pt x="723" y="263"/>
                  </a:cubicBezTo>
                  <a:cubicBezTo>
                    <a:pt x="733" y="236"/>
                    <a:pt x="741" y="208"/>
                    <a:pt x="750" y="181"/>
                  </a:cubicBezTo>
                  <a:cubicBezTo>
                    <a:pt x="754" y="169"/>
                    <a:pt x="757" y="156"/>
                    <a:pt x="763" y="145"/>
                  </a:cubicBezTo>
                  <a:cubicBezTo>
                    <a:pt x="764" y="143"/>
                    <a:pt x="764" y="140"/>
                    <a:pt x="767" y="140"/>
                  </a:cubicBezTo>
                  <a:cubicBezTo>
                    <a:pt x="770" y="140"/>
                    <a:pt x="770" y="143"/>
                    <a:pt x="771" y="145"/>
                  </a:cubicBezTo>
                  <a:cubicBezTo>
                    <a:pt x="771" y="156"/>
                    <a:pt x="777" y="165"/>
                    <a:pt x="780" y="175"/>
                  </a:cubicBezTo>
                  <a:cubicBezTo>
                    <a:pt x="782" y="184"/>
                    <a:pt x="785" y="193"/>
                    <a:pt x="788" y="201"/>
                  </a:cubicBezTo>
                  <a:cubicBezTo>
                    <a:pt x="794" y="219"/>
                    <a:pt x="801" y="237"/>
                    <a:pt x="806" y="255"/>
                  </a:cubicBezTo>
                  <a:cubicBezTo>
                    <a:pt x="811" y="272"/>
                    <a:pt x="825" y="280"/>
                    <a:pt x="842" y="273"/>
                  </a:cubicBezTo>
                  <a:cubicBezTo>
                    <a:pt x="845" y="271"/>
                    <a:pt x="847" y="269"/>
                    <a:pt x="848" y="266"/>
                  </a:cubicBezTo>
                  <a:cubicBezTo>
                    <a:pt x="853" y="251"/>
                    <a:pt x="859" y="236"/>
                    <a:pt x="863" y="221"/>
                  </a:cubicBezTo>
                  <a:cubicBezTo>
                    <a:pt x="867" y="202"/>
                    <a:pt x="875" y="185"/>
                    <a:pt x="880" y="166"/>
                  </a:cubicBezTo>
                  <a:cubicBezTo>
                    <a:pt x="886" y="144"/>
                    <a:pt x="895" y="123"/>
                    <a:pt x="900" y="101"/>
                  </a:cubicBezTo>
                  <a:cubicBezTo>
                    <a:pt x="901" y="96"/>
                    <a:pt x="909" y="91"/>
                    <a:pt x="904" y="86"/>
                  </a:cubicBezTo>
                  <a:cubicBezTo>
                    <a:pt x="900" y="81"/>
                    <a:pt x="892" y="84"/>
                    <a:pt x="886" y="84"/>
                  </a:cubicBezTo>
                  <a:cubicBezTo>
                    <a:pt x="885" y="84"/>
                    <a:pt x="883" y="84"/>
                    <a:pt x="881" y="84"/>
                  </a:cubicBezTo>
                  <a:cubicBezTo>
                    <a:pt x="875" y="84"/>
                    <a:pt x="872" y="86"/>
                    <a:pt x="869" y="91"/>
                  </a:cubicBezTo>
                  <a:cubicBezTo>
                    <a:pt x="860" y="110"/>
                    <a:pt x="856" y="131"/>
                    <a:pt x="850" y="151"/>
                  </a:cubicBezTo>
                  <a:cubicBezTo>
                    <a:pt x="844" y="170"/>
                    <a:pt x="836" y="188"/>
                    <a:pt x="834" y="208"/>
                  </a:cubicBezTo>
                  <a:cubicBezTo>
                    <a:pt x="833" y="211"/>
                    <a:pt x="831" y="214"/>
                    <a:pt x="827" y="214"/>
                  </a:cubicBezTo>
                  <a:cubicBezTo>
                    <a:pt x="823" y="214"/>
                    <a:pt x="822" y="210"/>
                    <a:pt x="822" y="207"/>
                  </a:cubicBezTo>
                  <a:cubicBezTo>
                    <a:pt x="817" y="188"/>
                    <a:pt x="811" y="170"/>
                    <a:pt x="805" y="152"/>
                  </a:cubicBezTo>
                  <a:cubicBezTo>
                    <a:pt x="799" y="133"/>
                    <a:pt x="794" y="114"/>
                    <a:pt x="786" y="96"/>
                  </a:cubicBezTo>
                  <a:cubicBezTo>
                    <a:pt x="783" y="87"/>
                    <a:pt x="779" y="84"/>
                    <a:pt x="770" y="84"/>
                  </a:cubicBezTo>
                  <a:cubicBezTo>
                    <a:pt x="761" y="84"/>
                    <a:pt x="752" y="82"/>
                    <a:pt x="748" y="94"/>
                  </a:cubicBezTo>
                  <a:cubicBezTo>
                    <a:pt x="744" y="109"/>
                    <a:pt x="738" y="123"/>
                    <a:pt x="734" y="138"/>
                  </a:cubicBezTo>
                  <a:cubicBezTo>
                    <a:pt x="729" y="153"/>
                    <a:pt x="724" y="167"/>
                    <a:pt x="719" y="182"/>
                  </a:cubicBezTo>
                  <a:cubicBezTo>
                    <a:pt x="716" y="192"/>
                    <a:pt x="715" y="203"/>
                    <a:pt x="708" y="212"/>
                  </a:cubicBezTo>
                  <a:cubicBezTo>
                    <a:pt x="707" y="214"/>
                    <a:pt x="707" y="217"/>
                    <a:pt x="704" y="217"/>
                  </a:cubicBezTo>
                  <a:cubicBezTo>
                    <a:pt x="701" y="217"/>
                    <a:pt x="701" y="213"/>
                    <a:pt x="700" y="211"/>
                  </a:cubicBezTo>
                  <a:cubicBezTo>
                    <a:pt x="699" y="198"/>
                    <a:pt x="694" y="186"/>
                    <a:pt x="690" y="174"/>
                  </a:cubicBezTo>
                  <a:cubicBezTo>
                    <a:pt x="684" y="153"/>
                    <a:pt x="677" y="131"/>
                    <a:pt x="672" y="110"/>
                  </a:cubicBezTo>
                  <a:cubicBezTo>
                    <a:pt x="667" y="88"/>
                    <a:pt x="663" y="84"/>
                    <a:pt x="645" y="84"/>
                  </a:cubicBezTo>
                  <a:cubicBezTo>
                    <a:pt x="643" y="84"/>
                    <a:pt x="641" y="84"/>
                    <a:pt x="639" y="84"/>
                  </a:cubicBezTo>
                  <a:close/>
                  <a:moveTo>
                    <a:pt x="507" y="711"/>
                  </a:moveTo>
                  <a:cubicBezTo>
                    <a:pt x="507" y="730"/>
                    <a:pt x="507" y="730"/>
                    <a:pt x="526" y="730"/>
                  </a:cubicBezTo>
                  <a:cubicBezTo>
                    <a:pt x="539" y="730"/>
                    <a:pt x="541" y="729"/>
                    <a:pt x="541" y="715"/>
                  </a:cubicBezTo>
                  <a:cubicBezTo>
                    <a:pt x="541" y="677"/>
                    <a:pt x="541" y="638"/>
                    <a:pt x="540" y="600"/>
                  </a:cubicBezTo>
                  <a:cubicBezTo>
                    <a:pt x="540" y="593"/>
                    <a:pt x="543" y="587"/>
                    <a:pt x="548" y="582"/>
                  </a:cubicBezTo>
                  <a:cubicBezTo>
                    <a:pt x="553" y="576"/>
                    <a:pt x="559" y="573"/>
                    <a:pt x="564" y="569"/>
                  </a:cubicBezTo>
                  <a:cubicBezTo>
                    <a:pt x="574" y="564"/>
                    <a:pt x="594" y="566"/>
                    <a:pt x="602" y="574"/>
                  </a:cubicBezTo>
                  <a:cubicBezTo>
                    <a:pt x="611" y="582"/>
                    <a:pt x="614" y="592"/>
                    <a:pt x="614" y="604"/>
                  </a:cubicBezTo>
                  <a:cubicBezTo>
                    <a:pt x="614" y="638"/>
                    <a:pt x="614" y="672"/>
                    <a:pt x="614" y="706"/>
                  </a:cubicBezTo>
                  <a:cubicBezTo>
                    <a:pt x="614" y="730"/>
                    <a:pt x="614" y="730"/>
                    <a:pt x="638" y="730"/>
                  </a:cubicBezTo>
                  <a:cubicBezTo>
                    <a:pt x="650" y="730"/>
                    <a:pt x="650" y="730"/>
                    <a:pt x="650" y="717"/>
                  </a:cubicBezTo>
                  <a:cubicBezTo>
                    <a:pt x="650" y="684"/>
                    <a:pt x="650" y="650"/>
                    <a:pt x="650" y="617"/>
                  </a:cubicBezTo>
                  <a:cubicBezTo>
                    <a:pt x="650" y="606"/>
                    <a:pt x="651" y="597"/>
                    <a:pt x="657" y="586"/>
                  </a:cubicBezTo>
                  <a:cubicBezTo>
                    <a:pt x="667" y="565"/>
                    <a:pt x="703" y="560"/>
                    <a:pt x="716" y="579"/>
                  </a:cubicBezTo>
                  <a:cubicBezTo>
                    <a:pt x="723" y="588"/>
                    <a:pt x="724" y="598"/>
                    <a:pt x="724" y="609"/>
                  </a:cubicBezTo>
                  <a:cubicBezTo>
                    <a:pt x="724" y="645"/>
                    <a:pt x="724" y="682"/>
                    <a:pt x="724" y="718"/>
                  </a:cubicBezTo>
                  <a:cubicBezTo>
                    <a:pt x="724" y="727"/>
                    <a:pt x="727" y="731"/>
                    <a:pt x="736" y="730"/>
                  </a:cubicBezTo>
                  <a:cubicBezTo>
                    <a:pt x="738" y="730"/>
                    <a:pt x="741" y="730"/>
                    <a:pt x="743" y="730"/>
                  </a:cubicBezTo>
                  <a:cubicBezTo>
                    <a:pt x="758" y="730"/>
                    <a:pt x="759" y="729"/>
                    <a:pt x="759" y="715"/>
                  </a:cubicBezTo>
                  <a:cubicBezTo>
                    <a:pt x="759" y="677"/>
                    <a:pt x="758" y="639"/>
                    <a:pt x="759" y="601"/>
                  </a:cubicBezTo>
                  <a:cubicBezTo>
                    <a:pt x="759" y="571"/>
                    <a:pt x="742" y="540"/>
                    <a:pt x="704" y="538"/>
                  </a:cubicBezTo>
                  <a:cubicBezTo>
                    <a:pt x="681" y="536"/>
                    <a:pt x="661" y="542"/>
                    <a:pt x="646" y="560"/>
                  </a:cubicBezTo>
                  <a:cubicBezTo>
                    <a:pt x="638" y="569"/>
                    <a:pt x="638" y="569"/>
                    <a:pt x="631" y="559"/>
                  </a:cubicBezTo>
                  <a:cubicBezTo>
                    <a:pt x="630" y="558"/>
                    <a:pt x="630" y="557"/>
                    <a:pt x="629" y="556"/>
                  </a:cubicBezTo>
                  <a:cubicBezTo>
                    <a:pt x="623" y="548"/>
                    <a:pt x="616" y="541"/>
                    <a:pt x="607" y="539"/>
                  </a:cubicBezTo>
                  <a:cubicBezTo>
                    <a:pt x="584" y="534"/>
                    <a:pt x="563" y="539"/>
                    <a:pt x="545" y="555"/>
                  </a:cubicBezTo>
                  <a:cubicBezTo>
                    <a:pt x="540" y="559"/>
                    <a:pt x="537" y="561"/>
                    <a:pt x="537" y="552"/>
                  </a:cubicBezTo>
                  <a:cubicBezTo>
                    <a:pt x="536" y="543"/>
                    <a:pt x="526" y="538"/>
                    <a:pt x="515" y="539"/>
                  </a:cubicBezTo>
                  <a:cubicBezTo>
                    <a:pt x="506" y="540"/>
                    <a:pt x="507" y="546"/>
                    <a:pt x="507" y="552"/>
                  </a:cubicBezTo>
                  <a:cubicBezTo>
                    <a:pt x="507" y="580"/>
                    <a:pt x="507" y="607"/>
                    <a:pt x="507" y="634"/>
                  </a:cubicBezTo>
                  <a:cubicBezTo>
                    <a:pt x="507" y="660"/>
                    <a:pt x="507" y="685"/>
                    <a:pt x="507" y="711"/>
                  </a:cubicBezTo>
                  <a:close/>
                  <a:moveTo>
                    <a:pt x="1525" y="1142"/>
                  </a:moveTo>
                  <a:cubicBezTo>
                    <a:pt x="1517" y="1143"/>
                    <a:pt x="1511" y="1141"/>
                    <a:pt x="1505" y="1136"/>
                  </a:cubicBezTo>
                  <a:cubicBezTo>
                    <a:pt x="1501" y="1133"/>
                    <a:pt x="1495" y="1130"/>
                    <a:pt x="1498" y="1124"/>
                  </a:cubicBezTo>
                  <a:cubicBezTo>
                    <a:pt x="1500" y="1118"/>
                    <a:pt x="1504" y="1114"/>
                    <a:pt x="1512" y="1114"/>
                  </a:cubicBezTo>
                  <a:cubicBezTo>
                    <a:pt x="1521" y="1115"/>
                    <a:pt x="1530" y="1114"/>
                    <a:pt x="1538" y="1115"/>
                  </a:cubicBezTo>
                  <a:cubicBezTo>
                    <a:pt x="1573" y="1117"/>
                    <a:pt x="1610" y="1084"/>
                    <a:pt x="1602" y="1044"/>
                  </a:cubicBezTo>
                  <a:cubicBezTo>
                    <a:pt x="1600" y="1035"/>
                    <a:pt x="1599" y="1028"/>
                    <a:pt x="1611" y="1027"/>
                  </a:cubicBezTo>
                  <a:cubicBezTo>
                    <a:pt x="1614" y="1027"/>
                    <a:pt x="1617" y="1024"/>
                    <a:pt x="1619" y="1023"/>
                  </a:cubicBezTo>
                  <a:cubicBezTo>
                    <a:pt x="1626" y="1019"/>
                    <a:pt x="1624" y="1013"/>
                    <a:pt x="1623" y="1008"/>
                  </a:cubicBezTo>
                  <a:cubicBezTo>
                    <a:pt x="1623" y="1002"/>
                    <a:pt x="1618" y="1003"/>
                    <a:pt x="1613" y="1002"/>
                  </a:cubicBezTo>
                  <a:cubicBezTo>
                    <a:pt x="1598" y="1002"/>
                    <a:pt x="1582" y="1004"/>
                    <a:pt x="1567" y="1000"/>
                  </a:cubicBezTo>
                  <a:cubicBezTo>
                    <a:pt x="1560" y="999"/>
                    <a:pt x="1554" y="993"/>
                    <a:pt x="1546" y="993"/>
                  </a:cubicBezTo>
                  <a:cubicBezTo>
                    <a:pt x="1536" y="994"/>
                    <a:pt x="1525" y="992"/>
                    <a:pt x="1515" y="993"/>
                  </a:cubicBezTo>
                  <a:cubicBezTo>
                    <a:pt x="1490" y="997"/>
                    <a:pt x="1469" y="1010"/>
                    <a:pt x="1462" y="1034"/>
                  </a:cubicBezTo>
                  <a:cubicBezTo>
                    <a:pt x="1455" y="1056"/>
                    <a:pt x="1457" y="1079"/>
                    <a:pt x="1476" y="1096"/>
                  </a:cubicBezTo>
                  <a:cubicBezTo>
                    <a:pt x="1483" y="1103"/>
                    <a:pt x="1483" y="1107"/>
                    <a:pt x="1476" y="1113"/>
                  </a:cubicBezTo>
                  <a:cubicBezTo>
                    <a:pt x="1462" y="1126"/>
                    <a:pt x="1462" y="1142"/>
                    <a:pt x="1473" y="1157"/>
                  </a:cubicBezTo>
                  <a:cubicBezTo>
                    <a:pt x="1476" y="1160"/>
                    <a:pt x="1476" y="1162"/>
                    <a:pt x="1472" y="1164"/>
                  </a:cubicBezTo>
                  <a:cubicBezTo>
                    <a:pt x="1470" y="1166"/>
                    <a:pt x="1468" y="1168"/>
                    <a:pt x="1466" y="1170"/>
                  </a:cubicBezTo>
                  <a:cubicBezTo>
                    <a:pt x="1449" y="1183"/>
                    <a:pt x="1444" y="1201"/>
                    <a:pt x="1454" y="1218"/>
                  </a:cubicBezTo>
                  <a:cubicBezTo>
                    <a:pt x="1464" y="1235"/>
                    <a:pt x="1479" y="1246"/>
                    <a:pt x="1499" y="1249"/>
                  </a:cubicBezTo>
                  <a:cubicBezTo>
                    <a:pt x="1517" y="1252"/>
                    <a:pt x="1535" y="1253"/>
                    <a:pt x="1553" y="1250"/>
                  </a:cubicBezTo>
                  <a:cubicBezTo>
                    <a:pt x="1584" y="1245"/>
                    <a:pt x="1607" y="1232"/>
                    <a:pt x="1619" y="1200"/>
                  </a:cubicBezTo>
                  <a:cubicBezTo>
                    <a:pt x="1627" y="1180"/>
                    <a:pt x="1611" y="1155"/>
                    <a:pt x="1593" y="1148"/>
                  </a:cubicBezTo>
                  <a:cubicBezTo>
                    <a:pt x="1578" y="1142"/>
                    <a:pt x="1563" y="1143"/>
                    <a:pt x="1549" y="1142"/>
                  </a:cubicBezTo>
                  <a:cubicBezTo>
                    <a:pt x="1540" y="1142"/>
                    <a:pt x="1532" y="1142"/>
                    <a:pt x="1525" y="1142"/>
                  </a:cubicBezTo>
                  <a:close/>
                  <a:moveTo>
                    <a:pt x="1556" y="1172"/>
                  </a:moveTo>
                  <a:cubicBezTo>
                    <a:pt x="1566" y="1172"/>
                    <a:pt x="1576" y="1176"/>
                    <a:pt x="1583" y="1183"/>
                  </a:cubicBezTo>
                  <a:cubicBezTo>
                    <a:pt x="1589" y="1190"/>
                    <a:pt x="1589" y="1198"/>
                    <a:pt x="1583" y="1205"/>
                  </a:cubicBezTo>
                  <a:cubicBezTo>
                    <a:pt x="1575" y="1215"/>
                    <a:pt x="1565" y="1220"/>
                    <a:pt x="1553" y="1223"/>
                  </a:cubicBezTo>
                  <a:cubicBezTo>
                    <a:pt x="1534" y="1228"/>
                    <a:pt x="1516" y="1225"/>
                    <a:pt x="1499" y="1219"/>
                  </a:cubicBezTo>
                  <a:cubicBezTo>
                    <a:pt x="1486" y="1214"/>
                    <a:pt x="1479" y="1203"/>
                    <a:pt x="1482" y="1193"/>
                  </a:cubicBezTo>
                  <a:cubicBezTo>
                    <a:pt x="1485" y="1182"/>
                    <a:pt x="1496" y="1168"/>
                    <a:pt x="1514" y="1171"/>
                  </a:cubicBezTo>
                  <a:cubicBezTo>
                    <a:pt x="1526" y="1173"/>
                    <a:pt x="1541" y="1171"/>
                    <a:pt x="1556" y="1172"/>
                  </a:cubicBezTo>
                  <a:close/>
                  <a:moveTo>
                    <a:pt x="1531" y="1019"/>
                  </a:moveTo>
                  <a:cubicBezTo>
                    <a:pt x="1553" y="1017"/>
                    <a:pt x="1570" y="1033"/>
                    <a:pt x="1570" y="1052"/>
                  </a:cubicBezTo>
                  <a:cubicBezTo>
                    <a:pt x="1570" y="1075"/>
                    <a:pt x="1554" y="1093"/>
                    <a:pt x="1532" y="1091"/>
                  </a:cubicBezTo>
                  <a:cubicBezTo>
                    <a:pt x="1508" y="1089"/>
                    <a:pt x="1494" y="1082"/>
                    <a:pt x="1493" y="1053"/>
                  </a:cubicBezTo>
                  <a:cubicBezTo>
                    <a:pt x="1494" y="1029"/>
                    <a:pt x="1508" y="1020"/>
                    <a:pt x="1531" y="1019"/>
                  </a:cubicBezTo>
                  <a:close/>
                  <a:moveTo>
                    <a:pt x="1413" y="934"/>
                  </a:moveTo>
                  <a:cubicBezTo>
                    <a:pt x="1413" y="909"/>
                    <a:pt x="1413" y="909"/>
                    <a:pt x="1389" y="910"/>
                  </a:cubicBezTo>
                  <a:cubicBezTo>
                    <a:pt x="1388" y="910"/>
                    <a:pt x="1387" y="910"/>
                    <a:pt x="1387" y="910"/>
                  </a:cubicBezTo>
                  <a:cubicBezTo>
                    <a:pt x="1379" y="910"/>
                    <a:pt x="1376" y="915"/>
                    <a:pt x="1376" y="921"/>
                  </a:cubicBezTo>
                  <a:cubicBezTo>
                    <a:pt x="1376" y="939"/>
                    <a:pt x="1377" y="956"/>
                    <a:pt x="1377" y="974"/>
                  </a:cubicBezTo>
                  <a:cubicBezTo>
                    <a:pt x="1377" y="983"/>
                    <a:pt x="1377" y="991"/>
                    <a:pt x="1377" y="1000"/>
                  </a:cubicBezTo>
                  <a:cubicBezTo>
                    <a:pt x="1377" y="1005"/>
                    <a:pt x="1374" y="1009"/>
                    <a:pt x="1369" y="1005"/>
                  </a:cubicBezTo>
                  <a:cubicBezTo>
                    <a:pt x="1352" y="990"/>
                    <a:pt x="1332" y="993"/>
                    <a:pt x="1312" y="993"/>
                  </a:cubicBezTo>
                  <a:cubicBezTo>
                    <a:pt x="1303" y="994"/>
                    <a:pt x="1294" y="998"/>
                    <a:pt x="1287" y="1003"/>
                  </a:cubicBezTo>
                  <a:cubicBezTo>
                    <a:pt x="1265" y="1017"/>
                    <a:pt x="1252" y="1039"/>
                    <a:pt x="1248" y="1065"/>
                  </a:cubicBezTo>
                  <a:cubicBezTo>
                    <a:pt x="1244" y="1096"/>
                    <a:pt x="1244" y="1128"/>
                    <a:pt x="1261" y="1157"/>
                  </a:cubicBezTo>
                  <a:cubicBezTo>
                    <a:pt x="1270" y="1170"/>
                    <a:pt x="1281" y="1181"/>
                    <a:pt x="1296" y="1185"/>
                  </a:cubicBezTo>
                  <a:cubicBezTo>
                    <a:pt x="1323" y="1191"/>
                    <a:pt x="1349" y="1188"/>
                    <a:pt x="1370" y="1167"/>
                  </a:cubicBezTo>
                  <a:cubicBezTo>
                    <a:pt x="1372" y="1165"/>
                    <a:pt x="1375" y="1162"/>
                    <a:pt x="1379" y="1163"/>
                  </a:cubicBezTo>
                  <a:cubicBezTo>
                    <a:pt x="1382" y="1165"/>
                    <a:pt x="1381" y="1169"/>
                    <a:pt x="1381" y="1172"/>
                  </a:cubicBezTo>
                  <a:cubicBezTo>
                    <a:pt x="1383" y="1181"/>
                    <a:pt x="1390" y="1186"/>
                    <a:pt x="1403" y="1186"/>
                  </a:cubicBezTo>
                  <a:cubicBezTo>
                    <a:pt x="1413" y="1185"/>
                    <a:pt x="1413" y="1178"/>
                    <a:pt x="1413" y="1172"/>
                  </a:cubicBezTo>
                  <a:cubicBezTo>
                    <a:pt x="1413" y="1131"/>
                    <a:pt x="1413" y="1090"/>
                    <a:pt x="1413" y="1049"/>
                  </a:cubicBezTo>
                  <a:cubicBezTo>
                    <a:pt x="1413" y="1010"/>
                    <a:pt x="1413" y="972"/>
                    <a:pt x="1413" y="934"/>
                  </a:cubicBezTo>
                  <a:close/>
                  <a:moveTo>
                    <a:pt x="1378" y="1113"/>
                  </a:moveTo>
                  <a:cubicBezTo>
                    <a:pt x="1378" y="1136"/>
                    <a:pt x="1360" y="1155"/>
                    <a:pt x="1337" y="1157"/>
                  </a:cubicBezTo>
                  <a:cubicBezTo>
                    <a:pt x="1319" y="1159"/>
                    <a:pt x="1304" y="1154"/>
                    <a:pt x="1294" y="1139"/>
                  </a:cubicBezTo>
                  <a:cubicBezTo>
                    <a:pt x="1286" y="1128"/>
                    <a:pt x="1283" y="1116"/>
                    <a:pt x="1283" y="1102"/>
                  </a:cubicBezTo>
                  <a:cubicBezTo>
                    <a:pt x="1282" y="1085"/>
                    <a:pt x="1282" y="1067"/>
                    <a:pt x="1290" y="1051"/>
                  </a:cubicBezTo>
                  <a:cubicBezTo>
                    <a:pt x="1297" y="1036"/>
                    <a:pt x="1308" y="1024"/>
                    <a:pt x="1325" y="1022"/>
                  </a:cubicBezTo>
                  <a:cubicBezTo>
                    <a:pt x="1342" y="1020"/>
                    <a:pt x="1358" y="1021"/>
                    <a:pt x="1371" y="1035"/>
                  </a:cubicBezTo>
                  <a:cubicBezTo>
                    <a:pt x="1376" y="1041"/>
                    <a:pt x="1378" y="1046"/>
                    <a:pt x="1378" y="1052"/>
                  </a:cubicBezTo>
                  <a:cubicBezTo>
                    <a:pt x="1378" y="1064"/>
                    <a:pt x="1378" y="1075"/>
                    <a:pt x="1378" y="1086"/>
                  </a:cubicBezTo>
                  <a:cubicBezTo>
                    <a:pt x="1378" y="1086"/>
                    <a:pt x="1378" y="1086"/>
                    <a:pt x="1378" y="1086"/>
                  </a:cubicBezTo>
                  <a:cubicBezTo>
                    <a:pt x="1378" y="1095"/>
                    <a:pt x="1378" y="1104"/>
                    <a:pt x="1378" y="1113"/>
                  </a:cubicBezTo>
                  <a:close/>
                  <a:moveTo>
                    <a:pt x="578" y="259"/>
                  </a:moveTo>
                  <a:cubicBezTo>
                    <a:pt x="603" y="241"/>
                    <a:pt x="611" y="213"/>
                    <a:pt x="614" y="183"/>
                  </a:cubicBezTo>
                  <a:cubicBezTo>
                    <a:pt x="615" y="171"/>
                    <a:pt x="610" y="159"/>
                    <a:pt x="609" y="147"/>
                  </a:cubicBezTo>
                  <a:cubicBezTo>
                    <a:pt x="608" y="137"/>
                    <a:pt x="603" y="129"/>
                    <a:pt x="599" y="121"/>
                  </a:cubicBezTo>
                  <a:cubicBezTo>
                    <a:pt x="579" y="87"/>
                    <a:pt x="527" y="70"/>
                    <a:pt x="488" y="85"/>
                  </a:cubicBezTo>
                  <a:cubicBezTo>
                    <a:pt x="453" y="99"/>
                    <a:pt x="436" y="127"/>
                    <a:pt x="431" y="163"/>
                  </a:cubicBezTo>
                  <a:cubicBezTo>
                    <a:pt x="429" y="180"/>
                    <a:pt x="430" y="196"/>
                    <a:pt x="436" y="213"/>
                  </a:cubicBezTo>
                  <a:cubicBezTo>
                    <a:pt x="439" y="222"/>
                    <a:pt x="442" y="232"/>
                    <a:pt x="447" y="239"/>
                  </a:cubicBezTo>
                  <a:cubicBezTo>
                    <a:pt x="465" y="265"/>
                    <a:pt x="491" y="277"/>
                    <a:pt x="525" y="276"/>
                  </a:cubicBezTo>
                  <a:cubicBezTo>
                    <a:pt x="543" y="278"/>
                    <a:pt x="562" y="271"/>
                    <a:pt x="578" y="259"/>
                  </a:cubicBezTo>
                  <a:close/>
                  <a:moveTo>
                    <a:pt x="471" y="205"/>
                  </a:moveTo>
                  <a:cubicBezTo>
                    <a:pt x="466" y="185"/>
                    <a:pt x="468" y="167"/>
                    <a:pt x="472" y="147"/>
                  </a:cubicBezTo>
                  <a:cubicBezTo>
                    <a:pt x="477" y="130"/>
                    <a:pt x="493" y="116"/>
                    <a:pt x="509" y="112"/>
                  </a:cubicBezTo>
                  <a:cubicBezTo>
                    <a:pt x="525" y="108"/>
                    <a:pt x="539" y="110"/>
                    <a:pt x="553" y="119"/>
                  </a:cubicBezTo>
                  <a:cubicBezTo>
                    <a:pt x="563" y="125"/>
                    <a:pt x="568" y="135"/>
                    <a:pt x="571" y="146"/>
                  </a:cubicBezTo>
                  <a:cubicBezTo>
                    <a:pt x="577" y="167"/>
                    <a:pt x="578" y="189"/>
                    <a:pt x="571" y="211"/>
                  </a:cubicBezTo>
                  <a:cubicBezTo>
                    <a:pt x="565" y="231"/>
                    <a:pt x="549" y="249"/>
                    <a:pt x="521" y="247"/>
                  </a:cubicBezTo>
                  <a:cubicBezTo>
                    <a:pt x="496" y="247"/>
                    <a:pt x="478" y="230"/>
                    <a:pt x="471" y="205"/>
                  </a:cubicBezTo>
                  <a:close/>
                  <a:moveTo>
                    <a:pt x="472" y="1122"/>
                  </a:moveTo>
                  <a:cubicBezTo>
                    <a:pt x="475" y="1136"/>
                    <a:pt x="481" y="1148"/>
                    <a:pt x="491" y="1158"/>
                  </a:cubicBezTo>
                  <a:cubicBezTo>
                    <a:pt x="506" y="1176"/>
                    <a:pt x="524" y="1185"/>
                    <a:pt x="548" y="1187"/>
                  </a:cubicBezTo>
                  <a:cubicBezTo>
                    <a:pt x="568" y="1188"/>
                    <a:pt x="587" y="1187"/>
                    <a:pt x="605" y="1177"/>
                  </a:cubicBezTo>
                  <a:cubicBezTo>
                    <a:pt x="632" y="1162"/>
                    <a:pt x="644" y="1136"/>
                    <a:pt x="649" y="1107"/>
                  </a:cubicBezTo>
                  <a:cubicBezTo>
                    <a:pt x="652" y="1089"/>
                    <a:pt x="649" y="1072"/>
                    <a:pt x="644" y="1054"/>
                  </a:cubicBezTo>
                  <a:cubicBezTo>
                    <a:pt x="638" y="1034"/>
                    <a:pt x="627" y="1019"/>
                    <a:pt x="610" y="1007"/>
                  </a:cubicBezTo>
                  <a:cubicBezTo>
                    <a:pt x="589" y="992"/>
                    <a:pt x="566" y="991"/>
                    <a:pt x="541" y="994"/>
                  </a:cubicBezTo>
                  <a:cubicBezTo>
                    <a:pt x="526" y="995"/>
                    <a:pt x="512" y="1002"/>
                    <a:pt x="500" y="1012"/>
                  </a:cubicBezTo>
                  <a:cubicBezTo>
                    <a:pt x="476" y="1032"/>
                    <a:pt x="469" y="1060"/>
                    <a:pt x="466" y="1095"/>
                  </a:cubicBezTo>
                  <a:cubicBezTo>
                    <a:pt x="465" y="1101"/>
                    <a:pt x="470" y="1111"/>
                    <a:pt x="472" y="1122"/>
                  </a:cubicBezTo>
                  <a:close/>
                  <a:moveTo>
                    <a:pt x="508" y="1113"/>
                  </a:moveTo>
                  <a:cubicBezTo>
                    <a:pt x="505" y="1095"/>
                    <a:pt x="506" y="1078"/>
                    <a:pt x="508" y="1061"/>
                  </a:cubicBezTo>
                  <a:cubicBezTo>
                    <a:pt x="511" y="1042"/>
                    <a:pt x="538" y="1021"/>
                    <a:pt x="554" y="1022"/>
                  </a:cubicBezTo>
                  <a:cubicBezTo>
                    <a:pt x="570" y="1022"/>
                    <a:pt x="586" y="1024"/>
                    <a:pt x="596" y="1037"/>
                  </a:cubicBezTo>
                  <a:cubicBezTo>
                    <a:pt x="602" y="1044"/>
                    <a:pt x="607" y="1052"/>
                    <a:pt x="608" y="1061"/>
                  </a:cubicBezTo>
                  <a:cubicBezTo>
                    <a:pt x="608" y="1064"/>
                    <a:pt x="609" y="1067"/>
                    <a:pt x="610" y="1070"/>
                  </a:cubicBezTo>
                  <a:cubicBezTo>
                    <a:pt x="618" y="1089"/>
                    <a:pt x="612" y="1107"/>
                    <a:pt x="607" y="1125"/>
                  </a:cubicBezTo>
                  <a:cubicBezTo>
                    <a:pt x="601" y="1143"/>
                    <a:pt x="588" y="1160"/>
                    <a:pt x="558" y="1157"/>
                  </a:cubicBezTo>
                  <a:cubicBezTo>
                    <a:pt x="530" y="1157"/>
                    <a:pt x="512" y="1141"/>
                    <a:pt x="508" y="1113"/>
                  </a:cubicBezTo>
                  <a:close/>
                  <a:moveTo>
                    <a:pt x="430" y="716"/>
                  </a:moveTo>
                  <a:cubicBezTo>
                    <a:pt x="450" y="703"/>
                    <a:pt x="459" y="683"/>
                    <a:pt x="464" y="661"/>
                  </a:cubicBezTo>
                  <a:cubicBezTo>
                    <a:pt x="468" y="648"/>
                    <a:pt x="467" y="635"/>
                    <a:pt x="466" y="621"/>
                  </a:cubicBezTo>
                  <a:cubicBezTo>
                    <a:pt x="463" y="592"/>
                    <a:pt x="453" y="567"/>
                    <a:pt x="427" y="550"/>
                  </a:cubicBezTo>
                  <a:cubicBezTo>
                    <a:pt x="401" y="534"/>
                    <a:pt x="372" y="532"/>
                    <a:pt x="345" y="541"/>
                  </a:cubicBezTo>
                  <a:cubicBezTo>
                    <a:pt x="310" y="552"/>
                    <a:pt x="291" y="580"/>
                    <a:pt x="287" y="617"/>
                  </a:cubicBezTo>
                  <a:cubicBezTo>
                    <a:pt x="286" y="629"/>
                    <a:pt x="286" y="641"/>
                    <a:pt x="287" y="654"/>
                  </a:cubicBezTo>
                  <a:cubicBezTo>
                    <a:pt x="289" y="671"/>
                    <a:pt x="295" y="686"/>
                    <a:pt x="306" y="700"/>
                  </a:cubicBezTo>
                  <a:cubicBezTo>
                    <a:pt x="324" y="722"/>
                    <a:pt x="348" y="733"/>
                    <a:pt x="378" y="731"/>
                  </a:cubicBezTo>
                  <a:cubicBezTo>
                    <a:pt x="396" y="733"/>
                    <a:pt x="414" y="727"/>
                    <a:pt x="430" y="716"/>
                  </a:cubicBezTo>
                  <a:close/>
                  <a:moveTo>
                    <a:pt x="331" y="592"/>
                  </a:moveTo>
                  <a:cubicBezTo>
                    <a:pt x="339" y="580"/>
                    <a:pt x="349" y="569"/>
                    <a:pt x="365" y="567"/>
                  </a:cubicBezTo>
                  <a:cubicBezTo>
                    <a:pt x="387" y="564"/>
                    <a:pt x="406" y="568"/>
                    <a:pt x="419" y="588"/>
                  </a:cubicBezTo>
                  <a:cubicBezTo>
                    <a:pt x="423" y="595"/>
                    <a:pt x="426" y="603"/>
                    <a:pt x="427" y="610"/>
                  </a:cubicBezTo>
                  <a:cubicBezTo>
                    <a:pt x="433" y="635"/>
                    <a:pt x="431" y="661"/>
                    <a:pt x="416" y="684"/>
                  </a:cubicBezTo>
                  <a:cubicBezTo>
                    <a:pt x="403" y="706"/>
                    <a:pt x="362" y="708"/>
                    <a:pt x="345" y="692"/>
                  </a:cubicBezTo>
                  <a:cubicBezTo>
                    <a:pt x="329" y="678"/>
                    <a:pt x="323" y="661"/>
                    <a:pt x="323" y="631"/>
                  </a:cubicBezTo>
                  <a:cubicBezTo>
                    <a:pt x="323" y="619"/>
                    <a:pt x="323" y="605"/>
                    <a:pt x="331" y="592"/>
                  </a:cubicBezTo>
                  <a:close/>
                  <a:moveTo>
                    <a:pt x="1073" y="259"/>
                  </a:moveTo>
                  <a:cubicBezTo>
                    <a:pt x="1073" y="269"/>
                    <a:pt x="1075" y="272"/>
                    <a:pt x="1086" y="272"/>
                  </a:cubicBezTo>
                  <a:cubicBezTo>
                    <a:pt x="1088" y="272"/>
                    <a:pt x="1090" y="272"/>
                    <a:pt x="1092" y="272"/>
                  </a:cubicBezTo>
                  <a:cubicBezTo>
                    <a:pt x="1105" y="272"/>
                    <a:pt x="1106" y="271"/>
                    <a:pt x="1106" y="258"/>
                  </a:cubicBezTo>
                  <a:cubicBezTo>
                    <a:pt x="1106" y="221"/>
                    <a:pt x="1106" y="184"/>
                    <a:pt x="1106" y="147"/>
                  </a:cubicBezTo>
                  <a:cubicBezTo>
                    <a:pt x="1106" y="143"/>
                    <a:pt x="1106" y="140"/>
                    <a:pt x="1107" y="137"/>
                  </a:cubicBezTo>
                  <a:cubicBezTo>
                    <a:pt x="1117" y="117"/>
                    <a:pt x="1157" y="104"/>
                    <a:pt x="1177" y="114"/>
                  </a:cubicBezTo>
                  <a:cubicBezTo>
                    <a:pt x="1179" y="115"/>
                    <a:pt x="1180" y="117"/>
                    <a:pt x="1182" y="118"/>
                  </a:cubicBezTo>
                  <a:cubicBezTo>
                    <a:pt x="1194" y="131"/>
                    <a:pt x="1196" y="147"/>
                    <a:pt x="1196" y="163"/>
                  </a:cubicBezTo>
                  <a:cubicBezTo>
                    <a:pt x="1197" y="195"/>
                    <a:pt x="1196" y="226"/>
                    <a:pt x="1196" y="258"/>
                  </a:cubicBezTo>
                  <a:cubicBezTo>
                    <a:pt x="1196" y="271"/>
                    <a:pt x="1197" y="272"/>
                    <a:pt x="1210" y="272"/>
                  </a:cubicBezTo>
                  <a:cubicBezTo>
                    <a:pt x="1212" y="272"/>
                    <a:pt x="1213" y="272"/>
                    <a:pt x="1215" y="272"/>
                  </a:cubicBezTo>
                  <a:cubicBezTo>
                    <a:pt x="1227" y="272"/>
                    <a:pt x="1229" y="270"/>
                    <a:pt x="1229" y="258"/>
                  </a:cubicBezTo>
                  <a:cubicBezTo>
                    <a:pt x="1229" y="222"/>
                    <a:pt x="1229" y="187"/>
                    <a:pt x="1229" y="151"/>
                  </a:cubicBezTo>
                  <a:cubicBezTo>
                    <a:pt x="1229" y="142"/>
                    <a:pt x="1228" y="132"/>
                    <a:pt x="1225" y="123"/>
                  </a:cubicBezTo>
                  <a:cubicBezTo>
                    <a:pt x="1219" y="105"/>
                    <a:pt x="1208" y="91"/>
                    <a:pt x="1189" y="85"/>
                  </a:cubicBezTo>
                  <a:cubicBezTo>
                    <a:pt x="1173" y="80"/>
                    <a:pt x="1156" y="84"/>
                    <a:pt x="1139" y="84"/>
                  </a:cubicBezTo>
                  <a:cubicBezTo>
                    <a:pt x="1137" y="84"/>
                    <a:pt x="1136" y="86"/>
                    <a:pt x="1134" y="87"/>
                  </a:cubicBezTo>
                  <a:cubicBezTo>
                    <a:pt x="1128" y="91"/>
                    <a:pt x="1121" y="96"/>
                    <a:pt x="1115" y="100"/>
                  </a:cubicBezTo>
                  <a:cubicBezTo>
                    <a:pt x="1113" y="102"/>
                    <a:pt x="1111" y="105"/>
                    <a:pt x="1108" y="103"/>
                  </a:cubicBezTo>
                  <a:cubicBezTo>
                    <a:pt x="1105" y="102"/>
                    <a:pt x="1106" y="98"/>
                    <a:pt x="1106" y="96"/>
                  </a:cubicBezTo>
                  <a:cubicBezTo>
                    <a:pt x="1106" y="69"/>
                    <a:pt x="1106" y="43"/>
                    <a:pt x="1106" y="17"/>
                  </a:cubicBezTo>
                  <a:cubicBezTo>
                    <a:pt x="1106" y="0"/>
                    <a:pt x="1106" y="0"/>
                    <a:pt x="1089" y="0"/>
                  </a:cubicBezTo>
                  <a:cubicBezTo>
                    <a:pt x="1074" y="0"/>
                    <a:pt x="1073" y="1"/>
                    <a:pt x="1073" y="16"/>
                  </a:cubicBezTo>
                  <a:cubicBezTo>
                    <a:pt x="1073" y="56"/>
                    <a:pt x="1073" y="96"/>
                    <a:pt x="1073" y="136"/>
                  </a:cubicBezTo>
                  <a:cubicBezTo>
                    <a:pt x="1073" y="177"/>
                    <a:pt x="1073" y="218"/>
                    <a:pt x="1073" y="259"/>
                  </a:cubicBezTo>
                  <a:close/>
                  <a:moveTo>
                    <a:pt x="1150" y="1092"/>
                  </a:moveTo>
                  <a:cubicBezTo>
                    <a:pt x="1168" y="1092"/>
                    <a:pt x="1186" y="1092"/>
                    <a:pt x="1204" y="1092"/>
                  </a:cubicBezTo>
                  <a:cubicBezTo>
                    <a:pt x="1215" y="1092"/>
                    <a:pt x="1218" y="1087"/>
                    <a:pt x="1219" y="1077"/>
                  </a:cubicBezTo>
                  <a:cubicBezTo>
                    <a:pt x="1220" y="1062"/>
                    <a:pt x="1216" y="1049"/>
                    <a:pt x="1210" y="1036"/>
                  </a:cubicBezTo>
                  <a:cubicBezTo>
                    <a:pt x="1204" y="1020"/>
                    <a:pt x="1193" y="1008"/>
                    <a:pt x="1177" y="1001"/>
                  </a:cubicBezTo>
                  <a:cubicBezTo>
                    <a:pt x="1155" y="992"/>
                    <a:pt x="1133" y="991"/>
                    <a:pt x="1109" y="999"/>
                  </a:cubicBezTo>
                  <a:cubicBezTo>
                    <a:pt x="1079" y="1010"/>
                    <a:pt x="1062" y="1031"/>
                    <a:pt x="1056" y="1061"/>
                  </a:cubicBezTo>
                  <a:cubicBezTo>
                    <a:pt x="1051" y="1090"/>
                    <a:pt x="1052" y="1120"/>
                    <a:pt x="1069" y="1148"/>
                  </a:cubicBezTo>
                  <a:cubicBezTo>
                    <a:pt x="1081" y="1169"/>
                    <a:pt x="1100" y="1180"/>
                    <a:pt x="1122" y="1185"/>
                  </a:cubicBezTo>
                  <a:cubicBezTo>
                    <a:pt x="1149" y="1190"/>
                    <a:pt x="1176" y="1186"/>
                    <a:pt x="1200" y="1171"/>
                  </a:cubicBezTo>
                  <a:cubicBezTo>
                    <a:pt x="1206" y="1168"/>
                    <a:pt x="1213" y="1165"/>
                    <a:pt x="1214" y="1157"/>
                  </a:cubicBezTo>
                  <a:cubicBezTo>
                    <a:pt x="1215" y="1147"/>
                    <a:pt x="1202" y="1139"/>
                    <a:pt x="1193" y="1144"/>
                  </a:cubicBezTo>
                  <a:cubicBezTo>
                    <a:pt x="1187" y="1147"/>
                    <a:pt x="1180" y="1150"/>
                    <a:pt x="1174" y="1153"/>
                  </a:cubicBezTo>
                  <a:cubicBezTo>
                    <a:pt x="1158" y="1161"/>
                    <a:pt x="1140" y="1161"/>
                    <a:pt x="1124" y="1155"/>
                  </a:cubicBezTo>
                  <a:cubicBezTo>
                    <a:pt x="1112" y="1151"/>
                    <a:pt x="1102" y="1142"/>
                    <a:pt x="1096" y="1129"/>
                  </a:cubicBezTo>
                  <a:cubicBezTo>
                    <a:pt x="1092" y="1121"/>
                    <a:pt x="1091" y="1112"/>
                    <a:pt x="1089" y="1104"/>
                  </a:cubicBezTo>
                  <a:cubicBezTo>
                    <a:pt x="1087" y="1093"/>
                    <a:pt x="1087" y="1092"/>
                    <a:pt x="1099" y="1092"/>
                  </a:cubicBezTo>
                  <a:cubicBezTo>
                    <a:pt x="1116" y="1092"/>
                    <a:pt x="1133" y="1092"/>
                    <a:pt x="1150" y="1092"/>
                  </a:cubicBezTo>
                  <a:cubicBezTo>
                    <a:pt x="1150" y="1092"/>
                    <a:pt x="1150" y="1092"/>
                    <a:pt x="1150" y="1092"/>
                  </a:cubicBezTo>
                  <a:close/>
                  <a:moveTo>
                    <a:pt x="1099" y="1070"/>
                  </a:moveTo>
                  <a:cubicBezTo>
                    <a:pt x="1092" y="1071"/>
                    <a:pt x="1089" y="1067"/>
                    <a:pt x="1091" y="1060"/>
                  </a:cubicBezTo>
                  <a:cubicBezTo>
                    <a:pt x="1094" y="1045"/>
                    <a:pt x="1108" y="1023"/>
                    <a:pt x="1128" y="1022"/>
                  </a:cubicBezTo>
                  <a:cubicBezTo>
                    <a:pt x="1142" y="1021"/>
                    <a:pt x="1156" y="1018"/>
                    <a:pt x="1168" y="1029"/>
                  </a:cubicBezTo>
                  <a:cubicBezTo>
                    <a:pt x="1181" y="1038"/>
                    <a:pt x="1185" y="1051"/>
                    <a:pt x="1187" y="1066"/>
                  </a:cubicBezTo>
                  <a:cubicBezTo>
                    <a:pt x="1188" y="1071"/>
                    <a:pt x="1183" y="1070"/>
                    <a:pt x="1180" y="1070"/>
                  </a:cubicBezTo>
                  <a:cubicBezTo>
                    <a:pt x="1166" y="1070"/>
                    <a:pt x="1153" y="1070"/>
                    <a:pt x="1139" y="1070"/>
                  </a:cubicBezTo>
                  <a:cubicBezTo>
                    <a:pt x="1139" y="1070"/>
                    <a:pt x="1139" y="1070"/>
                    <a:pt x="1139" y="1070"/>
                  </a:cubicBezTo>
                  <a:cubicBezTo>
                    <a:pt x="1126" y="1070"/>
                    <a:pt x="1113" y="1070"/>
                    <a:pt x="1099" y="1070"/>
                  </a:cubicBezTo>
                  <a:close/>
                  <a:moveTo>
                    <a:pt x="1741" y="1092"/>
                  </a:moveTo>
                  <a:cubicBezTo>
                    <a:pt x="1759" y="1092"/>
                    <a:pt x="1776" y="1092"/>
                    <a:pt x="1793" y="1092"/>
                  </a:cubicBezTo>
                  <a:cubicBezTo>
                    <a:pt x="1806" y="1092"/>
                    <a:pt x="1808" y="1089"/>
                    <a:pt x="1808" y="1076"/>
                  </a:cubicBezTo>
                  <a:cubicBezTo>
                    <a:pt x="1809" y="1063"/>
                    <a:pt x="1807" y="1051"/>
                    <a:pt x="1802" y="1038"/>
                  </a:cubicBezTo>
                  <a:cubicBezTo>
                    <a:pt x="1794" y="1021"/>
                    <a:pt x="1782" y="1008"/>
                    <a:pt x="1764" y="1000"/>
                  </a:cubicBezTo>
                  <a:cubicBezTo>
                    <a:pt x="1742" y="991"/>
                    <a:pt x="1720" y="991"/>
                    <a:pt x="1698" y="1000"/>
                  </a:cubicBezTo>
                  <a:cubicBezTo>
                    <a:pt x="1681" y="1006"/>
                    <a:pt x="1668" y="1016"/>
                    <a:pt x="1659" y="1031"/>
                  </a:cubicBezTo>
                  <a:cubicBezTo>
                    <a:pt x="1646" y="1050"/>
                    <a:pt x="1643" y="1071"/>
                    <a:pt x="1644" y="1094"/>
                  </a:cubicBezTo>
                  <a:cubicBezTo>
                    <a:pt x="1644" y="1110"/>
                    <a:pt x="1647" y="1127"/>
                    <a:pt x="1655" y="1141"/>
                  </a:cubicBezTo>
                  <a:cubicBezTo>
                    <a:pt x="1669" y="1168"/>
                    <a:pt x="1691" y="1183"/>
                    <a:pt x="1722" y="1186"/>
                  </a:cubicBezTo>
                  <a:cubicBezTo>
                    <a:pt x="1750" y="1188"/>
                    <a:pt x="1775" y="1183"/>
                    <a:pt x="1798" y="1165"/>
                  </a:cubicBezTo>
                  <a:cubicBezTo>
                    <a:pt x="1803" y="1161"/>
                    <a:pt x="1806" y="1157"/>
                    <a:pt x="1802" y="1151"/>
                  </a:cubicBezTo>
                  <a:cubicBezTo>
                    <a:pt x="1798" y="1144"/>
                    <a:pt x="1791" y="1140"/>
                    <a:pt x="1783" y="1144"/>
                  </a:cubicBezTo>
                  <a:cubicBezTo>
                    <a:pt x="1778" y="1147"/>
                    <a:pt x="1771" y="1149"/>
                    <a:pt x="1766" y="1152"/>
                  </a:cubicBezTo>
                  <a:cubicBezTo>
                    <a:pt x="1749" y="1161"/>
                    <a:pt x="1730" y="1162"/>
                    <a:pt x="1714" y="1155"/>
                  </a:cubicBezTo>
                  <a:cubicBezTo>
                    <a:pt x="1692" y="1145"/>
                    <a:pt x="1680" y="1127"/>
                    <a:pt x="1679" y="1102"/>
                  </a:cubicBezTo>
                  <a:cubicBezTo>
                    <a:pt x="1678" y="1095"/>
                    <a:pt x="1681" y="1092"/>
                    <a:pt x="1689" y="1092"/>
                  </a:cubicBezTo>
                  <a:cubicBezTo>
                    <a:pt x="1706" y="1092"/>
                    <a:pt x="1724" y="1092"/>
                    <a:pt x="1741" y="1092"/>
                  </a:cubicBezTo>
                  <a:cubicBezTo>
                    <a:pt x="1741" y="1092"/>
                    <a:pt x="1741" y="1092"/>
                    <a:pt x="1741" y="1092"/>
                  </a:cubicBezTo>
                  <a:close/>
                  <a:moveTo>
                    <a:pt x="1690" y="1070"/>
                  </a:moveTo>
                  <a:cubicBezTo>
                    <a:pt x="1683" y="1071"/>
                    <a:pt x="1680" y="1068"/>
                    <a:pt x="1681" y="1062"/>
                  </a:cubicBezTo>
                  <a:cubicBezTo>
                    <a:pt x="1683" y="1048"/>
                    <a:pt x="1697" y="1024"/>
                    <a:pt x="1716" y="1022"/>
                  </a:cubicBezTo>
                  <a:cubicBezTo>
                    <a:pt x="1731" y="1020"/>
                    <a:pt x="1747" y="1018"/>
                    <a:pt x="1760" y="1030"/>
                  </a:cubicBezTo>
                  <a:cubicBezTo>
                    <a:pt x="1771" y="1038"/>
                    <a:pt x="1775" y="1050"/>
                    <a:pt x="1778" y="1062"/>
                  </a:cubicBezTo>
                  <a:cubicBezTo>
                    <a:pt x="1780" y="1068"/>
                    <a:pt x="1775" y="1070"/>
                    <a:pt x="1769" y="1070"/>
                  </a:cubicBezTo>
                  <a:cubicBezTo>
                    <a:pt x="1756" y="1070"/>
                    <a:pt x="1742" y="1070"/>
                    <a:pt x="1729" y="1070"/>
                  </a:cubicBezTo>
                  <a:cubicBezTo>
                    <a:pt x="1729" y="1070"/>
                    <a:pt x="1729" y="1070"/>
                    <a:pt x="1729" y="1070"/>
                  </a:cubicBezTo>
                  <a:cubicBezTo>
                    <a:pt x="1716" y="1070"/>
                    <a:pt x="1703" y="1070"/>
                    <a:pt x="1690" y="1070"/>
                  </a:cubicBezTo>
                  <a:close/>
                  <a:moveTo>
                    <a:pt x="68" y="581"/>
                  </a:moveTo>
                  <a:cubicBezTo>
                    <a:pt x="68" y="573"/>
                    <a:pt x="70" y="568"/>
                    <a:pt x="80" y="569"/>
                  </a:cubicBezTo>
                  <a:cubicBezTo>
                    <a:pt x="90" y="570"/>
                    <a:pt x="101" y="570"/>
                    <a:pt x="111" y="569"/>
                  </a:cubicBezTo>
                  <a:cubicBezTo>
                    <a:pt x="120" y="569"/>
                    <a:pt x="120" y="563"/>
                    <a:pt x="120" y="556"/>
                  </a:cubicBezTo>
                  <a:cubicBezTo>
                    <a:pt x="120" y="549"/>
                    <a:pt x="119" y="544"/>
                    <a:pt x="111" y="544"/>
                  </a:cubicBezTo>
                  <a:cubicBezTo>
                    <a:pt x="104" y="544"/>
                    <a:pt x="97" y="544"/>
                    <a:pt x="91" y="544"/>
                  </a:cubicBezTo>
                  <a:cubicBezTo>
                    <a:pt x="66" y="544"/>
                    <a:pt x="65" y="543"/>
                    <a:pt x="68" y="518"/>
                  </a:cubicBezTo>
                  <a:cubicBezTo>
                    <a:pt x="69" y="504"/>
                    <a:pt x="83" y="487"/>
                    <a:pt x="99" y="489"/>
                  </a:cubicBezTo>
                  <a:cubicBezTo>
                    <a:pt x="103" y="489"/>
                    <a:pt x="107" y="489"/>
                    <a:pt x="110" y="488"/>
                  </a:cubicBezTo>
                  <a:cubicBezTo>
                    <a:pt x="118" y="487"/>
                    <a:pt x="123" y="479"/>
                    <a:pt x="123" y="471"/>
                  </a:cubicBezTo>
                  <a:cubicBezTo>
                    <a:pt x="123" y="461"/>
                    <a:pt x="116" y="462"/>
                    <a:pt x="109" y="460"/>
                  </a:cubicBezTo>
                  <a:cubicBezTo>
                    <a:pt x="100" y="458"/>
                    <a:pt x="92" y="460"/>
                    <a:pt x="84" y="460"/>
                  </a:cubicBezTo>
                  <a:cubicBezTo>
                    <a:pt x="68" y="461"/>
                    <a:pt x="56" y="469"/>
                    <a:pt x="47" y="480"/>
                  </a:cubicBezTo>
                  <a:cubicBezTo>
                    <a:pt x="34" y="493"/>
                    <a:pt x="32" y="511"/>
                    <a:pt x="32" y="529"/>
                  </a:cubicBezTo>
                  <a:cubicBezTo>
                    <a:pt x="32" y="544"/>
                    <a:pt x="32" y="544"/>
                    <a:pt x="17" y="544"/>
                  </a:cubicBezTo>
                  <a:cubicBezTo>
                    <a:pt x="4" y="543"/>
                    <a:pt x="0" y="548"/>
                    <a:pt x="4" y="561"/>
                  </a:cubicBezTo>
                  <a:cubicBezTo>
                    <a:pt x="6" y="569"/>
                    <a:pt x="13" y="568"/>
                    <a:pt x="19" y="569"/>
                  </a:cubicBezTo>
                  <a:cubicBezTo>
                    <a:pt x="32" y="571"/>
                    <a:pt x="32" y="571"/>
                    <a:pt x="32" y="584"/>
                  </a:cubicBezTo>
                  <a:cubicBezTo>
                    <a:pt x="32" y="624"/>
                    <a:pt x="32" y="664"/>
                    <a:pt x="32" y="704"/>
                  </a:cubicBezTo>
                  <a:cubicBezTo>
                    <a:pt x="32" y="731"/>
                    <a:pt x="32" y="730"/>
                    <a:pt x="57" y="731"/>
                  </a:cubicBezTo>
                  <a:cubicBezTo>
                    <a:pt x="66" y="731"/>
                    <a:pt x="68" y="727"/>
                    <a:pt x="68" y="720"/>
                  </a:cubicBezTo>
                  <a:cubicBezTo>
                    <a:pt x="68" y="697"/>
                    <a:pt x="68" y="674"/>
                    <a:pt x="68" y="651"/>
                  </a:cubicBezTo>
                  <a:cubicBezTo>
                    <a:pt x="68" y="628"/>
                    <a:pt x="68" y="605"/>
                    <a:pt x="68" y="581"/>
                  </a:cubicBezTo>
                  <a:close/>
                  <a:moveTo>
                    <a:pt x="278" y="1165"/>
                  </a:moveTo>
                  <a:cubicBezTo>
                    <a:pt x="278" y="1183"/>
                    <a:pt x="278" y="1183"/>
                    <a:pt x="296" y="1184"/>
                  </a:cubicBezTo>
                  <a:cubicBezTo>
                    <a:pt x="310" y="1184"/>
                    <a:pt x="310" y="1184"/>
                    <a:pt x="310" y="1169"/>
                  </a:cubicBezTo>
                  <a:cubicBezTo>
                    <a:pt x="310" y="1132"/>
                    <a:pt x="310" y="1095"/>
                    <a:pt x="310" y="1058"/>
                  </a:cubicBezTo>
                  <a:cubicBezTo>
                    <a:pt x="310" y="1052"/>
                    <a:pt x="312" y="1047"/>
                    <a:pt x="316" y="1042"/>
                  </a:cubicBezTo>
                  <a:cubicBezTo>
                    <a:pt x="324" y="1033"/>
                    <a:pt x="334" y="1027"/>
                    <a:pt x="345" y="1024"/>
                  </a:cubicBezTo>
                  <a:cubicBezTo>
                    <a:pt x="357" y="1020"/>
                    <a:pt x="371" y="1018"/>
                    <a:pt x="383" y="1028"/>
                  </a:cubicBezTo>
                  <a:cubicBezTo>
                    <a:pt x="397" y="1039"/>
                    <a:pt x="401" y="1054"/>
                    <a:pt x="401" y="1071"/>
                  </a:cubicBezTo>
                  <a:cubicBezTo>
                    <a:pt x="401" y="1102"/>
                    <a:pt x="401" y="1132"/>
                    <a:pt x="401" y="1163"/>
                  </a:cubicBezTo>
                  <a:cubicBezTo>
                    <a:pt x="401" y="1183"/>
                    <a:pt x="401" y="1182"/>
                    <a:pt x="420" y="1184"/>
                  </a:cubicBezTo>
                  <a:cubicBezTo>
                    <a:pt x="429" y="1185"/>
                    <a:pt x="433" y="1181"/>
                    <a:pt x="433" y="1173"/>
                  </a:cubicBezTo>
                  <a:cubicBezTo>
                    <a:pt x="432" y="1130"/>
                    <a:pt x="435" y="1087"/>
                    <a:pt x="431" y="1044"/>
                  </a:cubicBezTo>
                  <a:cubicBezTo>
                    <a:pt x="427" y="1014"/>
                    <a:pt x="404" y="996"/>
                    <a:pt x="376" y="994"/>
                  </a:cubicBezTo>
                  <a:cubicBezTo>
                    <a:pt x="353" y="992"/>
                    <a:pt x="333" y="1000"/>
                    <a:pt x="317" y="1017"/>
                  </a:cubicBezTo>
                  <a:cubicBezTo>
                    <a:pt x="312" y="1021"/>
                    <a:pt x="311" y="1019"/>
                    <a:pt x="309" y="1015"/>
                  </a:cubicBezTo>
                  <a:cubicBezTo>
                    <a:pt x="309" y="1013"/>
                    <a:pt x="308" y="1011"/>
                    <a:pt x="308" y="1008"/>
                  </a:cubicBezTo>
                  <a:cubicBezTo>
                    <a:pt x="306" y="1001"/>
                    <a:pt x="298" y="997"/>
                    <a:pt x="287" y="998"/>
                  </a:cubicBezTo>
                  <a:cubicBezTo>
                    <a:pt x="279" y="999"/>
                    <a:pt x="278" y="1004"/>
                    <a:pt x="278" y="1011"/>
                  </a:cubicBezTo>
                  <a:cubicBezTo>
                    <a:pt x="278" y="1037"/>
                    <a:pt x="278" y="1064"/>
                    <a:pt x="278" y="1091"/>
                  </a:cubicBezTo>
                  <a:cubicBezTo>
                    <a:pt x="278" y="1115"/>
                    <a:pt x="278" y="1140"/>
                    <a:pt x="278" y="1165"/>
                  </a:cubicBezTo>
                  <a:close/>
                  <a:moveTo>
                    <a:pt x="150" y="705"/>
                  </a:moveTo>
                  <a:cubicBezTo>
                    <a:pt x="150" y="734"/>
                    <a:pt x="145" y="730"/>
                    <a:pt x="176" y="731"/>
                  </a:cubicBezTo>
                  <a:cubicBezTo>
                    <a:pt x="185" y="731"/>
                    <a:pt x="187" y="727"/>
                    <a:pt x="187" y="719"/>
                  </a:cubicBezTo>
                  <a:cubicBezTo>
                    <a:pt x="187" y="685"/>
                    <a:pt x="187" y="651"/>
                    <a:pt x="187" y="618"/>
                  </a:cubicBezTo>
                  <a:cubicBezTo>
                    <a:pt x="187" y="597"/>
                    <a:pt x="204" y="578"/>
                    <a:pt x="225" y="574"/>
                  </a:cubicBezTo>
                  <a:cubicBezTo>
                    <a:pt x="232" y="572"/>
                    <a:pt x="240" y="574"/>
                    <a:pt x="247" y="575"/>
                  </a:cubicBezTo>
                  <a:cubicBezTo>
                    <a:pt x="257" y="576"/>
                    <a:pt x="261" y="572"/>
                    <a:pt x="265" y="564"/>
                  </a:cubicBezTo>
                  <a:cubicBezTo>
                    <a:pt x="269" y="556"/>
                    <a:pt x="267" y="542"/>
                    <a:pt x="261" y="540"/>
                  </a:cubicBezTo>
                  <a:cubicBezTo>
                    <a:pt x="253" y="538"/>
                    <a:pt x="244" y="534"/>
                    <a:pt x="237" y="536"/>
                  </a:cubicBezTo>
                  <a:cubicBezTo>
                    <a:pt x="228" y="537"/>
                    <a:pt x="217" y="537"/>
                    <a:pt x="209" y="544"/>
                  </a:cubicBezTo>
                  <a:cubicBezTo>
                    <a:pt x="204" y="549"/>
                    <a:pt x="198" y="553"/>
                    <a:pt x="194" y="558"/>
                  </a:cubicBezTo>
                  <a:cubicBezTo>
                    <a:pt x="192" y="561"/>
                    <a:pt x="189" y="563"/>
                    <a:pt x="185" y="562"/>
                  </a:cubicBezTo>
                  <a:cubicBezTo>
                    <a:pt x="182" y="561"/>
                    <a:pt x="182" y="558"/>
                    <a:pt x="182" y="556"/>
                  </a:cubicBezTo>
                  <a:cubicBezTo>
                    <a:pt x="180" y="539"/>
                    <a:pt x="179" y="539"/>
                    <a:pt x="162" y="539"/>
                  </a:cubicBezTo>
                  <a:cubicBezTo>
                    <a:pt x="151" y="539"/>
                    <a:pt x="150" y="540"/>
                    <a:pt x="150" y="551"/>
                  </a:cubicBezTo>
                  <a:cubicBezTo>
                    <a:pt x="150" y="579"/>
                    <a:pt x="150" y="607"/>
                    <a:pt x="150" y="635"/>
                  </a:cubicBezTo>
                  <a:cubicBezTo>
                    <a:pt x="150" y="658"/>
                    <a:pt x="149" y="682"/>
                    <a:pt x="150" y="705"/>
                  </a:cubicBezTo>
                  <a:close/>
                  <a:moveTo>
                    <a:pt x="1011" y="1049"/>
                  </a:moveTo>
                  <a:cubicBezTo>
                    <a:pt x="1011" y="1008"/>
                    <a:pt x="1011" y="966"/>
                    <a:pt x="1011" y="924"/>
                  </a:cubicBezTo>
                  <a:cubicBezTo>
                    <a:pt x="1011" y="913"/>
                    <a:pt x="1008" y="910"/>
                    <a:pt x="997" y="910"/>
                  </a:cubicBezTo>
                  <a:cubicBezTo>
                    <a:pt x="995" y="910"/>
                    <a:pt x="992" y="910"/>
                    <a:pt x="990" y="910"/>
                  </a:cubicBezTo>
                  <a:cubicBezTo>
                    <a:pt x="976" y="910"/>
                    <a:pt x="975" y="911"/>
                    <a:pt x="975" y="926"/>
                  </a:cubicBezTo>
                  <a:cubicBezTo>
                    <a:pt x="975" y="1006"/>
                    <a:pt x="975" y="1085"/>
                    <a:pt x="975" y="1165"/>
                  </a:cubicBezTo>
                  <a:cubicBezTo>
                    <a:pt x="975" y="1185"/>
                    <a:pt x="975" y="1185"/>
                    <a:pt x="994" y="1185"/>
                  </a:cubicBezTo>
                  <a:cubicBezTo>
                    <a:pt x="1009" y="1185"/>
                    <a:pt x="1011" y="1184"/>
                    <a:pt x="1011" y="1169"/>
                  </a:cubicBezTo>
                  <a:cubicBezTo>
                    <a:pt x="1011" y="1129"/>
                    <a:pt x="1011" y="1089"/>
                    <a:pt x="1011" y="1049"/>
                  </a:cubicBezTo>
                  <a:cubicBezTo>
                    <a:pt x="1011" y="1049"/>
                    <a:pt x="1011" y="1049"/>
                    <a:pt x="1011" y="1049"/>
                  </a:cubicBezTo>
                  <a:close/>
                  <a:moveTo>
                    <a:pt x="296" y="176"/>
                  </a:moveTo>
                  <a:cubicBezTo>
                    <a:pt x="296" y="201"/>
                    <a:pt x="296" y="226"/>
                    <a:pt x="296" y="251"/>
                  </a:cubicBezTo>
                  <a:cubicBezTo>
                    <a:pt x="295" y="276"/>
                    <a:pt x="296" y="274"/>
                    <a:pt x="318" y="274"/>
                  </a:cubicBezTo>
                  <a:cubicBezTo>
                    <a:pt x="330" y="274"/>
                    <a:pt x="331" y="274"/>
                    <a:pt x="331" y="260"/>
                  </a:cubicBezTo>
                  <a:cubicBezTo>
                    <a:pt x="331" y="232"/>
                    <a:pt x="331" y="204"/>
                    <a:pt x="331" y="176"/>
                  </a:cubicBezTo>
                  <a:cubicBezTo>
                    <a:pt x="331" y="165"/>
                    <a:pt x="331" y="155"/>
                    <a:pt x="337" y="145"/>
                  </a:cubicBezTo>
                  <a:cubicBezTo>
                    <a:pt x="349" y="123"/>
                    <a:pt x="359" y="117"/>
                    <a:pt x="377" y="118"/>
                  </a:cubicBezTo>
                  <a:cubicBezTo>
                    <a:pt x="383" y="118"/>
                    <a:pt x="389" y="119"/>
                    <a:pt x="395" y="120"/>
                  </a:cubicBezTo>
                  <a:cubicBezTo>
                    <a:pt x="401" y="120"/>
                    <a:pt x="407" y="118"/>
                    <a:pt x="408" y="112"/>
                  </a:cubicBezTo>
                  <a:cubicBezTo>
                    <a:pt x="409" y="103"/>
                    <a:pt x="415" y="93"/>
                    <a:pt x="407" y="85"/>
                  </a:cubicBezTo>
                  <a:cubicBezTo>
                    <a:pt x="406" y="84"/>
                    <a:pt x="404" y="84"/>
                    <a:pt x="402" y="84"/>
                  </a:cubicBezTo>
                  <a:cubicBezTo>
                    <a:pt x="376" y="78"/>
                    <a:pt x="353" y="82"/>
                    <a:pt x="337" y="106"/>
                  </a:cubicBezTo>
                  <a:cubicBezTo>
                    <a:pt x="336" y="108"/>
                    <a:pt x="335" y="110"/>
                    <a:pt x="333" y="109"/>
                  </a:cubicBezTo>
                  <a:cubicBezTo>
                    <a:pt x="331" y="109"/>
                    <a:pt x="330" y="107"/>
                    <a:pt x="330" y="105"/>
                  </a:cubicBezTo>
                  <a:cubicBezTo>
                    <a:pt x="329" y="101"/>
                    <a:pt x="329" y="97"/>
                    <a:pt x="328" y="94"/>
                  </a:cubicBezTo>
                  <a:cubicBezTo>
                    <a:pt x="325" y="85"/>
                    <a:pt x="318" y="82"/>
                    <a:pt x="303" y="84"/>
                  </a:cubicBezTo>
                  <a:cubicBezTo>
                    <a:pt x="297" y="84"/>
                    <a:pt x="295" y="86"/>
                    <a:pt x="295" y="92"/>
                  </a:cubicBezTo>
                  <a:cubicBezTo>
                    <a:pt x="296" y="120"/>
                    <a:pt x="295" y="148"/>
                    <a:pt x="295" y="176"/>
                  </a:cubicBezTo>
                  <a:cubicBezTo>
                    <a:pt x="296" y="176"/>
                    <a:pt x="296" y="176"/>
                    <a:pt x="296" y="176"/>
                  </a:cubicBezTo>
                  <a:close/>
                  <a:moveTo>
                    <a:pt x="946" y="179"/>
                  </a:moveTo>
                  <a:cubicBezTo>
                    <a:pt x="946" y="197"/>
                    <a:pt x="946" y="215"/>
                    <a:pt x="946" y="234"/>
                  </a:cubicBezTo>
                  <a:cubicBezTo>
                    <a:pt x="946" y="248"/>
                    <a:pt x="951" y="260"/>
                    <a:pt x="963" y="268"/>
                  </a:cubicBezTo>
                  <a:cubicBezTo>
                    <a:pt x="982" y="280"/>
                    <a:pt x="1011" y="277"/>
                    <a:pt x="1029" y="264"/>
                  </a:cubicBezTo>
                  <a:cubicBezTo>
                    <a:pt x="1036" y="259"/>
                    <a:pt x="1036" y="254"/>
                    <a:pt x="1032" y="248"/>
                  </a:cubicBezTo>
                  <a:cubicBezTo>
                    <a:pt x="1026" y="239"/>
                    <a:pt x="1020" y="238"/>
                    <a:pt x="1013" y="242"/>
                  </a:cubicBezTo>
                  <a:cubicBezTo>
                    <a:pt x="996" y="252"/>
                    <a:pt x="978" y="243"/>
                    <a:pt x="978" y="223"/>
                  </a:cubicBezTo>
                  <a:cubicBezTo>
                    <a:pt x="978" y="190"/>
                    <a:pt x="978" y="157"/>
                    <a:pt x="978" y="123"/>
                  </a:cubicBezTo>
                  <a:cubicBezTo>
                    <a:pt x="978" y="116"/>
                    <a:pt x="981" y="113"/>
                    <a:pt x="988" y="113"/>
                  </a:cubicBezTo>
                  <a:cubicBezTo>
                    <a:pt x="999" y="114"/>
                    <a:pt x="1011" y="113"/>
                    <a:pt x="1022" y="113"/>
                  </a:cubicBezTo>
                  <a:cubicBezTo>
                    <a:pt x="1028" y="113"/>
                    <a:pt x="1033" y="112"/>
                    <a:pt x="1033" y="104"/>
                  </a:cubicBezTo>
                  <a:cubicBezTo>
                    <a:pt x="1033" y="96"/>
                    <a:pt x="1032" y="90"/>
                    <a:pt x="1022" y="90"/>
                  </a:cubicBezTo>
                  <a:cubicBezTo>
                    <a:pt x="1011" y="90"/>
                    <a:pt x="1001" y="90"/>
                    <a:pt x="990" y="90"/>
                  </a:cubicBezTo>
                  <a:cubicBezTo>
                    <a:pt x="981" y="91"/>
                    <a:pt x="977" y="88"/>
                    <a:pt x="978" y="78"/>
                  </a:cubicBezTo>
                  <a:cubicBezTo>
                    <a:pt x="978" y="64"/>
                    <a:pt x="978" y="49"/>
                    <a:pt x="978" y="35"/>
                  </a:cubicBezTo>
                  <a:cubicBezTo>
                    <a:pt x="978" y="30"/>
                    <a:pt x="978" y="25"/>
                    <a:pt x="971" y="24"/>
                  </a:cubicBezTo>
                  <a:cubicBezTo>
                    <a:pt x="964" y="24"/>
                    <a:pt x="956" y="24"/>
                    <a:pt x="955" y="32"/>
                  </a:cubicBezTo>
                  <a:cubicBezTo>
                    <a:pt x="952" y="43"/>
                    <a:pt x="949" y="54"/>
                    <a:pt x="949" y="65"/>
                  </a:cubicBezTo>
                  <a:cubicBezTo>
                    <a:pt x="948" y="88"/>
                    <a:pt x="947" y="88"/>
                    <a:pt x="924" y="91"/>
                  </a:cubicBezTo>
                  <a:cubicBezTo>
                    <a:pt x="919" y="92"/>
                    <a:pt x="914" y="92"/>
                    <a:pt x="914" y="99"/>
                  </a:cubicBezTo>
                  <a:cubicBezTo>
                    <a:pt x="915" y="107"/>
                    <a:pt x="917" y="113"/>
                    <a:pt x="926" y="113"/>
                  </a:cubicBezTo>
                  <a:cubicBezTo>
                    <a:pt x="929" y="114"/>
                    <a:pt x="932" y="113"/>
                    <a:pt x="935" y="113"/>
                  </a:cubicBezTo>
                  <a:cubicBezTo>
                    <a:pt x="943" y="113"/>
                    <a:pt x="946" y="116"/>
                    <a:pt x="946" y="124"/>
                  </a:cubicBezTo>
                  <a:cubicBezTo>
                    <a:pt x="946" y="142"/>
                    <a:pt x="946" y="161"/>
                    <a:pt x="946" y="179"/>
                  </a:cubicBezTo>
                  <a:cubicBezTo>
                    <a:pt x="946" y="179"/>
                    <a:pt x="946" y="179"/>
                    <a:pt x="946" y="179"/>
                  </a:cubicBezTo>
                  <a:close/>
                </a:path>
              </a:pathLst>
            </a:custGeom>
            <a:solidFill>
              <a:srgbClr val="4C505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0" dirty="0"/>
            </a:p>
          </p:txBody>
        </p:sp>
        <p:grpSp>
          <p:nvGrpSpPr>
            <p:cNvPr id="18" name="Group 4">
              <a:extLst>
                <a:ext uri="{FF2B5EF4-FFF2-40B4-BE49-F238E27FC236}">
                  <a16:creationId xmlns:a16="http://schemas.microsoft.com/office/drawing/2014/main" id="{57BD2C4C-DC67-B843-B26C-309622FC75F7}"/>
                </a:ext>
              </a:extLst>
            </p:cNvPr>
            <p:cNvGrpSpPr>
              <a:grpSpLocks noChangeAspect="1"/>
            </p:cNvGrpSpPr>
            <p:nvPr/>
          </p:nvGrpSpPr>
          <p:grpSpPr bwMode="gray">
            <a:xfrm>
              <a:off x="334963" y="296652"/>
              <a:ext cx="538094" cy="540000"/>
              <a:chOff x="2711" y="1027"/>
              <a:chExt cx="2258" cy="2266"/>
            </a:xfrm>
          </p:grpSpPr>
          <p:sp>
            <p:nvSpPr>
              <p:cNvPr id="19" name="AutoShape 3">
                <a:extLst>
                  <a:ext uri="{FF2B5EF4-FFF2-40B4-BE49-F238E27FC236}">
                    <a16:creationId xmlns:a16="http://schemas.microsoft.com/office/drawing/2014/main" id="{FE1DC41B-291E-574C-9F2C-874E70A40758}"/>
                  </a:ext>
                </a:extLst>
              </p:cNvPr>
              <p:cNvSpPr>
                <a:spLocks noChangeAspect="1" noChangeArrowheads="1" noTextEdit="1"/>
              </p:cNvSpPr>
              <p:nvPr/>
            </p:nvSpPr>
            <p:spPr bwMode="gray">
              <a:xfrm>
                <a:off x="2711" y="1027"/>
                <a:ext cx="2258" cy="22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sz="1350" dirty="0"/>
              </a:p>
            </p:txBody>
          </p:sp>
          <p:sp>
            <p:nvSpPr>
              <p:cNvPr id="20" name="Freeform 5">
                <a:extLst>
                  <a:ext uri="{FF2B5EF4-FFF2-40B4-BE49-F238E27FC236}">
                    <a16:creationId xmlns:a16="http://schemas.microsoft.com/office/drawing/2014/main" id="{D4B633C8-F761-C54B-9BD2-EB59D49A2DBC}"/>
                  </a:ext>
                </a:extLst>
              </p:cNvPr>
              <p:cNvSpPr>
                <a:spLocks/>
              </p:cNvSpPr>
              <p:nvPr/>
            </p:nvSpPr>
            <p:spPr bwMode="gray">
              <a:xfrm>
                <a:off x="2709" y="1029"/>
                <a:ext cx="2260" cy="2262"/>
              </a:xfrm>
              <a:custGeom>
                <a:avLst/>
                <a:gdLst>
                  <a:gd name="T0" fmla="*/ 2260 w 2260"/>
                  <a:gd name="T1" fmla="*/ 0 h 2262"/>
                  <a:gd name="T2" fmla="*/ 1612 w 2260"/>
                  <a:gd name="T3" fmla="*/ 649 h 2262"/>
                  <a:gd name="T4" fmla="*/ 1612 w 2260"/>
                  <a:gd name="T5" fmla="*/ 649 h 2262"/>
                  <a:gd name="T6" fmla="*/ 2035 w 2260"/>
                  <a:gd name="T7" fmla="*/ 0 h 2262"/>
                  <a:gd name="T8" fmla="*/ 0 w 2260"/>
                  <a:gd name="T9" fmla="*/ 0 h 2262"/>
                  <a:gd name="T10" fmla="*/ 0 w 2260"/>
                  <a:gd name="T11" fmla="*/ 2262 h 2262"/>
                  <a:gd name="T12" fmla="*/ 2260 w 2260"/>
                  <a:gd name="T13" fmla="*/ 2262 h 2262"/>
                  <a:gd name="T14" fmla="*/ 2260 w 2260"/>
                  <a:gd name="T15" fmla="*/ 0 h 2262"/>
                  <a:gd name="T16" fmla="*/ 2260 w 2260"/>
                  <a:gd name="T17" fmla="*/ 0 h 2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0" h="2262">
                    <a:moveTo>
                      <a:pt x="2260" y="0"/>
                    </a:moveTo>
                    <a:lnTo>
                      <a:pt x="1612" y="649"/>
                    </a:lnTo>
                    <a:lnTo>
                      <a:pt x="1612" y="649"/>
                    </a:lnTo>
                    <a:lnTo>
                      <a:pt x="2035" y="0"/>
                    </a:lnTo>
                    <a:lnTo>
                      <a:pt x="0" y="0"/>
                    </a:lnTo>
                    <a:lnTo>
                      <a:pt x="0" y="2262"/>
                    </a:lnTo>
                    <a:lnTo>
                      <a:pt x="2260" y="2262"/>
                    </a:lnTo>
                    <a:lnTo>
                      <a:pt x="2260" y="0"/>
                    </a:lnTo>
                    <a:lnTo>
                      <a:pt x="2260" y="0"/>
                    </a:lnTo>
                    <a:close/>
                  </a:path>
                </a:pathLst>
              </a:custGeom>
              <a:solidFill>
                <a:srgbClr val="E55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0" dirty="0"/>
              </a:p>
            </p:txBody>
          </p:sp>
          <p:sp>
            <p:nvSpPr>
              <p:cNvPr id="21" name="Freeform 6">
                <a:extLst>
                  <a:ext uri="{FF2B5EF4-FFF2-40B4-BE49-F238E27FC236}">
                    <a16:creationId xmlns:a16="http://schemas.microsoft.com/office/drawing/2014/main" id="{B16BAAE4-1A41-C843-9754-490F7A1E1270}"/>
                  </a:ext>
                </a:extLst>
              </p:cNvPr>
              <p:cNvSpPr>
                <a:spLocks noEditPoints="1"/>
              </p:cNvSpPr>
              <p:nvPr/>
            </p:nvSpPr>
            <p:spPr bwMode="gray">
              <a:xfrm>
                <a:off x="3623" y="1696"/>
                <a:ext cx="1167" cy="922"/>
              </a:xfrm>
              <a:custGeom>
                <a:avLst/>
                <a:gdLst>
                  <a:gd name="T0" fmla="*/ 411 w 580"/>
                  <a:gd name="T1" fmla="*/ 213 h 458"/>
                  <a:gd name="T2" fmla="*/ 570 w 580"/>
                  <a:gd name="T3" fmla="*/ 37 h 458"/>
                  <a:gd name="T4" fmla="*/ 580 w 580"/>
                  <a:gd name="T5" fmla="*/ 20 h 458"/>
                  <a:gd name="T6" fmla="*/ 545 w 580"/>
                  <a:gd name="T7" fmla="*/ 0 h 458"/>
                  <a:gd name="T8" fmla="*/ 519 w 580"/>
                  <a:gd name="T9" fmla="*/ 16 h 458"/>
                  <a:gd name="T10" fmla="*/ 344 w 580"/>
                  <a:gd name="T11" fmla="*/ 210 h 458"/>
                  <a:gd name="T12" fmla="*/ 334 w 580"/>
                  <a:gd name="T13" fmla="*/ 229 h 458"/>
                  <a:gd name="T14" fmla="*/ 344 w 580"/>
                  <a:gd name="T15" fmla="*/ 248 h 458"/>
                  <a:gd name="T16" fmla="*/ 519 w 580"/>
                  <a:gd name="T17" fmla="*/ 442 h 458"/>
                  <a:gd name="T18" fmla="*/ 545 w 580"/>
                  <a:gd name="T19" fmla="*/ 458 h 458"/>
                  <a:gd name="T20" fmla="*/ 580 w 580"/>
                  <a:gd name="T21" fmla="*/ 438 h 458"/>
                  <a:gd name="T22" fmla="*/ 570 w 580"/>
                  <a:gd name="T23" fmla="*/ 421 h 458"/>
                  <a:gd name="T24" fmla="*/ 411 w 580"/>
                  <a:gd name="T25" fmla="*/ 245 h 458"/>
                  <a:gd name="T26" fmla="*/ 399 w 580"/>
                  <a:gd name="T27" fmla="*/ 229 h 458"/>
                  <a:gd name="T28" fmla="*/ 411 w 580"/>
                  <a:gd name="T29" fmla="*/ 213 h 458"/>
                  <a:gd name="T30" fmla="*/ 252 w 580"/>
                  <a:gd name="T31" fmla="*/ 439 h 458"/>
                  <a:gd name="T32" fmla="*/ 281 w 580"/>
                  <a:gd name="T33" fmla="*/ 454 h 458"/>
                  <a:gd name="T34" fmla="*/ 309 w 580"/>
                  <a:gd name="T35" fmla="*/ 439 h 458"/>
                  <a:gd name="T36" fmla="*/ 309 w 580"/>
                  <a:gd name="T37" fmla="*/ 19 h 458"/>
                  <a:gd name="T38" fmla="*/ 281 w 580"/>
                  <a:gd name="T39" fmla="*/ 4 h 458"/>
                  <a:gd name="T40" fmla="*/ 252 w 580"/>
                  <a:gd name="T41" fmla="*/ 19 h 458"/>
                  <a:gd name="T42" fmla="*/ 252 w 580"/>
                  <a:gd name="T43" fmla="*/ 439 h 458"/>
                  <a:gd name="T44" fmla="*/ 0 w 580"/>
                  <a:gd name="T45" fmla="*/ 439 h 458"/>
                  <a:gd name="T46" fmla="*/ 28 w 580"/>
                  <a:gd name="T47" fmla="*/ 454 h 458"/>
                  <a:gd name="T48" fmla="*/ 56 w 580"/>
                  <a:gd name="T49" fmla="*/ 439 h 458"/>
                  <a:gd name="T50" fmla="*/ 56 w 580"/>
                  <a:gd name="T51" fmla="*/ 157 h 458"/>
                  <a:gd name="T52" fmla="*/ 165 w 580"/>
                  <a:gd name="T53" fmla="*/ 53 h 458"/>
                  <a:gd name="T54" fmla="*/ 180 w 580"/>
                  <a:gd name="T55" fmla="*/ 53 h 458"/>
                  <a:gd name="T56" fmla="*/ 196 w 580"/>
                  <a:gd name="T57" fmla="*/ 27 h 458"/>
                  <a:gd name="T58" fmla="*/ 154 w 580"/>
                  <a:gd name="T59" fmla="*/ 4 h 458"/>
                  <a:gd name="T60" fmla="*/ 0 w 580"/>
                  <a:gd name="T61" fmla="*/ 152 h 458"/>
                  <a:gd name="T62" fmla="*/ 0 w 580"/>
                  <a:gd name="T63" fmla="*/ 439 h 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80" h="458">
                    <a:moveTo>
                      <a:pt x="411" y="213"/>
                    </a:moveTo>
                    <a:cubicBezTo>
                      <a:pt x="570" y="37"/>
                      <a:pt x="570" y="37"/>
                      <a:pt x="570" y="37"/>
                    </a:cubicBezTo>
                    <a:cubicBezTo>
                      <a:pt x="576" y="30"/>
                      <a:pt x="580" y="25"/>
                      <a:pt x="580" y="20"/>
                    </a:cubicBezTo>
                    <a:cubicBezTo>
                      <a:pt x="580" y="10"/>
                      <a:pt x="559" y="0"/>
                      <a:pt x="545" y="0"/>
                    </a:cubicBezTo>
                    <a:cubicBezTo>
                      <a:pt x="535" y="0"/>
                      <a:pt x="526" y="8"/>
                      <a:pt x="519" y="16"/>
                    </a:cubicBezTo>
                    <a:cubicBezTo>
                      <a:pt x="344" y="210"/>
                      <a:pt x="344" y="210"/>
                      <a:pt x="344" y="210"/>
                    </a:cubicBezTo>
                    <a:cubicBezTo>
                      <a:pt x="336" y="219"/>
                      <a:pt x="334" y="224"/>
                      <a:pt x="334" y="229"/>
                    </a:cubicBezTo>
                    <a:cubicBezTo>
                      <a:pt x="334" y="234"/>
                      <a:pt x="336" y="239"/>
                      <a:pt x="344" y="248"/>
                    </a:cubicBezTo>
                    <a:cubicBezTo>
                      <a:pt x="519" y="442"/>
                      <a:pt x="519" y="442"/>
                      <a:pt x="519" y="442"/>
                    </a:cubicBezTo>
                    <a:cubicBezTo>
                      <a:pt x="526" y="450"/>
                      <a:pt x="535" y="458"/>
                      <a:pt x="545" y="458"/>
                    </a:cubicBezTo>
                    <a:cubicBezTo>
                      <a:pt x="559" y="458"/>
                      <a:pt x="580" y="448"/>
                      <a:pt x="580" y="438"/>
                    </a:cubicBezTo>
                    <a:cubicBezTo>
                      <a:pt x="580" y="433"/>
                      <a:pt x="576" y="428"/>
                      <a:pt x="570" y="421"/>
                    </a:cubicBezTo>
                    <a:cubicBezTo>
                      <a:pt x="411" y="245"/>
                      <a:pt x="411" y="245"/>
                      <a:pt x="411" y="245"/>
                    </a:cubicBezTo>
                    <a:cubicBezTo>
                      <a:pt x="403" y="236"/>
                      <a:pt x="399" y="232"/>
                      <a:pt x="399" y="229"/>
                    </a:cubicBezTo>
                    <a:cubicBezTo>
                      <a:pt x="399" y="226"/>
                      <a:pt x="403" y="222"/>
                      <a:pt x="411" y="213"/>
                    </a:cubicBezTo>
                    <a:moveTo>
                      <a:pt x="252" y="439"/>
                    </a:moveTo>
                    <a:cubicBezTo>
                      <a:pt x="252" y="449"/>
                      <a:pt x="261" y="454"/>
                      <a:pt x="281" y="454"/>
                    </a:cubicBezTo>
                    <a:cubicBezTo>
                      <a:pt x="300" y="454"/>
                      <a:pt x="309" y="449"/>
                      <a:pt x="309" y="439"/>
                    </a:cubicBezTo>
                    <a:cubicBezTo>
                      <a:pt x="309" y="19"/>
                      <a:pt x="309" y="19"/>
                      <a:pt x="309" y="19"/>
                    </a:cubicBezTo>
                    <a:cubicBezTo>
                      <a:pt x="309" y="9"/>
                      <a:pt x="300" y="4"/>
                      <a:pt x="281" y="4"/>
                    </a:cubicBezTo>
                    <a:cubicBezTo>
                      <a:pt x="261" y="4"/>
                      <a:pt x="252" y="9"/>
                      <a:pt x="252" y="19"/>
                    </a:cubicBezTo>
                    <a:lnTo>
                      <a:pt x="252" y="439"/>
                    </a:lnTo>
                    <a:close/>
                    <a:moveTo>
                      <a:pt x="0" y="439"/>
                    </a:moveTo>
                    <a:cubicBezTo>
                      <a:pt x="0" y="449"/>
                      <a:pt x="8" y="454"/>
                      <a:pt x="28" y="454"/>
                    </a:cubicBezTo>
                    <a:cubicBezTo>
                      <a:pt x="48" y="454"/>
                      <a:pt x="56" y="449"/>
                      <a:pt x="56" y="439"/>
                    </a:cubicBezTo>
                    <a:cubicBezTo>
                      <a:pt x="56" y="157"/>
                      <a:pt x="56" y="157"/>
                      <a:pt x="56" y="157"/>
                    </a:cubicBezTo>
                    <a:cubicBezTo>
                      <a:pt x="56" y="83"/>
                      <a:pt x="85" y="53"/>
                      <a:pt x="165" y="53"/>
                    </a:cubicBezTo>
                    <a:cubicBezTo>
                      <a:pt x="180" y="53"/>
                      <a:pt x="180" y="53"/>
                      <a:pt x="180" y="53"/>
                    </a:cubicBezTo>
                    <a:cubicBezTo>
                      <a:pt x="192" y="53"/>
                      <a:pt x="196" y="43"/>
                      <a:pt x="196" y="27"/>
                    </a:cubicBezTo>
                    <a:cubicBezTo>
                      <a:pt x="196" y="8"/>
                      <a:pt x="185" y="4"/>
                      <a:pt x="154" y="4"/>
                    </a:cubicBezTo>
                    <a:cubicBezTo>
                      <a:pt x="64" y="4"/>
                      <a:pt x="0" y="43"/>
                      <a:pt x="0" y="152"/>
                    </a:cubicBezTo>
                    <a:lnTo>
                      <a:pt x="0" y="43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0" dirty="0"/>
              </a:p>
            </p:txBody>
          </p:sp>
          <p:sp>
            <p:nvSpPr>
              <p:cNvPr id="22" name="Freeform 7">
                <a:extLst>
                  <a:ext uri="{FF2B5EF4-FFF2-40B4-BE49-F238E27FC236}">
                    <a16:creationId xmlns:a16="http://schemas.microsoft.com/office/drawing/2014/main" id="{2F32DCBD-8628-F245-85CD-97686A20ECFD}"/>
                  </a:ext>
                </a:extLst>
              </p:cNvPr>
              <p:cNvSpPr>
                <a:spLocks/>
              </p:cNvSpPr>
              <p:nvPr/>
            </p:nvSpPr>
            <p:spPr bwMode="gray">
              <a:xfrm>
                <a:off x="2880" y="1704"/>
                <a:ext cx="618" cy="916"/>
              </a:xfrm>
              <a:custGeom>
                <a:avLst/>
                <a:gdLst>
                  <a:gd name="T0" fmla="*/ 307 w 307"/>
                  <a:gd name="T1" fmla="*/ 405 h 455"/>
                  <a:gd name="T2" fmla="*/ 307 w 307"/>
                  <a:gd name="T3" fmla="*/ 244 h 455"/>
                  <a:gd name="T4" fmla="*/ 279 w 307"/>
                  <a:gd name="T5" fmla="*/ 229 h 455"/>
                  <a:gd name="T6" fmla="*/ 250 w 307"/>
                  <a:gd name="T7" fmla="*/ 244 h 455"/>
                  <a:gd name="T8" fmla="*/ 250 w 307"/>
                  <a:gd name="T9" fmla="*/ 378 h 455"/>
                  <a:gd name="T10" fmla="*/ 199 w 307"/>
                  <a:gd name="T11" fmla="*/ 408 h 455"/>
                  <a:gd name="T12" fmla="*/ 61 w 307"/>
                  <a:gd name="T13" fmla="*/ 231 h 455"/>
                  <a:gd name="T14" fmla="*/ 238 w 307"/>
                  <a:gd name="T15" fmla="*/ 49 h 455"/>
                  <a:gd name="T16" fmla="*/ 270 w 307"/>
                  <a:gd name="T17" fmla="*/ 49 h 455"/>
                  <a:gd name="T18" fmla="*/ 286 w 307"/>
                  <a:gd name="T19" fmla="*/ 23 h 455"/>
                  <a:gd name="T20" fmla="*/ 244 w 307"/>
                  <a:gd name="T21" fmla="*/ 0 h 455"/>
                  <a:gd name="T22" fmla="*/ 231 w 307"/>
                  <a:gd name="T23" fmla="*/ 0 h 455"/>
                  <a:gd name="T24" fmla="*/ 0 w 307"/>
                  <a:gd name="T25" fmla="*/ 232 h 455"/>
                  <a:gd name="T26" fmla="*/ 198 w 307"/>
                  <a:gd name="T27" fmla="*/ 455 h 455"/>
                  <a:gd name="T28" fmla="*/ 307 w 307"/>
                  <a:gd name="T29" fmla="*/ 405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7" h="455">
                    <a:moveTo>
                      <a:pt x="307" y="405"/>
                    </a:moveTo>
                    <a:cubicBezTo>
                      <a:pt x="307" y="244"/>
                      <a:pt x="307" y="244"/>
                      <a:pt x="307" y="244"/>
                    </a:cubicBezTo>
                    <a:cubicBezTo>
                      <a:pt x="307" y="234"/>
                      <a:pt x="298" y="229"/>
                      <a:pt x="279" y="229"/>
                    </a:cubicBezTo>
                    <a:cubicBezTo>
                      <a:pt x="259" y="229"/>
                      <a:pt x="250" y="234"/>
                      <a:pt x="250" y="244"/>
                    </a:cubicBezTo>
                    <a:cubicBezTo>
                      <a:pt x="250" y="378"/>
                      <a:pt x="250" y="378"/>
                      <a:pt x="250" y="378"/>
                    </a:cubicBezTo>
                    <a:cubicBezTo>
                      <a:pt x="250" y="399"/>
                      <a:pt x="241" y="408"/>
                      <a:pt x="199" y="408"/>
                    </a:cubicBezTo>
                    <a:cubicBezTo>
                      <a:pt x="114" y="408"/>
                      <a:pt x="61" y="342"/>
                      <a:pt x="61" y="231"/>
                    </a:cubicBezTo>
                    <a:cubicBezTo>
                      <a:pt x="61" y="115"/>
                      <a:pt x="126" y="49"/>
                      <a:pt x="238" y="49"/>
                    </a:cubicBezTo>
                    <a:cubicBezTo>
                      <a:pt x="270" y="49"/>
                      <a:pt x="270" y="49"/>
                      <a:pt x="270" y="49"/>
                    </a:cubicBezTo>
                    <a:cubicBezTo>
                      <a:pt x="282" y="49"/>
                      <a:pt x="286" y="39"/>
                      <a:pt x="286" y="23"/>
                    </a:cubicBezTo>
                    <a:cubicBezTo>
                      <a:pt x="286" y="4"/>
                      <a:pt x="275" y="0"/>
                      <a:pt x="244" y="0"/>
                    </a:cubicBezTo>
                    <a:cubicBezTo>
                      <a:pt x="231" y="0"/>
                      <a:pt x="231" y="0"/>
                      <a:pt x="231" y="0"/>
                    </a:cubicBezTo>
                    <a:cubicBezTo>
                      <a:pt x="101" y="0"/>
                      <a:pt x="0" y="71"/>
                      <a:pt x="0" y="232"/>
                    </a:cubicBezTo>
                    <a:cubicBezTo>
                      <a:pt x="0" y="386"/>
                      <a:pt x="88" y="455"/>
                      <a:pt x="198" y="455"/>
                    </a:cubicBezTo>
                    <a:cubicBezTo>
                      <a:pt x="286" y="455"/>
                      <a:pt x="307" y="430"/>
                      <a:pt x="307" y="40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0" dirty="0"/>
              </a:p>
            </p:txBody>
          </p:sp>
          <p:sp>
            <p:nvSpPr>
              <p:cNvPr id="23" name="Oval 8">
                <a:extLst>
                  <a:ext uri="{FF2B5EF4-FFF2-40B4-BE49-F238E27FC236}">
                    <a16:creationId xmlns:a16="http://schemas.microsoft.com/office/drawing/2014/main" id="{60D97C11-1A3B-5449-A48D-98A3E79B3810}"/>
                  </a:ext>
                </a:extLst>
              </p:cNvPr>
              <p:cNvSpPr>
                <a:spLocks noChangeArrowheads="1"/>
              </p:cNvSpPr>
              <p:nvPr/>
            </p:nvSpPr>
            <p:spPr bwMode="gray">
              <a:xfrm>
                <a:off x="3778" y="2099"/>
                <a:ext cx="122" cy="12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0" dirty="0"/>
              </a:p>
            </p:txBody>
          </p:sp>
          <p:sp>
            <p:nvSpPr>
              <p:cNvPr id="24" name="Freeform 9">
                <a:extLst>
                  <a:ext uri="{FF2B5EF4-FFF2-40B4-BE49-F238E27FC236}">
                    <a16:creationId xmlns:a16="http://schemas.microsoft.com/office/drawing/2014/main" id="{5856770D-B8F0-244E-A05D-AED190086F10}"/>
                  </a:ext>
                </a:extLst>
              </p:cNvPr>
              <p:cNvSpPr>
                <a:spLocks noEditPoints="1"/>
              </p:cNvSpPr>
              <p:nvPr/>
            </p:nvSpPr>
            <p:spPr bwMode="gray">
              <a:xfrm>
                <a:off x="3623" y="1696"/>
                <a:ext cx="1167" cy="922"/>
              </a:xfrm>
              <a:custGeom>
                <a:avLst/>
                <a:gdLst>
                  <a:gd name="T0" fmla="*/ 411 w 580"/>
                  <a:gd name="T1" fmla="*/ 213 h 458"/>
                  <a:gd name="T2" fmla="*/ 570 w 580"/>
                  <a:gd name="T3" fmla="*/ 37 h 458"/>
                  <a:gd name="T4" fmla="*/ 580 w 580"/>
                  <a:gd name="T5" fmla="*/ 20 h 458"/>
                  <a:gd name="T6" fmla="*/ 545 w 580"/>
                  <a:gd name="T7" fmla="*/ 0 h 458"/>
                  <a:gd name="T8" fmla="*/ 519 w 580"/>
                  <a:gd name="T9" fmla="*/ 16 h 458"/>
                  <a:gd name="T10" fmla="*/ 344 w 580"/>
                  <a:gd name="T11" fmla="*/ 210 h 458"/>
                  <a:gd name="T12" fmla="*/ 334 w 580"/>
                  <a:gd name="T13" fmla="*/ 229 h 458"/>
                  <a:gd name="T14" fmla="*/ 344 w 580"/>
                  <a:gd name="T15" fmla="*/ 248 h 458"/>
                  <a:gd name="T16" fmla="*/ 519 w 580"/>
                  <a:gd name="T17" fmla="*/ 442 h 458"/>
                  <a:gd name="T18" fmla="*/ 545 w 580"/>
                  <a:gd name="T19" fmla="*/ 458 h 458"/>
                  <a:gd name="T20" fmla="*/ 580 w 580"/>
                  <a:gd name="T21" fmla="*/ 438 h 458"/>
                  <a:gd name="T22" fmla="*/ 570 w 580"/>
                  <a:gd name="T23" fmla="*/ 421 h 458"/>
                  <a:gd name="T24" fmla="*/ 411 w 580"/>
                  <a:gd name="T25" fmla="*/ 245 h 458"/>
                  <a:gd name="T26" fmla="*/ 399 w 580"/>
                  <a:gd name="T27" fmla="*/ 229 h 458"/>
                  <a:gd name="T28" fmla="*/ 411 w 580"/>
                  <a:gd name="T29" fmla="*/ 213 h 458"/>
                  <a:gd name="T30" fmla="*/ 252 w 580"/>
                  <a:gd name="T31" fmla="*/ 439 h 458"/>
                  <a:gd name="T32" fmla="*/ 281 w 580"/>
                  <a:gd name="T33" fmla="*/ 454 h 458"/>
                  <a:gd name="T34" fmla="*/ 309 w 580"/>
                  <a:gd name="T35" fmla="*/ 439 h 458"/>
                  <a:gd name="T36" fmla="*/ 309 w 580"/>
                  <a:gd name="T37" fmla="*/ 19 h 458"/>
                  <a:gd name="T38" fmla="*/ 281 w 580"/>
                  <a:gd name="T39" fmla="*/ 4 h 458"/>
                  <a:gd name="T40" fmla="*/ 252 w 580"/>
                  <a:gd name="T41" fmla="*/ 19 h 458"/>
                  <a:gd name="T42" fmla="*/ 252 w 580"/>
                  <a:gd name="T43" fmla="*/ 439 h 458"/>
                  <a:gd name="T44" fmla="*/ 0 w 580"/>
                  <a:gd name="T45" fmla="*/ 439 h 458"/>
                  <a:gd name="T46" fmla="*/ 28 w 580"/>
                  <a:gd name="T47" fmla="*/ 454 h 458"/>
                  <a:gd name="T48" fmla="*/ 56 w 580"/>
                  <a:gd name="T49" fmla="*/ 439 h 458"/>
                  <a:gd name="T50" fmla="*/ 56 w 580"/>
                  <a:gd name="T51" fmla="*/ 157 h 458"/>
                  <a:gd name="T52" fmla="*/ 165 w 580"/>
                  <a:gd name="T53" fmla="*/ 53 h 458"/>
                  <a:gd name="T54" fmla="*/ 180 w 580"/>
                  <a:gd name="T55" fmla="*/ 53 h 458"/>
                  <a:gd name="T56" fmla="*/ 196 w 580"/>
                  <a:gd name="T57" fmla="*/ 27 h 458"/>
                  <a:gd name="T58" fmla="*/ 154 w 580"/>
                  <a:gd name="T59" fmla="*/ 4 h 458"/>
                  <a:gd name="T60" fmla="*/ 0 w 580"/>
                  <a:gd name="T61" fmla="*/ 152 h 458"/>
                  <a:gd name="T62" fmla="*/ 0 w 580"/>
                  <a:gd name="T63" fmla="*/ 439 h 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80" h="458">
                    <a:moveTo>
                      <a:pt x="411" y="213"/>
                    </a:moveTo>
                    <a:cubicBezTo>
                      <a:pt x="570" y="37"/>
                      <a:pt x="570" y="37"/>
                      <a:pt x="570" y="37"/>
                    </a:cubicBezTo>
                    <a:cubicBezTo>
                      <a:pt x="576" y="30"/>
                      <a:pt x="580" y="25"/>
                      <a:pt x="580" y="20"/>
                    </a:cubicBezTo>
                    <a:cubicBezTo>
                      <a:pt x="580" y="10"/>
                      <a:pt x="559" y="0"/>
                      <a:pt x="545" y="0"/>
                    </a:cubicBezTo>
                    <a:cubicBezTo>
                      <a:pt x="535" y="0"/>
                      <a:pt x="526" y="8"/>
                      <a:pt x="519" y="16"/>
                    </a:cubicBezTo>
                    <a:cubicBezTo>
                      <a:pt x="344" y="210"/>
                      <a:pt x="344" y="210"/>
                      <a:pt x="344" y="210"/>
                    </a:cubicBezTo>
                    <a:cubicBezTo>
                      <a:pt x="336" y="219"/>
                      <a:pt x="334" y="224"/>
                      <a:pt x="334" y="229"/>
                    </a:cubicBezTo>
                    <a:cubicBezTo>
                      <a:pt x="334" y="234"/>
                      <a:pt x="336" y="239"/>
                      <a:pt x="344" y="248"/>
                    </a:cubicBezTo>
                    <a:cubicBezTo>
                      <a:pt x="519" y="442"/>
                      <a:pt x="519" y="442"/>
                      <a:pt x="519" y="442"/>
                    </a:cubicBezTo>
                    <a:cubicBezTo>
                      <a:pt x="526" y="450"/>
                      <a:pt x="535" y="458"/>
                      <a:pt x="545" y="458"/>
                    </a:cubicBezTo>
                    <a:cubicBezTo>
                      <a:pt x="559" y="458"/>
                      <a:pt x="580" y="448"/>
                      <a:pt x="580" y="438"/>
                    </a:cubicBezTo>
                    <a:cubicBezTo>
                      <a:pt x="580" y="433"/>
                      <a:pt x="576" y="428"/>
                      <a:pt x="570" y="421"/>
                    </a:cubicBezTo>
                    <a:cubicBezTo>
                      <a:pt x="411" y="245"/>
                      <a:pt x="411" y="245"/>
                      <a:pt x="411" y="245"/>
                    </a:cubicBezTo>
                    <a:cubicBezTo>
                      <a:pt x="403" y="236"/>
                      <a:pt x="399" y="232"/>
                      <a:pt x="399" y="229"/>
                    </a:cubicBezTo>
                    <a:cubicBezTo>
                      <a:pt x="399" y="226"/>
                      <a:pt x="403" y="222"/>
                      <a:pt x="411" y="213"/>
                    </a:cubicBezTo>
                    <a:moveTo>
                      <a:pt x="252" y="439"/>
                    </a:moveTo>
                    <a:cubicBezTo>
                      <a:pt x="252" y="449"/>
                      <a:pt x="261" y="454"/>
                      <a:pt x="281" y="454"/>
                    </a:cubicBezTo>
                    <a:cubicBezTo>
                      <a:pt x="300" y="454"/>
                      <a:pt x="309" y="449"/>
                      <a:pt x="309" y="439"/>
                    </a:cubicBezTo>
                    <a:cubicBezTo>
                      <a:pt x="309" y="19"/>
                      <a:pt x="309" y="19"/>
                      <a:pt x="309" y="19"/>
                    </a:cubicBezTo>
                    <a:cubicBezTo>
                      <a:pt x="309" y="9"/>
                      <a:pt x="300" y="4"/>
                      <a:pt x="281" y="4"/>
                    </a:cubicBezTo>
                    <a:cubicBezTo>
                      <a:pt x="261" y="4"/>
                      <a:pt x="252" y="9"/>
                      <a:pt x="252" y="19"/>
                    </a:cubicBezTo>
                    <a:lnTo>
                      <a:pt x="252" y="439"/>
                    </a:lnTo>
                    <a:close/>
                    <a:moveTo>
                      <a:pt x="0" y="439"/>
                    </a:moveTo>
                    <a:cubicBezTo>
                      <a:pt x="0" y="449"/>
                      <a:pt x="8" y="454"/>
                      <a:pt x="28" y="454"/>
                    </a:cubicBezTo>
                    <a:cubicBezTo>
                      <a:pt x="48" y="454"/>
                      <a:pt x="56" y="449"/>
                      <a:pt x="56" y="439"/>
                    </a:cubicBezTo>
                    <a:cubicBezTo>
                      <a:pt x="56" y="157"/>
                      <a:pt x="56" y="157"/>
                      <a:pt x="56" y="157"/>
                    </a:cubicBezTo>
                    <a:cubicBezTo>
                      <a:pt x="56" y="83"/>
                      <a:pt x="85" y="53"/>
                      <a:pt x="165" y="53"/>
                    </a:cubicBezTo>
                    <a:cubicBezTo>
                      <a:pt x="180" y="53"/>
                      <a:pt x="180" y="53"/>
                      <a:pt x="180" y="53"/>
                    </a:cubicBezTo>
                    <a:cubicBezTo>
                      <a:pt x="192" y="53"/>
                      <a:pt x="196" y="43"/>
                      <a:pt x="196" y="27"/>
                    </a:cubicBezTo>
                    <a:cubicBezTo>
                      <a:pt x="196" y="8"/>
                      <a:pt x="185" y="4"/>
                      <a:pt x="154" y="4"/>
                    </a:cubicBezTo>
                    <a:cubicBezTo>
                      <a:pt x="64" y="4"/>
                      <a:pt x="0" y="43"/>
                      <a:pt x="0" y="152"/>
                    </a:cubicBezTo>
                    <a:lnTo>
                      <a:pt x="0" y="43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0" dirty="0"/>
              </a:p>
            </p:txBody>
          </p:sp>
          <p:sp>
            <p:nvSpPr>
              <p:cNvPr id="25" name="Freeform 10">
                <a:extLst>
                  <a:ext uri="{FF2B5EF4-FFF2-40B4-BE49-F238E27FC236}">
                    <a16:creationId xmlns:a16="http://schemas.microsoft.com/office/drawing/2014/main" id="{2B91B16B-BC11-E547-8FAC-B9B8D18EA449}"/>
                  </a:ext>
                </a:extLst>
              </p:cNvPr>
              <p:cNvSpPr>
                <a:spLocks/>
              </p:cNvSpPr>
              <p:nvPr/>
            </p:nvSpPr>
            <p:spPr bwMode="gray">
              <a:xfrm>
                <a:off x="2880" y="1704"/>
                <a:ext cx="618" cy="916"/>
              </a:xfrm>
              <a:custGeom>
                <a:avLst/>
                <a:gdLst>
                  <a:gd name="T0" fmla="*/ 307 w 307"/>
                  <a:gd name="T1" fmla="*/ 405 h 455"/>
                  <a:gd name="T2" fmla="*/ 307 w 307"/>
                  <a:gd name="T3" fmla="*/ 244 h 455"/>
                  <a:gd name="T4" fmla="*/ 279 w 307"/>
                  <a:gd name="T5" fmla="*/ 229 h 455"/>
                  <a:gd name="T6" fmla="*/ 250 w 307"/>
                  <a:gd name="T7" fmla="*/ 244 h 455"/>
                  <a:gd name="T8" fmla="*/ 250 w 307"/>
                  <a:gd name="T9" fmla="*/ 378 h 455"/>
                  <a:gd name="T10" fmla="*/ 199 w 307"/>
                  <a:gd name="T11" fmla="*/ 408 h 455"/>
                  <a:gd name="T12" fmla="*/ 61 w 307"/>
                  <a:gd name="T13" fmla="*/ 231 h 455"/>
                  <a:gd name="T14" fmla="*/ 238 w 307"/>
                  <a:gd name="T15" fmla="*/ 49 h 455"/>
                  <a:gd name="T16" fmla="*/ 270 w 307"/>
                  <a:gd name="T17" fmla="*/ 49 h 455"/>
                  <a:gd name="T18" fmla="*/ 286 w 307"/>
                  <a:gd name="T19" fmla="*/ 23 h 455"/>
                  <a:gd name="T20" fmla="*/ 244 w 307"/>
                  <a:gd name="T21" fmla="*/ 0 h 455"/>
                  <a:gd name="T22" fmla="*/ 231 w 307"/>
                  <a:gd name="T23" fmla="*/ 0 h 455"/>
                  <a:gd name="T24" fmla="*/ 0 w 307"/>
                  <a:gd name="T25" fmla="*/ 232 h 455"/>
                  <a:gd name="T26" fmla="*/ 198 w 307"/>
                  <a:gd name="T27" fmla="*/ 455 h 455"/>
                  <a:gd name="T28" fmla="*/ 307 w 307"/>
                  <a:gd name="T29" fmla="*/ 405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7" h="455">
                    <a:moveTo>
                      <a:pt x="307" y="405"/>
                    </a:moveTo>
                    <a:cubicBezTo>
                      <a:pt x="307" y="244"/>
                      <a:pt x="307" y="244"/>
                      <a:pt x="307" y="244"/>
                    </a:cubicBezTo>
                    <a:cubicBezTo>
                      <a:pt x="307" y="234"/>
                      <a:pt x="298" y="229"/>
                      <a:pt x="279" y="229"/>
                    </a:cubicBezTo>
                    <a:cubicBezTo>
                      <a:pt x="259" y="229"/>
                      <a:pt x="250" y="234"/>
                      <a:pt x="250" y="244"/>
                    </a:cubicBezTo>
                    <a:cubicBezTo>
                      <a:pt x="250" y="378"/>
                      <a:pt x="250" y="378"/>
                      <a:pt x="250" y="378"/>
                    </a:cubicBezTo>
                    <a:cubicBezTo>
                      <a:pt x="250" y="399"/>
                      <a:pt x="241" y="408"/>
                      <a:pt x="199" y="408"/>
                    </a:cubicBezTo>
                    <a:cubicBezTo>
                      <a:pt x="114" y="408"/>
                      <a:pt x="61" y="342"/>
                      <a:pt x="61" y="231"/>
                    </a:cubicBezTo>
                    <a:cubicBezTo>
                      <a:pt x="61" y="115"/>
                      <a:pt x="126" y="49"/>
                      <a:pt x="238" y="49"/>
                    </a:cubicBezTo>
                    <a:cubicBezTo>
                      <a:pt x="270" y="49"/>
                      <a:pt x="270" y="49"/>
                      <a:pt x="270" y="49"/>
                    </a:cubicBezTo>
                    <a:cubicBezTo>
                      <a:pt x="282" y="49"/>
                      <a:pt x="286" y="39"/>
                      <a:pt x="286" y="23"/>
                    </a:cubicBezTo>
                    <a:cubicBezTo>
                      <a:pt x="286" y="4"/>
                      <a:pt x="275" y="0"/>
                      <a:pt x="244" y="0"/>
                    </a:cubicBezTo>
                    <a:cubicBezTo>
                      <a:pt x="231" y="0"/>
                      <a:pt x="231" y="0"/>
                      <a:pt x="231" y="0"/>
                    </a:cubicBezTo>
                    <a:cubicBezTo>
                      <a:pt x="101" y="0"/>
                      <a:pt x="0" y="71"/>
                      <a:pt x="0" y="232"/>
                    </a:cubicBezTo>
                    <a:cubicBezTo>
                      <a:pt x="0" y="386"/>
                      <a:pt x="88" y="455"/>
                      <a:pt x="198" y="455"/>
                    </a:cubicBezTo>
                    <a:cubicBezTo>
                      <a:pt x="286" y="455"/>
                      <a:pt x="307" y="430"/>
                      <a:pt x="307" y="40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0" dirty="0"/>
              </a:p>
            </p:txBody>
          </p:sp>
          <p:sp>
            <p:nvSpPr>
              <p:cNvPr id="26" name="Oval 11">
                <a:extLst>
                  <a:ext uri="{FF2B5EF4-FFF2-40B4-BE49-F238E27FC236}">
                    <a16:creationId xmlns:a16="http://schemas.microsoft.com/office/drawing/2014/main" id="{14F8C3C8-4888-7646-B9B4-64EB46A1DA23}"/>
                  </a:ext>
                </a:extLst>
              </p:cNvPr>
              <p:cNvSpPr>
                <a:spLocks noChangeArrowheads="1"/>
              </p:cNvSpPr>
              <p:nvPr/>
            </p:nvSpPr>
            <p:spPr bwMode="gray">
              <a:xfrm>
                <a:off x="3778" y="2099"/>
                <a:ext cx="122" cy="12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0" dirty="0"/>
              </a:p>
            </p:txBody>
          </p:sp>
          <p:sp>
            <p:nvSpPr>
              <p:cNvPr id="27" name="Freeform 12">
                <a:extLst>
                  <a:ext uri="{FF2B5EF4-FFF2-40B4-BE49-F238E27FC236}">
                    <a16:creationId xmlns:a16="http://schemas.microsoft.com/office/drawing/2014/main" id="{D79D01D1-4E3E-F34B-97D7-2D387E68746E}"/>
                  </a:ext>
                </a:extLst>
              </p:cNvPr>
              <p:cNvSpPr>
                <a:spLocks/>
              </p:cNvSpPr>
              <p:nvPr/>
            </p:nvSpPr>
            <p:spPr bwMode="gray">
              <a:xfrm>
                <a:off x="4321" y="1029"/>
                <a:ext cx="648" cy="649"/>
              </a:xfrm>
              <a:custGeom>
                <a:avLst/>
                <a:gdLst>
                  <a:gd name="T0" fmla="*/ 0 w 648"/>
                  <a:gd name="T1" fmla="*/ 649 h 649"/>
                  <a:gd name="T2" fmla="*/ 2 w 648"/>
                  <a:gd name="T3" fmla="*/ 649 h 649"/>
                  <a:gd name="T4" fmla="*/ 648 w 648"/>
                  <a:gd name="T5" fmla="*/ 0 h 649"/>
                  <a:gd name="T6" fmla="*/ 423 w 648"/>
                  <a:gd name="T7" fmla="*/ 0 h 649"/>
                  <a:gd name="T8" fmla="*/ 0 w 648"/>
                  <a:gd name="T9" fmla="*/ 649 h 649"/>
                </a:gdLst>
                <a:ahLst/>
                <a:cxnLst>
                  <a:cxn ang="0">
                    <a:pos x="T0" y="T1"/>
                  </a:cxn>
                  <a:cxn ang="0">
                    <a:pos x="T2" y="T3"/>
                  </a:cxn>
                  <a:cxn ang="0">
                    <a:pos x="T4" y="T5"/>
                  </a:cxn>
                  <a:cxn ang="0">
                    <a:pos x="T6" y="T7"/>
                  </a:cxn>
                  <a:cxn ang="0">
                    <a:pos x="T8" y="T9"/>
                  </a:cxn>
                </a:cxnLst>
                <a:rect l="0" t="0" r="r" b="b"/>
                <a:pathLst>
                  <a:path w="648" h="649">
                    <a:moveTo>
                      <a:pt x="0" y="649"/>
                    </a:moveTo>
                    <a:lnTo>
                      <a:pt x="2" y="649"/>
                    </a:lnTo>
                    <a:lnTo>
                      <a:pt x="648" y="0"/>
                    </a:lnTo>
                    <a:lnTo>
                      <a:pt x="423" y="0"/>
                    </a:lnTo>
                    <a:lnTo>
                      <a:pt x="0" y="64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0" dirty="0"/>
              </a:p>
            </p:txBody>
          </p:sp>
          <p:sp>
            <p:nvSpPr>
              <p:cNvPr id="28" name="Freeform 13">
                <a:extLst>
                  <a:ext uri="{FF2B5EF4-FFF2-40B4-BE49-F238E27FC236}">
                    <a16:creationId xmlns:a16="http://schemas.microsoft.com/office/drawing/2014/main" id="{46549898-6C52-B147-A8F6-A73FDBE6163B}"/>
                  </a:ext>
                </a:extLst>
              </p:cNvPr>
              <p:cNvSpPr>
                <a:spLocks/>
              </p:cNvSpPr>
              <p:nvPr/>
            </p:nvSpPr>
            <p:spPr bwMode="gray">
              <a:xfrm>
                <a:off x="4321" y="1029"/>
                <a:ext cx="648" cy="649"/>
              </a:xfrm>
              <a:custGeom>
                <a:avLst/>
                <a:gdLst>
                  <a:gd name="T0" fmla="*/ 0 w 648"/>
                  <a:gd name="T1" fmla="*/ 649 h 649"/>
                  <a:gd name="T2" fmla="*/ 2 w 648"/>
                  <a:gd name="T3" fmla="*/ 649 h 649"/>
                  <a:gd name="T4" fmla="*/ 648 w 648"/>
                  <a:gd name="T5" fmla="*/ 0 h 649"/>
                  <a:gd name="T6" fmla="*/ 423 w 648"/>
                  <a:gd name="T7" fmla="*/ 0 h 649"/>
                  <a:gd name="T8" fmla="*/ 0 w 648"/>
                  <a:gd name="T9" fmla="*/ 649 h 649"/>
                </a:gdLst>
                <a:ahLst/>
                <a:cxnLst>
                  <a:cxn ang="0">
                    <a:pos x="T0" y="T1"/>
                  </a:cxn>
                  <a:cxn ang="0">
                    <a:pos x="T2" y="T3"/>
                  </a:cxn>
                  <a:cxn ang="0">
                    <a:pos x="T4" y="T5"/>
                  </a:cxn>
                  <a:cxn ang="0">
                    <a:pos x="T6" y="T7"/>
                  </a:cxn>
                  <a:cxn ang="0">
                    <a:pos x="T8" y="T9"/>
                  </a:cxn>
                </a:cxnLst>
                <a:rect l="0" t="0" r="r" b="b"/>
                <a:pathLst>
                  <a:path w="648" h="649">
                    <a:moveTo>
                      <a:pt x="0" y="649"/>
                    </a:moveTo>
                    <a:lnTo>
                      <a:pt x="2" y="649"/>
                    </a:lnTo>
                    <a:lnTo>
                      <a:pt x="648" y="0"/>
                    </a:lnTo>
                    <a:lnTo>
                      <a:pt x="423" y="0"/>
                    </a:lnTo>
                    <a:lnTo>
                      <a:pt x="0" y="64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0" dirty="0"/>
              </a:p>
            </p:txBody>
          </p:sp>
        </p:grpSp>
      </p:grpSp>
      <p:sp>
        <p:nvSpPr>
          <p:cNvPr id="7" name="Date Placeholder 6"/>
          <p:cNvSpPr>
            <a:spLocks noGrp="1"/>
          </p:cNvSpPr>
          <p:nvPr>
            <p:ph type="dt" sz="half" idx="10"/>
          </p:nvPr>
        </p:nvSpPr>
        <p:spPr>
          <a:xfrm>
            <a:off x="0" y="0"/>
            <a:ext cx="0" cy="0"/>
          </a:xfrm>
          <a:prstGeom prst="rect">
            <a:avLst/>
          </a:prstGeom>
        </p:spPr>
        <p:txBody>
          <a:bodyPr/>
          <a:lstStyle>
            <a:lvl1pPr>
              <a:defRPr sz="133">
                <a:noFill/>
              </a:defRPr>
            </a:lvl1pPr>
          </a:lstStyle>
          <a:p>
            <a:fld id="{7630F4D0-4FCA-495D-93CB-4308FDD6CACA}" type="datetime5">
              <a:rPr lang="en-US" smtClean="0"/>
              <a:t>26-Jun-20</a:t>
            </a:fld>
            <a:endParaRPr lang="en-US" dirty="0"/>
          </a:p>
        </p:txBody>
      </p:sp>
      <p:sp>
        <p:nvSpPr>
          <p:cNvPr id="8" name="Footer Placeholder 7"/>
          <p:cNvSpPr>
            <a:spLocks noGrp="1"/>
          </p:cNvSpPr>
          <p:nvPr>
            <p:ph type="ftr" sz="quarter" idx="11"/>
          </p:nvPr>
        </p:nvSpPr>
        <p:spPr>
          <a:xfrm>
            <a:off x="0" y="0"/>
            <a:ext cx="0" cy="0"/>
          </a:xfrm>
          <a:prstGeom prst="rect">
            <a:avLst/>
          </a:prstGeom>
        </p:spPr>
        <p:txBody>
          <a:bodyPr/>
          <a:lstStyle>
            <a:lvl1pPr marL="0" indent="0">
              <a:buNone/>
              <a:defRPr sz="133">
                <a:noFill/>
              </a:defRPr>
            </a:lvl1pPr>
          </a:lstStyle>
          <a:p>
            <a:r>
              <a:rPr lang="en-US"/>
              <a:t>Title of presentation (Insert / Header &amp; Footer / Apply to All)</a:t>
            </a:r>
            <a:endParaRPr lang="en-US" dirty="0"/>
          </a:p>
        </p:txBody>
      </p:sp>
      <p:sp>
        <p:nvSpPr>
          <p:cNvPr id="9" name="Slide Number Placeholder 8"/>
          <p:cNvSpPr>
            <a:spLocks noGrp="1"/>
          </p:cNvSpPr>
          <p:nvPr>
            <p:ph type="sldNum" sz="quarter" idx="12"/>
          </p:nvPr>
        </p:nvSpPr>
        <p:spPr>
          <a:xfrm>
            <a:off x="0" y="0"/>
            <a:ext cx="0" cy="0"/>
          </a:xfrm>
          <a:prstGeom prst="rect">
            <a:avLst/>
          </a:prstGeom>
        </p:spPr>
        <p:txBody>
          <a:bodyPr/>
          <a:lstStyle>
            <a:lvl1pPr>
              <a:defRPr sz="133">
                <a:noFill/>
              </a:defRPr>
            </a:lvl1pPr>
          </a:lstStyle>
          <a:p>
            <a:fld id="{8E3B25F7-8D1F-44B5-B485-EE3C438CFD7B}" type="slidenum">
              <a:rPr lang="en-US" smtClean="0"/>
              <a:pPr/>
              <a:t>‹#›</a:t>
            </a:fld>
            <a:endParaRPr lang="en-US"/>
          </a:p>
        </p:txBody>
      </p:sp>
      <p:sp>
        <p:nvSpPr>
          <p:cNvPr id="2" name="Title 1"/>
          <p:cNvSpPr>
            <a:spLocks noGrp="1"/>
          </p:cNvSpPr>
          <p:nvPr>
            <p:ph type="ctrTitle" hasCustomPrompt="1"/>
          </p:nvPr>
        </p:nvSpPr>
        <p:spPr>
          <a:xfrm>
            <a:off x="4524590" y="1628775"/>
            <a:ext cx="5707663" cy="2236264"/>
          </a:xfrm>
        </p:spPr>
        <p:txBody>
          <a:bodyPr anchor="b"/>
          <a:lstStyle>
            <a:lvl1pPr algn="l">
              <a:defRPr sz="3599" baseline="0"/>
            </a:lvl1pPr>
          </a:lstStyle>
          <a:p>
            <a:r>
              <a:rPr lang="en-US" dirty="0"/>
              <a:t>Click to add a longer presentation title</a:t>
            </a:r>
          </a:p>
        </p:txBody>
      </p:sp>
      <p:sp>
        <p:nvSpPr>
          <p:cNvPr id="3" name="Subtitle 2"/>
          <p:cNvSpPr>
            <a:spLocks noGrp="1"/>
          </p:cNvSpPr>
          <p:nvPr>
            <p:ph type="subTitle" idx="1" hasCustomPrompt="1"/>
          </p:nvPr>
        </p:nvSpPr>
        <p:spPr>
          <a:xfrm>
            <a:off x="4524590" y="4094163"/>
            <a:ext cx="5707663" cy="1080000"/>
          </a:xfrm>
        </p:spPr>
        <p:txBody>
          <a:bodyPr/>
          <a:lstStyle>
            <a:lvl1pPr marL="0" indent="0" algn="l">
              <a:spcBef>
                <a:spcPts val="0"/>
              </a:spcBef>
              <a:buNone/>
              <a:defRPr sz="1799" b="1"/>
            </a:lvl1pPr>
            <a:lvl2pPr marL="457051" indent="0" algn="ctr">
              <a:buNone/>
              <a:defRPr sz="1999"/>
            </a:lvl2pPr>
            <a:lvl3pPr marL="914103" indent="0" algn="ctr">
              <a:buNone/>
              <a:defRPr sz="1799"/>
            </a:lvl3pPr>
            <a:lvl4pPr marL="1371154" indent="0" algn="ctr">
              <a:buNone/>
              <a:defRPr sz="1599"/>
            </a:lvl4pPr>
            <a:lvl5pPr marL="1828206" indent="0" algn="ctr">
              <a:buNone/>
              <a:defRPr sz="1599"/>
            </a:lvl5pPr>
            <a:lvl6pPr marL="2285257" indent="0" algn="ctr">
              <a:buNone/>
              <a:defRPr sz="1599"/>
            </a:lvl6pPr>
            <a:lvl7pPr marL="2742308" indent="0" algn="ctr">
              <a:buNone/>
              <a:defRPr sz="1599"/>
            </a:lvl7pPr>
            <a:lvl8pPr marL="3199360" indent="0" algn="ctr">
              <a:buNone/>
              <a:defRPr sz="1599"/>
            </a:lvl8pPr>
            <a:lvl9pPr marL="3656411" indent="0" algn="ctr">
              <a:buNone/>
              <a:defRPr sz="1599"/>
            </a:lvl9pPr>
          </a:lstStyle>
          <a:p>
            <a:r>
              <a:rPr lang="en-US" dirty="0"/>
              <a:t>Click to add subtitle</a:t>
            </a:r>
          </a:p>
        </p:txBody>
      </p:sp>
      <p:sp>
        <p:nvSpPr>
          <p:cNvPr id="31" name="Text Placeholder 30"/>
          <p:cNvSpPr>
            <a:spLocks noGrp="1"/>
          </p:cNvSpPr>
          <p:nvPr>
            <p:ph type="body" sz="quarter" idx="14" hasCustomPrompt="1"/>
          </p:nvPr>
        </p:nvSpPr>
        <p:spPr>
          <a:xfrm>
            <a:off x="417600" y="5393268"/>
            <a:ext cx="2494933" cy="296333"/>
          </a:xfrm>
        </p:spPr>
        <p:txBody>
          <a:bodyPr wrap="none"/>
          <a:lstStyle>
            <a:lvl1pPr marL="0" indent="0">
              <a:spcBef>
                <a:spcPts val="0"/>
              </a:spcBef>
              <a:buNone/>
              <a:defRPr sz="1200"/>
            </a:lvl1pPr>
            <a:lvl2pPr marL="0" indent="0">
              <a:buNone/>
              <a:defRPr sz="1200"/>
            </a:lvl2pPr>
            <a:lvl3pPr marL="0" indent="0">
              <a:buNone/>
              <a:defRPr sz="1200"/>
            </a:lvl3pPr>
            <a:lvl4pPr marL="0">
              <a:buNone/>
              <a:defRPr sz="1200"/>
            </a:lvl4pPr>
            <a:lvl5pPr marL="0" indent="0">
              <a:buNone/>
              <a:defRPr sz="1200"/>
            </a:lvl5pPr>
          </a:lstStyle>
          <a:p>
            <a:pPr lvl="0"/>
            <a:r>
              <a:rPr lang="en-US" dirty="0"/>
              <a:t>Name</a:t>
            </a:r>
          </a:p>
        </p:txBody>
      </p:sp>
      <p:sp>
        <p:nvSpPr>
          <p:cNvPr id="34" name="Text Placeholder 30"/>
          <p:cNvSpPr>
            <a:spLocks noGrp="1"/>
          </p:cNvSpPr>
          <p:nvPr>
            <p:ph type="body" sz="quarter" idx="15" hasCustomPrompt="1"/>
          </p:nvPr>
        </p:nvSpPr>
        <p:spPr>
          <a:xfrm>
            <a:off x="417600" y="5691445"/>
            <a:ext cx="2494933" cy="296333"/>
          </a:xfrm>
        </p:spPr>
        <p:txBody>
          <a:bodyPr wrap="none"/>
          <a:lstStyle>
            <a:lvl1pPr marL="0" indent="0">
              <a:spcBef>
                <a:spcPts val="0"/>
              </a:spcBef>
              <a:buNone/>
              <a:defRPr sz="1200"/>
            </a:lvl1pPr>
            <a:lvl2pPr marL="0" indent="0">
              <a:buNone/>
              <a:defRPr sz="1200"/>
            </a:lvl2pPr>
            <a:lvl3pPr marL="0" indent="0">
              <a:buNone/>
              <a:defRPr sz="1200"/>
            </a:lvl3pPr>
            <a:lvl4pPr marL="0">
              <a:buNone/>
              <a:defRPr sz="1200"/>
            </a:lvl4pPr>
            <a:lvl5pPr marL="0" indent="0">
              <a:buNone/>
              <a:defRPr sz="1200"/>
            </a:lvl5pPr>
          </a:lstStyle>
          <a:p>
            <a:pPr lvl="0"/>
            <a:r>
              <a:rPr lang="en-US" dirty="0"/>
              <a:t>Department</a:t>
            </a:r>
          </a:p>
        </p:txBody>
      </p:sp>
    </p:spTree>
    <p:extLst>
      <p:ext uri="{BB962C8B-B14F-4D97-AF65-F5344CB8AC3E}">
        <p14:creationId xmlns:p14="http://schemas.microsoft.com/office/powerpoint/2010/main" val="2240261580"/>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showMasterSp="0" preserve="1">
  <p:cSld name="Title with picture">
    <p:spTree>
      <p:nvGrpSpPr>
        <p:cNvPr id="1" name=""/>
        <p:cNvGrpSpPr/>
        <p:nvPr/>
      </p:nvGrpSpPr>
      <p:grpSpPr>
        <a:xfrm>
          <a:off x="0" y="0"/>
          <a:ext cx="0" cy="0"/>
          <a:chOff x="0" y="0"/>
          <a:chExt cx="0" cy="0"/>
        </a:xfrm>
      </p:grpSpPr>
      <p:sp>
        <p:nvSpPr>
          <p:cNvPr id="12" name="Picture Placeholder 11"/>
          <p:cNvSpPr>
            <a:spLocks noGrp="1"/>
          </p:cNvSpPr>
          <p:nvPr>
            <p:ph type="pic" sz="quarter" idx="13" hasCustomPrompt="1"/>
          </p:nvPr>
        </p:nvSpPr>
        <p:spPr>
          <a:xfrm>
            <a:off x="3376226" y="0"/>
            <a:ext cx="8815775" cy="6858000"/>
          </a:xfrm>
          <a:custGeom>
            <a:avLst/>
            <a:gdLst>
              <a:gd name="connsiteX0" fmla="*/ 331042 w 8815774"/>
              <a:gd name="connsiteY0" fmla="*/ 0 h 6858000"/>
              <a:gd name="connsiteX1" fmla="*/ 8815774 w 8815774"/>
              <a:gd name="connsiteY1" fmla="*/ 0 h 6858000"/>
              <a:gd name="connsiteX2" fmla="*/ 8815774 w 8815774"/>
              <a:gd name="connsiteY2" fmla="*/ 6858000 h 6858000"/>
              <a:gd name="connsiteX3" fmla="*/ 0 w 8815774"/>
              <a:gd name="connsiteY3" fmla="*/ 6858000 h 6858000"/>
              <a:gd name="connsiteX4" fmla="*/ 1580491 w 8815774"/>
              <a:gd name="connsiteY4" fmla="*/ 4163677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15774" h="6858000">
                <a:moveTo>
                  <a:pt x="331042" y="0"/>
                </a:moveTo>
                <a:lnTo>
                  <a:pt x="8815774" y="0"/>
                </a:lnTo>
                <a:lnTo>
                  <a:pt x="8815774" y="6858000"/>
                </a:lnTo>
                <a:lnTo>
                  <a:pt x="0" y="6858000"/>
                </a:lnTo>
                <a:lnTo>
                  <a:pt x="1580491" y="4163677"/>
                </a:lnTo>
                <a:close/>
              </a:path>
            </a:pathLst>
          </a:custGeom>
          <a:solidFill>
            <a:srgbClr val="D9DADB"/>
          </a:solidFill>
        </p:spPr>
        <p:txBody>
          <a:bodyPr wrap="square">
            <a:noAutofit/>
          </a:bodyPr>
          <a:lstStyle>
            <a:lvl1pPr marL="0" indent="0" algn="ctr">
              <a:buNone/>
              <a:defRPr/>
            </a:lvl1pPr>
          </a:lstStyle>
          <a:p>
            <a:r>
              <a:rPr lang="en-US" dirty="0"/>
              <a:t>Insert picture</a:t>
            </a:r>
          </a:p>
        </p:txBody>
      </p:sp>
      <p:grpSp>
        <p:nvGrpSpPr>
          <p:cNvPr id="14" name="logo">
            <a:extLst>
              <a:ext uri="{FF2B5EF4-FFF2-40B4-BE49-F238E27FC236}">
                <a16:creationId xmlns:a16="http://schemas.microsoft.com/office/drawing/2014/main" id="{18C26D95-70F8-8A4D-9F18-DCCB92522AF8}"/>
              </a:ext>
            </a:extLst>
          </p:cNvPr>
          <p:cNvGrpSpPr/>
          <p:nvPr/>
        </p:nvGrpSpPr>
        <p:grpSpPr bwMode="gray">
          <a:xfrm>
            <a:off x="417365" y="407485"/>
            <a:ext cx="1518585" cy="646507"/>
            <a:chOff x="334963" y="296652"/>
            <a:chExt cx="1268411" cy="540000"/>
          </a:xfrm>
        </p:grpSpPr>
        <p:sp>
          <p:nvSpPr>
            <p:cNvPr id="17" name="Freeform 6">
              <a:extLst>
                <a:ext uri="{FF2B5EF4-FFF2-40B4-BE49-F238E27FC236}">
                  <a16:creationId xmlns:a16="http://schemas.microsoft.com/office/drawing/2014/main" id="{08737AD0-E375-E445-97E6-CD2E2DF60620}"/>
                </a:ext>
              </a:extLst>
            </p:cNvPr>
            <p:cNvSpPr>
              <a:spLocks noEditPoints="1"/>
            </p:cNvSpPr>
            <p:nvPr/>
          </p:nvSpPr>
          <p:spPr bwMode="gray">
            <a:xfrm>
              <a:off x="982662" y="360462"/>
              <a:ext cx="620712" cy="431800"/>
            </a:xfrm>
            <a:custGeom>
              <a:avLst/>
              <a:gdLst>
                <a:gd name="T0" fmla="*/ 19 w 1809"/>
                <a:gd name="T1" fmla="*/ 97 h 1253"/>
                <a:gd name="T2" fmla="*/ 165 w 1809"/>
                <a:gd name="T3" fmla="*/ 41 h 1253"/>
                <a:gd name="T4" fmla="*/ 211 w 1809"/>
                <a:gd name="T5" fmla="*/ 224 h 1253"/>
                <a:gd name="T6" fmla="*/ 248 w 1809"/>
                <a:gd name="T7" fmla="*/ 155 h 1253"/>
                <a:gd name="T8" fmla="*/ 931 w 1809"/>
                <a:gd name="T9" fmla="*/ 995 h 1253"/>
                <a:gd name="T10" fmla="*/ 858 w 1809"/>
                <a:gd name="T11" fmla="*/ 1115 h 1253"/>
                <a:gd name="T12" fmla="*/ 749 w 1809"/>
                <a:gd name="T13" fmla="*/ 1117 h 1253"/>
                <a:gd name="T14" fmla="*/ 681 w 1809"/>
                <a:gd name="T15" fmla="*/ 1055 h 1253"/>
                <a:gd name="T16" fmla="*/ 800 w 1809"/>
                <a:gd name="T17" fmla="*/ 1054 h 1253"/>
                <a:gd name="T18" fmla="*/ 884 w 1809"/>
                <a:gd name="T19" fmla="*/ 1181 h 1253"/>
                <a:gd name="T20" fmla="*/ 118 w 1809"/>
                <a:gd name="T21" fmla="*/ 1086 h 1253"/>
                <a:gd name="T22" fmla="*/ 147 w 1809"/>
                <a:gd name="T23" fmla="*/ 1026 h 1253"/>
                <a:gd name="T24" fmla="*/ 102 w 1809"/>
                <a:gd name="T25" fmla="*/ 1026 h 1253"/>
                <a:gd name="T26" fmla="*/ 639 w 1809"/>
                <a:gd name="T27" fmla="*/ 84 h 1253"/>
                <a:gd name="T28" fmla="*/ 763 w 1809"/>
                <a:gd name="T29" fmla="*/ 145 h 1253"/>
                <a:gd name="T30" fmla="*/ 863 w 1809"/>
                <a:gd name="T31" fmla="*/ 221 h 1253"/>
                <a:gd name="T32" fmla="*/ 834 w 1809"/>
                <a:gd name="T33" fmla="*/ 208 h 1253"/>
                <a:gd name="T34" fmla="*/ 719 w 1809"/>
                <a:gd name="T35" fmla="*/ 182 h 1253"/>
                <a:gd name="T36" fmla="*/ 507 w 1809"/>
                <a:gd name="T37" fmla="*/ 711 h 1253"/>
                <a:gd name="T38" fmla="*/ 614 w 1809"/>
                <a:gd name="T39" fmla="*/ 706 h 1253"/>
                <a:gd name="T40" fmla="*/ 736 w 1809"/>
                <a:gd name="T41" fmla="*/ 730 h 1253"/>
                <a:gd name="T42" fmla="*/ 607 w 1809"/>
                <a:gd name="T43" fmla="*/ 539 h 1253"/>
                <a:gd name="T44" fmla="*/ 1505 w 1809"/>
                <a:gd name="T45" fmla="*/ 1136 h 1253"/>
                <a:gd name="T46" fmla="*/ 1613 w 1809"/>
                <a:gd name="T47" fmla="*/ 1002 h 1253"/>
                <a:gd name="T48" fmla="*/ 1472 w 1809"/>
                <a:gd name="T49" fmla="*/ 1164 h 1253"/>
                <a:gd name="T50" fmla="*/ 1525 w 1809"/>
                <a:gd name="T51" fmla="*/ 1142 h 1253"/>
                <a:gd name="T52" fmla="*/ 1556 w 1809"/>
                <a:gd name="T53" fmla="*/ 1172 h 1253"/>
                <a:gd name="T54" fmla="*/ 1387 w 1809"/>
                <a:gd name="T55" fmla="*/ 910 h 1253"/>
                <a:gd name="T56" fmla="*/ 1261 w 1809"/>
                <a:gd name="T57" fmla="*/ 1157 h 1253"/>
                <a:gd name="T58" fmla="*/ 1413 w 1809"/>
                <a:gd name="T59" fmla="*/ 934 h 1253"/>
                <a:gd name="T60" fmla="*/ 1378 w 1809"/>
                <a:gd name="T61" fmla="*/ 1052 h 1253"/>
                <a:gd name="T62" fmla="*/ 488 w 1809"/>
                <a:gd name="T63" fmla="*/ 85 h 1253"/>
                <a:gd name="T64" fmla="*/ 509 w 1809"/>
                <a:gd name="T65" fmla="*/ 112 h 1253"/>
                <a:gd name="T66" fmla="*/ 548 w 1809"/>
                <a:gd name="T67" fmla="*/ 1187 h 1253"/>
                <a:gd name="T68" fmla="*/ 472 w 1809"/>
                <a:gd name="T69" fmla="*/ 1122 h 1253"/>
                <a:gd name="T70" fmla="*/ 558 w 1809"/>
                <a:gd name="T71" fmla="*/ 1157 h 1253"/>
                <a:gd name="T72" fmla="*/ 287 w 1809"/>
                <a:gd name="T73" fmla="*/ 654 h 1253"/>
                <a:gd name="T74" fmla="*/ 416 w 1809"/>
                <a:gd name="T75" fmla="*/ 684 h 1253"/>
                <a:gd name="T76" fmla="*/ 1106 w 1809"/>
                <a:gd name="T77" fmla="*/ 147 h 1253"/>
                <a:gd name="T78" fmla="*/ 1229 w 1809"/>
                <a:gd name="T79" fmla="*/ 258 h 1253"/>
                <a:gd name="T80" fmla="*/ 1106 w 1809"/>
                <a:gd name="T81" fmla="*/ 96 h 1253"/>
                <a:gd name="T82" fmla="*/ 1219 w 1809"/>
                <a:gd name="T83" fmla="*/ 1077 h 1253"/>
                <a:gd name="T84" fmla="*/ 1214 w 1809"/>
                <a:gd name="T85" fmla="*/ 1157 h 1253"/>
                <a:gd name="T86" fmla="*/ 1150 w 1809"/>
                <a:gd name="T87" fmla="*/ 1092 h 1253"/>
                <a:gd name="T88" fmla="*/ 1139 w 1809"/>
                <a:gd name="T89" fmla="*/ 1070 h 1253"/>
                <a:gd name="T90" fmla="*/ 1659 w 1809"/>
                <a:gd name="T91" fmla="*/ 1031 h 1253"/>
                <a:gd name="T92" fmla="*/ 1714 w 1809"/>
                <a:gd name="T93" fmla="*/ 1155 h 1253"/>
                <a:gd name="T94" fmla="*/ 1760 w 1809"/>
                <a:gd name="T95" fmla="*/ 1030 h 1253"/>
                <a:gd name="T96" fmla="*/ 111 w 1809"/>
                <a:gd name="T97" fmla="*/ 569 h 1253"/>
                <a:gd name="T98" fmla="*/ 109 w 1809"/>
                <a:gd name="T99" fmla="*/ 460 h 1253"/>
                <a:gd name="T100" fmla="*/ 32 w 1809"/>
                <a:gd name="T101" fmla="*/ 704 h 1253"/>
                <a:gd name="T102" fmla="*/ 310 w 1809"/>
                <a:gd name="T103" fmla="*/ 1058 h 1253"/>
                <a:gd name="T104" fmla="*/ 431 w 1809"/>
                <a:gd name="T105" fmla="*/ 1044 h 1253"/>
                <a:gd name="T106" fmla="*/ 278 w 1809"/>
                <a:gd name="T107" fmla="*/ 1165 h 1253"/>
                <a:gd name="T108" fmla="*/ 261 w 1809"/>
                <a:gd name="T109" fmla="*/ 540 h 1253"/>
                <a:gd name="T110" fmla="*/ 150 w 1809"/>
                <a:gd name="T111" fmla="*/ 635 h 1253"/>
                <a:gd name="T112" fmla="*/ 994 w 1809"/>
                <a:gd name="T113" fmla="*/ 1185 h 1253"/>
                <a:gd name="T114" fmla="*/ 331 w 1809"/>
                <a:gd name="T115" fmla="*/ 176 h 1253"/>
                <a:gd name="T116" fmla="*/ 333 w 1809"/>
                <a:gd name="T117" fmla="*/ 109 h 1253"/>
                <a:gd name="T118" fmla="*/ 946 w 1809"/>
                <a:gd name="T119" fmla="*/ 234 h 1253"/>
                <a:gd name="T120" fmla="*/ 1022 w 1809"/>
                <a:gd name="T121" fmla="*/ 113 h 1253"/>
                <a:gd name="T122" fmla="*/ 949 w 1809"/>
                <a:gd name="T123" fmla="*/ 65 h 1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09" h="1253">
                  <a:moveTo>
                    <a:pt x="248" y="198"/>
                  </a:moveTo>
                  <a:cubicBezTo>
                    <a:pt x="248" y="211"/>
                    <a:pt x="248" y="224"/>
                    <a:pt x="249" y="237"/>
                  </a:cubicBezTo>
                  <a:cubicBezTo>
                    <a:pt x="249" y="245"/>
                    <a:pt x="246" y="249"/>
                    <a:pt x="240" y="253"/>
                  </a:cubicBezTo>
                  <a:cubicBezTo>
                    <a:pt x="231" y="260"/>
                    <a:pt x="220" y="264"/>
                    <a:pt x="209" y="268"/>
                  </a:cubicBezTo>
                  <a:cubicBezTo>
                    <a:pt x="179" y="279"/>
                    <a:pt x="148" y="280"/>
                    <a:pt x="118" y="275"/>
                  </a:cubicBezTo>
                  <a:cubicBezTo>
                    <a:pt x="86" y="269"/>
                    <a:pt x="58" y="252"/>
                    <a:pt x="39" y="224"/>
                  </a:cubicBezTo>
                  <a:cubicBezTo>
                    <a:pt x="24" y="203"/>
                    <a:pt x="18" y="180"/>
                    <a:pt x="15" y="155"/>
                  </a:cubicBezTo>
                  <a:cubicBezTo>
                    <a:pt x="11" y="135"/>
                    <a:pt x="15" y="115"/>
                    <a:pt x="19" y="97"/>
                  </a:cubicBezTo>
                  <a:cubicBezTo>
                    <a:pt x="26" y="68"/>
                    <a:pt x="42" y="44"/>
                    <a:pt x="68" y="27"/>
                  </a:cubicBezTo>
                  <a:cubicBezTo>
                    <a:pt x="87" y="14"/>
                    <a:pt x="109" y="6"/>
                    <a:pt x="133" y="5"/>
                  </a:cubicBezTo>
                  <a:cubicBezTo>
                    <a:pt x="149" y="4"/>
                    <a:pt x="165" y="5"/>
                    <a:pt x="181" y="6"/>
                  </a:cubicBezTo>
                  <a:cubicBezTo>
                    <a:pt x="204" y="8"/>
                    <a:pt x="225" y="20"/>
                    <a:pt x="243" y="35"/>
                  </a:cubicBezTo>
                  <a:cubicBezTo>
                    <a:pt x="246" y="37"/>
                    <a:pt x="246" y="40"/>
                    <a:pt x="244" y="43"/>
                  </a:cubicBezTo>
                  <a:cubicBezTo>
                    <a:pt x="242" y="47"/>
                    <a:pt x="239" y="52"/>
                    <a:pt x="236" y="55"/>
                  </a:cubicBezTo>
                  <a:cubicBezTo>
                    <a:pt x="226" y="65"/>
                    <a:pt x="224" y="65"/>
                    <a:pt x="206" y="54"/>
                  </a:cubicBezTo>
                  <a:cubicBezTo>
                    <a:pt x="193" y="46"/>
                    <a:pt x="180" y="40"/>
                    <a:pt x="165" y="41"/>
                  </a:cubicBezTo>
                  <a:cubicBezTo>
                    <a:pt x="151" y="41"/>
                    <a:pt x="137" y="39"/>
                    <a:pt x="124" y="42"/>
                  </a:cubicBezTo>
                  <a:cubicBezTo>
                    <a:pt x="104" y="46"/>
                    <a:pt x="87" y="57"/>
                    <a:pt x="75" y="74"/>
                  </a:cubicBezTo>
                  <a:cubicBezTo>
                    <a:pt x="56" y="99"/>
                    <a:pt x="51" y="129"/>
                    <a:pt x="55" y="159"/>
                  </a:cubicBezTo>
                  <a:cubicBezTo>
                    <a:pt x="60" y="189"/>
                    <a:pt x="73" y="214"/>
                    <a:pt x="98" y="230"/>
                  </a:cubicBezTo>
                  <a:cubicBezTo>
                    <a:pt x="109" y="237"/>
                    <a:pt x="121" y="242"/>
                    <a:pt x="135" y="241"/>
                  </a:cubicBezTo>
                  <a:cubicBezTo>
                    <a:pt x="146" y="241"/>
                    <a:pt x="158" y="241"/>
                    <a:pt x="169" y="241"/>
                  </a:cubicBezTo>
                  <a:cubicBezTo>
                    <a:pt x="182" y="242"/>
                    <a:pt x="193" y="235"/>
                    <a:pt x="205" y="232"/>
                  </a:cubicBezTo>
                  <a:cubicBezTo>
                    <a:pt x="210" y="231"/>
                    <a:pt x="211" y="227"/>
                    <a:pt x="211" y="224"/>
                  </a:cubicBezTo>
                  <a:cubicBezTo>
                    <a:pt x="211" y="210"/>
                    <a:pt x="211" y="196"/>
                    <a:pt x="211" y="183"/>
                  </a:cubicBezTo>
                  <a:cubicBezTo>
                    <a:pt x="211" y="177"/>
                    <a:pt x="207" y="175"/>
                    <a:pt x="202" y="175"/>
                  </a:cubicBezTo>
                  <a:cubicBezTo>
                    <a:pt x="193" y="175"/>
                    <a:pt x="184" y="175"/>
                    <a:pt x="175" y="175"/>
                  </a:cubicBezTo>
                  <a:cubicBezTo>
                    <a:pt x="171" y="175"/>
                    <a:pt x="168" y="174"/>
                    <a:pt x="166" y="171"/>
                  </a:cubicBezTo>
                  <a:cubicBezTo>
                    <a:pt x="163" y="163"/>
                    <a:pt x="164" y="154"/>
                    <a:pt x="166" y="146"/>
                  </a:cubicBezTo>
                  <a:cubicBezTo>
                    <a:pt x="167" y="142"/>
                    <a:pt x="171" y="142"/>
                    <a:pt x="175" y="142"/>
                  </a:cubicBezTo>
                  <a:cubicBezTo>
                    <a:pt x="196" y="142"/>
                    <a:pt x="217" y="142"/>
                    <a:pt x="238" y="142"/>
                  </a:cubicBezTo>
                  <a:cubicBezTo>
                    <a:pt x="247" y="142"/>
                    <a:pt x="248" y="148"/>
                    <a:pt x="248" y="155"/>
                  </a:cubicBezTo>
                  <a:cubicBezTo>
                    <a:pt x="249" y="169"/>
                    <a:pt x="248" y="183"/>
                    <a:pt x="248" y="198"/>
                  </a:cubicBezTo>
                  <a:close/>
                  <a:moveTo>
                    <a:pt x="884" y="1181"/>
                  </a:moveTo>
                  <a:cubicBezTo>
                    <a:pt x="889" y="1167"/>
                    <a:pt x="894" y="1152"/>
                    <a:pt x="898" y="1137"/>
                  </a:cubicBezTo>
                  <a:cubicBezTo>
                    <a:pt x="901" y="1127"/>
                    <a:pt x="905" y="1116"/>
                    <a:pt x="908" y="1106"/>
                  </a:cubicBezTo>
                  <a:cubicBezTo>
                    <a:pt x="911" y="1098"/>
                    <a:pt x="912" y="1089"/>
                    <a:pt x="916" y="1081"/>
                  </a:cubicBezTo>
                  <a:cubicBezTo>
                    <a:pt x="921" y="1072"/>
                    <a:pt x="923" y="1060"/>
                    <a:pt x="927" y="1050"/>
                  </a:cubicBezTo>
                  <a:cubicBezTo>
                    <a:pt x="932" y="1037"/>
                    <a:pt x="934" y="1023"/>
                    <a:pt x="940" y="1010"/>
                  </a:cubicBezTo>
                  <a:cubicBezTo>
                    <a:pt x="945" y="1001"/>
                    <a:pt x="941" y="995"/>
                    <a:pt x="931" y="995"/>
                  </a:cubicBezTo>
                  <a:cubicBezTo>
                    <a:pt x="927" y="995"/>
                    <a:pt x="922" y="995"/>
                    <a:pt x="918" y="995"/>
                  </a:cubicBezTo>
                  <a:cubicBezTo>
                    <a:pt x="913" y="995"/>
                    <a:pt x="908" y="997"/>
                    <a:pt x="907" y="1001"/>
                  </a:cubicBezTo>
                  <a:cubicBezTo>
                    <a:pt x="904" y="1008"/>
                    <a:pt x="900" y="1015"/>
                    <a:pt x="899" y="1023"/>
                  </a:cubicBezTo>
                  <a:cubicBezTo>
                    <a:pt x="897" y="1034"/>
                    <a:pt x="893" y="1045"/>
                    <a:pt x="889" y="1055"/>
                  </a:cubicBezTo>
                  <a:cubicBezTo>
                    <a:pt x="887" y="1064"/>
                    <a:pt x="885" y="1072"/>
                    <a:pt x="882" y="1080"/>
                  </a:cubicBezTo>
                  <a:cubicBezTo>
                    <a:pt x="878" y="1091"/>
                    <a:pt x="874" y="1103"/>
                    <a:pt x="871" y="1115"/>
                  </a:cubicBezTo>
                  <a:cubicBezTo>
                    <a:pt x="870" y="1118"/>
                    <a:pt x="871" y="1124"/>
                    <a:pt x="866" y="1124"/>
                  </a:cubicBezTo>
                  <a:cubicBezTo>
                    <a:pt x="861" y="1125"/>
                    <a:pt x="859" y="1120"/>
                    <a:pt x="858" y="1115"/>
                  </a:cubicBezTo>
                  <a:cubicBezTo>
                    <a:pt x="856" y="1110"/>
                    <a:pt x="856" y="1104"/>
                    <a:pt x="854" y="1099"/>
                  </a:cubicBezTo>
                  <a:cubicBezTo>
                    <a:pt x="848" y="1080"/>
                    <a:pt x="841" y="1062"/>
                    <a:pt x="835" y="1044"/>
                  </a:cubicBezTo>
                  <a:cubicBezTo>
                    <a:pt x="831" y="1030"/>
                    <a:pt x="828" y="1016"/>
                    <a:pt x="822" y="1003"/>
                  </a:cubicBezTo>
                  <a:cubicBezTo>
                    <a:pt x="819" y="997"/>
                    <a:pt x="814" y="994"/>
                    <a:pt x="808" y="994"/>
                  </a:cubicBezTo>
                  <a:cubicBezTo>
                    <a:pt x="799" y="993"/>
                    <a:pt x="791" y="993"/>
                    <a:pt x="787" y="1001"/>
                  </a:cubicBezTo>
                  <a:cubicBezTo>
                    <a:pt x="783" y="1008"/>
                    <a:pt x="780" y="1015"/>
                    <a:pt x="779" y="1022"/>
                  </a:cubicBezTo>
                  <a:cubicBezTo>
                    <a:pt x="778" y="1034"/>
                    <a:pt x="772" y="1044"/>
                    <a:pt x="769" y="1055"/>
                  </a:cubicBezTo>
                  <a:cubicBezTo>
                    <a:pt x="762" y="1076"/>
                    <a:pt x="754" y="1096"/>
                    <a:pt x="749" y="1117"/>
                  </a:cubicBezTo>
                  <a:cubicBezTo>
                    <a:pt x="748" y="1120"/>
                    <a:pt x="747" y="1124"/>
                    <a:pt x="742" y="1124"/>
                  </a:cubicBezTo>
                  <a:cubicBezTo>
                    <a:pt x="737" y="1124"/>
                    <a:pt x="737" y="1120"/>
                    <a:pt x="736" y="1116"/>
                  </a:cubicBezTo>
                  <a:cubicBezTo>
                    <a:pt x="734" y="1104"/>
                    <a:pt x="730" y="1092"/>
                    <a:pt x="726" y="1080"/>
                  </a:cubicBezTo>
                  <a:cubicBezTo>
                    <a:pt x="720" y="1061"/>
                    <a:pt x="714" y="1040"/>
                    <a:pt x="708" y="1020"/>
                  </a:cubicBezTo>
                  <a:cubicBezTo>
                    <a:pt x="703" y="1000"/>
                    <a:pt x="698" y="994"/>
                    <a:pt x="676" y="995"/>
                  </a:cubicBezTo>
                  <a:cubicBezTo>
                    <a:pt x="665" y="996"/>
                    <a:pt x="661" y="1001"/>
                    <a:pt x="667" y="1011"/>
                  </a:cubicBezTo>
                  <a:cubicBezTo>
                    <a:pt x="669" y="1016"/>
                    <a:pt x="670" y="1021"/>
                    <a:pt x="672" y="1025"/>
                  </a:cubicBezTo>
                  <a:cubicBezTo>
                    <a:pt x="675" y="1035"/>
                    <a:pt x="678" y="1046"/>
                    <a:pt x="681" y="1055"/>
                  </a:cubicBezTo>
                  <a:cubicBezTo>
                    <a:pt x="685" y="1068"/>
                    <a:pt x="689" y="1080"/>
                    <a:pt x="693" y="1092"/>
                  </a:cubicBezTo>
                  <a:cubicBezTo>
                    <a:pt x="697" y="1103"/>
                    <a:pt x="699" y="1113"/>
                    <a:pt x="703" y="1124"/>
                  </a:cubicBezTo>
                  <a:cubicBezTo>
                    <a:pt x="707" y="1136"/>
                    <a:pt x="711" y="1147"/>
                    <a:pt x="715" y="1160"/>
                  </a:cubicBezTo>
                  <a:cubicBezTo>
                    <a:pt x="717" y="1168"/>
                    <a:pt x="720" y="1176"/>
                    <a:pt x="724" y="1183"/>
                  </a:cubicBezTo>
                  <a:cubicBezTo>
                    <a:pt x="728" y="1189"/>
                    <a:pt x="752" y="1185"/>
                    <a:pt x="757" y="1180"/>
                  </a:cubicBezTo>
                  <a:cubicBezTo>
                    <a:pt x="764" y="1173"/>
                    <a:pt x="762" y="1163"/>
                    <a:pt x="766" y="1156"/>
                  </a:cubicBezTo>
                  <a:cubicBezTo>
                    <a:pt x="774" y="1140"/>
                    <a:pt x="778" y="1122"/>
                    <a:pt x="784" y="1105"/>
                  </a:cubicBezTo>
                  <a:cubicBezTo>
                    <a:pt x="789" y="1088"/>
                    <a:pt x="796" y="1072"/>
                    <a:pt x="800" y="1054"/>
                  </a:cubicBezTo>
                  <a:cubicBezTo>
                    <a:pt x="800" y="1053"/>
                    <a:pt x="801" y="1050"/>
                    <a:pt x="803" y="1050"/>
                  </a:cubicBezTo>
                  <a:cubicBezTo>
                    <a:pt x="806" y="1050"/>
                    <a:pt x="806" y="1052"/>
                    <a:pt x="807" y="1055"/>
                  </a:cubicBezTo>
                  <a:cubicBezTo>
                    <a:pt x="807" y="1060"/>
                    <a:pt x="810" y="1066"/>
                    <a:pt x="811" y="1071"/>
                  </a:cubicBezTo>
                  <a:cubicBezTo>
                    <a:pt x="814" y="1081"/>
                    <a:pt x="818" y="1090"/>
                    <a:pt x="821" y="1099"/>
                  </a:cubicBezTo>
                  <a:cubicBezTo>
                    <a:pt x="824" y="1110"/>
                    <a:pt x="827" y="1120"/>
                    <a:pt x="831" y="1131"/>
                  </a:cubicBezTo>
                  <a:cubicBezTo>
                    <a:pt x="834" y="1142"/>
                    <a:pt x="839" y="1153"/>
                    <a:pt x="842" y="1164"/>
                  </a:cubicBezTo>
                  <a:cubicBezTo>
                    <a:pt x="846" y="1179"/>
                    <a:pt x="850" y="1188"/>
                    <a:pt x="869" y="1185"/>
                  </a:cubicBezTo>
                  <a:cubicBezTo>
                    <a:pt x="873" y="1184"/>
                    <a:pt x="881" y="1189"/>
                    <a:pt x="884" y="1181"/>
                  </a:cubicBezTo>
                  <a:close/>
                  <a:moveTo>
                    <a:pt x="33" y="1051"/>
                  </a:moveTo>
                  <a:cubicBezTo>
                    <a:pt x="33" y="1087"/>
                    <a:pt x="33" y="1124"/>
                    <a:pt x="33" y="1160"/>
                  </a:cubicBezTo>
                  <a:cubicBezTo>
                    <a:pt x="33" y="1188"/>
                    <a:pt x="29" y="1184"/>
                    <a:pt x="58" y="1185"/>
                  </a:cubicBezTo>
                  <a:cubicBezTo>
                    <a:pt x="72" y="1185"/>
                    <a:pt x="73" y="1184"/>
                    <a:pt x="73" y="1170"/>
                  </a:cubicBezTo>
                  <a:cubicBezTo>
                    <a:pt x="73" y="1138"/>
                    <a:pt x="73" y="1107"/>
                    <a:pt x="73" y="1076"/>
                  </a:cubicBezTo>
                  <a:cubicBezTo>
                    <a:pt x="73" y="1071"/>
                    <a:pt x="72" y="1067"/>
                    <a:pt x="78" y="1065"/>
                  </a:cubicBezTo>
                  <a:cubicBezTo>
                    <a:pt x="91" y="1062"/>
                    <a:pt x="102" y="1067"/>
                    <a:pt x="110" y="1076"/>
                  </a:cubicBezTo>
                  <a:cubicBezTo>
                    <a:pt x="112" y="1080"/>
                    <a:pt x="115" y="1083"/>
                    <a:pt x="118" y="1086"/>
                  </a:cubicBezTo>
                  <a:cubicBezTo>
                    <a:pt x="132" y="1103"/>
                    <a:pt x="146" y="1119"/>
                    <a:pt x="161" y="1136"/>
                  </a:cubicBezTo>
                  <a:cubicBezTo>
                    <a:pt x="173" y="1150"/>
                    <a:pt x="186" y="1165"/>
                    <a:pt x="198" y="1179"/>
                  </a:cubicBezTo>
                  <a:cubicBezTo>
                    <a:pt x="207" y="1188"/>
                    <a:pt x="218" y="1184"/>
                    <a:pt x="228" y="1185"/>
                  </a:cubicBezTo>
                  <a:cubicBezTo>
                    <a:pt x="233" y="1185"/>
                    <a:pt x="241" y="1188"/>
                    <a:pt x="244" y="1182"/>
                  </a:cubicBezTo>
                  <a:cubicBezTo>
                    <a:pt x="246" y="1178"/>
                    <a:pt x="239" y="1173"/>
                    <a:pt x="235" y="1169"/>
                  </a:cubicBezTo>
                  <a:cubicBezTo>
                    <a:pt x="206" y="1133"/>
                    <a:pt x="176" y="1098"/>
                    <a:pt x="146" y="1062"/>
                  </a:cubicBezTo>
                  <a:cubicBezTo>
                    <a:pt x="141" y="1056"/>
                    <a:pt x="131" y="1052"/>
                    <a:pt x="132" y="1044"/>
                  </a:cubicBezTo>
                  <a:cubicBezTo>
                    <a:pt x="132" y="1036"/>
                    <a:pt x="142" y="1032"/>
                    <a:pt x="147" y="1026"/>
                  </a:cubicBezTo>
                  <a:cubicBezTo>
                    <a:pt x="164" y="1006"/>
                    <a:pt x="182" y="988"/>
                    <a:pt x="198" y="968"/>
                  </a:cubicBezTo>
                  <a:cubicBezTo>
                    <a:pt x="209" y="954"/>
                    <a:pt x="221" y="942"/>
                    <a:pt x="234" y="929"/>
                  </a:cubicBezTo>
                  <a:cubicBezTo>
                    <a:pt x="236" y="926"/>
                    <a:pt x="238" y="923"/>
                    <a:pt x="237" y="920"/>
                  </a:cubicBezTo>
                  <a:cubicBezTo>
                    <a:pt x="235" y="915"/>
                    <a:pt x="231" y="917"/>
                    <a:pt x="228" y="917"/>
                  </a:cubicBezTo>
                  <a:cubicBezTo>
                    <a:pt x="224" y="918"/>
                    <a:pt x="221" y="918"/>
                    <a:pt x="217" y="918"/>
                  </a:cubicBezTo>
                  <a:cubicBezTo>
                    <a:pt x="204" y="917"/>
                    <a:pt x="193" y="922"/>
                    <a:pt x="185" y="931"/>
                  </a:cubicBezTo>
                  <a:cubicBezTo>
                    <a:pt x="172" y="946"/>
                    <a:pt x="158" y="961"/>
                    <a:pt x="145" y="977"/>
                  </a:cubicBezTo>
                  <a:cubicBezTo>
                    <a:pt x="131" y="993"/>
                    <a:pt x="117" y="1010"/>
                    <a:pt x="102" y="1026"/>
                  </a:cubicBezTo>
                  <a:cubicBezTo>
                    <a:pt x="96" y="1032"/>
                    <a:pt x="87" y="1037"/>
                    <a:pt x="78" y="1034"/>
                  </a:cubicBezTo>
                  <a:cubicBezTo>
                    <a:pt x="70" y="1030"/>
                    <a:pt x="73" y="1021"/>
                    <a:pt x="73" y="1015"/>
                  </a:cubicBezTo>
                  <a:cubicBezTo>
                    <a:pt x="73" y="991"/>
                    <a:pt x="73" y="967"/>
                    <a:pt x="73" y="944"/>
                  </a:cubicBezTo>
                  <a:cubicBezTo>
                    <a:pt x="73" y="916"/>
                    <a:pt x="75" y="917"/>
                    <a:pt x="46" y="918"/>
                  </a:cubicBezTo>
                  <a:cubicBezTo>
                    <a:pt x="33" y="918"/>
                    <a:pt x="33" y="918"/>
                    <a:pt x="33" y="931"/>
                  </a:cubicBezTo>
                  <a:cubicBezTo>
                    <a:pt x="33" y="971"/>
                    <a:pt x="33" y="1011"/>
                    <a:pt x="33" y="1051"/>
                  </a:cubicBezTo>
                  <a:cubicBezTo>
                    <a:pt x="33" y="1051"/>
                    <a:pt x="33" y="1051"/>
                    <a:pt x="33" y="1051"/>
                  </a:cubicBezTo>
                  <a:close/>
                  <a:moveTo>
                    <a:pt x="639" y="84"/>
                  </a:moveTo>
                  <a:cubicBezTo>
                    <a:pt x="627" y="84"/>
                    <a:pt x="626" y="84"/>
                    <a:pt x="629" y="95"/>
                  </a:cubicBezTo>
                  <a:cubicBezTo>
                    <a:pt x="634" y="113"/>
                    <a:pt x="640" y="131"/>
                    <a:pt x="646" y="148"/>
                  </a:cubicBezTo>
                  <a:cubicBezTo>
                    <a:pt x="652" y="166"/>
                    <a:pt x="658" y="185"/>
                    <a:pt x="664" y="203"/>
                  </a:cubicBezTo>
                  <a:cubicBezTo>
                    <a:pt x="671" y="223"/>
                    <a:pt x="676" y="244"/>
                    <a:pt x="684" y="264"/>
                  </a:cubicBezTo>
                  <a:cubicBezTo>
                    <a:pt x="688" y="274"/>
                    <a:pt x="694" y="274"/>
                    <a:pt x="702" y="274"/>
                  </a:cubicBezTo>
                  <a:cubicBezTo>
                    <a:pt x="711" y="274"/>
                    <a:pt x="719" y="272"/>
                    <a:pt x="723" y="263"/>
                  </a:cubicBezTo>
                  <a:cubicBezTo>
                    <a:pt x="733" y="236"/>
                    <a:pt x="741" y="208"/>
                    <a:pt x="750" y="181"/>
                  </a:cubicBezTo>
                  <a:cubicBezTo>
                    <a:pt x="754" y="169"/>
                    <a:pt x="757" y="156"/>
                    <a:pt x="763" y="145"/>
                  </a:cubicBezTo>
                  <a:cubicBezTo>
                    <a:pt x="764" y="143"/>
                    <a:pt x="764" y="140"/>
                    <a:pt x="767" y="140"/>
                  </a:cubicBezTo>
                  <a:cubicBezTo>
                    <a:pt x="770" y="140"/>
                    <a:pt x="770" y="143"/>
                    <a:pt x="771" y="145"/>
                  </a:cubicBezTo>
                  <a:cubicBezTo>
                    <a:pt x="771" y="156"/>
                    <a:pt x="777" y="165"/>
                    <a:pt x="780" y="175"/>
                  </a:cubicBezTo>
                  <a:cubicBezTo>
                    <a:pt x="782" y="184"/>
                    <a:pt x="785" y="193"/>
                    <a:pt x="788" y="201"/>
                  </a:cubicBezTo>
                  <a:cubicBezTo>
                    <a:pt x="794" y="219"/>
                    <a:pt x="801" y="237"/>
                    <a:pt x="806" y="255"/>
                  </a:cubicBezTo>
                  <a:cubicBezTo>
                    <a:pt x="811" y="272"/>
                    <a:pt x="825" y="280"/>
                    <a:pt x="842" y="273"/>
                  </a:cubicBezTo>
                  <a:cubicBezTo>
                    <a:pt x="845" y="271"/>
                    <a:pt x="847" y="269"/>
                    <a:pt x="848" y="266"/>
                  </a:cubicBezTo>
                  <a:cubicBezTo>
                    <a:pt x="853" y="251"/>
                    <a:pt x="859" y="236"/>
                    <a:pt x="863" y="221"/>
                  </a:cubicBezTo>
                  <a:cubicBezTo>
                    <a:pt x="867" y="202"/>
                    <a:pt x="875" y="185"/>
                    <a:pt x="880" y="166"/>
                  </a:cubicBezTo>
                  <a:cubicBezTo>
                    <a:pt x="886" y="144"/>
                    <a:pt x="895" y="123"/>
                    <a:pt x="900" y="101"/>
                  </a:cubicBezTo>
                  <a:cubicBezTo>
                    <a:pt x="901" y="96"/>
                    <a:pt x="909" y="91"/>
                    <a:pt x="904" y="86"/>
                  </a:cubicBezTo>
                  <a:cubicBezTo>
                    <a:pt x="900" y="81"/>
                    <a:pt x="892" y="84"/>
                    <a:pt x="886" y="84"/>
                  </a:cubicBezTo>
                  <a:cubicBezTo>
                    <a:pt x="885" y="84"/>
                    <a:pt x="883" y="84"/>
                    <a:pt x="881" y="84"/>
                  </a:cubicBezTo>
                  <a:cubicBezTo>
                    <a:pt x="875" y="84"/>
                    <a:pt x="872" y="86"/>
                    <a:pt x="869" y="91"/>
                  </a:cubicBezTo>
                  <a:cubicBezTo>
                    <a:pt x="860" y="110"/>
                    <a:pt x="856" y="131"/>
                    <a:pt x="850" y="151"/>
                  </a:cubicBezTo>
                  <a:cubicBezTo>
                    <a:pt x="844" y="170"/>
                    <a:pt x="836" y="188"/>
                    <a:pt x="834" y="208"/>
                  </a:cubicBezTo>
                  <a:cubicBezTo>
                    <a:pt x="833" y="211"/>
                    <a:pt x="831" y="214"/>
                    <a:pt x="827" y="214"/>
                  </a:cubicBezTo>
                  <a:cubicBezTo>
                    <a:pt x="823" y="214"/>
                    <a:pt x="822" y="210"/>
                    <a:pt x="822" y="207"/>
                  </a:cubicBezTo>
                  <a:cubicBezTo>
                    <a:pt x="817" y="188"/>
                    <a:pt x="811" y="170"/>
                    <a:pt x="805" y="152"/>
                  </a:cubicBezTo>
                  <a:cubicBezTo>
                    <a:pt x="799" y="133"/>
                    <a:pt x="794" y="114"/>
                    <a:pt x="786" y="96"/>
                  </a:cubicBezTo>
                  <a:cubicBezTo>
                    <a:pt x="783" y="87"/>
                    <a:pt x="779" y="84"/>
                    <a:pt x="770" y="84"/>
                  </a:cubicBezTo>
                  <a:cubicBezTo>
                    <a:pt x="761" y="84"/>
                    <a:pt x="752" y="82"/>
                    <a:pt x="748" y="94"/>
                  </a:cubicBezTo>
                  <a:cubicBezTo>
                    <a:pt x="744" y="109"/>
                    <a:pt x="738" y="123"/>
                    <a:pt x="734" y="138"/>
                  </a:cubicBezTo>
                  <a:cubicBezTo>
                    <a:pt x="729" y="153"/>
                    <a:pt x="724" y="167"/>
                    <a:pt x="719" y="182"/>
                  </a:cubicBezTo>
                  <a:cubicBezTo>
                    <a:pt x="716" y="192"/>
                    <a:pt x="715" y="203"/>
                    <a:pt x="708" y="212"/>
                  </a:cubicBezTo>
                  <a:cubicBezTo>
                    <a:pt x="707" y="214"/>
                    <a:pt x="707" y="217"/>
                    <a:pt x="704" y="217"/>
                  </a:cubicBezTo>
                  <a:cubicBezTo>
                    <a:pt x="701" y="217"/>
                    <a:pt x="701" y="213"/>
                    <a:pt x="700" y="211"/>
                  </a:cubicBezTo>
                  <a:cubicBezTo>
                    <a:pt x="699" y="198"/>
                    <a:pt x="694" y="186"/>
                    <a:pt x="690" y="174"/>
                  </a:cubicBezTo>
                  <a:cubicBezTo>
                    <a:pt x="684" y="153"/>
                    <a:pt x="677" y="131"/>
                    <a:pt x="672" y="110"/>
                  </a:cubicBezTo>
                  <a:cubicBezTo>
                    <a:pt x="667" y="88"/>
                    <a:pt x="663" y="84"/>
                    <a:pt x="645" y="84"/>
                  </a:cubicBezTo>
                  <a:cubicBezTo>
                    <a:pt x="643" y="84"/>
                    <a:pt x="641" y="84"/>
                    <a:pt x="639" y="84"/>
                  </a:cubicBezTo>
                  <a:close/>
                  <a:moveTo>
                    <a:pt x="507" y="711"/>
                  </a:moveTo>
                  <a:cubicBezTo>
                    <a:pt x="507" y="730"/>
                    <a:pt x="507" y="730"/>
                    <a:pt x="526" y="730"/>
                  </a:cubicBezTo>
                  <a:cubicBezTo>
                    <a:pt x="539" y="730"/>
                    <a:pt x="541" y="729"/>
                    <a:pt x="541" y="715"/>
                  </a:cubicBezTo>
                  <a:cubicBezTo>
                    <a:pt x="541" y="677"/>
                    <a:pt x="541" y="638"/>
                    <a:pt x="540" y="600"/>
                  </a:cubicBezTo>
                  <a:cubicBezTo>
                    <a:pt x="540" y="593"/>
                    <a:pt x="543" y="587"/>
                    <a:pt x="548" y="582"/>
                  </a:cubicBezTo>
                  <a:cubicBezTo>
                    <a:pt x="553" y="576"/>
                    <a:pt x="559" y="573"/>
                    <a:pt x="564" y="569"/>
                  </a:cubicBezTo>
                  <a:cubicBezTo>
                    <a:pt x="574" y="564"/>
                    <a:pt x="594" y="566"/>
                    <a:pt x="602" y="574"/>
                  </a:cubicBezTo>
                  <a:cubicBezTo>
                    <a:pt x="611" y="582"/>
                    <a:pt x="614" y="592"/>
                    <a:pt x="614" y="604"/>
                  </a:cubicBezTo>
                  <a:cubicBezTo>
                    <a:pt x="614" y="638"/>
                    <a:pt x="614" y="672"/>
                    <a:pt x="614" y="706"/>
                  </a:cubicBezTo>
                  <a:cubicBezTo>
                    <a:pt x="614" y="730"/>
                    <a:pt x="614" y="730"/>
                    <a:pt x="638" y="730"/>
                  </a:cubicBezTo>
                  <a:cubicBezTo>
                    <a:pt x="650" y="730"/>
                    <a:pt x="650" y="730"/>
                    <a:pt x="650" y="717"/>
                  </a:cubicBezTo>
                  <a:cubicBezTo>
                    <a:pt x="650" y="684"/>
                    <a:pt x="650" y="650"/>
                    <a:pt x="650" y="617"/>
                  </a:cubicBezTo>
                  <a:cubicBezTo>
                    <a:pt x="650" y="606"/>
                    <a:pt x="651" y="597"/>
                    <a:pt x="657" y="586"/>
                  </a:cubicBezTo>
                  <a:cubicBezTo>
                    <a:pt x="667" y="565"/>
                    <a:pt x="703" y="560"/>
                    <a:pt x="716" y="579"/>
                  </a:cubicBezTo>
                  <a:cubicBezTo>
                    <a:pt x="723" y="588"/>
                    <a:pt x="724" y="598"/>
                    <a:pt x="724" y="609"/>
                  </a:cubicBezTo>
                  <a:cubicBezTo>
                    <a:pt x="724" y="645"/>
                    <a:pt x="724" y="682"/>
                    <a:pt x="724" y="718"/>
                  </a:cubicBezTo>
                  <a:cubicBezTo>
                    <a:pt x="724" y="727"/>
                    <a:pt x="727" y="731"/>
                    <a:pt x="736" y="730"/>
                  </a:cubicBezTo>
                  <a:cubicBezTo>
                    <a:pt x="738" y="730"/>
                    <a:pt x="741" y="730"/>
                    <a:pt x="743" y="730"/>
                  </a:cubicBezTo>
                  <a:cubicBezTo>
                    <a:pt x="758" y="730"/>
                    <a:pt x="759" y="729"/>
                    <a:pt x="759" y="715"/>
                  </a:cubicBezTo>
                  <a:cubicBezTo>
                    <a:pt x="759" y="677"/>
                    <a:pt x="758" y="639"/>
                    <a:pt x="759" y="601"/>
                  </a:cubicBezTo>
                  <a:cubicBezTo>
                    <a:pt x="759" y="571"/>
                    <a:pt x="742" y="540"/>
                    <a:pt x="704" y="538"/>
                  </a:cubicBezTo>
                  <a:cubicBezTo>
                    <a:pt x="681" y="536"/>
                    <a:pt x="661" y="542"/>
                    <a:pt x="646" y="560"/>
                  </a:cubicBezTo>
                  <a:cubicBezTo>
                    <a:pt x="638" y="569"/>
                    <a:pt x="638" y="569"/>
                    <a:pt x="631" y="559"/>
                  </a:cubicBezTo>
                  <a:cubicBezTo>
                    <a:pt x="630" y="558"/>
                    <a:pt x="630" y="557"/>
                    <a:pt x="629" y="556"/>
                  </a:cubicBezTo>
                  <a:cubicBezTo>
                    <a:pt x="623" y="548"/>
                    <a:pt x="616" y="541"/>
                    <a:pt x="607" y="539"/>
                  </a:cubicBezTo>
                  <a:cubicBezTo>
                    <a:pt x="584" y="534"/>
                    <a:pt x="563" y="539"/>
                    <a:pt x="545" y="555"/>
                  </a:cubicBezTo>
                  <a:cubicBezTo>
                    <a:pt x="540" y="559"/>
                    <a:pt x="537" y="561"/>
                    <a:pt x="537" y="552"/>
                  </a:cubicBezTo>
                  <a:cubicBezTo>
                    <a:pt x="536" y="543"/>
                    <a:pt x="526" y="538"/>
                    <a:pt x="515" y="539"/>
                  </a:cubicBezTo>
                  <a:cubicBezTo>
                    <a:pt x="506" y="540"/>
                    <a:pt x="507" y="546"/>
                    <a:pt x="507" y="552"/>
                  </a:cubicBezTo>
                  <a:cubicBezTo>
                    <a:pt x="507" y="580"/>
                    <a:pt x="507" y="607"/>
                    <a:pt x="507" y="634"/>
                  </a:cubicBezTo>
                  <a:cubicBezTo>
                    <a:pt x="507" y="660"/>
                    <a:pt x="507" y="685"/>
                    <a:pt x="507" y="711"/>
                  </a:cubicBezTo>
                  <a:close/>
                  <a:moveTo>
                    <a:pt x="1525" y="1142"/>
                  </a:moveTo>
                  <a:cubicBezTo>
                    <a:pt x="1517" y="1143"/>
                    <a:pt x="1511" y="1141"/>
                    <a:pt x="1505" y="1136"/>
                  </a:cubicBezTo>
                  <a:cubicBezTo>
                    <a:pt x="1501" y="1133"/>
                    <a:pt x="1495" y="1130"/>
                    <a:pt x="1498" y="1124"/>
                  </a:cubicBezTo>
                  <a:cubicBezTo>
                    <a:pt x="1500" y="1118"/>
                    <a:pt x="1504" y="1114"/>
                    <a:pt x="1512" y="1114"/>
                  </a:cubicBezTo>
                  <a:cubicBezTo>
                    <a:pt x="1521" y="1115"/>
                    <a:pt x="1530" y="1114"/>
                    <a:pt x="1538" y="1115"/>
                  </a:cubicBezTo>
                  <a:cubicBezTo>
                    <a:pt x="1573" y="1117"/>
                    <a:pt x="1610" y="1084"/>
                    <a:pt x="1602" y="1044"/>
                  </a:cubicBezTo>
                  <a:cubicBezTo>
                    <a:pt x="1600" y="1035"/>
                    <a:pt x="1599" y="1028"/>
                    <a:pt x="1611" y="1027"/>
                  </a:cubicBezTo>
                  <a:cubicBezTo>
                    <a:pt x="1614" y="1027"/>
                    <a:pt x="1617" y="1024"/>
                    <a:pt x="1619" y="1023"/>
                  </a:cubicBezTo>
                  <a:cubicBezTo>
                    <a:pt x="1626" y="1019"/>
                    <a:pt x="1624" y="1013"/>
                    <a:pt x="1623" y="1008"/>
                  </a:cubicBezTo>
                  <a:cubicBezTo>
                    <a:pt x="1623" y="1002"/>
                    <a:pt x="1618" y="1003"/>
                    <a:pt x="1613" y="1002"/>
                  </a:cubicBezTo>
                  <a:cubicBezTo>
                    <a:pt x="1598" y="1002"/>
                    <a:pt x="1582" y="1004"/>
                    <a:pt x="1567" y="1000"/>
                  </a:cubicBezTo>
                  <a:cubicBezTo>
                    <a:pt x="1560" y="999"/>
                    <a:pt x="1554" y="993"/>
                    <a:pt x="1546" y="993"/>
                  </a:cubicBezTo>
                  <a:cubicBezTo>
                    <a:pt x="1536" y="994"/>
                    <a:pt x="1525" y="992"/>
                    <a:pt x="1515" y="993"/>
                  </a:cubicBezTo>
                  <a:cubicBezTo>
                    <a:pt x="1490" y="997"/>
                    <a:pt x="1469" y="1010"/>
                    <a:pt x="1462" y="1034"/>
                  </a:cubicBezTo>
                  <a:cubicBezTo>
                    <a:pt x="1455" y="1056"/>
                    <a:pt x="1457" y="1079"/>
                    <a:pt x="1476" y="1096"/>
                  </a:cubicBezTo>
                  <a:cubicBezTo>
                    <a:pt x="1483" y="1103"/>
                    <a:pt x="1483" y="1107"/>
                    <a:pt x="1476" y="1113"/>
                  </a:cubicBezTo>
                  <a:cubicBezTo>
                    <a:pt x="1462" y="1126"/>
                    <a:pt x="1462" y="1142"/>
                    <a:pt x="1473" y="1157"/>
                  </a:cubicBezTo>
                  <a:cubicBezTo>
                    <a:pt x="1476" y="1160"/>
                    <a:pt x="1476" y="1162"/>
                    <a:pt x="1472" y="1164"/>
                  </a:cubicBezTo>
                  <a:cubicBezTo>
                    <a:pt x="1470" y="1166"/>
                    <a:pt x="1468" y="1168"/>
                    <a:pt x="1466" y="1170"/>
                  </a:cubicBezTo>
                  <a:cubicBezTo>
                    <a:pt x="1449" y="1183"/>
                    <a:pt x="1444" y="1201"/>
                    <a:pt x="1454" y="1218"/>
                  </a:cubicBezTo>
                  <a:cubicBezTo>
                    <a:pt x="1464" y="1235"/>
                    <a:pt x="1479" y="1246"/>
                    <a:pt x="1499" y="1249"/>
                  </a:cubicBezTo>
                  <a:cubicBezTo>
                    <a:pt x="1517" y="1252"/>
                    <a:pt x="1535" y="1253"/>
                    <a:pt x="1553" y="1250"/>
                  </a:cubicBezTo>
                  <a:cubicBezTo>
                    <a:pt x="1584" y="1245"/>
                    <a:pt x="1607" y="1232"/>
                    <a:pt x="1619" y="1200"/>
                  </a:cubicBezTo>
                  <a:cubicBezTo>
                    <a:pt x="1627" y="1180"/>
                    <a:pt x="1611" y="1155"/>
                    <a:pt x="1593" y="1148"/>
                  </a:cubicBezTo>
                  <a:cubicBezTo>
                    <a:pt x="1578" y="1142"/>
                    <a:pt x="1563" y="1143"/>
                    <a:pt x="1549" y="1142"/>
                  </a:cubicBezTo>
                  <a:cubicBezTo>
                    <a:pt x="1540" y="1142"/>
                    <a:pt x="1532" y="1142"/>
                    <a:pt x="1525" y="1142"/>
                  </a:cubicBezTo>
                  <a:close/>
                  <a:moveTo>
                    <a:pt x="1556" y="1172"/>
                  </a:moveTo>
                  <a:cubicBezTo>
                    <a:pt x="1566" y="1172"/>
                    <a:pt x="1576" y="1176"/>
                    <a:pt x="1583" y="1183"/>
                  </a:cubicBezTo>
                  <a:cubicBezTo>
                    <a:pt x="1589" y="1190"/>
                    <a:pt x="1589" y="1198"/>
                    <a:pt x="1583" y="1205"/>
                  </a:cubicBezTo>
                  <a:cubicBezTo>
                    <a:pt x="1575" y="1215"/>
                    <a:pt x="1565" y="1220"/>
                    <a:pt x="1553" y="1223"/>
                  </a:cubicBezTo>
                  <a:cubicBezTo>
                    <a:pt x="1534" y="1228"/>
                    <a:pt x="1516" y="1225"/>
                    <a:pt x="1499" y="1219"/>
                  </a:cubicBezTo>
                  <a:cubicBezTo>
                    <a:pt x="1486" y="1214"/>
                    <a:pt x="1479" y="1203"/>
                    <a:pt x="1482" y="1193"/>
                  </a:cubicBezTo>
                  <a:cubicBezTo>
                    <a:pt x="1485" y="1182"/>
                    <a:pt x="1496" y="1168"/>
                    <a:pt x="1514" y="1171"/>
                  </a:cubicBezTo>
                  <a:cubicBezTo>
                    <a:pt x="1526" y="1173"/>
                    <a:pt x="1541" y="1171"/>
                    <a:pt x="1556" y="1172"/>
                  </a:cubicBezTo>
                  <a:close/>
                  <a:moveTo>
                    <a:pt x="1531" y="1019"/>
                  </a:moveTo>
                  <a:cubicBezTo>
                    <a:pt x="1553" y="1017"/>
                    <a:pt x="1570" y="1033"/>
                    <a:pt x="1570" y="1052"/>
                  </a:cubicBezTo>
                  <a:cubicBezTo>
                    <a:pt x="1570" y="1075"/>
                    <a:pt x="1554" y="1093"/>
                    <a:pt x="1532" y="1091"/>
                  </a:cubicBezTo>
                  <a:cubicBezTo>
                    <a:pt x="1508" y="1089"/>
                    <a:pt x="1494" y="1082"/>
                    <a:pt x="1493" y="1053"/>
                  </a:cubicBezTo>
                  <a:cubicBezTo>
                    <a:pt x="1494" y="1029"/>
                    <a:pt x="1508" y="1020"/>
                    <a:pt x="1531" y="1019"/>
                  </a:cubicBezTo>
                  <a:close/>
                  <a:moveTo>
                    <a:pt x="1413" y="934"/>
                  </a:moveTo>
                  <a:cubicBezTo>
                    <a:pt x="1413" y="909"/>
                    <a:pt x="1413" y="909"/>
                    <a:pt x="1389" y="910"/>
                  </a:cubicBezTo>
                  <a:cubicBezTo>
                    <a:pt x="1388" y="910"/>
                    <a:pt x="1387" y="910"/>
                    <a:pt x="1387" y="910"/>
                  </a:cubicBezTo>
                  <a:cubicBezTo>
                    <a:pt x="1379" y="910"/>
                    <a:pt x="1376" y="915"/>
                    <a:pt x="1376" y="921"/>
                  </a:cubicBezTo>
                  <a:cubicBezTo>
                    <a:pt x="1376" y="939"/>
                    <a:pt x="1377" y="956"/>
                    <a:pt x="1377" y="974"/>
                  </a:cubicBezTo>
                  <a:cubicBezTo>
                    <a:pt x="1377" y="983"/>
                    <a:pt x="1377" y="991"/>
                    <a:pt x="1377" y="1000"/>
                  </a:cubicBezTo>
                  <a:cubicBezTo>
                    <a:pt x="1377" y="1005"/>
                    <a:pt x="1374" y="1009"/>
                    <a:pt x="1369" y="1005"/>
                  </a:cubicBezTo>
                  <a:cubicBezTo>
                    <a:pt x="1352" y="990"/>
                    <a:pt x="1332" y="993"/>
                    <a:pt x="1312" y="993"/>
                  </a:cubicBezTo>
                  <a:cubicBezTo>
                    <a:pt x="1303" y="994"/>
                    <a:pt x="1294" y="998"/>
                    <a:pt x="1287" y="1003"/>
                  </a:cubicBezTo>
                  <a:cubicBezTo>
                    <a:pt x="1265" y="1017"/>
                    <a:pt x="1252" y="1039"/>
                    <a:pt x="1248" y="1065"/>
                  </a:cubicBezTo>
                  <a:cubicBezTo>
                    <a:pt x="1244" y="1096"/>
                    <a:pt x="1244" y="1128"/>
                    <a:pt x="1261" y="1157"/>
                  </a:cubicBezTo>
                  <a:cubicBezTo>
                    <a:pt x="1270" y="1170"/>
                    <a:pt x="1281" y="1181"/>
                    <a:pt x="1296" y="1185"/>
                  </a:cubicBezTo>
                  <a:cubicBezTo>
                    <a:pt x="1323" y="1191"/>
                    <a:pt x="1349" y="1188"/>
                    <a:pt x="1370" y="1167"/>
                  </a:cubicBezTo>
                  <a:cubicBezTo>
                    <a:pt x="1372" y="1165"/>
                    <a:pt x="1375" y="1162"/>
                    <a:pt x="1379" y="1163"/>
                  </a:cubicBezTo>
                  <a:cubicBezTo>
                    <a:pt x="1382" y="1165"/>
                    <a:pt x="1381" y="1169"/>
                    <a:pt x="1381" y="1172"/>
                  </a:cubicBezTo>
                  <a:cubicBezTo>
                    <a:pt x="1383" y="1181"/>
                    <a:pt x="1390" y="1186"/>
                    <a:pt x="1403" y="1186"/>
                  </a:cubicBezTo>
                  <a:cubicBezTo>
                    <a:pt x="1413" y="1185"/>
                    <a:pt x="1413" y="1178"/>
                    <a:pt x="1413" y="1172"/>
                  </a:cubicBezTo>
                  <a:cubicBezTo>
                    <a:pt x="1413" y="1131"/>
                    <a:pt x="1413" y="1090"/>
                    <a:pt x="1413" y="1049"/>
                  </a:cubicBezTo>
                  <a:cubicBezTo>
                    <a:pt x="1413" y="1010"/>
                    <a:pt x="1413" y="972"/>
                    <a:pt x="1413" y="934"/>
                  </a:cubicBezTo>
                  <a:close/>
                  <a:moveTo>
                    <a:pt x="1378" y="1113"/>
                  </a:moveTo>
                  <a:cubicBezTo>
                    <a:pt x="1378" y="1136"/>
                    <a:pt x="1360" y="1155"/>
                    <a:pt x="1337" y="1157"/>
                  </a:cubicBezTo>
                  <a:cubicBezTo>
                    <a:pt x="1319" y="1159"/>
                    <a:pt x="1304" y="1154"/>
                    <a:pt x="1294" y="1139"/>
                  </a:cubicBezTo>
                  <a:cubicBezTo>
                    <a:pt x="1286" y="1128"/>
                    <a:pt x="1283" y="1116"/>
                    <a:pt x="1283" y="1102"/>
                  </a:cubicBezTo>
                  <a:cubicBezTo>
                    <a:pt x="1282" y="1085"/>
                    <a:pt x="1282" y="1067"/>
                    <a:pt x="1290" y="1051"/>
                  </a:cubicBezTo>
                  <a:cubicBezTo>
                    <a:pt x="1297" y="1036"/>
                    <a:pt x="1308" y="1024"/>
                    <a:pt x="1325" y="1022"/>
                  </a:cubicBezTo>
                  <a:cubicBezTo>
                    <a:pt x="1342" y="1020"/>
                    <a:pt x="1358" y="1021"/>
                    <a:pt x="1371" y="1035"/>
                  </a:cubicBezTo>
                  <a:cubicBezTo>
                    <a:pt x="1376" y="1041"/>
                    <a:pt x="1378" y="1046"/>
                    <a:pt x="1378" y="1052"/>
                  </a:cubicBezTo>
                  <a:cubicBezTo>
                    <a:pt x="1378" y="1064"/>
                    <a:pt x="1378" y="1075"/>
                    <a:pt x="1378" y="1086"/>
                  </a:cubicBezTo>
                  <a:cubicBezTo>
                    <a:pt x="1378" y="1086"/>
                    <a:pt x="1378" y="1086"/>
                    <a:pt x="1378" y="1086"/>
                  </a:cubicBezTo>
                  <a:cubicBezTo>
                    <a:pt x="1378" y="1095"/>
                    <a:pt x="1378" y="1104"/>
                    <a:pt x="1378" y="1113"/>
                  </a:cubicBezTo>
                  <a:close/>
                  <a:moveTo>
                    <a:pt x="578" y="259"/>
                  </a:moveTo>
                  <a:cubicBezTo>
                    <a:pt x="603" y="241"/>
                    <a:pt x="611" y="213"/>
                    <a:pt x="614" y="183"/>
                  </a:cubicBezTo>
                  <a:cubicBezTo>
                    <a:pt x="615" y="171"/>
                    <a:pt x="610" y="159"/>
                    <a:pt x="609" y="147"/>
                  </a:cubicBezTo>
                  <a:cubicBezTo>
                    <a:pt x="608" y="137"/>
                    <a:pt x="603" y="129"/>
                    <a:pt x="599" y="121"/>
                  </a:cubicBezTo>
                  <a:cubicBezTo>
                    <a:pt x="579" y="87"/>
                    <a:pt x="527" y="70"/>
                    <a:pt x="488" y="85"/>
                  </a:cubicBezTo>
                  <a:cubicBezTo>
                    <a:pt x="453" y="99"/>
                    <a:pt x="436" y="127"/>
                    <a:pt x="431" y="163"/>
                  </a:cubicBezTo>
                  <a:cubicBezTo>
                    <a:pt x="429" y="180"/>
                    <a:pt x="430" y="196"/>
                    <a:pt x="436" y="213"/>
                  </a:cubicBezTo>
                  <a:cubicBezTo>
                    <a:pt x="439" y="222"/>
                    <a:pt x="442" y="232"/>
                    <a:pt x="447" y="239"/>
                  </a:cubicBezTo>
                  <a:cubicBezTo>
                    <a:pt x="465" y="265"/>
                    <a:pt x="491" y="277"/>
                    <a:pt x="525" y="276"/>
                  </a:cubicBezTo>
                  <a:cubicBezTo>
                    <a:pt x="543" y="278"/>
                    <a:pt x="562" y="271"/>
                    <a:pt x="578" y="259"/>
                  </a:cubicBezTo>
                  <a:close/>
                  <a:moveTo>
                    <a:pt x="471" y="205"/>
                  </a:moveTo>
                  <a:cubicBezTo>
                    <a:pt x="466" y="185"/>
                    <a:pt x="468" y="167"/>
                    <a:pt x="472" y="147"/>
                  </a:cubicBezTo>
                  <a:cubicBezTo>
                    <a:pt x="477" y="130"/>
                    <a:pt x="493" y="116"/>
                    <a:pt x="509" y="112"/>
                  </a:cubicBezTo>
                  <a:cubicBezTo>
                    <a:pt x="525" y="108"/>
                    <a:pt x="539" y="110"/>
                    <a:pt x="553" y="119"/>
                  </a:cubicBezTo>
                  <a:cubicBezTo>
                    <a:pt x="563" y="125"/>
                    <a:pt x="568" y="135"/>
                    <a:pt x="571" y="146"/>
                  </a:cubicBezTo>
                  <a:cubicBezTo>
                    <a:pt x="577" y="167"/>
                    <a:pt x="578" y="189"/>
                    <a:pt x="571" y="211"/>
                  </a:cubicBezTo>
                  <a:cubicBezTo>
                    <a:pt x="565" y="231"/>
                    <a:pt x="549" y="249"/>
                    <a:pt x="521" y="247"/>
                  </a:cubicBezTo>
                  <a:cubicBezTo>
                    <a:pt x="496" y="247"/>
                    <a:pt x="478" y="230"/>
                    <a:pt x="471" y="205"/>
                  </a:cubicBezTo>
                  <a:close/>
                  <a:moveTo>
                    <a:pt x="472" y="1122"/>
                  </a:moveTo>
                  <a:cubicBezTo>
                    <a:pt x="475" y="1136"/>
                    <a:pt x="481" y="1148"/>
                    <a:pt x="491" y="1158"/>
                  </a:cubicBezTo>
                  <a:cubicBezTo>
                    <a:pt x="506" y="1176"/>
                    <a:pt x="524" y="1185"/>
                    <a:pt x="548" y="1187"/>
                  </a:cubicBezTo>
                  <a:cubicBezTo>
                    <a:pt x="568" y="1188"/>
                    <a:pt x="587" y="1187"/>
                    <a:pt x="605" y="1177"/>
                  </a:cubicBezTo>
                  <a:cubicBezTo>
                    <a:pt x="632" y="1162"/>
                    <a:pt x="644" y="1136"/>
                    <a:pt x="649" y="1107"/>
                  </a:cubicBezTo>
                  <a:cubicBezTo>
                    <a:pt x="652" y="1089"/>
                    <a:pt x="649" y="1072"/>
                    <a:pt x="644" y="1054"/>
                  </a:cubicBezTo>
                  <a:cubicBezTo>
                    <a:pt x="638" y="1034"/>
                    <a:pt x="627" y="1019"/>
                    <a:pt x="610" y="1007"/>
                  </a:cubicBezTo>
                  <a:cubicBezTo>
                    <a:pt x="589" y="992"/>
                    <a:pt x="566" y="991"/>
                    <a:pt x="541" y="994"/>
                  </a:cubicBezTo>
                  <a:cubicBezTo>
                    <a:pt x="526" y="995"/>
                    <a:pt x="512" y="1002"/>
                    <a:pt x="500" y="1012"/>
                  </a:cubicBezTo>
                  <a:cubicBezTo>
                    <a:pt x="476" y="1032"/>
                    <a:pt x="469" y="1060"/>
                    <a:pt x="466" y="1095"/>
                  </a:cubicBezTo>
                  <a:cubicBezTo>
                    <a:pt x="465" y="1101"/>
                    <a:pt x="470" y="1111"/>
                    <a:pt x="472" y="1122"/>
                  </a:cubicBezTo>
                  <a:close/>
                  <a:moveTo>
                    <a:pt x="508" y="1113"/>
                  </a:moveTo>
                  <a:cubicBezTo>
                    <a:pt x="505" y="1095"/>
                    <a:pt x="506" y="1078"/>
                    <a:pt x="508" y="1061"/>
                  </a:cubicBezTo>
                  <a:cubicBezTo>
                    <a:pt x="511" y="1042"/>
                    <a:pt x="538" y="1021"/>
                    <a:pt x="554" y="1022"/>
                  </a:cubicBezTo>
                  <a:cubicBezTo>
                    <a:pt x="570" y="1022"/>
                    <a:pt x="586" y="1024"/>
                    <a:pt x="596" y="1037"/>
                  </a:cubicBezTo>
                  <a:cubicBezTo>
                    <a:pt x="602" y="1044"/>
                    <a:pt x="607" y="1052"/>
                    <a:pt x="608" y="1061"/>
                  </a:cubicBezTo>
                  <a:cubicBezTo>
                    <a:pt x="608" y="1064"/>
                    <a:pt x="609" y="1067"/>
                    <a:pt x="610" y="1070"/>
                  </a:cubicBezTo>
                  <a:cubicBezTo>
                    <a:pt x="618" y="1089"/>
                    <a:pt x="612" y="1107"/>
                    <a:pt x="607" y="1125"/>
                  </a:cubicBezTo>
                  <a:cubicBezTo>
                    <a:pt x="601" y="1143"/>
                    <a:pt x="588" y="1160"/>
                    <a:pt x="558" y="1157"/>
                  </a:cubicBezTo>
                  <a:cubicBezTo>
                    <a:pt x="530" y="1157"/>
                    <a:pt x="512" y="1141"/>
                    <a:pt x="508" y="1113"/>
                  </a:cubicBezTo>
                  <a:close/>
                  <a:moveTo>
                    <a:pt x="430" y="716"/>
                  </a:moveTo>
                  <a:cubicBezTo>
                    <a:pt x="450" y="703"/>
                    <a:pt x="459" y="683"/>
                    <a:pt x="464" y="661"/>
                  </a:cubicBezTo>
                  <a:cubicBezTo>
                    <a:pt x="468" y="648"/>
                    <a:pt x="467" y="635"/>
                    <a:pt x="466" y="621"/>
                  </a:cubicBezTo>
                  <a:cubicBezTo>
                    <a:pt x="463" y="592"/>
                    <a:pt x="453" y="567"/>
                    <a:pt x="427" y="550"/>
                  </a:cubicBezTo>
                  <a:cubicBezTo>
                    <a:pt x="401" y="534"/>
                    <a:pt x="372" y="532"/>
                    <a:pt x="345" y="541"/>
                  </a:cubicBezTo>
                  <a:cubicBezTo>
                    <a:pt x="310" y="552"/>
                    <a:pt x="291" y="580"/>
                    <a:pt x="287" y="617"/>
                  </a:cubicBezTo>
                  <a:cubicBezTo>
                    <a:pt x="286" y="629"/>
                    <a:pt x="286" y="641"/>
                    <a:pt x="287" y="654"/>
                  </a:cubicBezTo>
                  <a:cubicBezTo>
                    <a:pt x="289" y="671"/>
                    <a:pt x="295" y="686"/>
                    <a:pt x="306" y="700"/>
                  </a:cubicBezTo>
                  <a:cubicBezTo>
                    <a:pt x="324" y="722"/>
                    <a:pt x="348" y="733"/>
                    <a:pt x="378" y="731"/>
                  </a:cubicBezTo>
                  <a:cubicBezTo>
                    <a:pt x="396" y="733"/>
                    <a:pt x="414" y="727"/>
                    <a:pt x="430" y="716"/>
                  </a:cubicBezTo>
                  <a:close/>
                  <a:moveTo>
                    <a:pt x="331" y="592"/>
                  </a:moveTo>
                  <a:cubicBezTo>
                    <a:pt x="339" y="580"/>
                    <a:pt x="349" y="569"/>
                    <a:pt x="365" y="567"/>
                  </a:cubicBezTo>
                  <a:cubicBezTo>
                    <a:pt x="387" y="564"/>
                    <a:pt x="406" y="568"/>
                    <a:pt x="419" y="588"/>
                  </a:cubicBezTo>
                  <a:cubicBezTo>
                    <a:pt x="423" y="595"/>
                    <a:pt x="426" y="603"/>
                    <a:pt x="427" y="610"/>
                  </a:cubicBezTo>
                  <a:cubicBezTo>
                    <a:pt x="433" y="635"/>
                    <a:pt x="431" y="661"/>
                    <a:pt x="416" y="684"/>
                  </a:cubicBezTo>
                  <a:cubicBezTo>
                    <a:pt x="403" y="706"/>
                    <a:pt x="362" y="708"/>
                    <a:pt x="345" y="692"/>
                  </a:cubicBezTo>
                  <a:cubicBezTo>
                    <a:pt x="329" y="678"/>
                    <a:pt x="323" y="661"/>
                    <a:pt x="323" y="631"/>
                  </a:cubicBezTo>
                  <a:cubicBezTo>
                    <a:pt x="323" y="619"/>
                    <a:pt x="323" y="605"/>
                    <a:pt x="331" y="592"/>
                  </a:cubicBezTo>
                  <a:close/>
                  <a:moveTo>
                    <a:pt x="1073" y="259"/>
                  </a:moveTo>
                  <a:cubicBezTo>
                    <a:pt x="1073" y="269"/>
                    <a:pt x="1075" y="272"/>
                    <a:pt x="1086" y="272"/>
                  </a:cubicBezTo>
                  <a:cubicBezTo>
                    <a:pt x="1088" y="272"/>
                    <a:pt x="1090" y="272"/>
                    <a:pt x="1092" y="272"/>
                  </a:cubicBezTo>
                  <a:cubicBezTo>
                    <a:pt x="1105" y="272"/>
                    <a:pt x="1106" y="271"/>
                    <a:pt x="1106" y="258"/>
                  </a:cubicBezTo>
                  <a:cubicBezTo>
                    <a:pt x="1106" y="221"/>
                    <a:pt x="1106" y="184"/>
                    <a:pt x="1106" y="147"/>
                  </a:cubicBezTo>
                  <a:cubicBezTo>
                    <a:pt x="1106" y="143"/>
                    <a:pt x="1106" y="140"/>
                    <a:pt x="1107" y="137"/>
                  </a:cubicBezTo>
                  <a:cubicBezTo>
                    <a:pt x="1117" y="117"/>
                    <a:pt x="1157" y="104"/>
                    <a:pt x="1177" y="114"/>
                  </a:cubicBezTo>
                  <a:cubicBezTo>
                    <a:pt x="1179" y="115"/>
                    <a:pt x="1180" y="117"/>
                    <a:pt x="1182" y="118"/>
                  </a:cubicBezTo>
                  <a:cubicBezTo>
                    <a:pt x="1194" y="131"/>
                    <a:pt x="1196" y="147"/>
                    <a:pt x="1196" y="163"/>
                  </a:cubicBezTo>
                  <a:cubicBezTo>
                    <a:pt x="1197" y="195"/>
                    <a:pt x="1196" y="226"/>
                    <a:pt x="1196" y="258"/>
                  </a:cubicBezTo>
                  <a:cubicBezTo>
                    <a:pt x="1196" y="271"/>
                    <a:pt x="1197" y="272"/>
                    <a:pt x="1210" y="272"/>
                  </a:cubicBezTo>
                  <a:cubicBezTo>
                    <a:pt x="1212" y="272"/>
                    <a:pt x="1213" y="272"/>
                    <a:pt x="1215" y="272"/>
                  </a:cubicBezTo>
                  <a:cubicBezTo>
                    <a:pt x="1227" y="272"/>
                    <a:pt x="1229" y="270"/>
                    <a:pt x="1229" y="258"/>
                  </a:cubicBezTo>
                  <a:cubicBezTo>
                    <a:pt x="1229" y="222"/>
                    <a:pt x="1229" y="187"/>
                    <a:pt x="1229" y="151"/>
                  </a:cubicBezTo>
                  <a:cubicBezTo>
                    <a:pt x="1229" y="142"/>
                    <a:pt x="1228" y="132"/>
                    <a:pt x="1225" y="123"/>
                  </a:cubicBezTo>
                  <a:cubicBezTo>
                    <a:pt x="1219" y="105"/>
                    <a:pt x="1208" y="91"/>
                    <a:pt x="1189" y="85"/>
                  </a:cubicBezTo>
                  <a:cubicBezTo>
                    <a:pt x="1173" y="80"/>
                    <a:pt x="1156" y="84"/>
                    <a:pt x="1139" y="84"/>
                  </a:cubicBezTo>
                  <a:cubicBezTo>
                    <a:pt x="1137" y="84"/>
                    <a:pt x="1136" y="86"/>
                    <a:pt x="1134" y="87"/>
                  </a:cubicBezTo>
                  <a:cubicBezTo>
                    <a:pt x="1128" y="91"/>
                    <a:pt x="1121" y="96"/>
                    <a:pt x="1115" y="100"/>
                  </a:cubicBezTo>
                  <a:cubicBezTo>
                    <a:pt x="1113" y="102"/>
                    <a:pt x="1111" y="105"/>
                    <a:pt x="1108" y="103"/>
                  </a:cubicBezTo>
                  <a:cubicBezTo>
                    <a:pt x="1105" y="102"/>
                    <a:pt x="1106" y="98"/>
                    <a:pt x="1106" y="96"/>
                  </a:cubicBezTo>
                  <a:cubicBezTo>
                    <a:pt x="1106" y="69"/>
                    <a:pt x="1106" y="43"/>
                    <a:pt x="1106" y="17"/>
                  </a:cubicBezTo>
                  <a:cubicBezTo>
                    <a:pt x="1106" y="0"/>
                    <a:pt x="1106" y="0"/>
                    <a:pt x="1089" y="0"/>
                  </a:cubicBezTo>
                  <a:cubicBezTo>
                    <a:pt x="1074" y="0"/>
                    <a:pt x="1073" y="1"/>
                    <a:pt x="1073" y="16"/>
                  </a:cubicBezTo>
                  <a:cubicBezTo>
                    <a:pt x="1073" y="56"/>
                    <a:pt x="1073" y="96"/>
                    <a:pt x="1073" y="136"/>
                  </a:cubicBezTo>
                  <a:cubicBezTo>
                    <a:pt x="1073" y="177"/>
                    <a:pt x="1073" y="218"/>
                    <a:pt x="1073" y="259"/>
                  </a:cubicBezTo>
                  <a:close/>
                  <a:moveTo>
                    <a:pt x="1150" y="1092"/>
                  </a:moveTo>
                  <a:cubicBezTo>
                    <a:pt x="1168" y="1092"/>
                    <a:pt x="1186" y="1092"/>
                    <a:pt x="1204" y="1092"/>
                  </a:cubicBezTo>
                  <a:cubicBezTo>
                    <a:pt x="1215" y="1092"/>
                    <a:pt x="1218" y="1087"/>
                    <a:pt x="1219" y="1077"/>
                  </a:cubicBezTo>
                  <a:cubicBezTo>
                    <a:pt x="1220" y="1062"/>
                    <a:pt x="1216" y="1049"/>
                    <a:pt x="1210" y="1036"/>
                  </a:cubicBezTo>
                  <a:cubicBezTo>
                    <a:pt x="1204" y="1020"/>
                    <a:pt x="1193" y="1008"/>
                    <a:pt x="1177" y="1001"/>
                  </a:cubicBezTo>
                  <a:cubicBezTo>
                    <a:pt x="1155" y="992"/>
                    <a:pt x="1133" y="991"/>
                    <a:pt x="1109" y="999"/>
                  </a:cubicBezTo>
                  <a:cubicBezTo>
                    <a:pt x="1079" y="1010"/>
                    <a:pt x="1062" y="1031"/>
                    <a:pt x="1056" y="1061"/>
                  </a:cubicBezTo>
                  <a:cubicBezTo>
                    <a:pt x="1051" y="1090"/>
                    <a:pt x="1052" y="1120"/>
                    <a:pt x="1069" y="1148"/>
                  </a:cubicBezTo>
                  <a:cubicBezTo>
                    <a:pt x="1081" y="1169"/>
                    <a:pt x="1100" y="1180"/>
                    <a:pt x="1122" y="1185"/>
                  </a:cubicBezTo>
                  <a:cubicBezTo>
                    <a:pt x="1149" y="1190"/>
                    <a:pt x="1176" y="1186"/>
                    <a:pt x="1200" y="1171"/>
                  </a:cubicBezTo>
                  <a:cubicBezTo>
                    <a:pt x="1206" y="1168"/>
                    <a:pt x="1213" y="1165"/>
                    <a:pt x="1214" y="1157"/>
                  </a:cubicBezTo>
                  <a:cubicBezTo>
                    <a:pt x="1215" y="1147"/>
                    <a:pt x="1202" y="1139"/>
                    <a:pt x="1193" y="1144"/>
                  </a:cubicBezTo>
                  <a:cubicBezTo>
                    <a:pt x="1187" y="1147"/>
                    <a:pt x="1180" y="1150"/>
                    <a:pt x="1174" y="1153"/>
                  </a:cubicBezTo>
                  <a:cubicBezTo>
                    <a:pt x="1158" y="1161"/>
                    <a:pt x="1140" y="1161"/>
                    <a:pt x="1124" y="1155"/>
                  </a:cubicBezTo>
                  <a:cubicBezTo>
                    <a:pt x="1112" y="1151"/>
                    <a:pt x="1102" y="1142"/>
                    <a:pt x="1096" y="1129"/>
                  </a:cubicBezTo>
                  <a:cubicBezTo>
                    <a:pt x="1092" y="1121"/>
                    <a:pt x="1091" y="1112"/>
                    <a:pt x="1089" y="1104"/>
                  </a:cubicBezTo>
                  <a:cubicBezTo>
                    <a:pt x="1087" y="1093"/>
                    <a:pt x="1087" y="1092"/>
                    <a:pt x="1099" y="1092"/>
                  </a:cubicBezTo>
                  <a:cubicBezTo>
                    <a:pt x="1116" y="1092"/>
                    <a:pt x="1133" y="1092"/>
                    <a:pt x="1150" y="1092"/>
                  </a:cubicBezTo>
                  <a:cubicBezTo>
                    <a:pt x="1150" y="1092"/>
                    <a:pt x="1150" y="1092"/>
                    <a:pt x="1150" y="1092"/>
                  </a:cubicBezTo>
                  <a:close/>
                  <a:moveTo>
                    <a:pt x="1099" y="1070"/>
                  </a:moveTo>
                  <a:cubicBezTo>
                    <a:pt x="1092" y="1071"/>
                    <a:pt x="1089" y="1067"/>
                    <a:pt x="1091" y="1060"/>
                  </a:cubicBezTo>
                  <a:cubicBezTo>
                    <a:pt x="1094" y="1045"/>
                    <a:pt x="1108" y="1023"/>
                    <a:pt x="1128" y="1022"/>
                  </a:cubicBezTo>
                  <a:cubicBezTo>
                    <a:pt x="1142" y="1021"/>
                    <a:pt x="1156" y="1018"/>
                    <a:pt x="1168" y="1029"/>
                  </a:cubicBezTo>
                  <a:cubicBezTo>
                    <a:pt x="1181" y="1038"/>
                    <a:pt x="1185" y="1051"/>
                    <a:pt x="1187" y="1066"/>
                  </a:cubicBezTo>
                  <a:cubicBezTo>
                    <a:pt x="1188" y="1071"/>
                    <a:pt x="1183" y="1070"/>
                    <a:pt x="1180" y="1070"/>
                  </a:cubicBezTo>
                  <a:cubicBezTo>
                    <a:pt x="1166" y="1070"/>
                    <a:pt x="1153" y="1070"/>
                    <a:pt x="1139" y="1070"/>
                  </a:cubicBezTo>
                  <a:cubicBezTo>
                    <a:pt x="1139" y="1070"/>
                    <a:pt x="1139" y="1070"/>
                    <a:pt x="1139" y="1070"/>
                  </a:cubicBezTo>
                  <a:cubicBezTo>
                    <a:pt x="1126" y="1070"/>
                    <a:pt x="1113" y="1070"/>
                    <a:pt x="1099" y="1070"/>
                  </a:cubicBezTo>
                  <a:close/>
                  <a:moveTo>
                    <a:pt x="1741" y="1092"/>
                  </a:moveTo>
                  <a:cubicBezTo>
                    <a:pt x="1759" y="1092"/>
                    <a:pt x="1776" y="1092"/>
                    <a:pt x="1793" y="1092"/>
                  </a:cubicBezTo>
                  <a:cubicBezTo>
                    <a:pt x="1806" y="1092"/>
                    <a:pt x="1808" y="1089"/>
                    <a:pt x="1808" y="1076"/>
                  </a:cubicBezTo>
                  <a:cubicBezTo>
                    <a:pt x="1809" y="1063"/>
                    <a:pt x="1807" y="1051"/>
                    <a:pt x="1802" y="1038"/>
                  </a:cubicBezTo>
                  <a:cubicBezTo>
                    <a:pt x="1794" y="1021"/>
                    <a:pt x="1782" y="1008"/>
                    <a:pt x="1764" y="1000"/>
                  </a:cubicBezTo>
                  <a:cubicBezTo>
                    <a:pt x="1742" y="991"/>
                    <a:pt x="1720" y="991"/>
                    <a:pt x="1698" y="1000"/>
                  </a:cubicBezTo>
                  <a:cubicBezTo>
                    <a:pt x="1681" y="1006"/>
                    <a:pt x="1668" y="1016"/>
                    <a:pt x="1659" y="1031"/>
                  </a:cubicBezTo>
                  <a:cubicBezTo>
                    <a:pt x="1646" y="1050"/>
                    <a:pt x="1643" y="1071"/>
                    <a:pt x="1644" y="1094"/>
                  </a:cubicBezTo>
                  <a:cubicBezTo>
                    <a:pt x="1644" y="1110"/>
                    <a:pt x="1647" y="1127"/>
                    <a:pt x="1655" y="1141"/>
                  </a:cubicBezTo>
                  <a:cubicBezTo>
                    <a:pt x="1669" y="1168"/>
                    <a:pt x="1691" y="1183"/>
                    <a:pt x="1722" y="1186"/>
                  </a:cubicBezTo>
                  <a:cubicBezTo>
                    <a:pt x="1750" y="1188"/>
                    <a:pt x="1775" y="1183"/>
                    <a:pt x="1798" y="1165"/>
                  </a:cubicBezTo>
                  <a:cubicBezTo>
                    <a:pt x="1803" y="1161"/>
                    <a:pt x="1806" y="1157"/>
                    <a:pt x="1802" y="1151"/>
                  </a:cubicBezTo>
                  <a:cubicBezTo>
                    <a:pt x="1798" y="1144"/>
                    <a:pt x="1791" y="1140"/>
                    <a:pt x="1783" y="1144"/>
                  </a:cubicBezTo>
                  <a:cubicBezTo>
                    <a:pt x="1778" y="1147"/>
                    <a:pt x="1771" y="1149"/>
                    <a:pt x="1766" y="1152"/>
                  </a:cubicBezTo>
                  <a:cubicBezTo>
                    <a:pt x="1749" y="1161"/>
                    <a:pt x="1730" y="1162"/>
                    <a:pt x="1714" y="1155"/>
                  </a:cubicBezTo>
                  <a:cubicBezTo>
                    <a:pt x="1692" y="1145"/>
                    <a:pt x="1680" y="1127"/>
                    <a:pt x="1679" y="1102"/>
                  </a:cubicBezTo>
                  <a:cubicBezTo>
                    <a:pt x="1678" y="1095"/>
                    <a:pt x="1681" y="1092"/>
                    <a:pt x="1689" y="1092"/>
                  </a:cubicBezTo>
                  <a:cubicBezTo>
                    <a:pt x="1706" y="1092"/>
                    <a:pt x="1724" y="1092"/>
                    <a:pt x="1741" y="1092"/>
                  </a:cubicBezTo>
                  <a:cubicBezTo>
                    <a:pt x="1741" y="1092"/>
                    <a:pt x="1741" y="1092"/>
                    <a:pt x="1741" y="1092"/>
                  </a:cubicBezTo>
                  <a:close/>
                  <a:moveTo>
                    <a:pt x="1690" y="1070"/>
                  </a:moveTo>
                  <a:cubicBezTo>
                    <a:pt x="1683" y="1071"/>
                    <a:pt x="1680" y="1068"/>
                    <a:pt x="1681" y="1062"/>
                  </a:cubicBezTo>
                  <a:cubicBezTo>
                    <a:pt x="1683" y="1048"/>
                    <a:pt x="1697" y="1024"/>
                    <a:pt x="1716" y="1022"/>
                  </a:cubicBezTo>
                  <a:cubicBezTo>
                    <a:pt x="1731" y="1020"/>
                    <a:pt x="1747" y="1018"/>
                    <a:pt x="1760" y="1030"/>
                  </a:cubicBezTo>
                  <a:cubicBezTo>
                    <a:pt x="1771" y="1038"/>
                    <a:pt x="1775" y="1050"/>
                    <a:pt x="1778" y="1062"/>
                  </a:cubicBezTo>
                  <a:cubicBezTo>
                    <a:pt x="1780" y="1068"/>
                    <a:pt x="1775" y="1070"/>
                    <a:pt x="1769" y="1070"/>
                  </a:cubicBezTo>
                  <a:cubicBezTo>
                    <a:pt x="1756" y="1070"/>
                    <a:pt x="1742" y="1070"/>
                    <a:pt x="1729" y="1070"/>
                  </a:cubicBezTo>
                  <a:cubicBezTo>
                    <a:pt x="1729" y="1070"/>
                    <a:pt x="1729" y="1070"/>
                    <a:pt x="1729" y="1070"/>
                  </a:cubicBezTo>
                  <a:cubicBezTo>
                    <a:pt x="1716" y="1070"/>
                    <a:pt x="1703" y="1070"/>
                    <a:pt x="1690" y="1070"/>
                  </a:cubicBezTo>
                  <a:close/>
                  <a:moveTo>
                    <a:pt x="68" y="581"/>
                  </a:moveTo>
                  <a:cubicBezTo>
                    <a:pt x="68" y="573"/>
                    <a:pt x="70" y="568"/>
                    <a:pt x="80" y="569"/>
                  </a:cubicBezTo>
                  <a:cubicBezTo>
                    <a:pt x="90" y="570"/>
                    <a:pt x="101" y="570"/>
                    <a:pt x="111" y="569"/>
                  </a:cubicBezTo>
                  <a:cubicBezTo>
                    <a:pt x="120" y="569"/>
                    <a:pt x="120" y="563"/>
                    <a:pt x="120" y="556"/>
                  </a:cubicBezTo>
                  <a:cubicBezTo>
                    <a:pt x="120" y="549"/>
                    <a:pt x="119" y="544"/>
                    <a:pt x="111" y="544"/>
                  </a:cubicBezTo>
                  <a:cubicBezTo>
                    <a:pt x="104" y="544"/>
                    <a:pt x="97" y="544"/>
                    <a:pt x="91" y="544"/>
                  </a:cubicBezTo>
                  <a:cubicBezTo>
                    <a:pt x="66" y="544"/>
                    <a:pt x="65" y="543"/>
                    <a:pt x="68" y="518"/>
                  </a:cubicBezTo>
                  <a:cubicBezTo>
                    <a:pt x="69" y="504"/>
                    <a:pt x="83" y="487"/>
                    <a:pt x="99" y="489"/>
                  </a:cubicBezTo>
                  <a:cubicBezTo>
                    <a:pt x="103" y="489"/>
                    <a:pt x="107" y="489"/>
                    <a:pt x="110" y="488"/>
                  </a:cubicBezTo>
                  <a:cubicBezTo>
                    <a:pt x="118" y="487"/>
                    <a:pt x="123" y="479"/>
                    <a:pt x="123" y="471"/>
                  </a:cubicBezTo>
                  <a:cubicBezTo>
                    <a:pt x="123" y="461"/>
                    <a:pt x="116" y="462"/>
                    <a:pt x="109" y="460"/>
                  </a:cubicBezTo>
                  <a:cubicBezTo>
                    <a:pt x="100" y="458"/>
                    <a:pt x="92" y="460"/>
                    <a:pt x="84" y="460"/>
                  </a:cubicBezTo>
                  <a:cubicBezTo>
                    <a:pt x="68" y="461"/>
                    <a:pt x="56" y="469"/>
                    <a:pt x="47" y="480"/>
                  </a:cubicBezTo>
                  <a:cubicBezTo>
                    <a:pt x="34" y="493"/>
                    <a:pt x="32" y="511"/>
                    <a:pt x="32" y="529"/>
                  </a:cubicBezTo>
                  <a:cubicBezTo>
                    <a:pt x="32" y="544"/>
                    <a:pt x="32" y="544"/>
                    <a:pt x="17" y="544"/>
                  </a:cubicBezTo>
                  <a:cubicBezTo>
                    <a:pt x="4" y="543"/>
                    <a:pt x="0" y="548"/>
                    <a:pt x="4" y="561"/>
                  </a:cubicBezTo>
                  <a:cubicBezTo>
                    <a:pt x="6" y="569"/>
                    <a:pt x="13" y="568"/>
                    <a:pt x="19" y="569"/>
                  </a:cubicBezTo>
                  <a:cubicBezTo>
                    <a:pt x="32" y="571"/>
                    <a:pt x="32" y="571"/>
                    <a:pt x="32" y="584"/>
                  </a:cubicBezTo>
                  <a:cubicBezTo>
                    <a:pt x="32" y="624"/>
                    <a:pt x="32" y="664"/>
                    <a:pt x="32" y="704"/>
                  </a:cubicBezTo>
                  <a:cubicBezTo>
                    <a:pt x="32" y="731"/>
                    <a:pt x="32" y="730"/>
                    <a:pt x="57" y="731"/>
                  </a:cubicBezTo>
                  <a:cubicBezTo>
                    <a:pt x="66" y="731"/>
                    <a:pt x="68" y="727"/>
                    <a:pt x="68" y="720"/>
                  </a:cubicBezTo>
                  <a:cubicBezTo>
                    <a:pt x="68" y="697"/>
                    <a:pt x="68" y="674"/>
                    <a:pt x="68" y="651"/>
                  </a:cubicBezTo>
                  <a:cubicBezTo>
                    <a:pt x="68" y="628"/>
                    <a:pt x="68" y="605"/>
                    <a:pt x="68" y="581"/>
                  </a:cubicBezTo>
                  <a:close/>
                  <a:moveTo>
                    <a:pt x="278" y="1165"/>
                  </a:moveTo>
                  <a:cubicBezTo>
                    <a:pt x="278" y="1183"/>
                    <a:pt x="278" y="1183"/>
                    <a:pt x="296" y="1184"/>
                  </a:cubicBezTo>
                  <a:cubicBezTo>
                    <a:pt x="310" y="1184"/>
                    <a:pt x="310" y="1184"/>
                    <a:pt x="310" y="1169"/>
                  </a:cubicBezTo>
                  <a:cubicBezTo>
                    <a:pt x="310" y="1132"/>
                    <a:pt x="310" y="1095"/>
                    <a:pt x="310" y="1058"/>
                  </a:cubicBezTo>
                  <a:cubicBezTo>
                    <a:pt x="310" y="1052"/>
                    <a:pt x="312" y="1047"/>
                    <a:pt x="316" y="1042"/>
                  </a:cubicBezTo>
                  <a:cubicBezTo>
                    <a:pt x="324" y="1033"/>
                    <a:pt x="334" y="1027"/>
                    <a:pt x="345" y="1024"/>
                  </a:cubicBezTo>
                  <a:cubicBezTo>
                    <a:pt x="357" y="1020"/>
                    <a:pt x="371" y="1018"/>
                    <a:pt x="383" y="1028"/>
                  </a:cubicBezTo>
                  <a:cubicBezTo>
                    <a:pt x="397" y="1039"/>
                    <a:pt x="401" y="1054"/>
                    <a:pt x="401" y="1071"/>
                  </a:cubicBezTo>
                  <a:cubicBezTo>
                    <a:pt x="401" y="1102"/>
                    <a:pt x="401" y="1132"/>
                    <a:pt x="401" y="1163"/>
                  </a:cubicBezTo>
                  <a:cubicBezTo>
                    <a:pt x="401" y="1183"/>
                    <a:pt x="401" y="1182"/>
                    <a:pt x="420" y="1184"/>
                  </a:cubicBezTo>
                  <a:cubicBezTo>
                    <a:pt x="429" y="1185"/>
                    <a:pt x="433" y="1181"/>
                    <a:pt x="433" y="1173"/>
                  </a:cubicBezTo>
                  <a:cubicBezTo>
                    <a:pt x="432" y="1130"/>
                    <a:pt x="435" y="1087"/>
                    <a:pt x="431" y="1044"/>
                  </a:cubicBezTo>
                  <a:cubicBezTo>
                    <a:pt x="427" y="1014"/>
                    <a:pt x="404" y="996"/>
                    <a:pt x="376" y="994"/>
                  </a:cubicBezTo>
                  <a:cubicBezTo>
                    <a:pt x="353" y="992"/>
                    <a:pt x="333" y="1000"/>
                    <a:pt x="317" y="1017"/>
                  </a:cubicBezTo>
                  <a:cubicBezTo>
                    <a:pt x="312" y="1021"/>
                    <a:pt x="311" y="1019"/>
                    <a:pt x="309" y="1015"/>
                  </a:cubicBezTo>
                  <a:cubicBezTo>
                    <a:pt x="309" y="1013"/>
                    <a:pt x="308" y="1011"/>
                    <a:pt x="308" y="1008"/>
                  </a:cubicBezTo>
                  <a:cubicBezTo>
                    <a:pt x="306" y="1001"/>
                    <a:pt x="298" y="997"/>
                    <a:pt x="287" y="998"/>
                  </a:cubicBezTo>
                  <a:cubicBezTo>
                    <a:pt x="279" y="999"/>
                    <a:pt x="278" y="1004"/>
                    <a:pt x="278" y="1011"/>
                  </a:cubicBezTo>
                  <a:cubicBezTo>
                    <a:pt x="278" y="1037"/>
                    <a:pt x="278" y="1064"/>
                    <a:pt x="278" y="1091"/>
                  </a:cubicBezTo>
                  <a:cubicBezTo>
                    <a:pt x="278" y="1115"/>
                    <a:pt x="278" y="1140"/>
                    <a:pt x="278" y="1165"/>
                  </a:cubicBezTo>
                  <a:close/>
                  <a:moveTo>
                    <a:pt x="150" y="705"/>
                  </a:moveTo>
                  <a:cubicBezTo>
                    <a:pt x="150" y="734"/>
                    <a:pt x="145" y="730"/>
                    <a:pt x="176" y="731"/>
                  </a:cubicBezTo>
                  <a:cubicBezTo>
                    <a:pt x="185" y="731"/>
                    <a:pt x="187" y="727"/>
                    <a:pt x="187" y="719"/>
                  </a:cubicBezTo>
                  <a:cubicBezTo>
                    <a:pt x="187" y="685"/>
                    <a:pt x="187" y="651"/>
                    <a:pt x="187" y="618"/>
                  </a:cubicBezTo>
                  <a:cubicBezTo>
                    <a:pt x="187" y="597"/>
                    <a:pt x="204" y="578"/>
                    <a:pt x="225" y="574"/>
                  </a:cubicBezTo>
                  <a:cubicBezTo>
                    <a:pt x="232" y="572"/>
                    <a:pt x="240" y="574"/>
                    <a:pt x="247" y="575"/>
                  </a:cubicBezTo>
                  <a:cubicBezTo>
                    <a:pt x="257" y="576"/>
                    <a:pt x="261" y="572"/>
                    <a:pt x="265" y="564"/>
                  </a:cubicBezTo>
                  <a:cubicBezTo>
                    <a:pt x="269" y="556"/>
                    <a:pt x="267" y="542"/>
                    <a:pt x="261" y="540"/>
                  </a:cubicBezTo>
                  <a:cubicBezTo>
                    <a:pt x="253" y="538"/>
                    <a:pt x="244" y="534"/>
                    <a:pt x="237" y="536"/>
                  </a:cubicBezTo>
                  <a:cubicBezTo>
                    <a:pt x="228" y="537"/>
                    <a:pt x="217" y="537"/>
                    <a:pt x="209" y="544"/>
                  </a:cubicBezTo>
                  <a:cubicBezTo>
                    <a:pt x="204" y="549"/>
                    <a:pt x="198" y="553"/>
                    <a:pt x="194" y="558"/>
                  </a:cubicBezTo>
                  <a:cubicBezTo>
                    <a:pt x="192" y="561"/>
                    <a:pt x="189" y="563"/>
                    <a:pt x="185" y="562"/>
                  </a:cubicBezTo>
                  <a:cubicBezTo>
                    <a:pt x="182" y="561"/>
                    <a:pt x="182" y="558"/>
                    <a:pt x="182" y="556"/>
                  </a:cubicBezTo>
                  <a:cubicBezTo>
                    <a:pt x="180" y="539"/>
                    <a:pt x="179" y="539"/>
                    <a:pt x="162" y="539"/>
                  </a:cubicBezTo>
                  <a:cubicBezTo>
                    <a:pt x="151" y="539"/>
                    <a:pt x="150" y="540"/>
                    <a:pt x="150" y="551"/>
                  </a:cubicBezTo>
                  <a:cubicBezTo>
                    <a:pt x="150" y="579"/>
                    <a:pt x="150" y="607"/>
                    <a:pt x="150" y="635"/>
                  </a:cubicBezTo>
                  <a:cubicBezTo>
                    <a:pt x="150" y="658"/>
                    <a:pt x="149" y="682"/>
                    <a:pt x="150" y="705"/>
                  </a:cubicBezTo>
                  <a:close/>
                  <a:moveTo>
                    <a:pt x="1011" y="1049"/>
                  </a:moveTo>
                  <a:cubicBezTo>
                    <a:pt x="1011" y="1008"/>
                    <a:pt x="1011" y="966"/>
                    <a:pt x="1011" y="924"/>
                  </a:cubicBezTo>
                  <a:cubicBezTo>
                    <a:pt x="1011" y="913"/>
                    <a:pt x="1008" y="910"/>
                    <a:pt x="997" y="910"/>
                  </a:cubicBezTo>
                  <a:cubicBezTo>
                    <a:pt x="995" y="910"/>
                    <a:pt x="992" y="910"/>
                    <a:pt x="990" y="910"/>
                  </a:cubicBezTo>
                  <a:cubicBezTo>
                    <a:pt x="976" y="910"/>
                    <a:pt x="975" y="911"/>
                    <a:pt x="975" y="926"/>
                  </a:cubicBezTo>
                  <a:cubicBezTo>
                    <a:pt x="975" y="1006"/>
                    <a:pt x="975" y="1085"/>
                    <a:pt x="975" y="1165"/>
                  </a:cubicBezTo>
                  <a:cubicBezTo>
                    <a:pt x="975" y="1185"/>
                    <a:pt x="975" y="1185"/>
                    <a:pt x="994" y="1185"/>
                  </a:cubicBezTo>
                  <a:cubicBezTo>
                    <a:pt x="1009" y="1185"/>
                    <a:pt x="1011" y="1184"/>
                    <a:pt x="1011" y="1169"/>
                  </a:cubicBezTo>
                  <a:cubicBezTo>
                    <a:pt x="1011" y="1129"/>
                    <a:pt x="1011" y="1089"/>
                    <a:pt x="1011" y="1049"/>
                  </a:cubicBezTo>
                  <a:cubicBezTo>
                    <a:pt x="1011" y="1049"/>
                    <a:pt x="1011" y="1049"/>
                    <a:pt x="1011" y="1049"/>
                  </a:cubicBezTo>
                  <a:close/>
                  <a:moveTo>
                    <a:pt x="296" y="176"/>
                  </a:moveTo>
                  <a:cubicBezTo>
                    <a:pt x="296" y="201"/>
                    <a:pt x="296" y="226"/>
                    <a:pt x="296" y="251"/>
                  </a:cubicBezTo>
                  <a:cubicBezTo>
                    <a:pt x="295" y="276"/>
                    <a:pt x="296" y="274"/>
                    <a:pt x="318" y="274"/>
                  </a:cubicBezTo>
                  <a:cubicBezTo>
                    <a:pt x="330" y="274"/>
                    <a:pt x="331" y="274"/>
                    <a:pt x="331" y="260"/>
                  </a:cubicBezTo>
                  <a:cubicBezTo>
                    <a:pt x="331" y="232"/>
                    <a:pt x="331" y="204"/>
                    <a:pt x="331" y="176"/>
                  </a:cubicBezTo>
                  <a:cubicBezTo>
                    <a:pt x="331" y="165"/>
                    <a:pt x="331" y="155"/>
                    <a:pt x="337" y="145"/>
                  </a:cubicBezTo>
                  <a:cubicBezTo>
                    <a:pt x="349" y="123"/>
                    <a:pt x="359" y="117"/>
                    <a:pt x="377" y="118"/>
                  </a:cubicBezTo>
                  <a:cubicBezTo>
                    <a:pt x="383" y="118"/>
                    <a:pt x="389" y="119"/>
                    <a:pt x="395" y="120"/>
                  </a:cubicBezTo>
                  <a:cubicBezTo>
                    <a:pt x="401" y="120"/>
                    <a:pt x="407" y="118"/>
                    <a:pt x="408" y="112"/>
                  </a:cubicBezTo>
                  <a:cubicBezTo>
                    <a:pt x="409" y="103"/>
                    <a:pt x="415" y="93"/>
                    <a:pt x="407" y="85"/>
                  </a:cubicBezTo>
                  <a:cubicBezTo>
                    <a:pt x="406" y="84"/>
                    <a:pt x="404" y="84"/>
                    <a:pt x="402" y="84"/>
                  </a:cubicBezTo>
                  <a:cubicBezTo>
                    <a:pt x="376" y="78"/>
                    <a:pt x="353" y="82"/>
                    <a:pt x="337" y="106"/>
                  </a:cubicBezTo>
                  <a:cubicBezTo>
                    <a:pt x="336" y="108"/>
                    <a:pt x="335" y="110"/>
                    <a:pt x="333" y="109"/>
                  </a:cubicBezTo>
                  <a:cubicBezTo>
                    <a:pt x="331" y="109"/>
                    <a:pt x="330" y="107"/>
                    <a:pt x="330" y="105"/>
                  </a:cubicBezTo>
                  <a:cubicBezTo>
                    <a:pt x="329" y="101"/>
                    <a:pt x="329" y="97"/>
                    <a:pt x="328" y="94"/>
                  </a:cubicBezTo>
                  <a:cubicBezTo>
                    <a:pt x="325" y="85"/>
                    <a:pt x="318" y="82"/>
                    <a:pt x="303" y="84"/>
                  </a:cubicBezTo>
                  <a:cubicBezTo>
                    <a:pt x="297" y="84"/>
                    <a:pt x="295" y="86"/>
                    <a:pt x="295" y="92"/>
                  </a:cubicBezTo>
                  <a:cubicBezTo>
                    <a:pt x="296" y="120"/>
                    <a:pt x="295" y="148"/>
                    <a:pt x="295" y="176"/>
                  </a:cubicBezTo>
                  <a:cubicBezTo>
                    <a:pt x="296" y="176"/>
                    <a:pt x="296" y="176"/>
                    <a:pt x="296" y="176"/>
                  </a:cubicBezTo>
                  <a:close/>
                  <a:moveTo>
                    <a:pt x="946" y="179"/>
                  </a:moveTo>
                  <a:cubicBezTo>
                    <a:pt x="946" y="197"/>
                    <a:pt x="946" y="215"/>
                    <a:pt x="946" y="234"/>
                  </a:cubicBezTo>
                  <a:cubicBezTo>
                    <a:pt x="946" y="248"/>
                    <a:pt x="951" y="260"/>
                    <a:pt x="963" y="268"/>
                  </a:cubicBezTo>
                  <a:cubicBezTo>
                    <a:pt x="982" y="280"/>
                    <a:pt x="1011" y="277"/>
                    <a:pt x="1029" y="264"/>
                  </a:cubicBezTo>
                  <a:cubicBezTo>
                    <a:pt x="1036" y="259"/>
                    <a:pt x="1036" y="254"/>
                    <a:pt x="1032" y="248"/>
                  </a:cubicBezTo>
                  <a:cubicBezTo>
                    <a:pt x="1026" y="239"/>
                    <a:pt x="1020" y="238"/>
                    <a:pt x="1013" y="242"/>
                  </a:cubicBezTo>
                  <a:cubicBezTo>
                    <a:pt x="996" y="252"/>
                    <a:pt x="978" y="243"/>
                    <a:pt x="978" y="223"/>
                  </a:cubicBezTo>
                  <a:cubicBezTo>
                    <a:pt x="978" y="190"/>
                    <a:pt x="978" y="157"/>
                    <a:pt x="978" y="123"/>
                  </a:cubicBezTo>
                  <a:cubicBezTo>
                    <a:pt x="978" y="116"/>
                    <a:pt x="981" y="113"/>
                    <a:pt x="988" y="113"/>
                  </a:cubicBezTo>
                  <a:cubicBezTo>
                    <a:pt x="999" y="114"/>
                    <a:pt x="1011" y="113"/>
                    <a:pt x="1022" y="113"/>
                  </a:cubicBezTo>
                  <a:cubicBezTo>
                    <a:pt x="1028" y="113"/>
                    <a:pt x="1033" y="112"/>
                    <a:pt x="1033" y="104"/>
                  </a:cubicBezTo>
                  <a:cubicBezTo>
                    <a:pt x="1033" y="96"/>
                    <a:pt x="1032" y="90"/>
                    <a:pt x="1022" y="90"/>
                  </a:cubicBezTo>
                  <a:cubicBezTo>
                    <a:pt x="1011" y="90"/>
                    <a:pt x="1001" y="90"/>
                    <a:pt x="990" y="90"/>
                  </a:cubicBezTo>
                  <a:cubicBezTo>
                    <a:pt x="981" y="91"/>
                    <a:pt x="977" y="88"/>
                    <a:pt x="978" y="78"/>
                  </a:cubicBezTo>
                  <a:cubicBezTo>
                    <a:pt x="978" y="64"/>
                    <a:pt x="978" y="49"/>
                    <a:pt x="978" y="35"/>
                  </a:cubicBezTo>
                  <a:cubicBezTo>
                    <a:pt x="978" y="30"/>
                    <a:pt x="978" y="25"/>
                    <a:pt x="971" y="24"/>
                  </a:cubicBezTo>
                  <a:cubicBezTo>
                    <a:pt x="964" y="24"/>
                    <a:pt x="956" y="24"/>
                    <a:pt x="955" y="32"/>
                  </a:cubicBezTo>
                  <a:cubicBezTo>
                    <a:pt x="952" y="43"/>
                    <a:pt x="949" y="54"/>
                    <a:pt x="949" y="65"/>
                  </a:cubicBezTo>
                  <a:cubicBezTo>
                    <a:pt x="948" y="88"/>
                    <a:pt x="947" y="88"/>
                    <a:pt x="924" y="91"/>
                  </a:cubicBezTo>
                  <a:cubicBezTo>
                    <a:pt x="919" y="92"/>
                    <a:pt x="914" y="92"/>
                    <a:pt x="914" y="99"/>
                  </a:cubicBezTo>
                  <a:cubicBezTo>
                    <a:pt x="915" y="107"/>
                    <a:pt x="917" y="113"/>
                    <a:pt x="926" y="113"/>
                  </a:cubicBezTo>
                  <a:cubicBezTo>
                    <a:pt x="929" y="114"/>
                    <a:pt x="932" y="113"/>
                    <a:pt x="935" y="113"/>
                  </a:cubicBezTo>
                  <a:cubicBezTo>
                    <a:pt x="943" y="113"/>
                    <a:pt x="946" y="116"/>
                    <a:pt x="946" y="124"/>
                  </a:cubicBezTo>
                  <a:cubicBezTo>
                    <a:pt x="946" y="142"/>
                    <a:pt x="946" y="161"/>
                    <a:pt x="946" y="179"/>
                  </a:cubicBezTo>
                  <a:cubicBezTo>
                    <a:pt x="946" y="179"/>
                    <a:pt x="946" y="179"/>
                    <a:pt x="946" y="179"/>
                  </a:cubicBezTo>
                  <a:close/>
                </a:path>
              </a:pathLst>
            </a:custGeom>
            <a:solidFill>
              <a:srgbClr val="4C505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0" dirty="0"/>
            </a:p>
          </p:txBody>
        </p:sp>
        <p:grpSp>
          <p:nvGrpSpPr>
            <p:cNvPr id="18" name="Group 4">
              <a:extLst>
                <a:ext uri="{FF2B5EF4-FFF2-40B4-BE49-F238E27FC236}">
                  <a16:creationId xmlns:a16="http://schemas.microsoft.com/office/drawing/2014/main" id="{57BD2C4C-DC67-B843-B26C-309622FC75F7}"/>
                </a:ext>
              </a:extLst>
            </p:cNvPr>
            <p:cNvGrpSpPr>
              <a:grpSpLocks noChangeAspect="1"/>
            </p:cNvGrpSpPr>
            <p:nvPr/>
          </p:nvGrpSpPr>
          <p:grpSpPr bwMode="gray">
            <a:xfrm>
              <a:off x="334963" y="296652"/>
              <a:ext cx="538094" cy="540000"/>
              <a:chOff x="2711" y="1027"/>
              <a:chExt cx="2258" cy="2266"/>
            </a:xfrm>
          </p:grpSpPr>
          <p:sp>
            <p:nvSpPr>
              <p:cNvPr id="19" name="AutoShape 3">
                <a:extLst>
                  <a:ext uri="{FF2B5EF4-FFF2-40B4-BE49-F238E27FC236}">
                    <a16:creationId xmlns:a16="http://schemas.microsoft.com/office/drawing/2014/main" id="{FE1DC41B-291E-574C-9F2C-874E70A40758}"/>
                  </a:ext>
                </a:extLst>
              </p:cNvPr>
              <p:cNvSpPr>
                <a:spLocks noChangeAspect="1" noChangeArrowheads="1" noTextEdit="1"/>
              </p:cNvSpPr>
              <p:nvPr/>
            </p:nvSpPr>
            <p:spPr bwMode="gray">
              <a:xfrm>
                <a:off x="2711" y="1027"/>
                <a:ext cx="2258" cy="22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sz="1350" dirty="0"/>
              </a:p>
            </p:txBody>
          </p:sp>
          <p:sp>
            <p:nvSpPr>
              <p:cNvPr id="20" name="Freeform 5">
                <a:extLst>
                  <a:ext uri="{FF2B5EF4-FFF2-40B4-BE49-F238E27FC236}">
                    <a16:creationId xmlns:a16="http://schemas.microsoft.com/office/drawing/2014/main" id="{D4B633C8-F761-C54B-9BD2-EB59D49A2DBC}"/>
                  </a:ext>
                </a:extLst>
              </p:cNvPr>
              <p:cNvSpPr>
                <a:spLocks/>
              </p:cNvSpPr>
              <p:nvPr/>
            </p:nvSpPr>
            <p:spPr bwMode="gray">
              <a:xfrm>
                <a:off x="2709" y="1029"/>
                <a:ext cx="2260" cy="2262"/>
              </a:xfrm>
              <a:custGeom>
                <a:avLst/>
                <a:gdLst>
                  <a:gd name="T0" fmla="*/ 2260 w 2260"/>
                  <a:gd name="T1" fmla="*/ 0 h 2262"/>
                  <a:gd name="T2" fmla="*/ 1612 w 2260"/>
                  <a:gd name="T3" fmla="*/ 649 h 2262"/>
                  <a:gd name="T4" fmla="*/ 1612 w 2260"/>
                  <a:gd name="T5" fmla="*/ 649 h 2262"/>
                  <a:gd name="T6" fmla="*/ 2035 w 2260"/>
                  <a:gd name="T7" fmla="*/ 0 h 2262"/>
                  <a:gd name="T8" fmla="*/ 0 w 2260"/>
                  <a:gd name="T9" fmla="*/ 0 h 2262"/>
                  <a:gd name="T10" fmla="*/ 0 w 2260"/>
                  <a:gd name="T11" fmla="*/ 2262 h 2262"/>
                  <a:gd name="T12" fmla="*/ 2260 w 2260"/>
                  <a:gd name="T13" fmla="*/ 2262 h 2262"/>
                  <a:gd name="T14" fmla="*/ 2260 w 2260"/>
                  <a:gd name="T15" fmla="*/ 0 h 2262"/>
                  <a:gd name="T16" fmla="*/ 2260 w 2260"/>
                  <a:gd name="T17" fmla="*/ 0 h 2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0" h="2262">
                    <a:moveTo>
                      <a:pt x="2260" y="0"/>
                    </a:moveTo>
                    <a:lnTo>
                      <a:pt x="1612" y="649"/>
                    </a:lnTo>
                    <a:lnTo>
                      <a:pt x="1612" y="649"/>
                    </a:lnTo>
                    <a:lnTo>
                      <a:pt x="2035" y="0"/>
                    </a:lnTo>
                    <a:lnTo>
                      <a:pt x="0" y="0"/>
                    </a:lnTo>
                    <a:lnTo>
                      <a:pt x="0" y="2262"/>
                    </a:lnTo>
                    <a:lnTo>
                      <a:pt x="2260" y="2262"/>
                    </a:lnTo>
                    <a:lnTo>
                      <a:pt x="2260" y="0"/>
                    </a:lnTo>
                    <a:lnTo>
                      <a:pt x="2260" y="0"/>
                    </a:lnTo>
                    <a:close/>
                  </a:path>
                </a:pathLst>
              </a:custGeom>
              <a:solidFill>
                <a:srgbClr val="E55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0" dirty="0"/>
              </a:p>
            </p:txBody>
          </p:sp>
          <p:sp>
            <p:nvSpPr>
              <p:cNvPr id="21" name="Freeform 6">
                <a:extLst>
                  <a:ext uri="{FF2B5EF4-FFF2-40B4-BE49-F238E27FC236}">
                    <a16:creationId xmlns:a16="http://schemas.microsoft.com/office/drawing/2014/main" id="{B16BAAE4-1A41-C843-9754-490F7A1E1270}"/>
                  </a:ext>
                </a:extLst>
              </p:cNvPr>
              <p:cNvSpPr>
                <a:spLocks noEditPoints="1"/>
              </p:cNvSpPr>
              <p:nvPr/>
            </p:nvSpPr>
            <p:spPr bwMode="gray">
              <a:xfrm>
                <a:off x="3623" y="1696"/>
                <a:ext cx="1167" cy="922"/>
              </a:xfrm>
              <a:custGeom>
                <a:avLst/>
                <a:gdLst>
                  <a:gd name="T0" fmla="*/ 411 w 580"/>
                  <a:gd name="T1" fmla="*/ 213 h 458"/>
                  <a:gd name="T2" fmla="*/ 570 w 580"/>
                  <a:gd name="T3" fmla="*/ 37 h 458"/>
                  <a:gd name="T4" fmla="*/ 580 w 580"/>
                  <a:gd name="T5" fmla="*/ 20 h 458"/>
                  <a:gd name="T6" fmla="*/ 545 w 580"/>
                  <a:gd name="T7" fmla="*/ 0 h 458"/>
                  <a:gd name="T8" fmla="*/ 519 w 580"/>
                  <a:gd name="T9" fmla="*/ 16 h 458"/>
                  <a:gd name="T10" fmla="*/ 344 w 580"/>
                  <a:gd name="T11" fmla="*/ 210 h 458"/>
                  <a:gd name="T12" fmla="*/ 334 w 580"/>
                  <a:gd name="T13" fmla="*/ 229 h 458"/>
                  <a:gd name="T14" fmla="*/ 344 w 580"/>
                  <a:gd name="T15" fmla="*/ 248 h 458"/>
                  <a:gd name="T16" fmla="*/ 519 w 580"/>
                  <a:gd name="T17" fmla="*/ 442 h 458"/>
                  <a:gd name="T18" fmla="*/ 545 w 580"/>
                  <a:gd name="T19" fmla="*/ 458 h 458"/>
                  <a:gd name="T20" fmla="*/ 580 w 580"/>
                  <a:gd name="T21" fmla="*/ 438 h 458"/>
                  <a:gd name="T22" fmla="*/ 570 w 580"/>
                  <a:gd name="T23" fmla="*/ 421 h 458"/>
                  <a:gd name="T24" fmla="*/ 411 w 580"/>
                  <a:gd name="T25" fmla="*/ 245 h 458"/>
                  <a:gd name="T26" fmla="*/ 399 w 580"/>
                  <a:gd name="T27" fmla="*/ 229 h 458"/>
                  <a:gd name="T28" fmla="*/ 411 w 580"/>
                  <a:gd name="T29" fmla="*/ 213 h 458"/>
                  <a:gd name="T30" fmla="*/ 252 w 580"/>
                  <a:gd name="T31" fmla="*/ 439 h 458"/>
                  <a:gd name="T32" fmla="*/ 281 w 580"/>
                  <a:gd name="T33" fmla="*/ 454 h 458"/>
                  <a:gd name="T34" fmla="*/ 309 w 580"/>
                  <a:gd name="T35" fmla="*/ 439 h 458"/>
                  <a:gd name="T36" fmla="*/ 309 w 580"/>
                  <a:gd name="T37" fmla="*/ 19 h 458"/>
                  <a:gd name="T38" fmla="*/ 281 w 580"/>
                  <a:gd name="T39" fmla="*/ 4 h 458"/>
                  <a:gd name="T40" fmla="*/ 252 w 580"/>
                  <a:gd name="T41" fmla="*/ 19 h 458"/>
                  <a:gd name="T42" fmla="*/ 252 w 580"/>
                  <a:gd name="T43" fmla="*/ 439 h 458"/>
                  <a:gd name="T44" fmla="*/ 0 w 580"/>
                  <a:gd name="T45" fmla="*/ 439 h 458"/>
                  <a:gd name="T46" fmla="*/ 28 w 580"/>
                  <a:gd name="T47" fmla="*/ 454 h 458"/>
                  <a:gd name="T48" fmla="*/ 56 w 580"/>
                  <a:gd name="T49" fmla="*/ 439 h 458"/>
                  <a:gd name="T50" fmla="*/ 56 w 580"/>
                  <a:gd name="T51" fmla="*/ 157 h 458"/>
                  <a:gd name="T52" fmla="*/ 165 w 580"/>
                  <a:gd name="T53" fmla="*/ 53 h 458"/>
                  <a:gd name="T54" fmla="*/ 180 w 580"/>
                  <a:gd name="T55" fmla="*/ 53 h 458"/>
                  <a:gd name="T56" fmla="*/ 196 w 580"/>
                  <a:gd name="T57" fmla="*/ 27 h 458"/>
                  <a:gd name="T58" fmla="*/ 154 w 580"/>
                  <a:gd name="T59" fmla="*/ 4 h 458"/>
                  <a:gd name="T60" fmla="*/ 0 w 580"/>
                  <a:gd name="T61" fmla="*/ 152 h 458"/>
                  <a:gd name="T62" fmla="*/ 0 w 580"/>
                  <a:gd name="T63" fmla="*/ 439 h 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80" h="458">
                    <a:moveTo>
                      <a:pt x="411" y="213"/>
                    </a:moveTo>
                    <a:cubicBezTo>
                      <a:pt x="570" y="37"/>
                      <a:pt x="570" y="37"/>
                      <a:pt x="570" y="37"/>
                    </a:cubicBezTo>
                    <a:cubicBezTo>
                      <a:pt x="576" y="30"/>
                      <a:pt x="580" y="25"/>
                      <a:pt x="580" y="20"/>
                    </a:cubicBezTo>
                    <a:cubicBezTo>
                      <a:pt x="580" y="10"/>
                      <a:pt x="559" y="0"/>
                      <a:pt x="545" y="0"/>
                    </a:cubicBezTo>
                    <a:cubicBezTo>
                      <a:pt x="535" y="0"/>
                      <a:pt x="526" y="8"/>
                      <a:pt x="519" y="16"/>
                    </a:cubicBezTo>
                    <a:cubicBezTo>
                      <a:pt x="344" y="210"/>
                      <a:pt x="344" y="210"/>
                      <a:pt x="344" y="210"/>
                    </a:cubicBezTo>
                    <a:cubicBezTo>
                      <a:pt x="336" y="219"/>
                      <a:pt x="334" y="224"/>
                      <a:pt x="334" y="229"/>
                    </a:cubicBezTo>
                    <a:cubicBezTo>
                      <a:pt x="334" y="234"/>
                      <a:pt x="336" y="239"/>
                      <a:pt x="344" y="248"/>
                    </a:cubicBezTo>
                    <a:cubicBezTo>
                      <a:pt x="519" y="442"/>
                      <a:pt x="519" y="442"/>
                      <a:pt x="519" y="442"/>
                    </a:cubicBezTo>
                    <a:cubicBezTo>
                      <a:pt x="526" y="450"/>
                      <a:pt x="535" y="458"/>
                      <a:pt x="545" y="458"/>
                    </a:cubicBezTo>
                    <a:cubicBezTo>
                      <a:pt x="559" y="458"/>
                      <a:pt x="580" y="448"/>
                      <a:pt x="580" y="438"/>
                    </a:cubicBezTo>
                    <a:cubicBezTo>
                      <a:pt x="580" y="433"/>
                      <a:pt x="576" y="428"/>
                      <a:pt x="570" y="421"/>
                    </a:cubicBezTo>
                    <a:cubicBezTo>
                      <a:pt x="411" y="245"/>
                      <a:pt x="411" y="245"/>
                      <a:pt x="411" y="245"/>
                    </a:cubicBezTo>
                    <a:cubicBezTo>
                      <a:pt x="403" y="236"/>
                      <a:pt x="399" y="232"/>
                      <a:pt x="399" y="229"/>
                    </a:cubicBezTo>
                    <a:cubicBezTo>
                      <a:pt x="399" y="226"/>
                      <a:pt x="403" y="222"/>
                      <a:pt x="411" y="213"/>
                    </a:cubicBezTo>
                    <a:moveTo>
                      <a:pt x="252" y="439"/>
                    </a:moveTo>
                    <a:cubicBezTo>
                      <a:pt x="252" y="449"/>
                      <a:pt x="261" y="454"/>
                      <a:pt x="281" y="454"/>
                    </a:cubicBezTo>
                    <a:cubicBezTo>
                      <a:pt x="300" y="454"/>
                      <a:pt x="309" y="449"/>
                      <a:pt x="309" y="439"/>
                    </a:cubicBezTo>
                    <a:cubicBezTo>
                      <a:pt x="309" y="19"/>
                      <a:pt x="309" y="19"/>
                      <a:pt x="309" y="19"/>
                    </a:cubicBezTo>
                    <a:cubicBezTo>
                      <a:pt x="309" y="9"/>
                      <a:pt x="300" y="4"/>
                      <a:pt x="281" y="4"/>
                    </a:cubicBezTo>
                    <a:cubicBezTo>
                      <a:pt x="261" y="4"/>
                      <a:pt x="252" y="9"/>
                      <a:pt x="252" y="19"/>
                    </a:cubicBezTo>
                    <a:lnTo>
                      <a:pt x="252" y="439"/>
                    </a:lnTo>
                    <a:close/>
                    <a:moveTo>
                      <a:pt x="0" y="439"/>
                    </a:moveTo>
                    <a:cubicBezTo>
                      <a:pt x="0" y="449"/>
                      <a:pt x="8" y="454"/>
                      <a:pt x="28" y="454"/>
                    </a:cubicBezTo>
                    <a:cubicBezTo>
                      <a:pt x="48" y="454"/>
                      <a:pt x="56" y="449"/>
                      <a:pt x="56" y="439"/>
                    </a:cubicBezTo>
                    <a:cubicBezTo>
                      <a:pt x="56" y="157"/>
                      <a:pt x="56" y="157"/>
                      <a:pt x="56" y="157"/>
                    </a:cubicBezTo>
                    <a:cubicBezTo>
                      <a:pt x="56" y="83"/>
                      <a:pt x="85" y="53"/>
                      <a:pt x="165" y="53"/>
                    </a:cubicBezTo>
                    <a:cubicBezTo>
                      <a:pt x="180" y="53"/>
                      <a:pt x="180" y="53"/>
                      <a:pt x="180" y="53"/>
                    </a:cubicBezTo>
                    <a:cubicBezTo>
                      <a:pt x="192" y="53"/>
                      <a:pt x="196" y="43"/>
                      <a:pt x="196" y="27"/>
                    </a:cubicBezTo>
                    <a:cubicBezTo>
                      <a:pt x="196" y="8"/>
                      <a:pt x="185" y="4"/>
                      <a:pt x="154" y="4"/>
                    </a:cubicBezTo>
                    <a:cubicBezTo>
                      <a:pt x="64" y="4"/>
                      <a:pt x="0" y="43"/>
                      <a:pt x="0" y="152"/>
                    </a:cubicBezTo>
                    <a:lnTo>
                      <a:pt x="0" y="43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0" dirty="0"/>
              </a:p>
            </p:txBody>
          </p:sp>
          <p:sp>
            <p:nvSpPr>
              <p:cNvPr id="22" name="Freeform 7">
                <a:extLst>
                  <a:ext uri="{FF2B5EF4-FFF2-40B4-BE49-F238E27FC236}">
                    <a16:creationId xmlns:a16="http://schemas.microsoft.com/office/drawing/2014/main" id="{2F32DCBD-8628-F245-85CD-97686A20ECFD}"/>
                  </a:ext>
                </a:extLst>
              </p:cNvPr>
              <p:cNvSpPr>
                <a:spLocks/>
              </p:cNvSpPr>
              <p:nvPr/>
            </p:nvSpPr>
            <p:spPr bwMode="gray">
              <a:xfrm>
                <a:off x="2880" y="1704"/>
                <a:ext cx="618" cy="916"/>
              </a:xfrm>
              <a:custGeom>
                <a:avLst/>
                <a:gdLst>
                  <a:gd name="T0" fmla="*/ 307 w 307"/>
                  <a:gd name="T1" fmla="*/ 405 h 455"/>
                  <a:gd name="T2" fmla="*/ 307 w 307"/>
                  <a:gd name="T3" fmla="*/ 244 h 455"/>
                  <a:gd name="T4" fmla="*/ 279 w 307"/>
                  <a:gd name="T5" fmla="*/ 229 h 455"/>
                  <a:gd name="T6" fmla="*/ 250 w 307"/>
                  <a:gd name="T7" fmla="*/ 244 h 455"/>
                  <a:gd name="T8" fmla="*/ 250 w 307"/>
                  <a:gd name="T9" fmla="*/ 378 h 455"/>
                  <a:gd name="T10" fmla="*/ 199 w 307"/>
                  <a:gd name="T11" fmla="*/ 408 h 455"/>
                  <a:gd name="T12" fmla="*/ 61 w 307"/>
                  <a:gd name="T13" fmla="*/ 231 h 455"/>
                  <a:gd name="T14" fmla="*/ 238 w 307"/>
                  <a:gd name="T15" fmla="*/ 49 h 455"/>
                  <a:gd name="T16" fmla="*/ 270 w 307"/>
                  <a:gd name="T17" fmla="*/ 49 h 455"/>
                  <a:gd name="T18" fmla="*/ 286 w 307"/>
                  <a:gd name="T19" fmla="*/ 23 h 455"/>
                  <a:gd name="T20" fmla="*/ 244 w 307"/>
                  <a:gd name="T21" fmla="*/ 0 h 455"/>
                  <a:gd name="T22" fmla="*/ 231 w 307"/>
                  <a:gd name="T23" fmla="*/ 0 h 455"/>
                  <a:gd name="T24" fmla="*/ 0 w 307"/>
                  <a:gd name="T25" fmla="*/ 232 h 455"/>
                  <a:gd name="T26" fmla="*/ 198 w 307"/>
                  <a:gd name="T27" fmla="*/ 455 h 455"/>
                  <a:gd name="T28" fmla="*/ 307 w 307"/>
                  <a:gd name="T29" fmla="*/ 405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7" h="455">
                    <a:moveTo>
                      <a:pt x="307" y="405"/>
                    </a:moveTo>
                    <a:cubicBezTo>
                      <a:pt x="307" y="244"/>
                      <a:pt x="307" y="244"/>
                      <a:pt x="307" y="244"/>
                    </a:cubicBezTo>
                    <a:cubicBezTo>
                      <a:pt x="307" y="234"/>
                      <a:pt x="298" y="229"/>
                      <a:pt x="279" y="229"/>
                    </a:cubicBezTo>
                    <a:cubicBezTo>
                      <a:pt x="259" y="229"/>
                      <a:pt x="250" y="234"/>
                      <a:pt x="250" y="244"/>
                    </a:cubicBezTo>
                    <a:cubicBezTo>
                      <a:pt x="250" y="378"/>
                      <a:pt x="250" y="378"/>
                      <a:pt x="250" y="378"/>
                    </a:cubicBezTo>
                    <a:cubicBezTo>
                      <a:pt x="250" y="399"/>
                      <a:pt x="241" y="408"/>
                      <a:pt x="199" y="408"/>
                    </a:cubicBezTo>
                    <a:cubicBezTo>
                      <a:pt x="114" y="408"/>
                      <a:pt x="61" y="342"/>
                      <a:pt x="61" y="231"/>
                    </a:cubicBezTo>
                    <a:cubicBezTo>
                      <a:pt x="61" y="115"/>
                      <a:pt x="126" y="49"/>
                      <a:pt x="238" y="49"/>
                    </a:cubicBezTo>
                    <a:cubicBezTo>
                      <a:pt x="270" y="49"/>
                      <a:pt x="270" y="49"/>
                      <a:pt x="270" y="49"/>
                    </a:cubicBezTo>
                    <a:cubicBezTo>
                      <a:pt x="282" y="49"/>
                      <a:pt x="286" y="39"/>
                      <a:pt x="286" y="23"/>
                    </a:cubicBezTo>
                    <a:cubicBezTo>
                      <a:pt x="286" y="4"/>
                      <a:pt x="275" y="0"/>
                      <a:pt x="244" y="0"/>
                    </a:cubicBezTo>
                    <a:cubicBezTo>
                      <a:pt x="231" y="0"/>
                      <a:pt x="231" y="0"/>
                      <a:pt x="231" y="0"/>
                    </a:cubicBezTo>
                    <a:cubicBezTo>
                      <a:pt x="101" y="0"/>
                      <a:pt x="0" y="71"/>
                      <a:pt x="0" y="232"/>
                    </a:cubicBezTo>
                    <a:cubicBezTo>
                      <a:pt x="0" y="386"/>
                      <a:pt x="88" y="455"/>
                      <a:pt x="198" y="455"/>
                    </a:cubicBezTo>
                    <a:cubicBezTo>
                      <a:pt x="286" y="455"/>
                      <a:pt x="307" y="430"/>
                      <a:pt x="307" y="40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0" dirty="0"/>
              </a:p>
            </p:txBody>
          </p:sp>
          <p:sp>
            <p:nvSpPr>
              <p:cNvPr id="23" name="Oval 8">
                <a:extLst>
                  <a:ext uri="{FF2B5EF4-FFF2-40B4-BE49-F238E27FC236}">
                    <a16:creationId xmlns:a16="http://schemas.microsoft.com/office/drawing/2014/main" id="{60D97C11-1A3B-5449-A48D-98A3E79B3810}"/>
                  </a:ext>
                </a:extLst>
              </p:cNvPr>
              <p:cNvSpPr>
                <a:spLocks noChangeArrowheads="1"/>
              </p:cNvSpPr>
              <p:nvPr/>
            </p:nvSpPr>
            <p:spPr bwMode="gray">
              <a:xfrm>
                <a:off x="3778" y="2099"/>
                <a:ext cx="122" cy="12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0" dirty="0"/>
              </a:p>
            </p:txBody>
          </p:sp>
          <p:sp>
            <p:nvSpPr>
              <p:cNvPr id="24" name="Freeform 9">
                <a:extLst>
                  <a:ext uri="{FF2B5EF4-FFF2-40B4-BE49-F238E27FC236}">
                    <a16:creationId xmlns:a16="http://schemas.microsoft.com/office/drawing/2014/main" id="{5856770D-B8F0-244E-A05D-AED190086F10}"/>
                  </a:ext>
                </a:extLst>
              </p:cNvPr>
              <p:cNvSpPr>
                <a:spLocks noEditPoints="1"/>
              </p:cNvSpPr>
              <p:nvPr/>
            </p:nvSpPr>
            <p:spPr bwMode="gray">
              <a:xfrm>
                <a:off x="3623" y="1696"/>
                <a:ext cx="1167" cy="922"/>
              </a:xfrm>
              <a:custGeom>
                <a:avLst/>
                <a:gdLst>
                  <a:gd name="T0" fmla="*/ 411 w 580"/>
                  <a:gd name="T1" fmla="*/ 213 h 458"/>
                  <a:gd name="T2" fmla="*/ 570 w 580"/>
                  <a:gd name="T3" fmla="*/ 37 h 458"/>
                  <a:gd name="T4" fmla="*/ 580 w 580"/>
                  <a:gd name="T5" fmla="*/ 20 h 458"/>
                  <a:gd name="T6" fmla="*/ 545 w 580"/>
                  <a:gd name="T7" fmla="*/ 0 h 458"/>
                  <a:gd name="T8" fmla="*/ 519 w 580"/>
                  <a:gd name="T9" fmla="*/ 16 h 458"/>
                  <a:gd name="T10" fmla="*/ 344 w 580"/>
                  <a:gd name="T11" fmla="*/ 210 h 458"/>
                  <a:gd name="T12" fmla="*/ 334 w 580"/>
                  <a:gd name="T13" fmla="*/ 229 h 458"/>
                  <a:gd name="T14" fmla="*/ 344 w 580"/>
                  <a:gd name="T15" fmla="*/ 248 h 458"/>
                  <a:gd name="T16" fmla="*/ 519 w 580"/>
                  <a:gd name="T17" fmla="*/ 442 h 458"/>
                  <a:gd name="T18" fmla="*/ 545 w 580"/>
                  <a:gd name="T19" fmla="*/ 458 h 458"/>
                  <a:gd name="T20" fmla="*/ 580 w 580"/>
                  <a:gd name="T21" fmla="*/ 438 h 458"/>
                  <a:gd name="T22" fmla="*/ 570 w 580"/>
                  <a:gd name="T23" fmla="*/ 421 h 458"/>
                  <a:gd name="T24" fmla="*/ 411 w 580"/>
                  <a:gd name="T25" fmla="*/ 245 h 458"/>
                  <a:gd name="T26" fmla="*/ 399 w 580"/>
                  <a:gd name="T27" fmla="*/ 229 h 458"/>
                  <a:gd name="T28" fmla="*/ 411 w 580"/>
                  <a:gd name="T29" fmla="*/ 213 h 458"/>
                  <a:gd name="T30" fmla="*/ 252 w 580"/>
                  <a:gd name="T31" fmla="*/ 439 h 458"/>
                  <a:gd name="T32" fmla="*/ 281 w 580"/>
                  <a:gd name="T33" fmla="*/ 454 h 458"/>
                  <a:gd name="T34" fmla="*/ 309 w 580"/>
                  <a:gd name="T35" fmla="*/ 439 h 458"/>
                  <a:gd name="T36" fmla="*/ 309 w 580"/>
                  <a:gd name="T37" fmla="*/ 19 h 458"/>
                  <a:gd name="T38" fmla="*/ 281 w 580"/>
                  <a:gd name="T39" fmla="*/ 4 h 458"/>
                  <a:gd name="T40" fmla="*/ 252 w 580"/>
                  <a:gd name="T41" fmla="*/ 19 h 458"/>
                  <a:gd name="T42" fmla="*/ 252 w 580"/>
                  <a:gd name="T43" fmla="*/ 439 h 458"/>
                  <a:gd name="T44" fmla="*/ 0 w 580"/>
                  <a:gd name="T45" fmla="*/ 439 h 458"/>
                  <a:gd name="T46" fmla="*/ 28 w 580"/>
                  <a:gd name="T47" fmla="*/ 454 h 458"/>
                  <a:gd name="T48" fmla="*/ 56 w 580"/>
                  <a:gd name="T49" fmla="*/ 439 h 458"/>
                  <a:gd name="T50" fmla="*/ 56 w 580"/>
                  <a:gd name="T51" fmla="*/ 157 h 458"/>
                  <a:gd name="T52" fmla="*/ 165 w 580"/>
                  <a:gd name="T53" fmla="*/ 53 h 458"/>
                  <a:gd name="T54" fmla="*/ 180 w 580"/>
                  <a:gd name="T55" fmla="*/ 53 h 458"/>
                  <a:gd name="T56" fmla="*/ 196 w 580"/>
                  <a:gd name="T57" fmla="*/ 27 h 458"/>
                  <a:gd name="T58" fmla="*/ 154 w 580"/>
                  <a:gd name="T59" fmla="*/ 4 h 458"/>
                  <a:gd name="T60" fmla="*/ 0 w 580"/>
                  <a:gd name="T61" fmla="*/ 152 h 458"/>
                  <a:gd name="T62" fmla="*/ 0 w 580"/>
                  <a:gd name="T63" fmla="*/ 439 h 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80" h="458">
                    <a:moveTo>
                      <a:pt x="411" y="213"/>
                    </a:moveTo>
                    <a:cubicBezTo>
                      <a:pt x="570" y="37"/>
                      <a:pt x="570" y="37"/>
                      <a:pt x="570" y="37"/>
                    </a:cubicBezTo>
                    <a:cubicBezTo>
                      <a:pt x="576" y="30"/>
                      <a:pt x="580" y="25"/>
                      <a:pt x="580" y="20"/>
                    </a:cubicBezTo>
                    <a:cubicBezTo>
                      <a:pt x="580" y="10"/>
                      <a:pt x="559" y="0"/>
                      <a:pt x="545" y="0"/>
                    </a:cubicBezTo>
                    <a:cubicBezTo>
                      <a:pt x="535" y="0"/>
                      <a:pt x="526" y="8"/>
                      <a:pt x="519" y="16"/>
                    </a:cubicBezTo>
                    <a:cubicBezTo>
                      <a:pt x="344" y="210"/>
                      <a:pt x="344" y="210"/>
                      <a:pt x="344" y="210"/>
                    </a:cubicBezTo>
                    <a:cubicBezTo>
                      <a:pt x="336" y="219"/>
                      <a:pt x="334" y="224"/>
                      <a:pt x="334" y="229"/>
                    </a:cubicBezTo>
                    <a:cubicBezTo>
                      <a:pt x="334" y="234"/>
                      <a:pt x="336" y="239"/>
                      <a:pt x="344" y="248"/>
                    </a:cubicBezTo>
                    <a:cubicBezTo>
                      <a:pt x="519" y="442"/>
                      <a:pt x="519" y="442"/>
                      <a:pt x="519" y="442"/>
                    </a:cubicBezTo>
                    <a:cubicBezTo>
                      <a:pt x="526" y="450"/>
                      <a:pt x="535" y="458"/>
                      <a:pt x="545" y="458"/>
                    </a:cubicBezTo>
                    <a:cubicBezTo>
                      <a:pt x="559" y="458"/>
                      <a:pt x="580" y="448"/>
                      <a:pt x="580" y="438"/>
                    </a:cubicBezTo>
                    <a:cubicBezTo>
                      <a:pt x="580" y="433"/>
                      <a:pt x="576" y="428"/>
                      <a:pt x="570" y="421"/>
                    </a:cubicBezTo>
                    <a:cubicBezTo>
                      <a:pt x="411" y="245"/>
                      <a:pt x="411" y="245"/>
                      <a:pt x="411" y="245"/>
                    </a:cubicBezTo>
                    <a:cubicBezTo>
                      <a:pt x="403" y="236"/>
                      <a:pt x="399" y="232"/>
                      <a:pt x="399" y="229"/>
                    </a:cubicBezTo>
                    <a:cubicBezTo>
                      <a:pt x="399" y="226"/>
                      <a:pt x="403" y="222"/>
                      <a:pt x="411" y="213"/>
                    </a:cubicBezTo>
                    <a:moveTo>
                      <a:pt x="252" y="439"/>
                    </a:moveTo>
                    <a:cubicBezTo>
                      <a:pt x="252" y="449"/>
                      <a:pt x="261" y="454"/>
                      <a:pt x="281" y="454"/>
                    </a:cubicBezTo>
                    <a:cubicBezTo>
                      <a:pt x="300" y="454"/>
                      <a:pt x="309" y="449"/>
                      <a:pt x="309" y="439"/>
                    </a:cubicBezTo>
                    <a:cubicBezTo>
                      <a:pt x="309" y="19"/>
                      <a:pt x="309" y="19"/>
                      <a:pt x="309" y="19"/>
                    </a:cubicBezTo>
                    <a:cubicBezTo>
                      <a:pt x="309" y="9"/>
                      <a:pt x="300" y="4"/>
                      <a:pt x="281" y="4"/>
                    </a:cubicBezTo>
                    <a:cubicBezTo>
                      <a:pt x="261" y="4"/>
                      <a:pt x="252" y="9"/>
                      <a:pt x="252" y="19"/>
                    </a:cubicBezTo>
                    <a:lnTo>
                      <a:pt x="252" y="439"/>
                    </a:lnTo>
                    <a:close/>
                    <a:moveTo>
                      <a:pt x="0" y="439"/>
                    </a:moveTo>
                    <a:cubicBezTo>
                      <a:pt x="0" y="449"/>
                      <a:pt x="8" y="454"/>
                      <a:pt x="28" y="454"/>
                    </a:cubicBezTo>
                    <a:cubicBezTo>
                      <a:pt x="48" y="454"/>
                      <a:pt x="56" y="449"/>
                      <a:pt x="56" y="439"/>
                    </a:cubicBezTo>
                    <a:cubicBezTo>
                      <a:pt x="56" y="157"/>
                      <a:pt x="56" y="157"/>
                      <a:pt x="56" y="157"/>
                    </a:cubicBezTo>
                    <a:cubicBezTo>
                      <a:pt x="56" y="83"/>
                      <a:pt x="85" y="53"/>
                      <a:pt x="165" y="53"/>
                    </a:cubicBezTo>
                    <a:cubicBezTo>
                      <a:pt x="180" y="53"/>
                      <a:pt x="180" y="53"/>
                      <a:pt x="180" y="53"/>
                    </a:cubicBezTo>
                    <a:cubicBezTo>
                      <a:pt x="192" y="53"/>
                      <a:pt x="196" y="43"/>
                      <a:pt x="196" y="27"/>
                    </a:cubicBezTo>
                    <a:cubicBezTo>
                      <a:pt x="196" y="8"/>
                      <a:pt x="185" y="4"/>
                      <a:pt x="154" y="4"/>
                    </a:cubicBezTo>
                    <a:cubicBezTo>
                      <a:pt x="64" y="4"/>
                      <a:pt x="0" y="43"/>
                      <a:pt x="0" y="152"/>
                    </a:cubicBezTo>
                    <a:lnTo>
                      <a:pt x="0" y="43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0" dirty="0"/>
              </a:p>
            </p:txBody>
          </p:sp>
          <p:sp>
            <p:nvSpPr>
              <p:cNvPr id="25" name="Freeform 10">
                <a:extLst>
                  <a:ext uri="{FF2B5EF4-FFF2-40B4-BE49-F238E27FC236}">
                    <a16:creationId xmlns:a16="http://schemas.microsoft.com/office/drawing/2014/main" id="{2B91B16B-BC11-E547-8FAC-B9B8D18EA449}"/>
                  </a:ext>
                </a:extLst>
              </p:cNvPr>
              <p:cNvSpPr>
                <a:spLocks/>
              </p:cNvSpPr>
              <p:nvPr/>
            </p:nvSpPr>
            <p:spPr bwMode="gray">
              <a:xfrm>
                <a:off x="2880" y="1704"/>
                <a:ext cx="618" cy="916"/>
              </a:xfrm>
              <a:custGeom>
                <a:avLst/>
                <a:gdLst>
                  <a:gd name="T0" fmla="*/ 307 w 307"/>
                  <a:gd name="T1" fmla="*/ 405 h 455"/>
                  <a:gd name="T2" fmla="*/ 307 w 307"/>
                  <a:gd name="T3" fmla="*/ 244 h 455"/>
                  <a:gd name="T4" fmla="*/ 279 w 307"/>
                  <a:gd name="T5" fmla="*/ 229 h 455"/>
                  <a:gd name="T6" fmla="*/ 250 w 307"/>
                  <a:gd name="T7" fmla="*/ 244 h 455"/>
                  <a:gd name="T8" fmla="*/ 250 w 307"/>
                  <a:gd name="T9" fmla="*/ 378 h 455"/>
                  <a:gd name="T10" fmla="*/ 199 w 307"/>
                  <a:gd name="T11" fmla="*/ 408 h 455"/>
                  <a:gd name="T12" fmla="*/ 61 w 307"/>
                  <a:gd name="T13" fmla="*/ 231 h 455"/>
                  <a:gd name="T14" fmla="*/ 238 w 307"/>
                  <a:gd name="T15" fmla="*/ 49 h 455"/>
                  <a:gd name="T16" fmla="*/ 270 w 307"/>
                  <a:gd name="T17" fmla="*/ 49 h 455"/>
                  <a:gd name="T18" fmla="*/ 286 w 307"/>
                  <a:gd name="T19" fmla="*/ 23 h 455"/>
                  <a:gd name="T20" fmla="*/ 244 w 307"/>
                  <a:gd name="T21" fmla="*/ 0 h 455"/>
                  <a:gd name="T22" fmla="*/ 231 w 307"/>
                  <a:gd name="T23" fmla="*/ 0 h 455"/>
                  <a:gd name="T24" fmla="*/ 0 w 307"/>
                  <a:gd name="T25" fmla="*/ 232 h 455"/>
                  <a:gd name="T26" fmla="*/ 198 w 307"/>
                  <a:gd name="T27" fmla="*/ 455 h 455"/>
                  <a:gd name="T28" fmla="*/ 307 w 307"/>
                  <a:gd name="T29" fmla="*/ 405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7" h="455">
                    <a:moveTo>
                      <a:pt x="307" y="405"/>
                    </a:moveTo>
                    <a:cubicBezTo>
                      <a:pt x="307" y="244"/>
                      <a:pt x="307" y="244"/>
                      <a:pt x="307" y="244"/>
                    </a:cubicBezTo>
                    <a:cubicBezTo>
                      <a:pt x="307" y="234"/>
                      <a:pt x="298" y="229"/>
                      <a:pt x="279" y="229"/>
                    </a:cubicBezTo>
                    <a:cubicBezTo>
                      <a:pt x="259" y="229"/>
                      <a:pt x="250" y="234"/>
                      <a:pt x="250" y="244"/>
                    </a:cubicBezTo>
                    <a:cubicBezTo>
                      <a:pt x="250" y="378"/>
                      <a:pt x="250" y="378"/>
                      <a:pt x="250" y="378"/>
                    </a:cubicBezTo>
                    <a:cubicBezTo>
                      <a:pt x="250" y="399"/>
                      <a:pt x="241" y="408"/>
                      <a:pt x="199" y="408"/>
                    </a:cubicBezTo>
                    <a:cubicBezTo>
                      <a:pt x="114" y="408"/>
                      <a:pt x="61" y="342"/>
                      <a:pt x="61" y="231"/>
                    </a:cubicBezTo>
                    <a:cubicBezTo>
                      <a:pt x="61" y="115"/>
                      <a:pt x="126" y="49"/>
                      <a:pt x="238" y="49"/>
                    </a:cubicBezTo>
                    <a:cubicBezTo>
                      <a:pt x="270" y="49"/>
                      <a:pt x="270" y="49"/>
                      <a:pt x="270" y="49"/>
                    </a:cubicBezTo>
                    <a:cubicBezTo>
                      <a:pt x="282" y="49"/>
                      <a:pt x="286" y="39"/>
                      <a:pt x="286" y="23"/>
                    </a:cubicBezTo>
                    <a:cubicBezTo>
                      <a:pt x="286" y="4"/>
                      <a:pt x="275" y="0"/>
                      <a:pt x="244" y="0"/>
                    </a:cubicBezTo>
                    <a:cubicBezTo>
                      <a:pt x="231" y="0"/>
                      <a:pt x="231" y="0"/>
                      <a:pt x="231" y="0"/>
                    </a:cubicBezTo>
                    <a:cubicBezTo>
                      <a:pt x="101" y="0"/>
                      <a:pt x="0" y="71"/>
                      <a:pt x="0" y="232"/>
                    </a:cubicBezTo>
                    <a:cubicBezTo>
                      <a:pt x="0" y="386"/>
                      <a:pt x="88" y="455"/>
                      <a:pt x="198" y="455"/>
                    </a:cubicBezTo>
                    <a:cubicBezTo>
                      <a:pt x="286" y="455"/>
                      <a:pt x="307" y="430"/>
                      <a:pt x="307" y="40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0" dirty="0"/>
              </a:p>
            </p:txBody>
          </p:sp>
          <p:sp>
            <p:nvSpPr>
              <p:cNvPr id="26" name="Oval 11">
                <a:extLst>
                  <a:ext uri="{FF2B5EF4-FFF2-40B4-BE49-F238E27FC236}">
                    <a16:creationId xmlns:a16="http://schemas.microsoft.com/office/drawing/2014/main" id="{14F8C3C8-4888-7646-B9B4-64EB46A1DA23}"/>
                  </a:ext>
                </a:extLst>
              </p:cNvPr>
              <p:cNvSpPr>
                <a:spLocks noChangeArrowheads="1"/>
              </p:cNvSpPr>
              <p:nvPr/>
            </p:nvSpPr>
            <p:spPr bwMode="gray">
              <a:xfrm>
                <a:off x="3778" y="2099"/>
                <a:ext cx="122" cy="12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0" dirty="0"/>
              </a:p>
            </p:txBody>
          </p:sp>
          <p:sp>
            <p:nvSpPr>
              <p:cNvPr id="27" name="Freeform 12">
                <a:extLst>
                  <a:ext uri="{FF2B5EF4-FFF2-40B4-BE49-F238E27FC236}">
                    <a16:creationId xmlns:a16="http://schemas.microsoft.com/office/drawing/2014/main" id="{D79D01D1-4E3E-F34B-97D7-2D387E68746E}"/>
                  </a:ext>
                </a:extLst>
              </p:cNvPr>
              <p:cNvSpPr>
                <a:spLocks/>
              </p:cNvSpPr>
              <p:nvPr/>
            </p:nvSpPr>
            <p:spPr bwMode="gray">
              <a:xfrm>
                <a:off x="4321" y="1029"/>
                <a:ext cx="648" cy="649"/>
              </a:xfrm>
              <a:custGeom>
                <a:avLst/>
                <a:gdLst>
                  <a:gd name="T0" fmla="*/ 0 w 648"/>
                  <a:gd name="T1" fmla="*/ 649 h 649"/>
                  <a:gd name="T2" fmla="*/ 2 w 648"/>
                  <a:gd name="T3" fmla="*/ 649 h 649"/>
                  <a:gd name="T4" fmla="*/ 648 w 648"/>
                  <a:gd name="T5" fmla="*/ 0 h 649"/>
                  <a:gd name="T6" fmla="*/ 423 w 648"/>
                  <a:gd name="T7" fmla="*/ 0 h 649"/>
                  <a:gd name="T8" fmla="*/ 0 w 648"/>
                  <a:gd name="T9" fmla="*/ 649 h 649"/>
                </a:gdLst>
                <a:ahLst/>
                <a:cxnLst>
                  <a:cxn ang="0">
                    <a:pos x="T0" y="T1"/>
                  </a:cxn>
                  <a:cxn ang="0">
                    <a:pos x="T2" y="T3"/>
                  </a:cxn>
                  <a:cxn ang="0">
                    <a:pos x="T4" y="T5"/>
                  </a:cxn>
                  <a:cxn ang="0">
                    <a:pos x="T6" y="T7"/>
                  </a:cxn>
                  <a:cxn ang="0">
                    <a:pos x="T8" y="T9"/>
                  </a:cxn>
                </a:cxnLst>
                <a:rect l="0" t="0" r="r" b="b"/>
                <a:pathLst>
                  <a:path w="648" h="649">
                    <a:moveTo>
                      <a:pt x="0" y="649"/>
                    </a:moveTo>
                    <a:lnTo>
                      <a:pt x="2" y="649"/>
                    </a:lnTo>
                    <a:lnTo>
                      <a:pt x="648" y="0"/>
                    </a:lnTo>
                    <a:lnTo>
                      <a:pt x="423" y="0"/>
                    </a:lnTo>
                    <a:lnTo>
                      <a:pt x="0" y="64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0" dirty="0"/>
              </a:p>
            </p:txBody>
          </p:sp>
          <p:sp>
            <p:nvSpPr>
              <p:cNvPr id="28" name="Freeform 13">
                <a:extLst>
                  <a:ext uri="{FF2B5EF4-FFF2-40B4-BE49-F238E27FC236}">
                    <a16:creationId xmlns:a16="http://schemas.microsoft.com/office/drawing/2014/main" id="{46549898-6C52-B147-A8F6-A73FDBE6163B}"/>
                  </a:ext>
                </a:extLst>
              </p:cNvPr>
              <p:cNvSpPr>
                <a:spLocks/>
              </p:cNvSpPr>
              <p:nvPr/>
            </p:nvSpPr>
            <p:spPr bwMode="gray">
              <a:xfrm>
                <a:off x="4321" y="1029"/>
                <a:ext cx="648" cy="649"/>
              </a:xfrm>
              <a:custGeom>
                <a:avLst/>
                <a:gdLst>
                  <a:gd name="T0" fmla="*/ 0 w 648"/>
                  <a:gd name="T1" fmla="*/ 649 h 649"/>
                  <a:gd name="T2" fmla="*/ 2 w 648"/>
                  <a:gd name="T3" fmla="*/ 649 h 649"/>
                  <a:gd name="T4" fmla="*/ 648 w 648"/>
                  <a:gd name="T5" fmla="*/ 0 h 649"/>
                  <a:gd name="T6" fmla="*/ 423 w 648"/>
                  <a:gd name="T7" fmla="*/ 0 h 649"/>
                  <a:gd name="T8" fmla="*/ 0 w 648"/>
                  <a:gd name="T9" fmla="*/ 649 h 649"/>
                </a:gdLst>
                <a:ahLst/>
                <a:cxnLst>
                  <a:cxn ang="0">
                    <a:pos x="T0" y="T1"/>
                  </a:cxn>
                  <a:cxn ang="0">
                    <a:pos x="T2" y="T3"/>
                  </a:cxn>
                  <a:cxn ang="0">
                    <a:pos x="T4" y="T5"/>
                  </a:cxn>
                  <a:cxn ang="0">
                    <a:pos x="T6" y="T7"/>
                  </a:cxn>
                  <a:cxn ang="0">
                    <a:pos x="T8" y="T9"/>
                  </a:cxn>
                </a:cxnLst>
                <a:rect l="0" t="0" r="r" b="b"/>
                <a:pathLst>
                  <a:path w="648" h="649">
                    <a:moveTo>
                      <a:pt x="0" y="649"/>
                    </a:moveTo>
                    <a:lnTo>
                      <a:pt x="2" y="649"/>
                    </a:lnTo>
                    <a:lnTo>
                      <a:pt x="648" y="0"/>
                    </a:lnTo>
                    <a:lnTo>
                      <a:pt x="423" y="0"/>
                    </a:lnTo>
                    <a:lnTo>
                      <a:pt x="0" y="64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0" dirty="0"/>
              </a:p>
            </p:txBody>
          </p:sp>
        </p:grpSp>
      </p:grpSp>
      <p:sp>
        <p:nvSpPr>
          <p:cNvPr id="7" name="Date Placeholder 6"/>
          <p:cNvSpPr>
            <a:spLocks noGrp="1"/>
          </p:cNvSpPr>
          <p:nvPr>
            <p:ph type="dt" sz="half" idx="10"/>
          </p:nvPr>
        </p:nvSpPr>
        <p:spPr>
          <a:xfrm>
            <a:off x="0" y="0"/>
            <a:ext cx="0" cy="0"/>
          </a:xfrm>
          <a:prstGeom prst="rect">
            <a:avLst/>
          </a:prstGeom>
        </p:spPr>
        <p:txBody>
          <a:bodyPr/>
          <a:lstStyle>
            <a:lvl1pPr>
              <a:defRPr sz="133">
                <a:noFill/>
              </a:defRPr>
            </a:lvl1pPr>
          </a:lstStyle>
          <a:p>
            <a:fld id="{D6D08F88-38D2-4786-82D6-89211B05083D}" type="datetime5">
              <a:rPr lang="en-US" smtClean="0"/>
              <a:t>26-Jun-20</a:t>
            </a:fld>
            <a:endParaRPr lang="en-US" dirty="0"/>
          </a:p>
        </p:txBody>
      </p:sp>
      <p:sp>
        <p:nvSpPr>
          <p:cNvPr id="8" name="Footer Placeholder 7"/>
          <p:cNvSpPr>
            <a:spLocks noGrp="1"/>
          </p:cNvSpPr>
          <p:nvPr>
            <p:ph type="ftr" sz="quarter" idx="11"/>
          </p:nvPr>
        </p:nvSpPr>
        <p:spPr>
          <a:xfrm>
            <a:off x="0" y="0"/>
            <a:ext cx="0" cy="0"/>
          </a:xfrm>
          <a:prstGeom prst="rect">
            <a:avLst/>
          </a:prstGeom>
        </p:spPr>
        <p:txBody>
          <a:bodyPr/>
          <a:lstStyle>
            <a:lvl1pPr marL="0" indent="0">
              <a:buNone/>
              <a:defRPr sz="133">
                <a:noFill/>
              </a:defRPr>
            </a:lvl1pPr>
          </a:lstStyle>
          <a:p>
            <a:r>
              <a:rPr lang="en-US"/>
              <a:t>Title of presentation (Insert / Header &amp; Footer / Apply to All)</a:t>
            </a:r>
            <a:endParaRPr lang="en-US" dirty="0"/>
          </a:p>
        </p:txBody>
      </p:sp>
      <p:sp>
        <p:nvSpPr>
          <p:cNvPr id="9" name="Slide Number Placeholder 8"/>
          <p:cNvSpPr>
            <a:spLocks noGrp="1"/>
          </p:cNvSpPr>
          <p:nvPr>
            <p:ph type="sldNum" sz="quarter" idx="12"/>
          </p:nvPr>
        </p:nvSpPr>
        <p:spPr>
          <a:xfrm>
            <a:off x="0" y="0"/>
            <a:ext cx="0" cy="0"/>
          </a:xfrm>
          <a:prstGeom prst="rect">
            <a:avLst/>
          </a:prstGeom>
        </p:spPr>
        <p:txBody>
          <a:bodyPr/>
          <a:lstStyle>
            <a:lvl1pPr>
              <a:defRPr sz="133">
                <a:noFill/>
              </a:defRPr>
            </a:lvl1pPr>
          </a:lstStyle>
          <a:p>
            <a:fld id="{8E3B25F7-8D1F-44B5-B485-EE3C438CFD7B}" type="slidenum">
              <a:rPr lang="en-US" smtClean="0"/>
              <a:pPr/>
              <a:t>‹#›</a:t>
            </a:fld>
            <a:endParaRPr lang="en-US"/>
          </a:p>
        </p:txBody>
      </p:sp>
      <p:sp>
        <p:nvSpPr>
          <p:cNvPr id="2" name="Title 1"/>
          <p:cNvSpPr>
            <a:spLocks noGrp="1"/>
          </p:cNvSpPr>
          <p:nvPr>
            <p:ph type="ctrTitle" hasCustomPrompt="1"/>
          </p:nvPr>
        </p:nvSpPr>
        <p:spPr>
          <a:xfrm>
            <a:off x="417600" y="1628775"/>
            <a:ext cx="3816000" cy="2236264"/>
          </a:xfrm>
        </p:spPr>
        <p:txBody>
          <a:bodyPr anchor="b"/>
          <a:lstStyle>
            <a:lvl1pPr algn="l">
              <a:defRPr sz="3599"/>
            </a:lvl1pPr>
          </a:lstStyle>
          <a:p>
            <a:r>
              <a:rPr lang="en-US" dirty="0"/>
              <a:t>Click to add presentation title</a:t>
            </a:r>
          </a:p>
        </p:txBody>
      </p:sp>
      <p:sp>
        <p:nvSpPr>
          <p:cNvPr id="3" name="Subtitle 2"/>
          <p:cNvSpPr>
            <a:spLocks noGrp="1"/>
          </p:cNvSpPr>
          <p:nvPr>
            <p:ph type="subTitle" idx="1" hasCustomPrompt="1"/>
          </p:nvPr>
        </p:nvSpPr>
        <p:spPr>
          <a:xfrm>
            <a:off x="417600" y="4094163"/>
            <a:ext cx="3816000" cy="1080000"/>
          </a:xfrm>
        </p:spPr>
        <p:txBody>
          <a:bodyPr/>
          <a:lstStyle>
            <a:lvl1pPr marL="0" indent="0" algn="l">
              <a:spcBef>
                <a:spcPts val="0"/>
              </a:spcBef>
              <a:buNone/>
              <a:defRPr sz="1799" b="1"/>
            </a:lvl1pPr>
            <a:lvl2pPr marL="457051" indent="0" algn="ctr">
              <a:buNone/>
              <a:defRPr sz="1999"/>
            </a:lvl2pPr>
            <a:lvl3pPr marL="914103" indent="0" algn="ctr">
              <a:buNone/>
              <a:defRPr sz="1799"/>
            </a:lvl3pPr>
            <a:lvl4pPr marL="1371154" indent="0" algn="ctr">
              <a:buNone/>
              <a:defRPr sz="1599"/>
            </a:lvl4pPr>
            <a:lvl5pPr marL="1828206" indent="0" algn="ctr">
              <a:buNone/>
              <a:defRPr sz="1599"/>
            </a:lvl5pPr>
            <a:lvl6pPr marL="2285257" indent="0" algn="ctr">
              <a:buNone/>
              <a:defRPr sz="1599"/>
            </a:lvl6pPr>
            <a:lvl7pPr marL="2742308" indent="0" algn="ctr">
              <a:buNone/>
              <a:defRPr sz="1599"/>
            </a:lvl7pPr>
            <a:lvl8pPr marL="3199360" indent="0" algn="ctr">
              <a:buNone/>
              <a:defRPr sz="1599"/>
            </a:lvl8pPr>
            <a:lvl9pPr marL="3656411" indent="0" algn="ctr">
              <a:buNone/>
              <a:defRPr sz="1599"/>
            </a:lvl9pPr>
          </a:lstStyle>
          <a:p>
            <a:r>
              <a:rPr lang="en-US" dirty="0"/>
              <a:t>Click to add subtitle</a:t>
            </a:r>
          </a:p>
        </p:txBody>
      </p:sp>
      <p:sp>
        <p:nvSpPr>
          <p:cNvPr id="31" name="Text Placeholder 30"/>
          <p:cNvSpPr>
            <a:spLocks noGrp="1"/>
          </p:cNvSpPr>
          <p:nvPr>
            <p:ph type="body" sz="quarter" idx="14" hasCustomPrompt="1"/>
          </p:nvPr>
        </p:nvSpPr>
        <p:spPr>
          <a:xfrm>
            <a:off x="417600" y="5393268"/>
            <a:ext cx="3816000" cy="296333"/>
          </a:xfrm>
        </p:spPr>
        <p:txBody>
          <a:bodyPr wrap="none"/>
          <a:lstStyle>
            <a:lvl1pPr marL="0" indent="0">
              <a:spcBef>
                <a:spcPts val="0"/>
              </a:spcBef>
              <a:buNone/>
              <a:defRPr sz="1200"/>
            </a:lvl1pPr>
            <a:lvl2pPr marL="0" indent="0">
              <a:buNone/>
              <a:defRPr sz="1200"/>
            </a:lvl2pPr>
            <a:lvl3pPr marL="0" indent="0">
              <a:buNone/>
              <a:defRPr sz="1200"/>
            </a:lvl3pPr>
            <a:lvl4pPr marL="0">
              <a:buNone/>
              <a:defRPr sz="1200"/>
            </a:lvl4pPr>
            <a:lvl5pPr marL="0" indent="0">
              <a:buNone/>
              <a:defRPr sz="1200"/>
            </a:lvl5pPr>
          </a:lstStyle>
          <a:p>
            <a:pPr lvl="0"/>
            <a:r>
              <a:rPr lang="en-US" dirty="0"/>
              <a:t>Name</a:t>
            </a:r>
          </a:p>
        </p:txBody>
      </p:sp>
      <p:sp>
        <p:nvSpPr>
          <p:cNvPr id="34" name="Text Placeholder 30"/>
          <p:cNvSpPr>
            <a:spLocks noGrp="1"/>
          </p:cNvSpPr>
          <p:nvPr>
            <p:ph type="body" sz="quarter" idx="15" hasCustomPrompt="1"/>
          </p:nvPr>
        </p:nvSpPr>
        <p:spPr>
          <a:xfrm>
            <a:off x="417600" y="5691445"/>
            <a:ext cx="3816000" cy="296333"/>
          </a:xfrm>
        </p:spPr>
        <p:txBody>
          <a:bodyPr wrap="none"/>
          <a:lstStyle>
            <a:lvl1pPr marL="0" indent="0">
              <a:spcBef>
                <a:spcPts val="0"/>
              </a:spcBef>
              <a:buNone/>
              <a:defRPr sz="1200"/>
            </a:lvl1pPr>
            <a:lvl2pPr marL="0" indent="0">
              <a:buNone/>
              <a:defRPr sz="1200"/>
            </a:lvl2pPr>
            <a:lvl3pPr marL="0" indent="0">
              <a:buNone/>
              <a:defRPr sz="1200"/>
            </a:lvl3pPr>
            <a:lvl4pPr marL="0">
              <a:buNone/>
              <a:defRPr sz="1200"/>
            </a:lvl4pPr>
            <a:lvl5pPr marL="0" indent="0">
              <a:buNone/>
              <a:defRPr sz="1200"/>
            </a:lvl5pPr>
          </a:lstStyle>
          <a:p>
            <a:pPr lvl="0"/>
            <a:r>
              <a:rPr lang="en-US" dirty="0"/>
              <a:t>Department</a:t>
            </a:r>
          </a:p>
        </p:txBody>
      </p:sp>
    </p:spTree>
    <p:extLst>
      <p:ext uri="{BB962C8B-B14F-4D97-AF65-F5344CB8AC3E}">
        <p14:creationId xmlns:p14="http://schemas.microsoft.com/office/powerpoint/2010/main" val="1385267997"/>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p:cSld name="Divider 1">
    <p:spTree>
      <p:nvGrpSpPr>
        <p:cNvPr id="1" name=""/>
        <p:cNvGrpSpPr/>
        <p:nvPr/>
      </p:nvGrpSpPr>
      <p:grpSpPr>
        <a:xfrm>
          <a:off x="0" y="0"/>
          <a:ext cx="0" cy="0"/>
          <a:chOff x="0" y="0"/>
          <a:chExt cx="0" cy="0"/>
        </a:xfrm>
      </p:grpSpPr>
      <p:sp>
        <p:nvSpPr>
          <p:cNvPr id="12" name="Picture Placeholder 11"/>
          <p:cNvSpPr>
            <a:spLocks noGrp="1"/>
          </p:cNvSpPr>
          <p:nvPr>
            <p:ph type="pic" sz="quarter" idx="17" hasCustomPrompt="1"/>
          </p:nvPr>
        </p:nvSpPr>
        <p:spPr>
          <a:xfrm>
            <a:off x="-1" y="0"/>
            <a:ext cx="8822479" cy="6858000"/>
          </a:xfrm>
          <a:custGeom>
            <a:avLst/>
            <a:gdLst>
              <a:gd name="connsiteX0" fmla="*/ 0 w 8822478"/>
              <a:gd name="connsiteY0" fmla="*/ 0 h 6858000"/>
              <a:gd name="connsiteX1" fmla="*/ 8477306 w 8822478"/>
              <a:gd name="connsiteY1" fmla="*/ 0 h 6858000"/>
              <a:gd name="connsiteX2" fmla="*/ 6998505 w 8822478"/>
              <a:gd name="connsiteY2" fmla="*/ 3834029 h 6858000"/>
              <a:gd name="connsiteX3" fmla="*/ 8822478 w 8822478"/>
              <a:gd name="connsiteY3" fmla="*/ 6858000 h 6858000"/>
              <a:gd name="connsiteX4" fmla="*/ 0 w 8822478"/>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22478" h="6858000">
                <a:moveTo>
                  <a:pt x="0" y="0"/>
                </a:moveTo>
                <a:lnTo>
                  <a:pt x="8477306" y="0"/>
                </a:lnTo>
                <a:lnTo>
                  <a:pt x="6998505" y="3834029"/>
                </a:lnTo>
                <a:lnTo>
                  <a:pt x="8822478" y="6858000"/>
                </a:lnTo>
                <a:lnTo>
                  <a:pt x="0" y="6858000"/>
                </a:lnTo>
                <a:close/>
              </a:path>
            </a:pathLst>
          </a:custGeom>
          <a:solidFill>
            <a:srgbClr val="D9DADB"/>
          </a:solidFill>
        </p:spPr>
        <p:txBody>
          <a:bodyPr wrap="square">
            <a:noAutofit/>
          </a:bodyPr>
          <a:lstStyle>
            <a:lvl1pPr marL="0" indent="0">
              <a:buNone/>
              <a:defRPr/>
            </a:lvl1pPr>
          </a:lstStyle>
          <a:p>
            <a:r>
              <a:rPr lang="en-US" dirty="0"/>
              <a:t>Insert picture</a:t>
            </a:r>
          </a:p>
        </p:txBody>
      </p:sp>
      <p:sp>
        <p:nvSpPr>
          <p:cNvPr id="21" name="Date Placeholder 20"/>
          <p:cNvSpPr>
            <a:spLocks noGrp="1"/>
          </p:cNvSpPr>
          <p:nvPr>
            <p:ph type="dt" sz="half" idx="14"/>
          </p:nvPr>
        </p:nvSpPr>
        <p:spPr/>
        <p:txBody>
          <a:bodyPr/>
          <a:lstStyle>
            <a:lvl1pPr>
              <a:defRPr>
                <a:solidFill>
                  <a:schemeClr val="bg1"/>
                </a:solidFill>
              </a:defRPr>
            </a:lvl1pPr>
          </a:lstStyle>
          <a:p>
            <a:fld id="{4A274CF1-226C-4201-826C-EA56EA2B3C12}" type="datetime5">
              <a:rPr lang="en-US" smtClean="0"/>
              <a:t>26-Jun-20</a:t>
            </a:fld>
            <a:endParaRPr lang="en-US"/>
          </a:p>
        </p:txBody>
      </p:sp>
      <p:sp>
        <p:nvSpPr>
          <p:cNvPr id="22" name="Footer Placeholder 21"/>
          <p:cNvSpPr>
            <a:spLocks noGrp="1"/>
          </p:cNvSpPr>
          <p:nvPr>
            <p:ph type="ftr" sz="quarter" idx="15"/>
          </p:nvPr>
        </p:nvSpPr>
        <p:spPr/>
        <p:txBody>
          <a:bodyPr/>
          <a:lstStyle>
            <a:lvl1pPr>
              <a:defRPr>
                <a:solidFill>
                  <a:schemeClr val="bg1"/>
                </a:solidFill>
              </a:defRPr>
            </a:lvl1pPr>
          </a:lstStyle>
          <a:p>
            <a:r>
              <a:rPr lang="en-US"/>
              <a:t>Title of presentation (Insert / Header &amp; Footer / Apply to All)</a:t>
            </a:r>
            <a:endParaRPr lang="en-US" dirty="0"/>
          </a:p>
        </p:txBody>
      </p:sp>
      <p:sp>
        <p:nvSpPr>
          <p:cNvPr id="23" name="Slide Number Placeholder 22"/>
          <p:cNvSpPr>
            <a:spLocks noGrp="1"/>
          </p:cNvSpPr>
          <p:nvPr>
            <p:ph type="sldNum" sz="quarter" idx="16"/>
          </p:nvPr>
        </p:nvSpPr>
        <p:spPr/>
        <p:txBody>
          <a:bodyPr/>
          <a:lstStyle>
            <a:lvl1pPr>
              <a:defRPr>
                <a:solidFill>
                  <a:schemeClr val="tx1"/>
                </a:solidFill>
              </a:defRPr>
            </a:lvl1pPr>
          </a:lstStyle>
          <a:p>
            <a:fld id="{5F3E29E4-0979-4FCA-B4C5-5FC6044C982A}" type="slidenum">
              <a:rPr lang="en-US" smtClean="0"/>
              <a:pPr/>
              <a:t>‹#›</a:t>
            </a:fld>
            <a:endParaRPr lang="en-US"/>
          </a:p>
        </p:txBody>
      </p:sp>
      <p:sp>
        <p:nvSpPr>
          <p:cNvPr id="2" name="Title 1"/>
          <p:cNvSpPr>
            <a:spLocks noGrp="1"/>
          </p:cNvSpPr>
          <p:nvPr>
            <p:ph type="title" hasCustomPrompt="1"/>
          </p:nvPr>
        </p:nvSpPr>
        <p:spPr>
          <a:xfrm>
            <a:off x="7737533" y="2908629"/>
            <a:ext cx="4082992" cy="2103640"/>
          </a:xfrm>
        </p:spPr>
        <p:txBody>
          <a:bodyPr/>
          <a:lstStyle>
            <a:lvl1pPr>
              <a:defRPr>
                <a:solidFill>
                  <a:schemeClr val="tx1"/>
                </a:solidFill>
              </a:defRPr>
            </a:lvl1pPr>
          </a:lstStyle>
          <a:p>
            <a:r>
              <a:rPr lang="en-US" dirty="0"/>
              <a:t>Click to add section title</a:t>
            </a:r>
          </a:p>
        </p:txBody>
      </p:sp>
    </p:spTree>
    <p:extLst>
      <p:ext uri="{BB962C8B-B14F-4D97-AF65-F5344CB8AC3E}">
        <p14:creationId xmlns:p14="http://schemas.microsoft.com/office/powerpoint/2010/main" val="3676352978"/>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p:cSld name="Divider 2">
    <p:spTree>
      <p:nvGrpSpPr>
        <p:cNvPr id="1" name=""/>
        <p:cNvGrpSpPr/>
        <p:nvPr/>
      </p:nvGrpSpPr>
      <p:grpSpPr>
        <a:xfrm>
          <a:off x="0" y="0"/>
          <a:ext cx="0" cy="0"/>
          <a:chOff x="0" y="0"/>
          <a:chExt cx="0" cy="0"/>
        </a:xfrm>
      </p:grpSpPr>
      <p:sp>
        <p:nvSpPr>
          <p:cNvPr id="4" name="shp2"/>
          <p:cNvSpPr/>
          <p:nvPr/>
        </p:nvSpPr>
        <p:spPr>
          <a:xfrm>
            <a:off x="0" y="0"/>
            <a:ext cx="121932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799"/>
          </a:p>
        </p:txBody>
      </p:sp>
      <p:sp>
        <p:nvSpPr>
          <p:cNvPr id="21" name="Date Placeholder 20"/>
          <p:cNvSpPr>
            <a:spLocks noGrp="1"/>
          </p:cNvSpPr>
          <p:nvPr>
            <p:ph type="dt" sz="half" idx="14"/>
          </p:nvPr>
        </p:nvSpPr>
        <p:spPr bwMode="ltGray"/>
        <p:txBody>
          <a:bodyPr/>
          <a:lstStyle>
            <a:lvl1pPr>
              <a:defRPr>
                <a:solidFill>
                  <a:schemeClr val="bg1"/>
                </a:solidFill>
              </a:defRPr>
            </a:lvl1pPr>
          </a:lstStyle>
          <a:p>
            <a:fld id="{3869822F-F9F4-4987-AC88-332F892BB2CC}" type="datetime5">
              <a:rPr lang="en-US" smtClean="0"/>
              <a:t>26-Jun-20</a:t>
            </a:fld>
            <a:endParaRPr lang="en-US"/>
          </a:p>
        </p:txBody>
      </p:sp>
      <p:sp>
        <p:nvSpPr>
          <p:cNvPr id="22" name="Footer Placeholder 21"/>
          <p:cNvSpPr>
            <a:spLocks noGrp="1"/>
          </p:cNvSpPr>
          <p:nvPr>
            <p:ph type="ftr" sz="quarter" idx="15"/>
          </p:nvPr>
        </p:nvSpPr>
        <p:spPr bwMode="ltGray"/>
        <p:txBody>
          <a:bodyPr/>
          <a:lstStyle>
            <a:lvl1pPr>
              <a:defRPr>
                <a:solidFill>
                  <a:schemeClr val="bg1"/>
                </a:solidFill>
              </a:defRPr>
            </a:lvl1pPr>
          </a:lstStyle>
          <a:p>
            <a:r>
              <a:rPr lang="en-US"/>
              <a:t>Title of presentation (Insert / Header &amp; Footer / Apply to All)</a:t>
            </a:r>
            <a:endParaRPr lang="en-US" dirty="0"/>
          </a:p>
        </p:txBody>
      </p:sp>
      <p:sp>
        <p:nvSpPr>
          <p:cNvPr id="23" name="Slide Number Placeholder 22"/>
          <p:cNvSpPr>
            <a:spLocks noGrp="1"/>
          </p:cNvSpPr>
          <p:nvPr>
            <p:ph type="sldNum" sz="quarter" idx="16"/>
          </p:nvPr>
        </p:nvSpPr>
        <p:spPr bwMode="ltGray"/>
        <p:txBody>
          <a:bodyPr/>
          <a:lstStyle>
            <a:lvl1pPr>
              <a:defRPr>
                <a:solidFill>
                  <a:schemeClr val="bg1"/>
                </a:solidFill>
              </a:defRPr>
            </a:lvl1pPr>
          </a:lstStyle>
          <a:p>
            <a:fld id="{5F3E29E4-0979-4FCA-B4C5-5FC6044C982A}" type="slidenum">
              <a:rPr lang="en-US" smtClean="0"/>
              <a:pPr/>
              <a:t>‹#›</a:t>
            </a:fld>
            <a:endParaRPr lang="en-US"/>
          </a:p>
        </p:txBody>
      </p:sp>
      <p:sp>
        <p:nvSpPr>
          <p:cNvPr id="8" name="copyright"/>
          <p:cNvSpPr txBox="1"/>
          <p:nvPr/>
        </p:nvSpPr>
        <p:spPr>
          <a:xfrm>
            <a:off x="10672210" y="6237289"/>
            <a:ext cx="500617" cy="358173"/>
          </a:xfrm>
          <a:prstGeom prst="rect">
            <a:avLst/>
          </a:prstGeom>
          <a:noFill/>
        </p:spPr>
        <p:txBody>
          <a:bodyPr wrap="none" lIns="0" tIns="0" rIns="0" bIns="0" rtlCol="0" anchor="b" anchorCtr="0">
            <a:noAutofit/>
          </a:bodyPr>
          <a:lstStyle/>
          <a:p>
            <a:pPr marL="0" indent="0" algn="r">
              <a:lnSpc>
                <a:spcPct val="125000"/>
              </a:lnSpc>
              <a:buClr>
                <a:schemeClr val="tx2"/>
              </a:buClr>
              <a:buFont typeface="Wingdings" panose="05000000000000000000" pitchFamily="2" charset="2"/>
              <a:buNone/>
            </a:pPr>
            <a:r>
              <a:rPr lang="en-US" sz="800" dirty="0">
                <a:solidFill>
                  <a:schemeClr val="bg1"/>
                </a:solidFill>
              </a:rPr>
              <a:t>© GfK</a:t>
            </a:r>
          </a:p>
        </p:txBody>
      </p:sp>
      <p:sp>
        <p:nvSpPr>
          <p:cNvPr id="2" name="Title 1"/>
          <p:cNvSpPr>
            <a:spLocks noGrp="1"/>
          </p:cNvSpPr>
          <p:nvPr>
            <p:ph type="title" hasCustomPrompt="1"/>
          </p:nvPr>
        </p:nvSpPr>
        <p:spPr bwMode="ltGray">
          <a:xfrm>
            <a:off x="1075063" y="1519553"/>
            <a:ext cx="10097763" cy="2273172"/>
          </a:xfrm>
        </p:spPr>
        <p:txBody>
          <a:bodyPr/>
          <a:lstStyle>
            <a:lvl1pPr>
              <a:defRPr>
                <a:solidFill>
                  <a:schemeClr val="bg1"/>
                </a:solidFill>
              </a:defRPr>
            </a:lvl1pPr>
          </a:lstStyle>
          <a:p>
            <a:r>
              <a:rPr lang="en-US" dirty="0"/>
              <a:t>Click to add section title</a:t>
            </a:r>
          </a:p>
        </p:txBody>
      </p:sp>
      <p:grpSp>
        <p:nvGrpSpPr>
          <p:cNvPr id="9" name="logo">
            <a:extLst>
              <a:ext uri="{FF2B5EF4-FFF2-40B4-BE49-F238E27FC236}">
                <a16:creationId xmlns:a16="http://schemas.microsoft.com/office/drawing/2014/main" id="{57BD2C4C-DC67-B843-B26C-309622FC75F7}"/>
              </a:ext>
            </a:extLst>
          </p:cNvPr>
          <p:cNvGrpSpPr>
            <a:grpSpLocks noChangeAspect="1"/>
          </p:cNvGrpSpPr>
          <p:nvPr/>
        </p:nvGrpSpPr>
        <p:grpSpPr bwMode="gray">
          <a:xfrm>
            <a:off x="11174020" y="401441"/>
            <a:ext cx="644225" cy="646507"/>
            <a:chOff x="2711" y="1027"/>
            <a:chExt cx="2258" cy="2266"/>
          </a:xfrm>
        </p:grpSpPr>
        <p:sp>
          <p:nvSpPr>
            <p:cNvPr id="11" name="AutoShape 3">
              <a:extLst>
                <a:ext uri="{FF2B5EF4-FFF2-40B4-BE49-F238E27FC236}">
                  <a16:creationId xmlns:a16="http://schemas.microsoft.com/office/drawing/2014/main" id="{FE1DC41B-291E-574C-9F2C-874E70A40758}"/>
                </a:ext>
              </a:extLst>
            </p:cNvPr>
            <p:cNvSpPr>
              <a:spLocks noChangeAspect="1" noChangeArrowheads="1" noTextEdit="1"/>
            </p:cNvSpPr>
            <p:nvPr/>
          </p:nvSpPr>
          <p:spPr bwMode="gray">
            <a:xfrm>
              <a:off x="2711" y="1027"/>
              <a:ext cx="2258" cy="22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sz="1350" dirty="0"/>
            </a:p>
          </p:txBody>
        </p:sp>
        <p:sp>
          <p:nvSpPr>
            <p:cNvPr id="12" name="Freeform 5">
              <a:extLst>
                <a:ext uri="{FF2B5EF4-FFF2-40B4-BE49-F238E27FC236}">
                  <a16:creationId xmlns:a16="http://schemas.microsoft.com/office/drawing/2014/main" id="{D4B633C8-F761-C54B-9BD2-EB59D49A2DBC}"/>
                </a:ext>
              </a:extLst>
            </p:cNvPr>
            <p:cNvSpPr>
              <a:spLocks/>
            </p:cNvSpPr>
            <p:nvPr/>
          </p:nvSpPr>
          <p:spPr bwMode="gray">
            <a:xfrm>
              <a:off x="2709" y="1029"/>
              <a:ext cx="2260" cy="2262"/>
            </a:xfrm>
            <a:custGeom>
              <a:avLst/>
              <a:gdLst>
                <a:gd name="T0" fmla="*/ 2260 w 2260"/>
                <a:gd name="T1" fmla="*/ 0 h 2262"/>
                <a:gd name="T2" fmla="*/ 1612 w 2260"/>
                <a:gd name="T3" fmla="*/ 649 h 2262"/>
                <a:gd name="T4" fmla="*/ 1612 w 2260"/>
                <a:gd name="T5" fmla="*/ 649 h 2262"/>
                <a:gd name="T6" fmla="*/ 2035 w 2260"/>
                <a:gd name="T7" fmla="*/ 0 h 2262"/>
                <a:gd name="T8" fmla="*/ 0 w 2260"/>
                <a:gd name="T9" fmla="*/ 0 h 2262"/>
                <a:gd name="T10" fmla="*/ 0 w 2260"/>
                <a:gd name="T11" fmla="*/ 2262 h 2262"/>
                <a:gd name="T12" fmla="*/ 2260 w 2260"/>
                <a:gd name="T13" fmla="*/ 2262 h 2262"/>
                <a:gd name="T14" fmla="*/ 2260 w 2260"/>
                <a:gd name="T15" fmla="*/ 0 h 2262"/>
                <a:gd name="T16" fmla="*/ 2260 w 2260"/>
                <a:gd name="T17" fmla="*/ 0 h 2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0" h="2262">
                  <a:moveTo>
                    <a:pt x="2260" y="0"/>
                  </a:moveTo>
                  <a:lnTo>
                    <a:pt x="1612" y="649"/>
                  </a:lnTo>
                  <a:lnTo>
                    <a:pt x="1612" y="649"/>
                  </a:lnTo>
                  <a:lnTo>
                    <a:pt x="2035" y="0"/>
                  </a:lnTo>
                  <a:lnTo>
                    <a:pt x="0" y="0"/>
                  </a:lnTo>
                  <a:lnTo>
                    <a:pt x="0" y="2262"/>
                  </a:lnTo>
                  <a:lnTo>
                    <a:pt x="2260" y="2262"/>
                  </a:lnTo>
                  <a:lnTo>
                    <a:pt x="2260" y="0"/>
                  </a:lnTo>
                  <a:lnTo>
                    <a:pt x="2260" y="0"/>
                  </a:lnTo>
                  <a:close/>
                </a:path>
              </a:pathLst>
            </a:custGeom>
            <a:solidFill>
              <a:srgbClr val="E55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0" dirty="0"/>
            </a:p>
          </p:txBody>
        </p:sp>
        <p:sp>
          <p:nvSpPr>
            <p:cNvPr id="13" name="Freeform 6">
              <a:extLst>
                <a:ext uri="{FF2B5EF4-FFF2-40B4-BE49-F238E27FC236}">
                  <a16:creationId xmlns:a16="http://schemas.microsoft.com/office/drawing/2014/main" id="{B16BAAE4-1A41-C843-9754-490F7A1E1270}"/>
                </a:ext>
              </a:extLst>
            </p:cNvPr>
            <p:cNvSpPr>
              <a:spLocks noEditPoints="1"/>
            </p:cNvSpPr>
            <p:nvPr/>
          </p:nvSpPr>
          <p:spPr bwMode="gray">
            <a:xfrm>
              <a:off x="3623" y="1696"/>
              <a:ext cx="1167" cy="922"/>
            </a:xfrm>
            <a:custGeom>
              <a:avLst/>
              <a:gdLst>
                <a:gd name="T0" fmla="*/ 411 w 580"/>
                <a:gd name="T1" fmla="*/ 213 h 458"/>
                <a:gd name="T2" fmla="*/ 570 w 580"/>
                <a:gd name="T3" fmla="*/ 37 h 458"/>
                <a:gd name="T4" fmla="*/ 580 w 580"/>
                <a:gd name="T5" fmla="*/ 20 h 458"/>
                <a:gd name="T6" fmla="*/ 545 w 580"/>
                <a:gd name="T7" fmla="*/ 0 h 458"/>
                <a:gd name="T8" fmla="*/ 519 w 580"/>
                <a:gd name="T9" fmla="*/ 16 h 458"/>
                <a:gd name="T10" fmla="*/ 344 w 580"/>
                <a:gd name="T11" fmla="*/ 210 h 458"/>
                <a:gd name="T12" fmla="*/ 334 w 580"/>
                <a:gd name="T13" fmla="*/ 229 h 458"/>
                <a:gd name="T14" fmla="*/ 344 w 580"/>
                <a:gd name="T15" fmla="*/ 248 h 458"/>
                <a:gd name="T16" fmla="*/ 519 w 580"/>
                <a:gd name="T17" fmla="*/ 442 h 458"/>
                <a:gd name="T18" fmla="*/ 545 w 580"/>
                <a:gd name="T19" fmla="*/ 458 h 458"/>
                <a:gd name="T20" fmla="*/ 580 w 580"/>
                <a:gd name="T21" fmla="*/ 438 h 458"/>
                <a:gd name="T22" fmla="*/ 570 w 580"/>
                <a:gd name="T23" fmla="*/ 421 h 458"/>
                <a:gd name="T24" fmla="*/ 411 w 580"/>
                <a:gd name="T25" fmla="*/ 245 h 458"/>
                <a:gd name="T26" fmla="*/ 399 w 580"/>
                <a:gd name="T27" fmla="*/ 229 h 458"/>
                <a:gd name="T28" fmla="*/ 411 w 580"/>
                <a:gd name="T29" fmla="*/ 213 h 458"/>
                <a:gd name="T30" fmla="*/ 252 w 580"/>
                <a:gd name="T31" fmla="*/ 439 h 458"/>
                <a:gd name="T32" fmla="*/ 281 w 580"/>
                <a:gd name="T33" fmla="*/ 454 h 458"/>
                <a:gd name="T34" fmla="*/ 309 w 580"/>
                <a:gd name="T35" fmla="*/ 439 h 458"/>
                <a:gd name="T36" fmla="*/ 309 w 580"/>
                <a:gd name="T37" fmla="*/ 19 h 458"/>
                <a:gd name="T38" fmla="*/ 281 w 580"/>
                <a:gd name="T39" fmla="*/ 4 h 458"/>
                <a:gd name="T40" fmla="*/ 252 w 580"/>
                <a:gd name="T41" fmla="*/ 19 h 458"/>
                <a:gd name="T42" fmla="*/ 252 w 580"/>
                <a:gd name="T43" fmla="*/ 439 h 458"/>
                <a:gd name="T44" fmla="*/ 0 w 580"/>
                <a:gd name="T45" fmla="*/ 439 h 458"/>
                <a:gd name="T46" fmla="*/ 28 w 580"/>
                <a:gd name="T47" fmla="*/ 454 h 458"/>
                <a:gd name="T48" fmla="*/ 56 w 580"/>
                <a:gd name="T49" fmla="*/ 439 h 458"/>
                <a:gd name="T50" fmla="*/ 56 w 580"/>
                <a:gd name="T51" fmla="*/ 157 h 458"/>
                <a:gd name="T52" fmla="*/ 165 w 580"/>
                <a:gd name="T53" fmla="*/ 53 h 458"/>
                <a:gd name="T54" fmla="*/ 180 w 580"/>
                <a:gd name="T55" fmla="*/ 53 h 458"/>
                <a:gd name="T56" fmla="*/ 196 w 580"/>
                <a:gd name="T57" fmla="*/ 27 h 458"/>
                <a:gd name="T58" fmla="*/ 154 w 580"/>
                <a:gd name="T59" fmla="*/ 4 h 458"/>
                <a:gd name="T60" fmla="*/ 0 w 580"/>
                <a:gd name="T61" fmla="*/ 152 h 458"/>
                <a:gd name="T62" fmla="*/ 0 w 580"/>
                <a:gd name="T63" fmla="*/ 439 h 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80" h="458">
                  <a:moveTo>
                    <a:pt x="411" y="213"/>
                  </a:moveTo>
                  <a:cubicBezTo>
                    <a:pt x="570" y="37"/>
                    <a:pt x="570" y="37"/>
                    <a:pt x="570" y="37"/>
                  </a:cubicBezTo>
                  <a:cubicBezTo>
                    <a:pt x="576" y="30"/>
                    <a:pt x="580" y="25"/>
                    <a:pt x="580" y="20"/>
                  </a:cubicBezTo>
                  <a:cubicBezTo>
                    <a:pt x="580" y="10"/>
                    <a:pt x="559" y="0"/>
                    <a:pt x="545" y="0"/>
                  </a:cubicBezTo>
                  <a:cubicBezTo>
                    <a:pt x="535" y="0"/>
                    <a:pt x="526" y="8"/>
                    <a:pt x="519" y="16"/>
                  </a:cubicBezTo>
                  <a:cubicBezTo>
                    <a:pt x="344" y="210"/>
                    <a:pt x="344" y="210"/>
                    <a:pt x="344" y="210"/>
                  </a:cubicBezTo>
                  <a:cubicBezTo>
                    <a:pt x="336" y="219"/>
                    <a:pt x="334" y="224"/>
                    <a:pt x="334" y="229"/>
                  </a:cubicBezTo>
                  <a:cubicBezTo>
                    <a:pt x="334" y="234"/>
                    <a:pt x="336" y="239"/>
                    <a:pt x="344" y="248"/>
                  </a:cubicBezTo>
                  <a:cubicBezTo>
                    <a:pt x="519" y="442"/>
                    <a:pt x="519" y="442"/>
                    <a:pt x="519" y="442"/>
                  </a:cubicBezTo>
                  <a:cubicBezTo>
                    <a:pt x="526" y="450"/>
                    <a:pt x="535" y="458"/>
                    <a:pt x="545" y="458"/>
                  </a:cubicBezTo>
                  <a:cubicBezTo>
                    <a:pt x="559" y="458"/>
                    <a:pt x="580" y="448"/>
                    <a:pt x="580" y="438"/>
                  </a:cubicBezTo>
                  <a:cubicBezTo>
                    <a:pt x="580" y="433"/>
                    <a:pt x="576" y="428"/>
                    <a:pt x="570" y="421"/>
                  </a:cubicBezTo>
                  <a:cubicBezTo>
                    <a:pt x="411" y="245"/>
                    <a:pt x="411" y="245"/>
                    <a:pt x="411" y="245"/>
                  </a:cubicBezTo>
                  <a:cubicBezTo>
                    <a:pt x="403" y="236"/>
                    <a:pt x="399" y="232"/>
                    <a:pt x="399" y="229"/>
                  </a:cubicBezTo>
                  <a:cubicBezTo>
                    <a:pt x="399" y="226"/>
                    <a:pt x="403" y="222"/>
                    <a:pt x="411" y="213"/>
                  </a:cubicBezTo>
                  <a:moveTo>
                    <a:pt x="252" y="439"/>
                  </a:moveTo>
                  <a:cubicBezTo>
                    <a:pt x="252" y="449"/>
                    <a:pt x="261" y="454"/>
                    <a:pt x="281" y="454"/>
                  </a:cubicBezTo>
                  <a:cubicBezTo>
                    <a:pt x="300" y="454"/>
                    <a:pt x="309" y="449"/>
                    <a:pt x="309" y="439"/>
                  </a:cubicBezTo>
                  <a:cubicBezTo>
                    <a:pt x="309" y="19"/>
                    <a:pt x="309" y="19"/>
                    <a:pt x="309" y="19"/>
                  </a:cubicBezTo>
                  <a:cubicBezTo>
                    <a:pt x="309" y="9"/>
                    <a:pt x="300" y="4"/>
                    <a:pt x="281" y="4"/>
                  </a:cubicBezTo>
                  <a:cubicBezTo>
                    <a:pt x="261" y="4"/>
                    <a:pt x="252" y="9"/>
                    <a:pt x="252" y="19"/>
                  </a:cubicBezTo>
                  <a:lnTo>
                    <a:pt x="252" y="439"/>
                  </a:lnTo>
                  <a:close/>
                  <a:moveTo>
                    <a:pt x="0" y="439"/>
                  </a:moveTo>
                  <a:cubicBezTo>
                    <a:pt x="0" y="449"/>
                    <a:pt x="8" y="454"/>
                    <a:pt x="28" y="454"/>
                  </a:cubicBezTo>
                  <a:cubicBezTo>
                    <a:pt x="48" y="454"/>
                    <a:pt x="56" y="449"/>
                    <a:pt x="56" y="439"/>
                  </a:cubicBezTo>
                  <a:cubicBezTo>
                    <a:pt x="56" y="157"/>
                    <a:pt x="56" y="157"/>
                    <a:pt x="56" y="157"/>
                  </a:cubicBezTo>
                  <a:cubicBezTo>
                    <a:pt x="56" y="83"/>
                    <a:pt x="85" y="53"/>
                    <a:pt x="165" y="53"/>
                  </a:cubicBezTo>
                  <a:cubicBezTo>
                    <a:pt x="180" y="53"/>
                    <a:pt x="180" y="53"/>
                    <a:pt x="180" y="53"/>
                  </a:cubicBezTo>
                  <a:cubicBezTo>
                    <a:pt x="192" y="53"/>
                    <a:pt x="196" y="43"/>
                    <a:pt x="196" y="27"/>
                  </a:cubicBezTo>
                  <a:cubicBezTo>
                    <a:pt x="196" y="8"/>
                    <a:pt x="185" y="4"/>
                    <a:pt x="154" y="4"/>
                  </a:cubicBezTo>
                  <a:cubicBezTo>
                    <a:pt x="64" y="4"/>
                    <a:pt x="0" y="43"/>
                    <a:pt x="0" y="152"/>
                  </a:cubicBezTo>
                  <a:lnTo>
                    <a:pt x="0" y="43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0" dirty="0"/>
            </a:p>
          </p:txBody>
        </p:sp>
        <p:sp>
          <p:nvSpPr>
            <p:cNvPr id="14" name="Freeform 7">
              <a:extLst>
                <a:ext uri="{FF2B5EF4-FFF2-40B4-BE49-F238E27FC236}">
                  <a16:creationId xmlns:a16="http://schemas.microsoft.com/office/drawing/2014/main" id="{2F32DCBD-8628-F245-85CD-97686A20ECFD}"/>
                </a:ext>
              </a:extLst>
            </p:cNvPr>
            <p:cNvSpPr>
              <a:spLocks/>
            </p:cNvSpPr>
            <p:nvPr/>
          </p:nvSpPr>
          <p:spPr bwMode="gray">
            <a:xfrm>
              <a:off x="2880" y="1704"/>
              <a:ext cx="618" cy="916"/>
            </a:xfrm>
            <a:custGeom>
              <a:avLst/>
              <a:gdLst>
                <a:gd name="T0" fmla="*/ 307 w 307"/>
                <a:gd name="T1" fmla="*/ 405 h 455"/>
                <a:gd name="T2" fmla="*/ 307 w 307"/>
                <a:gd name="T3" fmla="*/ 244 h 455"/>
                <a:gd name="T4" fmla="*/ 279 w 307"/>
                <a:gd name="T5" fmla="*/ 229 h 455"/>
                <a:gd name="T6" fmla="*/ 250 w 307"/>
                <a:gd name="T7" fmla="*/ 244 h 455"/>
                <a:gd name="T8" fmla="*/ 250 w 307"/>
                <a:gd name="T9" fmla="*/ 378 h 455"/>
                <a:gd name="T10" fmla="*/ 199 w 307"/>
                <a:gd name="T11" fmla="*/ 408 h 455"/>
                <a:gd name="T12" fmla="*/ 61 w 307"/>
                <a:gd name="T13" fmla="*/ 231 h 455"/>
                <a:gd name="T14" fmla="*/ 238 w 307"/>
                <a:gd name="T15" fmla="*/ 49 h 455"/>
                <a:gd name="T16" fmla="*/ 270 w 307"/>
                <a:gd name="T17" fmla="*/ 49 h 455"/>
                <a:gd name="T18" fmla="*/ 286 w 307"/>
                <a:gd name="T19" fmla="*/ 23 h 455"/>
                <a:gd name="T20" fmla="*/ 244 w 307"/>
                <a:gd name="T21" fmla="*/ 0 h 455"/>
                <a:gd name="T22" fmla="*/ 231 w 307"/>
                <a:gd name="T23" fmla="*/ 0 h 455"/>
                <a:gd name="T24" fmla="*/ 0 w 307"/>
                <a:gd name="T25" fmla="*/ 232 h 455"/>
                <a:gd name="T26" fmla="*/ 198 w 307"/>
                <a:gd name="T27" fmla="*/ 455 h 455"/>
                <a:gd name="T28" fmla="*/ 307 w 307"/>
                <a:gd name="T29" fmla="*/ 405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7" h="455">
                  <a:moveTo>
                    <a:pt x="307" y="405"/>
                  </a:moveTo>
                  <a:cubicBezTo>
                    <a:pt x="307" y="244"/>
                    <a:pt x="307" y="244"/>
                    <a:pt x="307" y="244"/>
                  </a:cubicBezTo>
                  <a:cubicBezTo>
                    <a:pt x="307" y="234"/>
                    <a:pt x="298" y="229"/>
                    <a:pt x="279" y="229"/>
                  </a:cubicBezTo>
                  <a:cubicBezTo>
                    <a:pt x="259" y="229"/>
                    <a:pt x="250" y="234"/>
                    <a:pt x="250" y="244"/>
                  </a:cubicBezTo>
                  <a:cubicBezTo>
                    <a:pt x="250" y="378"/>
                    <a:pt x="250" y="378"/>
                    <a:pt x="250" y="378"/>
                  </a:cubicBezTo>
                  <a:cubicBezTo>
                    <a:pt x="250" y="399"/>
                    <a:pt x="241" y="408"/>
                    <a:pt x="199" y="408"/>
                  </a:cubicBezTo>
                  <a:cubicBezTo>
                    <a:pt x="114" y="408"/>
                    <a:pt x="61" y="342"/>
                    <a:pt x="61" y="231"/>
                  </a:cubicBezTo>
                  <a:cubicBezTo>
                    <a:pt x="61" y="115"/>
                    <a:pt x="126" y="49"/>
                    <a:pt x="238" y="49"/>
                  </a:cubicBezTo>
                  <a:cubicBezTo>
                    <a:pt x="270" y="49"/>
                    <a:pt x="270" y="49"/>
                    <a:pt x="270" y="49"/>
                  </a:cubicBezTo>
                  <a:cubicBezTo>
                    <a:pt x="282" y="49"/>
                    <a:pt x="286" y="39"/>
                    <a:pt x="286" y="23"/>
                  </a:cubicBezTo>
                  <a:cubicBezTo>
                    <a:pt x="286" y="4"/>
                    <a:pt x="275" y="0"/>
                    <a:pt x="244" y="0"/>
                  </a:cubicBezTo>
                  <a:cubicBezTo>
                    <a:pt x="231" y="0"/>
                    <a:pt x="231" y="0"/>
                    <a:pt x="231" y="0"/>
                  </a:cubicBezTo>
                  <a:cubicBezTo>
                    <a:pt x="101" y="0"/>
                    <a:pt x="0" y="71"/>
                    <a:pt x="0" y="232"/>
                  </a:cubicBezTo>
                  <a:cubicBezTo>
                    <a:pt x="0" y="386"/>
                    <a:pt x="88" y="455"/>
                    <a:pt x="198" y="455"/>
                  </a:cubicBezTo>
                  <a:cubicBezTo>
                    <a:pt x="286" y="455"/>
                    <a:pt x="307" y="430"/>
                    <a:pt x="307" y="40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0" dirty="0"/>
            </a:p>
          </p:txBody>
        </p:sp>
        <p:sp>
          <p:nvSpPr>
            <p:cNvPr id="15" name="Oval 8">
              <a:extLst>
                <a:ext uri="{FF2B5EF4-FFF2-40B4-BE49-F238E27FC236}">
                  <a16:creationId xmlns:a16="http://schemas.microsoft.com/office/drawing/2014/main" id="{60D97C11-1A3B-5449-A48D-98A3E79B3810}"/>
                </a:ext>
              </a:extLst>
            </p:cNvPr>
            <p:cNvSpPr>
              <a:spLocks noChangeArrowheads="1"/>
            </p:cNvSpPr>
            <p:nvPr/>
          </p:nvSpPr>
          <p:spPr bwMode="gray">
            <a:xfrm>
              <a:off x="3778" y="2099"/>
              <a:ext cx="122" cy="12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0" dirty="0"/>
            </a:p>
          </p:txBody>
        </p:sp>
        <p:sp>
          <p:nvSpPr>
            <p:cNvPr id="16" name="Freeform 9">
              <a:extLst>
                <a:ext uri="{FF2B5EF4-FFF2-40B4-BE49-F238E27FC236}">
                  <a16:creationId xmlns:a16="http://schemas.microsoft.com/office/drawing/2014/main" id="{5856770D-B8F0-244E-A05D-AED190086F10}"/>
                </a:ext>
              </a:extLst>
            </p:cNvPr>
            <p:cNvSpPr>
              <a:spLocks noEditPoints="1"/>
            </p:cNvSpPr>
            <p:nvPr/>
          </p:nvSpPr>
          <p:spPr bwMode="gray">
            <a:xfrm>
              <a:off x="3623" y="1696"/>
              <a:ext cx="1167" cy="922"/>
            </a:xfrm>
            <a:custGeom>
              <a:avLst/>
              <a:gdLst>
                <a:gd name="T0" fmla="*/ 411 w 580"/>
                <a:gd name="T1" fmla="*/ 213 h 458"/>
                <a:gd name="T2" fmla="*/ 570 w 580"/>
                <a:gd name="T3" fmla="*/ 37 h 458"/>
                <a:gd name="T4" fmla="*/ 580 w 580"/>
                <a:gd name="T5" fmla="*/ 20 h 458"/>
                <a:gd name="T6" fmla="*/ 545 w 580"/>
                <a:gd name="T7" fmla="*/ 0 h 458"/>
                <a:gd name="T8" fmla="*/ 519 w 580"/>
                <a:gd name="T9" fmla="*/ 16 h 458"/>
                <a:gd name="T10" fmla="*/ 344 w 580"/>
                <a:gd name="T11" fmla="*/ 210 h 458"/>
                <a:gd name="T12" fmla="*/ 334 w 580"/>
                <a:gd name="T13" fmla="*/ 229 h 458"/>
                <a:gd name="T14" fmla="*/ 344 w 580"/>
                <a:gd name="T15" fmla="*/ 248 h 458"/>
                <a:gd name="T16" fmla="*/ 519 w 580"/>
                <a:gd name="T17" fmla="*/ 442 h 458"/>
                <a:gd name="T18" fmla="*/ 545 w 580"/>
                <a:gd name="T19" fmla="*/ 458 h 458"/>
                <a:gd name="T20" fmla="*/ 580 w 580"/>
                <a:gd name="T21" fmla="*/ 438 h 458"/>
                <a:gd name="T22" fmla="*/ 570 w 580"/>
                <a:gd name="T23" fmla="*/ 421 h 458"/>
                <a:gd name="T24" fmla="*/ 411 w 580"/>
                <a:gd name="T25" fmla="*/ 245 h 458"/>
                <a:gd name="T26" fmla="*/ 399 w 580"/>
                <a:gd name="T27" fmla="*/ 229 h 458"/>
                <a:gd name="T28" fmla="*/ 411 w 580"/>
                <a:gd name="T29" fmla="*/ 213 h 458"/>
                <a:gd name="T30" fmla="*/ 252 w 580"/>
                <a:gd name="T31" fmla="*/ 439 h 458"/>
                <a:gd name="T32" fmla="*/ 281 w 580"/>
                <a:gd name="T33" fmla="*/ 454 h 458"/>
                <a:gd name="T34" fmla="*/ 309 w 580"/>
                <a:gd name="T35" fmla="*/ 439 h 458"/>
                <a:gd name="T36" fmla="*/ 309 w 580"/>
                <a:gd name="T37" fmla="*/ 19 h 458"/>
                <a:gd name="T38" fmla="*/ 281 w 580"/>
                <a:gd name="T39" fmla="*/ 4 h 458"/>
                <a:gd name="T40" fmla="*/ 252 w 580"/>
                <a:gd name="T41" fmla="*/ 19 h 458"/>
                <a:gd name="T42" fmla="*/ 252 w 580"/>
                <a:gd name="T43" fmla="*/ 439 h 458"/>
                <a:gd name="T44" fmla="*/ 0 w 580"/>
                <a:gd name="T45" fmla="*/ 439 h 458"/>
                <a:gd name="T46" fmla="*/ 28 w 580"/>
                <a:gd name="T47" fmla="*/ 454 h 458"/>
                <a:gd name="T48" fmla="*/ 56 w 580"/>
                <a:gd name="T49" fmla="*/ 439 h 458"/>
                <a:gd name="T50" fmla="*/ 56 w 580"/>
                <a:gd name="T51" fmla="*/ 157 h 458"/>
                <a:gd name="T52" fmla="*/ 165 w 580"/>
                <a:gd name="T53" fmla="*/ 53 h 458"/>
                <a:gd name="T54" fmla="*/ 180 w 580"/>
                <a:gd name="T55" fmla="*/ 53 h 458"/>
                <a:gd name="T56" fmla="*/ 196 w 580"/>
                <a:gd name="T57" fmla="*/ 27 h 458"/>
                <a:gd name="T58" fmla="*/ 154 w 580"/>
                <a:gd name="T59" fmla="*/ 4 h 458"/>
                <a:gd name="T60" fmla="*/ 0 w 580"/>
                <a:gd name="T61" fmla="*/ 152 h 458"/>
                <a:gd name="T62" fmla="*/ 0 w 580"/>
                <a:gd name="T63" fmla="*/ 439 h 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80" h="458">
                  <a:moveTo>
                    <a:pt x="411" y="213"/>
                  </a:moveTo>
                  <a:cubicBezTo>
                    <a:pt x="570" y="37"/>
                    <a:pt x="570" y="37"/>
                    <a:pt x="570" y="37"/>
                  </a:cubicBezTo>
                  <a:cubicBezTo>
                    <a:pt x="576" y="30"/>
                    <a:pt x="580" y="25"/>
                    <a:pt x="580" y="20"/>
                  </a:cubicBezTo>
                  <a:cubicBezTo>
                    <a:pt x="580" y="10"/>
                    <a:pt x="559" y="0"/>
                    <a:pt x="545" y="0"/>
                  </a:cubicBezTo>
                  <a:cubicBezTo>
                    <a:pt x="535" y="0"/>
                    <a:pt x="526" y="8"/>
                    <a:pt x="519" y="16"/>
                  </a:cubicBezTo>
                  <a:cubicBezTo>
                    <a:pt x="344" y="210"/>
                    <a:pt x="344" y="210"/>
                    <a:pt x="344" y="210"/>
                  </a:cubicBezTo>
                  <a:cubicBezTo>
                    <a:pt x="336" y="219"/>
                    <a:pt x="334" y="224"/>
                    <a:pt x="334" y="229"/>
                  </a:cubicBezTo>
                  <a:cubicBezTo>
                    <a:pt x="334" y="234"/>
                    <a:pt x="336" y="239"/>
                    <a:pt x="344" y="248"/>
                  </a:cubicBezTo>
                  <a:cubicBezTo>
                    <a:pt x="519" y="442"/>
                    <a:pt x="519" y="442"/>
                    <a:pt x="519" y="442"/>
                  </a:cubicBezTo>
                  <a:cubicBezTo>
                    <a:pt x="526" y="450"/>
                    <a:pt x="535" y="458"/>
                    <a:pt x="545" y="458"/>
                  </a:cubicBezTo>
                  <a:cubicBezTo>
                    <a:pt x="559" y="458"/>
                    <a:pt x="580" y="448"/>
                    <a:pt x="580" y="438"/>
                  </a:cubicBezTo>
                  <a:cubicBezTo>
                    <a:pt x="580" y="433"/>
                    <a:pt x="576" y="428"/>
                    <a:pt x="570" y="421"/>
                  </a:cubicBezTo>
                  <a:cubicBezTo>
                    <a:pt x="411" y="245"/>
                    <a:pt x="411" y="245"/>
                    <a:pt x="411" y="245"/>
                  </a:cubicBezTo>
                  <a:cubicBezTo>
                    <a:pt x="403" y="236"/>
                    <a:pt x="399" y="232"/>
                    <a:pt x="399" y="229"/>
                  </a:cubicBezTo>
                  <a:cubicBezTo>
                    <a:pt x="399" y="226"/>
                    <a:pt x="403" y="222"/>
                    <a:pt x="411" y="213"/>
                  </a:cubicBezTo>
                  <a:moveTo>
                    <a:pt x="252" y="439"/>
                  </a:moveTo>
                  <a:cubicBezTo>
                    <a:pt x="252" y="449"/>
                    <a:pt x="261" y="454"/>
                    <a:pt x="281" y="454"/>
                  </a:cubicBezTo>
                  <a:cubicBezTo>
                    <a:pt x="300" y="454"/>
                    <a:pt x="309" y="449"/>
                    <a:pt x="309" y="439"/>
                  </a:cubicBezTo>
                  <a:cubicBezTo>
                    <a:pt x="309" y="19"/>
                    <a:pt x="309" y="19"/>
                    <a:pt x="309" y="19"/>
                  </a:cubicBezTo>
                  <a:cubicBezTo>
                    <a:pt x="309" y="9"/>
                    <a:pt x="300" y="4"/>
                    <a:pt x="281" y="4"/>
                  </a:cubicBezTo>
                  <a:cubicBezTo>
                    <a:pt x="261" y="4"/>
                    <a:pt x="252" y="9"/>
                    <a:pt x="252" y="19"/>
                  </a:cubicBezTo>
                  <a:lnTo>
                    <a:pt x="252" y="439"/>
                  </a:lnTo>
                  <a:close/>
                  <a:moveTo>
                    <a:pt x="0" y="439"/>
                  </a:moveTo>
                  <a:cubicBezTo>
                    <a:pt x="0" y="449"/>
                    <a:pt x="8" y="454"/>
                    <a:pt x="28" y="454"/>
                  </a:cubicBezTo>
                  <a:cubicBezTo>
                    <a:pt x="48" y="454"/>
                    <a:pt x="56" y="449"/>
                    <a:pt x="56" y="439"/>
                  </a:cubicBezTo>
                  <a:cubicBezTo>
                    <a:pt x="56" y="157"/>
                    <a:pt x="56" y="157"/>
                    <a:pt x="56" y="157"/>
                  </a:cubicBezTo>
                  <a:cubicBezTo>
                    <a:pt x="56" y="83"/>
                    <a:pt x="85" y="53"/>
                    <a:pt x="165" y="53"/>
                  </a:cubicBezTo>
                  <a:cubicBezTo>
                    <a:pt x="180" y="53"/>
                    <a:pt x="180" y="53"/>
                    <a:pt x="180" y="53"/>
                  </a:cubicBezTo>
                  <a:cubicBezTo>
                    <a:pt x="192" y="53"/>
                    <a:pt x="196" y="43"/>
                    <a:pt x="196" y="27"/>
                  </a:cubicBezTo>
                  <a:cubicBezTo>
                    <a:pt x="196" y="8"/>
                    <a:pt x="185" y="4"/>
                    <a:pt x="154" y="4"/>
                  </a:cubicBezTo>
                  <a:cubicBezTo>
                    <a:pt x="64" y="4"/>
                    <a:pt x="0" y="43"/>
                    <a:pt x="0" y="152"/>
                  </a:cubicBezTo>
                  <a:lnTo>
                    <a:pt x="0" y="43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0" dirty="0"/>
            </a:p>
          </p:txBody>
        </p:sp>
        <p:sp>
          <p:nvSpPr>
            <p:cNvPr id="17" name="Freeform 10">
              <a:extLst>
                <a:ext uri="{FF2B5EF4-FFF2-40B4-BE49-F238E27FC236}">
                  <a16:creationId xmlns:a16="http://schemas.microsoft.com/office/drawing/2014/main" id="{2B91B16B-BC11-E547-8FAC-B9B8D18EA449}"/>
                </a:ext>
              </a:extLst>
            </p:cNvPr>
            <p:cNvSpPr>
              <a:spLocks/>
            </p:cNvSpPr>
            <p:nvPr/>
          </p:nvSpPr>
          <p:spPr bwMode="gray">
            <a:xfrm>
              <a:off x="2880" y="1704"/>
              <a:ext cx="618" cy="916"/>
            </a:xfrm>
            <a:custGeom>
              <a:avLst/>
              <a:gdLst>
                <a:gd name="T0" fmla="*/ 307 w 307"/>
                <a:gd name="T1" fmla="*/ 405 h 455"/>
                <a:gd name="T2" fmla="*/ 307 w 307"/>
                <a:gd name="T3" fmla="*/ 244 h 455"/>
                <a:gd name="T4" fmla="*/ 279 w 307"/>
                <a:gd name="T5" fmla="*/ 229 h 455"/>
                <a:gd name="T6" fmla="*/ 250 w 307"/>
                <a:gd name="T7" fmla="*/ 244 h 455"/>
                <a:gd name="T8" fmla="*/ 250 w 307"/>
                <a:gd name="T9" fmla="*/ 378 h 455"/>
                <a:gd name="T10" fmla="*/ 199 w 307"/>
                <a:gd name="T11" fmla="*/ 408 h 455"/>
                <a:gd name="T12" fmla="*/ 61 w 307"/>
                <a:gd name="T13" fmla="*/ 231 h 455"/>
                <a:gd name="T14" fmla="*/ 238 w 307"/>
                <a:gd name="T15" fmla="*/ 49 h 455"/>
                <a:gd name="T16" fmla="*/ 270 w 307"/>
                <a:gd name="T17" fmla="*/ 49 h 455"/>
                <a:gd name="T18" fmla="*/ 286 w 307"/>
                <a:gd name="T19" fmla="*/ 23 h 455"/>
                <a:gd name="T20" fmla="*/ 244 w 307"/>
                <a:gd name="T21" fmla="*/ 0 h 455"/>
                <a:gd name="T22" fmla="*/ 231 w 307"/>
                <a:gd name="T23" fmla="*/ 0 h 455"/>
                <a:gd name="T24" fmla="*/ 0 w 307"/>
                <a:gd name="T25" fmla="*/ 232 h 455"/>
                <a:gd name="T26" fmla="*/ 198 w 307"/>
                <a:gd name="T27" fmla="*/ 455 h 455"/>
                <a:gd name="T28" fmla="*/ 307 w 307"/>
                <a:gd name="T29" fmla="*/ 405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7" h="455">
                  <a:moveTo>
                    <a:pt x="307" y="405"/>
                  </a:moveTo>
                  <a:cubicBezTo>
                    <a:pt x="307" y="244"/>
                    <a:pt x="307" y="244"/>
                    <a:pt x="307" y="244"/>
                  </a:cubicBezTo>
                  <a:cubicBezTo>
                    <a:pt x="307" y="234"/>
                    <a:pt x="298" y="229"/>
                    <a:pt x="279" y="229"/>
                  </a:cubicBezTo>
                  <a:cubicBezTo>
                    <a:pt x="259" y="229"/>
                    <a:pt x="250" y="234"/>
                    <a:pt x="250" y="244"/>
                  </a:cubicBezTo>
                  <a:cubicBezTo>
                    <a:pt x="250" y="378"/>
                    <a:pt x="250" y="378"/>
                    <a:pt x="250" y="378"/>
                  </a:cubicBezTo>
                  <a:cubicBezTo>
                    <a:pt x="250" y="399"/>
                    <a:pt x="241" y="408"/>
                    <a:pt x="199" y="408"/>
                  </a:cubicBezTo>
                  <a:cubicBezTo>
                    <a:pt x="114" y="408"/>
                    <a:pt x="61" y="342"/>
                    <a:pt x="61" y="231"/>
                  </a:cubicBezTo>
                  <a:cubicBezTo>
                    <a:pt x="61" y="115"/>
                    <a:pt x="126" y="49"/>
                    <a:pt x="238" y="49"/>
                  </a:cubicBezTo>
                  <a:cubicBezTo>
                    <a:pt x="270" y="49"/>
                    <a:pt x="270" y="49"/>
                    <a:pt x="270" y="49"/>
                  </a:cubicBezTo>
                  <a:cubicBezTo>
                    <a:pt x="282" y="49"/>
                    <a:pt x="286" y="39"/>
                    <a:pt x="286" y="23"/>
                  </a:cubicBezTo>
                  <a:cubicBezTo>
                    <a:pt x="286" y="4"/>
                    <a:pt x="275" y="0"/>
                    <a:pt x="244" y="0"/>
                  </a:cubicBezTo>
                  <a:cubicBezTo>
                    <a:pt x="231" y="0"/>
                    <a:pt x="231" y="0"/>
                    <a:pt x="231" y="0"/>
                  </a:cubicBezTo>
                  <a:cubicBezTo>
                    <a:pt x="101" y="0"/>
                    <a:pt x="0" y="71"/>
                    <a:pt x="0" y="232"/>
                  </a:cubicBezTo>
                  <a:cubicBezTo>
                    <a:pt x="0" y="386"/>
                    <a:pt x="88" y="455"/>
                    <a:pt x="198" y="455"/>
                  </a:cubicBezTo>
                  <a:cubicBezTo>
                    <a:pt x="286" y="455"/>
                    <a:pt x="307" y="430"/>
                    <a:pt x="307" y="40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0" dirty="0"/>
            </a:p>
          </p:txBody>
        </p:sp>
        <p:sp>
          <p:nvSpPr>
            <p:cNvPr id="18" name="Oval 11">
              <a:extLst>
                <a:ext uri="{FF2B5EF4-FFF2-40B4-BE49-F238E27FC236}">
                  <a16:creationId xmlns:a16="http://schemas.microsoft.com/office/drawing/2014/main" id="{14F8C3C8-4888-7646-B9B4-64EB46A1DA23}"/>
                </a:ext>
              </a:extLst>
            </p:cNvPr>
            <p:cNvSpPr>
              <a:spLocks noChangeArrowheads="1"/>
            </p:cNvSpPr>
            <p:nvPr/>
          </p:nvSpPr>
          <p:spPr bwMode="gray">
            <a:xfrm>
              <a:off x="3778" y="2099"/>
              <a:ext cx="122" cy="12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0" dirty="0"/>
            </a:p>
          </p:txBody>
        </p:sp>
        <p:sp>
          <p:nvSpPr>
            <p:cNvPr id="19" name="Freeform 12">
              <a:extLst>
                <a:ext uri="{FF2B5EF4-FFF2-40B4-BE49-F238E27FC236}">
                  <a16:creationId xmlns:a16="http://schemas.microsoft.com/office/drawing/2014/main" id="{D79D01D1-4E3E-F34B-97D7-2D387E68746E}"/>
                </a:ext>
              </a:extLst>
            </p:cNvPr>
            <p:cNvSpPr>
              <a:spLocks/>
            </p:cNvSpPr>
            <p:nvPr/>
          </p:nvSpPr>
          <p:spPr bwMode="gray">
            <a:xfrm>
              <a:off x="4321" y="1029"/>
              <a:ext cx="648" cy="649"/>
            </a:xfrm>
            <a:custGeom>
              <a:avLst/>
              <a:gdLst>
                <a:gd name="T0" fmla="*/ 0 w 648"/>
                <a:gd name="T1" fmla="*/ 649 h 649"/>
                <a:gd name="T2" fmla="*/ 2 w 648"/>
                <a:gd name="T3" fmla="*/ 649 h 649"/>
                <a:gd name="T4" fmla="*/ 648 w 648"/>
                <a:gd name="T5" fmla="*/ 0 h 649"/>
                <a:gd name="T6" fmla="*/ 423 w 648"/>
                <a:gd name="T7" fmla="*/ 0 h 649"/>
                <a:gd name="T8" fmla="*/ 0 w 648"/>
                <a:gd name="T9" fmla="*/ 649 h 649"/>
              </a:gdLst>
              <a:ahLst/>
              <a:cxnLst>
                <a:cxn ang="0">
                  <a:pos x="T0" y="T1"/>
                </a:cxn>
                <a:cxn ang="0">
                  <a:pos x="T2" y="T3"/>
                </a:cxn>
                <a:cxn ang="0">
                  <a:pos x="T4" y="T5"/>
                </a:cxn>
                <a:cxn ang="0">
                  <a:pos x="T6" y="T7"/>
                </a:cxn>
                <a:cxn ang="0">
                  <a:pos x="T8" y="T9"/>
                </a:cxn>
              </a:cxnLst>
              <a:rect l="0" t="0" r="r" b="b"/>
              <a:pathLst>
                <a:path w="648" h="649">
                  <a:moveTo>
                    <a:pt x="0" y="649"/>
                  </a:moveTo>
                  <a:lnTo>
                    <a:pt x="2" y="649"/>
                  </a:lnTo>
                  <a:lnTo>
                    <a:pt x="648" y="0"/>
                  </a:lnTo>
                  <a:lnTo>
                    <a:pt x="423" y="0"/>
                  </a:lnTo>
                  <a:lnTo>
                    <a:pt x="0" y="64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0" dirty="0"/>
            </a:p>
          </p:txBody>
        </p:sp>
        <p:sp>
          <p:nvSpPr>
            <p:cNvPr id="20" name="Freeform 13">
              <a:extLst>
                <a:ext uri="{FF2B5EF4-FFF2-40B4-BE49-F238E27FC236}">
                  <a16:creationId xmlns:a16="http://schemas.microsoft.com/office/drawing/2014/main" id="{46549898-6C52-B147-A8F6-A73FDBE6163B}"/>
                </a:ext>
              </a:extLst>
            </p:cNvPr>
            <p:cNvSpPr>
              <a:spLocks/>
            </p:cNvSpPr>
            <p:nvPr/>
          </p:nvSpPr>
          <p:spPr bwMode="gray">
            <a:xfrm>
              <a:off x="4321" y="1029"/>
              <a:ext cx="648" cy="649"/>
            </a:xfrm>
            <a:custGeom>
              <a:avLst/>
              <a:gdLst>
                <a:gd name="T0" fmla="*/ 0 w 648"/>
                <a:gd name="T1" fmla="*/ 649 h 649"/>
                <a:gd name="T2" fmla="*/ 2 w 648"/>
                <a:gd name="T3" fmla="*/ 649 h 649"/>
                <a:gd name="T4" fmla="*/ 648 w 648"/>
                <a:gd name="T5" fmla="*/ 0 h 649"/>
                <a:gd name="T6" fmla="*/ 423 w 648"/>
                <a:gd name="T7" fmla="*/ 0 h 649"/>
                <a:gd name="T8" fmla="*/ 0 w 648"/>
                <a:gd name="T9" fmla="*/ 649 h 649"/>
              </a:gdLst>
              <a:ahLst/>
              <a:cxnLst>
                <a:cxn ang="0">
                  <a:pos x="T0" y="T1"/>
                </a:cxn>
                <a:cxn ang="0">
                  <a:pos x="T2" y="T3"/>
                </a:cxn>
                <a:cxn ang="0">
                  <a:pos x="T4" y="T5"/>
                </a:cxn>
                <a:cxn ang="0">
                  <a:pos x="T6" y="T7"/>
                </a:cxn>
                <a:cxn ang="0">
                  <a:pos x="T8" y="T9"/>
                </a:cxn>
              </a:cxnLst>
              <a:rect l="0" t="0" r="r" b="b"/>
              <a:pathLst>
                <a:path w="648" h="649">
                  <a:moveTo>
                    <a:pt x="0" y="649"/>
                  </a:moveTo>
                  <a:lnTo>
                    <a:pt x="2" y="649"/>
                  </a:lnTo>
                  <a:lnTo>
                    <a:pt x="648" y="0"/>
                  </a:lnTo>
                  <a:lnTo>
                    <a:pt x="423" y="0"/>
                  </a:lnTo>
                  <a:lnTo>
                    <a:pt x="0" y="64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0" dirty="0"/>
            </a:p>
          </p:txBody>
        </p:sp>
      </p:grpSp>
    </p:spTree>
    <p:extLst>
      <p:ext uri="{BB962C8B-B14F-4D97-AF65-F5344CB8AC3E}">
        <p14:creationId xmlns:p14="http://schemas.microsoft.com/office/powerpoint/2010/main" val="1830661485"/>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p:cSld name="Headline only">
    <p:spTree>
      <p:nvGrpSpPr>
        <p:cNvPr id="1" name=""/>
        <p:cNvGrpSpPr/>
        <p:nvPr/>
      </p:nvGrpSpPr>
      <p:grpSpPr>
        <a:xfrm>
          <a:off x="0" y="0"/>
          <a:ext cx="0" cy="0"/>
          <a:chOff x="0" y="0"/>
          <a:chExt cx="0" cy="0"/>
        </a:xfrm>
      </p:grpSpPr>
      <p:sp>
        <p:nvSpPr>
          <p:cNvPr id="21" name="Date Placeholder 20"/>
          <p:cNvSpPr>
            <a:spLocks noGrp="1"/>
          </p:cNvSpPr>
          <p:nvPr>
            <p:ph type="dt" sz="half" idx="14"/>
          </p:nvPr>
        </p:nvSpPr>
        <p:spPr/>
        <p:txBody>
          <a:bodyPr/>
          <a:lstStyle/>
          <a:p>
            <a:fld id="{7DCAAD07-09FD-49C1-9253-3DC58F499B21}" type="datetime5">
              <a:rPr lang="en-US" smtClean="0"/>
              <a:t>26-Jun-20</a:t>
            </a:fld>
            <a:endParaRPr lang="en-US"/>
          </a:p>
        </p:txBody>
      </p:sp>
      <p:sp>
        <p:nvSpPr>
          <p:cNvPr id="22" name="Footer Placeholder 21"/>
          <p:cNvSpPr>
            <a:spLocks noGrp="1"/>
          </p:cNvSpPr>
          <p:nvPr>
            <p:ph type="ftr" sz="quarter" idx="15"/>
          </p:nvPr>
        </p:nvSpPr>
        <p:spPr/>
        <p:txBody>
          <a:bodyPr/>
          <a:lstStyle/>
          <a:p>
            <a:r>
              <a:rPr lang="en-US"/>
              <a:t>Title of presentation (Insert / Header &amp; Footer / Apply to All)</a:t>
            </a:r>
            <a:endParaRPr lang="en-US" dirty="0"/>
          </a:p>
        </p:txBody>
      </p:sp>
      <p:sp>
        <p:nvSpPr>
          <p:cNvPr id="23" name="Slide Number Placeholder 22"/>
          <p:cNvSpPr>
            <a:spLocks noGrp="1"/>
          </p:cNvSpPr>
          <p:nvPr>
            <p:ph type="sldNum" sz="quarter" idx="16"/>
          </p:nvPr>
        </p:nvSpPr>
        <p:spPr/>
        <p:txBody>
          <a:bodyPr/>
          <a:lstStyle/>
          <a:p>
            <a:fld id="{5F3E29E4-0979-4FCA-B4C5-5FC6044C982A}" type="slidenum">
              <a:rPr lang="en-US" smtClean="0"/>
              <a:t>‹#›</a:t>
            </a:fld>
            <a:endParaRPr lang="en-US"/>
          </a:p>
        </p:txBody>
      </p:sp>
      <p:sp>
        <p:nvSpPr>
          <p:cNvPr id="2" name="Title 1"/>
          <p:cNvSpPr>
            <a:spLocks noGrp="1"/>
          </p:cNvSpPr>
          <p:nvPr>
            <p:ph type="title" hasCustomPrompt="1"/>
          </p:nvPr>
        </p:nvSpPr>
        <p:spPr/>
        <p:txBody>
          <a:bodyPr/>
          <a:lstStyle>
            <a:lvl1pPr>
              <a:defRPr/>
            </a:lvl1pPr>
          </a:lstStyle>
          <a:p>
            <a:r>
              <a:rPr lang="en-US" dirty="0"/>
              <a:t>Click to add slide title</a:t>
            </a:r>
          </a:p>
        </p:txBody>
      </p:sp>
      <p:sp>
        <p:nvSpPr>
          <p:cNvPr id="7" name="Subtitle 2"/>
          <p:cNvSpPr>
            <a:spLocks noGrp="1"/>
          </p:cNvSpPr>
          <p:nvPr>
            <p:ph type="subTitle" idx="13" hasCustomPrompt="1"/>
          </p:nvPr>
        </p:nvSpPr>
        <p:spPr>
          <a:xfrm>
            <a:off x="1075062" y="964672"/>
            <a:ext cx="7910159" cy="490042"/>
          </a:xfrm>
        </p:spPr>
        <p:txBody>
          <a:bodyPr wrap="none"/>
          <a:lstStyle>
            <a:lvl1pPr marL="0" indent="0" algn="l">
              <a:spcBef>
                <a:spcPts val="0"/>
              </a:spcBef>
              <a:buNone/>
              <a:defRPr sz="2399"/>
            </a:lvl1pPr>
            <a:lvl2pPr marL="457051" indent="0" algn="ctr">
              <a:buNone/>
              <a:defRPr sz="1999"/>
            </a:lvl2pPr>
            <a:lvl3pPr marL="914103" indent="0" algn="ctr">
              <a:buNone/>
              <a:defRPr sz="1799"/>
            </a:lvl3pPr>
            <a:lvl4pPr marL="1371154" indent="0" algn="ctr">
              <a:buNone/>
              <a:defRPr sz="1599"/>
            </a:lvl4pPr>
            <a:lvl5pPr marL="1828206" indent="0" algn="ctr">
              <a:buNone/>
              <a:defRPr sz="1599"/>
            </a:lvl5pPr>
            <a:lvl6pPr marL="2285257" indent="0" algn="ctr">
              <a:buNone/>
              <a:defRPr sz="1599"/>
            </a:lvl6pPr>
            <a:lvl7pPr marL="2742308" indent="0" algn="ctr">
              <a:buNone/>
              <a:defRPr sz="1599"/>
            </a:lvl7pPr>
            <a:lvl8pPr marL="3199360" indent="0" algn="ctr">
              <a:buNone/>
              <a:defRPr sz="1599"/>
            </a:lvl8pPr>
            <a:lvl9pPr marL="3656411" indent="0" algn="ctr">
              <a:buNone/>
              <a:defRPr sz="1599"/>
            </a:lvl9pPr>
          </a:lstStyle>
          <a:p>
            <a:r>
              <a:rPr lang="en-US" dirty="0"/>
              <a:t>Click to add subtitle</a:t>
            </a:r>
          </a:p>
        </p:txBody>
      </p:sp>
      <p:sp>
        <p:nvSpPr>
          <p:cNvPr id="9" name="Text Placeholder 4"/>
          <p:cNvSpPr>
            <a:spLocks noGrp="1"/>
          </p:cNvSpPr>
          <p:nvPr>
            <p:ph type="body" sz="quarter" idx="17" hasCustomPrompt="1"/>
          </p:nvPr>
        </p:nvSpPr>
        <p:spPr>
          <a:xfrm>
            <a:off x="1075064" y="6307665"/>
            <a:ext cx="8162717" cy="133200"/>
          </a:xfrm>
        </p:spPr>
        <p:txBody>
          <a:bodyPr lIns="0" tIns="0" rIns="0" bIns="0" anchor="b" anchorCtr="0"/>
          <a:lstStyle>
            <a:lvl1pPr marL="0" indent="0" algn="l">
              <a:lnSpc>
                <a:spcPct val="100000"/>
              </a:lnSpc>
              <a:spcBef>
                <a:spcPts val="0"/>
              </a:spcBef>
              <a:buNone/>
              <a:defRPr sz="800" baseline="0"/>
            </a:lvl1pPr>
            <a:lvl2pPr marL="0" indent="0" algn="l">
              <a:lnSpc>
                <a:spcPct val="100000"/>
              </a:lnSpc>
              <a:spcBef>
                <a:spcPts val="0"/>
              </a:spcBef>
              <a:buNone/>
              <a:defRPr sz="800"/>
            </a:lvl2pPr>
            <a:lvl3pPr marL="0" indent="0" algn="l">
              <a:lnSpc>
                <a:spcPct val="100000"/>
              </a:lnSpc>
              <a:spcBef>
                <a:spcPts val="0"/>
              </a:spcBef>
              <a:buNone/>
              <a:defRPr sz="800"/>
            </a:lvl3pPr>
            <a:lvl4pPr marL="0" algn="l">
              <a:lnSpc>
                <a:spcPct val="100000"/>
              </a:lnSpc>
              <a:spcBef>
                <a:spcPts val="0"/>
              </a:spcBef>
              <a:buNone/>
              <a:defRPr sz="800"/>
            </a:lvl4pPr>
            <a:lvl5pPr marL="0" indent="0" algn="l">
              <a:lnSpc>
                <a:spcPct val="100000"/>
              </a:lnSpc>
              <a:spcBef>
                <a:spcPts val="0"/>
              </a:spcBef>
              <a:buNone/>
              <a:defRPr sz="800"/>
            </a:lvl5pPr>
          </a:lstStyle>
          <a:p>
            <a:pPr lvl="0"/>
            <a:r>
              <a:rPr lang="en-US" dirty="0"/>
              <a:t>Source line</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304260556"/>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p:cSld name="One content">
    <p:spTree>
      <p:nvGrpSpPr>
        <p:cNvPr id="1" name=""/>
        <p:cNvGrpSpPr/>
        <p:nvPr/>
      </p:nvGrpSpPr>
      <p:grpSpPr>
        <a:xfrm>
          <a:off x="0" y="0"/>
          <a:ext cx="0" cy="0"/>
          <a:chOff x="0" y="0"/>
          <a:chExt cx="0" cy="0"/>
        </a:xfrm>
      </p:grpSpPr>
      <p:sp>
        <p:nvSpPr>
          <p:cNvPr id="21" name="Date Placeholder 20"/>
          <p:cNvSpPr>
            <a:spLocks noGrp="1"/>
          </p:cNvSpPr>
          <p:nvPr>
            <p:ph type="dt" sz="half" idx="14"/>
          </p:nvPr>
        </p:nvSpPr>
        <p:spPr/>
        <p:txBody>
          <a:bodyPr/>
          <a:lstStyle/>
          <a:p>
            <a:fld id="{4CC19292-71B2-4BF0-8023-C669B9188137}" type="datetime5">
              <a:rPr lang="en-US" smtClean="0"/>
              <a:t>26-Jun-20</a:t>
            </a:fld>
            <a:endParaRPr lang="en-US" dirty="0"/>
          </a:p>
        </p:txBody>
      </p:sp>
      <p:sp>
        <p:nvSpPr>
          <p:cNvPr id="22" name="Footer Placeholder 21"/>
          <p:cNvSpPr>
            <a:spLocks noGrp="1"/>
          </p:cNvSpPr>
          <p:nvPr>
            <p:ph type="ftr" sz="quarter" idx="15"/>
          </p:nvPr>
        </p:nvSpPr>
        <p:spPr/>
        <p:txBody>
          <a:bodyPr/>
          <a:lstStyle/>
          <a:p>
            <a:r>
              <a:rPr lang="en-US"/>
              <a:t>Title of presentation (Insert / Header &amp; Footer / Apply to All)</a:t>
            </a:r>
            <a:endParaRPr lang="en-US" dirty="0"/>
          </a:p>
        </p:txBody>
      </p:sp>
      <p:sp>
        <p:nvSpPr>
          <p:cNvPr id="23" name="Slide Number Placeholder 22"/>
          <p:cNvSpPr>
            <a:spLocks noGrp="1"/>
          </p:cNvSpPr>
          <p:nvPr>
            <p:ph type="sldNum" sz="quarter" idx="16"/>
          </p:nvPr>
        </p:nvSpPr>
        <p:spPr/>
        <p:txBody>
          <a:bodyPr/>
          <a:lstStyle/>
          <a:p>
            <a:fld id="{5F3E29E4-0979-4FCA-B4C5-5FC6044C982A}" type="slidenum">
              <a:rPr lang="en-US" smtClean="0"/>
              <a:t>‹#›</a:t>
            </a:fld>
            <a:endParaRPr lang="en-US"/>
          </a:p>
        </p:txBody>
      </p:sp>
      <p:sp>
        <p:nvSpPr>
          <p:cNvPr id="2" name="Title 1"/>
          <p:cNvSpPr>
            <a:spLocks noGrp="1"/>
          </p:cNvSpPr>
          <p:nvPr>
            <p:ph type="title" hasCustomPrompt="1"/>
          </p:nvPr>
        </p:nvSpPr>
        <p:spPr/>
        <p:txBody>
          <a:bodyPr/>
          <a:lstStyle>
            <a:lvl1pPr>
              <a:defRPr/>
            </a:lvl1pPr>
          </a:lstStyle>
          <a:p>
            <a:r>
              <a:rPr lang="en-US" dirty="0"/>
              <a:t>Click to add slide title</a:t>
            </a:r>
          </a:p>
        </p:txBody>
      </p:sp>
      <p:sp>
        <p:nvSpPr>
          <p:cNvPr id="7" name="Subtitle 2"/>
          <p:cNvSpPr>
            <a:spLocks noGrp="1"/>
          </p:cNvSpPr>
          <p:nvPr>
            <p:ph type="subTitle" idx="13" hasCustomPrompt="1"/>
          </p:nvPr>
        </p:nvSpPr>
        <p:spPr>
          <a:xfrm>
            <a:off x="1075062" y="964672"/>
            <a:ext cx="7910159" cy="490042"/>
          </a:xfrm>
        </p:spPr>
        <p:txBody>
          <a:bodyPr wrap="none"/>
          <a:lstStyle>
            <a:lvl1pPr marL="0" indent="0" algn="l">
              <a:spcBef>
                <a:spcPts val="0"/>
              </a:spcBef>
              <a:buNone/>
              <a:defRPr sz="2399" baseline="0"/>
            </a:lvl1pPr>
            <a:lvl2pPr marL="457051" indent="0" algn="ctr">
              <a:buNone/>
              <a:defRPr sz="1999"/>
            </a:lvl2pPr>
            <a:lvl3pPr marL="914103" indent="0" algn="ctr">
              <a:buNone/>
              <a:defRPr sz="1799"/>
            </a:lvl3pPr>
            <a:lvl4pPr marL="1371154" indent="0" algn="ctr">
              <a:buNone/>
              <a:defRPr sz="1599"/>
            </a:lvl4pPr>
            <a:lvl5pPr marL="1828206" indent="0" algn="ctr">
              <a:buNone/>
              <a:defRPr sz="1599"/>
            </a:lvl5pPr>
            <a:lvl6pPr marL="2285257" indent="0" algn="ctr">
              <a:buNone/>
              <a:defRPr sz="1599"/>
            </a:lvl6pPr>
            <a:lvl7pPr marL="2742308" indent="0" algn="ctr">
              <a:buNone/>
              <a:defRPr sz="1599"/>
            </a:lvl7pPr>
            <a:lvl8pPr marL="3199360" indent="0" algn="ctr">
              <a:buNone/>
              <a:defRPr sz="1599"/>
            </a:lvl8pPr>
            <a:lvl9pPr marL="3656411" indent="0" algn="ctr">
              <a:buNone/>
              <a:defRPr sz="1599"/>
            </a:lvl9pPr>
          </a:lstStyle>
          <a:p>
            <a:r>
              <a:rPr lang="en-US" dirty="0"/>
              <a:t>Click to add subtitle</a:t>
            </a:r>
          </a:p>
        </p:txBody>
      </p:sp>
      <p:sp>
        <p:nvSpPr>
          <p:cNvPr id="3" name="Content Placeholder 2"/>
          <p:cNvSpPr>
            <a:spLocks noGrp="1"/>
          </p:cNvSpPr>
          <p:nvPr>
            <p:ph idx="1" hasCustomPrompt="1"/>
          </p:nvPr>
        </p:nvSpPr>
        <p:spPr/>
        <p:txBody>
          <a:bodyPr/>
          <a:lstStyle>
            <a:lvl1pPr>
              <a:defRPr baseline="0"/>
            </a:lvl1pPr>
          </a:lstStyle>
          <a:p>
            <a:pPr lvl="0"/>
            <a:r>
              <a:rPr lang="en-US" dirty="0"/>
              <a:t>Click to add text or conten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p:cNvSpPr>
            <a:spLocks noGrp="1"/>
          </p:cNvSpPr>
          <p:nvPr>
            <p:ph type="body" sz="quarter" idx="17" hasCustomPrompt="1"/>
          </p:nvPr>
        </p:nvSpPr>
        <p:spPr>
          <a:xfrm>
            <a:off x="1075064" y="6307665"/>
            <a:ext cx="8162717" cy="133200"/>
          </a:xfrm>
        </p:spPr>
        <p:txBody>
          <a:bodyPr lIns="0" tIns="0" rIns="0" bIns="0" anchor="b" anchorCtr="0"/>
          <a:lstStyle>
            <a:lvl1pPr marL="0" indent="0" algn="l">
              <a:lnSpc>
                <a:spcPct val="100000"/>
              </a:lnSpc>
              <a:spcBef>
                <a:spcPts val="0"/>
              </a:spcBef>
              <a:buNone/>
              <a:defRPr sz="800" baseline="0"/>
            </a:lvl1pPr>
            <a:lvl2pPr marL="0" indent="0" algn="l">
              <a:lnSpc>
                <a:spcPct val="100000"/>
              </a:lnSpc>
              <a:spcBef>
                <a:spcPts val="0"/>
              </a:spcBef>
              <a:buNone/>
              <a:defRPr sz="800"/>
            </a:lvl2pPr>
            <a:lvl3pPr marL="0" indent="0" algn="l">
              <a:lnSpc>
                <a:spcPct val="100000"/>
              </a:lnSpc>
              <a:spcBef>
                <a:spcPts val="0"/>
              </a:spcBef>
              <a:buNone/>
              <a:defRPr sz="800"/>
            </a:lvl3pPr>
            <a:lvl4pPr marL="0" algn="l">
              <a:lnSpc>
                <a:spcPct val="100000"/>
              </a:lnSpc>
              <a:spcBef>
                <a:spcPts val="0"/>
              </a:spcBef>
              <a:buNone/>
              <a:defRPr sz="800"/>
            </a:lvl4pPr>
            <a:lvl5pPr marL="0" indent="0" algn="l">
              <a:lnSpc>
                <a:spcPct val="100000"/>
              </a:lnSpc>
              <a:spcBef>
                <a:spcPts val="0"/>
              </a:spcBef>
              <a:buNone/>
              <a:defRPr sz="800"/>
            </a:lvl5pPr>
          </a:lstStyle>
          <a:p>
            <a:pPr lvl="0"/>
            <a:r>
              <a:rPr lang="en-US" dirty="0"/>
              <a:t>Source line</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611985296"/>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p:cSld name="Content and picture">
    <p:spTree>
      <p:nvGrpSpPr>
        <p:cNvPr id="1" name=""/>
        <p:cNvGrpSpPr/>
        <p:nvPr/>
      </p:nvGrpSpPr>
      <p:grpSpPr>
        <a:xfrm>
          <a:off x="0" y="0"/>
          <a:ext cx="0" cy="0"/>
          <a:chOff x="0" y="0"/>
          <a:chExt cx="0" cy="0"/>
        </a:xfrm>
      </p:grpSpPr>
      <p:sp>
        <p:nvSpPr>
          <p:cNvPr id="21" name="Date Placeholder 20"/>
          <p:cNvSpPr>
            <a:spLocks noGrp="1"/>
          </p:cNvSpPr>
          <p:nvPr>
            <p:ph type="dt" sz="half" idx="14"/>
          </p:nvPr>
        </p:nvSpPr>
        <p:spPr/>
        <p:txBody>
          <a:bodyPr/>
          <a:lstStyle/>
          <a:p>
            <a:fld id="{97AF90B7-6970-4C8C-AA59-7302F717A183}" type="datetime5">
              <a:rPr lang="en-US" smtClean="0"/>
              <a:t>26-Jun-20</a:t>
            </a:fld>
            <a:endParaRPr lang="en-US"/>
          </a:p>
        </p:txBody>
      </p:sp>
      <p:sp>
        <p:nvSpPr>
          <p:cNvPr id="22" name="Footer Placeholder 21"/>
          <p:cNvSpPr>
            <a:spLocks noGrp="1"/>
          </p:cNvSpPr>
          <p:nvPr>
            <p:ph type="ftr" sz="quarter" idx="15"/>
          </p:nvPr>
        </p:nvSpPr>
        <p:spPr/>
        <p:txBody>
          <a:bodyPr/>
          <a:lstStyle/>
          <a:p>
            <a:r>
              <a:rPr lang="en-US"/>
              <a:t>Title of presentation (Insert / Header &amp; Footer / Apply to All)</a:t>
            </a:r>
            <a:endParaRPr lang="en-US" dirty="0"/>
          </a:p>
        </p:txBody>
      </p:sp>
      <p:sp>
        <p:nvSpPr>
          <p:cNvPr id="23" name="Slide Number Placeholder 22"/>
          <p:cNvSpPr>
            <a:spLocks noGrp="1"/>
          </p:cNvSpPr>
          <p:nvPr>
            <p:ph type="sldNum" sz="quarter" idx="16"/>
          </p:nvPr>
        </p:nvSpPr>
        <p:spPr/>
        <p:txBody>
          <a:bodyPr/>
          <a:lstStyle/>
          <a:p>
            <a:fld id="{5F3E29E4-0979-4FCA-B4C5-5FC6044C982A}" type="slidenum">
              <a:rPr lang="en-US" smtClean="0"/>
              <a:t>‹#›</a:t>
            </a:fld>
            <a:endParaRPr lang="en-US"/>
          </a:p>
        </p:txBody>
      </p:sp>
      <p:sp>
        <p:nvSpPr>
          <p:cNvPr id="2" name="Title 1"/>
          <p:cNvSpPr>
            <a:spLocks noGrp="1"/>
          </p:cNvSpPr>
          <p:nvPr>
            <p:ph type="title" hasCustomPrompt="1"/>
          </p:nvPr>
        </p:nvSpPr>
        <p:spPr/>
        <p:txBody>
          <a:bodyPr/>
          <a:lstStyle>
            <a:lvl1pPr>
              <a:defRPr/>
            </a:lvl1pPr>
          </a:lstStyle>
          <a:p>
            <a:r>
              <a:rPr lang="en-US" dirty="0"/>
              <a:t>Click to add slide title</a:t>
            </a:r>
          </a:p>
        </p:txBody>
      </p:sp>
      <p:sp>
        <p:nvSpPr>
          <p:cNvPr id="7" name="Subtitle 2"/>
          <p:cNvSpPr>
            <a:spLocks noGrp="1"/>
          </p:cNvSpPr>
          <p:nvPr>
            <p:ph type="subTitle" idx="13" hasCustomPrompt="1"/>
          </p:nvPr>
        </p:nvSpPr>
        <p:spPr>
          <a:xfrm>
            <a:off x="1075062" y="964672"/>
            <a:ext cx="7910159" cy="490042"/>
          </a:xfrm>
        </p:spPr>
        <p:txBody>
          <a:bodyPr wrap="none"/>
          <a:lstStyle>
            <a:lvl1pPr marL="0" indent="0" algn="l">
              <a:spcBef>
                <a:spcPts val="0"/>
              </a:spcBef>
              <a:buNone/>
              <a:defRPr sz="2399"/>
            </a:lvl1pPr>
            <a:lvl2pPr marL="457051" indent="0" algn="ctr">
              <a:buNone/>
              <a:defRPr sz="1999"/>
            </a:lvl2pPr>
            <a:lvl3pPr marL="914103" indent="0" algn="ctr">
              <a:buNone/>
              <a:defRPr sz="1799"/>
            </a:lvl3pPr>
            <a:lvl4pPr marL="1371154" indent="0" algn="ctr">
              <a:buNone/>
              <a:defRPr sz="1599"/>
            </a:lvl4pPr>
            <a:lvl5pPr marL="1828206" indent="0" algn="ctr">
              <a:buNone/>
              <a:defRPr sz="1599"/>
            </a:lvl5pPr>
            <a:lvl6pPr marL="2285257" indent="0" algn="ctr">
              <a:buNone/>
              <a:defRPr sz="1599"/>
            </a:lvl6pPr>
            <a:lvl7pPr marL="2742308" indent="0" algn="ctr">
              <a:buNone/>
              <a:defRPr sz="1599"/>
            </a:lvl7pPr>
            <a:lvl8pPr marL="3199360" indent="0" algn="ctr">
              <a:buNone/>
              <a:defRPr sz="1599"/>
            </a:lvl8pPr>
            <a:lvl9pPr marL="3656411" indent="0" algn="ctr">
              <a:buNone/>
              <a:defRPr sz="1599"/>
            </a:lvl9pPr>
          </a:lstStyle>
          <a:p>
            <a:r>
              <a:rPr lang="en-US" dirty="0"/>
              <a:t>Click to add subtitle</a:t>
            </a:r>
          </a:p>
        </p:txBody>
      </p:sp>
      <p:sp>
        <p:nvSpPr>
          <p:cNvPr id="3" name="Content Placeholder 2"/>
          <p:cNvSpPr>
            <a:spLocks noGrp="1"/>
          </p:cNvSpPr>
          <p:nvPr>
            <p:ph idx="1" hasCustomPrompt="1"/>
          </p:nvPr>
        </p:nvSpPr>
        <p:spPr>
          <a:xfrm>
            <a:off x="1075063" y="1629618"/>
            <a:ext cx="5220000" cy="4139357"/>
          </a:xfrm>
        </p:spPr>
        <p:txBody>
          <a:bodyPr/>
          <a:lstStyle>
            <a:lvl1pPr>
              <a:defRPr/>
            </a:lvl1pPr>
          </a:lstStyle>
          <a:p>
            <a:pPr lvl="0"/>
            <a:r>
              <a:rPr lang="en-US" dirty="0"/>
              <a:t>Click to add text or conten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Picture Placeholder 4"/>
          <p:cNvSpPr>
            <a:spLocks noGrp="1"/>
          </p:cNvSpPr>
          <p:nvPr>
            <p:ph type="pic" sz="quarter" idx="17" hasCustomPrompt="1"/>
          </p:nvPr>
        </p:nvSpPr>
        <p:spPr>
          <a:xfrm>
            <a:off x="6600525" y="1637783"/>
            <a:ext cx="5220000" cy="4599507"/>
          </a:xfrm>
          <a:solidFill>
            <a:srgbClr val="D9DADB"/>
          </a:solidFill>
        </p:spPr>
        <p:txBody>
          <a:bodyPr/>
          <a:lstStyle>
            <a:lvl1pPr marL="0" indent="0">
              <a:buNone/>
              <a:defRPr/>
            </a:lvl1pPr>
          </a:lstStyle>
          <a:p>
            <a:r>
              <a:rPr lang="en-US" dirty="0"/>
              <a:t>Insert picture</a:t>
            </a:r>
          </a:p>
        </p:txBody>
      </p:sp>
      <p:sp>
        <p:nvSpPr>
          <p:cNvPr id="10" name="Text Placeholder 4"/>
          <p:cNvSpPr>
            <a:spLocks noGrp="1"/>
          </p:cNvSpPr>
          <p:nvPr>
            <p:ph type="body" sz="quarter" idx="18" hasCustomPrompt="1"/>
          </p:nvPr>
        </p:nvSpPr>
        <p:spPr>
          <a:xfrm>
            <a:off x="1075064" y="6307665"/>
            <a:ext cx="8162717" cy="133200"/>
          </a:xfrm>
        </p:spPr>
        <p:txBody>
          <a:bodyPr lIns="0" tIns="0" rIns="0" bIns="0" anchor="b" anchorCtr="0"/>
          <a:lstStyle>
            <a:lvl1pPr marL="0" indent="0" algn="l">
              <a:lnSpc>
                <a:spcPct val="100000"/>
              </a:lnSpc>
              <a:spcBef>
                <a:spcPts val="0"/>
              </a:spcBef>
              <a:buNone/>
              <a:defRPr sz="800" baseline="0"/>
            </a:lvl1pPr>
            <a:lvl2pPr marL="0" indent="0" algn="l">
              <a:lnSpc>
                <a:spcPct val="100000"/>
              </a:lnSpc>
              <a:spcBef>
                <a:spcPts val="0"/>
              </a:spcBef>
              <a:buNone/>
              <a:defRPr sz="800"/>
            </a:lvl2pPr>
            <a:lvl3pPr marL="0" indent="0" algn="l">
              <a:lnSpc>
                <a:spcPct val="100000"/>
              </a:lnSpc>
              <a:spcBef>
                <a:spcPts val="0"/>
              </a:spcBef>
              <a:buNone/>
              <a:defRPr sz="800"/>
            </a:lvl3pPr>
            <a:lvl4pPr marL="0" algn="l">
              <a:lnSpc>
                <a:spcPct val="100000"/>
              </a:lnSpc>
              <a:spcBef>
                <a:spcPts val="0"/>
              </a:spcBef>
              <a:buNone/>
              <a:defRPr sz="800"/>
            </a:lvl4pPr>
            <a:lvl5pPr marL="0" indent="0" algn="l">
              <a:lnSpc>
                <a:spcPct val="100000"/>
              </a:lnSpc>
              <a:spcBef>
                <a:spcPts val="0"/>
              </a:spcBef>
              <a:buNone/>
              <a:defRPr sz="800"/>
            </a:lvl5pPr>
          </a:lstStyle>
          <a:p>
            <a:pPr lvl="0"/>
            <a:r>
              <a:rPr lang="en-US" dirty="0"/>
              <a:t>Source line</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228207576"/>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p:cSld name="Content with full picture">
    <p:spTree>
      <p:nvGrpSpPr>
        <p:cNvPr id="1" name=""/>
        <p:cNvGrpSpPr/>
        <p:nvPr/>
      </p:nvGrpSpPr>
      <p:grpSpPr>
        <a:xfrm>
          <a:off x="0" y="0"/>
          <a:ext cx="0" cy="0"/>
          <a:chOff x="0" y="0"/>
          <a:chExt cx="0" cy="0"/>
        </a:xfrm>
      </p:grpSpPr>
      <p:sp>
        <p:nvSpPr>
          <p:cNvPr id="12" name="Picture Placeholder 11"/>
          <p:cNvSpPr>
            <a:spLocks noGrp="1"/>
          </p:cNvSpPr>
          <p:nvPr>
            <p:ph type="pic" sz="quarter" idx="17" hasCustomPrompt="1"/>
          </p:nvPr>
        </p:nvSpPr>
        <p:spPr>
          <a:xfrm>
            <a:off x="0" y="0"/>
            <a:ext cx="12193200" cy="6858000"/>
          </a:xfrm>
          <a:prstGeom prst="rect">
            <a:avLst/>
          </a:prstGeom>
          <a:solidFill>
            <a:srgbClr val="D9DADB"/>
          </a:solidFill>
        </p:spPr>
        <p:txBody>
          <a:bodyPr wrap="square">
            <a:noAutofit/>
          </a:bodyPr>
          <a:lstStyle>
            <a:lvl1pPr marL="0" indent="0">
              <a:buNone/>
              <a:defRPr/>
            </a:lvl1pPr>
          </a:lstStyle>
          <a:p>
            <a:r>
              <a:rPr lang="en-US" dirty="0"/>
              <a:t>Insert picture</a:t>
            </a:r>
          </a:p>
        </p:txBody>
      </p:sp>
      <p:sp>
        <p:nvSpPr>
          <p:cNvPr id="9" name="copyright"/>
          <p:cNvSpPr txBox="1"/>
          <p:nvPr/>
        </p:nvSpPr>
        <p:spPr>
          <a:xfrm>
            <a:off x="10672210" y="6237289"/>
            <a:ext cx="500617" cy="358173"/>
          </a:xfrm>
          <a:prstGeom prst="rect">
            <a:avLst/>
          </a:prstGeom>
          <a:noFill/>
        </p:spPr>
        <p:txBody>
          <a:bodyPr wrap="none" lIns="0" tIns="0" rIns="0" bIns="0" rtlCol="0" anchor="b" anchorCtr="0">
            <a:noAutofit/>
          </a:bodyPr>
          <a:lstStyle/>
          <a:p>
            <a:pPr marL="0" indent="0" algn="r">
              <a:lnSpc>
                <a:spcPct val="125000"/>
              </a:lnSpc>
              <a:buClr>
                <a:schemeClr val="tx2"/>
              </a:buClr>
              <a:buFont typeface="Wingdings" panose="05000000000000000000" pitchFamily="2" charset="2"/>
              <a:buNone/>
            </a:pPr>
            <a:r>
              <a:rPr lang="en-US" sz="800" dirty="0">
                <a:solidFill>
                  <a:schemeClr val="bg1"/>
                </a:solidFill>
              </a:rPr>
              <a:t>© GfK</a:t>
            </a:r>
          </a:p>
        </p:txBody>
      </p:sp>
      <p:sp>
        <p:nvSpPr>
          <p:cNvPr id="21" name="Date Placeholder 20"/>
          <p:cNvSpPr>
            <a:spLocks noGrp="1"/>
          </p:cNvSpPr>
          <p:nvPr>
            <p:ph type="dt" sz="half" idx="14"/>
          </p:nvPr>
        </p:nvSpPr>
        <p:spPr/>
        <p:txBody>
          <a:bodyPr/>
          <a:lstStyle>
            <a:lvl1pPr>
              <a:defRPr>
                <a:solidFill>
                  <a:schemeClr val="bg1"/>
                </a:solidFill>
              </a:defRPr>
            </a:lvl1pPr>
          </a:lstStyle>
          <a:p>
            <a:fld id="{50FDD96B-8754-4910-8CA2-9F882EDC331D}" type="datetime5">
              <a:rPr lang="en-US" smtClean="0"/>
              <a:t>26-Jun-20</a:t>
            </a:fld>
            <a:endParaRPr lang="en-US"/>
          </a:p>
        </p:txBody>
      </p:sp>
      <p:sp>
        <p:nvSpPr>
          <p:cNvPr id="22" name="Footer Placeholder 21"/>
          <p:cNvSpPr>
            <a:spLocks noGrp="1"/>
          </p:cNvSpPr>
          <p:nvPr>
            <p:ph type="ftr" sz="quarter" idx="15"/>
          </p:nvPr>
        </p:nvSpPr>
        <p:spPr/>
        <p:txBody>
          <a:bodyPr/>
          <a:lstStyle>
            <a:lvl1pPr>
              <a:defRPr>
                <a:solidFill>
                  <a:schemeClr val="bg1"/>
                </a:solidFill>
              </a:defRPr>
            </a:lvl1pPr>
          </a:lstStyle>
          <a:p>
            <a:r>
              <a:rPr lang="en-US"/>
              <a:t>Title of presentation (Insert / Header &amp; Footer / Apply to All)</a:t>
            </a:r>
            <a:endParaRPr lang="en-US" dirty="0"/>
          </a:p>
        </p:txBody>
      </p:sp>
      <p:sp>
        <p:nvSpPr>
          <p:cNvPr id="23" name="Slide Number Placeholder 22"/>
          <p:cNvSpPr>
            <a:spLocks noGrp="1"/>
          </p:cNvSpPr>
          <p:nvPr>
            <p:ph type="sldNum" sz="quarter" idx="16"/>
          </p:nvPr>
        </p:nvSpPr>
        <p:spPr/>
        <p:txBody>
          <a:bodyPr/>
          <a:lstStyle>
            <a:lvl1pPr>
              <a:defRPr>
                <a:solidFill>
                  <a:schemeClr val="bg1"/>
                </a:solidFill>
              </a:defRPr>
            </a:lvl1pPr>
          </a:lstStyle>
          <a:p>
            <a:fld id="{5F3E29E4-0979-4FCA-B4C5-5FC6044C982A}" type="slidenum">
              <a:rPr lang="en-US" smtClean="0"/>
              <a:pPr/>
              <a:t>‹#›</a:t>
            </a:fld>
            <a:endParaRPr lang="en-US"/>
          </a:p>
        </p:txBody>
      </p:sp>
      <p:sp>
        <p:nvSpPr>
          <p:cNvPr id="2" name="Title 1"/>
          <p:cNvSpPr>
            <a:spLocks noGrp="1"/>
          </p:cNvSpPr>
          <p:nvPr>
            <p:ph type="title" hasCustomPrompt="1"/>
          </p:nvPr>
        </p:nvSpPr>
        <p:spPr>
          <a:xfrm>
            <a:off x="6543675" y="1519553"/>
            <a:ext cx="4629151" cy="4249423"/>
          </a:xfrm>
        </p:spPr>
        <p:txBody>
          <a:bodyPr/>
          <a:lstStyle>
            <a:lvl1pPr>
              <a:defRPr>
                <a:solidFill>
                  <a:schemeClr val="bg1"/>
                </a:solidFill>
              </a:defRPr>
            </a:lvl1pPr>
          </a:lstStyle>
          <a:p>
            <a:r>
              <a:rPr lang="en-US" dirty="0"/>
              <a:t>Click to add text</a:t>
            </a:r>
          </a:p>
        </p:txBody>
      </p:sp>
      <p:sp>
        <p:nvSpPr>
          <p:cNvPr id="8" name="Text Placeholder 4"/>
          <p:cNvSpPr>
            <a:spLocks noGrp="1"/>
          </p:cNvSpPr>
          <p:nvPr>
            <p:ph type="body" sz="quarter" idx="18" hasCustomPrompt="1"/>
          </p:nvPr>
        </p:nvSpPr>
        <p:spPr>
          <a:xfrm>
            <a:off x="1075064" y="6307665"/>
            <a:ext cx="8162717" cy="133200"/>
          </a:xfrm>
        </p:spPr>
        <p:txBody>
          <a:bodyPr lIns="0" tIns="0" rIns="0" bIns="0" anchor="b" anchorCtr="0"/>
          <a:lstStyle>
            <a:lvl1pPr marL="0" indent="0" algn="l">
              <a:lnSpc>
                <a:spcPct val="100000"/>
              </a:lnSpc>
              <a:spcBef>
                <a:spcPts val="0"/>
              </a:spcBef>
              <a:buNone/>
              <a:defRPr sz="800" baseline="0">
                <a:solidFill>
                  <a:schemeClr val="bg1"/>
                </a:solidFill>
              </a:defRPr>
            </a:lvl1pPr>
            <a:lvl2pPr marL="0" indent="0" algn="l">
              <a:lnSpc>
                <a:spcPct val="100000"/>
              </a:lnSpc>
              <a:spcBef>
                <a:spcPts val="0"/>
              </a:spcBef>
              <a:buNone/>
              <a:defRPr sz="800">
                <a:solidFill>
                  <a:schemeClr val="bg1"/>
                </a:solidFill>
              </a:defRPr>
            </a:lvl2pPr>
            <a:lvl3pPr marL="0" indent="0" algn="l">
              <a:lnSpc>
                <a:spcPct val="100000"/>
              </a:lnSpc>
              <a:spcBef>
                <a:spcPts val="0"/>
              </a:spcBef>
              <a:buNone/>
              <a:defRPr sz="800">
                <a:solidFill>
                  <a:schemeClr val="bg1"/>
                </a:solidFill>
              </a:defRPr>
            </a:lvl3pPr>
            <a:lvl4pPr marL="0" algn="l">
              <a:lnSpc>
                <a:spcPct val="100000"/>
              </a:lnSpc>
              <a:spcBef>
                <a:spcPts val="0"/>
              </a:spcBef>
              <a:buNone/>
              <a:defRPr sz="800">
                <a:solidFill>
                  <a:schemeClr val="bg1"/>
                </a:solidFill>
              </a:defRPr>
            </a:lvl4pPr>
            <a:lvl5pPr marL="0" indent="0" algn="l">
              <a:lnSpc>
                <a:spcPct val="100000"/>
              </a:lnSpc>
              <a:spcBef>
                <a:spcPts val="0"/>
              </a:spcBef>
              <a:buNone/>
              <a:defRPr sz="800">
                <a:solidFill>
                  <a:schemeClr val="bg1"/>
                </a:solidFill>
              </a:defRPr>
            </a:lvl5pPr>
          </a:lstStyle>
          <a:p>
            <a:pPr lvl="0"/>
            <a:r>
              <a:rPr lang="en-US" dirty="0"/>
              <a:t>Source line</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72741720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Orange and text">
    <p:spTree>
      <p:nvGrpSpPr>
        <p:cNvPr id="1" name=""/>
        <p:cNvGrpSpPr/>
        <p:nvPr/>
      </p:nvGrpSpPr>
      <p:grpSpPr>
        <a:xfrm>
          <a:off x="0" y="0"/>
          <a:ext cx="0" cy="0"/>
          <a:chOff x="0" y="0"/>
          <a:chExt cx="0" cy="0"/>
        </a:xfrm>
      </p:grpSpPr>
      <p:pic>
        <p:nvPicPr>
          <p:cNvPr id="2" name="Picture 1"/>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bwMode="gray">
          <a:xfrm>
            <a:off x="0" y="0"/>
            <a:ext cx="12192000" cy="6858000"/>
          </a:xfrm>
          <a:prstGeom prst="rect">
            <a:avLst/>
          </a:prstGeom>
          <a:noFill/>
          <a:ln>
            <a:noFill/>
          </a:ln>
        </p:spPr>
      </p:pic>
      <p:sp>
        <p:nvSpPr>
          <p:cNvPr id="3" name="Titel 2"/>
          <p:cNvSpPr>
            <a:spLocks noGrp="1"/>
          </p:cNvSpPr>
          <p:nvPr>
            <p:ph type="title" hasCustomPrompt="1"/>
          </p:nvPr>
        </p:nvSpPr>
        <p:spPr bwMode="gray">
          <a:xfrm>
            <a:off x="431801" y="1221322"/>
            <a:ext cx="11328400" cy="2688166"/>
          </a:xfrm>
        </p:spPr>
        <p:txBody>
          <a:bodyPr vert="horz" lIns="0" tIns="18000" rIns="0" bIns="0" rtlCol="0" anchor="b" anchorCtr="0">
            <a:noAutofit/>
          </a:bodyPr>
          <a:lstStyle>
            <a:lvl1pPr>
              <a:defRPr lang="de-DE" sz="4796" cap="none" baseline="0">
                <a:solidFill>
                  <a:schemeClr val="bg1"/>
                </a:solidFill>
                <a:latin typeface="Arial" pitchFamily="34" charset="0"/>
                <a:ea typeface="+mn-ea"/>
                <a:cs typeface="+mn-cs"/>
              </a:defRPr>
            </a:lvl1pPr>
          </a:lstStyle>
          <a:p>
            <a:pPr lvl="0"/>
            <a:r>
              <a:rPr lang="en-US"/>
              <a:t>Click to add text</a:t>
            </a:r>
          </a:p>
        </p:txBody>
      </p:sp>
    </p:spTree>
    <p:extLst>
      <p:ext uri="{BB962C8B-B14F-4D97-AF65-F5344CB8AC3E}">
        <p14:creationId xmlns:p14="http://schemas.microsoft.com/office/powerpoint/2010/main" val="2942695334"/>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p:cSld name="Two pictures">
    <p:spTree>
      <p:nvGrpSpPr>
        <p:cNvPr id="1" name=""/>
        <p:cNvGrpSpPr/>
        <p:nvPr/>
      </p:nvGrpSpPr>
      <p:grpSpPr>
        <a:xfrm>
          <a:off x="0" y="0"/>
          <a:ext cx="0" cy="0"/>
          <a:chOff x="0" y="0"/>
          <a:chExt cx="0" cy="0"/>
        </a:xfrm>
      </p:grpSpPr>
      <p:sp>
        <p:nvSpPr>
          <p:cNvPr id="21" name="Date Placeholder 20"/>
          <p:cNvSpPr>
            <a:spLocks noGrp="1"/>
          </p:cNvSpPr>
          <p:nvPr>
            <p:ph type="dt" sz="half" idx="14"/>
          </p:nvPr>
        </p:nvSpPr>
        <p:spPr/>
        <p:txBody>
          <a:bodyPr/>
          <a:lstStyle/>
          <a:p>
            <a:fld id="{0C2FFEBC-2BB8-4026-95F3-22D358B37101}" type="datetime5">
              <a:rPr lang="en-US" smtClean="0"/>
              <a:t>26-Jun-20</a:t>
            </a:fld>
            <a:endParaRPr lang="en-US"/>
          </a:p>
        </p:txBody>
      </p:sp>
      <p:sp>
        <p:nvSpPr>
          <p:cNvPr id="22" name="Footer Placeholder 21"/>
          <p:cNvSpPr>
            <a:spLocks noGrp="1"/>
          </p:cNvSpPr>
          <p:nvPr>
            <p:ph type="ftr" sz="quarter" idx="15"/>
          </p:nvPr>
        </p:nvSpPr>
        <p:spPr/>
        <p:txBody>
          <a:bodyPr/>
          <a:lstStyle/>
          <a:p>
            <a:r>
              <a:rPr lang="en-US"/>
              <a:t>Title of presentation (Insert / Header &amp; Footer / Apply to All)</a:t>
            </a:r>
            <a:endParaRPr lang="en-US" dirty="0"/>
          </a:p>
        </p:txBody>
      </p:sp>
      <p:sp>
        <p:nvSpPr>
          <p:cNvPr id="23" name="Slide Number Placeholder 22"/>
          <p:cNvSpPr>
            <a:spLocks noGrp="1"/>
          </p:cNvSpPr>
          <p:nvPr>
            <p:ph type="sldNum" sz="quarter" idx="16"/>
          </p:nvPr>
        </p:nvSpPr>
        <p:spPr/>
        <p:txBody>
          <a:bodyPr/>
          <a:lstStyle/>
          <a:p>
            <a:fld id="{5F3E29E4-0979-4FCA-B4C5-5FC6044C982A}" type="slidenum">
              <a:rPr lang="en-US" smtClean="0"/>
              <a:t>‹#›</a:t>
            </a:fld>
            <a:endParaRPr lang="en-US"/>
          </a:p>
        </p:txBody>
      </p:sp>
      <p:sp>
        <p:nvSpPr>
          <p:cNvPr id="2" name="Title 1"/>
          <p:cNvSpPr>
            <a:spLocks noGrp="1"/>
          </p:cNvSpPr>
          <p:nvPr>
            <p:ph type="title" hasCustomPrompt="1"/>
          </p:nvPr>
        </p:nvSpPr>
        <p:spPr/>
        <p:txBody>
          <a:bodyPr/>
          <a:lstStyle>
            <a:lvl1pPr>
              <a:defRPr/>
            </a:lvl1pPr>
          </a:lstStyle>
          <a:p>
            <a:r>
              <a:rPr lang="en-US" dirty="0"/>
              <a:t>Click to add slide title</a:t>
            </a:r>
          </a:p>
        </p:txBody>
      </p:sp>
      <p:sp>
        <p:nvSpPr>
          <p:cNvPr id="7" name="Subtitle 2"/>
          <p:cNvSpPr>
            <a:spLocks noGrp="1"/>
          </p:cNvSpPr>
          <p:nvPr>
            <p:ph type="subTitle" idx="13" hasCustomPrompt="1"/>
          </p:nvPr>
        </p:nvSpPr>
        <p:spPr>
          <a:xfrm>
            <a:off x="1075062" y="964672"/>
            <a:ext cx="7910159" cy="490042"/>
          </a:xfrm>
        </p:spPr>
        <p:txBody>
          <a:bodyPr wrap="none"/>
          <a:lstStyle>
            <a:lvl1pPr marL="0" indent="0" algn="l">
              <a:spcBef>
                <a:spcPts val="0"/>
              </a:spcBef>
              <a:buNone/>
              <a:defRPr sz="2399"/>
            </a:lvl1pPr>
            <a:lvl2pPr marL="457051" indent="0" algn="ctr">
              <a:buNone/>
              <a:defRPr sz="1999"/>
            </a:lvl2pPr>
            <a:lvl3pPr marL="914103" indent="0" algn="ctr">
              <a:buNone/>
              <a:defRPr sz="1799"/>
            </a:lvl3pPr>
            <a:lvl4pPr marL="1371154" indent="0" algn="ctr">
              <a:buNone/>
              <a:defRPr sz="1599"/>
            </a:lvl4pPr>
            <a:lvl5pPr marL="1828206" indent="0" algn="ctr">
              <a:buNone/>
              <a:defRPr sz="1599"/>
            </a:lvl5pPr>
            <a:lvl6pPr marL="2285257" indent="0" algn="ctr">
              <a:buNone/>
              <a:defRPr sz="1599"/>
            </a:lvl6pPr>
            <a:lvl7pPr marL="2742308" indent="0" algn="ctr">
              <a:buNone/>
              <a:defRPr sz="1599"/>
            </a:lvl7pPr>
            <a:lvl8pPr marL="3199360" indent="0" algn="ctr">
              <a:buNone/>
              <a:defRPr sz="1599"/>
            </a:lvl8pPr>
            <a:lvl9pPr marL="3656411" indent="0" algn="ctr">
              <a:buNone/>
              <a:defRPr sz="1599"/>
            </a:lvl9pPr>
          </a:lstStyle>
          <a:p>
            <a:r>
              <a:rPr lang="en-US" dirty="0"/>
              <a:t>Click to add subtitle</a:t>
            </a:r>
          </a:p>
        </p:txBody>
      </p:sp>
      <p:sp>
        <p:nvSpPr>
          <p:cNvPr id="5" name="Picture Placeholder 4"/>
          <p:cNvSpPr>
            <a:spLocks noGrp="1"/>
          </p:cNvSpPr>
          <p:nvPr>
            <p:ph type="pic" sz="quarter" idx="17" hasCustomPrompt="1"/>
          </p:nvPr>
        </p:nvSpPr>
        <p:spPr>
          <a:xfrm>
            <a:off x="1075063" y="1637783"/>
            <a:ext cx="5220000" cy="4599507"/>
          </a:xfrm>
          <a:solidFill>
            <a:srgbClr val="D9DADB"/>
          </a:solidFill>
        </p:spPr>
        <p:txBody>
          <a:bodyPr/>
          <a:lstStyle>
            <a:lvl1pPr marL="0" indent="0">
              <a:buNone/>
              <a:defRPr/>
            </a:lvl1pPr>
          </a:lstStyle>
          <a:p>
            <a:r>
              <a:rPr lang="en-US" dirty="0"/>
              <a:t>Insert picture</a:t>
            </a:r>
          </a:p>
        </p:txBody>
      </p:sp>
      <p:sp>
        <p:nvSpPr>
          <p:cNvPr id="9" name="Picture Placeholder 4"/>
          <p:cNvSpPr>
            <a:spLocks noGrp="1"/>
          </p:cNvSpPr>
          <p:nvPr>
            <p:ph type="pic" sz="quarter" idx="18" hasCustomPrompt="1"/>
          </p:nvPr>
        </p:nvSpPr>
        <p:spPr>
          <a:xfrm>
            <a:off x="6600525" y="1637783"/>
            <a:ext cx="5220000" cy="4599507"/>
          </a:xfrm>
          <a:solidFill>
            <a:srgbClr val="D9DADB"/>
          </a:solidFill>
        </p:spPr>
        <p:txBody>
          <a:bodyPr/>
          <a:lstStyle>
            <a:lvl1pPr marL="0" indent="0">
              <a:buNone/>
              <a:defRPr/>
            </a:lvl1pPr>
          </a:lstStyle>
          <a:p>
            <a:r>
              <a:rPr lang="en-US" dirty="0"/>
              <a:t>Insert picture</a:t>
            </a:r>
          </a:p>
        </p:txBody>
      </p:sp>
      <p:sp>
        <p:nvSpPr>
          <p:cNvPr id="11" name="Text Placeholder 4"/>
          <p:cNvSpPr>
            <a:spLocks noGrp="1"/>
          </p:cNvSpPr>
          <p:nvPr>
            <p:ph type="body" sz="quarter" idx="19" hasCustomPrompt="1"/>
          </p:nvPr>
        </p:nvSpPr>
        <p:spPr>
          <a:xfrm>
            <a:off x="1075064" y="6307665"/>
            <a:ext cx="8162717" cy="133200"/>
          </a:xfrm>
        </p:spPr>
        <p:txBody>
          <a:bodyPr lIns="0" tIns="0" rIns="0" bIns="0" anchor="b" anchorCtr="0"/>
          <a:lstStyle>
            <a:lvl1pPr marL="0" indent="0" algn="l">
              <a:lnSpc>
                <a:spcPct val="100000"/>
              </a:lnSpc>
              <a:spcBef>
                <a:spcPts val="0"/>
              </a:spcBef>
              <a:buNone/>
              <a:defRPr sz="800" baseline="0"/>
            </a:lvl1pPr>
            <a:lvl2pPr marL="0" indent="0" algn="l">
              <a:lnSpc>
                <a:spcPct val="100000"/>
              </a:lnSpc>
              <a:spcBef>
                <a:spcPts val="0"/>
              </a:spcBef>
              <a:buNone/>
              <a:defRPr sz="800"/>
            </a:lvl2pPr>
            <a:lvl3pPr marL="0" indent="0" algn="l">
              <a:lnSpc>
                <a:spcPct val="100000"/>
              </a:lnSpc>
              <a:spcBef>
                <a:spcPts val="0"/>
              </a:spcBef>
              <a:buNone/>
              <a:defRPr sz="800"/>
            </a:lvl3pPr>
            <a:lvl4pPr marL="0" algn="l">
              <a:lnSpc>
                <a:spcPct val="100000"/>
              </a:lnSpc>
              <a:spcBef>
                <a:spcPts val="0"/>
              </a:spcBef>
              <a:buNone/>
              <a:defRPr sz="800"/>
            </a:lvl4pPr>
            <a:lvl5pPr marL="0" indent="0" algn="l">
              <a:lnSpc>
                <a:spcPct val="100000"/>
              </a:lnSpc>
              <a:spcBef>
                <a:spcPts val="0"/>
              </a:spcBef>
              <a:buNone/>
              <a:defRPr sz="800"/>
            </a:lvl5pPr>
          </a:lstStyle>
          <a:p>
            <a:pPr lvl="0"/>
            <a:r>
              <a:rPr lang="en-US" dirty="0"/>
              <a:t>Source line</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181755987"/>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p:cSld name="Two contents">
    <p:spTree>
      <p:nvGrpSpPr>
        <p:cNvPr id="1" name=""/>
        <p:cNvGrpSpPr/>
        <p:nvPr/>
      </p:nvGrpSpPr>
      <p:grpSpPr>
        <a:xfrm>
          <a:off x="0" y="0"/>
          <a:ext cx="0" cy="0"/>
          <a:chOff x="0" y="0"/>
          <a:chExt cx="0" cy="0"/>
        </a:xfrm>
      </p:grpSpPr>
      <p:sp>
        <p:nvSpPr>
          <p:cNvPr id="21" name="Date Placeholder 20"/>
          <p:cNvSpPr>
            <a:spLocks noGrp="1"/>
          </p:cNvSpPr>
          <p:nvPr>
            <p:ph type="dt" sz="half" idx="14"/>
          </p:nvPr>
        </p:nvSpPr>
        <p:spPr/>
        <p:txBody>
          <a:bodyPr/>
          <a:lstStyle/>
          <a:p>
            <a:fld id="{9D45F382-CD09-4611-8552-1549F9F12240}" type="datetime5">
              <a:rPr lang="en-US" smtClean="0"/>
              <a:t>26-Jun-20</a:t>
            </a:fld>
            <a:endParaRPr lang="en-US"/>
          </a:p>
        </p:txBody>
      </p:sp>
      <p:sp>
        <p:nvSpPr>
          <p:cNvPr id="22" name="Footer Placeholder 21"/>
          <p:cNvSpPr>
            <a:spLocks noGrp="1"/>
          </p:cNvSpPr>
          <p:nvPr>
            <p:ph type="ftr" sz="quarter" idx="15"/>
          </p:nvPr>
        </p:nvSpPr>
        <p:spPr/>
        <p:txBody>
          <a:bodyPr/>
          <a:lstStyle/>
          <a:p>
            <a:r>
              <a:rPr lang="en-US"/>
              <a:t>Title of presentation (Insert / Header &amp; Footer / Apply to All)</a:t>
            </a:r>
            <a:endParaRPr lang="en-US" dirty="0"/>
          </a:p>
        </p:txBody>
      </p:sp>
      <p:sp>
        <p:nvSpPr>
          <p:cNvPr id="23" name="Slide Number Placeholder 22"/>
          <p:cNvSpPr>
            <a:spLocks noGrp="1"/>
          </p:cNvSpPr>
          <p:nvPr>
            <p:ph type="sldNum" sz="quarter" idx="16"/>
          </p:nvPr>
        </p:nvSpPr>
        <p:spPr/>
        <p:txBody>
          <a:bodyPr/>
          <a:lstStyle/>
          <a:p>
            <a:fld id="{5F3E29E4-0979-4FCA-B4C5-5FC6044C982A}" type="slidenum">
              <a:rPr lang="en-US" smtClean="0"/>
              <a:t>‹#›</a:t>
            </a:fld>
            <a:endParaRPr lang="en-US"/>
          </a:p>
        </p:txBody>
      </p:sp>
      <p:sp>
        <p:nvSpPr>
          <p:cNvPr id="2" name="Title 1"/>
          <p:cNvSpPr>
            <a:spLocks noGrp="1"/>
          </p:cNvSpPr>
          <p:nvPr>
            <p:ph type="title" hasCustomPrompt="1"/>
          </p:nvPr>
        </p:nvSpPr>
        <p:spPr/>
        <p:txBody>
          <a:bodyPr/>
          <a:lstStyle>
            <a:lvl1pPr>
              <a:defRPr/>
            </a:lvl1pPr>
          </a:lstStyle>
          <a:p>
            <a:r>
              <a:rPr lang="en-US" dirty="0"/>
              <a:t>Click to add slide title</a:t>
            </a:r>
          </a:p>
        </p:txBody>
      </p:sp>
      <p:sp>
        <p:nvSpPr>
          <p:cNvPr id="7" name="Subtitle 2"/>
          <p:cNvSpPr>
            <a:spLocks noGrp="1"/>
          </p:cNvSpPr>
          <p:nvPr>
            <p:ph type="subTitle" idx="13" hasCustomPrompt="1"/>
          </p:nvPr>
        </p:nvSpPr>
        <p:spPr>
          <a:xfrm>
            <a:off x="1075062" y="964672"/>
            <a:ext cx="7910159" cy="490042"/>
          </a:xfrm>
        </p:spPr>
        <p:txBody>
          <a:bodyPr wrap="none"/>
          <a:lstStyle>
            <a:lvl1pPr marL="0" indent="0" algn="l">
              <a:spcBef>
                <a:spcPts val="0"/>
              </a:spcBef>
              <a:buNone/>
              <a:defRPr sz="2399"/>
            </a:lvl1pPr>
            <a:lvl2pPr marL="457051" indent="0" algn="ctr">
              <a:buNone/>
              <a:defRPr sz="1999"/>
            </a:lvl2pPr>
            <a:lvl3pPr marL="914103" indent="0" algn="ctr">
              <a:buNone/>
              <a:defRPr sz="1799"/>
            </a:lvl3pPr>
            <a:lvl4pPr marL="1371154" indent="0" algn="ctr">
              <a:buNone/>
              <a:defRPr sz="1599"/>
            </a:lvl4pPr>
            <a:lvl5pPr marL="1828206" indent="0" algn="ctr">
              <a:buNone/>
              <a:defRPr sz="1599"/>
            </a:lvl5pPr>
            <a:lvl6pPr marL="2285257" indent="0" algn="ctr">
              <a:buNone/>
              <a:defRPr sz="1599"/>
            </a:lvl6pPr>
            <a:lvl7pPr marL="2742308" indent="0" algn="ctr">
              <a:buNone/>
              <a:defRPr sz="1599"/>
            </a:lvl7pPr>
            <a:lvl8pPr marL="3199360" indent="0" algn="ctr">
              <a:buNone/>
              <a:defRPr sz="1599"/>
            </a:lvl8pPr>
            <a:lvl9pPr marL="3656411" indent="0" algn="ctr">
              <a:buNone/>
              <a:defRPr sz="1599"/>
            </a:lvl9pPr>
          </a:lstStyle>
          <a:p>
            <a:r>
              <a:rPr lang="en-US" dirty="0"/>
              <a:t>Click to add subtitle</a:t>
            </a:r>
          </a:p>
        </p:txBody>
      </p:sp>
      <p:sp>
        <p:nvSpPr>
          <p:cNvPr id="3" name="Content Placeholder 2"/>
          <p:cNvSpPr>
            <a:spLocks noGrp="1"/>
          </p:cNvSpPr>
          <p:nvPr>
            <p:ph idx="1" hasCustomPrompt="1"/>
          </p:nvPr>
        </p:nvSpPr>
        <p:spPr>
          <a:xfrm>
            <a:off x="1075063" y="1629618"/>
            <a:ext cx="5220000" cy="4139357"/>
          </a:xfrm>
        </p:spPr>
        <p:txBody>
          <a:bodyPr/>
          <a:lstStyle>
            <a:lvl1pPr>
              <a:defRPr/>
            </a:lvl1pPr>
          </a:lstStyle>
          <a:p>
            <a:pPr lvl="0"/>
            <a:r>
              <a:rPr lang="en-US" dirty="0"/>
              <a:t>Click to add text or conten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Content Placeholder 2"/>
          <p:cNvSpPr>
            <a:spLocks noGrp="1"/>
          </p:cNvSpPr>
          <p:nvPr>
            <p:ph idx="17" hasCustomPrompt="1"/>
          </p:nvPr>
        </p:nvSpPr>
        <p:spPr>
          <a:xfrm>
            <a:off x="6600525" y="1629618"/>
            <a:ext cx="5220000" cy="4139357"/>
          </a:xfrm>
        </p:spPr>
        <p:txBody>
          <a:bodyPr/>
          <a:lstStyle>
            <a:lvl1pPr>
              <a:defRPr/>
            </a:lvl1pPr>
          </a:lstStyle>
          <a:p>
            <a:pPr lvl="0"/>
            <a:r>
              <a:rPr lang="en-US" dirty="0"/>
              <a:t>Click to add text or conten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4"/>
          <p:cNvSpPr>
            <a:spLocks noGrp="1"/>
          </p:cNvSpPr>
          <p:nvPr>
            <p:ph type="body" sz="quarter" idx="18" hasCustomPrompt="1"/>
          </p:nvPr>
        </p:nvSpPr>
        <p:spPr>
          <a:xfrm>
            <a:off x="1075064" y="6307665"/>
            <a:ext cx="8162717" cy="133200"/>
          </a:xfrm>
        </p:spPr>
        <p:txBody>
          <a:bodyPr lIns="0" tIns="0" rIns="0" bIns="0" anchor="b" anchorCtr="0"/>
          <a:lstStyle>
            <a:lvl1pPr marL="0" indent="0" algn="l">
              <a:lnSpc>
                <a:spcPct val="100000"/>
              </a:lnSpc>
              <a:spcBef>
                <a:spcPts val="0"/>
              </a:spcBef>
              <a:buNone/>
              <a:defRPr sz="800" baseline="0"/>
            </a:lvl1pPr>
            <a:lvl2pPr marL="0" indent="0" algn="l">
              <a:lnSpc>
                <a:spcPct val="100000"/>
              </a:lnSpc>
              <a:spcBef>
                <a:spcPts val="0"/>
              </a:spcBef>
              <a:buNone/>
              <a:defRPr sz="800"/>
            </a:lvl2pPr>
            <a:lvl3pPr marL="0" indent="0" algn="l">
              <a:lnSpc>
                <a:spcPct val="100000"/>
              </a:lnSpc>
              <a:spcBef>
                <a:spcPts val="0"/>
              </a:spcBef>
              <a:buNone/>
              <a:defRPr sz="800"/>
            </a:lvl3pPr>
            <a:lvl4pPr marL="0" algn="l">
              <a:lnSpc>
                <a:spcPct val="100000"/>
              </a:lnSpc>
              <a:spcBef>
                <a:spcPts val="0"/>
              </a:spcBef>
              <a:buNone/>
              <a:defRPr sz="800"/>
            </a:lvl4pPr>
            <a:lvl5pPr marL="0" indent="0" algn="l">
              <a:lnSpc>
                <a:spcPct val="100000"/>
              </a:lnSpc>
              <a:spcBef>
                <a:spcPts val="0"/>
              </a:spcBef>
              <a:buNone/>
              <a:defRPr sz="800"/>
            </a:lvl5pPr>
          </a:lstStyle>
          <a:p>
            <a:pPr lvl="0"/>
            <a:r>
              <a:rPr lang="en-US" dirty="0"/>
              <a:t>Source line</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723225811"/>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p:cSld name="Three contents">
    <p:spTree>
      <p:nvGrpSpPr>
        <p:cNvPr id="1" name=""/>
        <p:cNvGrpSpPr/>
        <p:nvPr/>
      </p:nvGrpSpPr>
      <p:grpSpPr>
        <a:xfrm>
          <a:off x="0" y="0"/>
          <a:ext cx="0" cy="0"/>
          <a:chOff x="0" y="0"/>
          <a:chExt cx="0" cy="0"/>
        </a:xfrm>
      </p:grpSpPr>
      <p:sp>
        <p:nvSpPr>
          <p:cNvPr id="21" name="Date Placeholder 20"/>
          <p:cNvSpPr>
            <a:spLocks noGrp="1"/>
          </p:cNvSpPr>
          <p:nvPr>
            <p:ph type="dt" sz="half" idx="14"/>
          </p:nvPr>
        </p:nvSpPr>
        <p:spPr/>
        <p:txBody>
          <a:bodyPr/>
          <a:lstStyle/>
          <a:p>
            <a:fld id="{E67FA33E-39D1-4C68-AC07-495881E0A93B}" type="datetime5">
              <a:rPr lang="en-US" smtClean="0"/>
              <a:t>26-Jun-20</a:t>
            </a:fld>
            <a:endParaRPr lang="en-US"/>
          </a:p>
        </p:txBody>
      </p:sp>
      <p:sp>
        <p:nvSpPr>
          <p:cNvPr id="22" name="Footer Placeholder 21"/>
          <p:cNvSpPr>
            <a:spLocks noGrp="1"/>
          </p:cNvSpPr>
          <p:nvPr>
            <p:ph type="ftr" sz="quarter" idx="15"/>
          </p:nvPr>
        </p:nvSpPr>
        <p:spPr/>
        <p:txBody>
          <a:bodyPr/>
          <a:lstStyle/>
          <a:p>
            <a:r>
              <a:rPr lang="en-US"/>
              <a:t>Title of presentation (Insert / Header &amp; Footer / Apply to All)</a:t>
            </a:r>
            <a:endParaRPr lang="en-US" dirty="0"/>
          </a:p>
        </p:txBody>
      </p:sp>
      <p:sp>
        <p:nvSpPr>
          <p:cNvPr id="23" name="Slide Number Placeholder 22"/>
          <p:cNvSpPr>
            <a:spLocks noGrp="1"/>
          </p:cNvSpPr>
          <p:nvPr>
            <p:ph type="sldNum" sz="quarter" idx="16"/>
          </p:nvPr>
        </p:nvSpPr>
        <p:spPr/>
        <p:txBody>
          <a:bodyPr/>
          <a:lstStyle/>
          <a:p>
            <a:fld id="{5F3E29E4-0979-4FCA-B4C5-5FC6044C982A}" type="slidenum">
              <a:rPr lang="en-US" smtClean="0"/>
              <a:t>‹#›</a:t>
            </a:fld>
            <a:endParaRPr lang="en-US"/>
          </a:p>
        </p:txBody>
      </p:sp>
      <p:sp>
        <p:nvSpPr>
          <p:cNvPr id="2" name="Title 1"/>
          <p:cNvSpPr>
            <a:spLocks noGrp="1"/>
          </p:cNvSpPr>
          <p:nvPr>
            <p:ph type="title" hasCustomPrompt="1"/>
          </p:nvPr>
        </p:nvSpPr>
        <p:spPr/>
        <p:txBody>
          <a:bodyPr/>
          <a:lstStyle>
            <a:lvl1pPr>
              <a:defRPr/>
            </a:lvl1pPr>
          </a:lstStyle>
          <a:p>
            <a:r>
              <a:rPr lang="en-US" dirty="0"/>
              <a:t>Click to add slide title</a:t>
            </a:r>
          </a:p>
        </p:txBody>
      </p:sp>
      <p:sp>
        <p:nvSpPr>
          <p:cNvPr id="7" name="Subtitle 2"/>
          <p:cNvSpPr>
            <a:spLocks noGrp="1"/>
          </p:cNvSpPr>
          <p:nvPr>
            <p:ph type="subTitle" idx="13" hasCustomPrompt="1"/>
          </p:nvPr>
        </p:nvSpPr>
        <p:spPr>
          <a:xfrm>
            <a:off x="1075062" y="964672"/>
            <a:ext cx="7910159" cy="490042"/>
          </a:xfrm>
        </p:spPr>
        <p:txBody>
          <a:bodyPr wrap="none"/>
          <a:lstStyle>
            <a:lvl1pPr marL="0" indent="0" algn="l">
              <a:spcBef>
                <a:spcPts val="0"/>
              </a:spcBef>
              <a:buNone/>
              <a:defRPr sz="2399"/>
            </a:lvl1pPr>
            <a:lvl2pPr marL="457051" indent="0" algn="ctr">
              <a:buNone/>
              <a:defRPr sz="1999"/>
            </a:lvl2pPr>
            <a:lvl3pPr marL="914103" indent="0" algn="ctr">
              <a:buNone/>
              <a:defRPr sz="1799"/>
            </a:lvl3pPr>
            <a:lvl4pPr marL="1371154" indent="0" algn="ctr">
              <a:buNone/>
              <a:defRPr sz="1599"/>
            </a:lvl4pPr>
            <a:lvl5pPr marL="1828206" indent="0" algn="ctr">
              <a:buNone/>
              <a:defRPr sz="1599"/>
            </a:lvl5pPr>
            <a:lvl6pPr marL="2285257" indent="0" algn="ctr">
              <a:buNone/>
              <a:defRPr sz="1599"/>
            </a:lvl6pPr>
            <a:lvl7pPr marL="2742308" indent="0" algn="ctr">
              <a:buNone/>
              <a:defRPr sz="1599"/>
            </a:lvl7pPr>
            <a:lvl8pPr marL="3199360" indent="0" algn="ctr">
              <a:buNone/>
              <a:defRPr sz="1599"/>
            </a:lvl8pPr>
            <a:lvl9pPr marL="3656411" indent="0" algn="ctr">
              <a:buNone/>
              <a:defRPr sz="1599"/>
            </a:lvl9pPr>
          </a:lstStyle>
          <a:p>
            <a:r>
              <a:rPr lang="en-US" dirty="0"/>
              <a:t>Click to add subtitle</a:t>
            </a:r>
          </a:p>
        </p:txBody>
      </p:sp>
      <p:sp>
        <p:nvSpPr>
          <p:cNvPr id="3" name="Content Placeholder 2"/>
          <p:cNvSpPr>
            <a:spLocks noGrp="1"/>
          </p:cNvSpPr>
          <p:nvPr>
            <p:ph idx="1" hasCustomPrompt="1"/>
          </p:nvPr>
        </p:nvSpPr>
        <p:spPr>
          <a:xfrm>
            <a:off x="1075061" y="1629618"/>
            <a:ext cx="3384000" cy="4139357"/>
          </a:xfrm>
        </p:spPr>
        <p:txBody>
          <a:bodyPr/>
          <a:lstStyle>
            <a:lvl1pPr>
              <a:defRPr/>
            </a:lvl1pPr>
          </a:lstStyle>
          <a:p>
            <a:pPr lvl="0"/>
            <a:r>
              <a:rPr lang="en-US" dirty="0"/>
              <a:t>Click to add text or conten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Content Placeholder 2"/>
          <p:cNvSpPr>
            <a:spLocks noGrp="1"/>
          </p:cNvSpPr>
          <p:nvPr>
            <p:ph idx="17" hasCustomPrompt="1"/>
          </p:nvPr>
        </p:nvSpPr>
        <p:spPr>
          <a:xfrm>
            <a:off x="4755793" y="1629618"/>
            <a:ext cx="3384000" cy="4139357"/>
          </a:xfrm>
        </p:spPr>
        <p:txBody>
          <a:bodyPr/>
          <a:lstStyle>
            <a:lvl1pPr>
              <a:defRPr/>
            </a:lvl1pPr>
          </a:lstStyle>
          <a:p>
            <a:pPr lvl="0"/>
            <a:r>
              <a:rPr lang="en-US" dirty="0"/>
              <a:t>Click to add text or conten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Content Placeholder 2"/>
          <p:cNvSpPr>
            <a:spLocks noGrp="1"/>
          </p:cNvSpPr>
          <p:nvPr>
            <p:ph idx="18" hasCustomPrompt="1"/>
          </p:nvPr>
        </p:nvSpPr>
        <p:spPr>
          <a:xfrm>
            <a:off x="8436525" y="1629618"/>
            <a:ext cx="3384000" cy="4139357"/>
          </a:xfrm>
        </p:spPr>
        <p:txBody>
          <a:bodyPr/>
          <a:lstStyle>
            <a:lvl1pPr>
              <a:defRPr/>
            </a:lvl1pPr>
          </a:lstStyle>
          <a:p>
            <a:pPr lvl="0"/>
            <a:r>
              <a:rPr lang="en-US" dirty="0"/>
              <a:t>Click to add text or conten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4"/>
          <p:cNvSpPr>
            <a:spLocks noGrp="1"/>
          </p:cNvSpPr>
          <p:nvPr>
            <p:ph type="body" sz="quarter" idx="19" hasCustomPrompt="1"/>
          </p:nvPr>
        </p:nvSpPr>
        <p:spPr>
          <a:xfrm>
            <a:off x="1075064" y="6307665"/>
            <a:ext cx="8162717" cy="133200"/>
          </a:xfrm>
        </p:spPr>
        <p:txBody>
          <a:bodyPr lIns="0" tIns="0" rIns="0" bIns="0" anchor="b" anchorCtr="0"/>
          <a:lstStyle>
            <a:lvl1pPr marL="0" indent="0" algn="l">
              <a:lnSpc>
                <a:spcPct val="100000"/>
              </a:lnSpc>
              <a:spcBef>
                <a:spcPts val="0"/>
              </a:spcBef>
              <a:buNone/>
              <a:defRPr sz="800" baseline="0"/>
            </a:lvl1pPr>
            <a:lvl2pPr marL="0" indent="0" algn="l">
              <a:lnSpc>
                <a:spcPct val="100000"/>
              </a:lnSpc>
              <a:spcBef>
                <a:spcPts val="0"/>
              </a:spcBef>
              <a:buNone/>
              <a:defRPr sz="800"/>
            </a:lvl2pPr>
            <a:lvl3pPr marL="0" indent="0" algn="l">
              <a:lnSpc>
                <a:spcPct val="100000"/>
              </a:lnSpc>
              <a:spcBef>
                <a:spcPts val="0"/>
              </a:spcBef>
              <a:buNone/>
              <a:defRPr sz="800"/>
            </a:lvl3pPr>
            <a:lvl4pPr marL="0" algn="l">
              <a:lnSpc>
                <a:spcPct val="100000"/>
              </a:lnSpc>
              <a:spcBef>
                <a:spcPts val="0"/>
              </a:spcBef>
              <a:buNone/>
              <a:defRPr sz="800"/>
            </a:lvl4pPr>
            <a:lvl5pPr marL="0" indent="0" algn="l">
              <a:lnSpc>
                <a:spcPct val="100000"/>
              </a:lnSpc>
              <a:spcBef>
                <a:spcPts val="0"/>
              </a:spcBef>
              <a:buNone/>
              <a:defRPr sz="800"/>
            </a:lvl5pPr>
          </a:lstStyle>
          <a:p>
            <a:pPr lvl="0"/>
            <a:r>
              <a:rPr lang="en-US" dirty="0"/>
              <a:t>Source line</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173758779"/>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p:cSld name="Four contents 1">
    <p:spTree>
      <p:nvGrpSpPr>
        <p:cNvPr id="1" name=""/>
        <p:cNvGrpSpPr/>
        <p:nvPr/>
      </p:nvGrpSpPr>
      <p:grpSpPr>
        <a:xfrm>
          <a:off x="0" y="0"/>
          <a:ext cx="0" cy="0"/>
          <a:chOff x="0" y="0"/>
          <a:chExt cx="0" cy="0"/>
        </a:xfrm>
      </p:grpSpPr>
      <p:sp>
        <p:nvSpPr>
          <p:cNvPr id="21" name="Date Placeholder 20"/>
          <p:cNvSpPr>
            <a:spLocks noGrp="1"/>
          </p:cNvSpPr>
          <p:nvPr>
            <p:ph type="dt" sz="half" idx="14"/>
          </p:nvPr>
        </p:nvSpPr>
        <p:spPr/>
        <p:txBody>
          <a:bodyPr/>
          <a:lstStyle/>
          <a:p>
            <a:fld id="{C2672A55-7139-4AA9-8041-42818C956C2C}" type="datetime5">
              <a:rPr lang="en-US" smtClean="0"/>
              <a:t>26-Jun-20</a:t>
            </a:fld>
            <a:endParaRPr lang="en-US"/>
          </a:p>
        </p:txBody>
      </p:sp>
      <p:sp>
        <p:nvSpPr>
          <p:cNvPr id="22" name="Footer Placeholder 21"/>
          <p:cNvSpPr>
            <a:spLocks noGrp="1"/>
          </p:cNvSpPr>
          <p:nvPr>
            <p:ph type="ftr" sz="quarter" idx="15"/>
          </p:nvPr>
        </p:nvSpPr>
        <p:spPr/>
        <p:txBody>
          <a:bodyPr/>
          <a:lstStyle/>
          <a:p>
            <a:r>
              <a:rPr lang="en-US"/>
              <a:t>Title of presentation (Insert / Header &amp; Footer / Apply to All)</a:t>
            </a:r>
            <a:endParaRPr lang="en-US" dirty="0"/>
          </a:p>
        </p:txBody>
      </p:sp>
      <p:sp>
        <p:nvSpPr>
          <p:cNvPr id="23" name="Slide Number Placeholder 22"/>
          <p:cNvSpPr>
            <a:spLocks noGrp="1"/>
          </p:cNvSpPr>
          <p:nvPr>
            <p:ph type="sldNum" sz="quarter" idx="16"/>
          </p:nvPr>
        </p:nvSpPr>
        <p:spPr/>
        <p:txBody>
          <a:bodyPr/>
          <a:lstStyle/>
          <a:p>
            <a:fld id="{5F3E29E4-0979-4FCA-B4C5-5FC6044C982A}" type="slidenum">
              <a:rPr lang="en-US" smtClean="0"/>
              <a:t>‹#›</a:t>
            </a:fld>
            <a:endParaRPr lang="en-US"/>
          </a:p>
        </p:txBody>
      </p:sp>
      <p:sp>
        <p:nvSpPr>
          <p:cNvPr id="2" name="Title 1"/>
          <p:cNvSpPr>
            <a:spLocks noGrp="1"/>
          </p:cNvSpPr>
          <p:nvPr>
            <p:ph type="title" hasCustomPrompt="1"/>
          </p:nvPr>
        </p:nvSpPr>
        <p:spPr/>
        <p:txBody>
          <a:bodyPr/>
          <a:lstStyle>
            <a:lvl1pPr>
              <a:defRPr/>
            </a:lvl1pPr>
          </a:lstStyle>
          <a:p>
            <a:r>
              <a:rPr lang="en-US" dirty="0"/>
              <a:t>Click to add slide title</a:t>
            </a:r>
          </a:p>
        </p:txBody>
      </p:sp>
      <p:sp>
        <p:nvSpPr>
          <p:cNvPr id="7" name="Subtitle 2"/>
          <p:cNvSpPr>
            <a:spLocks noGrp="1"/>
          </p:cNvSpPr>
          <p:nvPr>
            <p:ph type="subTitle" idx="13" hasCustomPrompt="1"/>
          </p:nvPr>
        </p:nvSpPr>
        <p:spPr>
          <a:xfrm>
            <a:off x="1075062" y="964672"/>
            <a:ext cx="7910159" cy="490042"/>
          </a:xfrm>
        </p:spPr>
        <p:txBody>
          <a:bodyPr wrap="none"/>
          <a:lstStyle>
            <a:lvl1pPr marL="0" indent="0" algn="l">
              <a:spcBef>
                <a:spcPts val="0"/>
              </a:spcBef>
              <a:buNone/>
              <a:defRPr sz="2399" baseline="0"/>
            </a:lvl1pPr>
            <a:lvl2pPr marL="457051" indent="0" algn="ctr">
              <a:buNone/>
              <a:defRPr sz="1999"/>
            </a:lvl2pPr>
            <a:lvl3pPr marL="914103" indent="0" algn="ctr">
              <a:buNone/>
              <a:defRPr sz="1799"/>
            </a:lvl3pPr>
            <a:lvl4pPr marL="1371154" indent="0" algn="ctr">
              <a:buNone/>
              <a:defRPr sz="1599"/>
            </a:lvl4pPr>
            <a:lvl5pPr marL="1828206" indent="0" algn="ctr">
              <a:buNone/>
              <a:defRPr sz="1599"/>
            </a:lvl5pPr>
            <a:lvl6pPr marL="2285257" indent="0" algn="ctr">
              <a:buNone/>
              <a:defRPr sz="1599"/>
            </a:lvl6pPr>
            <a:lvl7pPr marL="2742308" indent="0" algn="ctr">
              <a:buNone/>
              <a:defRPr sz="1599"/>
            </a:lvl7pPr>
            <a:lvl8pPr marL="3199360" indent="0" algn="ctr">
              <a:buNone/>
              <a:defRPr sz="1599"/>
            </a:lvl8pPr>
            <a:lvl9pPr marL="3656411" indent="0" algn="ctr">
              <a:buNone/>
              <a:defRPr sz="1599"/>
            </a:lvl9pPr>
          </a:lstStyle>
          <a:p>
            <a:r>
              <a:rPr lang="en-US" dirty="0"/>
              <a:t>Click to add subtitle</a:t>
            </a:r>
          </a:p>
        </p:txBody>
      </p:sp>
      <p:sp>
        <p:nvSpPr>
          <p:cNvPr id="3" name="Content Placeholder 2"/>
          <p:cNvSpPr>
            <a:spLocks noGrp="1"/>
          </p:cNvSpPr>
          <p:nvPr>
            <p:ph idx="1" hasCustomPrompt="1"/>
          </p:nvPr>
        </p:nvSpPr>
        <p:spPr>
          <a:xfrm>
            <a:off x="192088" y="1629618"/>
            <a:ext cx="2682000" cy="4139357"/>
          </a:xfrm>
        </p:spPr>
        <p:txBody>
          <a:bodyPr/>
          <a:lstStyle>
            <a:lvl1pPr>
              <a:defRPr/>
            </a:lvl1pPr>
          </a:lstStyle>
          <a:p>
            <a:pPr lvl="0"/>
            <a:r>
              <a:rPr lang="en-US" dirty="0"/>
              <a:t>Click to add text or conten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Content Placeholder 2"/>
          <p:cNvSpPr>
            <a:spLocks noGrp="1"/>
          </p:cNvSpPr>
          <p:nvPr>
            <p:ph idx="17" hasCustomPrompt="1"/>
          </p:nvPr>
        </p:nvSpPr>
        <p:spPr>
          <a:xfrm>
            <a:off x="3174235" y="1629618"/>
            <a:ext cx="2682000" cy="4139357"/>
          </a:xfrm>
        </p:spPr>
        <p:txBody>
          <a:bodyPr/>
          <a:lstStyle>
            <a:lvl1pPr>
              <a:defRPr/>
            </a:lvl1pPr>
          </a:lstStyle>
          <a:p>
            <a:pPr lvl="0"/>
            <a:r>
              <a:rPr lang="en-US" dirty="0"/>
              <a:t>Click to add text or conten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Content Placeholder 2"/>
          <p:cNvSpPr>
            <a:spLocks noGrp="1"/>
          </p:cNvSpPr>
          <p:nvPr>
            <p:ph idx="18" hasCustomPrompt="1"/>
          </p:nvPr>
        </p:nvSpPr>
        <p:spPr>
          <a:xfrm>
            <a:off x="6156380" y="1629618"/>
            <a:ext cx="2682000" cy="4139357"/>
          </a:xfrm>
        </p:spPr>
        <p:txBody>
          <a:bodyPr/>
          <a:lstStyle>
            <a:lvl1pPr>
              <a:defRPr/>
            </a:lvl1pPr>
          </a:lstStyle>
          <a:p>
            <a:pPr lvl="0"/>
            <a:r>
              <a:rPr lang="en-US" dirty="0"/>
              <a:t>Click to add text or conten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Content Placeholder 2"/>
          <p:cNvSpPr>
            <a:spLocks noGrp="1"/>
          </p:cNvSpPr>
          <p:nvPr>
            <p:ph idx="19" hasCustomPrompt="1"/>
          </p:nvPr>
        </p:nvSpPr>
        <p:spPr>
          <a:xfrm>
            <a:off x="9138525" y="1629618"/>
            <a:ext cx="2682000" cy="4139357"/>
          </a:xfrm>
        </p:spPr>
        <p:txBody>
          <a:bodyPr/>
          <a:lstStyle>
            <a:lvl1pPr>
              <a:defRPr/>
            </a:lvl1pPr>
          </a:lstStyle>
          <a:p>
            <a:pPr lvl="0"/>
            <a:r>
              <a:rPr lang="en-US" dirty="0"/>
              <a:t>Click to add text or conten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4"/>
          <p:cNvSpPr>
            <a:spLocks noGrp="1"/>
          </p:cNvSpPr>
          <p:nvPr>
            <p:ph type="body" sz="quarter" idx="20" hasCustomPrompt="1"/>
          </p:nvPr>
        </p:nvSpPr>
        <p:spPr>
          <a:xfrm>
            <a:off x="1075064" y="6307665"/>
            <a:ext cx="8162717" cy="133200"/>
          </a:xfrm>
        </p:spPr>
        <p:txBody>
          <a:bodyPr lIns="0" tIns="0" rIns="0" bIns="0" anchor="b" anchorCtr="0"/>
          <a:lstStyle>
            <a:lvl1pPr marL="0" indent="0" algn="l">
              <a:lnSpc>
                <a:spcPct val="100000"/>
              </a:lnSpc>
              <a:spcBef>
                <a:spcPts val="0"/>
              </a:spcBef>
              <a:buNone/>
              <a:defRPr sz="800" baseline="0"/>
            </a:lvl1pPr>
            <a:lvl2pPr marL="0" indent="0" algn="l">
              <a:lnSpc>
                <a:spcPct val="100000"/>
              </a:lnSpc>
              <a:spcBef>
                <a:spcPts val="0"/>
              </a:spcBef>
              <a:buNone/>
              <a:defRPr sz="800"/>
            </a:lvl2pPr>
            <a:lvl3pPr marL="0" indent="0" algn="l">
              <a:lnSpc>
                <a:spcPct val="100000"/>
              </a:lnSpc>
              <a:spcBef>
                <a:spcPts val="0"/>
              </a:spcBef>
              <a:buNone/>
              <a:defRPr sz="800"/>
            </a:lvl3pPr>
            <a:lvl4pPr marL="0" algn="l">
              <a:lnSpc>
                <a:spcPct val="100000"/>
              </a:lnSpc>
              <a:spcBef>
                <a:spcPts val="0"/>
              </a:spcBef>
              <a:buNone/>
              <a:defRPr sz="800"/>
            </a:lvl4pPr>
            <a:lvl5pPr marL="0" indent="0" algn="l">
              <a:lnSpc>
                <a:spcPct val="100000"/>
              </a:lnSpc>
              <a:spcBef>
                <a:spcPts val="0"/>
              </a:spcBef>
              <a:buNone/>
              <a:defRPr sz="800"/>
            </a:lvl5pPr>
          </a:lstStyle>
          <a:p>
            <a:pPr lvl="0"/>
            <a:r>
              <a:rPr lang="en-US" dirty="0"/>
              <a:t>Source line</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624626722"/>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p:cSld name="Four contents 2">
    <p:spTree>
      <p:nvGrpSpPr>
        <p:cNvPr id="1" name=""/>
        <p:cNvGrpSpPr/>
        <p:nvPr/>
      </p:nvGrpSpPr>
      <p:grpSpPr>
        <a:xfrm>
          <a:off x="0" y="0"/>
          <a:ext cx="0" cy="0"/>
          <a:chOff x="0" y="0"/>
          <a:chExt cx="0" cy="0"/>
        </a:xfrm>
      </p:grpSpPr>
      <p:sp>
        <p:nvSpPr>
          <p:cNvPr id="21" name="Date Placeholder 20"/>
          <p:cNvSpPr>
            <a:spLocks noGrp="1"/>
          </p:cNvSpPr>
          <p:nvPr>
            <p:ph type="dt" sz="half" idx="14"/>
          </p:nvPr>
        </p:nvSpPr>
        <p:spPr/>
        <p:txBody>
          <a:bodyPr/>
          <a:lstStyle/>
          <a:p>
            <a:fld id="{C1A94770-6330-463A-BD32-DB4363F98C83}" type="datetime5">
              <a:rPr lang="en-US" smtClean="0"/>
              <a:t>26-Jun-20</a:t>
            </a:fld>
            <a:endParaRPr lang="en-US"/>
          </a:p>
        </p:txBody>
      </p:sp>
      <p:sp>
        <p:nvSpPr>
          <p:cNvPr id="22" name="Footer Placeholder 21"/>
          <p:cNvSpPr>
            <a:spLocks noGrp="1"/>
          </p:cNvSpPr>
          <p:nvPr>
            <p:ph type="ftr" sz="quarter" idx="15"/>
          </p:nvPr>
        </p:nvSpPr>
        <p:spPr/>
        <p:txBody>
          <a:bodyPr/>
          <a:lstStyle/>
          <a:p>
            <a:r>
              <a:rPr lang="en-US"/>
              <a:t>Title of presentation (Insert / Header &amp; Footer / Apply to All)</a:t>
            </a:r>
            <a:endParaRPr lang="en-US" dirty="0"/>
          </a:p>
        </p:txBody>
      </p:sp>
      <p:sp>
        <p:nvSpPr>
          <p:cNvPr id="23" name="Slide Number Placeholder 22"/>
          <p:cNvSpPr>
            <a:spLocks noGrp="1"/>
          </p:cNvSpPr>
          <p:nvPr>
            <p:ph type="sldNum" sz="quarter" idx="16"/>
          </p:nvPr>
        </p:nvSpPr>
        <p:spPr/>
        <p:txBody>
          <a:bodyPr/>
          <a:lstStyle/>
          <a:p>
            <a:fld id="{5F3E29E4-0979-4FCA-B4C5-5FC6044C982A}" type="slidenum">
              <a:rPr lang="en-US" smtClean="0"/>
              <a:t>‹#›</a:t>
            </a:fld>
            <a:endParaRPr lang="en-US"/>
          </a:p>
        </p:txBody>
      </p:sp>
      <p:sp>
        <p:nvSpPr>
          <p:cNvPr id="2" name="Title 1"/>
          <p:cNvSpPr>
            <a:spLocks noGrp="1"/>
          </p:cNvSpPr>
          <p:nvPr>
            <p:ph type="title" hasCustomPrompt="1"/>
          </p:nvPr>
        </p:nvSpPr>
        <p:spPr/>
        <p:txBody>
          <a:bodyPr/>
          <a:lstStyle>
            <a:lvl1pPr>
              <a:defRPr/>
            </a:lvl1pPr>
          </a:lstStyle>
          <a:p>
            <a:r>
              <a:rPr lang="en-US" dirty="0"/>
              <a:t>Click to add slide title</a:t>
            </a:r>
          </a:p>
        </p:txBody>
      </p:sp>
      <p:sp>
        <p:nvSpPr>
          <p:cNvPr id="7" name="Subtitle 2"/>
          <p:cNvSpPr>
            <a:spLocks noGrp="1"/>
          </p:cNvSpPr>
          <p:nvPr>
            <p:ph type="subTitle" idx="13" hasCustomPrompt="1"/>
          </p:nvPr>
        </p:nvSpPr>
        <p:spPr>
          <a:xfrm>
            <a:off x="1075062" y="964672"/>
            <a:ext cx="7910159" cy="490042"/>
          </a:xfrm>
        </p:spPr>
        <p:txBody>
          <a:bodyPr wrap="none"/>
          <a:lstStyle>
            <a:lvl1pPr marL="0" indent="0" algn="l">
              <a:spcBef>
                <a:spcPts val="0"/>
              </a:spcBef>
              <a:buNone/>
              <a:defRPr sz="2399"/>
            </a:lvl1pPr>
            <a:lvl2pPr marL="457051" indent="0" algn="ctr">
              <a:buNone/>
              <a:defRPr sz="1999"/>
            </a:lvl2pPr>
            <a:lvl3pPr marL="914103" indent="0" algn="ctr">
              <a:buNone/>
              <a:defRPr sz="1799"/>
            </a:lvl3pPr>
            <a:lvl4pPr marL="1371154" indent="0" algn="ctr">
              <a:buNone/>
              <a:defRPr sz="1599"/>
            </a:lvl4pPr>
            <a:lvl5pPr marL="1828206" indent="0" algn="ctr">
              <a:buNone/>
              <a:defRPr sz="1599"/>
            </a:lvl5pPr>
            <a:lvl6pPr marL="2285257" indent="0" algn="ctr">
              <a:buNone/>
              <a:defRPr sz="1599"/>
            </a:lvl6pPr>
            <a:lvl7pPr marL="2742308" indent="0" algn="ctr">
              <a:buNone/>
              <a:defRPr sz="1599"/>
            </a:lvl7pPr>
            <a:lvl8pPr marL="3199360" indent="0" algn="ctr">
              <a:buNone/>
              <a:defRPr sz="1599"/>
            </a:lvl8pPr>
            <a:lvl9pPr marL="3656411" indent="0" algn="ctr">
              <a:buNone/>
              <a:defRPr sz="1599"/>
            </a:lvl9pPr>
          </a:lstStyle>
          <a:p>
            <a:r>
              <a:rPr lang="en-US" dirty="0"/>
              <a:t>Click to add subtitle</a:t>
            </a:r>
          </a:p>
        </p:txBody>
      </p:sp>
      <p:sp>
        <p:nvSpPr>
          <p:cNvPr id="3" name="Content Placeholder 2"/>
          <p:cNvSpPr>
            <a:spLocks noGrp="1"/>
          </p:cNvSpPr>
          <p:nvPr>
            <p:ph idx="1" hasCustomPrompt="1"/>
          </p:nvPr>
        </p:nvSpPr>
        <p:spPr>
          <a:xfrm>
            <a:off x="192088" y="1629617"/>
            <a:ext cx="6102975" cy="2160000"/>
          </a:xfrm>
        </p:spPr>
        <p:txBody>
          <a:bodyPr/>
          <a:lstStyle>
            <a:lvl1pPr>
              <a:defRPr/>
            </a:lvl1pPr>
          </a:lstStyle>
          <a:p>
            <a:pPr lvl="0"/>
            <a:r>
              <a:rPr lang="en-US" dirty="0"/>
              <a:t>Click to add text or conten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Content Placeholder 2"/>
          <p:cNvSpPr>
            <a:spLocks noGrp="1"/>
          </p:cNvSpPr>
          <p:nvPr>
            <p:ph idx="17" hasCustomPrompt="1"/>
          </p:nvPr>
        </p:nvSpPr>
        <p:spPr>
          <a:xfrm>
            <a:off x="6600525" y="1629617"/>
            <a:ext cx="5234144" cy="2160000"/>
          </a:xfrm>
        </p:spPr>
        <p:txBody>
          <a:bodyPr/>
          <a:lstStyle>
            <a:lvl1pPr>
              <a:defRPr/>
            </a:lvl1pPr>
          </a:lstStyle>
          <a:p>
            <a:pPr lvl="0"/>
            <a:r>
              <a:rPr lang="en-US" dirty="0"/>
              <a:t>Click to add text or conten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Content Placeholder 2"/>
          <p:cNvSpPr>
            <a:spLocks noGrp="1"/>
          </p:cNvSpPr>
          <p:nvPr>
            <p:ph idx="18" hasCustomPrompt="1"/>
          </p:nvPr>
        </p:nvSpPr>
        <p:spPr>
          <a:xfrm>
            <a:off x="192088" y="4077289"/>
            <a:ext cx="6102975" cy="2160000"/>
          </a:xfrm>
        </p:spPr>
        <p:txBody>
          <a:bodyPr/>
          <a:lstStyle>
            <a:lvl1pPr>
              <a:defRPr/>
            </a:lvl1pPr>
          </a:lstStyle>
          <a:p>
            <a:pPr lvl="0"/>
            <a:r>
              <a:rPr lang="en-US" dirty="0"/>
              <a:t>Click to add text or conten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Content Placeholder 2"/>
          <p:cNvSpPr>
            <a:spLocks noGrp="1"/>
          </p:cNvSpPr>
          <p:nvPr>
            <p:ph idx="19" hasCustomPrompt="1"/>
          </p:nvPr>
        </p:nvSpPr>
        <p:spPr>
          <a:xfrm>
            <a:off x="6600525" y="4077289"/>
            <a:ext cx="5234144" cy="2160000"/>
          </a:xfrm>
        </p:spPr>
        <p:txBody>
          <a:bodyPr/>
          <a:lstStyle>
            <a:lvl1pPr>
              <a:defRPr/>
            </a:lvl1pPr>
          </a:lstStyle>
          <a:p>
            <a:pPr lvl="0"/>
            <a:r>
              <a:rPr lang="en-US" dirty="0"/>
              <a:t>Click to add text or conten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4"/>
          <p:cNvSpPr>
            <a:spLocks noGrp="1"/>
          </p:cNvSpPr>
          <p:nvPr>
            <p:ph type="body" sz="quarter" idx="20" hasCustomPrompt="1"/>
          </p:nvPr>
        </p:nvSpPr>
        <p:spPr>
          <a:xfrm>
            <a:off x="1075064" y="6307665"/>
            <a:ext cx="8162717" cy="133200"/>
          </a:xfrm>
        </p:spPr>
        <p:txBody>
          <a:bodyPr lIns="0" tIns="0" rIns="0" bIns="0" anchor="b" anchorCtr="0"/>
          <a:lstStyle>
            <a:lvl1pPr marL="0" indent="0" algn="l">
              <a:lnSpc>
                <a:spcPct val="100000"/>
              </a:lnSpc>
              <a:spcBef>
                <a:spcPts val="0"/>
              </a:spcBef>
              <a:buNone/>
              <a:defRPr sz="800" baseline="0"/>
            </a:lvl1pPr>
            <a:lvl2pPr marL="0" indent="0" algn="l">
              <a:lnSpc>
                <a:spcPct val="100000"/>
              </a:lnSpc>
              <a:spcBef>
                <a:spcPts val="0"/>
              </a:spcBef>
              <a:buNone/>
              <a:defRPr sz="800"/>
            </a:lvl2pPr>
            <a:lvl3pPr marL="0" indent="0" algn="l">
              <a:lnSpc>
                <a:spcPct val="100000"/>
              </a:lnSpc>
              <a:spcBef>
                <a:spcPts val="0"/>
              </a:spcBef>
              <a:buNone/>
              <a:defRPr sz="800"/>
            </a:lvl3pPr>
            <a:lvl4pPr marL="0" algn="l">
              <a:lnSpc>
                <a:spcPct val="100000"/>
              </a:lnSpc>
              <a:spcBef>
                <a:spcPts val="0"/>
              </a:spcBef>
              <a:buNone/>
              <a:defRPr sz="800"/>
            </a:lvl4pPr>
            <a:lvl5pPr marL="0" indent="0" algn="l">
              <a:lnSpc>
                <a:spcPct val="100000"/>
              </a:lnSpc>
              <a:spcBef>
                <a:spcPts val="0"/>
              </a:spcBef>
              <a:buNone/>
              <a:defRPr sz="800"/>
            </a:lvl5pPr>
          </a:lstStyle>
          <a:p>
            <a:pPr lvl="0"/>
            <a:r>
              <a:rPr lang="en-US" dirty="0"/>
              <a:t>Source line</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205949062"/>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p:cSld name="Large charts and tables">
    <p:spTree>
      <p:nvGrpSpPr>
        <p:cNvPr id="1" name=""/>
        <p:cNvGrpSpPr/>
        <p:nvPr/>
      </p:nvGrpSpPr>
      <p:grpSpPr>
        <a:xfrm>
          <a:off x="0" y="0"/>
          <a:ext cx="0" cy="0"/>
          <a:chOff x="0" y="0"/>
          <a:chExt cx="0" cy="0"/>
        </a:xfrm>
      </p:grpSpPr>
      <p:sp>
        <p:nvSpPr>
          <p:cNvPr id="21" name="Date Placeholder 20"/>
          <p:cNvSpPr>
            <a:spLocks noGrp="1"/>
          </p:cNvSpPr>
          <p:nvPr>
            <p:ph type="dt" sz="half" idx="14"/>
          </p:nvPr>
        </p:nvSpPr>
        <p:spPr/>
        <p:txBody>
          <a:bodyPr/>
          <a:lstStyle/>
          <a:p>
            <a:fld id="{C8265AAA-10E5-49CF-B48E-DC443F79F14E}" type="datetime5">
              <a:rPr lang="en-US" smtClean="0"/>
              <a:t>26-Jun-20</a:t>
            </a:fld>
            <a:endParaRPr lang="en-US"/>
          </a:p>
        </p:txBody>
      </p:sp>
      <p:sp>
        <p:nvSpPr>
          <p:cNvPr id="22" name="Footer Placeholder 21"/>
          <p:cNvSpPr>
            <a:spLocks noGrp="1"/>
          </p:cNvSpPr>
          <p:nvPr>
            <p:ph type="ftr" sz="quarter" idx="15"/>
          </p:nvPr>
        </p:nvSpPr>
        <p:spPr/>
        <p:txBody>
          <a:bodyPr/>
          <a:lstStyle/>
          <a:p>
            <a:r>
              <a:rPr lang="en-US"/>
              <a:t>Title of presentation (Insert / Header &amp; Footer / Apply to All)</a:t>
            </a:r>
            <a:endParaRPr lang="en-US" dirty="0"/>
          </a:p>
        </p:txBody>
      </p:sp>
      <p:sp>
        <p:nvSpPr>
          <p:cNvPr id="23" name="Slide Number Placeholder 22"/>
          <p:cNvSpPr>
            <a:spLocks noGrp="1"/>
          </p:cNvSpPr>
          <p:nvPr>
            <p:ph type="sldNum" sz="quarter" idx="16"/>
          </p:nvPr>
        </p:nvSpPr>
        <p:spPr/>
        <p:txBody>
          <a:bodyPr/>
          <a:lstStyle/>
          <a:p>
            <a:fld id="{5F3E29E4-0979-4FCA-B4C5-5FC6044C982A}" type="slidenum">
              <a:rPr lang="en-US" smtClean="0"/>
              <a:t>‹#›</a:t>
            </a:fld>
            <a:endParaRPr lang="en-US"/>
          </a:p>
        </p:txBody>
      </p:sp>
      <p:sp>
        <p:nvSpPr>
          <p:cNvPr id="2" name="Title 1"/>
          <p:cNvSpPr>
            <a:spLocks noGrp="1"/>
          </p:cNvSpPr>
          <p:nvPr>
            <p:ph type="title" hasCustomPrompt="1"/>
          </p:nvPr>
        </p:nvSpPr>
        <p:spPr/>
        <p:txBody>
          <a:bodyPr/>
          <a:lstStyle>
            <a:lvl1pPr>
              <a:defRPr/>
            </a:lvl1pPr>
          </a:lstStyle>
          <a:p>
            <a:r>
              <a:rPr lang="en-US" dirty="0"/>
              <a:t>Click to add slide title</a:t>
            </a:r>
          </a:p>
        </p:txBody>
      </p:sp>
      <p:sp>
        <p:nvSpPr>
          <p:cNvPr id="7" name="Subtitle 2"/>
          <p:cNvSpPr>
            <a:spLocks noGrp="1"/>
          </p:cNvSpPr>
          <p:nvPr>
            <p:ph type="subTitle" idx="13" hasCustomPrompt="1"/>
          </p:nvPr>
        </p:nvSpPr>
        <p:spPr>
          <a:xfrm>
            <a:off x="1075062" y="964672"/>
            <a:ext cx="7910159" cy="490042"/>
          </a:xfrm>
        </p:spPr>
        <p:txBody>
          <a:bodyPr wrap="none"/>
          <a:lstStyle>
            <a:lvl1pPr marL="0" indent="0" algn="l">
              <a:spcBef>
                <a:spcPts val="0"/>
              </a:spcBef>
              <a:buNone/>
              <a:defRPr sz="2399"/>
            </a:lvl1pPr>
            <a:lvl2pPr marL="457051" indent="0" algn="ctr">
              <a:buNone/>
              <a:defRPr sz="1999"/>
            </a:lvl2pPr>
            <a:lvl3pPr marL="914103" indent="0" algn="ctr">
              <a:buNone/>
              <a:defRPr sz="1799"/>
            </a:lvl3pPr>
            <a:lvl4pPr marL="1371154" indent="0" algn="ctr">
              <a:buNone/>
              <a:defRPr sz="1599"/>
            </a:lvl4pPr>
            <a:lvl5pPr marL="1828206" indent="0" algn="ctr">
              <a:buNone/>
              <a:defRPr sz="1599"/>
            </a:lvl5pPr>
            <a:lvl6pPr marL="2285257" indent="0" algn="ctr">
              <a:buNone/>
              <a:defRPr sz="1599"/>
            </a:lvl6pPr>
            <a:lvl7pPr marL="2742308" indent="0" algn="ctr">
              <a:buNone/>
              <a:defRPr sz="1599"/>
            </a:lvl7pPr>
            <a:lvl8pPr marL="3199360" indent="0" algn="ctr">
              <a:buNone/>
              <a:defRPr sz="1599"/>
            </a:lvl8pPr>
            <a:lvl9pPr marL="3656411" indent="0" algn="ctr">
              <a:buNone/>
              <a:defRPr sz="1599"/>
            </a:lvl9pPr>
          </a:lstStyle>
          <a:p>
            <a:r>
              <a:rPr lang="en-US" dirty="0"/>
              <a:t>Click to add subtitle</a:t>
            </a:r>
          </a:p>
        </p:txBody>
      </p:sp>
      <p:sp>
        <p:nvSpPr>
          <p:cNvPr id="3" name="Content Placeholder 2"/>
          <p:cNvSpPr>
            <a:spLocks noGrp="1"/>
          </p:cNvSpPr>
          <p:nvPr>
            <p:ph idx="1" hasCustomPrompt="1"/>
          </p:nvPr>
        </p:nvSpPr>
        <p:spPr>
          <a:xfrm>
            <a:off x="192088" y="1629617"/>
            <a:ext cx="11642581" cy="4599507"/>
          </a:xfrm>
        </p:spPr>
        <p:txBody>
          <a:bodyPr anchor="t"/>
          <a:lstStyle>
            <a:lvl1pPr marL="0" indent="0" algn="ctr">
              <a:spcBef>
                <a:spcPts val="1000"/>
              </a:spcBef>
              <a:buNone/>
              <a:defRPr sz="2799" baseline="0"/>
            </a:lvl1pPr>
            <a:lvl2pPr marL="0" indent="0">
              <a:spcBef>
                <a:spcPts val="1000"/>
              </a:spcBef>
              <a:buNone/>
              <a:defRPr sz="2799"/>
            </a:lvl2pPr>
            <a:lvl3pPr marL="0" indent="0">
              <a:spcBef>
                <a:spcPts val="1000"/>
              </a:spcBef>
              <a:buNone/>
              <a:defRPr sz="2799"/>
            </a:lvl3pPr>
            <a:lvl4pPr>
              <a:spcBef>
                <a:spcPts val="1000"/>
              </a:spcBef>
              <a:buNone/>
              <a:defRPr sz="2799"/>
            </a:lvl4pPr>
            <a:lvl5pPr marL="0" indent="0">
              <a:spcBef>
                <a:spcPts val="1000"/>
              </a:spcBef>
              <a:buNone/>
              <a:defRPr sz="2799"/>
            </a:lvl5pPr>
          </a:lstStyle>
          <a:p>
            <a:pPr lvl="0"/>
            <a:r>
              <a:rPr lang="en-US" dirty="0"/>
              <a:t>Use this layout for large charts and tables only. Please, do not use with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4"/>
          <p:cNvSpPr>
            <a:spLocks noGrp="1"/>
          </p:cNvSpPr>
          <p:nvPr>
            <p:ph type="body" sz="quarter" idx="17" hasCustomPrompt="1"/>
          </p:nvPr>
        </p:nvSpPr>
        <p:spPr>
          <a:xfrm>
            <a:off x="1075064" y="6307665"/>
            <a:ext cx="8162717" cy="133200"/>
          </a:xfrm>
        </p:spPr>
        <p:txBody>
          <a:bodyPr lIns="0" tIns="0" rIns="0" bIns="0" anchor="b" anchorCtr="0"/>
          <a:lstStyle>
            <a:lvl1pPr marL="0" indent="0" algn="l">
              <a:lnSpc>
                <a:spcPct val="100000"/>
              </a:lnSpc>
              <a:spcBef>
                <a:spcPts val="0"/>
              </a:spcBef>
              <a:buNone/>
              <a:defRPr sz="800" baseline="0"/>
            </a:lvl1pPr>
            <a:lvl2pPr marL="0" indent="0" algn="l">
              <a:lnSpc>
                <a:spcPct val="100000"/>
              </a:lnSpc>
              <a:spcBef>
                <a:spcPts val="0"/>
              </a:spcBef>
              <a:buNone/>
              <a:defRPr sz="800"/>
            </a:lvl2pPr>
            <a:lvl3pPr marL="0" indent="0" algn="l">
              <a:lnSpc>
                <a:spcPct val="100000"/>
              </a:lnSpc>
              <a:spcBef>
                <a:spcPts val="0"/>
              </a:spcBef>
              <a:buNone/>
              <a:defRPr sz="800"/>
            </a:lvl3pPr>
            <a:lvl4pPr marL="0" algn="l">
              <a:lnSpc>
                <a:spcPct val="100000"/>
              </a:lnSpc>
              <a:spcBef>
                <a:spcPts val="0"/>
              </a:spcBef>
              <a:buNone/>
              <a:defRPr sz="800"/>
            </a:lvl4pPr>
            <a:lvl5pPr marL="0" indent="0" algn="l">
              <a:lnSpc>
                <a:spcPct val="100000"/>
              </a:lnSpc>
              <a:spcBef>
                <a:spcPts val="0"/>
              </a:spcBef>
              <a:buNone/>
              <a:defRPr sz="800"/>
            </a:lvl5pPr>
          </a:lstStyle>
          <a:p>
            <a:pPr lvl="0"/>
            <a:r>
              <a:rPr lang="en-US" dirty="0"/>
              <a:t>Source line</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055194844"/>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p:cSld name="Chart with description">
    <p:spTree>
      <p:nvGrpSpPr>
        <p:cNvPr id="1" name=""/>
        <p:cNvGrpSpPr/>
        <p:nvPr/>
      </p:nvGrpSpPr>
      <p:grpSpPr>
        <a:xfrm>
          <a:off x="0" y="0"/>
          <a:ext cx="0" cy="0"/>
          <a:chOff x="0" y="0"/>
          <a:chExt cx="0" cy="0"/>
        </a:xfrm>
      </p:grpSpPr>
      <p:sp>
        <p:nvSpPr>
          <p:cNvPr id="21" name="Date Placeholder 20"/>
          <p:cNvSpPr>
            <a:spLocks noGrp="1"/>
          </p:cNvSpPr>
          <p:nvPr>
            <p:ph type="dt" sz="half" idx="14"/>
          </p:nvPr>
        </p:nvSpPr>
        <p:spPr/>
        <p:txBody>
          <a:bodyPr/>
          <a:lstStyle/>
          <a:p>
            <a:fld id="{7E0CC7EF-9DF0-4DDD-B873-4143C4455B77}" type="datetime5">
              <a:rPr lang="en-US" smtClean="0"/>
              <a:t>26-Jun-20</a:t>
            </a:fld>
            <a:endParaRPr lang="en-US"/>
          </a:p>
        </p:txBody>
      </p:sp>
      <p:sp>
        <p:nvSpPr>
          <p:cNvPr id="22" name="Footer Placeholder 21"/>
          <p:cNvSpPr>
            <a:spLocks noGrp="1"/>
          </p:cNvSpPr>
          <p:nvPr>
            <p:ph type="ftr" sz="quarter" idx="15"/>
          </p:nvPr>
        </p:nvSpPr>
        <p:spPr/>
        <p:txBody>
          <a:bodyPr/>
          <a:lstStyle/>
          <a:p>
            <a:r>
              <a:rPr lang="en-US"/>
              <a:t>Title of presentation (Insert / Header &amp; Footer / Apply to All)</a:t>
            </a:r>
            <a:endParaRPr lang="en-US" dirty="0"/>
          </a:p>
        </p:txBody>
      </p:sp>
      <p:sp>
        <p:nvSpPr>
          <p:cNvPr id="23" name="Slide Number Placeholder 22"/>
          <p:cNvSpPr>
            <a:spLocks noGrp="1"/>
          </p:cNvSpPr>
          <p:nvPr>
            <p:ph type="sldNum" sz="quarter" idx="16"/>
          </p:nvPr>
        </p:nvSpPr>
        <p:spPr/>
        <p:txBody>
          <a:bodyPr/>
          <a:lstStyle/>
          <a:p>
            <a:fld id="{5F3E29E4-0979-4FCA-B4C5-5FC6044C982A}" type="slidenum">
              <a:rPr lang="en-US" smtClean="0"/>
              <a:t>‹#›</a:t>
            </a:fld>
            <a:endParaRPr lang="en-US"/>
          </a:p>
        </p:txBody>
      </p:sp>
      <p:sp>
        <p:nvSpPr>
          <p:cNvPr id="2" name="Title 1"/>
          <p:cNvSpPr>
            <a:spLocks noGrp="1"/>
          </p:cNvSpPr>
          <p:nvPr>
            <p:ph type="title" hasCustomPrompt="1"/>
          </p:nvPr>
        </p:nvSpPr>
        <p:spPr/>
        <p:txBody>
          <a:bodyPr/>
          <a:lstStyle>
            <a:lvl1pPr>
              <a:defRPr/>
            </a:lvl1pPr>
          </a:lstStyle>
          <a:p>
            <a:r>
              <a:rPr lang="en-US" dirty="0"/>
              <a:t>Click to add slide title</a:t>
            </a:r>
          </a:p>
        </p:txBody>
      </p:sp>
      <p:sp>
        <p:nvSpPr>
          <p:cNvPr id="7" name="Subtitle 2"/>
          <p:cNvSpPr>
            <a:spLocks noGrp="1"/>
          </p:cNvSpPr>
          <p:nvPr>
            <p:ph type="subTitle" idx="13" hasCustomPrompt="1"/>
          </p:nvPr>
        </p:nvSpPr>
        <p:spPr>
          <a:xfrm>
            <a:off x="1075062" y="964672"/>
            <a:ext cx="7910159" cy="490042"/>
          </a:xfrm>
        </p:spPr>
        <p:txBody>
          <a:bodyPr wrap="none"/>
          <a:lstStyle>
            <a:lvl1pPr marL="0" indent="0" algn="l">
              <a:spcBef>
                <a:spcPts val="0"/>
              </a:spcBef>
              <a:buNone/>
              <a:defRPr sz="2399"/>
            </a:lvl1pPr>
            <a:lvl2pPr marL="457051" indent="0" algn="ctr">
              <a:buNone/>
              <a:defRPr sz="1999"/>
            </a:lvl2pPr>
            <a:lvl3pPr marL="914103" indent="0" algn="ctr">
              <a:buNone/>
              <a:defRPr sz="1799"/>
            </a:lvl3pPr>
            <a:lvl4pPr marL="1371154" indent="0" algn="ctr">
              <a:buNone/>
              <a:defRPr sz="1599"/>
            </a:lvl4pPr>
            <a:lvl5pPr marL="1828206" indent="0" algn="ctr">
              <a:buNone/>
              <a:defRPr sz="1599"/>
            </a:lvl5pPr>
            <a:lvl6pPr marL="2285257" indent="0" algn="ctr">
              <a:buNone/>
              <a:defRPr sz="1599"/>
            </a:lvl6pPr>
            <a:lvl7pPr marL="2742308" indent="0" algn="ctr">
              <a:buNone/>
              <a:defRPr sz="1599"/>
            </a:lvl7pPr>
            <a:lvl8pPr marL="3199360" indent="0" algn="ctr">
              <a:buNone/>
              <a:defRPr sz="1599"/>
            </a:lvl8pPr>
            <a:lvl9pPr marL="3656411" indent="0" algn="ctr">
              <a:buNone/>
              <a:defRPr sz="1599"/>
            </a:lvl9pPr>
          </a:lstStyle>
          <a:p>
            <a:r>
              <a:rPr lang="en-US" dirty="0"/>
              <a:t>Click to add subtitle</a:t>
            </a:r>
          </a:p>
        </p:txBody>
      </p:sp>
      <p:sp>
        <p:nvSpPr>
          <p:cNvPr id="4" name="Chart Placeholder 3"/>
          <p:cNvSpPr>
            <a:spLocks noGrp="1"/>
          </p:cNvSpPr>
          <p:nvPr>
            <p:ph type="chart" sz="quarter" idx="17" hasCustomPrompt="1"/>
          </p:nvPr>
        </p:nvSpPr>
        <p:spPr>
          <a:xfrm>
            <a:off x="192089" y="1629617"/>
            <a:ext cx="5903913" cy="4599507"/>
          </a:xfrm>
        </p:spPr>
        <p:txBody>
          <a:bodyPr/>
          <a:lstStyle>
            <a:lvl1pPr>
              <a:defRPr/>
            </a:lvl1pPr>
          </a:lstStyle>
          <a:p>
            <a:r>
              <a:rPr lang="en-US" dirty="0"/>
              <a:t>Click to add chart</a:t>
            </a:r>
          </a:p>
        </p:txBody>
      </p:sp>
      <p:sp>
        <p:nvSpPr>
          <p:cNvPr id="6" name="Text Placeholder 5"/>
          <p:cNvSpPr>
            <a:spLocks noGrp="1"/>
          </p:cNvSpPr>
          <p:nvPr>
            <p:ph type="body" sz="quarter" idx="18" hasCustomPrompt="1"/>
          </p:nvPr>
        </p:nvSpPr>
        <p:spPr>
          <a:xfrm>
            <a:off x="6206067" y="3393020"/>
            <a:ext cx="5628603" cy="2023840"/>
          </a:xfrm>
          <a:solidFill>
            <a:srgbClr val="D9DADB"/>
          </a:solidFill>
        </p:spPr>
        <p:txBody>
          <a:bodyPr lIns="108000" tIns="108000" rIns="108000" bIns="108000"/>
          <a:lstStyle>
            <a:lvl1pPr>
              <a:defRPr sz="1599"/>
            </a:lvl1pPr>
            <a:lvl2pPr>
              <a:defRPr sz="1599"/>
            </a:lvl2pPr>
            <a:lvl3pPr>
              <a:defRPr sz="1599"/>
            </a:lvl3pPr>
            <a:lvl4pPr>
              <a:defRPr sz="1599"/>
            </a:lvl4pPr>
            <a:lvl5pPr>
              <a:defRPr sz="1599"/>
            </a:lvl5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 Placeholder 4"/>
          <p:cNvSpPr>
            <a:spLocks noGrp="1"/>
          </p:cNvSpPr>
          <p:nvPr>
            <p:ph type="body" sz="quarter" idx="19" hasCustomPrompt="1"/>
          </p:nvPr>
        </p:nvSpPr>
        <p:spPr>
          <a:xfrm>
            <a:off x="1075064" y="6307665"/>
            <a:ext cx="8162717" cy="133200"/>
          </a:xfrm>
        </p:spPr>
        <p:txBody>
          <a:bodyPr lIns="0" tIns="0" rIns="0" bIns="0" anchor="b" anchorCtr="0"/>
          <a:lstStyle>
            <a:lvl1pPr marL="0" indent="0" algn="l">
              <a:lnSpc>
                <a:spcPct val="100000"/>
              </a:lnSpc>
              <a:spcBef>
                <a:spcPts val="0"/>
              </a:spcBef>
              <a:buNone/>
              <a:defRPr sz="800" baseline="0"/>
            </a:lvl1pPr>
            <a:lvl2pPr marL="0" indent="0" algn="l">
              <a:lnSpc>
                <a:spcPct val="100000"/>
              </a:lnSpc>
              <a:spcBef>
                <a:spcPts val="0"/>
              </a:spcBef>
              <a:buNone/>
              <a:defRPr sz="800"/>
            </a:lvl2pPr>
            <a:lvl3pPr marL="0" indent="0" algn="l">
              <a:lnSpc>
                <a:spcPct val="100000"/>
              </a:lnSpc>
              <a:spcBef>
                <a:spcPts val="0"/>
              </a:spcBef>
              <a:buNone/>
              <a:defRPr sz="800"/>
            </a:lvl3pPr>
            <a:lvl4pPr marL="0" algn="l">
              <a:lnSpc>
                <a:spcPct val="100000"/>
              </a:lnSpc>
              <a:spcBef>
                <a:spcPts val="0"/>
              </a:spcBef>
              <a:buNone/>
              <a:defRPr sz="800"/>
            </a:lvl4pPr>
            <a:lvl5pPr marL="0" indent="0" algn="l">
              <a:lnSpc>
                <a:spcPct val="100000"/>
              </a:lnSpc>
              <a:spcBef>
                <a:spcPts val="0"/>
              </a:spcBef>
              <a:buNone/>
              <a:defRPr sz="800"/>
            </a:lvl5pPr>
          </a:lstStyle>
          <a:p>
            <a:pPr lvl="0"/>
            <a:r>
              <a:rPr lang="en-US" dirty="0"/>
              <a:t>Source line</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309762661"/>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p:cSld name="Notebook">
    <p:spTree>
      <p:nvGrpSpPr>
        <p:cNvPr id="1" name=""/>
        <p:cNvGrpSpPr/>
        <p:nvPr/>
      </p:nvGrpSpPr>
      <p:grpSpPr>
        <a:xfrm>
          <a:off x="0" y="0"/>
          <a:ext cx="0" cy="0"/>
          <a:chOff x="0" y="0"/>
          <a:chExt cx="0" cy="0"/>
        </a:xfrm>
      </p:grpSpPr>
      <p:pic>
        <p:nvPicPr>
          <p:cNvPr id="13" name="Notebook">
            <a:extLst>
              <a:ext uri="{FF2B5EF4-FFF2-40B4-BE49-F238E27FC236}">
                <a16:creationId xmlns:a16="http://schemas.microsoft.com/office/drawing/2014/main" id="{6DEE1461-64EC-7246-8FA6-71C6BF497627}"/>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3651351" y="1267198"/>
            <a:ext cx="8528460" cy="5161713"/>
          </a:xfrm>
          <a:prstGeom prst="rect">
            <a:avLst/>
          </a:prstGeom>
        </p:spPr>
      </p:pic>
      <p:sp>
        <p:nvSpPr>
          <p:cNvPr id="21" name="Date Placeholder 20"/>
          <p:cNvSpPr>
            <a:spLocks noGrp="1"/>
          </p:cNvSpPr>
          <p:nvPr>
            <p:ph type="dt" sz="half" idx="14"/>
          </p:nvPr>
        </p:nvSpPr>
        <p:spPr/>
        <p:txBody>
          <a:bodyPr/>
          <a:lstStyle/>
          <a:p>
            <a:fld id="{DC5CC4D7-5797-439F-A8BE-F20DB0B4B50C}" type="datetime5">
              <a:rPr lang="en-US" smtClean="0"/>
              <a:t>26-Jun-20</a:t>
            </a:fld>
            <a:endParaRPr lang="en-US"/>
          </a:p>
        </p:txBody>
      </p:sp>
      <p:sp>
        <p:nvSpPr>
          <p:cNvPr id="22" name="Footer Placeholder 21"/>
          <p:cNvSpPr>
            <a:spLocks noGrp="1"/>
          </p:cNvSpPr>
          <p:nvPr>
            <p:ph type="ftr" sz="quarter" idx="15"/>
          </p:nvPr>
        </p:nvSpPr>
        <p:spPr/>
        <p:txBody>
          <a:bodyPr/>
          <a:lstStyle/>
          <a:p>
            <a:r>
              <a:rPr lang="en-US"/>
              <a:t>Title of presentation (Insert / Header &amp; Footer / Apply to All)</a:t>
            </a:r>
            <a:endParaRPr lang="en-US" dirty="0"/>
          </a:p>
        </p:txBody>
      </p:sp>
      <p:sp>
        <p:nvSpPr>
          <p:cNvPr id="23" name="Slide Number Placeholder 22"/>
          <p:cNvSpPr>
            <a:spLocks noGrp="1"/>
          </p:cNvSpPr>
          <p:nvPr>
            <p:ph type="sldNum" sz="quarter" idx="16"/>
          </p:nvPr>
        </p:nvSpPr>
        <p:spPr/>
        <p:txBody>
          <a:bodyPr/>
          <a:lstStyle/>
          <a:p>
            <a:fld id="{5F3E29E4-0979-4FCA-B4C5-5FC6044C982A}" type="slidenum">
              <a:rPr lang="en-US" smtClean="0"/>
              <a:t>‹#›</a:t>
            </a:fld>
            <a:endParaRPr lang="en-US"/>
          </a:p>
        </p:txBody>
      </p:sp>
      <p:sp>
        <p:nvSpPr>
          <p:cNvPr id="2" name="Title 1"/>
          <p:cNvSpPr>
            <a:spLocks noGrp="1"/>
          </p:cNvSpPr>
          <p:nvPr>
            <p:ph type="title" hasCustomPrompt="1"/>
          </p:nvPr>
        </p:nvSpPr>
        <p:spPr/>
        <p:txBody>
          <a:bodyPr/>
          <a:lstStyle>
            <a:lvl1pPr>
              <a:defRPr/>
            </a:lvl1pPr>
          </a:lstStyle>
          <a:p>
            <a:r>
              <a:rPr lang="en-US" dirty="0"/>
              <a:t>Click to add slide title</a:t>
            </a:r>
          </a:p>
        </p:txBody>
      </p:sp>
      <p:sp>
        <p:nvSpPr>
          <p:cNvPr id="7" name="Subtitle 2"/>
          <p:cNvSpPr>
            <a:spLocks noGrp="1"/>
          </p:cNvSpPr>
          <p:nvPr>
            <p:ph type="subTitle" idx="13" hasCustomPrompt="1"/>
          </p:nvPr>
        </p:nvSpPr>
        <p:spPr>
          <a:xfrm>
            <a:off x="1075062" y="964672"/>
            <a:ext cx="7910159" cy="490042"/>
          </a:xfrm>
        </p:spPr>
        <p:txBody>
          <a:bodyPr wrap="none"/>
          <a:lstStyle>
            <a:lvl1pPr marL="0" indent="0" algn="l">
              <a:spcBef>
                <a:spcPts val="0"/>
              </a:spcBef>
              <a:buNone/>
              <a:defRPr sz="2399"/>
            </a:lvl1pPr>
            <a:lvl2pPr marL="457051" indent="0" algn="ctr">
              <a:buNone/>
              <a:defRPr sz="1999"/>
            </a:lvl2pPr>
            <a:lvl3pPr marL="914103" indent="0" algn="ctr">
              <a:buNone/>
              <a:defRPr sz="1799"/>
            </a:lvl3pPr>
            <a:lvl4pPr marL="1371154" indent="0" algn="ctr">
              <a:buNone/>
              <a:defRPr sz="1599"/>
            </a:lvl4pPr>
            <a:lvl5pPr marL="1828206" indent="0" algn="ctr">
              <a:buNone/>
              <a:defRPr sz="1599"/>
            </a:lvl5pPr>
            <a:lvl6pPr marL="2285257" indent="0" algn="ctr">
              <a:buNone/>
              <a:defRPr sz="1599"/>
            </a:lvl6pPr>
            <a:lvl7pPr marL="2742308" indent="0" algn="ctr">
              <a:buNone/>
              <a:defRPr sz="1599"/>
            </a:lvl7pPr>
            <a:lvl8pPr marL="3199360" indent="0" algn="ctr">
              <a:buNone/>
              <a:defRPr sz="1599"/>
            </a:lvl8pPr>
            <a:lvl9pPr marL="3656411" indent="0" algn="ctr">
              <a:buNone/>
              <a:defRPr sz="1599"/>
            </a:lvl9pPr>
          </a:lstStyle>
          <a:p>
            <a:r>
              <a:rPr lang="en-US" dirty="0"/>
              <a:t>Click to add subtitle</a:t>
            </a:r>
          </a:p>
        </p:txBody>
      </p:sp>
      <p:sp>
        <p:nvSpPr>
          <p:cNvPr id="3" name="Content Placeholder 2"/>
          <p:cNvSpPr>
            <a:spLocks noGrp="1"/>
          </p:cNvSpPr>
          <p:nvPr>
            <p:ph idx="1" hasCustomPrompt="1"/>
          </p:nvPr>
        </p:nvSpPr>
        <p:spPr>
          <a:xfrm>
            <a:off x="1075063" y="1852624"/>
            <a:ext cx="3287388" cy="3658714"/>
          </a:xfrm>
        </p:spPr>
        <p:txBody>
          <a:bodyPr anchor="ctr"/>
          <a:lstStyle>
            <a:lvl1pPr>
              <a:defRPr sz="1599"/>
            </a:lvl1pPr>
            <a:lvl2pPr>
              <a:defRPr sz="1599"/>
            </a:lvl2pPr>
            <a:lvl3pPr>
              <a:defRPr sz="1599"/>
            </a:lvl3pPr>
            <a:lvl4pPr>
              <a:defRPr sz="1599"/>
            </a:lvl4pPr>
            <a:lvl5pPr>
              <a:defRPr sz="1599"/>
            </a:lvl5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Picture Placeholder 4"/>
          <p:cNvSpPr>
            <a:spLocks noGrp="1"/>
          </p:cNvSpPr>
          <p:nvPr>
            <p:ph type="pic" sz="quarter" idx="17" hasCustomPrompt="1"/>
          </p:nvPr>
        </p:nvSpPr>
        <p:spPr>
          <a:xfrm>
            <a:off x="4904507" y="1821610"/>
            <a:ext cx="6001200" cy="3664801"/>
          </a:xfrm>
          <a:solidFill>
            <a:srgbClr val="D9DADB"/>
          </a:solidFill>
        </p:spPr>
        <p:txBody>
          <a:bodyPr/>
          <a:lstStyle>
            <a:lvl1pPr marL="0" indent="0">
              <a:buNone/>
              <a:defRPr/>
            </a:lvl1pPr>
          </a:lstStyle>
          <a:p>
            <a:r>
              <a:rPr lang="en-US" dirty="0"/>
              <a:t>Insert picture</a:t>
            </a:r>
          </a:p>
        </p:txBody>
      </p:sp>
      <p:sp>
        <p:nvSpPr>
          <p:cNvPr id="11" name="Text Placeholder 4"/>
          <p:cNvSpPr>
            <a:spLocks noGrp="1"/>
          </p:cNvSpPr>
          <p:nvPr>
            <p:ph type="body" sz="quarter" idx="18" hasCustomPrompt="1"/>
          </p:nvPr>
        </p:nvSpPr>
        <p:spPr>
          <a:xfrm>
            <a:off x="1075064" y="6307665"/>
            <a:ext cx="8162717" cy="133200"/>
          </a:xfrm>
        </p:spPr>
        <p:txBody>
          <a:bodyPr lIns="0" tIns="0" rIns="0" bIns="0" anchor="b" anchorCtr="0"/>
          <a:lstStyle>
            <a:lvl1pPr marL="0" indent="0" algn="l">
              <a:lnSpc>
                <a:spcPct val="100000"/>
              </a:lnSpc>
              <a:spcBef>
                <a:spcPts val="0"/>
              </a:spcBef>
              <a:buNone/>
              <a:defRPr sz="800" baseline="0"/>
            </a:lvl1pPr>
            <a:lvl2pPr marL="0" indent="0" algn="l">
              <a:lnSpc>
                <a:spcPct val="100000"/>
              </a:lnSpc>
              <a:spcBef>
                <a:spcPts val="0"/>
              </a:spcBef>
              <a:buNone/>
              <a:defRPr sz="800"/>
            </a:lvl2pPr>
            <a:lvl3pPr marL="0" indent="0" algn="l">
              <a:lnSpc>
                <a:spcPct val="100000"/>
              </a:lnSpc>
              <a:spcBef>
                <a:spcPts val="0"/>
              </a:spcBef>
              <a:buNone/>
              <a:defRPr sz="800"/>
            </a:lvl3pPr>
            <a:lvl4pPr marL="0" algn="l">
              <a:lnSpc>
                <a:spcPct val="100000"/>
              </a:lnSpc>
              <a:spcBef>
                <a:spcPts val="0"/>
              </a:spcBef>
              <a:buNone/>
              <a:defRPr sz="800"/>
            </a:lvl4pPr>
            <a:lvl5pPr marL="0" indent="0" algn="l">
              <a:lnSpc>
                <a:spcPct val="100000"/>
              </a:lnSpc>
              <a:spcBef>
                <a:spcPts val="0"/>
              </a:spcBef>
              <a:buNone/>
              <a:defRPr sz="800"/>
            </a:lvl5pPr>
          </a:lstStyle>
          <a:p>
            <a:pPr lvl="0"/>
            <a:r>
              <a:rPr lang="en-US" dirty="0"/>
              <a:t>Source line</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074549417"/>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p:cSld name="Tablet">
    <p:spTree>
      <p:nvGrpSpPr>
        <p:cNvPr id="1" name=""/>
        <p:cNvGrpSpPr/>
        <p:nvPr/>
      </p:nvGrpSpPr>
      <p:grpSpPr>
        <a:xfrm>
          <a:off x="0" y="0"/>
          <a:ext cx="0" cy="0"/>
          <a:chOff x="0" y="0"/>
          <a:chExt cx="0" cy="0"/>
        </a:xfrm>
      </p:grpSpPr>
      <p:pic>
        <p:nvPicPr>
          <p:cNvPr id="12" name="Grafik 3">
            <a:extLst>
              <a:ext uri="{FF2B5EF4-FFF2-40B4-BE49-F238E27FC236}">
                <a16:creationId xmlns:a16="http://schemas.microsoft.com/office/drawing/2014/main" id="{1D97A272-8DE5-144D-9076-0F435EC79171}"/>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4422451" y="1441281"/>
            <a:ext cx="6858000" cy="5323584"/>
          </a:xfrm>
          <a:prstGeom prst="rect">
            <a:avLst/>
          </a:prstGeom>
        </p:spPr>
      </p:pic>
      <p:sp>
        <p:nvSpPr>
          <p:cNvPr id="21" name="Date Placeholder 20"/>
          <p:cNvSpPr>
            <a:spLocks noGrp="1"/>
          </p:cNvSpPr>
          <p:nvPr>
            <p:ph type="dt" sz="half" idx="14"/>
          </p:nvPr>
        </p:nvSpPr>
        <p:spPr/>
        <p:txBody>
          <a:bodyPr/>
          <a:lstStyle/>
          <a:p>
            <a:fld id="{22BF40EB-4E4B-4735-9535-C7494D4B38E6}" type="datetime5">
              <a:rPr lang="en-US" smtClean="0"/>
              <a:t>26-Jun-20</a:t>
            </a:fld>
            <a:endParaRPr lang="en-US"/>
          </a:p>
        </p:txBody>
      </p:sp>
      <p:sp>
        <p:nvSpPr>
          <p:cNvPr id="22" name="Footer Placeholder 21"/>
          <p:cNvSpPr>
            <a:spLocks noGrp="1"/>
          </p:cNvSpPr>
          <p:nvPr>
            <p:ph type="ftr" sz="quarter" idx="15"/>
          </p:nvPr>
        </p:nvSpPr>
        <p:spPr/>
        <p:txBody>
          <a:bodyPr/>
          <a:lstStyle/>
          <a:p>
            <a:r>
              <a:rPr lang="en-US"/>
              <a:t>Title of presentation (Insert / Header &amp; Footer / Apply to All)</a:t>
            </a:r>
            <a:endParaRPr lang="en-US" dirty="0"/>
          </a:p>
        </p:txBody>
      </p:sp>
      <p:sp>
        <p:nvSpPr>
          <p:cNvPr id="23" name="Slide Number Placeholder 22"/>
          <p:cNvSpPr>
            <a:spLocks noGrp="1"/>
          </p:cNvSpPr>
          <p:nvPr>
            <p:ph type="sldNum" sz="quarter" idx="16"/>
          </p:nvPr>
        </p:nvSpPr>
        <p:spPr/>
        <p:txBody>
          <a:bodyPr/>
          <a:lstStyle/>
          <a:p>
            <a:fld id="{5F3E29E4-0979-4FCA-B4C5-5FC6044C982A}" type="slidenum">
              <a:rPr lang="en-US" smtClean="0"/>
              <a:t>‹#›</a:t>
            </a:fld>
            <a:endParaRPr lang="en-US"/>
          </a:p>
        </p:txBody>
      </p:sp>
      <p:sp>
        <p:nvSpPr>
          <p:cNvPr id="2" name="Title 1"/>
          <p:cNvSpPr>
            <a:spLocks noGrp="1"/>
          </p:cNvSpPr>
          <p:nvPr>
            <p:ph type="title" hasCustomPrompt="1"/>
          </p:nvPr>
        </p:nvSpPr>
        <p:spPr/>
        <p:txBody>
          <a:bodyPr/>
          <a:lstStyle>
            <a:lvl1pPr>
              <a:defRPr/>
            </a:lvl1pPr>
          </a:lstStyle>
          <a:p>
            <a:r>
              <a:rPr lang="en-US" dirty="0"/>
              <a:t>Click to add slide title</a:t>
            </a:r>
          </a:p>
        </p:txBody>
      </p:sp>
      <p:sp>
        <p:nvSpPr>
          <p:cNvPr id="7" name="Subtitle 2"/>
          <p:cNvSpPr>
            <a:spLocks noGrp="1"/>
          </p:cNvSpPr>
          <p:nvPr>
            <p:ph type="subTitle" idx="13" hasCustomPrompt="1"/>
          </p:nvPr>
        </p:nvSpPr>
        <p:spPr>
          <a:xfrm>
            <a:off x="1075062" y="964672"/>
            <a:ext cx="7910159" cy="490042"/>
          </a:xfrm>
        </p:spPr>
        <p:txBody>
          <a:bodyPr wrap="none"/>
          <a:lstStyle>
            <a:lvl1pPr marL="0" indent="0" algn="l">
              <a:spcBef>
                <a:spcPts val="0"/>
              </a:spcBef>
              <a:buNone/>
              <a:defRPr sz="2399"/>
            </a:lvl1pPr>
            <a:lvl2pPr marL="457051" indent="0" algn="ctr">
              <a:buNone/>
              <a:defRPr sz="1999"/>
            </a:lvl2pPr>
            <a:lvl3pPr marL="914103" indent="0" algn="ctr">
              <a:buNone/>
              <a:defRPr sz="1799"/>
            </a:lvl3pPr>
            <a:lvl4pPr marL="1371154" indent="0" algn="ctr">
              <a:buNone/>
              <a:defRPr sz="1599"/>
            </a:lvl4pPr>
            <a:lvl5pPr marL="1828206" indent="0" algn="ctr">
              <a:buNone/>
              <a:defRPr sz="1599"/>
            </a:lvl5pPr>
            <a:lvl6pPr marL="2285257" indent="0" algn="ctr">
              <a:buNone/>
              <a:defRPr sz="1599"/>
            </a:lvl6pPr>
            <a:lvl7pPr marL="2742308" indent="0" algn="ctr">
              <a:buNone/>
              <a:defRPr sz="1599"/>
            </a:lvl7pPr>
            <a:lvl8pPr marL="3199360" indent="0" algn="ctr">
              <a:buNone/>
              <a:defRPr sz="1599"/>
            </a:lvl8pPr>
            <a:lvl9pPr marL="3656411" indent="0" algn="ctr">
              <a:buNone/>
              <a:defRPr sz="1599"/>
            </a:lvl9pPr>
          </a:lstStyle>
          <a:p>
            <a:r>
              <a:rPr lang="en-US" dirty="0"/>
              <a:t>Click to add subtitle</a:t>
            </a:r>
          </a:p>
        </p:txBody>
      </p:sp>
      <p:sp>
        <p:nvSpPr>
          <p:cNvPr id="3" name="Content Placeholder 2"/>
          <p:cNvSpPr>
            <a:spLocks noGrp="1"/>
          </p:cNvSpPr>
          <p:nvPr>
            <p:ph idx="1" hasCustomPrompt="1"/>
          </p:nvPr>
        </p:nvSpPr>
        <p:spPr>
          <a:xfrm>
            <a:off x="1075063" y="1852624"/>
            <a:ext cx="3287388" cy="3658714"/>
          </a:xfrm>
        </p:spPr>
        <p:txBody>
          <a:bodyPr anchor="ctr"/>
          <a:lstStyle>
            <a:lvl1pPr>
              <a:defRPr sz="1599"/>
            </a:lvl1pPr>
            <a:lvl2pPr>
              <a:defRPr sz="1599"/>
            </a:lvl2pPr>
            <a:lvl3pPr>
              <a:defRPr sz="1599"/>
            </a:lvl3pPr>
            <a:lvl4pPr>
              <a:defRPr sz="1599"/>
            </a:lvl4pPr>
            <a:lvl5pPr>
              <a:defRPr sz="1599"/>
            </a:lvl5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Picture Placeholder 4"/>
          <p:cNvSpPr>
            <a:spLocks noGrp="1"/>
          </p:cNvSpPr>
          <p:nvPr>
            <p:ph type="pic" sz="quarter" idx="17" hasCustomPrompt="1"/>
          </p:nvPr>
        </p:nvSpPr>
        <p:spPr>
          <a:xfrm>
            <a:off x="5135561" y="2010934"/>
            <a:ext cx="5491064" cy="3428280"/>
          </a:xfrm>
          <a:solidFill>
            <a:srgbClr val="D9DADB"/>
          </a:solidFill>
        </p:spPr>
        <p:txBody>
          <a:bodyPr/>
          <a:lstStyle>
            <a:lvl1pPr marL="0" indent="0">
              <a:buNone/>
              <a:defRPr/>
            </a:lvl1pPr>
          </a:lstStyle>
          <a:p>
            <a:r>
              <a:rPr lang="en-US" dirty="0"/>
              <a:t>Insert picture</a:t>
            </a:r>
          </a:p>
        </p:txBody>
      </p:sp>
      <p:sp>
        <p:nvSpPr>
          <p:cNvPr id="11" name="Text Placeholder 4"/>
          <p:cNvSpPr>
            <a:spLocks noGrp="1"/>
          </p:cNvSpPr>
          <p:nvPr>
            <p:ph type="body" sz="quarter" idx="18" hasCustomPrompt="1"/>
          </p:nvPr>
        </p:nvSpPr>
        <p:spPr>
          <a:xfrm>
            <a:off x="1075064" y="6307665"/>
            <a:ext cx="8162717" cy="133200"/>
          </a:xfrm>
        </p:spPr>
        <p:txBody>
          <a:bodyPr lIns="0" tIns="0" rIns="0" bIns="0" anchor="b" anchorCtr="0"/>
          <a:lstStyle>
            <a:lvl1pPr marL="0" indent="0" algn="l">
              <a:lnSpc>
                <a:spcPct val="100000"/>
              </a:lnSpc>
              <a:spcBef>
                <a:spcPts val="0"/>
              </a:spcBef>
              <a:buNone/>
              <a:defRPr sz="800" baseline="0"/>
            </a:lvl1pPr>
            <a:lvl2pPr marL="0" indent="0" algn="l">
              <a:lnSpc>
                <a:spcPct val="100000"/>
              </a:lnSpc>
              <a:spcBef>
                <a:spcPts val="0"/>
              </a:spcBef>
              <a:buNone/>
              <a:defRPr sz="800"/>
            </a:lvl2pPr>
            <a:lvl3pPr marL="0" indent="0" algn="l">
              <a:lnSpc>
                <a:spcPct val="100000"/>
              </a:lnSpc>
              <a:spcBef>
                <a:spcPts val="0"/>
              </a:spcBef>
              <a:buNone/>
              <a:defRPr sz="800"/>
            </a:lvl3pPr>
            <a:lvl4pPr marL="0" algn="l">
              <a:lnSpc>
                <a:spcPct val="100000"/>
              </a:lnSpc>
              <a:spcBef>
                <a:spcPts val="0"/>
              </a:spcBef>
              <a:buNone/>
              <a:defRPr sz="800"/>
            </a:lvl4pPr>
            <a:lvl5pPr marL="0" indent="0" algn="l">
              <a:lnSpc>
                <a:spcPct val="100000"/>
              </a:lnSpc>
              <a:spcBef>
                <a:spcPts val="0"/>
              </a:spcBef>
              <a:buNone/>
              <a:defRPr sz="800"/>
            </a:lvl5pPr>
          </a:lstStyle>
          <a:p>
            <a:pPr lvl="0"/>
            <a:r>
              <a:rPr lang="en-US" dirty="0"/>
              <a:t>Source line</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088207887"/>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p:cSld name="Smartphone">
    <p:spTree>
      <p:nvGrpSpPr>
        <p:cNvPr id="1" name=""/>
        <p:cNvGrpSpPr/>
        <p:nvPr/>
      </p:nvGrpSpPr>
      <p:grpSpPr>
        <a:xfrm>
          <a:off x="0" y="0"/>
          <a:ext cx="0" cy="0"/>
          <a:chOff x="0" y="0"/>
          <a:chExt cx="0" cy="0"/>
        </a:xfrm>
      </p:grpSpPr>
      <p:pic>
        <p:nvPicPr>
          <p:cNvPr id="10" name="Grafik 2">
            <a:extLst>
              <a:ext uri="{FF2B5EF4-FFF2-40B4-BE49-F238E27FC236}">
                <a16:creationId xmlns:a16="http://schemas.microsoft.com/office/drawing/2014/main" id="{6421FD8A-F5D4-E041-A727-98ABA693B1A7}"/>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5472449" y="1362517"/>
            <a:ext cx="4953000" cy="4865134"/>
          </a:xfrm>
          <a:prstGeom prst="rect">
            <a:avLst/>
          </a:prstGeom>
          <a:effectLst>
            <a:reflection blurRad="6350" stA="48000" endPos="6000" dir="5400000" sy="-100000" algn="bl" rotWithShape="0"/>
          </a:effectLst>
        </p:spPr>
      </p:pic>
      <p:sp>
        <p:nvSpPr>
          <p:cNvPr id="21" name="Date Placeholder 20"/>
          <p:cNvSpPr>
            <a:spLocks noGrp="1"/>
          </p:cNvSpPr>
          <p:nvPr>
            <p:ph type="dt" sz="half" idx="14"/>
          </p:nvPr>
        </p:nvSpPr>
        <p:spPr/>
        <p:txBody>
          <a:bodyPr/>
          <a:lstStyle/>
          <a:p>
            <a:fld id="{3A57DC1E-3194-45CD-A5C4-CC4893251E0F}" type="datetime5">
              <a:rPr lang="en-US" smtClean="0"/>
              <a:t>26-Jun-20</a:t>
            </a:fld>
            <a:endParaRPr lang="en-US"/>
          </a:p>
        </p:txBody>
      </p:sp>
      <p:sp>
        <p:nvSpPr>
          <p:cNvPr id="22" name="Footer Placeholder 21"/>
          <p:cNvSpPr>
            <a:spLocks noGrp="1"/>
          </p:cNvSpPr>
          <p:nvPr>
            <p:ph type="ftr" sz="quarter" idx="15"/>
          </p:nvPr>
        </p:nvSpPr>
        <p:spPr/>
        <p:txBody>
          <a:bodyPr/>
          <a:lstStyle/>
          <a:p>
            <a:r>
              <a:rPr lang="en-US"/>
              <a:t>Title of presentation (Insert / Header &amp; Footer / Apply to All)</a:t>
            </a:r>
            <a:endParaRPr lang="en-US" dirty="0"/>
          </a:p>
        </p:txBody>
      </p:sp>
      <p:sp>
        <p:nvSpPr>
          <p:cNvPr id="23" name="Slide Number Placeholder 22"/>
          <p:cNvSpPr>
            <a:spLocks noGrp="1"/>
          </p:cNvSpPr>
          <p:nvPr>
            <p:ph type="sldNum" sz="quarter" idx="16"/>
          </p:nvPr>
        </p:nvSpPr>
        <p:spPr/>
        <p:txBody>
          <a:bodyPr/>
          <a:lstStyle/>
          <a:p>
            <a:fld id="{5F3E29E4-0979-4FCA-B4C5-5FC6044C982A}" type="slidenum">
              <a:rPr lang="en-US" smtClean="0"/>
              <a:t>‹#›</a:t>
            </a:fld>
            <a:endParaRPr lang="en-US"/>
          </a:p>
        </p:txBody>
      </p:sp>
      <p:sp>
        <p:nvSpPr>
          <p:cNvPr id="2" name="Title 1"/>
          <p:cNvSpPr>
            <a:spLocks noGrp="1"/>
          </p:cNvSpPr>
          <p:nvPr>
            <p:ph type="title" hasCustomPrompt="1"/>
          </p:nvPr>
        </p:nvSpPr>
        <p:spPr/>
        <p:txBody>
          <a:bodyPr/>
          <a:lstStyle>
            <a:lvl1pPr>
              <a:defRPr/>
            </a:lvl1pPr>
          </a:lstStyle>
          <a:p>
            <a:r>
              <a:rPr lang="en-US" dirty="0"/>
              <a:t>Click to add slide title</a:t>
            </a:r>
          </a:p>
        </p:txBody>
      </p:sp>
      <p:sp>
        <p:nvSpPr>
          <p:cNvPr id="7" name="Subtitle 2"/>
          <p:cNvSpPr>
            <a:spLocks noGrp="1"/>
          </p:cNvSpPr>
          <p:nvPr>
            <p:ph type="subTitle" idx="13" hasCustomPrompt="1"/>
          </p:nvPr>
        </p:nvSpPr>
        <p:spPr>
          <a:xfrm>
            <a:off x="1075062" y="964672"/>
            <a:ext cx="7910159" cy="490042"/>
          </a:xfrm>
        </p:spPr>
        <p:txBody>
          <a:bodyPr wrap="none"/>
          <a:lstStyle>
            <a:lvl1pPr marL="0" indent="0" algn="l">
              <a:spcBef>
                <a:spcPts val="0"/>
              </a:spcBef>
              <a:buNone/>
              <a:defRPr sz="2399"/>
            </a:lvl1pPr>
            <a:lvl2pPr marL="457051" indent="0" algn="ctr">
              <a:buNone/>
              <a:defRPr sz="1999"/>
            </a:lvl2pPr>
            <a:lvl3pPr marL="914103" indent="0" algn="ctr">
              <a:buNone/>
              <a:defRPr sz="1799"/>
            </a:lvl3pPr>
            <a:lvl4pPr marL="1371154" indent="0" algn="ctr">
              <a:buNone/>
              <a:defRPr sz="1599"/>
            </a:lvl4pPr>
            <a:lvl5pPr marL="1828206" indent="0" algn="ctr">
              <a:buNone/>
              <a:defRPr sz="1599"/>
            </a:lvl5pPr>
            <a:lvl6pPr marL="2285257" indent="0" algn="ctr">
              <a:buNone/>
              <a:defRPr sz="1599"/>
            </a:lvl6pPr>
            <a:lvl7pPr marL="2742308" indent="0" algn="ctr">
              <a:buNone/>
              <a:defRPr sz="1599"/>
            </a:lvl7pPr>
            <a:lvl8pPr marL="3199360" indent="0" algn="ctr">
              <a:buNone/>
              <a:defRPr sz="1599"/>
            </a:lvl8pPr>
            <a:lvl9pPr marL="3656411" indent="0" algn="ctr">
              <a:buNone/>
              <a:defRPr sz="1599"/>
            </a:lvl9pPr>
          </a:lstStyle>
          <a:p>
            <a:r>
              <a:rPr lang="en-US" dirty="0"/>
              <a:t>Click to add subtitle</a:t>
            </a:r>
          </a:p>
        </p:txBody>
      </p:sp>
      <p:sp>
        <p:nvSpPr>
          <p:cNvPr id="3" name="Content Placeholder 2"/>
          <p:cNvSpPr>
            <a:spLocks noGrp="1"/>
          </p:cNvSpPr>
          <p:nvPr>
            <p:ph idx="1" hasCustomPrompt="1"/>
          </p:nvPr>
        </p:nvSpPr>
        <p:spPr>
          <a:xfrm>
            <a:off x="1075062" y="1852624"/>
            <a:ext cx="5241071" cy="3658714"/>
          </a:xfrm>
        </p:spPr>
        <p:txBody>
          <a:bodyPr anchor="ctr"/>
          <a:lstStyle>
            <a:lvl1pPr>
              <a:defRPr sz="1599"/>
            </a:lvl1pPr>
            <a:lvl2pPr>
              <a:defRPr sz="1599"/>
            </a:lvl2pPr>
            <a:lvl3pPr>
              <a:defRPr sz="1599"/>
            </a:lvl3pPr>
            <a:lvl4pPr>
              <a:defRPr sz="1599"/>
            </a:lvl4pPr>
            <a:lvl5pPr>
              <a:defRPr sz="1599"/>
            </a:lvl5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Picture Placeholder 4"/>
          <p:cNvSpPr>
            <a:spLocks noGrp="1"/>
          </p:cNvSpPr>
          <p:nvPr>
            <p:ph type="pic" sz="quarter" idx="17" hasCustomPrompt="1"/>
          </p:nvPr>
        </p:nvSpPr>
        <p:spPr>
          <a:xfrm>
            <a:off x="6923531" y="1784822"/>
            <a:ext cx="2006655" cy="4104000"/>
          </a:xfrm>
          <a:solidFill>
            <a:srgbClr val="D9DADB"/>
          </a:solidFill>
        </p:spPr>
        <p:txBody>
          <a:bodyPr/>
          <a:lstStyle>
            <a:lvl1pPr marL="0" indent="0">
              <a:buNone/>
              <a:defRPr/>
            </a:lvl1pPr>
          </a:lstStyle>
          <a:p>
            <a:r>
              <a:rPr lang="en-US" dirty="0"/>
              <a:t>Insert picture</a:t>
            </a:r>
          </a:p>
        </p:txBody>
      </p:sp>
      <p:sp>
        <p:nvSpPr>
          <p:cNvPr id="12" name="Text Placeholder 4"/>
          <p:cNvSpPr>
            <a:spLocks noGrp="1"/>
          </p:cNvSpPr>
          <p:nvPr>
            <p:ph type="body" sz="quarter" idx="18" hasCustomPrompt="1"/>
          </p:nvPr>
        </p:nvSpPr>
        <p:spPr>
          <a:xfrm>
            <a:off x="1075064" y="6307665"/>
            <a:ext cx="8162717" cy="133200"/>
          </a:xfrm>
        </p:spPr>
        <p:txBody>
          <a:bodyPr lIns="0" tIns="0" rIns="0" bIns="0" anchor="b" anchorCtr="0"/>
          <a:lstStyle>
            <a:lvl1pPr marL="0" indent="0" algn="l">
              <a:lnSpc>
                <a:spcPct val="100000"/>
              </a:lnSpc>
              <a:spcBef>
                <a:spcPts val="0"/>
              </a:spcBef>
              <a:buNone/>
              <a:defRPr sz="800" baseline="0"/>
            </a:lvl1pPr>
            <a:lvl2pPr marL="0" indent="0" algn="l">
              <a:lnSpc>
                <a:spcPct val="100000"/>
              </a:lnSpc>
              <a:spcBef>
                <a:spcPts val="0"/>
              </a:spcBef>
              <a:buNone/>
              <a:defRPr sz="800"/>
            </a:lvl2pPr>
            <a:lvl3pPr marL="0" indent="0" algn="l">
              <a:lnSpc>
                <a:spcPct val="100000"/>
              </a:lnSpc>
              <a:spcBef>
                <a:spcPts val="0"/>
              </a:spcBef>
              <a:buNone/>
              <a:defRPr sz="800"/>
            </a:lvl3pPr>
            <a:lvl4pPr marL="0" algn="l">
              <a:lnSpc>
                <a:spcPct val="100000"/>
              </a:lnSpc>
              <a:spcBef>
                <a:spcPts val="0"/>
              </a:spcBef>
              <a:buNone/>
              <a:defRPr sz="800"/>
            </a:lvl4pPr>
            <a:lvl5pPr marL="0" indent="0" algn="l">
              <a:lnSpc>
                <a:spcPct val="100000"/>
              </a:lnSpc>
              <a:spcBef>
                <a:spcPts val="0"/>
              </a:spcBef>
              <a:buNone/>
              <a:defRPr sz="800"/>
            </a:lvl5pPr>
          </a:lstStyle>
          <a:p>
            <a:pPr lvl="0"/>
            <a:r>
              <a:rPr lang="en-US" dirty="0"/>
              <a:t>Source line</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87617335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Two contacts">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p>
            <a:r>
              <a:rPr lang="en-US"/>
              <a:t>Click to add headline</a:t>
            </a:r>
          </a:p>
        </p:txBody>
      </p:sp>
      <p:sp>
        <p:nvSpPr>
          <p:cNvPr id="24" name="Textplatzhalter 2"/>
          <p:cNvSpPr>
            <a:spLocks noGrp="1"/>
          </p:cNvSpPr>
          <p:nvPr>
            <p:ph type="body" sz="quarter" idx="11" hasCustomPrompt="1"/>
          </p:nvPr>
        </p:nvSpPr>
        <p:spPr bwMode="gray">
          <a:xfrm>
            <a:off x="431800" y="1220755"/>
            <a:ext cx="11328400" cy="384340"/>
          </a:xfrm>
        </p:spPr>
        <p:txBody>
          <a:bodyPr>
            <a:noAutofit/>
          </a:bodyPr>
          <a:lstStyle>
            <a:lvl1pPr marL="0" indent="0">
              <a:lnSpc>
                <a:spcPct val="100000"/>
              </a:lnSpc>
              <a:spcBef>
                <a:spcPts val="800"/>
              </a:spcBef>
              <a:buFont typeface="Arial" panose="020B0604020202020204" pitchFamily="34" charset="0"/>
              <a:buNone/>
              <a:defRPr lang="en-GB" sz="2398" kern="1200" noProof="0" smtClean="0">
                <a:solidFill>
                  <a:schemeClr val="tx2"/>
                </a:solidFill>
                <a:latin typeface="Arial" pitchFamily="34" charset="0"/>
                <a:ea typeface="+mn-ea"/>
                <a:cs typeface="Arial" pitchFamily="34" charset="0"/>
              </a:defRPr>
            </a:lvl1pPr>
            <a:lvl2pPr marL="0" indent="0">
              <a:lnSpc>
                <a:spcPct val="100000"/>
              </a:lnSpc>
              <a:spcBef>
                <a:spcPts val="800"/>
              </a:spcBef>
              <a:buFont typeface="Arial" panose="020B0604020202020204" pitchFamily="34" charset="0"/>
              <a:buNone/>
              <a:defRPr lang="en-GB" sz="2398" kern="1200" noProof="0" smtClean="0">
                <a:solidFill>
                  <a:schemeClr val="tx2"/>
                </a:solidFill>
                <a:latin typeface="Arial" pitchFamily="34" charset="0"/>
                <a:ea typeface="+mn-ea"/>
                <a:cs typeface="Arial" pitchFamily="34" charset="0"/>
              </a:defRPr>
            </a:lvl2pPr>
            <a:lvl3pPr marL="0" indent="0">
              <a:lnSpc>
                <a:spcPct val="100000"/>
              </a:lnSpc>
              <a:spcBef>
                <a:spcPts val="800"/>
              </a:spcBef>
              <a:buFont typeface="Arial" panose="020B0604020202020204" pitchFamily="34" charset="0"/>
              <a:buNone/>
              <a:defRPr lang="en-GB" sz="2398" kern="1200" noProof="0" smtClean="0">
                <a:solidFill>
                  <a:schemeClr val="tx2"/>
                </a:solidFill>
                <a:latin typeface="Arial" pitchFamily="34" charset="0"/>
                <a:ea typeface="+mn-ea"/>
                <a:cs typeface="Arial" pitchFamily="34" charset="0"/>
              </a:defRPr>
            </a:lvl3pPr>
            <a:lvl4pPr marL="0" indent="0">
              <a:lnSpc>
                <a:spcPct val="100000"/>
              </a:lnSpc>
              <a:spcBef>
                <a:spcPts val="800"/>
              </a:spcBef>
              <a:buFont typeface="Arial" panose="020B0604020202020204" pitchFamily="34" charset="0"/>
              <a:buNone/>
              <a:defRPr lang="en-GB" sz="2398" kern="1200" noProof="0" smtClean="0">
                <a:solidFill>
                  <a:schemeClr val="tx2"/>
                </a:solidFill>
                <a:latin typeface="Arial" pitchFamily="34" charset="0"/>
                <a:ea typeface="+mn-ea"/>
                <a:cs typeface="Arial" pitchFamily="34" charset="0"/>
              </a:defRPr>
            </a:lvl4pPr>
            <a:lvl5pPr marL="0" indent="0">
              <a:lnSpc>
                <a:spcPct val="100000"/>
              </a:lnSpc>
              <a:spcBef>
                <a:spcPts val="800"/>
              </a:spcBef>
              <a:buFont typeface="Arial" panose="020B0604020202020204" pitchFamily="34" charset="0"/>
              <a:buNone/>
              <a:defRPr lang="en-GB" sz="2398" kern="1200" noProof="0" smtClean="0">
                <a:solidFill>
                  <a:schemeClr val="tx2"/>
                </a:solidFill>
                <a:latin typeface="Arial" pitchFamily="34" charset="0"/>
                <a:ea typeface="+mn-ea"/>
                <a:cs typeface="Arial" pitchFamily="34" charset="0"/>
              </a:defRPr>
            </a:lvl5pPr>
            <a:lvl6pPr marL="0" indent="0">
              <a:lnSpc>
                <a:spcPct val="100000"/>
              </a:lnSpc>
              <a:spcBef>
                <a:spcPts val="800"/>
              </a:spcBef>
              <a:buNone/>
              <a:defRPr lang="en-GB" sz="2398" kern="1200" noProof="0" smtClean="0">
                <a:solidFill>
                  <a:schemeClr val="tx2"/>
                </a:solidFill>
                <a:latin typeface="Arial" pitchFamily="34" charset="0"/>
                <a:ea typeface="+mn-ea"/>
                <a:cs typeface="Arial" pitchFamily="34" charset="0"/>
              </a:defRPr>
            </a:lvl6pPr>
            <a:lvl7pPr marL="0" indent="0">
              <a:lnSpc>
                <a:spcPct val="100000"/>
              </a:lnSpc>
              <a:spcBef>
                <a:spcPts val="800"/>
              </a:spcBef>
              <a:buNone/>
              <a:defRPr lang="en-GB" sz="2398" kern="1200" noProof="0" smtClean="0">
                <a:solidFill>
                  <a:schemeClr val="tx2"/>
                </a:solidFill>
                <a:latin typeface="Arial" pitchFamily="34" charset="0"/>
                <a:ea typeface="+mn-ea"/>
                <a:cs typeface="Arial" pitchFamily="34" charset="0"/>
              </a:defRPr>
            </a:lvl7pPr>
            <a:lvl8pPr marL="0" indent="0">
              <a:lnSpc>
                <a:spcPct val="100000"/>
              </a:lnSpc>
              <a:spcBef>
                <a:spcPts val="800"/>
              </a:spcBef>
              <a:buNone/>
              <a:defRPr lang="en-GB" sz="2398" kern="1200" noProof="0" smtClean="0">
                <a:solidFill>
                  <a:schemeClr val="tx2"/>
                </a:solidFill>
                <a:latin typeface="Arial" pitchFamily="34" charset="0"/>
                <a:ea typeface="+mn-ea"/>
                <a:cs typeface="Arial" pitchFamily="34" charset="0"/>
              </a:defRPr>
            </a:lvl8pPr>
            <a:lvl9pPr marL="0" indent="0">
              <a:lnSpc>
                <a:spcPct val="100000"/>
              </a:lnSpc>
              <a:spcBef>
                <a:spcPts val="800"/>
              </a:spcBef>
              <a:buNone/>
              <a:defRPr lang="de-DE" sz="2398" kern="1200" noProof="0" smtClean="0">
                <a:solidFill>
                  <a:schemeClr val="tx2"/>
                </a:solidFill>
                <a:latin typeface="Arial" pitchFamily="34" charset="0"/>
                <a:ea typeface="+mn-ea"/>
                <a:cs typeface="Arial" pitchFamily="34" charset="0"/>
              </a:defRPr>
            </a:lvl9pPr>
          </a:lstStyle>
          <a:p>
            <a:pPr lvl="0"/>
            <a:r>
              <a:rPr lang="en-US"/>
              <a:t>Click to add </a:t>
            </a:r>
            <a:r>
              <a:rPr lang="en-US" err="1"/>
              <a:t>subheadline</a:t>
            </a:r>
            <a:endParaRPr lang="en-US"/>
          </a:p>
        </p:txBody>
      </p:sp>
      <p:sp>
        <p:nvSpPr>
          <p:cNvPr id="25" name="Picture Placeholder 4"/>
          <p:cNvSpPr>
            <a:spLocks noGrp="1"/>
          </p:cNvSpPr>
          <p:nvPr>
            <p:ph type="pic" sz="quarter" idx="34" hasCustomPrompt="1"/>
          </p:nvPr>
        </p:nvSpPr>
        <p:spPr bwMode="gray">
          <a:xfrm>
            <a:off x="431371" y="1700814"/>
            <a:ext cx="1728192" cy="2208245"/>
          </a:xfrm>
        </p:spPr>
        <p:txBody>
          <a:bodyPr/>
          <a:lstStyle>
            <a:lvl1pPr marL="0" indent="0">
              <a:buNone/>
              <a:defRPr/>
            </a:lvl1pPr>
          </a:lstStyle>
          <a:p>
            <a:r>
              <a:rPr lang="de-DE"/>
              <a:t>Picture</a:t>
            </a:r>
            <a:endParaRPr lang="en-US"/>
          </a:p>
        </p:txBody>
      </p:sp>
      <p:sp>
        <p:nvSpPr>
          <p:cNvPr id="26" name="Text Placeholder 3"/>
          <p:cNvSpPr>
            <a:spLocks noGrp="1"/>
          </p:cNvSpPr>
          <p:nvPr>
            <p:ph type="body" sz="quarter" idx="35" hasCustomPrompt="1"/>
          </p:nvPr>
        </p:nvSpPr>
        <p:spPr bwMode="gray">
          <a:xfrm>
            <a:off x="2351590" y="3046308"/>
            <a:ext cx="3648404" cy="288032"/>
          </a:xfrm>
        </p:spPr>
        <p:txBody>
          <a:bodyPr tIns="0" anchor="b" anchorCtr="0"/>
          <a:lstStyle>
            <a:lvl1pPr marL="0" indent="0">
              <a:spcBef>
                <a:spcPts val="0"/>
              </a:spcBef>
              <a:spcAft>
                <a:spcPts val="0"/>
              </a:spcAft>
              <a:buNone/>
              <a:defRPr sz="1598">
                <a:solidFill>
                  <a:schemeClr val="tx1"/>
                </a:solidFill>
              </a:defRPr>
            </a:lvl1pPr>
            <a:lvl2pPr marL="0" indent="0">
              <a:spcBef>
                <a:spcPts val="0"/>
              </a:spcBef>
              <a:spcAft>
                <a:spcPts val="0"/>
              </a:spcAft>
              <a:buNone/>
              <a:defRPr sz="1598"/>
            </a:lvl2pPr>
            <a:lvl3pPr marL="0" indent="0" algn="l">
              <a:spcBef>
                <a:spcPts val="0"/>
              </a:spcBef>
              <a:spcAft>
                <a:spcPts val="0"/>
              </a:spcAft>
              <a:buFontTx/>
              <a:buNone/>
              <a:tabLst>
                <a:tab pos="839519" algn="l"/>
              </a:tabLst>
              <a:defRPr sz="1598"/>
            </a:lvl3pPr>
            <a:lvl4pPr marL="0" indent="0" algn="l">
              <a:spcBef>
                <a:spcPts val="0"/>
              </a:spcBef>
              <a:spcAft>
                <a:spcPts val="0"/>
              </a:spcAft>
              <a:buFontTx/>
              <a:buNone/>
              <a:defRPr sz="1598">
                <a:solidFill>
                  <a:schemeClr val="tx1"/>
                </a:solidFill>
              </a:defRPr>
            </a:lvl4pPr>
            <a:lvl5pPr marL="0" indent="0" algn="l">
              <a:spcBef>
                <a:spcPts val="0"/>
              </a:spcBef>
              <a:spcAft>
                <a:spcPts val="0"/>
              </a:spcAft>
              <a:buFontTx/>
              <a:buNone/>
              <a:defRPr sz="1598"/>
            </a:lvl5pPr>
            <a:lvl6pPr marL="0" indent="0" algn="l">
              <a:spcBef>
                <a:spcPts val="0"/>
              </a:spcBef>
              <a:spcAft>
                <a:spcPts val="0"/>
              </a:spcAft>
              <a:buFontTx/>
              <a:buNone/>
              <a:defRPr sz="1598"/>
            </a:lvl6pPr>
            <a:lvl7pPr marL="0" indent="0" algn="l">
              <a:spcBef>
                <a:spcPts val="0"/>
              </a:spcBef>
              <a:spcAft>
                <a:spcPts val="0"/>
              </a:spcAft>
              <a:buFontTx/>
              <a:buNone/>
              <a:defRPr sz="1598"/>
            </a:lvl7pPr>
            <a:lvl8pPr marL="0" indent="0" algn="l">
              <a:spcBef>
                <a:spcPts val="0"/>
              </a:spcBef>
              <a:spcAft>
                <a:spcPts val="0"/>
              </a:spcAft>
              <a:buFontTx/>
              <a:buNone/>
              <a:defRPr sz="1598"/>
            </a:lvl8pPr>
            <a:lvl9pPr marL="0" indent="0" algn="l">
              <a:spcBef>
                <a:spcPts val="0"/>
              </a:spcBef>
              <a:spcAft>
                <a:spcPts val="0"/>
              </a:spcAft>
              <a:buFontTx/>
              <a:buNone/>
              <a:defRPr sz="1598"/>
            </a:lvl9pPr>
          </a:lstStyle>
          <a:p>
            <a:pPr lvl="4"/>
            <a:r>
              <a:rPr lang="en-US"/>
              <a:t>[phone number]</a:t>
            </a:r>
          </a:p>
        </p:txBody>
      </p:sp>
      <p:sp>
        <p:nvSpPr>
          <p:cNvPr id="27" name="Text Placeholder 3"/>
          <p:cNvSpPr>
            <a:spLocks noGrp="1"/>
          </p:cNvSpPr>
          <p:nvPr>
            <p:ph type="body" sz="quarter" idx="36" hasCustomPrompt="1"/>
          </p:nvPr>
        </p:nvSpPr>
        <p:spPr bwMode="gray">
          <a:xfrm>
            <a:off x="2351584" y="2470246"/>
            <a:ext cx="3648405" cy="575999"/>
          </a:xfrm>
        </p:spPr>
        <p:txBody>
          <a:bodyPr tIns="36000" anchor="t" anchorCtr="0"/>
          <a:lstStyle>
            <a:lvl1pPr marL="0" indent="0">
              <a:spcBef>
                <a:spcPts val="0"/>
              </a:spcBef>
              <a:spcAft>
                <a:spcPts val="0"/>
              </a:spcAft>
              <a:buNone/>
              <a:defRPr sz="1598">
                <a:solidFill>
                  <a:schemeClr val="tx1"/>
                </a:solidFill>
              </a:defRPr>
            </a:lvl1pPr>
            <a:lvl2pPr marL="0" indent="0">
              <a:spcBef>
                <a:spcPts val="0"/>
              </a:spcBef>
              <a:spcAft>
                <a:spcPts val="0"/>
              </a:spcAft>
              <a:buNone/>
              <a:defRPr sz="1598"/>
            </a:lvl2pPr>
            <a:lvl3pPr marL="0" indent="0" algn="l">
              <a:spcBef>
                <a:spcPts val="0"/>
              </a:spcBef>
              <a:spcAft>
                <a:spcPts val="0"/>
              </a:spcAft>
              <a:buFontTx/>
              <a:buNone/>
              <a:tabLst>
                <a:tab pos="839519" algn="l"/>
              </a:tabLst>
              <a:defRPr sz="1598"/>
            </a:lvl3pPr>
            <a:lvl4pPr marL="0" indent="0" algn="l">
              <a:spcBef>
                <a:spcPts val="0"/>
              </a:spcBef>
              <a:spcAft>
                <a:spcPts val="0"/>
              </a:spcAft>
              <a:buFontTx/>
              <a:buNone/>
              <a:defRPr sz="1598">
                <a:solidFill>
                  <a:schemeClr val="tx1"/>
                </a:solidFill>
              </a:defRPr>
            </a:lvl4pPr>
            <a:lvl5pPr marL="0" indent="0" algn="l">
              <a:spcBef>
                <a:spcPts val="0"/>
              </a:spcBef>
              <a:spcAft>
                <a:spcPts val="0"/>
              </a:spcAft>
              <a:buFontTx/>
              <a:buNone/>
              <a:defRPr sz="1598"/>
            </a:lvl5pPr>
            <a:lvl6pPr marL="0" indent="0" algn="l">
              <a:spcBef>
                <a:spcPts val="0"/>
              </a:spcBef>
              <a:spcAft>
                <a:spcPts val="0"/>
              </a:spcAft>
              <a:buFontTx/>
              <a:buNone/>
              <a:defRPr sz="1598"/>
            </a:lvl6pPr>
            <a:lvl7pPr marL="0" indent="0" algn="l">
              <a:spcBef>
                <a:spcPts val="0"/>
              </a:spcBef>
              <a:spcAft>
                <a:spcPts val="0"/>
              </a:spcAft>
              <a:buFontTx/>
              <a:buNone/>
              <a:defRPr sz="1598"/>
            </a:lvl7pPr>
            <a:lvl8pPr marL="0" indent="0" algn="l">
              <a:spcBef>
                <a:spcPts val="0"/>
              </a:spcBef>
              <a:spcAft>
                <a:spcPts val="0"/>
              </a:spcAft>
              <a:buFontTx/>
              <a:buNone/>
              <a:defRPr sz="1598"/>
            </a:lvl8pPr>
            <a:lvl9pPr marL="0" indent="0" algn="l">
              <a:spcBef>
                <a:spcPts val="0"/>
              </a:spcBef>
              <a:spcAft>
                <a:spcPts val="0"/>
              </a:spcAft>
              <a:buFontTx/>
              <a:buNone/>
              <a:defRPr sz="1598"/>
            </a:lvl9pPr>
          </a:lstStyle>
          <a:p>
            <a:pPr lvl="4"/>
            <a:r>
              <a:rPr lang="en-US"/>
              <a:t>[title]</a:t>
            </a:r>
          </a:p>
        </p:txBody>
      </p:sp>
      <p:sp>
        <p:nvSpPr>
          <p:cNvPr id="28" name="Text Placeholder 3"/>
          <p:cNvSpPr>
            <a:spLocks noGrp="1"/>
          </p:cNvSpPr>
          <p:nvPr>
            <p:ph type="body" sz="quarter" idx="37" hasCustomPrompt="1"/>
          </p:nvPr>
        </p:nvSpPr>
        <p:spPr bwMode="gray">
          <a:xfrm>
            <a:off x="2351584" y="1701800"/>
            <a:ext cx="3648405" cy="768440"/>
          </a:xfrm>
        </p:spPr>
        <p:txBody>
          <a:bodyPr tIns="0" bIns="36000" anchor="b" anchorCtr="0"/>
          <a:lstStyle>
            <a:lvl1pPr marL="0" indent="0">
              <a:spcBef>
                <a:spcPts val="0"/>
              </a:spcBef>
              <a:spcAft>
                <a:spcPts val="0"/>
              </a:spcAft>
              <a:buFontTx/>
              <a:buNone/>
              <a:defRPr sz="1866">
                <a:solidFill>
                  <a:schemeClr val="tx2"/>
                </a:solidFill>
              </a:defRPr>
            </a:lvl1pPr>
            <a:lvl2pPr marL="0" indent="0">
              <a:spcBef>
                <a:spcPts val="0"/>
              </a:spcBef>
              <a:spcAft>
                <a:spcPts val="0"/>
              </a:spcAft>
              <a:buNone/>
              <a:defRPr sz="1866">
                <a:solidFill>
                  <a:schemeClr val="tx2"/>
                </a:solidFill>
              </a:defRPr>
            </a:lvl2pPr>
            <a:lvl3pPr marL="0" indent="0" algn="l">
              <a:spcBef>
                <a:spcPts val="0"/>
              </a:spcBef>
              <a:spcAft>
                <a:spcPts val="0"/>
              </a:spcAft>
              <a:buFontTx/>
              <a:buNone/>
              <a:tabLst>
                <a:tab pos="839519" algn="l"/>
              </a:tabLst>
              <a:defRPr sz="1866">
                <a:solidFill>
                  <a:schemeClr val="tx2"/>
                </a:solidFill>
              </a:defRPr>
            </a:lvl3pPr>
            <a:lvl4pPr marL="0" indent="0" algn="l">
              <a:spcBef>
                <a:spcPts val="0"/>
              </a:spcBef>
              <a:spcAft>
                <a:spcPts val="0"/>
              </a:spcAft>
              <a:buFontTx/>
              <a:buNone/>
              <a:defRPr sz="1866">
                <a:solidFill>
                  <a:schemeClr val="tx2"/>
                </a:solidFill>
              </a:defRPr>
            </a:lvl4pPr>
            <a:lvl5pPr marL="0" indent="0" algn="l">
              <a:spcBef>
                <a:spcPts val="0"/>
              </a:spcBef>
              <a:spcAft>
                <a:spcPts val="0"/>
              </a:spcAft>
              <a:buFontTx/>
              <a:buNone/>
              <a:defRPr sz="1866" b="0">
                <a:solidFill>
                  <a:schemeClr val="tx2"/>
                </a:solidFill>
              </a:defRPr>
            </a:lvl5pPr>
            <a:lvl6pPr marL="0" indent="0" algn="l">
              <a:spcBef>
                <a:spcPts val="0"/>
              </a:spcBef>
              <a:spcAft>
                <a:spcPts val="0"/>
              </a:spcAft>
              <a:buFontTx/>
              <a:buNone/>
              <a:defRPr sz="1866">
                <a:solidFill>
                  <a:schemeClr val="tx2"/>
                </a:solidFill>
              </a:defRPr>
            </a:lvl6pPr>
            <a:lvl7pPr marL="0" indent="0" algn="l">
              <a:spcBef>
                <a:spcPts val="0"/>
              </a:spcBef>
              <a:spcAft>
                <a:spcPts val="0"/>
              </a:spcAft>
              <a:buFontTx/>
              <a:buNone/>
              <a:defRPr sz="1866">
                <a:solidFill>
                  <a:schemeClr val="tx2"/>
                </a:solidFill>
              </a:defRPr>
            </a:lvl7pPr>
            <a:lvl8pPr marL="0" indent="0" algn="l">
              <a:spcBef>
                <a:spcPts val="0"/>
              </a:spcBef>
              <a:spcAft>
                <a:spcPts val="0"/>
              </a:spcAft>
              <a:buFontTx/>
              <a:buNone/>
              <a:defRPr sz="1866"/>
            </a:lvl8pPr>
            <a:lvl9pPr marL="0" indent="0" algn="l">
              <a:spcBef>
                <a:spcPts val="0"/>
              </a:spcBef>
              <a:spcAft>
                <a:spcPts val="0"/>
              </a:spcAft>
              <a:buFontTx/>
              <a:buNone/>
              <a:defRPr sz="1866">
                <a:solidFill>
                  <a:schemeClr val="tx2"/>
                </a:solidFill>
              </a:defRPr>
            </a:lvl9pPr>
          </a:lstStyle>
          <a:p>
            <a:pPr lvl="0"/>
            <a:r>
              <a:rPr lang="en-US" noProof="0"/>
              <a:t>[name]</a:t>
            </a:r>
          </a:p>
        </p:txBody>
      </p:sp>
      <p:sp>
        <p:nvSpPr>
          <p:cNvPr id="29" name="Text Placeholder 3"/>
          <p:cNvSpPr>
            <a:spLocks noGrp="1"/>
          </p:cNvSpPr>
          <p:nvPr>
            <p:ph type="body" sz="quarter" idx="38" hasCustomPrompt="1"/>
          </p:nvPr>
        </p:nvSpPr>
        <p:spPr bwMode="gray">
          <a:xfrm>
            <a:off x="2351584" y="3334339"/>
            <a:ext cx="3648405" cy="288032"/>
          </a:xfrm>
        </p:spPr>
        <p:txBody>
          <a:bodyPr tIns="0" anchor="b" anchorCtr="0"/>
          <a:lstStyle>
            <a:lvl1pPr marL="0" indent="0">
              <a:spcBef>
                <a:spcPts val="0"/>
              </a:spcBef>
              <a:spcAft>
                <a:spcPts val="0"/>
              </a:spcAft>
              <a:buNone/>
              <a:defRPr sz="1598">
                <a:solidFill>
                  <a:schemeClr val="tx1"/>
                </a:solidFill>
              </a:defRPr>
            </a:lvl1pPr>
            <a:lvl2pPr marL="0" indent="0">
              <a:spcBef>
                <a:spcPts val="0"/>
              </a:spcBef>
              <a:spcAft>
                <a:spcPts val="0"/>
              </a:spcAft>
              <a:buNone/>
              <a:defRPr sz="1598"/>
            </a:lvl2pPr>
            <a:lvl3pPr marL="0" indent="0" algn="l">
              <a:spcBef>
                <a:spcPts val="0"/>
              </a:spcBef>
              <a:spcAft>
                <a:spcPts val="0"/>
              </a:spcAft>
              <a:buFontTx/>
              <a:buNone/>
              <a:tabLst>
                <a:tab pos="839519" algn="l"/>
              </a:tabLst>
              <a:defRPr sz="1598"/>
            </a:lvl3pPr>
            <a:lvl4pPr marL="0" indent="0" algn="l">
              <a:spcBef>
                <a:spcPts val="0"/>
              </a:spcBef>
              <a:spcAft>
                <a:spcPts val="0"/>
              </a:spcAft>
              <a:buFontTx/>
              <a:buNone/>
              <a:defRPr sz="1598">
                <a:solidFill>
                  <a:schemeClr val="tx1"/>
                </a:solidFill>
              </a:defRPr>
            </a:lvl4pPr>
            <a:lvl5pPr marL="0" indent="0" algn="l">
              <a:spcBef>
                <a:spcPts val="0"/>
              </a:spcBef>
              <a:spcAft>
                <a:spcPts val="0"/>
              </a:spcAft>
              <a:buFontTx/>
              <a:buNone/>
              <a:defRPr sz="1598"/>
            </a:lvl5pPr>
            <a:lvl6pPr marL="0" indent="0" algn="l">
              <a:spcBef>
                <a:spcPts val="0"/>
              </a:spcBef>
              <a:spcAft>
                <a:spcPts val="0"/>
              </a:spcAft>
              <a:buFontTx/>
              <a:buNone/>
              <a:defRPr sz="1598"/>
            </a:lvl6pPr>
            <a:lvl7pPr marL="0" indent="0" algn="l">
              <a:spcBef>
                <a:spcPts val="0"/>
              </a:spcBef>
              <a:spcAft>
                <a:spcPts val="0"/>
              </a:spcAft>
              <a:buFontTx/>
              <a:buNone/>
              <a:defRPr sz="1598"/>
            </a:lvl7pPr>
            <a:lvl8pPr marL="0" indent="0" algn="l">
              <a:spcBef>
                <a:spcPts val="0"/>
              </a:spcBef>
              <a:spcAft>
                <a:spcPts val="0"/>
              </a:spcAft>
              <a:buFontTx/>
              <a:buNone/>
              <a:defRPr sz="1598"/>
            </a:lvl8pPr>
            <a:lvl9pPr marL="0" indent="0" algn="l">
              <a:spcBef>
                <a:spcPts val="0"/>
              </a:spcBef>
              <a:spcAft>
                <a:spcPts val="0"/>
              </a:spcAft>
              <a:buFontTx/>
              <a:buNone/>
              <a:defRPr sz="1598"/>
            </a:lvl9pPr>
          </a:lstStyle>
          <a:p>
            <a:pPr lvl="4"/>
            <a:r>
              <a:rPr lang="en-US"/>
              <a:t>[email address]</a:t>
            </a:r>
          </a:p>
        </p:txBody>
      </p:sp>
      <p:sp>
        <p:nvSpPr>
          <p:cNvPr id="30" name="Text Placeholder 3"/>
          <p:cNvSpPr>
            <a:spLocks noGrp="1"/>
          </p:cNvSpPr>
          <p:nvPr>
            <p:ph type="body" sz="quarter" idx="39" hasCustomPrompt="1"/>
          </p:nvPr>
        </p:nvSpPr>
        <p:spPr bwMode="gray">
          <a:xfrm>
            <a:off x="2351691" y="3622368"/>
            <a:ext cx="3648301" cy="286685"/>
          </a:xfrm>
        </p:spPr>
        <p:txBody>
          <a:bodyPr tIns="0" anchor="b" anchorCtr="0"/>
          <a:lstStyle>
            <a:lvl1pPr marL="0" indent="0">
              <a:spcBef>
                <a:spcPts val="0"/>
              </a:spcBef>
              <a:spcAft>
                <a:spcPts val="0"/>
              </a:spcAft>
              <a:buNone/>
              <a:defRPr sz="1598">
                <a:solidFill>
                  <a:schemeClr val="tx1"/>
                </a:solidFill>
              </a:defRPr>
            </a:lvl1pPr>
            <a:lvl2pPr marL="0" indent="0">
              <a:spcBef>
                <a:spcPts val="0"/>
              </a:spcBef>
              <a:spcAft>
                <a:spcPts val="0"/>
              </a:spcAft>
              <a:buNone/>
              <a:defRPr sz="1598"/>
            </a:lvl2pPr>
            <a:lvl3pPr marL="0" indent="0" algn="l">
              <a:spcBef>
                <a:spcPts val="0"/>
              </a:spcBef>
              <a:spcAft>
                <a:spcPts val="0"/>
              </a:spcAft>
              <a:buFontTx/>
              <a:buNone/>
              <a:tabLst>
                <a:tab pos="839519" algn="l"/>
              </a:tabLst>
              <a:defRPr sz="1598"/>
            </a:lvl3pPr>
            <a:lvl4pPr marL="0" indent="0" algn="l">
              <a:spcBef>
                <a:spcPts val="0"/>
              </a:spcBef>
              <a:spcAft>
                <a:spcPts val="0"/>
              </a:spcAft>
              <a:buFontTx/>
              <a:buNone/>
              <a:defRPr sz="1598">
                <a:solidFill>
                  <a:schemeClr val="tx1"/>
                </a:solidFill>
              </a:defRPr>
            </a:lvl4pPr>
            <a:lvl5pPr marL="0" indent="0" algn="l">
              <a:spcBef>
                <a:spcPts val="0"/>
              </a:spcBef>
              <a:spcAft>
                <a:spcPts val="0"/>
              </a:spcAft>
              <a:buFontTx/>
              <a:buNone/>
              <a:defRPr sz="1598"/>
            </a:lvl5pPr>
            <a:lvl6pPr marL="0" indent="0" algn="l">
              <a:spcBef>
                <a:spcPts val="0"/>
              </a:spcBef>
              <a:spcAft>
                <a:spcPts val="0"/>
              </a:spcAft>
              <a:buFontTx/>
              <a:buNone/>
              <a:defRPr sz="1598"/>
            </a:lvl6pPr>
            <a:lvl7pPr marL="0" indent="0" algn="l">
              <a:spcBef>
                <a:spcPts val="0"/>
              </a:spcBef>
              <a:spcAft>
                <a:spcPts val="0"/>
              </a:spcAft>
              <a:buFontTx/>
              <a:buNone/>
              <a:defRPr sz="1598"/>
            </a:lvl7pPr>
            <a:lvl8pPr marL="0" indent="0" algn="l">
              <a:spcBef>
                <a:spcPts val="0"/>
              </a:spcBef>
              <a:spcAft>
                <a:spcPts val="0"/>
              </a:spcAft>
              <a:buFontTx/>
              <a:buNone/>
              <a:defRPr sz="1598"/>
            </a:lvl8pPr>
            <a:lvl9pPr marL="0" indent="0" algn="l">
              <a:spcBef>
                <a:spcPts val="0"/>
              </a:spcBef>
              <a:spcAft>
                <a:spcPts val="0"/>
              </a:spcAft>
              <a:buFontTx/>
              <a:buNone/>
              <a:defRPr sz="1598"/>
            </a:lvl9pPr>
          </a:lstStyle>
          <a:p>
            <a:pPr lvl="4"/>
            <a:r>
              <a:rPr lang="en-US"/>
              <a:t>[country]</a:t>
            </a:r>
          </a:p>
        </p:txBody>
      </p:sp>
      <p:sp>
        <p:nvSpPr>
          <p:cNvPr id="31" name="Picture Placeholder 4"/>
          <p:cNvSpPr>
            <a:spLocks noGrp="1"/>
          </p:cNvSpPr>
          <p:nvPr>
            <p:ph type="pic" sz="quarter" idx="40" hasCustomPrompt="1"/>
          </p:nvPr>
        </p:nvSpPr>
        <p:spPr bwMode="gray">
          <a:xfrm>
            <a:off x="6192971" y="1701803"/>
            <a:ext cx="1728192" cy="2208000"/>
          </a:xfrm>
        </p:spPr>
        <p:txBody>
          <a:bodyPr/>
          <a:lstStyle>
            <a:lvl1pPr marL="0" indent="0">
              <a:buNone/>
              <a:defRPr/>
            </a:lvl1pPr>
          </a:lstStyle>
          <a:p>
            <a:r>
              <a:rPr lang="de-DE"/>
              <a:t>Picture</a:t>
            </a:r>
            <a:endParaRPr lang="en-US"/>
          </a:p>
        </p:txBody>
      </p:sp>
      <p:sp>
        <p:nvSpPr>
          <p:cNvPr id="32" name="Text Placeholder 3"/>
          <p:cNvSpPr>
            <a:spLocks noGrp="1"/>
          </p:cNvSpPr>
          <p:nvPr>
            <p:ph type="body" sz="quarter" idx="41" hasCustomPrompt="1"/>
          </p:nvPr>
        </p:nvSpPr>
        <p:spPr bwMode="gray">
          <a:xfrm>
            <a:off x="8113190" y="3046308"/>
            <a:ext cx="3648404" cy="288032"/>
          </a:xfrm>
        </p:spPr>
        <p:txBody>
          <a:bodyPr tIns="0" anchor="b" anchorCtr="0"/>
          <a:lstStyle>
            <a:lvl1pPr marL="0" indent="0">
              <a:spcBef>
                <a:spcPts val="0"/>
              </a:spcBef>
              <a:spcAft>
                <a:spcPts val="0"/>
              </a:spcAft>
              <a:buNone/>
              <a:defRPr sz="1598">
                <a:solidFill>
                  <a:schemeClr val="tx1"/>
                </a:solidFill>
              </a:defRPr>
            </a:lvl1pPr>
            <a:lvl2pPr marL="0" indent="0">
              <a:spcBef>
                <a:spcPts val="0"/>
              </a:spcBef>
              <a:spcAft>
                <a:spcPts val="0"/>
              </a:spcAft>
              <a:buNone/>
              <a:defRPr sz="1598"/>
            </a:lvl2pPr>
            <a:lvl3pPr marL="0" indent="0" algn="l">
              <a:spcBef>
                <a:spcPts val="0"/>
              </a:spcBef>
              <a:spcAft>
                <a:spcPts val="0"/>
              </a:spcAft>
              <a:buFontTx/>
              <a:buNone/>
              <a:tabLst>
                <a:tab pos="839519" algn="l"/>
              </a:tabLst>
              <a:defRPr sz="1598"/>
            </a:lvl3pPr>
            <a:lvl4pPr marL="0" indent="0" algn="l">
              <a:spcBef>
                <a:spcPts val="0"/>
              </a:spcBef>
              <a:spcAft>
                <a:spcPts val="0"/>
              </a:spcAft>
              <a:buFontTx/>
              <a:buNone/>
              <a:defRPr sz="1598">
                <a:solidFill>
                  <a:schemeClr val="tx1"/>
                </a:solidFill>
              </a:defRPr>
            </a:lvl4pPr>
            <a:lvl5pPr marL="0" indent="0" algn="l">
              <a:spcBef>
                <a:spcPts val="0"/>
              </a:spcBef>
              <a:spcAft>
                <a:spcPts val="0"/>
              </a:spcAft>
              <a:buFontTx/>
              <a:buNone/>
              <a:defRPr sz="1598"/>
            </a:lvl5pPr>
            <a:lvl6pPr marL="0" indent="0" algn="l">
              <a:spcBef>
                <a:spcPts val="0"/>
              </a:spcBef>
              <a:spcAft>
                <a:spcPts val="0"/>
              </a:spcAft>
              <a:buFontTx/>
              <a:buNone/>
              <a:defRPr sz="1598"/>
            </a:lvl6pPr>
            <a:lvl7pPr marL="0" indent="0" algn="l">
              <a:spcBef>
                <a:spcPts val="0"/>
              </a:spcBef>
              <a:spcAft>
                <a:spcPts val="0"/>
              </a:spcAft>
              <a:buFontTx/>
              <a:buNone/>
              <a:defRPr sz="1598"/>
            </a:lvl7pPr>
            <a:lvl8pPr marL="0" indent="0" algn="l">
              <a:spcBef>
                <a:spcPts val="0"/>
              </a:spcBef>
              <a:spcAft>
                <a:spcPts val="0"/>
              </a:spcAft>
              <a:buFontTx/>
              <a:buNone/>
              <a:defRPr sz="1598"/>
            </a:lvl8pPr>
            <a:lvl9pPr marL="0" indent="0" algn="l">
              <a:spcBef>
                <a:spcPts val="0"/>
              </a:spcBef>
              <a:spcAft>
                <a:spcPts val="0"/>
              </a:spcAft>
              <a:buFontTx/>
              <a:buNone/>
              <a:defRPr sz="1598"/>
            </a:lvl9pPr>
          </a:lstStyle>
          <a:p>
            <a:pPr lvl="4"/>
            <a:r>
              <a:rPr lang="en-US"/>
              <a:t>[phone number]</a:t>
            </a:r>
          </a:p>
        </p:txBody>
      </p:sp>
      <p:sp>
        <p:nvSpPr>
          <p:cNvPr id="33" name="Text Placeholder 3"/>
          <p:cNvSpPr>
            <a:spLocks noGrp="1"/>
          </p:cNvSpPr>
          <p:nvPr>
            <p:ph type="body" sz="quarter" idx="42" hasCustomPrompt="1"/>
          </p:nvPr>
        </p:nvSpPr>
        <p:spPr bwMode="gray">
          <a:xfrm>
            <a:off x="8113184" y="2470246"/>
            <a:ext cx="3648405" cy="575999"/>
          </a:xfrm>
        </p:spPr>
        <p:txBody>
          <a:bodyPr tIns="36000" anchor="t" anchorCtr="0"/>
          <a:lstStyle>
            <a:lvl1pPr marL="0" indent="0">
              <a:spcBef>
                <a:spcPts val="0"/>
              </a:spcBef>
              <a:spcAft>
                <a:spcPts val="0"/>
              </a:spcAft>
              <a:buNone/>
              <a:defRPr sz="1598">
                <a:solidFill>
                  <a:schemeClr val="tx1"/>
                </a:solidFill>
              </a:defRPr>
            </a:lvl1pPr>
            <a:lvl2pPr marL="0" indent="0">
              <a:spcBef>
                <a:spcPts val="0"/>
              </a:spcBef>
              <a:spcAft>
                <a:spcPts val="0"/>
              </a:spcAft>
              <a:buNone/>
              <a:defRPr sz="1598"/>
            </a:lvl2pPr>
            <a:lvl3pPr marL="0" indent="0" algn="l">
              <a:spcBef>
                <a:spcPts val="0"/>
              </a:spcBef>
              <a:spcAft>
                <a:spcPts val="0"/>
              </a:spcAft>
              <a:buFontTx/>
              <a:buNone/>
              <a:tabLst>
                <a:tab pos="839519" algn="l"/>
              </a:tabLst>
              <a:defRPr sz="1598"/>
            </a:lvl3pPr>
            <a:lvl4pPr marL="0" indent="0" algn="l">
              <a:spcBef>
                <a:spcPts val="0"/>
              </a:spcBef>
              <a:spcAft>
                <a:spcPts val="0"/>
              </a:spcAft>
              <a:buFontTx/>
              <a:buNone/>
              <a:defRPr sz="1598">
                <a:solidFill>
                  <a:schemeClr val="tx1"/>
                </a:solidFill>
              </a:defRPr>
            </a:lvl4pPr>
            <a:lvl5pPr marL="0" indent="0" algn="l">
              <a:spcBef>
                <a:spcPts val="0"/>
              </a:spcBef>
              <a:spcAft>
                <a:spcPts val="0"/>
              </a:spcAft>
              <a:buFontTx/>
              <a:buNone/>
              <a:defRPr sz="1598"/>
            </a:lvl5pPr>
            <a:lvl6pPr marL="0" indent="0" algn="l">
              <a:spcBef>
                <a:spcPts val="0"/>
              </a:spcBef>
              <a:spcAft>
                <a:spcPts val="0"/>
              </a:spcAft>
              <a:buFontTx/>
              <a:buNone/>
              <a:defRPr sz="1598"/>
            </a:lvl6pPr>
            <a:lvl7pPr marL="0" indent="0" algn="l">
              <a:spcBef>
                <a:spcPts val="0"/>
              </a:spcBef>
              <a:spcAft>
                <a:spcPts val="0"/>
              </a:spcAft>
              <a:buFontTx/>
              <a:buNone/>
              <a:defRPr sz="1598"/>
            </a:lvl7pPr>
            <a:lvl8pPr marL="0" indent="0" algn="l">
              <a:spcBef>
                <a:spcPts val="0"/>
              </a:spcBef>
              <a:spcAft>
                <a:spcPts val="0"/>
              </a:spcAft>
              <a:buFontTx/>
              <a:buNone/>
              <a:defRPr sz="1598"/>
            </a:lvl8pPr>
            <a:lvl9pPr marL="0" indent="0" algn="l">
              <a:spcBef>
                <a:spcPts val="0"/>
              </a:spcBef>
              <a:spcAft>
                <a:spcPts val="0"/>
              </a:spcAft>
              <a:buFontTx/>
              <a:buNone/>
              <a:defRPr sz="1598"/>
            </a:lvl9pPr>
          </a:lstStyle>
          <a:p>
            <a:pPr lvl="4"/>
            <a:r>
              <a:rPr lang="en-US"/>
              <a:t>[title]</a:t>
            </a:r>
          </a:p>
        </p:txBody>
      </p:sp>
      <p:sp>
        <p:nvSpPr>
          <p:cNvPr id="34" name="Text Placeholder 3"/>
          <p:cNvSpPr>
            <a:spLocks noGrp="1"/>
          </p:cNvSpPr>
          <p:nvPr>
            <p:ph type="body" sz="quarter" idx="43" hasCustomPrompt="1"/>
          </p:nvPr>
        </p:nvSpPr>
        <p:spPr bwMode="gray">
          <a:xfrm>
            <a:off x="8113184" y="1702432"/>
            <a:ext cx="3648405" cy="768000"/>
          </a:xfrm>
        </p:spPr>
        <p:txBody>
          <a:bodyPr tIns="0" bIns="36000" anchor="b" anchorCtr="0"/>
          <a:lstStyle>
            <a:lvl1pPr marL="0" indent="0">
              <a:spcBef>
                <a:spcPts val="0"/>
              </a:spcBef>
              <a:spcAft>
                <a:spcPts val="0"/>
              </a:spcAft>
              <a:buFontTx/>
              <a:buNone/>
              <a:defRPr sz="1866">
                <a:solidFill>
                  <a:schemeClr val="tx2"/>
                </a:solidFill>
              </a:defRPr>
            </a:lvl1pPr>
            <a:lvl2pPr marL="0" indent="0">
              <a:spcBef>
                <a:spcPts val="0"/>
              </a:spcBef>
              <a:spcAft>
                <a:spcPts val="0"/>
              </a:spcAft>
              <a:buNone/>
              <a:defRPr sz="1866">
                <a:solidFill>
                  <a:schemeClr val="tx2"/>
                </a:solidFill>
              </a:defRPr>
            </a:lvl2pPr>
            <a:lvl3pPr marL="0" indent="0" algn="l">
              <a:spcBef>
                <a:spcPts val="0"/>
              </a:spcBef>
              <a:spcAft>
                <a:spcPts val="0"/>
              </a:spcAft>
              <a:buFontTx/>
              <a:buNone/>
              <a:tabLst>
                <a:tab pos="839519" algn="l"/>
              </a:tabLst>
              <a:defRPr sz="1866">
                <a:solidFill>
                  <a:schemeClr val="tx2"/>
                </a:solidFill>
              </a:defRPr>
            </a:lvl3pPr>
            <a:lvl4pPr marL="0" indent="0" algn="l">
              <a:spcBef>
                <a:spcPts val="0"/>
              </a:spcBef>
              <a:spcAft>
                <a:spcPts val="0"/>
              </a:spcAft>
              <a:buFontTx/>
              <a:buNone/>
              <a:defRPr sz="1866">
                <a:solidFill>
                  <a:schemeClr val="tx2"/>
                </a:solidFill>
              </a:defRPr>
            </a:lvl4pPr>
            <a:lvl5pPr marL="0" indent="0" algn="l">
              <a:spcBef>
                <a:spcPts val="0"/>
              </a:spcBef>
              <a:spcAft>
                <a:spcPts val="0"/>
              </a:spcAft>
              <a:buFontTx/>
              <a:buNone/>
              <a:defRPr sz="1866" b="0">
                <a:solidFill>
                  <a:schemeClr val="tx2"/>
                </a:solidFill>
              </a:defRPr>
            </a:lvl5pPr>
            <a:lvl6pPr marL="0" indent="0" algn="l">
              <a:spcBef>
                <a:spcPts val="0"/>
              </a:spcBef>
              <a:spcAft>
                <a:spcPts val="0"/>
              </a:spcAft>
              <a:buFontTx/>
              <a:buNone/>
              <a:defRPr sz="1866">
                <a:solidFill>
                  <a:schemeClr val="tx2"/>
                </a:solidFill>
              </a:defRPr>
            </a:lvl6pPr>
            <a:lvl7pPr marL="0" indent="0" algn="l">
              <a:spcBef>
                <a:spcPts val="0"/>
              </a:spcBef>
              <a:spcAft>
                <a:spcPts val="0"/>
              </a:spcAft>
              <a:buFontTx/>
              <a:buNone/>
              <a:defRPr sz="1866">
                <a:solidFill>
                  <a:schemeClr val="tx2"/>
                </a:solidFill>
              </a:defRPr>
            </a:lvl7pPr>
            <a:lvl8pPr marL="0" indent="0" algn="l">
              <a:spcBef>
                <a:spcPts val="0"/>
              </a:spcBef>
              <a:spcAft>
                <a:spcPts val="0"/>
              </a:spcAft>
              <a:buFontTx/>
              <a:buNone/>
              <a:defRPr sz="1866"/>
            </a:lvl8pPr>
            <a:lvl9pPr marL="0" indent="0" algn="l">
              <a:spcBef>
                <a:spcPts val="0"/>
              </a:spcBef>
              <a:spcAft>
                <a:spcPts val="0"/>
              </a:spcAft>
              <a:buFontTx/>
              <a:buNone/>
              <a:defRPr sz="1866">
                <a:solidFill>
                  <a:schemeClr val="tx2"/>
                </a:solidFill>
              </a:defRPr>
            </a:lvl9pPr>
          </a:lstStyle>
          <a:p>
            <a:pPr lvl="0"/>
            <a:r>
              <a:rPr lang="en-US"/>
              <a:t>[name]</a:t>
            </a:r>
          </a:p>
        </p:txBody>
      </p:sp>
      <p:sp>
        <p:nvSpPr>
          <p:cNvPr id="35" name="Text Placeholder 3"/>
          <p:cNvSpPr>
            <a:spLocks noGrp="1"/>
          </p:cNvSpPr>
          <p:nvPr>
            <p:ph type="body" sz="quarter" idx="44" hasCustomPrompt="1"/>
          </p:nvPr>
        </p:nvSpPr>
        <p:spPr bwMode="gray">
          <a:xfrm>
            <a:off x="8113184" y="3334339"/>
            <a:ext cx="3648405" cy="288032"/>
          </a:xfrm>
        </p:spPr>
        <p:txBody>
          <a:bodyPr tIns="0" anchor="b" anchorCtr="0"/>
          <a:lstStyle>
            <a:lvl1pPr marL="0" indent="0">
              <a:spcBef>
                <a:spcPts val="0"/>
              </a:spcBef>
              <a:spcAft>
                <a:spcPts val="0"/>
              </a:spcAft>
              <a:buNone/>
              <a:defRPr sz="1598">
                <a:solidFill>
                  <a:schemeClr val="tx1"/>
                </a:solidFill>
              </a:defRPr>
            </a:lvl1pPr>
            <a:lvl2pPr marL="0" indent="0">
              <a:spcBef>
                <a:spcPts val="0"/>
              </a:spcBef>
              <a:spcAft>
                <a:spcPts val="0"/>
              </a:spcAft>
              <a:buNone/>
              <a:defRPr sz="1598"/>
            </a:lvl2pPr>
            <a:lvl3pPr marL="0" indent="0" algn="l">
              <a:spcBef>
                <a:spcPts val="0"/>
              </a:spcBef>
              <a:spcAft>
                <a:spcPts val="0"/>
              </a:spcAft>
              <a:buFontTx/>
              <a:buNone/>
              <a:tabLst>
                <a:tab pos="839519" algn="l"/>
              </a:tabLst>
              <a:defRPr sz="1598"/>
            </a:lvl3pPr>
            <a:lvl4pPr marL="0" indent="0" algn="l">
              <a:spcBef>
                <a:spcPts val="0"/>
              </a:spcBef>
              <a:spcAft>
                <a:spcPts val="0"/>
              </a:spcAft>
              <a:buFontTx/>
              <a:buNone/>
              <a:defRPr sz="1598">
                <a:solidFill>
                  <a:schemeClr val="tx1"/>
                </a:solidFill>
              </a:defRPr>
            </a:lvl4pPr>
            <a:lvl5pPr marL="0" indent="0" algn="l">
              <a:spcBef>
                <a:spcPts val="0"/>
              </a:spcBef>
              <a:spcAft>
                <a:spcPts val="0"/>
              </a:spcAft>
              <a:buFontTx/>
              <a:buNone/>
              <a:defRPr sz="1598"/>
            </a:lvl5pPr>
            <a:lvl6pPr marL="0" indent="0" algn="l">
              <a:spcBef>
                <a:spcPts val="0"/>
              </a:spcBef>
              <a:spcAft>
                <a:spcPts val="0"/>
              </a:spcAft>
              <a:buFontTx/>
              <a:buNone/>
              <a:defRPr sz="1598"/>
            </a:lvl6pPr>
            <a:lvl7pPr marL="0" indent="0" algn="l">
              <a:spcBef>
                <a:spcPts val="0"/>
              </a:spcBef>
              <a:spcAft>
                <a:spcPts val="0"/>
              </a:spcAft>
              <a:buFontTx/>
              <a:buNone/>
              <a:defRPr sz="1598"/>
            </a:lvl7pPr>
            <a:lvl8pPr marL="0" indent="0" algn="l">
              <a:spcBef>
                <a:spcPts val="0"/>
              </a:spcBef>
              <a:spcAft>
                <a:spcPts val="0"/>
              </a:spcAft>
              <a:buFontTx/>
              <a:buNone/>
              <a:defRPr sz="1598"/>
            </a:lvl8pPr>
            <a:lvl9pPr marL="0" indent="0" algn="l">
              <a:spcBef>
                <a:spcPts val="0"/>
              </a:spcBef>
              <a:spcAft>
                <a:spcPts val="0"/>
              </a:spcAft>
              <a:buFontTx/>
              <a:buNone/>
              <a:defRPr sz="1598"/>
            </a:lvl9pPr>
          </a:lstStyle>
          <a:p>
            <a:pPr lvl="4"/>
            <a:r>
              <a:rPr lang="en-US"/>
              <a:t>[email address]</a:t>
            </a:r>
          </a:p>
        </p:txBody>
      </p:sp>
      <p:sp>
        <p:nvSpPr>
          <p:cNvPr id="36" name="Text Placeholder 3"/>
          <p:cNvSpPr>
            <a:spLocks noGrp="1"/>
          </p:cNvSpPr>
          <p:nvPr>
            <p:ph type="body" sz="quarter" idx="45" hasCustomPrompt="1"/>
          </p:nvPr>
        </p:nvSpPr>
        <p:spPr bwMode="gray">
          <a:xfrm>
            <a:off x="8113291" y="3622368"/>
            <a:ext cx="3648301" cy="286685"/>
          </a:xfrm>
        </p:spPr>
        <p:txBody>
          <a:bodyPr tIns="0" anchor="b" anchorCtr="0"/>
          <a:lstStyle>
            <a:lvl1pPr marL="0" indent="0">
              <a:spcBef>
                <a:spcPts val="0"/>
              </a:spcBef>
              <a:spcAft>
                <a:spcPts val="0"/>
              </a:spcAft>
              <a:buNone/>
              <a:defRPr sz="1598">
                <a:solidFill>
                  <a:schemeClr val="tx1"/>
                </a:solidFill>
              </a:defRPr>
            </a:lvl1pPr>
            <a:lvl2pPr marL="0" indent="0">
              <a:spcBef>
                <a:spcPts val="0"/>
              </a:spcBef>
              <a:spcAft>
                <a:spcPts val="0"/>
              </a:spcAft>
              <a:buNone/>
              <a:defRPr sz="1598"/>
            </a:lvl2pPr>
            <a:lvl3pPr marL="0" indent="0" algn="l">
              <a:spcBef>
                <a:spcPts val="0"/>
              </a:spcBef>
              <a:spcAft>
                <a:spcPts val="0"/>
              </a:spcAft>
              <a:buFontTx/>
              <a:buNone/>
              <a:tabLst>
                <a:tab pos="839519" algn="l"/>
              </a:tabLst>
              <a:defRPr sz="1598"/>
            </a:lvl3pPr>
            <a:lvl4pPr marL="0" indent="0" algn="l">
              <a:spcBef>
                <a:spcPts val="0"/>
              </a:spcBef>
              <a:spcAft>
                <a:spcPts val="0"/>
              </a:spcAft>
              <a:buFontTx/>
              <a:buNone/>
              <a:defRPr sz="1598">
                <a:solidFill>
                  <a:schemeClr val="tx1"/>
                </a:solidFill>
              </a:defRPr>
            </a:lvl4pPr>
            <a:lvl5pPr marL="0" indent="0" algn="l">
              <a:spcBef>
                <a:spcPts val="0"/>
              </a:spcBef>
              <a:spcAft>
                <a:spcPts val="0"/>
              </a:spcAft>
              <a:buFontTx/>
              <a:buNone/>
              <a:defRPr sz="1598"/>
            </a:lvl5pPr>
            <a:lvl6pPr marL="0" indent="0" algn="l">
              <a:spcBef>
                <a:spcPts val="0"/>
              </a:spcBef>
              <a:spcAft>
                <a:spcPts val="0"/>
              </a:spcAft>
              <a:buFontTx/>
              <a:buNone/>
              <a:defRPr sz="1598"/>
            </a:lvl6pPr>
            <a:lvl7pPr marL="0" indent="0" algn="l">
              <a:spcBef>
                <a:spcPts val="0"/>
              </a:spcBef>
              <a:spcAft>
                <a:spcPts val="0"/>
              </a:spcAft>
              <a:buFontTx/>
              <a:buNone/>
              <a:defRPr sz="1598"/>
            </a:lvl7pPr>
            <a:lvl8pPr marL="0" indent="0" algn="l">
              <a:spcBef>
                <a:spcPts val="0"/>
              </a:spcBef>
              <a:spcAft>
                <a:spcPts val="0"/>
              </a:spcAft>
              <a:buFontTx/>
              <a:buNone/>
              <a:defRPr sz="1598"/>
            </a:lvl8pPr>
            <a:lvl9pPr marL="0" indent="0" algn="l">
              <a:spcBef>
                <a:spcPts val="0"/>
              </a:spcBef>
              <a:spcAft>
                <a:spcPts val="0"/>
              </a:spcAft>
              <a:buFontTx/>
              <a:buNone/>
              <a:defRPr sz="1598"/>
            </a:lvl9pPr>
          </a:lstStyle>
          <a:p>
            <a:pPr lvl="4"/>
            <a:r>
              <a:rPr lang="en-US"/>
              <a:t>[country]</a:t>
            </a:r>
          </a:p>
        </p:txBody>
      </p:sp>
    </p:spTree>
    <p:extLst>
      <p:ext uri="{BB962C8B-B14F-4D97-AF65-F5344CB8AC3E}">
        <p14:creationId xmlns:p14="http://schemas.microsoft.com/office/powerpoint/2010/main" val="1241994808"/>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p:cSld name="One contact">
    <p:spTree>
      <p:nvGrpSpPr>
        <p:cNvPr id="1" name=""/>
        <p:cNvGrpSpPr/>
        <p:nvPr/>
      </p:nvGrpSpPr>
      <p:grpSpPr>
        <a:xfrm>
          <a:off x="0" y="0"/>
          <a:ext cx="0" cy="0"/>
          <a:chOff x="0" y="0"/>
          <a:chExt cx="0" cy="0"/>
        </a:xfrm>
      </p:grpSpPr>
      <p:sp>
        <p:nvSpPr>
          <p:cNvPr id="4" name="Picture Placeholder 3"/>
          <p:cNvSpPr>
            <a:spLocks noGrp="1"/>
          </p:cNvSpPr>
          <p:nvPr>
            <p:ph type="pic" sz="quarter" idx="17" hasCustomPrompt="1"/>
          </p:nvPr>
        </p:nvSpPr>
        <p:spPr>
          <a:xfrm>
            <a:off x="1056218" y="1833657"/>
            <a:ext cx="3203503" cy="3935318"/>
          </a:xfrm>
          <a:solidFill>
            <a:srgbClr val="D9DADB"/>
          </a:solidFill>
        </p:spPr>
        <p:txBody>
          <a:bodyPr/>
          <a:lstStyle>
            <a:lvl1pPr marL="0" indent="0">
              <a:buNone/>
              <a:defRPr sz="1400"/>
            </a:lvl1pPr>
          </a:lstStyle>
          <a:p>
            <a:r>
              <a:rPr lang="en-US" dirty="0"/>
              <a:t>Insert picture</a:t>
            </a:r>
          </a:p>
        </p:txBody>
      </p:sp>
      <p:sp>
        <p:nvSpPr>
          <p:cNvPr id="21" name="Date Placeholder 20"/>
          <p:cNvSpPr>
            <a:spLocks noGrp="1"/>
          </p:cNvSpPr>
          <p:nvPr>
            <p:ph type="dt" sz="half" idx="14"/>
          </p:nvPr>
        </p:nvSpPr>
        <p:spPr/>
        <p:txBody>
          <a:bodyPr/>
          <a:lstStyle/>
          <a:p>
            <a:fld id="{59171ED9-6851-4525-A763-2524710A57F8}" type="datetime5">
              <a:rPr lang="en-US" smtClean="0"/>
              <a:t>26-Jun-20</a:t>
            </a:fld>
            <a:endParaRPr lang="en-US"/>
          </a:p>
        </p:txBody>
      </p:sp>
      <p:sp>
        <p:nvSpPr>
          <p:cNvPr id="22" name="Footer Placeholder 21"/>
          <p:cNvSpPr>
            <a:spLocks noGrp="1"/>
          </p:cNvSpPr>
          <p:nvPr>
            <p:ph type="ftr" sz="quarter" idx="15"/>
          </p:nvPr>
        </p:nvSpPr>
        <p:spPr/>
        <p:txBody>
          <a:bodyPr/>
          <a:lstStyle/>
          <a:p>
            <a:r>
              <a:rPr lang="en-US"/>
              <a:t>Title of presentation (Insert / Header &amp; Footer / Apply to All)</a:t>
            </a:r>
            <a:endParaRPr lang="en-US" dirty="0"/>
          </a:p>
        </p:txBody>
      </p:sp>
      <p:sp>
        <p:nvSpPr>
          <p:cNvPr id="23" name="Slide Number Placeholder 22"/>
          <p:cNvSpPr>
            <a:spLocks noGrp="1"/>
          </p:cNvSpPr>
          <p:nvPr>
            <p:ph type="sldNum" sz="quarter" idx="16"/>
          </p:nvPr>
        </p:nvSpPr>
        <p:spPr/>
        <p:txBody>
          <a:bodyPr/>
          <a:lstStyle/>
          <a:p>
            <a:fld id="{5F3E29E4-0979-4FCA-B4C5-5FC6044C982A}" type="slidenum">
              <a:rPr lang="en-US" smtClean="0"/>
              <a:t>‹#›</a:t>
            </a:fld>
            <a:endParaRPr lang="en-US"/>
          </a:p>
        </p:txBody>
      </p:sp>
      <p:sp>
        <p:nvSpPr>
          <p:cNvPr id="2" name="Title 1"/>
          <p:cNvSpPr>
            <a:spLocks noGrp="1"/>
          </p:cNvSpPr>
          <p:nvPr>
            <p:ph type="title" hasCustomPrompt="1"/>
          </p:nvPr>
        </p:nvSpPr>
        <p:spPr/>
        <p:txBody>
          <a:bodyPr/>
          <a:lstStyle>
            <a:lvl1pPr>
              <a:defRPr/>
            </a:lvl1pPr>
          </a:lstStyle>
          <a:p>
            <a:r>
              <a:rPr lang="en-US" dirty="0"/>
              <a:t>Click to add contact title</a:t>
            </a:r>
          </a:p>
        </p:txBody>
      </p:sp>
      <p:sp>
        <p:nvSpPr>
          <p:cNvPr id="7" name="Subtitle 2"/>
          <p:cNvSpPr>
            <a:spLocks noGrp="1"/>
          </p:cNvSpPr>
          <p:nvPr>
            <p:ph type="subTitle" idx="13" hasCustomPrompt="1"/>
          </p:nvPr>
        </p:nvSpPr>
        <p:spPr>
          <a:xfrm>
            <a:off x="1075062" y="964672"/>
            <a:ext cx="7910159" cy="490042"/>
          </a:xfrm>
        </p:spPr>
        <p:txBody>
          <a:bodyPr wrap="none"/>
          <a:lstStyle>
            <a:lvl1pPr marL="0" indent="0" algn="l">
              <a:spcBef>
                <a:spcPts val="0"/>
              </a:spcBef>
              <a:buNone/>
              <a:defRPr sz="2399"/>
            </a:lvl1pPr>
            <a:lvl2pPr marL="457051" indent="0" algn="ctr">
              <a:buNone/>
              <a:defRPr sz="1999"/>
            </a:lvl2pPr>
            <a:lvl3pPr marL="914103" indent="0" algn="ctr">
              <a:buNone/>
              <a:defRPr sz="1799"/>
            </a:lvl3pPr>
            <a:lvl4pPr marL="1371154" indent="0" algn="ctr">
              <a:buNone/>
              <a:defRPr sz="1599"/>
            </a:lvl4pPr>
            <a:lvl5pPr marL="1828206" indent="0" algn="ctr">
              <a:buNone/>
              <a:defRPr sz="1599"/>
            </a:lvl5pPr>
            <a:lvl6pPr marL="2285257" indent="0" algn="ctr">
              <a:buNone/>
              <a:defRPr sz="1599"/>
            </a:lvl6pPr>
            <a:lvl7pPr marL="2742308" indent="0" algn="ctr">
              <a:buNone/>
              <a:defRPr sz="1599"/>
            </a:lvl7pPr>
            <a:lvl8pPr marL="3199360" indent="0" algn="ctr">
              <a:buNone/>
              <a:defRPr sz="1599"/>
            </a:lvl8pPr>
            <a:lvl9pPr marL="3656411" indent="0" algn="ctr">
              <a:buNone/>
              <a:defRPr sz="1599"/>
            </a:lvl9pPr>
          </a:lstStyle>
          <a:p>
            <a:r>
              <a:rPr lang="en-US" dirty="0"/>
              <a:t>Click to add subtitle</a:t>
            </a:r>
          </a:p>
        </p:txBody>
      </p:sp>
      <p:grpSp>
        <p:nvGrpSpPr>
          <p:cNvPr id="8" name="Gruppieren 80">
            <a:extLst>
              <a:ext uri="{FF2B5EF4-FFF2-40B4-BE49-F238E27FC236}">
                <a16:creationId xmlns:a16="http://schemas.microsoft.com/office/drawing/2014/main" id="{6B969E7B-9C39-4443-9B02-74C1E7C5CCAC}"/>
              </a:ext>
            </a:extLst>
          </p:cNvPr>
          <p:cNvGrpSpPr/>
          <p:nvPr/>
        </p:nvGrpSpPr>
        <p:grpSpPr>
          <a:xfrm>
            <a:off x="4451002" y="2884200"/>
            <a:ext cx="171180" cy="171180"/>
            <a:chOff x="3392092" y="1841122"/>
            <a:chExt cx="646508" cy="646508"/>
          </a:xfrm>
        </p:grpSpPr>
        <p:sp>
          <p:nvSpPr>
            <p:cNvPr id="9" name="Rechteck 14">
              <a:extLst>
                <a:ext uri="{FF2B5EF4-FFF2-40B4-BE49-F238E27FC236}">
                  <a16:creationId xmlns:a16="http://schemas.microsoft.com/office/drawing/2014/main" id="{D78F58EA-5525-8D43-8295-FEA52ECF6BFA}"/>
                </a:ext>
              </a:extLst>
            </p:cNvPr>
            <p:cNvSpPr>
              <a:spLocks noChangeAspect="1"/>
            </p:cNvSpPr>
            <p:nvPr/>
          </p:nvSpPr>
          <p:spPr bwMode="gray">
            <a:xfrm>
              <a:off x="3392092" y="1841122"/>
              <a:ext cx="646508" cy="646508"/>
            </a:xfrm>
            <a:prstGeom prst="rect">
              <a:avLst/>
            </a:prstGeom>
            <a:solidFill>
              <a:srgbClr val="E55A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pPr>
              <a:endParaRPr lang="en-US" sz="1000" dirty="0">
                <a:solidFill>
                  <a:schemeClr val="tx1"/>
                </a:solidFill>
                <a:latin typeface="Arial" pitchFamily="34" charset="0"/>
                <a:cs typeface="Arial" pitchFamily="34" charset="0"/>
              </a:endParaRPr>
            </a:p>
          </p:txBody>
        </p:sp>
        <p:sp>
          <p:nvSpPr>
            <p:cNvPr id="10" name="Freeform 67">
              <a:extLst>
                <a:ext uri="{FF2B5EF4-FFF2-40B4-BE49-F238E27FC236}">
                  <a16:creationId xmlns:a16="http://schemas.microsoft.com/office/drawing/2014/main" id="{D01A6292-2776-4945-B828-483D79DC4908}"/>
                </a:ext>
              </a:extLst>
            </p:cNvPr>
            <p:cNvSpPr>
              <a:spLocks noChangeAspect="1"/>
            </p:cNvSpPr>
            <p:nvPr/>
          </p:nvSpPr>
          <p:spPr bwMode="auto">
            <a:xfrm>
              <a:off x="3546638" y="1970424"/>
              <a:ext cx="337415" cy="387905"/>
            </a:xfrm>
            <a:custGeom>
              <a:avLst/>
              <a:gdLst>
                <a:gd name="T0" fmla="*/ 573 w 1624"/>
                <a:gd name="T1" fmla="*/ 1257 h 1867"/>
                <a:gd name="T2" fmla="*/ 662 w 1624"/>
                <a:gd name="T3" fmla="*/ 1288 h 1867"/>
                <a:gd name="T4" fmla="*/ 938 w 1624"/>
                <a:gd name="T5" fmla="*/ 1051 h 1867"/>
                <a:gd name="T6" fmla="*/ 1106 w 1624"/>
                <a:gd name="T7" fmla="*/ 731 h 1867"/>
                <a:gd name="T8" fmla="*/ 1059 w 1624"/>
                <a:gd name="T9" fmla="*/ 645 h 1867"/>
                <a:gd name="T10" fmla="*/ 1001 w 1624"/>
                <a:gd name="T11" fmla="*/ 613 h 1867"/>
                <a:gd name="T12" fmla="*/ 924 w 1624"/>
                <a:gd name="T13" fmla="*/ 432 h 1867"/>
                <a:gd name="T14" fmla="*/ 1114 w 1624"/>
                <a:gd name="T15" fmla="*/ 81 h 1867"/>
                <a:gd name="T16" fmla="*/ 1287 w 1624"/>
                <a:gd name="T17" fmla="*/ 35 h 1867"/>
                <a:gd name="T18" fmla="*/ 1350 w 1624"/>
                <a:gd name="T19" fmla="*/ 69 h 1867"/>
                <a:gd name="T20" fmla="*/ 1527 w 1624"/>
                <a:gd name="T21" fmla="*/ 235 h 1867"/>
                <a:gd name="T22" fmla="*/ 1583 w 1624"/>
                <a:gd name="T23" fmla="*/ 555 h 1867"/>
                <a:gd name="T24" fmla="*/ 1172 w 1624"/>
                <a:gd name="T25" fmla="*/ 1253 h 1867"/>
                <a:gd name="T26" fmla="*/ 586 w 1624"/>
                <a:gd name="T27" fmla="*/ 1803 h 1867"/>
                <a:gd name="T28" fmla="*/ 269 w 1624"/>
                <a:gd name="T29" fmla="*/ 1807 h 1867"/>
                <a:gd name="T30" fmla="*/ 33 w 1624"/>
                <a:gd name="T31" fmla="*/ 1602 h 1867"/>
                <a:gd name="T32" fmla="*/ 2 w 1624"/>
                <a:gd name="T33" fmla="*/ 1508 h 1867"/>
                <a:gd name="T34" fmla="*/ 45 w 1624"/>
                <a:gd name="T35" fmla="*/ 1421 h 1867"/>
                <a:gd name="T36" fmla="*/ 346 w 1624"/>
                <a:gd name="T37" fmla="*/ 1158 h 1867"/>
                <a:gd name="T38" fmla="*/ 448 w 1624"/>
                <a:gd name="T39" fmla="*/ 1145 h 1867"/>
                <a:gd name="T40" fmla="*/ 573 w 1624"/>
                <a:gd name="T41" fmla="*/ 1257 h 18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24" h="1867">
                  <a:moveTo>
                    <a:pt x="573" y="1257"/>
                  </a:moveTo>
                  <a:cubicBezTo>
                    <a:pt x="592" y="1282"/>
                    <a:pt x="630" y="1303"/>
                    <a:pt x="662" y="1288"/>
                  </a:cubicBezTo>
                  <a:cubicBezTo>
                    <a:pt x="753" y="1245"/>
                    <a:pt x="854" y="1156"/>
                    <a:pt x="938" y="1051"/>
                  </a:cubicBezTo>
                  <a:cubicBezTo>
                    <a:pt x="1020" y="948"/>
                    <a:pt x="1084" y="831"/>
                    <a:pt x="1106" y="731"/>
                  </a:cubicBezTo>
                  <a:cubicBezTo>
                    <a:pt x="1113" y="696"/>
                    <a:pt x="1089" y="661"/>
                    <a:pt x="1059" y="645"/>
                  </a:cubicBezTo>
                  <a:cubicBezTo>
                    <a:pt x="1001" y="613"/>
                    <a:pt x="1001" y="613"/>
                    <a:pt x="1001" y="613"/>
                  </a:cubicBezTo>
                  <a:cubicBezTo>
                    <a:pt x="942" y="580"/>
                    <a:pt x="888" y="499"/>
                    <a:pt x="924" y="432"/>
                  </a:cubicBezTo>
                  <a:cubicBezTo>
                    <a:pt x="1114" y="81"/>
                    <a:pt x="1114" y="81"/>
                    <a:pt x="1114" y="81"/>
                  </a:cubicBezTo>
                  <a:cubicBezTo>
                    <a:pt x="1150" y="16"/>
                    <a:pt x="1224" y="0"/>
                    <a:pt x="1287" y="35"/>
                  </a:cubicBezTo>
                  <a:cubicBezTo>
                    <a:pt x="1350" y="69"/>
                    <a:pt x="1350" y="69"/>
                    <a:pt x="1350" y="69"/>
                  </a:cubicBezTo>
                  <a:cubicBezTo>
                    <a:pt x="1415" y="105"/>
                    <a:pt x="1479" y="165"/>
                    <a:pt x="1527" y="235"/>
                  </a:cubicBezTo>
                  <a:cubicBezTo>
                    <a:pt x="1593" y="332"/>
                    <a:pt x="1624" y="442"/>
                    <a:pt x="1583" y="555"/>
                  </a:cubicBezTo>
                  <a:cubicBezTo>
                    <a:pt x="1500" y="781"/>
                    <a:pt x="1351" y="1030"/>
                    <a:pt x="1172" y="1253"/>
                  </a:cubicBezTo>
                  <a:cubicBezTo>
                    <a:pt x="994" y="1477"/>
                    <a:pt x="786" y="1676"/>
                    <a:pt x="586" y="1803"/>
                  </a:cubicBezTo>
                  <a:cubicBezTo>
                    <a:pt x="486" y="1867"/>
                    <a:pt x="375" y="1856"/>
                    <a:pt x="269" y="1807"/>
                  </a:cubicBezTo>
                  <a:cubicBezTo>
                    <a:pt x="157" y="1755"/>
                    <a:pt x="106" y="1695"/>
                    <a:pt x="33" y="1602"/>
                  </a:cubicBezTo>
                  <a:cubicBezTo>
                    <a:pt x="11" y="1573"/>
                    <a:pt x="0" y="1540"/>
                    <a:pt x="2" y="1508"/>
                  </a:cubicBezTo>
                  <a:cubicBezTo>
                    <a:pt x="4" y="1475"/>
                    <a:pt x="18" y="1444"/>
                    <a:pt x="45" y="1421"/>
                  </a:cubicBezTo>
                  <a:cubicBezTo>
                    <a:pt x="70" y="1399"/>
                    <a:pt x="346" y="1158"/>
                    <a:pt x="346" y="1158"/>
                  </a:cubicBezTo>
                  <a:cubicBezTo>
                    <a:pt x="376" y="1134"/>
                    <a:pt x="413" y="1133"/>
                    <a:pt x="448" y="1145"/>
                  </a:cubicBezTo>
                  <a:cubicBezTo>
                    <a:pt x="510" y="1166"/>
                    <a:pt x="536" y="1210"/>
                    <a:pt x="573" y="1257"/>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350" dirty="0"/>
            </a:p>
          </p:txBody>
        </p:sp>
      </p:grpSp>
      <p:grpSp>
        <p:nvGrpSpPr>
          <p:cNvPr id="11" name="Group 3">
            <a:extLst>
              <a:ext uri="{FF2B5EF4-FFF2-40B4-BE49-F238E27FC236}">
                <a16:creationId xmlns:a16="http://schemas.microsoft.com/office/drawing/2014/main" id="{DED6A25A-5DE2-1441-8BA2-C68D3B4F9209}"/>
              </a:ext>
            </a:extLst>
          </p:cNvPr>
          <p:cNvGrpSpPr>
            <a:grpSpLocks noChangeAspect="1"/>
          </p:cNvGrpSpPr>
          <p:nvPr>
            <p:custDataLst>
              <p:tags r:id="rId1"/>
            </p:custDataLst>
          </p:nvPr>
        </p:nvGrpSpPr>
        <p:grpSpPr>
          <a:xfrm>
            <a:off x="4451003" y="3169088"/>
            <a:ext cx="171180" cy="171180"/>
            <a:chOff x="328396" y="5313940"/>
            <a:chExt cx="720000" cy="720000"/>
          </a:xfrm>
        </p:grpSpPr>
        <p:sp>
          <p:nvSpPr>
            <p:cNvPr id="12" name="Rectangle 4">
              <a:extLst>
                <a:ext uri="{FF2B5EF4-FFF2-40B4-BE49-F238E27FC236}">
                  <a16:creationId xmlns:a16="http://schemas.microsoft.com/office/drawing/2014/main" id="{5F49E67F-D4FA-9D48-96BC-59AE946ECD15}"/>
                </a:ext>
              </a:extLst>
            </p:cNvPr>
            <p:cNvSpPr/>
            <p:nvPr/>
          </p:nvSpPr>
          <p:spPr bwMode="gray">
            <a:xfrm>
              <a:off x="328396" y="5313940"/>
              <a:ext cx="720000" cy="720000"/>
            </a:xfrm>
            <a:prstGeom prst="rect">
              <a:avLst/>
            </a:prstGeom>
            <a:solidFill>
              <a:srgbClr val="E55A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pPr>
              <a:endParaRPr lang="en-US" sz="1000" dirty="0">
                <a:solidFill>
                  <a:schemeClr val="tx1"/>
                </a:solidFill>
                <a:latin typeface="Arial" pitchFamily="34" charset="0"/>
                <a:cs typeface="Arial" pitchFamily="34" charset="0"/>
              </a:endParaRPr>
            </a:p>
          </p:txBody>
        </p:sp>
        <p:sp>
          <p:nvSpPr>
            <p:cNvPr id="13" name="Freeform 76">
              <a:extLst>
                <a:ext uri="{FF2B5EF4-FFF2-40B4-BE49-F238E27FC236}">
                  <a16:creationId xmlns:a16="http://schemas.microsoft.com/office/drawing/2014/main" id="{187E70E6-AF3F-2549-908E-DF4BA61040AA}"/>
                </a:ext>
              </a:extLst>
            </p:cNvPr>
            <p:cNvSpPr>
              <a:spLocks noChangeAspect="1" noEditPoints="1"/>
            </p:cNvSpPr>
            <p:nvPr/>
          </p:nvSpPr>
          <p:spPr bwMode="auto">
            <a:xfrm>
              <a:off x="456202" y="5509222"/>
              <a:ext cx="504000" cy="329436"/>
            </a:xfrm>
            <a:custGeom>
              <a:avLst/>
              <a:gdLst>
                <a:gd name="T0" fmla="*/ 0 w 2080"/>
                <a:gd name="T1" fmla="*/ 65 h 1360"/>
                <a:gd name="T2" fmla="*/ 0 w 2080"/>
                <a:gd name="T3" fmla="*/ 0 h 1360"/>
                <a:gd name="T4" fmla="*/ 2080 w 2080"/>
                <a:gd name="T5" fmla="*/ 0 h 1360"/>
                <a:gd name="T6" fmla="*/ 2080 w 2080"/>
                <a:gd name="T7" fmla="*/ 65 h 1360"/>
                <a:gd name="T8" fmla="*/ 1089 w 2080"/>
                <a:gd name="T9" fmla="*/ 862 h 1360"/>
                <a:gd name="T10" fmla="*/ 991 w 2080"/>
                <a:gd name="T11" fmla="*/ 862 h 1360"/>
                <a:gd name="T12" fmla="*/ 0 w 2080"/>
                <a:gd name="T13" fmla="*/ 65 h 1360"/>
                <a:gd name="T14" fmla="*/ 1139 w 2080"/>
                <a:gd name="T15" fmla="*/ 924 h 1360"/>
                <a:gd name="T16" fmla="*/ 1282 w 2080"/>
                <a:gd name="T17" fmla="*/ 810 h 1360"/>
                <a:gd name="T18" fmla="*/ 2076 w 2080"/>
                <a:gd name="T19" fmla="*/ 1360 h 1360"/>
                <a:gd name="T20" fmla="*/ 4 w 2080"/>
                <a:gd name="T21" fmla="*/ 1360 h 1360"/>
                <a:gd name="T22" fmla="*/ 798 w 2080"/>
                <a:gd name="T23" fmla="*/ 810 h 1360"/>
                <a:gd name="T24" fmla="*/ 941 w 2080"/>
                <a:gd name="T25" fmla="*/ 924 h 1360"/>
                <a:gd name="T26" fmla="*/ 1139 w 2080"/>
                <a:gd name="T27" fmla="*/ 924 h 1360"/>
                <a:gd name="T28" fmla="*/ 2 w 2080"/>
                <a:gd name="T29" fmla="*/ 137 h 1360"/>
                <a:gd name="T30" fmla="*/ 42 w 2080"/>
                <a:gd name="T31" fmla="*/ 201 h 1360"/>
                <a:gd name="T32" fmla="*/ 734 w 2080"/>
                <a:gd name="T33" fmla="*/ 758 h 1360"/>
                <a:gd name="T34" fmla="*/ 0 w 2080"/>
                <a:gd name="T35" fmla="*/ 1266 h 1360"/>
                <a:gd name="T36" fmla="*/ 0 w 2080"/>
                <a:gd name="T37" fmla="*/ 135 h 1360"/>
                <a:gd name="T38" fmla="*/ 2 w 2080"/>
                <a:gd name="T39" fmla="*/ 137 h 1360"/>
                <a:gd name="T40" fmla="*/ 2080 w 2080"/>
                <a:gd name="T41" fmla="*/ 136 h 1360"/>
                <a:gd name="T42" fmla="*/ 2080 w 2080"/>
                <a:gd name="T43" fmla="*/ 1265 h 1360"/>
                <a:gd name="T44" fmla="*/ 1346 w 2080"/>
                <a:gd name="T45" fmla="*/ 758 h 1360"/>
                <a:gd name="T46" fmla="*/ 2038 w 2080"/>
                <a:gd name="T47" fmla="*/ 201 h 1360"/>
                <a:gd name="T48" fmla="*/ 2080 w 2080"/>
                <a:gd name="T49" fmla="*/ 136 h 1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080" h="1360">
                  <a:moveTo>
                    <a:pt x="0" y="65"/>
                  </a:moveTo>
                  <a:cubicBezTo>
                    <a:pt x="0" y="0"/>
                    <a:pt x="0" y="0"/>
                    <a:pt x="0" y="0"/>
                  </a:cubicBezTo>
                  <a:cubicBezTo>
                    <a:pt x="2080" y="0"/>
                    <a:pt x="2080" y="0"/>
                    <a:pt x="2080" y="0"/>
                  </a:cubicBezTo>
                  <a:cubicBezTo>
                    <a:pt x="2080" y="65"/>
                    <a:pt x="2080" y="65"/>
                    <a:pt x="2080" y="65"/>
                  </a:cubicBezTo>
                  <a:cubicBezTo>
                    <a:pt x="1089" y="862"/>
                    <a:pt x="1089" y="862"/>
                    <a:pt x="1089" y="862"/>
                  </a:cubicBezTo>
                  <a:cubicBezTo>
                    <a:pt x="1060" y="886"/>
                    <a:pt x="1020" y="886"/>
                    <a:pt x="991" y="862"/>
                  </a:cubicBezTo>
                  <a:lnTo>
                    <a:pt x="0" y="65"/>
                  </a:lnTo>
                  <a:close/>
                  <a:moveTo>
                    <a:pt x="1139" y="924"/>
                  </a:moveTo>
                  <a:cubicBezTo>
                    <a:pt x="1282" y="810"/>
                    <a:pt x="1282" y="810"/>
                    <a:pt x="1282" y="810"/>
                  </a:cubicBezTo>
                  <a:cubicBezTo>
                    <a:pt x="2076" y="1360"/>
                    <a:pt x="2076" y="1360"/>
                    <a:pt x="2076" y="1360"/>
                  </a:cubicBezTo>
                  <a:cubicBezTo>
                    <a:pt x="4" y="1360"/>
                    <a:pt x="4" y="1360"/>
                    <a:pt x="4" y="1360"/>
                  </a:cubicBezTo>
                  <a:cubicBezTo>
                    <a:pt x="798" y="810"/>
                    <a:pt x="798" y="810"/>
                    <a:pt x="798" y="810"/>
                  </a:cubicBezTo>
                  <a:cubicBezTo>
                    <a:pt x="941" y="924"/>
                    <a:pt x="941" y="924"/>
                    <a:pt x="941" y="924"/>
                  </a:cubicBezTo>
                  <a:cubicBezTo>
                    <a:pt x="1000" y="972"/>
                    <a:pt x="1080" y="972"/>
                    <a:pt x="1139" y="924"/>
                  </a:cubicBezTo>
                  <a:close/>
                  <a:moveTo>
                    <a:pt x="2" y="137"/>
                  </a:moveTo>
                  <a:cubicBezTo>
                    <a:pt x="8" y="163"/>
                    <a:pt x="22" y="185"/>
                    <a:pt x="42" y="201"/>
                  </a:cubicBezTo>
                  <a:cubicBezTo>
                    <a:pt x="734" y="758"/>
                    <a:pt x="734" y="758"/>
                    <a:pt x="734" y="758"/>
                  </a:cubicBezTo>
                  <a:cubicBezTo>
                    <a:pt x="0" y="1266"/>
                    <a:pt x="0" y="1266"/>
                    <a:pt x="0" y="1266"/>
                  </a:cubicBezTo>
                  <a:cubicBezTo>
                    <a:pt x="0" y="135"/>
                    <a:pt x="0" y="135"/>
                    <a:pt x="0" y="135"/>
                  </a:cubicBezTo>
                  <a:lnTo>
                    <a:pt x="2" y="137"/>
                  </a:lnTo>
                  <a:close/>
                  <a:moveTo>
                    <a:pt x="2080" y="136"/>
                  </a:moveTo>
                  <a:cubicBezTo>
                    <a:pt x="2080" y="1265"/>
                    <a:pt x="2080" y="1265"/>
                    <a:pt x="2080" y="1265"/>
                  </a:cubicBezTo>
                  <a:cubicBezTo>
                    <a:pt x="1346" y="758"/>
                    <a:pt x="1346" y="758"/>
                    <a:pt x="1346" y="758"/>
                  </a:cubicBezTo>
                  <a:cubicBezTo>
                    <a:pt x="2038" y="201"/>
                    <a:pt x="2038" y="201"/>
                    <a:pt x="2038" y="201"/>
                  </a:cubicBezTo>
                  <a:cubicBezTo>
                    <a:pt x="2060" y="182"/>
                    <a:pt x="2072" y="162"/>
                    <a:pt x="2080" y="13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000"/>
            </a:p>
          </p:txBody>
        </p:sp>
      </p:grpSp>
      <p:cxnSp>
        <p:nvCxnSpPr>
          <p:cNvPr id="20" name="Straight Connector 19"/>
          <p:cNvCxnSpPr/>
          <p:nvPr/>
        </p:nvCxnSpPr>
        <p:spPr>
          <a:xfrm>
            <a:off x="4451002" y="3494093"/>
            <a:ext cx="2463191" cy="0"/>
          </a:xfrm>
          <a:prstGeom prst="line">
            <a:avLst/>
          </a:prstGeom>
          <a:ln w="6350">
            <a:solidFill>
              <a:schemeClr val="tx2"/>
            </a:solidFill>
            <a:prstDash val="dash"/>
          </a:ln>
        </p:spPr>
        <p:style>
          <a:lnRef idx="1">
            <a:schemeClr val="accent1"/>
          </a:lnRef>
          <a:fillRef idx="0">
            <a:schemeClr val="accent1"/>
          </a:fillRef>
          <a:effectRef idx="0">
            <a:schemeClr val="accent1"/>
          </a:effectRef>
          <a:fontRef idx="minor">
            <a:schemeClr val="tx1"/>
          </a:fontRef>
        </p:style>
      </p:cxnSp>
      <p:sp>
        <p:nvSpPr>
          <p:cNvPr id="6" name="Text Placeholder 5"/>
          <p:cNvSpPr>
            <a:spLocks noGrp="1"/>
          </p:cNvSpPr>
          <p:nvPr>
            <p:ph type="body" sz="quarter" idx="19" hasCustomPrompt="1"/>
          </p:nvPr>
        </p:nvSpPr>
        <p:spPr>
          <a:xfrm>
            <a:off x="4451002" y="1824401"/>
            <a:ext cx="2463191" cy="192361"/>
          </a:xfrm>
        </p:spPr>
        <p:txBody>
          <a:bodyPr lIns="0" tIns="0" rIns="0" bIns="0" anchor="ctr" anchorCtr="0"/>
          <a:lstStyle>
            <a:lvl1pPr marL="0" indent="0" algn="l">
              <a:lnSpc>
                <a:spcPct val="100000"/>
              </a:lnSpc>
              <a:buNone/>
              <a:defRPr sz="100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Country</a:t>
            </a:r>
          </a:p>
        </p:txBody>
      </p:sp>
      <p:sp>
        <p:nvSpPr>
          <p:cNvPr id="26" name="Text Placeholder 5"/>
          <p:cNvSpPr>
            <a:spLocks noGrp="1"/>
          </p:cNvSpPr>
          <p:nvPr>
            <p:ph type="body" sz="quarter" idx="20" hasCustomPrompt="1"/>
          </p:nvPr>
        </p:nvSpPr>
        <p:spPr>
          <a:xfrm>
            <a:off x="4451002" y="2036217"/>
            <a:ext cx="2463191" cy="266182"/>
          </a:xfrm>
        </p:spPr>
        <p:txBody>
          <a:bodyPr lIns="0" tIns="0" rIns="0" bIns="0" anchor="b" anchorCtr="0"/>
          <a:lstStyle>
            <a:lvl1pPr marL="0" indent="0" algn="l">
              <a:lnSpc>
                <a:spcPct val="100000"/>
              </a:lnSpc>
              <a:buNone/>
              <a:defRPr sz="1400" b="1" baseline="0">
                <a:solidFill>
                  <a:schemeClr val="tx2"/>
                </a:solidFill>
              </a:defRPr>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Name, Surname</a:t>
            </a:r>
          </a:p>
        </p:txBody>
      </p:sp>
      <p:sp>
        <p:nvSpPr>
          <p:cNvPr id="27" name="Text Placeholder 5"/>
          <p:cNvSpPr>
            <a:spLocks noGrp="1"/>
          </p:cNvSpPr>
          <p:nvPr>
            <p:ph type="body" sz="quarter" idx="21" hasCustomPrompt="1"/>
          </p:nvPr>
        </p:nvSpPr>
        <p:spPr>
          <a:xfrm>
            <a:off x="4451002" y="2332792"/>
            <a:ext cx="2463191" cy="192361"/>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Job Position</a:t>
            </a:r>
          </a:p>
        </p:txBody>
      </p:sp>
      <p:sp>
        <p:nvSpPr>
          <p:cNvPr id="28" name="Text Placeholder 5"/>
          <p:cNvSpPr>
            <a:spLocks noGrp="1"/>
          </p:cNvSpPr>
          <p:nvPr>
            <p:ph type="body" sz="quarter" idx="22" hasCustomPrompt="1"/>
          </p:nvPr>
        </p:nvSpPr>
        <p:spPr>
          <a:xfrm>
            <a:off x="4695885" y="2861468"/>
            <a:ext cx="2218307" cy="192361"/>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Phone number</a:t>
            </a:r>
          </a:p>
        </p:txBody>
      </p:sp>
      <p:sp>
        <p:nvSpPr>
          <p:cNvPr id="29" name="Text Placeholder 5"/>
          <p:cNvSpPr>
            <a:spLocks noGrp="1"/>
          </p:cNvSpPr>
          <p:nvPr>
            <p:ph type="body" sz="quarter" idx="23" hasCustomPrompt="1"/>
          </p:nvPr>
        </p:nvSpPr>
        <p:spPr>
          <a:xfrm>
            <a:off x="4695885" y="3144275"/>
            <a:ext cx="2218307" cy="192361"/>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Email address</a:t>
            </a:r>
          </a:p>
        </p:txBody>
      </p:sp>
      <p:sp>
        <p:nvSpPr>
          <p:cNvPr id="35" name="Text Placeholder 34"/>
          <p:cNvSpPr>
            <a:spLocks noGrp="1"/>
          </p:cNvSpPr>
          <p:nvPr>
            <p:ph type="body" sz="quarter" idx="24" hasCustomPrompt="1"/>
          </p:nvPr>
        </p:nvSpPr>
        <p:spPr>
          <a:xfrm>
            <a:off x="4492625" y="3681413"/>
            <a:ext cx="4492595" cy="2087562"/>
          </a:xfrm>
        </p:spPr>
        <p:txBody>
          <a:bodyPr/>
          <a:lstStyle>
            <a:lvl1pPr>
              <a:defRPr sz="1400" baseline="0"/>
            </a:lvl1pPr>
            <a:lvl2pPr>
              <a:defRPr sz="1400"/>
            </a:lvl2pPr>
            <a:lvl3pPr>
              <a:defRPr sz="1400"/>
            </a:lvl3pPr>
            <a:lvl4pPr>
              <a:defRPr sz="1400"/>
            </a:lvl4pPr>
            <a:lvl5pPr>
              <a:defRPr sz="1400"/>
            </a:lvl5pPr>
          </a:lstStyle>
          <a:p>
            <a:pPr lvl="0"/>
            <a:r>
              <a:rPr lang="en-US" dirty="0"/>
              <a:t>Additional information (if needed)</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074730644"/>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p:cSld name="Two contacts">
    <p:spTree>
      <p:nvGrpSpPr>
        <p:cNvPr id="1" name=""/>
        <p:cNvGrpSpPr/>
        <p:nvPr/>
      </p:nvGrpSpPr>
      <p:grpSpPr>
        <a:xfrm>
          <a:off x="0" y="0"/>
          <a:ext cx="0" cy="0"/>
          <a:chOff x="0" y="0"/>
          <a:chExt cx="0" cy="0"/>
        </a:xfrm>
      </p:grpSpPr>
      <p:sp>
        <p:nvSpPr>
          <p:cNvPr id="21" name="Date Placeholder 20"/>
          <p:cNvSpPr>
            <a:spLocks noGrp="1"/>
          </p:cNvSpPr>
          <p:nvPr>
            <p:ph type="dt" sz="half" idx="14"/>
          </p:nvPr>
        </p:nvSpPr>
        <p:spPr/>
        <p:txBody>
          <a:bodyPr/>
          <a:lstStyle/>
          <a:p>
            <a:fld id="{3F4603FF-FCF6-4AE0-9349-4AF38C1FF5B2}" type="datetime5">
              <a:rPr lang="en-US" smtClean="0"/>
              <a:t>26-Jun-20</a:t>
            </a:fld>
            <a:endParaRPr lang="en-US"/>
          </a:p>
        </p:txBody>
      </p:sp>
      <p:sp>
        <p:nvSpPr>
          <p:cNvPr id="22" name="Footer Placeholder 21"/>
          <p:cNvSpPr>
            <a:spLocks noGrp="1"/>
          </p:cNvSpPr>
          <p:nvPr>
            <p:ph type="ftr" sz="quarter" idx="15"/>
          </p:nvPr>
        </p:nvSpPr>
        <p:spPr/>
        <p:txBody>
          <a:bodyPr/>
          <a:lstStyle/>
          <a:p>
            <a:r>
              <a:rPr lang="en-US"/>
              <a:t>Title of presentation (Insert / Header &amp; Footer / Apply to All)</a:t>
            </a:r>
            <a:endParaRPr lang="en-US" dirty="0"/>
          </a:p>
        </p:txBody>
      </p:sp>
      <p:sp>
        <p:nvSpPr>
          <p:cNvPr id="23" name="Slide Number Placeholder 22"/>
          <p:cNvSpPr>
            <a:spLocks noGrp="1"/>
          </p:cNvSpPr>
          <p:nvPr>
            <p:ph type="sldNum" sz="quarter" idx="16"/>
          </p:nvPr>
        </p:nvSpPr>
        <p:spPr/>
        <p:txBody>
          <a:bodyPr/>
          <a:lstStyle/>
          <a:p>
            <a:fld id="{5F3E29E4-0979-4FCA-B4C5-5FC6044C982A}" type="slidenum">
              <a:rPr lang="en-US" smtClean="0"/>
              <a:t>‹#›</a:t>
            </a:fld>
            <a:endParaRPr lang="en-US"/>
          </a:p>
        </p:txBody>
      </p:sp>
      <p:sp>
        <p:nvSpPr>
          <p:cNvPr id="2" name="Title 1"/>
          <p:cNvSpPr>
            <a:spLocks noGrp="1"/>
          </p:cNvSpPr>
          <p:nvPr>
            <p:ph type="title" hasCustomPrompt="1"/>
          </p:nvPr>
        </p:nvSpPr>
        <p:spPr/>
        <p:txBody>
          <a:bodyPr/>
          <a:lstStyle>
            <a:lvl1pPr>
              <a:defRPr/>
            </a:lvl1pPr>
          </a:lstStyle>
          <a:p>
            <a:r>
              <a:rPr lang="en-US" dirty="0"/>
              <a:t>Click to add contact title</a:t>
            </a:r>
          </a:p>
        </p:txBody>
      </p:sp>
      <p:sp>
        <p:nvSpPr>
          <p:cNvPr id="7" name="Subtitle 2"/>
          <p:cNvSpPr>
            <a:spLocks noGrp="1"/>
          </p:cNvSpPr>
          <p:nvPr>
            <p:ph type="subTitle" idx="13" hasCustomPrompt="1"/>
          </p:nvPr>
        </p:nvSpPr>
        <p:spPr>
          <a:xfrm>
            <a:off x="1075062" y="964672"/>
            <a:ext cx="7910159" cy="490042"/>
          </a:xfrm>
        </p:spPr>
        <p:txBody>
          <a:bodyPr wrap="none"/>
          <a:lstStyle>
            <a:lvl1pPr marL="0" indent="0" algn="l">
              <a:spcBef>
                <a:spcPts val="0"/>
              </a:spcBef>
              <a:buNone/>
              <a:defRPr sz="2399"/>
            </a:lvl1pPr>
            <a:lvl2pPr marL="457051" indent="0" algn="ctr">
              <a:buNone/>
              <a:defRPr sz="1999"/>
            </a:lvl2pPr>
            <a:lvl3pPr marL="914103" indent="0" algn="ctr">
              <a:buNone/>
              <a:defRPr sz="1799"/>
            </a:lvl3pPr>
            <a:lvl4pPr marL="1371154" indent="0" algn="ctr">
              <a:buNone/>
              <a:defRPr sz="1599"/>
            </a:lvl4pPr>
            <a:lvl5pPr marL="1828206" indent="0" algn="ctr">
              <a:buNone/>
              <a:defRPr sz="1599"/>
            </a:lvl5pPr>
            <a:lvl6pPr marL="2285257" indent="0" algn="ctr">
              <a:buNone/>
              <a:defRPr sz="1599"/>
            </a:lvl6pPr>
            <a:lvl7pPr marL="2742308" indent="0" algn="ctr">
              <a:buNone/>
              <a:defRPr sz="1599"/>
            </a:lvl7pPr>
            <a:lvl8pPr marL="3199360" indent="0" algn="ctr">
              <a:buNone/>
              <a:defRPr sz="1599"/>
            </a:lvl8pPr>
            <a:lvl9pPr marL="3656411" indent="0" algn="ctr">
              <a:buNone/>
              <a:defRPr sz="1599"/>
            </a:lvl9pPr>
          </a:lstStyle>
          <a:p>
            <a:r>
              <a:rPr lang="en-US" dirty="0"/>
              <a:t>Click to add subtitle</a:t>
            </a:r>
          </a:p>
        </p:txBody>
      </p:sp>
      <p:grpSp>
        <p:nvGrpSpPr>
          <p:cNvPr id="8" name="Gruppieren 80">
            <a:extLst>
              <a:ext uri="{FF2B5EF4-FFF2-40B4-BE49-F238E27FC236}">
                <a16:creationId xmlns:a16="http://schemas.microsoft.com/office/drawing/2014/main" id="{6B969E7B-9C39-4443-9B02-74C1E7C5CCAC}"/>
              </a:ext>
            </a:extLst>
          </p:cNvPr>
          <p:cNvGrpSpPr/>
          <p:nvPr/>
        </p:nvGrpSpPr>
        <p:grpSpPr>
          <a:xfrm>
            <a:off x="3770066" y="2868319"/>
            <a:ext cx="171180" cy="171180"/>
            <a:chOff x="3392092" y="1841122"/>
            <a:chExt cx="646508" cy="646508"/>
          </a:xfrm>
        </p:grpSpPr>
        <p:sp>
          <p:nvSpPr>
            <p:cNvPr id="9" name="Rechteck 14">
              <a:extLst>
                <a:ext uri="{FF2B5EF4-FFF2-40B4-BE49-F238E27FC236}">
                  <a16:creationId xmlns:a16="http://schemas.microsoft.com/office/drawing/2014/main" id="{D78F58EA-5525-8D43-8295-FEA52ECF6BFA}"/>
                </a:ext>
              </a:extLst>
            </p:cNvPr>
            <p:cNvSpPr>
              <a:spLocks noChangeAspect="1"/>
            </p:cNvSpPr>
            <p:nvPr/>
          </p:nvSpPr>
          <p:spPr bwMode="gray">
            <a:xfrm>
              <a:off x="3392092" y="1841122"/>
              <a:ext cx="646508" cy="646508"/>
            </a:xfrm>
            <a:prstGeom prst="rect">
              <a:avLst/>
            </a:prstGeom>
            <a:solidFill>
              <a:srgbClr val="E55A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pPr>
              <a:endParaRPr lang="en-US" sz="1000" dirty="0">
                <a:solidFill>
                  <a:schemeClr val="tx1"/>
                </a:solidFill>
                <a:latin typeface="Arial" pitchFamily="34" charset="0"/>
                <a:cs typeface="Arial" pitchFamily="34" charset="0"/>
              </a:endParaRPr>
            </a:p>
          </p:txBody>
        </p:sp>
        <p:sp>
          <p:nvSpPr>
            <p:cNvPr id="10" name="Freeform 67">
              <a:extLst>
                <a:ext uri="{FF2B5EF4-FFF2-40B4-BE49-F238E27FC236}">
                  <a16:creationId xmlns:a16="http://schemas.microsoft.com/office/drawing/2014/main" id="{D01A6292-2776-4945-B828-483D79DC4908}"/>
                </a:ext>
              </a:extLst>
            </p:cNvPr>
            <p:cNvSpPr>
              <a:spLocks noChangeAspect="1"/>
            </p:cNvSpPr>
            <p:nvPr/>
          </p:nvSpPr>
          <p:spPr bwMode="auto">
            <a:xfrm>
              <a:off x="3546638" y="1970424"/>
              <a:ext cx="337415" cy="387905"/>
            </a:xfrm>
            <a:custGeom>
              <a:avLst/>
              <a:gdLst>
                <a:gd name="T0" fmla="*/ 573 w 1624"/>
                <a:gd name="T1" fmla="*/ 1257 h 1867"/>
                <a:gd name="T2" fmla="*/ 662 w 1624"/>
                <a:gd name="T3" fmla="*/ 1288 h 1867"/>
                <a:gd name="T4" fmla="*/ 938 w 1624"/>
                <a:gd name="T5" fmla="*/ 1051 h 1867"/>
                <a:gd name="T6" fmla="*/ 1106 w 1624"/>
                <a:gd name="T7" fmla="*/ 731 h 1867"/>
                <a:gd name="T8" fmla="*/ 1059 w 1624"/>
                <a:gd name="T9" fmla="*/ 645 h 1867"/>
                <a:gd name="T10" fmla="*/ 1001 w 1624"/>
                <a:gd name="T11" fmla="*/ 613 h 1867"/>
                <a:gd name="T12" fmla="*/ 924 w 1624"/>
                <a:gd name="T13" fmla="*/ 432 h 1867"/>
                <a:gd name="T14" fmla="*/ 1114 w 1624"/>
                <a:gd name="T15" fmla="*/ 81 h 1867"/>
                <a:gd name="T16" fmla="*/ 1287 w 1624"/>
                <a:gd name="T17" fmla="*/ 35 h 1867"/>
                <a:gd name="T18" fmla="*/ 1350 w 1624"/>
                <a:gd name="T19" fmla="*/ 69 h 1867"/>
                <a:gd name="T20" fmla="*/ 1527 w 1624"/>
                <a:gd name="T21" fmla="*/ 235 h 1867"/>
                <a:gd name="T22" fmla="*/ 1583 w 1624"/>
                <a:gd name="T23" fmla="*/ 555 h 1867"/>
                <a:gd name="T24" fmla="*/ 1172 w 1624"/>
                <a:gd name="T25" fmla="*/ 1253 h 1867"/>
                <a:gd name="T26" fmla="*/ 586 w 1624"/>
                <a:gd name="T27" fmla="*/ 1803 h 1867"/>
                <a:gd name="T28" fmla="*/ 269 w 1624"/>
                <a:gd name="T29" fmla="*/ 1807 h 1867"/>
                <a:gd name="T30" fmla="*/ 33 w 1624"/>
                <a:gd name="T31" fmla="*/ 1602 h 1867"/>
                <a:gd name="T32" fmla="*/ 2 w 1624"/>
                <a:gd name="T33" fmla="*/ 1508 h 1867"/>
                <a:gd name="T34" fmla="*/ 45 w 1624"/>
                <a:gd name="T35" fmla="*/ 1421 h 1867"/>
                <a:gd name="T36" fmla="*/ 346 w 1624"/>
                <a:gd name="T37" fmla="*/ 1158 h 1867"/>
                <a:gd name="T38" fmla="*/ 448 w 1624"/>
                <a:gd name="T39" fmla="*/ 1145 h 1867"/>
                <a:gd name="T40" fmla="*/ 573 w 1624"/>
                <a:gd name="T41" fmla="*/ 1257 h 18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24" h="1867">
                  <a:moveTo>
                    <a:pt x="573" y="1257"/>
                  </a:moveTo>
                  <a:cubicBezTo>
                    <a:pt x="592" y="1282"/>
                    <a:pt x="630" y="1303"/>
                    <a:pt x="662" y="1288"/>
                  </a:cubicBezTo>
                  <a:cubicBezTo>
                    <a:pt x="753" y="1245"/>
                    <a:pt x="854" y="1156"/>
                    <a:pt x="938" y="1051"/>
                  </a:cubicBezTo>
                  <a:cubicBezTo>
                    <a:pt x="1020" y="948"/>
                    <a:pt x="1084" y="831"/>
                    <a:pt x="1106" y="731"/>
                  </a:cubicBezTo>
                  <a:cubicBezTo>
                    <a:pt x="1113" y="696"/>
                    <a:pt x="1089" y="661"/>
                    <a:pt x="1059" y="645"/>
                  </a:cubicBezTo>
                  <a:cubicBezTo>
                    <a:pt x="1001" y="613"/>
                    <a:pt x="1001" y="613"/>
                    <a:pt x="1001" y="613"/>
                  </a:cubicBezTo>
                  <a:cubicBezTo>
                    <a:pt x="942" y="580"/>
                    <a:pt x="888" y="499"/>
                    <a:pt x="924" y="432"/>
                  </a:cubicBezTo>
                  <a:cubicBezTo>
                    <a:pt x="1114" y="81"/>
                    <a:pt x="1114" y="81"/>
                    <a:pt x="1114" y="81"/>
                  </a:cubicBezTo>
                  <a:cubicBezTo>
                    <a:pt x="1150" y="16"/>
                    <a:pt x="1224" y="0"/>
                    <a:pt x="1287" y="35"/>
                  </a:cubicBezTo>
                  <a:cubicBezTo>
                    <a:pt x="1350" y="69"/>
                    <a:pt x="1350" y="69"/>
                    <a:pt x="1350" y="69"/>
                  </a:cubicBezTo>
                  <a:cubicBezTo>
                    <a:pt x="1415" y="105"/>
                    <a:pt x="1479" y="165"/>
                    <a:pt x="1527" y="235"/>
                  </a:cubicBezTo>
                  <a:cubicBezTo>
                    <a:pt x="1593" y="332"/>
                    <a:pt x="1624" y="442"/>
                    <a:pt x="1583" y="555"/>
                  </a:cubicBezTo>
                  <a:cubicBezTo>
                    <a:pt x="1500" y="781"/>
                    <a:pt x="1351" y="1030"/>
                    <a:pt x="1172" y="1253"/>
                  </a:cubicBezTo>
                  <a:cubicBezTo>
                    <a:pt x="994" y="1477"/>
                    <a:pt x="786" y="1676"/>
                    <a:pt x="586" y="1803"/>
                  </a:cubicBezTo>
                  <a:cubicBezTo>
                    <a:pt x="486" y="1867"/>
                    <a:pt x="375" y="1856"/>
                    <a:pt x="269" y="1807"/>
                  </a:cubicBezTo>
                  <a:cubicBezTo>
                    <a:pt x="157" y="1755"/>
                    <a:pt x="106" y="1695"/>
                    <a:pt x="33" y="1602"/>
                  </a:cubicBezTo>
                  <a:cubicBezTo>
                    <a:pt x="11" y="1573"/>
                    <a:pt x="0" y="1540"/>
                    <a:pt x="2" y="1508"/>
                  </a:cubicBezTo>
                  <a:cubicBezTo>
                    <a:pt x="4" y="1475"/>
                    <a:pt x="18" y="1444"/>
                    <a:pt x="45" y="1421"/>
                  </a:cubicBezTo>
                  <a:cubicBezTo>
                    <a:pt x="70" y="1399"/>
                    <a:pt x="346" y="1158"/>
                    <a:pt x="346" y="1158"/>
                  </a:cubicBezTo>
                  <a:cubicBezTo>
                    <a:pt x="376" y="1134"/>
                    <a:pt x="413" y="1133"/>
                    <a:pt x="448" y="1145"/>
                  </a:cubicBezTo>
                  <a:cubicBezTo>
                    <a:pt x="510" y="1166"/>
                    <a:pt x="536" y="1210"/>
                    <a:pt x="573" y="1257"/>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350" dirty="0"/>
            </a:p>
          </p:txBody>
        </p:sp>
      </p:grpSp>
      <p:grpSp>
        <p:nvGrpSpPr>
          <p:cNvPr id="11" name="Group 3">
            <a:extLst>
              <a:ext uri="{FF2B5EF4-FFF2-40B4-BE49-F238E27FC236}">
                <a16:creationId xmlns:a16="http://schemas.microsoft.com/office/drawing/2014/main" id="{DED6A25A-5DE2-1441-8BA2-C68D3B4F9209}"/>
              </a:ext>
            </a:extLst>
          </p:cNvPr>
          <p:cNvGrpSpPr>
            <a:grpSpLocks noChangeAspect="1"/>
          </p:cNvGrpSpPr>
          <p:nvPr>
            <p:custDataLst>
              <p:tags r:id="rId1"/>
            </p:custDataLst>
          </p:nvPr>
        </p:nvGrpSpPr>
        <p:grpSpPr>
          <a:xfrm>
            <a:off x="3770067" y="3153207"/>
            <a:ext cx="171180" cy="171180"/>
            <a:chOff x="328396" y="5313940"/>
            <a:chExt cx="720000" cy="720000"/>
          </a:xfrm>
        </p:grpSpPr>
        <p:sp>
          <p:nvSpPr>
            <p:cNvPr id="12" name="Rectangle 4">
              <a:extLst>
                <a:ext uri="{FF2B5EF4-FFF2-40B4-BE49-F238E27FC236}">
                  <a16:creationId xmlns:a16="http://schemas.microsoft.com/office/drawing/2014/main" id="{5F49E67F-D4FA-9D48-96BC-59AE946ECD15}"/>
                </a:ext>
              </a:extLst>
            </p:cNvPr>
            <p:cNvSpPr/>
            <p:nvPr/>
          </p:nvSpPr>
          <p:spPr bwMode="gray">
            <a:xfrm>
              <a:off x="328396" y="5313940"/>
              <a:ext cx="720000" cy="720000"/>
            </a:xfrm>
            <a:prstGeom prst="rect">
              <a:avLst/>
            </a:prstGeom>
            <a:solidFill>
              <a:srgbClr val="E55A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pPr>
              <a:endParaRPr lang="en-US" sz="1000" dirty="0">
                <a:solidFill>
                  <a:schemeClr val="tx1"/>
                </a:solidFill>
                <a:latin typeface="Arial" pitchFamily="34" charset="0"/>
                <a:cs typeface="Arial" pitchFamily="34" charset="0"/>
              </a:endParaRPr>
            </a:p>
          </p:txBody>
        </p:sp>
        <p:sp>
          <p:nvSpPr>
            <p:cNvPr id="13" name="Freeform 76">
              <a:extLst>
                <a:ext uri="{FF2B5EF4-FFF2-40B4-BE49-F238E27FC236}">
                  <a16:creationId xmlns:a16="http://schemas.microsoft.com/office/drawing/2014/main" id="{187E70E6-AF3F-2549-908E-DF4BA61040AA}"/>
                </a:ext>
              </a:extLst>
            </p:cNvPr>
            <p:cNvSpPr>
              <a:spLocks noChangeAspect="1" noEditPoints="1"/>
            </p:cNvSpPr>
            <p:nvPr/>
          </p:nvSpPr>
          <p:spPr bwMode="auto">
            <a:xfrm>
              <a:off x="456202" y="5509222"/>
              <a:ext cx="504000" cy="329436"/>
            </a:xfrm>
            <a:custGeom>
              <a:avLst/>
              <a:gdLst>
                <a:gd name="T0" fmla="*/ 0 w 2080"/>
                <a:gd name="T1" fmla="*/ 65 h 1360"/>
                <a:gd name="T2" fmla="*/ 0 w 2080"/>
                <a:gd name="T3" fmla="*/ 0 h 1360"/>
                <a:gd name="T4" fmla="*/ 2080 w 2080"/>
                <a:gd name="T5" fmla="*/ 0 h 1360"/>
                <a:gd name="T6" fmla="*/ 2080 w 2080"/>
                <a:gd name="T7" fmla="*/ 65 h 1360"/>
                <a:gd name="T8" fmla="*/ 1089 w 2080"/>
                <a:gd name="T9" fmla="*/ 862 h 1360"/>
                <a:gd name="T10" fmla="*/ 991 w 2080"/>
                <a:gd name="T11" fmla="*/ 862 h 1360"/>
                <a:gd name="T12" fmla="*/ 0 w 2080"/>
                <a:gd name="T13" fmla="*/ 65 h 1360"/>
                <a:gd name="T14" fmla="*/ 1139 w 2080"/>
                <a:gd name="T15" fmla="*/ 924 h 1360"/>
                <a:gd name="T16" fmla="*/ 1282 w 2080"/>
                <a:gd name="T17" fmla="*/ 810 h 1360"/>
                <a:gd name="T18" fmla="*/ 2076 w 2080"/>
                <a:gd name="T19" fmla="*/ 1360 h 1360"/>
                <a:gd name="T20" fmla="*/ 4 w 2080"/>
                <a:gd name="T21" fmla="*/ 1360 h 1360"/>
                <a:gd name="T22" fmla="*/ 798 w 2080"/>
                <a:gd name="T23" fmla="*/ 810 h 1360"/>
                <a:gd name="T24" fmla="*/ 941 w 2080"/>
                <a:gd name="T25" fmla="*/ 924 h 1360"/>
                <a:gd name="T26" fmla="*/ 1139 w 2080"/>
                <a:gd name="T27" fmla="*/ 924 h 1360"/>
                <a:gd name="T28" fmla="*/ 2 w 2080"/>
                <a:gd name="T29" fmla="*/ 137 h 1360"/>
                <a:gd name="T30" fmla="*/ 42 w 2080"/>
                <a:gd name="T31" fmla="*/ 201 h 1360"/>
                <a:gd name="T32" fmla="*/ 734 w 2080"/>
                <a:gd name="T33" fmla="*/ 758 h 1360"/>
                <a:gd name="T34" fmla="*/ 0 w 2080"/>
                <a:gd name="T35" fmla="*/ 1266 h 1360"/>
                <a:gd name="T36" fmla="*/ 0 w 2080"/>
                <a:gd name="T37" fmla="*/ 135 h 1360"/>
                <a:gd name="T38" fmla="*/ 2 w 2080"/>
                <a:gd name="T39" fmla="*/ 137 h 1360"/>
                <a:gd name="T40" fmla="*/ 2080 w 2080"/>
                <a:gd name="T41" fmla="*/ 136 h 1360"/>
                <a:gd name="T42" fmla="*/ 2080 w 2080"/>
                <a:gd name="T43" fmla="*/ 1265 h 1360"/>
                <a:gd name="T44" fmla="*/ 1346 w 2080"/>
                <a:gd name="T45" fmla="*/ 758 h 1360"/>
                <a:gd name="T46" fmla="*/ 2038 w 2080"/>
                <a:gd name="T47" fmla="*/ 201 h 1360"/>
                <a:gd name="T48" fmla="*/ 2080 w 2080"/>
                <a:gd name="T49" fmla="*/ 136 h 1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080" h="1360">
                  <a:moveTo>
                    <a:pt x="0" y="65"/>
                  </a:moveTo>
                  <a:cubicBezTo>
                    <a:pt x="0" y="0"/>
                    <a:pt x="0" y="0"/>
                    <a:pt x="0" y="0"/>
                  </a:cubicBezTo>
                  <a:cubicBezTo>
                    <a:pt x="2080" y="0"/>
                    <a:pt x="2080" y="0"/>
                    <a:pt x="2080" y="0"/>
                  </a:cubicBezTo>
                  <a:cubicBezTo>
                    <a:pt x="2080" y="65"/>
                    <a:pt x="2080" y="65"/>
                    <a:pt x="2080" y="65"/>
                  </a:cubicBezTo>
                  <a:cubicBezTo>
                    <a:pt x="1089" y="862"/>
                    <a:pt x="1089" y="862"/>
                    <a:pt x="1089" y="862"/>
                  </a:cubicBezTo>
                  <a:cubicBezTo>
                    <a:pt x="1060" y="886"/>
                    <a:pt x="1020" y="886"/>
                    <a:pt x="991" y="862"/>
                  </a:cubicBezTo>
                  <a:lnTo>
                    <a:pt x="0" y="65"/>
                  </a:lnTo>
                  <a:close/>
                  <a:moveTo>
                    <a:pt x="1139" y="924"/>
                  </a:moveTo>
                  <a:cubicBezTo>
                    <a:pt x="1282" y="810"/>
                    <a:pt x="1282" y="810"/>
                    <a:pt x="1282" y="810"/>
                  </a:cubicBezTo>
                  <a:cubicBezTo>
                    <a:pt x="2076" y="1360"/>
                    <a:pt x="2076" y="1360"/>
                    <a:pt x="2076" y="1360"/>
                  </a:cubicBezTo>
                  <a:cubicBezTo>
                    <a:pt x="4" y="1360"/>
                    <a:pt x="4" y="1360"/>
                    <a:pt x="4" y="1360"/>
                  </a:cubicBezTo>
                  <a:cubicBezTo>
                    <a:pt x="798" y="810"/>
                    <a:pt x="798" y="810"/>
                    <a:pt x="798" y="810"/>
                  </a:cubicBezTo>
                  <a:cubicBezTo>
                    <a:pt x="941" y="924"/>
                    <a:pt x="941" y="924"/>
                    <a:pt x="941" y="924"/>
                  </a:cubicBezTo>
                  <a:cubicBezTo>
                    <a:pt x="1000" y="972"/>
                    <a:pt x="1080" y="972"/>
                    <a:pt x="1139" y="924"/>
                  </a:cubicBezTo>
                  <a:close/>
                  <a:moveTo>
                    <a:pt x="2" y="137"/>
                  </a:moveTo>
                  <a:cubicBezTo>
                    <a:pt x="8" y="163"/>
                    <a:pt x="22" y="185"/>
                    <a:pt x="42" y="201"/>
                  </a:cubicBezTo>
                  <a:cubicBezTo>
                    <a:pt x="734" y="758"/>
                    <a:pt x="734" y="758"/>
                    <a:pt x="734" y="758"/>
                  </a:cubicBezTo>
                  <a:cubicBezTo>
                    <a:pt x="0" y="1266"/>
                    <a:pt x="0" y="1266"/>
                    <a:pt x="0" y="1266"/>
                  </a:cubicBezTo>
                  <a:cubicBezTo>
                    <a:pt x="0" y="135"/>
                    <a:pt x="0" y="135"/>
                    <a:pt x="0" y="135"/>
                  </a:cubicBezTo>
                  <a:lnTo>
                    <a:pt x="2" y="137"/>
                  </a:lnTo>
                  <a:close/>
                  <a:moveTo>
                    <a:pt x="2080" y="136"/>
                  </a:moveTo>
                  <a:cubicBezTo>
                    <a:pt x="2080" y="1265"/>
                    <a:pt x="2080" y="1265"/>
                    <a:pt x="2080" y="1265"/>
                  </a:cubicBezTo>
                  <a:cubicBezTo>
                    <a:pt x="1346" y="758"/>
                    <a:pt x="1346" y="758"/>
                    <a:pt x="1346" y="758"/>
                  </a:cubicBezTo>
                  <a:cubicBezTo>
                    <a:pt x="2038" y="201"/>
                    <a:pt x="2038" y="201"/>
                    <a:pt x="2038" y="201"/>
                  </a:cubicBezTo>
                  <a:cubicBezTo>
                    <a:pt x="2060" y="182"/>
                    <a:pt x="2072" y="162"/>
                    <a:pt x="2080" y="13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000"/>
            </a:p>
          </p:txBody>
        </p:sp>
      </p:grpSp>
      <p:grpSp>
        <p:nvGrpSpPr>
          <p:cNvPr id="14" name="Gruppieren 2">
            <a:extLst>
              <a:ext uri="{FF2B5EF4-FFF2-40B4-BE49-F238E27FC236}">
                <a16:creationId xmlns:a16="http://schemas.microsoft.com/office/drawing/2014/main" id="{BE697CE9-EBDE-6B4A-BE70-582D92A8A831}"/>
              </a:ext>
            </a:extLst>
          </p:cNvPr>
          <p:cNvGrpSpPr/>
          <p:nvPr/>
        </p:nvGrpSpPr>
        <p:grpSpPr>
          <a:xfrm>
            <a:off x="8701918" y="2868319"/>
            <a:ext cx="171180" cy="171180"/>
            <a:chOff x="3392092" y="1841122"/>
            <a:chExt cx="646508" cy="646508"/>
          </a:xfrm>
        </p:grpSpPr>
        <p:sp>
          <p:nvSpPr>
            <p:cNvPr id="15" name="Rechteck 14">
              <a:extLst>
                <a:ext uri="{FF2B5EF4-FFF2-40B4-BE49-F238E27FC236}">
                  <a16:creationId xmlns:a16="http://schemas.microsoft.com/office/drawing/2014/main" id="{E142A731-19B7-C34D-9534-9E05108F895F}"/>
                </a:ext>
              </a:extLst>
            </p:cNvPr>
            <p:cNvSpPr>
              <a:spLocks noChangeAspect="1"/>
            </p:cNvSpPr>
            <p:nvPr/>
          </p:nvSpPr>
          <p:spPr bwMode="gray">
            <a:xfrm>
              <a:off x="3392092" y="1841122"/>
              <a:ext cx="646508" cy="646508"/>
            </a:xfrm>
            <a:prstGeom prst="rect">
              <a:avLst/>
            </a:prstGeom>
            <a:solidFill>
              <a:srgbClr val="E55A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pPr>
              <a:endParaRPr lang="en-US" sz="1000" dirty="0">
                <a:solidFill>
                  <a:schemeClr val="tx1"/>
                </a:solidFill>
                <a:latin typeface="Arial" pitchFamily="34" charset="0"/>
                <a:cs typeface="Arial" pitchFamily="34" charset="0"/>
              </a:endParaRPr>
            </a:p>
          </p:txBody>
        </p:sp>
        <p:sp>
          <p:nvSpPr>
            <p:cNvPr id="16" name="Freeform 15">
              <a:extLst>
                <a:ext uri="{FF2B5EF4-FFF2-40B4-BE49-F238E27FC236}">
                  <a16:creationId xmlns:a16="http://schemas.microsoft.com/office/drawing/2014/main" id="{F97E84AE-4AD9-4B44-9AA1-F797FC373809}"/>
                </a:ext>
              </a:extLst>
            </p:cNvPr>
            <p:cNvSpPr>
              <a:spLocks noChangeAspect="1"/>
            </p:cNvSpPr>
            <p:nvPr/>
          </p:nvSpPr>
          <p:spPr bwMode="auto">
            <a:xfrm>
              <a:off x="3546638" y="1970424"/>
              <a:ext cx="337415" cy="387905"/>
            </a:xfrm>
            <a:custGeom>
              <a:avLst/>
              <a:gdLst>
                <a:gd name="T0" fmla="*/ 573 w 1624"/>
                <a:gd name="T1" fmla="*/ 1257 h 1867"/>
                <a:gd name="T2" fmla="*/ 662 w 1624"/>
                <a:gd name="T3" fmla="*/ 1288 h 1867"/>
                <a:gd name="T4" fmla="*/ 938 w 1624"/>
                <a:gd name="T5" fmla="*/ 1051 h 1867"/>
                <a:gd name="T6" fmla="*/ 1106 w 1624"/>
                <a:gd name="T7" fmla="*/ 731 h 1867"/>
                <a:gd name="T8" fmla="*/ 1059 w 1624"/>
                <a:gd name="T9" fmla="*/ 645 h 1867"/>
                <a:gd name="T10" fmla="*/ 1001 w 1624"/>
                <a:gd name="T11" fmla="*/ 613 h 1867"/>
                <a:gd name="T12" fmla="*/ 924 w 1624"/>
                <a:gd name="T13" fmla="*/ 432 h 1867"/>
                <a:gd name="T14" fmla="*/ 1114 w 1624"/>
                <a:gd name="T15" fmla="*/ 81 h 1867"/>
                <a:gd name="T16" fmla="*/ 1287 w 1624"/>
                <a:gd name="T17" fmla="*/ 35 h 1867"/>
                <a:gd name="T18" fmla="*/ 1350 w 1624"/>
                <a:gd name="T19" fmla="*/ 69 h 1867"/>
                <a:gd name="T20" fmla="*/ 1527 w 1624"/>
                <a:gd name="T21" fmla="*/ 235 h 1867"/>
                <a:gd name="T22" fmla="*/ 1583 w 1624"/>
                <a:gd name="T23" fmla="*/ 555 h 1867"/>
                <a:gd name="T24" fmla="*/ 1172 w 1624"/>
                <a:gd name="T25" fmla="*/ 1253 h 1867"/>
                <a:gd name="T26" fmla="*/ 586 w 1624"/>
                <a:gd name="T27" fmla="*/ 1803 h 1867"/>
                <a:gd name="T28" fmla="*/ 269 w 1624"/>
                <a:gd name="T29" fmla="*/ 1807 h 1867"/>
                <a:gd name="T30" fmla="*/ 33 w 1624"/>
                <a:gd name="T31" fmla="*/ 1602 h 1867"/>
                <a:gd name="T32" fmla="*/ 2 w 1624"/>
                <a:gd name="T33" fmla="*/ 1508 h 1867"/>
                <a:gd name="T34" fmla="*/ 45 w 1624"/>
                <a:gd name="T35" fmla="*/ 1421 h 1867"/>
                <a:gd name="T36" fmla="*/ 346 w 1624"/>
                <a:gd name="T37" fmla="*/ 1158 h 1867"/>
                <a:gd name="T38" fmla="*/ 448 w 1624"/>
                <a:gd name="T39" fmla="*/ 1145 h 1867"/>
                <a:gd name="T40" fmla="*/ 573 w 1624"/>
                <a:gd name="T41" fmla="*/ 1257 h 18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24" h="1867">
                  <a:moveTo>
                    <a:pt x="573" y="1257"/>
                  </a:moveTo>
                  <a:cubicBezTo>
                    <a:pt x="592" y="1282"/>
                    <a:pt x="630" y="1303"/>
                    <a:pt x="662" y="1288"/>
                  </a:cubicBezTo>
                  <a:cubicBezTo>
                    <a:pt x="753" y="1245"/>
                    <a:pt x="854" y="1156"/>
                    <a:pt x="938" y="1051"/>
                  </a:cubicBezTo>
                  <a:cubicBezTo>
                    <a:pt x="1020" y="948"/>
                    <a:pt x="1084" y="831"/>
                    <a:pt x="1106" y="731"/>
                  </a:cubicBezTo>
                  <a:cubicBezTo>
                    <a:pt x="1113" y="696"/>
                    <a:pt x="1089" y="661"/>
                    <a:pt x="1059" y="645"/>
                  </a:cubicBezTo>
                  <a:cubicBezTo>
                    <a:pt x="1001" y="613"/>
                    <a:pt x="1001" y="613"/>
                    <a:pt x="1001" y="613"/>
                  </a:cubicBezTo>
                  <a:cubicBezTo>
                    <a:pt x="942" y="580"/>
                    <a:pt x="888" y="499"/>
                    <a:pt x="924" y="432"/>
                  </a:cubicBezTo>
                  <a:cubicBezTo>
                    <a:pt x="1114" y="81"/>
                    <a:pt x="1114" y="81"/>
                    <a:pt x="1114" y="81"/>
                  </a:cubicBezTo>
                  <a:cubicBezTo>
                    <a:pt x="1150" y="16"/>
                    <a:pt x="1224" y="0"/>
                    <a:pt x="1287" y="35"/>
                  </a:cubicBezTo>
                  <a:cubicBezTo>
                    <a:pt x="1350" y="69"/>
                    <a:pt x="1350" y="69"/>
                    <a:pt x="1350" y="69"/>
                  </a:cubicBezTo>
                  <a:cubicBezTo>
                    <a:pt x="1415" y="105"/>
                    <a:pt x="1479" y="165"/>
                    <a:pt x="1527" y="235"/>
                  </a:cubicBezTo>
                  <a:cubicBezTo>
                    <a:pt x="1593" y="332"/>
                    <a:pt x="1624" y="442"/>
                    <a:pt x="1583" y="555"/>
                  </a:cubicBezTo>
                  <a:cubicBezTo>
                    <a:pt x="1500" y="781"/>
                    <a:pt x="1351" y="1030"/>
                    <a:pt x="1172" y="1253"/>
                  </a:cubicBezTo>
                  <a:cubicBezTo>
                    <a:pt x="994" y="1477"/>
                    <a:pt x="786" y="1676"/>
                    <a:pt x="586" y="1803"/>
                  </a:cubicBezTo>
                  <a:cubicBezTo>
                    <a:pt x="486" y="1867"/>
                    <a:pt x="375" y="1856"/>
                    <a:pt x="269" y="1807"/>
                  </a:cubicBezTo>
                  <a:cubicBezTo>
                    <a:pt x="157" y="1755"/>
                    <a:pt x="106" y="1695"/>
                    <a:pt x="33" y="1602"/>
                  </a:cubicBezTo>
                  <a:cubicBezTo>
                    <a:pt x="11" y="1573"/>
                    <a:pt x="0" y="1540"/>
                    <a:pt x="2" y="1508"/>
                  </a:cubicBezTo>
                  <a:cubicBezTo>
                    <a:pt x="4" y="1475"/>
                    <a:pt x="18" y="1444"/>
                    <a:pt x="45" y="1421"/>
                  </a:cubicBezTo>
                  <a:cubicBezTo>
                    <a:pt x="70" y="1399"/>
                    <a:pt x="346" y="1158"/>
                    <a:pt x="346" y="1158"/>
                  </a:cubicBezTo>
                  <a:cubicBezTo>
                    <a:pt x="376" y="1134"/>
                    <a:pt x="413" y="1133"/>
                    <a:pt x="448" y="1145"/>
                  </a:cubicBezTo>
                  <a:cubicBezTo>
                    <a:pt x="510" y="1166"/>
                    <a:pt x="536" y="1210"/>
                    <a:pt x="573" y="1257"/>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350" dirty="0"/>
            </a:p>
          </p:txBody>
        </p:sp>
      </p:grpSp>
      <p:grpSp>
        <p:nvGrpSpPr>
          <p:cNvPr id="17" name="Group 3">
            <a:extLst>
              <a:ext uri="{FF2B5EF4-FFF2-40B4-BE49-F238E27FC236}">
                <a16:creationId xmlns:a16="http://schemas.microsoft.com/office/drawing/2014/main" id="{7104BADD-8CD1-6F4A-B894-869C3BDB3EEB}"/>
              </a:ext>
            </a:extLst>
          </p:cNvPr>
          <p:cNvGrpSpPr>
            <a:grpSpLocks noChangeAspect="1"/>
          </p:cNvGrpSpPr>
          <p:nvPr>
            <p:custDataLst>
              <p:tags r:id="rId2"/>
            </p:custDataLst>
          </p:nvPr>
        </p:nvGrpSpPr>
        <p:grpSpPr>
          <a:xfrm>
            <a:off x="8701919" y="3153207"/>
            <a:ext cx="171180" cy="171180"/>
            <a:chOff x="328396" y="5313940"/>
            <a:chExt cx="720000" cy="720000"/>
          </a:xfrm>
        </p:grpSpPr>
        <p:sp>
          <p:nvSpPr>
            <p:cNvPr id="18" name="Rectangle 4">
              <a:extLst>
                <a:ext uri="{FF2B5EF4-FFF2-40B4-BE49-F238E27FC236}">
                  <a16:creationId xmlns:a16="http://schemas.microsoft.com/office/drawing/2014/main" id="{74BE3D5F-1445-6E40-8B49-72E15568383B}"/>
                </a:ext>
              </a:extLst>
            </p:cNvPr>
            <p:cNvSpPr/>
            <p:nvPr/>
          </p:nvSpPr>
          <p:spPr bwMode="gray">
            <a:xfrm>
              <a:off x="328396" y="5313940"/>
              <a:ext cx="720000" cy="720000"/>
            </a:xfrm>
            <a:prstGeom prst="rect">
              <a:avLst/>
            </a:prstGeom>
            <a:solidFill>
              <a:srgbClr val="E55A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pPr>
              <a:endParaRPr lang="en-US" sz="1000" dirty="0">
                <a:solidFill>
                  <a:schemeClr val="tx1"/>
                </a:solidFill>
                <a:latin typeface="Arial" pitchFamily="34" charset="0"/>
                <a:cs typeface="Arial" pitchFamily="34" charset="0"/>
              </a:endParaRPr>
            </a:p>
          </p:txBody>
        </p:sp>
        <p:sp>
          <p:nvSpPr>
            <p:cNvPr id="19" name="Freeform 76">
              <a:extLst>
                <a:ext uri="{FF2B5EF4-FFF2-40B4-BE49-F238E27FC236}">
                  <a16:creationId xmlns:a16="http://schemas.microsoft.com/office/drawing/2014/main" id="{55DB3C95-7D0C-D141-901E-96D692794D2B}"/>
                </a:ext>
              </a:extLst>
            </p:cNvPr>
            <p:cNvSpPr>
              <a:spLocks noChangeAspect="1" noEditPoints="1"/>
            </p:cNvSpPr>
            <p:nvPr/>
          </p:nvSpPr>
          <p:spPr bwMode="auto">
            <a:xfrm>
              <a:off x="456202" y="5509222"/>
              <a:ext cx="504000" cy="329436"/>
            </a:xfrm>
            <a:custGeom>
              <a:avLst/>
              <a:gdLst>
                <a:gd name="T0" fmla="*/ 0 w 2080"/>
                <a:gd name="T1" fmla="*/ 65 h 1360"/>
                <a:gd name="T2" fmla="*/ 0 w 2080"/>
                <a:gd name="T3" fmla="*/ 0 h 1360"/>
                <a:gd name="T4" fmla="*/ 2080 w 2080"/>
                <a:gd name="T5" fmla="*/ 0 h 1360"/>
                <a:gd name="T6" fmla="*/ 2080 w 2080"/>
                <a:gd name="T7" fmla="*/ 65 h 1360"/>
                <a:gd name="T8" fmla="*/ 1089 w 2080"/>
                <a:gd name="T9" fmla="*/ 862 h 1360"/>
                <a:gd name="T10" fmla="*/ 991 w 2080"/>
                <a:gd name="T11" fmla="*/ 862 h 1360"/>
                <a:gd name="T12" fmla="*/ 0 w 2080"/>
                <a:gd name="T13" fmla="*/ 65 h 1360"/>
                <a:gd name="T14" fmla="*/ 1139 w 2080"/>
                <a:gd name="T15" fmla="*/ 924 h 1360"/>
                <a:gd name="T16" fmla="*/ 1282 w 2080"/>
                <a:gd name="T17" fmla="*/ 810 h 1360"/>
                <a:gd name="T18" fmla="*/ 2076 w 2080"/>
                <a:gd name="T19" fmla="*/ 1360 h 1360"/>
                <a:gd name="T20" fmla="*/ 4 w 2080"/>
                <a:gd name="T21" fmla="*/ 1360 h 1360"/>
                <a:gd name="T22" fmla="*/ 798 w 2080"/>
                <a:gd name="T23" fmla="*/ 810 h 1360"/>
                <a:gd name="T24" fmla="*/ 941 w 2080"/>
                <a:gd name="T25" fmla="*/ 924 h 1360"/>
                <a:gd name="T26" fmla="*/ 1139 w 2080"/>
                <a:gd name="T27" fmla="*/ 924 h 1360"/>
                <a:gd name="T28" fmla="*/ 2 w 2080"/>
                <a:gd name="T29" fmla="*/ 137 h 1360"/>
                <a:gd name="T30" fmla="*/ 42 w 2080"/>
                <a:gd name="T31" fmla="*/ 201 h 1360"/>
                <a:gd name="T32" fmla="*/ 734 w 2080"/>
                <a:gd name="T33" fmla="*/ 758 h 1360"/>
                <a:gd name="T34" fmla="*/ 0 w 2080"/>
                <a:gd name="T35" fmla="*/ 1266 h 1360"/>
                <a:gd name="T36" fmla="*/ 0 w 2080"/>
                <a:gd name="T37" fmla="*/ 135 h 1360"/>
                <a:gd name="T38" fmla="*/ 2 w 2080"/>
                <a:gd name="T39" fmla="*/ 137 h 1360"/>
                <a:gd name="T40" fmla="*/ 2080 w 2080"/>
                <a:gd name="T41" fmla="*/ 136 h 1360"/>
                <a:gd name="T42" fmla="*/ 2080 w 2080"/>
                <a:gd name="T43" fmla="*/ 1265 h 1360"/>
                <a:gd name="T44" fmla="*/ 1346 w 2080"/>
                <a:gd name="T45" fmla="*/ 758 h 1360"/>
                <a:gd name="T46" fmla="*/ 2038 w 2080"/>
                <a:gd name="T47" fmla="*/ 201 h 1360"/>
                <a:gd name="T48" fmla="*/ 2080 w 2080"/>
                <a:gd name="T49" fmla="*/ 136 h 1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080" h="1360">
                  <a:moveTo>
                    <a:pt x="0" y="65"/>
                  </a:moveTo>
                  <a:cubicBezTo>
                    <a:pt x="0" y="0"/>
                    <a:pt x="0" y="0"/>
                    <a:pt x="0" y="0"/>
                  </a:cubicBezTo>
                  <a:cubicBezTo>
                    <a:pt x="2080" y="0"/>
                    <a:pt x="2080" y="0"/>
                    <a:pt x="2080" y="0"/>
                  </a:cubicBezTo>
                  <a:cubicBezTo>
                    <a:pt x="2080" y="65"/>
                    <a:pt x="2080" y="65"/>
                    <a:pt x="2080" y="65"/>
                  </a:cubicBezTo>
                  <a:cubicBezTo>
                    <a:pt x="1089" y="862"/>
                    <a:pt x="1089" y="862"/>
                    <a:pt x="1089" y="862"/>
                  </a:cubicBezTo>
                  <a:cubicBezTo>
                    <a:pt x="1060" y="886"/>
                    <a:pt x="1020" y="886"/>
                    <a:pt x="991" y="862"/>
                  </a:cubicBezTo>
                  <a:lnTo>
                    <a:pt x="0" y="65"/>
                  </a:lnTo>
                  <a:close/>
                  <a:moveTo>
                    <a:pt x="1139" y="924"/>
                  </a:moveTo>
                  <a:cubicBezTo>
                    <a:pt x="1282" y="810"/>
                    <a:pt x="1282" y="810"/>
                    <a:pt x="1282" y="810"/>
                  </a:cubicBezTo>
                  <a:cubicBezTo>
                    <a:pt x="2076" y="1360"/>
                    <a:pt x="2076" y="1360"/>
                    <a:pt x="2076" y="1360"/>
                  </a:cubicBezTo>
                  <a:cubicBezTo>
                    <a:pt x="4" y="1360"/>
                    <a:pt x="4" y="1360"/>
                    <a:pt x="4" y="1360"/>
                  </a:cubicBezTo>
                  <a:cubicBezTo>
                    <a:pt x="798" y="810"/>
                    <a:pt x="798" y="810"/>
                    <a:pt x="798" y="810"/>
                  </a:cubicBezTo>
                  <a:cubicBezTo>
                    <a:pt x="941" y="924"/>
                    <a:pt x="941" y="924"/>
                    <a:pt x="941" y="924"/>
                  </a:cubicBezTo>
                  <a:cubicBezTo>
                    <a:pt x="1000" y="972"/>
                    <a:pt x="1080" y="972"/>
                    <a:pt x="1139" y="924"/>
                  </a:cubicBezTo>
                  <a:close/>
                  <a:moveTo>
                    <a:pt x="2" y="137"/>
                  </a:moveTo>
                  <a:cubicBezTo>
                    <a:pt x="8" y="163"/>
                    <a:pt x="22" y="185"/>
                    <a:pt x="42" y="201"/>
                  </a:cubicBezTo>
                  <a:cubicBezTo>
                    <a:pt x="734" y="758"/>
                    <a:pt x="734" y="758"/>
                    <a:pt x="734" y="758"/>
                  </a:cubicBezTo>
                  <a:cubicBezTo>
                    <a:pt x="0" y="1266"/>
                    <a:pt x="0" y="1266"/>
                    <a:pt x="0" y="1266"/>
                  </a:cubicBezTo>
                  <a:cubicBezTo>
                    <a:pt x="0" y="135"/>
                    <a:pt x="0" y="135"/>
                    <a:pt x="0" y="135"/>
                  </a:cubicBezTo>
                  <a:lnTo>
                    <a:pt x="2" y="137"/>
                  </a:lnTo>
                  <a:close/>
                  <a:moveTo>
                    <a:pt x="2080" y="136"/>
                  </a:moveTo>
                  <a:cubicBezTo>
                    <a:pt x="2080" y="1265"/>
                    <a:pt x="2080" y="1265"/>
                    <a:pt x="2080" y="1265"/>
                  </a:cubicBezTo>
                  <a:cubicBezTo>
                    <a:pt x="1346" y="758"/>
                    <a:pt x="1346" y="758"/>
                    <a:pt x="1346" y="758"/>
                  </a:cubicBezTo>
                  <a:cubicBezTo>
                    <a:pt x="2038" y="201"/>
                    <a:pt x="2038" y="201"/>
                    <a:pt x="2038" y="201"/>
                  </a:cubicBezTo>
                  <a:cubicBezTo>
                    <a:pt x="2060" y="182"/>
                    <a:pt x="2072" y="162"/>
                    <a:pt x="2080" y="13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000"/>
            </a:p>
          </p:txBody>
        </p:sp>
      </p:grpSp>
      <p:cxnSp>
        <p:nvCxnSpPr>
          <p:cNvPr id="20" name="Straight Connector 19"/>
          <p:cNvCxnSpPr/>
          <p:nvPr/>
        </p:nvCxnSpPr>
        <p:spPr>
          <a:xfrm>
            <a:off x="2371725" y="3478213"/>
            <a:ext cx="3888000" cy="0"/>
          </a:xfrm>
          <a:prstGeom prst="line">
            <a:avLst/>
          </a:prstGeom>
          <a:ln w="6350">
            <a:solidFill>
              <a:schemeClr val="tx2"/>
            </a:solidFill>
            <a:prstDash val="dash"/>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p:nvCxnSpPr>
        <p:spPr>
          <a:xfrm>
            <a:off x="7287767" y="3478213"/>
            <a:ext cx="3888000" cy="0"/>
          </a:xfrm>
          <a:prstGeom prst="line">
            <a:avLst/>
          </a:prstGeom>
          <a:ln w="6350">
            <a:solidFill>
              <a:schemeClr val="tx2"/>
            </a:solidFill>
            <a:prstDash val="dash"/>
          </a:ln>
        </p:spPr>
        <p:style>
          <a:lnRef idx="1">
            <a:schemeClr val="accent1"/>
          </a:lnRef>
          <a:fillRef idx="0">
            <a:schemeClr val="accent1"/>
          </a:fillRef>
          <a:effectRef idx="0">
            <a:schemeClr val="accent1"/>
          </a:effectRef>
          <a:fontRef idx="minor">
            <a:schemeClr val="tx1"/>
          </a:fontRef>
        </p:style>
      </p:cxnSp>
      <p:sp>
        <p:nvSpPr>
          <p:cNvPr id="4" name="Picture Placeholder 3"/>
          <p:cNvSpPr>
            <a:spLocks noGrp="1"/>
          </p:cNvSpPr>
          <p:nvPr>
            <p:ph type="pic" sz="quarter" idx="17" hasCustomPrompt="1"/>
          </p:nvPr>
        </p:nvSpPr>
        <p:spPr>
          <a:xfrm>
            <a:off x="2355915" y="1808984"/>
            <a:ext cx="1188677" cy="1547839"/>
          </a:xfrm>
          <a:solidFill>
            <a:srgbClr val="D9DADB"/>
          </a:solidFill>
        </p:spPr>
        <p:txBody>
          <a:bodyPr/>
          <a:lstStyle>
            <a:lvl1pPr marL="0" indent="0">
              <a:buNone/>
              <a:defRPr sz="1400"/>
            </a:lvl1pPr>
          </a:lstStyle>
          <a:p>
            <a:r>
              <a:rPr lang="en-US" dirty="0"/>
              <a:t>Insert picture</a:t>
            </a:r>
          </a:p>
        </p:txBody>
      </p:sp>
      <p:sp>
        <p:nvSpPr>
          <p:cNvPr id="25" name="Picture Placeholder 3"/>
          <p:cNvSpPr>
            <a:spLocks noGrp="1"/>
          </p:cNvSpPr>
          <p:nvPr>
            <p:ph type="pic" sz="quarter" idx="18" hasCustomPrompt="1"/>
          </p:nvPr>
        </p:nvSpPr>
        <p:spPr>
          <a:xfrm>
            <a:off x="7287767" y="1808984"/>
            <a:ext cx="1188677" cy="1547839"/>
          </a:xfrm>
          <a:solidFill>
            <a:srgbClr val="D9DADB"/>
          </a:solidFill>
        </p:spPr>
        <p:txBody>
          <a:bodyPr/>
          <a:lstStyle>
            <a:lvl1pPr marL="0" indent="0">
              <a:buNone/>
              <a:defRPr sz="1400"/>
            </a:lvl1pPr>
          </a:lstStyle>
          <a:p>
            <a:r>
              <a:rPr lang="en-US" dirty="0"/>
              <a:t>Insert picture</a:t>
            </a:r>
          </a:p>
        </p:txBody>
      </p:sp>
      <p:sp>
        <p:nvSpPr>
          <p:cNvPr id="6" name="Text Placeholder 5"/>
          <p:cNvSpPr>
            <a:spLocks noGrp="1"/>
          </p:cNvSpPr>
          <p:nvPr>
            <p:ph type="body" sz="quarter" idx="19" hasCustomPrompt="1"/>
          </p:nvPr>
        </p:nvSpPr>
        <p:spPr>
          <a:xfrm>
            <a:off x="3770066" y="1808521"/>
            <a:ext cx="2463191" cy="192361"/>
          </a:xfrm>
        </p:spPr>
        <p:txBody>
          <a:bodyPr lIns="0" tIns="0" rIns="0" bIns="0" anchor="ctr" anchorCtr="0"/>
          <a:lstStyle>
            <a:lvl1pPr marL="0" indent="0" algn="l">
              <a:lnSpc>
                <a:spcPct val="100000"/>
              </a:lnSpc>
              <a:buNone/>
              <a:defRPr sz="100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Country</a:t>
            </a:r>
          </a:p>
        </p:txBody>
      </p:sp>
      <p:sp>
        <p:nvSpPr>
          <p:cNvPr id="26" name="Text Placeholder 5"/>
          <p:cNvSpPr>
            <a:spLocks noGrp="1"/>
          </p:cNvSpPr>
          <p:nvPr>
            <p:ph type="body" sz="quarter" idx="20" hasCustomPrompt="1"/>
          </p:nvPr>
        </p:nvSpPr>
        <p:spPr>
          <a:xfrm>
            <a:off x="3770066" y="2020337"/>
            <a:ext cx="2463191" cy="266182"/>
          </a:xfrm>
        </p:spPr>
        <p:txBody>
          <a:bodyPr lIns="0" tIns="0" rIns="0" bIns="0" anchor="b" anchorCtr="0"/>
          <a:lstStyle>
            <a:lvl1pPr marL="0" indent="0" algn="l">
              <a:lnSpc>
                <a:spcPct val="100000"/>
              </a:lnSpc>
              <a:buNone/>
              <a:defRPr sz="1400" b="1" baseline="0">
                <a:solidFill>
                  <a:schemeClr val="tx2"/>
                </a:solidFill>
              </a:defRPr>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Name, Surname</a:t>
            </a:r>
          </a:p>
        </p:txBody>
      </p:sp>
      <p:sp>
        <p:nvSpPr>
          <p:cNvPr id="27" name="Text Placeholder 5"/>
          <p:cNvSpPr>
            <a:spLocks noGrp="1"/>
          </p:cNvSpPr>
          <p:nvPr>
            <p:ph type="body" sz="quarter" idx="21" hasCustomPrompt="1"/>
          </p:nvPr>
        </p:nvSpPr>
        <p:spPr>
          <a:xfrm>
            <a:off x="3770066" y="2316912"/>
            <a:ext cx="2463191" cy="192361"/>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Job Position</a:t>
            </a:r>
          </a:p>
        </p:txBody>
      </p:sp>
      <p:sp>
        <p:nvSpPr>
          <p:cNvPr id="28" name="Text Placeholder 5"/>
          <p:cNvSpPr>
            <a:spLocks noGrp="1"/>
          </p:cNvSpPr>
          <p:nvPr>
            <p:ph type="body" sz="quarter" idx="22" hasCustomPrompt="1"/>
          </p:nvPr>
        </p:nvSpPr>
        <p:spPr>
          <a:xfrm>
            <a:off x="4014949" y="2845589"/>
            <a:ext cx="2218307" cy="192361"/>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Phone number</a:t>
            </a:r>
          </a:p>
        </p:txBody>
      </p:sp>
      <p:sp>
        <p:nvSpPr>
          <p:cNvPr id="29" name="Text Placeholder 5"/>
          <p:cNvSpPr>
            <a:spLocks noGrp="1"/>
          </p:cNvSpPr>
          <p:nvPr>
            <p:ph type="body" sz="quarter" idx="23" hasCustomPrompt="1"/>
          </p:nvPr>
        </p:nvSpPr>
        <p:spPr>
          <a:xfrm>
            <a:off x="4014949" y="3128395"/>
            <a:ext cx="2218307" cy="192361"/>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Email address</a:t>
            </a:r>
          </a:p>
        </p:txBody>
      </p:sp>
      <p:sp>
        <p:nvSpPr>
          <p:cNvPr id="30" name="Text Placeholder 5"/>
          <p:cNvSpPr>
            <a:spLocks noGrp="1"/>
          </p:cNvSpPr>
          <p:nvPr>
            <p:ph type="body" sz="quarter" idx="24" hasCustomPrompt="1"/>
          </p:nvPr>
        </p:nvSpPr>
        <p:spPr>
          <a:xfrm>
            <a:off x="8701918" y="1808521"/>
            <a:ext cx="2463191" cy="192361"/>
          </a:xfrm>
        </p:spPr>
        <p:txBody>
          <a:bodyPr lIns="0" tIns="0" rIns="0" bIns="0" anchor="ctr" anchorCtr="0"/>
          <a:lstStyle>
            <a:lvl1pPr marL="0" indent="0" algn="l">
              <a:lnSpc>
                <a:spcPct val="100000"/>
              </a:lnSpc>
              <a:buNone/>
              <a:defRPr sz="100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Country</a:t>
            </a:r>
          </a:p>
        </p:txBody>
      </p:sp>
      <p:sp>
        <p:nvSpPr>
          <p:cNvPr id="31" name="Text Placeholder 5"/>
          <p:cNvSpPr>
            <a:spLocks noGrp="1"/>
          </p:cNvSpPr>
          <p:nvPr>
            <p:ph type="body" sz="quarter" idx="25" hasCustomPrompt="1"/>
          </p:nvPr>
        </p:nvSpPr>
        <p:spPr>
          <a:xfrm>
            <a:off x="8701918" y="2020337"/>
            <a:ext cx="2463191" cy="266182"/>
          </a:xfrm>
        </p:spPr>
        <p:txBody>
          <a:bodyPr lIns="0" tIns="0" rIns="0" bIns="0" anchor="b" anchorCtr="0"/>
          <a:lstStyle>
            <a:lvl1pPr marL="0" indent="0" algn="l">
              <a:lnSpc>
                <a:spcPct val="100000"/>
              </a:lnSpc>
              <a:buNone/>
              <a:defRPr sz="1400" b="1" baseline="0">
                <a:solidFill>
                  <a:schemeClr val="tx2"/>
                </a:solidFill>
              </a:defRPr>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Name, Surname</a:t>
            </a:r>
          </a:p>
        </p:txBody>
      </p:sp>
      <p:sp>
        <p:nvSpPr>
          <p:cNvPr id="32" name="Text Placeholder 5"/>
          <p:cNvSpPr>
            <a:spLocks noGrp="1"/>
          </p:cNvSpPr>
          <p:nvPr>
            <p:ph type="body" sz="quarter" idx="26" hasCustomPrompt="1"/>
          </p:nvPr>
        </p:nvSpPr>
        <p:spPr>
          <a:xfrm>
            <a:off x="8701918" y="2316912"/>
            <a:ext cx="2463191" cy="192361"/>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Job Position</a:t>
            </a:r>
          </a:p>
        </p:txBody>
      </p:sp>
      <p:sp>
        <p:nvSpPr>
          <p:cNvPr id="33" name="Text Placeholder 5"/>
          <p:cNvSpPr>
            <a:spLocks noGrp="1"/>
          </p:cNvSpPr>
          <p:nvPr>
            <p:ph type="body" sz="quarter" idx="27" hasCustomPrompt="1"/>
          </p:nvPr>
        </p:nvSpPr>
        <p:spPr>
          <a:xfrm>
            <a:off x="8946801" y="2845589"/>
            <a:ext cx="2218307" cy="192361"/>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Phone number</a:t>
            </a:r>
          </a:p>
        </p:txBody>
      </p:sp>
      <p:sp>
        <p:nvSpPr>
          <p:cNvPr id="34" name="Text Placeholder 5"/>
          <p:cNvSpPr>
            <a:spLocks noGrp="1"/>
          </p:cNvSpPr>
          <p:nvPr>
            <p:ph type="body" sz="quarter" idx="28" hasCustomPrompt="1"/>
          </p:nvPr>
        </p:nvSpPr>
        <p:spPr>
          <a:xfrm>
            <a:off x="8946801" y="3128395"/>
            <a:ext cx="2218307" cy="192361"/>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Email address</a:t>
            </a:r>
          </a:p>
        </p:txBody>
      </p:sp>
    </p:spTree>
    <p:extLst>
      <p:ext uri="{BB962C8B-B14F-4D97-AF65-F5344CB8AC3E}">
        <p14:creationId xmlns:p14="http://schemas.microsoft.com/office/powerpoint/2010/main" val="250358218"/>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p:cSld name="Three contacts">
    <p:spTree>
      <p:nvGrpSpPr>
        <p:cNvPr id="1" name=""/>
        <p:cNvGrpSpPr/>
        <p:nvPr/>
      </p:nvGrpSpPr>
      <p:grpSpPr>
        <a:xfrm>
          <a:off x="0" y="0"/>
          <a:ext cx="0" cy="0"/>
          <a:chOff x="0" y="0"/>
          <a:chExt cx="0" cy="0"/>
        </a:xfrm>
      </p:grpSpPr>
      <p:sp>
        <p:nvSpPr>
          <p:cNvPr id="21" name="Date Placeholder 20"/>
          <p:cNvSpPr>
            <a:spLocks noGrp="1"/>
          </p:cNvSpPr>
          <p:nvPr>
            <p:ph type="dt" sz="half" idx="14"/>
          </p:nvPr>
        </p:nvSpPr>
        <p:spPr/>
        <p:txBody>
          <a:bodyPr/>
          <a:lstStyle/>
          <a:p>
            <a:fld id="{6580B400-49DF-489E-B82C-8D138BFCC234}" type="datetime5">
              <a:rPr lang="en-US" smtClean="0"/>
              <a:t>26-Jun-20</a:t>
            </a:fld>
            <a:endParaRPr lang="en-US"/>
          </a:p>
        </p:txBody>
      </p:sp>
      <p:sp>
        <p:nvSpPr>
          <p:cNvPr id="22" name="Footer Placeholder 21"/>
          <p:cNvSpPr>
            <a:spLocks noGrp="1"/>
          </p:cNvSpPr>
          <p:nvPr>
            <p:ph type="ftr" sz="quarter" idx="15"/>
          </p:nvPr>
        </p:nvSpPr>
        <p:spPr/>
        <p:txBody>
          <a:bodyPr/>
          <a:lstStyle/>
          <a:p>
            <a:r>
              <a:rPr lang="en-US"/>
              <a:t>Title of presentation (Insert / Header &amp; Footer / Apply to All)</a:t>
            </a:r>
            <a:endParaRPr lang="en-US" dirty="0"/>
          </a:p>
        </p:txBody>
      </p:sp>
      <p:sp>
        <p:nvSpPr>
          <p:cNvPr id="23" name="Slide Number Placeholder 22"/>
          <p:cNvSpPr>
            <a:spLocks noGrp="1"/>
          </p:cNvSpPr>
          <p:nvPr>
            <p:ph type="sldNum" sz="quarter" idx="16"/>
          </p:nvPr>
        </p:nvSpPr>
        <p:spPr/>
        <p:txBody>
          <a:bodyPr/>
          <a:lstStyle/>
          <a:p>
            <a:fld id="{5F3E29E4-0979-4FCA-B4C5-5FC6044C982A}" type="slidenum">
              <a:rPr lang="en-US" smtClean="0"/>
              <a:t>‹#›</a:t>
            </a:fld>
            <a:endParaRPr lang="en-US"/>
          </a:p>
        </p:txBody>
      </p:sp>
      <p:sp>
        <p:nvSpPr>
          <p:cNvPr id="2" name="Title 1"/>
          <p:cNvSpPr>
            <a:spLocks noGrp="1"/>
          </p:cNvSpPr>
          <p:nvPr>
            <p:ph type="title" hasCustomPrompt="1"/>
          </p:nvPr>
        </p:nvSpPr>
        <p:spPr/>
        <p:txBody>
          <a:bodyPr/>
          <a:lstStyle>
            <a:lvl1pPr>
              <a:defRPr/>
            </a:lvl1pPr>
          </a:lstStyle>
          <a:p>
            <a:r>
              <a:rPr lang="en-US" dirty="0"/>
              <a:t>Click to add contact title</a:t>
            </a:r>
          </a:p>
        </p:txBody>
      </p:sp>
      <p:sp>
        <p:nvSpPr>
          <p:cNvPr id="7" name="Subtitle 2"/>
          <p:cNvSpPr>
            <a:spLocks noGrp="1"/>
          </p:cNvSpPr>
          <p:nvPr>
            <p:ph type="subTitle" idx="13" hasCustomPrompt="1"/>
          </p:nvPr>
        </p:nvSpPr>
        <p:spPr>
          <a:xfrm>
            <a:off x="1075062" y="964672"/>
            <a:ext cx="7910159" cy="490042"/>
          </a:xfrm>
        </p:spPr>
        <p:txBody>
          <a:bodyPr wrap="none"/>
          <a:lstStyle>
            <a:lvl1pPr marL="0" indent="0" algn="l">
              <a:spcBef>
                <a:spcPts val="0"/>
              </a:spcBef>
              <a:buNone/>
              <a:defRPr sz="2399"/>
            </a:lvl1pPr>
            <a:lvl2pPr marL="457051" indent="0" algn="ctr">
              <a:buNone/>
              <a:defRPr sz="1999"/>
            </a:lvl2pPr>
            <a:lvl3pPr marL="914103" indent="0" algn="ctr">
              <a:buNone/>
              <a:defRPr sz="1799"/>
            </a:lvl3pPr>
            <a:lvl4pPr marL="1371154" indent="0" algn="ctr">
              <a:buNone/>
              <a:defRPr sz="1599"/>
            </a:lvl4pPr>
            <a:lvl5pPr marL="1828206" indent="0" algn="ctr">
              <a:buNone/>
              <a:defRPr sz="1599"/>
            </a:lvl5pPr>
            <a:lvl6pPr marL="2285257" indent="0" algn="ctr">
              <a:buNone/>
              <a:defRPr sz="1599"/>
            </a:lvl6pPr>
            <a:lvl7pPr marL="2742308" indent="0" algn="ctr">
              <a:buNone/>
              <a:defRPr sz="1599"/>
            </a:lvl7pPr>
            <a:lvl8pPr marL="3199360" indent="0" algn="ctr">
              <a:buNone/>
              <a:defRPr sz="1599"/>
            </a:lvl8pPr>
            <a:lvl9pPr marL="3656411" indent="0" algn="ctr">
              <a:buNone/>
              <a:defRPr sz="1599"/>
            </a:lvl9pPr>
          </a:lstStyle>
          <a:p>
            <a:r>
              <a:rPr lang="en-US" dirty="0"/>
              <a:t>Click to add subtitle</a:t>
            </a:r>
          </a:p>
        </p:txBody>
      </p:sp>
      <p:grpSp>
        <p:nvGrpSpPr>
          <p:cNvPr id="8" name="Gruppieren 80">
            <a:extLst>
              <a:ext uri="{FF2B5EF4-FFF2-40B4-BE49-F238E27FC236}">
                <a16:creationId xmlns:a16="http://schemas.microsoft.com/office/drawing/2014/main" id="{6B969E7B-9C39-4443-9B02-74C1E7C5CCAC}"/>
              </a:ext>
            </a:extLst>
          </p:cNvPr>
          <p:cNvGrpSpPr/>
          <p:nvPr/>
        </p:nvGrpSpPr>
        <p:grpSpPr>
          <a:xfrm>
            <a:off x="3770066" y="2868319"/>
            <a:ext cx="171180" cy="171180"/>
            <a:chOff x="3392092" y="1841122"/>
            <a:chExt cx="646508" cy="646508"/>
          </a:xfrm>
        </p:grpSpPr>
        <p:sp>
          <p:nvSpPr>
            <p:cNvPr id="9" name="Rechteck 14">
              <a:extLst>
                <a:ext uri="{FF2B5EF4-FFF2-40B4-BE49-F238E27FC236}">
                  <a16:creationId xmlns:a16="http://schemas.microsoft.com/office/drawing/2014/main" id="{D78F58EA-5525-8D43-8295-FEA52ECF6BFA}"/>
                </a:ext>
              </a:extLst>
            </p:cNvPr>
            <p:cNvSpPr>
              <a:spLocks noChangeAspect="1"/>
            </p:cNvSpPr>
            <p:nvPr/>
          </p:nvSpPr>
          <p:spPr bwMode="gray">
            <a:xfrm>
              <a:off x="3392092" y="1841122"/>
              <a:ext cx="646508" cy="646508"/>
            </a:xfrm>
            <a:prstGeom prst="rect">
              <a:avLst/>
            </a:prstGeom>
            <a:solidFill>
              <a:srgbClr val="E55A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pPr>
              <a:endParaRPr lang="en-US" sz="1000" dirty="0">
                <a:solidFill>
                  <a:schemeClr val="tx1"/>
                </a:solidFill>
                <a:latin typeface="Arial" pitchFamily="34" charset="0"/>
                <a:cs typeface="Arial" pitchFamily="34" charset="0"/>
              </a:endParaRPr>
            </a:p>
          </p:txBody>
        </p:sp>
        <p:sp>
          <p:nvSpPr>
            <p:cNvPr id="10" name="Freeform 67">
              <a:extLst>
                <a:ext uri="{FF2B5EF4-FFF2-40B4-BE49-F238E27FC236}">
                  <a16:creationId xmlns:a16="http://schemas.microsoft.com/office/drawing/2014/main" id="{D01A6292-2776-4945-B828-483D79DC4908}"/>
                </a:ext>
              </a:extLst>
            </p:cNvPr>
            <p:cNvSpPr>
              <a:spLocks noChangeAspect="1"/>
            </p:cNvSpPr>
            <p:nvPr/>
          </p:nvSpPr>
          <p:spPr bwMode="auto">
            <a:xfrm>
              <a:off x="3546638" y="1970424"/>
              <a:ext cx="337415" cy="387905"/>
            </a:xfrm>
            <a:custGeom>
              <a:avLst/>
              <a:gdLst>
                <a:gd name="T0" fmla="*/ 573 w 1624"/>
                <a:gd name="T1" fmla="*/ 1257 h 1867"/>
                <a:gd name="T2" fmla="*/ 662 w 1624"/>
                <a:gd name="T3" fmla="*/ 1288 h 1867"/>
                <a:gd name="T4" fmla="*/ 938 w 1624"/>
                <a:gd name="T5" fmla="*/ 1051 h 1867"/>
                <a:gd name="T6" fmla="*/ 1106 w 1624"/>
                <a:gd name="T7" fmla="*/ 731 h 1867"/>
                <a:gd name="T8" fmla="*/ 1059 w 1624"/>
                <a:gd name="T9" fmla="*/ 645 h 1867"/>
                <a:gd name="T10" fmla="*/ 1001 w 1624"/>
                <a:gd name="T11" fmla="*/ 613 h 1867"/>
                <a:gd name="T12" fmla="*/ 924 w 1624"/>
                <a:gd name="T13" fmla="*/ 432 h 1867"/>
                <a:gd name="T14" fmla="*/ 1114 w 1624"/>
                <a:gd name="T15" fmla="*/ 81 h 1867"/>
                <a:gd name="T16" fmla="*/ 1287 w 1624"/>
                <a:gd name="T17" fmla="*/ 35 h 1867"/>
                <a:gd name="T18" fmla="*/ 1350 w 1624"/>
                <a:gd name="T19" fmla="*/ 69 h 1867"/>
                <a:gd name="T20" fmla="*/ 1527 w 1624"/>
                <a:gd name="T21" fmla="*/ 235 h 1867"/>
                <a:gd name="T22" fmla="*/ 1583 w 1624"/>
                <a:gd name="T23" fmla="*/ 555 h 1867"/>
                <a:gd name="T24" fmla="*/ 1172 w 1624"/>
                <a:gd name="T25" fmla="*/ 1253 h 1867"/>
                <a:gd name="T26" fmla="*/ 586 w 1624"/>
                <a:gd name="T27" fmla="*/ 1803 h 1867"/>
                <a:gd name="T28" fmla="*/ 269 w 1624"/>
                <a:gd name="T29" fmla="*/ 1807 h 1867"/>
                <a:gd name="T30" fmla="*/ 33 w 1624"/>
                <a:gd name="T31" fmla="*/ 1602 h 1867"/>
                <a:gd name="T32" fmla="*/ 2 w 1624"/>
                <a:gd name="T33" fmla="*/ 1508 h 1867"/>
                <a:gd name="T34" fmla="*/ 45 w 1624"/>
                <a:gd name="T35" fmla="*/ 1421 h 1867"/>
                <a:gd name="T36" fmla="*/ 346 w 1624"/>
                <a:gd name="T37" fmla="*/ 1158 h 1867"/>
                <a:gd name="T38" fmla="*/ 448 w 1624"/>
                <a:gd name="T39" fmla="*/ 1145 h 1867"/>
                <a:gd name="T40" fmla="*/ 573 w 1624"/>
                <a:gd name="T41" fmla="*/ 1257 h 18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24" h="1867">
                  <a:moveTo>
                    <a:pt x="573" y="1257"/>
                  </a:moveTo>
                  <a:cubicBezTo>
                    <a:pt x="592" y="1282"/>
                    <a:pt x="630" y="1303"/>
                    <a:pt x="662" y="1288"/>
                  </a:cubicBezTo>
                  <a:cubicBezTo>
                    <a:pt x="753" y="1245"/>
                    <a:pt x="854" y="1156"/>
                    <a:pt x="938" y="1051"/>
                  </a:cubicBezTo>
                  <a:cubicBezTo>
                    <a:pt x="1020" y="948"/>
                    <a:pt x="1084" y="831"/>
                    <a:pt x="1106" y="731"/>
                  </a:cubicBezTo>
                  <a:cubicBezTo>
                    <a:pt x="1113" y="696"/>
                    <a:pt x="1089" y="661"/>
                    <a:pt x="1059" y="645"/>
                  </a:cubicBezTo>
                  <a:cubicBezTo>
                    <a:pt x="1001" y="613"/>
                    <a:pt x="1001" y="613"/>
                    <a:pt x="1001" y="613"/>
                  </a:cubicBezTo>
                  <a:cubicBezTo>
                    <a:pt x="942" y="580"/>
                    <a:pt x="888" y="499"/>
                    <a:pt x="924" y="432"/>
                  </a:cubicBezTo>
                  <a:cubicBezTo>
                    <a:pt x="1114" y="81"/>
                    <a:pt x="1114" y="81"/>
                    <a:pt x="1114" y="81"/>
                  </a:cubicBezTo>
                  <a:cubicBezTo>
                    <a:pt x="1150" y="16"/>
                    <a:pt x="1224" y="0"/>
                    <a:pt x="1287" y="35"/>
                  </a:cubicBezTo>
                  <a:cubicBezTo>
                    <a:pt x="1350" y="69"/>
                    <a:pt x="1350" y="69"/>
                    <a:pt x="1350" y="69"/>
                  </a:cubicBezTo>
                  <a:cubicBezTo>
                    <a:pt x="1415" y="105"/>
                    <a:pt x="1479" y="165"/>
                    <a:pt x="1527" y="235"/>
                  </a:cubicBezTo>
                  <a:cubicBezTo>
                    <a:pt x="1593" y="332"/>
                    <a:pt x="1624" y="442"/>
                    <a:pt x="1583" y="555"/>
                  </a:cubicBezTo>
                  <a:cubicBezTo>
                    <a:pt x="1500" y="781"/>
                    <a:pt x="1351" y="1030"/>
                    <a:pt x="1172" y="1253"/>
                  </a:cubicBezTo>
                  <a:cubicBezTo>
                    <a:pt x="994" y="1477"/>
                    <a:pt x="786" y="1676"/>
                    <a:pt x="586" y="1803"/>
                  </a:cubicBezTo>
                  <a:cubicBezTo>
                    <a:pt x="486" y="1867"/>
                    <a:pt x="375" y="1856"/>
                    <a:pt x="269" y="1807"/>
                  </a:cubicBezTo>
                  <a:cubicBezTo>
                    <a:pt x="157" y="1755"/>
                    <a:pt x="106" y="1695"/>
                    <a:pt x="33" y="1602"/>
                  </a:cubicBezTo>
                  <a:cubicBezTo>
                    <a:pt x="11" y="1573"/>
                    <a:pt x="0" y="1540"/>
                    <a:pt x="2" y="1508"/>
                  </a:cubicBezTo>
                  <a:cubicBezTo>
                    <a:pt x="4" y="1475"/>
                    <a:pt x="18" y="1444"/>
                    <a:pt x="45" y="1421"/>
                  </a:cubicBezTo>
                  <a:cubicBezTo>
                    <a:pt x="70" y="1399"/>
                    <a:pt x="346" y="1158"/>
                    <a:pt x="346" y="1158"/>
                  </a:cubicBezTo>
                  <a:cubicBezTo>
                    <a:pt x="376" y="1134"/>
                    <a:pt x="413" y="1133"/>
                    <a:pt x="448" y="1145"/>
                  </a:cubicBezTo>
                  <a:cubicBezTo>
                    <a:pt x="510" y="1166"/>
                    <a:pt x="536" y="1210"/>
                    <a:pt x="573" y="1257"/>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350" dirty="0"/>
            </a:p>
          </p:txBody>
        </p:sp>
      </p:grpSp>
      <p:grpSp>
        <p:nvGrpSpPr>
          <p:cNvPr id="11" name="Group 3">
            <a:extLst>
              <a:ext uri="{FF2B5EF4-FFF2-40B4-BE49-F238E27FC236}">
                <a16:creationId xmlns:a16="http://schemas.microsoft.com/office/drawing/2014/main" id="{DED6A25A-5DE2-1441-8BA2-C68D3B4F9209}"/>
              </a:ext>
            </a:extLst>
          </p:cNvPr>
          <p:cNvGrpSpPr>
            <a:grpSpLocks noChangeAspect="1"/>
          </p:cNvGrpSpPr>
          <p:nvPr>
            <p:custDataLst>
              <p:tags r:id="rId1"/>
            </p:custDataLst>
          </p:nvPr>
        </p:nvGrpSpPr>
        <p:grpSpPr>
          <a:xfrm>
            <a:off x="3770067" y="3153207"/>
            <a:ext cx="171180" cy="171180"/>
            <a:chOff x="328396" y="5313940"/>
            <a:chExt cx="720000" cy="720000"/>
          </a:xfrm>
        </p:grpSpPr>
        <p:sp>
          <p:nvSpPr>
            <p:cNvPr id="12" name="Rectangle 4">
              <a:extLst>
                <a:ext uri="{FF2B5EF4-FFF2-40B4-BE49-F238E27FC236}">
                  <a16:creationId xmlns:a16="http://schemas.microsoft.com/office/drawing/2014/main" id="{5F49E67F-D4FA-9D48-96BC-59AE946ECD15}"/>
                </a:ext>
              </a:extLst>
            </p:cNvPr>
            <p:cNvSpPr/>
            <p:nvPr/>
          </p:nvSpPr>
          <p:spPr bwMode="gray">
            <a:xfrm>
              <a:off x="328396" y="5313940"/>
              <a:ext cx="720000" cy="720000"/>
            </a:xfrm>
            <a:prstGeom prst="rect">
              <a:avLst/>
            </a:prstGeom>
            <a:solidFill>
              <a:srgbClr val="E55A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pPr>
              <a:endParaRPr lang="en-US" sz="1000" dirty="0">
                <a:solidFill>
                  <a:schemeClr val="tx1"/>
                </a:solidFill>
                <a:latin typeface="Arial" pitchFamily="34" charset="0"/>
                <a:cs typeface="Arial" pitchFamily="34" charset="0"/>
              </a:endParaRPr>
            </a:p>
          </p:txBody>
        </p:sp>
        <p:sp>
          <p:nvSpPr>
            <p:cNvPr id="13" name="Freeform 76">
              <a:extLst>
                <a:ext uri="{FF2B5EF4-FFF2-40B4-BE49-F238E27FC236}">
                  <a16:creationId xmlns:a16="http://schemas.microsoft.com/office/drawing/2014/main" id="{187E70E6-AF3F-2549-908E-DF4BA61040AA}"/>
                </a:ext>
              </a:extLst>
            </p:cNvPr>
            <p:cNvSpPr>
              <a:spLocks noChangeAspect="1" noEditPoints="1"/>
            </p:cNvSpPr>
            <p:nvPr/>
          </p:nvSpPr>
          <p:spPr bwMode="auto">
            <a:xfrm>
              <a:off x="456202" y="5509222"/>
              <a:ext cx="504000" cy="329436"/>
            </a:xfrm>
            <a:custGeom>
              <a:avLst/>
              <a:gdLst>
                <a:gd name="T0" fmla="*/ 0 w 2080"/>
                <a:gd name="T1" fmla="*/ 65 h 1360"/>
                <a:gd name="T2" fmla="*/ 0 w 2080"/>
                <a:gd name="T3" fmla="*/ 0 h 1360"/>
                <a:gd name="T4" fmla="*/ 2080 w 2080"/>
                <a:gd name="T5" fmla="*/ 0 h 1360"/>
                <a:gd name="T6" fmla="*/ 2080 w 2080"/>
                <a:gd name="T7" fmla="*/ 65 h 1360"/>
                <a:gd name="T8" fmla="*/ 1089 w 2080"/>
                <a:gd name="T9" fmla="*/ 862 h 1360"/>
                <a:gd name="T10" fmla="*/ 991 w 2080"/>
                <a:gd name="T11" fmla="*/ 862 h 1360"/>
                <a:gd name="T12" fmla="*/ 0 w 2080"/>
                <a:gd name="T13" fmla="*/ 65 h 1360"/>
                <a:gd name="T14" fmla="*/ 1139 w 2080"/>
                <a:gd name="T15" fmla="*/ 924 h 1360"/>
                <a:gd name="T16" fmla="*/ 1282 w 2080"/>
                <a:gd name="T17" fmla="*/ 810 h 1360"/>
                <a:gd name="T18" fmla="*/ 2076 w 2080"/>
                <a:gd name="T19" fmla="*/ 1360 h 1360"/>
                <a:gd name="T20" fmla="*/ 4 w 2080"/>
                <a:gd name="T21" fmla="*/ 1360 h 1360"/>
                <a:gd name="T22" fmla="*/ 798 w 2080"/>
                <a:gd name="T23" fmla="*/ 810 h 1360"/>
                <a:gd name="T24" fmla="*/ 941 w 2080"/>
                <a:gd name="T25" fmla="*/ 924 h 1360"/>
                <a:gd name="T26" fmla="*/ 1139 w 2080"/>
                <a:gd name="T27" fmla="*/ 924 h 1360"/>
                <a:gd name="T28" fmla="*/ 2 w 2080"/>
                <a:gd name="T29" fmla="*/ 137 h 1360"/>
                <a:gd name="T30" fmla="*/ 42 w 2080"/>
                <a:gd name="T31" fmla="*/ 201 h 1360"/>
                <a:gd name="T32" fmla="*/ 734 w 2080"/>
                <a:gd name="T33" fmla="*/ 758 h 1360"/>
                <a:gd name="T34" fmla="*/ 0 w 2080"/>
                <a:gd name="T35" fmla="*/ 1266 h 1360"/>
                <a:gd name="T36" fmla="*/ 0 w 2080"/>
                <a:gd name="T37" fmla="*/ 135 h 1360"/>
                <a:gd name="T38" fmla="*/ 2 w 2080"/>
                <a:gd name="T39" fmla="*/ 137 h 1360"/>
                <a:gd name="T40" fmla="*/ 2080 w 2080"/>
                <a:gd name="T41" fmla="*/ 136 h 1360"/>
                <a:gd name="T42" fmla="*/ 2080 w 2080"/>
                <a:gd name="T43" fmla="*/ 1265 h 1360"/>
                <a:gd name="T44" fmla="*/ 1346 w 2080"/>
                <a:gd name="T45" fmla="*/ 758 h 1360"/>
                <a:gd name="T46" fmla="*/ 2038 w 2080"/>
                <a:gd name="T47" fmla="*/ 201 h 1360"/>
                <a:gd name="T48" fmla="*/ 2080 w 2080"/>
                <a:gd name="T49" fmla="*/ 136 h 1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080" h="1360">
                  <a:moveTo>
                    <a:pt x="0" y="65"/>
                  </a:moveTo>
                  <a:cubicBezTo>
                    <a:pt x="0" y="0"/>
                    <a:pt x="0" y="0"/>
                    <a:pt x="0" y="0"/>
                  </a:cubicBezTo>
                  <a:cubicBezTo>
                    <a:pt x="2080" y="0"/>
                    <a:pt x="2080" y="0"/>
                    <a:pt x="2080" y="0"/>
                  </a:cubicBezTo>
                  <a:cubicBezTo>
                    <a:pt x="2080" y="65"/>
                    <a:pt x="2080" y="65"/>
                    <a:pt x="2080" y="65"/>
                  </a:cubicBezTo>
                  <a:cubicBezTo>
                    <a:pt x="1089" y="862"/>
                    <a:pt x="1089" y="862"/>
                    <a:pt x="1089" y="862"/>
                  </a:cubicBezTo>
                  <a:cubicBezTo>
                    <a:pt x="1060" y="886"/>
                    <a:pt x="1020" y="886"/>
                    <a:pt x="991" y="862"/>
                  </a:cubicBezTo>
                  <a:lnTo>
                    <a:pt x="0" y="65"/>
                  </a:lnTo>
                  <a:close/>
                  <a:moveTo>
                    <a:pt x="1139" y="924"/>
                  </a:moveTo>
                  <a:cubicBezTo>
                    <a:pt x="1282" y="810"/>
                    <a:pt x="1282" y="810"/>
                    <a:pt x="1282" y="810"/>
                  </a:cubicBezTo>
                  <a:cubicBezTo>
                    <a:pt x="2076" y="1360"/>
                    <a:pt x="2076" y="1360"/>
                    <a:pt x="2076" y="1360"/>
                  </a:cubicBezTo>
                  <a:cubicBezTo>
                    <a:pt x="4" y="1360"/>
                    <a:pt x="4" y="1360"/>
                    <a:pt x="4" y="1360"/>
                  </a:cubicBezTo>
                  <a:cubicBezTo>
                    <a:pt x="798" y="810"/>
                    <a:pt x="798" y="810"/>
                    <a:pt x="798" y="810"/>
                  </a:cubicBezTo>
                  <a:cubicBezTo>
                    <a:pt x="941" y="924"/>
                    <a:pt x="941" y="924"/>
                    <a:pt x="941" y="924"/>
                  </a:cubicBezTo>
                  <a:cubicBezTo>
                    <a:pt x="1000" y="972"/>
                    <a:pt x="1080" y="972"/>
                    <a:pt x="1139" y="924"/>
                  </a:cubicBezTo>
                  <a:close/>
                  <a:moveTo>
                    <a:pt x="2" y="137"/>
                  </a:moveTo>
                  <a:cubicBezTo>
                    <a:pt x="8" y="163"/>
                    <a:pt x="22" y="185"/>
                    <a:pt x="42" y="201"/>
                  </a:cubicBezTo>
                  <a:cubicBezTo>
                    <a:pt x="734" y="758"/>
                    <a:pt x="734" y="758"/>
                    <a:pt x="734" y="758"/>
                  </a:cubicBezTo>
                  <a:cubicBezTo>
                    <a:pt x="0" y="1266"/>
                    <a:pt x="0" y="1266"/>
                    <a:pt x="0" y="1266"/>
                  </a:cubicBezTo>
                  <a:cubicBezTo>
                    <a:pt x="0" y="135"/>
                    <a:pt x="0" y="135"/>
                    <a:pt x="0" y="135"/>
                  </a:cubicBezTo>
                  <a:lnTo>
                    <a:pt x="2" y="137"/>
                  </a:lnTo>
                  <a:close/>
                  <a:moveTo>
                    <a:pt x="2080" y="136"/>
                  </a:moveTo>
                  <a:cubicBezTo>
                    <a:pt x="2080" y="1265"/>
                    <a:pt x="2080" y="1265"/>
                    <a:pt x="2080" y="1265"/>
                  </a:cubicBezTo>
                  <a:cubicBezTo>
                    <a:pt x="1346" y="758"/>
                    <a:pt x="1346" y="758"/>
                    <a:pt x="1346" y="758"/>
                  </a:cubicBezTo>
                  <a:cubicBezTo>
                    <a:pt x="2038" y="201"/>
                    <a:pt x="2038" y="201"/>
                    <a:pt x="2038" y="201"/>
                  </a:cubicBezTo>
                  <a:cubicBezTo>
                    <a:pt x="2060" y="182"/>
                    <a:pt x="2072" y="162"/>
                    <a:pt x="2080" y="13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000"/>
            </a:p>
          </p:txBody>
        </p:sp>
      </p:grpSp>
      <p:grpSp>
        <p:nvGrpSpPr>
          <p:cNvPr id="14" name="Gruppieren 2">
            <a:extLst>
              <a:ext uri="{FF2B5EF4-FFF2-40B4-BE49-F238E27FC236}">
                <a16:creationId xmlns:a16="http://schemas.microsoft.com/office/drawing/2014/main" id="{BE697CE9-EBDE-6B4A-BE70-582D92A8A831}"/>
              </a:ext>
            </a:extLst>
          </p:cNvPr>
          <p:cNvGrpSpPr/>
          <p:nvPr/>
        </p:nvGrpSpPr>
        <p:grpSpPr>
          <a:xfrm>
            <a:off x="8701918" y="2868319"/>
            <a:ext cx="171180" cy="171180"/>
            <a:chOff x="3392092" y="1841122"/>
            <a:chExt cx="646508" cy="646508"/>
          </a:xfrm>
        </p:grpSpPr>
        <p:sp>
          <p:nvSpPr>
            <p:cNvPr id="15" name="Rechteck 14">
              <a:extLst>
                <a:ext uri="{FF2B5EF4-FFF2-40B4-BE49-F238E27FC236}">
                  <a16:creationId xmlns:a16="http://schemas.microsoft.com/office/drawing/2014/main" id="{E142A731-19B7-C34D-9534-9E05108F895F}"/>
                </a:ext>
              </a:extLst>
            </p:cNvPr>
            <p:cNvSpPr>
              <a:spLocks noChangeAspect="1"/>
            </p:cNvSpPr>
            <p:nvPr/>
          </p:nvSpPr>
          <p:spPr bwMode="gray">
            <a:xfrm>
              <a:off x="3392092" y="1841122"/>
              <a:ext cx="646508" cy="646508"/>
            </a:xfrm>
            <a:prstGeom prst="rect">
              <a:avLst/>
            </a:prstGeom>
            <a:solidFill>
              <a:srgbClr val="E55A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pPr>
              <a:endParaRPr lang="en-US" sz="1000" dirty="0">
                <a:solidFill>
                  <a:schemeClr val="tx1"/>
                </a:solidFill>
                <a:latin typeface="Arial" pitchFamily="34" charset="0"/>
                <a:cs typeface="Arial" pitchFamily="34" charset="0"/>
              </a:endParaRPr>
            </a:p>
          </p:txBody>
        </p:sp>
        <p:sp>
          <p:nvSpPr>
            <p:cNvPr id="16" name="Freeform 15">
              <a:extLst>
                <a:ext uri="{FF2B5EF4-FFF2-40B4-BE49-F238E27FC236}">
                  <a16:creationId xmlns:a16="http://schemas.microsoft.com/office/drawing/2014/main" id="{F97E84AE-4AD9-4B44-9AA1-F797FC373809}"/>
                </a:ext>
              </a:extLst>
            </p:cNvPr>
            <p:cNvSpPr>
              <a:spLocks noChangeAspect="1"/>
            </p:cNvSpPr>
            <p:nvPr/>
          </p:nvSpPr>
          <p:spPr bwMode="auto">
            <a:xfrm>
              <a:off x="3546638" y="1970424"/>
              <a:ext cx="337415" cy="387905"/>
            </a:xfrm>
            <a:custGeom>
              <a:avLst/>
              <a:gdLst>
                <a:gd name="T0" fmla="*/ 573 w 1624"/>
                <a:gd name="T1" fmla="*/ 1257 h 1867"/>
                <a:gd name="T2" fmla="*/ 662 w 1624"/>
                <a:gd name="T3" fmla="*/ 1288 h 1867"/>
                <a:gd name="T4" fmla="*/ 938 w 1624"/>
                <a:gd name="T5" fmla="*/ 1051 h 1867"/>
                <a:gd name="T6" fmla="*/ 1106 w 1624"/>
                <a:gd name="T7" fmla="*/ 731 h 1867"/>
                <a:gd name="T8" fmla="*/ 1059 w 1624"/>
                <a:gd name="T9" fmla="*/ 645 h 1867"/>
                <a:gd name="T10" fmla="*/ 1001 w 1624"/>
                <a:gd name="T11" fmla="*/ 613 h 1867"/>
                <a:gd name="T12" fmla="*/ 924 w 1624"/>
                <a:gd name="T13" fmla="*/ 432 h 1867"/>
                <a:gd name="T14" fmla="*/ 1114 w 1624"/>
                <a:gd name="T15" fmla="*/ 81 h 1867"/>
                <a:gd name="T16" fmla="*/ 1287 w 1624"/>
                <a:gd name="T17" fmla="*/ 35 h 1867"/>
                <a:gd name="T18" fmla="*/ 1350 w 1624"/>
                <a:gd name="T19" fmla="*/ 69 h 1867"/>
                <a:gd name="T20" fmla="*/ 1527 w 1624"/>
                <a:gd name="T21" fmla="*/ 235 h 1867"/>
                <a:gd name="T22" fmla="*/ 1583 w 1624"/>
                <a:gd name="T23" fmla="*/ 555 h 1867"/>
                <a:gd name="T24" fmla="*/ 1172 w 1624"/>
                <a:gd name="T25" fmla="*/ 1253 h 1867"/>
                <a:gd name="T26" fmla="*/ 586 w 1624"/>
                <a:gd name="T27" fmla="*/ 1803 h 1867"/>
                <a:gd name="T28" fmla="*/ 269 w 1624"/>
                <a:gd name="T29" fmla="*/ 1807 h 1867"/>
                <a:gd name="T30" fmla="*/ 33 w 1624"/>
                <a:gd name="T31" fmla="*/ 1602 h 1867"/>
                <a:gd name="T32" fmla="*/ 2 w 1624"/>
                <a:gd name="T33" fmla="*/ 1508 h 1867"/>
                <a:gd name="T34" fmla="*/ 45 w 1624"/>
                <a:gd name="T35" fmla="*/ 1421 h 1867"/>
                <a:gd name="T36" fmla="*/ 346 w 1624"/>
                <a:gd name="T37" fmla="*/ 1158 h 1867"/>
                <a:gd name="T38" fmla="*/ 448 w 1624"/>
                <a:gd name="T39" fmla="*/ 1145 h 1867"/>
                <a:gd name="T40" fmla="*/ 573 w 1624"/>
                <a:gd name="T41" fmla="*/ 1257 h 18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24" h="1867">
                  <a:moveTo>
                    <a:pt x="573" y="1257"/>
                  </a:moveTo>
                  <a:cubicBezTo>
                    <a:pt x="592" y="1282"/>
                    <a:pt x="630" y="1303"/>
                    <a:pt x="662" y="1288"/>
                  </a:cubicBezTo>
                  <a:cubicBezTo>
                    <a:pt x="753" y="1245"/>
                    <a:pt x="854" y="1156"/>
                    <a:pt x="938" y="1051"/>
                  </a:cubicBezTo>
                  <a:cubicBezTo>
                    <a:pt x="1020" y="948"/>
                    <a:pt x="1084" y="831"/>
                    <a:pt x="1106" y="731"/>
                  </a:cubicBezTo>
                  <a:cubicBezTo>
                    <a:pt x="1113" y="696"/>
                    <a:pt x="1089" y="661"/>
                    <a:pt x="1059" y="645"/>
                  </a:cubicBezTo>
                  <a:cubicBezTo>
                    <a:pt x="1001" y="613"/>
                    <a:pt x="1001" y="613"/>
                    <a:pt x="1001" y="613"/>
                  </a:cubicBezTo>
                  <a:cubicBezTo>
                    <a:pt x="942" y="580"/>
                    <a:pt x="888" y="499"/>
                    <a:pt x="924" y="432"/>
                  </a:cubicBezTo>
                  <a:cubicBezTo>
                    <a:pt x="1114" y="81"/>
                    <a:pt x="1114" y="81"/>
                    <a:pt x="1114" y="81"/>
                  </a:cubicBezTo>
                  <a:cubicBezTo>
                    <a:pt x="1150" y="16"/>
                    <a:pt x="1224" y="0"/>
                    <a:pt x="1287" y="35"/>
                  </a:cubicBezTo>
                  <a:cubicBezTo>
                    <a:pt x="1350" y="69"/>
                    <a:pt x="1350" y="69"/>
                    <a:pt x="1350" y="69"/>
                  </a:cubicBezTo>
                  <a:cubicBezTo>
                    <a:pt x="1415" y="105"/>
                    <a:pt x="1479" y="165"/>
                    <a:pt x="1527" y="235"/>
                  </a:cubicBezTo>
                  <a:cubicBezTo>
                    <a:pt x="1593" y="332"/>
                    <a:pt x="1624" y="442"/>
                    <a:pt x="1583" y="555"/>
                  </a:cubicBezTo>
                  <a:cubicBezTo>
                    <a:pt x="1500" y="781"/>
                    <a:pt x="1351" y="1030"/>
                    <a:pt x="1172" y="1253"/>
                  </a:cubicBezTo>
                  <a:cubicBezTo>
                    <a:pt x="994" y="1477"/>
                    <a:pt x="786" y="1676"/>
                    <a:pt x="586" y="1803"/>
                  </a:cubicBezTo>
                  <a:cubicBezTo>
                    <a:pt x="486" y="1867"/>
                    <a:pt x="375" y="1856"/>
                    <a:pt x="269" y="1807"/>
                  </a:cubicBezTo>
                  <a:cubicBezTo>
                    <a:pt x="157" y="1755"/>
                    <a:pt x="106" y="1695"/>
                    <a:pt x="33" y="1602"/>
                  </a:cubicBezTo>
                  <a:cubicBezTo>
                    <a:pt x="11" y="1573"/>
                    <a:pt x="0" y="1540"/>
                    <a:pt x="2" y="1508"/>
                  </a:cubicBezTo>
                  <a:cubicBezTo>
                    <a:pt x="4" y="1475"/>
                    <a:pt x="18" y="1444"/>
                    <a:pt x="45" y="1421"/>
                  </a:cubicBezTo>
                  <a:cubicBezTo>
                    <a:pt x="70" y="1399"/>
                    <a:pt x="346" y="1158"/>
                    <a:pt x="346" y="1158"/>
                  </a:cubicBezTo>
                  <a:cubicBezTo>
                    <a:pt x="376" y="1134"/>
                    <a:pt x="413" y="1133"/>
                    <a:pt x="448" y="1145"/>
                  </a:cubicBezTo>
                  <a:cubicBezTo>
                    <a:pt x="510" y="1166"/>
                    <a:pt x="536" y="1210"/>
                    <a:pt x="573" y="1257"/>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350" dirty="0"/>
            </a:p>
          </p:txBody>
        </p:sp>
      </p:grpSp>
      <p:grpSp>
        <p:nvGrpSpPr>
          <p:cNvPr id="17" name="Group 3">
            <a:extLst>
              <a:ext uri="{FF2B5EF4-FFF2-40B4-BE49-F238E27FC236}">
                <a16:creationId xmlns:a16="http://schemas.microsoft.com/office/drawing/2014/main" id="{7104BADD-8CD1-6F4A-B894-869C3BDB3EEB}"/>
              </a:ext>
            </a:extLst>
          </p:cNvPr>
          <p:cNvGrpSpPr>
            <a:grpSpLocks noChangeAspect="1"/>
          </p:cNvGrpSpPr>
          <p:nvPr>
            <p:custDataLst>
              <p:tags r:id="rId2"/>
            </p:custDataLst>
          </p:nvPr>
        </p:nvGrpSpPr>
        <p:grpSpPr>
          <a:xfrm>
            <a:off x="8701919" y="3153207"/>
            <a:ext cx="171180" cy="171180"/>
            <a:chOff x="328396" y="5313940"/>
            <a:chExt cx="720000" cy="720000"/>
          </a:xfrm>
        </p:grpSpPr>
        <p:sp>
          <p:nvSpPr>
            <p:cNvPr id="18" name="Rectangle 4">
              <a:extLst>
                <a:ext uri="{FF2B5EF4-FFF2-40B4-BE49-F238E27FC236}">
                  <a16:creationId xmlns:a16="http://schemas.microsoft.com/office/drawing/2014/main" id="{74BE3D5F-1445-6E40-8B49-72E15568383B}"/>
                </a:ext>
              </a:extLst>
            </p:cNvPr>
            <p:cNvSpPr/>
            <p:nvPr/>
          </p:nvSpPr>
          <p:spPr bwMode="gray">
            <a:xfrm>
              <a:off x="328396" y="5313940"/>
              <a:ext cx="720000" cy="720000"/>
            </a:xfrm>
            <a:prstGeom prst="rect">
              <a:avLst/>
            </a:prstGeom>
            <a:solidFill>
              <a:srgbClr val="E55A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pPr>
              <a:endParaRPr lang="en-US" sz="1000" dirty="0">
                <a:solidFill>
                  <a:schemeClr val="tx1"/>
                </a:solidFill>
                <a:latin typeface="Arial" pitchFamily="34" charset="0"/>
                <a:cs typeface="Arial" pitchFamily="34" charset="0"/>
              </a:endParaRPr>
            </a:p>
          </p:txBody>
        </p:sp>
        <p:sp>
          <p:nvSpPr>
            <p:cNvPr id="19" name="Freeform 76">
              <a:extLst>
                <a:ext uri="{FF2B5EF4-FFF2-40B4-BE49-F238E27FC236}">
                  <a16:creationId xmlns:a16="http://schemas.microsoft.com/office/drawing/2014/main" id="{55DB3C95-7D0C-D141-901E-96D692794D2B}"/>
                </a:ext>
              </a:extLst>
            </p:cNvPr>
            <p:cNvSpPr>
              <a:spLocks noChangeAspect="1" noEditPoints="1"/>
            </p:cNvSpPr>
            <p:nvPr/>
          </p:nvSpPr>
          <p:spPr bwMode="auto">
            <a:xfrm>
              <a:off x="456202" y="5509222"/>
              <a:ext cx="504000" cy="329436"/>
            </a:xfrm>
            <a:custGeom>
              <a:avLst/>
              <a:gdLst>
                <a:gd name="T0" fmla="*/ 0 w 2080"/>
                <a:gd name="T1" fmla="*/ 65 h 1360"/>
                <a:gd name="T2" fmla="*/ 0 w 2080"/>
                <a:gd name="T3" fmla="*/ 0 h 1360"/>
                <a:gd name="T4" fmla="*/ 2080 w 2080"/>
                <a:gd name="T5" fmla="*/ 0 h 1360"/>
                <a:gd name="T6" fmla="*/ 2080 w 2080"/>
                <a:gd name="T7" fmla="*/ 65 h 1360"/>
                <a:gd name="T8" fmla="*/ 1089 w 2080"/>
                <a:gd name="T9" fmla="*/ 862 h 1360"/>
                <a:gd name="T10" fmla="*/ 991 w 2080"/>
                <a:gd name="T11" fmla="*/ 862 h 1360"/>
                <a:gd name="T12" fmla="*/ 0 w 2080"/>
                <a:gd name="T13" fmla="*/ 65 h 1360"/>
                <a:gd name="T14" fmla="*/ 1139 w 2080"/>
                <a:gd name="T15" fmla="*/ 924 h 1360"/>
                <a:gd name="T16" fmla="*/ 1282 w 2080"/>
                <a:gd name="T17" fmla="*/ 810 h 1360"/>
                <a:gd name="T18" fmla="*/ 2076 w 2080"/>
                <a:gd name="T19" fmla="*/ 1360 h 1360"/>
                <a:gd name="T20" fmla="*/ 4 w 2080"/>
                <a:gd name="T21" fmla="*/ 1360 h 1360"/>
                <a:gd name="T22" fmla="*/ 798 w 2080"/>
                <a:gd name="T23" fmla="*/ 810 h 1360"/>
                <a:gd name="T24" fmla="*/ 941 w 2080"/>
                <a:gd name="T25" fmla="*/ 924 h 1360"/>
                <a:gd name="T26" fmla="*/ 1139 w 2080"/>
                <a:gd name="T27" fmla="*/ 924 h 1360"/>
                <a:gd name="T28" fmla="*/ 2 w 2080"/>
                <a:gd name="T29" fmla="*/ 137 h 1360"/>
                <a:gd name="T30" fmla="*/ 42 w 2080"/>
                <a:gd name="T31" fmla="*/ 201 h 1360"/>
                <a:gd name="T32" fmla="*/ 734 w 2080"/>
                <a:gd name="T33" fmla="*/ 758 h 1360"/>
                <a:gd name="T34" fmla="*/ 0 w 2080"/>
                <a:gd name="T35" fmla="*/ 1266 h 1360"/>
                <a:gd name="T36" fmla="*/ 0 w 2080"/>
                <a:gd name="T37" fmla="*/ 135 h 1360"/>
                <a:gd name="T38" fmla="*/ 2 w 2080"/>
                <a:gd name="T39" fmla="*/ 137 h 1360"/>
                <a:gd name="T40" fmla="*/ 2080 w 2080"/>
                <a:gd name="T41" fmla="*/ 136 h 1360"/>
                <a:gd name="T42" fmla="*/ 2080 w 2080"/>
                <a:gd name="T43" fmla="*/ 1265 h 1360"/>
                <a:gd name="T44" fmla="*/ 1346 w 2080"/>
                <a:gd name="T45" fmla="*/ 758 h 1360"/>
                <a:gd name="T46" fmla="*/ 2038 w 2080"/>
                <a:gd name="T47" fmla="*/ 201 h 1360"/>
                <a:gd name="T48" fmla="*/ 2080 w 2080"/>
                <a:gd name="T49" fmla="*/ 136 h 1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080" h="1360">
                  <a:moveTo>
                    <a:pt x="0" y="65"/>
                  </a:moveTo>
                  <a:cubicBezTo>
                    <a:pt x="0" y="0"/>
                    <a:pt x="0" y="0"/>
                    <a:pt x="0" y="0"/>
                  </a:cubicBezTo>
                  <a:cubicBezTo>
                    <a:pt x="2080" y="0"/>
                    <a:pt x="2080" y="0"/>
                    <a:pt x="2080" y="0"/>
                  </a:cubicBezTo>
                  <a:cubicBezTo>
                    <a:pt x="2080" y="65"/>
                    <a:pt x="2080" y="65"/>
                    <a:pt x="2080" y="65"/>
                  </a:cubicBezTo>
                  <a:cubicBezTo>
                    <a:pt x="1089" y="862"/>
                    <a:pt x="1089" y="862"/>
                    <a:pt x="1089" y="862"/>
                  </a:cubicBezTo>
                  <a:cubicBezTo>
                    <a:pt x="1060" y="886"/>
                    <a:pt x="1020" y="886"/>
                    <a:pt x="991" y="862"/>
                  </a:cubicBezTo>
                  <a:lnTo>
                    <a:pt x="0" y="65"/>
                  </a:lnTo>
                  <a:close/>
                  <a:moveTo>
                    <a:pt x="1139" y="924"/>
                  </a:moveTo>
                  <a:cubicBezTo>
                    <a:pt x="1282" y="810"/>
                    <a:pt x="1282" y="810"/>
                    <a:pt x="1282" y="810"/>
                  </a:cubicBezTo>
                  <a:cubicBezTo>
                    <a:pt x="2076" y="1360"/>
                    <a:pt x="2076" y="1360"/>
                    <a:pt x="2076" y="1360"/>
                  </a:cubicBezTo>
                  <a:cubicBezTo>
                    <a:pt x="4" y="1360"/>
                    <a:pt x="4" y="1360"/>
                    <a:pt x="4" y="1360"/>
                  </a:cubicBezTo>
                  <a:cubicBezTo>
                    <a:pt x="798" y="810"/>
                    <a:pt x="798" y="810"/>
                    <a:pt x="798" y="810"/>
                  </a:cubicBezTo>
                  <a:cubicBezTo>
                    <a:pt x="941" y="924"/>
                    <a:pt x="941" y="924"/>
                    <a:pt x="941" y="924"/>
                  </a:cubicBezTo>
                  <a:cubicBezTo>
                    <a:pt x="1000" y="972"/>
                    <a:pt x="1080" y="972"/>
                    <a:pt x="1139" y="924"/>
                  </a:cubicBezTo>
                  <a:close/>
                  <a:moveTo>
                    <a:pt x="2" y="137"/>
                  </a:moveTo>
                  <a:cubicBezTo>
                    <a:pt x="8" y="163"/>
                    <a:pt x="22" y="185"/>
                    <a:pt x="42" y="201"/>
                  </a:cubicBezTo>
                  <a:cubicBezTo>
                    <a:pt x="734" y="758"/>
                    <a:pt x="734" y="758"/>
                    <a:pt x="734" y="758"/>
                  </a:cubicBezTo>
                  <a:cubicBezTo>
                    <a:pt x="0" y="1266"/>
                    <a:pt x="0" y="1266"/>
                    <a:pt x="0" y="1266"/>
                  </a:cubicBezTo>
                  <a:cubicBezTo>
                    <a:pt x="0" y="135"/>
                    <a:pt x="0" y="135"/>
                    <a:pt x="0" y="135"/>
                  </a:cubicBezTo>
                  <a:lnTo>
                    <a:pt x="2" y="137"/>
                  </a:lnTo>
                  <a:close/>
                  <a:moveTo>
                    <a:pt x="2080" y="136"/>
                  </a:moveTo>
                  <a:cubicBezTo>
                    <a:pt x="2080" y="1265"/>
                    <a:pt x="2080" y="1265"/>
                    <a:pt x="2080" y="1265"/>
                  </a:cubicBezTo>
                  <a:cubicBezTo>
                    <a:pt x="1346" y="758"/>
                    <a:pt x="1346" y="758"/>
                    <a:pt x="1346" y="758"/>
                  </a:cubicBezTo>
                  <a:cubicBezTo>
                    <a:pt x="2038" y="201"/>
                    <a:pt x="2038" y="201"/>
                    <a:pt x="2038" y="201"/>
                  </a:cubicBezTo>
                  <a:cubicBezTo>
                    <a:pt x="2060" y="182"/>
                    <a:pt x="2072" y="162"/>
                    <a:pt x="2080" y="13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000"/>
            </a:p>
          </p:txBody>
        </p:sp>
      </p:grpSp>
      <p:cxnSp>
        <p:nvCxnSpPr>
          <p:cNvPr id="20" name="Straight Connector 19"/>
          <p:cNvCxnSpPr/>
          <p:nvPr/>
        </p:nvCxnSpPr>
        <p:spPr>
          <a:xfrm>
            <a:off x="2371725" y="3478213"/>
            <a:ext cx="3888000" cy="0"/>
          </a:xfrm>
          <a:prstGeom prst="line">
            <a:avLst/>
          </a:prstGeom>
          <a:ln w="6350">
            <a:solidFill>
              <a:schemeClr val="tx2"/>
            </a:solidFill>
            <a:prstDash val="dash"/>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p:nvCxnSpPr>
        <p:spPr>
          <a:xfrm>
            <a:off x="7287767" y="3478213"/>
            <a:ext cx="3888000" cy="0"/>
          </a:xfrm>
          <a:prstGeom prst="line">
            <a:avLst/>
          </a:prstGeom>
          <a:ln w="6350">
            <a:solidFill>
              <a:schemeClr val="tx2"/>
            </a:solidFill>
            <a:prstDash val="dash"/>
          </a:ln>
        </p:spPr>
        <p:style>
          <a:lnRef idx="1">
            <a:schemeClr val="accent1"/>
          </a:lnRef>
          <a:fillRef idx="0">
            <a:schemeClr val="accent1"/>
          </a:fillRef>
          <a:effectRef idx="0">
            <a:schemeClr val="accent1"/>
          </a:effectRef>
          <a:fontRef idx="minor">
            <a:schemeClr val="tx1"/>
          </a:fontRef>
        </p:style>
      </p:cxnSp>
      <p:sp>
        <p:nvSpPr>
          <p:cNvPr id="4" name="Picture Placeholder 3"/>
          <p:cNvSpPr>
            <a:spLocks noGrp="1"/>
          </p:cNvSpPr>
          <p:nvPr>
            <p:ph type="pic" sz="quarter" idx="17" hasCustomPrompt="1"/>
          </p:nvPr>
        </p:nvSpPr>
        <p:spPr>
          <a:xfrm>
            <a:off x="2355915" y="1808984"/>
            <a:ext cx="1188677" cy="1547839"/>
          </a:xfrm>
          <a:solidFill>
            <a:srgbClr val="D9DADB"/>
          </a:solidFill>
        </p:spPr>
        <p:txBody>
          <a:bodyPr/>
          <a:lstStyle>
            <a:lvl1pPr marL="0" indent="0">
              <a:buNone/>
              <a:defRPr sz="1400"/>
            </a:lvl1pPr>
          </a:lstStyle>
          <a:p>
            <a:r>
              <a:rPr lang="en-US" dirty="0"/>
              <a:t>Insert picture</a:t>
            </a:r>
          </a:p>
        </p:txBody>
      </p:sp>
      <p:sp>
        <p:nvSpPr>
          <p:cNvPr id="25" name="Picture Placeholder 3"/>
          <p:cNvSpPr>
            <a:spLocks noGrp="1"/>
          </p:cNvSpPr>
          <p:nvPr>
            <p:ph type="pic" sz="quarter" idx="18" hasCustomPrompt="1"/>
          </p:nvPr>
        </p:nvSpPr>
        <p:spPr>
          <a:xfrm>
            <a:off x="7287767" y="1808984"/>
            <a:ext cx="1188677" cy="1547839"/>
          </a:xfrm>
          <a:solidFill>
            <a:srgbClr val="D9DADB"/>
          </a:solidFill>
        </p:spPr>
        <p:txBody>
          <a:bodyPr/>
          <a:lstStyle>
            <a:lvl1pPr marL="0" indent="0">
              <a:buNone/>
              <a:defRPr sz="1400"/>
            </a:lvl1pPr>
          </a:lstStyle>
          <a:p>
            <a:r>
              <a:rPr lang="en-US" dirty="0"/>
              <a:t>Insert picture</a:t>
            </a:r>
          </a:p>
        </p:txBody>
      </p:sp>
      <p:sp>
        <p:nvSpPr>
          <p:cNvPr id="6" name="Text Placeholder 5"/>
          <p:cNvSpPr>
            <a:spLocks noGrp="1"/>
          </p:cNvSpPr>
          <p:nvPr>
            <p:ph type="body" sz="quarter" idx="19" hasCustomPrompt="1"/>
          </p:nvPr>
        </p:nvSpPr>
        <p:spPr>
          <a:xfrm>
            <a:off x="3770066" y="1808521"/>
            <a:ext cx="2463191" cy="192361"/>
          </a:xfrm>
        </p:spPr>
        <p:txBody>
          <a:bodyPr lIns="0" tIns="0" rIns="0" bIns="0" anchor="ctr" anchorCtr="0"/>
          <a:lstStyle>
            <a:lvl1pPr marL="0" indent="0" algn="l">
              <a:lnSpc>
                <a:spcPct val="100000"/>
              </a:lnSpc>
              <a:buNone/>
              <a:defRPr sz="100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Country</a:t>
            </a:r>
          </a:p>
        </p:txBody>
      </p:sp>
      <p:sp>
        <p:nvSpPr>
          <p:cNvPr id="26" name="Text Placeholder 5"/>
          <p:cNvSpPr>
            <a:spLocks noGrp="1"/>
          </p:cNvSpPr>
          <p:nvPr>
            <p:ph type="body" sz="quarter" idx="20" hasCustomPrompt="1"/>
          </p:nvPr>
        </p:nvSpPr>
        <p:spPr>
          <a:xfrm>
            <a:off x="3770066" y="2020337"/>
            <a:ext cx="2463191" cy="266182"/>
          </a:xfrm>
        </p:spPr>
        <p:txBody>
          <a:bodyPr lIns="0" tIns="0" rIns="0" bIns="0" anchor="b" anchorCtr="0"/>
          <a:lstStyle>
            <a:lvl1pPr marL="0" indent="0" algn="l">
              <a:lnSpc>
                <a:spcPct val="100000"/>
              </a:lnSpc>
              <a:buNone/>
              <a:defRPr sz="1400" b="1" baseline="0">
                <a:solidFill>
                  <a:schemeClr val="tx2"/>
                </a:solidFill>
              </a:defRPr>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Name, Surname</a:t>
            </a:r>
          </a:p>
        </p:txBody>
      </p:sp>
      <p:sp>
        <p:nvSpPr>
          <p:cNvPr id="27" name="Text Placeholder 5"/>
          <p:cNvSpPr>
            <a:spLocks noGrp="1"/>
          </p:cNvSpPr>
          <p:nvPr>
            <p:ph type="body" sz="quarter" idx="21" hasCustomPrompt="1"/>
          </p:nvPr>
        </p:nvSpPr>
        <p:spPr>
          <a:xfrm>
            <a:off x="3770066" y="2316912"/>
            <a:ext cx="2463191" cy="192361"/>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Job Position</a:t>
            </a:r>
          </a:p>
        </p:txBody>
      </p:sp>
      <p:sp>
        <p:nvSpPr>
          <p:cNvPr id="28" name="Text Placeholder 5"/>
          <p:cNvSpPr>
            <a:spLocks noGrp="1"/>
          </p:cNvSpPr>
          <p:nvPr>
            <p:ph type="body" sz="quarter" idx="22" hasCustomPrompt="1"/>
          </p:nvPr>
        </p:nvSpPr>
        <p:spPr>
          <a:xfrm>
            <a:off x="4014949" y="2845589"/>
            <a:ext cx="2218307" cy="192361"/>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Phone number</a:t>
            </a:r>
          </a:p>
        </p:txBody>
      </p:sp>
      <p:sp>
        <p:nvSpPr>
          <p:cNvPr id="29" name="Text Placeholder 5"/>
          <p:cNvSpPr>
            <a:spLocks noGrp="1"/>
          </p:cNvSpPr>
          <p:nvPr>
            <p:ph type="body" sz="quarter" idx="23" hasCustomPrompt="1"/>
          </p:nvPr>
        </p:nvSpPr>
        <p:spPr>
          <a:xfrm>
            <a:off x="4014949" y="3128395"/>
            <a:ext cx="2218307" cy="192361"/>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Email address</a:t>
            </a:r>
          </a:p>
        </p:txBody>
      </p:sp>
      <p:sp>
        <p:nvSpPr>
          <p:cNvPr id="30" name="Text Placeholder 5"/>
          <p:cNvSpPr>
            <a:spLocks noGrp="1"/>
          </p:cNvSpPr>
          <p:nvPr>
            <p:ph type="body" sz="quarter" idx="24" hasCustomPrompt="1"/>
          </p:nvPr>
        </p:nvSpPr>
        <p:spPr>
          <a:xfrm>
            <a:off x="8701918" y="1808521"/>
            <a:ext cx="2463191" cy="192361"/>
          </a:xfrm>
        </p:spPr>
        <p:txBody>
          <a:bodyPr lIns="0" tIns="0" rIns="0" bIns="0" anchor="ctr" anchorCtr="0"/>
          <a:lstStyle>
            <a:lvl1pPr marL="0" indent="0" algn="l">
              <a:lnSpc>
                <a:spcPct val="100000"/>
              </a:lnSpc>
              <a:buNone/>
              <a:defRPr sz="100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Country</a:t>
            </a:r>
          </a:p>
        </p:txBody>
      </p:sp>
      <p:sp>
        <p:nvSpPr>
          <p:cNvPr id="31" name="Text Placeholder 5"/>
          <p:cNvSpPr>
            <a:spLocks noGrp="1"/>
          </p:cNvSpPr>
          <p:nvPr>
            <p:ph type="body" sz="quarter" idx="25" hasCustomPrompt="1"/>
          </p:nvPr>
        </p:nvSpPr>
        <p:spPr>
          <a:xfrm>
            <a:off x="8701918" y="2020337"/>
            <a:ext cx="2463191" cy="266182"/>
          </a:xfrm>
        </p:spPr>
        <p:txBody>
          <a:bodyPr lIns="0" tIns="0" rIns="0" bIns="0" anchor="b" anchorCtr="0"/>
          <a:lstStyle>
            <a:lvl1pPr marL="0" indent="0" algn="l">
              <a:lnSpc>
                <a:spcPct val="100000"/>
              </a:lnSpc>
              <a:buNone/>
              <a:defRPr sz="1400" b="1" baseline="0">
                <a:solidFill>
                  <a:schemeClr val="tx2"/>
                </a:solidFill>
              </a:defRPr>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Name, Surname</a:t>
            </a:r>
          </a:p>
        </p:txBody>
      </p:sp>
      <p:sp>
        <p:nvSpPr>
          <p:cNvPr id="32" name="Text Placeholder 5"/>
          <p:cNvSpPr>
            <a:spLocks noGrp="1"/>
          </p:cNvSpPr>
          <p:nvPr>
            <p:ph type="body" sz="quarter" idx="26" hasCustomPrompt="1"/>
          </p:nvPr>
        </p:nvSpPr>
        <p:spPr>
          <a:xfrm>
            <a:off x="8701918" y="2316912"/>
            <a:ext cx="2463191" cy="192361"/>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Job Position</a:t>
            </a:r>
          </a:p>
        </p:txBody>
      </p:sp>
      <p:sp>
        <p:nvSpPr>
          <p:cNvPr id="33" name="Text Placeholder 5"/>
          <p:cNvSpPr>
            <a:spLocks noGrp="1"/>
          </p:cNvSpPr>
          <p:nvPr>
            <p:ph type="body" sz="quarter" idx="27" hasCustomPrompt="1"/>
          </p:nvPr>
        </p:nvSpPr>
        <p:spPr>
          <a:xfrm>
            <a:off x="8946801" y="2845589"/>
            <a:ext cx="2218307" cy="192361"/>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Phone number</a:t>
            </a:r>
          </a:p>
        </p:txBody>
      </p:sp>
      <p:sp>
        <p:nvSpPr>
          <p:cNvPr id="34" name="Text Placeholder 5"/>
          <p:cNvSpPr>
            <a:spLocks noGrp="1"/>
          </p:cNvSpPr>
          <p:nvPr>
            <p:ph type="body" sz="quarter" idx="28" hasCustomPrompt="1"/>
          </p:nvPr>
        </p:nvSpPr>
        <p:spPr>
          <a:xfrm>
            <a:off x="8946801" y="3128395"/>
            <a:ext cx="2218307" cy="192361"/>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Email address</a:t>
            </a:r>
          </a:p>
        </p:txBody>
      </p:sp>
      <p:grpSp>
        <p:nvGrpSpPr>
          <p:cNvPr id="35" name="Gruppieren 2">
            <a:extLst>
              <a:ext uri="{FF2B5EF4-FFF2-40B4-BE49-F238E27FC236}">
                <a16:creationId xmlns:a16="http://schemas.microsoft.com/office/drawing/2014/main" id="{BE697CE9-EBDE-6B4A-BE70-582D92A8A831}"/>
              </a:ext>
            </a:extLst>
          </p:cNvPr>
          <p:cNvGrpSpPr/>
          <p:nvPr/>
        </p:nvGrpSpPr>
        <p:grpSpPr>
          <a:xfrm>
            <a:off x="3770066" y="5045939"/>
            <a:ext cx="171180" cy="171180"/>
            <a:chOff x="3392092" y="1841122"/>
            <a:chExt cx="646508" cy="646508"/>
          </a:xfrm>
        </p:grpSpPr>
        <p:sp>
          <p:nvSpPr>
            <p:cNvPr id="36" name="Rechteck 14">
              <a:extLst>
                <a:ext uri="{FF2B5EF4-FFF2-40B4-BE49-F238E27FC236}">
                  <a16:creationId xmlns:a16="http://schemas.microsoft.com/office/drawing/2014/main" id="{E142A731-19B7-C34D-9534-9E05108F895F}"/>
                </a:ext>
              </a:extLst>
            </p:cNvPr>
            <p:cNvSpPr>
              <a:spLocks noChangeAspect="1"/>
            </p:cNvSpPr>
            <p:nvPr/>
          </p:nvSpPr>
          <p:spPr bwMode="gray">
            <a:xfrm>
              <a:off x="3392092" y="1841122"/>
              <a:ext cx="646508" cy="646508"/>
            </a:xfrm>
            <a:prstGeom prst="rect">
              <a:avLst/>
            </a:prstGeom>
            <a:solidFill>
              <a:srgbClr val="E55A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pPr>
              <a:endParaRPr lang="en-US" sz="1000" dirty="0">
                <a:solidFill>
                  <a:schemeClr val="tx1"/>
                </a:solidFill>
                <a:latin typeface="Arial" pitchFamily="34" charset="0"/>
                <a:cs typeface="Arial" pitchFamily="34" charset="0"/>
              </a:endParaRPr>
            </a:p>
          </p:txBody>
        </p:sp>
        <p:sp>
          <p:nvSpPr>
            <p:cNvPr id="37" name="Freeform 36">
              <a:extLst>
                <a:ext uri="{FF2B5EF4-FFF2-40B4-BE49-F238E27FC236}">
                  <a16:creationId xmlns:a16="http://schemas.microsoft.com/office/drawing/2014/main" id="{F97E84AE-4AD9-4B44-9AA1-F797FC373809}"/>
                </a:ext>
              </a:extLst>
            </p:cNvPr>
            <p:cNvSpPr>
              <a:spLocks noChangeAspect="1"/>
            </p:cNvSpPr>
            <p:nvPr/>
          </p:nvSpPr>
          <p:spPr bwMode="auto">
            <a:xfrm>
              <a:off x="3546638" y="1970424"/>
              <a:ext cx="337415" cy="387905"/>
            </a:xfrm>
            <a:custGeom>
              <a:avLst/>
              <a:gdLst>
                <a:gd name="T0" fmla="*/ 573 w 1624"/>
                <a:gd name="T1" fmla="*/ 1257 h 1867"/>
                <a:gd name="T2" fmla="*/ 662 w 1624"/>
                <a:gd name="T3" fmla="*/ 1288 h 1867"/>
                <a:gd name="T4" fmla="*/ 938 w 1624"/>
                <a:gd name="T5" fmla="*/ 1051 h 1867"/>
                <a:gd name="T6" fmla="*/ 1106 w 1624"/>
                <a:gd name="T7" fmla="*/ 731 h 1867"/>
                <a:gd name="T8" fmla="*/ 1059 w 1624"/>
                <a:gd name="T9" fmla="*/ 645 h 1867"/>
                <a:gd name="T10" fmla="*/ 1001 w 1624"/>
                <a:gd name="T11" fmla="*/ 613 h 1867"/>
                <a:gd name="T12" fmla="*/ 924 w 1624"/>
                <a:gd name="T13" fmla="*/ 432 h 1867"/>
                <a:gd name="T14" fmla="*/ 1114 w 1624"/>
                <a:gd name="T15" fmla="*/ 81 h 1867"/>
                <a:gd name="T16" fmla="*/ 1287 w 1624"/>
                <a:gd name="T17" fmla="*/ 35 h 1867"/>
                <a:gd name="T18" fmla="*/ 1350 w 1624"/>
                <a:gd name="T19" fmla="*/ 69 h 1867"/>
                <a:gd name="T20" fmla="*/ 1527 w 1624"/>
                <a:gd name="T21" fmla="*/ 235 h 1867"/>
                <a:gd name="T22" fmla="*/ 1583 w 1624"/>
                <a:gd name="T23" fmla="*/ 555 h 1867"/>
                <a:gd name="T24" fmla="*/ 1172 w 1624"/>
                <a:gd name="T25" fmla="*/ 1253 h 1867"/>
                <a:gd name="T26" fmla="*/ 586 w 1624"/>
                <a:gd name="T27" fmla="*/ 1803 h 1867"/>
                <a:gd name="T28" fmla="*/ 269 w 1624"/>
                <a:gd name="T29" fmla="*/ 1807 h 1867"/>
                <a:gd name="T30" fmla="*/ 33 w 1624"/>
                <a:gd name="T31" fmla="*/ 1602 h 1867"/>
                <a:gd name="T32" fmla="*/ 2 w 1624"/>
                <a:gd name="T33" fmla="*/ 1508 h 1867"/>
                <a:gd name="T34" fmla="*/ 45 w 1624"/>
                <a:gd name="T35" fmla="*/ 1421 h 1867"/>
                <a:gd name="T36" fmla="*/ 346 w 1624"/>
                <a:gd name="T37" fmla="*/ 1158 h 1867"/>
                <a:gd name="T38" fmla="*/ 448 w 1624"/>
                <a:gd name="T39" fmla="*/ 1145 h 1867"/>
                <a:gd name="T40" fmla="*/ 573 w 1624"/>
                <a:gd name="T41" fmla="*/ 1257 h 18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24" h="1867">
                  <a:moveTo>
                    <a:pt x="573" y="1257"/>
                  </a:moveTo>
                  <a:cubicBezTo>
                    <a:pt x="592" y="1282"/>
                    <a:pt x="630" y="1303"/>
                    <a:pt x="662" y="1288"/>
                  </a:cubicBezTo>
                  <a:cubicBezTo>
                    <a:pt x="753" y="1245"/>
                    <a:pt x="854" y="1156"/>
                    <a:pt x="938" y="1051"/>
                  </a:cubicBezTo>
                  <a:cubicBezTo>
                    <a:pt x="1020" y="948"/>
                    <a:pt x="1084" y="831"/>
                    <a:pt x="1106" y="731"/>
                  </a:cubicBezTo>
                  <a:cubicBezTo>
                    <a:pt x="1113" y="696"/>
                    <a:pt x="1089" y="661"/>
                    <a:pt x="1059" y="645"/>
                  </a:cubicBezTo>
                  <a:cubicBezTo>
                    <a:pt x="1001" y="613"/>
                    <a:pt x="1001" y="613"/>
                    <a:pt x="1001" y="613"/>
                  </a:cubicBezTo>
                  <a:cubicBezTo>
                    <a:pt x="942" y="580"/>
                    <a:pt x="888" y="499"/>
                    <a:pt x="924" y="432"/>
                  </a:cubicBezTo>
                  <a:cubicBezTo>
                    <a:pt x="1114" y="81"/>
                    <a:pt x="1114" y="81"/>
                    <a:pt x="1114" y="81"/>
                  </a:cubicBezTo>
                  <a:cubicBezTo>
                    <a:pt x="1150" y="16"/>
                    <a:pt x="1224" y="0"/>
                    <a:pt x="1287" y="35"/>
                  </a:cubicBezTo>
                  <a:cubicBezTo>
                    <a:pt x="1350" y="69"/>
                    <a:pt x="1350" y="69"/>
                    <a:pt x="1350" y="69"/>
                  </a:cubicBezTo>
                  <a:cubicBezTo>
                    <a:pt x="1415" y="105"/>
                    <a:pt x="1479" y="165"/>
                    <a:pt x="1527" y="235"/>
                  </a:cubicBezTo>
                  <a:cubicBezTo>
                    <a:pt x="1593" y="332"/>
                    <a:pt x="1624" y="442"/>
                    <a:pt x="1583" y="555"/>
                  </a:cubicBezTo>
                  <a:cubicBezTo>
                    <a:pt x="1500" y="781"/>
                    <a:pt x="1351" y="1030"/>
                    <a:pt x="1172" y="1253"/>
                  </a:cubicBezTo>
                  <a:cubicBezTo>
                    <a:pt x="994" y="1477"/>
                    <a:pt x="786" y="1676"/>
                    <a:pt x="586" y="1803"/>
                  </a:cubicBezTo>
                  <a:cubicBezTo>
                    <a:pt x="486" y="1867"/>
                    <a:pt x="375" y="1856"/>
                    <a:pt x="269" y="1807"/>
                  </a:cubicBezTo>
                  <a:cubicBezTo>
                    <a:pt x="157" y="1755"/>
                    <a:pt x="106" y="1695"/>
                    <a:pt x="33" y="1602"/>
                  </a:cubicBezTo>
                  <a:cubicBezTo>
                    <a:pt x="11" y="1573"/>
                    <a:pt x="0" y="1540"/>
                    <a:pt x="2" y="1508"/>
                  </a:cubicBezTo>
                  <a:cubicBezTo>
                    <a:pt x="4" y="1475"/>
                    <a:pt x="18" y="1444"/>
                    <a:pt x="45" y="1421"/>
                  </a:cubicBezTo>
                  <a:cubicBezTo>
                    <a:pt x="70" y="1399"/>
                    <a:pt x="346" y="1158"/>
                    <a:pt x="346" y="1158"/>
                  </a:cubicBezTo>
                  <a:cubicBezTo>
                    <a:pt x="376" y="1134"/>
                    <a:pt x="413" y="1133"/>
                    <a:pt x="448" y="1145"/>
                  </a:cubicBezTo>
                  <a:cubicBezTo>
                    <a:pt x="510" y="1166"/>
                    <a:pt x="536" y="1210"/>
                    <a:pt x="573" y="1257"/>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350" dirty="0"/>
            </a:p>
          </p:txBody>
        </p:sp>
      </p:grpSp>
      <p:grpSp>
        <p:nvGrpSpPr>
          <p:cNvPr id="38" name="Group 3">
            <a:extLst>
              <a:ext uri="{FF2B5EF4-FFF2-40B4-BE49-F238E27FC236}">
                <a16:creationId xmlns:a16="http://schemas.microsoft.com/office/drawing/2014/main" id="{7104BADD-8CD1-6F4A-B894-869C3BDB3EEB}"/>
              </a:ext>
            </a:extLst>
          </p:cNvPr>
          <p:cNvGrpSpPr>
            <a:grpSpLocks noChangeAspect="1"/>
          </p:cNvGrpSpPr>
          <p:nvPr>
            <p:custDataLst>
              <p:tags r:id="rId3"/>
            </p:custDataLst>
          </p:nvPr>
        </p:nvGrpSpPr>
        <p:grpSpPr>
          <a:xfrm>
            <a:off x="3770067" y="5330827"/>
            <a:ext cx="171180" cy="171180"/>
            <a:chOff x="328396" y="5313940"/>
            <a:chExt cx="720000" cy="720000"/>
          </a:xfrm>
        </p:grpSpPr>
        <p:sp>
          <p:nvSpPr>
            <p:cNvPr id="39" name="Rectangle 4">
              <a:extLst>
                <a:ext uri="{FF2B5EF4-FFF2-40B4-BE49-F238E27FC236}">
                  <a16:creationId xmlns:a16="http://schemas.microsoft.com/office/drawing/2014/main" id="{74BE3D5F-1445-6E40-8B49-72E15568383B}"/>
                </a:ext>
              </a:extLst>
            </p:cNvPr>
            <p:cNvSpPr/>
            <p:nvPr/>
          </p:nvSpPr>
          <p:spPr bwMode="gray">
            <a:xfrm>
              <a:off x="328396" y="5313940"/>
              <a:ext cx="720000" cy="720000"/>
            </a:xfrm>
            <a:prstGeom prst="rect">
              <a:avLst/>
            </a:prstGeom>
            <a:solidFill>
              <a:srgbClr val="E55A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pPr>
              <a:endParaRPr lang="en-US" sz="1000" dirty="0">
                <a:solidFill>
                  <a:schemeClr val="tx1"/>
                </a:solidFill>
                <a:latin typeface="Arial" pitchFamily="34" charset="0"/>
                <a:cs typeface="Arial" pitchFamily="34" charset="0"/>
              </a:endParaRPr>
            </a:p>
          </p:txBody>
        </p:sp>
        <p:sp>
          <p:nvSpPr>
            <p:cNvPr id="40" name="Freeform 76">
              <a:extLst>
                <a:ext uri="{FF2B5EF4-FFF2-40B4-BE49-F238E27FC236}">
                  <a16:creationId xmlns:a16="http://schemas.microsoft.com/office/drawing/2014/main" id="{55DB3C95-7D0C-D141-901E-96D692794D2B}"/>
                </a:ext>
              </a:extLst>
            </p:cNvPr>
            <p:cNvSpPr>
              <a:spLocks noChangeAspect="1" noEditPoints="1"/>
            </p:cNvSpPr>
            <p:nvPr/>
          </p:nvSpPr>
          <p:spPr bwMode="auto">
            <a:xfrm>
              <a:off x="456202" y="5509222"/>
              <a:ext cx="504000" cy="329436"/>
            </a:xfrm>
            <a:custGeom>
              <a:avLst/>
              <a:gdLst>
                <a:gd name="T0" fmla="*/ 0 w 2080"/>
                <a:gd name="T1" fmla="*/ 65 h 1360"/>
                <a:gd name="T2" fmla="*/ 0 w 2080"/>
                <a:gd name="T3" fmla="*/ 0 h 1360"/>
                <a:gd name="T4" fmla="*/ 2080 w 2080"/>
                <a:gd name="T5" fmla="*/ 0 h 1360"/>
                <a:gd name="T6" fmla="*/ 2080 w 2080"/>
                <a:gd name="T7" fmla="*/ 65 h 1360"/>
                <a:gd name="T8" fmla="*/ 1089 w 2080"/>
                <a:gd name="T9" fmla="*/ 862 h 1360"/>
                <a:gd name="T10" fmla="*/ 991 w 2080"/>
                <a:gd name="T11" fmla="*/ 862 h 1360"/>
                <a:gd name="T12" fmla="*/ 0 w 2080"/>
                <a:gd name="T13" fmla="*/ 65 h 1360"/>
                <a:gd name="T14" fmla="*/ 1139 w 2080"/>
                <a:gd name="T15" fmla="*/ 924 h 1360"/>
                <a:gd name="T16" fmla="*/ 1282 w 2080"/>
                <a:gd name="T17" fmla="*/ 810 h 1360"/>
                <a:gd name="T18" fmla="*/ 2076 w 2080"/>
                <a:gd name="T19" fmla="*/ 1360 h 1360"/>
                <a:gd name="T20" fmla="*/ 4 w 2080"/>
                <a:gd name="T21" fmla="*/ 1360 h 1360"/>
                <a:gd name="T22" fmla="*/ 798 w 2080"/>
                <a:gd name="T23" fmla="*/ 810 h 1360"/>
                <a:gd name="T24" fmla="*/ 941 w 2080"/>
                <a:gd name="T25" fmla="*/ 924 h 1360"/>
                <a:gd name="T26" fmla="*/ 1139 w 2080"/>
                <a:gd name="T27" fmla="*/ 924 h 1360"/>
                <a:gd name="T28" fmla="*/ 2 w 2080"/>
                <a:gd name="T29" fmla="*/ 137 h 1360"/>
                <a:gd name="T30" fmla="*/ 42 w 2080"/>
                <a:gd name="T31" fmla="*/ 201 h 1360"/>
                <a:gd name="T32" fmla="*/ 734 w 2080"/>
                <a:gd name="T33" fmla="*/ 758 h 1360"/>
                <a:gd name="T34" fmla="*/ 0 w 2080"/>
                <a:gd name="T35" fmla="*/ 1266 h 1360"/>
                <a:gd name="T36" fmla="*/ 0 w 2080"/>
                <a:gd name="T37" fmla="*/ 135 h 1360"/>
                <a:gd name="T38" fmla="*/ 2 w 2080"/>
                <a:gd name="T39" fmla="*/ 137 h 1360"/>
                <a:gd name="T40" fmla="*/ 2080 w 2080"/>
                <a:gd name="T41" fmla="*/ 136 h 1360"/>
                <a:gd name="T42" fmla="*/ 2080 w 2080"/>
                <a:gd name="T43" fmla="*/ 1265 h 1360"/>
                <a:gd name="T44" fmla="*/ 1346 w 2080"/>
                <a:gd name="T45" fmla="*/ 758 h 1360"/>
                <a:gd name="T46" fmla="*/ 2038 w 2080"/>
                <a:gd name="T47" fmla="*/ 201 h 1360"/>
                <a:gd name="T48" fmla="*/ 2080 w 2080"/>
                <a:gd name="T49" fmla="*/ 136 h 1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080" h="1360">
                  <a:moveTo>
                    <a:pt x="0" y="65"/>
                  </a:moveTo>
                  <a:cubicBezTo>
                    <a:pt x="0" y="0"/>
                    <a:pt x="0" y="0"/>
                    <a:pt x="0" y="0"/>
                  </a:cubicBezTo>
                  <a:cubicBezTo>
                    <a:pt x="2080" y="0"/>
                    <a:pt x="2080" y="0"/>
                    <a:pt x="2080" y="0"/>
                  </a:cubicBezTo>
                  <a:cubicBezTo>
                    <a:pt x="2080" y="65"/>
                    <a:pt x="2080" y="65"/>
                    <a:pt x="2080" y="65"/>
                  </a:cubicBezTo>
                  <a:cubicBezTo>
                    <a:pt x="1089" y="862"/>
                    <a:pt x="1089" y="862"/>
                    <a:pt x="1089" y="862"/>
                  </a:cubicBezTo>
                  <a:cubicBezTo>
                    <a:pt x="1060" y="886"/>
                    <a:pt x="1020" y="886"/>
                    <a:pt x="991" y="862"/>
                  </a:cubicBezTo>
                  <a:lnTo>
                    <a:pt x="0" y="65"/>
                  </a:lnTo>
                  <a:close/>
                  <a:moveTo>
                    <a:pt x="1139" y="924"/>
                  </a:moveTo>
                  <a:cubicBezTo>
                    <a:pt x="1282" y="810"/>
                    <a:pt x="1282" y="810"/>
                    <a:pt x="1282" y="810"/>
                  </a:cubicBezTo>
                  <a:cubicBezTo>
                    <a:pt x="2076" y="1360"/>
                    <a:pt x="2076" y="1360"/>
                    <a:pt x="2076" y="1360"/>
                  </a:cubicBezTo>
                  <a:cubicBezTo>
                    <a:pt x="4" y="1360"/>
                    <a:pt x="4" y="1360"/>
                    <a:pt x="4" y="1360"/>
                  </a:cubicBezTo>
                  <a:cubicBezTo>
                    <a:pt x="798" y="810"/>
                    <a:pt x="798" y="810"/>
                    <a:pt x="798" y="810"/>
                  </a:cubicBezTo>
                  <a:cubicBezTo>
                    <a:pt x="941" y="924"/>
                    <a:pt x="941" y="924"/>
                    <a:pt x="941" y="924"/>
                  </a:cubicBezTo>
                  <a:cubicBezTo>
                    <a:pt x="1000" y="972"/>
                    <a:pt x="1080" y="972"/>
                    <a:pt x="1139" y="924"/>
                  </a:cubicBezTo>
                  <a:close/>
                  <a:moveTo>
                    <a:pt x="2" y="137"/>
                  </a:moveTo>
                  <a:cubicBezTo>
                    <a:pt x="8" y="163"/>
                    <a:pt x="22" y="185"/>
                    <a:pt x="42" y="201"/>
                  </a:cubicBezTo>
                  <a:cubicBezTo>
                    <a:pt x="734" y="758"/>
                    <a:pt x="734" y="758"/>
                    <a:pt x="734" y="758"/>
                  </a:cubicBezTo>
                  <a:cubicBezTo>
                    <a:pt x="0" y="1266"/>
                    <a:pt x="0" y="1266"/>
                    <a:pt x="0" y="1266"/>
                  </a:cubicBezTo>
                  <a:cubicBezTo>
                    <a:pt x="0" y="135"/>
                    <a:pt x="0" y="135"/>
                    <a:pt x="0" y="135"/>
                  </a:cubicBezTo>
                  <a:lnTo>
                    <a:pt x="2" y="137"/>
                  </a:lnTo>
                  <a:close/>
                  <a:moveTo>
                    <a:pt x="2080" y="136"/>
                  </a:moveTo>
                  <a:cubicBezTo>
                    <a:pt x="2080" y="1265"/>
                    <a:pt x="2080" y="1265"/>
                    <a:pt x="2080" y="1265"/>
                  </a:cubicBezTo>
                  <a:cubicBezTo>
                    <a:pt x="1346" y="758"/>
                    <a:pt x="1346" y="758"/>
                    <a:pt x="1346" y="758"/>
                  </a:cubicBezTo>
                  <a:cubicBezTo>
                    <a:pt x="2038" y="201"/>
                    <a:pt x="2038" y="201"/>
                    <a:pt x="2038" y="201"/>
                  </a:cubicBezTo>
                  <a:cubicBezTo>
                    <a:pt x="2060" y="182"/>
                    <a:pt x="2072" y="162"/>
                    <a:pt x="2080" y="13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000"/>
            </a:p>
          </p:txBody>
        </p:sp>
      </p:grpSp>
      <p:cxnSp>
        <p:nvCxnSpPr>
          <p:cNvPr id="41" name="Straight Connector 40"/>
          <p:cNvCxnSpPr/>
          <p:nvPr/>
        </p:nvCxnSpPr>
        <p:spPr>
          <a:xfrm>
            <a:off x="2355915" y="5655832"/>
            <a:ext cx="3888000" cy="0"/>
          </a:xfrm>
          <a:prstGeom prst="line">
            <a:avLst/>
          </a:prstGeom>
          <a:ln w="6350">
            <a:solidFill>
              <a:schemeClr val="tx2"/>
            </a:solidFill>
            <a:prstDash val="dash"/>
          </a:ln>
        </p:spPr>
        <p:style>
          <a:lnRef idx="1">
            <a:schemeClr val="accent1"/>
          </a:lnRef>
          <a:fillRef idx="0">
            <a:schemeClr val="accent1"/>
          </a:fillRef>
          <a:effectRef idx="0">
            <a:schemeClr val="accent1"/>
          </a:effectRef>
          <a:fontRef idx="minor">
            <a:schemeClr val="tx1"/>
          </a:fontRef>
        </p:style>
      </p:cxnSp>
      <p:sp>
        <p:nvSpPr>
          <p:cNvPr id="42" name="Picture Placeholder 3"/>
          <p:cNvSpPr>
            <a:spLocks noGrp="1"/>
          </p:cNvSpPr>
          <p:nvPr>
            <p:ph type="pic" sz="quarter" idx="29" hasCustomPrompt="1"/>
          </p:nvPr>
        </p:nvSpPr>
        <p:spPr>
          <a:xfrm>
            <a:off x="2355915" y="3986604"/>
            <a:ext cx="1188677" cy="1547839"/>
          </a:xfrm>
          <a:solidFill>
            <a:srgbClr val="D9DADB"/>
          </a:solidFill>
        </p:spPr>
        <p:txBody>
          <a:bodyPr/>
          <a:lstStyle>
            <a:lvl1pPr marL="0" indent="0">
              <a:buNone/>
              <a:defRPr sz="1400"/>
            </a:lvl1pPr>
          </a:lstStyle>
          <a:p>
            <a:r>
              <a:rPr lang="en-US" dirty="0"/>
              <a:t>Insert picture</a:t>
            </a:r>
          </a:p>
        </p:txBody>
      </p:sp>
      <p:sp>
        <p:nvSpPr>
          <p:cNvPr id="43" name="Text Placeholder 5"/>
          <p:cNvSpPr>
            <a:spLocks noGrp="1"/>
          </p:cNvSpPr>
          <p:nvPr>
            <p:ph type="body" sz="quarter" idx="30" hasCustomPrompt="1"/>
          </p:nvPr>
        </p:nvSpPr>
        <p:spPr>
          <a:xfrm>
            <a:off x="3770066" y="3986142"/>
            <a:ext cx="2463191" cy="192361"/>
          </a:xfrm>
        </p:spPr>
        <p:txBody>
          <a:bodyPr lIns="0" tIns="0" rIns="0" bIns="0" anchor="ctr" anchorCtr="0"/>
          <a:lstStyle>
            <a:lvl1pPr marL="0" indent="0" algn="l">
              <a:lnSpc>
                <a:spcPct val="100000"/>
              </a:lnSpc>
              <a:buNone/>
              <a:defRPr sz="100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Country</a:t>
            </a:r>
          </a:p>
        </p:txBody>
      </p:sp>
      <p:sp>
        <p:nvSpPr>
          <p:cNvPr id="44" name="Text Placeholder 5"/>
          <p:cNvSpPr>
            <a:spLocks noGrp="1"/>
          </p:cNvSpPr>
          <p:nvPr>
            <p:ph type="body" sz="quarter" idx="31" hasCustomPrompt="1"/>
          </p:nvPr>
        </p:nvSpPr>
        <p:spPr>
          <a:xfrm>
            <a:off x="3770066" y="4197957"/>
            <a:ext cx="2463191" cy="266182"/>
          </a:xfrm>
        </p:spPr>
        <p:txBody>
          <a:bodyPr lIns="0" tIns="0" rIns="0" bIns="0" anchor="b" anchorCtr="0"/>
          <a:lstStyle>
            <a:lvl1pPr marL="0" indent="0" algn="l">
              <a:lnSpc>
                <a:spcPct val="100000"/>
              </a:lnSpc>
              <a:buNone/>
              <a:defRPr sz="1400" b="1" baseline="0">
                <a:solidFill>
                  <a:schemeClr val="tx2"/>
                </a:solidFill>
              </a:defRPr>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Name, Surname</a:t>
            </a:r>
          </a:p>
        </p:txBody>
      </p:sp>
      <p:sp>
        <p:nvSpPr>
          <p:cNvPr id="45" name="Text Placeholder 5"/>
          <p:cNvSpPr>
            <a:spLocks noGrp="1"/>
          </p:cNvSpPr>
          <p:nvPr>
            <p:ph type="body" sz="quarter" idx="32" hasCustomPrompt="1"/>
          </p:nvPr>
        </p:nvSpPr>
        <p:spPr>
          <a:xfrm>
            <a:off x="3770066" y="4494532"/>
            <a:ext cx="2463191" cy="192361"/>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Job Position</a:t>
            </a:r>
          </a:p>
        </p:txBody>
      </p:sp>
      <p:sp>
        <p:nvSpPr>
          <p:cNvPr id="46" name="Text Placeholder 5"/>
          <p:cNvSpPr>
            <a:spLocks noGrp="1"/>
          </p:cNvSpPr>
          <p:nvPr>
            <p:ph type="body" sz="quarter" idx="33" hasCustomPrompt="1"/>
          </p:nvPr>
        </p:nvSpPr>
        <p:spPr>
          <a:xfrm>
            <a:off x="4014949" y="5023208"/>
            <a:ext cx="2218307" cy="192361"/>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Phone number</a:t>
            </a:r>
          </a:p>
        </p:txBody>
      </p:sp>
      <p:sp>
        <p:nvSpPr>
          <p:cNvPr id="47" name="Text Placeholder 5"/>
          <p:cNvSpPr>
            <a:spLocks noGrp="1"/>
          </p:cNvSpPr>
          <p:nvPr>
            <p:ph type="body" sz="quarter" idx="34" hasCustomPrompt="1"/>
          </p:nvPr>
        </p:nvSpPr>
        <p:spPr>
          <a:xfrm>
            <a:off x="4014949" y="5306016"/>
            <a:ext cx="2218307" cy="192361"/>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Email address</a:t>
            </a:r>
          </a:p>
        </p:txBody>
      </p:sp>
    </p:spTree>
    <p:extLst>
      <p:ext uri="{BB962C8B-B14F-4D97-AF65-F5344CB8AC3E}">
        <p14:creationId xmlns:p14="http://schemas.microsoft.com/office/powerpoint/2010/main" val="3859163460"/>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p:cSld name="Four contacts">
    <p:spTree>
      <p:nvGrpSpPr>
        <p:cNvPr id="1" name=""/>
        <p:cNvGrpSpPr/>
        <p:nvPr/>
      </p:nvGrpSpPr>
      <p:grpSpPr>
        <a:xfrm>
          <a:off x="0" y="0"/>
          <a:ext cx="0" cy="0"/>
          <a:chOff x="0" y="0"/>
          <a:chExt cx="0" cy="0"/>
        </a:xfrm>
      </p:grpSpPr>
      <p:sp>
        <p:nvSpPr>
          <p:cNvPr id="21" name="Date Placeholder 20"/>
          <p:cNvSpPr>
            <a:spLocks noGrp="1"/>
          </p:cNvSpPr>
          <p:nvPr>
            <p:ph type="dt" sz="half" idx="14"/>
          </p:nvPr>
        </p:nvSpPr>
        <p:spPr/>
        <p:txBody>
          <a:bodyPr/>
          <a:lstStyle/>
          <a:p>
            <a:fld id="{279C7CF9-AE45-4637-9DF5-AFC713D6D2FE}" type="datetime5">
              <a:rPr lang="en-US" smtClean="0"/>
              <a:t>26-Jun-20</a:t>
            </a:fld>
            <a:endParaRPr lang="en-US"/>
          </a:p>
        </p:txBody>
      </p:sp>
      <p:sp>
        <p:nvSpPr>
          <p:cNvPr id="22" name="Footer Placeholder 21"/>
          <p:cNvSpPr>
            <a:spLocks noGrp="1"/>
          </p:cNvSpPr>
          <p:nvPr>
            <p:ph type="ftr" sz="quarter" idx="15"/>
          </p:nvPr>
        </p:nvSpPr>
        <p:spPr/>
        <p:txBody>
          <a:bodyPr/>
          <a:lstStyle/>
          <a:p>
            <a:r>
              <a:rPr lang="en-US"/>
              <a:t>Title of presentation (Insert / Header &amp; Footer / Apply to All)</a:t>
            </a:r>
            <a:endParaRPr lang="en-US" dirty="0"/>
          </a:p>
        </p:txBody>
      </p:sp>
      <p:sp>
        <p:nvSpPr>
          <p:cNvPr id="23" name="Slide Number Placeholder 22"/>
          <p:cNvSpPr>
            <a:spLocks noGrp="1"/>
          </p:cNvSpPr>
          <p:nvPr>
            <p:ph type="sldNum" sz="quarter" idx="16"/>
          </p:nvPr>
        </p:nvSpPr>
        <p:spPr/>
        <p:txBody>
          <a:bodyPr/>
          <a:lstStyle/>
          <a:p>
            <a:fld id="{5F3E29E4-0979-4FCA-B4C5-5FC6044C982A}" type="slidenum">
              <a:rPr lang="en-US" smtClean="0"/>
              <a:t>‹#›</a:t>
            </a:fld>
            <a:endParaRPr lang="en-US"/>
          </a:p>
        </p:txBody>
      </p:sp>
      <p:sp>
        <p:nvSpPr>
          <p:cNvPr id="2" name="Title 1"/>
          <p:cNvSpPr>
            <a:spLocks noGrp="1"/>
          </p:cNvSpPr>
          <p:nvPr>
            <p:ph type="title" hasCustomPrompt="1"/>
          </p:nvPr>
        </p:nvSpPr>
        <p:spPr/>
        <p:txBody>
          <a:bodyPr/>
          <a:lstStyle>
            <a:lvl1pPr>
              <a:defRPr/>
            </a:lvl1pPr>
          </a:lstStyle>
          <a:p>
            <a:r>
              <a:rPr lang="en-US" dirty="0"/>
              <a:t>Click to add contact title</a:t>
            </a:r>
          </a:p>
        </p:txBody>
      </p:sp>
      <p:sp>
        <p:nvSpPr>
          <p:cNvPr id="7" name="Subtitle 2"/>
          <p:cNvSpPr>
            <a:spLocks noGrp="1"/>
          </p:cNvSpPr>
          <p:nvPr>
            <p:ph type="subTitle" idx="13" hasCustomPrompt="1"/>
          </p:nvPr>
        </p:nvSpPr>
        <p:spPr>
          <a:xfrm>
            <a:off x="1075062" y="964672"/>
            <a:ext cx="7910159" cy="490042"/>
          </a:xfrm>
        </p:spPr>
        <p:txBody>
          <a:bodyPr wrap="none"/>
          <a:lstStyle>
            <a:lvl1pPr marL="0" indent="0" algn="l">
              <a:spcBef>
                <a:spcPts val="0"/>
              </a:spcBef>
              <a:buNone/>
              <a:defRPr sz="2399"/>
            </a:lvl1pPr>
            <a:lvl2pPr marL="457051" indent="0" algn="ctr">
              <a:buNone/>
              <a:defRPr sz="1999"/>
            </a:lvl2pPr>
            <a:lvl3pPr marL="914103" indent="0" algn="ctr">
              <a:buNone/>
              <a:defRPr sz="1799"/>
            </a:lvl3pPr>
            <a:lvl4pPr marL="1371154" indent="0" algn="ctr">
              <a:buNone/>
              <a:defRPr sz="1599"/>
            </a:lvl4pPr>
            <a:lvl5pPr marL="1828206" indent="0" algn="ctr">
              <a:buNone/>
              <a:defRPr sz="1599"/>
            </a:lvl5pPr>
            <a:lvl6pPr marL="2285257" indent="0" algn="ctr">
              <a:buNone/>
              <a:defRPr sz="1599"/>
            </a:lvl6pPr>
            <a:lvl7pPr marL="2742308" indent="0" algn="ctr">
              <a:buNone/>
              <a:defRPr sz="1599"/>
            </a:lvl7pPr>
            <a:lvl8pPr marL="3199360" indent="0" algn="ctr">
              <a:buNone/>
              <a:defRPr sz="1599"/>
            </a:lvl8pPr>
            <a:lvl9pPr marL="3656411" indent="0" algn="ctr">
              <a:buNone/>
              <a:defRPr sz="1599"/>
            </a:lvl9pPr>
          </a:lstStyle>
          <a:p>
            <a:r>
              <a:rPr lang="en-US" dirty="0"/>
              <a:t>Click to add subtitle</a:t>
            </a:r>
          </a:p>
        </p:txBody>
      </p:sp>
      <p:grpSp>
        <p:nvGrpSpPr>
          <p:cNvPr id="8" name="Gruppieren 80">
            <a:extLst>
              <a:ext uri="{FF2B5EF4-FFF2-40B4-BE49-F238E27FC236}">
                <a16:creationId xmlns:a16="http://schemas.microsoft.com/office/drawing/2014/main" id="{6B969E7B-9C39-4443-9B02-74C1E7C5CCAC}"/>
              </a:ext>
            </a:extLst>
          </p:cNvPr>
          <p:cNvGrpSpPr/>
          <p:nvPr/>
        </p:nvGrpSpPr>
        <p:grpSpPr>
          <a:xfrm>
            <a:off x="3770066" y="2868319"/>
            <a:ext cx="171180" cy="171180"/>
            <a:chOff x="3392092" y="1841122"/>
            <a:chExt cx="646508" cy="646508"/>
          </a:xfrm>
        </p:grpSpPr>
        <p:sp>
          <p:nvSpPr>
            <p:cNvPr id="9" name="Rechteck 14">
              <a:extLst>
                <a:ext uri="{FF2B5EF4-FFF2-40B4-BE49-F238E27FC236}">
                  <a16:creationId xmlns:a16="http://schemas.microsoft.com/office/drawing/2014/main" id="{D78F58EA-5525-8D43-8295-FEA52ECF6BFA}"/>
                </a:ext>
              </a:extLst>
            </p:cNvPr>
            <p:cNvSpPr>
              <a:spLocks noChangeAspect="1"/>
            </p:cNvSpPr>
            <p:nvPr/>
          </p:nvSpPr>
          <p:spPr bwMode="gray">
            <a:xfrm>
              <a:off x="3392092" y="1841122"/>
              <a:ext cx="646508" cy="646508"/>
            </a:xfrm>
            <a:prstGeom prst="rect">
              <a:avLst/>
            </a:prstGeom>
            <a:solidFill>
              <a:srgbClr val="E55A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pPr>
              <a:endParaRPr lang="en-US" sz="1000" dirty="0">
                <a:solidFill>
                  <a:schemeClr val="tx1"/>
                </a:solidFill>
                <a:latin typeface="Arial" pitchFamily="34" charset="0"/>
                <a:cs typeface="Arial" pitchFamily="34" charset="0"/>
              </a:endParaRPr>
            </a:p>
          </p:txBody>
        </p:sp>
        <p:sp>
          <p:nvSpPr>
            <p:cNvPr id="10" name="Freeform 67">
              <a:extLst>
                <a:ext uri="{FF2B5EF4-FFF2-40B4-BE49-F238E27FC236}">
                  <a16:creationId xmlns:a16="http://schemas.microsoft.com/office/drawing/2014/main" id="{D01A6292-2776-4945-B828-483D79DC4908}"/>
                </a:ext>
              </a:extLst>
            </p:cNvPr>
            <p:cNvSpPr>
              <a:spLocks noChangeAspect="1"/>
            </p:cNvSpPr>
            <p:nvPr/>
          </p:nvSpPr>
          <p:spPr bwMode="auto">
            <a:xfrm>
              <a:off x="3546638" y="1970424"/>
              <a:ext cx="337415" cy="387905"/>
            </a:xfrm>
            <a:custGeom>
              <a:avLst/>
              <a:gdLst>
                <a:gd name="T0" fmla="*/ 573 w 1624"/>
                <a:gd name="T1" fmla="*/ 1257 h 1867"/>
                <a:gd name="T2" fmla="*/ 662 w 1624"/>
                <a:gd name="T3" fmla="*/ 1288 h 1867"/>
                <a:gd name="T4" fmla="*/ 938 w 1624"/>
                <a:gd name="T5" fmla="*/ 1051 h 1867"/>
                <a:gd name="T6" fmla="*/ 1106 w 1624"/>
                <a:gd name="T7" fmla="*/ 731 h 1867"/>
                <a:gd name="T8" fmla="*/ 1059 w 1624"/>
                <a:gd name="T9" fmla="*/ 645 h 1867"/>
                <a:gd name="T10" fmla="*/ 1001 w 1624"/>
                <a:gd name="T11" fmla="*/ 613 h 1867"/>
                <a:gd name="T12" fmla="*/ 924 w 1624"/>
                <a:gd name="T13" fmla="*/ 432 h 1867"/>
                <a:gd name="T14" fmla="*/ 1114 w 1624"/>
                <a:gd name="T15" fmla="*/ 81 h 1867"/>
                <a:gd name="T16" fmla="*/ 1287 w 1624"/>
                <a:gd name="T17" fmla="*/ 35 h 1867"/>
                <a:gd name="T18" fmla="*/ 1350 w 1624"/>
                <a:gd name="T19" fmla="*/ 69 h 1867"/>
                <a:gd name="T20" fmla="*/ 1527 w 1624"/>
                <a:gd name="T21" fmla="*/ 235 h 1867"/>
                <a:gd name="T22" fmla="*/ 1583 w 1624"/>
                <a:gd name="T23" fmla="*/ 555 h 1867"/>
                <a:gd name="T24" fmla="*/ 1172 w 1624"/>
                <a:gd name="T25" fmla="*/ 1253 h 1867"/>
                <a:gd name="T26" fmla="*/ 586 w 1624"/>
                <a:gd name="T27" fmla="*/ 1803 h 1867"/>
                <a:gd name="T28" fmla="*/ 269 w 1624"/>
                <a:gd name="T29" fmla="*/ 1807 h 1867"/>
                <a:gd name="T30" fmla="*/ 33 w 1624"/>
                <a:gd name="T31" fmla="*/ 1602 h 1867"/>
                <a:gd name="T32" fmla="*/ 2 w 1624"/>
                <a:gd name="T33" fmla="*/ 1508 h 1867"/>
                <a:gd name="T34" fmla="*/ 45 w 1624"/>
                <a:gd name="T35" fmla="*/ 1421 h 1867"/>
                <a:gd name="T36" fmla="*/ 346 w 1624"/>
                <a:gd name="T37" fmla="*/ 1158 h 1867"/>
                <a:gd name="T38" fmla="*/ 448 w 1624"/>
                <a:gd name="T39" fmla="*/ 1145 h 1867"/>
                <a:gd name="T40" fmla="*/ 573 w 1624"/>
                <a:gd name="T41" fmla="*/ 1257 h 18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24" h="1867">
                  <a:moveTo>
                    <a:pt x="573" y="1257"/>
                  </a:moveTo>
                  <a:cubicBezTo>
                    <a:pt x="592" y="1282"/>
                    <a:pt x="630" y="1303"/>
                    <a:pt x="662" y="1288"/>
                  </a:cubicBezTo>
                  <a:cubicBezTo>
                    <a:pt x="753" y="1245"/>
                    <a:pt x="854" y="1156"/>
                    <a:pt x="938" y="1051"/>
                  </a:cubicBezTo>
                  <a:cubicBezTo>
                    <a:pt x="1020" y="948"/>
                    <a:pt x="1084" y="831"/>
                    <a:pt x="1106" y="731"/>
                  </a:cubicBezTo>
                  <a:cubicBezTo>
                    <a:pt x="1113" y="696"/>
                    <a:pt x="1089" y="661"/>
                    <a:pt x="1059" y="645"/>
                  </a:cubicBezTo>
                  <a:cubicBezTo>
                    <a:pt x="1001" y="613"/>
                    <a:pt x="1001" y="613"/>
                    <a:pt x="1001" y="613"/>
                  </a:cubicBezTo>
                  <a:cubicBezTo>
                    <a:pt x="942" y="580"/>
                    <a:pt x="888" y="499"/>
                    <a:pt x="924" y="432"/>
                  </a:cubicBezTo>
                  <a:cubicBezTo>
                    <a:pt x="1114" y="81"/>
                    <a:pt x="1114" y="81"/>
                    <a:pt x="1114" y="81"/>
                  </a:cubicBezTo>
                  <a:cubicBezTo>
                    <a:pt x="1150" y="16"/>
                    <a:pt x="1224" y="0"/>
                    <a:pt x="1287" y="35"/>
                  </a:cubicBezTo>
                  <a:cubicBezTo>
                    <a:pt x="1350" y="69"/>
                    <a:pt x="1350" y="69"/>
                    <a:pt x="1350" y="69"/>
                  </a:cubicBezTo>
                  <a:cubicBezTo>
                    <a:pt x="1415" y="105"/>
                    <a:pt x="1479" y="165"/>
                    <a:pt x="1527" y="235"/>
                  </a:cubicBezTo>
                  <a:cubicBezTo>
                    <a:pt x="1593" y="332"/>
                    <a:pt x="1624" y="442"/>
                    <a:pt x="1583" y="555"/>
                  </a:cubicBezTo>
                  <a:cubicBezTo>
                    <a:pt x="1500" y="781"/>
                    <a:pt x="1351" y="1030"/>
                    <a:pt x="1172" y="1253"/>
                  </a:cubicBezTo>
                  <a:cubicBezTo>
                    <a:pt x="994" y="1477"/>
                    <a:pt x="786" y="1676"/>
                    <a:pt x="586" y="1803"/>
                  </a:cubicBezTo>
                  <a:cubicBezTo>
                    <a:pt x="486" y="1867"/>
                    <a:pt x="375" y="1856"/>
                    <a:pt x="269" y="1807"/>
                  </a:cubicBezTo>
                  <a:cubicBezTo>
                    <a:pt x="157" y="1755"/>
                    <a:pt x="106" y="1695"/>
                    <a:pt x="33" y="1602"/>
                  </a:cubicBezTo>
                  <a:cubicBezTo>
                    <a:pt x="11" y="1573"/>
                    <a:pt x="0" y="1540"/>
                    <a:pt x="2" y="1508"/>
                  </a:cubicBezTo>
                  <a:cubicBezTo>
                    <a:pt x="4" y="1475"/>
                    <a:pt x="18" y="1444"/>
                    <a:pt x="45" y="1421"/>
                  </a:cubicBezTo>
                  <a:cubicBezTo>
                    <a:pt x="70" y="1399"/>
                    <a:pt x="346" y="1158"/>
                    <a:pt x="346" y="1158"/>
                  </a:cubicBezTo>
                  <a:cubicBezTo>
                    <a:pt x="376" y="1134"/>
                    <a:pt x="413" y="1133"/>
                    <a:pt x="448" y="1145"/>
                  </a:cubicBezTo>
                  <a:cubicBezTo>
                    <a:pt x="510" y="1166"/>
                    <a:pt x="536" y="1210"/>
                    <a:pt x="573" y="1257"/>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350" dirty="0"/>
            </a:p>
          </p:txBody>
        </p:sp>
      </p:grpSp>
      <p:grpSp>
        <p:nvGrpSpPr>
          <p:cNvPr id="11" name="Group 3">
            <a:extLst>
              <a:ext uri="{FF2B5EF4-FFF2-40B4-BE49-F238E27FC236}">
                <a16:creationId xmlns:a16="http://schemas.microsoft.com/office/drawing/2014/main" id="{DED6A25A-5DE2-1441-8BA2-C68D3B4F9209}"/>
              </a:ext>
            </a:extLst>
          </p:cNvPr>
          <p:cNvGrpSpPr>
            <a:grpSpLocks noChangeAspect="1"/>
          </p:cNvGrpSpPr>
          <p:nvPr>
            <p:custDataLst>
              <p:tags r:id="rId1"/>
            </p:custDataLst>
          </p:nvPr>
        </p:nvGrpSpPr>
        <p:grpSpPr>
          <a:xfrm>
            <a:off x="3770067" y="3153207"/>
            <a:ext cx="171180" cy="171180"/>
            <a:chOff x="328396" y="5313940"/>
            <a:chExt cx="720000" cy="720000"/>
          </a:xfrm>
        </p:grpSpPr>
        <p:sp>
          <p:nvSpPr>
            <p:cNvPr id="12" name="Rectangle 4">
              <a:extLst>
                <a:ext uri="{FF2B5EF4-FFF2-40B4-BE49-F238E27FC236}">
                  <a16:creationId xmlns:a16="http://schemas.microsoft.com/office/drawing/2014/main" id="{5F49E67F-D4FA-9D48-96BC-59AE946ECD15}"/>
                </a:ext>
              </a:extLst>
            </p:cNvPr>
            <p:cNvSpPr/>
            <p:nvPr/>
          </p:nvSpPr>
          <p:spPr bwMode="gray">
            <a:xfrm>
              <a:off x="328396" y="5313940"/>
              <a:ext cx="720000" cy="720000"/>
            </a:xfrm>
            <a:prstGeom prst="rect">
              <a:avLst/>
            </a:prstGeom>
            <a:solidFill>
              <a:srgbClr val="E55A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pPr>
              <a:endParaRPr lang="en-US" sz="1000" dirty="0">
                <a:solidFill>
                  <a:schemeClr val="tx1"/>
                </a:solidFill>
                <a:latin typeface="Arial" pitchFamily="34" charset="0"/>
                <a:cs typeface="Arial" pitchFamily="34" charset="0"/>
              </a:endParaRPr>
            </a:p>
          </p:txBody>
        </p:sp>
        <p:sp>
          <p:nvSpPr>
            <p:cNvPr id="13" name="Freeform 76">
              <a:extLst>
                <a:ext uri="{FF2B5EF4-FFF2-40B4-BE49-F238E27FC236}">
                  <a16:creationId xmlns:a16="http://schemas.microsoft.com/office/drawing/2014/main" id="{187E70E6-AF3F-2549-908E-DF4BA61040AA}"/>
                </a:ext>
              </a:extLst>
            </p:cNvPr>
            <p:cNvSpPr>
              <a:spLocks noChangeAspect="1" noEditPoints="1"/>
            </p:cNvSpPr>
            <p:nvPr/>
          </p:nvSpPr>
          <p:spPr bwMode="auto">
            <a:xfrm>
              <a:off x="456202" y="5509222"/>
              <a:ext cx="504000" cy="329436"/>
            </a:xfrm>
            <a:custGeom>
              <a:avLst/>
              <a:gdLst>
                <a:gd name="T0" fmla="*/ 0 w 2080"/>
                <a:gd name="T1" fmla="*/ 65 h 1360"/>
                <a:gd name="T2" fmla="*/ 0 w 2080"/>
                <a:gd name="T3" fmla="*/ 0 h 1360"/>
                <a:gd name="T4" fmla="*/ 2080 w 2080"/>
                <a:gd name="T5" fmla="*/ 0 h 1360"/>
                <a:gd name="T6" fmla="*/ 2080 w 2080"/>
                <a:gd name="T7" fmla="*/ 65 h 1360"/>
                <a:gd name="T8" fmla="*/ 1089 w 2080"/>
                <a:gd name="T9" fmla="*/ 862 h 1360"/>
                <a:gd name="T10" fmla="*/ 991 w 2080"/>
                <a:gd name="T11" fmla="*/ 862 h 1360"/>
                <a:gd name="T12" fmla="*/ 0 w 2080"/>
                <a:gd name="T13" fmla="*/ 65 h 1360"/>
                <a:gd name="T14" fmla="*/ 1139 w 2080"/>
                <a:gd name="T15" fmla="*/ 924 h 1360"/>
                <a:gd name="T16" fmla="*/ 1282 w 2080"/>
                <a:gd name="T17" fmla="*/ 810 h 1360"/>
                <a:gd name="T18" fmla="*/ 2076 w 2080"/>
                <a:gd name="T19" fmla="*/ 1360 h 1360"/>
                <a:gd name="T20" fmla="*/ 4 w 2080"/>
                <a:gd name="T21" fmla="*/ 1360 h 1360"/>
                <a:gd name="T22" fmla="*/ 798 w 2080"/>
                <a:gd name="T23" fmla="*/ 810 h 1360"/>
                <a:gd name="T24" fmla="*/ 941 w 2080"/>
                <a:gd name="T25" fmla="*/ 924 h 1360"/>
                <a:gd name="T26" fmla="*/ 1139 w 2080"/>
                <a:gd name="T27" fmla="*/ 924 h 1360"/>
                <a:gd name="T28" fmla="*/ 2 w 2080"/>
                <a:gd name="T29" fmla="*/ 137 h 1360"/>
                <a:gd name="T30" fmla="*/ 42 w 2080"/>
                <a:gd name="T31" fmla="*/ 201 h 1360"/>
                <a:gd name="T32" fmla="*/ 734 w 2080"/>
                <a:gd name="T33" fmla="*/ 758 h 1360"/>
                <a:gd name="T34" fmla="*/ 0 w 2080"/>
                <a:gd name="T35" fmla="*/ 1266 h 1360"/>
                <a:gd name="T36" fmla="*/ 0 w 2080"/>
                <a:gd name="T37" fmla="*/ 135 h 1360"/>
                <a:gd name="T38" fmla="*/ 2 w 2080"/>
                <a:gd name="T39" fmla="*/ 137 h 1360"/>
                <a:gd name="T40" fmla="*/ 2080 w 2080"/>
                <a:gd name="T41" fmla="*/ 136 h 1360"/>
                <a:gd name="T42" fmla="*/ 2080 w 2080"/>
                <a:gd name="T43" fmla="*/ 1265 h 1360"/>
                <a:gd name="T44" fmla="*/ 1346 w 2080"/>
                <a:gd name="T45" fmla="*/ 758 h 1360"/>
                <a:gd name="T46" fmla="*/ 2038 w 2080"/>
                <a:gd name="T47" fmla="*/ 201 h 1360"/>
                <a:gd name="T48" fmla="*/ 2080 w 2080"/>
                <a:gd name="T49" fmla="*/ 136 h 1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080" h="1360">
                  <a:moveTo>
                    <a:pt x="0" y="65"/>
                  </a:moveTo>
                  <a:cubicBezTo>
                    <a:pt x="0" y="0"/>
                    <a:pt x="0" y="0"/>
                    <a:pt x="0" y="0"/>
                  </a:cubicBezTo>
                  <a:cubicBezTo>
                    <a:pt x="2080" y="0"/>
                    <a:pt x="2080" y="0"/>
                    <a:pt x="2080" y="0"/>
                  </a:cubicBezTo>
                  <a:cubicBezTo>
                    <a:pt x="2080" y="65"/>
                    <a:pt x="2080" y="65"/>
                    <a:pt x="2080" y="65"/>
                  </a:cubicBezTo>
                  <a:cubicBezTo>
                    <a:pt x="1089" y="862"/>
                    <a:pt x="1089" y="862"/>
                    <a:pt x="1089" y="862"/>
                  </a:cubicBezTo>
                  <a:cubicBezTo>
                    <a:pt x="1060" y="886"/>
                    <a:pt x="1020" y="886"/>
                    <a:pt x="991" y="862"/>
                  </a:cubicBezTo>
                  <a:lnTo>
                    <a:pt x="0" y="65"/>
                  </a:lnTo>
                  <a:close/>
                  <a:moveTo>
                    <a:pt x="1139" y="924"/>
                  </a:moveTo>
                  <a:cubicBezTo>
                    <a:pt x="1282" y="810"/>
                    <a:pt x="1282" y="810"/>
                    <a:pt x="1282" y="810"/>
                  </a:cubicBezTo>
                  <a:cubicBezTo>
                    <a:pt x="2076" y="1360"/>
                    <a:pt x="2076" y="1360"/>
                    <a:pt x="2076" y="1360"/>
                  </a:cubicBezTo>
                  <a:cubicBezTo>
                    <a:pt x="4" y="1360"/>
                    <a:pt x="4" y="1360"/>
                    <a:pt x="4" y="1360"/>
                  </a:cubicBezTo>
                  <a:cubicBezTo>
                    <a:pt x="798" y="810"/>
                    <a:pt x="798" y="810"/>
                    <a:pt x="798" y="810"/>
                  </a:cubicBezTo>
                  <a:cubicBezTo>
                    <a:pt x="941" y="924"/>
                    <a:pt x="941" y="924"/>
                    <a:pt x="941" y="924"/>
                  </a:cubicBezTo>
                  <a:cubicBezTo>
                    <a:pt x="1000" y="972"/>
                    <a:pt x="1080" y="972"/>
                    <a:pt x="1139" y="924"/>
                  </a:cubicBezTo>
                  <a:close/>
                  <a:moveTo>
                    <a:pt x="2" y="137"/>
                  </a:moveTo>
                  <a:cubicBezTo>
                    <a:pt x="8" y="163"/>
                    <a:pt x="22" y="185"/>
                    <a:pt x="42" y="201"/>
                  </a:cubicBezTo>
                  <a:cubicBezTo>
                    <a:pt x="734" y="758"/>
                    <a:pt x="734" y="758"/>
                    <a:pt x="734" y="758"/>
                  </a:cubicBezTo>
                  <a:cubicBezTo>
                    <a:pt x="0" y="1266"/>
                    <a:pt x="0" y="1266"/>
                    <a:pt x="0" y="1266"/>
                  </a:cubicBezTo>
                  <a:cubicBezTo>
                    <a:pt x="0" y="135"/>
                    <a:pt x="0" y="135"/>
                    <a:pt x="0" y="135"/>
                  </a:cubicBezTo>
                  <a:lnTo>
                    <a:pt x="2" y="137"/>
                  </a:lnTo>
                  <a:close/>
                  <a:moveTo>
                    <a:pt x="2080" y="136"/>
                  </a:moveTo>
                  <a:cubicBezTo>
                    <a:pt x="2080" y="1265"/>
                    <a:pt x="2080" y="1265"/>
                    <a:pt x="2080" y="1265"/>
                  </a:cubicBezTo>
                  <a:cubicBezTo>
                    <a:pt x="1346" y="758"/>
                    <a:pt x="1346" y="758"/>
                    <a:pt x="1346" y="758"/>
                  </a:cubicBezTo>
                  <a:cubicBezTo>
                    <a:pt x="2038" y="201"/>
                    <a:pt x="2038" y="201"/>
                    <a:pt x="2038" y="201"/>
                  </a:cubicBezTo>
                  <a:cubicBezTo>
                    <a:pt x="2060" y="182"/>
                    <a:pt x="2072" y="162"/>
                    <a:pt x="2080" y="13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000"/>
            </a:p>
          </p:txBody>
        </p:sp>
      </p:grpSp>
      <p:grpSp>
        <p:nvGrpSpPr>
          <p:cNvPr id="14" name="Gruppieren 2">
            <a:extLst>
              <a:ext uri="{FF2B5EF4-FFF2-40B4-BE49-F238E27FC236}">
                <a16:creationId xmlns:a16="http://schemas.microsoft.com/office/drawing/2014/main" id="{BE697CE9-EBDE-6B4A-BE70-582D92A8A831}"/>
              </a:ext>
            </a:extLst>
          </p:cNvPr>
          <p:cNvGrpSpPr/>
          <p:nvPr/>
        </p:nvGrpSpPr>
        <p:grpSpPr>
          <a:xfrm>
            <a:off x="8701918" y="2868319"/>
            <a:ext cx="171180" cy="171180"/>
            <a:chOff x="3392092" y="1841122"/>
            <a:chExt cx="646508" cy="646508"/>
          </a:xfrm>
        </p:grpSpPr>
        <p:sp>
          <p:nvSpPr>
            <p:cNvPr id="15" name="Rechteck 14">
              <a:extLst>
                <a:ext uri="{FF2B5EF4-FFF2-40B4-BE49-F238E27FC236}">
                  <a16:creationId xmlns:a16="http://schemas.microsoft.com/office/drawing/2014/main" id="{E142A731-19B7-C34D-9534-9E05108F895F}"/>
                </a:ext>
              </a:extLst>
            </p:cNvPr>
            <p:cNvSpPr>
              <a:spLocks noChangeAspect="1"/>
            </p:cNvSpPr>
            <p:nvPr/>
          </p:nvSpPr>
          <p:spPr bwMode="gray">
            <a:xfrm>
              <a:off x="3392092" y="1841122"/>
              <a:ext cx="646508" cy="646508"/>
            </a:xfrm>
            <a:prstGeom prst="rect">
              <a:avLst/>
            </a:prstGeom>
            <a:solidFill>
              <a:srgbClr val="E55A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pPr>
              <a:endParaRPr lang="en-US" sz="1000" dirty="0">
                <a:solidFill>
                  <a:schemeClr val="tx1"/>
                </a:solidFill>
                <a:latin typeface="Arial" pitchFamily="34" charset="0"/>
                <a:cs typeface="Arial" pitchFamily="34" charset="0"/>
              </a:endParaRPr>
            </a:p>
          </p:txBody>
        </p:sp>
        <p:sp>
          <p:nvSpPr>
            <p:cNvPr id="16" name="Freeform 15">
              <a:extLst>
                <a:ext uri="{FF2B5EF4-FFF2-40B4-BE49-F238E27FC236}">
                  <a16:creationId xmlns:a16="http://schemas.microsoft.com/office/drawing/2014/main" id="{F97E84AE-4AD9-4B44-9AA1-F797FC373809}"/>
                </a:ext>
              </a:extLst>
            </p:cNvPr>
            <p:cNvSpPr>
              <a:spLocks noChangeAspect="1"/>
            </p:cNvSpPr>
            <p:nvPr/>
          </p:nvSpPr>
          <p:spPr bwMode="auto">
            <a:xfrm>
              <a:off x="3546638" y="1970424"/>
              <a:ext cx="337415" cy="387905"/>
            </a:xfrm>
            <a:custGeom>
              <a:avLst/>
              <a:gdLst>
                <a:gd name="T0" fmla="*/ 573 w 1624"/>
                <a:gd name="T1" fmla="*/ 1257 h 1867"/>
                <a:gd name="T2" fmla="*/ 662 w 1624"/>
                <a:gd name="T3" fmla="*/ 1288 h 1867"/>
                <a:gd name="T4" fmla="*/ 938 w 1624"/>
                <a:gd name="T5" fmla="*/ 1051 h 1867"/>
                <a:gd name="T6" fmla="*/ 1106 w 1624"/>
                <a:gd name="T7" fmla="*/ 731 h 1867"/>
                <a:gd name="T8" fmla="*/ 1059 w 1624"/>
                <a:gd name="T9" fmla="*/ 645 h 1867"/>
                <a:gd name="T10" fmla="*/ 1001 w 1624"/>
                <a:gd name="T11" fmla="*/ 613 h 1867"/>
                <a:gd name="T12" fmla="*/ 924 w 1624"/>
                <a:gd name="T13" fmla="*/ 432 h 1867"/>
                <a:gd name="T14" fmla="*/ 1114 w 1624"/>
                <a:gd name="T15" fmla="*/ 81 h 1867"/>
                <a:gd name="T16" fmla="*/ 1287 w 1624"/>
                <a:gd name="T17" fmla="*/ 35 h 1867"/>
                <a:gd name="T18" fmla="*/ 1350 w 1624"/>
                <a:gd name="T19" fmla="*/ 69 h 1867"/>
                <a:gd name="T20" fmla="*/ 1527 w 1624"/>
                <a:gd name="T21" fmla="*/ 235 h 1867"/>
                <a:gd name="T22" fmla="*/ 1583 w 1624"/>
                <a:gd name="T23" fmla="*/ 555 h 1867"/>
                <a:gd name="T24" fmla="*/ 1172 w 1624"/>
                <a:gd name="T25" fmla="*/ 1253 h 1867"/>
                <a:gd name="T26" fmla="*/ 586 w 1624"/>
                <a:gd name="T27" fmla="*/ 1803 h 1867"/>
                <a:gd name="T28" fmla="*/ 269 w 1624"/>
                <a:gd name="T29" fmla="*/ 1807 h 1867"/>
                <a:gd name="T30" fmla="*/ 33 w 1624"/>
                <a:gd name="T31" fmla="*/ 1602 h 1867"/>
                <a:gd name="T32" fmla="*/ 2 w 1624"/>
                <a:gd name="T33" fmla="*/ 1508 h 1867"/>
                <a:gd name="T34" fmla="*/ 45 w 1624"/>
                <a:gd name="T35" fmla="*/ 1421 h 1867"/>
                <a:gd name="T36" fmla="*/ 346 w 1624"/>
                <a:gd name="T37" fmla="*/ 1158 h 1867"/>
                <a:gd name="T38" fmla="*/ 448 w 1624"/>
                <a:gd name="T39" fmla="*/ 1145 h 1867"/>
                <a:gd name="T40" fmla="*/ 573 w 1624"/>
                <a:gd name="T41" fmla="*/ 1257 h 18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24" h="1867">
                  <a:moveTo>
                    <a:pt x="573" y="1257"/>
                  </a:moveTo>
                  <a:cubicBezTo>
                    <a:pt x="592" y="1282"/>
                    <a:pt x="630" y="1303"/>
                    <a:pt x="662" y="1288"/>
                  </a:cubicBezTo>
                  <a:cubicBezTo>
                    <a:pt x="753" y="1245"/>
                    <a:pt x="854" y="1156"/>
                    <a:pt x="938" y="1051"/>
                  </a:cubicBezTo>
                  <a:cubicBezTo>
                    <a:pt x="1020" y="948"/>
                    <a:pt x="1084" y="831"/>
                    <a:pt x="1106" y="731"/>
                  </a:cubicBezTo>
                  <a:cubicBezTo>
                    <a:pt x="1113" y="696"/>
                    <a:pt x="1089" y="661"/>
                    <a:pt x="1059" y="645"/>
                  </a:cubicBezTo>
                  <a:cubicBezTo>
                    <a:pt x="1001" y="613"/>
                    <a:pt x="1001" y="613"/>
                    <a:pt x="1001" y="613"/>
                  </a:cubicBezTo>
                  <a:cubicBezTo>
                    <a:pt x="942" y="580"/>
                    <a:pt x="888" y="499"/>
                    <a:pt x="924" y="432"/>
                  </a:cubicBezTo>
                  <a:cubicBezTo>
                    <a:pt x="1114" y="81"/>
                    <a:pt x="1114" y="81"/>
                    <a:pt x="1114" y="81"/>
                  </a:cubicBezTo>
                  <a:cubicBezTo>
                    <a:pt x="1150" y="16"/>
                    <a:pt x="1224" y="0"/>
                    <a:pt x="1287" y="35"/>
                  </a:cubicBezTo>
                  <a:cubicBezTo>
                    <a:pt x="1350" y="69"/>
                    <a:pt x="1350" y="69"/>
                    <a:pt x="1350" y="69"/>
                  </a:cubicBezTo>
                  <a:cubicBezTo>
                    <a:pt x="1415" y="105"/>
                    <a:pt x="1479" y="165"/>
                    <a:pt x="1527" y="235"/>
                  </a:cubicBezTo>
                  <a:cubicBezTo>
                    <a:pt x="1593" y="332"/>
                    <a:pt x="1624" y="442"/>
                    <a:pt x="1583" y="555"/>
                  </a:cubicBezTo>
                  <a:cubicBezTo>
                    <a:pt x="1500" y="781"/>
                    <a:pt x="1351" y="1030"/>
                    <a:pt x="1172" y="1253"/>
                  </a:cubicBezTo>
                  <a:cubicBezTo>
                    <a:pt x="994" y="1477"/>
                    <a:pt x="786" y="1676"/>
                    <a:pt x="586" y="1803"/>
                  </a:cubicBezTo>
                  <a:cubicBezTo>
                    <a:pt x="486" y="1867"/>
                    <a:pt x="375" y="1856"/>
                    <a:pt x="269" y="1807"/>
                  </a:cubicBezTo>
                  <a:cubicBezTo>
                    <a:pt x="157" y="1755"/>
                    <a:pt x="106" y="1695"/>
                    <a:pt x="33" y="1602"/>
                  </a:cubicBezTo>
                  <a:cubicBezTo>
                    <a:pt x="11" y="1573"/>
                    <a:pt x="0" y="1540"/>
                    <a:pt x="2" y="1508"/>
                  </a:cubicBezTo>
                  <a:cubicBezTo>
                    <a:pt x="4" y="1475"/>
                    <a:pt x="18" y="1444"/>
                    <a:pt x="45" y="1421"/>
                  </a:cubicBezTo>
                  <a:cubicBezTo>
                    <a:pt x="70" y="1399"/>
                    <a:pt x="346" y="1158"/>
                    <a:pt x="346" y="1158"/>
                  </a:cubicBezTo>
                  <a:cubicBezTo>
                    <a:pt x="376" y="1134"/>
                    <a:pt x="413" y="1133"/>
                    <a:pt x="448" y="1145"/>
                  </a:cubicBezTo>
                  <a:cubicBezTo>
                    <a:pt x="510" y="1166"/>
                    <a:pt x="536" y="1210"/>
                    <a:pt x="573" y="1257"/>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350" dirty="0"/>
            </a:p>
          </p:txBody>
        </p:sp>
      </p:grpSp>
      <p:grpSp>
        <p:nvGrpSpPr>
          <p:cNvPr id="17" name="Group 3">
            <a:extLst>
              <a:ext uri="{FF2B5EF4-FFF2-40B4-BE49-F238E27FC236}">
                <a16:creationId xmlns:a16="http://schemas.microsoft.com/office/drawing/2014/main" id="{7104BADD-8CD1-6F4A-B894-869C3BDB3EEB}"/>
              </a:ext>
            </a:extLst>
          </p:cNvPr>
          <p:cNvGrpSpPr>
            <a:grpSpLocks noChangeAspect="1"/>
          </p:cNvGrpSpPr>
          <p:nvPr>
            <p:custDataLst>
              <p:tags r:id="rId2"/>
            </p:custDataLst>
          </p:nvPr>
        </p:nvGrpSpPr>
        <p:grpSpPr>
          <a:xfrm>
            <a:off x="8701919" y="3153207"/>
            <a:ext cx="171180" cy="171180"/>
            <a:chOff x="328396" y="5313940"/>
            <a:chExt cx="720000" cy="720000"/>
          </a:xfrm>
        </p:grpSpPr>
        <p:sp>
          <p:nvSpPr>
            <p:cNvPr id="18" name="Rectangle 4">
              <a:extLst>
                <a:ext uri="{FF2B5EF4-FFF2-40B4-BE49-F238E27FC236}">
                  <a16:creationId xmlns:a16="http://schemas.microsoft.com/office/drawing/2014/main" id="{74BE3D5F-1445-6E40-8B49-72E15568383B}"/>
                </a:ext>
              </a:extLst>
            </p:cNvPr>
            <p:cNvSpPr/>
            <p:nvPr/>
          </p:nvSpPr>
          <p:spPr bwMode="gray">
            <a:xfrm>
              <a:off x="328396" y="5313940"/>
              <a:ext cx="720000" cy="720000"/>
            </a:xfrm>
            <a:prstGeom prst="rect">
              <a:avLst/>
            </a:prstGeom>
            <a:solidFill>
              <a:srgbClr val="E55A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pPr>
              <a:endParaRPr lang="en-US" sz="1000" dirty="0">
                <a:solidFill>
                  <a:schemeClr val="tx1"/>
                </a:solidFill>
                <a:latin typeface="Arial" pitchFamily="34" charset="0"/>
                <a:cs typeface="Arial" pitchFamily="34" charset="0"/>
              </a:endParaRPr>
            </a:p>
          </p:txBody>
        </p:sp>
        <p:sp>
          <p:nvSpPr>
            <p:cNvPr id="19" name="Freeform 76">
              <a:extLst>
                <a:ext uri="{FF2B5EF4-FFF2-40B4-BE49-F238E27FC236}">
                  <a16:creationId xmlns:a16="http://schemas.microsoft.com/office/drawing/2014/main" id="{55DB3C95-7D0C-D141-901E-96D692794D2B}"/>
                </a:ext>
              </a:extLst>
            </p:cNvPr>
            <p:cNvSpPr>
              <a:spLocks noChangeAspect="1" noEditPoints="1"/>
            </p:cNvSpPr>
            <p:nvPr/>
          </p:nvSpPr>
          <p:spPr bwMode="auto">
            <a:xfrm>
              <a:off x="456202" y="5509222"/>
              <a:ext cx="504000" cy="329436"/>
            </a:xfrm>
            <a:custGeom>
              <a:avLst/>
              <a:gdLst>
                <a:gd name="T0" fmla="*/ 0 w 2080"/>
                <a:gd name="T1" fmla="*/ 65 h 1360"/>
                <a:gd name="T2" fmla="*/ 0 w 2080"/>
                <a:gd name="T3" fmla="*/ 0 h 1360"/>
                <a:gd name="T4" fmla="*/ 2080 w 2080"/>
                <a:gd name="T5" fmla="*/ 0 h 1360"/>
                <a:gd name="T6" fmla="*/ 2080 w 2080"/>
                <a:gd name="T7" fmla="*/ 65 h 1360"/>
                <a:gd name="T8" fmla="*/ 1089 w 2080"/>
                <a:gd name="T9" fmla="*/ 862 h 1360"/>
                <a:gd name="T10" fmla="*/ 991 w 2080"/>
                <a:gd name="T11" fmla="*/ 862 h 1360"/>
                <a:gd name="T12" fmla="*/ 0 w 2080"/>
                <a:gd name="T13" fmla="*/ 65 h 1360"/>
                <a:gd name="T14" fmla="*/ 1139 w 2080"/>
                <a:gd name="T15" fmla="*/ 924 h 1360"/>
                <a:gd name="T16" fmla="*/ 1282 w 2080"/>
                <a:gd name="T17" fmla="*/ 810 h 1360"/>
                <a:gd name="T18" fmla="*/ 2076 w 2080"/>
                <a:gd name="T19" fmla="*/ 1360 h 1360"/>
                <a:gd name="T20" fmla="*/ 4 w 2080"/>
                <a:gd name="T21" fmla="*/ 1360 h 1360"/>
                <a:gd name="T22" fmla="*/ 798 w 2080"/>
                <a:gd name="T23" fmla="*/ 810 h 1360"/>
                <a:gd name="T24" fmla="*/ 941 w 2080"/>
                <a:gd name="T25" fmla="*/ 924 h 1360"/>
                <a:gd name="T26" fmla="*/ 1139 w 2080"/>
                <a:gd name="T27" fmla="*/ 924 h 1360"/>
                <a:gd name="T28" fmla="*/ 2 w 2080"/>
                <a:gd name="T29" fmla="*/ 137 h 1360"/>
                <a:gd name="T30" fmla="*/ 42 w 2080"/>
                <a:gd name="T31" fmla="*/ 201 h 1360"/>
                <a:gd name="T32" fmla="*/ 734 w 2080"/>
                <a:gd name="T33" fmla="*/ 758 h 1360"/>
                <a:gd name="T34" fmla="*/ 0 w 2080"/>
                <a:gd name="T35" fmla="*/ 1266 h 1360"/>
                <a:gd name="T36" fmla="*/ 0 w 2080"/>
                <a:gd name="T37" fmla="*/ 135 h 1360"/>
                <a:gd name="T38" fmla="*/ 2 w 2080"/>
                <a:gd name="T39" fmla="*/ 137 h 1360"/>
                <a:gd name="T40" fmla="*/ 2080 w 2080"/>
                <a:gd name="T41" fmla="*/ 136 h 1360"/>
                <a:gd name="T42" fmla="*/ 2080 w 2080"/>
                <a:gd name="T43" fmla="*/ 1265 h 1360"/>
                <a:gd name="T44" fmla="*/ 1346 w 2080"/>
                <a:gd name="T45" fmla="*/ 758 h 1360"/>
                <a:gd name="T46" fmla="*/ 2038 w 2080"/>
                <a:gd name="T47" fmla="*/ 201 h 1360"/>
                <a:gd name="T48" fmla="*/ 2080 w 2080"/>
                <a:gd name="T49" fmla="*/ 136 h 1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080" h="1360">
                  <a:moveTo>
                    <a:pt x="0" y="65"/>
                  </a:moveTo>
                  <a:cubicBezTo>
                    <a:pt x="0" y="0"/>
                    <a:pt x="0" y="0"/>
                    <a:pt x="0" y="0"/>
                  </a:cubicBezTo>
                  <a:cubicBezTo>
                    <a:pt x="2080" y="0"/>
                    <a:pt x="2080" y="0"/>
                    <a:pt x="2080" y="0"/>
                  </a:cubicBezTo>
                  <a:cubicBezTo>
                    <a:pt x="2080" y="65"/>
                    <a:pt x="2080" y="65"/>
                    <a:pt x="2080" y="65"/>
                  </a:cubicBezTo>
                  <a:cubicBezTo>
                    <a:pt x="1089" y="862"/>
                    <a:pt x="1089" y="862"/>
                    <a:pt x="1089" y="862"/>
                  </a:cubicBezTo>
                  <a:cubicBezTo>
                    <a:pt x="1060" y="886"/>
                    <a:pt x="1020" y="886"/>
                    <a:pt x="991" y="862"/>
                  </a:cubicBezTo>
                  <a:lnTo>
                    <a:pt x="0" y="65"/>
                  </a:lnTo>
                  <a:close/>
                  <a:moveTo>
                    <a:pt x="1139" y="924"/>
                  </a:moveTo>
                  <a:cubicBezTo>
                    <a:pt x="1282" y="810"/>
                    <a:pt x="1282" y="810"/>
                    <a:pt x="1282" y="810"/>
                  </a:cubicBezTo>
                  <a:cubicBezTo>
                    <a:pt x="2076" y="1360"/>
                    <a:pt x="2076" y="1360"/>
                    <a:pt x="2076" y="1360"/>
                  </a:cubicBezTo>
                  <a:cubicBezTo>
                    <a:pt x="4" y="1360"/>
                    <a:pt x="4" y="1360"/>
                    <a:pt x="4" y="1360"/>
                  </a:cubicBezTo>
                  <a:cubicBezTo>
                    <a:pt x="798" y="810"/>
                    <a:pt x="798" y="810"/>
                    <a:pt x="798" y="810"/>
                  </a:cubicBezTo>
                  <a:cubicBezTo>
                    <a:pt x="941" y="924"/>
                    <a:pt x="941" y="924"/>
                    <a:pt x="941" y="924"/>
                  </a:cubicBezTo>
                  <a:cubicBezTo>
                    <a:pt x="1000" y="972"/>
                    <a:pt x="1080" y="972"/>
                    <a:pt x="1139" y="924"/>
                  </a:cubicBezTo>
                  <a:close/>
                  <a:moveTo>
                    <a:pt x="2" y="137"/>
                  </a:moveTo>
                  <a:cubicBezTo>
                    <a:pt x="8" y="163"/>
                    <a:pt x="22" y="185"/>
                    <a:pt x="42" y="201"/>
                  </a:cubicBezTo>
                  <a:cubicBezTo>
                    <a:pt x="734" y="758"/>
                    <a:pt x="734" y="758"/>
                    <a:pt x="734" y="758"/>
                  </a:cubicBezTo>
                  <a:cubicBezTo>
                    <a:pt x="0" y="1266"/>
                    <a:pt x="0" y="1266"/>
                    <a:pt x="0" y="1266"/>
                  </a:cubicBezTo>
                  <a:cubicBezTo>
                    <a:pt x="0" y="135"/>
                    <a:pt x="0" y="135"/>
                    <a:pt x="0" y="135"/>
                  </a:cubicBezTo>
                  <a:lnTo>
                    <a:pt x="2" y="137"/>
                  </a:lnTo>
                  <a:close/>
                  <a:moveTo>
                    <a:pt x="2080" y="136"/>
                  </a:moveTo>
                  <a:cubicBezTo>
                    <a:pt x="2080" y="1265"/>
                    <a:pt x="2080" y="1265"/>
                    <a:pt x="2080" y="1265"/>
                  </a:cubicBezTo>
                  <a:cubicBezTo>
                    <a:pt x="1346" y="758"/>
                    <a:pt x="1346" y="758"/>
                    <a:pt x="1346" y="758"/>
                  </a:cubicBezTo>
                  <a:cubicBezTo>
                    <a:pt x="2038" y="201"/>
                    <a:pt x="2038" y="201"/>
                    <a:pt x="2038" y="201"/>
                  </a:cubicBezTo>
                  <a:cubicBezTo>
                    <a:pt x="2060" y="182"/>
                    <a:pt x="2072" y="162"/>
                    <a:pt x="2080" y="13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000"/>
            </a:p>
          </p:txBody>
        </p:sp>
      </p:grpSp>
      <p:cxnSp>
        <p:nvCxnSpPr>
          <p:cNvPr id="20" name="Straight Connector 19"/>
          <p:cNvCxnSpPr/>
          <p:nvPr/>
        </p:nvCxnSpPr>
        <p:spPr>
          <a:xfrm>
            <a:off x="2371725" y="3478213"/>
            <a:ext cx="3888000" cy="0"/>
          </a:xfrm>
          <a:prstGeom prst="line">
            <a:avLst/>
          </a:prstGeom>
          <a:ln w="6350">
            <a:solidFill>
              <a:schemeClr val="tx2"/>
            </a:solidFill>
            <a:prstDash val="dash"/>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p:nvCxnSpPr>
        <p:spPr>
          <a:xfrm>
            <a:off x="7287767" y="3478213"/>
            <a:ext cx="3888000" cy="0"/>
          </a:xfrm>
          <a:prstGeom prst="line">
            <a:avLst/>
          </a:prstGeom>
          <a:ln w="6350">
            <a:solidFill>
              <a:schemeClr val="tx2"/>
            </a:solidFill>
            <a:prstDash val="dash"/>
          </a:ln>
        </p:spPr>
        <p:style>
          <a:lnRef idx="1">
            <a:schemeClr val="accent1"/>
          </a:lnRef>
          <a:fillRef idx="0">
            <a:schemeClr val="accent1"/>
          </a:fillRef>
          <a:effectRef idx="0">
            <a:schemeClr val="accent1"/>
          </a:effectRef>
          <a:fontRef idx="minor">
            <a:schemeClr val="tx1"/>
          </a:fontRef>
        </p:style>
      </p:cxnSp>
      <p:sp>
        <p:nvSpPr>
          <p:cNvPr id="4" name="Picture Placeholder 3"/>
          <p:cNvSpPr>
            <a:spLocks noGrp="1"/>
          </p:cNvSpPr>
          <p:nvPr>
            <p:ph type="pic" sz="quarter" idx="17" hasCustomPrompt="1"/>
          </p:nvPr>
        </p:nvSpPr>
        <p:spPr>
          <a:xfrm>
            <a:off x="2355915" y="1808984"/>
            <a:ext cx="1188677" cy="1547839"/>
          </a:xfrm>
          <a:solidFill>
            <a:srgbClr val="D9DADB"/>
          </a:solidFill>
        </p:spPr>
        <p:txBody>
          <a:bodyPr/>
          <a:lstStyle>
            <a:lvl1pPr marL="0" indent="0">
              <a:buNone/>
              <a:defRPr sz="1400"/>
            </a:lvl1pPr>
          </a:lstStyle>
          <a:p>
            <a:r>
              <a:rPr lang="en-US" dirty="0"/>
              <a:t>Insert picture</a:t>
            </a:r>
          </a:p>
        </p:txBody>
      </p:sp>
      <p:sp>
        <p:nvSpPr>
          <p:cNvPr id="25" name="Picture Placeholder 3"/>
          <p:cNvSpPr>
            <a:spLocks noGrp="1"/>
          </p:cNvSpPr>
          <p:nvPr>
            <p:ph type="pic" sz="quarter" idx="18" hasCustomPrompt="1"/>
          </p:nvPr>
        </p:nvSpPr>
        <p:spPr>
          <a:xfrm>
            <a:off x="7287767" y="1808984"/>
            <a:ext cx="1188677" cy="1547839"/>
          </a:xfrm>
          <a:solidFill>
            <a:srgbClr val="D9DADB"/>
          </a:solidFill>
        </p:spPr>
        <p:txBody>
          <a:bodyPr/>
          <a:lstStyle>
            <a:lvl1pPr marL="0" indent="0">
              <a:buNone/>
              <a:defRPr sz="1400"/>
            </a:lvl1pPr>
          </a:lstStyle>
          <a:p>
            <a:r>
              <a:rPr lang="en-US" dirty="0"/>
              <a:t>Insert picture</a:t>
            </a:r>
          </a:p>
        </p:txBody>
      </p:sp>
      <p:sp>
        <p:nvSpPr>
          <p:cNvPr id="6" name="Text Placeholder 5"/>
          <p:cNvSpPr>
            <a:spLocks noGrp="1"/>
          </p:cNvSpPr>
          <p:nvPr>
            <p:ph type="body" sz="quarter" idx="19" hasCustomPrompt="1"/>
          </p:nvPr>
        </p:nvSpPr>
        <p:spPr>
          <a:xfrm>
            <a:off x="3770066" y="1808521"/>
            <a:ext cx="2463191" cy="192361"/>
          </a:xfrm>
        </p:spPr>
        <p:txBody>
          <a:bodyPr lIns="0" tIns="0" rIns="0" bIns="0" anchor="ctr" anchorCtr="0"/>
          <a:lstStyle>
            <a:lvl1pPr marL="0" indent="0" algn="l">
              <a:lnSpc>
                <a:spcPct val="100000"/>
              </a:lnSpc>
              <a:buNone/>
              <a:defRPr sz="100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Country</a:t>
            </a:r>
          </a:p>
        </p:txBody>
      </p:sp>
      <p:sp>
        <p:nvSpPr>
          <p:cNvPr id="26" name="Text Placeholder 5"/>
          <p:cNvSpPr>
            <a:spLocks noGrp="1"/>
          </p:cNvSpPr>
          <p:nvPr>
            <p:ph type="body" sz="quarter" idx="20" hasCustomPrompt="1"/>
          </p:nvPr>
        </p:nvSpPr>
        <p:spPr>
          <a:xfrm>
            <a:off x="3770066" y="2020337"/>
            <a:ext cx="2463191" cy="266182"/>
          </a:xfrm>
        </p:spPr>
        <p:txBody>
          <a:bodyPr lIns="0" tIns="0" rIns="0" bIns="0" anchor="b" anchorCtr="0"/>
          <a:lstStyle>
            <a:lvl1pPr marL="0" indent="0" algn="l">
              <a:lnSpc>
                <a:spcPct val="100000"/>
              </a:lnSpc>
              <a:buNone/>
              <a:defRPr sz="1400" b="1" baseline="0">
                <a:solidFill>
                  <a:schemeClr val="tx2"/>
                </a:solidFill>
              </a:defRPr>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Name, Surname</a:t>
            </a:r>
          </a:p>
        </p:txBody>
      </p:sp>
      <p:sp>
        <p:nvSpPr>
          <p:cNvPr id="27" name="Text Placeholder 5"/>
          <p:cNvSpPr>
            <a:spLocks noGrp="1"/>
          </p:cNvSpPr>
          <p:nvPr>
            <p:ph type="body" sz="quarter" idx="21" hasCustomPrompt="1"/>
          </p:nvPr>
        </p:nvSpPr>
        <p:spPr>
          <a:xfrm>
            <a:off x="3770066" y="2316912"/>
            <a:ext cx="2463191" cy="192361"/>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Job Position</a:t>
            </a:r>
          </a:p>
        </p:txBody>
      </p:sp>
      <p:sp>
        <p:nvSpPr>
          <p:cNvPr id="28" name="Text Placeholder 5"/>
          <p:cNvSpPr>
            <a:spLocks noGrp="1"/>
          </p:cNvSpPr>
          <p:nvPr>
            <p:ph type="body" sz="quarter" idx="22" hasCustomPrompt="1"/>
          </p:nvPr>
        </p:nvSpPr>
        <p:spPr>
          <a:xfrm>
            <a:off x="4014949" y="2845589"/>
            <a:ext cx="2218307" cy="192361"/>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Phone number</a:t>
            </a:r>
          </a:p>
        </p:txBody>
      </p:sp>
      <p:sp>
        <p:nvSpPr>
          <p:cNvPr id="29" name="Text Placeholder 5"/>
          <p:cNvSpPr>
            <a:spLocks noGrp="1"/>
          </p:cNvSpPr>
          <p:nvPr>
            <p:ph type="body" sz="quarter" idx="23" hasCustomPrompt="1"/>
          </p:nvPr>
        </p:nvSpPr>
        <p:spPr>
          <a:xfrm>
            <a:off x="4014949" y="3128395"/>
            <a:ext cx="2218307" cy="192361"/>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Email address</a:t>
            </a:r>
          </a:p>
        </p:txBody>
      </p:sp>
      <p:sp>
        <p:nvSpPr>
          <p:cNvPr id="30" name="Text Placeholder 5"/>
          <p:cNvSpPr>
            <a:spLocks noGrp="1"/>
          </p:cNvSpPr>
          <p:nvPr>
            <p:ph type="body" sz="quarter" idx="24" hasCustomPrompt="1"/>
          </p:nvPr>
        </p:nvSpPr>
        <p:spPr>
          <a:xfrm>
            <a:off x="8701918" y="1808521"/>
            <a:ext cx="2463191" cy="192361"/>
          </a:xfrm>
        </p:spPr>
        <p:txBody>
          <a:bodyPr lIns="0" tIns="0" rIns="0" bIns="0" anchor="ctr" anchorCtr="0"/>
          <a:lstStyle>
            <a:lvl1pPr marL="0" indent="0" algn="l">
              <a:lnSpc>
                <a:spcPct val="100000"/>
              </a:lnSpc>
              <a:buNone/>
              <a:defRPr sz="100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Country</a:t>
            </a:r>
          </a:p>
        </p:txBody>
      </p:sp>
      <p:sp>
        <p:nvSpPr>
          <p:cNvPr id="31" name="Text Placeholder 5"/>
          <p:cNvSpPr>
            <a:spLocks noGrp="1"/>
          </p:cNvSpPr>
          <p:nvPr>
            <p:ph type="body" sz="quarter" idx="25" hasCustomPrompt="1"/>
          </p:nvPr>
        </p:nvSpPr>
        <p:spPr>
          <a:xfrm>
            <a:off x="8701918" y="2020337"/>
            <a:ext cx="2463191" cy="266182"/>
          </a:xfrm>
        </p:spPr>
        <p:txBody>
          <a:bodyPr lIns="0" tIns="0" rIns="0" bIns="0" anchor="b" anchorCtr="0"/>
          <a:lstStyle>
            <a:lvl1pPr marL="0" indent="0" algn="l">
              <a:lnSpc>
                <a:spcPct val="100000"/>
              </a:lnSpc>
              <a:buNone/>
              <a:defRPr sz="1400" b="1" baseline="0">
                <a:solidFill>
                  <a:schemeClr val="tx2"/>
                </a:solidFill>
              </a:defRPr>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Name, Surname</a:t>
            </a:r>
          </a:p>
        </p:txBody>
      </p:sp>
      <p:sp>
        <p:nvSpPr>
          <p:cNvPr id="32" name="Text Placeholder 5"/>
          <p:cNvSpPr>
            <a:spLocks noGrp="1"/>
          </p:cNvSpPr>
          <p:nvPr>
            <p:ph type="body" sz="quarter" idx="26" hasCustomPrompt="1"/>
          </p:nvPr>
        </p:nvSpPr>
        <p:spPr>
          <a:xfrm>
            <a:off x="8701918" y="2316912"/>
            <a:ext cx="2463191" cy="192361"/>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Job Position</a:t>
            </a:r>
          </a:p>
        </p:txBody>
      </p:sp>
      <p:sp>
        <p:nvSpPr>
          <p:cNvPr id="33" name="Text Placeholder 5"/>
          <p:cNvSpPr>
            <a:spLocks noGrp="1"/>
          </p:cNvSpPr>
          <p:nvPr>
            <p:ph type="body" sz="quarter" idx="27" hasCustomPrompt="1"/>
          </p:nvPr>
        </p:nvSpPr>
        <p:spPr>
          <a:xfrm>
            <a:off x="8946801" y="2845589"/>
            <a:ext cx="2218307" cy="192361"/>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Phone number</a:t>
            </a:r>
          </a:p>
        </p:txBody>
      </p:sp>
      <p:sp>
        <p:nvSpPr>
          <p:cNvPr id="34" name="Text Placeholder 5"/>
          <p:cNvSpPr>
            <a:spLocks noGrp="1"/>
          </p:cNvSpPr>
          <p:nvPr>
            <p:ph type="body" sz="quarter" idx="28" hasCustomPrompt="1"/>
          </p:nvPr>
        </p:nvSpPr>
        <p:spPr>
          <a:xfrm>
            <a:off x="8946801" y="3128395"/>
            <a:ext cx="2218307" cy="192361"/>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Email address</a:t>
            </a:r>
          </a:p>
        </p:txBody>
      </p:sp>
      <p:grpSp>
        <p:nvGrpSpPr>
          <p:cNvPr id="35" name="Gruppieren 2">
            <a:extLst>
              <a:ext uri="{FF2B5EF4-FFF2-40B4-BE49-F238E27FC236}">
                <a16:creationId xmlns:a16="http://schemas.microsoft.com/office/drawing/2014/main" id="{BE697CE9-EBDE-6B4A-BE70-582D92A8A831}"/>
              </a:ext>
            </a:extLst>
          </p:cNvPr>
          <p:cNvGrpSpPr/>
          <p:nvPr/>
        </p:nvGrpSpPr>
        <p:grpSpPr>
          <a:xfrm>
            <a:off x="3770066" y="5045939"/>
            <a:ext cx="171180" cy="171180"/>
            <a:chOff x="3392092" y="1841122"/>
            <a:chExt cx="646508" cy="646508"/>
          </a:xfrm>
        </p:grpSpPr>
        <p:sp>
          <p:nvSpPr>
            <p:cNvPr id="36" name="Rechteck 14">
              <a:extLst>
                <a:ext uri="{FF2B5EF4-FFF2-40B4-BE49-F238E27FC236}">
                  <a16:creationId xmlns:a16="http://schemas.microsoft.com/office/drawing/2014/main" id="{E142A731-19B7-C34D-9534-9E05108F895F}"/>
                </a:ext>
              </a:extLst>
            </p:cNvPr>
            <p:cNvSpPr>
              <a:spLocks noChangeAspect="1"/>
            </p:cNvSpPr>
            <p:nvPr/>
          </p:nvSpPr>
          <p:spPr bwMode="gray">
            <a:xfrm>
              <a:off x="3392092" y="1841122"/>
              <a:ext cx="646508" cy="646508"/>
            </a:xfrm>
            <a:prstGeom prst="rect">
              <a:avLst/>
            </a:prstGeom>
            <a:solidFill>
              <a:srgbClr val="E55A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pPr>
              <a:endParaRPr lang="en-US" sz="1000" dirty="0">
                <a:solidFill>
                  <a:schemeClr val="tx1"/>
                </a:solidFill>
                <a:latin typeface="Arial" pitchFamily="34" charset="0"/>
                <a:cs typeface="Arial" pitchFamily="34" charset="0"/>
              </a:endParaRPr>
            </a:p>
          </p:txBody>
        </p:sp>
        <p:sp>
          <p:nvSpPr>
            <p:cNvPr id="37" name="Freeform 36">
              <a:extLst>
                <a:ext uri="{FF2B5EF4-FFF2-40B4-BE49-F238E27FC236}">
                  <a16:creationId xmlns:a16="http://schemas.microsoft.com/office/drawing/2014/main" id="{F97E84AE-4AD9-4B44-9AA1-F797FC373809}"/>
                </a:ext>
              </a:extLst>
            </p:cNvPr>
            <p:cNvSpPr>
              <a:spLocks noChangeAspect="1"/>
            </p:cNvSpPr>
            <p:nvPr/>
          </p:nvSpPr>
          <p:spPr bwMode="auto">
            <a:xfrm>
              <a:off x="3546638" y="1970424"/>
              <a:ext cx="337415" cy="387905"/>
            </a:xfrm>
            <a:custGeom>
              <a:avLst/>
              <a:gdLst>
                <a:gd name="T0" fmla="*/ 573 w 1624"/>
                <a:gd name="T1" fmla="*/ 1257 h 1867"/>
                <a:gd name="T2" fmla="*/ 662 w 1624"/>
                <a:gd name="T3" fmla="*/ 1288 h 1867"/>
                <a:gd name="T4" fmla="*/ 938 w 1624"/>
                <a:gd name="T5" fmla="*/ 1051 h 1867"/>
                <a:gd name="T6" fmla="*/ 1106 w 1624"/>
                <a:gd name="T7" fmla="*/ 731 h 1867"/>
                <a:gd name="T8" fmla="*/ 1059 w 1624"/>
                <a:gd name="T9" fmla="*/ 645 h 1867"/>
                <a:gd name="T10" fmla="*/ 1001 w 1624"/>
                <a:gd name="T11" fmla="*/ 613 h 1867"/>
                <a:gd name="T12" fmla="*/ 924 w 1624"/>
                <a:gd name="T13" fmla="*/ 432 h 1867"/>
                <a:gd name="T14" fmla="*/ 1114 w 1624"/>
                <a:gd name="T15" fmla="*/ 81 h 1867"/>
                <a:gd name="T16" fmla="*/ 1287 w 1624"/>
                <a:gd name="T17" fmla="*/ 35 h 1867"/>
                <a:gd name="T18" fmla="*/ 1350 w 1624"/>
                <a:gd name="T19" fmla="*/ 69 h 1867"/>
                <a:gd name="T20" fmla="*/ 1527 w 1624"/>
                <a:gd name="T21" fmla="*/ 235 h 1867"/>
                <a:gd name="T22" fmla="*/ 1583 w 1624"/>
                <a:gd name="T23" fmla="*/ 555 h 1867"/>
                <a:gd name="T24" fmla="*/ 1172 w 1624"/>
                <a:gd name="T25" fmla="*/ 1253 h 1867"/>
                <a:gd name="T26" fmla="*/ 586 w 1624"/>
                <a:gd name="T27" fmla="*/ 1803 h 1867"/>
                <a:gd name="T28" fmla="*/ 269 w 1624"/>
                <a:gd name="T29" fmla="*/ 1807 h 1867"/>
                <a:gd name="T30" fmla="*/ 33 w 1624"/>
                <a:gd name="T31" fmla="*/ 1602 h 1867"/>
                <a:gd name="T32" fmla="*/ 2 w 1624"/>
                <a:gd name="T33" fmla="*/ 1508 h 1867"/>
                <a:gd name="T34" fmla="*/ 45 w 1624"/>
                <a:gd name="T35" fmla="*/ 1421 h 1867"/>
                <a:gd name="T36" fmla="*/ 346 w 1624"/>
                <a:gd name="T37" fmla="*/ 1158 h 1867"/>
                <a:gd name="T38" fmla="*/ 448 w 1624"/>
                <a:gd name="T39" fmla="*/ 1145 h 1867"/>
                <a:gd name="T40" fmla="*/ 573 w 1624"/>
                <a:gd name="T41" fmla="*/ 1257 h 18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24" h="1867">
                  <a:moveTo>
                    <a:pt x="573" y="1257"/>
                  </a:moveTo>
                  <a:cubicBezTo>
                    <a:pt x="592" y="1282"/>
                    <a:pt x="630" y="1303"/>
                    <a:pt x="662" y="1288"/>
                  </a:cubicBezTo>
                  <a:cubicBezTo>
                    <a:pt x="753" y="1245"/>
                    <a:pt x="854" y="1156"/>
                    <a:pt x="938" y="1051"/>
                  </a:cubicBezTo>
                  <a:cubicBezTo>
                    <a:pt x="1020" y="948"/>
                    <a:pt x="1084" y="831"/>
                    <a:pt x="1106" y="731"/>
                  </a:cubicBezTo>
                  <a:cubicBezTo>
                    <a:pt x="1113" y="696"/>
                    <a:pt x="1089" y="661"/>
                    <a:pt x="1059" y="645"/>
                  </a:cubicBezTo>
                  <a:cubicBezTo>
                    <a:pt x="1001" y="613"/>
                    <a:pt x="1001" y="613"/>
                    <a:pt x="1001" y="613"/>
                  </a:cubicBezTo>
                  <a:cubicBezTo>
                    <a:pt x="942" y="580"/>
                    <a:pt x="888" y="499"/>
                    <a:pt x="924" y="432"/>
                  </a:cubicBezTo>
                  <a:cubicBezTo>
                    <a:pt x="1114" y="81"/>
                    <a:pt x="1114" y="81"/>
                    <a:pt x="1114" y="81"/>
                  </a:cubicBezTo>
                  <a:cubicBezTo>
                    <a:pt x="1150" y="16"/>
                    <a:pt x="1224" y="0"/>
                    <a:pt x="1287" y="35"/>
                  </a:cubicBezTo>
                  <a:cubicBezTo>
                    <a:pt x="1350" y="69"/>
                    <a:pt x="1350" y="69"/>
                    <a:pt x="1350" y="69"/>
                  </a:cubicBezTo>
                  <a:cubicBezTo>
                    <a:pt x="1415" y="105"/>
                    <a:pt x="1479" y="165"/>
                    <a:pt x="1527" y="235"/>
                  </a:cubicBezTo>
                  <a:cubicBezTo>
                    <a:pt x="1593" y="332"/>
                    <a:pt x="1624" y="442"/>
                    <a:pt x="1583" y="555"/>
                  </a:cubicBezTo>
                  <a:cubicBezTo>
                    <a:pt x="1500" y="781"/>
                    <a:pt x="1351" y="1030"/>
                    <a:pt x="1172" y="1253"/>
                  </a:cubicBezTo>
                  <a:cubicBezTo>
                    <a:pt x="994" y="1477"/>
                    <a:pt x="786" y="1676"/>
                    <a:pt x="586" y="1803"/>
                  </a:cubicBezTo>
                  <a:cubicBezTo>
                    <a:pt x="486" y="1867"/>
                    <a:pt x="375" y="1856"/>
                    <a:pt x="269" y="1807"/>
                  </a:cubicBezTo>
                  <a:cubicBezTo>
                    <a:pt x="157" y="1755"/>
                    <a:pt x="106" y="1695"/>
                    <a:pt x="33" y="1602"/>
                  </a:cubicBezTo>
                  <a:cubicBezTo>
                    <a:pt x="11" y="1573"/>
                    <a:pt x="0" y="1540"/>
                    <a:pt x="2" y="1508"/>
                  </a:cubicBezTo>
                  <a:cubicBezTo>
                    <a:pt x="4" y="1475"/>
                    <a:pt x="18" y="1444"/>
                    <a:pt x="45" y="1421"/>
                  </a:cubicBezTo>
                  <a:cubicBezTo>
                    <a:pt x="70" y="1399"/>
                    <a:pt x="346" y="1158"/>
                    <a:pt x="346" y="1158"/>
                  </a:cubicBezTo>
                  <a:cubicBezTo>
                    <a:pt x="376" y="1134"/>
                    <a:pt x="413" y="1133"/>
                    <a:pt x="448" y="1145"/>
                  </a:cubicBezTo>
                  <a:cubicBezTo>
                    <a:pt x="510" y="1166"/>
                    <a:pt x="536" y="1210"/>
                    <a:pt x="573" y="1257"/>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350" dirty="0"/>
            </a:p>
          </p:txBody>
        </p:sp>
      </p:grpSp>
      <p:grpSp>
        <p:nvGrpSpPr>
          <p:cNvPr id="38" name="Group 3">
            <a:extLst>
              <a:ext uri="{FF2B5EF4-FFF2-40B4-BE49-F238E27FC236}">
                <a16:creationId xmlns:a16="http://schemas.microsoft.com/office/drawing/2014/main" id="{7104BADD-8CD1-6F4A-B894-869C3BDB3EEB}"/>
              </a:ext>
            </a:extLst>
          </p:cNvPr>
          <p:cNvGrpSpPr>
            <a:grpSpLocks noChangeAspect="1"/>
          </p:cNvGrpSpPr>
          <p:nvPr>
            <p:custDataLst>
              <p:tags r:id="rId3"/>
            </p:custDataLst>
          </p:nvPr>
        </p:nvGrpSpPr>
        <p:grpSpPr>
          <a:xfrm>
            <a:off x="3770067" y="5330827"/>
            <a:ext cx="171180" cy="171180"/>
            <a:chOff x="328396" y="5313940"/>
            <a:chExt cx="720000" cy="720000"/>
          </a:xfrm>
        </p:grpSpPr>
        <p:sp>
          <p:nvSpPr>
            <p:cNvPr id="39" name="Rectangle 4">
              <a:extLst>
                <a:ext uri="{FF2B5EF4-FFF2-40B4-BE49-F238E27FC236}">
                  <a16:creationId xmlns:a16="http://schemas.microsoft.com/office/drawing/2014/main" id="{74BE3D5F-1445-6E40-8B49-72E15568383B}"/>
                </a:ext>
              </a:extLst>
            </p:cNvPr>
            <p:cNvSpPr/>
            <p:nvPr/>
          </p:nvSpPr>
          <p:spPr bwMode="gray">
            <a:xfrm>
              <a:off x="328396" y="5313940"/>
              <a:ext cx="720000" cy="720000"/>
            </a:xfrm>
            <a:prstGeom prst="rect">
              <a:avLst/>
            </a:prstGeom>
            <a:solidFill>
              <a:srgbClr val="E55A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pPr>
              <a:endParaRPr lang="en-US" sz="1000" dirty="0">
                <a:solidFill>
                  <a:schemeClr val="tx1"/>
                </a:solidFill>
                <a:latin typeface="Arial" pitchFamily="34" charset="0"/>
                <a:cs typeface="Arial" pitchFamily="34" charset="0"/>
              </a:endParaRPr>
            </a:p>
          </p:txBody>
        </p:sp>
        <p:sp>
          <p:nvSpPr>
            <p:cNvPr id="40" name="Freeform 76">
              <a:extLst>
                <a:ext uri="{FF2B5EF4-FFF2-40B4-BE49-F238E27FC236}">
                  <a16:creationId xmlns:a16="http://schemas.microsoft.com/office/drawing/2014/main" id="{55DB3C95-7D0C-D141-901E-96D692794D2B}"/>
                </a:ext>
              </a:extLst>
            </p:cNvPr>
            <p:cNvSpPr>
              <a:spLocks noChangeAspect="1" noEditPoints="1"/>
            </p:cNvSpPr>
            <p:nvPr/>
          </p:nvSpPr>
          <p:spPr bwMode="auto">
            <a:xfrm>
              <a:off x="456202" y="5509222"/>
              <a:ext cx="504000" cy="329436"/>
            </a:xfrm>
            <a:custGeom>
              <a:avLst/>
              <a:gdLst>
                <a:gd name="T0" fmla="*/ 0 w 2080"/>
                <a:gd name="T1" fmla="*/ 65 h 1360"/>
                <a:gd name="T2" fmla="*/ 0 w 2080"/>
                <a:gd name="T3" fmla="*/ 0 h 1360"/>
                <a:gd name="T4" fmla="*/ 2080 w 2080"/>
                <a:gd name="T5" fmla="*/ 0 h 1360"/>
                <a:gd name="T6" fmla="*/ 2080 w 2080"/>
                <a:gd name="T7" fmla="*/ 65 h 1360"/>
                <a:gd name="T8" fmla="*/ 1089 w 2080"/>
                <a:gd name="T9" fmla="*/ 862 h 1360"/>
                <a:gd name="T10" fmla="*/ 991 w 2080"/>
                <a:gd name="T11" fmla="*/ 862 h 1360"/>
                <a:gd name="T12" fmla="*/ 0 w 2080"/>
                <a:gd name="T13" fmla="*/ 65 h 1360"/>
                <a:gd name="T14" fmla="*/ 1139 w 2080"/>
                <a:gd name="T15" fmla="*/ 924 h 1360"/>
                <a:gd name="T16" fmla="*/ 1282 w 2080"/>
                <a:gd name="T17" fmla="*/ 810 h 1360"/>
                <a:gd name="T18" fmla="*/ 2076 w 2080"/>
                <a:gd name="T19" fmla="*/ 1360 h 1360"/>
                <a:gd name="T20" fmla="*/ 4 w 2080"/>
                <a:gd name="T21" fmla="*/ 1360 h 1360"/>
                <a:gd name="T22" fmla="*/ 798 w 2080"/>
                <a:gd name="T23" fmla="*/ 810 h 1360"/>
                <a:gd name="T24" fmla="*/ 941 w 2080"/>
                <a:gd name="T25" fmla="*/ 924 h 1360"/>
                <a:gd name="T26" fmla="*/ 1139 w 2080"/>
                <a:gd name="T27" fmla="*/ 924 h 1360"/>
                <a:gd name="T28" fmla="*/ 2 w 2080"/>
                <a:gd name="T29" fmla="*/ 137 h 1360"/>
                <a:gd name="T30" fmla="*/ 42 w 2080"/>
                <a:gd name="T31" fmla="*/ 201 h 1360"/>
                <a:gd name="T32" fmla="*/ 734 w 2080"/>
                <a:gd name="T33" fmla="*/ 758 h 1360"/>
                <a:gd name="T34" fmla="*/ 0 w 2080"/>
                <a:gd name="T35" fmla="*/ 1266 h 1360"/>
                <a:gd name="T36" fmla="*/ 0 w 2080"/>
                <a:gd name="T37" fmla="*/ 135 h 1360"/>
                <a:gd name="T38" fmla="*/ 2 w 2080"/>
                <a:gd name="T39" fmla="*/ 137 h 1360"/>
                <a:gd name="T40" fmla="*/ 2080 w 2080"/>
                <a:gd name="T41" fmla="*/ 136 h 1360"/>
                <a:gd name="T42" fmla="*/ 2080 w 2080"/>
                <a:gd name="T43" fmla="*/ 1265 h 1360"/>
                <a:gd name="T44" fmla="*/ 1346 w 2080"/>
                <a:gd name="T45" fmla="*/ 758 h 1360"/>
                <a:gd name="T46" fmla="*/ 2038 w 2080"/>
                <a:gd name="T47" fmla="*/ 201 h 1360"/>
                <a:gd name="T48" fmla="*/ 2080 w 2080"/>
                <a:gd name="T49" fmla="*/ 136 h 1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080" h="1360">
                  <a:moveTo>
                    <a:pt x="0" y="65"/>
                  </a:moveTo>
                  <a:cubicBezTo>
                    <a:pt x="0" y="0"/>
                    <a:pt x="0" y="0"/>
                    <a:pt x="0" y="0"/>
                  </a:cubicBezTo>
                  <a:cubicBezTo>
                    <a:pt x="2080" y="0"/>
                    <a:pt x="2080" y="0"/>
                    <a:pt x="2080" y="0"/>
                  </a:cubicBezTo>
                  <a:cubicBezTo>
                    <a:pt x="2080" y="65"/>
                    <a:pt x="2080" y="65"/>
                    <a:pt x="2080" y="65"/>
                  </a:cubicBezTo>
                  <a:cubicBezTo>
                    <a:pt x="1089" y="862"/>
                    <a:pt x="1089" y="862"/>
                    <a:pt x="1089" y="862"/>
                  </a:cubicBezTo>
                  <a:cubicBezTo>
                    <a:pt x="1060" y="886"/>
                    <a:pt x="1020" y="886"/>
                    <a:pt x="991" y="862"/>
                  </a:cubicBezTo>
                  <a:lnTo>
                    <a:pt x="0" y="65"/>
                  </a:lnTo>
                  <a:close/>
                  <a:moveTo>
                    <a:pt x="1139" y="924"/>
                  </a:moveTo>
                  <a:cubicBezTo>
                    <a:pt x="1282" y="810"/>
                    <a:pt x="1282" y="810"/>
                    <a:pt x="1282" y="810"/>
                  </a:cubicBezTo>
                  <a:cubicBezTo>
                    <a:pt x="2076" y="1360"/>
                    <a:pt x="2076" y="1360"/>
                    <a:pt x="2076" y="1360"/>
                  </a:cubicBezTo>
                  <a:cubicBezTo>
                    <a:pt x="4" y="1360"/>
                    <a:pt x="4" y="1360"/>
                    <a:pt x="4" y="1360"/>
                  </a:cubicBezTo>
                  <a:cubicBezTo>
                    <a:pt x="798" y="810"/>
                    <a:pt x="798" y="810"/>
                    <a:pt x="798" y="810"/>
                  </a:cubicBezTo>
                  <a:cubicBezTo>
                    <a:pt x="941" y="924"/>
                    <a:pt x="941" y="924"/>
                    <a:pt x="941" y="924"/>
                  </a:cubicBezTo>
                  <a:cubicBezTo>
                    <a:pt x="1000" y="972"/>
                    <a:pt x="1080" y="972"/>
                    <a:pt x="1139" y="924"/>
                  </a:cubicBezTo>
                  <a:close/>
                  <a:moveTo>
                    <a:pt x="2" y="137"/>
                  </a:moveTo>
                  <a:cubicBezTo>
                    <a:pt x="8" y="163"/>
                    <a:pt x="22" y="185"/>
                    <a:pt x="42" y="201"/>
                  </a:cubicBezTo>
                  <a:cubicBezTo>
                    <a:pt x="734" y="758"/>
                    <a:pt x="734" y="758"/>
                    <a:pt x="734" y="758"/>
                  </a:cubicBezTo>
                  <a:cubicBezTo>
                    <a:pt x="0" y="1266"/>
                    <a:pt x="0" y="1266"/>
                    <a:pt x="0" y="1266"/>
                  </a:cubicBezTo>
                  <a:cubicBezTo>
                    <a:pt x="0" y="135"/>
                    <a:pt x="0" y="135"/>
                    <a:pt x="0" y="135"/>
                  </a:cubicBezTo>
                  <a:lnTo>
                    <a:pt x="2" y="137"/>
                  </a:lnTo>
                  <a:close/>
                  <a:moveTo>
                    <a:pt x="2080" y="136"/>
                  </a:moveTo>
                  <a:cubicBezTo>
                    <a:pt x="2080" y="1265"/>
                    <a:pt x="2080" y="1265"/>
                    <a:pt x="2080" y="1265"/>
                  </a:cubicBezTo>
                  <a:cubicBezTo>
                    <a:pt x="1346" y="758"/>
                    <a:pt x="1346" y="758"/>
                    <a:pt x="1346" y="758"/>
                  </a:cubicBezTo>
                  <a:cubicBezTo>
                    <a:pt x="2038" y="201"/>
                    <a:pt x="2038" y="201"/>
                    <a:pt x="2038" y="201"/>
                  </a:cubicBezTo>
                  <a:cubicBezTo>
                    <a:pt x="2060" y="182"/>
                    <a:pt x="2072" y="162"/>
                    <a:pt x="2080" y="13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000"/>
            </a:p>
          </p:txBody>
        </p:sp>
      </p:grpSp>
      <p:cxnSp>
        <p:nvCxnSpPr>
          <p:cNvPr id="41" name="Straight Connector 40"/>
          <p:cNvCxnSpPr/>
          <p:nvPr/>
        </p:nvCxnSpPr>
        <p:spPr>
          <a:xfrm>
            <a:off x="2355915" y="5655832"/>
            <a:ext cx="3888000" cy="0"/>
          </a:xfrm>
          <a:prstGeom prst="line">
            <a:avLst/>
          </a:prstGeom>
          <a:ln w="6350">
            <a:solidFill>
              <a:schemeClr val="tx2"/>
            </a:solidFill>
            <a:prstDash val="dash"/>
          </a:ln>
        </p:spPr>
        <p:style>
          <a:lnRef idx="1">
            <a:schemeClr val="accent1"/>
          </a:lnRef>
          <a:fillRef idx="0">
            <a:schemeClr val="accent1"/>
          </a:fillRef>
          <a:effectRef idx="0">
            <a:schemeClr val="accent1"/>
          </a:effectRef>
          <a:fontRef idx="minor">
            <a:schemeClr val="tx1"/>
          </a:fontRef>
        </p:style>
      </p:cxnSp>
      <p:sp>
        <p:nvSpPr>
          <p:cNvPr id="42" name="Picture Placeholder 3"/>
          <p:cNvSpPr>
            <a:spLocks noGrp="1"/>
          </p:cNvSpPr>
          <p:nvPr>
            <p:ph type="pic" sz="quarter" idx="29" hasCustomPrompt="1"/>
          </p:nvPr>
        </p:nvSpPr>
        <p:spPr>
          <a:xfrm>
            <a:off x="2355915" y="3986604"/>
            <a:ext cx="1188677" cy="1547839"/>
          </a:xfrm>
          <a:solidFill>
            <a:srgbClr val="D9DADB"/>
          </a:solidFill>
        </p:spPr>
        <p:txBody>
          <a:bodyPr/>
          <a:lstStyle>
            <a:lvl1pPr marL="0" indent="0">
              <a:buNone/>
              <a:defRPr sz="1400"/>
            </a:lvl1pPr>
          </a:lstStyle>
          <a:p>
            <a:r>
              <a:rPr lang="en-US" dirty="0"/>
              <a:t>Insert picture</a:t>
            </a:r>
          </a:p>
        </p:txBody>
      </p:sp>
      <p:sp>
        <p:nvSpPr>
          <p:cNvPr id="43" name="Text Placeholder 5"/>
          <p:cNvSpPr>
            <a:spLocks noGrp="1"/>
          </p:cNvSpPr>
          <p:nvPr>
            <p:ph type="body" sz="quarter" idx="30" hasCustomPrompt="1"/>
          </p:nvPr>
        </p:nvSpPr>
        <p:spPr>
          <a:xfrm>
            <a:off x="3770066" y="3986142"/>
            <a:ext cx="2463191" cy="192361"/>
          </a:xfrm>
        </p:spPr>
        <p:txBody>
          <a:bodyPr lIns="0" tIns="0" rIns="0" bIns="0" anchor="ctr" anchorCtr="0"/>
          <a:lstStyle>
            <a:lvl1pPr marL="0" indent="0" algn="l">
              <a:lnSpc>
                <a:spcPct val="100000"/>
              </a:lnSpc>
              <a:buNone/>
              <a:defRPr sz="100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Country</a:t>
            </a:r>
          </a:p>
        </p:txBody>
      </p:sp>
      <p:sp>
        <p:nvSpPr>
          <p:cNvPr id="44" name="Text Placeholder 5"/>
          <p:cNvSpPr>
            <a:spLocks noGrp="1"/>
          </p:cNvSpPr>
          <p:nvPr>
            <p:ph type="body" sz="quarter" idx="31" hasCustomPrompt="1"/>
          </p:nvPr>
        </p:nvSpPr>
        <p:spPr>
          <a:xfrm>
            <a:off x="3770066" y="4197957"/>
            <a:ext cx="2463191" cy="266182"/>
          </a:xfrm>
        </p:spPr>
        <p:txBody>
          <a:bodyPr lIns="0" tIns="0" rIns="0" bIns="0" anchor="b" anchorCtr="0"/>
          <a:lstStyle>
            <a:lvl1pPr marL="0" indent="0" algn="l">
              <a:lnSpc>
                <a:spcPct val="100000"/>
              </a:lnSpc>
              <a:buNone/>
              <a:defRPr sz="1400" b="1" baseline="0">
                <a:solidFill>
                  <a:schemeClr val="tx2"/>
                </a:solidFill>
              </a:defRPr>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Name, Surname</a:t>
            </a:r>
          </a:p>
        </p:txBody>
      </p:sp>
      <p:sp>
        <p:nvSpPr>
          <p:cNvPr id="45" name="Text Placeholder 5"/>
          <p:cNvSpPr>
            <a:spLocks noGrp="1"/>
          </p:cNvSpPr>
          <p:nvPr>
            <p:ph type="body" sz="quarter" idx="32" hasCustomPrompt="1"/>
          </p:nvPr>
        </p:nvSpPr>
        <p:spPr>
          <a:xfrm>
            <a:off x="3770066" y="4494532"/>
            <a:ext cx="2463191" cy="192361"/>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Job Position</a:t>
            </a:r>
          </a:p>
        </p:txBody>
      </p:sp>
      <p:sp>
        <p:nvSpPr>
          <p:cNvPr id="46" name="Text Placeholder 5"/>
          <p:cNvSpPr>
            <a:spLocks noGrp="1"/>
          </p:cNvSpPr>
          <p:nvPr>
            <p:ph type="body" sz="quarter" idx="33" hasCustomPrompt="1"/>
          </p:nvPr>
        </p:nvSpPr>
        <p:spPr>
          <a:xfrm>
            <a:off x="4014949" y="5023208"/>
            <a:ext cx="2218307" cy="192361"/>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Phone number</a:t>
            </a:r>
          </a:p>
        </p:txBody>
      </p:sp>
      <p:sp>
        <p:nvSpPr>
          <p:cNvPr id="47" name="Text Placeholder 5"/>
          <p:cNvSpPr>
            <a:spLocks noGrp="1"/>
          </p:cNvSpPr>
          <p:nvPr>
            <p:ph type="body" sz="quarter" idx="34" hasCustomPrompt="1"/>
          </p:nvPr>
        </p:nvSpPr>
        <p:spPr>
          <a:xfrm>
            <a:off x="4014949" y="5306016"/>
            <a:ext cx="2218307" cy="192361"/>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Email address</a:t>
            </a:r>
          </a:p>
        </p:txBody>
      </p:sp>
      <p:grpSp>
        <p:nvGrpSpPr>
          <p:cNvPr id="48" name="Gruppieren 2">
            <a:extLst>
              <a:ext uri="{FF2B5EF4-FFF2-40B4-BE49-F238E27FC236}">
                <a16:creationId xmlns:a16="http://schemas.microsoft.com/office/drawing/2014/main" id="{BE697CE9-EBDE-6B4A-BE70-582D92A8A831}"/>
              </a:ext>
            </a:extLst>
          </p:cNvPr>
          <p:cNvGrpSpPr/>
          <p:nvPr/>
        </p:nvGrpSpPr>
        <p:grpSpPr>
          <a:xfrm>
            <a:off x="8701918" y="5043529"/>
            <a:ext cx="171180" cy="171180"/>
            <a:chOff x="3392092" y="1841122"/>
            <a:chExt cx="646508" cy="646508"/>
          </a:xfrm>
        </p:grpSpPr>
        <p:sp>
          <p:nvSpPr>
            <p:cNvPr id="49" name="Rechteck 14">
              <a:extLst>
                <a:ext uri="{FF2B5EF4-FFF2-40B4-BE49-F238E27FC236}">
                  <a16:creationId xmlns:a16="http://schemas.microsoft.com/office/drawing/2014/main" id="{E142A731-19B7-C34D-9534-9E05108F895F}"/>
                </a:ext>
              </a:extLst>
            </p:cNvPr>
            <p:cNvSpPr>
              <a:spLocks noChangeAspect="1"/>
            </p:cNvSpPr>
            <p:nvPr/>
          </p:nvSpPr>
          <p:spPr bwMode="gray">
            <a:xfrm>
              <a:off x="3392092" y="1841122"/>
              <a:ext cx="646508" cy="646508"/>
            </a:xfrm>
            <a:prstGeom prst="rect">
              <a:avLst/>
            </a:prstGeom>
            <a:solidFill>
              <a:srgbClr val="E55A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pPr>
              <a:endParaRPr lang="en-US" sz="1000" dirty="0">
                <a:solidFill>
                  <a:schemeClr val="tx1"/>
                </a:solidFill>
                <a:latin typeface="Arial" pitchFamily="34" charset="0"/>
                <a:cs typeface="Arial" pitchFamily="34" charset="0"/>
              </a:endParaRPr>
            </a:p>
          </p:txBody>
        </p:sp>
        <p:sp>
          <p:nvSpPr>
            <p:cNvPr id="50" name="Freeform 49">
              <a:extLst>
                <a:ext uri="{FF2B5EF4-FFF2-40B4-BE49-F238E27FC236}">
                  <a16:creationId xmlns:a16="http://schemas.microsoft.com/office/drawing/2014/main" id="{F97E84AE-4AD9-4B44-9AA1-F797FC373809}"/>
                </a:ext>
              </a:extLst>
            </p:cNvPr>
            <p:cNvSpPr>
              <a:spLocks noChangeAspect="1"/>
            </p:cNvSpPr>
            <p:nvPr/>
          </p:nvSpPr>
          <p:spPr bwMode="auto">
            <a:xfrm>
              <a:off x="3546638" y="1970424"/>
              <a:ext cx="337415" cy="387905"/>
            </a:xfrm>
            <a:custGeom>
              <a:avLst/>
              <a:gdLst>
                <a:gd name="T0" fmla="*/ 573 w 1624"/>
                <a:gd name="T1" fmla="*/ 1257 h 1867"/>
                <a:gd name="T2" fmla="*/ 662 w 1624"/>
                <a:gd name="T3" fmla="*/ 1288 h 1867"/>
                <a:gd name="T4" fmla="*/ 938 w 1624"/>
                <a:gd name="T5" fmla="*/ 1051 h 1867"/>
                <a:gd name="T6" fmla="*/ 1106 w 1624"/>
                <a:gd name="T7" fmla="*/ 731 h 1867"/>
                <a:gd name="T8" fmla="*/ 1059 w 1624"/>
                <a:gd name="T9" fmla="*/ 645 h 1867"/>
                <a:gd name="T10" fmla="*/ 1001 w 1624"/>
                <a:gd name="T11" fmla="*/ 613 h 1867"/>
                <a:gd name="T12" fmla="*/ 924 w 1624"/>
                <a:gd name="T13" fmla="*/ 432 h 1867"/>
                <a:gd name="T14" fmla="*/ 1114 w 1624"/>
                <a:gd name="T15" fmla="*/ 81 h 1867"/>
                <a:gd name="T16" fmla="*/ 1287 w 1624"/>
                <a:gd name="T17" fmla="*/ 35 h 1867"/>
                <a:gd name="T18" fmla="*/ 1350 w 1624"/>
                <a:gd name="T19" fmla="*/ 69 h 1867"/>
                <a:gd name="T20" fmla="*/ 1527 w 1624"/>
                <a:gd name="T21" fmla="*/ 235 h 1867"/>
                <a:gd name="T22" fmla="*/ 1583 w 1624"/>
                <a:gd name="T23" fmla="*/ 555 h 1867"/>
                <a:gd name="T24" fmla="*/ 1172 w 1624"/>
                <a:gd name="T25" fmla="*/ 1253 h 1867"/>
                <a:gd name="T26" fmla="*/ 586 w 1624"/>
                <a:gd name="T27" fmla="*/ 1803 h 1867"/>
                <a:gd name="T28" fmla="*/ 269 w 1624"/>
                <a:gd name="T29" fmla="*/ 1807 h 1867"/>
                <a:gd name="T30" fmla="*/ 33 w 1624"/>
                <a:gd name="T31" fmla="*/ 1602 h 1867"/>
                <a:gd name="T32" fmla="*/ 2 w 1624"/>
                <a:gd name="T33" fmla="*/ 1508 h 1867"/>
                <a:gd name="T34" fmla="*/ 45 w 1624"/>
                <a:gd name="T35" fmla="*/ 1421 h 1867"/>
                <a:gd name="T36" fmla="*/ 346 w 1624"/>
                <a:gd name="T37" fmla="*/ 1158 h 1867"/>
                <a:gd name="T38" fmla="*/ 448 w 1624"/>
                <a:gd name="T39" fmla="*/ 1145 h 1867"/>
                <a:gd name="T40" fmla="*/ 573 w 1624"/>
                <a:gd name="T41" fmla="*/ 1257 h 18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24" h="1867">
                  <a:moveTo>
                    <a:pt x="573" y="1257"/>
                  </a:moveTo>
                  <a:cubicBezTo>
                    <a:pt x="592" y="1282"/>
                    <a:pt x="630" y="1303"/>
                    <a:pt x="662" y="1288"/>
                  </a:cubicBezTo>
                  <a:cubicBezTo>
                    <a:pt x="753" y="1245"/>
                    <a:pt x="854" y="1156"/>
                    <a:pt x="938" y="1051"/>
                  </a:cubicBezTo>
                  <a:cubicBezTo>
                    <a:pt x="1020" y="948"/>
                    <a:pt x="1084" y="831"/>
                    <a:pt x="1106" y="731"/>
                  </a:cubicBezTo>
                  <a:cubicBezTo>
                    <a:pt x="1113" y="696"/>
                    <a:pt x="1089" y="661"/>
                    <a:pt x="1059" y="645"/>
                  </a:cubicBezTo>
                  <a:cubicBezTo>
                    <a:pt x="1001" y="613"/>
                    <a:pt x="1001" y="613"/>
                    <a:pt x="1001" y="613"/>
                  </a:cubicBezTo>
                  <a:cubicBezTo>
                    <a:pt x="942" y="580"/>
                    <a:pt x="888" y="499"/>
                    <a:pt x="924" y="432"/>
                  </a:cubicBezTo>
                  <a:cubicBezTo>
                    <a:pt x="1114" y="81"/>
                    <a:pt x="1114" y="81"/>
                    <a:pt x="1114" y="81"/>
                  </a:cubicBezTo>
                  <a:cubicBezTo>
                    <a:pt x="1150" y="16"/>
                    <a:pt x="1224" y="0"/>
                    <a:pt x="1287" y="35"/>
                  </a:cubicBezTo>
                  <a:cubicBezTo>
                    <a:pt x="1350" y="69"/>
                    <a:pt x="1350" y="69"/>
                    <a:pt x="1350" y="69"/>
                  </a:cubicBezTo>
                  <a:cubicBezTo>
                    <a:pt x="1415" y="105"/>
                    <a:pt x="1479" y="165"/>
                    <a:pt x="1527" y="235"/>
                  </a:cubicBezTo>
                  <a:cubicBezTo>
                    <a:pt x="1593" y="332"/>
                    <a:pt x="1624" y="442"/>
                    <a:pt x="1583" y="555"/>
                  </a:cubicBezTo>
                  <a:cubicBezTo>
                    <a:pt x="1500" y="781"/>
                    <a:pt x="1351" y="1030"/>
                    <a:pt x="1172" y="1253"/>
                  </a:cubicBezTo>
                  <a:cubicBezTo>
                    <a:pt x="994" y="1477"/>
                    <a:pt x="786" y="1676"/>
                    <a:pt x="586" y="1803"/>
                  </a:cubicBezTo>
                  <a:cubicBezTo>
                    <a:pt x="486" y="1867"/>
                    <a:pt x="375" y="1856"/>
                    <a:pt x="269" y="1807"/>
                  </a:cubicBezTo>
                  <a:cubicBezTo>
                    <a:pt x="157" y="1755"/>
                    <a:pt x="106" y="1695"/>
                    <a:pt x="33" y="1602"/>
                  </a:cubicBezTo>
                  <a:cubicBezTo>
                    <a:pt x="11" y="1573"/>
                    <a:pt x="0" y="1540"/>
                    <a:pt x="2" y="1508"/>
                  </a:cubicBezTo>
                  <a:cubicBezTo>
                    <a:pt x="4" y="1475"/>
                    <a:pt x="18" y="1444"/>
                    <a:pt x="45" y="1421"/>
                  </a:cubicBezTo>
                  <a:cubicBezTo>
                    <a:pt x="70" y="1399"/>
                    <a:pt x="346" y="1158"/>
                    <a:pt x="346" y="1158"/>
                  </a:cubicBezTo>
                  <a:cubicBezTo>
                    <a:pt x="376" y="1134"/>
                    <a:pt x="413" y="1133"/>
                    <a:pt x="448" y="1145"/>
                  </a:cubicBezTo>
                  <a:cubicBezTo>
                    <a:pt x="510" y="1166"/>
                    <a:pt x="536" y="1210"/>
                    <a:pt x="573" y="1257"/>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350" dirty="0"/>
            </a:p>
          </p:txBody>
        </p:sp>
      </p:grpSp>
      <p:grpSp>
        <p:nvGrpSpPr>
          <p:cNvPr id="51" name="Group 3">
            <a:extLst>
              <a:ext uri="{FF2B5EF4-FFF2-40B4-BE49-F238E27FC236}">
                <a16:creationId xmlns:a16="http://schemas.microsoft.com/office/drawing/2014/main" id="{7104BADD-8CD1-6F4A-B894-869C3BDB3EEB}"/>
              </a:ext>
            </a:extLst>
          </p:cNvPr>
          <p:cNvGrpSpPr>
            <a:grpSpLocks noChangeAspect="1"/>
          </p:cNvGrpSpPr>
          <p:nvPr>
            <p:custDataLst>
              <p:tags r:id="rId4"/>
            </p:custDataLst>
          </p:nvPr>
        </p:nvGrpSpPr>
        <p:grpSpPr>
          <a:xfrm>
            <a:off x="8701919" y="5328417"/>
            <a:ext cx="171180" cy="171180"/>
            <a:chOff x="328396" y="5313940"/>
            <a:chExt cx="720000" cy="720000"/>
          </a:xfrm>
        </p:grpSpPr>
        <p:sp>
          <p:nvSpPr>
            <p:cNvPr id="52" name="Rectangle 4">
              <a:extLst>
                <a:ext uri="{FF2B5EF4-FFF2-40B4-BE49-F238E27FC236}">
                  <a16:creationId xmlns:a16="http://schemas.microsoft.com/office/drawing/2014/main" id="{74BE3D5F-1445-6E40-8B49-72E15568383B}"/>
                </a:ext>
              </a:extLst>
            </p:cNvPr>
            <p:cNvSpPr/>
            <p:nvPr/>
          </p:nvSpPr>
          <p:spPr bwMode="gray">
            <a:xfrm>
              <a:off x="328396" y="5313940"/>
              <a:ext cx="720000" cy="720000"/>
            </a:xfrm>
            <a:prstGeom prst="rect">
              <a:avLst/>
            </a:prstGeom>
            <a:solidFill>
              <a:srgbClr val="E55A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pPr>
              <a:endParaRPr lang="en-US" sz="1000" dirty="0">
                <a:solidFill>
                  <a:schemeClr val="tx1"/>
                </a:solidFill>
                <a:latin typeface="Arial" pitchFamily="34" charset="0"/>
                <a:cs typeface="Arial" pitchFamily="34" charset="0"/>
              </a:endParaRPr>
            </a:p>
          </p:txBody>
        </p:sp>
        <p:sp>
          <p:nvSpPr>
            <p:cNvPr id="53" name="Freeform 76">
              <a:extLst>
                <a:ext uri="{FF2B5EF4-FFF2-40B4-BE49-F238E27FC236}">
                  <a16:creationId xmlns:a16="http://schemas.microsoft.com/office/drawing/2014/main" id="{55DB3C95-7D0C-D141-901E-96D692794D2B}"/>
                </a:ext>
              </a:extLst>
            </p:cNvPr>
            <p:cNvSpPr>
              <a:spLocks noChangeAspect="1" noEditPoints="1"/>
            </p:cNvSpPr>
            <p:nvPr/>
          </p:nvSpPr>
          <p:spPr bwMode="auto">
            <a:xfrm>
              <a:off x="456202" y="5509222"/>
              <a:ext cx="504000" cy="329436"/>
            </a:xfrm>
            <a:custGeom>
              <a:avLst/>
              <a:gdLst>
                <a:gd name="T0" fmla="*/ 0 w 2080"/>
                <a:gd name="T1" fmla="*/ 65 h 1360"/>
                <a:gd name="T2" fmla="*/ 0 w 2080"/>
                <a:gd name="T3" fmla="*/ 0 h 1360"/>
                <a:gd name="T4" fmla="*/ 2080 w 2080"/>
                <a:gd name="T5" fmla="*/ 0 h 1360"/>
                <a:gd name="T6" fmla="*/ 2080 w 2080"/>
                <a:gd name="T7" fmla="*/ 65 h 1360"/>
                <a:gd name="T8" fmla="*/ 1089 w 2080"/>
                <a:gd name="T9" fmla="*/ 862 h 1360"/>
                <a:gd name="T10" fmla="*/ 991 w 2080"/>
                <a:gd name="T11" fmla="*/ 862 h 1360"/>
                <a:gd name="T12" fmla="*/ 0 w 2080"/>
                <a:gd name="T13" fmla="*/ 65 h 1360"/>
                <a:gd name="T14" fmla="*/ 1139 w 2080"/>
                <a:gd name="T15" fmla="*/ 924 h 1360"/>
                <a:gd name="T16" fmla="*/ 1282 w 2080"/>
                <a:gd name="T17" fmla="*/ 810 h 1360"/>
                <a:gd name="T18" fmla="*/ 2076 w 2080"/>
                <a:gd name="T19" fmla="*/ 1360 h 1360"/>
                <a:gd name="T20" fmla="*/ 4 w 2080"/>
                <a:gd name="T21" fmla="*/ 1360 h 1360"/>
                <a:gd name="T22" fmla="*/ 798 w 2080"/>
                <a:gd name="T23" fmla="*/ 810 h 1360"/>
                <a:gd name="T24" fmla="*/ 941 w 2080"/>
                <a:gd name="T25" fmla="*/ 924 h 1360"/>
                <a:gd name="T26" fmla="*/ 1139 w 2080"/>
                <a:gd name="T27" fmla="*/ 924 h 1360"/>
                <a:gd name="T28" fmla="*/ 2 w 2080"/>
                <a:gd name="T29" fmla="*/ 137 h 1360"/>
                <a:gd name="T30" fmla="*/ 42 w 2080"/>
                <a:gd name="T31" fmla="*/ 201 h 1360"/>
                <a:gd name="T32" fmla="*/ 734 w 2080"/>
                <a:gd name="T33" fmla="*/ 758 h 1360"/>
                <a:gd name="T34" fmla="*/ 0 w 2080"/>
                <a:gd name="T35" fmla="*/ 1266 h 1360"/>
                <a:gd name="T36" fmla="*/ 0 w 2080"/>
                <a:gd name="T37" fmla="*/ 135 h 1360"/>
                <a:gd name="T38" fmla="*/ 2 w 2080"/>
                <a:gd name="T39" fmla="*/ 137 h 1360"/>
                <a:gd name="T40" fmla="*/ 2080 w 2080"/>
                <a:gd name="T41" fmla="*/ 136 h 1360"/>
                <a:gd name="T42" fmla="*/ 2080 w 2080"/>
                <a:gd name="T43" fmla="*/ 1265 h 1360"/>
                <a:gd name="T44" fmla="*/ 1346 w 2080"/>
                <a:gd name="T45" fmla="*/ 758 h 1360"/>
                <a:gd name="T46" fmla="*/ 2038 w 2080"/>
                <a:gd name="T47" fmla="*/ 201 h 1360"/>
                <a:gd name="T48" fmla="*/ 2080 w 2080"/>
                <a:gd name="T49" fmla="*/ 136 h 1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080" h="1360">
                  <a:moveTo>
                    <a:pt x="0" y="65"/>
                  </a:moveTo>
                  <a:cubicBezTo>
                    <a:pt x="0" y="0"/>
                    <a:pt x="0" y="0"/>
                    <a:pt x="0" y="0"/>
                  </a:cubicBezTo>
                  <a:cubicBezTo>
                    <a:pt x="2080" y="0"/>
                    <a:pt x="2080" y="0"/>
                    <a:pt x="2080" y="0"/>
                  </a:cubicBezTo>
                  <a:cubicBezTo>
                    <a:pt x="2080" y="65"/>
                    <a:pt x="2080" y="65"/>
                    <a:pt x="2080" y="65"/>
                  </a:cubicBezTo>
                  <a:cubicBezTo>
                    <a:pt x="1089" y="862"/>
                    <a:pt x="1089" y="862"/>
                    <a:pt x="1089" y="862"/>
                  </a:cubicBezTo>
                  <a:cubicBezTo>
                    <a:pt x="1060" y="886"/>
                    <a:pt x="1020" y="886"/>
                    <a:pt x="991" y="862"/>
                  </a:cubicBezTo>
                  <a:lnTo>
                    <a:pt x="0" y="65"/>
                  </a:lnTo>
                  <a:close/>
                  <a:moveTo>
                    <a:pt x="1139" y="924"/>
                  </a:moveTo>
                  <a:cubicBezTo>
                    <a:pt x="1282" y="810"/>
                    <a:pt x="1282" y="810"/>
                    <a:pt x="1282" y="810"/>
                  </a:cubicBezTo>
                  <a:cubicBezTo>
                    <a:pt x="2076" y="1360"/>
                    <a:pt x="2076" y="1360"/>
                    <a:pt x="2076" y="1360"/>
                  </a:cubicBezTo>
                  <a:cubicBezTo>
                    <a:pt x="4" y="1360"/>
                    <a:pt x="4" y="1360"/>
                    <a:pt x="4" y="1360"/>
                  </a:cubicBezTo>
                  <a:cubicBezTo>
                    <a:pt x="798" y="810"/>
                    <a:pt x="798" y="810"/>
                    <a:pt x="798" y="810"/>
                  </a:cubicBezTo>
                  <a:cubicBezTo>
                    <a:pt x="941" y="924"/>
                    <a:pt x="941" y="924"/>
                    <a:pt x="941" y="924"/>
                  </a:cubicBezTo>
                  <a:cubicBezTo>
                    <a:pt x="1000" y="972"/>
                    <a:pt x="1080" y="972"/>
                    <a:pt x="1139" y="924"/>
                  </a:cubicBezTo>
                  <a:close/>
                  <a:moveTo>
                    <a:pt x="2" y="137"/>
                  </a:moveTo>
                  <a:cubicBezTo>
                    <a:pt x="8" y="163"/>
                    <a:pt x="22" y="185"/>
                    <a:pt x="42" y="201"/>
                  </a:cubicBezTo>
                  <a:cubicBezTo>
                    <a:pt x="734" y="758"/>
                    <a:pt x="734" y="758"/>
                    <a:pt x="734" y="758"/>
                  </a:cubicBezTo>
                  <a:cubicBezTo>
                    <a:pt x="0" y="1266"/>
                    <a:pt x="0" y="1266"/>
                    <a:pt x="0" y="1266"/>
                  </a:cubicBezTo>
                  <a:cubicBezTo>
                    <a:pt x="0" y="135"/>
                    <a:pt x="0" y="135"/>
                    <a:pt x="0" y="135"/>
                  </a:cubicBezTo>
                  <a:lnTo>
                    <a:pt x="2" y="137"/>
                  </a:lnTo>
                  <a:close/>
                  <a:moveTo>
                    <a:pt x="2080" y="136"/>
                  </a:moveTo>
                  <a:cubicBezTo>
                    <a:pt x="2080" y="1265"/>
                    <a:pt x="2080" y="1265"/>
                    <a:pt x="2080" y="1265"/>
                  </a:cubicBezTo>
                  <a:cubicBezTo>
                    <a:pt x="1346" y="758"/>
                    <a:pt x="1346" y="758"/>
                    <a:pt x="1346" y="758"/>
                  </a:cubicBezTo>
                  <a:cubicBezTo>
                    <a:pt x="2038" y="201"/>
                    <a:pt x="2038" y="201"/>
                    <a:pt x="2038" y="201"/>
                  </a:cubicBezTo>
                  <a:cubicBezTo>
                    <a:pt x="2060" y="182"/>
                    <a:pt x="2072" y="162"/>
                    <a:pt x="2080" y="13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000"/>
            </a:p>
          </p:txBody>
        </p:sp>
      </p:grpSp>
      <p:cxnSp>
        <p:nvCxnSpPr>
          <p:cNvPr id="54" name="Straight Connector 53"/>
          <p:cNvCxnSpPr/>
          <p:nvPr/>
        </p:nvCxnSpPr>
        <p:spPr>
          <a:xfrm>
            <a:off x="7287767" y="5653423"/>
            <a:ext cx="3888000" cy="0"/>
          </a:xfrm>
          <a:prstGeom prst="line">
            <a:avLst/>
          </a:prstGeom>
          <a:ln w="6350">
            <a:solidFill>
              <a:schemeClr val="tx2"/>
            </a:solidFill>
            <a:prstDash val="dash"/>
          </a:ln>
        </p:spPr>
        <p:style>
          <a:lnRef idx="1">
            <a:schemeClr val="accent1"/>
          </a:lnRef>
          <a:fillRef idx="0">
            <a:schemeClr val="accent1"/>
          </a:fillRef>
          <a:effectRef idx="0">
            <a:schemeClr val="accent1"/>
          </a:effectRef>
          <a:fontRef idx="minor">
            <a:schemeClr val="tx1"/>
          </a:fontRef>
        </p:style>
      </p:cxnSp>
      <p:sp>
        <p:nvSpPr>
          <p:cNvPr id="55" name="Picture Placeholder 3"/>
          <p:cNvSpPr>
            <a:spLocks noGrp="1"/>
          </p:cNvSpPr>
          <p:nvPr>
            <p:ph type="pic" sz="quarter" idx="35" hasCustomPrompt="1"/>
          </p:nvPr>
        </p:nvSpPr>
        <p:spPr>
          <a:xfrm>
            <a:off x="7287767" y="3984194"/>
            <a:ext cx="1188677" cy="1547839"/>
          </a:xfrm>
          <a:solidFill>
            <a:srgbClr val="D9DADB"/>
          </a:solidFill>
        </p:spPr>
        <p:txBody>
          <a:bodyPr/>
          <a:lstStyle>
            <a:lvl1pPr marL="0" indent="0">
              <a:buNone/>
              <a:defRPr sz="1400"/>
            </a:lvl1pPr>
          </a:lstStyle>
          <a:p>
            <a:r>
              <a:rPr lang="en-US" dirty="0"/>
              <a:t>Insert picture</a:t>
            </a:r>
          </a:p>
        </p:txBody>
      </p:sp>
      <p:sp>
        <p:nvSpPr>
          <p:cNvPr id="56" name="Text Placeholder 5"/>
          <p:cNvSpPr>
            <a:spLocks noGrp="1"/>
          </p:cNvSpPr>
          <p:nvPr>
            <p:ph type="body" sz="quarter" idx="36" hasCustomPrompt="1"/>
          </p:nvPr>
        </p:nvSpPr>
        <p:spPr>
          <a:xfrm>
            <a:off x="8701918" y="3983731"/>
            <a:ext cx="2463191" cy="192361"/>
          </a:xfrm>
        </p:spPr>
        <p:txBody>
          <a:bodyPr lIns="0" tIns="0" rIns="0" bIns="0" anchor="ctr" anchorCtr="0"/>
          <a:lstStyle>
            <a:lvl1pPr marL="0" indent="0" algn="l">
              <a:lnSpc>
                <a:spcPct val="100000"/>
              </a:lnSpc>
              <a:buNone/>
              <a:defRPr sz="100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Country</a:t>
            </a:r>
          </a:p>
        </p:txBody>
      </p:sp>
      <p:sp>
        <p:nvSpPr>
          <p:cNvPr id="57" name="Text Placeholder 5"/>
          <p:cNvSpPr>
            <a:spLocks noGrp="1"/>
          </p:cNvSpPr>
          <p:nvPr>
            <p:ph type="body" sz="quarter" idx="37" hasCustomPrompt="1"/>
          </p:nvPr>
        </p:nvSpPr>
        <p:spPr>
          <a:xfrm>
            <a:off x="8701918" y="4195546"/>
            <a:ext cx="2463191" cy="266182"/>
          </a:xfrm>
        </p:spPr>
        <p:txBody>
          <a:bodyPr lIns="0" tIns="0" rIns="0" bIns="0" anchor="b" anchorCtr="0"/>
          <a:lstStyle>
            <a:lvl1pPr marL="0" indent="0" algn="l">
              <a:lnSpc>
                <a:spcPct val="100000"/>
              </a:lnSpc>
              <a:buNone/>
              <a:defRPr sz="1400" b="1" baseline="0">
                <a:solidFill>
                  <a:schemeClr val="tx2"/>
                </a:solidFill>
              </a:defRPr>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Name, Surname</a:t>
            </a:r>
          </a:p>
        </p:txBody>
      </p:sp>
      <p:sp>
        <p:nvSpPr>
          <p:cNvPr id="58" name="Text Placeholder 5"/>
          <p:cNvSpPr>
            <a:spLocks noGrp="1"/>
          </p:cNvSpPr>
          <p:nvPr>
            <p:ph type="body" sz="quarter" idx="38" hasCustomPrompt="1"/>
          </p:nvPr>
        </p:nvSpPr>
        <p:spPr>
          <a:xfrm>
            <a:off x="8701918" y="4492122"/>
            <a:ext cx="2463191" cy="192361"/>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Job Position</a:t>
            </a:r>
          </a:p>
        </p:txBody>
      </p:sp>
      <p:sp>
        <p:nvSpPr>
          <p:cNvPr id="59" name="Text Placeholder 5"/>
          <p:cNvSpPr>
            <a:spLocks noGrp="1"/>
          </p:cNvSpPr>
          <p:nvPr>
            <p:ph type="body" sz="quarter" idx="39" hasCustomPrompt="1"/>
          </p:nvPr>
        </p:nvSpPr>
        <p:spPr>
          <a:xfrm>
            <a:off x="8946801" y="5020797"/>
            <a:ext cx="2218307" cy="192361"/>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Phone number</a:t>
            </a:r>
          </a:p>
        </p:txBody>
      </p:sp>
      <p:sp>
        <p:nvSpPr>
          <p:cNvPr id="60" name="Text Placeholder 5"/>
          <p:cNvSpPr>
            <a:spLocks noGrp="1"/>
          </p:cNvSpPr>
          <p:nvPr>
            <p:ph type="body" sz="quarter" idx="40" hasCustomPrompt="1"/>
          </p:nvPr>
        </p:nvSpPr>
        <p:spPr>
          <a:xfrm>
            <a:off x="8946801" y="5303604"/>
            <a:ext cx="2218307" cy="192361"/>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Email address</a:t>
            </a:r>
          </a:p>
        </p:txBody>
      </p:sp>
    </p:spTree>
    <p:extLst>
      <p:ext uri="{BB962C8B-B14F-4D97-AF65-F5344CB8AC3E}">
        <p14:creationId xmlns:p14="http://schemas.microsoft.com/office/powerpoint/2010/main" val="2380291122"/>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showMasterSp="0" preserve="1">
  <p:cSld name="End slide">
    <p:spTree>
      <p:nvGrpSpPr>
        <p:cNvPr id="1" name=""/>
        <p:cNvGrpSpPr/>
        <p:nvPr/>
      </p:nvGrpSpPr>
      <p:grpSpPr>
        <a:xfrm>
          <a:off x="0" y="0"/>
          <a:ext cx="0" cy="0"/>
          <a:chOff x="0" y="0"/>
          <a:chExt cx="0" cy="0"/>
        </a:xfrm>
      </p:grpSpPr>
      <p:pic>
        <p:nvPicPr>
          <p:cNvPr id="30" name="picture">
            <a:extLst>
              <a:ext uri="{FF2B5EF4-FFF2-40B4-BE49-F238E27FC236}">
                <a16:creationId xmlns:a16="http://schemas.microsoft.com/office/drawing/2014/main" id="{8BF907F5-A9CD-2740-AF54-6BACB62334AE}"/>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2620213" y="-8807"/>
            <a:ext cx="9697299" cy="6866807"/>
          </a:xfrm>
          <a:prstGeom prst="rect">
            <a:avLst/>
          </a:prstGeom>
        </p:spPr>
      </p:pic>
      <p:sp>
        <p:nvSpPr>
          <p:cNvPr id="29" name="shpPicture"/>
          <p:cNvSpPr/>
          <p:nvPr/>
        </p:nvSpPr>
        <p:spPr>
          <a:xfrm>
            <a:off x="0" y="0"/>
            <a:ext cx="4347307" cy="6858000"/>
          </a:xfrm>
          <a:custGeom>
            <a:avLst/>
            <a:gdLst>
              <a:gd name="connsiteX0" fmla="*/ 0 w 4347306"/>
              <a:gd name="connsiteY0" fmla="*/ 0 h 6858000"/>
              <a:gd name="connsiteX1" fmla="*/ 3252806 w 4347306"/>
              <a:gd name="connsiteY1" fmla="*/ 0 h 6858000"/>
              <a:gd name="connsiteX2" fmla="*/ 4347306 w 4347306"/>
              <a:gd name="connsiteY2" fmla="*/ 4140909 h 6858000"/>
              <a:gd name="connsiteX3" fmla="*/ 2943442 w 4347306"/>
              <a:gd name="connsiteY3" fmla="*/ 6858000 h 6858000"/>
              <a:gd name="connsiteX4" fmla="*/ 0 w 4347306"/>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47306" h="6858000">
                <a:moveTo>
                  <a:pt x="0" y="0"/>
                </a:moveTo>
                <a:lnTo>
                  <a:pt x="3252806" y="0"/>
                </a:lnTo>
                <a:lnTo>
                  <a:pt x="4347306" y="4140909"/>
                </a:lnTo>
                <a:lnTo>
                  <a:pt x="2943442"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1978" tIns="35989" rIns="71978" bIns="35989" rtlCol="0" anchor="ctr"/>
          <a:lstStyle/>
          <a:p>
            <a:pPr algn="ctr">
              <a:lnSpc>
                <a:spcPct val="125000"/>
              </a:lnSpc>
            </a:pPr>
            <a:endParaRPr lang="en-US" sz="1599" dirty="0"/>
          </a:p>
        </p:txBody>
      </p:sp>
      <p:grpSp>
        <p:nvGrpSpPr>
          <p:cNvPr id="14" name="logo">
            <a:extLst>
              <a:ext uri="{FF2B5EF4-FFF2-40B4-BE49-F238E27FC236}">
                <a16:creationId xmlns:a16="http://schemas.microsoft.com/office/drawing/2014/main" id="{18C26D95-70F8-8A4D-9F18-DCCB92522AF8}"/>
              </a:ext>
            </a:extLst>
          </p:cNvPr>
          <p:cNvGrpSpPr/>
          <p:nvPr/>
        </p:nvGrpSpPr>
        <p:grpSpPr bwMode="gray">
          <a:xfrm>
            <a:off x="417365" y="407485"/>
            <a:ext cx="1518585" cy="646507"/>
            <a:chOff x="334963" y="296652"/>
            <a:chExt cx="1268411" cy="540000"/>
          </a:xfrm>
        </p:grpSpPr>
        <p:sp>
          <p:nvSpPr>
            <p:cNvPr id="17" name="Freeform 6">
              <a:extLst>
                <a:ext uri="{FF2B5EF4-FFF2-40B4-BE49-F238E27FC236}">
                  <a16:creationId xmlns:a16="http://schemas.microsoft.com/office/drawing/2014/main" id="{08737AD0-E375-E445-97E6-CD2E2DF60620}"/>
                </a:ext>
              </a:extLst>
            </p:cNvPr>
            <p:cNvSpPr>
              <a:spLocks noEditPoints="1"/>
            </p:cNvSpPr>
            <p:nvPr/>
          </p:nvSpPr>
          <p:spPr bwMode="gray">
            <a:xfrm>
              <a:off x="982662" y="360462"/>
              <a:ext cx="620712" cy="431800"/>
            </a:xfrm>
            <a:custGeom>
              <a:avLst/>
              <a:gdLst>
                <a:gd name="T0" fmla="*/ 19 w 1809"/>
                <a:gd name="T1" fmla="*/ 97 h 1253"/>
                <a:gd name="T2" fmla="*/ 165 w 1809"/>
                <a:gd name="T3" fmla="*/ 41 h 1253"/>
                <a:gd name="T4" fmla="*/ 211 w 1809"/>
                <a:gd name="T5" fmla="*/ 224 h 1253"/>
                <a:gd name="T6" fmla="*/ 248 w 1809"/>
                <a:gd name="T7" fmla="*/ 155 h 1253"/>
                <a:gd name="T8" fmla="*/ 931 w 1809"/>
                <a:gd name="T9" fmla="*/ 995 h 1253"/>
                <a:gd name="T10" fmla="*/ 858 w 1809"/>
                <a:gd name="T11" fmla="*/ 1115 h 1253"/>
                <a:gd name="T12" fmla="*/ 749 w 1809"/>
                <a:gd name="T13" fmla="*/ 1117 h 1253"/>
                <a:gd name="T14" fmla="*/ 681 w 1809"/>
                <a:gd name="T15" fmla="*/ 1055 h 1253"/>
                <a:gd name="T16" fmla="*/ 800 w 1809"/>
                <a:gd name="T17" fmla="*/ 1054 h 1253"/>
                <a:gd name="T18" fmla="*/ 884 w 1809"/>
                <a:gd name="T19" fmla="*/ 1181 h 1253"/>
                <a:gd name="T20" fmla="*/ 118 w 1809"/>
                <a:gd name="T21" fmla="*/ 1086 h 1253"/>
                <a:gd name="T22" fmla="*/ 147 w 1809"/>
                <a:gd name="T23" fmla="*/ 1026 h 1253"/>
                <a:gd name="T24" fmla="*/ 102 w 1809"/>
                <a:gd name="T25" fmla="*/ 1026 h 1253"/>
                <a:gd name="T26" fmla="*/ 639 w 1809"/>
                <a:gd name="T27" fmla="*/ 84 h 1253"/>
                <a:gd name="T28" fmla="*/ 763 w 1809"/>
                <a:gd name="T29" fmla="*/ 145 h 1253"/>
                <a:gd name="T30" fmla="*/ 863 w 1809"/>
                <a:gd name="T31" fmla="*/ 221 h 1253"/>
                <a:gd name="T32" fmla="*/ 834 w 1809"/>
                <a:gd name="T33" fmla="*/ 208 h 1253"/>
                <a:gd name="T34" fmla="*/ 719 w 1809"/>
                <a:gd name="T35" fmla="*/ 182 h 1253"/>
                <a:gd name="T36" fmla="*/ 507 w 1809"/>
                <a:gd name="T37" fmla="*/ 711 h 1253"/>
                <a:gd name="T38" fmla="*/ 614 w 1809"/>
                <a:gd name="T39" fmla="*/ 706 h 1253"/>
                <a:gd name="T40" fmla="*/ 736 w 1809"/>
                <a:gd name="T41" fmla="*/ 730 h 1253"/>
                <a:gd name="T42" fmla="*/ 607 w 1809"/>
                <a:gd name="T43" fmla="*/ 539 h 1253"/>
                <a:gd name="T44" fmla="*/ 1505 w 1809"/>
                <a:gd name="T45" fmla="*/ 1136 h 1253"/>
                <a:gd name="T46" fmla="*/ 1613 w 1809"/>
                <a:gd name="T47" fmla="*/ 1002 h 1253"/>
                <a:gd name="T48" fmla="*/ 1472 w 1809"/>
                <a:gd name="T49" fmla="*/ 1164 h 1253"/>
                <a:gd name="T50" fmla="*/ 1525 w 1809"/>
                <a:gd name="T51" fmla="*/ 1142 h 1253"/>
                <a:gd name="T52" fmla="*/ 1556 w 1809"/>
                <a:gd name="T53" fmla="*/ 1172 h 1253"/>
                <a:gd name="T54" fmla="*/ 1387 w 1809"/>
                <a:gd name="T55" fmla="*/ 910 h 1253"/>
                <a:gd name="T56" fmla="*/ 1261 w 1809"/>
                <a:gd name="T57" fmla="*/ 1157 h 1253"/>
                <a:gd name="T58" fmla="*/ 1413 w 1809"/>
                <a:gd name="T59" fmla="*/ 934 h 1253"/>
                <a:gd name="T60" fmla="*/ 1378 w 1809"/>
                <a:gd name="T61" fmla="*/ 1052 h 1253"/>
                <a:gd name="T62" fmla="*/ 488 w 1809"/>
                <a:gd name="T63" fmla="*/ 85 h 1253"/>
                <a:gd name="T64" fmla="*/ 509 w 1809"/>
                <a:gd name="T65" fmla="*/ 112 h 1253"/>
                <a:gd name="T66" fmla="*/ 548 w 1809"/>
                <a:gd name="T67" fmla="*/ 1187 h 1253"/>
                <a:gd name="T68" fmla="*/ 472 w 1809"/>
                <a:gd name="T69" fmla="*/ 1122 h 1253"/>
                <a:gd name="T70" fmla="*/ 558 w 1809"/>
                <a:gd name="T71" fmla="*/ 1157 h 1253"/>
                <a:gd name="T72" fmla="*/ 287 w 1809"/>
                <a:gd name="T73" fmla="*/ 654 h 1253"/>
                <a:gd name="T74" fmla="*/ 416 w 1809"/>
                <a:gd name="T75" fmla="*/ 684 h 1253"/>
                <a:gd name="T76" fmla="*/ 1106 w 1809"/>
                <a:gd name="T77" fmla="*/ 147 h 1253"/>
                <a:gd name="T78" fmla="*/ 1229 w 1809"/>
                <a:gd name="T79" fmla="*/ 258 h 1253"/>
                <a:gd name="T80" fmla="*/ 1106 w 1809"/>
                <a:gd name="T81" fmla="*/ 96 h 1253"/>
                <a:gd name="T82" fmla="*/ 1219 w 1809"/>
                <a:gd name="T83" fmla="*/ 1077 h 1253"/>
                <a:gd name="T84" fmla="*/ 1214 w 1809"/>
                <a:gd name="T85" fmla="*/ 1157 h 1253"/>
                <a:gd name="T86" fmla="*/ 1150 w 1809"/>
                <a:gd name="T87" fmla="*/ 1092 h 1253"/>
                <a:gd name="T88" fmla="*/ 1139 w 1809"/>
                <a:gd name="T89" fmla="*/ 1070 h 1253"/>
                <a:gd name="T90" fmla="*/ 1659 w 1809"/>
                <a:gd name="T91" fmla="*/ 1031 h 1253"/>
                <a:gd name="T92" fmla="*/ 1714 w 1809"/>
                <a:gd name="T93" fmla="*/ 1155 h 1253"/>
                <a:gd name="T94" fmla="*/ 1760 w 1809"/>
                <a:gd name="T95" fmla="*/ 1030 h 1253"/>
                <a:gd name="T96" fmla="*/ 111 w 1809"/>
                <a:gd name="T97" fmla="*/ 569 h 1253"/>
                <a:gd name="T98" fmla="*/ 109 w 1809"/>
                <a:gd name="T99" fmla="*/ 460 h 1253"/>
                <a:gd name="T100" fmla="*/ 32 w 1809"/>
                <a:gd name="T101" fmla="*/ 704 h 1253"/>
                <a:gd name="T102" fmla="*/ 310 w 1809"/>
                <a:gd name="T103" fmla="*/ 1058 h 1253"/>
                <a:gd name="T104" fmla="*/ 431 w 1809"/>
                <a:gd name="T105" fmla="*/ 1044 h 1253"/>
                <a:gd name="T106" fmla="*/ 278 w 1809"/>
                <a:gd name="T107" fmla="*/ 1165 h 1253"/>
                <a:gd name="T108" fmla="*/ 261 w 1809"/>
                <a:gd name="T109" fmla="*/ 540 h 1253"/>
                <a:gd name="T110" fmla="*/ 150 w 1809"/>
                <a:gd name="T111" fmla="*/ 635 h 1253"/>
                <a:gd name="T112" fmla="*/ 994 w 1809"/>
                <a:gd name="T113" fmla="*/ 1185 h 1253"/>
                <a:gd name="T114" fmla="*/ 331 w 1809"/>
                <a:gd name="T115" fmla="*/ 176 h 1253"/>
                <a:gd name="T116" fmla="*/ 333 w 1809"/>
                <a:gd name="T117" fmla="*/ 109 h 1253"/>
                <a:gd name="T118" fmla="*/ 946 w 1809"/>
                <a:gd name="T119" fmla="*/ 234 h 1253"/>
                <a:gd name="T120" fmla="*/ 1022 w 1809"/>
                <a:gd name="T121" fmla="*/ 113 h 1253"/>
                <a:gd name="T122" fmla="*/ 949 w 1809"/>
                <a:gd name="T123" fmla="*/ 65 h 1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09" h="1253">
                  <a:moveTo>
                    <a:pt x="248" y="198"/>
                  </a:moveTo>
                  <a:cubicBezTo>
                    <a:pt x="248" y="211"/>
                    <a:pt x="248" y="224"/>
                    <a:pt x="249" y="237"/>
                  </a:cubicBezTo>
                  <a:cubicBezTo>
                    <a:pt x="249" y="245"/>
                    <a:pt x="246" y="249"/>
                    <a:pt x="240" y="253"/>
                  </a:cubicBezTo>
                  <a:cubicBezTo>
                    <a:pt x="231" y="260"/>
                    <a:pt x="220" y="264"/>
                    <a:pt x="209" y="268"/>
                  </a:cubicBezTo>
                  <a:cubicBezTo>
                    <a:pt x="179" y="279"/>
                    <a:pt x="148" y="280"/>
                    <a:pt x="118" y="275"/>
                  </a:cubicBezTo>
                  <a:cubicBezTo>
                    <a:pt x="86" y="269"/>
                    <a:pt x="58" y="252"/>
                    <a:pt x="39" y="224"/>
                  </a:cubicBezTo>
                  <a:cubicBezTo>
                    <a:pt x="24" y="203"/>
                    <a:pt x="18" y="180"/>
                    <a:pt x="15" y="155"/>
                  </a:cubicBezTo>
                  <a:cubicBezTo>
                    <a:pt x="11" y="135"/>
                    <a:pt x="15" y="115"/>
                    <a:pt x="19" y="97"/>
                  </a:cubicBezTo>
                  <a:cubicBezTo>
                    <a:pt x="26" y="68"/>
                    <a:pt x="42" y="44"/>
                    <a:pt x="68" y="27"/>
                  </a:cubicBezTo>
                  <a:cubicBezTo>
                    <a:pt x="87" y="14"/>
                    <a:pt x="109" y="6"/>
                    <a:pt x="133" y="5"/>
                  </a:cubicBezTo>
                  <a:cubicBezTo>
                    <a:pt x="149" y="4"/>
                    <a:pt x="165" y="5"/>
                    <a:pt x="181" y="6"/>
                  </a:cubicBezTo>
                  <a:cubicBezTo>
                    <a:pt x="204" y="8"/>
                    <a:pt x="225" y="20"/>
                    <a:pt x="243" y="35"/>
                  </a:cubicBezTo>
                  <a:cubicBezTo>
                    <a:pt x="246" y="37"/>
                    <a:pt x="246" y="40"/>
                    <a:pt x="244" y="43"/>
                  </a:cubicBezTo>
                  <a:cubicBezTo>
                    <a:pt x="242" y="47"/>
                    <a:pt x="239" y="52"/>
                    <a:pt x="236" y="55"/>
                  </a:cubicBezTo>
                  <a:cubicBezTo>
                    <a:pt x="226" y="65"/>
                    <a:pt x="224" y="65"/>
                    <a:pt x="206" y="54"/>
                  </a:cubicBezTo>
                  <a:cubicBezTo>
                    <a:pt x="193" y="46"/>
                    <a:pt x="180" y="40"/>
                    <a:pt x="165" y="41"/>
                  </a:cubicBezTo>
                  <a:cubicBezTo>
                    <a:pt x="151" y="41"/>
                    <a:pt x="137" y="39"/>
                    <a:pt x="124" y="42"/>
                  </a:cubicBezTo>
                  <a:cubicBezTo>
                    <a:pt x="104" y="46"/>
                    <a:pt x="87" y="57"/>
                    <a:pt x="75" y="74"/>
                  </a:cubicBezTo>
                  <a:cubicBezTo>
                    <a:pt x="56" y="99"/>
                    <a:pt x="51" y="129"/>
                    <a:pt x="55" y="159"/>
                  </a:cubicBezTo>
                  <a:cubicBezTo>
                    <a:pt x="60" y="189"/>
                    <a:pt x="73" y="214"/>
                    <a:pt x="98" y="230"/>
                  </a:cubicBezTo>
                  <a:cubicBezTo>
                    <a:pt x="109" y="237"/>
                    <a:pt x="121" y="242"/>
                    <a:pt x="135" y="241"/>
                  </a:cubicBezTo>
                  <a:cubicBezTo>
                    <a:pt x="146" y="241"/>
                    <a:pt x="158" y="241"/>
                    <a:pt x="169" y="241"/>
                  </a:cubicBezTo>
                  <a:cubicBezTo>
                    <a:pt x="182" y="242"/>
                    <a:pt x="193" y="235"/>
                    <a:pt x="205" y="232"/>
                  </a:cubicBezTo>
                  <a:cubicBezTo>
                    <a:pt x="210" y="231"/>
                    <a:pt x="211" y="227"/>
                    <a:pt x="211" y="224"/>
                  </a:cubicBezTo>
                  <a:cubicBezTo>
                    <a:pt x="211" y="210"/>
                    <a:pt x="211" y="196"/>
                    <a:pt x="211" y="183"/>
                  </a:cubicBezTo>
                  <a:cubicBezTo>
                    <a:pt x="211" y="177"/>
                    <a:pt x="207" y="175"/>
                    <a:pt x="202" y="175"/>
                  </a:cubicBezTo>
                  <a:cubicBezTo>
                    <a:pt x="193" y="175"/>
                    <a:pt x="184" y="175"/>
                    <a:pt x="175" y="175"/>
                  </a:cubicBezTo>
                  <a:cubicBezTo>
                    <a:pt x="171" y="175"/>
                    <a:pt x="168" y="174"/>
                    <a:pt x="166" y="171"/>
                  </a:cubicBezTo>
                  <a:cubicBezTo>
                    <a:pt x="163" y="163"/>
                    <a:pt x="164" y="154"/>
                    <a:pt x="166" y="146"/>
                  </a:cubicBezTo>
                  <a:cubicBezTo>
                    <a:pt x="167" y="142"/>
                    <a:pt x="171" y="142"/>
                    <a:pt x="175" y="142"/>
                  </a:cubicBezTo>
                  <a:cubicBezTo>
                    <a:pt x="196" y="142"/>
                    <a:pt x="217" y="142"/>
                    <a:pt x="238" y="142"/>
                  </a:cubicBezTo>
                  <a:cubicBezTo>
                    <a:pt x="247" y="142"/>
                    <a:pt x="248" y="148"/>
                    <a:pt x="248" y="155"/>
                  </a:cubicBezTo>
                  <a:cubicBezTo>
                    <a:pt x="249" y="169"/>
                    <a:pt x="248" y="183"/>
                    <a:pt x="248" y="198"/>
                  </a:cubicBezTo>
                  <a:close/>
                  <a:moveTo>
                    <a:pt x="884" y="1181"/>
                  </a:moveTo>
                  <a:cubicBezTo>
                    <a:pt x="889" y="1167"/>
                    <a:pt x="894" y="1152"/>
                    <a:pt x="898" y="1137"/>
                  </a:cubicBezTo>
                  <a:cubicBezTo>
                    <a:pt x="901" y="1127"/>
                    <a:pt x="905" y="1116"/>
                    <a:pt x="908" y="1106"/>
                  </a:cubicBezTo>
                  <a:cubicBezTo>
                    <a:pt x="911" y="1098"/>
                    <a:pt x="912" y="1089"/>
                    <a:pt x="916" y="1081"/>
                  </a:cubicBezTo>
                  <a:cubicBezTo>
                    <a:pt x="921" y="1072"/>
                    <a:pt x="923" y="1060"/>
                    <a:pt x="927" y="1050"/>
                  </a:cubicBezTo>
                  <a:cubicBezTo>
                    <a:pt x="932" y="1037"/>
                    <a:pt x="934" y="1023"/>
                    <a:pt x="940" y="1010"/>
                  </a:cubicBezTo>
                  <a:cubicBezTo>
                    <a:pt x="945" y="1001"/>
                    <a:pt x="941" y="995"/>
                    <a:pt x="931" y="995"/>
                  </a:cubicBezTo>
                  <a:cubicBezTo>
                    <a:pt x="927" y="995"/>
                    <a:pt x="922" y="995"/>
                    <a:pt x="918" y="995"/>
                  </a:cubicBezTo>
                  <a:cubicBezTo>
                    <a:pt x="913" y="995"/>
                    <a:pt x="908" y="997"/>
                    <a:pt x="907" y="1001"/>
                  </a:cubicBezTo>
                  <a:cubicBezTo>
                    <a:pt x="904" y="1008"/>
                    <a:pt x="900" y="1015"/>
                    <a:pt x="899" y="1023"/>
                  </a:cubicBezTo>
                  <a:cubicBezTo>
                    <a:pt x="897" y="1034"/>
                    <a:pt x="893" y="1045"/>
                    <a:pt x="889" y="1055"/>
                  </a:cubicBezTo>
                  <a:cubicBezTo>
                    <a:pt x="887" y="1064"/>
                    <a:pt x="885" y="1072"/>
                    <a:pt x="882" y="1080"/>
                  </a:cubicBezTo>
                  <a:cubicBezTo>
                    <a:pt x="878" y="1091"/>
                    <a:pt x="874" y="1103"/>
                    <a:pt x="871" y="1115"/>
                  </a:cubicBezTo>
                  <a:cubicBezTo>
                    <a:pt x="870" y="1118"/>
                    <a:pt x="871" y="1124"/>
                    <a:pt x="866" y="1124"/>
                  </a:cubicBezTo>
                  <a:cubicBezTo>
                    <a:pt x="861" y="1125"/>
                    <a:pt x="859" y="1120"/>
                    <a:pt x="858" y="1115"/>
                  </a:cubicBezTo>
                  <a:cubicBezTo>
                    <a:pt x="856" y="1110"/>
                    <a:pt x="856" y="1104"/>
                    <a:pt x="854" y="1099"/>
                  </a:cubicBezTo>
                  <a:cubicBezTo>
                    <a:pt x="848" y="1080"/>
                    <a:pt x="841" y="1062"/>
                    <a:pt x="835" y="1044"/>
                  </a:cubicBezTo>
                  <a:cubicBezTo>
                    <a:pt x="831" y="1030"/>
                    <a:pt x="828" y="1016"/>
                    <a:pt x="822" y="1003"/>
                  </a:cubicBezTo>
                  <a:cubicBezTo>
                    <a:pt x="819" y="997"/>
                    <a:pt x="814" y="994"/>
                    <a:pt x="808" y="994"/>
                  </a:cubicBezTo>
                  <a:cubicBezTo>
                    <a:pt x="799" y="993"/>
                    <a:pt x="791" y="993"/>
                    <a:pt x="787" y="1001"/>
                  </a:cubicBezTo>
                  <a:cubicBezTo>
                    <a:pt x="783" y="1008"/>
                    <a:pt x="780" y="1015"/>
                    <a:pt x="779" y="1022"/>
                  </a:cubicBezTo>
                  <a:cubicBezTo>
                    <a:pt x="778" y="1034"/>
                    <a:pt x="772" y="1044"/>
                    <a:pt x="769" y="1055"/>
                  </a:cubicBezTo>
                  <a:cubicBezTo>
                    <a:pt x="762" y="1076"/>
                    <a:pt x="754" y="1096"/>
                    <a:pt x="749" y="1117"/>
                  </a:cubicBezTo>
                  <a:cubicBezTo>
                    <a:pt x="748" y="1120"/>
                    <a:pt x="747" y="1124"/>
                    <a:pt x="742" y="1124"/>
                  </a:cubicBezTo>
                  <a:cubicBezTo>
                    <a:pt x="737" y="1124"/>
                    <a:pt x="737" y="1120"/>
                    <a:pt x="736" y="1116"/>
                  </a:cubicBezTo>
                  <a:cubicBezTo>
                    <a:pt x="734" y="1104"/>
                    <a:pt x="730" y="1092"/>
                    <a:pt x="726" y="1080"/>
                  </a:cubicBezTo>
                  <a:cubicBezTo>
                    <a:pt x="720" y="1061"/>
                    <a:pt x="714" y="1040"/>
                    <a:pt x="708" y="1020"/>
                  </a:cubicBezTo>
                  <a:cubicBezTo>
                    <a:pt x="703" y="1000"/>
                    <a:pt x="698" y="994"/>
                    <a:pt x="676" y="995"/>
                  </a:cubicBezTo>
                  <a:cubicBezTo>
                    <a:pt x="665" y="996"/>
                    <a:pt x="661" y="1001"/>
                    <a:pt x="667" y="1011"/>
                  </a:cubicBezTo>
                  <a:cubicBezTo>
                    <a:pt x="669" y="1016"/>
                    <a:pt x="670" y="1021"/>
                    <a:pt x="672" y="1025"/>
                  </a:cubicBezTo>
                  <a:cubicBezTo>
                    <a:pt x="675" y="1035"/>
                    <a:pt x="678" y="1046"/>
                    <a:pt x="681" y="1055"/>
                  </a:cubicBezTo>
                  <a:cubicBezTo>
                    <a:pt x="685" y="1068"/>
                    <a:pt x="689" y="1080"/>
                    <a:pt x="693" y="1092"/>
                  </a:cubicBezTo>
                  <a:cubicBezTo>
                    <a:pt x="697" y="1103"/>
                    <a:pt x="699" y="1113"/>
                    <a:pt x="703" y="1124"/>
                  </a:cubicBezTo>
                  <a:cubicBezTo>
                    <a:pt x="707" y="1136"/>
                    <a:pt x="711" y="1147"/>
                    <a:pt x="715" y="1160"/>
                  </a:cubicBezTo>
                  <a:cubicBezTo>
                    <a:pt x="717" y="1168"/>
                    <a:pt x="720" y="1176"/>
                    <a:pt x="724" y="1183"/>
                  </a:cubicBezTo>
                  <a:cubicBezTo>
                    <a:pt x="728" y="1189"/>
                    <a:pt x="752" y="1185"/>
                    <a:pt x="757" y="1180"/>
                  </a:cubicBezTo>
                  <a:cubicBezTo>
                    <a:pt x="764" y="1173"/>
                    <a:pt x="762" y="1163"/>
                    <a:pt x="766" y="1156"/>
                  </a:cubicBezTo>
                  <a:cubicBezTo>
                    <a:pt x="774" y="1140"/>
                    <a:pt x="778" y="1122"/>
                    <a:pt x="784" y="1105"/>
                  </a:cubicBezTo>
                  <a:cubicBezTo>
                    <a:pt x="789" y="1088"/>
                    <a:pt x="796" y="1072"/>
                    <a:pt x="800" y="1054"/>
                  </a:cubicBezTo>
                  <a:cubicBezTo>
                    <a:pt x="800" y="1053"/>
                    <a:pt x="801" y="1050"/>
                    <a:pt x="803" y="1050"/>
                  </a:cubicBezTo>
                  <a:cubicBezTo>
                    <a:pt x="806" y="1050"/>
                    <a:pt x="806" y="1052"/>
                    <a:pt x="807" y="1055"/>
                  </a:cubicBezTo>
                  <a:cubicBezTo>
                    <a:pt x="807" y="1060"/>
                    <a:pt x="810" y="1066"/>
                    <a:pt x="811" y="1071"/>
                  </a:cubicBezTo>
                  <a:cubicBezTo>
                    <a:pt x="814" y="1081"/>
                    <a:pt x="818" y="1090"/>
                    <a:pt x="821" y="1099"/>
                  </a:cubicBezTo>
                  <a:cubicBezTo>
                    <a:pt x="824" y="1110"/>
                    <a:pt x="827" y="1120"/>
                    <a:pt x="831" y="1131"/>
                  </a:cubicBezTo>
                  <a:cubicBezTo>
                    <a:pt x="834" y="1142"/>
                    <a:pt x="839" y="1153"/>
                    <a:pt x="842" y="1164"/>
                  </a:cubicBezTo>
                  <a:cubicBezTo>
                    <a:pt x="846" y="1179"/>
                    <a:pt x="850" y="1188"/>
                    <a:pt x="869" y="1185"/>
                  </a:cubicBezTo>
                  <a:cubicBezTo>
                    <a:pt x="873" y="1184"/>
                    <a:pt x="881" y="1189"/>
                    <a:pt x="884" y="1181"/>
                  </a:cubicBezTo>
                  <a:close/>
                  <a:moveTo>
                    <a:pt x="33" y="1051"/>
                  </a:moveTo>
                  <a:cubicBezTo>
                    <a:pt x="33" y="1087"/>
                    <a:pt x="33" y="1124"/>
                    <a:pt x="33" y="1160"/>
                  </a:cubicBezTo>
                  <a:cubicBezTo>
                    <a:pt x="33" y="1188"/>
                    <a:pt x="29" y="1184"/>
                    <a:pt x="58" y="1185"/>
                  </a:cubicBezTo>
                  <a:cubicBezTo>
                    <a:pt x="72" y="1185"/>
                    <a:pt x="73" y="1184"/>
                    <a:pt x="73" y="1170"/>
                  </a:cubicBezTo>
                  <a:cubicBezTo>
                    <a:pt x="73" y="1138"/>
                    <a:pt x="73" y="1107"/>
                    <a:pt x="73" y="1076"/>
                  </a:cubicBezTo>
                  <a:cubicBezTo>
                    <a:pt x="73" y="1071"/>
                    <a:pt x="72" y="1067"/>
                    <a:pt x="78" y="1065"/>
                  </a:cubicBezTo>
                  <a:cubicBezTo>
                    <a:pt x="91" y="1062"/>
                    <a:pt x="102" y="1067"/>
                    <a:pt x="110" y="1076"/>
                  </a:cubicBezTo>
                  <a:cubicBezTo>
                    <a:pt x="112" y="1080"/>
                    <a:pt x="115" y="1083"/>
                    <a:pt x="118" y="1086"/>
                  </a:cubicBezTo>
                  <a:cubicBezTo>
                    <a:pt x="132" y="1103"/>
                    <a:pt x="146" y="1119"/>
                    <a:pt x="161" y="1136"/>
                  </a:cubicBezTo>
                  <a:cubicBezTo>
                    <a:pt x="173" y="1150"/>
                    <a:pt x="186" y="1165"/>
                    <a:pt x="198" y="1179"/>
                  </a:cubicBezTo>
                  <a:cubicBezTo>
                    <a:pt x="207" y="1188"/>
                    <a:pt x="218" y="1184"/>
                    <a:pt x="228" y="1185"/>
                  </a:cubicBezTo>
                  <a:cubicBezTo>
                    <a:pt x="233" y="1185"/>
                    <a:pt x="241" y="1188"/>
                    <a:pt x="244" y="1182"/>
                  </a:cubicBezTo>
                  <a:cubicBezTo>
                    <a:pt x="246" y="1178"/>
                    <a:pt x="239" y="1173"/>
                    <a:pt x="235" y="1169"/>
                  </a:cubicBezTo>
                  <a:cubicBezTo>
                    <a:pt x="206" y="1133"/>
                    <a:pt x="176" y="1098"/>
                    <a:pt x="146" y="1062"/>
                  </a:cubicBezTo>
                  <a:cubicBezTo>
                    <a:pt x="141" y="1056"/>
                    <a:pt x="131" y="1052"/>
                    <a:pt x="132" y="1044"/>
                  </a:cubicBezTo>
                  <a:cubicBezTo>
                    <a:pt x="132" y="1036"/>
                    <a:pt x="142" y="1032"/>
                    <a:pt x="147" y="1026"/>
                  </a:cubicBezTo>
                  <a:cubicBezTo>
                    <a:pt x="164" y="1006"/>
                    <a:pt x="182" y="988"/>
                    <a:pt x="198" y="968"/>
                  </a:cubicBezTo>
                  <a:cubicBezTo>
                    <a:pt x="209" y="954"/>
                    <a:pt x="221" y="942"/>
                    <a:pt x="234" y="929"/>
                  </a:cubicBezTo>
                  <a:cubicBezTo>
                    <a:pt x="236" y="926"/>
                    <a:pt x="238" y="923"/>
                    <a:pt x="237" y="920"/>
                  </a:cubicBezTo>
                  <a:cubicBezTo>
                    <a:pt x="235" y="915"/>
                    <a:pt x="231" y="917"/>
                    <a:pt x="228" y="917"/>
                  </a:cubicBezTo>
                  <a:cubicBezTo>
                    <a:pt x="224" y="918"/>
                    <a:pt x="221" y="918"/>
                    <a:pt x="217" y="918"/>
                  </a:cubicBezTo>
                  <a:cubicBezTo>
                    <a:pt x="204" y="917"/>
                    <a:pt x="193" y="922"/>
                    <a:pt x="185" y="931"/>
                  </a:cubicBezTo>
                  <a:cubicBezTo>
                    <a:pt x="172" y="946"/>
                    <a:pt x="158" y="961"/>
                    <a:pt x="145" y="977"/>
                  </a:cubicBezTo>
                  <a:cubicBezTo>
                    <a:pt x="131" y="993"/>
                    <a:pt x="117" y="1010"/>
                    <a:pt x="102" y="1026"/>
                  </a:cubicBezTo>
                  <a:cubicBezTo>
                    <a:pt x="96" y="1032"/>
                    <a:pt x="87" y="1037"/>
                    <a:pt x="78" y="1034"/>
                  </a:cubicBezTo>
                  <a:cubicBezTo>
                    <a:pt x="70" y="1030"/>
                    <a:pt x="73" y="1021"/>
                    <a:pt x="73" y="1015"/>
                  </a:cubicBezTo>
                  <a:cubicBezTo>
                    <a:pt x="73" y="991"/>
                    <a:pt x="73" y="967"/>
                    <a:pt x="73" y="944"/>
                  </a:cubicBezTo>
                  <a:cubicBezTo>
                    <a:pt x="73" y="916"/>
                    <a:pt x="75" y="917"/>
                    <a:pt x="46" y="918"/>
                  </a:cubicBezTo>
                  <a:cubicBezTo>
                    <a:pt x="33" y="918"/>
                    <a:pt x="33" y="918"/>
                    <a:pt x="33" y="931"/>
                  </a:cubicBezTo>
                  <a:cubicBezTo>
                    <a:pt x="33" y="971"/>
                    <a:pt x="33" y="1011"/>
                    <a:pt x="33" y="1051"/>
                  </a:cubicBezTo>
                  <a:cubicBezTo>
                    <a:pt x="33" y="1051"/>
                    <a:pt x="33" y="1051"/>
                    <a:pt x="33" y="1051"/>
                  </a:cubicBezTo>
                  <a:close/>
                  <a:moveTo>
                    <a:pt x="639" y="84"/>
                  </a:moveTo>
                  <a:cubicBezTo>
                    <a:pt x="627" y="84"/>
                    <a:pt x="626" y="84"/>
                    <a:pt x="629" y="95"/>
                  </a:cubicBezTo>
                  <a:cubicBezTo>
                    <a:pt x="634" y="113"/>
                    <a:pt x="640" y="131"/>
                    <a:pt x="646" y="148"/>
                  </a:cubicBezTo>
                  <a:cubicBezTo>
                    <a:pt x="652" y="166"/>
                    <a:pt x="658" y="185"/>
                    <a:pt x="664" y="203"/>
                  </a:cubicBezTo>
                  <a:cubicBezTo>
                    <a:pt x="671" y="223"/>
                    <a:pt x="676" y="244"/>
                    <a:pt x="684" y="264"/>
                  </a:cubicBezTo>
                  <a:cubicBezTo>
                    <a:pt x="688" y="274"/>
                    <a:pt x="694" y="274"/>
                    <a:pt x="702" y="274"/>
                  </a:cubicBezTo>
                  <a:cubicBezTo>
                    <a:pt x="711" y="274"/>
                    <a:pt x="719" y="272"/>
                    <a:pt x="723" y="263"/>
                  </a:cubicBezTo>
                  <a:cubicBezTo>
                    <a:pt x="733" y="236"/>
                    <a:pt x="741" y="208"/>
                    <a:pt x="750" y="181"/>
                  </a:cubicBezTo>
                  <a:cubicBezTo>
                    <a:pt x="754" y="169"/>
                    <a:pt x="757" y="156"/>
                    <a:pt x="763" y="145"/>
                  </a:cubicBezTo>
                  <a:cubicBezTo>
                    <a:pt x="764" y="143"/>
                    <a:pt x="764" y="140"/>
                    <a:pt x="767" y="140"/>
                  </a:cubicBezTo>
                  <a:cubicBezTo>
                    <a:pt x="770" y="140"/>
                    <a:pt x="770" y="143"/>
                    <a:pt x="771" y="145"/>
                  </a:cubicBezTo>
                  <a:cubicBezTo>
                    <a:pt x="771" y="156"/>
                    <a:pt x="777" y="165"/>
                    <a:pt x="780" y="175"/>
                  </a:cubicBezTo>
                  <a:cubicBezTo>
                    <a:pt x="782" y="184"/>
                    <a:pt x="785" y="193"/>
                    <a:pt x="788" y="201"/>
                  </a:cubicBezTo>
                  <a:cubicBezTo>
                    <a:pt x="794" y="219"/>
                    <a:pt x="801" y="237"/>
                    <a:pt x="806" y="255"/>
                  </a:cubicBezTo>
                  <a:cubicBezTo>
                    <a:pt x="811" y="272"/>
                    <a:pt x="825" y="280"/>
                    <a:pt x="842" y="273"/>
                  </a:cubicBezTo>
                  <a:cubicBezTo>
                    <a:pt x="845" y="271"/>
                    <a:pt x="847" y="269"/>
                    <a:pt x="848" y="266"/>
                  </a:cubicBezTo>
                  <a:cubicBezTo>
                    <a:pt x="853" y="251"/>
                    <a:pt x="859" y="236"/>
                    <a:pt x="863" y="221"/>
                  </a:cubicBezTo>
                  <a:cubicBezTo>
                    <a:pt x="867" y="202"/>
                    <a:pt x="875" y="185"/>
                    <a:pt x="880" y="166"/>
                  </a:cubicBezTo>
                  <a:cubicBezTo>
                    <a:pt x="886" y="144"/>
                    <a:pt x="895" y="123"/>
                    <a:pt x="900" y="101"/>
                  </a:cubicBezTo>
                  <a:cubicBezTo>
                    <a:pt x="901" y="96"/>
                    <a:pt x="909" y="91"/>
                    <a:pt x="904" y="86"/>
                  </a:cubicBezTo>
                  <a:cubicBezTo>
                    <a:pt x="900" y="81"/>
                    <a:pt x="892" y="84"/>
                    <a:pt x="886" y="84"/>
                  </a:cubicBezTo>
                  <a:cubicBezTo>
                    <a:pt x="885" y="84"/>
                    <a:pt x="883" y="84"/>
                    <a:pt x="881" y="84"/>
                  </a:cubicBezTo>
                  <a:cubicBezTo>
                    <a:pt x="875" y="84"/>
                    <a:pt x="872" y="86"/>
                    <a:pt x="869" y="91"/>
                  </a:cubicBezTo>
                  <a:cubicBezTo>
                    <a:pt x="860" y="110"/>
                    <a:pt x="856" y="131"/>
                    <a:pt x="850" y="151"/>
                  </a:cubicBezTo>
                  <a:cubicBezTo>
                    <a:pt x="844" y="170"/>
                    <a:pt x="836" y="188"/>
                    <a:pt x="834" y="208"/>
                  </a:cubicBezTo>
                  <a:cubicBezTo>
                    <a:pt x="833" y="211"/>
                    <a:pt x="831" y="214"/>
                    <a:pt x="827" y="214"/>
                  </a:cubicBezTo>
                  <a:cubicBezTo>
                    <a:pt x="823" y="214"/>
                    <a:pt x="822" y="210"/>
                    <a:pt x="822" y="207"/>
                  </a:cubicBezTo>
                  <a:cubicBezTo>
                    <a:pt x="817" y="188"/>
                    <a:pt x="811" y="170"/>
                    <a:pt x="805" y="152"/>
                  </a:cubicBezTo>
                  <a:cubicBezTo>
                    <a:pt x="799" y="133"/>
                    <a:pt x="794" y="114"/>
                    <a:pt x="786" y="96"/>
                  </a:cubicBezTo>
                  <a:cubicBezTo>
                    <a:pt x="783" y="87"/>
                    <a:pt x="779" y="84"/>
                    <a:pt x="770" y="84"/>
                  </a:cubicBezTo>
                  <a:cubicBezTo>
                    <a:pt x="761" y="84"/>
                    <a:pt x="752" y="82"/>
                    <a:pt x="748" y="94"/>
                  </a:cubicBezTo>
                  <a:cubicBezTo>
                    <a:pt x="744" y="109"/>
                    <a:pt x="738" y="123"/>
                    <a:pt x="734" y="138"/>
                  </a:cubicBezTo>
                  <a:cubicBezTo>
                    <a:pt x="729" y="153"/>
                    <a:pt x="724" y="167"/>
                    <a:pt x="719" y="182"/>
                  </a:cubicBezTo>
                  <a:cubicBezTo>
                    <a:pt x="716" y="192"/>
                    <a:pt x="715" y="203"/>
                    <a:pt x="708" y="212"/>
                  </a:cubicBezTo>
                  <a:cubicBezTo>
                    <a:pt x="707" y="214"/>
                    <a:pt x="707" y="217"/>
                    <a:pt x="704" y="217"/>
                  </a:cubicBezTo>
                  <a:cubicBezTo>
                    <a:pt x="701" y="217"/>
                    <a:pt x="701" y="213"/>
                    <a:pt x="700" y="211"/>
                  </a:cubicBezTo>
                  <a:cubicBezTo>
                    <a:pt x="699" y="198"/>
                    <a:pt x="694" y="186"/>
                    <a:pt x="690" y="174"/>
                  </a:cubicBezTo>
                  <a:cubicBezTo>
                    <a:pt x="684" y="153"/>
                    <a:pt x="677" y="131"/>
                    <a:pt x="672" y="110"/>
                  </a:cubicBezTo>
                  <a:cubicBezTo>
                    <a:pt x="667" y="88"/>
                    <a:pt x="663" y="84"/>
                    <a:pt x="645" y="84"/>
                  </a:cubicBezTo>
                  <a:cubicBezTo>
                    <a:pt x="643" y="84"/>
                    <a:pt x="641" y="84"/>
                    <a:pt x="639" y="84"/>
                  </a:cubicBezTo>
                  <a:close/>
                  <a:moveTo>
                    <a:pt x="507" y="711"/>
                  </a:moveTo>
                  <a:cubicBezTo>
                    <a:pt x="507" y="730"/>
                    <a:pt x="507" y="730"/>
                    <a:pt x="526" y="730"/>
                  </a:cubicBezTo>
                  <a:cubicBezTo>
                    <a:pt x="539" y="730"/>
                    <a:pt x="541" y="729"/>
                    <a:pt x="541" y="715"/>
                  </a:cubicBezTo>
                  <a:cubicBezTo>
                    <a:pt x="541" y="677"/>
                    <a:pt x="541" y="638"/>
                    <a:pt x="540" y="600"/>
                  </a:cubicBezTo>
                  <a:cubicBezTo>
                    <a:pt x="540" y="593"/>
                    <a:pt x="543" y="587"/>
                    <a:pt x="548" y="582"/>
                  </a:cubicBezTo>
                  <a:cubicBezTo>
                    <a:pt x="553" y="576"/>
                    <a:pt x="559" y="573"/>
                    <a:pt x="564" y="569"/>
                  </a:cubicBezTo>
                  <a:cubicBezTo>
                    <a:pt x="574" y="564"/>
                    <a:pt x="594" y="566"/>
                    <a:pt x="602" y="574"/>
                  </a:cubicBezTo>
                  <a:cubicBezTo>
                    <a:pt x="611" y="582"/>
                    <a:pt x="614" y="592"/>
                    <a:pt x="614" y="604"/>
                  </a:cubicBezTo>
                  <a:cubicBezTo>
                    <a:pt x="614" y="638"/>
                    <a:pt x="614" y="672"/>
                    <a:pt x="614" y="706"/>
                  </a:cubicBezTo>
                  <a:cubicBezTo>
                    <a:pt x="614" y="730"/>
                    <a:pt x="614" y="730"/>
                    <a:pt x="638" y="730"/>
                  </a:cubicBezTo>
                  <a:cubicBezTo>
                    <a:pt x="650" y="730"/>
                    <a:pt x="650" y="730"/>
                    <a:pt x="650" y="717"/>
                  </a:cubicBezTo>
                  <a:cubicBezTo>
                    <a:pt x="650" y="684"/>
                    <a:pt x="650" y="650"/>
                    <a:pt x="650" y="617"/>
                  </a:cubicBezTo>
                  <a:cubicBezTo>
                    <a:pt x="650" y="606"/>
                    <a:pt x="651" y="597"/>
                    <a:pt x="657" y="586"/>
                  </a:cubicBezTo>
                  <a:cubicBezTo>
                    <a:pt x="667" y="565"/>
                    <a:pt x="703" y="560"/>
                    <a:pt x="716" y="579"/>
                  </a:cubicBezTo>
                  <a:cubicBezTo>
                    <a:pt x="723" y="588"/>
                    <a:pt x="724" y="598"/>
                    <a:pt x="724" y="609"/>
                  </a:cubicBezTo>
                  <a:cubicBezTo>
                    <a:pt x="724" y="645"/>
                    <a:pt x="724" y="682"/>
                    <a:pt x="724" y="718"/>
                  </a:cubicBezTo>
                  <a:cubicBezTo>
                    <a:pt x="724" y="727"/>
                    <a:pt x="727" y="731"/>
                    <a:pt x="736" y="730"/>
                  </a:cubicBezTo>
                  <a:cubicBezTo>
                    <a:pt x="738" y="730"/>
                    <a:pt x="741" y="730"/>
                    <a:pt x="743" y="730"/>
                  </a:cubicBezTo>
                  <a:cubicBezTo>
                    <a:pt x="758" y="730"/>
                    <a:pt x="759" y="729"/>
                    <a:pt x="759" y="715"/>
                  </a:cubicBezTo>
                  <a:cubicBezTo>
                    <a:pt x="759" y="677"/>
                    <a:pt x="758" y="639"/>
                    <a:pt x="759" y="601"/>
                  </a:cubicBezTo>
                  <a:cubicBezTo>
                    <a:pt x="759" y="571"/>
                    <a:pt x="742" y="540"/>
                    <a:pt x="704" y="538"/>
                  </a:cubicBezTo>
                  <a:cubicBezTo>
                    <a:pt x="681" y="536"/>
                    <a:pt x="661" y="542"/>
                    <a:pt x="646" y="560"/>
                  </a:cubicBezTo>
                  <a:cubicBezTo>
                    <a:pt x="638" y="569"/>
                    <a:pt x="638" y="569"/>
                    <a:pt x="631" y="559"/>
                  </a:cubicBezTo>
                  <a:cubicBezTo>
                    <a:pt x="630" y="558"/>
                    <a:pt x="630" y="557"/>
                    <a:pt x="629" y="556"/>
                  </a:cubicBezTo>
                  <a:cubicBezTo>
                    <a:pt x="623" y="548"/>
                    <a:pt x="616" y="541"/>
                    <a:pt x="607" y="539"/>
                  </a:cubicBezTo>
                  <a:cubicBezTo>
                    <a:pt x="584" y="534"/>
                    <a:pt x="563" y="539"/>
                    <a:pt x="545" y="555"/>
                  </a:cubicBezTo>
                  <a:cubicBezTo>
                    <a:pt x="540" y="559"/>
                    <a:pt x="537" y="561"/>
                    <a:pt x="537" y="552"/>
                  </a:cubicBezTo>
                  <a:cubicBezTo>
                    <a:pt x="536" y="543"/>
                    <a:pt x="526" y="538"/>
                    <a:pt x="515" y="539"/>
                  </a:cubicBezTo>
                  <a:cubicBezTo>
                    <a:pt x="506" y="540"/>
                    <a:pt x="507" y="546"/>
                    <a:pt x="507" y="552"/>
                  </a:cubicBezTo>
                  <a:cubicBezTo>
                    <a:pt x="507" y="580"/>
                    <a:pt x="507" y="607"/>
                    <a:pt x="507" y="634"/>
                  </a:cubicBezTo>
                  <a:cubicBezTo>
                    <a:pt x="507" y="660"/>
                    <a:pt x="507" y="685"/>
                    <a:pt x="507" y="711"/>
                  </a:cubicBezTo>
                  <a:close/>
                  <a:moveTo>
                    <a:pt x="1525" y="1142"/>
                  </a:moveTo>
                  <a:cubicBezTo>
                    <a:pt x="1517" y="1143"/>
                    <a:pt x="1511" y="1141"/>
                    <a:pt x="1505" y="1136"/>
                  </a:cubicBezTo>
                  <a:cubicBezTo>
                    <a:pt x="1501" y="1133"/>
                    <a:pt x="1495" y="1130"/>
                    <a:pt x="1498" y="1124"/>
                  </a:cubicBezTo>
                  <a:cubicBezTo>
                    <a:pt x="1500" y="1118"/>
                    <a:pt x="1504" y="1114"/>
                    <a:pt x="1512" y="1114"/>
                  </a:cubicBezTo>
                  <a:cubicBezTo>
                    <a:pt x="1521" y="1115"/>
                    <a:pt x="1530" y="1114"/>
                    <a:pt x="1538" y="1115"/>
                  </a:cubicBezTo>
                  <a:cubicBezTo>
                    <a:pt x="1573" y="1117"/>
                    <a:pt x="1610" y="1084"/>
                    <a:pt x="1602" y="1044"/>
                  </a:cubicBezTo>
                  <a:cubicBezTo>
                    <a:pt x="1600" y="1035"/>
                    <a:pt x="1599" y="1028"/>
                    <a:pt x="1611" y="1027"/>
                  </a:cubicBezTo>
                  <a:cubicBezTo>
                    <a:pt x="1614" y="1027"/>
                    <a:pt x="1617" y="1024"/>
                    <a:pt x="1619" y="1023"/>
                  </a:cubicBezTo>
                  <a:cubicBezTo>
                    <a:pt x="1626" y="1019"/>
                    <a:pt x="1624" y="1013"/>
                    <a:pt x="1623" y="1008"/>
                  </a:cubicBezTo>
                  <a:cubicBezTo>
                    <a:pt x="1623" y="1002"/>
                    <a:pt x="1618" y="1003"/>
                    <a:pt x="1613" y="1002"/>
                  </a:cubicBezTo>
                  <a:cubicBezTo>
                    <a:pt x="1598" y="1002"/>
                    <a:pt x="1582" y="1004"/>
                    <a:pt x="1567" y="1000"/>
                  </a:cubicBezTo>
                  <a:cubicBezTo>
                    <a:pt x="1560" y="999"/>
                    <a:pt x="1554" y="993"/>
                    <a:pt x="1546" y="993"/>
                  </a:cubicBezTo>
                  <a:cubicBezTo>
                    <a:pt x="1536" y="994"/>
                    <a:pt x="1525" y="992"/>
                    <a:pt x="1515" y="993"/>
                  </a:cubicBezTo>
                  <a:cubicBezTo>
                    <a:pt x="1490" y="997"/>
                    <a:pt x="1469" y="1010"/>
                    <a:pt x="1462" y="1034"/>
                  </a:cubicBezTo>
                  <a:cubicBezTo>
                    <a:pt x="1455" y="1056"/>
                    <a:pt x="1457" y="1079"/>
                    <a:pt x="1476" y="1096"/>
                  </a:cubicBezTo>
                  <a:cubicBezTo>
                    <a:pt x="1483" y="1103"/>
                    <a:pt x="1483" y="1107"/>
                    <a:pt x="1476" y="1113"/>
                  </a:cubicBezTo>
                  <a:cubicBezTo>
                    <a:pt x="1462" y="1126"/>
                    <a:pt x="1462" y="1142"/>
                    <a:pt x="1473" y="1157"/>
                  </a:cubicBezTo>
                  <a:cubicBezTo>
                    <a:pt x="1476" y="1160"/>
                    <a:pt x="1476" y="1162"/>
                    <a:pt x="1472" y="1164"/>
                  </a:cubicBezTo>
                  <a:cubicBezTo>
                    <a:pt x="1470" y="1166"/>
                    <a:pt x="1468" y="1168"/>
                    <a:pt x="1466" y="1170"/>
                  </a:cubicBezTo>
                  <a:cubicBezTo>
                    <a:pt x="1449" y="1183"/>
                    <a:pt x="1444" y="1201"/>
                    <a:pt x="1454" y="1218"/>
                  </a:cubicBezTo>
                  <a:cubicBezTo>
                    <a:pt x="1464" y="1235"/>
                    <a:pt x="1479" y="1246"/>
                    <a:pt x="1499" y="1249"/>
                  </a:cubicBezTo>
                  <a:cubicBezTo>
                    <a:pt x="1517" y="1252"/>
                    <a:pt x="1535" y="1253"/>
                    <a:pt x="1553" y="1250"/>
                  </a:cubicBezTo>
                  <a:cubicBezTo>
                    <a:pt x="1584" y="1245"/>
                    <a:pt x="1607" y="1232"/>
                    <a:pt x="1619" y="1200"/>
                  </a:cubicBezTo>
                  <a:cubicBezTo>
                    <a:pt x="1627" y="1180"/>
                    <a:pt x="1611" y="1155"/>
                    <a:pt x="1593" y="1148"/>
                  </a:cubicBezTo>
                  <a:cubicBezTo>
                    <a:pt x="1578" y="1142"/>
                    <a:pt x="1563" y="1143"/>
                    <a:pt x="1549" y="1142"/>
                  </a:cubicBezTo>
                  <a:cubicBezTo>
                    <a:pt x="1540" y="1142"/>
                    <a:pt x="1532" y="1142"/>
                    <a:pt x="1525" y="1142"/>
                  </a:cubicBezTo>
                  <a:close/>
                  <a:moveTo>
                    <a:pt x="1556" y="1172"/>
                  </a:moveTo>
                  <a:cubicBezTo>
                    <a:pt x="1566" y="1172"/>
                    <a:pt x="1576" y="1176"/>
                    <a:pt x="1583" y="1183"/>
                  </a:cubicBezTo>
                  <a:cubicBezTo>
                    <a:pt x="1589" y="1190"/>
                    <a:pt x="1589" y="1198"/>
                    <a:pt x="1583" y="1205"/>
                  </a:cubicBezTo>
                  <a:cubicBezTo>
                    <a:pt x="1575" y="1215"/>
                    <a:pt x="1565" y="1220"/>
                    <a:pt x="1553" y="1223"/>
                  </a:cubicBezTo>
                  <a:cubicBezTo>
                    <a:pt x="1534" y="1228"/>
                    <a:pt x="1516" y="1225"/>
                    <a:pt x="1499" y="1219"/>
                  </a:cubicBezTo>
                  <a:cubicBezTo>
                    <a:pt x="1486" y="1214"/>
                    <a:pt x="1479" y="1203"/>
                    <a:pt x="1482" y="1193"/>
                  </a:cubicBezTo>
                  <a:cubicBezTo>
                    <a:pt x="1485" y="1182"/>
                    <a:pt x="1496" y="1168"/>
                    <a:pt x="1514" y="1171"/>
                  </a:cubicBezTo>
                  <a:cubicBezTo>
                    <a:pt x="1526" y="1173"/>
                    <a:pt x="1541" y="1171"/>
                    <a:pt x="1556" y="1172"/>
                  </a:cubicBezTo>
                  <a:close/>
                  <a:moveTo>
                    <a:pt x="1531" y="1019"/>
                  </a:moveTo>
                  <a:cubicBezTo>
                    <a:pt x="1553" y="1017"/>
                    <a:pt x="1570" y="1033"/>
                    <a:pt x="1570" y="1052"/>
                  </a:cubicBezTo>
                  <a:cubicBezTo>
                    <a:pt x="1570" y="1075"/>
                    <a:pt x="1554" y="1093"/>
                    <a:pt x="1532" y="1091"/>
                  </a:cubicBezTo>
                  <a:cubicBezTo>
                    <a:pt x="1508" y="1089"/>
                    <a:pt x="1494" y="1082"/>
                    <a:pt x="1493" y="1053"/>
                  </a:cubicBezTo>
                  <a:cubicBezTo>
                    <a:pt x="1494" y="1029"/>
                    <a:pt x="1508" y="1020"/>
                    <a:pt x="1531" y="1019"/>
                  </a:cubicBezTo>
                  <a:close/>
                  <a:moveTo>
                    <a:pt x="1413" y="934"/>
                  </a:moveTo>
                  <a:cubicBezTo>
                    <a:pt x="1413" y="909"/>
                    <a:pt x="1413" y="909"/>
                    <a:pt x="1389" y="910"/>
                  </a:cubicBezTo>
                  <a:cubicBezTo>
                    <a:pt x="1388" y="910"/>
                    <a:pt x="1387" y="910"/>
                    <a:pt x="1387" y="910"/>
                  </a:cubicBezTo>
                  <a:cubicBezTo>
                    <a:pt x="1379" y="910"/>
                    <a:pt x="1376" y="915"/>
                    <a:pt x="1376" y="921"/>
                  </a:cubicBezTo>
                  <a:cubicBezTo>
                    <a:pt x="1376" y="939"/>
                    <a:pt x="1377" y="956"/>
                    <a:pt x="1377" y="974"/>
                  </a:cubicBezTo>
                  <a:cubicBezTo>
                    <a:pt x="1377" y="983"/>
                    <a:pt x="1377" y="991"/>
                    <a:pt x="1377" y="1000"/>
                  </a:cubicBezTo>
                  <a:cubicBezTo>
                    <a:pt x="1377" y="1005"/>
                    <a:pt x="1374" y="1009"/>
                    <a:pt x="1369" y="1005"/>
                  </a:cubicBezTo>
                  <a:cubicBezTo>
                    <a:pt x="1352" y="990"/>
                    <a:pt x="1332" y="993"/>
                    <a:pt x="1312" y="993"/>
                  </a:cubicBezTo>
                  <a:cubicBezTo>
                    <a:pt x="1303" y="994"/>
                    <a:pt x="1294" y="998"/>
                    <a:pt x="1287" y="1003"/>
                  </a:cubicBezTo>
                  <a:cubicBezTo>
                    <a:pt x="1265" y="1017"/>
                    <a:pt x="1252" y="1039"/>
                    <a:pt x="1248" y="1065"/>
                  </a:cubicBezTo>
                  <a:cubicBezTo>
                    <a:pt x="1244" y="1096"/>
                    <a:pt x="1244" y="1128"/>
                    <a:pt x="1261" y="1157"/>
                  </a:cubicBezTo>
                  <a:cubicBezTo>
                    <a:pt x="1270" y="1170"/>
                    <a:pt x="1281" y="1181"/>
                    <a:pt x="1296" y="1185"/>
                  </a:cubicBezTo>
                  <a:cubicBezTo>
                    <a:pt x="1323" y="1191"/>
                    <a:pt x="1349" y="1188"/>
                    <a:pt x="1370" y="1167"/>
                  </a:cubicBezTo>
                  <a:cubicBezTo>
                    <a:pt x="1372" y="1165"/>
                    <a:pt x="1375" y="1162"/>
                    <a:pt x="1379" y="1163"/>
                  </a:cubicBezTo>
                  <a:cubicBezTo>
                    <a:pt x="1382" y="1165"/>
                    <a:pt x="1381" y="1169"/>
                    <a:pt x="1381" y="1172"/>
                  </a:cubicBezTo>
                  <a:cubicBezTo>
                    <a:pt x="1383" y="1181"/>
                    <a:pt x="1390" y="1186"/>
                    <a:pt x="1403" y="1186"/>
                  </a:cubicBezTo>
                  <a:cubicBezTo>
                    <a:pt x="1413" y="1185"/>
                    <a:pt x="1413" y="1178"/>
                    <a:pt x="1413" y="1172"/>
                  </a:cubicBezTo>
                  <a:cubicBezTo>
                    <a:pt x="1413" y="1131"/>
                    <a:pt x="1413" y="1090"/>
                    <a:pt x="1413" y="1049"/>
                  </a:cubicBezTo>
                  <a:cubicBezTo>
                    <a:pt x="1413" y="1010"/>
                    <a:pt x="1413" y="972"/>
                    <a:pt x="1413" y="934"/>
                  </a:cubicBezTo>
                  <a:close/>
                  <a:moveTo>
                    <a:pt x="1378" y="1113"/>
                  </a:moveTo>
                  <a:cubicBezTo>
                    <a:pt x="1378" y="1136"/>
                    <a:pt x="1360" y="1155"/>
                    <a:pt x="1337" y="1157"/>
                  </a:cubicBezTo>
                  <a:cubicBezTo>
                    <a:pt x="1319" y="1159"/>
                    <a:pt x="1304" y="1154"/>
                    <a:pt x="1294" y="1139"/>
                  </a:cubicBezTo>
                  <a:cubicBezTo>
                    <a:pt x="1286" y="1128"/>
                    <a:pt x="1283" y="1116"/>
                    <a:pt x="1283" y="1102"/>
                  </a:cubicBezTo>
                  <a:cubicBezTo>
                    <a:pt x="1282" y="1085"/>
                    <a:pt x="1282" y="1067"/>
                    <a:pt x="1290" y="1051"/>
                  </a:cubicBezTo>
                  <a:cubicBezTo>
                    <a:pt x="1297" y="1036"/>
                    <a:pt x="1308" y="1024"/>
                    <a:pt x="1325" y="1022"/>
                  </a:cubicBezTo>
                  <a:cubicBezTo>
                    <a:pt x="1342" y="1020"/>
                    <a:pt x="1358" y="1021"/>
                    <a:pt x="1371" y="1035"/>
                  </a:cubicBezTo>
                  <a:cubicBezTo>
                    <a:pt x="1376" y="1041"/>
                    <a:pt x="1378" y="1046"/>
                    <a:pt x="1378" y="1052"/>
                  </a:cubicBezTo>
                  <a:cubicBezTo>
                    <a:pt x="1378" y="1064"/>
                    <a:pt x="1378" y="1075"/>
                    <a:pt x="1378" y="1086"/>
                  </a:cubicBezTo>
                  <a:cubicBezTo>
                    <a:pt x="1378" y="1086"/>
                    <a:pt x="1378" y="1086"/>
                    <a:pt x="1378" y="1086"/>
                  </a:cubicBezTo>
                  <a:cubicBezTo>
                    <a:pt x="1378" y="1095"/>
                    <a:pt x="1378" y="1104"/>
                    <a:pt x="1378" y="1113"/>
                  </a:cubicBezTo>
                  <a:close/>
                  <a:moveTo>
                    <a:pt x="578" y="259"/>
                  </a:moveTo>
                  <a:cubicBezTo>
                    <a:pt x="603" y="241"/>
                    <a:pt x="611" y="213"/>
                    <a:pt x="614" y="183"/>
                  </a:cubicBezTo>
                  <a:cubicBezTo>
                    <a:pt x="615" y="171"/>
                    <a:pt x="610" y="159"/>
                    <a:pt x="609" y="147"/>
                  </a:cubicBezTo>
                  <a:cubicBezTo>
                    <a:pt x="608" y="137"/>
                    <a:pt x="603" y="129"/>
                    <a:pt x="599" y="121"/>
                  </a:cubicBezTo>
                  <a:cubicBezTo>
                    <a:pt x="579" y="87"/>
                    <a:pt x="527" y="70"/>
                    <a:pt x="488" y="85"/>
                  </a:cubicBezTo>
                  <a:cubicBezTo>
                    <a:pt x="453" y="99"/>
                    <a:pt x="436" y="127"/>
                    <a:pt x="431" y="163"/>
                  </a:cubicBezTo>
                  <a:cubicBezTo>
                    <a:pt x="429" y="180"/>
                    <a:pt x="430" y="196"/>
                    <a:pt x="436" y="213"/>
                  </a:cubicBezTo>
                  <a:cubicBezTo>
                    <a:pt x="439" y="222"/>
                    <a:pt x="442" y="232"/>
                    <a:pt x="447" y="239"/>
                  </a:cubicBezTo>
                  <a:cubicBezTo>
                    <a:pt x="465" y="265"/>
                    <a:pt x="491" y="277"/>
                    <a:pt x="525" y="276"/>
                  </a:cubicBezTo>
                  <a:cubicBezTo>
                    <a:pt x="543" y="278"/>
                    <a:pt x="562" y="271"/>
                    <a:pt x="578" y="259"/>
                  </a:cubicBezTo>
                  <a:close/>
                  <a:moveTo>
                    <a:pt x="471" y="205"/>
                  </a:moveTo>
                  <a:cubicBezTo>
                    <a:pt x="466" y="185"/>
                    <a:pt x="468" y="167"/>
                    <a:pt x="472" y="147"/>
                  </a:cubicBezTo>
                  <a:cubicBezTo>
                    <a:pt x="477" y="130"/>
                    <a:pt x="493" y="116"/>
                    <a:pt x="509" y="112"/>
                  </a:cubicBezTo>
                  <a:cubicBezTo>
                    <a:pt x="525" y="108"/>
                    <a:pt x="539" y="110"/>
                    <a:pt x="553" y="119"/>
                  </a:cubicBezTo>
                  <a:cubicBezTo>
                    <a:pt x="563" y="125"/>
                    <a:pt x="568" y="135"/>
                    <a:pt x="571" y="146"/>
                  </a:cubicBezTo>
                  <a:cubicBezTo>
                    <a:pt x="577" y="167"/>
                    <a:pt x="578" y="189"/>
                    <a:pt x="571" y="211"/>
                  </a:cubicBezTo>
                  <a:cubicBezTo>
                    <a:pt x="565" y="231"/>
                    <a:pt x="549" y="249"/>
                    <a:pt x="521" y="247"/>
                  </a:cubicBezTo>
                  <a:cubicBezTo>
                    <a:pt x="496" y="247"/>
                    <a:pt x="478" y="230"/>
                    <a:pt x="471" y="205"/>
                  </a:cubicBezTo>
                  <a:close/>
                  <a:moveTo>
                    <a:pt x="472" y="1122"/>
                  </a:moveTo>
                  <a:cubicBezTo>
                    <a:pt x="475" y="1136"/>
                    <a:pt x="481" y="1148"/>
                    <a:pt x="491" y="1158"/>
                  </a:cubicBezTo>
                  <a:cubicBezTo>
                    <a:pt x="506" y="1176"/>
                    <a:pt x="524" y="1185"/>
                    <a:pt x="548" y="1187"/>
                  </a:cubicBezTo>
                  <a:cubicBezTo>
                    <a:pt x="568" y="1188"/>
                    <a:pt x="587" y="1187"/>
                    <a:pt x="605" y="1177"/>
                  </a:cubicBezTo>
                  <a:cubicBezTo>
                    <a:pt x="632" y="1162"/>
                    <a:pt x="644" y="1136"/>
                    <a:pt x="649" y="1107"/>
                  </a:cubicBezTo>
                  <a:cubicBezTo>
                    <a:pt x="652" y="1089"/>
                    <a:pt x="649" y="1072"/>
                    <a:pt x="644" y="1054"/>
                  </a:cubicBezTo>
                  <a:cubicBezTo>
                    <a:pt x="638" y="1034"/>
                    <a:pt x="627" y="1019"/>
                    <a:pt x="610" y="1007"/>
                  </a:cubicBezTo>
                  <a:cubicBezTo>
                    <a:pt x="589" y="992"/>
                    <a:pt x="566" y="991"/>
                    <a:pt x="541" y="994"/>
                  </a:cubicBezTo>
                  <a:cubicBezTo>
                    <a:pt x="526" y="995"/>
                    <a:pt x="512" y="1002"/>
                    <a:pt x="500" y="1012"/>
                  </a:cubicBezTo>
                  <a:cubicBezTo>
                    <a:pt x="476" y="1032"/>
                    <a:pt x="469" y="1060"/>
                    <a:pt x="466" y="1095"/>
                  </a:cubicBezTo>
                  <a:cubicBezTo>
                    <a:pt x="465" y="1101"/>
                    <a:pt x="470" y="1111"/>
                    <a:pt x="472" y="1122"/>
                  </a:cubicBezTo>
                  <a:close/>
                  <a:moveTo>
                    <a:pt x="508" y="1113"/>
                  </a:moveTo>
                  <a:cubicBezTo>
                    <a:pt x="505" y="1095"/>
                    <a:pt x="506" y="1078"/>
                    <a:pt x="508" y="1061"/>
                  </a:cubicBezTo>
                  <a:cubicBezTo>
                    <a:pt x="511" y="1042"/>
                    <a:pt x="538" y="1021"/>
                    <a:pt x="554" y="1022"/>
                  </a:cubicBezTo>
                  <a:cubicBezTo>
                    <a:pt x="570" y="1022"/>
                    <a:pt x="586" y="1024"/>
                    <a:pt x="596" y="1037"/>
                  </a:cubicBezTo>
                  <a:cubicBezTo>
                    <a:pt x="602" y="1044"/>
                    <a:pt x="607" y="1052"/>
                    <a:pt x="608" y="1061"/>
                  </a:cubicBezTo>
                  <a:cubicBezTo>
                    <a:pt x="608" y="1064"/>
                    <a:pt x="609" y="1067"/>
                    <a:pt x="610" y="1070"/>
                  </a:cubicBezTo>
                  <a:cubicBezTo>
                    <a:pt x="618" y="1089"/>
                    <a:pt x="612" y="1107"/>
                    <a:pt x="607" y="1125"/>
                  </a:cubicBezTo>
                  <a:cubicBezTo>
                    <a:pt x="601" y="1143"/>
                    <a:pt x="588" y="1160"/>
                    <a:pt x="558" y="1157"/>
                  </a:cubicBezTo>
                  <a:cubicBezTo>
                    <a:pt x="530" y="1157"/>
                    <a:pt x="512" y="1141"/>
                    <a:pt x="508" y="1113"/>
                  </a:cubicBezTo>
                  <a:close/>
                  <a:moveTo>
                    <a:pt x="430" y="716"/>
                  </a:moveTo>
                  <a:cubicBezTo>
                    <a:pt x="450" y="703"/>
                    <a:pt x="459" y="683"/>
                    <a:pt x="464" y="661"/>
                  </a:cubicBezTo>
                  <a:cubicBezTo>
                    <a:pt x="468" y="648"/>
                    <a:pt x="467" y="635"/>
                    <a:pt x="466" y="621"/>
                  </a:cubicBezTo>
                  <a:cubicBezTo>
                    <a:pt x="463" y="592"/>
                    <a:pt x="453" y="567"/>
                    <a:pt x="427" y="550"/>
                  </a:cubicBezTo>
                  <a:cubicBezTo>
                    <a:pt x="401" y="534"/>
                    <a:pt x="372" y="532"/>
                    <a:pt x="345" y="541"/>
                  </a:cubicBezTo>
                  <a:cubicBezTo>
                    <a:pt x="310" y="552"/>
                    <a:pt x="291" y="580"/>
                    <a:pt x="287" y="617"/>
                  </a:cubicBezTo>
                  <a:cubicBezTo>
                    <a:pt x="286" y="629"/>
                    <a:pt x="286" y="641"/>
                    <a:pt x="287" y="654"/>
                  </a:cubicBezTo>
                  <a:cubicBezTo>
                    <a:pt x="289" y="671"/>
                    <a:pt x="295" y="686"/>
                    <a:pt x="306" y="700"/>
                  </a:cubicBezTo>
                  <a:cubicBezTo>
                    <a:pt x="324" y="722"/>
                    <a:pt x="348" y="733"/>
                    <a:pt x="378" y="731"/>
                  </a:cubicBezTo>
                  <a:cubicBezTo>
                    <a:pt x="396" y="733"/>
                    <a:pt x="414" y="727"/>
                    <a:pt x="430" y="716"/>
                  </a:cubicBezTo>
                  <a:close/>
                  <a:moveTo>
                    <a:pt x="331" y="592"/>
                  </a:moveTo>
                  <a:cubicBezTo>
                    <a:pt x="339" y="580"/>
                    <a:pt x="349" y="569"/>
                    <a:pt x="365" y="567"/>
                  </a:cubicBezTo>
                  <a:cubicBezTo>
                    <a:pt x="387" y="564"/>
                    <a:pt x="406" y="568"/>
                    <a:pt x="419" y="588"/>
                  </a:cubicBezTo>
                  <a:cubicBezTo>
                    <a:pt x="423" y="595"/>
                    <a:pt x="426" y="603"/>
                    <a:pt x="427" y="610"/>
                  </a:cubicBezTo>
                  <a:cubicBezTo>
                    <a:pt x="433" y="635"/>
                    <a:pt x="431" y="661"/>
                    <a:pt x="416" y="684"/>
                  </a:cubicBezTo>
                  <a:cubicBezTo>
                    <a:pt x="403" y="706"/>
                    <a:pt x="362" y="708"/>
                    <a:pt x="345" y="692"/>
                  </a:cubicBezTo>
                  <a:cubicBezTo>
                    <a:pt x="329" y="678"/>
                    <a:pt x="323" y="661"/>
                    <a:pt x="323" y="631"/>
                  </a:cubicBezTo>
                  <a:cubicBezTo>
                    <a:pt x="323" y="619"/>
                    <a:pt x="323" y="605"/>
                    <a:pt x="331" y="592"/>
                  </a:cubicBezTo>
                  <a:close/>
                  <a:moveTo>
                    <a:pt x="1073" y="259"/>
                  </a:moveTo>
                  <a:cubicBezTo>
                    <a:pt x="1073" y="269"/>
                    <a:pt x="1075" y="272"/>
                    <a:pt x="1086" y="272"/>
                  </a:cubicBezTo>
                  <a:cubicBezTo>
                    <a:pt x="1088" y="272"/>
                    <a:pt x="1090" y="272"/>
                    <a:pt x="1092" y="272"/>
                  </a:cubicBezTo>
                  <a:cubicBezTo>
                    <a:pt x="1105" y="272"/>
                    <a:pt x="1106" y="271"/>
                    <a:pt x="1106" y="258"/>
                  </a:cubicBezTo>
                  <a:cubicBezTo>
                    <a:pt x="1106" y="221"/>
                    <a:pt x="1106" y="184"/>
                    <a:pt x="1106" y="147"/>
                  </a:cubicBezTo>
                  <a:cubicBezTo>
                    <a:pt x="1106" y="143"/>
                    <a:pt x="1106" y="140"/>
                    <a:pt x="1107" y="137"/>
                  </a:cubicBezTo>
                  <a:cubicBezTo>
                    <a:pt x="1117" y="117"/>
                    <a:pt x="1157" y="104"/>
                    <a:pt x="1177" y="114"/>
                  </a:cubicBezTo>
                  <a:cubicBezTo>
                    <a:pt x="1179" y="115"/>
                    <a:pt x="1180" y="117"/>
                    <a:pt x="1182" y="118"/>
                  </a:cubicBezTo>
                  <a:cubicBezTo>
                    <a:pt x="1194" y="131"/>
                    <a:pt x="1196" y="147"/>
                    <a:pt x="1196" y="163"/>
                  </a:cubicBezTo>
                  <a:cubicBezTo>
                    <a:pt x="1197" y="195"/>
                    <a:pt x="1196" y="226"/>
                    <a:pt x="1196" y="258"/>
                  </a:cubicBezTo>
                  <a:cubicBezTo>
                    <a:pt x="1196" y="271"/>
                    <a:pt x="1197" y="272"/>
                    <a:pt x="1210" y="272"/>
                  </a:cubicBezTo>
                  <a:cubicBezTo>
                    <a:pt x="1212" y="272"/>
                    <a:pt x="1213" y="272"/>
                    <a:pt x="1215" y="272"/>
                  </a:cubicBezTo>
                  <a:cubicBezTo>
                    <a:pt x="1227" y="272"/>
                    <a:pt x="1229" y="270"/>
                    <a:pt x="1229" y="258"/>
                  </a:cubicBezTo>
                  <a:cubicBezTo>
                    <a:pt x="1229" y="222"/>
                    <a:pt x="1229" y="187"/>
                    <a:pt x="1229" y="151"/>
                  </a:cubicBezTo>
                  <a:cubicBezTo>
                    <a:pt x="1229" y="142"/>
                    <a:pt x="1228" y="132"/>
                    <a:pt x="1225" y="123"/>
                  </a:cubicBezTo>
                  <a:cubicBezTo>
                    <a:pt x="1219" y="105"/>
                    <a:pt x="1208" y="91"/>
                    <a:pt x="1189" y="85"/>
                  </a:cubicBezTo>
                  <a:cubicBezTo>
                    <a:pt x="1173" y="80"/>
                    <a:pt x="1156" y="84"/>
                    <a:pt x="1139" y="84"/>
                  </a:cubicBezTo>
                  <a:cubicBezTo>
                    <a:pt x="1137" y="84"/>
                    <a:pt x="1136" y="86"/>
                    <a:pt x="1134" y="87"/>
                  </a:cubicBezTo>
                  <a:cubicBezTo>
                    <a:pt x="1128" y="91"/>
                    <a:pt x="1121" y="96"/>
                    <a:pt x="1115" y="100"/>
                  </a:cubicBezTo>
                  <a:cubicBezTo>
                    <a:pt x="1113" y="102"/>
                    <a:pt x="1111" y="105"/>
                    <a:pt x="1108" y="103"/>
                  </a:cubicBezTo>
                  <a:cubicBezTo>
                    <a:pt x="1105" y="102"/>
                    <a:pt x="1106" y="98"/>
                    <a:pt x="1106" y="96"/>
                  </a:cubicBezTo>
                  <a:cubicBezTo>
                    <a:pt x="1106" y="69"/>
                    <a:pt x="1106" y="43"/>
                    <a:pt x="1106" y="17"/>
                  </a:cubicBezTo>
                  <a:cubicBezTo>
                    <a:pt x="1106" y="0"/>
                    <a:pt x="1106" y="0"/>
                    <a:pt x="1089" y="0"/>
                  </a:cubicBezTo>
                  <a:cubicBezTo>
                    <a:pt x="1074" y="0"/>
                    <a:pt x="1073" y="1"/>
                    <a:pt x="1073" y="16"/>
                  </a:cubicBezTo>
                  <a:cubicBezTo>
                    <a:pt x="1073" y="56"/>
                    <a:pt x="1073" y="96"/>
                    <a:pt x="1073" y="136"/>
                  </a:cubicBezTo>
                  <a:cubicBezTo>
                    <a:pt x="1073" y="177"/>
                    <a:pt x="1073" y="218"/>
                    <a:pt x="1073" y="259"/>
                  </a:cubicBezTo>
                  <a:close/>
                  <a:moveTo>
                    <a:pt x="1150" y="1092"/>
                  </a:moveTo>
                  <a:cubicBezTo>
                    <a:pt x="1168" y="1092"/>
                    <a:pt x="1186" y="1092"/>
                    <a:pt x="1204" y="1092"/>
                  </a:cubicBezTo>
                  <a:cubicBezTo>
                    <a:pt x="1215" y="1092"/>
                    <a:pt x="1218" y="1087"/>
                    <a:pt x="1219" y="1077"/>
                  </a:cubicBezTo>
                  <a:cubicBezTo>
                    <a:pt x="1220" y="1062"/>
                    <a:pt x="1216" y="1049"/>
                    <a:pt x="1210" y="1036"/>
                  </a:cubicBezTo>
                  <a:cubicBezTo>
                    <a:pt x="1204" y="1020"/>
                    <a:pt x="1193" y="1008"/>
                    <a:pt x="1177" y="1001"/>
                  </a:cubicBezTo>
                  <a:cubicBezTo>
                    <a:pt x="1155" y="992"/>
                    <a:pt x="1133" y="991"/>
                    <a:pt x="1109" y="999"/>
                  </a:cubicBezTo>
                  <a:cubicBezTo>
                    <a:pt x="1079" y="1010"/>
                    <a:pt x="1062" y="1031"/>
                    <a:pt x="1056" y="1061"/>
                  </a:cubicBezTo>
                  <a:cubicBezTo>
                    <a:pt x="1051" y="1090"/>
                    <a:pt x="1052" y="1120"/>
                    <a:pt x="1069" y="1148"/>
                  </a:cubicBezTo>
                  <a:cubicBezTo>
                    <a:pt x="1081" y="1169"/>
                    <a:pt x="1100" y="1180"/>
                    <a:pt x="1122" y="1185"/>
                  </a:cubicBezTo>
                  <a:cubicBezTo>
                    <a:pt x="1149" y="1190"/>
                    <a:pt x="1176" y="1186"/>
                    <a:pt x="1200" y="1171"/>
                  </a:cubicBezTo>
                  <a:cubicBezTo>
                    <a:pt x="1206" y="1168"/>
                    <a:pt x="1213" y="1165"/>
                    <a:pt x="1214" y="1157"/>
                  </a:cubicBezTo>
                  <a:cubicBezTo>
                    <a:pt x="1215" y="1147"/>
                    <a:pt x="1202" y="1139"/>
                    <a:pt x="1193" y="1144"/>
                  </a:cubicBezTo>
                  <a:cubicBezTo>
                    <a:pt x="1187" y="1147"/>
                    <a:pt x="1180" y="1150"/>
                    <a:pt x="1174" y="1153"/>
                  </a:cubicBezTo>
                  <a:cubicBezTo>
                    <a:pt x="1158" y="1161"/>
                    <a:pt x="1140" y="1161"/>
                    <a:pt x="1124" y="1155"/>
                  </a:cubicBezTo>
                  <a:cubicBezTo>
                    <a:pt x="1112" y="1151"/>
                    <a:pt x="1102" y="1142"/>
                    <a:pt x="1096" y="1129"/>
                  </a:cubicBezTo>
                  <a:cubicBezTo>
                    <a:pt x="1092" y="1121"/>
                    <a:pt x="1091" y="1112"/>
                    <a:pt x="1089" y="1104"/>
                  </a:cubicBezTo>
                  <a:cubicBezTo>
                    <a:pt x="1087" y="1093"/>
                    <a:pt x="1087" y="1092"/>
                    <a:pt x="1099" y="1092"/>
                  </a:cubicBezTo>
                  <a:cubicBezTo>
                    <a:pt x="1116" y="1092"/>
                    <a:pt x="1133" y="1092"/>
                    <a:pt x="1150" y="1092"/>
                  </a:cubicBezTo>
                  <a:cubicBezTo>
                    <a:pt x="1150" y="1092"/>
                    <a:pt x="1150" y="1092"/>
                    <a:pt x="1150" y="1092"/>
                  </a:cubicBezTo>
                  <a:close/>
                  <a:moveTo>
                    <a:pt x="1099" y="1070"/>
                  </a:moveTo>
                  <a:cubicBezTo>
                    <a:pt x="1092" y="1071"/>
                    <a:pt x="1089" y="1067"/>
                    <a:pt x="1091" y="1060"/>
                  </a:cubicBezTo>
                  <a:cubicBezTo>
                    <a:pt x="1094" y="1045"/>
                    <a:pt x="1108" y="1023"/>
                    <a:pt x="1128" y="1022"/>
                  </a:cubicBezTo>
                  <a:cubicBezTo>
                    <a:pt x="1142" y="1021"/>
                    <a:pt x="1156" y="1018"/>
                    <a:pt x="1168" y="1029"/>
                  </a:cubicBezTo>
                  <a:cubicBezTo>
                    <a:pt x="1181" y="1038"/>
                    <a:pt x="1185" y="1051"/>
                    <a:pt x="1187" y="1066"/>
                  </a:cubicBezTo>
                  <a:cubicBezTo>
                    <a:pt x="1188" y="1071"/>
                    <a:pt x="1183" y="1070"/>
                    <a:pt x="1180" y="1070"/>
                  </a:cubicBezTo>
                  <a:cubicBezTo>
                    <a:pt x="1166" y="1070"/>
                    <a:pt x="1153" y="1070"/>
                    <a:pt x="1139" y="1070"/>
                  </a:cubicBezTo>
                  <a:cubicBezTo>
                    <a:pt x="1139" y="1070"/>
                    <a:pt x="1139" y="1070"/>
                    <a:pt x="1139" y="1070"/>
                  </a:cubicBezTo>
                  <a:cubicBezTo>
                    <a:pt x="1126" y="1070"/>
                    <a:pt x="1113" y="1070"/>
                    <a:pt x="1099" y="1070"/>
                  </a:cubicBezTo>
                  <a:close/>
                  <a:moveTo>
                    <a:pt x="1741" y="1092"/>
                  </a:moveTo>
                  <a:cubicBezTo>
                    <a:pt x="1759" y="1092"/>
                    <a:pt x="1776" y="1092"/>
                    <a:pt x="1793" y="1092"/>
                  </a:cubicBezTo>
                  <a:cubicBezTo>
                    <a:pt x="1806" y="1092"/>
                    <a:pt x="1808" y="1089"/>
                    <a:pt x="1808" y="1076"/>
                  </a:cubicBezTo>
                  <a:cubicBezTo>
                    <a:pt x="1809" y="1063"/>
                    <a:pt x="1807" y="1051"/>
                    <a:pt x="1802" y="1038"/>
                  </a:cubicBezTo>
                  <a:cubicBezTo>
                    <a:pt x="1794" y="1021"/>
                    <a:pt x="1782" y="1008"/>
                    <a:pt x="1764" y="1000"/>
                  </a:cubicBezTo>
                  <a:cubicBezTo>
                    <a:pt x="1742" y="991"/>
                    <a:pt x="1720" y="991"/>
                    <a:pt x="1698" y="1000"/>
                  </a:cubicBezTo>
                  <a:cubicBezTo>
                    <a:pt x="1681" y="1006"/>
                    <a:pt x="1668" y="1016"/>
                    <a:pt x="1659" y="1031"/>
                  </a:cubicBezTo>
                  <a:cubicBezTo>
                    <a:pt x="1646" y="1050"/>
                    <a:pt x="1643" y="1071"/>
                    <a:pt x="1644" y="1094"/>
                  </a:cubicBezTo>
                  <a:cubicBezTo>
                    <a:pt x="1644" y="1110"/>
                    <a:pt x="1647" y="1127"/>
                    <a:pt x="1655" y="1141"/>
                  </a:cubicBezTo>
                  <a:cubicBezTo>
                    <a:pt x="1669" y="1168"/>
                    <a:pt x="1691" y="1183"/>
                    <a:pt x="1722" y="1186"/>
                  </a:cubicBezTo>
                  <a:cubicBezTo>
                    <a:pt x="1750" y="1188"/>
                    <a:pt x="1775" y="1183"/>
                    <a:pt x="1798" y="1165"/>
                  </a:cubicBezTo>
                  <a:cubicBezTo>
                    <a:pt x="1803" y="1161"/>
                    <a:pt x="1806" y="1157"/>
                    <a:pt x="1802" y="1151"/>
                  </a:cubicBezTo>
                  <a:cubicBezTo>
                    <a:pt x="1798" y="1144"/>
                    <a:pt x="1791" y="1140"/>
                    <a:pt x="1783" y="1144"/>
                  </a:cubicBezTo>
                  <a:cubicBezTo>
                    <a:pt x="1778" y="1147"/>
                    <a:pt x="1771" y="1149"/>
                    <a:pt x="1766" y="1152"/>
                  </a:cubicBezTo>
                  <a:cubicBezTo>
                    <a:pt x="1749" y="1161"/>
                    <a:pt x="1730" y="1162"/>
                    <a:pt x="1714" y="1155"/>
                  </a:cubicBezTo>
                  <a:cubicBezTo>
                    <a:pt x="1692" y="1145"/>
                    <a:pt x="1680" y="1127"/>
                    <a:pt x="1679" y="1102"/>
                  </a:cubicBezTo>
                  <a:cubicBezTo>
                    <a:pt x="1678" y="1095"/>
                    <a:pt x="1681" y="1092"/>
                    <a:pt x="1689" y="1092"/>
                  </a:cubicBezTo>
                  <a:cubicBezTo>
                    <a:pt x="1706" y="1092"/>
                    <a:pt x="1724" y="1092"/>
                    <a:pt x="1741" y="1092"/>
                  </a:cubicBezTo>
                  <a:cubicBezTo>
                    <a:pt x="1741" y="1092"/>
                    <a:pt x="1741" y="1092"/>
                    <a:pt x="1741" y="1092"/>
                  </a:cubicBezTo>
                  <a:close/>
                  <a:moveTo>
                    <a:pt x="1690" y="1070"/>
                  </a:moveTo>
                  <a:cubicBezTo>
                    <a:pt x="1683" y="1071"/>
                    <a:pt x="1680" y="1068"/>
                    <a:pt x="1681" y="1062"/>
                  </a:cubicBezTo>
                  <a:cubicBezTo>
                    <a:pt x="1683" y="1048"/>
                    <a:pt x="1697" y="1024"/>
                    <a:pt x="1716" y="1022"/>
                  </a:cubicBezTo>
                  <a:cubicBezTo>
                    <a:pt x="1731" y="1020"/>
                    <a:pt x="1747" y="1018"/>
                    <a:pt x="1760" y="1030"/>
                  </a:cubicBezTo>
                  <a:cubicBezTo>
                    <a:pt x="1771" y="1038"/>
                    <a:pt x="1775" y="1050"/>
                    <a:pt x="1778" y="1062"/>
                  </a:cubicBezTo>
                  <a:cubicBezTo>
                    <a:pt x="1780" y="1068"/>
                    <a:pt x="1775" y="1070"/>
                    <a:pt x="1769" y="1070"/>
                  </a:cubicBezTo>
                  <a:cubicBezTo>
                    <a:pt x="1756" y="1070"/>
                    <a:pt x="1742" y="1070"/>
                    <a:pt x="1729" y="1070"/>
                  </a:cubicBezTo>
                  <a:cubicBezTo>
                    <a:pt x="1729" y="1070"/>
                    <a:pt x="1729" y="1070"/>
                    <a:pt x="1729" y="1070"/>
                  </a:cubicBezTo>
                  <a:cubicBezTo>
                    <a:pt x="1716" y="1070"/>
                    <a:pt x="1703" y="1070"/>
                    <a:pt x="1690" y="1070"/>
                  </a:cubicBezTo>
                  <a:close/>
                  <a:moveTo>
                    <a:pt x="68" y="581"/>
                  </a:moveTo>
                  <a:cubicBezTo>
                    <a:pt x="68" y="573"/>
                    <a:pt x="70" y="568"/>
                    <a:pt x="80" y="569"/>
                  </a:cubicBezTo>
                  <a:cubicBezTo>
                    <a:pt x="90" y="570"/>
                    <a:pt x="101" y="570"/>
                    <a:pt x="111" y="569"/>
                  </a:cubicBezTo>
                  <a:cubicBezTo>
                    <a:pt x="120" y="569"/>
                    <a:pt x="120" y="563"/>
                    <a:pt x="120" y="556"/>
                  </a:cubicBezTo>
                  <a:cubicBezTo>
                    <a:pt x="120" y="549"/>
                    <a:pt x="119" y="544"/>
                    <a:pt x="111" y="544"/>
                  </a:cubicBezTo>
                  <a:cubicBezTo>
                    <a:pt x="104" y="544"/>
                    <a:pt x="97" y="544"/>
                    <a:pt x="91" y="544"/>
                  </a:cubicBezTo>
                  <a:cubicBezTo>
                    <a:pt x="66" y="544"/>
                    <a:pt x="65" y="543"/>
                    <a:pt x="68" y="518"/>
                  </a:cubicBezTo>
                  <a:cubicBezTo>
                    <a:pt x="69" y="504"/>
                    <a:pt x="83" y="487"/>
                    <a:pt x="99" y="489"/>
                  </a:cubicBezTo>
                  <a:cubicBezTo>
                    <a:pt x="103" y="489"/>
                    <a:pt x="107" y="489"/>
                    <a:pt x="110" y="488"/>
                  </a:cubicBezTo>
                  <a:cubicBezTo>
                    <a:pt x="118" y="487"/>
                    <a:pt x="123" y="479"/>
                    <a:pt x="123" y="471"/>
                  </a:cubicBezTo>
                  <a:cubicBezTo>
                    <a:pt x="123" y="461"/>
                    <a:pt x="116" y="462"/>
                    <a:pt x="109" y="460"/>
                  </a:cubicBezTo>
                  <a:cubicBezTo>
                    <a:pt x="100" y="458"/>
                    <a:pt x="92" y="460"/>
                    <a:pt x="84" y="460"/>
                  </a:cubicBezTo>
                  <a:cubicBezTo>
                    <a:pt x="68" y="461"/>
                    <a:pt x="56" y="469"/>
                    <a:pt x="47" y="480"/>
                  </a:cubicBezTo>
                  <a:cubicBezTo>
                    <a:pt x="34" y="493"/>
                    <a:pt x="32" y="511"/>
                    <a:pt x="32" y="529"/>
                  </a:cubicBezTo>
                  <a:cubicBezTo>
                    <a:pt x="32" y="544"/>
                    <a:pt x="32" y="544"/>
                    <a:pt x="17" y="544"/>
                  </a:cubicBezTo>
                  <a:cubicBezTo>
                    <a:pt x="4" y="543"/>
                    <a:pt x="0" y="548"/>
                    <a:pt x="4" y="561"/>
                  </a:cubicBezTo>
                  <a:cubicBezTo>
                    <a:pt x="6" y="569"/>
                    <a:pt x="13" y="568"/>
                    <a:pt x="19" y="569"/>
                  </a:cubicBezTo>
                  <a:cubicBezTo>
                    <a:pt x="32" y="571"/>
                    <a:pt x="32" y="571"/>
                    <a:pt x="32" y="584"/>
                  </a:cubicBezTo>
                  <a:cubicBezTo>
                    <a:pt x="32" y="624"/>
                    <a:pt x="32" y="664"/>
                    <a:pt x="32" y="704"/>
                  </a:cubicBezTo>
                  <a:cubicBezTo>
                    <a:pt x="32" y="731"/>
                    <a:pt x="32" y="730"/>
                    <a:pt x="57" y="731"/>
                  </a:cubicBezTo>
                  <a:cubicBezTo>
                    <a:pt x="66" y="731"/>
                    <a:pt x="68" y="727"/>
                    <a:pt x="68" y="720"/>
                  </a:cubicBezTo>
                  <a:cubicBezTo>
                    <a:pt x="68" y="697"/>
                    <a:pt x="68" y="674"/>
                    <a:pt x="68" y="651"/>
                  </a:cubicBezTo>
                  <a:cubicBezTo>
                    <a:pt x="68" y="628"/>
                    <a:pt x="68" y="605"/>
                    <a:pt x="68" y="581"/>
                  </a:cubicBezTo>
                  <a:close/>
                  <a:moveTo>
                    <a:pt x="278" y="1165"/>
                  </a:moveTo>
                  <a:cubicBezTo>
                    <a:pt x="278" y="1183"/>
                    <a:pt x="278" y="1183"/>
                    <a:pt x="296" y="1184"/>
                  </a:cubicBezTo>
                  <a:cubicBezTo>
                    <a:pt x="310" y="1184"/>
                    <a:pt x="310" y="1184"/>
                    <a:pt x="310" y="1169"/>
                  </a:cubicBezTo>
                  <a:cubicBezTo>
                    <a:pt x="310" y="1132"/>
                    <a:pt x="310" y="1095"/>
                    <a:pt x="310" y="1058"/>
                  </a:cubicBezTo>
                  <a:cubicBezTo>
                    <a:pt x="310" y="1052"/>
                    <a:pt x="312" y="1047"/>
                    <a:pt x="316" y="1042"/>
                  </a:cubicBezTo>
                  <a:cubicBezTo>
                    <a:pt x="324" y="1033"/>
                    <a:pt x="334" y="1027"/>
                    <a:pt x="345" y="1024"/>
                  </a:cubicBezTo>
                  <a:cubicBezTo>
                    <a:pt x="357" y="1020"/>
                    <a:pt x="371" y="1018"/>
                    <a:pt x="383" y="1028"/>
                  </a:cubicBezTo>
                  <a:cubicBezTo>
                    <a:pt x="397" y="1039"/>
                    <a:pt x="401" y="1054"/>
                    <a:pt x="401" y="1071"/>
                  </a:cubicBezTo>
                  <a:cubicBezTo>
                    <a:pt x="401" y="1102"/>
                    <a:pt x="401" y="1132"/>
                    <a:pt x="401" y="1163"/>
                  </a:cubicBezTo>
                  <a:cubicBezTo>
                    <a:pt x="401" y="1183"/>
                    <a:pt x="401" y="1182"/>
                    <a:pt x="420" y="1184"/>
                  </a:cubicBezTo>
                  <a:cubicBezTo>
                    <a:pt x="429" y="1185"/>
                    <a:pt x="433" y="1181"/>
                    <a:pt x="433" y="1173"/>
                  </a:cubicBezTo>
                  <a:cubicBezTo>
                    <a:pt x="432" y="1130"/>
                    <a:pt x="435" y="1087"/>
                    <a:pt x="431" y="1044"/>
                  </a:cubicBezTo>
                  <a:cubicBezTo>
                    <a:pt x="427" y="1014"/>
                    <a:pt x="404" y="996"/>
                    <a:pt x="376" y="994"/>
                  </a:cubicBezTo>
                  <a:cubicBezTo>
                    <a:pt x="353" y="992"/>
                    <a:pt x="333" y="1000"/>
                    <a:pt x="317" y="1017"/>
                  </a:cubicBezTo>
                  <a:cubicBezTo>
                    <a:pt x="312" y="1021"/>
                    <a:pt x="311" y="1019"/>
                    <a:pt x="309" y="1015"/>
                  </a:cubicBezTo>
                  <a:cubicBezTo>
                    <a:pt x="309" y="1013"/>
                    <a:pt x="308" y="1011"/>
                    <a:pt x="308" y="1008"/>
                  </a:cubicBezTo>
                  <a:cubicBezTo>
                    <a:pt x="306" y="1001"/>
                    <a:pt x="298" y="997"/>
                    <a:pt x="287" y="998"/>
                  </a:cubicBezTo>
                  <a:cubicBezTo>
                    <a:pt x="279" y="999"/>
                    <a:pt x="278" y="1004"/>
                    <a:pt x="278" y="1011"/>
                  </a:cubicBezTo>
                  <a:cubicBezTo>
                    <a:pt x="278" y="1037"/>
                    <a:pt x="278" y="1064"/>
                    <a:pt x="278" y="1091"/>
                  </a:cubicBezTo>
                  <a:cubicBezTo>
                    <a:pt x="278" y="1115"/>
                    <a:pt x="278" y="1140"/>
                    <a:pt x="278" y="1165"/>
                  </a:cubicBezTo>
                  <a:close/>
                  <a:moveTo>
                    <a:pt x="150" y="705"/>
                  </a:moveTo>
                  <a:cubicBezTo>
                    <a:pt x="150" y="734"/>
                    <a:pt x="145" y="730"/>
                    <a:pt x="176" y="731"/>
                  </a:cubicBezTo>
                  <a:cubicBezTo>
                    <a:pt x="185" y="731"/>
                    <a:pt x="187" y="727"/>
                    <a:pt x="187" y="719"/>
                  </a:cubicBezTo>
                  <a:cubicBezTo>
                    <a:pt x="187" y="685"/>
                    <a:pt x="187" y="651"/>
                    <a:pt x="187" y="618"/>
                  </a:cubicBezTo>
                  <a:cubicBezTo>
                    <a:pt x="187" y="597"/>
                    <a:pt x="204" y="578"/>
                    <a:pt x="225" y="574"/>
                  </a:cubicBezTo>
                  <a:cubicBezTo>
                    <a:pt x="232" y="572"/>
                    <a:pt x="240" y="574"/>
                    <a:pt x="247" y="575"/>
                  </a:cubicBezTo>
                  <a:cubicBezTo>
                    <a:pt x="257" y="576"/>
                    <a:pt x="261" y="572"/>
                    <a:pt x="265" y="564"/>
                  </a:cubicBezTo>
                  <a:cubicBezTo>
                    <a:pt x="269" y="556"/>
                    <a:pt x="267" y="542"/>
                    <a:pt x="261" y="540"/>
                  </a:cubicBezTo>
                  <a:cubicBezTo>
                    <a:pt x="253" y="538"/>
                    <a:pt x="244" y="534"/>
                    <a:pt x="237" y="536"/>
                  </a:cubicBezTo>
                  <a:cubicBezTo>
                    <a:pt x="228" y="537"/>
                    <a:pt x="217" y="537"/>
                    <a:pt x="209" y="544"/>
                  </a:cubicBezTo>
                  <a:cubicBezTo>
                    <a:pt x="204" y="549"/>
                    <a:pt x="198" y="553"/>
                    <a:pt x="194" y="558"/>
                  </a:cubicBezTo>
                  <a:cubicBezTo>
                    <a:pt x="192" y="561"/>
                    <a:pt x="189" y="563"/>
                    <a:pt x="185" y="562"/>
                  </a:cubicBezTo>
                  <a:cubicBezTo>
                    <a:pt x="182" y="561"/>
                    <a:pt x="182" y="558"/>
                    <a:pt x="182" y="556"/>
                  </a:cubicBezTo>
                  <a:cubicBezTo>
                    <a:pt x="180" y="539"/>
                    <a:pt x="179" y="539"/>
                    <a:pt x="162" y="539"/>
                  </a:cubicBezTo>
                  <a:cubicBezTo>
                    <a:pt x="151" y="539"/>
                    <a:pt x="150" y="540"/>
                    <a:pt x="150" y="551"/>
                  </a:cubicBezTo>
                  <a:cubicBezTo>
                    <a:pt x="150" y="579"/>
                    <a:pt x="150" y="607"/>
                    <a:pt x="150" y="635"/>
                  </a:cubicBezTo>
                  <a:cubicBezTo>
                    <a:pt x="150" y="658"/>
                    <a:pt x="149" y="682"/>
                    <a:pt x="150" y="705"/>
                  </a:cubicBezTo>
                  <a:close/>
                  <a:moveTo>
                    <a:pt x="1011" y="1049"/>
                  </a:moveTo>
                  <a:cubicBezTo>
                    <a:pt x="1011" y="1008"/>
                    <a:pt x="1011" y="966"/>
                    <a:pt x="1011" y="924"/>
                  </a:cubicBezTo>
                  <a:cubicBezTo>
                    <a:pt x="1011" y="913"/>
                    <a:pt x="1008" y="910"/>
                    <a:pt x="997" y="910"/>
                  </a:cubicBezTo>
                  <a:cubicBezTo>
                    <a:pt x="995" y="910"/>
                    <a:pt x="992" y="910"/>
                    <a:pt x="990" y="910"/>
                  </a:cubicBezTo>
                  <a:cubicBezTo>
                    <a:pt x="976" y="910"/>
                    <a:pt x="975" y="911"/>
                    <a:pt x="975" y="926"/>
                  </a:cubicBezTo>
                  <a:cubicBezTo>
                    <a:pt x="975" y="1006"/>
                    <a:pt x="975" y="1085"/>
                    <a:pt x="975" y="1165"/>
                  </a:cubicBezTo>
                  <a:cubicBezTo>
                    <a:pt x="975" y="1185"/>
                    <a:pt x="975" y="1185"/>
                    <a:pt x="994" y="1185"/>
                  </a:cubicBezTo>
                  <a:cubicBezTo>
                    <a:pt x="1009" y="1185"/>
                    <a:pt x="1011" y="1184"/>
                    <a:pt x="1011" y="1169"/>
                  </a:cubicBezTo>
                  <a:cubicBezTo>
                    <a:pt x="1011" y="1129"/>
                    <a:pt x="1011" y="1089"/>
                    <a:pt x="1011" y="1049"/>
                  </a:cubicBezTo>
                  <a:cubicBezTo>
                    <a:pt x="1011" y="1049"/>
                    <a:pt x="1011" y="1049"/>
                    <a:pt x="1011" y="1049"/>
                  </a:cubicBezTo>
                  <a:close/>
                  <a:moveTo>
                    <a:pt x="296" y="176"/>
                  </a:moveTo>
                  <a:cubicBezTo>
                    <a:pt x="296" y="201"/>
                    <a:pt x="296" y="226"/>
                    <a:pt x="296" y="251"/>
                  </a:cubicBezTo>
                  <a:cubicBezTo>
                    <a:pt x="295" y="276"/>
                    <a:pt x="296" y="274"/>
                    <a:pt x="318" y="274"/>
                  </a:cubicBezTo>
                  <a:cubicBezTo>
                    <a:pt x="330" y="274"/>
                    <a:pt x="331" y="274"/>
                    <a:pt x="331" y="260"/>
                  </a:cubicBezTo>
                  <a:cubicBezTo>
                    <a:pt x="331" y="232"/>
                    <a:pt x="331" y="204"/>
                    <a:pt x="331" y="176"/>
                  </a:cubicBezTo>
                  <a:cubicBezTo>
                    <a:pt x="331" y="165"/>
                    <a:pt x="331" y="155"/>
                    <a:pt x="337" y="145"/>
                  </a:cubicBezTo>
                  <a:cubicBezTo>
                    <a:pt x="349" y="123"/>
                    <a:pt x="359" y="117"/>
                    <a:pt x="377" y="118"/>
                  </a:cubicBezTo>
                  <a:cubicBezTo>
                    <a:pt x="383" y="118"/>
                    <a:pt x="389" y="119"/>
                    <a:pt x="395" y="120"/>
                  </a:cubicBezTo>
                  <a:cubicBezTo>
                    <a:pt x="401" y="120"/>
                    <a:pt x="407" y="118"/>
                    <a:pt x="408" y="112"/>
                  </a:cubicBezTo>
                  <a:cubicBezTo>
                    <a:pt x="409" y="103"/>
                    <a:pt x="415" y="93"/>
                    <a:pt x="407" y="85"/>
                  </a:cubicBezTo>
                  <a:cubicBezTo>
                    <a:pt x="406" y="84"/>
                    <a:pt x="404" y="84"/>
                    <a:pt x="402" y="84"/>
                  </a:cubicBezTo>
                  <a:cubicBezTo>
                    <a:pt x="376" y="78"/>
                    <a:pt x="353" y="82"/>
                    <a:pt x="337" y="106"/>
                  </a:cubicBezTo>
                  <a:cubicBezTo>
                    <a:pt x="336" y="108"/>
                    <a:pt x="335" y="110"/>
                    <a:pt x="333" y="109"/>
                  </a:cubicBezTo>
                  <a:cubicBezTo>
                    <a:pt x="331" y="109"/>
                    <a:pt x="330" y="107"/>
                    <a:pt x="330" y="105"/>
                  </a:cubicBezTo>
                  <a:cubicBezTo>
                    <a:pt x="329" y="101"/>
                    <a:pt x="329" y="97"/>
                    <a:pt x="328" y="94"/>
                  </a:cubicBezTo>
                  <a:cubicBezTo>
                    <a:pt x="325" y="85"/>
                    <a:pt x="318" y="82"/>
                    <a:pt x="303" y="84"/>
                  </a:cubicBezTo>
                  <a:cubicBezTo>
                    <a:pt x="297" y="84"/>
                    <a:pt x="295" y="86"/>
                    <a:pt x="295" y="92"/>
                  </a:cubicBezTo>
                  <a:cubicBezTo>
                    <a:pt x="296" y="120"/>
                    <a:pt x="295" y="148"/>
                    <a:pt x="295" y="176"/>
                  </a:cubicBezTo>
                  <a:cubicBezTo>
                    <a:pt x="296" y="176"/>
                    <a:pt x="296" y="176"/>
                    <a:pt x="296" y="176"/>
                  </a:cubicBezTo>
                  <a:close/>
                  <a:moveTo>
                    <a:pt x="946" y="179"/>
                  </a:moveTo>
                  <a:cubicBezTo>
                    <a:pt x="946" y="197"/>
                    <a:pt x="946" y="215"/>
                    <a:pt x="946" y="234"/>
                  </a:cubicBezTo>
                  <a:cubicBezTo>
                    <a:pt x="946" y="248"/>
                    <a:pt x="951" y="260"/>
                    <a:pt x="963" y="268"/>
                  </a:cubicBezTo>
                  <a:cubicBezTo>
                    <a:pt x="982" y="280"/>
                    <a:pt x="1011" y="277"/>
                    <a:pt x="1029" y="264"/>
                  </a:cubicBezTo>
                  <a:cubicBezTo>
                    <a:pt x="1036" y="259"/>
                    <a:pt x="1036" y="254"/>
                    <a:pt x="1032" y="248"/>
                  </a:cubicBezTo>
                  <a:cubicBezTo>
                    <a:pt x="1026" y="239"/>
                    <a:pt x="1020" y="238"/>
                    <a:pt x="1013" y="242"/>
                  </a:cubicBezTo>
                  <a:cubicBezTo>
                    <a:pt x="996" y="252"/>
                    <a:pt x="978" y="243"/>
                    <a:pt x="978" y="223"/>
                  </a:cubicBezTo>
                  <a:cubicBezTo>
                    <a:pt x="978" y="190"/>
                    <a:pt x="978" y="157"/>
                    <a:pt x="978" y="123"/>
                  </a:cubicBezTo>
                  <a:cubicBezTo>
                    <a:pt x="978" y="116"/>
                    <a:pt x="981" y="113"/>
                    <a:pt x="988" y="113"/>
                  </a:cubicBezTo>
                  <a:cubicBezTo>
                    <a:pt x="999" y="114"/>
                    <a:pt x="1011" y="113"/>
                    <a:pt x="1022" y="113"/>
                  </a:cubicBezTo>
                  <a:cubicBezTo>
                    <a:pt x="1028" y="113"/>
                    <a:pt x="1033" y="112"/>
                    <a:pt x="1033" y="104"/>
                  </a:cubicBezTo>
                  <a:cubicBezTo>
                    <a:pt x="1033" y="96"/>
                    <a:pt x="1032" y="90"/>
                    <a:pt x="1022" y="90"/>
                  </a:cubicBezTo>
                  <a:cubicBezTo>
                    <a:pt x="1011" y="90"/>
                    <a:pt x="1001" y="90"/>
                    <a:pt x="990" y="90"/>
                  </a:cubicBezTo>
                  <a:cubicBezTo>
                    <a:pt x="981" y="91"/>
                    <a:pt x="977" y="88"/>
                    <a:pt x="978" y="78"/>
                  </a:cubicBezTo>
                  <a:cubicBezTo>
                    <a:pt x="978" y="64"/>
                    <a:pt x="978" y="49"/>
                    <a:pt x="978" y="35"/>
                  </a:cubicBezTo>
                  <a:cubicBezTo>
                    <a:pt x="978" y="30"/>
                    <a:pt x="978" y="25"/>
                    <a:pt x="971" y="24"/>
                  </a:cubicBezTo>
                  <a:cubicBezTo>
                    <a:pt x="964" y="24"/>
                    <a:pt x="956" y="24"/>
                    <a:pt x="955" y="32"/>
                  </a:cubicBezTo>
                  <a:cubicBezTo>
                    <a:pt x="952" y="43"/>
                    <a:pt x="949" y="54"/>
                    <a:pt x="949" y="65"/>
                  </a:cubicBezTo>
                  <a:cubicBezTo>
                    <a:pt x="948" y="88"/>
                    <a:pt x="947" y="88"/>
                    <a:pt x="924" y="91"/>
                  </a:cubicBezTo>
                  <a:cubicBezTo>
                    <a:pt x="919" y="92"/>
                    <a:pt x="914" y="92"/>
                    <a:pt x="914" y="99"/>
                  </a:cubicBezTo>
                  <a:cubicBezTo>
                    <a:pt x="915" y="107"/>
                    <a:pt x="917" y="113"/>
                    <a:pt x="926" y="113"/>
                  </a:cubicBezTo>
                  <a:cubicBezTo>
                    <a:pt x="929" y="114"/>
                    <a:pt x="932" y="113"/>
                    <a:pt x="935" y="113"/>
                  </a:cubicBezTo>
                  <a:cubicBezTo>
                    <a:pt x="943" y="113"/>
                    <a:pt x="946" y="116"/>
                    <a:pt x="946" y="124"/>
                  </a:cubicBezTo>
                  <a:cubicBezTo>
                    <a:pt x="946" y="142"/>
                    <a:pt x="946" y="161"/>
                    <a:pt x="946" y="179"/>
                  </a:cubicBezTo>
                  <a:cubicBezTo>
                    <a:pt x="946" y="179"/>
                    <a:pt x="946" y="179"/>
                    <a:pt x="946" y="179"/>
                  </a:cubicBezTo>
                  <a:close/>
                </a:path>
              </a:pathLst>
            </a:custGeom>
            <a:solidFill>
              <a:srgbClr val="4C505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0" dirty="0"/>
            </a:p>
          </p:txBody>
        </p:sp>
        <p:grpSp>
          <p:nvGrpSpPr>
            <p:cNvPr id="18" name="Group 4">
              <a:extLst>
                <a:ext uri="{FF2B5EF4-FFF2-40B4-BE49-F238E27FC236}">
                  <a16:creationId xmlns:a16="http://schemas.microsoft.com/office/drawing/2014/main" id="{57BD2C4C-DC67-B843-B26C-309622FC75F7}"/>
                </a:ext>
              </a:extLst>
            </p:cNvPr>
            <p:cNvGrpSpPr>
              <a:grpSpLocks noChangeAspect="1"/>
            </p:cNvGrpSpPr>
            <p:nvPr/>
          </p:nvGrpSpPr>
          <p:grpSpPr bwMode="gray">
            <a:xfrm>
              <a:off x="334963" y="296652"/>
              <a:ext cx="538094" cy="540000"/>
              <a:chOff x="2711" y="1027"/>
              <a:chExt cx="2258" cy="2266"/>
            </a:xfrm>
          </p:grpSpPr>
          <p:sp>
            <p:nvSpPr>
              <p:cNvPr id="19" name="AutoShape 3">
                <a:extLst>
                  <a:ext uri="{FF2B5EF4-FFF2-40B4-BE49-F238E27FC236}">
                    <a16:creationId xmlns:a16="http://schemas.microsoft.com/office/drawing/2014/main" id="{FE1DC41B-291E-574C-9F2C-874E70A40758}"/>
                  </a:ext>
                </a:extLst>
              </p:cNvPr>
              <p:cNvSpPr>
                <a:spLocks noChangeAspect="1" noChangeArrowheads="1" noTextEdit="1"/>
              </p:cNvSpPr>
              <p:nvPr/>
            </p:nvSpPr>
            <p:spPr bwMode="gray">
              <a:xfrm>
                <a:off x="2711" y="1027"/>
                <a:ext cx="2258" cy="22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sz="1350" dirty="0"/>
              </a:p>
            </p:txBody>
          </p:sp>
          <p:sp>
            <p:nvSpPr>
              <p:cNvPr id="20" name="Freeform 5">
                <a:extLst>
                  <a:ext uri="{FF2B5EF4-FFF2-40B4-BE49-F238E27FC236}">
                    <a16:creationId xmlns:a16="http://schemas.microsoft.com/office/drawing/2014/main" id="{D4B633C8-F761-C54B-9BD2-EB59D49A2DBC}"/>
                  </a:ext>
                </a:extLst>
              </p:cNvPr>
              <p:cNvSpPr>
                <a:spLocks/>
              </p:cNvSpPr>
              <p:nvPr/>
            </p:nvSpPr>
            <p:spPr bwMode="gray">
              <a:xfrm>
                <a:off x="2709" y="1029"/>
                <a:ext cx="2260" cy="2262"/>
              </a:xfrm>
              <a:custGeom>
                <a:avLst/>
                <a:gdLst>
                  <a:gd name="T0" fmla="*/ 2260 w 2260"/>
                  <a:gd name="T1" fmla="*/ 0 h 2262"/>
                  <a:gd name="T2" fmla="*/ 1612 w 2260"/>
                  <a:gd name="T3" fmla="*/ 649 h 2262"/>
                  <a:gd name="T4" fmla="*/ 1612 w 2260"/>
                  <a:gd name="T5" fmla="*/ 649 h 2262"/>
                  <a:gd name="T6" fmla="*/ 2035 w 2260"/>
                  <a:gd name="T7" fmla="*/ 0 h 2262"/>
                  <a:gd name="T8" fmla="*/ 0 w 2260"/>
                  <a:gd name="T9" fmla="*/ 0 h 2262"/>
                  <a:gd name="T10" fmla="*/ 0 w 2260"/>
                  <a:gd name="T11" fmla="*/ 2262 h 2262"/>
                  <a:gd name="T12" fmla="*/ 2260 w 2260"/>
                  <a:gd name="T13" fmla="*/ 2262 h 2262"/>
                  <a:gd name="T14" fmla="*/ 2260 w 2260"/>
                  <a:gd name="T15" fmla="*/ 0 h 2262"/>
                  <a:gd name="T16" fmla="*/ 2260 w 2260"/>
                  <a:gd name="T17" fmla="*/ 0 h 2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0" h="2262">
                    <a:moveTo>
                      <a:pt x="2260" y="0"/>
                    </a:moveTo>
                    <a:lnTo>
                      <a:pt x="1612" y="649"/>
                    </a:lnTo>
                    <a:lnTo>
                      <a:pt x="1612" y="649"/>
                    </a:lnTo>
                    <a:lnTo>
                      <a:pt x="2035" y="0"/>
                    </a:lnTo>
                    <a:lnTo>
                      <a:pt x="0" y="0"/>
                    </a:lnTo>
                    <a:lnTo>
                      <a:pt x="0" y="2262"/>
                    </a:lnTo>
                    <a:lnTo>
                      <a:pt x="2260" y="2262"/>
                    </a:lnTo>
                    <a:lnTo>
                      <a:pt x="2260" y="0"/>
                    </a:lnTo>
                    <a:lnTo>
                      <a:pt x="2260" y="0"/>
                    </a:lnTo>
                    <a:close/>
                  </a:path>
                </a:pathLst>
              </a:custGeom>
              <a:solidFill>
                <a:srgbClr val="E55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0" dirty="0"/>
              </a:p>
            </p:txBody>
          </p:sp>
          <p:sp>
            <p:nvSpPr>
              <p:cNvPr id="21" name="Freeform 6">
                <a:extLst>
                  <a:ext uri="{FF2B5EF4-FFF2-40B4-BE49-F238E27FC236}">
                    <a16:creationId xmlns:a16="http://schemas.microsoft.com/office/drawing/2014/main" id="{B16BAAE4-1A41-C843-9754-490F7A1E1270}"/>
                  </a:ext>
                </a:extLst>
              </p:cNvPr>
              <p:cNvSpPr>
                <a:spLocks noEditPoints="1"/>
              </p:cNvSpPr>
              <p:nvPr/>
            </p:nvSpPr>
            <p:spPr bwMode="gray">
              <a:xfrm>
                <a:off x="3623" y="1696"/>
                <a:ext cx="1167" cy="922"/>
              </a:xfrm>
              <a:custGeom>
                <a:avLst/>
                <a:gdLst>
                  <a:gd name="T0" fmla="*/ 411 w 580"/>
                  <a:gd name="T1" fmla="*/ 213 h 458"/>
                  <a:gd name="T2" fmla="*/ 570 w 580"/>
                  <a:gd name="T3" fmla="*/ 37 h 458"/>
                  <a:gd name="T4" fmla="*/ 580 w 580"/>
                  <a:gd name="T5" fmla="*/ 20 h 458"/>
                  <a:gd name="T6" fmla="*/ 545 w 580"/>
                  <a:gd name="T7" fmla="*/ 0 h 458"/>
                  <a:gd name="T8" fmla="*/ 519 w 580"/>
                  <a:gd name="T9" fmla="*/ 16 h 458"/>
                  <a:gd name="T10" fmla="*/ 344 w 580"/>
                  <a:gd name="T11" fmla="*/ 210 h 458"/>
                  <a:gd name="T12" fmla="*/ 334 w 580"/>
                  <a:gd name="T13" fmla="*/ 229 h 458"/>
                  <a:gd name="T14" fmla="*/ 344 w 580"/>
                  <a:gd name="T15" fmla="*/ 248 h 458"/>
                  <a:gd name="T16" fmla="*/ 519 w 580"/>
                  <a:gd name="T17" fmla="*/ 442 h 458"/>
                  <a:gd name="T18" fmla="*/ 545 w 580"/>
                  <a:gd name="T19" fmla="*/ 458 h 458"/>
                  <a:gd name="T20" fmla="*/ 580 w 580"/>
                  <a:gd name="T21" fmla="*/ 438 h 458"/>
                  <a:gd name="T22" fmla="*/ 570 w 580"/>
                  <a:gd name="T23" fmla="*/ 421 h 458"/>
                  <a:gd name="T24" fmla="*/ 411 w 580"/>
                  <a:gd name="T25" fmla="*/ 245 h 458"/>
                  <a:gd name="T26" fmla="*/ 399 w 580"/>
                  <a:gd name="T27" fmla="*/ 229 h 458"/>
                  <a:gd name="T28" fmla="*/ 411 w 580"/>
                  <a:gd name="T29" fmla="*/ 213 h 458"/>
                  <a:gd name="T30" fmla="*/ 252 w 580"/>
                  <a:gd name="T31" fmla="*/ 439 h 458"/>
                  <a:gd name="T32" fmla="*/ 281 w 580"/>
                  <a:gd name="T33" fmla="*/ 454 h 458"/>
                  <a:gd name="T34" fmla="*/ 309 w 580"/>
                  <a:gd name="T35" fmla="*/ 439 h 458"/>
                  <a:gd name="T36" fmla="*/ 309 w 580"/>
                  <a:gd name="T37" fmla="*/ 19 h 458"/>
                  <a:gd name="T38" fmla="*/ 281 w 580"/>
                  <a:gd name="T39" fmla="*/ 4 h 458"/>
                  <a:gd name="T40" fmla="*/ 252 w 580"/>
                  <a:gd name="T41" fmla="*/ 19 h 458"/>
                  <a:gd name="T42" fmla="*/ 252 w 580"/>
                  <a:gd name="T43" fmla="*/ 439 h 458"/>
                  <a:gd name="T44" fmla="*/ 0 w 580"/>
                  <a:gd name="T45" fmla="*/ 439 h 458"/>
                  <a:gd name="T46" fmla="*/ 28 w 580"/>
                  <a:gd name="T47" fmla="*/ 454 h 458"/>
                  <a:gd name="T48" fmla="*/ 56 w 580"/>
                  <a:gd name="T49" fmla="*/ 439 h 458"/>
                  <a:gd name="T50" fmla="*/ 56 w 580"/>
                  <a:gd name="T51" fmla="*/ 157 h 458"/>
                  <a:gd name="T52" fmla="*/ 165 w 580"/>
                  <a:gd name="T53" fmla="*/ 53 h 458"/>
                  <a:gd name="T54" fmla="*/ 180 w 580"/>
                  <a:gd name="T55" fmla="*/ 53 h 458"/>
                  <a:gd name="T56" fmla="*/ 196 w 580"/>
                  <a:gd name="T57" fmla="*/ 27 h 458"/>
                  <a:gd name="T58" fmla="*/ 154 w 580"/>
                  <a:gd name="T59" fmla="*/ 4 h 458"/>
                  <a:gd name="T60" fmla="*/ 0 w 580"/>
                  <a:gd name="T61" fmla="*/ 152 h 458"/>
                  <a:gd name="T62" fmla="*/ 0 w 580"/>
                  <a:gd name="T63" fmla="*/ 439 h 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80" h="458">
                    <a:moveTo>
                      <a:pt x="411" y="213"/>
                    </a:moveTo>
                    <a:cubicBezTo>
                      <a:pt x="570" y="37"/>
                      <a:pt x="570" y="37"/>
                      <a:pt x="570" y="37"/>
                    </a:cubicBezTo>
                    <a:cubicBezTo>
                      <a:pt x="576" y="30"/>
                      <a:pt x="580" y="25"/>
                      <a:pt x="580" y="20"/>
                    </a:cubicBezTo>
                    <a:cubicBezTo>
                      <a:pt x="580" y="10"/>
                      <a:pt x="559" y="0"/>
                      <a:pt x="545" y="0"/>
                    </a:cubicBezTo>
                    <a:cubicBezTo>
                      <a:pt x="535" y="0"/>
                      <a:pt x="526" y="8"/>
                      <a:pt x="519" y="16"/>
                    </a:cubicBezTo>
                    <a:cubicBezTo>
                      <a:pt x="344" y="210"/>
                      <a:pt x="344" y="210"/>
                      <a:pt x="344" y="210"/>
                    </a:cubicBezTo>
                    <a:cubicBezTo>
                      <a:pt x="336" y="219"/>
                      <a:pt x="334" y="224"/>
                      <a:pt x="334" y="229"/>
                    </a:cubicBezTo>
                    <a:cubicBezTo>
                      <a:pt x="334" y="234"/>
                      <a:pt x="336" y="239"/>
                      <a:pt x="344" y="248"/>
                    </a:cubicBezTo>
                    <a:cubicBezTo>
                      <a:pt x="519" y="442"/>
                      <a:pt x="519" y="442"/>
                      <a:pt x="519" y="442"/>
                    </a:cubicBezTo>
                    <a:cubicBezTo>
                      <a:pt x="526" y="450"/>
                      <a:pt x="535" y="458"/>
                      <a:pt x="545" y="458"/>
                    </a:cubicBezTo>
                    <a:cubicBezTo>
                      <a:pt x="559" y="458"/>
                      <a:pt x="580" y="448"/>
                      <a:pt x="580" y="438"/>
                    </a:cubicBezTo>
                    <a:cubicBezTo>
                      <a:pt x="580" y="433"/>
                      <a:pt x="576" y="428"/>
                      <a:pt x="570" y="421"/>
                    </a:cubicBezTo>
                    <a:cubicBezTo>
                      <a:pt x="411" y="245"/>
                      <a:pt x="411" y="245"/>
                      <a:pt x="411" y="245"/>
                    </a:cubicBezTo>
                    <a:cubicBezTo>
                      <a:pt x="403" y="236"/>
                      <a:pt x="399" y="232"/>
                      <a:pt x="399" y="229"/>
                    </a:cubicBezTo>
                    <a:cubicBezTo>
                      <a:pt x="399" y="226"/>
                      <a:pt x="403" y="222"/>
                      <a:pt x="411" y="213"/>
                    </a:cubicBezTo>
                    <a:moveTo>
                      <a:pt x="252" y="439"/>
                    </a:moveTo>
                    <a:cubicBezTo>
                      <a:pt x="252" y="449"/>
                      <a:pt x="261" y="454"/>
                      <a:pt x="281" y="454"/>
                    </a:cubicBezTo>
                    <a:cubicBezTo>
                      <a:pt x="300" y="454"/>
                      <a:pt x="309" y="449"/>
                      <a:pt x="309" y="439"/>
                    </a:cubicBezTo>
                    <a:cubicBezTo>
                      <a:pt x="309" y="19"/>
                      <a:pt x="309" y="19"/>
                      <a:pt x="309" y="19"/>
                    </a:cubicBezTo>
                    <a:cubicBezTo>
                      <a:pt x="309" y="9"/>
                      <a:pt x="300" y="4"/>
                      <a:pt x="281" y="4"/>
                    </a:cubicBezTo>
                    <a:cubicBezTo>
                      <a:pt x="261" y="4"/>
                      <a:pt x="252" y="9"/>
                      <a:pt x="252" y="19"/>
                    </a:cubicBezTo>
                    <a:lnTo>
                      <a:pt x="252" y="439"/>
                    </a:lnTo>
                    <a:close/>
                    <a:moveTo>
                      <a:pt x="0" y="439"/>
                    </a:moveTo>
                    <a:cubicBezTo>
                      <a:pt x="0" y="449"/>
                      <a:pt x="8" y="454"/>
                      <a:pt x="28" y="454"/>
                    </a:cubicBezTo>
                    <a:cubicBezTo>
                      <a:pt x="48" y="454"/>
                      <a:pt x="56" y="449"/>
                      <a:pt x="56" y="439"/>
                    </a:cubicBezTo>
                    <a:cubicBezTo>
                      <a:pt x="56" y="157"/>
                      <a:pt x="56" y="157"/>
                      <a:pt x="56" y="157"/>
                    </a:cubicBezTo>
                    <a:cubicBezTo>
                      <a:pt x="56" y="83"/>
                      <a:pt x="85" y="53"/>
                      <a:pt x="165" y="53"/>
                    </a:cubicBezTo>
                    <a:cubicBezTo>
                      <a:pt x="180" y="53"/>
                      <a:pt x="180" y="53"/>
                      <a:pt x="180" y="53"/>
                    </a:cubicBezTo>
                    <a:cubicBezTo>
                      <a:pt x="192" y="53"/>
                      <a:pt x="196" y="43"/>
                      <a:pt x="196" y="27"/>
                    </a:cubicBezTo>
                    <a:cubicBezTo>
                      <a:pt x="196" y="8"/>
                      <a:pt x="185" y="4"/>
                      <a:pt x="154" y="4"/>
                    </a:cubicBezTo>
                    <a:cubicBezTo>
                      <a:pt x="64" y="4"/>
                      <a:pt x="0" y="43"/>
                      <a:pt x="0" y="152"/>
                    </a:cubicBezTo>
                    <a:lnTo>
                      <a:pt x="0" y="43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0" dirty="0"/>
              </a:p>
            </p:txBody>
          </p:sp>
          <p:sp>
            <p:nvSpPr>
              <p:cNvPr id="22" name="Freeform 7">
                <a:extLst>
                  <a:ext uri="{FF2B5EF4-FFF2-40B4-BE49-F238E27FC236}">
                    <a16:creationId xmlns:a16="http://schemas.microsoft.com/office/drawing/2014/main" id="{2F32DCBD-8628-F245-85CD-97686A20ECFD}"/>
                  </a:ext>
                </a:extLst>
              </p:cNvPr>
              <p:cNvSpPr>
                <a:spLocks/>
              </p:cNvSpPr>
              <p:nvPr/>
            </p:nvSpPr>
            <p:spPr bwMode="gray">
              <a:xfrm>
                <a:off x="2880" y="1704"/>
                <a:ext cx="618" cy="916"/>
              </a:xfrm>
              <a:custGeom>
                <a:avLst/>
                <a:gdLst>
                  <a:gd name="T0" fmla="*/ 307 w 307"/>
                  <a:gd name="T1" fmla="*/ 405 h 455"/>
                  <a:gd name="T2" fmla="*/ 307 w 307"/>
                  <a:gd name="T3" fmla="*/ 244 h 455"/>
                  <a:gd name="T4" fmla="*/ 279 w 307"/>
                  <a:gd name="T5" fmla="*/ 229 h 455"/>
                  <a:gd name="T6" fmla="*/ 250 w 307"/>
                  <a:gd name="T7" fmla="*/ 244 h 455"/>
                  <a:gd name="T8" fmla="*/ 250 w 307"/>
                  <a:gd name="T9" fmla="*/ 378 h 455"/>
                  <a:gd name="T10" fmla="*/ 199 w 307"/>
                  <a:gd name="T11" fmla="*/ 408 h 455"/>
                  <a:gd name="T12" fmla="*/ 61 w 307"/>
                  <a:gd name="T13" fmla="*/ 231 h 455"/>
                  <a:gd name="T14" fmla="*/ 238 w 307"/>
                  <a:gd name="T15" fmla="*/ 49 h 455"/>
                  <a:gd name="T16" fmla="*/ 270 w 307"/>
                  <a:gd name="T17" fmla="*/ 49 h 455"/>
                  <a:gd name="T18" fmla="*/ 286 w 307"/>
                  <a:gd name="T19" fmla="*/ 23 h 455"/>
                  <a:gd name="T20" fmla="*/ 244 w 307"/>
                  <a:gd name="T21" fmla="*/ 0 h 455"/>
                  <a:gd name="T22" fmla="*/ 231 w 307"/>
                  <a:gd name="T23" fmla="*/ 0 h 455"/>
                  <a:gd name="T24" fmla="*/ 0 w 307"/>
                  <a:gd name="T25" fmla="*/ 232 h 455"/>
                  <a:gd name="T26" fmla="*/ 198 w 307"/>
                  <a:gd name="T27" fmla="*/ 455 h 455"/>
                  <a:gd name="T28" fmla="*/ 307 w 307"/>
                  <a:gd name="T29" fmla="*/ 405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7" h="455">
                    <a:moveTo>
                      <a:pt x="307" y="405"/>
                    </a:moveTo>
                    <a:cubicBezTo>
                      <a:pt x="307" y="244"/>
                      <a:pt x="307" y="244"/>
                      <a:pt x="307" y="244"/>
                    </a:cubicBezTo>
                    <a:cubicBezTo>
                      <a:pt x="307" y="234"/>
                      <a:pt x="298" y="229"/>
                      <a:pt x="279" y="229"/>
                    </a:cubicBezTo>
                    <a:cubicBezTo>
                      <a:pt x="259" y="229"/>
                      <a:pt x="250" y="234"/>
                      <a:pt x="250" y="244"/>
                    </a:cubicBezTo>
                    <a:cubicBezTo>
                      <a:pt x="250" y="378"/>
                      <a:pt x="250" y="378"/>
                      <a:pt x="250" y="378"/>
                    </a:cubicBezTo>
                    <a:cubicBezTo>
                      <a:pt x="250" y="399"/>
                      <a:pt x="241" y="408"/>
                      <a:pt x="199" y="408"/>
                    </a:cubicBezTo>
                    <a:cubicBezTo>
                      <a:pt x="114" y="408"/>
                      <a:pt x="61" y="342"/>
                      <a:pt x="61" y="231"/>
                    </a:cubicBezTo>
                    <a:cubicBezTo>
                      <a:pt x="61" y="115"/>
                      <a:pt x="126" y="49"/>
                      <a:pt x="238" y="49"/>
                    </a:cubicBezTo>
                    <a:cubicBezTo>
                      <a:pt x="270" y="49"/>
                      <a:pt x="270" y="49"/>
                      <a:pt x="270" y="49"/>
                    </a:cubicBezTo>
                    <a:cubicBezTo>
                      <a:pt x="282" y="49"/>
                      <a:pt x="286" y="39"/>
                      <a:pt x="286" y="23"/>
                    </a:cubicBezTo>
                    <a:cubicBezTo>
                      <a:pt x="286" y="4"/>
                      <a:pt x="275" y="0"/>
                      <a:pt x="244" y="0"/>
                    </a:cubicBezTo>
                    <a:cubicBezTo>
                      <a:pt x="231" y="0"/>
                      <a:pt x="231" y="0"/>
                      <a:pt x="231" y="0"/>
                    </a:cubicBezTo>
                    <a:cubicBezTo>
                      <a:pt x="101" y="0"/>
                      <a:pt x="0" y="71"/>
                      <a:pt x="0" y="232"/>
                    </a:cubicBezTo>
                    <a:cubicBezTo>
                      <a:pt x="0" y="386"/>
                      <a:pt x="88" y="455"/>
                      <a:pt x="198" y="455"/>
                    </a:cubicBezTo>
                    <a:cubicBezTo>
                      <a:pt x="286" y="455"/>
                      <a:pt x="307" y="430"/>
                      <a:pt x="307" y="40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0" dirty="0"/>
              </a:p>
            </p:txBody>
          </p:sp>
          <p:sp>
            <p:nvSpPr>
              <p:cNvPr id="23" name="Oval 8">
                <a:extLst>
                  <a:ext uri="{FF2B5EF4-FFF2-40B4-BE49-F238E27FC236}">
                    <a16:creationId xmlns:a16="http://schemas.microsoft.com/office/drawing/2014/main" id="{60D97C11-1A3B-5449-A48D-98A3E79B3810}"/>
                  </a:ext>
                </a:extLst>
              </p:cNvPr>
              <p:cNvSpPr>
                <a:spLocks noChangeArrowheads="1"/>
              </p:cNvSpPr>
              <p:nvPr/>
            </p:nvSpPr>
            <p:spPr bwMode="gray">
              <a:xfrm>
                <a:off x="3778" y="2099"/>
                <a:ext cx="122" cy="12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0" dirty="0"/>
              </a:p>
            </p:txBody>
          </p:sp>
          <p:sp>
            <p:nvSpPr>
              <p:cNvPr id="24" name="Freeform 9">
                <a:extLst>
                  <a:ext uri="{FF2B5EF4-FFF2-40B4-BE49-F238E27FC236}">
                    <a16:creationId xmlns:a16="http://schemas.microsoft.com/office/drawing/2014/main" id="{5856770D-B8F0-244E-A05D-AED190086F10}"/>
                  </a:ext>
                </a:extLst>
              </p:cNvPr>
              <p:cNvSpPr>
                <a:spLocks noEditPoints="1"/>
              </p:cNvSpPr>
              <p:nvPr/>
            </p:nvSpPr>
            <p:spPr bwMode="gray">
              <a:xfrm>
                <a:off x="3623" y="1696"/>
                <a:ext cx="1167" cy="922"/>
              </a:xfrm>
              <a:custGeom>
                <a:avLst/>
                <a:gdLst>
                  <a:gd name="T0" fmla="*/ 411 w 580"/>
                  <a:gd name="T1" fmla="*/ 213 h 458"/>
                  <a:gd name="T2" fmla="*/ 570 w 580"/>
                  <a:gd name="T3" fmla="*/ 37 h 458"/>
                  <a:gd name="T4" fmla="*/ 580 w 580"/>
                  <a:gd name="T5" fmla="*/ 20 h 458"/>
                  <a:gd name="T6" fmla="*/ 545 w 580"/>
                  <a:gd name="T7" fmla="*/ 0 h 458"/>
                  <a:gd name="T8" fmla="*/ 519 w 580"/>
                  <a:gd name="T9" fmla="*/ 16 h 458"/>
                  <a:gd name="T10" fmla="*/ 344 w 580"/>
                  <a:gd name="T11" fmla="*/ 210 h 458"/>
                  <a:gd name="T12" fmla="*/ 334 w 580"/>
                  <a:gd name="T13" fmla="*/ 229 h 458"/>
                  <a:gd name="T14" fmla="*/ 344 w 580"/>
                  <a:gd name="T15" fmla="*/ 248 h 458"/>
                  <a:gd name="T16" fmla="*/ 519 w 580"/>
                  <a:gd name="T17" fmla="*/ 442 h 458"/>
                  <a:gd name="T18" fmla="*/ 545 w 580"/>
                  <a:gd name="T19" fmla="*/ 458 h 458"/>
                  <a:gd name="T20" fmla="*/ 580 w 580"/>
                  <a:gd name="T21" fmla="*/ 438 h 458"/>
                  <a:gd name="T22" fmla="*/ 570 w 580"/>
                  <a:gd name="T23" fmla="*/ 421 h 458"/>
                  <a:gd name="T24" fmla="*/ 411 w 580"/>
                  <a:gd name="T25" fmla="*/ 245 h 458"/>
                  <a:gd name="T26" fmla="*/ 399 w 580"/>
                  <a:gd name="T27" fmla="*/ 229 h 458"/>
                  <a:gd name="T28" fmla="*/ 411 w 580"/>
                  <a:gd name="T29" fmla="*/ 213 h 458"/>
                  <a:gd name="T30" fmla="*/ 252 w 580"/>
                  <a:gd name="T31" fmla="*/ 439 h 458"/>
                  <a:gd name="T32" fmla="*/ 281 w 580"/>
                  <a:gd name="T33" fmla="*/ 454 h 458"/>
                  <a:gd name="T34" fmla="*/ 309 w 580"/>
                  <a:gd name="T35" fmla="*/ 439 h 458"/>
                  <a:gd name="T36" fmla="*/ 309 w 580"/>
                  <a:gd name="T37" fmla="*/ 19 h 458"/>
                  <a:gd name="T38" fmla="*/ 281 w 580"/>
                  <a:gd name="T39" fmla="*/ 4 h 458"/>
                  <a:gd name="T40" fmla="*/ 252 w 580"/>
                  <a:gd name="T41" fmla="*/ 19 h 458"/>
                  <a:gd name="T42" fmla="*/ 252 w 580"/>
                  <a:gd name="T43" fmla="*/ 439 h 458"/>
                  <a:gd name="T44" fmla="*/ 0 w 580"/>
                  <a:gd name="T45" fmla="*/ 439 h 458"/>
                  <a:gd name="T46" fmla="*/ 28 w 580"/>
                  <a:gd name="T47" fmla="*/ 454 h 458"/>
                  <a:gd name="T48" fmla="*/ 56 w 580"/>
                  <a:gd name="T49" fmla="*/ 439 h 458"/>
                  <a:gd name="T50" fmla="*/ 56 w 580"/>
                  <a:gd name="T51" fmla="*/ 157 h 458"/>
                  <a:gd name="T52" fmla="*/ 165 w 580"/>
                  <a:gd name="T53" fmla="*/ 53 h 458"/>
                  <a:gd name="T54" fmla="*/ 180 w 580"/>
                  <a:gd name="T55" fmla="*/ 53 h 458"/>
                  <a:gd name="T56" fmla="*/ 196 w 580"/>
                  <a:gd name="T57" fmla="*/ 27 h 458"/>
                  <a:gd name="T58" fmla="*/ 154 w 580"/>
                  <a:gd name="T59" fmla="*/ 4 h 458"/>
                  <a:gd name="T60" fmla="*/ 0 w 580"/>
                  <a:gd name="T61" fmla="*/ 152 h 458"/>
                  <a:gd name="T62" fmla="*/ 0 w 580"/>
                  <a:gd name="T63" fmla="*/ 439 h 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80" h="458">
                    <a:moveTo>
                      <a:pt x="411" y="213"/>
                    </a:moveTo>
                    <a:cubicBezTo>
                      <a:pt x="570" y="37"/>
                      <a:pt x="570" y="37"/>
                      <a:pt x="570" y="37"/>
                    </a:cubicBezTo>
                    <a:cubicBezTo>
                      <a:pt x="576" y="30"/>
                      <a:pt x="580" y="25"/>
                      <a:pt x="580" y="20"/>
                    </a:cubicBezTo>
                    <a:cubicBezTo>
                      <a:pt x="580" y="10"/>
                      <a:pt x="559" y="0"/>
                      <a:pt x="545" y="0"/>
                    </a:cubicBezTo>
                    <a:cubicBezTo>
                      <a:pt x="535" y="0"/>
                      <a:pt x="526" y="8"/>
                      <a:pt x="519" y="16"/>
                    </a:cubicBezTo>
                    <a:cubicBezTo>
                      <a:pt x="344" y="210"/>
                      <a:pt x="344" y="210"/>
                      <a:pt x="344" y="210"/>
                    </a:cubicBezTo>
                    <a:cubicBezTo>
                      <a:pt x="336" y="219"/>
                      <a:pt x="334" y="224"/>
                      <a:pt x="334" y="229"/>
                    </a:cubicBezTo>
                    <a:cubicBezTo>
                      <a:pt x="334" y="234"/>
                      <a:pt x="336" y="239"/>
                      <a:pt x="344" y="248"/>
                    </a:cubicBezTo>
                    <a:cubicBezTo>
                      <a:pt x="519" y="442"/>
                      <a:pt x="519" y="442"/>
                      <a:pt x="519" y="442"/>
                    </a:cubicBezTo>
                    <a:cubicBezTo>
                      <a:pt x="526" y="450"/>
                      <a:pt x="535" y="458"/>
                      <a:pt x="545" y="458"/>
                    </a:cubicBezTo>
                    <a:cubicBezTo>
                      <a:pt x="559" y="458"/>
                      <a:pt x="580" y="448"/>
                      <a:pt x="580" y="438"/>
                    </a:cubicBezTo>
                    <a:cubicBezTo>
                      <a:pt x="580" y="433"/>
                      <a:pt x="576" y="428"/>
                      <a:pt x="570" y="421"/>
                    </a:cubicBezTo>
                    <a:cubicBezTo>
                      <a:pt x="411" y="245"/>
                      <a:pt x="411" y="245"/>
                      <a:pt x="411" y="245"/>
                    </a:cubicBezTo>
                    <a:cubicBezTo>
                      <a:pt x="403" y="236"/>
                      <a:pt x="399" y="232"/>
                      <a:pt x="399" y="229"/>
                    </a:cubicBezTo>
                    <a:cubicBezTo>
                      <a:pt x="399" y="226"/>
                      <a:pt x="403" y="222"/>
                      <a:pt x="411" y="213"/>
                    </a:cubicBezTo>
                    <a:moveTo>
                      <a:pt x="252" y="439"/>
                    </a:moveTo>
                    <a:cubicBezTo>
                      <a:pt x="252" y="449"/>
                      <a:pt x="261" y="454"/>
                      <a:pt x="281" y="454"/>
                    </a:cubicBezTo>
                    <a:cubicBezTo>
                      <a:pt x="300" y="454"/>
                      <a:pt x="309" y="449"/>
                      <a:pt x="309" y="439"/>
                    </a:cubicBezTo>
                    <a:cubicBezTo>
                      <a:pt x="309" y="19"/>
                      <a:pt x="309" y="19"/>
                      <a:pt x="309" y="19"/>
                    </a:cubicBezTo>
                    <a:cubicBezTo>
                      <a:pt x="309" y="9"/>
                      <a:pt x="300" y="4"/>
                      <a:pt x="281" y="4"/>
                    </a:cubicBezTo>
                    <a:cubicBezTo>
                      <a:pt x="261" y="4"/>
                      <a:pt x="252" y="9"/>
                      <a:pt x="252" y="19"/>
                    </a:cubicBezTo>
                    <a:lnTo>
                      <a:pt x="252" y="439"/>
                    </a:lnTo>
                    <a:close/>
                    <a:moveTo>
                      <a:pt x="0" y="439"/>
                    </a:moveTo>
                    <a:cubicBezTo>
                      <a:pt x="0" y="449"/>
                      <a:pt x="8" y="454"/>
                      <a:pt x="28" y="454"/>
                    </a:cubicBezTo>
                    <a:cubicBezTo>
                      <a:pt x="48" y="454"/>
                      <a:pt x="56" y="449"/>
                      <a:pt x="56" y="439"/>
                    </a:cubicBezTo>
                    <a:cubicBezTo>
                      <a:pt x="56" y="157"/>
                      <a:pt x="56" y="157"/>
                      <a:pt x="56" y="157"/>
                    </a:cubicBezTo>
                    <a:cubicBezTo>
                      <a:pt x="56" y="83"/>
                      <a:pt x="85" y="53"/>
                      <a:pt x="165" y="53"/>
                    </a:cubicBezTo>
                    <a:cubicBezTo>
                      <a:pt x="180" y="53"/>
                      <a:pt x="180" y="53"/>
                      <a:pt x="180" y="53"/>
                    </a:cubicBezTo>
                    <a:cubicBezTo>
                      <a:pt x="192" y="53"/>
                      <a:pt x="196" y="43"/>
                      <a:pt x="196" y="27"/>
                    </a:cubicBezTo>
                    <a:cubicBezTo>
                      <a:pt x="196" y="8"/>
                      <a:pt x="185" y="4"/>
                      <a:pt x="154" y="4"/>
                    </a:cubicBezTo>
                    <a:cubicBezTo>
                      <a:pt x="64" y="4"/>
                      <a:pt x="0" y="43"/>
                      <a:pt x="0" y="152"/>
                    </a:cubicBezTo>
                    <a:lnTo>
                      <a:pt x="0" y="43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0" dirty="0"/>
              </a:p>
            </p:txBody>
          </p:sp>
          <p:sp>
            <p:nvSpPr>
              <p:cNvPr id="25" name="Freeform 10">
                <a:extLst>
                  <a:ext uri="{FF2B5EF4-FFF2-40B4-BE49-F238E27FC236}">
                    <a16:creationId xmlns:a16="http://schemas.microsoft.com/office/drawing/2014/main" id="{2B91B16B-BC11-E547-8FAC-B9B8D18EA449}"/>
                  </a:ext>
                </a:extLst>
              </p:cNvPr>
              <p:cNvSpPr>
                <a:spLocks/>
              </p:cNvSpPr>
              <p:nvPr/>
            </p:nvSpPr>
            <p:spPr bwMode="gray">
              <a:xfrm>
                <a:off x="2880" y="1704"/>
                <a:ext cx="618" cy="916"/>
              </a:xfrm>
              <a:custGeom>
                <a:avLst/>
                <a:gdLst>
                  <a:gd name="T0" fmla="*/ 307 w 307"/>
                  <a:gd name="T1" fmla="*/ 405 h 455"/>
                  <a:gd name="T2" fmla="*/ 307 w 307"/>
                  <a:gd name="T3" fmla="*/ 244 h 455"/>
                  <a:gd name="T4" fmla="*/ 279 w 307"/>
                  <a:gd name="T5" fmla="*/ 229 h 455"/>
                  <a:gd name="T6" fmla="*/ 250 w 307"/>
                  <a:gd name="T7" fmla="*/ 244 h 455"/>
                  <a:gd name="T8" fmla="*/ 250 w 307"/>
                  <a:gd name="T9" fmla="*/ 378 h 455"/>
                  <a:gd name="T10" fmla="*/ 199 w 307"/>
                  <a:gd name="T11" fmla="*/ 408 h 455"/>
                  <a:gd name="T12" fmla="*/ 61 w 307"/>
                  <a:gd name="T13" fmla="*/ 231 h 455"/>
                  <a:gd name="T14" fmla="*/ 238 w 307"/>
                  <a:gd name="T15" fmla="*/ 49 h 455"/>
                  <a:gd name="T16" fmla="*/ 270 w 307"/>
                  <a:gd name="T17" fmla="*/ 49 h 455"/>
                  <a:gd name="T18" fmla="*/ 286 w 307"/>
                  <a:gd name="T19" fmla="*/ 23 h 455"/>
                  <a:gd name="T20" fmla="*/ 244 w 307"/>
                  <a:gd name="T21" fmla="*/ 0 h 455"/>
                  <a:gd name="T22" fmla="*/ 231 w 307"/>
                  <a:gd name="T23" fmla="*/ 0 h 455"/>
                  <a:gd name="T24" fmla="*/ 0 w 307"/>
                  <a:gd name="T25" fmla="*/ 232 h 455"/>
                  <a:gd name="T26" fmla="*/ 198 w 307"/>
                  <a:gd name="T27" fmla="*/ 455 h 455"/>
                  <a:gd name="T28" fmla="*/ 307 w 307"/>
                  <a:gd name="T29" fmla="*/ 405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7" h="455">
                    <a:moveTo>
                      <a:pt x="307" y="405"/>
                    </a:moveTo>
                    <a:cubicBezTo>
                      <a:pt x="307" y="244"/>
                      <a:pt x="307" y="244"/>
                      <a:pt x="307" y="244"/>
                    </a:cubicBezTo>
                    <a:cubicBezTo>
                      <a:pt x="307" y="234"/>
                      <a:pt x="298" y="229"/>
                      <a:pt x="279" y="229"/>
                    </a:cubicBezTo>
                    <a:cubicBezTo>
                      <a:pt x="259" y="229"/>
                      <a:pt x="250" y="234"/>
                      <a:pt x="250" y="244"/>
                    </a:cubicBezTo>
                    <a:cubicBezTo>
                      <a:pt x="250" y="378"/>
                      <a:pt x="250" y="378"/>
                      <a:pt x="250" y="378"/>
                    </a:cubicBezTo>
                    <a:cubicBezTo>
                      <a:pt x="250" y="399"/>
                      <a:pt x="241" y="408"/>
                      <a:pt x="199" y="408"/>
                    </a:cubicBezTo>
                    <a:cubicBezTo>
                      <a:pt x="114" y="408"/>
                      <a:pt x="61" y="342"/>
                      <a:pt x="61" y="231"/>
                    </a:cubicBezTo>
                    <a:cubicBezTo>
                      <a:pt x="61" y="115"/>
                      <a:pt x="126" y="49"/>
                      <a:pt x="238" y="49"/>
                    </a:cubicBezTo>
                    <a:cubicBezTo>
                      <a:pt x="270" y="49"/>
                      <a:pt x="270" y="49"/>
                      <a:pt x="270" y="49"/>
                    </a:cubicBezTo>
                    <a:cubicBezTo>
                      <a:pt x="282" y="49"/>
                      <a:pt x="286" y="39"/>
                      <a:pt x="286" y="23"/>
                    </a:cubicBezTo>
                    <a:cubicBezTo>
                      <a:pt x="286" y="4"/>
                      <a:pt x="275" y="0"/>
                      <a:pt x="244" y="0"/>
                    </a:cubicBezTo>
                    <a:cubicBezTo>
                      <a:pt x="231" y="0"/>
                      <a:pt x="231" y="0"/>
                      <a:pt x="231" y="0"/>
                    </a:cubicBezTo>
                    <a:cubicBezTo>
                      <a:pt x="101" y="0"/>
                      <a:pt x="0" y="71"/>
                      <a:pt x="0" y="232"/>
                    </a:cubicBezTo>
                    <a:cubicBezTo>
                      <a:pt x="0" y="386"/>
                      <a:pt x="88" y="455"/>
                      <a:pt x="198" y="455"/>
                    </a:cubicBezTo>
                    <a:cubicBezTo>
                      <a:pt x="286" y="455"/>
                      <a:pt x="307" y="430"/>
                      <a:pt x="307" y="40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0" dirty="0"/>
              </a:p>
            </p:txBody>
          </p:sp>
          <p:sp>
            <p:nvSpPr>
              <p:cNvPr id="26" name="Oval 11">
                <a:extLst>
                  <a:ext uri="{FF2B5EF4-FFF2-40B4-BE49-F238E27FC236}">
                    <a16:creationId xmlns:a16="http://schemas.microsoft.com/office/drawing/2014/main" id="{14F8C3C8-4888-7646-B9B4-64EB46A1DA23}"/>
                  </a:ext>
                </a:extLst>
              </p:cNvPr>
              <p:cNvSpPr>
                <a:spLocks noChangeArrowheads="1"/>
              </p:cNvSpPr>
              <p:nvPr/>
            </p:nvSpPr>
            <p:spPr bwMode="gray">
              <a:xfrm>
                <a:off x="3778" y="2099"/>
                <a:ext cx="122" cy="12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0" dirty="0"/>
              </a:p>
            </p:txBody>
          </p:sp>
          <p:sp>
            <p:nvSpPr>
              <p:cNvPr id="27" name="Freeform 12">
                <a:extLst>
                  <a:ext uri="{FF2B5EF4-FFF2-40B4-BE49-F238E27FC236}">
                    <a16:creationId xmlns:a16="http://schemas.microsoft.com/office/drawing/2014/main" id="{D79D01D1-4E3E-F34B-97D7-2D387E68746E}"/>
                  </a:ext>
                </a:extLst>
              </p:cNvPr>
              <p:cNvSpPr>
                <a:spLocks/>
              </p:cNvSpPr>
              <p:nvPr/>
            </p:nvSpPr>
            <p:spPr bwMode="gray">
              <a:xfrm>
                <a:off x="4321" y="1029"/>
                <a:ext cx="648" cy="649"/>
              </a:xfrm>
              <a:custGeom>
                <a:avLst/>
                <a:gdLst>
                  <a:gd name="T0" fmla="*/ 0 w 648"/>
                  <a:gd name="T1" fmla="*/ 649 h 649"/>
                  <a:gd name="T2" fmla="*/ 2 w 648"/>
                  <a:gd name="T3" fmla="*/ 649 h 649"/>
                  <a:gd name="T4" fmla="*/ 648 w 648"/>
                  <a:gd name="T5" fmla="*/ 0 h 649"/>
                  <a:gd name="T6" fmla="*/ 423 w 648"/>
                  <a:gd name="T7" fmla="*/ 0 h 649"/>
                  <a:gd name="T8" fmla="*/ 0 w 648"/>
                  <a:gd name="T9" fmla="*/ 649 h 649"/>
                </a:gdLst>
                <a:ahLst/>
                <a:cxnLst>
                  <a:cxn ang="0">
                    <a:pos x="T0" y="T1"/>
                  </a:cxn>
                  <a:cxn ang="0">
                    <a:pos x="T2" y="T3"/>
                  </a:cxn>
                  <a:cxn ang="0">
                    <a:pos x="T4" y="T5"/>
                  </a:cxn>
                  <a:cxn ang="0">
                    <a:pos x="T6" y="T7"/>
                  </a:cxn>
                  <a:cxn ang="0">
                    <a:pos x="T8" y="T9"/>
                  </a:cxn>
                </a:cxnLst>
                <a:rect l="0" t="0" r="r" b="b"/>
                <a:pathLst>
                  <a:path w="648" h="649">
                    <a:moveTo>
                      <a:pt x="0" y="649"/>
                    </a:moveTo>
                    <a:lnTo>
                      <a:pt x="2" y="649"/>
                    </a:lnTo>
                    <a:lnTo>
                      <a:pt x="648" y="0"/>
                    </a:lnTo>
                    <a:lnTo>
                      <a:pt x="423" y="0"/>
                    </a:lnTo>
                    <a:lnTo>
                      <a:pt x="0" y="64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0" dirty="0"/>
              </a:p>
            </p:txBody>
          </p:sp>
          <p:sp>
            <p:nvSpPr>
              <p:cNvPr id="28" name="Freeform 13">
                <a:extLst>
                  <a:ext uri="{FF2B5EF4-FFF2-40B4-BE49-F238E27FC236}">
                    <a16:creationId xmlns:a16="http://schemas.microsoft.com/office/drawing/2014/main" id="{46549898-6C52-B147-A8F6-A73FDBE6163B}"/>
                  </a:ext>
                </a:extLst>
              </p:cNvPr>
              <p:cNvSpPr>
                <a:spLocks/>
              </p:cNvSpPr>
              <p:nvPr/>
            </p:nvSpPr>
            <p:spPr bwMode="gray">
              <a:xfrm>
                <a:off x="4321" y="1029"/>
                <a:ext cx="648" cy="649"/>
              </a:xfrm>
              <a:custGeom>
                <a:avLst/>
                <a:gdLst>
                  <a:gd name="T0" fmla="*/ 0 w 648"/>
                  <a:gd name="T1" fmla="*/ 649 h 649"/>
                  <a:gd name="T2" fmla="*/ 2 w 648"/>
                  <a:gd name="T3" fmla="*/ 649 h 649"/>
                  <a:gd name="T4" fmla="*/ 648 w 648"/>
                  <a:gd name="T5" fmla="*/ 0 h 649"/>
                  <a:gd name="T6" fmla="*/ 423 w 648"/>
                  <a:gd name="T7" fmla="*/ 0 h 649"/>
                  <a:gd name="T8" fmla="*/ 0 w 648"/>
                  <a:gd name="T9" fmla="*/ 649 h 649"/>
                </a:gdLst>
                <a:ahLst/>
                <a:cxnLst>
                  <a:cxn ang="0">
                    <a:pos x="T0" y="T1"/>
                  </a:cxn>
                  <a:cxn ang="0">
                    <a:pos x="T2" y="T3"/>
                  </a:cxn>
                  <a:cxn ang="0">
                    <a:pos x="T4" y="T5"/>
                  </a:cxn>
                  <a:cxn ang="0">
                    <a:pos x="T6" y="T7"/>
                  </a:cxn>
                  <a:cxn ang="0">
                    <a:pos x="T8" y="T9"/>
                  </a:cxn>
                </a:cxnLst>
                <a:rect l="0" t="0" r="r" b="b"/>
                <a:pathLst>
                  <a:path w="648" h="649">
                    <a:moveTo>
                      <a:pt x="0" y="649"/>
                    </a:moveTo>
                    <a:lnTo>
                      <a:pt x="2" y="649"/>
                    </a:lnTo>
                    <a:lnTo>
                      <a:pt x="648" y="0"/>
                    </a:lnTo>
                    <a:lnTo>
                      <a:pt x="423" y="0"/>
                    </a:lnTo>
                    <a:lnTo>
                      <a:pt x="0" y="64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0" dirty="0"/>
              </a:p>
            </p:txBody>
          </p:sp>
        </p:grpSp>
      </p:grpSp>
      <p:sp>
        <p:nvSpPr>
          <p:cNvPr id="7" name="Date Placeholder 6"/>
          <p:cNvSpPr>
            <a:spLocks noGrp="1"/>
          </p:cNvSpPr>
          <p:nvPr>
            <p:ph type="dt" sz="half" idx="10"/>
          </p:nvPr>
        </p:nvSpPr>
        <p:spPr>
          <a:xfrm>
            <a:off x="0" y="0"/>
            <a:ext cx="0" cy="0"/>
          </a:xfrm>
          <a:prstGeom prst="rect">
            <a:avLst/>
          </a:prstGeom>
        </p:spPr>
        <p:txBody>
          <a:bodyPr/>
          <a:lstStyle>
            <a:lvl1pPr>
              <a:defRPr sz="133">
                <a:noFill/>
              </a:defRPr>
            </a:lvl1pPr>
          </a:lstStyle>
          <a:p>
            <a:fld id="{D76217CC-534C-41BF-930C-27B1184E95F2}" type="datetime5">
              <a:rPr lang="en-US" smtClean="0"/>
              <a:t>26-Jun-20</a:t>
            </a:fld>
            <a:endParaRPr lang="en-US" dirty="0"/>
          </a:p>
        </p:txBody>
      </p:sp>
      <p:sp>
        <p:nvSpPr>
          <p:cNvPr id="8" name="Footer Placeholder 7"/>
          <p:cNvSpPr>
            <a:spLocks noGrp="1"/>
          </p:cNvSpPr>
          <p:nvPr>
            <p:ph type="ftr" sz="quarter" idx="11"/>
          </p:nvPr>
        </p:nvSpPr>
        <p:spPr>
          <a:xfrm>
            <a:off x="0" y="0"/>
            <a:ext cx="0" cy="0"/>
          </a:xfrm>
          <a:prstGeom prst="rect">
            <a:avLst/>
          </a:prstGeom>
        </p:spPr>
        <p:txBody>
          <a:bodyPr/>
          <a:lstStyle>
            <a:lvl1pPr marL="0" indent="0">
              <a:buNone/>
              <a:defRPr sz="133">
                <a:noFill/>
              </a:defRPr>
            </a:lvl1pPr>
          </a:lstStyle>
          <a:p>
            <a:r>
              <a:rPr lang="en-US"/>
              <a:t>Title of presentation (Insert / Header &amp; Footer / Apply to All)</a:t>
            </a:r>
            <a:endParaRPr lang="en-US" dirty="0"/>
          </a:p>
        </p:txBody>
      </p:sp>
      <p:sp>
        <p:nvSpPr>
          <p:cNvPr id="9" name="Slide Number Placeholder 8"/>
          <p:cNvSpPr>
            <a:spLocks noGrp="1"/>
          </p:cNvSpPr>
          <p:nvPr>
            <p:ph type="sldNum" sz="quarter" idx="12"/>
          </p:nvPr>
        </p:nvSpPr>
        <p:spPr>
          <a:xfrm>
            <a:off x="0" y="0"/>
            <a:ext cx="0" cy="0"/>
          </a:xfrm>
          <a:prstGeom prst="rect">
            <a:avLst/>
          </a:prstGeom>
        </p:spPr>
        <p:txBody>
          <a:bodyPr/>
          <a:lstStyle>
            <a:lvl1pPr>
              <a:defRPr sz="133">
                <a:noFill/>
              </a:defRPr>
            </a:lvl1pPr>
          </a:lstStyle>
          <a:p>
            <a:fld id="{8E3B25F7-8D1F-44B5-B485-EE3C438CFD7B}" type="slidenum">
              <a:rPr lang="en-US" smtClean="0"/>
              <a:pPr/>
              <a:t>‹#›</a:t>
            </a:fld>
            <a:endParaRPr lang="en-US"/>
          </a:p>
        </p:txBody>
      </p:sp>
      <p:sp>
        <p:nvSpPr>
          <p:cNvPr id="2" name="Title 1"/>
          <p:cNvSpPr>
            <a:spLocks noGrp="1"/>
          </p:cNvSpPr>
          <p:nvPr>
            <p:ph type="ctrTitle" hasCustomPrompt="1"/>
          </p:nvPr>
        </p:nvSpPr>
        <p:spPr>
          <a:xfrm>
            <a:off x="4777671" y="2019727"/>
            <a:ext cx="3816000" cy="2236264"/>
          </a:xfrm>
        </p:spPr>
        <p:txBody>
          <a:bodyPr anchor="b"/>
          <a:lstStyle>
            <a:lvl1pPr algn="l">
              <a:defRPr sz="3599"/>
            </a:lvl1pPr>
          </a:lstStyle>
          <a:p>
            <a:r>
              <a:rPr lang="en-US" dirty="0"/>
              <a:t>Click to add thank you</a:t>
            </a:r>
          </a:p>
        </p:txBody>
      </p:sp>
    </p:spTree>
    <p:extLst>
      <p:ext uri="{BB962C8B-B14F-4D97-AF65-F5344CB8AC3E}">
        <p14:creationId xmlns:p14="http://schemas.microsoft.com/office/powerpoint/2010/main" val="3565329170"/>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p:cSld name="Empty">
    <p:spTree>
      <p:nvGrpSpPr>
        <p:cNvPr id="1" name=""/>
        <p:cNvGrpSpPr/>
        <p:nvPr/>
      </p:nvGrpSpPr>
      <p:grpSpPr>
        <a:xfrm>
          <a:off x="0" y="0"/>
          <a:ext cx="0" cy="0"/>
          <a:chOff x="0" y="0"/>
          <a:chExt cx="0" cy="0"/>
        </a:xfrm>
      </p:grpSpPr>
      <p:sp>
        <p:nvSpPr>
          <p:cNvPr id="5" name="Rectangle 4"/>
          <p:cNvSpPr/>
          <p:nvPr/>
        </p:nvSpPr>
        <p:spPr bwMode="white">
          <a:xfrm>
            <a:off x="0" y="2"/>
            <a:ext cx="514351" cy="162877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6" name="Date Placeholder 5"/>
          <p:cNvSpPr>
            <a:spLocks noGrp="1"/>
          </p:cNvSpPr>
          <p:nvPr>
            <p:ph type="dt" sz="half" idx="10"/>
          </p:nvPr>
        </p:nvSpPr>
        <p:spPr/>
        <p:txBody>
          <a:bodyPr/>
          <a:lstStyle/>
          <a:p>
            <a:fld id="{2DD22AFC-145E-4433-8756-926F8A0E61FA}" type="datetime5">
              <a:rPr lang="en-US" smtClean="0"/>
              <a:t>26-Jun-20</a:t>
            </a:fld>
            <a:endParaRPr lang="en-US" dirty="0"/>
          </a:p>
        </p:txBody>
      </p:sp>
      <p:sp>
        <p:nvSpPr>
          <p:cNvPr id="7" name="Footer Placeholder 6"/>
          <p:cNvSpPr>
            <a:spLocks noGrp="1"/>
          </p:cNvSpPr>
          <p:nvPr>
            <p:ph type="ftr" sz="quarter" idx="11"/>
          </p:nvPr>
        </p:nvSpPr>
        <p:spPr/>
        <p:txBody>
          <a:bodyPr/>
          <a:lstStyle/>
          <a:p>
            <a:r>
              <a:rPr lang="en-US"/>
              <a:t>Title of presentation (Insert / Header &amp; Footer / Apply to All)</a:t>
            </a:r>
            <a:endParaRPr lang="en-US" dirty="0"/>
          </a:p>
        </p:txBody>
      </p:sp>
      <p:sp>
        <p:nvSpPr>
          <p:cNvPr id="8" name="Slide Number Placeholder 7"/>
          <p:cNvSpPr>
            <a:spLocks noGrp="1"/>
          </p:cNvSpPr>
          <p:nvPr>
            <p:ph type="sldNum" sz="quarter" idx="12"/>
          </p:nvPr>
        </p:nvSpPr>
        <p:spPr/>
        <p:txBody>
          <a:bodyPr/>
          <a:lstStyle/>
          <a:p>
            <a:fld id="{5F3E29E4-0979-4FCA-B4C5-5FC6044C982A}" type="slidenum">
              <a:rPr lang="en-US" smtClean="0"/>
              <a:pPr/>
              <a:t>‹#›</a:t>
            </a:fld>
            <a:endParaRPr lang="en-US"/>
          </a:p>
        </p:txBody>
      </p:sp>
      <p:sp>
        <p:nvSpPr>
          <p:cNvPr id="10" name="Text Placeholder 4"/>
          <p:cNvSpPr>
            <a:spLocks noGrp="1"/>
          </p:cNvSpPr>
          <p:nvPr>
            <p:ph type="body" sz="quarter" idx="17" hasCustomPrompt="1"/>
          </p:nvPr>
        </p:nvSpPr>
        <p:spPr>
          <a:xfrm>
            <a:off x="1075064" y="6307665"/>
            <a:ext cx="8162717" cy="133200"/>
          </a:xfrm>
        </p:spPr>
        <p:txBody>
          <a:bodyPr lIns="0" tIns="0" rIns="0" bIns="0" anchor="b" anchorCtr="0"/>
          <a:lstStyle>
            <a:lvl1pPr marL="0" indent="0" algn="l">
              <a:lnSpc>
                <a:spcPct val="100000"/>
              </a:lnSpc>
              <a:spcBef>
                <a:spcPts val="0"/>
              </a:spcBef>
              <a:buNone/>
              <a:defRPr sz="800" baseline="0"/>
            </a:lvl1pPr>
            <a:lvl2pPr marL="0" indent="0" algn="l">
              <a:lnSpc>
                <a:spcPct val="100000"/>
              </a:lnSpc>
              <a:spcBef>
                <a:spcPts val="0"/>
              </a:spcBef>
              <a:buNone/>
              <a:defRPr sz="800"/>
            </a:lvl2pPr>
            <a:lvl3pPr marL="0" indent="0" algn="l">
              <a:lnSpc>
                <a:spcPct val="100000"/>
              </a:lnSpc>
              <a:spcBef>
                <a:spcPts val="0"/>
              </a:spcBef>
              <a:buNone/>
              <a:defRPr sz="800"/>
            </a:lvl3pPr>
            <a:lvl4pPr marL="0" algn="l">
              <a:lnSpc>
                <a:spcPct val="100000"/>
              </a:lnSpc>
              <a:spcBef>
                <a:spcPts val="0"/>
              </a:spcBef>
              <a:buNone/>
              <a:defRPr sz="800"/>
            </a:lvl4pPr>
            <a:lvl5pPr marL="0" indent="0" algn="l">
              <a:lnSpc>
                <a:spcPct val="100000"/>
              </a:lnSpc>
              <a:spcBef>
                <a:spcPts val="0"/>
              </a:spcBef>
              <a:buNone/>
              <a:defRPr sz="800"/>
            </a:lvl5pPr>
          </a:lstStyle>
          <a:p>
            <a:pPr lvl="0"/>
            <a:r>
              <a:rPr lang="en-US" dirty="0"/>
              <a:t>Source line</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213016394"/>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type="vertTx" preserve="1">
  <p:cSld name="Заголовок и вертикальный текст">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ru-RU"/>
              <a:t>Образец заголовка</a:t>
            </a:r>
            <a:endParaRPr lang="en-US" dirty="0"/>
          </a:p>
        </p:txBody>
      </p:sp>
      <p:sp>
        <p:nvSpPr>
          <p:cNvPr id="3" name="Vertical Text Placeholder 2"/>
          <p:cNvSpPr>
            <a:spLocks noGrp="1"/>
          </p:cNvSpPr>
          <p:nvPr>
            <p:ph type="body" orient="vert" idx="1"/>
          </p:nvPr>
        </p:nvSpPr>
        <p:spPr/>
        <p:txBody>
          <a:bodyPr vert="eaVert"/>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endParaRPr lang="en-US" dirty="0"/>
          </a:p>
        </p:txBody>
      </p:sp>
      <p:sp>
        <p:nvSpPr>
          <p:cNvPr id="7" name="Date Placeholder 6"/>
          <p:cNvSpPr>
            <a:spLocks noGrp="1"/>
          </p:cNvSpPr>
          <p:nvPr>
            <p:ph type="dt" sz="half" idx="10"/>
          </p:nvPr>
        </p:nvSpPr>
        <p:spPr/>
        <p:txBody>
          <a:bodyPr/>
          <a:lstStyle/>
          <a:p>
            <a:fld id="{AF5B2FD7-A1C3-4F99-9996-6254468DC4CB}" type="datetime5">
              <a:rPr lang="en-US" smtClean="0"/>
              <a:t>26-Jun-20</a:t>
            </a:fld>
            <a:endParaRPr lang="en-US" dirty="0"/>
          </a:p>
        </p:txBody>
      </p:sp>
      <p:sp>
        <p:nvSpPr>
          <p:cNvPr id="8" name="Footer Placeholder 7"/>
          <p:cNvSpPr>
            <a:spLocks noGrp="1"/>
          </p:cNvSpPr>
          <p:nvPr>
            <p:ph type="ftr" sz="quarter" idx="11"/>
          </p:nvPr>
        </p:nvSpPr>
        <p:spPr/>
        <p:txBody>
          <a:bodyPr/>
          <a:lstStyle/>
          <a:p>
            <a:r>
              <a:rPr lang="en-US"/>
              <a:t>Title of presentation (Insert / Header &amp; Footer / Apply to All)</a:t>
            </a:r>
            <a:endParaRPr lang="en-US" dirty="0"/>
          </a:p>
        </p:txBody>
      </p:sp>
      <p:sp>
        <p:nvSpPr>
          <p:cNvPr id="9" name="Slide Number Placeholder 8"/>
          <p:cNvSpPr>
            <a:spLocks noGrp="1"/>
          </p:cNvSpPr>
          <p:nvPr>
            <p:ph type="sldNum" sz="quarter" idx="12"/>
          </p:nvPr>
        </p:nvSpPr>
        <p:spPr/>
        <p:txBody>
          <a:bodyPr/>
          <a:lstStyle/>
          <a:p>
            <a:fld id="{5F3E29E4-0979-4FCA-B4C5-5FC6044C982A}" type="slidenum">
              <a:rPr lang="en-US" smtClean="0"/>
              <a:pPr/>
              <a:t>‹#›</a:t>
            </a:fld>
            <a:endParaRPr lang="en-US"/>
          </a:p>
        </p:txBody>
      </p:sp>
    </p:spTree>
    <p:extLst>
      <p:ext uri="{BB962C8B-B14F-4D97-AF65-F5344CB8AC3E}">
        <p14:creationId xmlns:p14="http://schemas.microsoft.com/office/powerpoint/2010/main" val="790164227"/>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type="vertTitleAndTx" preserve="1">
  <p:cSld name="Вертикальный заголовок и текст">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196279" y="404814"/>
            <a:ext cx="1400175" cy="5832474"/>
          </a:xfrm>
        </p:spPr>
        <p:txBody>
          <a:bodyPr vert="eaVert"/>
          <a:lstStyle/>
          <a:p>
            <a:r>
              <a:rPr lang="ru-RU"/>
              <a:t>Образец заголовка</a:t>
            </a:r>
            <a:endParaRPr lang="en-US" dirty="0"/>
          </a:p>
        </p:txBody>
      </p:sp>
      <p:sp>
        <p:nvSpPr>
          <p:cNvPr id="3" name="Vertical Text Placeholder 2"/>
          <p:cNvSpPr>
            <a:spLocks noGrp="1"/>
          </p:cNvSpPr>
          <p:nvPr>
            <p:ph type="body" orient="vert" idx="1"/>
          </p:nvPr>
        </p:nvSpPr>
        <p:spPr>
          <a:xfrm>
            <a:off x="1076400" y="404814"/>
            <a:ext cx="5943525" cy="5832474"/>
          </a:xfrm>
        </p:spPr>
        <p:txBody>
          <a:bodyPr vert="eaVert"/>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endParaRPr lang="en-US"/>
          </a:p>
        </p:txBody>
      </p:sp>
      <p:sp>
        <p:nvSpPr>
          <p:cNvPr id="7" name="Date Placeholder 6"/>
          <p:cNvSpPr>
            <a:spLocks noGrp="1"/>
          </p:cNvSpPr>
          <p:nvPr>
            <p:ph type="dt" sz="half" idx="10"/>
          </p:nvPr>
        </p:nvSpPr>
        <p:spPr/>
        <p:txBody>
          <a:bodyPr/>
          <a:lstStyle/>
          <a:p>
            <a:fld id="{A1079567-0E61-4D85-B570-3273C3AD246A}" type="datetime5">
              <a:rPr lang="en-US" smtClean="0"/>
              <a:t>26-Jun-20</a:t>
            </a:fld>
            <a:endParaRPr lang="en-US" dirty="0"/>
          </a:p>
        </p:txBody>
      </p:sp>
      <p:sp>
        <p:nvSpPr>
          <p:cNvPr id="8" name="Footer Placeholder 7"/>
          <p:cNvSpPr>
            <a:spLocks noGrp="1"/>
          </p:cNvSpPr>
          <p:nvPr>
            <p:ph type="ftr" sz="quarter" idx="11"/>
          </p:nvPr>
        </p:nvSpPr>
        <p:spPr/>
        <p:txBody>
          <a:bodyPr/>
          <a:lstStyle/>
          <a:p>
            <a:r>
              <a:rPr lang="en-US"/>
              <a:t>Title of presentation (Insert / Header &amp; Footer / Apply to All)</a:t>
            </a:r>
            <a:endParaRPr lang="en-US" dirty="0"/>
          </a:p>
        </p:txBody>
      </p:sp>
      <p:sp>
        <p:nvSpPr>
          <p:cNvPr id="9" name="Slide Number Placeholder 8"/>
          <p:cNvSpPr>
            <a:spLocks noGrp="1"/>
          </p:cNvSpPr>
          <p:nvPr>
            <p:ph type="sldNum" sz="quarter" idx="12"/>
          </p:nvPr>
        </p:nvSpPr>
        <p:spPr/>
        <p:txBody>
          <a:bodyPr/>
          <a:lstStyle/>
          <a:p>
            <a:fld id="{5F3E29E4-0979-4FCA-B4C5-5FC6044C982A}" type="slidenum">
              <a:rPr lang="en-US" smtClean="0"/>
              <a:pPr/>
              <a:t>‹#›</a:t>
            </a:fld>
            <a:endParaRPr lang="en-US"/>
          </a:p>
        </p:txBody>
      </p:sp>
    </p:spTree>
    <p:extLst>
      <p:ext uri="{BB962C8B-B14F-4D97-AF65-F5344CB8AC3E}">
        <p14:creationId xmlns:p14="http://schemas.microsoft.com/office/powerpoint/2010/main" val="1909233445"/>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p:cSld name="1_Large charts and tables">
    <p:spTree>
      <p:nvGrpSpPr>
        <p:cNvPr id="1" name=""/>
        <p:cNvGrpSpPr/>
        <p:nvPr/>
      </p:nvGrpSpPr>
      <p:grpSpPr>
        <a:xfrm>
          <a:off x="0" y="0"/>
          <a:ext cx="0" cy="0"/>
          <a:chOff x="0" y="0"/>
          <a:chExt cx="0" cy="0"/>
        </a:xfrm>
      </p:grpSpPr>
      <p:sp>
        <p:nvSpPr>
          <p:cNvPr id="21" name="Date Placeholder 20"/>
          <p:cNvSpPr>
            <a:spLocks noGrp="1"/>
          </p:cNvSpPr>
          <p:nvPr>
            <p:ph type="dt" sz="half" idx="14"/>
          </p:nvPr>
        </p:nvSpPr>
        <p:spPr/>
        <p:txBody>
          <a:bodyPr/>
          <a:lstStyle/>
          <a:p>
            <a:fld id="{C8265AAA-10E5-49CF-B48E-DC443F79F14E}" type="datetime5">
              <a:rPr lang="en-US" smtClean="0"/>
              <a:t>26-Jun-20</a:t>
            </a:fld>
            <a:endParaRPr lang="en-US"/>
          </a:p>
        </p:txBody>
      </p:sp>
      <p:sp>
        <p:nvSpPr>
          <p:cNvPr id="22" name="Footer Placeholder 21"/>
          <p:cNvSpPr>
            <a:spLocks noGrp="1"/>
          </p:cNvSpPr>
          <p:nvPr>
            <p:ph type="ftr" sz="quarter" idx="15"/>
          </p:nvPr>
        </p:nvSpPr>
        <p:spPr/>
        <p:txBody>
          <a:bodyPr/>
          <a:lstStyle/>
          <a:p>
            <a:r>
              <a:rPr lang="en-US" dirty="0"/>
              <a:t>Portfolio </a:t>
            </a:r>
            <a:r>
              <a:rPr lang="en-US" dirty="0" err="1"/>
              <a:t>Multiclient</a:t>
            </a:r>
            <a:r>
              <a:rPr lang="en-US" dirty="0"/>
              <a:t> 2019</a:t>
            </a:r>
          </a:p>
        </p:txBody>
      </p:sp>
      <p:sp>
        <p:nvSpPr>
          <p:cNvPr id="23" name="Slide Number Placeholder 22"/>
          <p:cNvSpPr>
            <a:spLocks noGrp="1"/>
          </p:cNvSpPr>
          <p:nvPr>
            <p:ph type="sldNum" sz="quarter" idx="16"/>
          </p:nvPr>
        </p:nvSpPr>
        <p:spPr/>
        <p:txBody>
          <a:bodyPr/>
          <a:lstStyle/>
          <a:p>
            <a:fld id="{5F3E29E4-0979-4FCA-B4C5-5FC6044C982A}" type="slidenum">
              <a:rPr lang="en-US" smtClean="0"/>
              <a:t>‹#›</a:t>
            </a:fld>
            <a:endParaRPr lang="en-US"/>
          </a:p>
        </p:txBody>
      </p:sp>
      <p:sp>
        <p:nvSpPr>
          <p:cNvPr id="2" name="Title 1"/>
          <p:cNvSpPr>
            <a:spLocks noGrp="1"/>
          </p:cNvSpPr>
          <p:nvPr>
            <p:ph type="title" hasCustomPrompt="1"/>
          </p:nvPr>
        </p:nvSpPr>
        <p:spPr/>
        <p:txBody>
          <a:bodyPr/>
          <a:lstStyle>
            <a:lvl1pPr>
              <a:defRPr/>
            </a:lvl1pPr>
          </a:lstStyle>
          <a:p>
            <a:r>
              <a:rPr lang="en-US" dirty="0"/>
              <a:t>Click to add slide title</a:t>
            </a:r>
          </a:p>
        </p:txBody>
      </p:sp>
      <p:sp>
        <p:nvSpPr>
          <p:cNvPr id="7" name="Subtitle 2"/>
          <p:cNvSpPr>
            <a:spLocks noGrp="1"/>
          </p:cNvSpPr>
          <p:nvPr>
            <p:ph type="subTitle" idx="13" hasCustomPrompt="1"/>
          </p:nvPr>
        </p:nvSpPr>
        <p:spPr>
          <a:xfrm>
            <a:off x="1075062" y="964672"/>
            <a:ext cx="7910159" cy="490042"/>
          </a:xfrm>
        </p:spPr>
        <p:txBody>
          <a:bodyPr wrap="none"/>
          <a:lstStyle>
            <a:lvl1pPr marL="0" indent="0" algn="l">
              <a:spcBef>
                <a:spcPts val="0"/>
              </a:spcBef>
              <a:buNone/>
              <a:defRPr sz="2399"/>
            </a:lvl1pPr>
            <a:lvl2pPr marL="457051" indent="0" algn="ctr">
              <a:buNone/>
              <a:defRPr sz="1999"/>
            </a:lvl2pPr>
            <a:lvl3pPr marL="914103" indent="0" algn="ctr">
              <a:buNone/>
              <a:defRPr sz="1799"/>
            </a:lvl3pPr>
            <a:lvl4pPr marL="1371154" indent="0" algn="ctr">
              <a:buNone/>
              <a:defRPr sz="1599"/>
            </a:lvl4pPr>
            <a:lvl5pPr marL="1828206" indent="0" algn="ctr">
              <a:buNone/>
              <a:defRPr sz="1599"/>
            </a:lvl5pPr>
            <a:lvl6pPr marL="2285257" indent="0" algn="ctr">
              <a:buNone/>
              <a:defRPr sz="1599"/>
            </a:lvl6pPr>
            <a:lvl7pPr marL="2742308" indent="0" algn="ctr">
              <a:buNone/>
              <a:defRPr sz="1599"/>
            </a:lvl7pPr>
            <a:lvl8pPr marL="3199360" indent="0" algn="ctr">
              <a:buNone/>
              <a:defRPr sz="1599"/>
            </a:lvl8pPr>
            <a:lvl9pPr marL="3656411" indent="0" algn="ctr">
              <a:buNone/>
              <a:defRPr sz="1599"/>
            </a:lvl9pPr>
          </a:lstStyle>
          <a:p>
            <a:r>
              <a:rPr lang="en-US" dirty="0"/>
              <a:t>Click to add subtitle</a:t>
            </a:r>
          </a:p>
        </p:txBody>
      </p:sp>
      <p:sp>
        <p:nvSpPr>
          <p:cNvPr id="3" name="Content Placeholder 2"/>
          <p:cNvSpPr>
            <a:spLocks noGrp="1"/>
          </p:cNvSpPr>
          <p:nvPr>
            <p:ph idx="1" hasCustomPrompt="1"/>
          </p:nvPr>
        </p:nvSpPr>
        <p:spPr>
          <a:xfrm>
            <a:off x="192088" y="1629617"/>
            <a:ext cx="11642581" cy="4599507"/>
          </a:xfrm>
        </p:spPr>
        <p:txBody>
          <a:bodyPr anchor="t"/>
          <a:lstStyle>
            <a:lvl1pPr marL="0" indent="0" algn="ctr">
              <a:spcBef>
                <a:spcPts val="1000"/>
              </a:spcBef>
              <a:buNone/>
              <a:defRPr sz="2799" baseline="0"/>
            </a:lvl1pPr>
            <a:lvl2pPr marL="0" indent="0">
              <a:spcBef>
                <a:spcPts val="1000"/>
              </a:spcBef>
              <a:buNone/>
              <a:defRPr sz="2799"/>
            </a:lvl2pPr>
            <a:lvl3pPr marL="0" indent="0">
              <a:spcBef>
                <a:spcPts val="1000"/>
              </a:spcBef>
              <a:buNone/>
              <a:defRPr sz="2799"/>
            </a:lvl3pPr>
            <a:lvl4pPr>
              <a:spcBef>
                <a:spcPts val="1000"/>
              </a:spcBef>
              <a:buNone/>
              <a:defRPr sz="2799"/>
            </a:lvl4pPr>
            <a:lvl5pPr marL="0" indent="0">
              <a:spcBef>
                <a:spcPts val="1000"/>
              </a:spcBef>
              <a:buNone/>
              <a:defRPr sz="2799"/>
            </a:lvl5pPr>
          </a:lstStyle>
          <a:p>
            <a:pPr lvl="0"/>
            <a:r>
              <a:rPr lang="en-US" dirty="0"/>
              <a:t>Use this layout for large charts and tables only. Please, do not use with text.</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566732456"/>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showMasterSp="0" preserve="1">
  <p:cSld name="Title 1">
    <p:spTree>
      <p:nvGrpSpPr>
        <p:cNvPr id="1" name=""/>
        <p:cNvGrpSpPr/>
        <p:nvPr/>
      </p:nvGrpSpPr>
      <p:grpSpPr>
        <a:xfrm>
          <a:off x="0" y="0"/>
          <a:ext cx="0" cy="0"/>
          <a:chOff x="0" y="0"/>
          <a:chExt cx="0" cy="0"/>
        </a:xfrm>
      </p:grpSpPr>
      <p:pic>
        <p:nvPicPr>
          <p:cNvPr id="12" name="Рисунок 11" descr="Изображение выглядит как вода, внешний, едет, океан&#10;&#10;Автоматически созданное описание">
            <a:extLst>
              <a:ext uri="{FF2B5EF4-FFF2-40B4-BE49-F238E27FC236}">
                <a16:creationId xmlns:a16="http://schemas.microsoft.com/office/drawing/2014/main" id="{5E9875A3-711A-46F2-A8B1-CF8A7560EB27}"/>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3053751" y="0"/>
            <a:ext cx="9138249" cy="6858000"/>
          </a:xfrm>
          <a:prstGeom prst="rect">
            <a:avLst/>
          </a:prstGeom>
        </p:spPr>
      </p:pic>
      <p:sp>
        <p:nvSpPr>
          <p:cNvPr id="29" name="shpPicture"/>
          <p:cNvSpPr/>
          <p:nvPr/>
        </p:nvSpPr>
        <p:spPr>
          <a:xfrm>
            <a:off x="0" y="0"/>
            <a:ext cx="4956718" cy="6858000"/>
          </a:xfrm>
          <a:custGeom>
            <a:avLst/>
            <a:gdLst>
              <a:gd name="connsiteX0" fmla="*/ 0 w 4956718"/>
              <a:gd name="connsiteY0" fmla="*/ 0 h 6858000"/>
              <a:gd name="connsiteX1" fmla="*/ 3707268 w 4956718"/>
              <a:gd name="connsiteY1" fmla="*/ 0 h 6858000"/>
              <a:gd name="connsiteX2" fmla="*/ 4956718 w 4956718"/>
              <a:gd name="connsiteY2" fmla="*/ 4163677 h 6858000"/>
              <a:gd name="connsiteX3" fmla="*/ 3376226 w 4956718"/>
              <a:gd name="connsiteY3" fmla="*/ 6858000 h 6858000"/>
              <a:gd name="connsiteX4" fmla="*/ 0 w 4956718"/>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56718" h="6858000">
                <a:moveTo>
                  <a:pt x="0" y="0"/>
                </a:moveTo>
                <a:lnTo>
                  <a:pt x="3707268" y="0"/>
                </a:lnTo>
                <a:lnTo>
                  <a:pt x="4956718" y="4163677"/>
                </a:lnTo>
                <a:lnTo>
                  <a:pt x="3376226"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125000"/>
              </a:lnSpc>
            </a:pPr>
            <a:endParaRPr lang="en-US" sz="1600" dirty="0"/>
          </a:p>
        </p:txBody>
      </p:sp>
      <p:grpSp>
        <p:nvGrpSpPr>
          <p:cNvPr id="14" name="logo">
            <a:extLst>
              <a:ext uri="{FF2B5EF4-FFF2-40B4-BE49-F238E27FC236}">
                <a16:creationId xmlns:a16="http://schemas.microsoft.com/office/drawing/2014/main" id="{18C26D95-70F8-8A4D-9F18-DCCB92522AF8}"/>
              </a:ext>
            </a:extLst>
          </p:cNvPr>
          <p:cNvGrpSpPr/>
          <p:nvPr/>
        </p:nvGrpSpPr>
        <p:grpSpPr bwMode="gray">
          <a:xfrm>
            <a:off x="417363" y="407485"/>
            <a:ext cx="1518585" cy="646507"/>
            <a:chOff x="334963" y="296652"/>
            <a:chExt cx="1268411" cy="540000"/>
          </a:xfrm>
        </p:grpSpPr>
        <p:sp>
          <p:nvSpPr>
            <p:cNvPr id="17" name="Freeform 6">
              <a:extLst>
                <a:ext uri="{FF2B5EF4-FFF2-40B4-BE49-F238E27FC236}">
                  <a16:creationId xmlns:a16="http://schemas.microsoft.com/office/drawing/2014/main" id="{08737AD0-E375-E445-97E6-CD2E2DF60620}"/>
                </a:ext>
              </a:extLst>
            </p:cNvPr>
            <p:cNvSpPr>
              <a:spLocks noEditPoints="1"/>
            </p:cNvSpPr>
            <p:nvPr/>
          </p:nvSpPr>
          <p:spPr bwMode="gray">
            <a:xfrm>
              <a:off x="982662" y="360462"/>
              <a:ext cx="620712" cy="431800"/>
            </a:xfrm>
            <a:custGeom>
              <a:avLst/>
              <a:gdLst>
                <a:gd name="T0" fmla="*/ 19 w 1809"/>
                <a:gd name="T1" fmla="*/ 97 h 1253"/>
                <a:gd name="T2" fmla="*/ 165 w 1809"/>
                <a:gd name="T3" fmla="*/ 41 h 1253"/>
                <a:gd name="T4" fmla="*/ 211 w 1809"/>
                <a:gd name="T5" fmla="*/ 224 h 1253"/>
                <a:gd name="T6" fmla="*/ 248 w 1809"/>
                <a:gd name="T7" fmla="*/ 155 h 1253"/>
                <a:gd name="T8" fmla="*/ 931 w 1809"/>
                <a:gd name="T9" fmla="*/ 995 h 1253"/>
                <a:gd name="T10" fmla="*/ 858 w 1809"/>
                <a:gd name="T11" fmla="*/ 1115 h 1253"/>
                <a:gd name="T12" fmla="*/ 749 w 1809"/>
                <a:gd name="T13" fmla="*/ 1117 h 1253"/>
                <a:gd name="T14" fmla="*/ 681 w 1809"/>
                <a:gd name="T15" fmla="*/ 1055 h 1253"/>
                <a:gd name="T16" fmla="*/ 800 w 1809"/>
                <a:gd name="T17" fmla="*/ 1054 h 1253"/>
                <a:gd name="T18" fmla="*/ 884 w 1809"/>
                <a:gd name="T19" fmla="*/ 1181 h 1253"/>
                <a:gd name="T20" fmla="*/ 118 w 1809"/>
                <a:gd name="T21" fmla="*/ 1086 h 1253"/>
                <a:gd name="T22" fmla="*/ 147 w 1809"/>
                <a:gd name="T23" fmla="*/ 1026 h 1253"/>
                <a:gd name="T24" fmla="*/ 102 w 1809"/>
                <a:gd name="T25" fmla="*/ 1026 h 1253"/>
                <a:gd name="T26" fmla="*/ 639 w 1809"/>
                <a:gd name="T27" fmla="*/ 84 h 1253"/>
                <a:gd name="T28" fmla="*/ 763 w 1809"/>
                <a:gd name="T29" fmla="*/ 145 h 1253"/>
                <a:gd name="T30" fmla="*/ 863 w 1809"/>
                <a:gd name="T31" fmla="*/ 221 h 1253"/>
                <a:gd name="T32" fmla="*/ 834 w 1809"/>
                <a:gd name="T33" fmla="*/ 208 h 1253"/>
                <a:gd name="T34" fmla="*/ 719 w 1809"/>
                <a:gd name="T35" fmla="*/ 182 h 1253"/>
                <a:gd name="T36" fmla="*/ 507 w 1809"/>
                <a:gd name="T37" fmla="*/ 711 h 1253"/>
                <a:gd name="T38" fmla="*/ 614 w 1809"/>
                <a:gd name="T39" fmla="*/ 706 h 1253"/>
                <a:gd name="T40" fmla="*/ 736 w 1809"/>
                <a:gd name="T41" fmla="*/ 730 h 1253"/>
                <a:gd name="T42" fmla="*/ 607 w 1809"/>
                <a:gd name="T43" fmla="*/ 539 h 1253"/>
                <a:gd name="T44" fmla="*/ 1505 w 1809"/>
                <a:gd name="T45" fmla="*/ 1136 h 1253"/>
                <a:gd name="T46" fmla="*/ 1613 w 1809"/>
                <a:gd name="T47" fmla="*/ 1002 h 1253"/>
                <a:gd name="T48" fmla="*/ 1472 w 1809"/>
                <a:gd name="T49" fmla="*/ 1164 h 1253"/>
                <a:gd name="T50" fmla="*/ 1525 w 1809"/>
                <a:gd name="T51" fmla="*/ 1142 h 1253"/>
                <a:gd name="T52" fmla="*/ 1556 w 1809"/>
                <a:gd name="T53" fmla="*/ 1172 h 1253"/>
                <a:gd name="T54" fmla="*/ 1387 w 1809"/>
                <a:gd name="T55" fmla="*/ 910 h 1253"/>
                <a:gd name="T56" fmla="*/ 1261 w 1809"/>
                <a:gd name="T57" fmla="*/ 1157 h 1253"/>
                <a:gd name="T58" fmla="*/ 1413 w 1809"/>
                <a:gd name="T59" fmla="*/ 934 h 1253"/>
                <a:gd name="T60" fmla="*/ 1378 w 1809"/>
                <a:gd name="T61" fmla="*/ 1052 h 1253"/>
                <a:gd name="T62" fmla="*/ 488 w 1809"/>
                <a:gd name="T63" fmla="*/ 85 h 1253"/>
                <a:gd name="T64" fmla="*/ 509 w 1809"/>
                <a:gd name="T65" fmla="*/ 112 h 1253"/>
                <a:gd name="T66" fmla="*/ 548 w 1809"/>
                <a:gd name="T67" fmla="*/ 1187 h 1253"/>
                <a:gd name="T68" fmla="*/ 472 w 1809"/>
                <a:gd name="T69" fmla="*/ 1122 h 1253"/>
                <a:gd name="T70" fmla="*/ 558 w 1809"/>
                <a:gd name="T71" fmla="*/ 1157 h 1253"/>
                <a:gd name="T72" fmla="*/ 287 w 1809"/>
                <a:gd name="T73" fmla="*/ 654 h 1253"/>
                <a:gd name="T74" fmla="*/ 416 w 1809"/>
                <a:gd name="T75" fmla="*/ 684 h 1253"/>
                <a:gd name="T76" fmla="*/ 1106 w 1809"/>
                <a:gd name="T77" fmla="*/ 147 h 1253"/>
                <a:gd name="T78" fmla="*/ 1229 w 1809"/>
                <a:gd name="T79" fmla="*/ 258 h 1253"/>
                <a:gd name="T80" fmla="*/ 1106 w 1809"/>
                <a:gd name="T81" fmla="*/ 96 h 1253"/>
                <a:gd name="T82" fmla="*/ 1219 w 1809"/>
                <a:gd name="T83" fmla="*/ 1077 h 1253"/>
                <a:gd name="T84" fmla="*/ 1214 w 1809"/>
                <a:gd name="T85" fmla="*/ 1157 h 1253"/>
                <a:gd name="T86" fmla="*/ 1150 w 1809"/>
                <a:gd name="T87" fmla="*/ 1092 h 1253"/>
                <a:gd name="T88" fmla="*/ 1139 w 1809"/>
                <a:gd name="T89" fmla="*/ 1070 h 1253"/>
                <a:gd name="T90" fmla="*/ 1659 w 1809"/>
                <a:gd name="T91" fmla="*/ 1031 h 1253"/>
                <a:gd name="T92" fmla="*/ 1714 w 1809"/>
                <a:gd name="T93" fmla="*/ 1155 h 1253"/>
                <a:gd name="T94" fmla="*/ 1760 w 1809"/>
                <a:gd name="T95" fmla="*/ 1030 h 1253"/>
                <a:gd name="T96" fmla="*/ 111 w 1809"/>
                <a:gd name="T97" fmla="*/ 569 h 1253"/>
                <a:gd name="T98" fmla="*/ 109 w 1809"/>
                <a:gd name="T99" fmla="*/ 460 h 1253"/>
                <a:gd name="T100" fmla="*/ 32 w 1809"/>
                <a:gd name="T101" fmla="*/ 704 h 1253"/>
                <a:gd name="T102" fmla="*/ 310 w 1809"/>
                <a:gd name="T103" fmla="*/ 1058 h 1253"/>
                <a:gd name="T104" fmla="*/ 431 w 1809"/>
                <a:gd name="T105" fmla="*/ 1044 h 1253"/>
                <a:gd name="T106" fmla="*/ 278 w 1809"/>
                <a:gd name="T107" fmla="*/ 1165 h 1253"/>
                <a:gd name="T108" fmla="*/ 261 w 1809"/>
                <a:gd name="T109" fmla="*/ 540 h 1253"/>
                <a:gd name="T110" fmla="*/ 150 w 1809"/>
                <a:gd name="T111" fmla="*/ 635 h 1253"/>
                <a:gd name="T112" fmla="*/ 994 w 1809"/>
                <a:gd name="T113" fmla="*/ 1185 h 1253"/>
                <a:gd name="T114" fmla="*/ 331 w 1809"/>
                <a:gd name="T115" fmla="*/ 176 h 1253"/>
                <a:gd name="T116" fmla="*/ 333 w 1809"/>
                <a:gd name="T117" fmla="*/ 109 h 1253"/>
                <a:gd name="T118" fmla="*/ 946 w 1809"/>
                <a:gd name="T119" fmla="*/ 234 h 1253"/>
                <a:gd name="T120" fmla="*/ 1022 w 1809"/>
                <a:gd name="T121" fmla="*/ 113 h 1253"/>
                <a:gd name="T122" fmla="*/ 949 w 1809"/>
                <a:gd name="T123" fmla="*/ 65 h 1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09" h="1253">
                  <a:moveTo>
                    <a:pt x="248" y="198"/>
                  </a:moveTo>
                  <a:cubicBezTo>
                    <a:pt x="248" y="211"/>
                    <a:pt x="248" y="224"/>
                    <a:pt x="249" y="237"/>
                  </a:cubicBezTo>
                  <a:cubicBezTo>
                    <a:pt x="249" y="245"/>
                    <a:pt x="246" y="249"/>
                    <a:pt x="240" y="253"/>
                  </a:cubicBezTo>
                  <a:cubicBezTo>
                    <a:pt x="231" y="260"/>
                    <a:pt x="220" y="264"/>
                    <a:pt x="209" y="268"/>
                  </a:cubicBezTo>
                  <a:cubicBezTo>
                    <a:pt x="179" y="279"/>
                    <a:pt x="148" y="280"/>
                    <a:pt x="118" y="275"/>
                  </a:cubicBezTo>
                  <a:cubicBezTo>
                    <a:pt x="86" y="269"/>
                    <a:pt x="58" y="252"/>
                    <a:pt x="39" y="224"/>
                  </a:cubicBezTo>
                  <a:cubicBezTo>
                    <a:pt x="24" y="203"/>
                    <a:pt x="18" y="180"/>
                    <a:pt x="15" y="155"/>
                  </a:cubicBezTo>
                  <a:cubicBezTo>
                    <a:pt x="11" y="135"/>
                    <a:pt x="15" y="115"/>
                    <a:pt x="19" y="97"/>
                  </a:cubicBezTo>
                  <a:cubicBezTo>
                    <a:pt x="26" y="68"/>
                    <a:pt x="42" y="44"/>
                    <a:pt x="68" y="27"/>
                  </a:cubicBezTo>
                  <a:cubicBezTo>
                    <a:pt x="87" y="14"/>
                    <a:pt x="109" y="6"/>
                    <a:pt x="133" y="5"/>
                  </a:cubicBezTo>
                  <a:cubicBezTo>
                    <a:pt x="149" y="4"/>
                    <a:pt x="165" y="5"/>
                    <a:pt x="181" y="6"/>
                  </a:cubicBezTo>
                  <a:cubicBezTo>
                    <a:pt x="204" y="8"/>
                    <a:pt x="225" y="20"/>
                    <a:pt x="243" y="35"/>
                  </a:cubicBezTo>
                  <a:cubicBezTo>
                    <a:pt x="246" y="37"/>
                    <a:pt x="246" y="40"/>
                    <a:pt x="244" y="43"/>
                  </a:cubicBezTo>
                  <a:cubicBezTo>
                    <a:pt x="242" y="47"/>
                    <a:pt x="239" y="52"/>
                    <a:pt x="236" y="55"/>
                  </a:cubicBezTo>
                  <a:cubicBezTo>
                    <a:pt x="226" y="65"/>
                    <a:pt x="224" y="65"/>
                    <a:pt x="206" y="54"/>
                  </a:cubicBezTo>
                  <a:cubicBezTo>
                    <a:pt x="193" y="46"/>
                    <a:pt x="180" y="40"/>
                    <a:pt x="165" y="41"/>
                  </a:cubicBezTo>
                  <a:cubicBezTo>
                    <a:pt x="151" y="41"/>
                    <a:pt x="137" y="39"/>
                    <a:pt x="124" y="42"/>
                  </a:cubicBezTo>
                  <a:cubicBezTo>
                    <a:pt x="104" y="46"/>
                    <a:pt x="87" y="57"/>
                    <a:pt x="75" y="74"/>
                  </a:cubicBezTo>
                  <a:cubicBezTo>
                    <a:pt x="56" y="99"/>
                    <a:pt x="51" y="129"/>
                    <a:pt x="55" y="159"/>
                  </a:cubicBezTo>
                  <a:cubicBezTo>
                    <a:pt x="60" y="189"/>
                    <a:pt x="73" y="214"/>
                    <a:pt x="98" y="230"/>
                  </a:cubicBezTo>
                  <a:cubicBezTo>
                    <a:pt x="109" y="237"/>
                    <a:pt x="121" y="242"/>
                    <a:pt x="135" y="241"/>
                  </a:cubicBezTo>
                  <a:cubicBezTo>
                    <a:pt x="146" y="241"/>
                    <a:pt x="158" y="241"/>
                    <a:pt x="169" y="241"/>
                  </a:cubicBezTo>
                  <a:cubicBezTo>
                    <a:pt x="182" y="242"/>
                    <a:pt x="193" y="235"/>
                    <a:pt x="205" y="232"/>
                  </a:cubicBezTo>
                  <a:cubicBezTo>
                    <a:pt x="210" y="231"/>
                    <a:pt x="211" y="227"/>
                    <a:pt x="211" y="224"/>
                  </a:cubicBezTo>
                  <a:cubicBezTo>
                    <a:pt x="211" y="210"/>
                    <a:pt x="211" y="196"/>
                    <a:pt x="211" y="183"/>
                  </a:cubicBezTo>
                  <a:cubicBezTo>
                    <a:pt x="211" y="177"/>
                    <a:pt x="207" y="175"/>
                    <a:pt x="202" y="175"/>
                  </a:cubicBezTo>
                  <a:cubicBezTo>
                    <a:pt x="193" y="175"/>
                    <a:pt x="184" y="175"/>
                    <a:pt x="175" y="175"/>
                  </a:cubicBezTo>
                  <a:cubicBezTo>
                    <a:pt x="171" y="175"/>
                    <a:pt x="168" y="174"/>
                    <a:pt x="166" y="171"/>
                  </a:cubicBezTo>
                  <a:cubicBezTo>
                    <a:pt x="163" y="163"/>
                    <a:pt x="164" y="154"/>
                    <a:pt x="166" y="146"/>
                  </a:cubicBezTo>
                  <a:cubicBezTo>
                    <a:pt x="167" y="142"/>
                    <a:pt x="171" y="142"/>
                    <a:pt x="175" y="142"/>
                  </a:cubicBezTo>
                  <a:cubicBezTo>
                    <a:pt x="196" y="142"/>
                    <a:pt x="217" y="142"/>
                    <a:pt x="238" y="142"/>
                  </a:cubicBezTo>
                  <a:cubicBezTo>
                    <a:pt x="247" y="142"/>
                    <a:pt x="248" y="148"/>
                    <a:pt x="248" y="155"/>
                  </a:cubicBezTo>
                  <a:cubicBezTo>
                    <a:pt x="249" y="169"/>
                    <a:pt x="248" y="183"/>
                    <a:pt x="248" y="198"/>
                  </a:cubicBezTo>
                  <a:close/>
                  <a:moveTo>
                    <a:pt x="884" y="1181"/>
                  </a:moveTo>
                  <a:cubicBezTo>
                    <a:pt x="889" y="1167"/>
                    <a:pt x="894" y="1152"/>
                    <a:pt x="898" y="1137"/>
                  </a:cubicBezTo>
                  <a:cubicBezTo>
                    <a:pt x="901" y="1127"/>
                    <a:pt x="905" y="1116"/>
                    <a:pt x="908" y="1106"/>
                  </a:cubicBezTo>
                  <a:cubicBezTo>
                    <a:pt x="911" y="1098"/>
                    <a:pt x="912" y="1089"/>
                    <a:pt x="916" y="1081"/>
                  </a:cubicBezTo>
                  <a:cubicBezTo>
                    <a:pt x="921" y="1072"/>
                    <a:pt x="923" y="1060"/>
                    <a:pt x="927" y="1050"/>
                  </a:cubicBezTo>
                  <a:cubicBezTo>
                    <a:pt x="932" y="1037"/>
                    <a:pt x="934" y="1023"/>
                    <a:pt x="940" y="1010"/>
                  </a:cubicBezTo>
                  <a:cubicBezTo>
                    <a:pt x="945" y="1001"/>
                    <a:pt x="941" y="995"/>
                    <a:pt x="931" y="995"/>
                  </a:cubicBezTo>
                  <a:cubicBezTo>
                    <a:pt x="927" y="995"/>
                    <a:pt x="922" y="995"/>
                    <a:pt x="918" y="995"/>
                  </a:cubicBezTo>
                  <a:cubicBezTo>
                    <a:pt x="913" y="995"/>
                    <a:pt x="908" y="997"/>
                    <a:pt x="907" y="1001"/>
                  </a:cubicBezTo>
                  <a:cubicBezTo>
                    <a:pt x="904" y="1008"/>
                    <a:pt x="900" y="1015"/>
                    <a:pt x="899" y="1023"/>
                  </a:cubicBezTo>
                  <a:cubicBezTo>
                    <a:pt x="897" y="1034"/>
                    <a:pt x="893" y="1045"/>
                    <a:pt x="889" y="1055"/>
                  </a:cubicBezTo>
                  <a:cubicBezTo>
                    <a:pt x="887" y="1064"/>
                    <a:pt x="885" y="1072"/>
                    <a:pt x="882" y="1080"/>
                  </a:cubicBezTo>
                  <a:cubicBezTo>
                    <a:pt x="878" y="1091"/>
                    <a:pt x="874" y="1103"/>
                    <a:pt x="871" y="1115"/>
                  </a:cubicBezTo>
                  <a:cubicBezTo>
                    <a:pt x="870" y="1118"/>
                    <a:pt x="871" y="1124"/>
                    <a:pt x="866" y="1124"/>
                  </a:cubicBezTo>
                  <a:cubicBezTo>
                    <a:pt x="861" y="1125"/>
                    <a:pt x="859" y="1120"/>
                    <a:pt x="858" y="1115"/>
                  </a:cubicBezTo>
                  <a:cubicBezTo>
                    <a:pt x="856" y="1110"/>
                    <a:pt x="856" y="1104"/>
                    <a:pt x="854" y="1099"/>
                  </a:cubicBezTo>
                  <a:cubicBezTo>
                    <a:pt x="848" y="1080"/>
                    <a:pt x="841" y="1062"/>
                    <a:pt x="835" y="1044"/>
                  </a:cubicBezTo>
                  <a:cubicBezTo>
                    <a:pt x="831" y="1030"/>
                    <a:pt x="828" y="1016"/>
                    <a:pt x="822" y="1003"/>
                  </a:cubicBezTo>
                  <a:cubicBezTo>
                    <a:pt x="819" y="997"/>
                    <a:pt x="814" y="994"/>
                    <a:pt x="808" y="994"/>
                  </a:cubicBezTo>
                  <a:cubicBezTo>
                    <a:pt x="799" y="993"/>
                    <a:pt x="791" y="993"/>
                    <a:pt x="787" y="1001"/>
                  </a:cubicBezTo>
                  <a:cubicBezTo>
                    <a:pt x="783" y="1008"/>
                    <a:pt x="780" y="1015"/>
                    <a:pt x="779" y="1022"/>
                  </a:cubicBezTo>
                  <a:cubicBezTo>
                    <a:pt x="778" y="1034"/>
                    <a:pt x="772" y="1044"/>
                    <a:pt x="769" y="1055"/>
                  </a:cubicBezTo>
                  <a:cubicBezTo>
                    <a:pt x="762" y="1076"/>
                    <a:pt x="754" y="1096"/>
                    <a:pt x="749" y="1117"/>
                  </a:cubicBezTo>
                  <a:cubicBezTo>
                    <a:pt x="748" y="1120"/>
                    <a:pt x="747" y="1124"/>
                    <a:pt x="742" y="1124"/>
                  </a:cubicBezTo>
                  <a:cubicBezTo>
                    <a:pt x="737" y="1124"/>
                    <a:pt x="737" y="1120"/>
                    <a:pt x="736" y="1116"/>
                  </a:cubicBezTo>
                  <a:cubicBezTo>
                    <a:pt x="734" y="1104"/>
                    <a:pt x="730" y="1092"/>
                    <a:pt x="726" y="1080"/>
                  </a:cubicBezTo>
                  <a:cubicBezTo>
                    <a:pt x="720" y="1061"/>
                    <a:pt x="714" y="1040"/>
                    <a:pt x="708" y="1020"/>
                  </a:cubicBezTo>
                  <a:cubicBezTo>
                    <a:pt x="703" y="1000"/>
                    <a:pt x="698" y="994"/>
                    <a:pt x="676" y="995"/>
                  </a:cubicBezTo>
                  <a:cubicBezTo>
                    <a:pt x="665" y="996"/>
                    <a:pt x="661" y="1001"/>
                    <a:pt x="667" y="1011"/>
                  </a:cubicBezTo>
                  <a:cubicBezTo>
                    <a:pt x="669" y="1016"/>
                    <a:pt x="670" y="1021"/>
                    <a:pt x="672" y="1025"/>
                  </a:cubicBezTo>
                  <a:cubicBezTo>
                    <a:pt x="675" y="1035"/>
                    <a:pt x="678" y="1046"/>
                    <a:pt x="681" y="1055"/>
                  </a:cubicBezTo>
                  <a:cubicBezTo>
                    <a:pt x="685" y="1068"/>
                    <a:pt x="689" y="1080"/>
                    <a:pt x="693" y="1092"/>
                  </a:cubicBezTo>
                  <a:cubicBezTo>
                    <a:pt x="697" y="1103"/>
                    <a:pt x="699" y="1113"/>
                    <a:pt x="703" y="1124"/>
                  </a:cubicBezTo>
                  <a:cubicBezTo>
                    <a:pt x="707" y="1136"/>
                    <a:pt x="711" y="1147"/>
                    <a:pt x="715" y="1160"/>
                  </a:cubicBezTo>
                  <a:cubicBezTo>
                    <a:pt x="717" y="1168"/>
                    <a:pt x="720" y="1176"/>
                    <a:pt x="724" y="1183"/>
                  </a:cubicBezTo>
                  <a:cubicBezTo>
                    <a:pt x="728" y="1189"/>
                    <a:pt x="752" y="1185"/>
                    <a:pt x="757" y="1180"/>
                  </a:cubicBezTo>
                  <a:cubicBezTo>
                    <a:pt x="764" y="1173"/>
                    <a:pt x="762" y="1163"/>
                    <a:pt x="766" y="1156"/>
                  </a:cubicBezTo>
                  <a:cubicBezTo>
                    <a:pt x="774" y="1140"/>
                    <a:pt x="778" y="1122"/>
                    <a:pt x="784" y="1105"/>
                  </a:cubicBezTo>
                  <a:cubicBezTo>
                    <a:pt x="789" y="1088"/>
                    <a:pt x="796" y="1072"/>
                    <a:pt x="800" y="1054"/>
                  </a:cubicBezTo>
                  <a:cubicBezTo>
                    <a:pt x="800" y="1053"/>
                    <a:pt x="801" y="1050"/>
                    <a:pt x="803" y="1050"/>
                  </a:cubicBezTo>
                  <a:cubicBezTo>
                    <a:pt x="806" y="1050"/>
                    <a:pt x="806" y="1052"/>
                    <a:pt x="807" y="1055"/>
                  </a:cubicBezTo>
                  <a:cubicBezTo>
                    <a:pt x="807" y="1060"/>
                    <a:pt x="810" y="1066"/>
                    <a:pt x="811" y="1071"/>
                  </a:cubicBezTo>
                  <a:cubicBezTo>
                    <a:pt x="814" y="1081"/>
                    <a:pt x="818" y="1090"/>
                    <a:pt x="821" y="1099"/>
                  </a:cubicBezTo>
                  <a:cubicBezTo>
                    <a:pt x="824" y="1110"/>
                    <a:pt x="827" y="1120"/>
                    <a:pt x="831" y="1131"/>
                  </a:cubicBezTo>
                  <a:cubicBezTo>
                    <a:pt x="834" y="1142"/>
                    <a:pt x="839" y="1153"/>
                    <a:pt x="842" y="1164"/>
                  </a:cubicBezTo>
                  <a:cubicBezTo>
                    <a:pt x="846" y="1179"/>
                    <a:pt x="850" y="1188"/>
                    <a:pt x="869" y="1185"/>
                  </a:cubicBezTo>
                  <a:cubicBezTo>
                    <a:pt x="873" y="1184"/>
                    <a:pt x="881" y="1189"/>
                    <a:pt x="884" y="1181"/>
                  </a:cubicBezTo>
                  <a:close/>
                  <a:moveTo>
                    <a:pt x="33" y="1051"/>
                  </a:moveTo>
                  <a:cubicBezTo>
                    <a:pt x="33" y="1087"/>
                    <a:pt x="33" y="1124"/>
                    <a:pt x="33" y="1160"/>
                  </a:cubicBezTo>
                  <a:cubicBezTo>
                    <a:pt x="33" y="1188"/>
                    <a:pt x="29" y="1184"/>
                    <a:pt x="58" y="1185"/>
                  </a:cubicBezTo>
                  <a:cubicBezTo>
                    <a:pt x="72" y="1185"/>
                    <a:pt x="73" y="1184"/>
                    <a:pt x="73" y="1170"/>
                  </a:cubicBezTo>
                  <a:cubicBezTo>
                    <a:pt x="73" y="1138"/>
                    <a:pt x="73" y="1107"/>
                    <a:pt x="73" y="1076"/>
                  </a:cubicBezTo>
                  <a:cubicBezTo>
                    <a:pt x="73" y="1071"/>
                    <a:pt x="72" y="1067"/>
                    <a:pt x="78" y="1065"/>
                  </a:cubicBezTo>
                  <a:cubicBezTo>
                    <a:pt x="91" y="1062"/>
                    <a:pt x="102" y="1067"/>
                    <a:pt x="110" y="1076"/>
                  </a:cubicBezTo>
                  <a:cubicBezTo>
                    <a:pt x="112" y="1080"/>
                    <a:pt x="115" y="1083"/>
                    <a:pt x="118" y="1086"/>
                  </a:cubicBezTo>
                  <a:cubicBezTo>
                    <a:pt x="132" y="1103"/>
                    <a:pt x="146" y="1119"/>
                    <a:pt x="161" y="1136"/>
                  </a:cubicBezTo>
                  <a:cubicBezTo>
                    <a:pt x="173" y="1150"/>
                    <a:pt x="186" y="1165"/>
                    <a:pt x="198" y="1179"/>
                  </a:cubicBezTo>
                  <a:cubicBezTo>
                    <a:pt x="207" y="1188"/>
                    <a:pt x="218" y="1184"/>
                    <a:pt x="228" y="1185"/>
                  </a:cubicBezTo>
                  <a:cubicBezTo>
                    <a:pt x="233" y="1185"/>
                    <a:pt x="241" y="1188"/>
                    <a:pt x="244" y="1182"/>
                  </a:cubicBezTo>
                  <a:cubicBezTo>
                    <a:pt x="246" y="1178"/>
                    <a:pt x="239" y="1173"/>
                    <a:pt x="235" y="1169"/>
                  </a:cubicBezTo>
                  <a:cubicBezTo>
                    <a:pt x="206" y="1133"/>
                    <a:pt x="176" y="1098"/>
                    <a:pt x="146" y="1062"/>
                  </a:cubicBezTo>
                  <a:cubicBezTo>
                    <a:pt x="141" y="1056"/>
                    <a:pt x="131" y="1052"/>
                    <a:pt x="132" y="1044"/>
                  </a:cubicBezTo>
                  <a:cubicBezTo>
                    <a:pt x="132" y="1036"/>
                    <a:pt x="142" y="1032"/>
                    <a:pt x="147" y="1026"/>
                  </a:cubicBezTo>
                  <a:cubicBezTo>
                    <a:pt x="164" y="1006"/>
                    <a:pt x="182" y="988"/>
                    <a:pt x="198" y="968"/>
                  </a:cubicBezTo>
                  <a:cubicBezTo>
                    <a:pt x="209" y="954"/>
                    <a:pt x="221" y="942"/>
                    <a:pt x="234" y="929"/>
                  </a:cubicBezTo>
                  <a:cubicBezTo>
                    <a:pt x="236" y="926"/>
                    <a:pt x="238" y="923"/>
                    <a:pt x="237" y="920"/>
                  </a:cubicBezTo>
                  <a:cubicBezTo>
                    <a:pt x="235" y="915"/>
                    <a:pt x="231" y="917"/>
                    <a:pt x="228" y="917"/>
                  </a:cubicBezTo>
                  <a:cubicBezTo>
                    <a:pt x="224" y="918"/>
                    <a:pt x="221" y="918"/>
                    <a:pt x="217" y="918"/>
                  </a:cubicBezTo>
                  <a:cubicBezTo>
                    <a:pt x="204" y="917"/>
                    <a:pt x="193" y="922"/>
                    <a:pt x="185" y="931"/>
                  </a:cubicBezTo>
                  <a:cubicBezTo>
                    <a:pt x="172" y="946"/>
                    <a:pt x="158" y="961"/>
                    <a:pt x="145" y="977"/>
                  </a:cubicBezTo>
                  <a:cubicBezTo>
                    <a:pt x="131" y="993"/>
                    <a:pt x="117" y="1010"/>
                    <a:pt x="102" y="1026"/>
                  </a:cubicBezTo>
                  <a:cubicBezTo>
                    <a:pt x="96" y="1032"/>
                    <a:pt x="87" y="1037"/>
                    <a:pt x="78" y="1034"/>
                  </a:cubicBezTo>
                  <a:cubicBezTo>
                    <a:pt x="70" y="1030"/>
                    <a:pt x="73" y="1021"/>
                    <a:pt x="73" y="1015"/>
                  </a:cubicBezTo>
                  <a:cubicBezTo>
                    <a:pt x="73" y="991"/>
                    <a:pt x="73" y="967"/>
                    <a:pt x="73" y="944"/>
                  </a:cubicBezTo>
                  <a:cubicBezTo>
                    <a:pt x="73" y="916"/>
                    <a:pt x="75" y="917"/>
                    <a:pt x="46" y="918"/>
                  </a:cubicBezTo>
                  <a:cubicBezTo>
                    <a:pt x="33" y="918"/>
                    <a:pt x="33" y="918"/>
                    <a:pt x="33" y="931"/>
                  </a:cubicBezTo>
                  <a:cubicBezTo>
                    <a:pt x="33" y="971"/>
                    <a:pt x="33" y="1011"/>
                    <a:pt x="33" y="1051"/>
                  </a:cubicBezTo>
                  <a:cubicBezTo>
                    <a:pt x="33" y="1051"/>
                    <a:pt x="33" y="1051"/>
                    <a:pt x="33" y="1051"/>
                  </a:cubicBezTo>
                  <a:close/>
                  <a:moveTo>
                    <a:pt x="639" y="84"/>
                  </a:moveTo>
                  <a:cubicBezTo>
                    <a:pt x="627" y="84"/>
                    <a:pt x="626" y="84"/>
                    <a:pt x="629" y="95"/>
                  </a:cubicBezTo>
                  <a:cubicBezTo>
                    <a:pt x="634" y="113"/>
                    <a:pt x="640" y="131"/>
                    <a:pt x="646" y="148"/>
                  </a:cubicBezTo>
                  <a:cubicBezTo>
                    <a:pt x="652" y="166"/>
                    <a:pt x="658" y="185"/>
                    <a:pt x="664" y="203"/>
                  </a:cubicBezTo>
                  <a:cubicBezTo>
                    <a:pt x="671" y="223"/>
                    <a:pt x="676" y="244"/>
                    <a:pt x="684" y="264"/>
                  </a:cubicBezTo>
                  <a:cubicBezTo>
                    <a:pt x="688" y="274"/>
                    <a:pt x="694" y="274"/>
                    <a:pt x="702" y="274"/>
                  </a:cubicBezTo>
                  <a:cubicBezTo>
                    <a:pt x="711" y="274"/>
                    <a:pt x="719" y="272"/>
                    <a:pt x="723" y="263"/>
                  </a:cubicBezTo>
                  <a:cubicBezTo>
                    <a:pt x="733" y="236"/>
                    <a:pt x="741" y="208"/>
                    <a:pt x="750" y="181"/>
                  </a:cubicBezTo>
                  <a:cubicBezTo>
                    <a:pt x="754" y="169"/>
                    <a:pt x="757" y="156"/>
                    <a:pt x="763" y="145"/>
                  </a:cubicBezTo>
                  <a:cubicBezTo>
                    <a:pt x="764" y="143"/>
                    <a:pt x="764" y="140"/>
                    <a:pt x="767" y="140"/>
                  </a:cubicBezTo>
                  <a:cubicBezTo>
                    <a:pt x="770" y="140"/>
                    <a:pt x="770" y="143"/>
                    <a:pt x="771" y="145"/>
                  </a:cubicBezTo>
                  <a:cubicBezTo>
                    <a:pt x="771" y="156"/>
                    <a:pt x="777" y="165"/>
                    <a:pt x="780" y="175"/>
                  </a:cubicBezTo>
                  <a:cubicBezTo>
                    <a:pt x="782" y="184"/>
                    <a:pt x="785" y="193"/>
                    <a:pt x="788" y="201"/>
                  </a:cubicBezTo>
                  <a:cubicBezTo>
                    <a:pt x="794" y="219"/>
                    <a:pt x="801" y="237"/>
                    <a:pt x="806" y="255"/>
                  </a:cubicBezTo>
                  <a:cubicBezTo>
                    <a:pt x="811" y="272"/>
                    <a:pt x="825" y="280"/>
                    <a:pt x="842" y="273"/>
                  </a:cubicBezTo>
                  <a:cubicBezTo>
                    <a:pt x="845" y="271"/>
                    <a:pt x="847" y="269"/>
                    <a:pt x="848" y="266"/>
                  </a:cubicBezTo>
                  <a:cubicBezTo>
                    <a:pt x="853" y="251"/>
                    <a:pt x="859" y="236"/>
                    <a:pt x="863" y="221"/>
                  </a:cubicBezTo>
                  <a:cubicBezTo>
                    <a:pt x="867" y="202"/>
                    <a:pt x="875" y="185"/>
                    <a:pt x="880" y="166"/>
                  </a:cubicBezTo>
                  <a:cubicBezTo>
                    <a:pt x="886" y="144"/>
                    <a:pt x="895" y="123"/>
                    <a:pt x="900" y="101"/>
                  </a:cubicBezTo>
                  <a:cubicBezTo>
                    <a:pt x="901" y="96"/>
                    <a:pt x="909" y="91"/>
                    <a:pt x="904" y="86"/>
                  </a:cubicBezTo>
                  <a:cubicBezTo>
                    <a:pt x="900" y="81"/>
                    <a:pt x="892" y="84"/>
                    <a:pt x="886" y="84"/>
                  </a:cubicBezTo>
                  <a:cubicBezTo>
                    <a:pt x="885" y="84"/>
                    <a:pt x="883" y="84"/>
                    <a:pt x="881" y="84"/>
                  </a:cubicBezTo>
                  <a:cubicBezTo>
                    <a:pt x="875" y="84"/>
                    <a:pt x="872" y="86"/>
                    <a:pt x="869" y="91"/>
                  </a:cubicBezTo>
                  <a:cubicBezTo>
                    <a:pt x="860" y="110"/>
                    <a:pt x="856" y="131"/>
                    <a:pt x="850" y="151"/>
                  </a:cubicBezTo>
                  <a:cubicBezTo>
                    <a:pt x="844" y="170"/>
                    <a:pt x="836" y="188"/>
                    <a:pt x="834" y="208"/>
                  </a:cubicBezTo>
                  <a:cubicBezTo>
                    <a:pt x="833" y="211"/>
                    <a:pt x="831" y="214"/>
                    <a:pt x="827" y="214"/>
                  </a:cubicBezTo>
                  <a:cubicBezTo>
                    <a:pt x="823" y="214"/>
                    <a:pt x="822" y="210"/>
                    <a:pt x="822" y="207"/>
                  </a:cubicBezTo>
                  <a:cubicBezTo>
                    <a:pt x="817" y="188"/>
                    <a:pt x="811" y="170"/>
                    <a:pt x="805" y="152"/>
                  </a:cubicBezTo>
                  <a:cubicBezTo>
                    <a:pt x="799" y="133"/>
                    <a:pt x="794" y="114"/>
                    <a:pt x="786" y="96"/>
                  </a:cubicBezTo>
                  <a:cubicBezTo>
                    <a:pt x="783" y="87"/>
                    <a:pt x="779" y="84"/>
                    <a:pt x="770" y="84"/>
                  </a:cubicBezTo>
                  <a:cubicBezTo>
                    <a:pt x="761" y="84"/>
                    <a:pt x="752" y="82"/>
                    <a:pt x="748" y="94"/>
                  </a:cubicBezTo>
                  <a:cubicBezTo>
                    <a:pt x="744" y="109"/>
                    <a:pt x="738" y="123"/>
                    <a:pt x="734" y="138"/>
                  </a:cubicBezTo>
                  <a:cubicBezTo>
                    <a:pt x="729" y="153"/>
                    <a:pt x="724" y="167"/>
                    <a:pt x="719" y="182"/>
                  </a:cubicBezTo>
                  <a:cubicBezTo>
                    <a:pt x="716" y="192"/>
                    <a:pt x="715" y="203"/>
                    <a:pt x="708" y="212"/>
                  </a:cubicBezTo>
                  <a:cubicBezTo>
                    <a:pt x="707" y="214"/>
                    <a:pt x="707" y="217"/>
                    <a:pt x="704" y="217"/>
                  </a:cubicBezTo>
                  <a:cubicBezTo>
                    <a:pt x="701" y="217"/>
                    <a:pt x="701" y="213"/>
                    <a:pt x="700" y="211"/>
                  </a:cubicBezTo>
                  <a:cubicBezTo>
                    <a:pt x="699" y="198"/>
                    <a:pt x="694" y="186"/>
                    <a:pt x="690" y="174"/>
                  </a:cubicBezTo>
                  <a:cubicBezTo>
                    <a:pt x="684" y="153"/>
                    <a:pt x="677" y="131"/>
                    <a:pt x="672" y="110"/>
                  </a:cubicBezTo>
                  <a:cubicBezTo>
                    <a:pt x="667" y="88"/>
                    <a:pt x="663" y="84"/>
                    <a:pt x="645" y="84"/>
                  </a:cubicBezTo>
                  <a:cubicBezTo>
                    <a:pt x="643" y="84"/>
                    <a:pt x="641" y="84"/>
                    <a:pt x="639" y="84"/>
                  </a:cubicBezTo>
                  <a:close/>
                  <a:moveTo>
                    <a:pt x="507" y="711"/>
                  </a:moveTo>
                  <a:cubicBezTo>
                    <a:pt x="507" y="730"/>
                    <a:pt x="507" y="730"/>
                    <a:pt x="526" y="730"/>
                  </a:cubicBezTo>
                  <a:cubicBezTo>
                    <a:pt x="539" y="730"/>
                    <a:pt x="541" y="729"/>
                    <a:pt x="541" y="715"/>
                  </a:cubicBezTo>
                  <a:cubicBezTo>
                    <a:pt x="541" y="677"/>
                    <a:pt x="541" y="638"/>
                    <a:pt x="540" y="600"/>
                  </a:cubicBezTo>
                  <a:cubicBezTo>
                    <a:pt x="540" y="593"/>
                    <a:pt x="543" y="587"/>
                    <a:pt x="548" y="582"/>
                  </a:cubicBezTo>
                  <a:cubicBezTo>
                    <a:pt x="553" y="576"/>
                    <a:pt x="559" y="573"/>
                    <a:pt x="564" y="569"/>
                  </a:cubicBezTo>
                  <a:cubicBezTo>
                    <a:pt x="574" y="564"/>
                    <a:pt x="594" y="566"/>
                    <a:pt x="602" y="574"/>
                  </a:cubicBezTo>
                  <a:cubicBezTo>
                    <a:pt x="611" y="582"/>
                    <a:pt x="614" y="592"/>
                    <a:pt x="614" y="604"/>
                  </a:cubicBezTo>
                  <a:cubicBezTo>
                    <a:pt x="614" y="638"/>
                    <a:pt x="614" y="672"/>
                    <a:pt x="614" y="706"/>
                  </a:cubicBezTo>
                  <a:cubicBezTo>
                    <a:pt x="614" y="730"/>
                    <a:pt x="614" y="730"/>
                    <a:pt x="638" y="730"/>
                  </a:cubicBezTo>
                  <a:cubicBezTo>
                    <a:pt x="650" y="730"/>
                    <a:pt x="650" y="730"/>
                    <a:pt x="650" y="717"/>
                  </a:cubicBezTo>
                  <a:cubicBezTo>
                    <a:pt x="650" y="684"/>
                    <a:pt x="650" y="650"/>
                    <a:pt x="650" y="617"/>
                  </a:cubicBezTo>
                  <a:cubicBezTo>
                    <a:pt x="650" y="606"/>
                    <a:pt x="651" y="597"/>
                    <a:pt x="657" y="586"/>
                  </a:cubicBezTo>
                  <a:cubicBezTo>
                    <a:pt x="667" y="565"/>
                    <a:pt x="703" y="560"/>
                    <a:pt x="716" y="579"/>
                  </a:cubicBezTo>
                  <a:cubicBezTo>
                    <a:pt x="723" y="588"/>
                    <a:pt x="724" y="598"/>
                    <a:pt x="724" y="609"/>
                  </a:cubicBezTo>
                  <a:cubicBezTo>
                    <a:pt x="724" y="645"/>
                    <a:pt x="724" y="682"/>
                    <a:pt x="724" y="718"/>
                  </a:cubicBezTo>
                  <a:cubicBezTo>
                    <a:pt x="724" y="727"/>
                    <a:pt x="727" y="731"/>
                    <a:pt x="736" y="730"/>
                  </a:cubicBezTo>
                  <a:cubicBezTo>
                    <a:pt x="738" y="730"/>
                    <a:pt x="741" y="730"/>
                    <a:pt x="743" y="730"/>
                  </a:cubicBezTo>
                  <a:cubicBezTo>
                    <a:pt x="758" y="730"/>
                    <a:pt x="759" y="729"/>
                    <a:pt x="759" y="715"/>
                  </a:cubicBezTo>
                  <a:cubicBezTo>
                    <a:pt x="759" y="677"/>
                    <a:pt x="758" y="639"/>
                    <a:pt x="759" y="601"/>
                  </a:cubicBezTo>
                  <a:cubicBezTo>
                    <a:pt x="759" y="571"/>
                    <a:pt x="742" y="540"/>
                    <a:pt x="704" y="538"/>
                  </a:cubicBezTo>
                  <a:cubicBezTo>
                    <a:pt x="681" y="536"/>
                    <a:pt x="661" y="542"/>
                    <a:pt x="646" y="560"/>
                  </a:cubicBezTo>
                  <a:cubicBezTo>
                    <a:pt x="638" y="569"/>
                    <a:pt x="638" y="569"/>
                    <a:pt x="631" y="559"/>
                  </a:cubicBezTo>
                  <a:cubicBezTo>
                    <a:pt x="630" y="558"/>
                    <a:pt x="630" y="557"/>
                    <a:pt x="629" y="556"/>
                  </a:cubicBezTo>
                  <a:cubicBezTo>
                    <a:pt x="623" y="548"/>
                    <a:pt x="616" y="541"/>
                    <a:pt x="607" y="539"/>
                  </a:cubicBezTo>
                  <a:cubicBezTo>
                    <a:pt x="584" y="534"/>
                    <a:pt x="563" y="539"/>
                    <a:pt x="545" y="555"/>
                  </a:cubicBezTo>
                  <a:cubicBezTo>
                    <a:pt x="540" y="559"/>
                    <a:pt x="537" y="561"/>
                    <a:pt x="537" y="552"/>
                  </a:cubicBezTo>
                  <a:cubicBezTo>
                    <a:pt x="536" y="543"/>
                    <a:pt x="526" y="538"/>
                    <a:pt x="515" y="539"/>
                  </a:cubicBezTo>
                  <a:cubicBezTo>
                    <a:pt x="506" y="540"/>
                    <a:pt x="507" y="546"/>
                    <a:pt x="507" y="552"/>
                  </a:cubicBezTo>
                  <a:cubicBezTo>
                    <a:pt x="507" y="580"/>
                    <a:pt x="507" y="607"/>
                    <a:pt x="507" y="634"/>
                  </a:cubicBezTo>
                  <a:cubicBezTo>
                    <a:pt x="507" y="660"/>
                    <a:pt x="507" y="685"/>
                    <a:pt x="507" y="711"/>
                  </a:cubicBezTo>
                  <a:close/>
                  <a:moveTo>
                    <a:pt x="1525" y="1142"/>
                  </a:moveTo>
                  <a:cubicBezTo>
                    <a:pt x="1517" y="1143"/>
                    <a:pt x="1511" y="1141"/>
                    <a:pt x="1505" y="1136"/>
                  </a:cubicBezTo>
                  <a:cubicBezTo>
                    <a:pt x="1501" y="1133"/>
                    <a:pt x="1495" y="1130"/>
                    <a:pt x="1498" y="1124"/>
                  </a:cubicBezTo>
                  <a:cubicBezTo>
                    <a:pt x="1500" y="1118"/>
                    <a:pt x="1504" y="1114"/>
                    <a:pt x="1512" y="1114"/>
                  </a:cubicBezTo>
                  <a:cubicBezTo>
                    <a:pt x="1521" y="1115"/>
                    <a:pt x="1530" y="1114"/>
                    <a:pt x="1538" y="1115"/>
                  </a:cubicBezTo>
                  <a:cubicBezTo>
                    <a:pt x="1573" y="1117"/>
                    <a:pt x="1610" y="1084"/>
                    <a:pt x="1602" y="1044"/>
                  </a:cubicBezTo>
                  <a:cubicBezTo>
                    <a:pt x="1600" y="1035"/>
                    <a:pt x="1599" y="1028"/>
                    <a:pt x="1611" y="1027"/>
                  </a:cubicBezTo>
                  <a:cubicBezTo>
                    <a:pt x="1614" y="1027"/>
                    <a:pt x="1617" y="1024"/>
                    <a:pt x="1619" y="1023"/>
                  </a:cubicBezTo>
                  <a:cubicBezTo>
                    <a:pt x="1626" y="1019"/>
                    <a:pt x="1624" y="1013"/>
                    <a:pt x="1623" y="1008"/>
                  </a:cubicBezTo>
                  <a:cubicBezTo>
                    <a:pt x="1623" y="1002"/>
                    <a:pt x="1618" y="1003"/>
                    <a:pt x="1613" y="1002"/>
                  </a:cubicBezTo>
                  <a:cubicBezTo>
                    <a:pt x="1598" y="1002"/>
                    <a:pt x="1582" y="1004"/>
                    <a:pt x="1567" y="1000"/>
                  </a:cubicBezTo>
                  <a:cubicBezTo>
                    <a:pt x="1560" y="999"/>
                    <a:pt x="1554" y="993"/>
                    <a:pt x="1546" y="993"/>
                  </a:cubicBezTo>
                  <a:cubicBezTo>
                    <a:pt x="1536" y="994"/>
                    <a:pt x="1525" y="992"/>
                    <a:pt x="1515" y="993"/>
                  </a:cubicBezTo>
                  <a:cubicBezTo>
                    <a:pt x="1490" y="997"/>
                    <a:pt x="1469" y="1010"/>
                    <a:pt x="1462" y="1034"/>
                  </a:cubicBezTo>
                  <a:cubicBezTo>
                    <a:pt x="1455" y="1056"/>
                    <a:pt x="1457" y="1079"/>
                    <a:pt x="1476" y="1096"/>
                  </a:cubicBezTo>
                  <a:cubicBezTo>
                    <a:pt x="1483" y="1103"/>
                    <a:pt x="1483" y="1107"/>
                    <a:pt x="1476" y="1113"/>
                  </a:cubicBezTo>
                  <a:cubicBezTo>
                    <a:pt x="1462" y="1126"/>
                    <a:pt x="1462" y="1142"/>
                    <a:pt x="1473" y="1157"/>
                  </a:cubicBezTo>
                  <a:cubicBezTo>
                    <a:pt x="1476" y="1160"/>
                    <a:pt x="1476" y="1162"/>
                    <a:pt x="1472" y="1164"/>
                  </a:cubicBezTo>
                  <a:cubicBezTo>
                    <a:pt x="1470" y="1166"/>
                    <a:pt x="1468" y="1168"/>
                    <a:pt x="1466" y="1170"/>
                  </a:cubicBezTo>
                  <a:cubicBezTo>
                    <a:pt x="1449" y="1183"/>
                    <a:pt x="1444" y="1201"/>
                    <a:pt x="1454" y="1218"/>
                  </a:cubicBezTo>
                  <a:cubicBezTo>
                    <a:pt x="1464" y="1235"/>
                    <a:pt x="1479" y="1246"/>
                    <a:pt x="1499" y="1249"/>
                  </a:cubicBezTo>
                  <a:cubicBezTo>
                    <a:pt x="1517" y="1252"/>
                    <a:pt x="1535" y="1253"/>
                    <a:pt x="1553" y="1250"/>
                  </a:cubicBezTo>
                  <a:cubicBezTo>
                    <a:pt x="1584" y="1245"/>
                    <a:pt x="1607" y="1232"/>
                    <a:pt x="1619" y="1200"/>
                  </a:cubicBezTo>
                  <a:cubicBezTo>
                    <a:pt x="1627" y="1180"/>
                    <a:pt x="1611" y="1155"/>
                    <a:pt x="1593" y="1148"/>
                  </a:cubicBezTo>
                  <a:cubicBezTo>
                    <a:pt x="1578" y="1142"/>
                    <a:pt x="1563" y="1143"/>
                    <a:pt x="1549" y="1142"/>
                  </a:cubicBezTo>
                  <a:cubicBezTo>
                    <a:pt x="1540" y="1142"/>
                    <a:pt x="1532" y="1142"/>
                    <a:pt x="1525" y="1142"/>
                  </a:cubicBezTo>
                  <a:close/>
                  <a:moveTo>
                    <a:pt x="1556" y="1172"/>
                  </a:moveTo>
                  <a:cubicBezTo>
                    <a:pt x="1566" y="1172"/>
                    <a:pt x="1576" y="1176"/>
                    <a:pt x="1583" y="1183"/>
                  </a:cubicBezTo>
                  <a:cubicBezTo>
                    <a:pt x="1589" y="1190"/>
                    <a:pt x="1589" y="1198"/>
                    <a:pt x="1583" y="1205"/>
                  </a:cubicBezTo>
                  <a:cubicBezTo>
                    <a:pt x="1575" y="1215"/>
                    <a:pt x="1565" y="1220"/>
                    <a:pt x="1553" y="1223"/>
                  </a:cubicBezTo>
                  <a:cubicBezTo>
                    <a:pt x="1534" y="1228"/>
                    <a:pt x="1516" y="1225"/>
                    <a:pt x="1499" y="1219"/>
                  </a:cubicBezTo>
                  <a:cubicBezTo>
                    <a:pt x="1486" y="1214"/>
                    <a:pt x="1479" y="1203"/>
                    <a:pt x="1482" y="1193"/>
                  </a:cubicBezTo>
                  <a:cubicBezTo>
                    <a:pt x="1485" y="1182"/>
                    <a:pt x="1496" y="1168"/>
                    <a:pt x="1514" y="1171"/>
                  </a:cubicBezTo>
                  <a:cubicBezTo>
                    <a:pt x="1526" y="1173"/>
                    <a:pt x="1541" y="1171"/>
                    <a:pt x="1556" y="1172"/>
                  </a:cubicBezTo>
                  <a:close/>
                  <a:moveTo>
                    <a:pt x="1531" y="1019"/>
                  </a:moveTo>
                  <a:cubicBezTo>
                    <a:pt x="1553" y="1017"/>
                    <a:pt x="1570" y="1033"/>
                    <a:pt x="1570" y="1052"/>
                  </a:cubicBezTo>
                  <a:cubicBezTo>
                    <a:pt x="1570" y="1075"/>
                    <a:pt x="1554" y="1093"/>
                    <a:pt x="1532" y="1091"/>
                  </a:cubicBezTo>
                  <a:cubicBezTo>
                    <a:pt x="1508" y="1089"/>
                    <a:pt x="1494" y="1082"/>
                    <a:pt x="1493" y="1053"/>
                  </a:cubicBezTo>
                  <a:cubicBezTo>
                    <a:pt x="1494" y="1029"/>
                    <a:pt x="1508" y="1020"/>
                    <a:pt x="1531" y="1019"/>
                  </a:cubicBezTo>
                  <a:close/>
                  <a:moveTo>
                    <a:pt x="1413" y="934"/>
                  </a:moveTo>
                  <a:cubicBezTo>
                    <a:pt x="1413" y="909"/>
                    <a:pt x="1413" y="909"/>
                    <a:pt x="1389" y="910"/>
                  </a:cubicBezTo>
                  <a:cubicBezTo>
                    <a:pt x="1388" y="910"/>
                    <a:pt x="1387" y="910"/>
                    <a:pt x="1387" y="910"/>
                  </a:cubicBezTo>
                  <a:cubicBezTo>
                    <a:pt x="1379" y="910"/>
                    <a:pt x="1376" y="915"/>
                    <a:pt x="1376" y="921"/>
                  </a:cubicBezTo>
                  <a:cubicBezTo>
                    <a:pt x="1376" y="939"/>
                    <a:pt x="1377" y="956"/>
                    <a:pt x="1377" y="974"/>
                  </a:cubicBezTo>
                  <a:cubicBezTo>
                    <a:pt x="1377" y="983"/>
                    <a:pt x="1377" y="991"/>
                    <a:pt x="1377" y="1000"/>
                  </a:cubicBezTo>
                  <a:cubicBezTo>
                    <a:pt x="1377" y="1005"/>
                    <a:pt x="1374" y="1009"/>
                    <a:pt x="1369" y="1005"/>
                  </a:cubicBezTo>
                  <a:cubicBezTo>
                    <a:pt x="1352" y="990"/>
                    <a:pt x="1332" y="993"/>
                    <a:pt x="1312" y="993"/>
                  </a:cubicBezTo>
                  <a:cubicBezTo>
                    <a:pt x="1303" y="994"/>
                    <a:pt x="1294" y="998"/>
                    <a:pt x="1287" y="1003"/>
                  </a:cubicBezTo>
                  <a:cubicBezTo>
                    <a:pt x="1265" y="1017"/>
                    <a:pt x="1252" y="1039"/>
                    <a:pt x="1248" y="1065"/>
                  </a:cubicBezTo>
                  <a:cubicBezTo>
                    <a:pt x="1244" y="1096"/>
                    <a:pt x="1244" y="1128"/>
                    <a:pt x="1261" y="1157"/>
                  </a:cubicBezTo>
                  <a:cubicBezTo>
                    <a:pt x="1270" y="1170"/>
                    <a:pt x="1281" y="1181"/>
                    <a:pt x="1296" y="1185"/>
                  </a:cubicBezTo>
                  <a:cubicBezTo>
                    <a:pt x="1323" y="1191"/>
                    <a:pt x="1349" y="1188"/>
                    <a:pt x="1370" y="1167"/>
                  </a:cubicBezTo>
                  <a:cubicBezTo>
                    <a:pt x="1372" y="1165"/>
                    <a:pt x="1375" y="1162"/>
                    <a:pt x="1379" y="1163"/>
                  </a:cubicBezTo>
                  <a:cubicBezTo>
                    <a:pt x="1382" y="1165"/>
                    <a:pt x="1381" y="1169"/>
                    <a:pt x="1381" y="1172"/>
                  </a:cubicBezTo>
                  <a:cubicBezTo>
                    <a:pt x="1383" y="1181"/>
                    <a:pt x="1390" y="1186"/>
                    <a:pt x="1403" y="1186"/>
                  </a:cubicBezTo>
                  <a:cubicBezTo>
                    <a:pt x="1413" y="1185"/>
                    <a:pt x="1413" y="1178"/>
                    <a:pt x="1413" y="1172"/>
                  </a:cubicBezTo>
                  <a:cubicBezTo>
                    <a:pt x="1413" y="1131"/>
                    <a:pt x="1413" y="1090"/>
                    <a:pt x="1413" y="1049"/>
                  </a:cubicBezTo>
                  <a:cubicBezTo>
                    <a:pt x="1413" y="1010"/>
                    <a:pt x="1413" y="972"/>
                    <a:pt x="1413" y="934"/>
                  </a:cubicBezTo>
                  <a:close/>
                  <a:moveTo>
                    <a:pt x="1378" y="1113"/>
                  </a:moveTo>
                  <a:cubicBezTo>
                    <a:pt x="1378" y="1136"/>
                    <a:pt x="1360" y="1155"/>
                    <a:pt x="1337" y="1157"/>
                  </a:cubicBezTo>
                  <a:cubicBezTo>
                    <a:pt x="1319" y="1159"/>
                    <a:pt x="1304" y="1154"/>
                    <a:pt x="1294" y="1139"/>
                  </a:cubicBezTo>
                  <a:cubicBezTo>
                    <a:pt x="1286" y="1128"/>
                    <a:pt x="1283" y="1116"/>
                    <a:pt x="1283" y="1102"/>
                  </a:cubicBezTo>
                  <a:cubicBezTo>
                    <a:pt x="1282" y="1085"/>
                    <a:pt x="1282" y="1067"/>
                    <a:pt x="1290" y="1051"/>
                  </a:cubicBezTo>
                  <a:cubicBezTo>
                    <a:pt x="1297" y="1036"/>
                    <a:pt x="1308" y="1024"/>
                    <a:pt x="1325" y="1022"/>
                  </a:cubicBezTo>
                  <a:cubicBezTo>
                    <a:pt x="1342" y="1020"/>
                    <a:pt x="1358" y="1021"/>
                    <a:pt x="1371" y="1035"/>
                  </a:cubicBezTo>
                  <a:cubicBezTo>
                    <a:pt x="1376" y="1041"/>
                    <a:pt x="1378" y="1046"/>
                    <a:pt x="1378" y="1052"/>
                  </a:cubicBezTo>
                  <a:cubicBezTo>
                    <a:pt x="1378" y="1064"/>
                    <a:pt x="1378" y="1075"/>
                    <a:pt x="1378" y="1086"/>
                  </a:cubicBezTo>
                  <a:cubicBezTo>
                    <a:pt x="1378" y="1086"/>
                    <a:pt x="1378" y="1086"/>
                    <a:pt x="1378" y="1086"/>
                  </a:cubicBezTo>
                  <a:cubicBezTo>
                    <a:pt x="1378" y="1095"/>
                    <a:pt x="1378" y="1104"/>
                    <a:pt x="1378" y="1113"/>
                  </a:cubicBezTo>
                  <a:close/>
                  <a:moveTo>
                    <a:pt x="578" y="259"/>
                  </a:moveTo>
                  <a:cubicBezTo>
                    <a:pt x="603" y="241"/>
                    <a:pt x="611" y="213"/>
                    <a:pt x="614" y="183"/>
                  </a:cubicBezTo>
                  <a:cubicBezTo>
                    <a:pt x="615" y="171"/>
                    <a:pt x="610" y="159"/>
                    <a:pt x="609" y="147"/>
                  </a:cubicBezTo>
                  <a:cubicBezTo>
                    <a:pt x="608" y="137"/>
                    <a:pt x="603" y="129"/>
                    <a:pt x="599" y="121"/>
                  </a:cubicBezTo>
                  <a:cubicBezTo>
                    <a:pt x="579" y="87"/>
                    <a:pt x="527" y="70"/>
                    <a:pt x="488" y="85"/>
                  </a:cubicBezTo>
                  <a:cubicBezTo>
                    <a:pt x="453" y="99"/>
                    <a:pt x="436" y="127"/>
                    <a:pt x="431" y="163"/>
                  </a:cubicBezTo>
                  <a:cubicBezTo>
                    <a:pt x="429" y="180"/>
                    <a:pt x="430" y="196"/>
                    <a:pt x="436" y="213"/>
                  </a:cubicBezTo>
                  <a:cubicBezTo>
                    <a:pt x="439" y="222"/>
                    <a:pt x="442" y="232"/>
                    <a:pt x="447" y="239"/>
                  </a:cubicBezTo>
                  <a:cubicBezTo>
                    <a:pt x="465" y="265"/>
                    <a:pt x="491" y="277"/>
                    <a:pt x="525" y="276"/>
                  </a:cubicBezTo>
                  <a:cubicBezTo>
                    <a:pt x="543" y="278"/>
                    <a:pt x="562" y="271"/>
                    <a:pt x="578" y="259"/>
                  </a:cubicBezTo>
                  <a:close/>
                  <a:moveTo>
                    <a:pt x="471" y="205"/>
                  </a:moveTo>
                  <a:cubicBezTo>
                    <a:pt x="466" y="185"/>
                    <a:pt x="468" y="167"/>
                    <a:pt x="472" y="147"/>
                  </a:cubicBezTo>
                  <a:cubicBezTo>
                    <a:pt x="477" y="130"/>
                    <a:pt x="493" y="116"/>
                    <a:pt x="509" y="112"/>
                  </a:cubicBezTo>
                  <a:cubicBezTo>
                    <a:pt x="525" y="108"/>
                    <a:pt x="539" y="110"/>
                    <a:pt x="553" y="119"/>
                  </a:cubicBezTo>
                  <a:cubicBezTo>
                    <a:pt x="563" y="125"/>
                    <a:pt x="568" y="135"/>
                    <a:pt x="571" y="146"/>
                  </a:cubicBezTo>
                  <a:cubicBezTo>
                    <a:pt x="577" y="167"/>
                    <a:pt x="578" y="189"/>
                    <a:pt x="571" y="211"/>
                  </a:cubicBezTo>
                  <a:cubicBezTo>
                    <a:pt x="565" y="231"/>
                    <a:pt x="549" y="249"/>
                    <a:pt x="521" y="247"/>
                  </a:cubicBezTo>
                  <a:cubicBezTo>
                    <a:pt x="496" y="247"/>
                    <a:pt x="478" y="230"/>
                    <a:pt x="471" y="205"/>
                  </a:cubicBezTo>
                  <a:close/>
                  <a:moveTo>
                    <a:pt x="472" y="1122"/>
                  </a:moveTo>
                  <a:cubicBezTo>
                    <a:pt x="475" y="1136"/>
                    <a:pt x="481" y="1148"/>
                    <a:pt x="491" y="1158"/>
                  </a:cubicBezTo>
                  <a:cubicBezTo>
                    <a:pt x="506" y="1176"/>
                    <a:pt x="524" y="1185"/>
                    <a:pt x="548" y="1187"/>
                  </a:cubicBezTo>
                  <a:cubicBezTo>
                    <a:pt x="568" y="1188"/>
                    <a:pt x="587" y="1187"/>
                    <a:pt x="605" y="1177"/>
                  </a:cubicBezTo>
                  <a:cubicBezTo>
                    <a:pt x="632" y="1162"/>
                    <a:pt x="644" y="1136"/>
                    <a:pt x="649" y="1107"/>
                  </a:cubicBezTo>
                  <a:cubicBezTo>
                    <a:pt x="652" y="1089"/>
                    <a:pt x="649" y="1072"/>
                    <a:pt x="644" y="1054"/>
                  </a:cubicBezTo>
                  <a:cubicBezTo>
                    <a:pt x="638" y="1034"/>
                    <a:pt x="627" y="1019"/>
                    <a:pt x="610" y="1007"/>
                  </a:cubicBezTo>
                  <a:cubicBezTo>
                    <a:pt x="589" y="992"/>
                    <a:pt x="566" y="991"/>
                    <a:pt x="541" y="994"/>
                  </a:cubicBezTo>
                  <a:cubicBezTo>
                    <a:pt x="526" y="995"/>
                    <a:pt x="512" y="1002"/>
                    <a:pt x="500" y="1012"/>
                  </a:cubicBezTo>
                  <a:cubicBezTo>
                    <a:pt x="476" y="1032"/>
                    <a:pt x="469" y="1060"/>
                    <a:pt x="466" y="1095"/>
                  </a:cubicBezTo>
                  <a:cubicBezTo>
                    <a:pt x="465" y="1101"/>
                    <a:pt x="470" y="1111"/>
                    <a:pt x="472" y="1122"/>
                  </a:cubicBezTo>
                  <a:close/>
                  <a:moveTo>
                    <a:pt x="508" y="1113"/>
                  </a:moveTo>
                  <a:cubicBezTo>
                    <a:pt x="505" y="1095"/>
                    <a:pt x="506" y="1078"/>
                    <a:pt x="508" y="1061"/>
                  </a:cubicBezTo>
                  <a:cubicBezTo>
                    <a:pt x="511" y="1042"/>
                    <a:pt x="538" y="1021"/>
                    <a:pt x="554" y="1022"/>
                  </a:cubicBezTo>
                  <a:cubicBezTo>
                    <a:pt x="570" y="1022"/>
                    <a:pt x="586" y="1024"/>
                    <a:pt x="596" y="1037"/>
                  </a:cubicBezTo>
                  <a:cubicBezTo>
                    <a:pt x="602" y="1044"/>
                    <a:pt x="607" y="1052"/>
                    <a:pt x="608" y="1061"/>
                  </a:cubicBezTo>
                  <a:cubicBezTo>
                    <a:pt x="608" y="1064"/>
                    <a:pt x="609" y="1067"/>
                    <a:pt x="610" y="1070"/>
                  </a:cubicBezTo>
                  <a:cubicBezTo>
                    <a:pt x="618" y="1089"/>
                    <a:pt x="612" y="1107"/>
                    <a:pt x="607" y="1125"/>
                  </a:cubicBezTo>
                  <a:cubicBezTo>
                    <a:pt x="601" y="1143"/>
                    <a:pt x="588" y="1160"/>
                    <a:pt x="558" y="1157"/>
                  </a:cubicBezTo>
                  <a:cubicBezTo>
                    <a:pt x="530" y="1157"/>
                    <a:pt x="512" y="1141"/>
                    <a:pt x="508" y="1113"/>
                  </a:cubicBezTo>
                  <a:close/>
                  <a:moveTo>
                    <a:pt x="430" y="716"/>
                  </a:moveTo>
                  <a:cubicBezTo>
                    <a:pt x="450" y="703"/>
                    <a:pt x="459" y="683"/>
                    <a:pt x="464" y="661"/>
                  </a:cubicBezTo>
                  <a:cubicBezTo>
                    <a:pt x="468" y="648"/>
                    <a:pt x="467" y="635"/>
                    <a:pt x="466" y="621"/>
                  </a:cubicBezTo>
                  <a:cubicBezTo>
                    <a:pt x="463" y="592"/>
                    <a:pt x="453" y="567"/>
                    <a:pt x="427" y="550"/>
                  </a:cubicBezTo>
                  <a:cubicBezTo>
                    <a:pt x="401" y="534"/>
                    <a:pt x="372" y="532"/>
                    <a:pt x="345" y="541"/>
                  </a:cubicBezTo>
                  <a:cubicBezTo>
                    <a:pt x="310" y="552"/>
                    <a:pt x="291" y="580"/>
                    <a:pt x="287" y="617"/>
                  </a:cubicBezTo>
                  <a:cubicBezTo>
                    <a:pt x="286" y="629"/>
                    <a:pt x="286" y="641"/>
                    <a:pt x="287" y="654"/>
                  </a:cubicBezTo>
                  <a:cubicBezTo>
                    <a:pt x="289" y="671"/>
                    <a:pt x="295" y="686"/>
                    <a:pt x="306" y="700"/>
                  </a:cubicBezTo>
                  <a:cubicBezTo>
                    <a:pt x="324" y="722"/>
                    <a:pt x="348" y="733"/>
                    <a:pt x="378" y="731"/>
                  </a:cubicBezTo>
                  <a:cubicBezTo>
                    <a:pt x="396" y="733"/>
                    <a:pt x="414" y="727"/>
                    <a:pt x="430" y="716"/>
                  </a:cubicBezTo>
                  <a:close/>
                  <a:moveTo>
                    <a:pt x="331" y="592"/>
                  </a:moveTo>
                  <a:cubicBezTo>
                    <a:pt x="339" y="580"/>
                    <a:pt x="349" y="569"/>
                    <a:pt x="365" y="567"/>
                  </a:cubicBezTo>
                  <a:cubicBezTo>
                    <a:pt x="387" y="564"/>
                    <a:pt x="406" y="568"/>
                    <a:pt x="419" y="588"/>
                  </a:cubicBezTo>
                  <a:cubicBezTo>
                    <a:pt x="423" y="595"/>
                    <a:pt x="426" y="603"/>
                    <a:pt x="427" y="610"/>
                  </a:cubicBezTo>
                  <a:cubicBezTo>
                    <a:pt x="433" y="635"/>
                    <a:pt x="431" y="661"/>
                    <a:pt x="416" y="684"/>
                  </a:cubicBezTo>
                  <a:cubicBezTo>
                    <a:pt x="403" y="706"/>
                    <a:pt x="362" y="708"/>
                    <a:pt x="345" y="692"/>
                  </a:cubicBezTo>
                  <a:cubicBezTo>
                    <a:pt x="329" y="678"/>
                    <a:pt x="323" y="661"/>
                    <a:pt x="323" y="631"/>
                  </a:cubicBezTo>
                  <a:cubicBezTo>
                    <a:pt x="323" y="619"/>
                    <a:pt x="323" y="605"/>
                    <a:pt x="331" y="592"/>
                  </a:cubicBezTo>
                  <a:close/>
                  <a:moveTo>
                    <a:pt x="1073" y="259"/>
                  </a:moveTo>
                  <a:cubicBezTo>
                    <a:pt x="1073" y="269"/>
                    <a:pt x="1075" y="272"/>
                    <a:pt x="1086" y="272"/>
                  </a:cubicBezTo>
                  <a:cubicBezTo>
                    <a:pt x="1088" y="272"/>
                    <a:pt x="1090" y="272"/>
                    <a:pt x="1092" y="272"/>
                  </a:cubicBezTo>
                  <a:cubicBezTo>
                    <a:pt x="1105" y="272"/>
                    <a:pt x="1106" y="271"/>
                    <a:pt x="1106" y="258"/>
                  </a:cubicBezTo>
                  <a:cubicBezTo>
                    <a:pt x="1106" y="221"/>
                    <a:pt x="1106" y="184"/>
                    <a:pt x="1106" y="147"/>
                  </a:cubicBezTo>
                  <a:cubicBezTo>
                    <a:pt x="1106" y="143"/>
                    <a:pt x="1106" y="140"/>
                    <a:pt x="1107" y="137"/>
                  </a:cubicBezTo>
                  <a:cubicBezTo>
                    <a:pt x="1117" y="117"/>
                    <a:pt x="1157" y="104"/>
                    <a:pt x="1177" y="114"/>
                  </a:cubicBezTo>
                  <a:cubicBezTo>
                    <a:pt x="1179" y="115"/>
                    <a:pt x="1180" y="117"/>
                    <a:pt x="1182" y="118"/>
                  </a:cubicBezTo>
                  <a:cubicBezTo>
                    <a:pt x="1194" y="131"/>
                    <a:pt x="1196" y="147"/>
                    <a:pt x="1196" y="163"/>
                  </a:cubicBezTo>
                  <a:cubicBezTo>
                    <a:pt x="1197" y="195"/>
                    <a:pt x="1196" y="226"/>
                    <a:pt x="1196" y="258"/>
                  </a:cubicBezTo>
                  <a:cubicBezTo>
                    <a:pt x="1196" y="271"/>
                    <a:pt x="1197" y="272"/>
                    <a:pt x="1210" y="272"/>
                  </a:cubicBezTo>
                  <a:cubicBezTo>
                    <a:pt x="1212" y="272"/>
                    <a:pt x="1213" y="272"/>
                    <a:pt x="1215" y="272"/>
                  </a:cubicBezTo>
                  <a:cubicBezTo>
                    <a:pt x="1227" y="272"/>
                    <a:pt x="1229" y="270"/>
                    <a:pt x="1229" y="258"/>
                  </a:cubicBezTo>
                  <a:cubicBezTo>
                    <a:pt x="1229" y="222"/>
                    <a:pt x="1229" y="187"/>
                    <a:pt x="1229" y="151"/>
                  </a:cubicBezTo>
                  <a:cubicBezTo>
                    <a:pt x="1229" y="142"/>
                    <a:pt x="1228" y="132"/>
                    <a:pt x="1225" y="123"/>
                  </a:cubicBezTo>
                  <a:cubicBezTo>
                    <a:pt x="1219" y="105"/>
                    <a:pt x="1208" y="91"/>
                    <a:pt x="1189" y="85"/>
                  </a:cubicBezTo>
                  <a:cubicBezTo>
                    <a:pt x="1173" y="80"/>
                    <a:pt x="1156" y="84"/>
                    <a:pt x="1139" y="84"/>
                  </a:cubicBezTo>
                  <a:cubicBezTo>
                    <a:pt x="1137" y="84"/>
                    <a:pt x="1136" y="86"/>
                    <a:pt x="1134" y="87"/>
                  </a:cubicBezTo>
                  <a:cubicBezTo>
                    <a:pt x="1128" y="91"/>
                    <a:pt x="1121" y="96"/>
                    <a:pt x="1115" y="100"/>
                  </a:cubicBezTo>
                  <a:cubicBezTo>
                    <a:pt x="1113" y="102"/>
                    <a:pt x="1111" y="105"/>
                    <a:pt x="1108" y="103"/>
                  </a:cubicBezTo>
                  <a:cubicBezTo>
                    <a:pt x="1105" y="102"/>
                    <a:pt x="1106" y="98"/>
                    <a:pt x="1106" y="96"/>
                  </a:cubicBezTo>
                  <a:cubicBezTo>
                    <a:pt x="1106" y="69"/>
                    <a:pt x="1106" y="43"/>
                    <a:pt x="1106" y="17"/>
                  </a:cubicBezTo>
                  <a:cubicBezTo>
                    <a:pt x="1106" y="0"/>
                    <a:pt x="1106" y="0"/>
                    <a:pt x="1089" y="0"/>
                  </a:cubicBezTo>
                  <a:cubicBezTo>
                    <a:pt x="1074" y="0"/>
                    <a:pt x="1073" y="1"/>
                    <a:pt x="1073" y="16"/>
                  </a:cubicBezTo>
                  <a:cubicBezTo>
                    <a:pt x="1073" y="56"/>
                    <a:pt x="1073" y="96"/>
                    <a:pt x="1073" y="136"/>
                  </a:cubicBezTo>
                  <a:cubicBezTo>
                    <a:pt x="1073" y="177"/>
                    <a:pt x="1073" y="218"/>
                    <a:pt x="1073" y="259"/>
                  </a:cubicBezTo>
                  <a:close/>
                  <a:moveTo>
                    <a:pt x="1150" y="1092"/>
                  </a:moveTo>
                  <a:cubicBezTo>
                    <a:pt x="1168" y="1092"/>
                    <a:pt x="1186" y="1092"/>
                    <a:pt x="1204" y="1092"/>
                  </a:cubicBezTo>
                  <a:cubicBezTo>
                    <a:pt x="1215" y="1092"/>
                    <a:pt x="1218" y="1087"/>
                    <a:pt x="1219" y="1077"/>
                  </a:cubicBezTo>
                  <a:cubicBezTo>
                    <a:pt x="1220" y="1062"/>
                    <a:pt x="1216" y="1049"/>
                    <a:pt x="1210" y="1036"/>
                  </a:cubicBezTo>
                  <a:cubicBezTo>
                    <a:pt x="1204" y="1020"/>
                    <a:pt x="1193" y="1008"/>
                    <a:pt x="1177" y="1001"/>
                  </a:cubicBezTo>
                  <a:cubicBezTo>
                    <a:pt x="1155" y="992"/>
                    <a:pt x="1133" y="991"/>
                    <a:pt x="1109" y="999"/>
                  </a:cubicBezTo>
                  <a:cubicBezTo>
                    <a:pt x="1079" y="1010"/>
                    <a:pt x="1062" y="1031"/>
                    <a:pt x="1056" y="1061"/>
                  </a:cubicBezTo>
                  <a:cubicBezTo>
                    <a:pt x="1051" y="1090"/>
                    <a:pt x="1052" y="1120"/>
                    <a:pt x="1069" y="1148"/>
                  </a:cubicBezTo>
                  <a:cubicBezTo>
                    <a:pt x="1081" y="1169"/>
                    <a:pt x="1100" y="1180"/>
                    <a:pt x="1122" y="1185"/>
                  </a:cubicBezTo>
                  <a:cubicBezTo>
                    <a:pt x="1149" y="1190"/>
                    <a:pt x="1176" y="1186"/>
                    <a:pt x="1200" y="1171"/>
                  </a:cubicBezTo>
                  <a:cubicBezTo>
                    <a:pt x="1206" y="1168"/>
                    <a:pt x="1213" y="1165"/>
                    <a:pt x="1214" y="1157"/>
                  </a:cubicBezTo>
                  <a:cubicBezTo>
                    <a:pt x="1215" y="1147"/>
                    <a:pt x="1202" y="1139"/>
                    <a:pt x="1193" y="1144"/>
                  </a:cubicBezTo>
                  <a:cubicBezTo>
                    <a:pt x="1187" y="1147"/>
                    <a:pt x="1180" y="1150"/>
                    <a:pt x="1174" y="1153"/>
                  </a:cubicBezTo>
                  <a:cubicBezTo>
                    <a:pt x="1158" y="1161"/>
                    <a:pt x="1140" y="1161"/>
                    <a:pt x="1124" y="1155"/>
                  </a:cubicBezTo>
                  <a:cubicBezTo>
                    <a:pt x="1112" y="1151"/>
                    <a:pt x="1102" y="1142"/>
                    <a:pt x="1096" y="1129"/>
                  </a:cubicBezTo>
                  <a:cubicBezTo>
                    <a:pt x="1092" y="1121"/>
                    <a:pt x="1091" y="1112"/>
                    <a:pt x="1089" y="1104"/>
                  </a:cubicBezTo>
                  <a:cubicBezTo>
                    <a:pt x="1087" y="1093"/>
                    <a:pt x="1087" y="1092"/>
                    <a:pt x="1099" y="1092"/>
                  </a:cubicBezTo>
                  <a:cubicBezTo>
                    <a:pt x="1116" y="1092"/>
                    <a:pt x="1133" y="1092"/>
                    <a:pt x="1150" y="1092"/>
                  </a:cubicBezTo>
                  <a:cubicBezTo>
                    <a:pt x="1150" y="1092"/>
                    <a:pt x="1150" y="1092"/>
                    <a:pt x="1150" y="1092"/>
                  </a:cubicBezTo>
                  <a:close/>
                  <a:moveTo>
                    <a:pt x="1099" y="1070"/>
                  </a:moveTo>
                  <a:cubicBezTo>
                    <a:pt x="1092" y="1071"/>
                    <a:pt x="1089" y="1067"/>
                    <a:pt x="1091" y="1060"/>
                  </a:cubicBezTo>
                  <a:cubicBezTo>
                    <a:pt x="1094" y="1045"/>
                    <a:pt x="1108" y="1023"/>
                    <a:pt x="1128" y="1022"/>
                  </a:cubicBezTo>
                  <a:cubicBezTo>
                    <a:pt x="1142" y="1021"/>
                    <a:pt x="1156" y="1018"/>
                    <a:pt x="1168" y="1029"/>
                  </a:cubicBezTo>
                  <a:cubicBezTo>
                    <a:pt x="1181" y="1038"/>
                    <a:pt x="1185" y="1051"/>
                    <a:pt x="1187" y="1066"/>
                  </a:cubicBezTo>
                  <a:cubicBezTo>
                    <a:pt x="1188" y="1071"/>
                    <a:pt x="1183" y="1070"/>
                    <a:pt x="1180" y="1070"/>
                  </a:cubicBezTo>
                  <a:cubicBezTo>
                    <a:pt x="1166" y="1070"/>
                    <a:pt x="1153" y="1070"/>
                    <a:pt x="1139" y="1070"/>
                  </a:cubicBezTo>
                  <a:cubicBezTo>
                    <a:pt x="1139" y="1070"/>
                    <a:pt x="1139" y="1070"/>
                    <a:pt x="1139" y="1070"/>
                  </a:cubicBezTo>
                  <a:cubicBezTo>
                    <a:pt x="1126" y="1070"/>
                    <a:pt x="1113" y="1070"/>
                    <a:pt x="1099" y="1070"/>
                  </a:cubicBezTo>
                  <a:close/>
                  <a:moveTo>
                    <a:pt x="1741" y="1092"/>
                  </a:moveTo>
                  <a:cubicBezTo>
                    <a:pt x="1759" y="1092"/>
                    <a:pt x="1776" y="1092"/>
                    <a:pt x="1793" y="1092"/>
                  </a:cubicBezTo>
                  <a:cubicBezTo>
                    <a:pt x="1806" y="1092"/>
                    <a:pt x="1808" y="1089"/>
                    <a:pt x="1808" y="1076"/>
                  </a:cubicBezTo>
                  <a:cubicBezTo>
                    <a:pt x="1809" y="1063"/>
                    <a:pt x="1807" y="1051"/>
                    <a:pt x="1802" y="1038"/>
                  </a:cubicBezTo>
                  <a:cubicBezTo>
                    <a:pt x="1794" y="1021"/>
                    <a:pt x="1782" y="1008"/>
                    <a:pt x="1764" y="1000"/>
                  </a:cubicBezTo>
                  <a:cubicBezTo>
                    <a:pt x="1742" y="991"/>
                    <a:pt x="1720" y="991"/>
                    <a:pt x="1698" y="1000"/>
                  </a:cubicBezTo>
                  <a:cubicBezTo>
                    <a:pt x="1681" y="1006"/>
                    <a:pt x="1668" y="1016"/>
                    <a:pt x="1659" y="1031"/>
                  </a:cubicBezTo>
                  <a:cubicBezTo>
                    <a:pt x="1646" y="1050"/>
                    <a:pt x="1643" y="1071"/>
                    <a:pt x="1644" y="1094"/>
                  </a:cubicBezTo>
                  <a:cubicBezTo>
                    <a:pt x="1644" y="1110"/>
                    <a:pt x="1647" y="1127"/>
                    <a:pt x="1655" y="1141"/>
                  </a:cubicBezTo>
                  <a:cubicBezTo>
                    <a:pt x="1669" y="1168"/>
                    <a:pt x="1691" y="1183"/>
                    <a:pt x="1722" y="1186"/>
                  </a:cubicBezTo>
                  <a:cubicBezTo>
                    <a:pt x="1750" y="1188"/>
                    <a:pt x="1775" y="1183"/>
                    <a:pt x="1798" y="1165"/>
                  </a:cubicBezTo>
                  <a:cubicBezTo>
                    <a:pt x="1803" y="1161"/>
                    <a:pt x="1806" y="1157"/>
                    <a:pt x="1802" y="1151"/>
                  </a:cubicBezTo>
                  <a:cubicBezTo>
                    <a:pt x="1798" y="1144"/>
                    <a:pt x="1791" y="1140"/>
                    <a:pt x="1783" y="1144"/>
                  </a:cubicBezTo>
                  <a:cubicBezTo>
                    <a:pt x="1778" y="1147"/>
                    <a:pt x="1771" y="1149"/>
                    <a:pt x="1766" y="1152"/>
                  </a:cubicBezTo>
                  <a:cubicBezTo>
                    <a:pt x="1749" y="1161"/>
                    <a:pt x="1730" y="1162"/>
                    <a:pt x="1714" y="1155"/>
                  </a:cubicBezTo>
                  <a:cubicBezTo>
                    <a:pt x="1692" y="1145"/>
                    <a:pt x="1680" y="1127"/>
                    <a:pt x="1679" y="1102"/>
                  </a:cubicBezTo>
                  <a:cubicBezTo>
                    <a:pt x="1678" y="1095"/>
                    <a:pt x="1681" y="1092"/>
                    <a:pt x="1689" y="1092"/>
                  </a:cubicBezTo>
                  <a:cubicBezTo>
                    <a:pt x="1706" y="1092"/>
                    <a:pt x="1724" y="1092"/>
                    <a:pt x="1741" y="1092"/>
                  </a:cubicBezTo>
                  <a:cubicBezTo>
                    <a:pt x="1741" y="1092"/>
                    <a:pt x="1741" y="1092"/>
                    <a:pt x="1741" y="1092"/>
                  </a:cubicBezTo>
                  <a:close/>
                  <a:moveTo>
                    <a:pt x="1690" y="1070"/>
                  </a:moveTo>
                  <a:cubicBezTo>
                    <a:pt x="1683" y="1071"/>
                    <a:pt x="1680" y="1068"/>
                    <a:pt x="1681" y="1062"/>
                  </a:cubicBezTo>
                  <a:cubicBezTo>
                    <a:pt x="1683" y="1048"/>
                    <a:pt x="1697" y="1024"/>
                    <a:pt x="1716" y="1022"/>
                  </a:cubicBezTo>
                  <a:cubicBezTo>
                    <a:pt x="1731" y="1020"/>
                    <a:pt x="1747" y="1018"/>
                    <a:pt x="1760" y="1030"/>
                  </a:cubicBezTo>
                  <a:cubicBezTo>
                    <a:pt x="1771" y="1038"/>
                    <a:pt x="1775" y="1050"/>
                    <a:pt x="1778" y="1062"/>
                  </a:cubicBezTo>
                  <a:cubicBezTo>
                    <a:pt x="1780" y="1068"/>
                    <a:pt x="1775" y="1070"/>
                    <a:pt x="1769" y="1070"/>
                  </a:cubicBezTo>
                  <a:cubicBezTo>
                    <a:pt x="1756" y="1070"/>
                    <a:pt x="1742" y="1070"/>
                    <a:pt x="1729" y="1070"/>
                  </a:cubicBezTo>
                  <a:cubicBezTo>
                    <a:pt x="1729" y="1070"/>
                    <a:pt x="1729" y="1070"/>
                    <a:pt x="1729" y="1070"/>
                  </a:cubicBezTo>
                  <a:cubicBezTo>
                    <a:pt x="1716" y="1070"/>
                    <a:pt x="1703" y="1070"/>
                    <a:pt x="1690" y="1070"/>
                  </a:cubicBezTo>
                  <a:close/>
                  <a:moveTo>
                    <a:pt x="68" y="581"/>
                  </a:moveTo>
                  <a:cubicBezTo>
                    <a:pt x="68" y="573"/>
                    <a:pt x="70" y="568"/>
                    <a:pt x="80" y="569"/>
                  </a:cubicBezTo>
                  <a:cubicBezTo>
                    <a:pt x="90" y="570"/>
                    <a:pt x="101" y="570"/>
                    <a:pt x="111" y="569"/>
                  </a:cubicBezTo>
                  <a:cubicBezTo>
                    <a:pt x="120" y="569"/>
                    <a:pt x="120" y="563"/>
                    <a:pt x="120" y="556"/>
                  </a:cubicBezTo>
                  <a:cubicBezTo>
                    <a:pt x="120" y="549"/>
                    <a:pt x="119" y="544"/>
                    <a:pt x="111" y="544"/>
                  </a:cubicBezTo>
                  <a:cubicBezTo>
                    <a:pt x="104" y="544"/>
                    <a:pt x="97" y="544"/>
                    <a:pt x="91" y="544"/>
                  </a:cubicBezTo>
                  <a:cubicBezTo>
                    <a:pt x="66" y="544"/>
                    <a:pt x="65" y="543"/>
                    <a:pt x="68" y="518"/>
                  </a:cubicBezTo>
                  <a:cubicBezTo>
                    <a:pt x="69" y="504"/>
                    <a:pt x="83" y="487"/>
                    <a:pt x="99" y="489"/>
                  </a:cubicBezTo>
                  <a:cubicBezTo>
                    <a:pt x="103" y="489"/>
                    <a:pt x="107" y="489"/>
                    <a:pt x="110" y="488"/>
                  </a:cubicBezTo>
                  <a:cubicBezTo>
                    <a:pt x="118" y="487"/>
                    <a:pt x="123" y="479"/>
                    <a:pt x="123" y="471"/>
                  </a:cubicBezTo>
                  <a:cubicBezTo>
                    <a:pt x="123" y="461"/>
                    <a:pt x="116" y="462"/>
                    <a:pt x="109" y="460"/>
                  </a:cubicBezTo>
                  <a:cubicBezTo>
                    <a:pt x="100" y="458"/>
                    <a:pt x="92" y="460"/>
                    <a:pt x="84" y="460"/>
                  </a:cubicBezTo>
                  <a:cubicBezTo>
                    <a:pt x="68" y="461"/>
                    <a:pt x="56" y="469"/>
                    <a:pt x="47" y="480"/>
                  </a:cubicBezTo>
                  <a:cubicBezTo>
                    <a:pt x="34" y="493"/>
                    <a:pt x="32" y="511"/>
                    <a:pt x="32" y="529"/>
                  </a:cubicBezTo>
                  <a:cubicBezTo>
                    <a:pt x="32" y="544"/>
                    <a:pt x="32" y="544"/>
                    <a:pt x="17" y="544"/>
                  </a:cubicBezTo>
                  <a:cubicBezTo>
                    <a:pt x="4" y="543"/>
                    <a:pt x="0" y="548"/>
                    <a:pt x="4" y="561"/>
                  </a:cubicBezTo>
                  <a:cubicBezTo>
                    <a:pt x="6" y="569"/>
                    <a:pt x="13" y="568"/>
                    <a:pt x="19" y="569"/>
                  </a:cubicBezTo>
                  <a:cubicBezTo>
                    <a:pt x="32" y="571"/>
                    <a:pt x="32" y="571"/>
                    <a:pt x="32" y="584"/>
                  </a:cubicBezTo>
                  <a:cubicBezTo>
                    <a:pt x="32" y="624"/>
                    <a:pt x="32" y="664"/>
                    <a:pt x="32" y="704"/>
                  </a:cubicBezTo>
                  <a:cubicBezTo>
                    <a:pt x="32" y="731"/>
                    <a:pt x="32" y="730"/>
                    <a:pt x="57" y="731"/>
                  </a:cubicBezTo>
                  <a:cubicBezTo>
                    <a:pt x="66" y="731"/>
                    <a:pt x="68" y="727"/>
                    <a:pt x="68" y="720"/>
                  </a:cubicBezTo>
                  <a:cubicBezTo>
                    <a:pt x="68" y="697"/>
                    <a:pt x="68" y="674"/>
                    <a:pt x="68" y="651"/>
                  </a:cubicBezTo>
                  <a:cubicBezTo>
                    <a:pt x="68" y="628"/>
                    <a:pt x="68" y="605"/>
                    <a:pt x="68" y="581"/>
                  </a:cubicBezTo>
                  <a:close/>
                  <a:moveTo>
                    <a:pt x="278" y="1165"/>
                  </a:moveTo>
                  <a:cubicBezTo>
                    <a:pt x="278" y="1183"/>
                    <a:pt x="278" y="1183"/>
                    <a:pt x="296" y="1184"/>
                  </a:cubicBezTo>
                  <a:cubicBezTo>
                    <a:pt x="310" y="1184"/>
                    <a:pt x="310" y="1184"/>
                    <a:pt x="310" y="1169"/>
                  </a:cubicBezTo>
                  <a:cubicBezTo>
                    <a:pt x="310" y="1132"/>
                    <a:pt x="310" y="1095"/>
                    <a:pt x="310" y="1058"/>
                  </a:cubicBezTo>
                  <a:cubicBezTo>
                    <a:pt x="310" y="1052"/>
                    <a:pt x="312" y="1047"/>
                    <a:pt x="316" y="1042"/>
                  </a:cubicBezTo>
                  <a:cubicBezTo>
                    <a:pt x="324" y="1033"/>
                    <a:pt x="334" y="1027"/>
                    <a:pt x="345" y="1024"/>
                  </a:cubicBezTo>
                  <a:cubicBezTo>
                    <a:pt x="357" y="1020"/>
                    <a:pt x="371" y="1018"/>
                    <a:pt x="383" y="1028"/>
                  </a:cubicBezTo>
                  <a:cubicBezTo>
                    <a:pt x="397" y="1039"/>
                    <a:pt x="401" y="1054"/>
                    <a:pt x="401" y="1071"/>
                  </a:cubicBezTo>
                  <a:cubicBezTo>
                    <a:pt x="401" y="1102"/>
                    <a:pt x="401" y="1132"/>
                    <a:pt x="401" y="1163"/>
                  </a:cubicBezTo>
                  <a:cubicBezTo>
                    <a:pt x="401" y="1183"/>
                    <a:pt x="401" y="1182"/>
                    <a:pt x="420" y="1184"/>
                  </a:cubicBezTo>
                  <a:cubicBezTo>
                    <a:pt x="429" y="1185"/>
                    <a:pt x="433" y="1181"/>
                    <a:pt x="433" y="1173"/>
                  </a:cubicBezTo>
                  <a:cubicBezTo>
                    <a:pt x="432" y="1130"/>
                    <a:pt x="435" y="1087"/>
                    <a:pt x="431" y="1044"/>
                  </a:cubicBezTo>
                  <a:cubicBezTo>
                    <a:pt x="427" y="1014"/>
                    <a:pt x="404" y="996"/>
                    <a:pt x="376" y="994"/>
                  </a:cubicBezTo>
                  <a:cubicBezTo>
                    <a:pt x="353" y="992"/>
                    <a:pt x="333" y="1000"/>
                    <a:pt x="317" y="1017"/>
                  </a:cubicBezTo>
                  <a:cubicBezTo>
                    <a:pt x="312" y="1021"/>
                    <a:pt x="311" y="1019"/>
                    <a:pt x="309" y="1015"/>
                  </a:cubicBezTo>
                  <a:cubicBezTo>
                    <a:pt x="309" y="1013"/>
                    <a:pt x="308" y="1011"/>
                    <a:pt x="308" y="1008"/>
                  </a:cubicBezTo>
                  <a:cubicBezTo>
                    <a:pt x="306" y="1001"/>
                    <a:pt x="298" y="997"/>
                    <a:pt x="287" y="998"/>
                  </a:cubicBezTo>
                  <a:cubicBezTo>
                    <a:pt x="279" y="999"/>
                    <a:pt x="278" y="1004"/>
                    <a:pt x="278" y="1011"/>
                  </a:cubicBezTo>
                  <a:cubicBezTo>
                    <a:pt x="278" y="1037"/>
                    <a:pt x="278" y="1064"/>
                    <a:pt x="278" y="1091"/>
                  </a:cubicBezTo>
                  <a:cubicBezTo>
                    <a:pt x="278" y="1115"/>
                    <a:pt x="278" y="1140"/>
                    <a:pt x="278" y="1165"/>
                  </a:cubicBezTo>
                  <a:close/>
                  <a:moveTo>
                    <a:pt x="150" y="705"/>
                  </a:moveTo>
                  <a:cubicBezTo>
                    <a:pt x="150" y="734"/>
                    <a:pt x="145" y="730"/>
                    <a:pt x="176" y="731"/>
                  </a:cubicBezTo>
                  <a:cubicBezTo>
                    <a:pt x="185" y="731"/>
                    <a:pt x="187" y="727"/>
                    <a:pt x="187" y="719"/>
                  </a:cubicBezTo>
                  <a:cubicBezTo>
                    <a:pt x="187" y="685"/>
                    <a:pt x="187" y="651"/>
                    <a:pt x="187" y="618"/>
                  </a:cubicBezTo>
                  <a:cubicBezTo>
                    <a:pt x="187" y="597"/>
                    <a:pt x="204" y="578"/>
                    <a:pt x="225" y="574"/>
                  </a:cubicBezTo>
                  <a:cubicBezTo>
                    <a:pt x="232" y="572"/>
                    <a:pt x="240" y="574"/>
                    <a:pt x="247" y="575"/>
                  </a:cubicBezTo>
                  <a:cubicBezTo>
                    <a:pt x="257" y="576"/>
                    <a:pt x="261" y="572"/>
                    <a:pt x="265" y="564"/>
                  </a:cubicBezTo>
                  <a:cubicBezTo>
                    <a:pt x="269" y="556"/>
                    <a:pt x="267" y="542"/>
                    <a:pt x="261" y="540"/>
                  </a:cubicBezTo>
                  <a:cubicBezTo>
                    <a:pt x="253" y="538"/>
                    <a:pt x="244" y="534"/>
                    <a:pt x="237" y="536"/>
                  </a:cubicBezTo>
                  <a:cubicBezTo>
                    <a:pt x="228" y="537"/>
                    <a:pt x="217" y="537"/>
                    <a:pt x="209" y="544"/>
                  </a:cubicBezTo>
                  <a:cubicBezTo>
                    <a:pt x="204" y="549"/>
                    <a:pt x="198" y="553"/>
                    <a:pt x="194" y="558"/>
                  </a:cubicBezTo>
                  <a:cubicBezTo>
                    <a:pt x="192" y="561"/>
                    <a:pt x="189" y="563"/>
                    <a:pt x="185" y="562"/>
                  </a:cubicBezTo>
                  <a:cubicBezTo>
                    <a:pt x="182" y="561"/>
                    <a:pt x="182" y="558"/>
                    <a:pt x="182" y="556"/>
                  </a:cubicBezTo>
                  <a:cubicBezTo>
                    <a:pt x="180" y="539"/>
                    <a:pt x="179" y="539"/>
                    <a:pt x="162" y="539"/>
                  </a:cubicBezTo>
                  <a:cubicBezTo>
                    <a:pt x="151" y="539"/>
                    <a:pt x="150" y="540"/>
                    <a:pt x="150" y="551"/>
                  </a:cubicBezTo>
                  <a:cubicBezTo>
                    <a:pt x="150" y="579"/>
                    <a:pt x="150" y="607"/>
                    <a:pt x="150" y="635"/>
                  </a:cubicBezTo>
                  <a:cubicBezTo>
                    <a:pt x="150" y="658"/>
                    <a:pt x="149" y="682"/>
                    <a:pt x="150" y="705"/>
                  </a:cubicBezTo>
                  <a:close/>
                  <a:moveTo>
                    <a:pt x="1011" y="1049"/>
                  </a:moveTo>
                  <a:cubicBezTo>
                    <a:pt x="1011" y="1008"/>
                    <a:pt x="1011" y="966"/>
                    <a:pt x="1011" y="924"/>
                  </a:cubicBezTo>
                  <a:cubicBezTo>
                    <a:pt x="1011" y="913"/>
                    <a:pt x="1008" y="910"/>
                    <a:pt x="997" y="910"/>
                  </a:cubicBezTo>
                  <a:cubicBezTo>
                    <a:pt x="995" y="910"/>
                    <a:pt x="992" y="910"/>
                    <a:pt x="990" y="910"/>
                  </a:cubicBezTo>
                  <a:cubicBezTo>
                    <a:pt x="976" y="910"/>
                    <a:pt x="975" y="911"/>
                    <a:pt x="975" y="926"/>
                  </a:cubicBezTo>
                  <a:cubicBezTo>
                    <a:pt x="975" y="1006"/>
                    <a:pt x="975" y="1085"/>
                    <a:pt x="975" y="1165"/>
                  </a:cubicBezTo>
                  <a:cubicBezTo>
                    <a:pt x="975" y="1185"/>
                    <a:pt x="975" y="1185"/>
                    <a:pt x="994" y="1185"/>
                  </a:cubicBezTo>
                  <a:cubicBezTo>
                    <a:pt x="1009" y="1185"/>
                    <a:pt x="1011" y="1184"/>
                    <a:pt x="1011" y="1169"/>
                  </a:cubicBezTo>
                  <a:cubicBezTo>
                    <a:pt x="1011" y="1129"/>
                    <a:pt x="1011" y="1089"/>
                    <a:pt x="1011" y="1049"/>
                  </a:cubicBezTo>
                  <a:cubicBezTo>
                    <a:pt x="1011" y="1049"/>
                    <a:pt x="1011" y="1049"/>
                    <a:pt x="1011" y="1049"/>
                  </a:cubicBezTo>
                  <a:close/>
                  <a:moveTo>
                    <a:pt x="296" y="176"/>
                  </a:moveTo>
                  <a:cubicBezTo>
                    <a:pt x="296" y="201"/>
                    <a:pt x="296" y="226"/>
                    <a:pt x="296" y="251"/>
                  </a:cubicBezTo>
                  <a:cubicBezTo>
                    <a:pt x="295" y="276"/>
                    <a:pt x="296" y="274"/>
                    <a:pt x="318" y="274"/>
                  </a:cubicBezTo>
                  <a:cubicBezTo>
                    <a:pt x="330" y="274"/>
                    <a:pt x="331" y="274"/>
                    <a:pt x="331" y="260"/>
                  </a:cubicBezTo>
                  <a:cubicBezTo>
                    <a:pt x="331" y="232"/>
                    <a:pt x="331" y="204"/>
                    <a:pt x="331" y="176"/>
                  </a:cubicBezTo>
                  <a:cubicBezTo>
                    <a:pt x="331" y="165"/>
                    <a:pt x="331" y="155"/>
                    <a:pt x="337" y="145"/>
                  </a:cubicBezTo>
                  <a:cubicBezTo>
                    <a:pt x="349" y="123"/>
                    <a:pt x="359" y="117"/>
                    <a:pt x="377" y="118"/>
                  </a:cubicBezTo>
                  <a:cubicBezTo>
                    <a:pt x="383" y="118"/>
                    <a:pt x="389" y="119"/>
                    <a:pt x="395" y="120"/>
                  </a:cubicBezTo>
                  <a:cubicBezTo>
                    <a:pt x="401" y="120"/>
                    <a:pt x="407" y="118"/>
                    <a:pt x="408" y="112"/>
                  </a:cubicBezTo>
                  <a:cubicBezTo>
                    <a:pt x="409" y="103"/>
                    <a:pt x="415" y="93"/>
                    <a:pt x="407" y="85"/>
                  </a:cubicBezTo>
                  <a:cubicBezTo>
                    <a:pt x="406" y="84"/>
                    <a:pt x="404" y="84"/>
                    <a:pt x="402" y="84"/>
                  </a:cubicBezTo>
                  <a:cubicBezTo>
                    <a:pt x="376" y="78"/>
                    <a:pt x="353" y="82"/>
                    <a:pt x="337" y="106"/>
                  </a:cubicBezTo>
                  <a:cubicBezTo>
                    <a:pt x="336" y="108"/>
                    <a:pt x="335" y="110"/>
                    <a:pt x="333" y="109"/>
                  </a:cubicBezTo>
                  <a:cubicBezTo>
                    <a:pt x="331" y="109"/>
                    <a:pt x="330" y="107"/>
                    <a:pt x="330" y="105"/>
                  </a:cubicBezTo>
                  <a:cubicBezTo>
                    <a:pt x="329" y="101"/>
                    <a:pt x="329" y="97"/>
                    <a:pt x="328" y="94"/>
                  </a:cubicBezTo>
                  <a:cubicBezTo>
                    <a:pt x="325" y="85"/>
                    <a:pt x="318" y="82"/>
                    <a:pt x="303" y="84"/>
                  </a:cubicBezTo>
                  <a:cubicBezTo>
                    <a:pt x="297" y="84"/>
                    <a:pt x="295" y="86"/>
                    <a:pt x="295" y="92"/>
                  </a:cubicBezTo>
                  <a:cubicBezTo>
                    <a:pt x="296" y="120"/>
                    <a:pt x="295" y="148"/>
                    <a:pt x="295" y="176"/>
                  </a:cubicBezTo>
                  <a:cubicBezTo>
                    <a:pt x="296" y="176"/>
                    <a:pt x="296" y="176"/>
                    <a:pt x="296" y="176"/>
                  </a:cubicBezTo>
                  <a:close/>
                  <a:moveTo>
                    <a:pt x="946" y="179"/>
                  </a:moveTo>
                  <a:cubicBezTo>
                    <a:pt x="946" y="197"/>
                    <a:pt x="946" y="215"/>
                    <a:pt x="946" y="234"/>
                  </a:cubicBezTo>
                  <a:cubicBezTo>
                    <a:pt x="946" y="248"/>
                    <a:pt x="951" y="260"/>
                    <a:pt x="963" y="268"/>
                  </a:cubicBezTo>
                  <a:cubicBezTo>
                    <a:pt x="982" y="280"/>
                    <a:pt x="1011" y="277"/>
                    <a:pt x="1029" y="264"/>
                  </a:cubicBezTo>
                  <a:cubicBezTo>
                    <a:pt x="1036" y="259"/>
                    <a:pt x="1036" y="254"/>
                    <a:pt x="1032" y="248"/>
                  </a:cubicBezTo>
                  <a:cubicBezTo>
                    <a:pt x="1026" y="239"/>
                    <a:pt x="1020" y="238"/>
                    <a:pt x="1013" y="242"/>
                  </a:cubicBezTo>
                  <a:cubicBezTo>
                    <a:pt x="996" y="252"/>
                    <a:pt x="978" y="243"/>
                    <a:pt x="978" y="223"/>
                  </a:cubicBezTo>
                  <a:cubicBezTo>
                    <a:pt x="978" y="190"/>
                    <a:pt x="978" y="157"/>
                    <a:pt x="978" y="123"/>
                  </a:cubicBezTo>
                  <a:cubicBezTo>
                    <a:pt x="978" y="116"/>
                    <a:pt x="981" y="113"/>
                    <a:pt x="988" y="113"/>
                  </a:cubicBezTo>
                  <a:cubicBezTo>
                    <a:pt x="999" y="114"/>
                    <a:pt x="1011" y="113"/>
                    <a:pt x="1022" y="113"/>
                  </a:cubicBezTo>
                  <a:cubicBezTo>
                    <a:pt x="1028" y="113"/>
                    <a:pt x="1033" y="112"/>
                    <a:pt x="1033" y="104"/>
                  </a:cubicBezTo>
                  <a:cubicBezTo>
                    <a:pt x="1033" y="96"/>
                    <a:pt x="1032" y="90"/>
                    <a:pt x="1022" y="90"/>
                  </a:cubicBezTo>
                  <a:cubicBezTo>
                    <a:pt x="1011" y="90"/>
                    <a:pt x="1001" y="90"/>
                    <a:pt x="990" y="90"/>
                  </a:cubicBezTo>
                  <a:cubicBezTo>
                    <a:pt x="981" y="91"/>
                    <a:pt x="977" y="88"/>
                    <a:pt x="978" y="78"/>
                  </a:cubicBezTo>
                  <a:cubicBezTo>
                    <a:pt x="978" y="64"/>
                    <a:pt x="978" y="49"/>
                    <a:pt x="978" y="35"/>
                  </a:cubicBezTo>
                  <a:cubicBezTo>
                    <a:pt x="978" y="30"/>
                    <a:pt x="978" y="25"/>
                    <a:pt x="971" y="24"/>
                  </a:cubicBezTo>
                  <a:cubicBezTo>
                    <a:pt x="964" y="24"/>
                    <a:pt x="956" y="24"/>
                    <a:pt x="955" y="32"/>
                  </a:cubicBezTo>
                  <a:cubicBezTo>
                    <a:pt x="952" y="43"/>
                    <a:pt x="949" y="54"/>
                    <a:pt x="949" y="65"/>
                  </a:cubicBezTo>
                  <a:cubicBezTo>
                    <a:pt x="948" y="88"/>
                    <a:pt x="947" y="88"/>
                    <a:pt x="924" y="91"/>
                  </a:cubicBezTo>
                  <a:cubicBezTo>
                    <a:pt x="919" y="92"/>
                    <a:pt x="914" y="92"/>
                    <a:pt x="914" y="99"/>
                  </a:cubicBezTo>
                  <a:cubicBezTo>
                    <a:pt x="915" y="107"/>
                    <a:pt x="917" y="113"/>
                    <a:pt x="926" y="113"/>
                  </a:cubicBezTo>
                  <a:cubicBezTo>
                    <a:pt x="929" y="114"/>
                    <a:pt x="932" y="113"/>
                    <a:pt x="935" y="113"/>
                  </a:cubicBezTo>
                  <a:cubicBezTo>
                    <a:pt x="943" y="113"/>
                    <a:pt x="946" y="116"/>
                    <a:pt x="946" y="124"/>
                  </a:cubicBezTo>
                  <a:cubicBezTo>
                    <a:pt x="946" y="142"/>
                    <a:pt x="946" y="161"/>
                    <a:pt x="946" y="179"/>
                  </a:cubicBezTo>
                  <a:cubicBezTo>
                    <a:pt x="946" y="179"/>
                    <a:pt x="946" y="179"/>
                    <a:pt x="946" y="179"/>
                  </a:cubicBezTo>
                  <a:close/>
                </a:path>
              </a:pathLst>
            </a:custGeom>
            <a:solidFill>
              <a:srgbClr val="4C505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grpSp>
          <p:nvGrpSpPr>
            <p:cNvPr id="18" name="Group 4">
              <a:extLst>
                <a:ext uri="{FF2B5EF4-FFF2-40B4-BE49-F238E27FC236}">
                  <a16:creationId xmlns:a16="http://schemas.microsoft.com/office/drawing/2014/main" id="{57BD2C4C-DC67-B843-B26C-309622FC75F7}"/>
                </a:ext>
              </a:extLst>
            </p:cNvPr>
            <p:cNvGrpSpPr>
              <a:grpSpLocks noChangeAspect="1"/>
            </p:cNvGrpSpPr>
            <p:nvPr/>
          </p:nvGrpSpPr>
          <p:grpSpPr bwMode="gray">
            <a:xfrm>
              <a:off x="334963" y="296652"/>
              <a:ext cx="538094" cy="540000"/>
              <a:chOff x="2711" y="1027"/>
              <a:chExt cx="2258" cy="2266"/>
            </a:xfrm>
          </p:grpSpPr>
          <p:sp>
            <p:nvSpPr>
              <p:cNvPr id="19" name="AutoShape 3">
                <a:extLst>
                  <a:ext uri="{FF2B5EF4-FFF2-40B4-BE49-F238E27FC236}">
                    <a16:creationId xmlns:a16="http://schemas.microsoft.com/office/drawing/2014/main" id="{FE1DC41B-291E-574C-9F2C-874E70A40758}"/>
                  </a:ext>
                </a:extLst>
              </p:cNvPr>
              <p:cNvSpPr>
                <a:spLocks noChangeAspect="1" noChangeArrowheads="1" noTextEdit="1"/>
              </p:cNvSpPr>
              <p:nvPr/>
            </p:nvSpPr>
            <p:spPr bwMode="gray">
              <a:xfrm>
                <a:off x="2711" y="1027"/>
                <a:ext cx="2258" cy="22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sp>
            <p:nvSpPr>
              <p:cNvPr id="20" name="Freeform 5">
                <a:extLst>
                  <a:ext uri="{FF2B5EF4-FFF2-40B4-BE49-F238E27FC236}">
                    <a16:creationId xmlns:a16="http://schemas.microsoft.com/office/drawing/2014/main" id="{D4B633C8-F761-C54B-9BD2-EB59D49A2DBC}"/>
                  </a:ext>
                </a:extLst>
              </p:cNvPr>
              <p:cNvSpPr>
                <a:spLocks/>
              </p:cNvSpPr>
              <p:nvPr/>
            </p:nvSpPr>
            <p:spPr bwMode="gray">
              <a:xfrm>
                <a:off x="2709" y="1029"/>
                <a:ext cx="2260" cy="2262"/>
              </a:xfrm>
              <a:custGeom>
                <a:avLst/>
                <a:gdLst>
                  <a:gd name="T0" fmla="*/ 2260 w 2260"/>
                  <a:gd name="T1" fmla="*/ 0 h 2262"/>
                  <a:gd name="T2" fmla="*/ 1612 w 2260"/>
                  <a:gd name="T3" fmla="*/ 649 h 2262"/>
                  <a:gd name="T4" fmla="*/ 1612 w 2260"/>
                  <a:gd name="T5" fmla="*/ 649 h 2262"/>
                  <a:gd name="T6" fmla="*/ 2035 w 2260"/>
                  <a:gd name="T7" fmla="*/ 0 h 2262"/>
                  <a:gd name="T8" fmla="*/ 0 w 2260"/>
                  <a:gd name="T9" fmla="*/ 0 h 2262"/>
                  <a:gd name="T10" fmla="*/ 0 w 2260"/>
                  <a:gd name="T11" fmla="*/ 2262 h 2262"/>
                  <a:gd name="T12" fmla="*/ 2260 w 2260"/>
                  <a:gd name="T13" fmla="*/ 2262 h 2262"/>
                  <a:gd name="T14" fmla="*/ 2260 w 2260"/>
                  <a:gd name="T15" fmla="*/ 0 h 2262"/>
                  <a:gd name="T16" fmla="*/ 2260 w 2260"/>
                  <a:gd name="T17" fmla="*/ 0 h 2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0" h="2262">
                    <a:moveTo>
                      <a:pt x="2260" y="0"/>
                    </a:moveTo>
                    <a:lnTo>
                      <a:pt x="1612" y="649"/>
                    </a:lnTo>
                    <a:lnTo>
                      <a:pt x="1612" y="649"/>
                    </a:lnTo>
                    <a:lnTo>
                      <a:pt x="2035" y="0"/>
                    </a:lnTo>
                    <a:lnTo>
                      <a:pt x="0" y="0"/>
                    </a:lnTo>
                    <a:lnTo>
                      <a:pt x="0" y="2262"/>
                    </a:lnTo>
                    <a:lnTo>
                      <a:pt x="2260" y="2262"/>
                    </a:lnTo>
                    <a:lnTo>
                      <a:pt x="2260" y="0"/>
                    </a:lnTo>
                    <a:lnTo>
                      <a:pt x="2260" y="0"/>
                    </a:lnTo>
                    <a:close/>
                  </a:path>
                </a:pathLst>
              </a:custGeom>
              <a:solidFill>
                <a:srgbClr val="E55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sp>
            <p:nvSpPr>
              <p:cNvPr id="21" name="Freeform 6">
                <a:extLst>
                  <a:ext uri="{FF2B5EF4-FFF2-40B4-BE49-F238E27FC236}">
                    <a16:creationId xmlns:a16="http://schemas.microsoft.com/office/drawing/2014/main" id="{B16BAAE4-1A41-C843-9754-490F7A1E1270}"/>
                  </a:ext>
                </a:extLst>
              </p:cNvPr>
              <p:cNvSpPr>
                <a:spLocks noEditPoints="1"/>
              </p:cNvSpPr>
              <p:nvPr/>
            </p:nvSpPr>
            <p:spPr bwMode="gray">
              <a:xfrm>
                <a:off x="3623" y="1696"/>
                <a:ext cx="1167" cy="922"/>
              </a:xfrm>
              <a:custGeom>
                <a:avLst/>
                <a:gdLst>
                  <a:gd name="T0" fmla="*/ 411 w 580"/>
                  <a:gd name="T1" fmla="*/ 213 h 458"/>
                  <a:gd name="T2" fmla="*/ 570 w 580"/>
                  <a:gd name="T3" fmla="*/ 37 h 458"/>
                  <a:gd name="T4" fmla="*/ 580 w 580"/>
                  <a:gd name="T5" fmla="*/ 20 h 458"/>
                  <a:gd name="T6" fmla="*/ 545 w 580"/>
                  <a:gd name="T7" fmla="*/ 0 h 458"/>
                  <a:gd name="T8" fmla="*/ 519 w 580"/>
                  <a:gd name="T9" fmla="*/ 16 h 458"/>
                  <a:gd name="T10" fmla="*/ 344 w 580"/>
                  <a:gd name="T11" fmla="*/ 210 h 458"/>
                  <a:gd name="T12" fmla="*/ 334 w 580"/>
                  <a:gd name="T13" fmla="*/ 229 h 458"/>
                  <a:gd name="T14" fmla="*/ 344 w 580"/>
                  <a:gd name="T15" fmla="*/ 248 h 458"/>
                  <a:gd name="T16" fmla="*/ 519 w 580"/>
                  <a:gd name="T17" fmla="*/ 442 h 458"/>
                  <a:gd name="T18" fmla="*/ 545 w 580"/>
                  <a:gd name="T19" fmla="*/ 458 h 458"/>
                  <a:gd name="T20" fmla="*/ 580 w 580"/>
                  <a:gd name="T21" fmla="*/ 438 h 458"/>
                  <a:gd name="T22" fmla="*/ 570 w 580"/>
                  <a:gd name="T23" fmla="*/ 421 h 458"/>
                  <a:gd name="T24" fmla="*/ 411 w 580"/>
                  <a:gd name="T25" fmla="*/ 245 h 458"/>
                  <a:gd name="T26" fmla="*/ 399 w 580"/>
                  <a:gd name="T27" fmla="*/ 229 h 458"/>
                  <a:gd name="T28" fmla="*/ 411 w 580"/>
                  <a:gd name="T29" fmla="*/ 213 h 458"/>
                  <a:gd name="T30" fmla="*/ 252 w 580"/>
                  <a:gd name="T31" fmla="*/ 439 h 458"/>
                  <a:gd name="T32" fmla="*/ 281 w 580"/>
                  <a:gd name="T33" fmla="*/ 454 h 458"/>
                  <a:gd name="T34" fmla="*/ 309 w 580"/>
                  <a:gd name="T35" fmla="*/ 439 h 458"/>
                  <a:gd name="T36" fmla="*/ 309 w 580"/>
                  <a:gd name="T37" fmla="*/ 19 h 458"/>
                  <a:gd name="T38" fmla="*/ 281 w 580"/>
                  <a:gd name="T39" fmla="*/ 4 h 458"/>
                  <a:gd name="T40" fmla="*/ 252 w 580"/>
                  <a:gd name="T41" fmla="*/ 19 h 458"/>
                  <a:gd name="T42" fmla="*/ 252 w 580"/>
                  <a:gd name="T43" fmla="*/ 439 h 458"/>
                  <a:gd name="T44" fmla="*/ 0 w 580"/>
                  <a:gd name="T45" fmla="*/ 439 h 458"/>
                  <a:gd name="T46" fmla="*/ 28 w 580"/>
                  <a:gd name="T47" fmla="*/ 454 h 458"/>
                  <a:gd name="T48" fmla="*/ 56 w 580"/>
                  <a:gd name="T49" fmla="*/ 439 h 458"/>
                  <a:gd name="T50" fmla="*/ 56 w 580"/>
                  <a:gd name="T51" fmla="*/ 157 h 458"/>
                  <a:gd name="T52" fmla="*/ 165 w 580"/>
                  <a:gd name="T53" fmla="*/ 53 h 458"/>
                  <a:gd name="T54" fmla="*/ 180 w 580"/>
                  <a:gd name="T55" fmla="*/ 53 h 458"/>
                  <a:gd name="T56" fmla="*/ 196 w 580"/>
                  <a:gd name="T57" fmla="*/ 27 h 458"/>
                  <a:gd name="T58" fmla="*/ 154 w 580"/>
                  <a:gd name="T59" fmla="*/ 4 h 458"/>
                  <a:gd name="T60" fmla="*/ 0 w 580"/>
                  <a:gd name="T61" fmla="*/ 152 h 458"/>
                  <a:gd name="T62" fmla="*/ 0 w 580"/>
                  <a:gd name="T63" fmla="*/ 439 h 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80" h="458">
                    <a:moveTo>
                      <a:pt x="411" y="213"/>
                    </a:moveTo>
                    <a:cubicBezTo>
                      <a:pt x="570" y="37"/>
                      <a:pt x="570" y="37"/>
                      <a:pt x="570" y="37"/>
                    </a:cubicBezTo>
                    <a:cubicBezTo>
                      <a:pt x="576" y="30"/>
                      <a:pt x="580" y="25"/>
                      <a:pt x="580" y="20"/>
                    </a:cubicBezTo>
                    <a:cubicBezTo>
                      <a:pt x="580" y="10"/>
                      <a:pt x="559" y="0"/>
                      <a:pt x="545" y="0"/>
                    </a:cubicBezTo>
                    <a:cubicBezTo>
                      <a:pt x="535" y="0"/>
                      <a:pt x="526" y="8"/>
                      <a:pt x="519" y="16"/>
                    </a:cubicBezTo>
                    <a:cubicBezTo>
                      <a:pt x="344" y="210"/>
                      <a:pt x="344" y="210"/>
                      <a:pt x="344" y="210"/>
                    </a:cubicBezTo>
                    <a:cubicBezTo>
                      <a:pt x="336" y="219"/>
                      <a:pt x="334" y="224"/>
                      <a:pt x="334" y="229"/>
                    </a:cubicBezTo>
                    <a:cubicBezTo>
                      <a:pt x="334" y="234"/>
                      <a:pt x="336" y="239"/>
                      <a:pt x="344" y="248"/>
                    </a:cubicBezTo>
                    <a:cubicBezTo>
                      <a:pt x="519" y="442"/>
                      <a:pt x="519" y="442"/>
                      <a:pt x="519" y="442"/>
                    </a:cubicBezTo>
                    <a:cubicBezTo>
                      <a:pt x="526" y="450"/>
                      <a:pt x="535" y="458"/>
                      <a:pt x="545" y="458"/>
                    </a:cubicBezTo>
                    <a:cubicBezTo>
                      <a:pt x="559" y="458"/>
                      <a:pt x="580" y="448"/>
                      <a:pt x="580" y="438"/>
                    </a:cubicBezTo>
                    <a:cubicBezTo>
                      <a:pt x="580" y="433"/>
                      <a:pt x="576" y="428"/>
                      <a:pt x="570" y="421"/>
                    </a:cubicBezTo>
                    <a:cubicBezTo>
                      <a:pt x="411" y="245"/>
                      <a:pt x="411" y="245"/>
                      <a:pt x="411" y="245"/>
                    </a:cubicBezTo>
                    <a:cubicBezTo>
                      <a:pt x="403" y="236"/>
                      <a:pt x="399" y="232"/>
                      <a:pt x="399" y="229"/>
                    </a:cubicBezTo>
                    <a:cubicBezTo>
                      <a:pt x="399" y="226"/>
                      <a:pt x="403" y="222"/>
                      <a:pt x="411" y="213"/>
                    </a:cubicBezTo>
                    <a:moveTo>
                      <a:pt x="252" y="439"/>
                    </a:moveTo>
                    <a:cubicBezTo>
                      <a:pt x="252" y="449"/>
                      <a:pt x="261" y="454"/>
                      <a:pt x="281" y="454"/>
                    </a:cubicBezTo>
                    <a:cubicBezTo>
                      <a:pt x="300" y="454"/>
                      <a:pt x="309" y="449"/>
                      <a:pt x="309" y="439"/>
                    </a:cubicBezTo>
                    <a:cubicBezTo>
                      <a:pt x="309" y="19"/>
                      <a:pt x="309" y="19"/>
                      <a:pt x="309" y="19"/>
                    </a:cubicBezTo>
                    <a:cubicBezTo>
                      <a:pt x="309" y="9"/>
                      <a:pt x="300" y="4"/>
                      <a:pt x="281" y="4"/>
                    </a:cubicBezTo>
                    <a:cubicBezTo>
                      <a:pt x="261" y="4"/>
                      <a:pt x="252" y="9"/>
                      <a:pt x="252" y="19"/>
                    </a:cubicBezTo>
                    <a:lnTo>
                      <a:pt x="252" y="439"/>
                    </a:lnTo>
                    <a:close/>
                    <a:moveTo>
                      <a:pt x="0" y="439"/>
                    </a:moveTo>
                    <a:cubicBezTo>
                      <a:pt x="0" y="449"/>
                      <a:pt x="8" y="454"/>
                      <a:pt x="28" y="454"/>
                    </a:cubicBezTo>
                    <a:cubicBezTo>
                      <a:pt x="48" y="454"/>
                      <a:pt x="56" y="449"/>
                      <a:pt x="56" y="439"/>
                    </a:cubicBezTo>
                    <a:cubicBezTo>
                      <a:pt x="56" y="157"/>
                      <a:pt x="56" y="157"/>
                      <a:pt x="56" y="157"/>
                    </a:cubicBezTo>
                    <a:cubicBezTo>
                      <a:pt x="56" y="83"/>
                      <a:pt x="85" y="53"/>
                      <a:pt x="165" y="53"/>
                    </a:cubicBezTo>
                    <a:cubicBezTo>
                      <a:pt x="180" y="53"/>
                      <a:pt x="180" y="53"/>
                      <a:pt x="180" y="53"/>
                    </a:cubicBezTo>
                    <a:cubicBezTo>
                      <a:pt x="192" y="53"/>
                      <a:pt x="196" y="43"/>
                      <a:pt x="196" y="27"/>
                    </a:cubicBezTo>
                    <a:cubicBezTo>
                      <a:pt x="196" y="8"/>
                      <a:pt x="185" y="4"/>
                      <a:pt x="154" y="4"/>
                    </a:cubicBezTo>
                    <a:cubicBezTo>
                      <a:pt x="64" y="4"/>
                      <a:pt x="0" y="43"/>
                      <a:pt x="0" y="152"/>
                    </a:cubicBezTo>
                    <a:lnTo>
                      <a:pt x="0" y="43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sp>
            <p:nvSpPr>
              <p:cNvPr id="22" name="Freeform 7">
                <a:extLst>
                  <a:ext uri="{FF2B5EF4-FFF2-40B4-BE49-F238E27FC236}">
                    <a16:creationId xmlns:a16="http://schemas.microsoft.com/office/drawing/2014/main" id="{2F32DCBD-8628-F245-85CD-97686A20ECFD}"/>
                  </a:ext>
                </a:extLst>
              </p:cNvPr>
              <p:cNvSpPr>
                <a:spLocks/>
              </p:cNvSpPr>
              <p:nvPr/>
            </p:nvSpPr>
            <p:spPr bwMode="gray">
              <a:xfrm>
                <a:off x="2880" y="1704"/>
                <a:ext cx="618" cy="916"/>
              </a:xfrm>
              <a:custGeom>
                <a:avLst/>
                <a:gdLst>
                  <a:gd name="T0" fmla="*/ 307 w 307"/>
                  <a:gd name="T1" fmla="*/ 405 h 455"/>
                  <a:gd name="T2" fmla="*/ 307 w 307"/>
                  <a:gd name="T3" fmla="*/ 244 h 455"/>
                  <a:gd name="T4" fmla="*/ 279 w 307"/>
                  <a:gd name="T5" fmla="*/ 229 h 455"/>
                  <a:gd name="T6" fmla="*/ 250 w 307"/>
                  <a:gd name="T7" fmla="*/ 244 h 455"/>
                  <a:gd name="T8" fmla="*/ 250 w 307"/>
                  <a:gd name="T9" fmla="*/ 378 h 455"/>
                  <a:gd name="T10" fmla="*/ 199 w 307"/>
                  <a:gd name="T11" fmla="*/ 408 h 455"/>
                  <a:gd name="T12" fmla="*/ 61 w 307"/>
                  <a:gd name="T13" fmla="*/ 231 h 455"/>
                  <a:gd name="T14" fmla="*/ 238 w 307"/>
                  <a:gd name="T15" fmla="*/ 49 h 455"/>
                  <a:gd name="T16" fmla="*/ 270 w 307"/>
                  <a:gd name="T17" fmla="*/ 49 h 455"/>
                  <a:gd name="T18" fmla="*/ 286 w 307"/>
                  <a:gd name="T19" fmla="*/ 23 h 455"/>
                  <a:gd name="T20" fmla="*/ 244 w 307"/>
                  <a:gd name="T21" fmla="*/ 0 h 455"/>
                  <a:gd name="T22" fmla="*/ 231 w 307"/>
                  <a:gd name="T23" fmla="*/ 0 h 455"/>
                  <a:gd name="T24" fmla="*/ 0 w 307"/>
                  <a:gd name="T25" fmla="*/ 232 h 455"/>
                  <a:gd name="T26" fmla="*/ 198 w 307"/>
                  <a:gd name="T27" fmla="*/ 455 h 455"/>
                  <a:gd name="T28" fmla="*/ 307 w 307"/>
                  <a:gd name="T29" fmla="*/ 405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7" h="455">
                    <a:moveTo>
                      <a:pt x="307" y="405"/>
                    </a:moveTo>
                    <a:cubicBezTo>
                      <a:pt x="307" y="244"/>
                      <a:pt x="307" y="244"/>
                      <a:pt x="307" y="244"/>
                    </a:cubicBezTo>
                    <a:cubicBezTo>
                      <a:pt x="307" y="234"/>
                      <a:pt x="298" y="229"/>
                      <a:pt x="279" y="229"/>
                    </a:cubicBezTo>
                    <a:cubicBezTo>
                      <a:pt x="259" y="229"/>
                      <a:pt x="250" y="234"/>
                      <a:pt x="250" y="244"/>
                    </a:cubicBezTo>
                    <a:cubicBezTo>
                      <a:pt x="250" y="378"/>
                      <a:pt x="250" y="378"/>
                      <a:pt x="250" y="378"/>
                    </a:cubicBezTo>
                    <a:cubicBezTo>
                      <a:pt x="250" y="399"/>
                      <a:pt x="241" y="408"/>
                      <a:pt x="199" y="408"/>
                    </a:cubicBezTo>
                    <a:cubicBezTo>
                      <a:pt x="114" y="408"/>
                      <a:pt x="61" y="342"/>
                      <a:pt x="61" y="231"/>
                    </a:cubicBezTo>
                    <a:cubicBezTo>
                      <a:pt x="61" y="115"/>
                      <a:pt x="126" y="49"/>
                      <a:pt x="238" y="49"/>
                    </a:cubicBezTo>
                    <a:cubicBezTo>
                      <a:pt x="270" y="49"/>
                      <a:pt x="270" y="49"/>
                      <a:pt x="270" y="49"/>
                    </a:cubicBezTo>
                    <a:cubicBezTo>
                      <a:pt x="282" y="49"/>
                      <a:pt x="286" y="39"/>
                      <a:pt x="286" y="23"/>
                    </a:cubicBezTo>
                    <a:cubicBezTo>
                      <a:pt x="286" y="4"/>
                      <a:pt x="275" y="0"/>
                      <a:pt x="244" y="0"/>
                    </a:cubicBezTo>
                    <a:cubicBezTo>
                      <a:pt x="231" y="0"/>
                      <a:pt x="231" y="0"/>
                      <a:pt x="231" y="0"/>
                    </a:cubicBezTo>
                    <a:cubicBezTo>
                      <a:pt x="101" y="0"/>
                      <a:pt x="0" y="71"/>
                      <a:pt x="0" y="232"/>
                    </a:cubicBezTo>
                    <a:cubicBezTo>
                      <a:pt x="0" y="386"/>
                      <a:pt x="88" y="455"/>
                      <a:pt x="198" y="455"/>
                    </a:cubicBezTo>
                    <a:cubicBezTo>
                      <a:pt x="286" y="455"/>
                      <a:pt x="307" y="430"/>
                      <a:pt x="307" y="40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sp>
            <p:nvSpPr>
              <p:cNvPr id="23" name="Oval 8">
                <a:extLst>
                  <a:ext uri="{FF2B5EF4-FFF2-40B4-BE49-F238E27FC236}">
                    <a16:creationId xmlns:a16="http://schemas.microsoft.com/office/drawing/2014/main" id="{60D97C11-1A3B-5449-A48D-98A3E79B3810}"/>
                  </a:ext>
                </a:extLst>
              </p:cNvPr>
              <p:cNvSpPr>
                <a:spLocks noChangeArrowheads="1"/>
              </p:cNvSpPr>
              <p:nvPr/>
            </p:nvSpPr>
            <p:spPr bwMode="gray">
              <a:xfrm>
                <a:off x="3778" y="2099"/>
                <a:ext cx="122" cy="12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sp>
            <p:nvSpPr>
              <p:cNvPr id="24" name="Freeform 9">
                <a:extLst>
                  <a:ext uri="{FF2B5EF4-FFF2-40B4-BE49-F238E27FC236}">
                    <a16:creationId xmlns:a16="http://schemas.microsoft.com/office/drawing/2014/main" id="{5856770D-B8F0-244E-A05D-AED190086F10}"/>
                  </a:ext>
                </a:extLst>
              </p:cNvPr>
              <p:cNvSpPr>
                <a:spLocks noEditPoints="1"/>
              </p:cNvSpPr>
              <p:nvPr/>
            </p:nvSpPr>
            <p:spPr bwMode="gray">
              <a:xfrm>
                <a:off x="3623" y="1696"/>
                <a:ext cx="1167" cy="922"/>
              </a:xfrm>
              <a:custGeom>
                <a:avLst/>
                <a:gdLst>
                  <a:gd name="T0" fmla="*/ 411 w 580"/>
                  <a:gd name="T1" fmla="*/ 213 h 458"/>
                  <a:gd name="T2" fmla="*/ 570 w 580"/>
                  <a:gd name="T3" fmla="*/ 37 h 458"/>
                  <a:gd name="T4" fmla="*/ 580 w 580"/>
                  <a:gd name="T5" fmla="*/ 20 h 458"/>
                  <a:gd name="T6" fmla="*/ 545 w 580"/>
                  <a:gd name="T7" fmla="*/ 0 h 458"/>
                  <a:gd name="T8" fmla="*/ 519 w 580"/>
                  <a:gd name="T9" fmla="*/ 16 h 458"/>
                  <a:gd name="T10" fmla="*/ 344 w 580"/>
                  <a:gd name="T11" fmla="*/ 210 h 458"/>
                  <a:gd name="T12" fmla="*/ 334 w 580"/>
                  <a:gd name="T13" fmla="*/ 229 h 458"/>
                  <a:gd name="T14" fmla="*/ 344 w 580"/>
                  <a:gd name="T15" fmla="*/ 248 h 458"/>
                  <a:gd name="T16" fmla="*/ 519 w 580"/>
                  <a:gd name="T17" fmla="*/ 442 h 458"/>
                  <a:gd name="T18" fmla="*/ 545 w 580"/>
                  <a:gd name="T19" fmla="*/ 458 h 458"/>
                  <a:gd name="T20" fmla="*/ 580 w 580"/>
                  <a:gd name="T21" fmla="*/ 438 h 458"/>
                  <a:gd name="T22" fmla="*/ 570 w 580"/>
                  <a:gd name="T23" fmla="*/ 421 h 458"/>
                  <a:gd name="T24" fmla="*/ 411 w 580"/>
                  <a:gd name="T25" fmla="*/ 245 h 458"/>
                  <a:gd name="T26" fmla="*/ 399 w 580"/>
                  <a:gd name="T27" fmla="*/ 229 h 458"/>
                  <a:gd name="T28" fmla="*/ 411 w 580"/>
                  <a:gd name="T29" fmla="*/ 213 h 458"/>
                  <a:gd name="T30" fmla="*/ 252 w 580"/>
                  <a:gd name="T31" fmla="*/ 439 h 458"/>
                  <a:gd name="T32" fmla="*/ 281 w 580"/>
                  <a:gd name="T33" fmla="*/ 454 h 458"/>
                  <a:gd name="T34" fmla="*/ 309 w 580"/>
                  <a:gd name="T35" fmla="*/ 439 h 458"/>
                  <a:gd name="T36" fmla="*/ 309 w 580"/>
                  <a:gd name="T37" fmla="*/ 19 h 458"/>
                  <a:gd name="T38" fmla="*/ 281 w 580"/>
                  <a:gd name="T39" fmla="*/ 4 h 458"/>
                  <a:gd name="T40" fmla="*/ 252 w 580"/>
                  <a:gd name="T41" fmla="*/ 19 h 458"/>
                  <a:gd name="T42" fmla="*/ 252 w 580"/>
                  <a:gd name="T43" fmla="*/ 439 h 458"/>
                  <a:gd name="T44" fmla="*/ 0 w 580"/>
                  <a:gd name="T45" fmla="*/ 439 h 458"/>
                  <a:gd name="T46" fmla="*/ 28 w 580"/>
                  <a:gd name="T47" fmla="*/ 454 h 458"/>
                  <a:gd name="T48" fmla="*/ 56 w 580"/>
                  <a:gd name="T49" fmla="*/ 439 h 458"/>
                  <a:gd name="T50" fmla="*/ 56 w 580"/>
                  <a:gd name="T51" fmla="*/ 157 h 458"/>
                  <a:gd name="T52" fmla="*/ 165 w 580"/>
                  <a:gd name="T53" fmla="*/ 53 h 458"/>
                  <a:gd name="T54" fmla="*/ 180 w 580"/>
                  <a:gd name="T55" fmla="*/ 53 h 458"/>
                  <a:gd name="T56" fmla="*/ 196 w 580"/>
                  <a:gd name="T57" fmla="*/ 27 h 458"/>
                  <a:gd name="T58" fmla="*/ 154 w 580"/>
                  <a:gd name="T59" fmla="*/ 4 h 458"/>
                  <a:gd name="T60" fmla="*/ 0 w 580"/>
                  <a:gd name="T61" fmla="*/ 152 h 458"/>
                  <a:gd name="T62" fmla="*/ 0 w 580"/>
                  <a:gd name="T63" fmla="*/ 439 h 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80" h="458">
                    <a:moveTo>
                      <a:pt x="411" y="213"/>
                    </a:moveTo>
                    <a:cubicBezTo>
                      <a:pt x="570" y="37"/>
                      <a:pt x="570" y="37"/>
                      <a:pt x="570" y="37"/>
                    </a:cubicBezTo>
                    <a:cubicBezTo>
                      <a:pt x="576" y="30"/>
                      <a:pt x="580" y="25"/>
                      <a:pt x="580" y="20"/>
                    </a:cubicBezTo>
                    <a:cubicBezTo>
                      <a:pt x="580" y="10"/>
                      <a:pt x="559" y="0"/>
                      <a:pt x="545" y="0"/>
                    </a:cubicBezTo>
                    <a:cubicBezTo>
                      <a:pt x="535" y="0"/>
                      <a:pt x="526" y="8"/>
                      <a:pt x="519" y="16"/>
                    </a:cubicBezTo>
                    <a:cubicBezTo>
                      <a:pt x="344" y="210"/>
                      <a:pt x="344" y="210"/>
                      <a:pt x="344" y="210"/>
                    </a:cubicBezTo>
                    <a:cubicBezTo>
                      <a:pt x="336" y="219"/>
                      <a:pt x="334" y="224"/>
                      <a:pt x="334" y="229"/>
                    </a:cubicBezTo>
                    <a:cubicBezTo>
                      <a:pt x="334" y="234"/>
                      <a:pt x="336" y="239"/>
                      <a:pt x="344" y="248"/>
                    </a:cubicBezTo>
                    <a:cubicBezTo>
                      <a:pt x="519" y="442"/>
                      <a:pt x="519" y="442"/>
                      <a:pt x="519" y="442"/>
                    </a:cubicBezTo>
                    <a:cubicBezTo>
                      <a:pt x="526" y="450"/>
                      <a:pt x="535" y="458"/>
                      <a:pt x="545" y="458"/>
                    </a:cubicBezTo>
                    <a:cubicBezTo>
                      <a:pt x="559" y="458"/>
                      <a:pt x="580" y="448"/>
                      <a:pt x="580" y="438"/>
                    </a:cubicBezTo>
                    <a:cubicBezTo>
                      <a:pt x="580" y="433"/>
                      <a:pt x="576" y="428"/>
                      <a:pt x="570" y="421"/>
                    </a:cubicBezTo>
                    <a:cubicBezTo>
                      <a:pt x="411" y="245"/>
                      <a:pt x="411" y="245"/>
                      <a:pt x="411" y="245"/>
                    </a:cubicBezTo>
                    <a:cubicBezTo>
                      <a:pt x="403" y="236"/>
                      <a:pt x="399" y="232"/>
                      <a:pt x="399" y="229"/>
                    </a:cubicBezTo>
                    <a:cubicBezTo>
                      <a:pt x="399" y="226"/>
                      <a:pt x="403" y="222"/>
                      <a:pt x="411" y="213"/>
                    </a:cubicBezTo>
                    <a:moveTo>
                      <a:pt x="252" y="439"/>
                    </a:moveTo>
                    <a:cubicBezTo>
                      <a:pt x="252" y="449"/>
                      <a:pt x="261" y="454"/>
                      <a:pt x="281" y="454"/>
                    </a:cubicBezTo>
                    <a:cubicBezTo>
                      <a:pt x="300" y="454"/>
                      <a:pt x="309" y="449"/>
                      <a:pt x="309" y="439"/>
                    </a:cubicBezTo>
                    <a:cubicBezTo>
                      <a:pt x="309" y="19"/>
                      <a:pt x="309" y="19"/>
                      <a:pt x="309" y="19"/>
                    </a:cubicBezTo>
                    <a:cubicBezTo>
                      <a:pt x="309" y="9"/>
                      <a:pt x="300" y="4"/>
                      <a:pt x="281" y="4"/>
                    </a:cubicBezTo>
                    <a:cubicBezTo>
                      <a:pt x="261" y="4"/>
                      <a:pt x="252" y="9"/>
                      <a:pt x="252" y="19"/>
                    </a:cubicBezTo>
                    <a:lnTo>
                      <a:pt x="252" y="439"/>
                    </a:lnTo>
                    <a:close/>
                    <a:moveTo>
                      <a:pt x="0" y="439"/>
                    </a:moveTo>
                    <a:cubicBezTo>
                      <a:pt x="0" y="449"/>
                      <a:pt x="8" y="454"/>
                      <a:pt x="28" y="454"/>
                    </a:cubicBezTo>
                    <a:cubicBezTo>
                      <a:pt x="48" y="454"/>
                      <a:pt x="56" y="449"/>
                      <a:pt x="56" y="439"/>
                    </a:cubicBezTo>
                    <a:cubicBezTo>
                      <a:pt x="56" y="157"/>
                      <a:pt x="56" y="157"/>
                      <a:pt x="56" y="157"/>
                    </a:cubicBezTo>
                    <a:cubicBezTo>
                      <a:pt x="56" y="83"/>
                      <a:pt x="85" y="53"/>
                      <a:pt x="165" y="53"/>
                    </a:cubicBezTo>
                    <a:cubicBezTo>
                      <a:pt x="180" y="53"/>
                      <a:pt x="180" y="53"/>
                      <a:pt x="180" y="53"/>
                    </a:cubicBezTo>
                    <a:cubicBezTo>
                      <a:pt x="192" y="53"/>
                      <a:pt x="196" y="43"/>
                      <a:pt x="196" y="27"/>
                    </a:cubicBezTo>
                    <a:cubicBezTo>
                      <a:pt x="196" y="8"/>
                      <a:pt x="185" y="4"/>
                      <a:pt x="154" y="4"/>
                    </a:cubicBezTo>
                    <a:cubicBezTo>
                      <a:pt x="64" y="4"/>
                      <a:pt x="0" y="43"/>
                      <a:pt x="0" y="152"/>
                    </a:cubicBezTo>
                    <a:lnTo>
                      <a:pt x="0" y="43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sp>
            <p:nvSpPr>
              <p:cNvPr id="25" name="Freeform 10">
                <a:extLst>
                  <a:ext uri="{FF2B5EF4-FFF2-40B4-BE49-F238E27FC236}">
                    <a16:creationId xmlns:a16="http://schemas.microsoft.com/office/drawing/2014/main" id="{2B91B16B-BC11-E547-8FAC-B9B8D18EA449}"/>
                  </a:ext>
                </a:extLst>
              </p:cNvPr>
              <p:cNvSpPr>
                <a:spLocks/>
              </p:cNvSpPr>
              <p:nvPr/>
            </p:nvSpPr>
            <p:spPr bwMode="gray">
              <a:xfrm>
                <a:off x="2880" y="1704"/>
                <a:ext cx="618" cy="916"/>
              </a:xfrm>
              <a:custGeom>
                <a:avLst/>
                <a:gdLst>
                  <a:gd name="T0" fmla="*/ 307 w 307"/>
                  <a:gd name="T1" fmla="*/ 405 h 455"/>
                  <a:gd name="T2" fmla="*/ 307 w 307"/>
                  <a:gd name="T3" fmla="*/ 244 h 455"/>
                  <a:gd name="T4" fmla="*/ 279 w 307"/>
                  <a:gd name="T5" fmla="*/ 229 h 455"/>
                  <a:gd name="T6" fmla="*/ 250 w 307"/>
                  <a:gd name="T7" fmla="*/ 244 h 455"/>
                  <a:gd name="T8" fmla="*/ 250 w 307"/>
                  <a:gd name="T9" fmla="*/ 378 h 455"/>
                  <a:gd name="T10" fmla="*/ 199 w 307"/>
                  <a:gd name="T11" fmla="*/ 408 h 455"/>
                  <a:gd name="T12" fmla="*/ 61 w 307"/>
                  <a:gd name="T13" fmla="*/ 231 h 455"/>
                  <a:gd name="T14" fmla="*/ 238 w 307"/>
                  <a:gd name="T15" fmla="*/ 49 h 455"/>
                  <a:gd name="T16" fmla="*/ 270 w 307"/>
                  <a:gd name="T17" fmla="*/ 49 h 455"/>
                  <a:gd name="T18" fmla="*/ 286 w 307"/>
                  <a:gd name="T19" fmla="*/ 23 h 455"/>
                  <a:gd name="T20" fmla="*/ 244 w 307"/>
                  <a:gd name="T21" fmla="*/ 0 h 455"/>
                  <a:gd name="T22" fmla="*/ 231 w 307"/>
                  <a:gd name="T23" fmla="*/ 0 h 455"/>
                  <a:gd name="T24" fmla="*/ 0 w 307"/>
                  <a:gd name="T25" fmla="*/ 232 h 455"/>
                  <a:gd name="T26" fmla="*/ 198 w 307"/>
                  <a:gd name="T27" fmla="*/ 455 h 455"/>
                  <a:gd name="T28" fmla="*/ 307 w 307"/>
                  <a:gd name="T29" fmla="*/ 405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7" h="455">
                    <a:moveTo>
                      <a:pt x="307" y="405"/>
                    </a:moveTo>
                    <a:cubicBezTo>
                      <a:pt x="307" y="244"/>
                      <a:pt x="307" y="244"/>
                      <a:pt x="307" y="244"/>
                    </a:cubicBezTo>
                    <a:cubicBezTo>
                      <a:pt x="307" y="234"/>
                      <a:pt x="298" y="229"/>
                      <a:pt x="279" y="229"/>
                    </a:cubicBezTo>
                    <a:cubicBezTo>
                      <a:pt x="259" y="229"/>
                      <a:pt x="250" y="234"/>
                      <a:pt x="250" y="244"/>
                    </a:cubicBezTo>
                    <a:cubicBezTo>
                      <a:pt x="250" y="378"/>
                      <a:pt x="250" y="378"/>
                      <a:pt x="250" y="378"/>
                    </a:cubicBezTo>
                    <a:cubicBezTo>
                      <a:pt x="250" y="399"/>
                      <a:pt x="241" y="408"/>
                      <a:pt x="199" y="408"/>
                    </a:cubicBezTo>
                    <a:cubicBezTo>
                      <a:pt x="114" y="408"/>
                      <a:pt x="61" y="342"/>
                      <a:pt x="61" y="231"/>
                    </a:cubicBezTo>
                    <a:cubicBezTo>
                      <a:pt x="61" y="115"/>
                      <a:pt x="126" y="49"/>
                      <a:pt x="238" y="49"/>
                    </a:cubicBezTo>
                    <a:cubicBezTo>
                      <a:pt x="270" y="49"/>
                      <a:pt x="270" y="49"/>
                      <a:pt x="270" y="49"/>
                    </a:cubicBezTo>
                    <a:cubicBezTo>
                      <a:pt x="282" y="49"/>
                      <a:pt x="286" y="39"/>
                      <a:pt x="286" y="23"/>
                    </a:cubicBezTo>
                    <a:cubicBezTo>
                      <a:pt x="286" y="4"/>
                      <a:pt x="275" y="0"/>
                      <a:pt x="244" y="0"/>
                    </a:cubicBezTo>
                    <a:cubicBezTo>
                      <a:pt x="231" y="0"/>
                      <a:pt x="231" y="0"/>
                      <a:pt x="231" y="0"/>
                    </a:cubicBezTo>
                    <a:cubicBezTo>
                      <a:pt x="101" y="0"/>
                      <a:pt x="0" y="71"/>
                      <a:pt x="0" y="232"/>
                    </a:cubicBezTo>
                    <a:cubicBezTo>
                      <a:pt x="0" y="386"/>
                      <a:pt x="88" y="455"/>
                      <a:pt x="198" y="455"/>
                    </a:cubicBezTo>
                    <a:cubicBezTo>
                      <a:pt x="286" y="455"/>
                      <a:pt x="307" y="430"/>
                      <a:pt x="307" y="40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sp>
            <p:nvSpPr>
              <p:cNvPr id="26" name="Oval 11">
                <a:extLst>
                  <a:ext uri="{FF2B5EF4-FFF2-40B4-BE49-F238E27FC236}">
                    <a16:creationId xmlns:a16="http://schemas.microsoft.com/office/drawing/2014/main" id="{14F8C3C8-4888-7646-B9B4-64EB46A1DA23}"/>
                  </a:ext>
                </a:extLst>
              </p:cNvPr>
              <p:cNvSpPr>
                <a:spLocks noChangeArrowheads="1"/>
              </p:cNvSpPr>
              <p:nvPr/>
            </p:nvSpPr>
            <p:spPr bwMode="gray">
              <a:xfrm>
                <a:off x="3778" y="2099"/>
                <a:ext cx="122" cy="12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sp>
            <p:nvSpPr>
              <p:cNvPr id="27" name="Freeform 12">
                <a:extLst>
                  <a:ext uri="{FF2B5EF4-FFF2-40B4-BE49-F238E27FC236}">
                    <a16:creationId xmlns:a16="http://schemas.microsoft.com/office/drawing/2014/main" id="{D79D01D1-4E3E-F34B-97D7-2D387E68746E}"/>
                  </a:ext>
                </a:extLst>
              </p:cNvPr>
              <p:cNvSpPr>
                <a:spLocks/>
              </p:cNvSpPr>
              <p:nvPr/>
            </p:nvSpPr>
            <p:spPr bwMode="gray">
              <a:xfrm>
                <a:off x="4321" y="1029"/>
                <a:ext cx="648" cy="649"/>
              </a:xfrm>
              <a:custGeom>
                <a:avLst/>
                <a:gdLst>
                  <a:gd name="T0" fmla="*/ 0 w 648"/>
                  <a:gd name="T1" fmla="*/ 649 h 649"/>
                  <a:gd name="T2" fmla="*/ 2 w 648"/>
                  <a:gd name="T3" fmla="*/ 649 h 649"/>
                  <a:gd name="T4" fmla="*/ 648 w 648"/>
                  <a:gd name="T5" fmla="*/ 0 h 649"/>
                  <a:gd name="T6" fmla="*/ 423 w 648"/>
                  <a:gd name="T7" fmla="*/ 0 h 649"/>
                  <a:gd name="T8" fmla="*/ 0 w 648"/>
                  <a:gd name="T9" fmla="*/ 649 h 649"/>
                </a:gdLst>
                <a:ahLst/>
                <a:cxnLst>
                  <a:cxn ang="0">
                    <a:pos x="T0" y="T1"/>
                  </a:cxn>
                  <a:cxn ang="0">
                    <a:pos x="T2" y="T3"/>
                  </a:cxn>
                  <a:cxn ang="0">
                    <a:pos x="T4" y="T5"/>
                  </a:cxn>
                  <a:cxn ang="0">
                    <a:pos x="T6" y="T7"/>
                  </a:cxn>
                  <a:cxn ang="0">
                    <a:pos x="T8" y="T9"/>
                  </a:cxn>
                </a:cxnLst>
                <a:rect l="0" t="0" r="r" b="b"/>
                <a:pathLst>
                  <a:path w="648" h="649">
                    <a:moveTo>
                      <a:pt x="0" y="649"/>
                    </a:moveTo>
                    <a:lnTo>
                      <a:pt x="2" y="649"/>
                    </a:lnTo>
                    <a:lnTo>
                      <a:pt x="648" y="0"/>
                    </a:lnTo>
                    <a:lnTo>
                      <a:pt x="423" y="0"/>
                    </a:lnTo>
                    <a:lnTo>
                      <a:pt x="0" y="64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sp>
            <p:nvSpPr>
              <p:cNvPr id="28" name="Freeform 13">
                <a:extLst>
                  <a:ext uri="{FF2B5EF4-FFF2-40B4-BE49-F238E27FC236}">
                    <a16:creationId xmlns:a16="http://schemas.microsoft.com/office/drawing/2014/main" id="{46549898-6C52-B147-A8F6-A73FDBE6163B}"/>
                  </a:ext>
                </a:extLst>
              </p:cNvPr>
              <p:cNvSpPr>
                <a:spLocks/>
              </p:cNvSpPr>
              <p:nvPr/>
            </p:nvSpPr>
            <p:spPr bwMode="gray">
              <a:xfrm>
                <a:off x="4321" y="1029"/>
                <a:ext cx="648" cy="649"/>
              </a:xfrm>
              <a:custGeom>
                <a:avLst/>
                <a:gdLst>
                  <a:gd name="T0" fmla="*/ 0 w 648"/>
                  <a:gd name="T1" fmla="*/ 649 h 649"/>
                  <a:gd name="T2" fmla="*/ 2 w 648"/>
                  <a:gd name="T3" fmla="*/ 649 h 649"/>
                  <a:gd name="T4" fmla="*/ 648 w 648"/>
                  <a:gd name="T5" fmla="*/ 0 h 649"/>
                  <a:gd name="T6" fmla="*/ 423 w 648"/>
                  <a:gd name="T7" fmla="*/ 0 h 649"/>
                  <a:gd name="T8" fmla="*/ 0 w 648"/>
                  <a:gd name="T9" fmla="*/ 649 h 649"/>
                </a:gdLst>
                <a:ahLst/>
                <a:cxnLst>
                  <a:cxn ang="0">
                    <a:pos x="T0" y="T1"/>
                  </a:cxn>
                  <a:cxn ang="0">
                    <a:pos x="T2" y="T3"/>
                  </a:cxn>
                  <a:cxn ang="0">
                    <a:pos x="T4" y="T5"/>
                  </a:cxn>
                  <a:cxn ang="0">
                    <a:pos x="T6" y="T7"/>
                  </a:cxn>
                  <a:cxn ang="0">
                    <a:pos x="T8" y="T9"/>
                  </a:cxn>
                </a:cxnLst>
                <a:rect l="0" t="0" r="r" b="b"/>
                <a:pathLst>
                  <a:path w="648" h="649">
                    <a:moveTo>
                      <a:pt x="0" y="649"/>
                    </a:moveTo>
                    <a:lnTo>
                      <a:pt x="2" y="649"/>
                    </a:lnTo>
                    <a:lnTo>
                      <a:pt x="648" y="0"/>
                    </a:lnTo>
                    <a:lnTo>
                      <a:pt x="423" y="0"/>
                    </a:lnTo>
                    <a:lnTo>
                      <a:pt x="0" y="64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grpSp>
      </p:grpSp>
      <p:sp>
        <p:nvSpPr>
          <p:cNvPr id="7" name="Date Placeholder 6"/>
          <p:cNvSpPr>
            <a:spLocks noGrp="1"/>
          </p:cNvSpPr>
          <p:nvPr>
            <p:ph type="dt" sz="half" idx="10"/>
          </p:nvPr>
        </p:nvSpPr>
        <p:spPr>
          <a:xfrm>
            <a:off x="0" y="0"/>
            <a:ext cx="0" cy="0"/>
          </a:xfrm>
          <a:prstGeom prst="rect">
            <a:avLst/>
          </a:prstGeom>
        </p:spPr>
        <p:txBody>
          <a:bodyPr/>
          <a:lstStyle>
            <a:lvl1pPr>
              <a:defRPr sz="100">
                <a:noFill/>
              </a:defRPr>
            </a:lvl1pPr>
          </a:lstStyle>
          <a:p>
            <a:fld id="{3EA3BA3C-82AC-45BA-9659-DD8E28BB5C16}" type="datetime5">
              <a:rPr lang="en-US" smtClean="0"/>
              <a:t>26-Jun-20</a:t>
            </a:fld>
            <a:endParaRPr lang="en-US" dirty="0"/>
          </a:p>
        </p:txBody>
      </p:sp>
      <p:sp>
        <p:nvSpPr>
          <p:cNvPr id="8" name="Footer Placeholder 7"/>
          <p:cNvSpPr>
            <a:spLocks noGrp="1"/>
          </p:cNvSpPr>
          <p:nvPr>
            <p:ph type="ftr" sz="quarter" idx="11"/>
          </p:nvPr>
        </p:nvSpPr>
        <p:spPr>
          <a:xfrm>
            <a:off x="0" y="0"/>
            <a:ext cx="0" cy="0"/>
          </a:xfrm>
          <a:prstGeom prst="rect">
            <a:avLst/>
          </a:prstGeom>
        </p:spPr>
        <p:txBody>
          <a:bodyPr/>
          <a:lstStyle>
            <a:lvl1pPr marL="0" indent="0">
              <a:buNone/>
              <a:defRPr sz="100">
                <a:noFill/>
              </a:defRPr>
            </a:lvl1pPr>
          </a:lstStyle>
          <a:p>
            <a:r>
              <a:rPr lang="en-US"/>
              <a:t>Title of presentation (Insert / Header &amp; Footer / Apply to All)</a:t>
            </a:r>
            <a:endParaRPr lang="en-US" dirty="0"/>
          </a:p>
        </p:txBody>
      </p:sp>
      <p:sp>
        <p:nvSpPr>
          <p:cNvPr id="9" name="Slide Number Placeholder 8"/>
          <p:cNvSpPr>
            <a:spLocks noGrp="1"/>
          </p:cNvSpPr>
          <p:nvPr>
            <p:ph type="sldNum" sz="quarter" idx="12"/>
          </p:nvPr>
        </p:nvSpPr>
        <p:spPr>
          <a:xfrm>
            <a:off x="0" y="0"/>
            <a:ext cx="0" cy="0"/>
          </a:xfrm>
          <a:prstGeom prst="rect">
            <a:avLst/>
          </a:prstGeom>
        </p:spPr>
        <p:txBody>
          <a:bodyPr/>
          <a:lstStyle>
            <a:lvl1pPr>
              <a:defRPr sz="100">
                <a:noFill/>
              </a:defRPr>
            </a:lvl1pPr>
          </a:lstStyle>
          <a:p>
            <a:fld id="{8E3B25F7-8D1F-44B5-B485-EE3C438CFD7B}" type="slidenum">
              <a:rPr lang="en-US" smtClean="0"/>
              <a:pPr/>
              <a:t>‹#›</a:t>
            </a:fld>
            <a:endParaRPr lang="en-US"/>
          </a:p>
        </p:txBody>
      </p:sp>
      <p:sp>
        <p:nvSpPr>
          <p:cNvPr id="2" name="Title 1"/>
          <p:cNvSpPr>
            <a:spLocks noGrp="1"/>
          </p:cNvSpPr>
          <p:nvPr>
            <p:ph type="ctrTitle" hasCustomPrompt="1"/>
          </p:nvPr>
        </p:nvSpPr>
        <p:spPr>
          <a:xfrm>
            <a:off x="417600" y="1628775"/>
            <a:ext cx="3816000" cy="2236264"/>
          </a:xfrm>
        </p:spPr>
        <p:txBody>
          <a:bodyPr anchor="b"/>
          <a:lstStyle>
            <a:lvl1pPr algn="l">
              <a:defRPr sz="3600" baseline="0"/>
            </a:lvl1pPr>
          </a:lstStyle>
          <a:p>
            <a:r>
              <a:rPr lang="en-US" dirty="0"/>
              <a:t>Click to add presentation title</a:t>
            </a:r>
          </a:p>
        </p:txBody>
      </p:sp>
      <p:sp>
        <p:nvSpPr>
          <p:cNvPr id="3" name="Subtitle 2"/>
          <p:cNvSpPr>
            <a:spLocks noGrp="1"/>
          </p:cNvSpPr>
          <p:nvPr>
            <p:ph type="subTitle" idx="1" hasCustomPrompt="1"/>
          </p:nvPr>
        </p:nvSpPr>
        <p:spPr>
          <a:xfrm>
            <a:off x="417600" y="4094163"/>
            <a:ext cx="3816000" cy="1080000"/>
          </a:xfrm>
        </p:spPr>
        <p:txBody>
          <a:bodyPr/>
          <a:lstStyle>
            <a:lvl1pPr marL="0" indent="0" algn="l">
              <a:spcBef>
                <a:spcPts val="0"/>
              </a:spcBef>
              <a:buNone/>
              <a:defRPr sz="1800" b="1"/>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31" name="Text Placeholder 30"/>
          <p:cNvSpPr>
            <a:spLocks noGrp="1"/>
          </p:cNvSpPr>
          <p:nvPr>
            <p:ph type="body" sz="quarter" idx="14" hasCustomPrompt="1"/>
          </p:nvPr>
        </p:nvSpPr>
        <p:spPr>
          <a:xfrm>
            <a:off x="417600" y="5393268"/>
            <a:ext cx="3816000" cy="296332"/>
          </a:xfrm>
        </p:spPr>
        <p:txBody>
          <a:bodyPr wrap="none"/>
          <a:lstStyle>
            <a:lvl1pPr marL="0" indent="0">
              <a:spcBef>
                <a:spcPts val="0"/>
              </a:spcBef>
              <a:buNone/>
              <a:defRPr sz="1200"/>
            </a:lvl1pPr>
            <a:lvl2pPr marL="0" indent="0">
              <a:buNone/>
              <a:defRPr sz="1200"/>
            </a:lvl2pPr>
            <a:lvl3pPr marL="0" indent="0">
              <a:buNone/>
              <a:defRPr sz="1200"/>
            </a:lvl3pPr>
            <a:lvl4pPr marL="0">
              <a:buNone/>
              <a:defRPr sz="1200"/>
            </a:lvl4pPr>
            <a:lvl5pPr marL="0" indent="0">
              <a:buNone/>
              <a:defRPr sz="1200"/>
            </a:lvl5pPr>
          </a:lstStyle>
          <a:p>
            <a:pPr lvl="0"/>
            <a:r>
              <a:rPr lang="en-US" dirty="0"/>
              <a:t>Name</a:t>
            </a:r>
          </a:p>
        </p:txBody>
      </p:sp>
      <p:sp>
        <p:nvSpPr>
          <p:cNvPr id="34" name="Text Placeholder 30"/>
          <p:cNvSpPr>
            <a:spLocks noGrp="1"/>
          </p:cNvSpPr>
          <p:nvPr>
            <p:ph type="body" sz="quarter" idx="15" hasCustomPrompt="1"/>
          </p:nvPr>
        </p:nvSpPr>
        <p:spPr>
          <a:xfrm>
            <a:off x="417600" y="5691446"/>
            <a:ext cx="3816000" cy="296332"/>
          </a:xfrm>
        </p:spPr>
        <p:txBody>
          <a:bodyPr wrap="none"/>
          <a:lstStyle>
            <a:lvl1pPr marL="0" indent="0">
              <a:spcBef>
                <a:spcPts val="0"/>
              </a:spcBef>
              <a:buNone/>
              <a:defRPr sz="1200"/>
            </a:lvl1pPr>
            <a:lvl2pPr marL="0" indent="0">
              <a:buNone/>
              <a:defRPr sz="1200"/>
            </a:lvl2pPr>
            <a:lvl3pPr marL="0" indent="0">
              <a:buNone/>
              <a:defRPr sz="1200"/>
            </a:lvl3pPr>
            <a:lvl4pPr marL="0">
              <a:buNone/>
              <a:defRPr sz="1200"/>
            </a:lvl4pPr>
            <a:lvl5pPr marL="0" indent="0">
              <a:buNone/>
              <a:defRPr sz="1200"/>
            </a:lvl5pPr>
          </a:lstStyle>
          <a:p>
            <a:pPr lvl="0"/>
            <a:r>
              <a:rPr lang="en-US" dirty="0"/>
              <a:t>Department</a:t>
            </a:r>
          </a:p>
        </p:txBody>
      </p:sp>
    </p:spTree>
    <p:extLst>
      <p:ext uri="{BB962C8B-B14F-4D97-AF65-F5344CB8AC3E}">
        <p14:creationId xmlns:p14="http://schemas.microsoft.com/office/powerpoint/2010/main" val="396870423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Four contacts">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p>
            <a:r>
              <a:rPr lang="en-US"/>
              <a:t>Click to add headline</a:t>
            </a:r>
          </a:p>
        </p:txBody>
      </p:sp>
      <p:sp>
        <p:nvSpPr>
          <p:cNvPr id="13" name="Picture Placeholder 4"/>
          <p:cNvSpPr>
            <a:spLocks noGrp="1"/>
          </p:cNvSpPr>
          <p:nvPr>
            <p:ph type="pic" sz="quarter" idx="15" hasCustomPrompt="1"/>
          </p:nvPr>
        </p:nvSpPr>
        <p:spPr bwMode="gray">
          <a:xfrm>
            <a:off x="431371" y="4101325"/>
            <a:ext cx="1728192" cy="2208000"/>
          </a:xfrm>
        </p:spPr>
        <p:txBody>
          <a:bodyPr/>
          <a:lstStyle>
            <a:lvl1pPr marL="0" indent="0">
              <a:buNone/>
              <a:defRPr/>
            </a:lvl1pPr>
          </a:lstStyle>
          <a:p>
            <a:r>
              <a:rPr lang="de-DE"/>
              <a:t>Picture</a:t>
            </a:r>
            <a:endParaRPr lang="en-US"/>
          </a:p>
        </p:txBody>
      </p:sp>
      <p:sp>
        <p:nvSpPr>
          <p:cNvPr id="14" name="Text Placeholder 3"/>
          <p:cNvSpPr>
            <a:spLocks noGrp="1"/>
          </p:cNvSpPr>
          <p:nvPr>
            <p:ph type="body" sz="quarter" idx="18" hasCustomPrompt="1"/>
          </p:nvPr>
        </p:nvSpPr>
        <p:spPr bwMode="gray">
          <a:xfrm>
            <a:off x="2351590" y="5445309"/>
            <a:ext cx="3648404" cy="288032"/>
          </a:xfrm>
        </p:spPr>
        <p:txBody>
          <a:bodyPr tIns="0" anchor="b" anchorCtr="0"/>
          <a:lstStyle>
            <a:lvl1pPr marL="0" indent="0">
              <a:spcBef>
                <a:spcPts val="0"/>
              </a:spcBef>
              <a:spcAft>
                <a:spcPts val="0"/>
              </a:spcAft>
              <a:buNone/>
              <a:defRPr sz="1598">
                <a:solidFill>
                  <a:schemeClr val="tx1"/>
                </a:solidFill>
              </a:defRPr>
            </a:lvl1pPr>
            <a:lvl2pPr marL="0" indent="0">
              <a:spcBef>
                <a:spcPts val="0"/>
              </a:spcBef>
              <a:spcAft>
                <a:spcPts val="0"/>
              </a:spcAft>
              <a:buNone/>
              <a:defRPr sz="1598"/>
            </a:lvl2pPr>
            <a:lvl3pPr marL="0" indent="0" algn="l">
              <a:spcBef>
                <a:spcPts val="0"/>
              </a:spcBef>
              <a:spcAft>
                <a:spcPts val="0"/>
              </a:spcAft>
              <a:buFontTx/>
              <a:buNone/>
              <a:tabLst>
                <a:tab pos="839519" algn="l"/>
              </a:tabLst>
              <a:defRPr sz="1598"/>
            </a:lvl3pPr>
            <a:lvl4pPr marL="0" indent="0" algn="l">
              <a:spcBef>
                <a:spcPts val="0"/>
              </a:spcBef>
              <a:spcAft>
                <a:spcPts val="0"/>
              </a:spcAft>
              <a:buFontTx/>
              <a:buNone/>
              <a:defRPr sz="1598">
                <a:solidFill>
                  <a:schemeClr val="tx1"/>
                </a:solidFill>
              </a:defRPr>
            </a:lvl4pPr>
            <a:lvl5pPr marL="0" indent="0" algn="l">
              <a:spcBef>
                <a:spcPts val="0"/>
              </a:spcBef>
              <a:spcAft>
                <a:spcPts val="0"/>
              </a:spcAft>
              <a:buFontTx/>
              <a:buNone/>
              <a:defRPr sz="1598"/>
            </a:lvl5pPr>
            <a:lvl6pPr marL="0" indent="0" algn="l">
              <a:spcBef>
                <a:spcPts val="0"/>
              </a:spcBef>
              <a:spcAft>
                <a:spcPts val="0"/>
              </a:spcAft>
              <a:buFontTx/>
              <a:buNone/>
              <a:defRPr sz="1598"/>
            </a:lvl6pPr>
            <a:lvl7pPr marL="0" indent="0" algn="l">
              <a:spcBef>
                <a:spcPts val="0"/>
              </a:spcBef>
              <a:spcAft>
                <a:spcPts val="0"/>
              </a:spcAft>
              <a:buFontTx/>
              <a:buNone/>
              <a:defRPr sz="1598"/>
            </a:lvl7pPr>
            <a:lvl8pPr marL="0" indent="0" algn="l">
              <a:spcBef>
                <a:spcPts val="0"/>
              </a:spcBef>
              <a:spcAft>
                <a:spcPts val="0"/>
              </a:spcAft>
              <a:buFontTx/>
              <a:buNone/>
              <a:defRPr sz="1598"/>
            </a:lvl8pPr>
            <a:lvl9pPr marL="0" indent="0" algn="l">
              <a:spcBef>
                <a:spcPts val="0"/>
              </a:spcBef>
              <a:spcAft>
                <a:spcPts val="0"/>
              </a:spcAft>
              <a:buFontTx/>
              <a:buNone/>
              <a:defRPr sz="1598"/>
            </a:lvl9pPr>
          </a:lstStyle>
          <a:p>
            <a:pPr lvl="4"/>
            <a:r>
              <a:rPr lang="en-US"/>
              <a:t>[phone number]</a:t>
            </a:r>
          </a:p>
        </p:txBody>
      </p:sp>
      <p:sp>
        <p:nvSpPr>
          <p:cNvPr id="17" name="Text Placeholder 3"/>
          <p:cNvSpPr>
            <a:spLocks noGrp="1"/>
          </p:cNvSpPr>
          <p:nvPr>
            <p:ph type="body" sz="quarter" idx="19" hasCustomPrompt="1"/>
          </p:nvPr>
        </p:nvSpPr>
        <p:spPr bwMode="gray">
          <a:xfrm>
            <a:off x="2351584" y="4869247"/>
            <a:ext cx="3648405" cy="575999"/>
          </a:xfrm>
        </p:spPr>
        <p:txBody>
          <a:bodyPr tIns="36000" anchor="t" anchorCtr="0"/>
          <a:lstStyle>
            <a:lvl1pPr marL="0" indent="0">
              <a:spcBef>
                <a:spcPts val="0"/>
              </a:spcBef>
              <a:spcAft>
                <a:spcPts val="0"/>
              </a:spcAft>
              <a:buNone/>
              <a:defRPr sz="1598">
                <a:solidFill>
                  <a:schemeClr val="tx1"/>
                </a:solidFill>
              </a:defRPr>
            </a:lvl1pPr>
            <a:lvl2pPr marL="0" indent="0">
              <a:spcBef>
                <a:spcPts val="0"/>
              </a:spcBef>
              <a:spcAft>
                <a:spcPts val="0"/>
              </a:spcAft>
              <a:buNone/>
              <a:defRPr sz="1598"/>
            </a:lvl2pPr>
            <a:lvl3pPr marL="0" indent="0" algn="l">
              <a:spcBef>
                <a:spcPts val="0"/>
              </a:spcBef>
              <a:spcAft>
                <a:spcPts val="0"/>
              </a:spcAft>
              <a:buFontTx/>
              <a:buNone/>
              <a:tabLst>
                <a:tab pos="839519" algn="l"/>
              </a:tabLst>
              <a:defRPr sz="1598"/>
            </a:lvl3pPr>
            <a:lvl4pPr marL="0" indent="0" algn="l">
              <a:spcBef>
                <a:spcPts val="0"/>
              </a:spcBef>
              <a:spcAft>
                <a:spcPts val="0"/>
              </a:spcAft>
              <a:buFontTx/>
              <a:buNone/>
              <a:defRPr sz="1598">
                <a:solidFill>
                  <a:schemeClr val="tx1"/>
                </a:solidFill>
              </a:defRPr>
            </a:lvl4pPr>
            <a:lvl5pPr marL="0" indent="0" algn="l">
              <a:spcBef>
                <a:spcPts val="0"/>
              </a:spcBef>
              <a:spcAft>
                <a:spcPts val="0"/>
              </a:spcAft>
              <a:buFontTx/>
              <a:buNone/>
              <a:defRPr sz="1598"/>
            </a:lvl5pPr>
            <a:lvl6pPr marL="0" indent="0" algn="l">
              <a:spcBef>
                <a:spcPts val="0"/>
              </a:spcBef>
              <a:spcAft>
                <a:spcPts val="0"/>
              </a:spcAft>
              <a:buFontTx/>
              <a:buNone/>
              <a:defRPr sz="1598"/>
            </a:lvl6pPr>
            <a:lvl7pPr marL="0" indent="0" algn="l">
              <a:spcBef>
                <a:spcPts val="0"/>
              </a:spcBef>
              <a:spcAft>
                <a:spcPts val="0"/>
              </a:spcAft>
              <a:buFontTx/>
              <a:buNone/>
              <a:defRPr sz="1598"/>
            </a:lvl7pPr>
            <a:lvl8pPr marL="0" indent="0" algn="l">
              <a:spcBef>
                <a:spcPts val="0"/>
              </a:spcBef>
              <a:spcAft>
                <a:spcPts val="0"/>
              </a:spcAft>
              <a:buFontTx/>
              <a:buNone/>
              <a:defRPr sz="1598"/>
            </a:lvl8pPr>
            <a:lvl9pPr marL="0" indent="0" algn="l">
              <a:spcBef>
                <a:spcPts val="0"/>
              </a:spcBef>
              <a:spcAft>
                <a:spcPts val="0"/>
              </a:spcAft>
              <a:buFontTx/>
              <a:buNone/>
              <a:defRPr sz="1598"/>
            </a:lvl9pPr>
          </a:lstStyle>
          <a:p>
            <a:pPr lvl="4"/>
            <a:r>
              <a:rPr lang="en-US"/>
              <a:t>[title]</a:t>
            </a:r>
          </a:p>
        </p:txBody>
      </p:sp>
      <p:sp>
        <p:nvSpPr>
          <p:cNvPr id="19" name="Text Placeholder 3"/>
          <p:cNvSpPr>
            <a:spLocks noGrp="1"/>
          </p:cNvSpPr>
          <p:nvPr>
            <p:ph type="body" sz="quarter" idx="26" hasCustomPrompt="1"/>
          </p:nvPr>
        </p:nvSpPr>
        <p:spPr bwMode="gray">
          <a:xfrm>
            <a:off x="2351584" y="5733340"/>
            <a:ext cx="3648405" cy="288032"/>
          </a:xfrm>
        </p:spPr>
        <p:txBody>
          <a:bodyPr tIns="0" anchor="b" anchorCtr="0"/>
          <a:lstStyle>
            <a:lvl1pPr marL="0" indent="0">
              <a:spcBef>
                <a:spcPts val="0"/>
              </a:spcBef>
              <a:spcAft>
                <a:spcPts val="0"/>
              </a:spcAft>
              <a:buNone/>
              <a:defRPr sz="1598">
                <a:solidFill>
                  <a:schemeClr val="tx1"/>
                </a:solidFill>
              </a:defRPr>
            </a:lvl1pPr>
            <a:lvl2pPr marL="0" indent="0">
              <a:spcBef>
                <a:spcPts val="0"/>
              </a:spcBef>
              <a:spcAft>
                <a:spcPts val="0"/>
              </a:spcAft>
              <a:buNone/>
              <a:defRPr sz="1598"/>
            </a:lvl2pPr>
            <a:lvl3pPr marL="0" indent="0" algn="l">
              <a:spcBef>
                <a:spcPts val="0"/>
              </a:spcBef>
              <a:spcAft>
                <a:spcPts val="0"/>
              </a:spcAft>
              <a:buFontTx/>
              <a:buNone/>
              <a:tabLst>
                <a:tab pos="839519" algn="l"/>
              </a:tabLst>
              <a:defRPr sz="1598"/>
            </a:lvl3pPr>
            <a:lvl4pPr marL="0" indent="0" algn="l">
              <a:spcBef>
                <a:spcPts val="0"/>
              </a:spcBef>
              <a:spcAft>
                <a:spcPts val="0"/>
              </a:spcAft>
              <a:buFontTx/>
              <a:buNone/>
              <a:defRPr sz="1598">
                <a:solidFill>
                  <a:schemeClr val="tx1"/>
                </a:solidFill>
              </a:defRPr>
            </a:lvl4pPr>
            <a:lvl5pPr marL="0" indent="0" algn="l">
              <a:spcBef>
                <a:spcPts val="0"/>
              </a:spcBef>
              <a:spcAft>
                <a:spcPts val="0"/>
              </a:spcAft>
              <a:buFontTx/>
              <a:buNone/>
              <a:defRPr sz="1598"/>
            </a:lvl5pPr>
            <a:lvl6pPr marL="0" indent="0" algn="l">
              <a:spcBef>
                <a:spcPts val="0"/>
              </a:spcBef>
              <a:spcAft>
                <a:spcPts val="0"/>
              </a:spcAft>
              <a:buFontTx/>
              <a:buNone/>
              <a:defRPr sz="1598"/>
            </a:lvl6pPr>
            <a:lvl7pPr marL="0" indent="0" algn="l">
              <a:spcBef>
                <a:spcPts val="0"/>
              </a:spcBef>
              <a:spcAft>
                <a:spcPts val="0"/>
              </a:spcAft>
              <a:buFontTx/>
              <a:buNone/>
              <a:defRPr sz="1598"/>
            </a:lvl7pPr>
            <a:lvl8pPr marL="0" indent="0" algn="l">
              <a:spcBef>
                <a:spcPts val="0"/>
              </a:spcBef>
              <a:spcAft>
                <a:spcPts val="0"/>
              </a:spcAft>
              <a:buFontTx/>
              <a:buNone/>
              <a:defRPr sz="1598"/>
            </a:lvl8pPr>
            <a:lvl9pPr marL="0" indent="0" algn="l">
              <a:spcBef>
                <a:spcPts val="0"/>
              </a:spcBef>
              <a:spcAft>
                <a:spcPts val="0"/>
              </a:spcAft>
              <a:buFontTx/>
              <a:buNone/>
              <a:defRPr sz="1598"/>
            </a:lvl9pPr>
          </a:lstStyle>
          <a:p>
            <a:pPr lvl="4"/>
            <a:r>
              <a:rPr lang="en-US"/>
              <a:t>[email address]</a:t>
            </a:r>
          </a:p>
        </p:txBody>
      </p:sp>
      <p:sp>
        <p:nvSpPr>
          <p:cNvPr id="26" name="Text Placeholder 3"/>
          <p:cNvSpPr>
            <a:spLocks noGrp="1"/>
          </p:cNvSpPr>
          <p:nvPr>
            <p:ph type="body" sz="quarter" idx="27" hasCustomPrompt="1"/>
          </p:nvPr>
        </p:nvSpPr>
        <p:spPr bwMode="gray">
          <a:xfrm>
            <a:off x="2351691" y="6021369"/>
            <a:ext cx="3648301" cy="286685"/>
          </a:xfrm>
        </p:spPr>
        <p:txBody>
          <a:bodyPr tIns="0" anchor="b" anchorCtr="0"/>
          <a:lstStyle>
            <a:lvl1pPr marL="0" indent="0">
              <a:spcBef>
                <a:spcPts val="0"/>
              </a:spcBef>
              <a:spcAft>
                <a:spcPts val="0"/>
              </a:spcAft>
              <a:buNone/>
              <a:defRPr sz="1598">
                <a:solidFill>
                  <a:schemeClr val="tx1"/>
                </a:solidFill>
              </a:defRPr>
            </a:lvl1pPr>
            <a:lvl2pPr marL="0" indent="0">
              <a:spcBef>
                <a:spcPts val="0"/>
              </a:spcBef>
              <a:spcAft>
                <a:spcPts val="0"/>
              </a:spcAft>
              <a:buNone/>
              <a:defRPr sz="1598"/>
            </a:lvl2pPr>
            <a:lvl3pPr marL="0" indent="0" algn="l">
              <a:spcBef>
                <a:spcPts val="0"/>
              </a:spcBef>
              <a:spcAft>
                <a:spcPts val="0"/>
              </a:spcAft>
              <a:buFontTx/>
              <a:buNone/>
              <a:tabLst>
                <a:tab pos="839519" algn="l"/>
              </a:tabLst>
              <a:defRPr sz="1598"/>
            </a:lvl3pPr>
            <a:lvl4pPr marL="0" indent="0" algn="l">
              <a:spcBef>
                <a:spcPts val="0"/>
              </a:spcBef>
              <a:spcAft>
                <a:spcPts val="0"/>
              </a:spcAft>
              <a:buFontTx/>
              <a:buNone/>
              <a:defRPr sz="1598">
                <a:solidFill>
                  <a:schemeClr val="tx1"/>
                </a:solidFill>
              </a:defRPr>
            </a:lvl4pPr>
            <a:lvl5pPr marL="0" indent="0" algn="l">
              <a:spcBef>
                <a:spcPts val="0"/>
              </a:spcBef>
              <a:spcAft>
                <a:spcPts val="0"/>
              </a:spcAft>
              <a:buFontTx/>
              <a:buNone/>
              <a:defRPr sz="1598"/>
            </a:lvl5pPr>
            <a:lvl6pPr marL="0" indent="0" algn="l">
              <a:spcBef>
                <a:spcPts val="0"/>
              </a:spcBef>
              <a:spcAft>
                <a:spcPts val="0"/>
              </a:spcAft>
              <a:buFontTx/>
              <a:buNone/>
              <a:defRPr sz="1598"/>
            </a:lvl6pPr>
            <a:lvl7pPr marL="0" indent="0" algn="l">
              <a:spcBef>
                <a:spcPts val="0"/>
              </a:spcBef>
              <a:spcAft>
                <a:spcPts val="0"/>
              </a:spcAft>
              <a:buFontTx/>
              <a:buNone/>
              <a:defRPr sz="1598"/>
            </a:lvl7pPr>
            <a:lvl8pPr marL="0" indent="0" algn="l">
              <a:spcBef>
                <a:spcPts val="0"/>
              </a:spcBef>
              <a:spcAft>
                <a:spcPts val="0"/>
              </a:spcAft>
              <a:buFontTx/>
              <a:buNone/>
              <a:defRPr sz="1598"/>
            </a:lvl8pPr>
            <a:lvl9pPr marL="0" indent="0" algn="l">
              <a:spcBef>
                <a:spcPts val="0"/>
              </a:spcBef>
              <a:spcAft>
                <a:spcPts val="0"/>
              </a:spcAft>
              <a:buFontTx/>
              <a:buNone/>
              <a:defRPr sz="1598"/>
            </a:lvl9pPr>
          </a:lstStyle>
          <a:p>
            <a:pPr lvl="4"/>
            <a:r>
              <a:rPr lang="en-US"/>
              <a:t>[country]</a:t>
            </a:r>
          </a:p>
        </p:txBody>
      </p:sp>
      <p:sp>
        <p:nvSpPr>
          <p:cNvPr id="27" name="Picture Placeholder 4"/>
          <p:cNvSpPr>
            <a:spLocks noGrp="1"/>
          </p:cNvSpPr>
          <p:nvPr>
            <p:ph type="pic" sz="quarter" idx="28" hasCustomPrompt="1"/>
          </p:nvPr>
        </p:nvSpPr>
        <p:spPr bwMode="gray">
          <a:xfrm>
            <a:off x="6192971" y="4101325"/>
            <a:ext cx="1728192" cy="2208000"/>
          </a:xfrm>
        </p:spPr>
        <p:txBody>
          <a:bodyPr/>
          <a:lstStyle>
            <a:lvl1pPr marL="0" indent="0">
              <a:buNone/>
              <a:defRPr/>
            </a:lvl1pPr>
          </a:lstStyle>
          <a:p>
            <a:r>
              <a:rPr lang="de-DE"/>
              <a:t>Picture</a:t>
            </a:r>
            <a:endParaRPr lang="en-US"/>
          </a:p>
        </p:txBody>
      </p:sp>
      <p:sp>
        <p:nvSpPr>
          <p:cNvPr id="28" name="Text Placeholder 3"/>
          <p:cNvSpPr>
            <a:spLocks noGrp="1"/>
          </p:cNvSpPr>
          <p:nvPr>
            <p:ph type="body" sz="quarter" idx="29" hasCustomPrompt="1"/>
          </p:nvPr>
        </p:nvSpPr>
        <p:spPr bwMode="gray">
          <a:xfrm>
            <a:off x="8113190" y="5445309"/>
            <a:ext cx="3648404" cy="288032"/>
          </a:xfrm>
        </p:spPr>
        <p:txBody>
          <a:bodyPr tIns="0" anchor="b" anchorCtr="0"/>
          <a:lstStyle>
            <a:lvl1pPr marL="0" indent="0">
              <a:spcBef>
                <a:spcPts val="0"/>
              </a:spcBef>
              <a:spcAft>
                <a:spcPts val="0"/>
              </a:spcAft>
              <a:buNone/>
              <a:defRPr sz="1598">
                <a:solidFill>
                  <a:schemeClr val="tx1"/>
                </a:solidFill>
              </a:defRPr>
            </a:lvl1pPr>
            <a:lvl2pPr marL="0" indent="0">
              <a:spcBef>
                <a:spcPts val="0"/>
              </a:spcBef>
              <a:spcAft>
                <a:spcPts val="0"/>
              </a:spcAft>
              <a:buNone/>
              <a:defRPr sz="1598"/>
            </a:lvl2pPr>
            <a:lvl3pPr marL="0" indent="0" algn="l">
              <a:spcBef>
                <a:spcPts val="0"/>
              </a:spcBef>
              <a:spcAft>
                <a:spcPts val="0"/>
              </a:spcAft>
              <a:buFontTx/>
              <a:buNone/>
              <a:tabLst>
                <a:tab pos="839519" algn="l"/>
              </a:tabLst>
              <a:defRPr sz="1598"/>
            </a:lvl3pPr>
            <a:lvl4pPr marL="0" indent="0" algn="l">
              <a:spcBef>
                <a:spcPts val="0"/>
              </a:spcBef>
              <a:spcAft>
                <a:spcPts val="0"/>
              </a:spcAft>
              <a:buFontTx/>
              <a:buNone/>
              <a:defRPr sz="1598">
                <a:solidFill>
                  <a:schemeClr val="tx1"/>
                </a:solidFill>
              </a:defRPr>
            </a:lvl4pPr>
            <a:lvl5pPr marL="0" indent="0" algn="l">
              <a:spcBef>
                <a:spcPts val="0"/>
              </a:spcBef>
              <a:spcAft>
                <a:spcPts val="0"/>
              </a:spcAft>
              <a:buFontTx/>
              <a:buNone/>
              <a:defRPr sz="1598"/>
            </a:lvl5pPr>
            <a:lvl6pPr marL="0" indent="0" algn="l">
              <a:spcBef>
                <a:spcPts val="0"/>
              </a:spcBef>
              <a:spcAft>
                <a:spcPts val="0"/>
              </a:spcAft>
              <a:buFontTx/>
              <a:buNone/>
              <a:defRPr sz="1598"/>
            </a:lvl6pPr>
            <a:lvl7pPr marL="0" indent="0" algn="l">
              <a:spcBef>
                <a:spcPts val="0"/>
              </a:spcBef>
              <a:spcAft>
                <a:spcPts val="0"/>
              </a:spcAft>
              <a:buFontTx/>
              <a:buNone/>
              <a:defRPr sz="1598"/>
            </a:lvl7pPr>
            <a:lvl8pPr marL="0" indent="0" algn="l">
              <a:spcBef>
                <a:spcPts val="0"/>
              </a:spcBef>
              <a:spcAft>
                <a:spcPts val="0"/>
              </a:spcAft>
              <a:buFontTx/>
              <a:buNone/>
              <a:defRPr sz="1598"/>
            </a:lvl8pPr>
            <a:lvl9pPr marL="0" indent="0" algn="l">
              <a:spcBef>
                <a:spcPts val="0"/>
              </a:spcBef>
              <a:spcAft>
                <a:spcPts val="0"/>
              </a:spcAft>
              <a:buFontTx/>
              <a:buNone/>
              <a:defRPr sz="1598"/>
            </a:lvl9pPr>
          </a:lstStyle>
          <a:p>
            <a:pPr lvl="4"/>
            <a:r>
              <a:rPr lang="en-US"/>
              <a:t>[phone number]</a:t>
            </a:r>
          </a:p>
        </p:txBody>
      </p:sp>
      <p:sp>
        <p:nvSpPr>
          <p:cNvPr id="29" name="Text Placeholder 3"/>
          <p:cNvSpPr>
            <a:spLocks noGrp="1"/>
          </p:cNvSpPr>
          <p:nvPr>
            <p:ph type="body" sz="quarter" idx="30" hasCustomPrompt="1"/>
          </p:nvPr>
        </p:nvSpPr>
        <p:spPr bwMode="gray">
          <a:xfrm>
            <a:off x="8113184" y="4869247"/>
            <a:ext cx="3648405" cy="575999"/>
          </a:xfrm>
        </p:spPr>
        <p:txBody>
          <a:bodyPr tIns="36000" anchor="t" anchorCtr="0"/>
          <a:lstStyle>
            <a:lvl1pPr marL="0" indent="0">
              <a:spcBef>
                <a:spcPts val="0"/>
              </a:spcBef>
              <a:spcAft>
                <a:spcPts val="0"/>
              </a:spcAft>
              <a:buNone/>
              <a:defRPr sz="1598">
                <a:solidFill>
                  <a:schemeClr val="tx1"/>
                </a:solidFill>
              </a:defRPr>
            </a:lvl1pPr>
            <a:lvl2pPr marL="0" indent="0">
              <a:spcBef>
                <a:spcPts val="0"/>
              </a:spcBef>
              <a:spcAft>
                <a:spcPts val="0"/>
              </a:spcAft>
              <a:buNone/>
              <a:defRPr sz="1598"/>
            </a:lvl2pPr>
            <a:lvl3pPr marL="0" indent="0" algn="l">
              <a:spcBef>
                <a:spcPts val="0"/>
              </a:spcBef>
              <a:spcAft>
                <a:spcPts val="0"/>
              </a:spcAft>
              <a:buFontTx/>
              <a:buNone/>
              <a:tabLst>
                <a:tab pos="839519" algn="l"/>
              </a:tabLst>
              <a:defRPr sz="1598"/>
            </a:lvl3pPr>
            <a:lvl4pPr marL="0" indent="0" algn="l">
              <a:spcBef>
                <a:spcPts val="0"/>
              </a:spcBef>
              <a:spcAft>
                <a:spcPts val="0"/>
              </a:spcAft>
              <a:buFontTx/>
              <a:buNone/>
              <a:defRPr sz="1598">
                <a:solidFill>
                  <a:schemeClr val="tx1"/>
                </a:solidFill>
              </a:defRPr>
            </a:lvl4pPr>
            <a:lvl5pPr marL="0" indent="0" algn="l">
              <a:spcBef>
                <a:spcPts val="0"/>
              </a:spcBef>
              <a:spcAft>
                <a:spcPts val="0"/>
              </a:spcAft>
              <a:buFontTx/>
              <a:buNone/>
              <a:defRPr sz="1598"/>
            </a:lvl5pPr>
            <a:lvl6pPr marL="0" indent="0" algn="l">
              <a:spcBef>
                <a:spcPts val="0"/>
              </a:spcBef>
              <a:spcAft>
                <a:spcPts val="0"/>
              </a:spcAft>
              <a:buFontTx/>
              <a:buNone/>
              <a:defRPr sz="1598"/>
            </a:lvl6pPr>
            <a:lvl7pPr marL="0" indent="0" algn="l">
              <a:spcBef>
                <a:spcPts val="0"/>
              </a:spcBef>
              <a:spcAft>
                <a:spcPts val="0"/>
              </a:spcAft>
              <a:buFontTx/>
              <a:buNone/>
              <a:defRPr sz="1598"/>
            </a:lvl7pPr>
            <a:lvl8pPr marL="0" indent="0" algn="l">
              <a:spcBef>
                <a:spcPts val="0"/>
              </a:spcBef>
              <a:spcAft>
                <a:spcPts val="0"/>
              </a:spcAft>
              <a:buFontTx/>
              <a:buNone/>
              <a:defRPr sz="1598"/>
            </a:lvl8pPr>
            <a:lvl9pPr marL="0" indent="0" algn="l">
              <a:spcBef>
                <a:spcPts val="0"/>
              </a:spcBef>
              <a:spcAft>
                <a:spcPts val="0"/>
              </a:spcAft>
              <a:buFontTx/>
              <a:buNone/>
              <a:defRPr sz="1598"/>
            </a:lvl9pPr>
          </a:lstStyle>
          <a:p>
            <a:pPr lvl="4"/>
            <a:r>
              <a:rPr lang="en-US"/>
              <a:t>[title]</a:t>
            </a:r>
          </a:p>
        </p:txBody>
      </p:sp>
      <p:sp>
        <p:nvSpPr>
          <p:cNvPr id="31" name="Text Placeholder 3"/>
          <p:cNvSpPr>
            <a:spLocks noGrp="1"/>
          </p:cNvSpPr>
          <p:nvPr>
            <p:ph type="body" sz="quarter" idx="32" hasCustomPrompt="1"/>
          </p:nvPr>
        </p:nvSpPr>
        <p:spPr bwMode="gray">
          <a:xfrm>
            <a:off x="8113184" y="5733340"/>
            <a:ext cx="3648405" cy="288032"/>
          </a:xfrm>
        </p:spPr>
        <p:txBody>
          <a:bodyPr tIns="0" anchor="b" anchorCtr="0"/>
          <a:lstStyle>
            <a:lvl1pPr marL="0" indent="0">
              <a:spcBef>
                <a:spcPts val="0"/>
              </a:spcBef>
              <a:spcAft>
                <a:spcPts val="0"/>
              </a:spcAft>
              <a:buNone/>
              <a:defRPr sz="1598">
                <a:solidFill>
                  <a:schemeClr val="tx1"/>
                </a:solidFill>
              </a:defRPr>
            </a:lvl1pPr>
            <a:lvl2pPr marL="0" indent="0">
              <a:spcBef>
                <a:spcPts val="0"/>
              </a:spcBef>
              <a:spcAft>
                <a:spcPts val="0"/>
              </a:spcAft>
              <a:buNone/>
              <a:defRPr sz="1598"/>
            </a:lvl2pPr>
            <a:lvl3pPr marL="0" indent="0" algn="l">
              <a:spcBef>
                <a:spcPts val="0"/>
              </a:spcBef>
              <a:spcAft>
                <a:spcPts val="0"/>
              </a:spcAft>
              <a:buFontTx/>
              <a:buNone/>
              <a:tabLst>
                <a:tab pos="839519" algn="l"/>
              </a:tabLst>
              <a:defRPr sz="1598"/>
            </a:lvl3pPr>
            <a:lvl4pPr marL="0" indent="0" algn="l">
              <a:spcBef>
                <a:spcPts val="0"/>
              </a:spcBef>
              <a:spcAft>
                <a:spcPts val="0"/>
              </a:spcAft>
              <a:buFontTx/>
              <a:buNone/>
              <a:defRPr sz="1598">
                <a:solidFill>
                  <a:schemeClr val="tx1"/>
                </a:solidFill>
              </a:defRPr>
            </a:lvl4pPr>
            <a:lvl5pPr marL="0" indent="0" algn="l">
              <a:spcBef>
                <a:spcPts val="0"/>
              </a:spcBef>
              <a:spcAft>
                <a:spcPts val="0"/>
              </a:spcAft>
              <a:buFontTx/>
              <a:buNone/>
              <a:defRPr sz="1598"/>
            </a:lvl5pPr>
            <a:lvl6pPr marL="0" indent="0" algn="l">
              <a:spcBef>
                <a:spcPts val="0"/>
              </a:spcBef>
              <a:spcAft>
                <a:spcPts val="0"/>
              </a:spcAft>
              <a:buFontTx/>
              <a:buNone/>
              <a:defRPr sz="1598"/>
            </a:lvl6pPr>
            <a:lvl7pPr marL="0" indent="0" algn="l">
              <a:spcBef>
                <a:spcPts val="0"/>
              </a:spcBef>
              <a:spcAft>
                <a:spcPts val="0"/>
              </a:spcAft>
              <a:buFontTx/>
              <a:buNone/>
              <a:defRPr sz="1598"/>
            </a:lvl7pPr>
            <a:lvl8pPr marL="0" indent="0" algn="l">
              <a:spcBef>
                <a:spcPts val="0"/>
              </a:spcBef>
              <a:spcAft>
                <a:spcPts val="0"/>
              </a:spcAft>
              <a:buFontTx/>
              <a:buNone/>
              <a:defRPr sz="1598"/>
            </a:lvl8pPr>
            <a:lvl9pPr marL="0" indent="0" algn="l">
              <a:spcBef>
                <a:spcPts val="0"/>
              </a:spcBef>
              <a:spcAft>
                <a:spcPts val="0"/>
              </a:spcAft>
              <a:buFontTx/>
              <a:buNone/>
              <a:defRPr sz="1598"/>
            </a:lvl9pPr>
          </a:lstStyle>
          <a:p>
            <a:pPr lvl="4"/>
            <a:r>
              <a:rPr lang="en-US"/>
              <a:t>[email address]</a:t>
            </a:r>
          </a:p>
        </p:txBody>
      </p:sp>
      <p:sp>
        <p:nvSpPr>
          <p:cNvPr id="32" name="Text Placeholder 3"/>
          <p:cNvSpPr>
            <a:spLocks noGrp="1"/>
          </p:cNvSpPr>
          <p:nvPr>
            <p:ph type="body" sz="quarter" idx="33" hasCustomPrompt="1"/>
          </p:nvPr>
        </p:nvSpPr>
        <p:spPr bwMode="gray">
          <a:xfrm>
            <a:off x="8113291" y="6021369"/>
            <a:ext cx="3648301" cy="286685"/>
          </a:xfrm>
        </p:spPr>
        <p:txBody>
          <a:bodyPr tIns="0" anchor="b" anchorCtr="0"/>
          <a:lstStyle>
            <a:lvl1pPr marL="0" indent="0">
              <a:spcBef>
                <a:spcPts val="0"/>
              </a:spcBef>
              <a:spcAft>
                <a:spcPts val="0"/>
              </a:spcAft>
              <a:buNone/>
              <a:defRPr sz="1598">
                <a:solidFill>
                  <a:schemeClr val="tx1"/>
                </a:solidFill>
              </a:defRPr>
            </a:lvl1pPr>
            <a:lvl2pPr marL="0" indent="0">
              <a:spcBef>
                <a:spcPts val="0"/>
              </a:spcBef>
              <a:spcAft>
                <a:spcPts val="0"/>
              </a:spcAft>
              <a:buNone/>
              <a:defRPr sz="1598"/>
            </a:lvl2pPr>
            <a:lvl3pPr marL="0" indent="0" algn="l">
              <a:spcBef>
                <a:spcPts val="0"/>
              </a:spcBef>
              <a:spcAft>
                <a:spcPts val="0"/>
              </a:spcAft>
              <a:buFontTx/>
              <a:buNone/>
              <a:tabLst>
                <a:tab pos="839519" algn="l"/>
              </a:tabLst>
              <a:defRPr sz="1598"/>
            </a:lvl3pPr>
            <a:lvl4pPr marL="0" indent="0" algn="l">
              <a:spcBef>
                <a:spcPts val="0"/>
              </a:spcBef>
              <a:spcAft>
                <a:spcPts val="0"/>
              </a:spcAft>
              <a:buFontTx/>
              <a:buNone/>
              <a:defRPr sz="1598">
                <a:solidFill>
                  <a:schemeClr val="tx1"/>
                </a:solidFill>
              </a:defRPr>
            </a:lvl4pPr>
            <a:lvl5pPr marL="0" indent="0" algn="l">
              <a:spcBef>
                <a:spcPts val="0"/>
              </a:spcBef>
              <a:spcAft>
                <a:spcPts val="0"/>
              </a:spcAft>
              <a:buFontTx/>
              <a:buNone/>
              <a:defRPr sz="1598"/>
            </a:lvl5pPr>
            <a:lvl6pPr marL="0" indent="0" algn="l">
              <a:spcBef>
                <a:spcPts val="0"/>
              </a:spcBef>
              <a:spcAft>
                <a:spcPts val="0"/>
              </a:spcAft>
              <a:buFontTx/>
              <a:buNone/>
              <a:defRPr sz="1598"/>
            </a:lvl6pPr>
            <a:lvl7pPr marL="0" indent="0" algn="l">
              <a:spcBef>
                <a:spcPts val="0"/>
              </a:spcBef>
              <a:spcAft>
                <a:spcPts val="0"/>
              </a:spcAft>
              <a:buFontTx/>
              <a:buNone/>
              <a:defRPr sz="1598"/>
            </a:lvl7pPr>
            <a:lvl8pPr marL="0" indent="0" algn="l">
              <a:spcBef>
                <a:spcPts val="0"/>
              </a:spcBef>
              <a:spcAft>
                <a:spcPts val="0"/>
              </a:spcAft>
              <a:buFontTx/>
              <a:buNone/>
              <a:defRPr sz="1598"/>
            </a:lvl8pPr>
            <a:lvl9pPr marL="0" indent="0" algn="l">
              <a:spcBef>
                <a:spcPts val="0"/>
              </a:spcBef>
              <a:spcAft>
                <a:spcPts val="0"/>
              </a:spcAft>
              <a:buFontTx/>
              <a:buNone/>
              <a:defRPr sz="1598"/>
            </a:lvl9pPr>
          </a:lstStyle>
          <a:p>
            <a:pPr lvl="4"/>
            <a:r>
              <a:rPr lang="en-US"/>
              <a:t>[country]</a:t>
            </a:r>
          </a:p>
        </p:txBody>
      </p:sp>
      <p:sp>
        <p:nvSpPr>
          <p:cNvPr id="33" name="Picture Placeholder 4"/>
          <p:cNvSpPr>
            <a:spLocks noGrp="1"/>
          </p:cNvSpPr>
          <p:nvPr>
            <p:ph type="pic" sz="quarter" idx="34" hasCustomPrompt="1"/>
          </p:nvPr>
        </p:nvSpPr>
        <p:spPr bwMode="gray">
          <a:xfrm>
            <a:off x="431371" y="1700814"/>
            <a:ext cx="1728192" cy="2208245"/>
          </a:xfrm>
        </p:spPr>
        <p:txBody>
          <a:bodyPr/>
          <a:lstStyle>
            <a:lvl1pPr marL="0" indent="0">
              <a:buNone/>
              <a:defRPr/>
            </a:lvl1pPr>
          </a:lstStyle>
          <a:p>
            <a:r>
              <a:rPr lang="de-DE"/>
              <a:t>Picture</a:t>
            </a:r>
            <a:endParaRPr lang="en-US"/>
          </a:p>
        </p:txBody>
      </p:sp>
      <p:sp>
        <p:nvSpPr>
          <p:cNvPr id="34" name="Text Placeholder 3"/>
          <p:cNvSpPr>
            <a:spLocks noGrp="1"/>
          </p:cNvSpPr>
          <p:nvPr>
            <p:ph type="body" sz="quarter" idx="35" hasCustomPrompt="1"/>
          </p:nvPr>
        </p:nvSpPr>
        <p:spPr bwMode="gray">
          <a:xfrm>
            <a:off x="2351590" y="3046308"/>
            <a:ext cx="3648404" cy="288032"/>
          </a:xfrm>
        </p:spPr>
        <p:txBody>
          <a:bodyPr tIns="0" anchor="b" anchorCtr="0"/>
          <a:lstStyle>
            <a:lvl1pPr marL="0" indent="0">
              <a:spcBef>
                <a:spcPts val="0"/>
              </a:spcBef>
              <a:spcAft>
                <a:spcPts val="0"/>
              </a:spcAft>
              <a:buNone/>
              <a:defRPr sz="1598">
                <a:solidFill>
                  <a:schemeClr val="tx1"/>
                </a:solidFill>
              </a:defRPr>
            </a:lvl1pPr>
            <a:lvl2pPr marL="0" indent="0">
              <a:spcBef>
                <a:spcPts val="0"/>
              </a:spcBef>
              <a:spcAft>
                <a:spcPts val="0"/>
              </a:spcAft>
              <a:buNone/>
              <a:defRPr sz="1598"/>
            </a:lvl2pPr>
            <a:lvl3pPr marL="0" indent="0" algn="l">
              <a:spcBef>
                <a:spcPts val="0"/>
              </a:spcBef>
              <a:spcAft>
                <a:spcPts val="0"/>
              </a:spcAft>
              <a:buFontTx/>
              <a:buNone/>
              <a:tabLst>
                <a:tab pos="839519" algn="l"/>
              </a:tabLst>
              <a:defRPr sz="1598"/>
            </a:lvl3pPr>
            <a:lvl4pPr marL="0" indent="0" algn="l">
              <a:spcBef>
                <a:spcPts val="0"/>
              </a:spcBef>
              <a:spcAft>
                <a:spcPts val="0"/>
              </a:spcAft>
              <a:buFontTx/>
              <a:buNone/>
              <a:defRPr sz="1598">
                <a:solidFill>
                  <a:schemeClr val="tx1"/>
                </a:solidFill>
              </a:defRPr>
            </a:lvl4pPr>
            <a:lvl5pPr marL="0" indent="0" algn="l">
              <a:spcBef>
                <a:spcPts val="0"/>
              </a:spcBef>
              <a:spcAft>
                <a:spcPts val="0"/>
              </a:spcAft>
              <a:buFontTx/>
              <a:buNone/>
              <a:defRPr sz="1598"/>
            </a:lvl5pPr>
            <a:lvl6pPr marL="0" indent="0" algn="l">
              <a:spcBef>
                <a:spcPts val="0"/>
              </a:spcBef>
              <a:spcAft>
                <a:spcPts val="0"/>
              </a:spcAft>
              <a:buFontTx/>
              <a:buNone/>
              <a:defRPr sz="1598"/>
            </a:lvl6pPr>
            <a:lvl7pPr marL="0" indent="0" algn="l">
              <a:spcBef>
                <a:spcPts val="0"/>
              </a:spcBef>
              <a:spcAft>
                <a:spcPts val="0"/>
              </a:spcAft>
              <a:buFontTx/>
              <a:buNone/>
              <a:defRPr sz="1598"/>
            </a:lvl7pPr>
            <a:lvl8pPr marL="0" indent="0" algn="l">
              <a:spcBef>
                <a:spcPts val="0"/>
              </a:spcBef>
              <a:spcAft>
                <a:spcPts val="0"/>
              </a:spcAft>
              <a:buFontTx/>
              <a:buNone/>
              <a:defRPr sz="1598"/>
            </a:lvl8pPr>
            <a:lvl9pPr marL="0" indent="0" algn="l">
              <a:spcBef>
                <a:spcPts val="0"/>
              </a:spcBef>
              <a:spcAft>
                <a:spcPts val="0"/>
              </a:spcAft>
              <a:buFontTx/>
              <a:buNone/>
              <a:defRPr sz="1598"/>
            </a:lvl9pPr>
          </a:lstStyle>
          <a:p>
            <a:pPr lvl="4"/>
            <a:r>
              <a:rPr lang="en-US"/>
              <a:t>[phone number]</a:t>
            </a:r>
          </a:p>
        </p:txBody>
      </p:sp>
      <p:sp>
        <p:nvSpPr>
          <p:cNvPr id="35" name="Text Placeholder 3"/>
          <p:cNvSpPr>
            <a:spLocks noGrp="1"/>
          </p:cNvSpPr>
          <p:nvPr>
            <p:ph type="body" sz="quarter" idx="36" hasCustomPrompt="1"/>
          </p:nvPr>
        </p:nvSpPr>
        <p:spPr bwMode="gray">
          <a:xfrm>
            <a:off x="2351584" y="2470246"/>
            <a:ext cx="3648405" cy="575999"/>
          </a:xfrm>
        </p:spPr>
        <p:txBody>
          <a:bodyPr tIns="36000" anchor="t" anchorCtr="0"/>
          <a:lstStyle>
            <a:lvl1pPr marL="0" indent="0">
              <a:spcBef>
                <a:spcPts val="0"/>
              </a:spcBef>
              <a:spcAft>
                <a:spcPts val="0"/>
              </a:spcAft>
              <a:buNone/>
              <a:defRPr sz="1598">
                <a:solidFill>
                  <a:schemeClr val="tx1"/>
                </a:solidFill>
              </a:defRPr>
            </a:lvl1pPr>
            <a:lvl2pPr marL="0" indent="0">
              <a:spcBef>
                <a:spcPts val="0"/>
              </a:spcBef>
              <a:spcAft>
                <a:spcPts val="0"/>
              </a:spcAft>
              <a:buNone/>
              <a:defRPr sz="1598"/>
            </a:lvl2pPr>
            <a:lvl3pPr marL="0" indent="0" algn="l">
              <a:spcBef>
                <a:spcPts val="0"/>
              </a:spcBef>
              <a:spcAft>
                <a:spcPts val="0"/>
              </a:spcAft>
              <a:buFontTx/>
              <a:buNone/>
              <a:tabLst>
                <a:tab pos="839519" algn="l"/>
              </a:tabLst>
              <a:defRPr sz="1598"/>
            </a:lvl3pPr>
            <a:lvl4pPr marL="0" indent="0" algn="l">
              <a:spcBef>
                <a:spcPts val="0"/>
              </a:spcBef>
              <a:spcAft>
                <a:spcPts val="0"/>
              </a:spcAft>
              <a:buFontTx/>
              <a:buNone/>
              <a:defRPr sz="1598">
                <a:solidFill>
                  <a:schemeClr val="tx1"/>
                </a:solidFill>
              </a:defRPr>
            </a:lvl4pPr>
            <a:lvl5pPr marL="0" indent="0" algn="l">
              <a:spcBef>
                <a:spcPts val="0"/>
              </a:spcBef>
              <a:spcAft>
                <a:spcPts val="0"/>
              </a:spcAft>
              <a:buFontTx/>
              <a:buNone/>
              <a:defRPr sz="1598"/>
            </a:lvl5pPr>
            <a:lvl6pPr marL="0" indent="0" algn="l">
              <a:spcBef>
                <a:spcPts val="0"/>
              </a:spcBef>
              <a:spcAft>
                <a:spcPts val="0"/>
              </a:spcAft>
              <a:buFontTx/>
              <a:buNone/>
              <a:defRPr sz="1598"/>
            </a:lvl6pPr>
            <a:lvl7pPr marL="0" indent="0" algn="l">
              <a:spcBef>
                <a:spcPts val="0"/>
              </a:spcBef>
              <a:spcAft>
                <a:spcPts val="0"/>
              </a:spcAft>
              <a:buFontTx/>
              <a:buNone/>
              <a:defRPr sz="1598"/>
            </a:lvl7pPr>
            <a:lvl8pPr marL="0" indent="0" algn="l">
              <a:spcBef>
                <a:spcPts val="0"/>
              </a:spcBef>
              <a:spcAft>
                <a:spcPts val="0"/>
              </a:spcAft>
              <a:buFontTx/>
              <a:buNone/>
              <a:defRPr sz="1598"/>
            </a:lvl8pPr>
            <a:lvl9pPr marL="0" indent="0" algn="l">
              <a:spcBef>
                <a:spcPts val="0"/>
              </a:spcBef>
              <a:spcAft>
                <a:spcPts val="0"/>
              </a:spcAft>
              <a:buFontTx/>
              <a:buNone/>
              <a:defRPr sz="1598"/>
            </a:lvl9pPr>
          </a:lstStyle>
          <a:p>
            <a:pPr lvl="4"/>
            <a:r>
              <a:rPr lang="en-US"/>
              <a:t>[title]</a:t>
            </a:r>
          </a:p>
        </p:txBody>
      </p:sp>
      <p:sp>
        <p:nvSpPr>
          <p:cNvPr id="37" name="Text Placeholder 3"/>
          <p:cNvSpPr>
            <a:spLocks noGrp="1"/>
          </p:cNvSpPr>
          <p:nvPr>
            <p:ph type="body" sz="quarter" idx="38" hasCustomPrompt="1"/>
          </p:nvPr>
        </p:nvSpPr>
        <p:spPr bwMode="gray">
          <a:xfrm>
            <a:off x="2351584" y="3334339"/>
            <a:ext cx="3648405" cy="288032"/>
          </a:xfrm>
        </p:spPr>
        <p:txBody>
          <a:bodyPr tIns="0" anchor="b" anchorCtr="0"/>
          <a:lstStyle>
            <a:lvl1pPr marL="0" indent="0">
              <a:spcBef>
                <a:spcPts val="0"/>
              </a:spcBef>
              <a:spcAft>
                <a:spcPts val="0"/>
              </a:spcAft>
              <a:buNone/>
              <a:defRPr sz="1598">
                <a:solidFill>
                  <a:schemeClr val="tx1"/>
                </a:solidFill>
              </a:defRPr>
            </a:lvl1pPr>
            <a:lvl2pPr marL="0" indent="0">
              <a:spcBef>
                <a:spcPts val="0"/>
              </a:spcBef>
              <a:spcAft>
                <a:spcPts val="0"/>
              </a:spcAft>
              <a:buNone/>
              <a:defRPr sz="1598"/>
            </a:lvl2pPr>
            <a:lvl3pPr marL="0" indent="0" algn="l">
              <a:spcBef>
                <a:spcPts val="0"/>
              </a:spcBef>
              <a:spcAft>
                <a:spcPts val="0"/>
              </a:spcAft>
              <a:buFontTx/>
              <a:buNone/>
              <a:tabLst>
                <a:tab pos="839519" algn="l"/>
              </a:tabLst>
              <a:defRPr sz="1598"/>
            </a:lvl3pPr>
            <a:lvl4pPr marL="0" indent="0" algn="l">
              <a:spcBef>
                <a:spcPts val="0"/>
              </a:spcBef>
              <a:spcAft>
                <a:spcPts val="0"/>
              </a:spcAft>
              <a:buFontTx/>
              <a:buNone/>
              <a:defRPr sz="1598">
                <a:solidFill>
                  <a:schemeClr val="tx1"/>
                </a:solidFill>
              </a:defRPr>
            </a:lvl4pPr>
            <a:lvl5pPr marL="0" indent="0" algn="l">
              <a:spcBef>
                <a:spcPts val="0"/>
              </a:spcBef>
              <a:spcAft>
                <a:spcPts val="0"/>
              </a:spcAft>
              <a:buFontTx/>
              <a:buNone/>
              <a:defRPr sz="1598"/>
            </a:lvl5pPr>
            <a:lvl6pPr marL="0" indent="0" algn="l">
              <a:spcBef>
                <a:spcPts val="0"/>
              </a:spcBef>
              <a:spcAft>
                <a:spcPts val="0"/>
              </a:spcAft>
              <a:buFontTx/>
              <a:buNone/>
              <a:defRPr sz="1598"/>
            </a:lvl6pPr>
            <a:lvl7pPr marL="0" indent="0" algn="l">
              <a:spcBef>
                <a:spcPts val="0"/>
              </a:spcBef>
              <a:spcAft>
                <a:spcPts val="0"/>
              </a:spcAft>
              <a:buFontTx/>
              <a:buNone/>
              <a:defRPr sz="1598"/>
            </a:lvl7pPr>
            <a:lvl8pPr marL="0" indent="0" algn="l">
              <a:spcBef>
                <a:spcPts val="0"/>
              </a:spcBef>
              <a:spcAft>
                <a:spcPts val="0"/>
              </a:spcAft>
              <a:buFontTx/>
              <a:buNone/>
              <a:defRPr sz="1598"/>
            </a:lvl8pPr>
            <a:lvl9pPr marL="0" indent="0" algn="l">
              <a:spcBef>
                <a:spcPts val="0"/>
              </a:spcBef>
              <a:spcAft>
                <a:spcPts val="0"/>
              </a:spcAft>
              <a:buFontTx/>
              <a:buNone/>
              <a:defRPr sz="1598"/>
            </a:lvl9pPr>
          </a:lstStyle>
          <a:p>
            <a:pPr lvl="4"/>
            <a:r>
              <a:rPr lang="en-US"/>
              <a:t>[email address]</a:t>
            </a:r>
          </a:p>
        </p:txBody>
      </p:sp>
      <p:sp>
        <p:nvSpPr>
          <p:cNvPr id="38" name="Text Placeholder 3"/>
          <p:cNvSpPr>
            <a:spLocks noGrp="1"/>
          </p:cNvSpPr>
          <p:nvPr>
            <p:ph type="body" sz="quarter" idx="39" hasCustomPrompt="1"/>
          </p:nvPr>
        </p:nvSpPr>
        <p:spPr bwMode="gray">
          <a:xfrm>
            <a:off x="2351691" y="3622368"/>
            <a:ext cx="3648301" cy="286685"/>
          </a:xfrm>
        </p:spPr>
        <p:txBody>
          <a:bodyPr tIns="0" anchor="b" anchorCtr="0"/>
          <a:lstStyle>
            <a:lvl1pPr marL="0" indent="0">
              <a:spcBef>
                <a:spcPts val="0"/>
              </a:spcBef>
              <a:spcAft>
                <a:spcPts val="0"/>
              </a:spcAft>
              <a:buNone/>
              <a:defRPr sz="1598">
                <a:solidFill>
                  <a:schemeClr val="tx1"/>
                </a:solidFill>
              </a:defRPr>
            </a:lvl1pPr>
            <a:lvl2pPr marL="0" indent="0">
              <a:spcBef>
                <a:spcPts val="0"/>
              </a:spcBef>
              <a:spcAft>
                <a:spcPts val="0"/>
              </a:spcAft>
              <a:buNone/>
              <a:defRPr sz="1598"/>
            </a:lvl2pPr>
            <a:lvl3pPr marL="0" indent="0" algn="l">
              <a:spcBef>
                <a:spcPts val="0"/>
              </a:spcBef>
              <a:spcAft>
                <a:spcPts val="0"/>
              </a:spcAft>
              <a:buFontTx/>
              <a:buNone/>
              <a:tabLst>
                <a:tab pos="839519" algn="l"/>
              </a:tabLst>
              <a:defRPr sz="1598"/>
            </a:lvl3pPr>
            <a:lvl4pPr marL="0" indent="0" algn="l">
              <a:spcBef>
                <a:spcPts val="0"/>
              </a:spcBef>
              <a:spcAft>
                <a:spcPts val="0"/>
              </a:spcAft>
              <a:buFontTx/>
              <a:buNone/>
              <a:defRPr sz="1598">
                <a:solidFill>
                  <a:schemeClr val="tx1"/>
                </a:solidFill>
              </a:defRPr>
            </a:lvl4pPr>
            <a:lvl5pPr marL="0" indent="0" algn="l">
              <a:spcBef>
                <a:spcPts val="0"/>
              </a:spcBef>
              <a:spcAft>
                <a:spcPts val="0"/>
              </a:spcAft>
              <a:buFontTx/>
              <a:buNone/>
              <a:defRPr sz="1598"/>
            </a:lvl5pPr>
            <a:lvl6pPr marL="0" indent="0" algn="l">
              <a:spcBef>
                <a:spcPts val="0"/>
              </a:spcBef>
              <a:spcAft>
                <a:spcPts val="0"/>
              </a:spcAft>
              <a:buFontTx/>
              <a:buNone/>
              <a:defRPr sz="1598"/>
            </a:lvl6pPr>
            <a:lvl7pPr marL="0" indent="0" algn="l">
              <a:spcBef>
                <a:spcPts val="0"/>
              </a:spcBef>
              <a:spcAft>
                <a:spcPts val="0"/>
              </a:spcAft>
              <a:buFontTx/>
              <a:buNone/>
              <a:defRPr sz="1598"/>
            </a:lvl7pPr>
            <a:lvl8pPr marL="0" indent="0" algn="l">
              <a:spcBef>
                <a:spcPts val="0"/>
              </a:spcBef>
              <a:spcAft>
                <a:spcPts val="0"/>
              </a:spcAft>
              <a:buFontTx/>
              <a:buNone/>
              <a:defRPr sz="1598"/>
            </a:lvl8pPr>
            <a:lvl9pPr marL="0" indent="0" algn="l">
              <a:spcBef>
                <a:spcPts val="0"/>
              </a:spcBef>
              <a:spcAft>
                <a:spcPts val="0"/>
              </a:spcAft>
              <a:buFontTx/>
              <a:buNone/>
              <a:defRPr sz="1598"/>
            </a:lvl9pPr>
          </a:lstStyle>
          <a:p>
            <a:pPr lvl="4"/>
            <a:r>
              <a:rPr lang="en-US"/>
              <a:t>[country]</a:t>
            </a:r>
          </a:p>
        </p:txBody>
      </p:sp>
      <p:sp>
        <p:nvSpPr>
          <p:cNvPr id="39" name="Picture Placeholder 4"/>
          <p:cNvSpPr>
            <a:spLocks noGrp="1"/>
          </p:cNvSpPr>
          <p:nvPr>
            <p:ph type="pic" sz="quarter" idx="40" hasCustomPrompt="1"/>
          </p:nvPr>
        </p:nvSpPr>
        <p:spPr bwMode="gray">
          <a:xfrm>
            <a:off x="6192971" y="1701803"/>
            <a:ext cx="1728192" cy="2208000"/>
          </a:xfrm>
        </p:spPr>
        <p:txBody>
          <a:bodyPr/>
          <a:lstStyle>
            <a:lvl1pPr marL="0" indent="0">
              <a:buNone/>
              <a:defRPr/>
            </a:lvl1pPr>
          </a:lstStyle>
          <a:p>
            <a:r>
              <a:rPr lang="de-DE"/>
              <a:t>Picture</a:t>
            </a:r>
            <a:endParaRPr lang="en-US"/>
          </a:p>
        </p:txBody>
      </p:sp>
      <p:sp>
        <p:nvSpPr>
          <p:cNvPr id="40" name="Text Placeholder 3"/>
          <p:cNvSpPr>
            <a:spLocks noGrp="1"/>
          </p:cNvSpPr>
          <p:nvPr>
            <p:ph type="body" sz="quarter" idx="41" hasCustomPrompt="1"/>
          </p:nvPr>
        </p:nvSpPr>
        <p:spPr bwMode="gray">
          <a:xfrm>
            <a:off x="8113190" y="3046308"/>
            <a:ext cx="3648404" cy="288032"/>
          </a:xfrm>
        </p:spPr>
        <p:txBody>
          <a:bodyPr tIns="0" anchor="b" anchorCtr="0"/>
          <a:lstStyle>
            <a:lvl1pPr marL="0" indent="0">
              <a:spcBef>
                <a:spcPts val="0"/>
              </a:spcBef>
              <a:spcAft>
                <a:spcPts val="0"/>
              </a:spcAft>
              <a:buNone/>
              <a:defRPr sz="1598">
                <a:solidFill>
                  <a:schemeClr val="tx1"/>
                </a:solidFill>
              </a:defRPr>
            </a:lvl1pPr>
            <a:lvl2pPr marL="0" indent="0">
              <a:spcBef>
                <a:spcPts val="0"/>
              </a:spcBef>
              <a:spcAft>
                <a:spcPts val="0"/>
              </a:spcAft>
              <a:buNone/>
              <a:defRPr sz="1598"/>
            </a:lvl2pPr>
            <a:lvl3pPr marL="0" indent="0" algn="l">
              <a:spcBef>
                <a:spcPts val="0"/>
              </a:spcBef>
              <a:spcAft>
                <a:spcPts val="0"/>
              </a:spcAft>
              <a:buFontTx/>
              <a:buNone/>
              <a:tabLst>
                <a:tab pos="839519" algn="l"/>
              </a:tabLst>
              <a:defRPr sz="1598"/>
            </a:lvl3pPr>
            <a:lvl4pPr marL="0" indent="0" algn="l">
              <a:spcBef>
                <a:spcPts val="0"/>
              </a:spcBef>
              <a:spcAft>
                <a:spcPts val="0"/>
              </a:spcAft>
              <a:buFontTx/>
              <a:buNone/>
              <a:defRPr sz="1598">
                <a:solidFill>
                  <a:schemeClr val="tx1"/>
                </a:solidFill>
              </a:defRPr>
            </a:lvl4pPr>
            <a:lvl5pPr marL="0" indent="0" algn="l">
              <a:spcBef>
                <a:spcPts val="0"/>
              </a:spcBef>
              <a:spcAft>
                <a:spcPts val="0"/>
              </a:spcAft>
              <a:buFontTx/>
              <a:buNone/>
              <a:defRPr sz="1598"/>
            </a:lvl5pPr>
            <a:lvl6pPr marL="0" indent="0" algn="l">
              <a:spcBef>
                <a:spcPts val="0"/>
              </a:spcBef>
              <a:spcAft>
                <a:spcPts val="0"/>
              </a:spcAft>
              <a:buFontTx/>
              <a:buNone/>
              <a:defRPr sz="1598"/>
            </a:lvl6pPr>
            <a:lvl7pPr marL="0" indent="0" algn="l">
              <a:spcBef>
                <a:spcPts val="0"/>
              </a:spcBef>
              <a:spcAft>
                <a:spcPts val="0"/>
              </a:spcAft>
              <a:buFontTx/>
              <a:buNone/>
              <a:defRPr sz="1598"/>
            </a:lvl7pPr>
            <a:lvl8pPr marL="0" indent="0" algn="l">
              <a:spcBef>
                <a:spcPts val="0"/>
              </a:spcBef>
              <a:spcAft>
                <a:spcPts val="0"/>
              </a:spcAft>
              <a:buFontTx/>
              <a:buNone/>
              <a:defRPr sz="1598"/>
            </a:lvl8pPr>
            <a:lvl9pPr marL="0" indent="0" algn="l">
              <a:spcBef>
                <a:spcPts val="0"/>
              </a:spcBef>
              <a:spcAft>
                <a:spcPts val="0"/>
              </a:spcAft>
              <a:buFontTx/>
              <a:buNone/>
              <a:defRPr sz="1598"/>
            </a:lvl9pPr>
          </a:lstStyle>
          <a:p>
            <a:pPr lvl="4"/>
            <a:r>
              <a:rPr lang="en-US"/>
              <a:t>[phone number]</a:t>
            </a:r>
          </a:p>
        </p:txBody>
      </p:sp>
      <p:sp>
        <p:nvSpPr>
          <p:cNvPr id="41" name="Text Placeholder 3"/>
          <p:cNvSpPr>
            <a:spLocks noGrp="1"/>
          </p:cNvSpPr>
          <p:nvPr>
            <p:ph type="body" sz="quarter" idx="42" hasCustomPrompt="1"/>
          </p:nvPr>
        </p:nvSpPr>
        <p:spPr bwMode="gray">
          <a:xfrm>
            <a:off x="8113184" y="2470246"/>
            <a:ext cx="3648405" cy="575999"/>
          </a:xfrm>
        </p:spPr>
        <p:txBody>
          <a:bodyPr tIns="36000" anchor="t" anchorCtr="0"/>
          <a:lstStyle>
            <a:lvl1pPr marL="0" indent="0">
              <a:spcBef>
                <a:spcPts val="0"/>
              </a:spcBef>
              <a:spcAft>
                <a:spcPts val="0"/>
              </a:spcAft>
              <a:buNone/>
              <a:defRPr sz="1598">
                <a:solidFill>
                  <a:schemeClr val="tx1"/>
                </a:solidFill>
              </a:defRPr>
            </a:lvl1pPr>
            <a:lvl2pPr marL="0" indent="0">
              <a:spcBef>
                <a:spcPts val="0"/>
              </a:spcBef>
              <a:spcAft>
                <a:spcPts val="0"/>
              </a:spcAft>
              <a:buNone/>
              <a:defRPr sz="1598"/>
            </a:lvl2pPr>
            <a:lvl3pPr marL="0" indent="0" algn="l">
              <a:spcBef>
                <a:spcPts val="0"/>
              </a:spcBef>
              <a:spcAft>
                <a:spcPts val="0"/>
              </a:spcAft>
              <a:buFontTx/>
              <a:buNone/>
              <a:tabLst>
                <a:tab pos="839519" algn="l"/>
              </a:tabLst>
              <a:defRPr sz="1598"/>
            </a:lvl3pPr>
            <a:lvl4pPr marL="0" indent="0" algn="l">
              <a:spcBef>
                <a:spcPts val="0"/>
              </a:spcBef>
              <a:spcAft>
                <a:spcPts val="0"/>
              </a:spcAft>
              <a:buFontTx/>
              <a:buNone/>
              <a:defRPr sz="1598">
                <a:solidFill>
                  <a:schemeClr val="tx1"/>
                </a:solidFill>
              </a:defRPr>
            </a:lvl4pPr>
            <a:lvl5pPr marL="0" indent="0" algn="l">
              <a:spcBef>
                <a:spcPts val="0"/>
              </a:spcBef>
              <a:spcAft>
                <a:spcPts val="0"/>
              </a:spcAft>
              <a:buFontTx/>
              <a:buNone/>
              <a:defRPr sz="1598"/>
            </a:lvl5pPr>
            <a:lvl6pPr marL="0" indent="0" algn="l">
              <a:spcBef>
                <a:spcPts val="0"/>
              </a:spcBef>
              <a:spcAft>
                <a:spcPts val="0"/>
              </a:spcAft>
              <a:buFontTx/>
              <a:buNone/>
              <a:defRPr sz="1598"/>
            </a:lvl6pPr>
            <a:lvl7pPr marL="0" indent="0" algn="l">
              <a:spcBef>
                <a:spcPts val="0"/>
              </a:spcBef>
              <a:spcAft>
                <a:spcPts val="0"/>
              </a:spcAft>
              <a:buFontTx/>
              <a:buNone/>
              <a:defRPr sz="1598"/>
            </a:lvl7pPr>
            <a:lvl8pPr marL="0" indent="0" algn="l">
              <a:spcBef>
                <a:spcPts val="0"/>
              </a:spcBef>
              <a:spcAft>
                <a:spcPts val="0"/>
              </a:spcAft>
              <a:buFontTx/>
              <a:buNone/>
              <a:defRPr sz="1598"/>
            </a:lvl8pPr>
            <a:lvl9pPr marL="0" indent="0" algn="l">
              <a:spcBef>
                <a:spcPts val="0"/>
              </a:spcBef>
              <a:spcAft>
                <a:spcPts val="0"/>
              </a:spcAft>
              <a:buFontTx/>
              <a:buNone/>
              <a:defRPr sz="1598"/>
            </a:lvl9pPr>
          </a:lstStyle>
          <a:p>
            <a:pPr lvl="4"/>
            <a:r>
              <a:rPr lang="en-US"/>
              <a:t>[title]</a:t>
            </a:r>
          </a:p>
        </p:txBody>
      </p:sp>
      <p:sp>
        <p:nvSpPr>
          <p:cNvPr id="43" name="Text Placeholder 3"/>
          <p:cNvSpPr>
            <a:spLocks noGrp="1"/>
          </p:cNvSpPr>
          <p:nvPr>
            <p:ph type="body" sz="quarter" idx="44" hasCustomPrompt="1"/>
          </p:nvPr>
        </p:nvSpPr>
        <p:spPr bwMode="gray">
          <a:xfrm>
            <a:off x="8113184" y="3334339"/>
            <a:ext cx="3648405" cy="288032"/>
          </a:xfrm>
        </p:spPr>
        <p:txBody>
          <a:bodyPr tIns="0" anchor="b" anchorCtr="0"/>
          <a:lstStyle>
            <a:lvl1pPr marL="0" indent="0">
              <a:spcBef>
                <a:spcPts val="0"/>
              </a:spcBef>
              <a:spcAft>
                <a:spcPts val="0"/>
              </a:spcAft>
              <a:buNone/>
              <a:defRPr sz="1598">
                <a:solidFill>
                  <a:schemeClr val="tx1"/>
                </a:solidFill>
              </a:defRPr>
            </a:lvl1pPr>
            <a:lvl2pPr marL="0" indent="0">
              <a:spcBef>
                <a:spcPts val="0"/>
              </a:spcBef>
              <a:spcAft>
                <a:spcPts val="0"/>
              </a:spcAft>
              <a:buNone/>
              <a:defRPr sz="1598"/>
            </a:lvl2pPr>
            <a:lvl3pPr marL="0" indent="0" algn="l">
              <a:spcBef>
                <a:spcPts val="0"/>
              </a:spcBef>
              <a:spcAft>
                <a:spcPts val="0"/>
              </a:spcAft>
              <a:buFontTx/>
              <a:buNone/>
              <a:tabLst>
                <a:tab pos="839519" algn="l"/>
              </a:tabLst>
              <a:defRPr sz="1598"/>
            </a:lvl3pPr>
            <a:lvl4pPr marL="0" indent="0" algn="l">
              <a:spcBef>
                <a:spcPts val="0"/>
              </a:spcBef>
              <a:spcAft>
                <a:spcPts val="0"/>
              </a:spcAft>
              <a:buFontTx/>
              <a:buNone/>
              <a:defRPr sz="1598">
                <a:solidFill>
                  <a:schemeClr val="tx1"/>
                </a:solidFill>
              </a:defRPr>
            </a:lvl4pPr>
            <a:lvl5pPr marL="0" indent="0" algn="l">
              <a:spcBef>
                <a:spcPts val="0"/>
              </a:spcBef>
              <a:spcAft>
                <a:spcPts val="0"/>
              </a:spcAft>
              <a:buFontTx/>
              <a:buNone/>
              <a:defRPr sz="1598"/>
            </a:lvl5pPr>
            <a:lvl6pPr marL="0" indent="0" algn="l">
              <a:spcBef>
                <a:spcPts val="0"/>
              </a:spcBef>
              <a:spcAft>
                <a:spcPts val="0"/>
              </a:spcAft>
              <a:buFontTx/>
              <a:buNone/>
              <a:defRPr sz="1598"/>
            </a:lvl6pPr>
            <a:lvl7pPr marL="0" indent="0" algn="l">
              <a:spcBef>
                <a:spcPts val="0"/>
              </a:spcBef>
              <a:spcAft>
                <a:spcPts val="0"/>
              </a:spcAft>
              <a:buFontTx/>
              <a:buNone/>
              <a:defRPr sz="1598"/>
            </a:lvl7pPr>
            <a:lvl8pPr marL="0" indent="0" algn="l">
              <a:spcBef>
                <a:spcPts val="0"/>
              </a:spcBef>
              <a:spcAft>
                <a:spcPts val="0"/>
              </a:spcAft>
              <a:buFontTx/>
              <a:buNone/>
              <a:defRPr sz="1598"/>
            </a:lvl8pPr>
            <a:lvl9pPr marL="0" indent="0" algn="l">
              <a:spcBef>
                <a:spcPts val="0"/>
              </a:spcBef>
              <a:spcAft>
                <a:spcPts val="0"/>
              </a:spcAft>
              <a:buFontTx/>
              <a:buNone/>
              <a:defRPr sz="1598"/>
            </a:lvl9pPr>
          </a:lstStyle>
          <a:p>
            <a:pPr lvl="4"/>
            <a:r>
              <a:rPr lang="en-US"/>
              <a:t>[email address]</a:t>
            </a:r>
          </a:p>
        </p:txBody>
      </p:sp>
      <p:sp>
        <p:nvSpPr>
          <p:cNvPr id="44" name="Text Placeholder 3"/>
          <p:cNvSpPr>
            <a:spLocks noGrp="1"/>
          </p:cNvSpPr>
          <p:nvPr>
            <p:ph type="body" sz="quarter" idx="45" hasCustomPrompt="1"/>
          </p:nvPr>
        </p:nvSpPr>
        <p:spPr bwMode="gray">
          <a:xfrm>
            <a:off x="8113291" y="3622368"/>
            <a:ext cx="3648301" cy="286685"/>
          </a:xfrm>
        </p:spPr>
        <p:txBody>
          <a:bodyPr tIns="0" anchor="b" anchorCtr="0"/>
          <a:lstStyle>
            <a:lvl1pPr marL="0" indent="0">
              <a:spcBef>
                <a:spcPts val="0"/>
              </a:spcBef>
              <a:spcAft>
                <a:spcPts val="0"/>
              </a:spcAft>
              <a:buNone/>
              <a:defRPr sz="1598">
                <a:solidFill>
                  <a:schemeClr val="tx1"/>
                </a:solidFill>
              </a:defRPr>
            </a:lvl1pPr>
            <a:lvl2pPr marL="0" indent="0">
              <a:spcBef>
                <a:spcPts val="0"/>
              </a:spcBef>
              <a:spcAft>
                <a:spcPts val="0"/>
              </a:spcAft>
              <a:buNone/>
              <a:defRPr sz="1598"/>
            </a:lvl2pPr>
            <a:lvl3pPr marL="0" indent="0" algn="l">
              <a:spcBef>
                <a:spcPts val="0"/>
              </a:spcBef>
              <a:spcAft>
                <a:spcPts val="0"/>
              </a:spcAft>
              <a:buFontTx/>
              <a:buNone/>
              <a:tabLst>
                <a:tab pos="839519" algn="l"/>
              </a:tabLst>
              <a:defRPr sz="1598"/>
            </a:lvl3pPr>
            <a:lvl4pPr marL="0" indent="0" algn="l">
              <a:spcBef>
                <a:spcPts val="0"/>
              </a:spcBef>
              <a:spcAft>
                <a:spcPts val="0"/>
              </a:spcAft>
              <a:buFontTx/>
              <a:buNone/>
              <a:defRPr sz="1598">
                <a:solidFill>
                  <a:schemeClr val="tx1"/>
                </a:solidFill>
              </a:defRPr>
            </a:lvl4pPr>
            <a:lvl5pPr marL="0" indent="0" algn="l">
              <a:spcBef>
                <a:spcPts val="0"/>
              </a:spcBef>
              <a:spcAft>
                <a:spcPts val="0"/>
              </a:spcAft>
              <a:buFontTx/>
              <a:buNone/>
              <a:defRPr sz="1598"/>
            </a:lvl5pPr>
            <a:lvl6pPr marL="0" indent="0" algn="l">
              <a:spcBef>
                <a:spcPts val="0"/>
              </a:spcBef>
              <a:spcAft>
                <a:spcPts val="0"/>
              </a:spcAft>
              <a:buFontTx/>
              <a:buNone/>
              <a:defRPr sz="1598"/>
            </a:lvl6pPr>
            <a:lvl7pPr marL="0" indent="0" algn="l">
              <a:spcBef>
                <a:spcPts val="0"/>
              </a:spcBef>
              <a:spcAft>
                <a:spcPts val="0"/>
              </a:spcAft>
              <a:buFontTx/>
              <a:buNone/>
              <a:defRPr sz="1598"/>
            </a:lvl7pPr>
            <a:lvl8pPr marL="0" indent="0" algn="l">
              <a:spcBef>
                <a:spcPts val="0"/>
              </a:spcBef>
              <a:spcAft>
                <a:spcPts val="0"/>
              </a:spcAft>
              <a:buFontTx/>
              <a:buNone/>
              <a:defRPr sz="1598"/>
            </a:lvl8pPr>
            <a:lvl9pPr marL="0" indent="0" algn="l">
              <a:spcBef>
                <a:spcPts val="0"/>
              </a:spcBef>
              <a:spcAft>
                <a:spcPts val="0"/>
              </a:spcAft>
              <a:buFontTx/>
              <a:buNone/>
              <a:defRPr sz="1598"/>
            </a:lvl9pPr>
          </a:lstStyle>
          <a:p>
            <a:pPr lvl="4"/>
            <a:r>
              <a:rPr lang="en-US"/>
              <a:t>[country]</a:t>
            </a:r>
          </a:p>
        </p:txBody>
      </p:sp>
      <p:sp>
        <p:nvSpPr>
          <p:cNvPr id="45" name="Textplatzhalter 2"/>
          <p:cNvSpPr>
            <a:spLocks noGrp="1"/>
          </p:cNvSpPr>
          <p:nvPr>
            <p:ph type="body" sz="quarter" idx="11" hasCustomPrompt="1"/>
          </p:nvPr>
        </p:nvSpPr>
        <p:spPr bwMode="gray">
          <a:xfrm>
            <a:off x="431800" y="1220755"/>
            <a:ext cx="11328400" cy="384340"/>
          </a:xfrm>
        </p:spPr>
        <p:txBody>
          <a:bodyPr>
            <a:noAutofit/>
          </a:bodyPr>
          <a:lstStyle>
            <a:lvl1pPr marL="0" indent="0">
              <a:lnSpc>
                <a:spcPct val="100000"/>
              </a:lnSpc>
              <a:spcBef>
                <a:spcPts val="800"/>
              </a:spcBef>
              <a:buFont typeface="Arial" panose="020B0604020202020204" pitchFamily="34" charset="0"/>
              <a:buNone/>
              <a:defRPr lang="en-GB" sz="2398" kern="1200" noProof="0" smtClean="0">
                <a:solidFill>
                  <a:schemeClr val="tx2"/>
                </a:solidFill>
                <a:latin typeface="Arial" pitchFamily="34" charset="0"/>
                <a:ea typeface="+mn-ea"/>
                <a:cs typeface="Arial" pitchFamily="34" charset="0"/>
              </a:defRPr>
            </a:lvl1pPr>
            <a:lvl2pPr marL="0" indent="0">
              <a:lnSpc>
                <a:spcPct val="100000"/>
              </a:lnSpc>
              <a:spcBef>
                <a:spcPts val="800"/>
              </a:spcBef>
              <a:buFont typeface="Arial" panose="020B0604020202020204" pitchFamily="34" charset="0"/>
              <a:buNone/>
              <a:defRPr lang="en-GB" sz="2398" kern="1200" noProof="0" smtClean="0">
                <a:solidFill>
                  <a:schemeClr val="tx2"/>
                </a:solidFill>
                <a:latin typeface="Arial" pitchFamily="34" charset="0"/>
                <a:ea typeface="+mn-ea"/>
                <a:cs typeface="Arial" pitchFamily="34" charset="0"/>
              </a:defRPr>
            </a:lvl2pPr>
            <a:lvl3pPr marL="0" indent="0">
              <a:lnSpc>
                <a:spcPct val="100000"/>
              </a:lnSpc>
              <a:spcBef>
                <a:spcPts val="800"/>
              </a:spcBef>
              <a:buFont typeface="Arial" panose="020B0604020202020204" pitchFamily="34" charset="0"/>
              <a:buNone/>
              <a:defRPr lang="en-GB" sz="2398" kern="1200" noProof="0" smtClean="0">
                <a:solidFill>
                  <a:schemeClr val="tx2"/>
                </a:solidFill>
                <a:latin typeface="Arial" pitchFamily="34" charset="0"/>
                <a:ea typeface="+mn-ea"/>
                <a:cs typeface="Arial" pitchFamily="34" charset="0"/>
              </a:defRPr>
            </a:lvl3pPr>
            <a:lvl4pPr marL="0" indent="0">
              <a:lnSpc>
                <a:spcPct val="100000"/>
              </a:lnSpc>
              <a:spcBef>
                <a:spcPts val="800"/>
              </a:spcBef>
              <a:buFont typeface="Arial" panose="020B0604020202020204" pitchFamily="34" charset="0"/>
              <a:buNone/>
              <a:defRPr lang="en-GB" sz="2398" kern="1200" noProof="0" smtClean="0">
                <a:solidFill>
                  <a:schemeClr val="tx2"/>
                </a:solidFill>
                <a:latin typeface="Arial" pitchFamily="34" charset="0"/>
                <a:ea typeface="+mn-ea"/>
                <a:cs typeface="Arial" pitchFamily="34" charset="0"/>
              </a:defRPr>
            </a:lvl4pPr>
            <a:lvl5pPr marL="0" indent="0">
              <a:lnSpc>
                <a:spcPct val="100000"/>
              </a:lnSpc>
              <a:spcBef>
                <a:spcPts val="800"/>
              </a:spcBef>
              <a:buFont typeface="Arial" panose="020B0604020202020204" pitchFamily="34" charset="0"/>
              <a:buNone/>
              <a:defRPr lang="en-GB" sz="2398" kern="1200" noProof="0" smtClean="0">
                <a:solidFill>
                  <a:schemeClr val="tx2"/>
                </a:solidFill>
                <a:latin typeface="Arial" pitchFamily="34" charset="0"/>
                <a:ea typeface="+mn-ea"/>
                <a:cs typeface="Arial" pitchFamily="34" charset="0"/>
              </a:defRPr>
            </a:lvl5pPr>
            <a:lvl6pPr marL="0" indent="0">
              <a:lnSpc>
                <a:spcPct val="100000"/>
              </a:lnSpc>
              <a:spcBef>
                <a:spcPts val="800"/>
              </a:spcBef>
              <a:buNone/>
              <a:defRPr lang="en-GB" sz="2398" kern="1200" noProof="0" smtClean="0">
                <a:solidFill>
                  <a:schemeClr val="tx2"/>
                </a:solidFill>
                <a:latin typeface="Arial" pitchFamily="34" charset="0"/>
                <a:ea typeface="+mn-ea"/>
                <a:cs typeface="Arial" pitchFamily="34" charset="0"/>
              </a:defRPr>
            </a:lvl6pPr>
            <a:lvl7pPr marL="0" indent="0">
              <a:lnSpc>
                <a:spcPct val="100000"/>
              </a:lnSpc>
              <a:spcBef>
                <a:spcPts val="800"/>
              </a:spcBef>
              <a:buNone/>
              <a:defRPr lang="en-GB" sz="2398" kern="1200" noProof="0" smtClean="0">
                <a:solidFill>
                  <a:schemeClr val="tx2"/>
                </a:solidFill>
                <a:latin typeface="Arial" pitchFamily="34" charset="0"/>
                <a:ea typeface="+mn-ea"/>
                <a:cs typeface="Arial" pitchFamily="34" charset="0"/>
              </a:defRPr>
            </a:lvl7pPr>
            <a:lvl8pPr marL="0" indent="0">
              <a:lnSpc>
                <a:spcPct val="100000"/>
              </a:lnSpc>
              <a:spcBef>
                <a:spcPts val="800"/>
              </a:spcBef>
              <a:buNone/>
              <a:defRPr lang="en-GB" sz="2398" kern="1200" noProof="0" smtClean="0">
                <a:solidFill>
                  <a:schemeClr val="tx2"/>
                </a:solidFill>
                <a:latin typeface="Arial" pitchFamily="34" charset="0"/>
                <a:ea typeface="+mn-ea"/>
                <a:cs typeface="Arial" pitchFamily="34" charset="0"/>
              </a:defRPr>
            </a:lvl8pPr>
            <a:lvl9pPr marL="0" indent="0">
              <a:lnSpc>
                <a:spcPct val="100000"/>
              </a:lnSpc>
              <a:spcBef>
                <a:spcPts val="800"/>
              </a:spcBef>
              <a:buNone/>
              <a:defRPr lang="de-DE" sz="2398" kern="1200" noProof="0" smtClean="0">
                <a:solidFill>
                  <a:schemeClr val="tx2"/>
                </a:solidFill>
                <a:latin typeface="Arial" pitchFamily="34" charset="0"/>
                <a:ea typeface="+mn-ea"/>
                <a:cs typeface="Arial" pitchFamily="34" charset="0"/>
              </a:defRPr>
            </a:lvl9pPr>
          </a:lstStyle>
          <a:p>
            <a:pPr lvl="0"/>
            <a:r>
              <a:rPr lang="en-US"/>
              <a:t>Click to add </a:t>
            </a:r>
            <a:r>
              <a:rPr lang="en-US" err="1"/>
              <a:t>subheadline</a:t>
            </a:r>
            <a:endParaRPr lang="en-US"/>
          </a:p>
        </p:txBody>
      </p:sp>
      <p:sp>
        <p:nvSpPr>
          <p:cNvPr id="46" name="Text Placeholder 3"/>
          <p:cNvSpPr>
            <a:spLocks noGrp="1"/>
          </p:cNvSpPr>
          <p:nvPr>
            <p:ph type="body" sz="quarter" idx="37" hasCustomPrompt="1"/>
          </p:nvPr>
        </p:nvSpPr>
        <p:spPr bwMode="gray">
          <a:xfrm>
            <a:off x="2351584" y="1701800"/>
            <a:ext cx="3648405" cy="768440"/>
          </a:xfrm>
        </p:spPr>
        <p:txBody>
          <a:bodyPr tIns="0" bIns="36000" anchor="b" anchorCtr="0"/>
          <a:lstStyle>
            <a:lvl1pPr marL="0" indent="0">
              <a:spcBef>
                <a:spcPts val="0"/>
              </a:spcBef>
              <a:spcAft>
                <a:spcPts val="0"/>
              </a:spcAft>
              <a:buFontTx/>
              <a:buNone/>
              <a:defRPr sz="1866">
                <a:solidFill>
                  <a:schemeClr val="tx2"/>
                </a:solidFill>
              </a:defRPr>
            </a:lvl1pPr>
            <a:lvl2pPr marL="0" indent="0">
              <a:spcBef>
                <a:spcPts val="0"/>
              </a:spcBef>
              <a:spcAft>
                <a:spcPts val="0"/>
              </a:spcAft>
              <a:buNone/>
              <a:defRPr sz="1866">
                <a:solidFill>
                  <a:schemeClr val="tx2"/>
                </a:solidFill>
              </a:defRPr>
            </a:lvl2pPr>
            <a:lvl3pPr marL="0" indent="0" algn="l">
              <a:spcBef>
                <a:spcPts val="0"/>
              </a:spcBef>
              <a:spcAft>
                <a:spcPts val="0"/>
              </a:spcAft>
              <a:buFontTx/>
              <a:buNone/>
              <a:tabLst>
                <a:tab pos="839519" algn="l"/>
              </a:tabLst>
              <a:defRPr sz="1866">
                <a:solidFill>
                  <a:schemeClr val="tx2"/>
                </a:solidFill>
              </a:defRPr>
            </a:lvl3pPr>
            <a:lvl4pPr marL="0" indent="0" algn="l">
              <a:spcBef>
                <a:spcPts val="0"/>
              </a:spcBef>
              <a:spcAft>
                <a:spcPts val="0"/>
              </a:spcAft>
              <a:buFontTx/>
              <a:buNone/>
              <a:defRPr sz="1866">
                <a:solidFill>
                  <a:schemeClr val="tx2"/>
                </a:solidFill>
              </a:defRPr>
            </a:lvl4pPr>
            <a:lvl5pPr marL="0" indent="0" algn="l">
              <a:spcBef>
                <a:spcPts val="0"/>
              </a:spcBef>
              <a:spcAft>
                <a:spcPts val="0"/>
              </a:spcAft>
              <a:buFontTx/>
              <a:buNone/>
              <a:defRPr sz="1866" b="0">
                <a:solidFill>
                  <a:schemeClr val="tx2"/>
                </a:solidFill>
              </a:defRPr>
            </a:lvl5pPr>
            <a:lvl6pPr marL="0" indent="0" algn="l">
              <a:spcBef>
                <a:spcPts val="0"/>
              </a:spcBef>
              <a:spcAft>
                <a:spcPts val="0"/>
              </a:spcAft>
              <a:buFontTx/>
              <a:buNone/>
              <a:defRPr sz="1866">
                <a:solidFill>
                  <a:schemeClr val="tx2"/>
                </a:solidFill>
              </a:defRPr>
            </a:lvl6pPr>
            <a:lvl7pPr marL="0" indent="0" algn="l">
              <a:spcBef>
                <a:spcPts val="0"/>
              </a:spcBef>
              <a:spcAft>
                <a:spcPts val="0"/>
              </a:spcAft>
              <a:buFontTx/>
              <a:buNone/>
              <a:defRPr sz="1866">
                <a:solidFill>
                  <a:schemeClr val="tx2"/>
                </a:solidFill>
              </a:defRPr>
            </a:lvl7pPr>
            <a:lvl8pPr marL="0" indent="0" algn="l">
              <a:spcBef>
                <a:spcPts val="0"/>
              </a:spcBef>
              <a:spcAft>
                <a:spcPts val="0"/>
              </a:spcAft>
              <a:buFontTx/>
              <a:buNone/>
              <a:defRPr sz="1866"/>
            </a:lvl8pPr>
            <a:lvl9pPr marL="0" indent="0" algn="l">
              <a:spcBef>
                <a:spcPts val="0"/>
              </a:spcBef>
              <a:spcAft>
                <a:spcPts val="0"/>
              </a:spcAft>
              <a:buFontTx/>
              <a:buNone/>
              <a:defRPr sz="1866">
                <a:solidFill>
                  <a:schemeClr val="tx2"/>
                </a:solidFill>
              </a:defRPr>
            </a:lvl9pPr>
          </a:lstStyle>
          <a:p>
            <a:pPr lvl="0"/>
            <a:r>
              <a:rPr lang="en-US" noProof="0"/>
              <a:t>[name]</a:t>
            </a:r>
          </a:p>
        </p:txBody>
      </p:sp>
      <p:sp>
        <p:nvSpPr>
          <p:cNvPr id="47" name="Text Placeholder 3"/>
          <p:cNvSpPr>
            <a:spLocks noGrp="1"/>
          </p:cNvSpPr>
          <p:nvPr>
            <p:ph type="body" sz="quarter" idx="43" hasCustomPrompt="1"/>
          </p:nvPr>
        </p:nvSpPr>
        <p:spPr bwMode="gray">
          <a:xfrm>
            <a:off x="8113184" y="1702432"/>
            <a:ext cx="3648405" cy="768000"/>
          </a:xfrm>
        </p:spPr>
        <p:txBody>
          <a:bodyPr tIns="0" bIns="36000" anchor="b" anchorCtr="0"/>
          <a:lstStyle>
            <a:lvl1pPr marL="0" indent="0">
              <a:spcBef>
                <a:spcPts val="0"/>
              </a:spcBef>
              <a:spcAft>
                <a:spcPts val="0"/>
              </a:spcAft>
              <a:buFontTx/>
              <a:buNone/>
              <a:defRPr sz="1866">
                <a:solidFill>
                  <a:schemeClr val="tx2"/>
                </a:solidFill>
              </a:defRPr>
            </a:lvl1pPr>
            <a:lvl2pPr marL="0" indent="0">
              <a:spcBef>
                <a:spcPts val="0"/>
              </a:spcBef>
              <a:spcAft>
                <a:spcPts val="0"/>
              </a:spcAft>
              <a:buNone/>
              <a:defRPr sz="1866">
                <a:solidFill>
                  <a:schemeClr val="tx2"/>
                </a:solidFill>
              </a:defRPr>
            </a:lvl2pPr>
            <a:lvl3pPr marL="0" indent="0" algn="l">
              <a:spcBef>
                <a:spcPts val="0"/>
              </a:spcBef>
              <a:spcAft>
                <a:spcPts val="0"/>
              </a:spcAft>
              <a:buFontTx/>
              <a:buNone/>
              <a:tabLst>
                <a:tab pos="839519" algn="l"/>
              </a:tabLst>
              <a:defRPr sz="1866">
                <a:solidFill>
                  <a:schemeClr val="tx2"/>
                </a:solidFill>
              </a:defRPr>
            </a:lvl3pPr>
            <a:lvl4pPr marL="0" indent="0" algn="l">
              <a:spcBef>
                <a:spcPts val="0"/>
              </a:spcBef>
              <a:spcAft>
                <a:spcPts val="0"/>
              </a:spcAft>
              <a:buFontTx/>
              <a:buNone/>
              <a:defRPr sz="1866">
                <a:solidFill>
                  <a:schemeClr val="tx2"/>
                </a:solidFill>
              </a:defRPr>
            </a:lvl4pPr>
            <a:lvl5pPr marL="0" indent="0" algn="l">
              <a:spcBef>
                <a:spcPts val="0"/>
              </a:spcBef>
              <a:spcAft>
                <a:spcPts val="0"/>
              </a:spcAft>
              <a:buFontTx/>
              <a:buNone/>
              <a:defRPr sz="1866" b="0">
                <a:solidFill>
                  <a:schemeClr val="tx2"/>
                </a:solidFill>
              </a:defRPr>
            </a:lvl5pPr>
            <a:lvl6pPr marL="0" indent="0" algn="l">
              <a:spcBef>
                <a:spcPts val="0"/>
              </a:spcBef>
              <a:spcAft>
                <a:spcPts val="0"/>
              </a:spcAft>
              <a:buFontTx/>
              <a:buNone/>
              <a:defRPr sz="1866">
                <a:solidFill>
                  <a:schemeClr val="tx2"/>
                </a:solidFill>
              </a:defRPr>
            </a:lvl6pPr>
            <a:lvl7pPr marL="0" indent="0" algn="l">
              <a:spcBef>
                <a:spcPts val="0"/>
              </a:spcBef>
              <a:spcAft>
                <a:spcPts val="0"/>
              </a:spcAft>
              <a:buFontTx/>
              <a:buNone/>
              <a:defRPr sz="1866">
                <a:solidFill>
                  <a:schemeClr val="tx2"/>
                </a:solidFill>
              </a:defRPr>
            </a:lvl7pPr>
            <a:lvl8pPr marL="0" indent="0" algn="l">
              <a:spcBef>
                <a:spcPts val="0"/>
              </a:spcBef>
              <a:spcAft>
                <a:spcPts val="0"/>
              </a:spcAft>
              <a:buFontTx/>
              <a:buNone/>
              <a:defRPr sz="1866"/>
            </a:lvl8pPr>
            <a:lvl9pPr marL="0" indent="0" algn="l">
              <a:spcBef>
                <a:spcPts val="0"/>
              </a:spcBef>
              <a:spcAft>
                <a:spcPts val="0"/>
              </a:spcAft>
              <a:buFontTx/>
              <a:buNone/>
              <a:defRPr sz="1866">
                <a:solidFill>
                  <a:schemeClr val="tx2"/>
                </a:solidFill>
              </a:defRPr>
            </a:lvl9pPr>
          </a:lstStyle>
          <a:p>
            <a:pPr lvl="0"/>
            <a:r>
              <a:rPr lang="en-US"/>
              <a:t>[name]</a:t>
            </a:r>
          </a:p>
        </p:txBody>
      </p:sp>
      <p:sp>
        <p:nvSpPr>
          <p:cNvPr id="48" name="Text Placeholder 3"/>
          <p:cNvSpPr>
            <a:spLocks noGrp="1"/>
          </p:cNvSpPr>
          <p:nvPr>
            <p:ph type="body" sz="quarter" idx="46" hasCustomPrompt="1"/>
          </p:nvPr>
        </p:nvSpPr>
        <p:spPr bwMode="gray">
          <a:xfrm>
            <a:off x="2351584" y="4101094"/>
            <a:ext cx="3648405" cy="768440"/>
          </a:xfrm>
        </p:spPr>
        <p:txBody>
          <a:bodyPr tIns="0" bIns="36000" anchor="b" anchorCtr="0"/>
          <a:lstStyle>
            <a:lvl1pPr marL="0" indent="0">
              <a:spcBef>
                <a:spcPts val="0"/>
              </a:spcBef>
              <a:spcAft>
                <a:spcPts val="0"/>
              </a:spcAft>
              <a:buFontTx/>
              <a:buNone/>
              <a:defRPr sz="1866">
                <a:solidFill>
                  <a:schemeClr val="tx2"/>
                </a:solidFill>
              </a:defRPr>
            </a:lvl1pPr>
            <a:lvl2pPr marL="0" indent="0">
              <a:spcBef>
                <a:spcPts val="0"/>
              </a:spcBef>
              <a:spcAft>
                <a:spcPts val="0"/>
              </a:spcAft>
              <a:buNone/>
              <a:defRPr sz="1866">
                <a:solidFill>
                  <a:schemeClr val="tx2"/>
                </a:solidFill>
              </a:defRPr>
            </a:lvl2pPr>
            <a:lvl3pPr marL="0" indent="0" algn="l">
              <a:spcBef>
                <a:spcPts val="0"/>
              </a:spcBef>
              <a:spcAft>
                <a:spcPts val="0"/>
              </a:spcAft>
              <a:buFontTx/>
              <a:buNone/>
              <a:tabLst>
                <a:tab pos="839519" algn="l"/>
              </a:tabLst>
              <a:defRPr sz="1866">
                <a:solidFill>
                  <a:schemeClr val="tx2"/>
                </a:solidFill>
              </a:defRPr>
            </a:lvl3pPr>
            <a:lvl4pPr marL="0" indent="0" algn="l">
              <a:spcBef>
                <a:spcPts val="0"/>
              </a:spcBef>
              <a:spcAft>
                <a:spcPts val="0"/>
              </a:spcAft>
              <a:buFontTx/>
              <a:buNone/>
              <a:defRPr sz="1866">
                <a:solidFill>
                  <a:schemeClr val="tx2"/>
                </a:solidFill>
              </a:defRPr>
            </a:lvl4pPr>
            <a:lvl5pPr marL="0" indent="0" algn="l">
              <a:spcBef>
                <a:spcPts val="0"/>
              </a:spcBef>
              <a:spcAft>
                <a:spcPts val="0"/>
              </a:spcAft>
              <a:buFontTx/>
              <a:buNone/>
              <a:defRPr sz="1866" b="0">
                <a:solidFill>
                  <a:schemeClr val="tx2"/>
                </a:solidFill>
              </a:defRPr>
            </a:lvl5pPr>
            <a:lvl6pPr marL="0" indent="0" algn="l">
              <a:spcBef>
                <a:spcPts val="0"/>
              </a:spcBef>
              <a:spcAft>
                <a:spcPts val="0"/>
              </a:spcAft>
              <a:buFontTx/>
              <a:buNone/>
              <a:defRPr sz="1866">
                <a:solidFill>
                  <a:schemeClr val="tx2"/>
                </a:solidFill>
              </a:defRPr>
            </a:lvl6pPr>
            <a:lvl7pPr marL="0" indent="0" algn="l">
              <a:spcBef>
                <a:spcPts val="0"/>
              </a:spcBef>
              <a:spcAft>
                <a:spcPts val="0"/>
              </a:spcAft>
              <a:buFontTx/>
              <a:buNone/>
              <a:defRPr sz="1866">
                <a:solidFill>
                  <a:schemeClr val="tx2"/>
                </a:solidFill>
              </a:defRPr>
            </a:lvl7pPr>
            <a:lvl8pPr marL="0" indent="0" algn="l">
              <a:spcBef>
                <a:spcPts val="0"/>
              </a:spcBef>
              <a:spcAft>
                <a:spcPts val="0"/>
              </a:spcAft>
              <a:buFontTx/>
              <a:buNone/>
              <a:defRPr sz="1866"/>
            </a:lvl8pPr>
            <a:lvl9pPr marL="0" indent="0" algn="l">
              <a:spcBef>
                <a:spcPts val="0"/>
              </a:spcBef>
              <a:spcAft>
                <a:spcPts val="0"/>
              </a:spcAft>
              <a:buFontTx/>
              <a:buNone/>
              <a:defRPr sz="1866">
                <a:solidFill>
                  <a:schemeClr val="tx2"/>
                </a:solidFill>
              </a:defRPr>
            </a:lvl9pPr>
          </a:lstStyle>
          <a:p>
            <a:pPr lvl="0"/>
            <a:r>
              <a:rPr lang="en-US" noProof="0"/>
              <a:t>[name]</a:t>
            </a:r>
          </a:p>
        </p:txBody>
      </p:sp>
      <p:sp>
        <p:nvSpPr>
          <p:cNvPr id="49" name="Text Placeholder 3"/>
          <p:cNvSpPr>
            <a:spLocks noGrp="1"/>
          </p:cNvSpPr>
          <p:nvPr>
            <p:ph type="body" sz="quarter" idx="47" hasCustomPrompt="1"/>
          </p:nvPr>
        </p:nvSpPr>
        <p:spPr bwMode="gray">
          <a:xfrm>
            <a:off x="8113184" y="4101726"/>
            <a:ext cx="3648405" cy="768000"/>
          </a:xfrm>
        </p:spPr>
        <p:txBody>
          <a:bodyPr tIns="0" bIns="36000" anchor="b" anchorCtr="0"/>
          <a:lstStyle>
            <a:lvl1pPr marL="0" indent="0">
              <a:spcBef>
                <a:spcPts val="0"/>
              </a:spcBef>
              <a:spcAft>
                <a:spcPts val="0"/>
              </a:spcAft>
              <a:buFontTx/>
              <a:buNone/>
              <a:defRPr sz="1866">
                <a:solidFill>
                  <a:schemeClr val="tx2"/>
                </a:solidFill>
              </a:defRPr>
            </a:lvl1pPr>
            <a:lvl2pPr marL="0" indent="0">
              <a:spcBef>
                <a:spcPts val="0"/>
              </a:spcBef>
              <a:spcAft>
                <a:spcPts val="0"/>
              </a:spcAft>
              <a:buNone/>
              <a:defRPr sz="1866">
                <a:solidFill>
                  <a:schemeClr val="tx2"/>
                </a:solidFill>
              </a:defRPr>
            </a:lvl2pPr>
            <a:lvl3pPr marL="0" indent="0" algn="l">
              <a:spcBef>
                <a:spcPts val="0"/>
              </a:spcBef>
              <a:spcAft>
                <a:spcPts val="0"/>
              </a:spcAft>
              <a:buFontTx/>
              <a:buNone/>
              <a:tabLst>
                <a:tab pos="839519" algn="l"/>
              </a:tabLst>
              <a:defRPr sz="1866">
                <a:solidFill>
                  <a:schemeClr val="tx2"/>
                </a:solidFill>
              </a:defRPr>
            </a:lvl3pPr>
            <a:lvl4pPr marL="0" indent="0" algn="l">
              <a:spcBef>
                <a:spcPts val="0"/>
              </a:spcBef>
              <a:spcAft>
                <a:spcPts val="0"/>
              </a:spcAft>
              <a:buFontTx/>
              <a:buNone/>
              <a:defRPr sz="1866">
                <a:solidFill>
                  <a:schemeClr val="tx2"/>
                </a:solidFill>
              </a:defRPr>
            </a:lvl4pPr>
            <a:lvl5pPr marL="0" indent="0" algn="l">
              <a:spcBef>
                <a:spcPts val="0"/>
              </a:spcBef>
              <a:spcAft>
                <a:spcPts val="0"/>
              </a:spcAft>
              <a:buFontTx/>
              <a:buNone/>
              <a:defRPr sz="1866" b="0">
                <a:solidFill>
                  <a:schemeClr val="tx2"/>
                </a:solidFill>
              </a:defRPr>
            </a:lvl5pPr>
            <a:lvl6pPr marL="0" indent="0" algn="l">
              <a:spcBef>
                <a:spcPts val="0"/>
              </a:spcBef>
              <a:spcAft>
                <a:spcPts val="0"/>
              </a:spcAft>
              <a:buFontTx/>
              <a:buNone/>
              <a:defRPr sz="1866">
                <a:solidFill>
                  <a:schemeClr val="tx2"/>
                </a:solidFill>
              </a:defRPr>
            </a:lvl6pPr>
            <a:lvl7pPr marL="0" indent="0" algn="l">
              <a:spcBef>
                <a:spcPts val="0"/>
              </a:spcBef>
              <a:spcAft>
                <a:spcPts val="0"/>
              </a:spcAft>
              <a:buFontTx/>
              <a:buNone/>
              <a:defRPr sz="1866">
                <a:solidFill>
                  <a:schemeClr val="tx2"/>
                </a:solidFill>
              </a:defRPr>
            </a:lvl7pPr>
            <a:lvl8pPr marL="0" indent="0" algn="l">
              <a:spcBef>
                <a:spcPts val="0"/>
              </a:spcBef>
              <a:spcAft>
                <a:spcPts val="0"/>
              </a:spcAft>
              <a:buFontTx/>
              <a:buNone/>
              <a:defRPr sz="1866"/>
            </a:lvl8pPr>
            <a:lvl9pPr marL="0" indent="0" algn="l">
              <a:spcBef>
                <a:spcPts val="0"/>
              </a:spcBef>
              <a:spcAft>
                <a:spcPts val="0"/>
              </a:spcAft>
              <a:buFontTx/>
              <a:buNone/>
              <a:defRPr sz="1866">
                <a:solidFill>
                  <a:schemeClr val="tx2"/>
                </a:solidFill>
              </a:defRPr>
            </a:lvl9pPr>
          </a:lstStyle>
          <a:p>
            <a:pPr lvl="0"/>
            <a:r>
              <a:rPr lang="en-US"/>
              <a:t>[name]</a:t>
            </a:r>
          </a:p>
        </p:txBody>
      </p:sp>
    </p:spTree>
    <p:extLst>
      <p:ext uri="{BB962C8B-B14F-4D97-AF65-F5344CB8AC3E}">
        <p14:creationId xmlns:p14="http://schemas.microsoft.com/office/powerpoint/2010/main" val="3504419730"/>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showMasterSp="0" preserve="1">
  <p:cSld name="Title 2">
    <p:spTree>
      <p:nvGrpSpPr>
        <p:cNvPr id="1" name=""/>
        <p:cNvGrpSpPr/>
        <p:nvPr/>
      </p:nvGrpSpPr>
      <p:grpSpPr>
        <a:xfrm>
          <a:off x="0" y="0"/>
          <a:ext cx="0" cy="0"/>
          <a:chOff x="0" y="0"/>
          <a:chExt cx="0" cy="0"/>
        </a:xfrm>
      </p:grpSpPr>
      <p:pic>
        <p:nvPicPr>
          <p:cNvPr id="29" name="picture">
            <a:extLst>
              <a:ext uri="{FF2B5EF4-FFF2-40B4-BE49-F238E27FC236}">
                <a16:creationId xmlns:a16="http://schemas.microsoft.com/office/drawing/2014/main" id="{8BF907F5-A9CD-2740-AF54-6BACB62334AE}"/>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2620212" y="-8808"/>
            <a:ext cx="9697299" cy="6866807"/>
          </a:xfrm>
          <a:prstGeom prst="rect">
            <a:avLst/>
          </a:prstGeom>
        </p:spPr>
      </p:pic>
      <p:sp>
        <p:nvSpPr>
          <p:cNvPr id="32" name="shpPicture"/>
          <p:cNvSpPr/>
          <p:nvPr/>
        </p:nvSpPr>
        <p:spPr>
          <a:xfrm>
            <a:off x="1" y="0"/>
            <a:ext cx="4112145" cy="6858000"/>
          </a:xfrm>
          <a:custGeom>
            <a:avLst/>
            <a:gdLst>
              <a:gd name="connsiteX0" fmla="*/ 0 w 4112145"/>
              <a:gd name="connsiteY0" fmla="*/ 0 h 6858000"/>
              <a:gd name="connsiteX1" fmla="*/ 2588964 w 4112145"/>
              <a:gd name="connsiteY1" fmla="*/ 0 h 6858000"/>
              <a:gd name="connsiteX2" fmla="*/ 4112145 w 4112145"/>
              <a:gd name="connsiteY2" fmla="*/ 3083531 h 6858000"/>
              <a:gd name="connsiteX3" fmla="*/ 2697661 w 4112145"/>
              <a:gd name="connsiteY3" fmla="*/ 6858000 h 6858000"/>
              <a:gd name="connsiteX4" fmla="*/ 0 w 4112145"/>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12145" h="6858000">
                <a:moveTo>
                  <a:pt x="0" y="0"/>
                </a:moveTo>
                <a:lnTo>
                  <a:pt x="2588964" y="0"/>
                </a:lnTo>
                <a:lnTo>
                  <a:pt x="4112145" y="3083531"/>
                </a:lnTo>
                <a:lnTo>
                  <a:pt x="2697661"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US" sz="1600" dirty="0"/>
          </a:p>
        </p:txBody>
      </p:sp>
      <p:grpSp>
        <p:nvGrpSpPr>
          <p:cNvPr id="14" name="logo">
            <a:extLst>
              <a:ext uri="{FF2B5EF4-FFF2-40B4-BE49-F238E27FC236}">
                <a16:creationId xmlns:a16="http://schemas.microsoft.com/office/drawing/2014/main" id="{18C26D95-70F8-8A4D-9F18-DCCB92522AF8}"/>
              </a:ext>
            </a:extLst>
          </p:cNvPr>
          <p:cNvGrpSpPr/>
          <p:nvPr/>
        </p:nvGrpSpPr>
        <p:grpSpPr bwMode="gray">
          <a:xfrm>
            <a:off x="417363" y="407485"/>
            <a:ext cx="1518585" cy="646507"/>
            <a:chOff x="334963" y="296652"/>
            <a:chExt cx="1268411" cy="540000"/>
          </a:xfrm>
        </p:grpSpPr>
        <p:sp>
          <p:nvSpPr>
            <p:cNvPr id="17" name="Freeform 6">
              <a:extLst>
                <a:ext uri="{FF2B5EF4-FFF2-40B4-BE49-F238E27FC236}">
                  <a16:creationId xmlns:a16="http://schemas.microsoft.com/office/drawing/2014/main" id="{08737AD0-E375-E445-97E6-CD2E2DF60620}"/>
                </a:ext>
              </a:extLst>
            </p:cNvPr>
            <p:cNvSpPr>
              <a:spLocks noEditPoints="1"/>
            </p:cNvSpPr>
            <p:nvPr/>
          </p:nvSpPr>
          <p:spPr bwMode="gray">
            <a:xfrm>
              <a:off x="982662" y="360462"/>
              <a:ext cx="620712" cy="431800"/>
            </a:xfrm>
            <a:custGeom>
              <a:avLst/>
              <a:gdLst>
                <a:gd name="T0" fmla="*/ 19 w 1809"/>
                <a:gd name="T1" fmla="*/ 97 h 1253"/>
                <a:gd name="T2" fmla="*/ 165 w 1809"/>
                <a:gd name="T3" fmla="*/ 41 h 1253"/>
                <a:gd name="T4" fmla="*/ 211 w 1809"/>
                <a:gd name="T5" fmla="*/ 224 h 1253"/>
                <a:gd name="T6" fmla="*/ 248 w 1809"/>
                <a:gd name="T7" fmla="*/ 155 h 1253"/>
                <a:gd name="T8" fmla="*/ 931 w 1809"/>
                <a:gd name="T9" fmla="*/ 995 h 1253"/>
                <a:gd name="T10" fmla="*/ 858 w 1809"/>
                <a:gd name="T11" fmla="*/ 1115 h 1253"/>
                <a:gd name="T12" fmla="*/ 749 w 1809"/>
                <a:gd name="T13" fmla="*/ 1117 h 1253"/>
                <a:gd name="T14" fmla="*/ 681 w 1809"/>
                <a:gd name="T15" fmla="*/ 1055 h 1253"/>
                <a:gd name="T16" fmla="*/ 800 w 1809"/>
                <a:gd name="T17" fmla="*/ 1054 h 1253"/>
                <a:gd name="T18" fmla="*/ 884 w 1809"/>
                <a:gd name="T19" fmla="*/ 1181 h 1253"/>
                <a:gd name="T20" fmla="*/ 118 w 1809"/>
                <a:gd name="T21" fmla="*/ 1086 h 1253"/>
                <a:gd name="T22" fmla="*/ 147 w 1809"/>
                <a:gd name="T23" fmla="*/ 1026 h 1253"/>
                <a:gd name="T24" fmla="*/ 102 w 1809"/>
                <a:gd name="T25" fmla="*/ 1026 h 1253"/>
                <a:gd name="T26" fmla="*/ 639 w 1809"/>
                <a:gd name="T27" fmla="*/ 84 h 1253"/>
                <a:gd name="T28" fmla="*/ 763 w 1809"/>
                <a:gd name="T29" fmla="*/ 145 h 1253"/>
                <a:gd name="T30" fmla="*/ 863 w 1809"/>
                <a:gd name="T31" fmla="*/ 221 h 1253"/>
                <a:gd name="T32" fmla="*/ 834 w 1809"/>
                <a:gd name="T33" fmla="*/ 208 h 1253"/>
                <a:gd name="T34" fmla="*/ 719 w 1809"/>
                <a:gd name="T35" fmla="*/ 182 h 1253"/>
                <a:gd name="T36" fmla="*/ 507 w 1809"/>
                <a:gd name="T37" fmla="*/ 711 h 1253"/>
                <a:gd name="T38" fmla="*/ 614 w 1809"/>
                <a:gd name="T39" fmla="*/ 706 h 1253"/>
                <a:gd name="T40" fmla="*/ 736 w 1809"/>
                <a:gd name="T41" fmla="*/ 730 h 1253"/>
                <a:gd name="T42" fmla="*/ 607 w 1809"/>
                <a:gd name="T43" fmla="*/ 539 h 1253"/>
                <a:gd name="T44" fmla="*/ 1505 w 1809"/>
                <a:gd name="T45" fmla="*/ 1136 h 1253"/>
                <a:gd name="T46" fmla="*/ 1613 w 1809"/>
                <a:gd name="T47" fmla="*/ 1002 h 1253"/>
                <a:gd name="T48" fmla="*/ 1472 w 1809"/>
                <a:gd name="T49" fmla="*/ 1164 h 1253"/>
                <a:gd name="T50" fmla="*/ 1525 w 1809"/>
                <a:gd name="T51" fmla="*/ 1142 h 1253"/>
                <a:gd name="T52" fmla="*/ 1556 w 1809"/>
                <a:gd name="T53" fmla="*/ 1172 h 1253"/>
                <a:gd name="T54" fmla="*/ 1387 w 1809"/>
                <a:gd name="T55" fmla="*/ 910 h 1253"/>
                <a:gd name="T56" fmla="*/ 1261 w 1809"/>
                <a:gd name="T57" fmla="*/ 1157 h 1253"/>
                <a:gd name="T58" fmla="*/ 1413 w 1809"/>
                <a:gd name="T59" fmla="*/ 934 h 1253"/>
                <a:gd name="T60" fmla="*/ 1378 w 1809"/>
                <a:gd name="T61" fmla="*/ 1052 h 1253"/>
                <a:gd name="T62" fmla="*/ 488 w 1809"/>
                <a:gd name="T63" fmla="*/ 85 h 1253"/>
                <a:gd name="T64" fmla="*/ 509 w 1809"/>
                <a:gd name="T65" fmla="*/ 112 h 1253"/>
                <a:gd name="T66" fmla="*/ 548 w 1809"/>
                <a:gd name="T67" fmla="*/ 1187 h 1253"/>
                <a:gd name="T68" fmla="*/ 472 w 1809"/>
                <a:gd name="T69" fmla="*/ 1122 h 1253"/>
                <a:gd name="T70" fmla="*/ 558 w 1809"/>
                <a:gd name="T71" fmla="*/ 1157 h 1253"/>
                <a:gd name="T72" fmla="*/ 287 w 1809"/>
                <a:gd name="T73" fmla="*/ 654 h 1253"/>
                <a:gd name="T74" fmla="*/ 416 w 1809"/>
                <a:gd name="T75" fmla="*/ 684 h 1253"/>
                <a:gd name="T76" fmla="*/ 1106 w 1809"/>
                <a:gd name="T77" fmla="*/ 147 h 1253"/>
                <a:gd name="T78" fmla="*/ 1229 w 1809"/>
                <a:gd name="T79" fmla="*/ 258 h 1253"/>
                <a:gd name="T80" fmla="*/ 1106 w 1809"/>
                <a:gd name="T81" fmla="*/ 96 h 1253"/>
                <a:gd name="T82" fmla="*/ 1219 w 1809"/>
                <a:gd name="T83" fmla="*/ 1077 h 1253"/>
                <a:gd name="T84" fmla="*/ 1214 w 1809"/>
                <a:gd name="T85" fmla="*/ 1157 h 1253"/>
                <a:gd name="T86" fmla="*/ 1150 w 1809"/>
                <a:gd name="T87" fmla="*/ 1092 h 1253"/>
                <a:gd name="T88" fmla="*/ 1139 w 1809"/>
                <a:gd name="T89" fmla="*/ 1070 h 1253"/>
                <a:gd name="T90" fmla="*/ 1659 w 1809"/>
                <a:gd name="T91" fmla="*/ 1031 h 1253"/>
                <a:gd name="T92" fmla="*/ 1714 w 1809"/>
                <a:gd name="T93" fmla="*/ 1155 h 1253"/>
                <a:gd name="T94" fmla="*/ 1760 w 1809"/>
                <a:gd name="T95" fmla="*/ 1030 h 1253"/>
                <a:gd name="T96" fmla="*/ 111 w 1809"/>
                <a:gd name="T97" fmla="*/ 569 h 1253"/>
                <a:gd name="T98" fmla="*/ 109 w 1809"/>
                <a:gd name="T99" fmla="*/ 460 h 1253"/>
                <a:gd name="T100" fmla="*/ 32 w 1809"/>
                <a:gd name="T101" fmla="*/ 704 h 1253"/>
                <a:gd name="T102" fmla="*/ 310 w 1809"/>
                <a:gd name="T103" fmla="*/ 1058 h 1253"/>
                <a:gd name="T104" fmla="*/ 431 w 1809"/>
                <a:gd name="T105" fmla="*/ 1044 h 1253"/>
                <a:gd name="T106" fmla="*/ 278 w 1809"/>
                <a:gd name="T107" fmla="*/ 1165 h 1253"/>
                <a:gd name="T108" fmla="*/ 261 w 1809"/>
                <a:gd name="T109" fmla="*/ 540 h 1253"/>
                <a:gd name="T110" fmla="*/ 150 w 1809"/>
                <a:gd name="T111" fmla="*/ 635 h 1253"/>
                <a:gd name="T112" fmla="*/ 994 w 1809"/>
                <a:gd name="T113" fmla="*/ 1185 h 1253"/>
                <a:gd name="T114" fmla="*/ 331 w 1809"/>
                <a:gd name="T115" fmla="*/ 176 h 1253"/>
                <a:gd name="T116" fmla="*/ 333 w 1809"/>
                <a:gd name="T117" fmla="*/ 109 h 1253"/>
                <a:gd name="T118" fmla="*/ 946 w 1809"/>
                <a:gd name="T119" fmla="*/ 234 h 1253"/>
                <a:gd name="T120" fmla="*/ 1022 w 1809"/>
                <a:gd name="T121" fmla="*/ 113 h 1253"/>
                <a:gd name="T122" fmla="*/ 949 w 1809"/>
                <a:gd name="T123" fmla="*/ 65 h 1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09" h="1253">
                  <a:moveTo>
                    <a:pt x="248" y="198"/>
                  </a:moveTo>
                  <a:cubicBezTo>
                    <a:pt x="248" y="211"/>
                    <a:pt x="248" y="224"/>
                    <a:pt x="249" y="237"/>
                  </a:cubicBezTo>
                  <a:cubicBezTo>
                    <a:pt x="249" y="245"/>
                    <a:pt x="246" y="249"/>
                    <a:pt x="240" y="253"/>
                  </a:cubicBezTo>
                  <a:cubicBezTo>
                    <a:pt x="231" y="260"/>
                    <a:pt x="220" y="264"/>
                    <a:pt x="209" y="268"/>
                  </a:cubicBezTo>
                  <a:cubicBezTo>
                    <a:pt x="179" y="279"/>
                    <a:pt x="148" y="280"/>
                    <a:pt x="118" y="275"/>
                  </a:cubicBezTo>
                  <a:cubicBezTo>
                    <a:pt x="86" y="269"/>
                    <a:pt x="58" y="252"/>
                    <a:pt x="39" y="224"/>
                  </a:cubicBezTo>
                  <a:cubicBezTo>
                    <a:pt x="24" y="203"/>
                    <a:pt x="18" y="180"/>
                    <a:pt x="15" y="155"/>
                  </a:cubicBezTo>
                  <a:cubicBezTo>
                    <a:pt x="11" y="135"/>
                    <a:pt x="15" y="115"/>
                    <a:pt x="19" y="97"/>
                  </a:cubicBezTo>
                  <a:cubicBezTo>
                    <a:pt x="26" y="68"/>
                    <a:pt x="42" y="44"/>
                    <a:pt x="68" y="27"/>
                  </a:cubicBezTo>
                  <a:cubicBezTo>
                    <a:pt x="87" y="14"/>
                    <a:pt x="109" y="6"/>
                    <a:pt x="133" y="5"/>
                  </a:cubicBezTo>
                  <a:cubicBezTo>
                    <a:pt x="149" y="4"/>
                    <a:pt x="165" y="5"/>
                    <a:pt x="181" y="6"/>
                  </a:cubicBezTo>
                  <a:cubicBezTo>
                    <a:pt x="204" y="8"/>
                    <a:pt x="225" y="20"/>
                    <a:pt x="243" y="35"/>
                  </a:cubicBezTo>
                  <a:cubicBezTo>
                    <a:pt x="246" y="37"/>
                    <a:pt x="246" y="40"/>
                    <a:pt x="244" y="43"/>
                  </a:cubicBezTo>
                  <a:cubicBezTo>
                    <a:pt x="242" y="47"/>
                    <a:pt x="239" y="52"/>
                    <a:pt x="236" y="55"/>
                  </a:cubicBezTo>
                  <a:cubicBezTo>
                    <a:pt x="226" y="65"/>
                    <a:pt x="224" y="65"/>
                    <a:pt x="206" y="54"/>
                  </a:cubicBezTo>
                  <a:cubicBezTo>
                    <a:pt x="193" y="46"/>
                    <a:pt x="180" y="40"/>
                    <a:pt x="165" y="41"/>
                  </a:cubicBezTo>
                  <a:cubicBezTo>
                    <a:pt x="151" y="41"/>
                    <a:pt x="137" y="39"/>
                    <a:pt x="124" y="42"/>
                  </a:cubicBezTo>
                  <a:cubicBezTo>
                    <a:pt x="104" y="46"/>
                    <a:pt x="87" y="57"/>
                    <a:pt x="75" y="74"/>
                  </a:cubicBezTo>
                  <a:cubicBezTo>
                    <a:pt x="56" y="99"/>
                    <a:pt x="51" y="129"/>
                    <a:pt x="55" y="159"/>
                  </a:cubicBezTo>
                  <a:cubicBezTo>
                    <a:pt x="60" y="189"/>
                    <a:pt x="73" y="214"/>
                    <a:pt x="98" y="230"/>
                  </a:cubicBezTo>
                  <a:cubicBezTo>
                    <a:pt x="109" y="237"/>
                    <a:pt x="121" y="242"/>
                    <a:pt x="135" y="241"/>
                  </a:cubicBezTo>
                  <a:cubicBezTo>
                    <a:pt x="146" y="241"/>
                    <a:pt x="158" y="241"/>
                    <a:pt x="169" y="241"/>
                  </a:cubicBezTo>
                  <a:cubicBezTo>
                    <a:pt x="182" y="242"/>
                    <a:pt x="193" y="235"/>
                    <a:pt x="205" y="232"/>
                  </a:cubicBezTo>
                  <a:cubicBezTo>
                    <a:pt x="210" y="231"/>
                    <a:pt x="211" y="227"/>
                    <a:pt x="211" y="224"/>
                  </a:cubicBezTo>
                  <a:cubicBezTo>
                    <a:pt x="211" y="210"/>
                    <a:pt x="211" y="196"/>
                    <a:pt x="211" y="183"/>
                  </a:cubicBezTo>
                  <a:cubicBezTo>
                    <a:pt x="211" y="177"/>
                    <a:pt x="207" y="175"/>
                    <a:pt x="202" y="175"/>
                  </a:cubicBezTo>
                  <a:cubicBezTo>
                    <a:pt x="193" y="175"/>
                    <a:pt x="184" y="175"/>
                    <a:pt x="175" y="175"/>
                  </a:cubicBezTo>
                  <a:cubicBezTo>
                    <a:pt x="171" y="175"/>
                    <a:pt x="168" y="174"/>
                    <a:pt x="166" y="171"/>
                  </a:cubicBezTo>
                  <a:cubicBezTo>
                    <a:pt x="163" y="163"/>
                    <a:pt x="164" y="154"/>
                    <a:pt x="166" y="146"/>
                  </a:cubicBezTo>
                  <a:cubicBezTo>
                    <a:pt x="167" y="142"/>
                    <a:pt x="171" y="142"/>
                    <a:pt x="175" y="142"/>
                  </a:cubicBezTo>
                  <a:cubicBezTo>
                    <a:pt x="196" y="142"/>
                    <a:pt x="217" y="142"/>
                    <a:pt x="238" y="142"/>
                  </a:cubicBezTo>
                  <a:cubicBezTo>
                    <a:pt x="247" y="142"/>
                    <a:pt x="248" y="148"/>
                    <a:pt x="248" y="155"/>
                  </a:cubicBezTo>
                  <a:cubicBezTo>
                    <a:pt x="249" y="169"/>
                    <a:pt x="248" y="183"/>
                    <a:pt x="248" y="198"/>
                  </a:cubicBezTo>
                  <a:close/>
                  <a:moveTo>
                    <a:pt x="884" y="1181"/>
                  </a:moveTo>
                  <a:cubicBezTo>
                    <a:pt x="889" y="1167"/>
                    <a:pt x="894" y="1152"/>
                    <a:pt x="898" y="1137"/>
                  </a:cubicBezTo>
                  <a:cubicBezTo>
                    <a:pt x="901" y="1127"/>
                    <a:pt x="905" y="1116"/>
                    <a:pt x="908" y="1106"/>
                  </a:cubicBezTo>
                  <a:cubicBezTo>
                    <a:pt x="911" y="1098"/>
                    <a:pt x="912" y="1089"/>
                    <a:pt x="916" y="1081"/>
                  </a:cubicBezTo>
                  <a:cubicBezTo>
                    <a:pt x="921" y="1072"/>
                    <a:pt x="923" y="1060"/>
                    <a:pt x="927" y="1050"/>
                  </a:cubicBezTo>
                  <a:cubicBezTo>
                    <a:pt x="932" y="1037"/>
                    <a:pt x="934" y="1023"/>
                    <a:pt x="940" y="1010"/>
                  </a:cubicBezTo>
                  <a:cubicBezTo>
                    <a:pt x="945" y="1001"/>
                    <a:pt x="941" y="995"/>
                    <a:pt x="931" y="995"/>
                  </a:cubicBezTo>
                  <a:cubicBezTo>
                    <a:pt x="927" y="995"/>
                    <a:pt x="922" y="995"/>
                    <a:pt x="918" y="995"/>
                  </a:cubicBezTo>
                  <a:cubicBezTo>
                    <a:pt x="913" y="995"/>
                    <a:pt x="908" y="997"/>
                    <a:pt x="907" y="1001"/>
                  </a:cubicBezTo>
                  <a:cubicBezTo>
                    <a:pt x="904" y="1008"/>
                    <a:pt x="900" y="1015"/>
                    <a:pt x="899" y="1023"/>
                  </a:cubicBezTo>
                  <a:cubicBezTo>
                    <a:pt x="897" y="1034"/>
                    <a:pt x="893" y="1045"/>
                    <a:pt x="889" y="1055"/>
                  </a:cubicBezTo>
                  <a:cubicBezTo>
                    <a:pt x="887" y="1064"/>
                    <a:pt x="885" y="1072"/>
                    <a:pt x="882" y="1080"/>
                  </a:cubicBezTo>
                  <a:cubicBezTo>
                    <a:pt x="878" y="1091"/>
                    <a:pt x="874" y="1103"/>
                    <a:pt x="871" y="1115"/>
                  </a:cubicBezTo>
                  <a:cubicBezTo>
                    <a:pt x="870" y="1118"/>
                    <a:pt x="871" y="1124"/>
                    <a:pt x="866" y="1124"/>
                  </a:cubicBezTo>
                  <a:cubicBezTo>
                    <a:pt x="861" y="1125"/>
                    <a:pt x="859" y="1120"/>
                    <a:pt x="858" y="1115"/>
                  </a:cubicBezTo>
                  <a:cubicBezTo>
                    <a:pt x="856" y="1110"/>
                    <a:pt x="856" y="1104"/>
                    <a:pt x="854" y="1099"/>
                  </a:cubicBezTo>
                  <a:cubicBezTo>
                    <a:pt x="848" y="1080"/>
                    <a:pt x="841" y="1062"/>
                    <a:pt x="835" y="1044"/>
                  </a:cubicBezTo>
                  <a:cubicBezTo>
                    <a:pt x="831" y="1030"/>
                    <a:pt x="828" y="1016"/>
                    <a:pt x="822" y="1003"/>
                  </a:cubicBezTo>
                  <a:cubicBezTo>
                    <a:pt x="819" y="997"/>
                    <a:pt x="814" y="994"/>
                    <a:pt x="808" y="994"/>
                  </a:cubicBezTo>
                  <a:cubicBezTo>
                    <a:pt x="799" y="993"/>
                    <a:pt x="791" y="993"/>
                    <a:pt x="787" y="1001"/>
                  </a:cubicBezTo>
                  <a:cubicBezTo>
                    <a:pt x="783" y="1008"/>
                    <a:pt x="780" y="1015"/>
                    <a:pt x="779" y="1022"/>
                  </a:cubicBezTo>
                  <a:cubicBezTo>
                    <a:pt x="778" y="1034"/>
                    <a:pt x="772" y="1044"/>
                    <a:pt x="769" y="1055"/>
                  </a:cubicBezTo>
                  <a:cubicBezTo>
                    <a:pt x="762" y="1076"/>
                    <a:pt x="754" y="1096"/>
                    <a:pt x="749" y="1117"/>
                  </a:cubicBezTo>
                  <a:cubicBezTo>
                    <a:pt x="748" y="1120"/>
                    <a:pt x="747" y="1124"/>
                    <a:pt x="742" y="1124"/>
                  </a:cubicBezTo>
                  <a:cubicBezTo>
                    <a:pt x="737" y="1124"/>
                    <a:pt x="737" y="1120"/>
                    <a:pt x="736" y="1116"/>
                  </a:cubicBezTo>
                  <a:cubicBezTo>
                    <a:pt x="734" y="1104"/>
                    <a:pt x="730" y="1092"/>
                    <a:pt x="726" y="1080"/>
                  </a:cubicBezTo>
                  <a:cubicBezTo>
                    <a:pt x="720" y="1061"/>
                    <a:pt x="714" y="1040"/>
                    <a:pt x="708" y="1020"/>
                  </a:cubicBezTo>
                  <a:cubicBezTo>
                    <a:pt x="703" y="1000"/>
                    <a:pt x="698" y="994"/>
                    <a:pt x="676" y="995"/>
                  </a:cubicBezTo>
                  <a:cubicBezTo>
                    <a:pt x="665" y="996"/>
                    <a:pt x="661" y="1001"/>
                    <a:pt x="667" y="1011"/>
                  </a:cubicBezTo>
                  <a:cubicBezTo>
                    <a:pt x="669" y="1016"/>
                    <a:pt x="670" y="1021"/>
                    <a:pt x="672" y="1025"/>
                  </a:cubicBezTo>
                  <a:cubicBezTo>
                    <a:pt x="675" y="1035"/>
                    <a:pt x="678" y="1046"/>
                    <a:pt x="681" y="1055"/>
                  </a:cubicBezTo>
                  <a:cubicBezTo>
                    <a:pt x="685" y="1068"/>
                    <a:pt x="689" y="1080"/>
                    <a:pt x="693" y="1092"/>
                  </a:cubicBezTo>
                  <a:cubicBezTo>
                    <a:pt x="697" y="1103"/>
                    <a:pt x="699" y="1113"/>
                    <a:pt x="703" y="1124"/>
                  </a:cubicBezTo>
                  <a:cubicBezTo>
                    <a:pt x="707" y="1136"/>
                    <a:pt x="711" y="1147"/>
                    <a:pt x="715" y="1160"/>
                  </a:cubicBezTo>
                  <a:cubicBezTo>
                    <a:pt x="717" y="1168"/>
                    <a:pt x="720" y="1176"/>
                    <a:pt x="724" y="1183"/>
                  </a:cubicBezTo>
                  <a:cubicBezTo>
                    <a:pt x="728" y="1189"/>
                    <a:pt x="752" y="1185"/>
                    <a:pt x="757" y="1180"/>
                  </a:cubicBezTo>
                  <a:cubicBezTo>
                    <a:pt x="764" y="1173"/>
                    <a:pt x="762" y="1163"/>
                    <a:pt x="766" y="1156"/>
                  </a:cubicBezTo>
                  <a:cubicBezTo>
                    <a:pt x="774" y="1140"/>
                    <a:pt x="778" y="1122"/>
                    <a:pt x="784" y="1105"/>
                  </a:cubicBezTo>
                  <a:cubicBezTo>
                    <a:pt x="789" y="1088"/>
                    <a:pt x="796" y="1072"/>
                    <a:pt x="800" y="1054"/>
                  </a:cubicBezTo>
                  <a:cubicBezTo>
                    <a:pt x="800" y="1053"/>
                    <a:pt x="801" y="1050"/>
                    <a:pt x="803" y="1050"/>
                  </a:cubicBezTo>
                  <a:cubicBezTo>
                    <a:pt x="806" y="1050"/>
                    <a:pt x="806" y="1052"/>
                    <a:pt x="807" y="1055"/>
                  </a:cubicBezTo>
                  <a:cubicBezTo>
                    <a:pt x="807" y="1060"/>
                    <a:pt x="810" y="1066"/>
                    <a:pt x="811" y="1071"/>
                  </a:cubicBezTo>
                  <a:cubicBezTo>
                    <a:pt x="814" y="1081"/>
                    <a:pt x="818" y="1090"/>
                    <a:pt x="821" y="1099"/>
                  </a:cubicBezTo>
                  <a:cubicBezTo>
                    <a:pt x="824" y="1110"/>
                    <a:pt x="827" y="1120"/>
                    <a:pt x="831" y="1131"/>
                  </a:cubicBezTo>
                  <a:cubicBezTo>
                    <a:pt x="834" y="1142"/>
                    <a:pt x="839" y="1153"/>
                    <a:pt x="842" y="1164"/>
                  </a:cubicBezTo>
                  <a:cubicBezTo>
                    <a:pt x="846" y="1179"/>
                    <a:pt x="850" y="1188"/>
                    <a:pt x="869" y="1185"/>
                  </a:cubicBezTo>
                  <a:cubicBezTo>
                    <a:pt x="873" y="1184"/>
                    <a:pt x="881" y="1189"/>
                    <a:pt x="884" y="1181"/>
                  </a:cubicBezTo>
                  <a:close/>
                  <a:moveTo>
                    <a:pt x="33" y="1051"/>
                  </a:moveTo>
                  <a:cubicBezTo>
                    <a:pt x="33" y="1087"/>
                    <a:pt x="33" y="1124"/>
                    <a:pt x="33" y="1160"/>
                  </a:cubicBezTo>
                  <a:cubicBezTo>
                    <a:pt x="33" y="1188"/>
                    <a:pt x="29" y="1184"/>
                    <a:pt x="58" y="1185"/>
                  </a:cubicBezTo>
                  <a:cubicBezTo>
                    <a:pt x="72" y="1185"/>
                    <a:pt x="73" y="1184"/>
                    <a:pt x="73" y="1170"/>
                  </a:cubicBezTo>
                  <a:cubicBezTo>
                    <a:pt x="73" y="1138"/>
                    <a:pt x="73" y="1107"/>
                    <a:pt x="73" y="1076"/>
                  </a:cubicBezTo>
                  <a:cubicBezTo>
                    <a:pt x="73" y="1071"/>
                    <a:pt x="72" y="1067"/>
                    <a:pt x="78" y="1065"/>
                  </a:cubicBezTo>
                  <a:cubicBezTo>
                    <a:pt x="91" y="1062"/>
                    <a:pt x="102" y="1067"/>
                    <a:pt x="110" y="1076"/>
                  </a:cubicBezTo>
                  <a:cubicBezTo>
                    <a:pt x="112" y="1080"/>
                    <a:pt x="115" y="1083"/>
                    <a:pt x="118" y="1086"/>
                  </a:cubicBezTo>
                  <a:cubicBezTo>
                    <a:pt x="132" y="1103"/>
                    <a:pt x="146" y="1119"/>
                    <a:pt x="161" y="1136"/>
                  </a:cubicBezTo>
                  <a:cubicBezTo>
                    <a:pt x="173" y="1150"/>
                    <a:pt x="186" y="1165"/>
                    <a:pt x="198" y="1179"/>
                  </a:cubicBezTo>
                  <a:cubicBezTo>
                    <a:pt x="207" y="1188"/>
                    <a:pt x="218" y="1184"/>
                    <a:pt x="228" y="1185"/>
                  </a:cubicBezTo>
                  <a:cubicBezTo>
                    <a:pt x="233" y="1185"/>
                    <a:pt x="241" y="1188"/>
                    <a:pt x="244" y="1182"/>
                  </a:cubicBezTo>
                  <a:cubicBezTo>
                    <a:pt x="246" y="1178"/>
                    <a:pt x="239" y="1173"/>
                    <a:pt x="235" y="1169"/>
                  </a:cubicBezTo>
                  <a:cubicBezTo>
                    <a:pt x="206" y="1133"/>
                    <a:pt x="176" y="1098"/>
                    <a:pt x="146" y="1062"/>
                  </a:cubicBezTo>
                  <a:cubicBezTo>
                    <a:pt x="141" y="1056"/>
                    <a:pt x="131" y="1052"/>
                    <a:pt x="132" y="1044"/>
                  </a:cubicBezTo>
                  <a:cubicBezTo>
                    <a:pt x="132" y="1036"/>
                    <a:pt x="142" y="1032"/>
                    <a:pt x="147" y="1026"/>
                  </a:cubicBezTo>
                  <a:cubicBezTo>
                    <a:pt x="164" y="1006"/>
                    <a:pt x="182" y="988"/>
                    <a:pt x="198" y="968"/>
                  </a:cubicBezTo>
                  <a:cubicBezTo>
                    <a:pt x="209" y="954"/>
                    <a:pt x="221" y="942"/>
                    <a:pt x="234" y="929"/>
                  </a:cubicBezTo>
                  <a:cubicBezTo>
                    <a:pt x="236" y="926"/>
                    <a:pt x="238" y="923"/>
                    <a:pt x="237" y="920"/>
                  </a:cubicBezTo>
                  <a:cubicBezTo>
                    <a:pt x="235" y="915"/>
                    <a:pt x="231" y="917"/>
                    <a:pt x="228" y="917"/>
                  </a:cubicBezTo>
                  <a:cubicBezTo>
                    <a:pt x="224" y="918"/>
                    <a:pt x="221" y="918"/>
                    <a:pt x="217" y="918"/>
                  </a:cubicBezTo>
                  <a:cubicBezTo>
                    <a:pt x="204" y="917"/>
                    <a:pt x="193" y="922"/>
                    <a:pt x="185" y="931"/>
                  </a:cubicBezTo>
                  <a:cubicBezTo>
                    <a:pt x="172" y="946"/>
                    <a:pt x="158" y="961"/>
                    <a:pt x="145" y="977"/>
                  </a:cubicBezTo>
                  <a:cubicBezTo>
                    <a:pt x="131" y="993"/>
                    <a:pt x="117" y="1010"/>
                    <a:pt x="102" y="1026"/>
                  </a:cubicBezTo>
                  <a:cubicBezTo>
                    <a:pt x="96" y="1032"/>
                    <a:pt x="87" y="1037"/>
                    <a:pt x="78" y="1034"/>
                  </a:cubicBezTo>
                  <a:cubicBezTo>
                    <a:pt x="70" y="1030"/>
                    <a:pt x="73" y="1021"/>
                    <a:pt x="73" y="1015"/>
                  </a:cubicBezTo>
                  <a:cubicBezTo>
                    <a:pt x="73" y="991"/>
                    <a:pt x="73" y="967"/>
                    <a:pt x="73" y="944"/>
                  </a:cubicBezTo>
                  <a:cubicBezTo>
                    <a:pt x="73" y="916"/>
                    <a:pt x="75" y="917"/>
                    <a:pt x="46" y="918"/>
                  </a:cubicBezTo>
                  <a:cubicBezTo>
                    <a:pt x="33" y="918"/>
                    <a:pt x="33" y="918"/>
                    <a:pt x="33" y="931"/>
                  </a:cubicBezTo>
                  <a:cubicBezTo>
                    <a:pt x="33" y="971"/>
                    <a:pt x="33" y="1011"/>
                    <a:pt x="33" y="1051"/>
                  </a:cubicBezTo>
                  <a:cubicBezTo>
                    <a:pt x="33" y="1051"/>
                    <a:pt x="33" y="1051"/>
                    <a:pt x="33" y="1051"/>
                  </a:cubicBezTo>
                  <a:close/>
                  <a:moveTo>
                    <a:pt x="639" y="84"/>
                  </a:moveTo>
                  <a:cubicBezTo>
                    <a:pt x="627" y="84"/>
                    <a:pt x="626" y="84"/>
                    <a:pt x="629" y="95"/>
                  </a:cubicBezTo>
                  <a:cubicBezTo>
                    <a:pt x="634" y="113"/>
                    <a:pt x="640" y="131"/>
                    <a:pt x="646" y="148"/>
                  </a:cubicBezTo>
                  <a:cubicBezTo>
                    <a:pt x="652" y="166"/>
                    <a:pt x="658" y="185"/>
                    <a:pt x="664" y="203"/>
                  </a:cubicBezTo>
                  <a:cubicBezTo>
                    <a:pt x="671" y="223"/>
                    <a:pt x="676" y="244"/>
                    <a:pt x="684" y="264"/>
                  </a:cubicBezTo>
                  <a:cubicBezTo>
                    <a:pt x="688" y="274"/>
                    <a:pt x="694" y="274"/>
                    <a:pt x="702" y="274"/>
                  </a:cubicBezTo>
                  <a:cubicBezTo>
                    <a:pt x="711" y="274"/>
                    <a:pt x="719" y="272"/>
                    <a:pt x="723" y="263"/>
                  </a:cubicBezTo>
                  <a:cubicBezTo>
                    <a:pt x="733" y="236"/>
                    <a:pt x="741" y="208"/>
                    <a:pt x="750" y="181"/>
                  </a:cubicBezTo>
                  <a:cubicBezTo>
                    <a:pt x="754" y="169"/>
                    <a:pt x="757" y="156"/>
                    <a:pt x="763" y="145"/>
                  </a:cubicBezTo>
                  <a:cubicBezTo>
                    <a:pt x="764" y="143"/>
                    <a:pt x="764" y="140"/>
                    <a:pt x="767" y="140"/>
                  </a:cubicBezTo>
                  <a:cubicBezTo>
                    <a:pt x="770" y="140"/>
                    <a:pt x="770" y="143"/>
                    <a:pt x="771" y="145"/>
                  </a:cubicBezTo>
                  <a:cubicBezTo>
                    <a:pt x="771" y="156"/>
                    <a:pt x="777" y="165"/>
                    <a:pt x="780" y="175"/>
                  </a:cubicBezTo>
                  <a:cubicBezTo>
                    <a:pt x="782" y="184"/>
                    <a:pt x="785" y="193"/>
                    <a:pt x="788" y="201"/>
                  </a:cubicBezTo>
                  <a:cubicBezTo>
                    <a:pt x="794" y="219"/>
                    <a:pt x="801" y="237"/>
                    <a:pt x="806" y="255"/>
                  </a:cubicBezTo>
                  <a:cubicBezTo>
                    <a:pt x="811" y="272"/>
                    <a:pt x="825" y="280"/>
                    <a:pt x="842" y="273"/>
                  </a:cubicBezTo>
                  <a:cubicBezTo>
                    <a:pt x="845" y="271"/>
                    <a:pt x="847" y="269"/>
                    <a:pt x="848" y="266"/>
                  </a:cubicBezTo>
                  <a:cubicBezTo>
                    <a:pt x="853" y="251"/>
                    <a:pt x="859" y="236"/>
                    <a:pt x="863" y="221"/>
                  </a:cubicBezTo>
                  <a:cubicBezTo>
                    <a:pt x="867" y="202"/>
                    <a:pt x="875" y="185"/>
                    <a:pt x="880" y="166"/>
                  </a:cubicBezTo>
                  <a:cubicBezTo>
                    <a:pt x="886" y="144"/>
                    <a:pt x="895" y="123"/>
                    <a:pt x="900" y="101"/>
                  </a:cubicBezTo>
                  <a:cubicBezTo>
                    <a:pt x="901" y="96"/>
                    <a:pt x="909" y="91"/>
                    <a:pt x="904" y="86"/>
                  </a:cubicBezTo>
                  <a:cubicBezTo>
                    <a:pt x="900" y="81"/>
                    <a:pt x="892" y="84"/>
                    <a:pt x="886" y="84"/>
                  </a:cubicBezTo>
                  <a:cubicBezTo>
                    <a:pt x="885" y="84"/>
                    <a:pt x="883" y="84"/>
                    <a:pt x="881" y="84"/>
                  </a:cubicBezTo>
                  <a:cubicBezTo>
                    <a:pt x="875" y="84"/>
                    <a:pt x="872" y="86"/>
                    <a:pt x="869" y="91"/>
                  </a:cubicBezTo>
                  <a:cubicBezTo>
                    <a:pt x="860" y="110"/>
                    <a:pt x="856" y="131"/>
                    <a:pt x="850" y="151"/>
                  </a:cubicBezTo>
                  <a:cubicBezTo>
                    <a:pt x="844" y="170"/>
                    <a:pt x="836" y="188"/>
                    <a:pt x="834" y="208"/>
                  </a:cubicBezTo>
                  <a:cubicBezTo>
                    <a:pt x="833" y="211"/>
                    <a:pt x="831" y="214"/>
                    <a:pt x="827" y="214"/>
                  </a:cubicBezTo>
                  <a:cubicBezTo>
                    <a:pt x="823" y="214"/>
                    <a:pt x="822" y="210"/>
                    <a:pt x="822" y="207"/>
                  </a:cubicBezTo>
                  <a:cubicBezTo>
                    <a:pt x="817" y="188"/>
                    <a:pt x="811" y="170"/>
                    <a:pt x="805" y="152"/>
                  </a:cubicBezTo>
                  <a:cubicBezTo>
                    <a:pt x="799" y="133"/>
                    <a:pt x="794" y="114"/>
                    <a:pt x="786" y="96"/>
                  </a:cubicBezTo>
                  <a:cubicBezTo>
                    <a:pt x="783" y="87"/>
                    <a:pt x="779" y="84"/>
                    <a:pt x="770" y="84"/>
                  </a:cubicBezTo>
                  <a:cubicBezTo>
                    <a:pt x="761" y="84"/>
                    <a:pt x="752" y="82"/>
                    <a:pt x="748" y="94"/>
                  </a:cubicBezTo>
                  <a:cubicBezTo>
                    <a:pt x="744" y="109"/>
                    <a:pt x="738" y="123"/>
                    <a:pt x="734" y="138"/>
                  </a:cubicBezTo>
                  <a:cubicBezTo>
                    <a:pt x="729" y="153"/>
                    <a:pt x="724" y="167"/>
                    <a:pt x="719" y="182"/>
                  </a:cubicBezTo>
                  <a:cubicBezTo>
                    <a:pt x="716" y="192"/>
                    <a:pt x="715" y="203"/>
                    <a:pt x="708" y="212"/>
                  </a:cubicBezTo>
                  <a:cubicBezTo>
                    <a:pt x="707" y="214"/>
                    <a:pt x="707" y="217"/>
                    <a:pt x="704" y="217"/>
                  </a:cubicBezTo>
                  <a:cubicBezTo>
                    <a:pt x="701" y="217"/>
                    <a:pt x="701" y="213"/>
                    <a:pt x="700" y="211"/>
                  </a:cubicBezTo>
                  <a:cubicBezTo>
                    <a:pt x="699" y="198"/>
                    <a:pt x="694" y="186"/>
                    <a:pt x="690" y="174"/>
                  </a:cubicBezTo>
                  <a:cubicBezTo>
                    <a:pt x="684" y="153"/>
                    <a:pt x="677" y="131"/>
                    <a:pt x="672" y="110"/>
                  </a:cubicBezTo>
                  <a:cubicBezTo>
                    <a:pt x="667" y="88"/>
                    <a:pt x="663" y="84"/>
                    <a:pt x="645" y="84"/>
                  </a:cubicBezTo>
                  <a:cubicBezTo>
                    <a:pt x="643" y="84"/>
                    <a:pt x="641" y="84"/>
                    <a:pt x="639" y="84"/>
                  </a:cubicBezTo>
                  <a:close/>
                  <a:moveTo>
                    <a:pt x="507" y="711"/>
                  </a:moveTo>
                  <a:cubicBezTo>
                    <a:pt x="507" y="730"/>
                    <a:pt x="507" y="730"/>
                    <a:pt x="526" y="730"/>
                  </a:cubicBezTo>
                  <a:cubicBezTo>
                    <a:pt x="539" y="730"/>
                    <a:pt x="541" y="729"/>
                    <a:pt x="541" y="715"/>
                  </a:cubicBezTo>
                  <a:cubicBezTo>
                    <a:pt x="541" y="677"/>
                    <a:pt x="541" y="638"/>
                    <a:pt x="540" y="600"/>
                  </a:cubicBezTo>
                  <a:cubicBezTo>
                    <a:pt x="540" y="593"/>
                    <a:pt x="543" y="587"/>
                    <a:pt x="548" y="582"/>
                  </a:cubicBezTo>
                  <a:cubicBezTo>
                    <a:pt x="553" y="576"/>
                    <a:pt x="559" y="573"/>
                    <a:pt x="564" y="569"/>
                  </a:cubicBezTo>
                  <a:cubicBezTo>
                    <a:pt x="574" y="564"/>
                    <a:pt x="594" y="566"/>
                    <a:pt x="602" y="574"/>
                  </a:cubicBezTo>
                  <a:cubicBezTo>
                    <a:pt x="611" y="582"/>
                    <a:pt x="614" y="592"/>
                    <a:pt x="614" y="604"/>
                  </a:cubicBezTo>
                  <a:cubicBezTo>
                    <a:pt x="614" y="638"/>
                    <a:pt x="614" y="672"/>
                    <a:pt x="614" y="706"/>
                  </a:cubicBezTo>
                  <a:cubicBezTo>
                    <a:pt x="614" y="730"/>
                    <a:pt x="614" y="730"/>
                    <a:pt x="638" y="730"/>
                  </a:cubicBezTo>
                  <a:cubicBezTo>
                    <a:pt x="650" y="730"/>
                    <a:pt x="650" y="730"/>
                    <a:pt x="650" y="717"/>
                  </a:cubicBezTo>
                  <a:cubicBezTo>
                    <a:pt x="650" y="684"/>
                    <a:pt x="650" y="650"/>
                    <a:pt x="650" y="617"/>
                  </a:cubicBezTo>
                  <a:cubicBezTo>
                    <a:pt x="650" y="606"/>
                    <a:pt x="651" y="597"/>
                    <a:pt x="657" y="586"/>
                  </a:cubicBezTo>
                  <a:cubicBezTo>
                    <a:pt x="667" y="565"/>
                    <a:pt x="703" y="560"/>
                    <a:pt x="716" y="579"/>
                  </a:cubicBezTo>
                  <a:cubicBezTo>
                    <a:pt x="723" y="588"/>
                    <a:pt x="724" y="598"/>
                    <a:pt x="724" y="609"/>
                  </a:cubicBezTo>
                  <a:cubicBezTo>
                    <a:pt x="724" y="645"/>
                    <a:pt x="724" y="682"/>
                    <a:pt x="724" y="718"/>
                  </a:cubicBezTo>
                  <a:cubicBezTo>
                    <a:pt x="724" y="727"/>
                    <a:pt x="727" y="731"/>
                    <a:pt x="736" y="730"/>
                  </a:cubicBezTo>
                  <a:cubicBezTo>
                    <a:pt x="738" y="730"/>
                    <a:pt x="741" y="730"/>
                    <a:pt x="743" y="730"/>
                  </a:cubicBezTo>
                  <a:cubicBezTo>
                    <a:pt x="758" y="730"/>
                    <a:pt x="759" y="729"/>
                    <a:pt x="759" y="715"/>
                  </a:cubicBezTo>
                  <a:cubicBezTo>
                    <a:pt x="759" y="677"/>
                    <a:pt x="758" y="639"/>
                    <a:pt x="759" y="601"/>
                  </a:cubicBezTo>
                  <a:cubicBezTo>
                    <a:pt x="759" y="571"/>
                    <a:pt x="742" y="540"/>
                    <a:pt x="704" y="538"/>
                  </a:cubicBezTo>
                  <a:cubicBezTo>
                    <a:pt x="681" y="536"/>
                    <a:pt x="661" y="542"/>
                    <a:pt x="646" y="560"/>
                  </a:cubicBezTo>
                  <a:cubicBezTo>
                    <a:pt x="638" y="569"/>
                    <a:pt x="638" y="569"/>
                    <a:pt x="631" y="559"/>
                  </a:cubicBezTo>
                  <a:cubicBezTo>
                    <a:pt x="630" y="558"/>
                    <a:pt x="630" y="557"/>
                    <a:pt x="629" y="556"/>
                  </a:cubicBezTo>
                  <a:cubicBezTo>
                    <a:pt x="623" y="548"/>
                    <a:pt x="616" y="541"/>
                    <a:pt x="607" y="539"/>
                  </a:cubicBezTo>
                  <a:cubicBezTo>
                    <a:pt x="584" y="534"/>
                    <a:pt x="563" y="539"/>
                    <a:pt x="545" y="555"/>
                  </a:cubicBezTo>
                  <a:cubicBezTo>
                    <a:pt x="540" y="559"/>
                    <a:pt x="537" y="561"/>
                    <a:pt x="537" y="552"/>
                  </a:cubicBezTo>
                  <a:cubicBezTo>
                    <a:pt x="536" y="543"/>
                    <a:pt x="526" y="538"/>
                    <a:pt x="515" y="539"/>
                  </a:cubicBezTo>
                  <a:cubicBezTo>
                    <a:pt x="506" y="540"/>
                    <a:pt x="507" y="546"/>
                    <a:pt x="507" y="552"/>
                  </a:cubicBezTo>
                  <a:cubicBezTo>
                    <a:pt x="507" y="580"/>
                    <a:pt x="507" y="607"/>
                    <a:pt x="507" y="634"/>
                  </a:cubicBezTo>
                  <a:cubicBezTo>
                    <a:pt x="507" y="660"/>
                    <a:pt x="507" y="685"/>
                    <a:pt x="507" y="711"/>
                  </a:cubicBezTo>
                  <a:close/>
                  <a:moveTo>
                    <a:pt x="1525" y="1142"/>
                  </a:moveTo>
                  <a:cubicBezTo>
                    <a:pt x="1517" y="1143"/>
                    <a:pt x="1511" y="1141"/>
                    <a:pt x="1505" y="1136"/>
                  </a:cubicBezTo>
                  <a:cubicBezTo>
                    <a:pt x="1501" y="1133"/>
                    <a:pt x="1495" y="1130"/>
                    <a:pt x="1498" y="1124"/>
                  </a:cubicBezTo>
                  <a:cubicBezTo>
                    <a:pt x="1500" y="1118"/>
                    <a:pt x="1504" y="1114"/>
                    <a:pt x="1512" y="1114"/>
                  </a:cubicBezTo>
                  <a:cubicBezTo>
                    <a:pt x="1521" y="1115"/>
                    <a:pt x="1530" y="1114"/>
                    <a:pt x="1538" y="1115"/>
                  </a:cubicBezTo>
                  <a:cubicBezTo>
                    <a:pt x="1573" y="1117"/>
                    <a:pt x="1610" y="1084"/>
                    <a:pt x="1602" y="1044"/>
                  </a:cubicBezTo>
                  <a:cubicBezTo>
                    <a:pt x="1600" y="1035"/>
                    <a:pt x="1599" y="1028"/>
                    <a:pt x="1611" y="1027"/>
                  </a:cubicBezTo>
                  <a:cubicBezTo>
                    <a:pt x="1614" y="1027"/>
                    <a:pt x="1617" y="1024"/>
                    <a:pt x="1619" y="1023"/>
                  </a:cubicBezTo>
                  <a:cubicBezTo>
                    <a:pt x="1626" y="1019"/>
                    <a:pt x="1624" y="1013"/>
                    <a:pt x="1623" y="1008"/>
                  </a:cubicBezTo>
                  <a:cubicBezTo>
                    <a:pt x="1623" y="1002"/>
                    <a:pt x="1618" y="1003"/>
                    <a:pt x="1613" y="1002"/>
                  </a:cubicBezTo>
                  <a:cubicBezTo>
                    <a:pt x="1598" y="1002"/>
                    <a:pt x="1582" y="1004"/>
                    <a:pt x="1567" y="1000"/>
                  </a:cubicBezTo>
                  <a:cubicBezTo>
                    <a:pt x="1560" y="999"/>
                    <a:pt x="1554" y="993"/>
                    <a:pt x="1546" y="993"/>
                  </a:cubicBezTo>
                  <a:cubicBezTo>
                    <a:pt x="1536" y="994"/>
                    <a:pt x="1525" y="992"/>
                    <a:pt x="1515" y="993"/>
                  </a:cubicBezTo>
                  <a:cubicBezTo>
                    <a:pt x="1490" y="997"/>
                    <a:pt x="1469" y="1010"/>
                    <a:pt x="1462" y="1034"/>
                  </a:cubicBezTo>
                  <a:cubicBezTo>
                    <a:pt x="1455" y="1056"/>
                    <a:pt x="1457" y="1079"/>
                    <a:pt x="1476" y="1096"/>
                  </a:cubicBezTo>
                  <a:cubicBezTo>
                    <a:pt x="1483" y="1103"/>
                    <a:pt x="1483" y="1107"/>
                    <a:pt x="1476" y="1113"/>
                  </a:cubicBezTo>
                  <a:cubicBezTo>
                    <a:pt x="1462" y="1126"/>
                    <a:pt x="1462" y="1142"/>
                    <a:pt x="1473" y="1157"/>
                  </a:cubicBezTo>
                  <a:cubicBezTo>
                    <a:pt x="1476" y="1160"/>
                    <a:pt x="1476" y="1162"/>
                    <a:pt x="1472" y="1164"/>
                  </a:cubicBezTo>
                  <a:cubicBezTo>
                    <a:pt x="1470" y="1166"/>
                    <a:pt x="1468" y="1168"/>
                    <a:pt x="1466" y="1170"/>
                  </a:cubicBezTo>
                  <a:cubicBezTo>
                    <a:pt x="1449" y="1183"/>
                    <a:pt x="1444" y="1201"/>
                    <a:pt x="1454" y="1218"/>
                  </a:cubicBezTo>
                  <a:cubicBezTo>
                    <a:pt x="1464" y="1235"/>
                    <a:pt x="1479" y="1246"/>
                    <a:pt x="1499" y="1249"/>
                  </a:cubicBezTo>
                  <a:cubicBezTo>
                    <a:pt x="1517" y="1252"/>
                    <a:pt x="1535" y="1253"/>
                    <a:pt x="1553" y="1250"/>
                  </a:cubicBezTo>
                  <a:cubicBezTo>
                    <a:pt x="1584" y="1245"/>
                    <a:pt x="1607" y="1232"/>
                    <a:pt x="1619" y="1200"/>
                  </a:cubicBezTo>
                  <a:cubicBezTo>
                    <a:pt x="1627" y="1180"/>
                    <a:pt x="1611" y="1155"/>
                    <a:pt x="1593" y="1148"/>
                  </a:cubicBezTo>
                  <a:cubicBezTo>
                    <a:pt x="1578" y="1142"/>
                    <a:pt x="1563" y="1143"/>
                    <a:pt x="1549" y="1142"/>
                  </a:cubicBezTo>
                  <a:cubicBezTo>
                    <a:pt x="1540" y="1142"/>
                    <a:pt x="1532" y="1142"/>
                    <a:pt x="1525" y="1142"/>
                  </a:cubicBezTo>
                  <a:close/>
                  <a:moveTo>
                    <a:pt x="1556" y="1172"/>
                  </a:moveTo>
                  <a:cubicBezTo>
                    <a:pt x="1566" y="1172"/>
                    <a:pt x="1576" y="1176"/>
                    <a:pt x="1583" y="1183"/>
                  </a:cubicBezTo>
                  <a:cubicBezTo>
                    <a:pt x="1589" y="1190"/>
                    <a:pt x="1589" y="1198"/>
                    <a:pt x="1583" y="1205"/>
                  </a:cubicBezTo>
                  <a:cubicBezTo>
                    <a:pt x="1575" y="1215"/>
                    <a:pt x="1565" y="1220"/>
                    <a:pt x="1553" y="1223"/>
                  </a:cubicBezTo>
                  <a:cubicBezTo>
                    <a:pt x="1534" y="1228"/>
                    <a:pt x="1516" y="1225"/>
                    <a:pt x="1499" y="1219"/>
                  </a:cubicBezTo>
                  <a:cubicBezTo>
                    <a:pt x="1486" y="1214"/>
                    <a:pt x="1479" y="1203"/>
                    <a:pt x="1482" y="1193"/>
                  </a:cubicBezTo>
                  <a:cubicBezTo>
                    <a:pt x="1485" y="1182"/>
                    <a:pt x="1496" y="1168"/>
                    <a:pt x="1514" y="1171"/>
                  </a:cubicBezTo>
                  <a:cubicBezTo>
                    <a:pt x="1526" y="1173"/>
                    <a:pt x="1541" y="1171"/>
                    <a:pt x="1556" y="1172"/>
                  </a:cubicBezTo>
                  <a:close/>
                  <a:moveTo>
                    <a:pt x="1531" y="1019"/>
                  </a:moveTo>
                  <a:cubicBezTo>
                    <a:pt x="1553" y="1017"/>
                    <a:pt x="1570" y="1033"/>
                    <a:pt x="1570" y="1052"/>
                  </a:cubicBezTo>
                  <a:cubicBezTo>
                    <a:pt x="1570" y="1075"/>
                    <a:pt x="1554" y="1093"/>
                    <a:pt x="1532" y="1091"/>
                  </a:cubicBezTo>
                  <a:cubicBezTo>
                    <a:pt x="1508" y="1089"/>
                    <a:pt x="1494" y="1082"/>
                    <a:pt x="1493" y="1053"/>
                  </a:cubicBezTo>
                  <a:cubicBezTo>
                    <a:pt x="1494" y="1029"/>
                    <a:pt x="1508" y="1020"/>
                    <a:pt x="1531" y="1019"/>
                  </a:cubicBezTo>
                  <a:close/>
                  <a:moveTo>
                    <a:pt x="1413" y="934"/>
                  </a:moveTo>
                  <a:cubicBezTo>
                    <a:pt x="1413" y="909"/>
                    <a:pt x="1413" y="909"/>
                    <a:pt x="1389" y="910"/>
                  </a:cubicBezTo>
                  <a:cubicBezTo>
                    <a:pt x="1388" y="910"/>
                    <a:pt x="1387" y="910"/>
                    <a:pt x="1387" y="910"/>
                  </a:cubicBezTo>
                  <a:cubicBezTo>
                    <a:pt x="1379" y="910"/>
                    <a:pt x="1376" y="915"/>
                    <a:pt x="1376" y="921"/>
                  </a:cubicBezTo>
                  <a:cubicBezTo>
                    <a:pt x="1376" y="939"/>
                    <a:pt x="1377" y="956"/>
                    <a:pt x="1377" y="974"/>
                  </a:cubicBezTo>
                  <a:cubicBezTo>
                    <a:pt x="1377" y="983"/>
                    <a:pt x="1377" y="991"/>
                    <a:pt x="1377" y="1000"/>
                  </a:cubicBezTo>
                  <a:cubicBezTo>
                    <a:pt x="1377" y="1005"/>
                    <a:pt x="1374" y="1009"/>
                    <a:pt x="1369" y="1005"/>
                  </a:cubicBezTo>
                  <a:cubicBezTo>
                    <a:pt x="1352" y="990"/>
                    <a:pt x="1332" y="993"/>
                    <a:pt x="1312" y="993"/>
                  </a:cubicBezTo>
                  <a:cubicBezTo>
                    <a:pt x="1303" y="994"/>
                    <a:pt x="1294" y="998"/>
                    <a:pt x="1287" y="1003"/>
                  </a:cubicBezTo>
                  <a:cubicBezTo>
                    <a:pt x="1265" y="1017"/>
                    <a:pt x="1252" y="1039"/>
                    <a:pt x="1248" y="1065"/>
                  </a:cubicBezTo>
                  <a:cubicBezTo>
                    <a:pt x="1244" y="1096"/>
                    <a:pt x="1244" y="1128"/>
                    <a:pt x="1261" y="1157"/>
                  </a:cubicBezTo>
                  <a:cubicBezTo>
                    <a:pt x="1270" y="1170"/>
                    <a:pt x="1281" y="1181"/>
                    <a:pt x="1296" y="1185"/>
                  </a:cubicBezTo>
                  <a:cubicBezTo>
                    <a:pt x="1323" y="1191"/>
                    <a:pt x="1349" y="1188"/>
                    <a:pt x="1370" y="1167"/>
                  </a:cubicBezTo>
                  <a:cubicBezTo>
                    <a:pt x="1372" y="1165"/>
                    <a:pt x="1375" y="1162"/>
                    <a:pt x="1379" y="1163"/>
                  </a:cubicBezTo>
                  <a:cubicBezTo>
                    <a:pt x="1382" y="1165"/>
                    <a:pt x="1381" y="1169"/>
                    <a:pt x="1381" y="1172"/>
                  </a:cubicBezTo>
                  <a:cubicBezTo>
                    <a:pt x="1383" y="1181"/>
                    <a:pt x="1390" y="1186"/>
                    <a:pt x="1403" y="1186"/>
                  </a:cubicBezTo>
                  <a:cubicBezTo>
                    <a:pt x="1413" y="1185"/>
                    <a:pt x="1413" y="1178"/>
                    <a:pt x="1413" y="1172"/>
                  </a:cubicBezTo>
                  <a:cubicBezTo>
                    <a:pt x="1413" y="1131"/>
                    <a:pt x="1413" y="1090"/>
                    <a:pt x="1413" y="1049"/>
                  </a:cubicBezTo>
                  <a:cubicBezTo>
                    <a:pt x="1413" y="1010"/>
                    <a:pt x="1413" y="972"/>
                    <a:pt x="1413" y="934"/>
                  </a:cubicBezTo>
                  <a:close/>
                  <a:moveTo>
                    <a:pt x="1378" y="1113"/>
                  </a:moveTo>
                  <a:cubicBezTo>
                    <a:pt x="1378" y="1136"/>
                    <a:pt x="1360" y="1155"/>
                    <a:pt x="1337" y="1157"/>
                  </a:cubicBezTo>
                  <a:cubicBezTo>
                    <a:pt x="1319" y="1159"/>
                    <a:pt x="1304" y="1154"/>
                    <a:pt x="1294" y="1139"/>
                  </a:cubicBezTo>
                  <a:cubicBezTo>
                    <a:pt x="1286" y="1128"/>
                    <a:pt x="1283" y="1116"/>
                    <a:pt x="1283" y="1102"/>
                  </a:cubicBezTo>
                  <a:cubicBezTo>
                    <a:pt x="1282" y="1085"/>
                    <a:pt x="1282" y="1067"/>
                    <a:pt x="1290" y="1051"/>
                  </a:cubicBezTo>
                  <a:cubicBezTo>
                    <a:pt x="1297" y="1036"/>
                    <a:pt x="1308" y="1024"/>
                    <a:pt x="1325" y="1022"/>
                  </a:cubicBezTo>
                  <a:cubicBezTo>
                    <a:pt x="1342" y="1020"/>
                    <a:pt x="1358" y="1021"/>
                    <a:pt x="1371" y="1035"/>
                  </a:cubicBezTo>
                  <a:cubicBezTo>
                    <a:pt x="1376" y="1041"/>
                    <a:pt x="1378" y="1046"/>
                    <a:pt x="1378" y="1052"/>
                  </a:cubicBezTo>
                  <a:cubicBezTo>
                    <a:pt x="1378" y="1064"/>
                    <a:pt x="1378" y="1075"/>
                    <a:pt x="1378" y="1086"/>
                  </a:cubicBezTo>
                  <a:cubicBezTo>
                    <a:pt x="1378" y="1086"/>
                    <a:pt x="1378" y="1086"/>
                    <a:pt x="1378" y="1086"/>
                  </a:cubicBezTo>
                  <a:cubicBezTo>
                    <a:pt x="1378" y="1095"/>
                    <a:pt x="1378" y="1104"/>
                    <a:pt x="1378" y="1113"/>
                  </a:cubicBezTo>
                  <a:close/>
                  <a:moveTo>
                    <a:pt x="578" y="259"/>
                  </a:moveTo>
                  <a:cubicBezTo>
                    <a:pt x="603" y="241"/>
                    <a:pt x="611" y="213"/>
                    <a:pt x="614" y="183"/>
                  </a:cubicBezTo>
                  <a:cubicBezTo>
                    <a:pt x="615" y="171"/>
                    <a:pt x="610" y="159"/>
                    <a:pt x="609" y="147"/>
                  </a:cubicBezTo>
                  <a:cubicBezTo>
                    <a:pt x="608" y="137"/>
                    <a:pt x="603" y="129"/>
                    <a:pt x="599" y="121"/>
                  </a:cubicBezTo>
                  <a:cubicBezTo>
                    <a:pt x="579" y="87"/>
                    <a:pt x="527" y="70"/>
                    <a:pt x="488" y="85"/>
                  </a:cubicBezTo>
                  <a:cubicBezTo>
                    <a:pt x="453" y="99"/>
                    <a:pt x="436" y="127"/>
                    <a:pt x="431" y="163"/>
                  </a:cubicBezTo>
                  <a:cubicBezTo>
                    <a:pt x="429" y="180"/>
                    <a:pt x="430" y="196"/>
                    <a:pt x="436" y="213"/>
                  </a:cubicBezTo>
                  <a:cubicBezTo>
                    <a:pt x="439" y="222"/>
                    <a:pt x="442" y="232"/>
                    <a:pt x="447" y="239"/>
                  </a:cubicBezTo>
                  <a:cubicBezTo>
                    <a:pt x="465" y="265"/>
                    <a:pt x="491" y="277"/>
                    <a:pt x="525" y="276"/>
                  </a:cubicBezTo>
                  <a:cubicBezTo>
                    <a:pt x="543" y="278"/>
                    <a:pt x="562" y="271"/>
                    <a:pt x="578" y="259"/>
                  </a:cubicBezTo>
                  <a:close/>
                  <a:moveTo>
                    <a:pt x="471" y="205"/>
                  </a:moveTo>
                  <a:cubicBezTo>
                    <a:pt x="466" y="185"/>
                    <a:pt x="468" y="167"/>
                    <a:pt x="472" y="147"/>
                  </a:cubicBezTo>
                  <a:cubicBezTo>
                    <a:pt x="477" y="130"/>
                    <a:pt x="493" y="116"/>
                    <a:pt x="509" y="112"/>
                  </a:cubicBezTo>
                  <a:cubicBezTo>
                    <a:pt x="525" y="108"/>
                    <a:pt x="539" y="110"/>
                    <a:pt x="553" y="119"/>
                  </a:cubicBezTo>
                  <a:cubicBezTo>
                    <a:pt x="563" y="125"/>
                    <a:pt x="568" y="135"/>
                    <a:pt x="571" y="146"/>
                  </a:cubicBezTo>
                  <a:cubicBezTo>
                    <a:pt x="577" y="167"/>
                    <a:pt x="578" y="189"/>
                    <a:pt x="571" y="211"/>
                  </a:cubicBezTo>
                  <a:cubicBezTo>
                    <a:pt x="565" y="231"/>
                    <a:pt x="549" y="249"/>
                    <a:pt x="521" y="247"/>
                  </a:cubicBezTo>
                  <a:cubicBezTo>
                    <a:pt x="496" y="247"/>
                    <a:pt x="478" y="230"/>
                    <a:pt x="471" y="205"/>
                  </a:cubicBezTo>
                  <a:close/>
                  <a:moveTo>
                    <a:pt x="472" y="1122"/>
                  </a:moveTo>
                  <a:cubicBezTo>
                    <a:pt x="475" y="1136"/>
                    <a:pt x="481" y="1148"/>
                    <a:pt x="491" y="1158"/>
                  </a:cubicBezTo>
                  <a:cubicBezTo>
                    <a:pt x="506" y="1176"/>
                    <a:pt x="524" y="1185"/>
                    <a:pt x="548" y="1187"/>
                  </a:cubicBezTo>
                  <a:cubicBezTo>
                    <a:pt x="568" y="1188"/>
                    <a:pt x="587" y="1187"/>
                    <a:pt x="605" y="1177"/>
                  </a:cubicBezTo>
                  <a:cubicBezTo>
                    <a:pt x="632" y="1162"/>
                    <a:pt x="644" y="1136"/>
                    <a:pt x="649" y="1107"/>
                  </a:cubicBezTo>
                  <a:cubicBezTo>
                    <a:pt x="652" y="1089"/>
                    <a:pt x="649" y="1072"/>
                    <a:pt x="644" y="1054"/>
                  </a:cubicBezTo>
                  <a:cubicBezTo>
                    <a:pt x="638" y="1034"/>
                    <a:pt x="627" y="1019"/>
                    <a:pt x="610" y="1007"/>
                  </a:cubicBezTo>
                  <a:cubicBezTo>
                    <a:pt x="589" y="992"/>
                    <a:pt x="566" y="991"/>
                    <a:pt x="541" y="994"/>
                  </a:cubicBezTo>
                  <a:cubicBezTo>
                    <a:pt x="526" y="995"/>
                    <a:pt x="512" y="1002"/>
                    <a:pt x="500" y="1012"/>
                  </a:cubicBezTo>
                  <a:cubicBezTo>
                    <a:pt x="476" y="1032"/>
                    <a:pt x="469" y="1060"/>
                    <a:pt x="466" y="1095"/>
                  </a:cubicBezTo>
                  <a:cubicBezTo>
                    <a:pt x="465" y="1101"/>
                    <a:pt x="470" y="1111"/>
                    <a:pt x="472" y="1122"/>
                  </a:cubicBezTo>
                  <a:close/>
                  <a:moveTo>
                    <a:pt x="508" y="1113"/>
                  </a:moveTo>
                  <a:cubicBezTo>
                    <a:pt x="505" y="1095"/>
                    <a:pt x="506" y="1078"/>
                    <a:pt x="508" y="1061"/>
                  </a:cubicBezTo>
                  <a:cubicBezTo>
                    <a:pt x="511" y="1042"/>
                    <a:pt x="538" y="1021"/>
                    <a:pt x="554" y="1022"/>
                  </a:cubicBezTo>
                  <a:cubicBezTo>
                    <a:pt x="570" y="1022"/>
                    <a:pt x="586" y="1024"/>
                    <a:pt x="596" y="1037"/>
                  </a:cubicBezTo>
                  <a:cubicBezTo>
                    <a:pt x="602" y="1044"/>
                    <a:pt x="607" y="1052"/>
                    <a:pt x="608" y="1061"/>
                  </a:cubicBezTo>
                  <a:cubicBezTo>
                    <a:pt x="608" y="1064"/>
                    <a:pt x="609" y="1067"/>
                    <a:pt x="610" y="1070"/>
                  </a:cubicBezTo>
                  <a:cubicBezTo>
                    <a:pt x="618" y="1089"/>
                    <a:pt x="612" y="1107"/>
                    <a:pt x="607" y="1125"/>
                  </a:cubicBezTo>
                  <a:cubicBezTo>
                    <a:pt x="601" y="1143"/>
                    <a:pt x="588" y="1160"/>
                    <a:pt x="558" y="1157"/>
                  </a:cubicBezTo>
                  <a:cubicBezTo>
                    <a:pt x="530" y="1157"/>
                    <a:pt x="512" y="1141"/>
                    <a:pt x="508" y="1113"/>
                  </a:cubicBezTo>
                  <a:close/>
                  <a:moveTo>
                    <a:pt x="430" y="716"/>
                  </a:moveTo>
                  <a:cubicBezTo>
                    <a:pt x="450" y="703"/>
                    <a:pt x="459" y="683"/>
                    <a:pt x="464" y="661"/>
                  </a:cubicBezTo>
                  <a:cubicBezTo>
                    <a:pt x="468" y="648"/>
                    <a:pt x="467" y="635"/>
                    <a:pt x="466" y="621"/>
                  </a:cubicBezTo>
                  <a:cubicBezTo>
                    <a:pt x="463" y="592"/>
                    <a:pt x="453" y="567"/>
                    <a:pt x="427" y="550"/>
                  </a:cubicBezTo>
                  <a:cubicBezTo>
                    <a:pt x="401" y="534"/>
                    <a:pt x="372" y="532"/>
                    <a:pt x="345" y="541"/>
                  </a:cubicBezTo>
                  <a:cubicBezTo>
                    <a:pt x="310" y="552"/>
                    <a:pt x="291" y="580"/>
                    <a:pt x="287" y="617"/>
                  </a:cubicBezTo>
                  <a:cubicBezTo>
                    <a:pt x="286" y="629"/>
                    <a:pt x="286" y="641"/>
                    <a:pt x="287" y="654"/>
                  </a:cubicBezTo>
                  <a:cubicBezTo>
                    <a:pt x="289" y="671"/>
                    <a:pt x="295" y="686"/>
                    <a:pt x="306" y="700"/>
                  </a:cubicBezTo>
                  <a:cubicBezTo>
                    <a:pt x="324" y="722"/>
                    <a:pt x="348" y="733"/>
                    <a:pt x="378" y="731"/>
                  </a:cubicBezTo>
                  <a:cubicBezTo>
                    <a:pt x="396" y="733"/>
                    <a:pt x="414" y="727"/>
                    <a:pt x="430" y="716"/>
                  </a:cubicBezTo>
                  <a:close/>
                  <a:moveTo>
                    <a:pt x="331" y="592"/>
                  </a:moveTo>
                  <a:cubicBezTo>
                    <a:pt x="339" y="580"/>
                    <a:pt x="349" y="569"/>
                    <a:pt x="365" y="567"/>
                  </a:cubicBezTo>
                  <a:cubicBezTo>
                    <a:pt x="387" y="564"/>
                    <a:pt x="406" y="568"/>
                    <a:pt x="419" y="588"/>
                  </a:cubicBezTo>
                  <a:cubicBezTo>
                    <a:pt x="423" y="595"/>
                    <a:pt x="426" y="603"/>
                    <a:pt x="427" y="610"/>
                  </a:cubicBezTo>
                  <a:cubicBezTo>
                    <a:pt x="433" y="635"/>
                    <a:pt x="431" y="661"/>
                    <a:pt x="416" y="684"/>
                  </a:cubicBezTo>
                  <a:cubicBezTo>
                    <a:pt x="403" y="706"/>
                    <a:pt x="362" y="708"/>
                    <a:pt x="345" y="692"/>
                  </a:cubicBezTo>
                  <a:cubicBezTo>
                    <a:pt x="329" y="678"/>
                    <a:pt x="323" y="661"/>
                    <a:pt x="323" y="631"/>
                  </a:cubicBezTo>
                  <a:cubicBezTo>
                    <a:pt x="323" y="619"/>
                    <a:pt x="323" y="605"/>
                    <a:pt x="331" y="592"/>
                  </a:cubicBezTo>
                  <a:close/>
                  <a:moveTo>
                    <a:pt x="1073" y="259"/>
                  </a:moveTo>
                  <a:cubicBezTo>
                    <a:pt x="1073" y="269"/>
                    <a:pt x="1075" y="272"/>
                    <a:pt x="1086" y="272"/>
                  </a:cubicBezTo>
                  <a:cubicBezTo>
                    <a:pt x="1088" y="272"/>
                    <a:pt x="1090" y="272"/>
                    <a:pt x="1092" y="272"/>
                  </a:cubicBezTo>
                  <a:cubicBezTo>
                    <a:pt x="1105" y="272"/>
                    <a:pt x="1106" y="271"/>
                    <a:pt x="1106" y="258"/>
                  </a:cubicBezTo>
                  <a:cubicBezTo>
                    <a:pt x="1106" y="221"/>
                    <a:pt x="1106" y="184"/>
                    <a:pt x="1106" y="147"/>
                  </a:cubicBezTo>
                  <a:cubicBezTo>
                    <a:pt x="1106" y="143"/>
                    <a:pt x="1106" y="140"/>
                    <a:pt x="1107" y="137"/>
                  </a:cubicBezTo>
                  <a:cubicBezTo>
                    <a:pt x="1117" y="117"/>
                    <a:pt x="1157" y="104"/>
                    <a:pt x="1177" y="114"/>
                  </a:cubicBezTo>
                  <a:cubicBezTo>
                    <a:pt x="1179" y="115"/>
                    <a:pt x="1180" y="117"/>
                    <a:pt x="1182" y="118"/>
                  </a:cubicBezTo>
                  <a:cubicBezTo>
                    <a:pt x="1194" y="131"/>
                    <a:pt x="1196" y="147"/>
                    <a:pt x="1196" y="163"/>
                  </a:cubicBezTo>
                  <a:cubicBezTo>
                    <a:pt x="1197" y="195"/>
                    <a:pt x="1196" y="226"/>
                    <a:pt x="1196" y="258"/>
                  </a:cubicBezTo>
                  <a:cubicBezTo>
                    <a:pt x="1196" y="271"/>
                    <a:pt x="1197" y="272"/>
                    <a:pt x="1210" y="272"/>
                  </a:cubicBezTo>
                  <a:cubicBezTo>
                    <a:pt x="1212" y="272"/>
                    <a:pt x="1213" y="272"/>
                    <a:pt x="1215" y="272"/>
                  </a:cubicBezTo>
                  <a:cubicBezTo>
                    <a:pt x="1227" y="272"/>
                    <a:pt x="1229" y="270"/>
                    <a:pt x="1229" y="258"/>
                  </a:cubicBezTo>
                  <a:cubicBezTo>
                    <a:pt x="1229" y="222"/>
                    <a:pt x="1229" y="187"/>
                    <a:pt x="1229" y="151"/>
                  </a:cubicBezTo>
                  <a:cubicBezTo>
                    <a:pt x="1229" y="142"/>
                    <a:pt x="1228" y="132"/>
                    <a:pt x="1225" y="123"/>
                  </a:cubicBezTo>
                  <a:cubicBezTo>
                    <a:pt x="1219" y="105"/>
                    <a:pt x="1208" y="91"/>
                    <a:pt x="1189" y="85"/>
                  </a:cubicBezTo>
                  <a:cubicBezTo>
                    <a:pt x="1173" y="80"/>
                    <a:pt x="1156" y="84"/>
                    <a:pt x="1139" y="84"/>
                  </a:cubicBezTo>
                  <a:cubicBezTo>
                    <a:pt x="1137" y="84"/>
                    <a:pt x="1136" y="86"/>
                    <a:pt x="1134" y="87"/>
                  </a:cubicBezTo>
                  <a:cubicBezTo>
                    <a:pt x="1128" y="91"/>
                    <a:pt x="1121" y="96"/>
                    <a:pt x="1115" y="100"/>
                  </a:cubicBezTo>
                  <a:cubicBezTo>
                    <a:pt x="1113" y="102"/>
                    <a:pt x="1111" y="105"/>
                    <a:pt x="1108" y="103"/>
                  </a:cubicBezTo>
                  <a:cubicBezTo>
                    <a:pt x="1105" y="102"/>
                    <a:pt x="1106" y="98"/>
                    <a:pt x="1106" y="96"/>
                  </a:cubicBezTo>
                  <a:cubicBezTo>
                    <a:pt x="1106" y="69"/>
                    <a:pt x="1106" y="43"/>
                    <a:pt x="1106" y="17"/>
                  </a:cubicBezTo>
                  <a:cubicBezTo>
                    <a:pt x="1106" y="0"/>
                    <a:pt x="1106" y="0"/>
                    <a:pt x="1089" y="0"/>
                  </a:cubicBezTo>
                  <a:cubicBezTo>
                    <a:pt x="1074" y="0"/>
                    <a:pt x="1073" y="1"/>
                    <a:pt x="1073" y="16"/>
                  </a:cubicBezTo>
                  <a:cubicBezTo>
                    <a:pt x="1073" y="56"/>
                    <a:pt x="1073" y="96"/>
                    <a:pt x="1073" y="136"/>
                  </a:cubicBezTo>
                  <a:cubicBezTo>
                    <a:pt x="1073" y="177"/>
                    <a:pt x="1073" y="218"/>
                    <a:pt x="1073" y="259"/>
                  </a:cubicBezTo>
                  <a:close/>
                  <a:moveTo>
                    <a:pt x="1150" y="1092"/>
                  </a:moveTo>
                  <a:cubicBezTo>
                    <a:pt x="1168" y="1092"/>
                    <a:pt x="1186" y="1092"/>
                    <a:pt x="1204" y="1092"/>
                  </a:cubicBezTo>
                  <a:cubicBezTo>
                    <a:pt x="1215" y="1092"/>
                    <a:pt x="1218" y="1087"/>
                    <a:pt x="1219" y="1077"/>
                  </a:cubicBezTo>
                  <a:cubicBezTo>
                    <a:pt x="1220" y="1062"/>
                    <a:pt x="1216" y="1049"/>
                    <a:pt x="1210" y="1036"/>
                  </a:cubicBezTo>
                  <a:cubicBezTo>
                    <a:pt x="1204" y="1020"/>
                    <a:pt x="1193" y="1008"/>
                    <a:pt x="1177" y="1001"/>
                  </a:cubicBezTo>
                  <a:cubicBezTo>
                    <a:pt x="1155" y="992"/>
                    <a:pt x="1133" y="991"/>
                    <a:pt x="1109" y="999"/>
                  </a:cubicBezTo>
                  <a:cubicBezTo>
                    <a:pt x="1079" y="1010"/>
                    <a:pt x="1062" y="1031"/>
                    <a:pt x="1056" y="1061"/>
                  </a:cubicBezTo>
                  <a:cubicBezTo>
                    <a:pt x="1051" y="1090"/>
                    <a:pt x="1052" y="1120"/>
                    <a:pt x="1069" y="1148"/>
                  </a:cubicBezTo>
                  <a:cubicBezTo>
                    <a:pt x="1081" y="1169"/>
                    <a:pt x="1100" y="1180"/>
                    <a:pt x="1122" y="1185"/>
                  </a:cubicBezTo>
                  <a:cubicBezTo>
                    <a:pt x="1149" y="1190"/>
                    <a:pt x="1176" y="1186"/>
                    <a:pt x="1200" y="1171"/>
                  </a:cubicBezTo>
                  <a:cubicBezTo>
                    <a:pt x="1206" y="1168"/>
                    <a:pt x="1213" y="1165"/>
                    <a:pt x="1214" y="1157"/>
                  </a:cubicBezTo>
                  <a:cubicBezTo>
                    <a:pt x="1215" y="1147"/>
                    <a:pt x="1202" y="1139"/>
                    <a:pt x="1193" y="1144"/>
                  </a:cubicBezTo>
                  <a:cubicBezTo>
                    <a:pt x="1187" y="1147"/>
                    <a:pt x="1180" y="1150"/>
                    <a:pt x="1174" y="1153"/>
                  </a:cubicBezTo>
                  <a:cubicBezTo>
                    <a:pt x="1158" y="1161"/>
                    <a:pt x="1140" y="1161"/>
                    <a:pt x="1124" y="1155"/>
                  </a:cubicBezTo>
                  <a:cubicBezTo>
                    <a:pt x="1112" y="1151"/>
                    <a:pt x="1102" y="1142"/>
                    <a:pt x="1096" y="1129"/>
                  </a:cubicBezTo>
                  <a:cubicBezTo>
                    <a:pt x="1092" y="1121"/>
                    <a:pt x="1091" y="1112"/>
                    <a:pt x="1089" y="1104"/>
                  </a:cubicBezTo>
                  <a:cubicBezTo>
                    <a:pt x="1087" y="1093"/>
                    <a:pt x="1087" y="1092"/>
                    <a:pt x="1099" y="1092"/>
                  </a:cubicBezTo>
                  <a:cubicBezTo>
                    <a:pt x="1116" y="1092"/>
                    <a:pt x="1133" y="1092"/>
                    <a:pt x="1150" y="1092"/>
                  </a:cubicBezTo>
                  <a:cubicBezTo>
                    <a:pt x="1150" y="1092"/>
                    <a:pt x="1150" y="1092"/>
                    <a:pt x="1150" y="1092"/>
                  </a:cubicBezTo>
                  <a:close/>
                  <a:moveTo>
                    <a:pt x="1099" y="1070"/>
                  </a:moveTo>
                  <a:cubicBezTo>
                    <a:pt x="1092" y="1071"/>
                    <a:pt x="1089" y="1067"/>
                    <a:pt x="1091" y="1060"/>
                  </a:cubicBezTo>
                  <a:cubicBezTo>
                    <a:pt x="1094" y="1045"/>
                    <a:pt x="1108" y="1023"/>
                    <a:pt x="1128" y="1022"/>
                  </a:cubicBezTo>
                  <a:cubicBezTo>
                    <a:pt x="1142" y="1021"/>
                    <a:pt x="1156" y="1018"/>
                    <a:pt x="1168" y="1029"/>
                  </a:cubicBezTo>
                  <a:cubicBezTo>
                    <a:pt x="1181" y="1038"/>
                    <a:pt x="1185" y="1051"/>
                    <a:pt x="1187" y="1066"/>
                  </a:cubicBezTo>
                  <a:cubicBezTo>
                    <a:pt x="1188" y="1071"/>
                    <a:pt x="1183" y="1070"/>
                    <a:pt x="1180" y="1070"/>
                  </a:cubicBezTo>
                  <a:cubicBezTo>
                    <a:pt x="1166" y="1070"/>
                    <a:pt x="1153" y="1070"/>
                    <a:pt x="1139" y="1070"/>
                  </a:cubicBezTo>
                  <a:cubicBezTo>
                    <a:pt x="1139" y="1070"/>
                    <a:pt x="1139" y="1070"/>
                    <a:pt x="1139" y="1070"/>
                  </a:cubicBezTo>
                  <a:cubicBezTo>
                    <a:pt x="1126" y="1070"/>
                    <a:pt x="1113" y="1070"/>
                    <a:pt x="1099" y="1070"/>
                  </a:cubicBezTo>
                  <a:close/>
                  <a:moveTo>
                    <a:pt x="1741" y="1092"/>
                  </a:moveTo>
                  <a:cubicBezTo>
                    <a:pt x="1759" y="1092"/>
                    <a:pt x="1776" y="1092"/>
                    <a:pt x="1793" y="1092"/>
                  </a:cubicBezTo>
                  <a:cubicBezTo>
                    <a:pt x="1806" y="1092"/>
                    <a:pt x="1808" y="1089"/>
                    <a:pt x="1808" y="1076"/>
                  </a:cubicBezTo>
                  <a:cubicBezTo>
                    <a:pt x="1809" y="1063"/>
                    <a:pt x="1807" y="1051"/>
                    <a:pt x="1802" y="1038"/>
                  </a:cubicBezTo>
                  <a:cubicBezTo>
                    <a:pt x="1794" y="1021"/>
                    <a:pt x="1782" y="1008"/>
                    <a:pt x="1764" y="1000"/>
                  </a:cubicBezTo>
                  <a:cubicBezTo>
                    <a:pt x="1742" y="991"/>
                    <a:pt x="1720" y="991"/>
                    <a:pt x="1698" y="1000"/>
                  </a:cubicBezTo>
                  <a:cubicBezTo>
                    <a:pt x="1681" y="1006"/>
                    <a:pt x="1668" y="1016"/>
                    <a:pt x="1659" y="1031"/>
                  </a:cubicBezTo>
                  <a:cubicBezTo>
                    <a:pt x="1646" y="1050"/>
                    <a:pt x="1643" y="1071"/>
                    <a:pt x="1644" y="1094"/>
                  </a:cubicBezTo>
                  <a:cubicBezTo>
                    <a:pt x="1644" y="1110"/>
                    <a:pt x="1647" y="1127"/>
                    <a:pt x="1655" y="1141"/>
                  </a:cubicBezTo>
                  <a:cubicBezTo>
                    <a:pt x="1669" y="1168"/>
                    <a:pt x="1691" y="1183"/>
                    <a:pt x="1722" y="1186"/>
                  </a:cubicBezTo>
                  <a:cubicBezTo>
                    <a:pt x="1750" y="1188"/>
                    <a:pt x="1775" y="1183"/>
                    <a:pt x="1798" y="1165"/>
                  </a:cubicBezTo>
                  <a:cubicBezTo>
                    <a:pt x="1803" y="1161"/>
                    <a:pt x="1806" y="1157"/>
                    <a:pt x="1802" y="1151"/>
                  </a:cubicBezTo>
                  <a:cubicBezTo>
                    <a:pt x="1798" y="1144"/>
                    <a:pt x="1791" y="1140"/>
                    <a:pt x="1783" y="1144"/>
                  </a:cubicBezTo>
                  <a:cubicBezTo>
                    <a:pt x="1778" y="1147"/>
                    <a:pt x="1771" y="1149"/>
                    <a:pt x="1766" y="1152"/>
                  </a:cubicBezTo>
                  <a:cubicBezTo>
                    <a:pt x="1749" y="1161"/>
                    <a:pt x="1730" y="1162"/>
                    <a:pt x="1714" y="1155"/>
                  </a:cubicBezTo>
                  <a:cubicBezTo>
                    <a:pt x="1692" y="1145"/>
                    <a:pt x="1680" y="1127"/>
                    <a:pt x="1679" y="1102"/>
                  </a:cubicBezTo>
                  <a:cubicBezTo>
                    <a:pt x="1678" y="1095"/>
                    <a:pt x="1681" y="1092"/>
                    <a:pt x="1689" y="1092"/>
                  </a:cubicBezTo>
                  <a:cubicBezTo>
                    <a:pt x="1706" y="1092"/>
                    <a:pt x="1724" y="1092"/>
                    <a:pt x="1741" y="1092"/>
                  </a:cubicBezTo>
                  <a:cubicBezTo>
                    <a:pt x="1741" y="1092"/>
                    <a:pt x="1741" y="1092"/>
                    <a:pt x="1741" y="1092"/>
                  </a:cubicBezTo>
                  <a:close/>
                  <a:moveTo>
                    <a:pt x="1690" y="1070"/>
                  </a:moveTo>
                  <a:cubicBezTo>
                    <a:pt x="1683" y="1071"/>
                    <a:pt x="1680" y="1068"/>
                    <a:pt x="1681" y="1062"/>
                  </a:cubicBezTo>
                  <a:cubicBezTo>
                    <a:pt x="1683" y="1048"/>
                    <a:pt x="1697" y="1024"/>
                    <a:pt x="1716" y="1022"/>
                  </a:cubicBezTo>
                  <a:cubicBezTo>
                    <a:pt x="1731" y="1020"/>
                    <a:pt x="1747" y="1018"/>
                    <a:pt x="1760" y="1030"/>
                  </a:cubicBezTo>
                  <a:cubicBezTo>
                    <a:pt x="1771" y="1038"/>
                    <a:pt x="1775" y="1050"/>
                    <a:pt x="1778" y="1062"/>
                  </a:cubicBezTo>
                  <a:cubicBezTo>
                    <a:pt x="1780" y="1068"/>
                    <a:pt x="1775" y="1070"/>
                    <a:pt x="1769" y="1070"/>
                  </a:cubicBezTo>
                  <a:cubicBezTo>
                    <a:pt x="1756" y="1070"/>
                    <a:pt x="1742" y="1070"/>
                    <a:pt x="1729" y="1070"/>
                  </a:cubicBezTo>
                  <a:cubicBezTo>
                    <a:pt x="1729" y="1070"/>
                    <a:pt x="1729" y="1070"/>
                    <a:pt x="1729" y="1070"/>
                  </a:cubicBezTo>
                  <a:cubicBezTo>
                    <a:pt x="1716" y="1070"/>
                    <a:pt x="1703" y="1070"/>
                    <a:pt x="1690" y="1070"/>
                  </a:cubicBezTo>
                  <a:close/>
                  <a:moveTo>
                    <a:pt x="68" y="581"/>
                  </a:moveTo>
                  <a:cubicBezTo>
                    <a:pt x="68" y="573"/>
                    <a:pt x="70" y="568"/>
                    <a:pt x="80" y="569"/>
                  </a:cubicBezTo>
                  <a:cubicBezTo>
                    <a:pt x="90" y="570"/>
                    <a:pt x="101" y="570"/>
                    <a:pt x="111" y="569"/>
                  </a:cubicBezTo>
                  <a:cubicBezTo>
                    <a:pt x="120" y="569"/>
                    <a:pt x="120" y="563"/>
                    <a:pt x="120" y="556"/>
                  </a:cubicBezTo>
                  <a:cubicBezTo>
                    <a:pt x="120" y="549"/>
                    <a:pt x="119" y="544"/>
                    <a:pt x="111" y="544"/>
                  </a:cubicBezTo>
                  <a:cubicBezTo>
                    <a:pt x="104" y="544"/>
                    <a:pt x="97" y="544"/>
                    <a:pt x="91" y="544"/>
                  </a:cubicBezTo>
                  <a:cubicBezTo>
                    <a:pt x="66" y="544"/>
                    <a:pt x="65" y="543"/>
                    <a:pt x="68" y="518"/>
                  </a:cubicBezTo>
                  <a:cubicBezTo>
                    <a:pt x="69" y="504"/>
                    <a:pt x="83" y="487"/>
                    <a:pt x="99" y="489"/>
                  </a:cubicBezTo>
                  <a:cubicBezTo>
                    <a:pt x="103" y="489"/>
                    <a:pt x="107" y="489"/>
                    <a:pt x="110" y="488"/>
                  </a:cubicBezTo>
                  <a:cubicBezTo>
                    <a:pt x="118" y="487"/>
                    <a:pt x="123" y="479"/>
                    <a:pt x="123" y="471"/>
                  </a:cubicBezTo>
                  <a:cubicBezTo>
                    <a:pt x="123" y="461"/>
                    <a:pt x="116" y="462"/>
                    <a:pt x="109" y="460"/>
                  </a:cubicBezTo>
                  <a:cubicBezTo>
                    <a:pt x="100" y="458"/>
                    <a:pt x="92" y="460"/>
                    <a:pt x="84" y="460"/>
                  </a:cubicBezTo>
                  <a:cubicBezTo>
                    <a:pt x="68" y="461"/>
                    <a:pt x="56" y="469"/>
                    <a:pt x="47" y="480"/>
                  </a:cubicBezTo>
                  <a:cubicBezTo>
                    <a:pt x="34" y="493"/>
                    <a:pt x="32" y="511"/>
                    <a:pt x="32" y="529"/>
                  </a:cubicBezTo>
                  <a:cubicBezTo>
                    <a:pt x="32" y="544"/>
                    <a:pt x="32" y="544"/>
                    <a:pt x="17" y="544"/>
                  </a:cubicBezTo>
                  <a:cubicBezTo>
                    <a:pt x="4" y="543"/>
                    <a:pt x="0" y="548"/>
                    <a:pt x="4" y="561"/>
                  </a:cubicBezTo>
                  <a:cubicBezTo>
                    <a:pt x="6" y="569"/>
                    <a:pt x="13" y="568"/>
                    <a:pt x="19" y="569"/>
                  </a:cubicBezTo>
                  <a:cubicBezTo>
                    <a:pt x="32" y="571"/>
                    <a:pt x="32" y="571"/>
                    <a:pt x="32" y="584"/>
                  </a:cubicBezTo>
                  <a:cubicBezTo>
                    <a:pt x="32" y="624"/>
                    <a:pt x="32" y="664"/>
                    <a:pt x="32" y="704"/>
                  </a:cubicBezTo>
                  <a:cubicBezTo>
                    <a:pt x="32" y="731"/>
                    <a:pt x="32" y="730"/>
                    <a:pt x="57" y="731"/>
                  </a:cubicBezTo>
                  <a:cubicBezTo>
                    <a:pt x="66" y="731"/>
                    <a:pt x="68" y="727"/>
                    <a:pt x="68" y="720"/>
                  </a:cubicBezTo>
                  <a:cubicBezTo>
                    <a:pt x="68" y="697"/>
                    <a:pt x="68" y="674"/>
                    <a:pt x="68" y="651"/>
                  </a:cubicBezTo>
                  <a:cubicBezTo>
                    <a:pt x="68" y="628"/>
                    <a:pt x="68" y="605"/>
                    <a:pt x="68" y="581"/>
                  </a:cubicBezTo>
                  <a:close/>
                  <a:moveTo>
                    <a:pt x="278" y="1165"/>
                  </a:moveTo>
                  <a:cubicBezTo>
                    <a:pt x="278" y="1183"/>
                    <a:pt x="278" y="1183"/>
                    <a:pt x="296" y="1184"/>
                  </a:cubicBezTo>
                  <a:cubicBezTo>
                    <a:pt x="310" y="1184"/>
                    <a:pt x="310" y="1184"/>
                    <a:pt x="310" y="1169"/>
                  </a:cubicBezTo>
                  <a:cubicBezTo>
                    <a:pt x="310" y="1132"/>
                    <a:pt x="310" y="1095"/>
                    <a:pt x="310" y="1058"/>
                  </a:cubicBezTo>
                  <a:cubicBezTo>
                    <a:pt x="310" y="1052"/>
                    <a:pt x="312" y="1047"/>
                    <a:pt x="316" y="1042"/>
                  </a:cubicBezTo>
                  <a:cubicBezTo>
                    <a:pt x="324" y="1033"/>
                    <a:pt x="334" y="1027"/>
                    <a:pt x="345" y="1024"/>
                  </a:cubicBezTo>
                  <a:cubicBezTo>
                    <a:pt x="357" y="1020"/>
                    <a:pt x="371" y="1018"/>
                    <a:pt x="383" y="1028"/>
                  </a:cubicBezTo>
                  <a:cubicBezTo>
                    <a:pt x="397" y="1039"/>
                    <a:pt x="401" y="1054"/>
                    <a:pt x="401" y="1071"/>
                  </a:cubicBezTo>
                  <a:cubicBezTo>
                    <a:pt x="401" y="1102"/>
                    <a:pt x="401" y="1132"/>
                    <a:pt x="401" y="1163"/>
                  </a:cubicBezTo>
                  <a:cubicBezTo>
                    <a:pt x="401" y="1183"/>
                    <a:pt x="401" y="1182"/>
                    <a:pt x="420" y="1184"/>
                  </a:cubicBezTo>
                  <a:cubicBezTo>
                    <a:pt x="429" y="1185"/>
                    <a:pt x="433" y="1181"/>
                    <a:pt x="433" y="1173"/>
                  </a:cubicBezTo>
                  <a:cubicBezTo>
                    <a:pt x="432" y="1130"/>
                    <a:pt x="435" y="1087"/>
                    <a:pt x="431" y="1044"/>
                  </a:cubicBezTo>
                  <a:cubicBezTo>
                    <a:pt x="427" y="1014"/>
                    <a:pt x="404" y="996"/>
                    <a:pt x="376" y="994"/>
                  </a:cubicBezTo>
                  <a:cubicBezTo>
                    <a:pt x="353" y="992"/>
                    <a:pt x="333" y="1000"/>
                    <a:pt x="317" y="1017"/>
                  </a:cubicBezTo>
                  <a:cubicBezTo>
                    <a:pt x="312" y="1021"/>
                    <a:pt x="311" y="1019"/>
                    <a:pt x="309" y="1015"/>
                  </a:cubicBezTo>
                  <a:cubicBezTo>
                    <a:pt x="309" y="1013"/>
                    <a:pt x="308" y="1011"/>
                    <a:pt x="308" y="1008"/>
                  </a:cubicBezTo>
                  <a:cubicBezTo>
                    <a:pt x="306" y="1001"/>
                    <a:pt x="298" y="997"/>
                    <a:pt x="287" y="998"/>
                  </a:cubicBezTo>
                  <a:cubicBezTo>
                    <a:pt x="279" y="999"/>
                    <a:pt x="278" y="1004"/>
                    <a:pt x="278" y="1011"/>
                  </a:cubicBezTo>
                  <a:cubicBezTo>
                    <a:pt x="278" y="1037"/>
                    <a:pt x="278" y="1064"/>
                    <a:pt x="278" y="1091"/>
                  </a:cubicBezTo>
                  <a:cubicBezTo>
                    <a:pt x="278" y="1115"/>
                    <a:pt x="278" y="1140"/>
                    <a:pt x="278" y="1165"/>
                  </a:cubicBezTo>
                  <a:close/>
                  <a:moveTo>
                    <a:pt x="150" y="705"/>
                  </a:moveTo>
                  <a:cubicBezTo>
                    <a:pt x="150" y="734"/>
                    <a:pt x="145" y="730"/>
                    <a:pt x="176" y="731"/>
                  </a:cubicBezTo>
                  <a:cubicBezTo>
                    <a:pt x="185" y="731"/>
                    <a:pt x="187" y="727"/>
                    <a:pt x="187" y="719"/>
                  </a:cubicBezTo>
                  <a:cubicBezTo>
                    <a:pt x="187" y="685"/>
                    <a:pt x="187" y="651"/>
                    <a:pt x="187" y="618"/>
                  </a:cubicBezTo>
                  <a:cubicBezTo>
                    <a:pt x="187" y="597"/>
                    <a:pt x="204" y="578"/>
                    <a:pt x="225" y="574"/>
                  </a:cubicBezTo>
                  <a:cubicBezTo>
                    <a:pt x="232" y="572"/>
                    <a:pt x="240" y="574"/>
                    <a:pt x="247" y="575"/>
                  </a:cubicBezTo>
                  <a:cubicBezTo>
                    <a:pt x="257" y="576"/>
                    <a:pt x="261" y="572"/>
                    <a:pt x="265" y="564"/>
                  </a:cubicBezTo>
                  <a:cubicBezTo>
                    <a:pt x="269" y="556"/>
                    <a:pt x="267" y="542"/>
                    <a:pt x="261" y="540"/>
                  </a:cubicBezTo>
                  <a:cubicBezTo>
                    <a:pt x="253" y="538"/>
                    <a:pt x="244" y="534"/>
                    <a:pt x="237" y="536"/>
                  </a:cubicBezTo>
                  <a:cubicBezTo>
                    <a:pt x="228" y="537"/>
                    <a:pt x="217" y="537"/>
                    <a:pt x="209" y="544"/>
                  </a:cubicBezTo>
                  <a:cubicBezTo>
                    <a:pt x="204" y="549"/>
                    <a:pt x="198" y="553"/>
                    <a:pt x="194" y="558"/>
                  </a:cubicBezTo>
                  <a:cubicBezTo>
                    <a:pt x="192" y="561"/>
                    <a:pt x="189" y="563"/>
                    <a:pt x="185" y="562"/>
                  </a:cubicBezTo>
                  <a:cubicBezTo>
                    <a:pt x="182" y="561"/>
                    <a:pt x="182" y="558"/>
                    <a:pt x="182" y="556"/>
                  </a:cubicBezTo>
                  <a:cubicBezTo>
                    <a:pt x="180" y="539"/>
                    <a:pt x="179" y="539"/>
                    <a:pt x="162" y="539"/>
                  </a:cubicBezTo>
                  <a:cubicBezTo>
                    <a:pt x="151" y="539"/>
                    <a:pt x="150" y="540"/>
                    <a:pt x="150" y="551"/>
                  </a:cubicBezTo>
                  <a:cubicBezTo>
                    <a:pt x="150" y="579"/>
                    <a:pt x="150" y="607"/>
                    <a:pt x="150" y="635"/>
                  </a:cubicBezTo>
                  <a:cubicBezTo>
                    <a:pt x="150" y="658"/>
                    <a:pt x="149" y="682"/>
                    <a:pt x="150" y="705"/>
                  </a:cubicBezTo>
                  <a:close/>
                  <a:moveTo>
                    <a:pt x="1011" y="1049"/>
                  </a:moveTo>
                  <a:cubicBezTo>
                    <a:pt x="1011" y="1008"/>
                    <a:pt x="1011" y="966"/>
                    <a:pt x="1011" y="924"/>
                  </a:cubicBezTo>
                  <a:cubicBezTo>
                    <a:pt x="1011" y="913"/>
                    <a:pt x="1008" y="910"/>
                    <a:pt x="997" y="910"/>
                  </a:cubicBezTo>
                  <a:cubicBezTo>
                    <a:pt x="995" y="910"/>
                    <a:pt x="992" y="910"/>
                    <a:pt x="990" y="910"/>
                  </a:cubicBezTo>
                  <a:cubicBezTo>
                    <a:pt x="976" y="910"/>
                    <a:pt x="975" y="911"/>
                    <a:pt x="975" y="926"/>
                  </a:cubicBezTo>
                  <a:cubicBezTo>
                    <a:pt x="975" y="1006"/>
                    <a:pt x="975" y="1085"/>
                    <a:pt x="975" y="1165"/>
                  </a:cubicBezTo>
                  <a:cubicBezTo>
                    <a:pt x="975" y="1185"/>
                    <a:pt x="975" y="1185"/>
                    <a:pt x="994" y="1185"/>
                  </a:cubicBezTo>
                  <a:cubicBezTo>
                    <a:pt x="1009" y="1185"/>
                    <a:pt x="1011" y="1184"/>
                    <a:pt x="1011" y="1169"/>
                  </a:cubicBezTo>
                  <a:cubicBezTo>
                    <a:pt x="1011" y="1129"/>
                    <a:pt x="1011" y="1089"/>
                    <a:pt x="1011" y="1049"/>
                  </a:cubicBezTo>
                  <a:cubicBezTo>
                    <a:pt x="1011" y="1049"/>
                    <a:pt x="1011" y="1049"/>
                    <a:pt x="1011" y="1049"/>
                  </a:cubicBezTo>
                  <a:close/>
                  <a:moveTo>
                    <a:pt x="296" y="176"/>
                  </a:moveTo>
                  <a:cubicBezTo>
                    <a:pt x="296" y="201"/>
                    <a:pt x="296" y="226"/>
                    <a:pt x="296" y="251"/>
                  </a:cubicBezTo>
                  <a:cubicBezTo>
                    <a:pt x="295" y="276"/>
                    <a:pt x="296" y="274"/>
                    <a:pt x="318" y="274"/>
                  </a:cubicBezTo>
                  <a:cubicBezTo>
                    <a:pt x="330" y="274"/>
                    <a:pt x="331" y="274"/>
                    <a:pt x="331" y="260"/>
                  </a:cubicBezTo>
                  <a:cubicBezTo>
                    <a:pt x="331" y="232"/>
                    <a:pt x="331" y="204"/>
                    <a:pt x="331" y="176"/>
                  </a:cubicBezTo>
                  <a:cubicBezTo>
                    <a:pt x="331" y="165"/>
                    <a:pt x="331" y="155"/>
                    <a:pt x="337" y="145"/>
                  </a:cubicBezTo>
                  <a:cubicBezTo>
                    <a:pt x="349" y="123"/>
                    <a:pt x="359" y="117"/>
                    <a:pt x="377" y="118"/>
                  </a:cubicBezTo>
                  <a:cubicBezTo>
                    <a:pt x="383" y="118"/>
                    <a:pt x="389" y="119"/>
                    <a:pt x="395" y="120"/>
                  </a:cubicBezTo>
                  <a:cubicBezTo>
                    <a:pt x="401" y="120"/>
                    <a:pt x="407" y="118"/>
                    <a:pt x="408" y="112"/>
                  </a:cubicBezTo>
                  <a:cubicBezTo>
                    <a:pt x="409" y="103"/>
                    <a:pt x="415" y="93"/>
                    <a:pt x="407" y="85"/>
                  </a:cubicBezTo>
                  <a:cubicBezTo>
                    <a:pt x="406" y="84"/>
                    <a:pt x="404" y="84"/>
                    <a:pt x="402" y="84"/>
                  </a:cubicBezTo>
                  <a:cubicBezTo>
                    <a:pt x="376" y="78"/>
                    <a:pt x="353" y="82"/>
                    <a:pt x="337" y="106"/>
                  </a:cubicBezTo>
                  <a:cubicBezTo>
                    <a:pt x="336" y="108"/>
                    <a:pt x="335" y="110"/>
                    <a:pt x="333" y="109"/>
                  </a:cubicBezTo>
                  <a:cubicBezTo>
                    <a:pt x="331" y="109"/>
                    <a:pt x="330" y="107"/>
                    <a:pt x="330" y="105"/>
                  </a:cubicBezTo>
                  <a:cubicBezTo>
                    <a:pt x="329" y="101"/>
                    <a:pt x="329" y="97"/>
                    <a:pt x="328" y="94"/>
                  </a:cubicBezTo>
                  <a:cubicBezTo>
                    <a:pt x="325" y="85"/>
                    <a:pt x="318" y="82"/>
                    <a:pt x="303" y="84"/>
                  </a:cubicBezTo>
                  <a:cubicBezTo>
                    <a:pt x="297" y="84"/>
                    <a:pt x="295" y="86"/>
                    <a:pt x="295" y="92"/>
                  </a:cubicBezTo>
                  <a:cubicBezTo>
                    <a:pt x="296" y="120"/>
                    <a:pt x="295" y="148"/>
                    <a:pt x="295" y="176"/>
                  </a:cubicBezTo>
                  <a:cubicBezTo>
                    <a:pt x="296" y="176"/>
                    <a:pt x="296" y="176"/>
                    <a:pt x="296" y="176"/>
                  </a:cubicBezTo>
                  <a:close/>
                  <a:moveTo>
                    <a:pt x="946" y="179"/>
                  </a:moveTo>
                  <a:cubicBezTo>
                    <a:pt x="946" y="197"/>
                    <a:pt x="946" y="215"/>
                    <a:pt x="946" y="234"/>
                  </a:cubicBezTo>
                  <a:cubicBezTo>
                    <a:pt x="946" y="248"/>
                    <a:pt x="951" y="260"/>
                    <a:pt x="963" y="268"/>
                  </a:cubicBezTo>
                  <a:cubicBezTo>
                    <a:pt x="982" y="280"/>
                    <a:pt x="1011" y="277"/>
                    <a:pt x="1029" y="264"/>
                  </a:cubicBezTo>
                  <a:cubicBezTo>
                    <a:pt x="1036" y="259"/>
                    <a:pt x="1036" y="254"/>
                    <a:pt x="1032" y="248"/>
                  </a:cubicBezTo>
                  <a:cubicBezTo>
                    <a:pt x="1026" y="239"/>
                    <a:pt x="1020" y="238"/>
                    <a:pt x="1013" y="242"/>
                  </a:cubicBezTo>
                  <a:cubicBezTo>
                    <a:pt x="996" y="252"/>
                    <a:pt x="978" y="243"/>
                    <a:pt x="978" y="223"/>
                  </a:cubicBezTo>
                  <a:cubicBezTo>
                    <a:pt x="978" y="190"/>
                    <a:pt x="978" y="157"/>
                    <a:pt x="978" y="123"/>
                  </a:cubicBezTo>
                  <a:cubicBezTo>
                    <a:pt x="978" y="116"/>
                    <a:pt x="981" y="113"/>
                    <a:pt x="988" y="113"/>
                  </a:cubicBezTo>
                  <a:cubicBezTo>
                    <a:pt x="999" y="114"/>
                    <a:pt x="1011" y="113"/>
                    <a:pt x="1022" y="113"/>
                  </a:cubicBezTo>
                  <a:cubicBezTo>
                    <a:pt x="1028" y="113"/>
                    <a:pt x="1033" y="112"/>
                    <a:pt x="1033" y="104"/>
                  </a:cubicBezTo>
                  <a:cubicBezTo>
                    <a:pt x="1033" y="96"/>
                    <a:pt x="1032" y="90"/>
                    <a:pt x="1022" y="90"/>
                  </a:cubicBezTo>
                  <a:cubicBezTo>
                    <a:pt x="1011" y="90"/>
                    <a:pt x="1001" y="90"/>
                    <a:pt x="990" y="90"/>
                  </a:cubicBezTo>
                  <a:cubicBezTo>
                    <a:pt x="981" y="91"/>
                    <a:pt x="977" y="88"/>
                    <a:pt x="978" y="78"/>
                  </a:cubicBezTo>
                  <a:cubicBezTo>
                    <a:pt x="978" y="64"/>
                    <a:pt x="978" y="49"/>
                    <a:pt x="978" y="35"/>
                  </a:cubicBezTo>
                  <a:cubicBezTo>
                    <a:pt x="978" y="30"/>
                    <a:pt x="978" y="25"/>
                    <a:pt x="971" y="24"/>
                  </a:cubicBezTo>
                  <a:cubicBezTo>
                    <a:pt x="964" y="24"/>
                    <a:pt x="956" y="24"/>
                    <a:pt x="955" y="32"/>
                  </a:cubicBezTo>
                  <a:cubicBezTo>
                    <a:pt x="952" y="43"/>
                    <a:pt x="949" y="54"/>
                    <a:pt x="949" y="65"/>
                  </a:cubicBezTo>
                  <a:cubicBezTo>
                    <a:pt x="948" y="88"/>
                    <a:pt x="947" y="88"/>
                    <a:pt x="924" y="91"/>
                  </a:cubicBezTo>
                  <a:cubicBezTo>
                    <a:pt x="919" y="92"/>
                    <a:pt x="914" y="92"/>
                    <a:pt x="914" y="99"/>
                  </a:cubicBezTo>
                  <a:cubicBezTo>
                    <a:pt x="915" y="107"/>
                    <a:pt x="917" y="113"/>
                    <a:pt x="926" y="113"/>
                  </a:cubicBezTo>
                  <a:cubicBezTo>
                    <a:pt x="929" y="114"/>
                    <a:pt x="932" y="113"/>
                    <a:pt x="935" y="113"/>
                  </a:cubicBezTo>
                  <a:cubicBezTo>
                    <a:pt x="943" y="113"/>
                    <a:pt x="946" y="116"/>
                    <a:pt x="946" y="124"/>
                  </a:cubicBezTo>
                  <a:cubicBezTo>
                    <a:pt x="946" y="142"/>
                    <a:pt x="946" y="161"/>
                    <a:pt x="946" y="179"/>
                  </a:cubicBezTo>
                  <a:cubicBezTo>
                    <a:pt x="946" y="179"/>
                    <a:pt x="946" y="179"/>
                    <a:pt x="946" y="179"/>
                  </a:cubicBezTo>
                  <a:close/>
                </a:path>
              </a:pathLst>
            </a:custGeom>
            <a:solidFill>
              <a:srgbClr val="4C505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grpSp>
          <p:nvGrpSpPr>
            <p:cNvPr id="18" name="Group 4">
              <a:extLst>
                <a:ext uri="{FF2B5EF4-FFF2-40B4-BE49-F238E27FC236}">
                  <a16:creationId xmlns:a16="http://schemas.microsoft.com/office/drawing/2014/main" id="{57BD2C4C-DC67-B843-B26C-309622FC75F7}"/>
                </a:ext>
              </a:extLst>
            </p:cNvPr>
            <p:cNvGrpSpPr>
              <a:grpSpLocks noChangeAspect="1"/>
            </p:cNvGrpSpPr>
            <p:nvPr/>
          </p:nvGrpSpPr>
          <p:grpSpPr bwMode="gray">
            <a:xfrm>
              <a:off x="334963" y="296652"/>
              <a:ext cx="538094" cy="540000"/>
              <a:chOff x="2711" y="1027"/>
              <a:chExt cx="2258" cy="2266"/>
            </a:xfrm>
          </p:grpSpPr>
          <p:sp>
            <p:nvSpPr>
              <p:cNvPr id="19" name="AutoShape 3">
                <a:extLst>
                  <a:ext uri="{FF2B5EF4-FFF2-40B4-BE49-F238E27FC236}">
                    <a16:creationId xmlns:a16="http://schemas.microsoft.com/office/drawing/2014/main" id="{FE1DC41B-291E-574C-9F2C-874E70A40758}"/>
                  </a:ext>
                </a:extLst>
              </p:cNvPr>
              <p:cNvSpPr>
                <a:spLocks noChangeAspect="1" noChangeArrowheads="1" noTextEdit="1"/>
              </p:cNvSpPr>
              <p:nvPr/>
            </p:nvSpPr>
            <p:spPr bwMode="gray">
              <a:xfrm>
                <a:off x="2711" y="1027"/>
                <a:ext cx="2258" cy="22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sp>
            <p:nvSpPr>
              <p:cNvPr id="20" name="Freeform 5">
                <a:extLst>
                  <a:ext uri="{FF2B5EF4-FFF2-40B4-BE49-F238E27FC236}">
                    <a16:creationId xmlns:a16="http://schemas.microsoft.com/office/drawing/2014/main" id="{D4B633C8-F761-C54B-9BD2-EB59D49A2DBC}"/>
                  </a:ext>
                </a:extLst>
              </p:cNvPr>
              <p:cNvSpPr>
                <a:spLocks/>
              </p:cNvSpPr>
              <p:nvPr/>
            </p:nvSpPr>
            <p:spPr bwMode="gray">
              <a:xfrm>
                <a:off x="2709" y="1029"/>
                <a:ext cx="2260" cy="2262"/>
              </a:xfrm>
              <a:custGeom>
                <a:avLst/>
                <a:gdLst>
                  <a:gd name="T0" fmla="*/ 2260 w 2260"/>
                  <a:gd name="T1" fmla="*/ 0 h 2262"/>
                  <a:gd name="T2" fmla="*/ 1612 w 2260"/>
                  <a:gd name="T3" fmla="*/ 649 h 2262"/>
                  <a:gd name="T4" fmla="*/ 1612 w 2260"/>
                  <a:gd name="T5" fmla="*/ 649 h 2262"/>
                  <a:gd name="T6" fmla="*/ 2035 w 2260"/>
                  <a:gd name="T7" fmla="*/ 0 h 2262"/>
                  <a:gd name="T8" fmla="*/ 0 w 2260"/>
                  <a:gd name="T9" fmla="*/ 0 h 2262"/>
                  <a:gd name="T10" fmla="*/ 0 w 2260"/>
                  <a:gd name="T11" fmla="*/ 2262 h 2262"/>
                  <a:gd name="T12" fmla="*/ 2260 w 2260"/>
                  <a:gd name="T13" fmla="*/ 2262 h 2262"/>
                  <a:gd name="T14" fmla="*/ 2260 w 2260"/>
                  <a:gd name="T15" fmla="*/ 0 h 2262"/>
                  <a:gd name="T16" fmla="*/ 2260 w 2260"/>
                  <a:gd name="T17" fmla="*/ 0 h 2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0" h="2262">
                    <a:moveTo>
                      <a:pt x="2260" y="0"/>
                    </a:moveTo>
                    <a:lnTo>
                      <a:pt x="1612" y="649"/>
                    </a:lnTo>
                    <a:lnTo>
                      <a:pt x="1612" y="649"/>
                    </a:lnTo>
                    <a:lnTo>
                      <a:pt x="2035" y="0"/>
                    </a:lnTo>
                    <a:lnTo>
                      <a:pt x="0" y="0"/>
                    </a:lnTo>
                    <a:lnTo>
                      <a:pt x="0" y="2262"/>
                    </a:lnTo>
                    <a:lnTo>
                      <a:pt x="2260" y="2262"/>
                    </a:lnTo>
                    <a:lnTo>
                      <a:pt x="2260" y="0"/>
                    </a:lnTo>
                    <a:lnTo>
                      <a:pt x="2260" y="0"/>
                    </a:lnTo>
                    <a:close/>
                  </a:path>
                </a:pathLst>
              </a:custGeom>
              <a:solidFill>
                <a:srgbClr val="E55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sp>
            <p:nvSpPr>
              <p:cNvPr id="21" name="Freeform 6">
                <a:extLst>
                  <a:ext uri="{FF2B5EF4-FFF2-40B4-BE49-F238E27FC236}">
                    <a16:creationId xmlns:a16="http://schemas.microsoft.com/office/drawing/2014/main" id="{B16BAAE4-1A41-C843-9754-490F7A1E1270}"/>
                  </a:ext>
                </a:extLst>
              </p:cNvPr>
              <p:cNvSpPr>
                <a:spLocks noEditPoints="1"/>
              </p:cNvSpPr>
              <p:nvPr/>
            </p:nvSpPr>
            <p:spPr bwMode="gray">
              <a:xfrm>
                <a:off x="3623" y="1696"/>
                <a:ext cx="1167" cy="922"/>
              </a:xfrm>
              <a:custGeom>
                <a:avLst/>
                <a:gdLst>
                  <a:gd name="T0" fmla="*/ 411 w 580"/>
                  <a:gd name="T1" fmla="*/ 213 h 458"/>
                  <a:gd name="T2" fmla="*/ 570 w 580"/>
                  <a:gd name="T3" fmla="*/ 37 h 458"/>
                  <a:gd name="T4" fmla="*/ 580 w 580"/>
                  <a:gd name="T5" fmla="*/ 20 h 458"/>
                  <a:gd name="T6" fmla="*/ 545 w 580"/>
                  <a:gd name="T7" fmla="*/ 0 h 458"/>
                  <a:gd name="T8" fmla="*/ 519 w 580"/>
                  <a:gd name="T9" fmla="*/ 16 h 458"/>
                  <a:gd name="T10" fmla="*/ 344 w 580"/>
                  <a:gd name="T11" fmla="*/ 210 h 458"/>
                  <a:gd name="T12" fmla="*/ 334 w 580"/>
                  <a:gd name="T13" fmla="*/ 229 h 458"/>
                  <a:gd name="T14" fmla="*/ 344 w 580"/>
                  <a:gd name="T15" fmla="*/ 248 h 458"/>
                  <a:gd name="T16" fmla="*/ 519 w 580"/>
                  <a:gd name="T17" fmla="*/ 442 h 458"/>
                  <a:gd name="T18" fmla="*/ 545 w 580"/>
                  <a:gd name="T19" fmla="*/ 458 h 458"/>
                  <a:gd name="T20" fmla="*/ 580 w 580"/>
                  <a:gd name="T21" fmla="*/ 438 h 458"/>
                  <a:gd name="T22" fmla="*/ 570 w 580"/>
                  <a:gd name="T23" fmla="*/ 421 h 458"/>
                  <a:gd name="T24" fmla="*/ 411 w 580"/>
                  <a:gd name="T25" fmla="*/ 245 h 458"/>
                  <a:gd name="T26" fmla="*/ 399 w 580"/>
                  <a:gd name="T27" fmla="*/ 229 h 458"/>
                  <a:gd name="T28" fmla="*/ 411 w 580"/>
                  <a:gd name="T29" fmla="*/ 213 h 458"/>
                  <a:gd name="T30" fmla="*/ 252 w 580"/>
                  <a:gd name="T31" fmla="*/ 439 h 458"/>
                  <a:gd name="T32" fmla="*/ 281 w 580"/>
                  <a:gd name="T33" fmla="*/ 454 h 458"/>
                  <a:gd name="T34" fmla="*/ 309 w 580"/>
                  <a:gd name="T35" fmla="*/ 439 h 458"/>
                  <a:gd name="T36" fmla="*/ 309 w 580"/>
                  <a:gd name="T37" fmla="*/ 19 h 458"/>
                  <a:gd name="T38" fmla="*/ 281 w 580"/>
                  <a:gd name="T39" fmla="*/ 4 h 458"/>
                  <a:gd name="T40" fmla="*/ 252 w 580"/>
                  <a:gd name="T41" fmla="*/ 19 h 458"/>
                  <a:gd name="T42" fmla="*/ 252 w 580"/>
                  <a:gd name="T43" fmla="*/ 439 h 458"/>
                  <a:gd name="T44" fmla="*/ 0 w 580"/>
                  <a:gd name="T45" fmla="*/ 439 h 458"/>
                  <a:gd name="T46" fmla="*/ 28 w 580"/>
                  <a:gd name="T47" fmla="*/ 454 h 458"/>
                  <a:gd name="T48" fmla="*/ 56 w 580"/>
                  <a:gd name="T49" fmla="*/ 439 h 458"/>
                  <a:gd name="T50" fmla="*/ 56 w 580"/>
                  <a:gd name="T51" fmla="*/ 157 h 458"/>
                  <a:gd name="T52" fmla="*/ 165 w 580"/>
                  <a:gd name="T53" fmla="*/ 53 h 458"/>
                  <a:gd name="T54" fmla="*/ 180 w 580"/>
                  <a:gd name="T55" fmla="*/ 53 h 458"/>
                  <a:gd name="T56" fmla="*/ 196 w 580"/>
                  <a:gd name="T57" fmla="*/ 27 h 458"/>
                  <a:gd name="T58" fmla="*/ 154 w 580"/>
                  <a:gd name="T59" fmla="*/ 4 h 458"/>
                  <a:gd name="T60" fmla="*/ 0 w 580"/>
                  <a:gd name="T61" fmla="*/ 152 h 458"/>
                  <a:gd name="T62" fmla="*/ 0 w 580"/>
                  <a:gd name="T63" fmla="*/ 439 h 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80" h="458">
                    <a:moveTo>
                      <a:pt x="411" y="213"/>
                    </a:moveTo>
                    <a:cubicBezTo>
                      <a:pt x="570" y="37"/>
                      <a:pt x="570" y="37"/>
                      <a:pt x="570" y="37"/>
                    </a:cubicBezTo>
                    <a:cubicBezTo>
                      <a:pt x="576" y="30"/>
                      <a:pt x="580" y="25"/>
                      <a:pt x="580" y="20"/>
                    </a:cubicBezTo>
                    <a:cubicBezTo>
                      <a:pt x="580" y="10"/>
                      <a:pt x="559" y="0"/>
                      <a:pt x="545" y="0"/>
                    </a:cubicBezTo>
                    <a:cubicBezTo>
                      <a:pt x="535" y="0"/>
                      <a:pt x="526" y="8"/>
                      <a:pt x="519" y="16"/>
                    </a:cubicBezTo>
                    <a:cubicBezTo>
                      <a:pt x="344" y="210"/>
                      <a:pt x="344" y="210"/>
                      <a:pt x="344" y="210"/>
                    </a:cubicBezTo>
                    <a:cubicBezTo>
                      <a:pt x="336" y="219"/>
                      <a:pt x="334" y="224"/>
                      <a:pt x="334" y="229"/>
                    </a:cubicBezTo>
                    <a:cubicBezTo>
                      <a:pt x="334" y="234"/>
                      <a:pt x="336" y="239"/>
                      <a:pt x="344" y="248"/>
                    </a:cubicBezTo>
                    <a:cubicBezTo>
                      <a:pt x="519" y="442"/>
                      <a:pt x="519" y="442"/>
                      <a:pt x="519" y="442"/>
                    </a:cubicBezTo>
                    <a:cubicBezTo>
                      <a:pt x="526" y="450"/>
                      <a:pt x="535" y="458"/>
                      <a:pt x="545" y="458"/>
                    </a:cubicBezTo>
                    <a:cubicBezTo>
                      <a:pt x="559" y="458"/>
                      <a:pt x="580" y="448"/>
                      <a:pt x="580" y="438"/>
                    </a:cubicBezTo>
                    <a:cubicBezTo>
                      <a:pt x="580" y="433"/>
                      <a:pt x="576" y="428"/>
                      <a:pt x="570" y="421"/>
                    </a:cubicBezTo>
                    <a:cubicBezTo>
                      <a:pt x="411" y="245"/>
                      <a:pt x="411" y="245"/>
                      <a:pt x="411" y="245"/>
                    </a:cubicBezTo>
                    <a:cubicBezTo>
                      <a:pt x="403" y="236"/>
                      <a:pt x="399" y="232"/>
                      <a:pt x="399" y="229"/>
                    </a:cubicBezTo>
                    <a:cubicBezTo>
                      <a:pt x="399" y="226"/>
                      <a:pt x="403" y="222"/>
                      <a:pt x="411" y="213"/>
                    </a:cubicBezTo>
                    <a:moveTo>
                      <a:pt x="252" y="439"/>
                    </a:moveTo>
                    <a:cubicBezTo>
                      <a:pt x="252" y="449"/>
                      <a:pt x="261" y="454"/>
                      <a:pt x="281" y="454"/>
                    </a:cubicBezTo>
                    <a:cubicBezTo>
                      <a:pt x="300" y="454"/>
                      <a:pt x="309" y="449"/>
                      <a:pt x="309" y="439"/>
                    </a:cubicBezTo>
                    <a:cubicBezTo>
                      <a:pt x="309" y="19"/>
                      <a:pt x="309" y="19"/>
                      <a:pt x="309" y="19"/>
                    </a:cubicBezTo>
                    <a:cubicBezTo>
                      <a:pt x="309" y="9"/>
                      <a:pt x="300" y="4"/>
                      <a:pt x="281" y="4"/>
                    </a:cubicBezTo>
                    <a:cubicBezTo>
                      <a:pt x="261" y="4"/>
                      <a:pt x="252" y="9"/>
                      <a:pt x="252" y="19"/>
                    </a:cubicBezTo>
                    <a:lnTo>
                      <a:pt x="252" y="439"/>
                    </a:lnTo>
                    <a:close/>
                    <a:moveTo>
                      <a:pt x="0" y="439"/>
                    </a:moveTo>
                    <a:cubicBezTo>
                      <a:pt x="0" y="449"/>
                      <a:pt x="8" y="454"/>
                      <a:pt x="28" y="454"/>
                    </a:cubicBezTo>
                    <a:cubicBezTo>
                      <a:pt x="48" y="454"/>
                      <a:pt x="56" y="449"/>
                      <a:pt x="56" y="439"/>
                    </a:cubicBezTo>
                    <a:cubicBezTo>
                      <a:pt x="56" y="157"/>
                      <a:pt x="56" y="157"/>
                      <a:pt x="56" y="157"/>
                    </a:cubicBezTo>
                    <a:cubicBezTo>
                      <a:pt x="56" y="83"/>
                      <a:pt x="85" y="53"/>
                      <a:pt x="165" y="53"/>
                    </a:cubicBezTo>
                    <a:cubicBezTo>
                      <a:pt x="180" y="53"/>
                      <a:pt x="180" y="53"/>
                      <a:pt x="180" y="53"/>
                    </a:cubicBezTo>
                    <a:cubicBezTo>
                      <a:pt x="192" y="53"/>
                      <a:pt x="196" y="43"/>
                      <a:pt x="196" y="27"/>
                    </a:cubicBezTo>
                    <a:cubicBezTo>
                      <a:pt x="196" y="8"/>
                      <a:pt x="185" y="4"/>
                      <a:pt x="154" y="4"/>
                    </a:cubicBezTo>
                    <a:cubicBezTo>
                      <a:pt x="64" y="4"/>
                      <a:pt x="0" y="43"/>
                      <a:pt x="0" y="152"/>
                    </a:cubicBezTo>
                    <a:lnTo>
                      <a:pt x="0" y="43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sp>
            <p:nvSpPr>
              <p:cNvPr id="22" name="Freeform 7">
                <a:extLst>
                  <a:ext uri="{FF2B5EF4-FFF2-40B4-BE49-F238E27FC236}">
                    <a16:creationId xmlns:a16="http://schemas.microsoft.com/office/drawing/2014/main" id="{2F32DCBD-8628-F245-85CD-97686A20ECFD}"/>
                  </a:ext>
                </a:extLst>
              </p:cNvPr>
              <p:cNvSpPr>
                <a:spLocks/>
              </p:cNvSpPr>
              <p:nvPr/>
            </p:nvSpPr>
            <p:spPr bwMode="gray">
              <a:xfrm>
                <a:off x="2880" y="1704"/>
                <a:ext cx="618" cy="916"/>
              </a:xfrm>
              <a:custGeom>
                <a:avLst/>
                <a:gdLst>
                  <a:gd name="T0" fmla="*/ 307 w 307"/>
                  <a:gd name="T1" fmla="*/ 405 h 455"/>
                  <a:gd name="T2" fmla="*/ 307 w 307"/>
                  <a:gd name="T3" fmla="*/ 244 h 455"/>
                  <a:gd name="T4" fmla="*/ 279 w 307"/>
                  <a:gd name="T5" fmla="*/ 229 h 455"/>
                  <a:gd name="T6" fmla="*/ 250 w 307"/>
                  <a:gd name="T7" fmla="*/ 244 h 455"/>
                  <a:gd name="T8" fmla="*/ 250 w 307"/>
                  <a:gd name="T9" fmla="*/ 378 h 455"/>
                  <a:gd name="T10" fmla="*/ 199 w 307"/>
                  <a:gd name="T11" fmla="*/ 408 h 455"/>
                  <a:gd name="T12" fmla="*/ 61 w 307"/>
                  <a:gd name="T13" fmla="*/ 231 h 455"/>
                  <a:gd name="T14" fmla="*/ 238 w 307"/>
                  <a:gd name="T15" fmla="*/ 49 h 455"/>
                  <a:gd name="T16" fmla="*/ 270 w 307"/>
                  <a:gd name="T17" fmla="*/ 49 h 455"/>
                  <a:gd name="T18" fmla="*/ 286 w 307"/>
                  <a:gd name="T19" fmla="*/ 23 h 455"/>
                  <a:gd name="T20" fmla="*/ 244 w 307"/>
                  <a:gd name="T21" fmla="*/ 0 h 455"/>
                  <a:gd name="T22" fmla="*/ 231 w 307"/>
                  <a:gd name="T23" fmla="*/ 0 h 455"/>
                  <a:gd name="T24" fmla="*/ 0 w 307"/>
                  <a:gd name="T25" fmla="*/ 232 h 455"/>
                  <a:gd name="T26" fmla="*/ 198 w 307"/>
                  <a:gd name="T27" fmla="*/ 455 h 455"/>
                  <a:gd name="T28" fmla="*/ 307 w 307"/>
                  <a:gd name="T29" fmla="*/ 405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7" h="455">
                    <a:moveTo>
                      <a:pt x="307" y="405"/>
                    </a:moveTo>
                    <a:cubicBezTo>
                      <a:pt x="307" y="244"/>
                      <a:pt x="307" y="244"/>
                      <a:pt x="307" y="244"/>
                    </a:cubicBezTo>
                    <a:cubicBezTo>
                      <a:pt x="307" y="234"/>
                      <a:pt x="298" y="229"/>
                      <a:pt x="279" y="229"/>
                    </a:cubicBezTo>
                    <a:cubicBezTo>
                      <a:pt x="259" y="229"/>
                      <a:pt x="250" y="234"/>
                      <a:pt x="250" y="244"/>
                    </a:cubicBezTo>
                    <a:cubicBezTo>
                      <a:pt x="250" y="378"/>
                      <a:pt x="250" y="378"/>
                      <a:pt x="250" y="378"/>
                    </a:cubicBezTo>
                    <a:cubicBezTo>
                      <a:pt x="250" y="399"/>
                      <a:pt x="241" y="408"/>
                      <a:pt x="199" y="408"/>
                    </a:cubicBezTo>
                    <a:cubicBezTo>
                      <a:pt x="114" y="408"/>
                      <a:pt x="61" y="342"/>
                      <a:pt x="61" y="231"/>
                    </a:cubicBezTo>
                    <a:cubicBezTo>
                      <a:pt x="61" y="115"/>
                      <a:pt x="126" y="49"/>
                      <a:pt x="238" y="49"/>
                    </a:cubicBezTo>
                    <a:cubicBezTo>
                      <a:pt x="270" y="49"/>
                      <a:pt x="270" y="49"/>
                      <a:pt x="270" y="49"/>
                    </a:cubicBezTo>
                    <a:cubicBezTo>
                      <a:pt x="282" y="49"/>
                      <a:pt x="286" y="39"/>
                      <a:pt x="286" y="23"/>
                    </a:cubicBezTo>
                    <a:cubicBezTo>
                      <a:pt x="286" y="4"/>
                      <a:pt x="275" y="0"/>
                      <a:pt x="244" y="0"/>
                    </a:cubicBezTo>
                    <a:cubicBezTo>
                      <a:pt x="231" y="0"/>
                      <a:pt x="231" y="0"/>
                      <a:pt x="231" y="0"/>
                    </a:cubicBezTo>
                    <a:cubicBezTo>
                      <a:pt x="101" y="0"/>
                      <a:pt x="0" y="71"/>
                      <a:pt x="0" y="232"/>
                    </a:cubicBezTo>
                    <a:cubicBezTo>
                      <a:pt x="0" y="386"/>
                      <a:pt x="88" y="455"/>
                      <a:pt x="198" y="455"/>
                    </a:cubicBezTo>
                    <a:cubicBezTo>
                      <a:pt x="286" y="455"/>
                      <a:pt x="307" y="430"/>
                      <a:pt x="307" y="40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sp>
            <p:nvSpPr>
              <p:cNvPr id="23" name="Oval 8">
                <a:extLst>
                  <a:ext uri="{FF2B5EF4-FFF2-40B4-BE49-F238E27FC236}">
                    <a16:creationId xmlns:a16="http://schemas.microsoft.com/office/drawing/2014/main" id="{60D97C11-1A3B-5449-A48D-98A3E79B3810}"/>
                  </a:ext>
                </a:extLst>
              </p:cNvPr>
              <p:cNvSpPr>
                <a:spLocks noChangeArrowheads="1"/>
              </p:cNvSpPr>
              <p:nvPr/>
            </p:nvSpPr>
            <p:spPr bwMode="gray">
              <a:xfrm>
                <a:off x="3778" y="2099"/>
                <a:ext cx="122" cy="12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sp>
            <p:nvSpPr>
              <p:cNvPr id="24" name="Freeform 9">
                <a:extLst>
                  <a:ext uri="{FF2B5EF4-FFF2-40B4-BE49-F238E27FC236}">
                    <a16:creationId xmlns:a16="http://schemas.microsoft.com/office/drawing/2014/main" id="{5856770D-B8F0-244E-A05D-AED190086F10}"/>
                  </a:ext>
                </a:extLst>
              </p:cNvPr>
              <p:cNvSpPr>
                <a:spLocks noEditPoints="1"/>
              </p:cNvSpPr>
              <p:nvPr/>
            </p:nvSpPr>
            <p:spPr bwMode="gray">
              <a:xfrm>
                <a:off x="3623" y="1696"/>
                <a:ext cx="1167" cy="922"/>
              </a:xfrm>
              <a:custGeom>
                <a:avLst/>
                <a:gdLst>
                  <a:gd name="T0" fmla="*/ 411 w 580"/>
                  <a:gd name="T1" fmla="*/ 213 h 458"/>
                  <a:gd name="T2" fmla="*/ 570 w 580"/>
                  <a:gd name="T3" fmla="*/ 37 h 458"/>
                  <a:gd name="T4" fmla="*/ 580 w 580"/>
                  <a:gd name="T5" fmla="*/ 20 h 458"/>
                  <a:gd name="T6" fmla="*/ 545 w 580"/>
                  <a:gd name="T7" fmla="*/ 0 h 458"/>
                  <a:gd name="T8" fmla="*/ 519 w 580"/>
                  <a:gd name="T9" fmla="*/ 16 h 458"/>
                  <a:gd name="T10" fmla="*/ 344 w 580"/>
                  <a:gd name="T11" fmla="*/ 210 h 458"/>
                  <a:gd name="T12" fmla="*/ 334 w 580"/>
                  <a:gd name="T13" fmla="*/ 229 h 458"/>
                  <a:gd name="T14" fmla="*/ 344 w 580"/>
                  <a:gd name="T15" fmla="*/ 248 h 458"/>
                  <a:gd name="T16" fmla="*/ 519 w 580"/>
                  <a:gd name="T17" fmla="*/ 442 h 458"/>
                  <a:gd name="T18" fmla="*/ 545 w 580"/>
                  <a:gd name="T19" fmla="*/ 458 h 458"/>
                  <a:gd name="T20" fmla="*/ 580 w 580"/>
                  <a:gd name="T21" fmla="*/ 438 h 458"/>
                  <a:gd name="T22" fmla="*/ 570 w 580"/>
                  <a:gd name="T23" fmla="*/ 421 h 458"/>
                  <a:gd name="T24" fmla="*/ 411 w 580"/>
                  <a:gd name="T25" fmla="*/ 245 h 458"/>
                  <a:gd name="T26" fmla="*/ 399 w 580"/>
                  <a:gd name="T27" fmla="*/ 229 h 458"/>
                  <a:gd name="T28" fmla="*/ 411 w 580"/>
                  <a:gd name="T29" fmla="*/ 213 h 458"/>
                  <a:gd name="T30" fmla="*/ 252 w 580"/>
                  <a:gd name="T31" fmla="*/ 439 h 458"/>
                  <a:gd name="T32" fmla="*/ 281 w 580"/>
                  <a:gd name="T33" fmla="*/ 454 h 458"/>
                  <a:gd name="T34" fmla="*/ 309 w 580"/>
                  <a:gd name="T35" fmla="*/ 439 h 458"/>
                  <a:gd name="T36" fmla="*/ 309 w 580"/>
                  <a:gd name="T37" fmla="*/ 19 h 458"/>
                  <a:gd name="T38" fmla="*/ 281 w 580"/>
                  <a:gd name="T39" fmla="*/ 4 h 458"/>
                  <a:gd name="T40" fmla="*/ 252 w 580"/>
                  <a:gd name="T41" fmla="*/ 19 h 458"/>
                  <a:gd name="T42" fmla="*/ 252 w 580"/>
                  <a:gd name="T43" fmla="*/ 439 h 458"/>
                  <a:gd name="T44" fmla="*/ 0 w 580"/>
                  <a:gd name="T45" fmla="*/ 439 h 458"/>
                  <a:gd name="T46" fmla="*/ 28 w 580"/>
                  <a:gd name="T47" fmla="*/ 454 h 458"/>
                  <a:gd name="T48" fmla="*/ 56 w 580"/>
                  <a:gd name="T49" fmla="*/ 439 h 458"/>
                  <a:gd name="T50" fmla="*/ 56 w 580"/>
                  <a:gd name="T51" fmla="*/ 157 h 458"/>
                  <a:gd name="T52" fmla="*/ 165 w 580"/>
                  <a:gd name="T53" fmla="*/ 53 h 458"/>
                  <a:gd name="T54" fmla="*/ 180 w 580"/>
                  <a:gd name="T55" fmla="*/ 53 h 458"/>
                  <a:gd name="T56" fmla="*/ 196 w 580"/>
                  <a:gd name="T57" fmla="*/ 27 h 458"/>
                  <a:gd name="T58" fmla="*/ 154 w 580"/>
                  <a:gd name="T59" fmla="*/ 4 h 458"/>
                  <a:gd name="T60" fmla="*/ 0 w 580"/>
                  <a:gd name="T61" fmla="*/ 152 h 458"/>
                  <a:gd name="T62" fmla="*/ 0 w 580"/>
                  <a:gd name="T63" fmla="*/ 439 h 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80" h="458">
                    <a:moveTo>
                      <a:pt x="411" y="213"/>
                    </a:moveTo>
                    <a:cubicBezTo>
                      <a:pt x="570" y="37"/>
                      <a:pt x="570" y="37"/>
                      <a:pt x="570" y="37"/>
                    </a:cubicBezTo>
                    <a:cubicBezTo>
                      <a:pt x="576" y="30"/>
                      <a:pt x="580" y="25"/>
                      <a:pt x="580" y="20"/>
                    </a:cubicBezTo>
                    <a:cubicBezTo>
                      <a:pt x="580" y="10"/>
                      <a:pt x="559" y="0"/>
                      <a:pt x="545" y="0"/>
                    </a:cubicBezTo>
                    <a:cubicBezTo>
                      <a:pt x="535" y="0"/>
                      <a:pt x="526" y="8"/>
                      <a:pt x="519" y="16"/>
                    </a:cubicBezTo>
                    <a:cubicBezTo>
                      <a:pt x="344" y="210"/>
                      <a:pt x="344" y="210"/>
                      <a:pt x="344" y="210"/>
                    </a:cubicBezTo>
                    <a:cubicBezTo>
                      <a:pt x="336" y="219"/>
                      <a:pt x="334" y="224"/>
                      <a:pt x="334" y="229"/>
                    </a:cubicBezTo>
                    <a:cubicBezTo>
                      <a:pt x="334" y="234"/>
                      <a:pt x="336" y="239"/>
                      <a:pt x="344" y="248"/>
                    </a:cubicBezTo>
                    <a:cubicBezTo>
                      <a:pt x="519" y="442"/>
                      <a:pt x="519" y="442"/>
                      <a:pt x="519" y="442"/>
                    </a:cubicBezTo>
                    <a:cubicBezTo>
                      <a:pt x="526" y="450"/>
                      <a:pt x="535" y="458"/>
                      <a:pt x="545" y="458"/>
                    </a:cubicBezTo>
                    <a:cubicBezTo>
                      <a:pt x="559" y="458"/>
                      <a:pt x="580" y="448"/>
                      <a:pt x="580" y="438"/>
                    </a:cubicBezTo>
                    <a:cubicBezTo>
                      <a:pt x="580" y="433"/>
                      <a:pt x="576" y="428"/>
                      <a:pt x="570" y="421"/>
                    </a:cubicBezTo>
                    <a:cubicBezTo>
                      <a:pt x="411" y="245"/>
                      <a:pt x="411" y="245"/>
                      <a:pt x="411" y="245"/>
                    </a:cubicBezTo>
                    <a:cubicBezTo>
                      <a:pt x="403" y="236"/>
                      <a:pt x="399" y="232"/>
                      <a:pt x="399" y="229"/>
                    </a:cubicBezTo>
                    <a:cubicBezTo>
                      <a:pt x="399" y="226"/>
                      <a:pt x="403" y="222"/>
                      <a:pt x="411" y="213"/>
                    </a:cubicBezTo>
                    <a:moveTo>
                      <a:pt x="252" y="439"/>
                    </a:moveTo>
                    <a:cubicBezTo>
                      <a:pt x="252" y="449"/>
                      <a:pt x="261" y="454"/>
                      <a:pt x="281" y="454"/>
                    </a:cubicBezTo>
                    <a:cubicBezTo>
                      <a:pt x="300" y="454"/>
                      <a:pt x="309" y="449"/>
                      <a:pt x="309" y="439"/>
                    </a:cubicBezTo>
                    <a:cubicBezTo>
                      <a:pt x="309" y="19"/>
                      <a:pt x="309" y="19"/>
                      <a:pt x="309" y="19"/>
                    </a:cubicBezTo>
                    <a:cubicBezTo>
                      <a:pt x="309" y="9"/>
                      <a:pt x="300" y="4"/>
                      <a:pt x="281" y="4"/>
                    </a:cubicBezTo>
                    <a:cubicBezTo>
                      <a:pt x="261" y="4"/>
                      <a:pt x="252" y="9"/>
                      <a:pt x="252" y="19"/>
                    </a:cubicBezTo>
                    <a:lnTo>
                      <a:pt x="252" y="439"/>
                    </a:lnTo>
                    <a:close/>
                    <a:moveTo>
                      <a:pt x="0" y="439"/>
                    </a:moveTo>
                    <a:cubicBezTo>
                      <a:pt x="0" y="449"/>
                      <a:pt x="8" y="454"/>
                      <a:pt x="28" y="454"/>
                    </a:cubicBezTo>
                    <a:cubicBezTo>
                      <a:pt x="48" y="454"/>
                      <a:pt x="56" y="449"/>
                      <a:pt x="56" y="439"/>
                    </a:cubicBezTo>
                    <a:cubicBezTo>
                      <a:pt x="56" y="157"/>
                      <a:pt x="56" y="157"/>
                      <a:pt x="56" y="157"/>
                    </a:cubicBezTo>
                    <a:cubicBezTo>
                      <a:pt x="56" y="83"/>
                      <a:pt x="85" y="53"/>
                      <a:pt x="165" y="53"/>
                    </a:cubicBezTo>
                    <a:cubicBezTo>
                      <a:pt x="180" y="53"/>
                      <a:pt x="180" y="53"/>
                      <a:pt x="180" y="53"/>
                    </a:cubicBezTo>
                    <a:cubicBezTo>
                      <a:pt x="192" y="53"/>
                      <a:pt x="196" y="43"/>
                      <a:pt x="196" y="27"/>
                    </a:cubicBezTo>
                    <a:cubicBezTo>
                      <a:pt x="196" y="8"/>
                      <a:pt x="185" y="4"/>
                      <a:pt x="154" y="4"/>
                    </a:cubicBezTo>
                    <a:cubicBezTo>
                      <a:pt x="64" y="4"/>
                      <a:pt x="0" y="43"/>
                      <a:pt x="0" y="152"/>
                    </a:cubicBezTo>
                    <a:lnTo>
                      <a:pt x="0" y="43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sp>
            <p:nvSpPr>
              <p:cNvPr id="25" name="Freeform 10">
                <a:extLst>
                  <a:ext uri="{FF2B5EF4-FFF2-40B4-BE49-F238E27FC236}">
                    <a16:creationId xmlns:a16="http://schemas.microsoft.com/office/drawing/2014/main" id="{2B91B16B-BC11-E547-8FAC-B9B8D18EA449}"/>
                  </a:ext>
                </a:extLst>
              </p:cNvPr>
              <p:cNvSpPr>
                <a:spLocks/>
              </p:cNvSpPr>
              <p:nvPr/>
            </p:nvSpPr>
            <p:spPr bwMode="gray">
              <a:xfrm>
                <a:off x="2880" y="1704"/>
                <a:ext cx="618" cy="916"/>
              </a:xfrm>
              <a:custGeom>
                <a:avLst/>
                <a:gdLst>
                  <a:gd name="T0" fmla="*/ 307 w 307"/>
                  <a:gd name="T1" fmla="*/ 405 h 455"/>
                  <a:gd name="T2" fmla="*/ 307 w 307"/>
                  <a:gd name="T3" fmla="*/ 244 h 455"/>
                  <a:gd name="T4" fmla="*/ 279 w 307"/>
                  <a:gd name="T5" fmla="*/ 229 h 455"/>
                  <a:gd name="T6" fmla="*/ 250 w 307"/>
                  <a:gd name="T7" fmla="*/ 244 h 455"/>
                  <a:gd name="T8" fmla="*/ 250 w 307"/>
                  <a:gd name="T9" fmla="*/ 378 h 455"/>
                  <a:gd name="T10" fmla="*/ 199 w 307"/>
                  <a:gd name="T11" fmla="*/ 408 h 455"/>
                  <a:gd name="T12" fmla="*/ 61 w 307"/>
                  <a:gd name="T13" fmla="*/ 231 h 455"/>
                  <a:gd name="T14" fmla="*/ 238 w 307"/>
                  <a:gd name="T15" fmla="*/ 49 h 455"/>
                  <a:gd name="T16" fmla="*/ 270 w 307"/>
                  <a:gd name="T17" fmla="*/ 49 h 455"/>
                  <a:gd name="T18" fmla="*/ 286 w 307"/>
                  <a:gd name="T19" fmla="*/ 23 h 455"/>
                  <a:gd name="T20" fmla="*/ 244 w 307"/>
                  <a:gd name="T21" fmla="*/ 0 h 455"/>
                  <a:gd name="T22" fmla="*/ 231 w 307"/>
                  <a:gd name="T23" fmla="*/ 0 h 455"/>
                  <a:gd name="T24" fmla="*/ 0 w 307"/>
                  <a:gd name="T25" fmla="*/ 232 h 455"/>
                  <a:gd name="T26" fmla="*/ 198 w 307"/>
                  <a:gd name="T27" fmla="*/ 455 h 455"/>
                  <a:gd name="T28" fmla="*/ 307 w 307"/>
                  <a:gd name="T29" fmla="*/ 405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7" h="455">
                    <a:moveTo>
                      <a:pt x="307" y="405"/>
                    </a:moveTo>
                    <a:cubicBezTo>
                      <a:pt x="307" y="244"/>
                      <a:pt x="307" y="244"/>
                      <a:pt x="307" y="244"/>
                    </a:cubicBezTo>
                    <a:cubicBezTo>
                      <a:pt x="307" y="234"/>
                      <a:pt x="298" y="229"/>
                      <a:pt x="279" y="229"/>
                    </a:cubicBezTo>
                    <a:cubicBezTo>
                      <a:pt x="259" y="229"/>
                      <a:pt x="250" y="234"/>
                      <a:pt x="250" y="244"/>
                    </a:cubicBezTo>
                    <a:cubicBezTo>
                      <a:pt x="250" y="378"/>
                      <a:pt x="250" y="378"/>
                      <a:pt x="250" y="378"/>
                    </a:cubicBezTo>
                    <a:cubicBezTo>
                      <a:pt x="250" y="399"/>
                      <a:pt x="241" y="408"/>
                      <a:pt x="199" y="408"/>
                    </a:cubicBezTo>
                    <a:cubicBezTo>
                      <a:pt x="114" y="408"/>
                      <a:pt x="61" y="342"/>
                      <a:pt x="61" y="231"/>
                    </a:cubicBezTo>
                    <a:cubicBezTo>
                      <a:pt x="61" y="115"/>
                      <a:pt x="126" y="49"/>
                      <a:pt x="238" y="49"/>
                    </a:cubicBezTo>
                    <a:cubicBezTo>
                      <a:pt x="270" y="49"/>
                      <a:pt x="270" y="49"/>
                      <a:pt x="270" y="49"/>
                    </a:cubicBezTo>
                    <a:cubicBezTo>
                      <a:pt x="282" y="49"/>
                      <a:pt x="286" y="39"/>
                      <a:pt x="286" y="23"/>
                    </a:cubicBezTo>
                    <a:cubicBezTo>
                      <a:pt x="286" y="4"/>
                      <a:pt x="275" y="0"/>
                      <a:pt x="244" y="0"/>
                    </a:cubicBezTo>
                    <a:cubicBezTo>
                      <a:pt x="231" y="0"/>
                      <a:pt x="231" y="0"/>
                      <a:pt x="231" y="0"/>
                    </a:cubicBezTo>
                    <a:cubicBezTo>
                      <a:pt x="101" y="0"/>
                      <a:pt x="0" y="71"/>
                      <a:pt x="0" y="232"/>
                    </a:cubicBezTo>
                    <a:cubicBezTo>
                      <a:pt x="0" y="386"/>
                      <a:pt x="88" y="455"/>
                      <a:pt x="198" y="455"/>
                    </a:cubicBezTo>
                    <a:cubicBezTo>
                      <a:pt x="286" y="455"/>
                      <a:pt x="307" y="430"/>
                      <a:pt x="307" y="40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sp>
            <p:nvSpPr>
              <p:cNvPr id="26" name="Oval 11">
                <a:extLst>
                  <a:ext uri="{FF2B5EF4-FFF2-40B4-BE49-F238E27FC236}">
                    <a16:creationId xmlns:a16="http://schemas.microsoft.com/office/drawing/2014/main" id="{14F8C3C8-4888-7646-B9B4-64EB46A1DA23}"/>
                  </a:ext>
                </a:extLst>
              </p:cNvPr>
              <p:cNvSpPr>
                <a:spLocks noChangeArrowheads="1"/>
              </p:cNvSpPr>
              <p:nvPr/>
            </p:nvSpPr>
            <p:spPr bwMode="gray">
              <a:xfrm>
                <a:off x="3778" y="2099"/>
                <a:ext cx="122" cy="12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sp>
            <p:nvSpPr>
              <p:cNvPr id="27" name="Freeform 12">
                <a:extLst>
                  <a:ext uri="{FF2B5EF4-FFF2-40B4-BE49-F238E27FC236}">
                    <a16:creationId xmlns:a16="http://schemas.microsoft.com/office/drawing/2014/main" id="{D79D01D1-4E3E-F34B-97D7-2D387E68746E}"/>
                  </a:ext>
                </a:extLst>
              </p:cNvPr>
              <p:cNvSpPr>
                <a:spLocks/>
              </p:cNvSpPr>
              <p:nvPr/>
            </p:nvSpPr>
            <p:spPr bwMode="gray">
              <a:xfrm>
                <a:off x="4321" y="1029"/>
                <a:ext cx="648" cy="649"/>
              </a:xfrm>
              <a:custGeom>
                <a:avLst/>
                <a:gdLst>
                  <a:gd name="T0" fmla="*/ 0 w 648"/>
                  <a:gd name="T1" fmla="*/ 649 h 649"/>
                  <a:gd name="T2" fmla="*/ 2 w 648"/>
                  <a:gd name="T3" fmla="*/ 649 h 649"/>
                  <a:gd name="T4" fmla="*/ 648 w 648"/>
                  <a:gd name="T5" fmla="*/ 0 h 649"/>
                  <a:gd name="T6" fmla="*/ 423 w 648"/>
                  <a:gd name="T7" fmla="*/ 0 h 649"/>
                  <a:gd name="T8" fmla="*/ 0 w 648"/>
                  <a:gd name="T9" fmla="*/ 649 h 649"/>
                </a:gdLst>
                <a:ahLst/>
                <a:cxnLst>
                  <a:cxn ang="0">
                    <a:pos x="T0" y="T1"/>
                  </a:cxn>
                  <a:cxn ang="0">
                    <a:pos x="T2" y="T3"/>
                  </a:cxn>
                  <a:cxn ang="0">
                    <a:pos x="T4" y="T5"/>
                  </a:cxn>
                  <a:cxn ang="0">
                    <a:pos x="T6" y="T7"/>
                  </a:cxn>
                  <a:cxn ang="0">
                    <a:pos x="T8" y="T9"/>
                  </a:cxn>
                </a:cxnLst>
                <a:rect l="0" t="0" r="r" b="b"/>
                <a:pathLst>
                  <a:path w="648" h="649">
                    <a:moveTo>
                      <a:pt x="0" y="649"/>
                    </a:moveTo>
                    <a:lnTo>
                      <a:pt x="2" y="649"/>
                    </a:lnTo>
                    <a:lnTo>
                      <a:pt x="648" y="0"/>
                    </a:lnTo>
                    <a:lnTo>
                      <a:pt x="423" y="0"/>
                    </a:lnTo>
                    <a:lnTo>
                      <a:pt x="0" y="64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sp>
            <p:nvSpPr>
              <p:cNvPr id="28" name="Freeform 13">
                <a:extLst>
                  <a:ext uri="{FF2B5EF4-FFF2-40B4-BE49-F238E27FC236}">
                    <a16:creationId xmlns:a16="http://schemas.microsoft.com/office/drawing/2014/main" id="{46549898-6C52-B147-A8F6-A73FDBE6163B}"/>
                  </a:ext>
                </a:extLst>
              </p:cNvPr>
              <p:cNvSpPr>
                <a:spLocks/>
              </p:cNvSpPr>
              <p:nvPr/>
            </p:nvSpPr>
            <p:spPr bwMode="gray">
              <a:xfrm>
                <a:off x="4321" y="1029"/>
                <a:ext cx="648" cy="649"/>
              </a:xfrm>
              <a:custGeom>
                <a:avLst/>
                <a:gdLst>
                  <a:gd name="T0" fmla="*/ 0 w 648"/>
                  <a:gd name="T1" fmla="*/ 649 h 649"/>
                  <a:gd name="T2" fmla="*/ 2 w 648"/>
                  <a:gd name="T3" fmla="*/ 649 h 649"/>
                  <a:gd name="T4" fmla="*/ 648 w 648"/>
                  <a:gd name="T5" fmla="*/ 0 h 649"/>
                  <a:gd name="T6" fmla="*/ 423 w 648"/>
                  <a:gd name="T7" fmla="*/ 0 h 649"/>
                  <a:gd name="T8" fmla="*/ 0 w 648"/>
                  <a:gd name="T9" fmla="*/ 649 h 649"/>
                </a:gdLst>
                <a:ahLst/>
                <a:cxnLst>
                  <a:cxn ang="0">
                    <a:pos x="T0" y="T1"/>
                  </a:cxn>
                  <a:cxn ang="0">
                    <a:pos x="T2" y="T3"/>
                  </a:cxn>
                  <a:cxn ang="0">
                    <a:pos x="T4" y="T5"/>
                  </a:cxn>
                  <a:cxn ang="0">
                    <a:pos x="T6" y="T7"/>
                  </a:cxn>
                  <a:cxn ang="0">
                    <a:pos x="T8" y="T9"/>
                  </a:cxn>
                </a:cxnLst>
                <a:rect l="0" t="0" r="r" b="b"/>
                <a:pathLst>
                  <a:path w="648" h="649">
                    <a:moveTo>
                      <a:pt x="0" y="649"/>
                    </a:moveTo>
                    <a:lnTo>
                      <a:pt x="2" y="649"/>
                    </a:lnTo>
                    <a:lnTo>
                      <a:pt x="648" y="0"/>
                    </a:lnTo>
                    <a:lnTo>
                      <a:pt x="423" y="0"/>
                    </a:lnTo>
                    <a:lnTo>
                      <a:pt x="0" y="64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grpSp>
      </p:grpSp>
      <p:sp>
        <p:nvSpPr>
          <p:cNvPr id="7" name="Date Placeholder 6"/>
          <p:cNvSpPr>
            <a:spLocks noGrp="1"/>
          </p:cNvSpPr>
          <p:nvPr>
            <p:ph type="dt" sz="half" idx="10"/>
          </p:nvPr>
        </p:nvSpPr>
        <p:spPr>
          <a:xfrm>
            <a:off x="0" y="0"/>
            <a:ext cx="0" cy="0"/>
          </a:xfrm>
          <a:prstGeom prst="rect">
            <a:avLst/>
          </a:prstGeom>
        </p:spPr>
        <p:txBody>
          <a:bodyPr/>
          <a:lstStyle>
            <a:lvl1pPr>
              <a:defRPr sz="100">
                <a:noFill/>
              </a:defRPr>
            </a:lvl1pPr>
          </a:lstStyle>
          <a:p>
            <a:fld id="{7630F4D0-4FCA-495D-93CB-4308FDD6CACA}" type="datetime5">
              <a:rPr lang="en-US" smtClean="0"/>
              <a:t>26-Jun-20</a:t>
            </a:fld>
            <a:endParaRPr lang="en-US" dirty="0"/>
          </a:p>
        </p:txBody>
      </p:sp>
      <p:sp>
        <p:nvSpPr>
          <p:cNvPr id="8" name="Footer Placeholder 7"/>
          <p:cNvSpPr>
            <a:spLocks noGrp="1"/>
          </p:cNvSpPr>
          <p:nvPr>
            <p:ph type="ftr" sz="quarter" idx="11"/>
          </p:nvPr>
        </p:nvSpPr>
        <p:spPr>
          <a:xfrm>
            <a:off x="0" y="0"/>
            <a:ext cx="0" cy="0"/>
          </a:xfrm>
          <a:prstGeom prst="rect">
            <a:avLst/>
          </a:prstGeom>
        </p:spPr>
        <p:txBody>
          <a:bodyPr/>
          <a:lstStyle>
            <a:lvl1pPr marL="0" indent="0">
              <a:buNone/>
              <a:defRPr sz="100">
                <a:noFill/>
              </a:defRPr>
            </a:lvl1pPr>
          </a:lstStyle>
          <a:p>
            <a:r>
              <a:rPr lang="en-US"/>
              <a:t>Title of presentation (Insert / Header &amp; Footer / Apply to All)</a:t>
            </a:r>
            <a:endParaRPr lang="en-US" dirty="0"/>
          </a:p>
        </p:txBody>
      </p:sp>
      <p:sp>
        <p:nvSpPr>
          <p:cNvPr id="9" name="Slide Number Placeholder 8"/>
          <p:cNvSpPr>
            <a:spLocks noGrp="1"/>
          </p:cNvSpPr>
          <p:nvPr>
            <p:ph type="sldNum" sz="quarter" idx="12"/>
          </p:nvPr>
        </p:nvSpPr>
        <p:spPr>
          <a:xfrm>
            <a:off x="0" y="0"/>
            <a:ext cx="0" cy="0"/>
          </a:xfrm>
          <a:prstGeom prst="rect">
            <a:avLst/>
          </a:prstGeom>
        </p:spPr>
        <p:txBody>
          <a:bodyPr/>
          <a:lstStyle>
            <a:lvl1pPr>
              <a:defRPr sz="100">
                <a:noFill/>
              </a:defRPr>
            </a:lvl1pPr>
          </a:lstStyle>
          <a:p>
            <a:fld id="{8E3B25F7-8D1F-44B5-B485-EE3C438CFD7B}" type="slidenum">
              <a:rPr lang="en-US" smtClean="0"/>
              <a:pPr/>
              <a:t>‹#›</a:t>
            </a:fld>
            <a:endParaRPr lang="en-US"/>
          </a:p>
        </p:txBody>
      </p:sp>
      <p:sp>
        <p:nvSpPr>
          <p:cNvPr id="2" name="Title 1"/>
          <p:cNvSpPr>
            <a:spLocks noGrp="1"/>
          </p:cNvSpPr>
          <p:nvPr>
            <p:ph type="ctrTitle" hasCustomPrompt="1"/>
          </p:nvPr>
        </p:nvSpPr>
        <p:spPr>
          <a:xfrm>
            <a:off x="4524589" y="1628775"/>
            <a:ext cx="5707662" cy="2236264"/>
          </a:xfrm>
        </p:spPr>
        <p:txBody>
          <a:bodyPr anchor="b"/>
          <a:lstStyle>
            <a:lvl1pPr algn="l">
              <a:defRPr sz="3600" baseline="0"/>
            </a:lvl1pPr>
          </a:lstStyle>
          <a:p>
            <a:r>
              <a:rPr lang="en-US" dirty="0"/>
              <a:t>Click to add a longer presentation title</a:t>
            </a:r>
          </a:p>
        </p:txBody>
      </p:sp>
      <p:sp>
        <p:nvSpPr>
          <p:cNvPr id="3" name="Subtitle 2"/>
          <p:cNvSpPr>
            <a:spLocks noGrp="1"/>
          </p:cNvSpPr>
          <p:nvPr>
            <p:ph type="subTitle" idx="1" hasCustomPrompt="1"/>
          </p:nvPr>
        </p:nvSpPr>
        <p:spPr>
          <a:xfrm>
            <a:off x="4524589" y="4094163"/>
            <a:ext cx="5707662" cy="1080000"/>
          </a:xfrm>
        </p:spPr>
        <p:txBody>
          <a:bodyPr/>
          <a:lstStyle>
            <a:lvl1pPr marL="0" indent="0" algn="l">
              <a:spcBef>
                <a:spcPts val="0"/>
              </a:spcBef>
              <a:buNone/>
              <a:defRPr sz="1800" b="1"/>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31" name="Text Placeholder 30"/>
          <p:cNvSpPr>
            <a:spLocks noGrp="1"/>
          </p:cNvSpPr>
          <p:nvPr>
            <p:ph type="body" sz="quarter" idx="14" hasCustomPrompt="1"/>
          </p:nvPr>
        </p:nvSpPr>
        <p:spPr>
          <a:xfrm>
            <a:off x="417600" y="5393268"/>
            <a:ext cx="2494933" cy="296332"/>
          </a:xfrm>
        </p:spPr>
        <p:txBody>
          <a:bodyPr wrap="none"/>
          <a:lstStyle>
            <a:lvl1pPr marL="0" indent="0">
              <a:spcBef>
                <a:spcPts val="0"/>
              </a:spcBef>
              <a:buNone/>
              <a:defRPr sz="1200"/>
            </a:lvl1pPr>
            <a:lvl2pPr marL="0" indent="0">
              <a:buNone/>
              <a:defRPr sz="1200"/>
            </a:lvl2pPr>
            <a:lvl3pPr marL="0" indent="0">
              <a:buNone/>
              <a:defRPr sz="1200"/>
            </a:lvl3pPr>
            <a:lvl4pPr marL="0">
              <a:buNone/>
              <a:defRPr sz="1200"/>
            </a:lvl4pPr>
            <a:lvl5pPr marL="0" indent="0">
              <a:buNone/>
              <a:defRPr sz="1200"/>
            </a:lvl5pPr>
          </a:lstStyle>
          <a:p>
            <a:pPr lvl="0"/>
            <a:r>
              <a:rPr lang="en-US" dirty="0"/>
              <a:t>Name</a:t>
            </a:r>
          </a:p>
        </p:txBody>
      </p:sp>
      <p:sp>
        <p:nvSpPr>
          <p:cNvPr id="34" name="Text Placeholder 30"/>
          <p:cNvSpPr>
            <a:spLocks noGrp="1"/>
          </p:cNvSpPr>
          <p:nvPr>
            <p:ph type="body" sz="quarter" idx="15" hasCustomPrompt="1"/>
          </p:nvPr>
        </p:nvSpPr>
        <p:spPr>
          <a:xfrm>
            <a:off x="417600" y="5691446"/>
            <a:ext cx="2494933" cy="296332"/>
          </a:xfrm>
        </p:spPr>
        <p:txBody>
          <a:bodyPr wrap="none"/>
          <a:lstStyle>
            <a:lvl1pPr marL="0" indent="0">
              <a:spcBef>
                <a:spcPts val="0"/>
              </a:spcBef>
              <a:buNone/>
              <a:defRPr sz="1200"/>
            </a:lvl1pPr>
            <a:lvl2pPr marL="0" indent="0">
              <a:buNone/>
              <a:defRPr sz="1200"/>
            </a:lvl2pPr>
            <a:lvl3pPr marL="0" indent="0">
              <a:buNone/>
              <a:defRPr sz="1200"/>
            </a:lvl3pPr>
            <a:lvl4pPr marL="0">
              <a:buNone/>
              <a:defRPr sz="1200"/>
            </a:lvl4pPr>
            <a:lvl5pPr marL="0" indent="0">
              <a:buNone/>
              <a:defRPr sz="1200"/>
            </a:lvl5pPr>
          </a:lstStyle>
          <a:p>
            <a:pPr lvl="0"/>
            <a:r>
              <a:rPr lang="en-US" dirty="0"/>
              <a:t>Department</a:t>
            </a:r>
          </a:p>
        </p:txBody>
      </p:sp>
    </p:spTree>
    <p:extLst>
      <p:ext uri="{BB962C8B-B14F-4D97-AF65-F5344CB8AC3E}">
        <p14:creationId xmlns:p14="http://schemas.microsoft.com/office/powerpoint/2010/main" val="1355209771"/>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showMasterSp="0" preserve="1">
  <p:cSld name="Title with picture">
    <p:spTree>
      <p:nvGrpSpPr>
        <p:cNvPr id="1" name=""/>
        <p:cNvGrpSpPr/>
        <p:nvPr/>
      </p:nvGrpSpPr>
      <p:grpSpPr>
        <a:xfrm>
          <a:off x="0" y="0"/>
          <a:ext cx="0" cy="0"/>
          <a:chOff x="0" y="0"/>
          <a:chExt cx="0" cy="0"/>
        </a:xfrm>
      </p:grpSpPr>
      <p:sp>
        <p:nvSpPr>
          <p:cNvPr id="12" name="Picture Placeholder 11"/>
          <p:cNvSpPr>
            <a:spLocks noGrp="1"/>
          </p:cNvSpPr>
          <p:nvPr>
            <p:ph type="pic" sz="quarter" idx="13" hasCustomPrompt="1"/>
          </p:nvPr>
        </p:nvSpPr>
        <p:spPr>
          <a:xfrm>
            <a:off x="3376226" y="0"/>
            <a:ext cx="8815774" cy="6858000"/>
          </a:xfrm>
          <a:custGeom>
            <a:avLst/>
            <a:gdLst>
              <a:gd name="connsiteX0" fmla="*/ 331042 w 8815774"/>
              <a:gd name="connsiteY0" fmla="*/ 0 h 6858000"/>
              <a:gd name="connsiteX1" fmla="*/ 8815774 w 8815774"/>
              <a:gd name="connsiteY1" fmla="*/ 0 h 6858000"/>
              <a:gd name="connsiteX2" fmla="*/ 8815774 w 8815774"/>
              <a:gd name="connsiteY2" fmla="*/ 6858000 h 6858000"/>
              <a:gd name="connsiteX3" fmla="*/ 0 w 8815774"/>
              <a:gd name="connsiteY3" fmla="*/ 6858000 h 6858000"/>
              <a:gd name="connsiteX4" fmla="*/ 1580491 w 8815774"/>
              <a:gd name="connsiteY4" fmla="*/ 4163677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15774" h="6858000">
                <a:moveTo>
                  <a:pt x="331042" y="0"/>
                </a:moveTo>
                <a:lnTo>
                  <a:pt x="8815774" y="0"/>
                </a:lnTo>
                <a:lnTo>
                  <a:pt x="8815774" y="6858000"/>
                </a:lnTo>
                <a:lnTo>
                  <a:pt x="0" y="6858000"/>
                </a:lnTo>
                <a:lnTo>
                  <a:pt x="1580491" y="4163677"/>
                </a:lnTo>
                <a:close/>
              </a:path>
            </a:pathLst>
          </a:custGeom>
          <a:solidFill>
            <a:srgbClr val="D9DADB"/>
          </a:solidFill>
        </p:spPr>
        <p:txBody>
          <a:bodyPr wrap="square">
            <a:noAutofit/>
          </a:bodyPr>
          <a:lstStyle>
            <a:lvl1pPr marL="0" indent="0" algn="ctr">
              <a:buNone/>
              <a:defRPr/>
            </a:lvl1pPr>
          </a:lstStyle>
          <a:p>
            <a:r>
              <a:rPr lang="en-US" dirty="0"/>
              <a:t>Insert picture</a:t>
            </a:r>
          </a:p>
        </p:txBody>
      </p:sp>
      <p:grpSp>
        <p:nvGrpSpPr>
          <p:cNvPr id="14" name="logo">
            <a:extLst>
              <a:ext uri="{FF2B5EF4-FFF2-40B4-BE49-F238E27FC236}">
                <a16:creationId xmlns:a16="http://schemas.microsoft.com/office/drawing/2014/main" id="{18C26D95-70F8-8A4D-9F18-DCCB92522AF8}"/>
              </a:ext>
            </a:extLst>
          </p:cNvPr>
          <p:cNvGrpSpPr/>
          <p:nvPr/>
        </p:nvGrpSpPr>
        <p:grpSpPr bwMode="gray">
          <a:xfrm>
            <a:off x="417363" y="407485"/>
            <a:ext cx="1518585" cy="646507"/>
            <a:chOff x="334963" y="296652"/>
            <a:chExt cx="1268411" cy="540000"/>
          </a:xfrm>
        </p:grpSpPr>
        <p:sp>
          <p:nvSpPr>
            <p:cNvPr id="17" name="Freeform 6">
              <a:extLst>
                <a:ext uri="{FF2B5EF4-FFF2-40B4-BE49-F238E27FC236}">
                  <a16:creationId xmlns:a16="http://schemas.microsoft.com/office/drawing/2014/main" id="{08737AD0-E375-E445-97E6-CD2E2DF60620}"/>
                </a:ext>
              </a:extLst>
            </p:cNvPr>
            <p:cNvSpPr>
              <a:spLocks noEditPoints="1"/>
            </p:cNvSpPr>
            <p:nvPr/>
          </p:nvSpPr>
          <p:spPr bwMode="gray">
            <a:xfrm>
              <a:off x="982662" y="360462"/>
              <a:ext cx="620712" cy="431800"/>
            </a:xfrm>
            <a:custGeom>
              <a:avLst/>
              <a:gdLst>
                <a:gd name="T0" fmla="*/ 19 w 1809"/>
                <a:gd name="T1" fmla="*/ 97 h 1253"/>
                <a:gd name="T2" fmla="*/ 165 w 1809"/>
                <a:gd name="T3" fmla="*/ 41 h 1253"/>
                <a:gd name="T4" fmla="*/ 211 w 1809"/>
                <a:gd name="T5" fmla="*/ 224 h 1253"/>
                <a:gd name="T6" fmla="*/ 248 w 1809"/>
                <a:gd name="T7" fmla="*/ 155 h 1253"/>
                <a:gd name="T8" fmla="*/ 931 w 1809"/>
                <a:gd name="T9" fmla="*/ 995 h 1253"/>
                <a:gd name="T10" fmla="*/ 858 w 1809"/>
                <a:gd name="T11" fmla="*/ 1115 h 1253"/>
                <a:gd name="T12" fmla="*/ 749 w 1809"/>
                <a:gd name="T13" fmla="*/ 1117 h 1253"/>
                <a:gd name="T14" fmla="*/ 681 w 1809"/>
                <a:gd name="T15" fmla="*/ 1055 h 1253"/>
                <a:gd name="T16" fmla="*/ 800 w 1809"/>
                <a:gd name="T17" fmla="*/ 1054 h 1253"/>
                <a:gd name="T18" fmla="*/ 884 w 1809"/>
                <a:gd name="T19" fmla="*/ 1181 h 1253"/>
                <a:gd name="T20" fmla="*/ 118 w 1809"/>
                <a:gd name="T21" fmla="*/ 1086 h 1253"/>
                <a:gd name="T22" fmla="*/ 147 w 1809"/>
                <a:gd name="T23" fmla="*/ 1026 h 1253"/>
                <a:gd name="T24" fmla="*/ 102 w 1809"/>
                <a:gd name="T25" fmla="*/ 1026 h 1253"/>
                <a:gd name="T26" fmla="*/ 639 w 1809"/>
                <a:gd name="T27" fmla="*/ 84 h 1253"/>
                <a:gd name="T28" fmla="*/ 763 w 1809"/>
                <a:gd name="T29" fmla="*/ 145 h 1253"/>
                <a:gd name="T30" fmla="*/ 863 w 1809"/>
                <a:gd name="T31" fmla="*/ 221 h 1253"/>
                <a:gd name="T32" fmla="*/ 834 w 1809"/>
                <a:gd name="T33" fmla="*/ 208 h 1253"/>
                <a:gd name="T34" fmla="*/ 719 w 1809"/>
                <a:gd name="T35" fmla="*/ 182 h 1253"/>
                <a:gd name="T36" fmla="*/ 507 w 1809"/>
                <a:gd name="T37" fmla="*/ 711 h 1253"/>
                <a:gd name="T38" fmla="*/ 614 w 1809"/>
                <a:gd name="T39" fmla="*/ 706 h 1253"/>
                <a:gd name="T40" fmla="*/ 736 w 1809"/>
                <a:gd name="T41" fmla="*/ 730 h 1253"/>
                <a:gd name="T42" fmla="*/ 607 w 1809"/>
                <a:gd name="T43" fmla="*/ 539 h 1253"/>
                <a:gd name="T44" fmla="*/ 1505 w 1809"/>
                <a:gd name="T45" fmla="*/ 1136 h 1253"/>
                <a:gd name="T46" fmla="*/ 1613 w 1809"/>
                <a:gd name="T47" fmla="*/ 1002 h 1253"/>
                <a:gd name="T48" fmla="*/ 1472 w 1809"/>
                <a:gd name="T49" fmla="*/ 1164 h 1253"/>
                <a:gd name="T50" fmla="*/ 1525 w 1809"/>
                <a:gd name="T51" fmla="*/ 1142 h 1253"/>
                <a:gd name="T52" fmla="*/ 1556 w 1809"/>
                <a:gd name="T53" fmla="*/ 1172 h 1253"/>
                <a:gd name="T54" fmla="*/ 1387 w 1809"/>
                <a:gd name="T55" fmla="*/ 910 h 1253"/>
                <a:gd name="T56" fmla="*/ 1261 w 1809"/>
                <a:gd name="T57" fmla="*/ 1157 h 1253"/>
                <a:gd name="T58" fmla="*/ 1413 w 1809"/>
                <a:gd name="T59" fmla="*/ 934 h 1253"/>
                <a:gd name="T60" fmla="*/ 1378 w 1809"/>
                <a:gd name="T61" fmla="*/ 1052 h 1253"/>
                <a:gd name="T62" fmla="*/ 488 w 1809"/>
                <a:gd name="T63" fmla="*/ 85 h 1253"/>
                <a:gd name="T64" fmla="*/ 509 w 1809"/>
                <a:gd name="T65" fmla="*/ 112 h 1253"/>
                <a:gd name="T66" fmla="*/ 548 w 1809"/>
                <a:gd name="T67" fmla="*/ 1187 h 1253"/>
                <a:gd name="T68" fmla="*/ 472 w 1809"/>
                <a:gd name="T69" fmla="*/ 1122 h 1253"/>
                <a:gd name="T70" fmla="*/ 558 w 1809"/>
                <a:gd name="T71" fmla="*/ 1157 h 1253"/>
                <a:gd name="T72" fmla="*/ 287 w 1809"/>
                <a:gd name="T73" fmla="*/ 654 h 1253"/>
                <a:gd name="T74" fmla="*/ 416 w 1809"/>
                <a:gd name="T75" fmla="*/ 684 h 1253"/>
                <a:gd name="T76" fmla="*/ 1106 w 1809"/>
                <a:gd name="T77" fmla="*/ 147 h 1253"/>
                <a:gd name="T78" fmla="*/ 1229 w 1809"/>
                <a:gd name="T79" fmla="*/ 258 h 1253"/>
                <a:gd name="T80" fmla="*/ 1106 w 1809"/>
                <a:gd name="T81" fmla="*/ 96 h 1253"/>
                <a:gd name="T82" fmla="*/ 1219 w 1809"/>
                <a:gd name="T83" fmla="*/ 1077 h 1253"/>
                <a:gd name="T84" fmla="*/ 1214 w 1809"/>
                <a:gd name="T85" fmla="*/ 1157 h 1253"/>
                <a:gd name="T86" fmla="*/ 1150 w 1809"/>
                <a:gd name="T87" fmla="*/ 1092 h 1253"/>
                <a:gd name="T88" fmla="*/ 1139 w 1809"/>
                <a:gd name="T89" fmla="*/ 1070 h 1253"/>
                <a:gd name="T90" fmla="*/ 1659 w 1809"/>
                <a:gd name="T91" fmla="*/ 1031 h 1253"/>
                <a:gd name="T92" fmla="*/ 1714 w 1809"/>
                <a:gd name="T93" fmla="*/ 1155 h 1253"/>
                <a:gd name="T94" fmla="*/ 1760 w 1809"/>
                <a:gd name="T95" fmla="*/ 1030 h 1253"/>
                <a:gd name="T96" fmla="*/ 111 w 1809"/>
                <a:gd name="T97" fmla="*/ 569 h 1253"/>
                <a:gd name="T98" fmla="*/ 109 w 1809"/>
                <a:gd name="T99" fmla="*/ 460 h 1253"/>
                <a:gd name="T100" fmla="*/ 32 w 1809"/>
                <a:gd name="T101" fmla="*/ 704 h 1253"/>
                <a:gd name="T102" fmla="*/ 310 w 1809"/>
                <a:gd name="T103" fmla="*/ 1058 h 1253"/>
                <a:gd name="T104" fmla="*/ 431 w 1809"/>
                <a:gd name="T105" fmla="*/ 1044 h 1253"/>
                <a:gd name="T106" fmla="*/ 278 w 1809"/>
                <a:gd name="T107" fmla="*/ 1165 h 1253"/>
                <a:gd name="T108" fmla="*/ 261 w 1809"/>
                <a:gd name="T109" fmla="*/ 540 h 1253"/>
                <a:gd name="T110" fmla="*/ 150 w 1809"/>
                <a:gd name="T111" fmla="*/ 635 h 1253"/>
                <a:gd name="T112" fmla="*/ 994 w 1809"/>
                <a:gd name="T113" fmla="*/ 1185 h 1253"/>
                <a:gd name="T114" fmla="*/ 331 w 1809"/>
                <a:gd name="T115" fmla="*/ 176 h 1253"/>
                <a:gd name="T116" fmla="*/ 333 w 1809"/>
                <a:gd name="T117" fmla="*/ 109 h 1253"/>
                <a:gd name="T118" fmla="*/ 946 w 1809"/>
                <a:gd name="T119" fmla="*/ 234 h 1253"/>
                <a:gd name="T120" fmla="*/ 1022 w 1809"/>
                <a:gd name="T121" fmla="*/ 113 h 1253"/>
                <a:gd name="T122" fmla="*/ 949 w 1809"/>
                <a:gd name="T123" fmla="*/ 65 h 1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09" h="1253">
                  <a:moveTo>
                    <a:pt x="248" y="198"/>
                  </a:moveTo>
                  <a:cubicBezTo>
                    <a:pt x="248" y="211"/>
                    <a:pt x="248" y="224"/>
                    <a:pt x="249" y="237"/>
                  </a:cubicBezTo>
                  <a:cubicBezTo>
                    <a:pt x="249" y="245"/>
                    <a:pt x="246" y="249"/>
                    <a:pt x="240" y="253"/>
                  </a:cubicBezTo>
                  <a:cubicBezTo>
                    <a:pt x="231" y="260"/>
                    <a:pt x="220" y="264"/>
                    <a:pt x="209" y="268"/>
                  </a:cubicBezTo>
                  <a:cubicBezTo>
                    <a:pt x="179" y="279"/>
                    <a:pt x="148" y="280"/>
                    <a:pt x="118" y="275"/>
                  </a:cubicBezTo>
                  <a:cubicBezTo>
                    <a:pt x="86" y="269"/>
                    <a:pt x="58" y="252"/>
                    <a:pt x="39" y="224"/>
                  </a:cubicBezTo>
                  <a:cubicBezTo>
                    <a:pt x="24" y="203"/>
                    <a:pt x="18" y="180"/>
                    <a:pt x="15" y="155"/>
                  </a:cubicBezTo>
                  <a:cubicBezTo>
                    <a:pt x="11" y="135"/>
                    <a:pt x="15" y="115"/>
                    <a:pt x="19" y="97"/>
                  </a:cubicBezTo>
                  <a:cubicBezTo>
                    <a:pt x="26" y="68"/>
                    <a:pt x="42" y="44"/>
                    <a:pt x="68" y="27"/>
                  </a:cubicBezTo>
                  <a:cubicBezTo>
                    <a:pt x="87" y="14"/>
                    <a:pt x="109" y="6"/>
                    <a:pt x="133" y="5"/>
                  </a:cubicBezTo>
                  <a:cubicBezTo>
                    <a:pt x="149" y="4"/>
                    <a:pt x="165" y="5"/>
                    <a:pt x="181" y="6"/>
                  </a:cubicBezTo>
                  <a:cubicBezTo>
                    <a:pt x="204" y="8"/>
                    <a:pt x="225" y="20"/>
                    <a:pt x="243" y="35"/>
                  </a:cubicBezTo>
                  <a:cubicBezTo>
                    <a:pt x="246" y="37"/>
                    <a:pt x="246" y="40"/>
                    <a:pt x="244" y="43"/>
                  </a:cubicBezTo>
                  <a:cubicBezTo>
                    <a:pt x="242" y="47"/>
                    <a:pt x="239" y="52"/>
                    <a:pt x="236" y="55"/>
                  </a:cubicBezTo>
                  <a:cubicBezTo>
                    <a:pt x="226" y="65"/>
                    <a:pt x="224" y="65"/>
                    <a:pt x="206" y="54"/>
                  </a:cubicBezTo>
                  <a:cubicBezTo>
                    <a:pt x="193" y="46"/>
                    <a:pt x="180" y="40"/>
                    <a:pt x="165" y="41"/>
                  </a:cubicBezTo>
                  <a:cubicBezTo>
                    <a:pt x="151" y="41"/>
                    <a:pt x="137" y="39"/>
                    <a:pt x="124" y="42"/>
                  </a:cubicBezTo>
                  <a:cubicBezTo>
                    <a:pt x="104" y="46"/>
                    <a:pt x="87" y="57"/>
                    <a:pt x="75" y="74"/>
                  </a:cubicBezTo>
                  <a:cubicBezTo>
                    <a:pt x="56" y="99"/>
                    <a:pt x="51" y="129"/>
                    <a:pt x="55" y="159"/>
                  </a:cubicBezTo>
                  <a:cubicBezTo>
                    <a:pt x="60" y="189"/>
                    <a:pt x="73" y="214"/>
                    <a:pt x="98" y="230"/>
                  </a:cubicBezTo>
                  <a:cubicBezTo>
                    <a:pt x="109" y="237"/>
                    <a:pt x="121" y="242"/>
                    <a:pt x="135" y="241"/>
                  </a:cubicBezTo>
                  <a:cubicBezTo>
                    <a:pt x="146" y="241"/>
                    <a:pt x="158" y="241"/>
                    <a:pt x="169" y="241"/>
                  </a:cubicBezTo>
                  <a:cubicBezTo>
                    <a:pt x="182" y="242"/>
                    <a:pt x="193" y="235"/>
                    <a:pt x="205" y="232"/>
                  </a:cubicBezTo>
                  <a:cubicBezTo>
                    <a:pt x="210" y="231"/>
                    <a:pt x="211" y="227"/>
                    <a:pt x="211" y="224"/>
                  </a:cubicBezTo>
                  <a:cubicBezTo>
                    <a:pt x="211" y="210"/>
                    <a:pt x="211" y="196"/>
                    <a:pt x="211" y="183"/>
                  </a:cubicBezTo>
                  <a:cubicBezTo>
                    <a:pt x="211" y="177"/>
                    <a:pt x="207" y="175"/>
                    <a:pt x="202" y="175"/>
                  </a:cubicBezTo>
                  <a:cubicBezTo>
                    <a:pt x="193" y="175"/>
                    <a:pt x="184" y="175"/>
                    <a:pt x="175" y="175"/>
                  </a:cubicBezTo>
                  <a:cubicBezTo>
                    <a:pt x="171" y="175"/>
                    <a:pt x="168" y="174"/>
                    <a:pt x="166" y="171"/>
                  </a:cubicBezTo>
                  <a:cubicBezTo>
                    <a:pt x="163" y="163"/>
                    <a:pt x="164" y="154"/>
                    <a:pt x="166" y="146"/>
                  </a:cubicBezTo>
                  <a:cubicBezTo>
                    <a:pt x="167" y="142"/>
                    <a:pt x="171" y="142"/>
                    <a:pt x="175" y="142"/>
                  </a:cubicBezTo>
                  <a:cubicBezTo>
                    <a:pt x="196" y="142"/>
                    <a:pt x="217" y="142"/>
                    <a:pt x="238" y="142"/>
                  </a:cubicBezTo>
                  <a:cubicBezTo>
                    <a:pt x="247" y="142"/>
                    <a:pt x="248" y="148"/>
                    <a:pt x="248" y="155"/>
                  </a:cubicBezTo>
                  <a:cubicBezTo>
                    <a:pt x="249" y="169"/>
                    <a:pt x="248" y="183"/>
                    <a:pt x="248" y="198"/>
                  </a:cubicBezTo>
                  <a:close/>
                  <a:moveTo>
                    <a:pt x="884" y="1181"/>
                  </a:moveTo>
                  <a:cubicBezTo>
                    <a:pt x="889" y="1167"/>
                    <a:pt x="894" y="1152"/>
                    <a:pt x="898" y="1137"/>
                  </a:cubicBezTo>
                  <a:cubicBezTo>
                    <a:pt x="901" y="1127"/>
                    <a:pt x="905" y="1116"/>
                    <a:pt x="908" y="1106"/>
                  </a:cubicBezTo>
                  <a:cubicBezTo>
                    <a:pt x="911" y="1098"/>
                    <a:pt x="912" y="1089"/>
                    <a:pt x="916" y="1081"/>
                  </a:cubicBezTo>
                  <a:cubicBezTo>
                    <a:pt x="921" y="1072"/>
                    <a:pt x="923" y="1060"/>
                    <a:pt x="927" y="1050"/>
                  </a:cubicBezTo>
                  <a:cubicBezTo>
                    <a:pt x="932" y="1037"/>
                    <a:pt x="934" y="1023"/>
                    <a:pt x="940" y="1010"/>
                  </a:cubicBezTo>
                  <a:cubicBezTo>
                    <a:pt x="945" y="1001"/>
                    <a:pt x="941" y="995"/>
                    <a:pt x="931" y="995"/>
                  </a:cubicBezTo>
                  <a:cubicBezTo>
                    <a:pt x="927" y="995"/>
                    <a:pt x="922" y="995"/>
                    <a:pt x="918" y="995"/>
                  </a:cubicBezTo>
                  <a:cubicBezTo>
                    <a:pt x="913" y="995"/>
                    <a:pt x="908" y="997"/>
                    <a:pt x="907" y="1001"/>
                  </a:cubicBezTo>
                  <a:cubicBezTo>
                    <a:pt x="904" y="1008"/>
                    <a:pt x="900" y="1015"/>
                    <a:pt x="899" y="1023"/>
                  </a:cubicBezTo>
                  <a:cubicBezTo>
                    <a:pt x="897" y="1034"/>
                    <a:pt x="893" y="1045"/>
                    <a:pt x="889" y="1055"/>
                  </a:cubicBezTo>
                  <a:cubicBezTo>
                    <a:pt x="887" y="1064"/>
                    <a:pt x="885" y="1072"/>
                    <a:pt x="882" y="1080"/>
                  </a:cubicBezTo>
                  <a:cubicBezTo>
                    <a:pt x="878" y="1091"/>
                    <a:pt x="874" y="1103"/>
                    <a:pt x="871" y="1115"/>
                  </a:cubicBezTo>
                  <a:cubicBezTo>
                    <a:pt x="870" y="1118"/>
                    <a:pt x="871" y="1124"/>
                    <a:pt x="866" y="1124"/>
                  </a:cubicBezTo>
                  <a:cubicBezTo>
                    <a:pt x="861" y="1125"/>
                    <a:pt x="859" y="1120"/>
                    <a:pt x="858" y="1115"/>
                  </a:cubicBezTo>
                  <a:cubicBezTo>
                    <a:pt x="856" y="1110"/>
                    <a:pt x="856" y="1104"/>
                    <a:pt x="854" y="1099"/>
                  </a:cubicBezTo>
                  <a:cubicBezTo>
                    <a:pt x="848" y="1080"/>
                    <a:pt x="841" y="1062"/>
                    <a:pt x="835" y="1044"/>
                  </a:cubicBezTo>
                  <a:cubicBezTo>
                    <a:pt x="831" y="1030"/>
                    <a:pt x="828" y="1016"/>
                    <a:pt x="822" y="1003"/>
                  </a:cubicBezTo>
                  <a:cubicBezTo>
                    <a:pt x="819" y="997"/>
                    <a:pt x="814" y="994"/>
                    <a:pt x="808" y="994"/>
                  </a:cubicBezTo>
                  <a:cubicBezTo>
                    <a:pt x="799" y="993"/>
                    <a:pt x="791" y="993"/>
                    <a:pt x="787" y="1001"/>
                  </a:cubicBezTo>
                  <a:cubicBezTo>
                    <a:pt x="783" y="1008"/>
                    <a:pt x="780" y="1015"/>
                    <a:pt x="779" y="1022"/>
                  </a:cubicBezTo>
                  <a:cubicBezTo>
                    <a:pt x="778" y="1034"/>
                    <a:pt x="772" y="1044"/>
                    <a:pt x="769" y="1055"/>
                  </a:cubicBezTo>
                  <a:cubicBezTo>
                    <a:pt x="762" y="1076"/>
                    <a:pt x="754" y="1096"/>
                    <a:pt x="749" y="1117"/>
                  </a:cubicBezTo>
                  <a:cubicBezTo>
                    <a:pt x="748" y="1120"/>
                    <a:pt x="747" y="1124"/>
                    <a:pt x="742" y="1124"/>
                  </a:cubicBezTo>
                  <a:cubicBezTo>
                    <a:pt x="737" y="1124"/>
                    <a:pt x="737" y="1120"/>
                    <a:pt x="736" y="1116"/>
                  </a:cubicBezTo>
                  <a:cubicBezTo>
                    <a:pt x="734" y="1104"/>
                    <a:pt x="730" y="1092"/>
                    <a:pt x="726" y="1080"/>
                  </a:cubicBezTo>
                  <a:cubicBezTo>
                    <a:pt x="720" y="1061"/>
                    <a:pt x="714" y="1040"/>
                    <a:pt x="708" y="1020"/>
                  </a:cubicBezTo>
                  <a:cubicBezTo>
                    <a:pt x="703" y="1000"/>
                    <a:pt x="698" y="994"/>
                    <a:pt x="676" y="995"/>
                  </a:cubicBezTo>
                  <a:cubicBezTo>
                    <a:pt x="665" y="996"/>
                    <a:pt x="661" y="1001"/>
                    <a:pt x="667" y="1011"/>
                  </a:cubicBezTo>
                  <a:cubicBezTo>
                    <a:pt x="669" y="1016"/>
                    <a:pt x="670" y="1021"/>
                    <a:pt x="672" y="1025"/>
                  </a:cubicBezTo>
                  <a:cubicBezTo>
                    <a:pt x="675" y="1035"/>
                    <a:pt x="678" y="1046"/>
                    <a:pt x="681" y="1055"/>
                  </a:cubicBezTo>
                  <a:cubicBezTo>
                    <a:pt x="685" y="1068"/>
                    <a:pt x="689" y="1080"/>
                    <a:pt x="693" y="1092"/>
                  </a:cubicBezTo>
                  <a:cubicBezTo>
                    <a:pt x="697" y="1103"/>
                    <a:pt x="699" y="1113"/>
                    <a:pt x="703" y="1124"/>
                  </a:cubicBezTo>
                  <a:cubicBezTo>
                    <a:pt x="707" y="1136"/>
                    <a:pt x="711" y="1147"/>
                    <a:pt x="715" y="1160"/>
                  </a:cubicBezTo>
                  <a:cubicBezTo>
                    <a:pt x="717" y="1168"/>
                    <a:pt x="720" y="1176"/>
                    <a:pt x="724" y="1183"/>
                  </a:cubicBezTo>
                  <a:cubicBezTo>
                    <a:pt x="728" y="1189"/>
                    <a:pt x="752" y="1185"/>
                    <a:pt x="757" y="1180"/>
                  </a:cubicBezTo>
                  <a:cubicBezTo>
                    <a:pt x="764" y="1173"/>
                    <a:pt x="762" y="1163"/>
                    <a:pt x="766" y="1156"/>
                  </a:cubicBezTo>
                  <a:cubicBezTo>
                    <a:pt x="774" y="1140"/>
                    <a:pt x="778" y="1122"/>
                    <a:pt x="784" y="1105"/>
                  </a:cubicBezTo>
                  <a:cubicBezTo>
                    <a:pt x="789" y="1088"/>
                    <a:pt x="796" y="1072"/>
                    <a:pt x="800" y="1054"/>
                  </a:cubicBezTo>
                  <a:cubicBezTo>
                    <a:pt x="800" y="1053"/>
                    <a:pt x="801" y="1050"/>
                    <a:pt x="803" y="1050"/>
                  </a:cubicBezTo>
                  <a:cubicBezTo>
                    <a:pt x="806" y="1050"/>
                    <a:pt x="806" y="1052"/>
                    <a:pt x="807" y="1055"/>
                  </a:cubicBezTo>
                  <a:cubicBezTo>
                    <a:pt x="807" y="1060"/>
                    <a:pt x="810" y="1066"/>
                    <a:pt x="811" y="1071"/>
                  </a:cubicBezTo>
                  <a:cubicBezTo>
                    <a:pt x="814" y="1081"/>
                    <a:pt x="818" y="1090"/>
                    <a:pt x="821" y="1099"/>
                  </a:cubicBezTo>
                  <a:cubicBezTo>
                    <a:pt x="824" y="1110"/>
                    <a:pt x="827" y="1120"/>
                    <a:pt x="831" y="1131"/>
                  </a:cubicBezTo>
                  <a:cubicBezTo>
                    <a:pt x="834" y="1142"/>
                    <a:pt x="839" y="1153"/>
                    <a:pt x="842" y="1164"/>
                  </a:cubicBezTo>
                  <a:cubicBezTo>
                    <a:pt x="846" y="1179"/>
                    <a:pt x="850" y="1188"/>
                    <a:pt x="869" y="1185"/>
                  </a:cubicBezTo>
                  <a:cubicBezTo>
                    <a:pt x="873" y="1184"/>
                    <a:pt x="881" y="1189"/>
                    <a:pt x="884" y="1181"/>
                  </a:cubicBezTo>
                  <a:close/>
                  <a:moveTo>
                    <a:pt x="33" y="1051"/>
                  </a:moveTo>
                  <a:cubicBezTo>
                    <a:pt x="33" y="1087"/>
                    <a:pt x="33" y="1124"/>
                    <a:pt x="33" y="1160"/>
                  </a:cubicBezTo>
                  <a:cubicBezTo>
                    <a:pt x="33" y="1188"/>
                    <a:pt x="29" y="1184"/>
                    <a:pt x="58" y="1185"/>
                  </a:cubicBezTo>
                  <a:cubicBezTo>
                    <a:pt x="72" y="1185"/>
                    <a:pt x="73" y="1184"/>
                    <a:pt x="73" y="1170"/>
                  </a:cubicBezTo>
                  <a:cubicBezTo>
                    <a:pt x="73" y="1138"/>
                    <a:pt x="73" y="1107"/>
                    <a:pt x="73" y="1076"/>
                  </a:cubicBezTo>
                  <a:cubicBezTo>
                    <a:pt x="73" y="1071"/>
                    <a:pt x="72" y="1067"/>
                    <a:pt x="78" y="1065"/>
                  </a:cubicBezTo>
                  <a:cubicBezTo>
                    <a:pt x="91" y="1062"/>
                    <a:pt x="102" y="1067"/>
                    <a:pt x="110" y="1076"/>
                  </a:cubicBezTo>
                  <a:cubicBezTo>
                    <a:pt x="112" y="1080"/>
                    <a:pt x="115" y="1083"/>
                    <a:pt x="118" y="1086"/>
                  </a:cubicBezTo>
                  <a:cubicBezTo>
                    <a:pt x="132" y="1103"/>
                    <a:pt x="146" y="1119"/>
                    <a:pt x="161" y="1136"/>
                  </a:cubicBezTo>
                  <a:cubicBezTo>
                    <a:pt x="173" y="1150"/>
                    <a:pt x="186" y="1165"/>
                    <a:pt x="198" y="1179"/>
                  </a:cubicBezTo>
                  <a:cubicBezTo>
                    <a:pt x="207" y="1188"/>
                    <a:pt x="218" y="1184"/>
                    <a:pt x="228" y="1185"/>
                  </a:cubicBezTo>
                  <a:cubicBezTo>
                    <a:pt x="233" y="1185"/>
                    <a:pt x="241" y="1188"/>
                    <a:pt x="244" y="1182"/>
                  </a:cubicBezTo>
                  <a:cubicBezTo>
                    <a:pt x="246" y="1178"/>
                    <a:pt x="239" y="1173"/>
                    <a:pt x="235" y="1169"/>
                  </a:cubicBezTo>
                  <a:cubicBezTo>
                    <a:pt x="206" y="1133"/>
                    <a:pt x="176" y="1098"/>
                    <a:pt x="146" y="1062"/>
                  </a:cubicBezTo>
                  <a:cubicBezTo>
                    <a:pt x="141" y="1056"/>
                    <a:pt x="131" y="1052"/>
                    <a:pt x="132" y="1044"/>
                  </a:cubicBezTo>
                  <a:cubicBezTo>
                    <a:pt x="132" y="1036"/>
                    <a:pt x="142" y="1032"/>
                    <a:pt x="147" y="1026"/>
                  </a:cubicBezTo>
                  <a:cubicBezTo>
                    <a:pt x="164" y="1006"/>
                    <a:pt x="182" y="988"/>
                    <a:pt x="198" y="968"/>
                  </a:cubicBezTo>
                  <a:cubicBezTo>
                    <a:pt x="209" y="954"/>
                    <a:pt x="221" y="942"/>
                    <a:pt x="234" y="929"/>
                  </a:cubicBezTo>
                  <a:cubicBezTo>
                    <a:pt x="236" y="926"/>
                    <a:pt x="238" y="923"/>
                    <a:pt x="237" y="920"/>
                  </a:cubicBezTo>
                  <a:cubicBezTo>
                    <a:pt x="235" y="915"/>
                    <a:pt x="231" y="917"/>
                    <a:pt x="228" y="917"/>
                  </a:cubicBezTo>
                  <a:cubicBezTo>
                    <a:pt x="224" y="918"/>
                    <a:pt x="221" y="918"/>
                    <a:pt x="217" y="918"/>
                  </a:cubicBezTo>
                  <a:cubicBezTo>
                    <a:pt x="204" y="917"/>
                    <a:pt x="193" y="922"/>
                    <a:pt x="185" y="931"/>
                  </a:cubicBezTo>
                  <a:cubicBezTo>
                    <a:pt x="172" y="946"/>
                    <a:pt x="158" y="961"/>
                    <a:pt x="145" y="977"/>
                  </a:cubicBezTo>
                  <a:cubicBezTo>
                    <a:pt x="131" y="993"/>
                    <a:pt x="117" y="1010"/>
                    <a:pt x="102" y="1026"/>
                  </a:cubicBezTo>
                  <a:cubicBezTo>
                    <a:pt x="96" y="1032"/>
                    <a:pt x="87" y="1037"/>
                    <a:pt x="78" y="1034"/>
                  </a:cubicBezTo>
                  <a:cubicBezTo>
                    <a:pt x="70" y="1030"/>
                    <a:pt x="73" y="1021"/>
                    <a:pt x="73" y="1015"/>
                  </a:cubicBezTo>
                  <a:cubicBezTo>
                    <a:pt x="73" y="991"/>
                    <a:pt x="73" y="967"/>
                    <a:pt x="73" y="944"/>
                  </a:cubicBezTo>
                  <a:cubicBezTo>
                    <a:pt x="73" y="916"/>
                    <a:pt x="75" y="917"/>
                    <a:pt x="46" y="918"/>
                  </a:cubicBezTo>
                  <a:cubicBezTo>
                    <a:pt x="33" y="918"/>
                    <a:pt x="33" y="918"/>
                    <a:pt x="33" y="931"/>
                  </a:cubicBezTo>
                  <a:cubicBezTo>
                    <a:pt x="33" y="971"/>
                    <a:pt x="33" y="1011"/>
                    <a:pt x="33" y="1051"/>
                  </a:cubicBezTo>
                  <a:cubicBezTo>
                    <a:pt x="33" y="1051"/>
                    <a:pt x="33" y="1051"/>
                    <a:pt x="33" y="1051"/>
                  </a:cubicBezTo>
                  <a:close/>
                  <a:moveTo>
                    <a:pt x="639" y="84"/>
                  </a:moveTo>
                  <a:cubicBezTo>
                    <a:pt x="627" y="84"/>
                    <a:pt x="626" y="84"/>
                    <a:pt x="629" y="95"/>
                  </a:cubicBezTo>
                  <a:cubicBezTo>
                    <a:pt x="634" y="113"/>
                    <a:pt x="640" y="131"/>
                    <a:pt x="646" y="148"/>
                  </a:cubicBezTo>
                  <a:cubicBezTo>
                    <a:pt x="652" y="166"/>
                    <a:pt x="658" y="185"/>
                    <a:pt x="664" y="203"/>
                  </a:cubicBezTo>
                  <a:cubicBezTo>
                    <a:pt x="671" y="223"/>
                    <a:pt x="676" y="244"/>
                    <a:pt x="684" y="264"/>
                  </a:cubicBezTo>
                  <a:cubicBezTo>
                    <a:pt x="688" y="274"/>
                    <a:pt x="694" y="274"/>
                    <a:pt x="702" y="274"/>
                  </a:cubicBezTo>
                  <a:cubicBezTo>
                    <a:pt x="711" y="274"/>
                    <a:pt x="719" y="272"/>
                    <a:pt x="723" y="263"/>
                  </a:cubicBezTo>
                  <a:cubicBezTo>
                    <a:pt x="733" y="236"/>
                    <a:pt x="741" y="208"/>
                    <a:pt x="750" y="181"/>
                  </a:cubicBezTo>
                  <a:cubicBezTo>
                    <a:pt x="754" y="169"/>
                    <a:pt x="757" y="156"/>
                    <a:pt x="763" y="145"/>
                  </a:cubicBezTo>
                  <a:cubicBezTo>
                    <a:pt x="764" y="143"/>
                    <a:pt x="764" y="140"/>
                    <a:pt x="767" y="140"/>
                  </a:cubicBezTo>
                  <a:cubicBezTo>
                    <a:pt x="770" y="140"/>
                    <a:pt x="770" y="143"/>
                    <a:pt x="771" y="145"/>
                  </a:cubicBezTo>
                  <a:cubicBezTo>
                    <a:pt x="771" y="156"/>
                    <a:pt x="777" y="165"/>
                    <a:pt x="780" y="175"/>
                  </a:cubicBezTo>
                  <a:cubicBezTo>
                    <a:pt x="782" y="184"/>
                    <a:pt x="785" y="193"/>
                    <a:pt x="788" y="201"/>
                  </a:cubicBezTo>
                  <a:cubicBezTo>
                    <a:pt x="794" y="219"/>
                    <a:pt x="801" y="237"/>
                    <a:pt x="806" y="255"/>
                  </a:cubicBezTo>
                  <a:cubicBezTo>
                    <a:pt x="811" y="272"/>
                    <a:pt x="825" y="280"/>
                    <a:pt x="842" y="273"/>
                  </a:cubicBezTo>
                  <a:cubicBezTo>
                    <a:pt x="845" y="271"/>
                    <a:pt x="847" y="269"/>
                    <a:pt x="848" y="266"/>
                  </a:cubicBezTo>
                  <a:cubicBezTo>
                    <a:pt x="853" y="251"/>
                    <a:pt x="859" y="236"/>
                    <a:pt x="863" y="221"/>
                  </a:cubicBezTo>
                  <a:cubicBezTo>
                    <a:pt x="867" y="202"/>
                    <a:pt x="875" y="185"/>
                    <a:pt x="880" y="166"/>
                  </a:cubicBezTo>
                  <a:cubicBezTo>
                    <a:pt x="886" y="144"/>
                    <a:pt x="895" y="123"/>
                    <a:pt x="900" y="101"/>
                  </a:cubicBezTo>
                  <a:cubicBezTo>
                    <a:pt x="901" y="96"/>
                    <a:pt x="909" y="91"/>
                    <a:pt x="904" y="86"/>
                  </a:cubicBezTo>
                  <a:cubicBezTo>
                    <a:pt x="900" y="81"/>
                    <a:pt x="892" y="84"/>
                    <a:pt x="886" y="84"/>
                  </a:cubicBezTo>
                  <a:cubicBezTo>
                    <a:pt x="885" y="84"/>
                    <a:pt x="883" y="84"/>
                    <a:pt x="881" y="84"/>
                  </a:cubicBezTo>
                  <a:cubicBezTo>
                    <a:pt x="875" y="84"/>
                    <a:pt x="872" y="86"/>
                    <a:pt x="869" y="91"/>
                  </a:cubicBezTo>
                  <a:cubicBezTo>
                    <a:pt x="860" y="110"/>
                    <a:pt x="856" y="131"/>
                    <a:pt x="850" y="151"/>
                  </a:cubicBezTo>
                  <a:cubicBezTo>
                    <a:pt x="844" y="170"/>
                    <a:pt x="836" y="188"/>
                    <a:pt x="834" y="208"/>
                  </a:cubicBezTo>
                  <a:cubicBezTo>
                    <a:pt x="833" y="211"/>
                    <a:pt x="831" y="214"/>
                    <a:pt x="827" y="214"/>
                  </a:cubicBezTo>
                  <a:cubicBezTo>
                    <a:pt x="823" y="214"/>
                    <a:pt x="822" y="210"/>
                    <a:pt x="822" y="207"/>
                  </a:cubicBezTo>
                  <a:cubicBezTo>
                    <a:pt x="817" y="188"/>
                    <a:pt x="811" y="170"/>
                    <a:pt x="805" y="152"/>
                  </a:cubicBezTo>
                  <a:cubicBezTo>
                    <a:pt x="799" y="133"/>
                    <a:pt x="794" y="114"/>
                    <a:pt x="786" y="96"/>
                  </a:cubicBezTo>
                  <a:cubicBezTo>
                    <a:pt x="783" y="87"/>
                    <a:pt x="779" y="84"/>
                    <a:pt x="770" y="84"/>
                  </a:cubicBezTo>
                  <a:cubicBezTo>
                    <a:pt x="761" y="84"/>
                    <a:pt x="752" y="82"/>
                    <a:pt x="748" y="94"/>
                  </a:cubicBezTo>
                  <a:cubicBezTo>
                    <a:pt x="744" y="109"/>
                    <a:pt x="738" y="123"/>
                    <a:pt x="734" y="138"/>
                  </a:cubicBezTo>
                  <a:cubicBezTo>
                    <a:pt x="729" y="153"/>
                    <a:pt x="724" y="167"/>
                    <a:pt x="719" y="182"/>
                  </a:cubicBezTo>
                  <a:cubicBezTo>
                    <a:pt x="716" y="192"/>
                    <a:pt x="715" y="203"/>
                    <a:pt x="708" y="212"/>
                  </a:cubicBezTo>
                  <a:cubicBezTo>
                    <a:pt x="707" y="214"/>
                    <a:pt x="707" y="217"/>
                    <a:pt x="704" y="217"/>
                  </a:cubicBezTo>
                  <a:cubicBezTo>
                    <a:pt x="701" y="217"/>
                    <a:pt x="701" y="213"/>
                    <a:pt x="700" y="211"/>
                  </a:cubicBezTo>
                  <a:cubicBezTo>
                    <a:pt x="699" y="198"/>
                    <a:pt x="694" y="186"/>
                    <a:pt x="690" y="174"/>
                  </a:cubicBezTo>
                  <a:cubicBezTo>
                    <a:pt x="684" y="153"/>
                    <a:pt x="677" y="131"/>
                    <a:pt x="672" y="110"/>
                  </a:cubicBezTo>
                  <a:cubicBezTo>
                    <a:pt x="667" y="88"/>
                    <a:pt x="663" y="84"/>
                    <a:pt x="645" y="84"/>
                  </a:cubicBezTo>
                  <a:cubicBezTo>
                    <a:pt x="643" y="84"/>
                    <a:pt x="641" y="84"/>
                    <a:pt x="639" y="84"/>
                  </a:cubicBezTo>
                  <a:close/>
                  <a:moveTo>
                    <a:pt x="507" y="711"/>
                  </a:moveTo>
                  <a:cubicBezTo>
                    <a:pt x="507" y="730"/>
                    <a:pt x="507" y="730"/>
                    <a:pt x="526" y="730"/>
                  </a:cubicBezTo>
                  <a:cubicBezTo>
                    <a:pt x="539" y="730"/>
                    <a:pt x="541" y="729"/>
                    <a:pt x="541" y="715"/>
                  </a:cubicBezTo>
                  <a:cubicBezTo>
                    <a:pt x="541" y="677"/>
                    <a:pt x="541" y="638"/>
                    <a:pt x="540" y="600"/>
                  </a:cubicBezTo>
                  <a:cubicBezTo>
                    <a:pt x="540" y="593"/>
                    <a:pt x="543" y="587"/>
                    <a:pt x="548" y="582"/>
                  </a:cubicBezTo>
                  <a:cubicBezTo>
                    <a:pt x="553" y="576"/>
                    <a:pt x="559" y="573"/>
                    <a:pt x="564" y="569"/>
                  </a:cubicBezTo>
                  <a:cubicBezTo>
                    <a:pt x="574" y="564"/>
                    <a:pt x="594" y="566"/>
                    <a:pt x="602" y="574"/>
                  </a:cubicBezTo>
                  <a:cubicBezTo>
                    <a:pt x="611" y="582"/>
                    <a:pt x="614" y="592"/>
                    <a:pt x="614" y="604"/>
                  </a:cubicBezTo>
                  <a:cubicBezTo>
                    <a:pt x="614" y="638"/>
                    <a:pt x="614" y="672"/>
                    <a:pt x="614" y="706"/>
                  </a:cubicBezTo>
                  <a:cubicBezTo>
                    <a:pt x="614" y="730"/>
                    <a:pt x="614" y="730"/>
                    <a:pt x="638" y="730"/>
                  </a:cubicBezTo>
                  <a:cubicBezTo>
                    <a:pt x="650" y="730"/>
                    <a:pt x="650" y="730"/>
                    <a:pt x="650" y="717"/>
                  </a:cubicBezTo>
                  <a:cubicBezTo>
                    <a:pt x="650" y="684"/>
                    <a:pt x="650" y="650"/>
                    <a:pt x="650" y="617"/>
                  </a:cubicBezTo>
                  <a:cubicBezTo>
                    <a:pt x="650" y="606"/>
                    <a:pt x="651" y="597"/>
                    <a:pt x="657" y="586"/>
                  </a:cubicBezTo>
                  <a:cubicBezTo>
                    <a:pt x="667" y="565"/>
                    <a:pt x="703" y="560"/>
                    <a:pt x="716" y="579"/>
                  </a:cubicBezTo>
                  <a:cubicBezTo>
                    <a:pt x="723" y="588"/>
                    <a:pt x="724" y="598"/>
                    <a:pt x="724" y="609"/>
                  </a:cubicBezTo>
                  <a:cubicBezTo>
                    <a:pt x="724" y="645"/>
                    <a:pt x="724" y="682"/>
                    <a:pt x="724" y="718"/>
                  </a:cubicBezTo>
                  <a:cubicBezTo>
                    <a:pt x="724" y="727"/>
                    <a:pt x="727" y="731"/>
                    <a:pt x="736" y="730"/>
                  </a:cubicBezTo>
                  <a:cubicBezTo>
                    <a:pt x="738" y="730"/>
                    <a:pt x="741" y="730"/>
                    <a:pt x="743" y="730"/>
                  </a:cubicBezTo>
                  <a:cubicBezTo>
                    <a:pt x="758" y="730"/>
                    <a:pt x="759" y="729"/>
                    <a:pt x="759" y="715"/>
                  </a:cubicBezTo>
                  <a:cubicBezTo>
                    <a:pt x="759" y="677"/>
                    <a:pt x="758" y="639"/>
                    <a:pt x="759" y="601"/>
                  </a:cubicBezTo>
                  <a:cubicBezTo>
                    <a:pt x="759" y="571"/>
                    <a:pt x="742" y="540"/>
                    <a:pt x="704" y="538"/>
                  </a:cubicBezTo>
                  <a:cubicBezTo>
                    <a:pt x="681" y="536"/>
                    <a:pt x="661" y="542"/>
                    <a:pt x="646" y="560"/>
                  </a:cubicBezTo>
                  <a:cubicBezTo>
                    <a:pt x="638" y="569"/>
                    <a:pt x="638" y="569"/>
                    <a:pt x="631" y="559"/>
                  </a:cubicBezTo>
                  <a:cubicBezTo>
                    <a:pt x="630" y="558"/>
                    <a:pt x="630" y="557"/>
                    <a:pt x="629" y="556"/>
                  </a:cubicBezTo>
                  <a:cubicBezTo>
                    <a:pt x="623" y="548"/>
                    <a:pt x="616" y="541"/>
                    <a:pt x="607" y="539"/>
                  </a:cubicBezTo>
                  <a:cubicBezTo>
                    <a:pt x="584" y="534"/>
                    <a:pt x="563" y="539"/>
                    <a:pt x="545" y="555"/>
                  </a:cubicBezTo>
                  <a:cubicBezTo>
                    <a:pt x="540" y="559"/>
                    <a:pt x="537" y="561"/>
                    <a:pt x="537" y="552"/>
                  </a:cubicBezTo>
                  <a:cubicBezTo>
                    <a:pt x="536" y="543"/>
                    <a:pt x="526" y="538"/>
                    <a:pt x="515" y="539"/>
                  </a:cubicBezTo>
                  <a:cubicBezTo>
                    <a:pt x="506" y="540"/>
                    <a:pt x="507" y="546"/>
                    <a:pt x="507" y="552"/>
                  </a:cubicBezTo>
                  <a:cubicBezTo>
                    <a:pt x="507" y="580"/>
                    <a:pt x="507" y="607"/>
                    <a:pt x="507" y="634"/>
                  </a:cubicBezTo>
                  <a:cubicBezTo>
                    <a:pt x="507" y="660"/>
                    <a:pt x="507" y="685"/>
                    <a:pt x="507" y="711"/>
                  </a:cubicBezTo>
                  <a:close/>
                  <a:moveTo>
                    <a:pt x="1525" y="1142"/>
                  </a:moveTo>
                  <a:cubicBezTo>
                    <a:pt x="1517" y="1143"/>
                    <a:pt x="1511" y="1141"/>
                    <a:pt x="1505" y="1136"/>
                  </a:cubicBezTo>
                  <a:cubicBezTo>
                    <a:pt x="1501" y="1133"/>
                    <a:pt x="1495" y="1130"/>
                    <a:pt x="1498" y="1124"/>
                  </a:cubicBezTo>
                  <a:cubicBezTo>
                    <a:pt x="1500" y="1118"/>
                    <a:pt x="1504" y="1114"/>
                    <a:pt x="1512" y="1114"/>
                  </a:cubicBezTo>
                  <a:cubicBezTo>
                    <a:pt x="1521" y="1115"/>
                    <a:pt x="1530" y="1114"/>
                    <a:pt x="1538" y="1115"/>
                  </a:cubicBezTo>
                  <a:cubicBezTo>
                    <a:pt x="1573" y="1117"/>
                    <a:pt x="1610" y="1084"/>
                    <a:pt x="1602" y="1044"/>
                  </a:cubicBezTo>
                  <a:cubicBezTo>
                    <a:pt x="1600" y="1035"/>
                    <a:pt x="1599" y="1028"/>
                    <a:pt x="1611" y="1027"/>
                  </a:cubicBezTo>
                  <a:cubicBezTo>
                    <a:pt x="1614" y="1027"/>
                    <a:pt x="1617" y="1024"/>
                    <a:pt x="1619" y="1023"/>
                  </a:cubicBezTo>
                  <a:cubicBezTo>
                    <a:pt x="1626" y="1019"/>
                    <a:pt x="1624" y="1013"/>
                    <a:pt x="1623" y="1008"/>
                  </a:cubicBezTo>
                  <a:cubicBezTo>
                    <a:pt x="1623" y="1002"/>
                    <a:pt x="1618" y="1003"/>
                    <a:pt x="1613" y="1002"/>
                  </a:cubicBezTo>
                  <a:cubicBezTo>
                    <a:pt x="1598" y="1002"/>
                    <a:pt x="1582" y="1004"/>
                    <a:pt x="1567" y="1000"/>
                  </a:cubicBezTo>
                  <a:cubicBezTo>
                    <a:pt x="1560" y="999"/>
                    <a:pt x="1554" y="993"/>
                    <a:pt x="1546" y="993"/>
                  </a:cubicBezTo>
                  <a:cubicBezTo>
                    <a:pt x="1536" y="994"/>
                    <a:pt x="1525" y="992"/>
                    <a:pt x="1515" y="993"/>
                  </a:cubicBezTo>
                  <a:cubicBezTo>
                    <a:pt x="1490" y="997"/>
                    <a:pt x="1469" y="1010"/>
                    <a:pt x="1462" y="1034"/>
                  </a:cubicBezTo>
                  <a:cubicBezTo>
                    <a:pt x="1455" y="1056"/>
                    <a:pt x="1457" y="1079"/>
                    <a:pt x="1476" y="1096"/>
                  </a:cubicBezTo>
                  <a:cubicBezTo>
                    <a:pt x="1483" y="1103"/>
                    <a:pt x="1483" y="1107"/>
                    <a:pt x="1476" y="1113"/>
                  </a:cubicBezTo>
                  <a:cubicBezTo>
                    <a:pt x="1462" y="1126"/>
                    <a:pt x="1462" y="1142"/>
                    <a:pt x="1473" y="1157"/>
                  </a:cubicBezTo>
                  <a:cubicBezTo>
                    <a:pt x="1476" y="1160"/>
                    <a:pt x="1476" y="1162"/>
                    <a:pt x="1472" y="1164"/>
                  </a:cubicBezTo>
                  <a:cubicBezTo>
                    <a:pt x="1470" y="1166"/>
                    <a:pt x="1468" y="1168"/>
                    <a:pt x="1466" y="1170"/>
                  </a:cubicBezTo>
                  <a:cubicBezTo>
                    <a:pt x="1449" y="1183"/>
                    <a:pt x="1444" y="1201"/>
                    <a:pt x="1454" y="1218"/>
                  </a:cubicBezTo>
                  <a:cubicBezTo>
                    <a:pt x="1464" y="1235"/>
                    <a:pt x="1479" y="1246"/>
                    <a:pt x="1499" y="1249"/>
                  </a:cubicBezTo>
                  <a:cubicBezTo>
                    <a:pt x="1517" y="1252"/>
                    <a:pt x="1535" y="1253"/>
                    <a:pt x="1553" y="1250"/>
                  </a:cubicBezTo>
                  <a:cubicBezTo>
                    <a:pt x="1584" y="1245"/>
                    <a:pt x="1607" y="1232"/>
                    <a:pt x="1619" y="1200"/>
                  </a:cubicBezTo>
                  <a:cubicBezTo>
                    <a:pt x="1627" y="1180"/>
                    <a:pt x="1611" y="1155"/>
                    <a:pt x="1593" y="1148"/>
                  </a:cubicBezTo>
                  <a:cubicBezTo>
                    <a:pt x="1578" y="1142"/>
                    <a:pt x="1563" y="1143"/>
                    <a:pt x="1549" y="1142"/>
                  </a:cubicBezTo>
                  <a:cubicBezTo>
                    <a:pt x="1540" y="1142"/>
                    <a:pt x="1532" y="1142"/>
                    <a:pt x="1525" y="1142"/>
                  </a:cubicBezTo>
                  <a:close/>
                  <a:moveTo>
                    <a:pt x="1556" y="1172"/>
                  </a:moveTo>
                  <a:cubicBezTo>
                    <a:pt x="1566" y="1172"/>
                    <a:pt x="1576" y="1176"/>
                    <a:pt x="1583" y="1183"/>
                  </a:cubicBezTo>
                  <a:cubicBezTo>
                    <a:pt x="1589" y="1190"/>
                    <a:pt x="1589" y="1198"/>
                    <a:pt x="1583" y="1205"/>
                  </a:cubicBezTo>
                  <a:cubicBezTo>
                    <a:pt x="1575" y="1215"/>
                    <a:pt x="1565" y="1220"/>
                    <a:pt x="1553" y="1223"/>
                  </a:cubicBezTo>
                  <a:cubicBezTo>
                    <a:pt x="1534" y="1228"/>
                    <a:pt x="1516" y="1225"/>
                    <a:pt x="1499" y="1219"/>
                  </a:cubicBezTo>
                  <a:cubicBezTo>
                    <a:pt x="1486" y="1214"/>
                    <a:pt x="1479" y="1203"/>
                    <a:pt x="1482" y="1193"/>
                  </a:cubicBezTo>
                  <a:cubicBezTo>
                    <a:pt x="1485" y="1182"/>
                    <a:pt x="1496" y="1168"/>
                    <a:pt x="1514" y="1171"/>
                  </a:cubicBezTo>
                  <a:cubicBezTo>
                    <a:pt x="1526" y="1173"/>
                    <a:pt x="1541" y="1171"/>
                    <a:pt x="1556" y="1172"/>
                  </a:cubicBezTo>
                  <a:close/>
                  <a:moveTo>
                    <a:pt x="1531" y="1019"/>
                  </a:moveTo>
                  <a:cubicBezTo>
                    <a:pt x="1553" y="1017"/>
                    <a:pt x="1570" y="1033"/>
                    <a:pt x="1570" y="1052"/>
                  </a:cubicBezTo>
                  <a:cubicBezTo>
                    <a:pt x="1570" y="1075"/>
                    <a:pt x="1554" y="1093"/>
                    <a:pt x="1532" y="1091"/>
                  </a:cubicBezTo>
                  <a:cubicBezTo>
                    <a:pt x="1508" y="1089"/>
                    <a:pt x="1494" y="1082"/>
                    <a:pt x="1493" y="1053"/>
                  </a:cubicBezTo>
                  <a:cubicBezTo>
                    <a:pt x="1494" y="1029"/>
                    <a:pt x="1508" y="1020"/>
                    <a:pt x="1531" y="1019"/>
                  </a:cubicBezTo>
                  <a:close/>
                  <a:moveTo>
                    <a:pt x="1413" y="934"/>
                  </a:moveTo>
                  <a:cubicBezTo>
                    <a:pt x="1413" y="909"/>
                    <a:pt x="1413" y="909"/>
                    <a:pt x="1389" y="910"/>
                  </a:cubicBezTo>
                  <a:cubicBezTo>
                    <a:pt x="1388" y="910"/>
                    <a:pt x="1387" y="910"/>
                    <a:pt x="1387" y="910"/>
                  </a:cubicBezTo>
                  <a:cubicBezTo>
                    <a:pt x="1379" y="910"/>
                    <a:pt x="1376" y="915"/>
                    <a:pt x="1376" y="921"/>
                  </a:cubicBezTo>
                  <a:cubicBezTo>
                    <a:pt x="1376" y="939"/>
                    <a:pt x="1377" y="956"/>
                    <a:pt x="1377" y="974"/>
                  </a:cubicBezTo>
                  <a:cubicBezTo>
                    <a:pt x="1377" y="983"/>
                    <a:pt x="1377" y="991"/>
                    <a:pt x="1377" y="1000"/>
                  </a:cubicBezTo>
                  <a:cubicBezTo>
                    <a:pt x="1377" y="1005"/>
                    <a:pt x="1374" y="1009"/>
                    <a:pt x="1369" y="1005"/>
                  </a:cubicBezTo>
                  <a:cubicBezTo>
                    <a:pt x="1352" y="990"/>
                    <a:pt x="1332" y="993"/>
                    <a:pt x="1312" y="993"/>
                  </a:cubicBezTo>
                  <a:cubicBezTo>
                    <a:pt x="1303" y="994"/>
                    <a:pt x="1294" y="998"/>
                    <a:pt x="1287" y="1003"/>
                  </a:cubicBezTo>
                  <a:cubicBezTo>
                    <a:pt x="1265" y="1017"/>
                    <a:pt x="1252" y="1039"/>
                    <a:pt x="1248" y="1065"/>
                  </a:cubicBezTo>
                  <a:cubicBezTo>
                    <a:pt x="1244" y="1096"/>
                    <a:pt x="1244" y="1128"/>
                    <a:pt x="1261" y="1157"/>
                  </a:cubicBezTo>
                  <a:cubicBezTo>
                    <a:pt x="1270" y="1170"/>
                    <a:pt x="1281" y="1181"/>
                    <a:pt x="1296" y="1185"/>
                  </a:cubicBezTo>
                  <a:cubicBezTo>
                    <a:pt x="1323" y="1191"/>
                    <a:pt x="1349" y="1188"/>
                    <a:pt x="1370" y="1167"/>
                  </a:cubicBezTo>
                  <a:cubicBezTo>
                    <a:pt x="1372" y="1165"/>
                    <a:pt x="1375" y="1162"/>
                    <a:pt x="1379" y="1163"/>
                  </a:cubicBezTo>
                  <a:cubicBezTo>
                    <a:pt x="1382" y="1165"/>
                    <a:pt x="1381" y="1169"/>
                    <a:pt x="1381" y="1172"/>
                  </a:cubicBezTo>
                  <a:cubicBezTo>
                    <a:pt x="1383" y="1181"/>
                    <a:pt x="1390" y="1186"/>
                    <a:pt x="1403" y="1186"/>
                  </a:cubicBezTo>
                  <a:cubicBezTo>
                    <a:pt x="1413" y="1185"/>
                    <a:pt x="1413" y="1178"/>
                    <a:pt x="1413" y="1172"/>
                  </a:cubicBezTo>
                  <a:cubicBezTo>
                    <a:pt x="1413" y="1131"/>
                    <a:pt x="1413" y="1090"/>
                    <a:pt x="1413" y="1049"/>
                  </a:cubicBezTo>
                  <a:cubicBezTo>
                    <a:pt x="1413" y="1010"/>
                    <a:pt x="1413" y="972"/>
                    <a:pt x="1413" y="934"/>
                  </a:cubicBezTo>
                  <a:close/>
                  <a:moveTo>
                    <a:pt x="1378" y="1113"/>
                  </a:moveTo>
                  <a:cubicBezTo>
                    <a:pt x="1378" y="1136"/>
                    <a:pt x="1360" y="1155"/>
                    <a:pt x="1337" y="1157"/>
                  </a:cubicBezTo>
                  <a:cubicBezTo>
                    <a:pt x="1319" y="1159"/>
                    <a:pt x="1304" y="1154"/>
                    <a:pt x="1294" y="1139"/>
                  </a:cubicBezTo>
                  <a:cubicBezTo>
                    <a:pt x="1286" y="1128"/>
                    <a:pt x="1283" y="1116"/>
                    <a:pt x="1283" y="1102"/>
                  </a:cubicBezTo>
                  <a:cubicBezTo>
                    <a:pt x="1282" y="1085"/>
                    <a:pt x="1282" y="1067"/>
                    <a:pt x="1290" y="1051"/>
                  </a:cubicBezTo>
                  <a:cubicBezTo>
                    <a:pt x="1297" y="1036"/>
                    <a:pt x="1308" y="1024"/>
                    <a:pt x="1325" y="1022"/>
                  </a:cubicBezTo>
                  <a:cubicBezTo>
                    <a:pt x="1342" y="1020"/>
                    <a:pt x="1358" y="1021"/>
                    <a:pt x="1371" y="1035"/>
                  </a:cubicBezTo>
                  <a:cubicBezTo>
                    <a:pt x="1376" y="1041"/>
                    <a:pt x="1378" y="1046"/>
                    <a:pt x="1378" y="1052"/>
                  </a:cubicBezTo>
                  <a:cubicBezTo>
                    <a:pt x="1378" y="1064"/>
                    <a:pt x="1378" y="1075"/>
                    <a:pt x="1378" y="1086"/>
                  </a:cubicBezTo>
                  <a:cubicBezTo>
                    <a:pt x="1378" y="1086"/>
                    <a:pt x="1378" y="1086"/>
                    <a:pt x="1378" y="1086"/>
                  </a:cubicBezTo>
                  <a:cubicBezTo>
                    <a:pt x="1378" y="1095"/>
                    <a:pt x="1378" y="1104"/>
                    <a:pt x="1378" y="1113"/>
                  </a:cubicBezTo>
                  <a:close/>
                  <a:moveTo>
                    <a:pt x="578" y="259"/>
                  </a:moveTo>
                  <a:cubicBezTo>
                    <a:pt x="603" y="241"/>
                    <a:pt x="611" y="213"/>
                    <a:pt x="614" y="183"/>
                  </a:cubicBezTo>
                  <a:cubicBezTo>
                    <a:pt x="615" y="171"/>
                    <a:pt x="610" y="159"/>
                    <a:pt x="609" y="147"/>
                  </a:cubicBezTo>
                  <a:cubicBezTo>
                    <a:pt x="608" y="137"/>
                    <a:pt x="603" y="129"/>
                    <a:pt x="599" y="121"/>
                  </a:cubicBezTo>
                  <a:cubicBezTo>
                    <a:pt x="579" y="87"/>
                    <a:pt x="527" y="70"/>
                    <a:pt x="488" y="85"/>
                  </a:cubicBezTo>
                  <a:cubicBezTo>
                    <a:pt x="453" y="99"/>
                    <a:pt x="436" y="127"/>
                    <a:pt x="431" y="163"/>
                  </a:cubicBezTo>
                  <a:cubicBezTo>
                    <a:pt x="429" y="180"/>
                    <a:pt x="430" y="196"/>
                    <a:pt x="436" y="213"/>
                  </a:cubicBezTo>
                  <a:cubicBezTo>
                    <a:pt x="439" y="222"/>
                    <a:pt x="442" y="232"/>
                    <a:pt x="447" y="239"/>
                  </a:cubicBezTo>
                  <a:cubicBezTo>
                    <a:pt x="465" y="265"/>
                    <a:pt x="491" y="277"/>
                    <a:pt x="525" y="276"/>
                  </a:cubicBezTo>
                  <a:cubicBezTo>
                    <a:pt x="543" y="278"/>
                    <a:pt x="562" y="271"/>
                    <a:pt x="578" y="259"/>
                  </a:cubicBezTo>
                  <a:close/>
                  <a:moveTo>
                    <a:pt x="471" y="205"/>
                  </a:moveTo>
                  <a:cubicBezTo>
                    <a:pt x="466" y="185"/>
                    <a:pt x="468" y="167"/>
                    <a:pt x="472" y="147"/>
                  </a:cubicBezTo>
                  <a:cubicBezTo>
                    <a:pt x="477" y="130"/>
                    <a:pt x="493" y="116"/>
                    <a:pt x="509" y="112"/>
                  </a:cubicBezTo>
                  <a:cubicBezTo>
                    <a:pt x="525" y="108"/>
                    <a:pt x="539" y="110"/>
                    <a:pt x="553" y="119"/>
                  </a:cubicBezTo>
                  <a:cubicBezTo>
                    <a:pt x="563" y="125"/>
                    <a:pt x="568" y="135"/>
                    <a:pt x="571" y="146"/>
                  </a:cubicBezTo>
                  <a:cubicBezTo>
                    <a:pt x="577" y="167"/>
                    <a:pt x="578" y="189"/>
                    <a:pt x="571" y="211"/>
                  </a:cubicBezTo>
                  <a:cubicBezTo>
                    <a:pt x="565" y="231"/>
                    <a:pt x="549" y="249"/>
                    <a:pt x="521" y="247"/>
                  </a:cubicBezTo>
                  <a:cubicBezTo>
                    <a:pt x="496" y="247"/>
                    <a:pt x="478" y="230"/>
                    <a:pt x="471" y="205"/>
                  </a:cubicBezTo>
                  <a:close/>
                  <a:moveTo>
                    <a:pt x="472" y="1122"/>
                  </a:moveTo>
                  <a:cubicBezTo>
                    <a:pt x="475" y="1136"/>
                    <a:pt x="481" y="1148"/>
                    <a:pt x="491" y="1158"/>
                  </a:cubicBezTo>
                  <a:cubicBezTo>
                    <a:pt x="506" y="1176"/>
                    <a:pt x="524" y="1185"/>
                    <a:pt x="548" y="1187"/>
                  </a:cubicBezTo>
                  <a:cubicBezTo>
                    <a:pt x="568" y="1188"/>
                    <a:pt x="587" y="1187"/>
                    <a:pt x="605" y="1177"/>
                  </a:cubicBezTo>
                  <a:cubicBezTo>
                    <a:pt x="632" y="1162"/>
                    <a:pt x="644" y="1136"/>
                    <a:pt x="649" y="1107"/>
                  </a:cubicBezTo>
                  <a:cubicBezTo>
                    <a:pt x="652" y="1089"/>
                    <a:pt x="649" y="1072"/>
                    <a:pt x="644" y="1054"/>
                  </a:cubicBezTo>
                  <a:cubicBezTo>
                    <a:pt x="638" y="1034"/>
                    <a:pt x="627" y="1019"/>
                    <a:pt x="610" y="1007"/>
                  </a:cubicBezTo>
                  <a:cubicBezTo>
                    <a:pt x="589" y="992"/>
                    <a:pt x="566" y="991"/>
                    <a:pt x="541" y="994"/>
                  </a:cubicBezTo>
                  <a:cubicBezTo>
                    <a:pt x="526" y="995"/>
                    <a:pt x="512" y="1002"/>
                    <a:pt x="500" y="1012"/>
                  </a:cubicBezTo>
                  <a:cubicBezTo>
                    <a:pt x="476" y="1032"/>
                    <a:pt x="469" y="1060"/>
                    <a:pt x="466" y="1095"/>
                  </a:cubicBezTo>
                  <a:cubicBezTo>
                    <a:pt x="465" y="1101"/>
                    <a:pt x="470" y="1111"/>
                    <a:pt x="472" y="1122"/>
                  </a:cubicBezTo>
                  <a:close/>
                  <a:moveTo>
                    <a:pt x="508" y="1113"/>
                  </a:moveTo>
                  <a:cubicBezTo>
                    <a:pt x="505" y="1095"/>
                    <a:pt x="506" y="1078"/>
                    <a:pt x="508" y="1061"/>
                  </a:cubicBezTo>
                  <a:cubicBezTo>
                    <a:pt x="511" y="1042"/>
                    <a:pt x="538" y="1021"/>
                    <a:pt x="554" y="1022"/>
                  </a:cubicBezTo>
                  <a:cubicBezTo>
                    <a:pt x="570" y="1022"/>
                    <a:pt x="586" y="1024"/>
                    <a:pt x="596" y="1037"/>
                  </a:cubicBezTo>
                  <a:cubicBezTo>
                    <a:pt x="602" y="1044"/>
                    <a:pt x="607" y="1052"/>
                    <a:pt x="608" y="1061"/>
                  </a:cubicBezTo>
                  <a:cubicBezTo>
                    <a:pt x="608" y="1064"/>
                    <a:pt x="609" y="1067"/>
                    <a:pt x="610" y="1070"/>
                  </a:cubicBezTo>
                  <a:cubicBezTo>
                    <a:pt x="618" y="1089"/>
                    <a:pt x="612" y="1107"/>
                    <a:pt x="607" y="1125"/>
                  </a:cubicBezTo>
                  <a:cubicBezTo>
                    <a:pt x="601" y="1143"/>
                    <a:pt x="588" y="1160"/>
                    <a:pt x="558" y="1157"/>
                  </a:cubicBezTo>
                  <a:cubicBezTo>
                    <a:pt x="530" y="1157"/>
                    <a:pt x="512" y="1141"/>
                    <a:pt x="508" y="1113"/>
                  </a:cubicBezTo>
                  <a:close/>
                  <a:moveTo>
                    <a:pt x="430" y="716"/>
                  </a:moveTo>
                  <a:cubicBezTo>
                    <a:pt x="450" y="703"/>
                    <a:pt x="459" y="683"/>
                    <a:pt x="464" y="661"/>
                  </a:cubicBezTo>
                  <a:cubicBezTo>
                    <a:pt x="468" y="648"/>
                    <a:pt x="467" y="635"/>
                    <a:pt x="466" y="621"/>
                  </a:cubicBezTo>
                  <a:cubicBezTo>
                    <a:pt x="463" y="592"/>
                    <a:pt x="453" y="567"/>
                    <a:pt x="427" y="550"/>
                  </a:cubicBezTo>
                  <a:cubicBezTo>
                    <a:pt x="401" y="534"/>
                    <a:pt x="372" y="532"/>
                    <a:pt x="345" y="541"/>
                  </a:cubicBezTo>
                  <a:cubicBezTo>
                    <a:pt x="310" y="552"/>
                    <a:pt x="291" y="580"/>
                    <a:pt x="287" y="617"/>
                  </a:cubicBezTo>
                  <a:cubicBezTo>
                    <a:pt x="286" y="629"/>
                    <a:pt x="286" y="641"/>
                    <a:pt x="287" y="654"/>
                  </a:cubicBezTo>
                  <a:cubicBezTo>
                    <a:pt x="289" y="671"/>
                    <a:pt x="295" y="686"/>
                    <a:pt x="306" y="700"/>
                  </a:cubicBezTo>
                  <a:cubicBezTo>
                    <a:pt x="324" y="722"/>
                    <a:pt x="348" y="733"/>
                    <a:pt x="378" y="731"/>
                  </a:cubicBezTo>
                  <a:cubicBezTo>
                    <a:pt x="396" y="733"/>
                    <a:pt x="414" y="727"/>
                    <a:pt x="430" y="716"/>
                  </a:cubicBezTo>
                  <a:close/>
                  <a:moveTo>
                    <a:pt x="331" y="592"/>
                  </a:moveTo>
                  <a:cubicBezTo>
                    <a:pt x="339" y="580"/>
                    <a:pt x="349" y="569"/>
                    <a:pt x="365" y="567"/>
                  </a:cubicBezTo>
                  <a:cubicBezTo>
                    <a:pt x="387" y="564"/>
                    <a:pt x="406" y="568"/>
                    <a:pt x="419" y="588"/>
                  </a:cubicBezTo>
                  <a:cubicBezTo>
                    <a:pt x="423" y="595"/>
                    <a:pt x="426" y="603"/>
                    <a:pt x="427" y="610"/>
                  </a:cubicBezTo>
                  <a:cubicBezTo>
                    <a:pt x="433" y="635"/>
                    <a:pt x="431" y="661"/>
                    <a:pt x="416" y="684"/>
                  </a:cubicBezTo>
                  <a:cubicBezTo>
                    <a:pt x="403" y="706"/>
                    <a:pt x="362" y="708"/>
                    <a:pt x="345" y="692"/>
                  </a:cubicBezTo>
                  <a:cubicBezTo>
                    <a:pt x="329" y="678"/>
                    <a:pt x="323" y="661"/>
                    <a:pt x="323" y="631"/>
                  </a:cubicBezTo>
                  <a:cubicBezTo>
                    <a:pt x="323" y="619"/>
                    <a:pt x="323" y="605"/>
                    <a:pt x="331" y="592"/>
                  </a:cubicBezTo>
                  <a:close/>
                  <a:moveTo>
                    <a:pt x="1073" y="259"/>
                  </a:moveTo>
                  <a:cubicBezTo>
                    <a:pt x="1073" y="269"/>
                    <a:pt x="1075" y="272"/>
                    <a:pt x="1086" y="272"/>
                  </a:cubicBezTo>
                  <a:cubicBezTo>
                    <a:pt x="1088" y="272"/>
                    <a:pt x="1090" y="272"/>
                    <a:pt x="1092" y="272"/>
                  </a:cubicBezTo>
                  <a:cubicBezTo>
                    <a:pt x="1105" y="272"/>
                    <a:pt x="1106" y="271"/>
                    <a:pt x="1106" y="258"/>
                  </a:cubicBezTo>
                  <a:cubicBezTo>
                    <a:pt x="1106" y="221"/>
                    <a:pt x="1106" y="184"/>
                    <a:pt x="1106" y="147"/>
                  </a:cubicBezTo>
                  <a:cubicBezTo>
                    <a:pt x="1106" y="143"/>
                    <a:pt x="1106" y="140"/>
                    <a:pt x="1107" y="137"/>
                  </a:cubicBezTo>
                  <a:cubicBezTo>
                    <a:pt x="1117" y="117"/>
                    <a:pt x="1157" y="104"/>
                    <a:pt x="1177" y="114"/>
                  </a:cubicBezTo>
                  <a:cubicBezTo>
                    <a:pt x="1179" y="115"/>
                    <a:pt x="1180" y="117"/>
                    <a:pt x="1182" y="118"/>
                  </a:cubicBezTo>
                  <a:cubicBezTo>
                    <a:pt x="1194" y="131"/>
                    <a:pt x="1196" y="147"/>
                    <a:pt x="1196" y="163"/>
                  </a:cubicBezTo>
                  <a:cubicBezTo>
                    <a:pt x="1197" y="195"/>
                    <a:pt x="1196" y="226"/>
                    <a:pt x="1196" y="258"/>
                  </a:cubicBezTo>
                  <a:cubicBezTo>
                    <a:pt x="1196" y="271"/>
                    <a:pt x="1197" y="272"/>
                    <a:pt x="1210" y="272"/>
                  </a:cubicBezTo>
                  <a:cubicBezTo>
                    <a:pt x="1212" y="272"/>
                    <a:pt x="1213" y="272"/>
                    <a:pt x="1215" y="272"/>
                  </a:cubicBezTo>
                  <a:cubicBezTo>
                    <a:pt x="1227" y="272"/>
                    <a:pt x="1229" y="270"/>
                    <a:pt x="1229" y="258"/>
                  </a:cubicBezTo>
                  <a:cubicBezTo>
                    <a:pt x="1229" y="222"/>
                    <a:pt x="1229" y="187"/>
                    <a:pt x="1229" y="151"/>
                  </a:cubicBezTo>
                  <a:cubicBezTo>
                    <a:pt x="1229" y="142"/>
                    <a:pt x="1228" y="132"/>
                    <a:pt x="1225" y="123"/>
                  </a:cubicBezTo>
                  <a:cubicBezTo>
                    <a:pt x="1219" y="105"/>
                    <a:pt x="1208" y="91"/>
                    <a:pt x="1189" y="85"/>
                  </a:cubicBezTo>
                  <a:cubicBezTo>
                    <a:pt x="1173" y="80"/>
                    <a:pt x="1156" y="84"/>
                    <a:pt x="1139" y="84"/>
                  </a:cubicBezTo>
                  <a:cubicBezTo>
                    <a:pt x="1137" y="84"/>
                    <a:pt x="1136" y="86"/>
                    <a:pt x="1134" y="87"/>
                  </a:cubicBezTo>
                  <a:cubicBezTo>
                    <a:pt x="1128" y="91"/>
                    <a:pt x="1121" y="96"/>
                    <a:pt x="1115" y="100"/>
                  </a:cubicBezTo>
                  <a:cubicBezTo>
                    <a:pt x="1113" y="102"/>
                    <a:pt x="1111" y="105"/>
                    <a:pt x="1108" y="103"/>
                  </a:cubicBezTo>
                  <a:cubicBezTo>
                    <a:pt x="1105" y="102"/>
                    <a:pt x="1106" y="98"/>
                    <a:pt x="1106" y="96"/>
                  </a:cubicBezTo>
                  <a:cubicBezTo>
                    <a:pt x="1106" y="69"/>
                    <a:pt x="1106" y="43"/>
                    <a:pt x="1106" y="17"/>
                  </a:cubicBezTo>
                  <a:cubicBezTo>
                    <a:pt x="1106" y="0"/>
                    <a:pt x="1106" y="0"/>
                    <a:pt x="1089" y="0"/>
                  </a:cubicBezTo>
                  <a:cubicBezTo>
                    <a:pt x="1074" y="0"/>
                    <a:pt x="1073" y="1"/>
                    <a:pt x="1073" y="16"/>
                  </a:cubicBezTo>
                  <a:cubicBezTo>
                    <a:pt x="1073" y="56"/>
                    <a:pt x="1073" y="96"/>
                    <a:pt x="1073" y="136"/>
                  </a:cubicBezTo>
                  <a:cubicBezTo>
                    <a:pt x="1073" y="177"/>
                    <a:pt x="1073" y="218"/>
                    <a:pt x="1073" y="259"/>
                  </a:cubicBezTo>
                  <a:close/>
                  <a:moveTo>
                    <a:pt x="1150" y="1092"/>
                  </a:moveTo>
                  <a:cubicBezTo>
                    <a:pt x="1168" y="1092"/>
                    <a:pt x="1186" y="1092"/>
                    <a:pt x="1204" y="1092"/>
                  </a:cubicBezTo>
                  <a:cubicBezTo>
                    <a:pt x="1215" y="1092"/>
                    <a:pt x="1218" y="1087"/>
                    <a:pt x="1219" y="1077"/>
                  </a:cubicBezTo>
                  <a:cubicBezTo>
                    <a:pt x="1220" y="1062"/>
                    <a:pt x="1216" y="1049"/>
                    <a:pt x="1210" y="1036"/>
                  </a:cubicBezTo>
                  <a:cubicBezTo>
                    <a:pt x="1204" y="1020"/>
                    <a:pt x="1193" y="1008"/>
                    <a:pt x="1177" y="1001"/>
                  </a:cubicBezTo>
                  <a:cubicBezTo>
                    <a:pt x="1155" y="992"/>
                    <a:pt x="1133" y="991"/>
                    <a:pt x="1109" y="999"/>
                  </a:cubicBezTo>
                  <a:cubicBezTo>
                    <a:pt x="1079" y="1010"/>
                    <a:pt x="1062" y="1031"/>
                    <a:pt x="1056" y="1061"/>
                  </a:cubicBezTo>
                  <a:cubicBezTo>
                    <a:pt x="1051" y="1090"/>
                    <a:pt x="1052" y="1120"/>
                    <a:pt x="1069" y="1148"/>
                  </a:cubicBezTo>
                  <a:cubicBezTo>
                    <a:pt x="1081" y="1169"/>
                    <a:pt x="1100" y="1180"/>
                    <a:pt x="1122" y="1185"/>
                  </a:cubicBezTo>
                  <a:cubicBezTo>
                    <a:pt x="1149" y="1190"/>
                    <a:pt x="1176" y="1186"/>
                    <a:pt x="1200" y="1171"/>
                  </a:cubicBezTo>
                  <a:cubicBezTo>
                    <a:pt x="1206" y="1168"/>
                    <a:pt x="1213" y="1165"/>
                    <a:pt x="1214" y="1157"/>
                  </a:cubicBezTo>
                  <a:cubicBezTo>
                    <a:pt x="1215" y="1147"/>
                    <a:pt x="1202" y="1139"/>
                    <a:pt x="1193" y="1144"/>
                  </a:cubicBezTo>
                  <a:cubicBezTo>
                    <a:pt x="1187" y="1147"/>
                    <a:pt x="1180" y="1150"/>
                    <a:pt x="1174" y="1153"/>
                  </a:cubicBezTo>
                  <a:cubicBezTo>
                    <a:pt x="1158" y="1161"/>
                    <a:pt x="1140" y="1161"/>
                    <a:pt x="1124" y="1155"/>
                  </a:cubicBezTo>
                  <a:cubicBezTo>
                    <a:pt x="1112" y="1151"/>
                    <a:pt x="1102" y="1142"/>
                    <a:pt x="1096" y="1129"/>
                  </a:cubicBezTo>
                  <a:cubicBezTo>
                    <a:pt x="1092" y="1121"/>
                    <a:pt x="1091" y="1112"/>
                    <a:pt x="1089" y="1104"/>
                  </a:cubicBezTo>
                  <a:cubicBezTo>
                    <a:pt x="1087" y="1093"/>
                    <a:pt x="1087" y="1092"/>
                    <a:pt x="1099" y="1092"/>
                  </a:cubicBezTo>
                  <a:cubicBezTo>
                    <a:pt x="1116" y="1092"/>
                    <a:pt x="1133" y="1092"/>
                    <a:pt x="1150" y="1092"/>
                  </a:cubicBezTo>
                  <a:cubicBezTo>
                    <a:pt x="1150" y="1092"/>
                    <a:pt x="1150" y="1092"/>
                    <a:pt x="1150" y="1092"/>
                  </a:cubicBezTo>
                  <a:close/>
                  <a:moveTo>
                    <a:pt x="1099" y="1070"/>
                  </a:moveTo>
                  <a:cubicBezTo>
                    <a:pt x="1092" y="1071"/>
                    <a:pt x="1089" y="1067"/>
                    <a:pt x="1091" y="1060"/>
                  </a:cubicBezTo>
                  <a:cubicBezTo>
                    <a:pt x="1094" y="1045"/>
                    <a:pt x="1108" y="1023"/>
                    <a:pt x="1128" y="1022"/>
                  </a:cubicBezTo>
                  <a:cubicBezTo>
                    <a:pt x="1142" y="1021"/>
                    <a:pt x="1156" y="1018"/>
                    <a:pt x="1168" y="1029"/>
                  </a:cubicBezTo>
                  <a:cubicBezTo>
                    <a:pt x="1181" y="1038"/>
                    <a:pt x="1185" y="1051"/>
                    <a:pt x="1187" y="1066"/>
                  </a:cubicBezTo>
                  <a:cubicBezTo>
                    <a:pt x="1188" y="1071"/>
                    <a:pt x="1183" y="1070"/>
                    <a:pt x="1180" y="1070"/>
                  </a:cubicBezTo>
                  <a:cubicBezTo>
                    <a:pt x="1166" y="1070"/>
                    <a:pt x="1153" y="1070"/>
                    <a:pt x="1139" y="1070"/>
                  </a:cubicBezTo>
                  <a:cubicBezTo>
                    <a:pt x="1139" y="1070"/>
                    <a:pt x="1139" y="1070"/>
                    <a:pt x="1139" y="1070"/>
                  </a:cubicBezTo>
                  <a:cubicBezTo>
                    <a:pt x="1126" y="1070"/>
                    <a:pt x="1113" y="1070"/>
                    <a:pt x="1099" y="1070"/>
                  </a:cubicBezTo>
                  <a:close/>
                  <a:moveTo>
                    <a:pt x="1741" y="1092"/>
                  </a:moveTo>
                  <a:cubicBezTo>
                    <a:pt x="1759" y="1092"/>
                    <a:pt x="1776" y="1092"/>
                    <a:pt x="1793" y="1092"/>
                  </a:cubicBezTo>
                  <a:cubicBezTo>
                    <a:pt x="1806" y="1092"/>
                    <a:pt x="1808" y="1089"/>
                    <a:pt x="1808" y="1076"/>
                  </a:cubicBezTo>
                  <a:cubicBezTo>
                    <a:pt x="1809" y="1063"/>
                    <a:pt x="1807" y="1051"/>
                    <a:pt x="1802" y="1038"/>
                  </a:cubicBezTo>
                  <a:cubicBezTo>
                    <a:pt x="1794" y="1021"/>
                    <a:pt x="1782" y="1008"/>
                    <a:pt x="1764" y="1000"/>
                  </a:cubicBezTo>
                  <a:cubicBezTo>
                    <a:pt x="1742" y="991"/>
                    <a:pt x="1720" y="991"/>
                    <a:pt x="1698" y="1000"/>
                  </a:cubicBezTo>
                  <a:cubicBezTo>
                    <a:pt x="1681" y="1006"/>
                    <a:pt x="1668" y="1016"/>
                    <a:pt x="1659" y="1031"/>
                  </a:cubicBezTo>
                  <a:cubicBezTo>
                    <a:pt x="1646" y="1050"/>
                    <a:pt x="1643" y="1071"/>
                    <a:pt x="1644" y="1094"/>
                  </a:cubicBezTo>
                  <a:cubicBezTo>
                    <a:pt x="1644" y="1110"/>
                    <a:pt x="1647" y="1127"/>
                    <a:pt x="1655" y="1141"/>
                  </a:cubicBezTo>
                  <a:cubicBezTo>
                    <a:pt x="1669" y="1168"/>
                    <a:pt x="1691" y="1183"/>
                    <a:pt x="1722" y="1186"/>
                  </a:cubicBezTo>
                  <a:cubicBezTo>
                    <a:pt x="1750" y="1188"/>
                    <a:pt x="1775" y="1183"/>
                    <a:pt x="1798" y="1165"/>
                  </a:cubicBezTo>
                  <a:cubicBezTo>
                    <a:pt x="1803" y="1161"/>
                    <a:pt x="1806" y="1157"/>
                    <a:pt x="1802" y="1151"/>
                  </a:cubicBezTo>
                  <a:cubicBezTo>
                    <a:pt x="1798" y="1144"/>
                    <a:pt x="1791" y="1140"/>
                    <a:pt x="1783" y="1144"/>
                  </a:cubicBezTo>
                  <a:cubicBezTo>
                    <a:pt x="1778" y="1147"/>
                    <a:pt x="1771" y="1149"/>
                    <a:pt x="1766" y="1152"/>
                  </a:cubicBezTo>
                  <a:cubicBezTo>
                    <a:pt x="1749" y="1161"/>
                    <a:pt x="1730" y="1162"/>
                    <a:pt x="1714" y="1155"/>
                  </a:cubicBezTo>
                  <a:cubicBezTo>
                    <a:pt x="1692" y="1145"/>
                    <a:pt x="1680" y="1127"/>
                    <a:pt x="1679" y="1102"/>
                  </a:cubicBezTo>
                  <a:cubicBezTo>
                    <a:pt x="1678" y="1095"/>
                    <a:pt x="1681" y="1092"/>
                    <a:pt x="1689" y="1092"/>
                  </a:cubicBezTo>
                  <a:cubicBezTo>
                    <a:pt x="1706" y="1092"/>
                    <a:pt x="1724" y="1092"/>
                    <a:pt x="1741" y="1092"/>
                  </a:cubicBezTo>
                  <a:cubicBezTo>
                    <a:pt x="1741" y="1092"/>
                    <a:pt x="1741" y="1092"/>
                    <a:pt x="1741" y="1092"/>
                  </a:cubicBezTo>
                  <a:close/>
                  <a:moveTo>
                    <a:pt x="1690" y="1070"/>
                  </a:moveTo>
                  <a:cubicBezTo>
                    <a:pt x="1683" y="1071"/>
                    <a:pt x="1680" y="1068"/>
                    <a:pt x="1681" y="1062"/>
                  </a:cubicBezTo>
                  <a:cubicBezTo>
                    <a:pt x="1683" y="1048"/>
                    <a:pt x="1697" y="1024"/>
                    <a:pt x="1716" y="1022"/>
                  </a:cubicBezTo>
                  <a:cubicBezTo>
                    <a:pt x="1731" y="1020"/>
                    <a:pt x="1747" y="1018"/>
                    <a:pt x="1760" y="1030"/>
                  </a:cubicBezTo>
                  <a:cubicBezTo>
                    <a:pt x="1771" y="1038"/>
                    <a:pt x="1775" y="1050"/>
                    <a:pt x="1778" y="1062"/>
                  </a:cubicBezTo>
                  <a:cubicBezTo>
                    <a:pt x="1780" y="1068"/>
                    <a:pt x="1775" y="1070"/>
                    <a:pt x="1769" y="1070"/>
                  </a:cubicBezTo>
                  <a:cubicBezTo>
                    <a:pt x="1756" y="1070"/>
                    <a:pt x="1742" y="1070"/>
                    <a:pt x="1729" y="1070"/>
                  </a:cubicBezTo>
                  <a:cubicBezTo>
                    <a:pt x="1729" y="1070"/>
                    <a:pt x="1729" y="1070"/>
                    <a:pt x="1729" y="1070"/>
                  </a:cubicBezTo>
                  <a:cubicBezTo>
                    <a:pt x="1716" y="1070"/>
                    <a:pt x="1703" y="1070"/>
                    <a:pt x="1690" y="1070"/>
                  </a:cubicBezTo>
                  <a:close/>
                  <a:moveTo>
                    <a:pt x="68" y="581"/>
                  </a:moveTo>
                  <a:cubicBezTo>
                    <a:pt x="68" y="573"/>
                    <a:pt x="70" y="568"/>
                    <a:pt x="80" y="569"/>
                  </a:cubicBezTo>
                  <a:cubicBezTo>
                    <a:pt x="90" y="570"/>
                    <a:pt x="101" y="570"/>
                    <a:pt x="111" y="569"/>
                  </a:cubicBezTo>
                  <a:cubicBezTo>
                    <a:pt x="120" y="569"/>
                    <a:pt x="120" y="563"/>
                    <a:pt x="120" y="556"/>
                  </a:cubicBezTo>
                  <a:cubicBezTo>
                    <a:pt x="120" y="549"/>
                    <a:pt x="119" y="544"/>
                    <a:pt x="111" y="544"/>
                  </a:cubicBezTo>
                  <a:cubicBezTo>
                    <a:pt x="104" y="544"/>
                    <a:pt x="97" y="544"/>
                    <a:pt x="91" y="544"/>
                  </a:cubicBezTo>
                  <a:cubicBezTo>
                    <a:pt x="66" y="544"/>
                    <a:pt x="65" y="543"/>
                    <a:pt x="68" y="518"/>
                  </a:cubicBezTo>
                  <a:cubicBezTo>
                    <a:pt x="69" y="504"/>
                    <a:pt x="83" y="487"/>
                    <a:pt x="99" y="489"/>
                  </a:cubicBezTo>
                  <a:cubicBezTo>
                    <a:pt x="103" y="489"/>
                    <a:pt x="107" y="489"/>
                    <a:pt x="110" y="488"/>
                  </a:cubicBezTo>
                  <a:cubicBezTo>
                    <a:pt x="118" y="487"/>
                    <a:pt x="123" y="479"/>
                    <a:pt x="123" y="471"/>
                  </a:cubicBezTo>
                  <a:cubicBezTo>
                    <a:pt x="123" y="461"/>
                    <a:pt x="116" y="462"/>
                    <a:pt x="109" y="460"/>
                  </a:cubicBezTo>
                  <a:cubicBezTo>
                    <a:pt x="100" y="458"/>
                    <a:pt x="92" y="460"/>
                    <a:pt x="84" y="460"/>
                  </a:cubicBezTo>
                  <a:cubicBezTo>
                    <a:pt x="68" y="461"/>
                    <a:pt x="56" y="469"/>
                    <a:pt x="47" y="480"/>
                  </a:cubicBezTo>
                  <a:cubicBezTo>
                    <a:pt x="34" y="493"/>
                    <a:pt x="32" y="511"/>
                    <a:pt x="32" y="529"/>
                  </a:cubicBezTo>
                  <a:cubicBezTo>
                    <a:pt x="32" y="544"/>
                    <a:pt x="32" y="544"/>
                    <a:pt x="17" y="544"/>
                  </a:cubicBezTo>
                  <a:cubicBezTo>
                    <a:pt x="4" y="543"/>
                    <a:pt x="0" y="548"/>
                    <a:pt x="4" y="561"/>
                  </a:cubicBezTo>
                  <a:cubicBezTo>
                    <a:pt x="6" y="569"/>
                    <a:pt x="13" y="568"/>
                    <a:pt x="19" y="569"/>
                  </a:cubicBezTo>
                  <a:cubicBezTo>
                    <a:pt x="32" y="571"/>
                    <a:pt x="32" y="571"/>
                    <a:pt x="32" y="584"/>
                  </a:cubicBezTo>
                  <a:cubicBezTo>
                    <a:pt x="32" y="624"/>
                    <a:pt x="32" y="664"/>
                    <a:pt x="32" y="704"/>
                  </a:cubicBezTo>
                  <a:cubicBezTo>
                    <a:pt x="32" y="731"/>
                    <a:pt x="32" y="730"/>
                    <a:pt x="57" y="731"/>
                  </a:cubicBezTo>
                  <a:cubicBezTo>
                    <a:pt x="66" y="731"/>
                    <a:pt x="68" y="727"/>
                    <a:pt x="68" y="720"/>
                  </a:cubicBezTo>
                  <a:cubicBezTo>
                    <a:pt x="68" y="697"/>
                    <a:pt x="68" y="674"/>
                    <a:pt x="68" y="651"/>
                  </a:cubicBezTo>
                  <a:cubicBezTo>
                    <a:pt x="68" y="628"/>
                    <a:pt x="68" y="605"/>
                    <a:pt x="68" y="581"/>
                  </a:cubicBezTo>
                  <a:close/>
                  <a:moveTo>
                    <a:pt x="278" y="1165"/>
                  </a:moveTo>
                  <a:cubicBezTo>
                    <a:pt x="278" y="1183"/>
                    <a:pt x="278" y="1183"/>
                    <a:pt x="296" y="1184"/>
                  </a:cubicBezTo>
                  <a:cubicBezTo>
                    <a:pt x="310" y="1184"/>
                    <a:pt x="310" y="1184"/>
                    <a:pt x="310" y="1169"/>
                  </a:cubicBezTo>
                  <a:cubicBezTo>
                    <a:pt x="310" y="1132"/>
                    <a:pt x="310" y="1095"/>
                    <a:pt x="310" y="1058"/>
                  </a:cubicBezTo>
                  <a:cubicBezTo>
                    <a:pt x="310" y="1052"/>
                    <a:pt x="312" y="1047"/>
                    <a:pt x="316" y="1042"/>
                  </a:cubicBezTo>
                  <a:cubicBezTo>
                    <a:pt x="324" y="1033"/>
                    <a:pt x="334" y="1027"/>
                    <a:pt x="345" y="1024"/>
                  </a:cubicBezTo>
                  <a:cubicBezTo>
                    <a:pt x="357" y="1020"/>
                    <a:pt x="371" y="1018"/>
                    <a:pt x="383" y="1028"/>
                  </a:cubicBezTo>
                  <a:cubicBezTo>
                    <a:pt x="397" y="1039"/>
                    <a:pt x="401" y="1054"/>
                    <a:pt x="401" y="1071"/>
                  </a:cubicBezTo>
                  <a:cubicBezTo>
                    <a:pt x="401" y="1102"/>
                    <a:pt x="401" y="1132"/>
                    <a:pt x="401" y="1163"/>
                  </a:cubicBezTo>
                  <a:cubicBezTo>
                    <a:pt x="401" y="1183"/>
                    <a:pt x="401" y="1182"/>
                    <a:pt x="420" y="1184"/>
                  </a:cubicBezTo>
                  <a:cubicBezTo>
                    <a:pt x="429" y="1185"/>
                    <a:pt x="433" y="1181"/>
                    <a:pt x="433" y="1173"/>
                  </a:cubicBezTo>
                  <a:cubicBezTo>
                    <a:pt x="432" y="1130"/>
                    <a:pt x="435" y="1087"/>
                    <a:pt x="431" y="1044"/>
                  </a:cubicBezTo>
                  <a:cubicBezTo>
                    <a:pt x="427" y="1014"/>
                    <a:pt x="404" y="996"/>
                    <a:pt x="376" y="994"/>
                  </a:cubicBezTo>
                  <a:cubicBezTo>
                    <a:pt x="353" y="992"/>
                    <a:pt x="333" y="1000"/>
                    <a:pt x="317" y="1017"/>
                  </a:cubicBezTo>
                  <a:cubicBezTo>
                    <a:pt x="312" y="1021"/>
                    <a:pt x="311" y="1019"/>
                    <a:pt x="309" y="1015"/>
                  </a:cubicBezTo>
                  <a:cubicBezTo>
                    <a:pt x="309" y="1013"/>
                    <a:pt x="308" y="1011"/>
                    <a:pt x="308" y="1008"/>
                  </a:cubicBezTo>
                  <a:cubicBezTo>
                    <a:pt x="306" y="1001"/>
                    <a:pt x="298" y="997"/>
                    <a:pt x="287" y="998"/>
                  </a:cubicBezTo>
                  <a:cubicBezTo>
                    <a:pt x="279" y="999"/>
                    <a:pt x="278" y="1004"/>
                    <a:pt x="278" y="1011"/>
                  </a:cubicBezTo>
                  <a:cubicBezTo>
                    <a:pt x="278" y="1037"/>
                    <a:pt x="278" y="1064"/>
                    <a:pt x="278" y="1091"/>
                  </a:cubicBezTo>
                  <a:cubicBezTo>
                    <a:pt x="278" y="1115"/>
                    <a:pt x="278" y="1140"/>
                    <a:pt x="278" y="1165"/>
                  </a:cubicBezTo>
                  <a:close/>
                  <a:moveTo>
                    <a:pt x="150" y="705"/>
                  </a:moveTo>
                  <a:cubicBezTo>
                    <a:pt x="150" y="734"/>
                    <a:pt x="145" y="730"/>
                    <a:pt x="176" y="731"/>
                  </a:cubicBezTo>
                  <a:cubicBezTo>
                    <a:pt x="185" y="731"/>
                    <a:pt x="187" y="727"/>
                    <a:pt x="187" y="719"/>
                  </a:cubicBezTo>
                  <a:cubicBezTo>
                    <a:pt x="187" y="685"/>
                    <a:pt x="187" y="651"/>
                    <a:pt x="187" y="618"/>
                  </a:cubicBezTo>
                  <a:cubicBezTo>
                    <a:pt x="187" y="597"/>
                    <a:pt x="204" y="578"/>
                    <a:pt x="225" y="574"/>
                  </a:cubicBezTo>
                  <a:cubicBezTo>
                    <a:pt x="232" y="572"/>
                    <a:pt x="240" y="574"/>
                    <a:pt x="247" y="575"/>
                  </a:cubicBezTo>
                  <a:cubicBezTo>
                    <a:pt x="257" y="576"/>
                    <a:pt x="261" y="572"/>
                    <a:pt x="265" y="564"/>
                  </a:cubicBezTo>
                  <a:cubicBezTo>
                    <a:pt x="269" y="556"/>
                    <a:pt x="267" y="542"/>
                    <a:pt x="261" y="540"/>
                  </a:cubicBezTo>
                  <a:cubicBezTo>
                    <a:pt x="253" y="538"/>
                    <a:pt x="244" y="534"/>
                    <a:pt x="237" y="536"/>
                  </a:cubicBezTo>
                  <a:cubicBezTo>
                    <a:pt x="228" y="537"/>
                    <a:pt x="217" y="537"/>
                    <a:pt x="209" y="544"/>
                  </a:cubicBezTo>
                  <a:cubicBezTo>
                    <a:pt x="204" y="549"/>
                    <a:pt x="198" y="553"/>
                    <a:pt x="194" y="558"/>
                  </a:cubicBezTo>
                  <a:cubicBezTo>
                    <a:pt x="192" y="561"/>
                    <a:pt x="189" y="563"/>
                    <a:pt x="185" y="562"/>
                  </a:cubicBezTo>
                  <a:cubicBezTo>
                    <a:pt x="182" y="561"/>
                    <a:pt x="182" y="558"/>
                    <a:pt x="182" y="556"/>
                  </a:cubicBezTo>
                  <a:cubicBezTo>
                    <a:pt x="180" y="539"/>
                    <a:pt x="179" y="539"/>
                    <a:pt x="162" y="539"/>
                  </a:cubicBezTo>
                  <a:cubicBezTo>
                    <a:pt x="151" y="539"/>
                    <a:pt x="150" y="540"/>
                    <a:pt x="150" y="551"/>
                  </a:cubicBezTo>
                  <a:cubicBezTo>
                    <a:pt x="150" y="579"/>
                    <a:pt x="150" y="607"/>
                    <a:pt x="150" y="635"/>
                  </a:cubicBezTo>
                  <a:cubicBezTo>
                    <a:pt x="150" y="658"/>
                    <a:pt x="149" y="682"/>
                    <a:pt x="150" y="705"/>
                  </a:cubicBezTo>
                  <a:close/>
                  <a:moveTo>
                    <a:pt x="1011" y="1049"/>
                  </a:moveTo>
                  <a:cubicBezTo>
                    <a:pt x="1011" y="1008"/>
                    <a:pt x="1011" y="966"/>
                    <a:pt x="1011" y="924"/>
                  </a:cubicBezTo>
                  <a:cubicBezTo>
                    <a:pt x="1011" y="913"/>
                    <a:pt x="1008" y="910"/>
                    <a:pt x="997" y="910"/>
                  </a:cubicBezTo>
                  <a:cubicBezTo>
                    <a:pt x="995" y="910"/>
                    <a:pt x="992" y="910"/>
                    <a:pt x="990" y="910"/>
                  </a:cubicBezTo>
                  <a:cubicBezTo>
                    <a:pt x="976" y="910"/>
                    <a:pt x="975" y="911"/>
                    <a:pt x="975" y="926"/>
                  </a:cubicBezTo>
                  <a:cubicBezTo>
                    <a:pt x="975" y="1006"/>
                    <a:pt x="975" y="1085"/>
                    <a:pt x="975" y="1165"/>
                  </a:cubicBezTo>
                  <a:cubicBezTo>
                    <a:pt x="975" y="1185"/>
                    <a:pt x="975" y="1185"/>
                    <a:pt x="994" y="1185"/>
                  </a:cubicBezTo>
                  <a:cubicBezTo>
                    <a:pt x="1009" y="1185"/>
                    <a:pt x="1011" y="1184"/>
                    <a:pt x="1011" y="1169"/>
                  </a:cubicBezTo>
                  <a:cubicBezTo>
                    <a:pt x="1011" y="1129"/>
                    <a:pt x="1011" y="1089"/>
                    <a:pt x="1011" y="1049"/>
                  </a:cubicBezTo>
                  <a:cubicBezTo>
                    <a:pt x="1011" y="1049"/>
                    <a:pt x="1011" y="1049"/>
                    <a:pt x="1011" y="1049"/>
                  </a:cubicBezTo>
                  <a:close/>
                  <a:moveTo>
                    <a:pt x="296" y="176"/>
                  </a:moveTo>
                  <a:cubicBezTo>
                    <a:pt x="296" y="201"/>
                    <a:pt x="296" y="226"/>
                    <a:pt x="296" y="251"/>
                  </a:cubicBezTo>
                  <a:cubicBezTo>
                    <a:pt x="295" y="276"/>
                    <a:pt x="296" y="274"/>
                    <a:pt x="318" y="274"/>
                  </a:cubicBezTo>
                  <a:cubicBezTo>
                    <a:pt x="330" y="274"/>
                    <a:pt x="331" y="274"/>
                    <a:pt x="331" y="260"/>
                  </a:cubicBezTo>
                  <a:cubicBezTo>
                    <a:pt x="331" y="232"/>
                    <a:pt x="331" y="204"/>
                    <a:pt x="331" y="176"/>
                  </a:cubicBezTo>
                  <a:cubicBezTo>
                    <a:pt x="331" y="165"/>
                    <a:pt x="331" y="155"/>
                    <a:pt x="337" y="145"/>
                  </a:cubicBezTo>
                  <a:cubicBezTo>
                    <a:pt x="349" y="123"/>
                    <a:pt x="359" y="117"/>
                    <a:pt x="377" y="118"/>
                  </a:cubicBezTo>
                  <a:cubicBezTo>
                    <a:pt x="383" y="118"/>
                    <a:pt x="389" y="119"/>
                    <a:pt x="395" y="120"/>
                  </a:cubicBezTo>
                  <a:cubicBezTo>
                    <a:pt x="401" y="120"/>
                    <a:pt x="407" y="118"/>
                    <a:pt x="408" y="112"/>
                  </a:cubicBezTo>
                  <a:cubicBezTo>
                    <a:pt x="409" y="103"/>
                    <a:pt x="415" y="93"/>
                    <a:pt x="407" y="85"/>
                  </a:cubicBezTo>
                  <a:cubicBezTo>
                    <a:pt x="406" y="84"/>
                    <a:pt x="404" y="84"/>
                    <a:pt x="402" y="84"/>
                  </a:cubicBezTo>
                  <a:cubicBezTo>
                    <a:pt x="376" y="78"/>
                    <a:pt x="353" y="82"/>
                    <a:pt x="337" y="106"/>
                  </a:cubicBezTo>
                  <a:cubicBezTo>
                    <a:pt x="336" y="108"/>
                    <a:pt x="335" y="110"/>
                    <a:pt x="333" y="109"/>
                  </a:cubicBezTo>
                  <a:cubicBezTo>
                    <a:pt x="331" y="109"/>
                    <a:pt x="330" y="107"/>
                    <a:pt x="330" y="105"/>
                  </a:cubicBezTo>
                  <a:cubicBezTo>
                    <a:pt x="329" y="101"/>
                    <a:pt x="329" y="97"/>
                    <a:pt x="328" y="94"/>
                  </a:cubicBezTo>
                  <a:cubicBezTo>
                    <a:pt x="325" y="85"/>
                    <a:pt x="318" y="82"/>
                    <a:pt x="303" y="84"/>
                  </a:cubicBezTo>
                  <a:cubicBezTo>
                    <a:pt x="297" y="84"/>
                    <a:pt x="295" y="86"/>
                    <a:pt x="295" y="92"/>
                  </a:cubicBezTo>
                  <a:cubicBezTo>
                    <a:pt x="296" y="120"/>
                    <a:pt x="295" y="148"/>
                    <a:pt x="295" y="176"/>
                  </a:cubicBezTo>
                  <a:cubicBezTo>
                    <a:pt x="296" y="176"/>
                    <a:pt x="296" y="176"/>
                    <a:pt x="296" y="176"/>
                  </a:cubicBezTo>
                  <a:close/>
                  <a:moveTo>
                    <a:pt x="946" y="179"/>
                  </a:moveTo>
                  <a:cubicBezTo>
                    <a:pt x="946" y="197"/>
                    <a:pt x="946" y="215"/>
                    <a:pt x="946" y="234"/>
                  </a:cubicBezTo>
                  <a:cubicBezTo>
                    <a:pt x="946" y="248"/>
                    <a:pt x="951" y="260"/>
                    <a:pt x="963" y="268"/>
                  </a:cubicBezTo>
                  <a:cubicBezTo>
                    <a:pt x="982" y="280"/>
                    <a:pt x="1011" y="277"/>
                    <a:pt x="1029" y="264"/>
                  </a:cubicBezTo>
                  <a:cubicBezTo>
                    <a:pt x="1036" y="259"/>
                    <a:pt x="1036" y="254"/>
                    <a:pt x="1032" y="248"/>
                  </a:cubicBezTo>
                  <a:cubicBezTo>
                    <a:pt x="1026" y="239"/>
                    <a:pt x="1020" y="238"/>
                    <a:pt x="1013" y="242"/>
                  </a:cubicBezTo>
                  <a:cubicBezTo>
                    <a:pt x="996" y="252"/>
                    <a:pt x="978" y="243"/>
                    <a:pt x="978" y="223"/>
                  </a:cubicBezTo>
                  <a:cubicBezTo>
                    <a:pt x="978" y="190"/>
                    <a:pt x="978" y="157"/>
                    <a:pt x="978" y="123"/>
                  </a:cubicBezTo>
                  <a:cubicBezTo>
                    <a:pt x="978" y="116"/>
                    <a:pt x="981" y="113"/>
                    <a:pt x="988" y="113"/>
                  </a:cubicBezTo>
                  <a:cubicBezTo>
                    <a:pt x="999" y="114"/>
                    <a:pt x="1011" y="113"/>
                    <a:pt x="1022" y="113"/>
                  </a:cubicBezTo>
                  <a:cubicBezTo>
                    <a:pt x="1028" y="113"/>
                    <a:pt x="1033" y="112"/>
                    <a:pt x="1033" y="104"/>
                  </a:cubicBezTo>
                  <a:cubicBezTo>
                    <a:pt x="1033" y="96"/>
                    <a:pt x="1032" y="90"/>
                    <a:pt x="1022" y="90"/>
                  </a:cubicBezTo>
                  <a:cubicBezTo>
                    <a:pt x="1011" y="90"/>
                    <a:pt x="1001" y="90"/>
                    <a:pt x="990" y="90"/>
                  </a:cubicBezTo>
                  <a:cubicBezTo>
                    <a:pt x="981" y="91"/>
                    <a:pt x="977" y="88"/>
                    <a:pt x="978" y="78"/>
                  </a:cubicBezTo>
                  <a:cubicBezTo>
                    <a:pt x="978" y="64"/>
                    <a:pt x="978" y="49"/>
                    <a:pt x="978" y="35"/>
                  </a:cubicBezTo>
                  <a:cubicBezTo>
                    <a:pt x="978" y="30"/>
                    <a:pt x="978" y="25"/>
                    <a:pt x="971" y="24"/>
                  </a:cubicBezTo>
                  <a:cubicBezTo>
                    <a:pt x="964" y="24"/>
                    <a:pt x="956" y="24"/>
                    <a:pt x="955" y="32"/>
                  </a:cubicBezTo>
                  <a:cubicBezTo>
                    <a:pt x="952" y="43"/>
                    <a:pt x="949" y="54"/>
                    <a:pt x="949" y="65"/>
                  </a:cubicBezTo>
                  <a:cubicBezTo>
                    <a:pt x="948" y="88"/>
                    <a:pt x="947" y="88"/>
                    <a:pt x="924" y="91"/>
                  </a:cubicBezTo>
                  <a:cubicBezTo>
                    <a:pt x="919" y="92"/>
                    <a:pt x="914" y="92"/>
                    <a:pt x="914" y="99"/>
                  </a:cubicBezTo>
                  <a:cubicBezTo>
                    <a:pt x="915" y="107"/>
                    <a:pt x="917" y="113"/>
                    <a:pt x="926" y="113"/>
                  </a:cubicBezTo>
                  <a:cubicBezTo>
                    <a:pt x="929" y="114"/>
                    <a:pt x="932" y="113"/>
                    <a:pt x="935" y="113"/>
                  </a:cubicBezTo>
                  <a:cubicBezTo>
                    <a:pt x="943" y="113"/>
                    <a:pt x="946" y="116"/>
                    <a:pt x="946" y="124"/>
                  </a:cubicBezTo>
                  <a:cubicBezTo>
                    <a:pt x="946" y="142"/>
                    <a:pt x="946" y="161"/>
                    <a:pt x="946" y="179"/>
                  </a:cubicBezTo>
                  <a:cubicBezTo>
                    <a:pt x="946" y="179"/>
                    <a:pt x="946" y="179"/>
                    <a:pt x="946" y="179"/>
                  </a:cubicBezTo>
                  <a:close/>
                </a:path>
              </a:pathLst>
            </a:custGeom>
            <a:solidFill>
              <a:srgbClr val="4C505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grpSp>
          <p:nvGrpSpPr>
            <p:cNvPr id="18" name="Group 4">
              <a:extLst>
                <a:ext uri="{FF2B5EF4-FFF2-40B4-BE49-F238E27FC236}">
                  <a16:creationId xmlns:a16="http://schemas.microsoft.com/office/drawing/2014/main" id="{57BD2C4C-DC67-B843-B26C-309622FC75F7}"/>
                </a:ext>
              </a:extLst>
            </p:cNvPr>
            <p:cNvGrpSpPr>
              <a:grpSpLocks noChangeAspect="1"/>
            </p:cNvGrpSpPr>
            <p:nvPr/>
          </p:nvGrpSpPr>
          <p:grpSpPr bwMode="gray">
            <a:xfrm>
              <a:off x="334963" y="296652"/>
              <a:ext cx="538094" cy="540000"/>
              <a:chOff x="2711" y="1027"/>
              <a:chExt cx="2258" cy="2266"/>
            </a:xfrm>
          </p:grpSpPr>
          <p:sp>
            <p:nvSpPr>
              <p:cNvPr id="19" name="AutoShape 3">
                <a:extLst>
                  <a:ext uri="{FF2B5EF4-FFF2-40B4-BE49-F238E27FC236}">
                    <a16:creationId xmlns:a16="http://schemas.microsoft.com/office/drawing/2014/main" id="{FE1DC41B-291E-574C-9F2C-874E70A40758}"/>
                  </a:ext>
                </a:extLst>
              </p:cNvPr>
              <p:cNvSpPr>
                <a:spLocks noChangeAspect="1" noChangeArrowheads="1" noTextEdit="1"/>
              </p:cNvSpPr>
              <p:nvPr/>
            </p:nvSpPr>
            <p:spPr bwMode="gray">
              <a:xfrm>
                <a:off x="2711" y="1027"/>
                <a:ext cx="2258" cy="22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sp>
            <p:nvSpPr>
              <p:cNvPr id="20" name="Freeform 5">
                <a:extLst>
                  <a:ext uri="{FF2B5EF4-FFF2-40B4-BE49-F238E27FC236}">
                    <a16:creationId xmlns:a16="http://schemas.microsoft.com/office/drawing/2014/main" id="{D4B633C8-F761-C54B-9BD2-EB59D49A2DBC}"/>
                  </a:ext>
                </a:extLst>
              </p:cNvPr>
              <p:cNvSpPr>
                <a:spLocks/>
              </p:cNvSpPr>
              <p:nvPr/>
            </p:nvSpPr>
            <p:spPr bwMode="gray">
              <a:xfrm>
                <a:off x="2709" y="1029"/>
                <a:ext cx="2260" cy="2262"/>
              </a:xfrm>
              <a:custGeom>
                <a:avLst/>
                <a:gdLst>
                  <a:gd name="T0" fmla="*/ 2260 w 2260"/>
                  <a:gd name="T1" fmla="*/ 0 h 2262"/>
                  <a:gd name="T2" fmla="*/ 1612 w 2260"/>
                  <a:gd name="T3" fmla="*/ 649 h 2262"/>
                  <a:gd name="T4" fmla="*/ 1612 w 2260"/>
                  <a:gd name="T5" fmla="*/ 649 h 2262"/>
                  <a:gd name="T6" fmla="*/ 2035 w 2260"/>
                  <a:gd name="T7" fmla="*/ 0 h 2262"/>
                  <a:gd name="T8" fmla="*/ 0 w 2260"/>
                  <a:gd name="T9" fmla="*/ 0 h 2262"/>
                  <a:gd name="T10" fmla="*/ 0 w 2260"/>
                  <a:gd name="T11" fmla="*/ 2262 h 2262"/>
                  <a:gd name="T12" fmla="*/ 2260 w 2260"/>
                  <a:gd name="T13" fmla="*/ 2262 h 2262"/>
                  <a:gd name="T14" fmla="*/ 2260 w 2260"/>
                  <a:gd name="T15" fmla="*/ 0 h 2262"/>
                  <a:gd name="T16" fmla="*/ 2260 w 2260"/>
                  <a:gd name="T17" fmla="*/ 0 h 2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0" h="2262">
                    <a:moveTo>
                      <a:pt x="2260" y="0"/>
                    </a:moveTo>
                    <a:lnTo>
                      <a:pt x="1612" y="649"/>
                    </a:lnTo>
                    <a:lnTo>
                      <a:pt x="1612" y="649"/>
                    </a:lnTo>
                    <a:lnTo>
                      <a:pt x="2035" y="0"/>
                    </a:lnTo>
                    <a:lnTo>
                      <a:pt x="0" y="0"/>
                    </a:lnTo>
                    <a:lnTo>
                      <a:pt x="0" y="2262"/>
                    </a:lnTo>
                    <a:lnTo>
                      <a:pt x="2260" y="2262"/>
                    </a:lnTo>
                    <a:lnTo>
                      <a:pt x="2260" y="0"/>
                    </a:lnTo>
                    <a:lnTo>
                      <a:pt x="2260" y="0"/>
                    </a:lnTo>
                    <a:close/>
                  </a:path>
                </a:pathLst>
              </a:custGeom>
              <a:solidFill>
                <a:srgbClr val="E55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sp>
            <p:nvSpPr>
              <p:cNvPr id="21" name="Freeform 6">
                <a:extLst>
                  <a:ext uri="{FF2B5EF4-FFF2-40B4-BE49-F238E27FC236}">
                    <a16:creationId xmlns:a16="http://schemas.microsoft.com/office/drawing/2014/main" id="{B16BAAE4-1A41-C843-9754-490F7A1E1270}"/>
                  </a:ext>
                </a:extLst>
              </p:cNvPr>
              <p:cNvSpPr>
                <a:spLocks noEditPoints="1"/>
              </p:cNvSpPr>
              <p:nvPr/>
            </p:nvSpPr>
            <p:spPr bwMode="gray">
              <a:xfrm>
                <a:off x="3623" y="1696"/>
                <a:ext cx="1167" cy="922"/>
              </a:xfrm>
              <a:custGeom>
                <a:avLst/>
                <a:gdLst>
                  <a:gd name="T0" fmla="*/ 411 w 580"/>
                  <a:gd name="T1" fmla="*/ 213 h 458"/>
                  <a:gd name="T2" fmla="*/ 570 w 580"/>
                  <a:gd name="T3" fmla="*/ 37 h 458"/>
                  <a:gd name="T4" fmla="*/ 580 w 580"/>
                  <a:gd name="T5" fmla="*/ 20 h 458"/>
                  <a:gd name="T6" fmla="*/ 545 w 580"/>
                  <a:gd name="T7" fmla="*/ 0 h 458"/>
                  <a:gd name="T8" fmla="*/ 519 w 580"/>
                  <a:gd name="T9" fmla="*/ 16 h 458"/>
                  <a:gd name="T10" fmla="*/ 344 w 580"/>
                  <a:gd name="T11" fmla="*/ 210 h 458"/>
                  <a:gd name="T12" fmla="*/ 334 w 580"/>
                  <a:gd name="T13" fmla="*/ 229 h 458"/>
                  <a:gd name="T14" fmla="*/ 344 w 580"/>
                  <a:gd name="T15" fmla="*/ 248 h 458"/>
                  <a:gd name="T16" fmla="*/ 519 w 580"/>
                  <a:gd name="T17" fmla="*/ 442 h 458"/>
                  <a:gd name="T18" fmla="*/ 545 w 580"/>
                  <a:gd name="T19" fmla="*/ 458 h 458"/>
                  <a:gd name="T20" fmla="*/ 580 w 580"/>
                  <a:gd name="T21" fmla="*/ 438 h 458"/>
                  <a:gd name="T22" fmla="*/ 570 w 580"/>
                  <a:gd name="T23" fmla="*/ 421 h 458"/>
                  <a:gd name="T24" fmla="*/ 411 w 580"/>
                  <a:gd name="T25" fmla="*/ 245 h 458"/>
                  <a:gd name="T26" fmla="*/ 399 w 580"/>
                  <a:gd name="T27" fmla="*/ 229 h 458"/>
                  <a:gd name="T28" fmla="*/ 411 w 580"/>
                  <a:gd name="T29" fmla="*/ 213 h 458"/>
                  <a:gd name="T30" fmla="*/ 252 w 580"/>
                  <a:gd name="T31" fmla="*/ 439 h 458"/>
                  <a:gd name="T32" fmla="*/ 281 w 580"/>
                  <a:gd name="T33" fmla="*/ 454 h 458"/>
                  <a:gd name="T34" fmla="*/ 309 w 580"/>
                  <a:gd name="T35" fmla="*/ 439 h 458"/>
                  <a:gd name="T36" fmla="*/ 309 w 580"/>
                  <a:gd name="T37" fmla="*/ 19 h 458"/>
                  <a:gd name="T38" fmla="*/ 281 w 580"/>
                  <a:gd name="T39" fmla="*/ 4 h 458"/>
                  <a:gd name="T40" fmla="*/ 252 w 580"/>
                  <a:gd name="T41" fmla="*/ 19 h 458"/>
                  <a:gd name="T42" fmla="*/ 252 w 580"/>
                  <a:gd name="T43" fmla="*/ 439 h 458"/>
                  <a:gd name="T44" fmla="*/ 0 w 580"/>
                  <a:gd name="T45" fmla="*/ 439 h 458"/>
                  <a:gd name="T46" fmla="*/ 28 w 580"/>
                  <a:gd name="T47" fmla="*/ 454 h 458"/>
                  <a:gd name="T48" fmla="*/ 56 w 580"/>
                  <a:gd name="T49" fmla="*/ 439 h 458"/>
                  <a:gd name="T50" fmla="*/ 56 w 580"/>
                  <a:gd name="T51" fmla="*/ 157 h 458"/>
                  <a:gd name="T52" fmla="*/ 165 w 580"/>
                  <a:gd name="T53" fmla="*/ 53 h 458"/>
                  <a:gd name="T54" fmla="*/ 180 w 580"/>
                  <a:gd name="T55" fmla="*/ 53 h 458"/>
                  <a:gd name="T56" fmla="*/ 196 w 580"/>
                  <a:gd name="T57" fmla="*/ 27 h 458"/>
                  <a:gd name="T58" fmla="*/ 154 w 580"/>
                  <a:gd name="T59" fmla="*/ 4 h 458"/>
                  <a:gd name="T60" fmla="*/ 0 w 580"/>
                  <a:gd name="T61" fmla="*/ 152 h 458"/>
                  <a:gd name="T62" fmla="*/ 0 w 580"/>
                  <a:gd name="T63" fmla="*/ 439 h 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80" h="458">
                    <a:moveTo>
                      <a:pt x="411" y="213"/>
                    </a:moveTo>
                    <a:cubicBezTo>
                      <a:pt x="570" y="37"/>
                      <a:pt x="570" y="37"/>
                      <a:pt x="570" y="37"/>
                    </a:cubicBezTo>
                    <a:cubicBezTo>
                      <a:pt x="576" y="30"/>
                      <a:pt x="580" y="25"/>
                      <a:pt x="580" y="20"/>
                    </a:cubicBezTo>
                    <a:cubicBezTo>
                      <a:pt x="580" y="10"/>
                      <a:pt x="559" y="0"/>
                      <a:pt x="545" y="0"/>
                    </a:cubicBezTo>
                    <a:cubicBezTo>
                      <a:pt x="535" y="0"/>
                      <a:pt x="526" y="8"/>
                      <a:pt x="519" y="16"/>
                    </a:cubicBezTo>
                    <a:cubicBezTo>
                      <a:pt x="344" y="210"/>
                      <a:pt x="344" y="210"/>
                      <a:pt x="344" y="210"/>
                    </a:cubicBezTo>
                    <a:cubicBezTo>
                      <a:pt x="336" y="219"/>
                      <a:pt x="334" y="224"/>
                      <a:pt x="334" y="229"/>
                    </a:cubicBezTo>
                    <a:cubicBezTo>
                      <a:pt x="334" y="234"/>
                      <a:pt x="336" y="239"/>
                      <a:pt x="344" y="248"/>
                    </a:cubicBezTo>
                    <a:cubicBezTo>
                      <a:pt x="519" y="442"/>
                      <a:pt x="519" y="442"/>
                      <a:pt x="519" y="442"/>
                    </a:cubicBezTo>
                    <a:cubicBezTo>
                      <a:pt x="526" y="450"/>
                      <a:pt x="535" y="458"/>
                      <a:pt x="545" y="458"/>
                    </a:cubicBezTo>
                    <a:cubicBezTo>
                      <a:pt x="559" y="458"/>
                      <a:pt x="580" y="448"/>
                      <a:pt x="580" y="438"/>
                    </a:cubicBezTo>
                    <a:cubicBezTo>
                      <a:pt x="580" y="433"/>
                      <a:pt x="576" y="428"/>
                      <a:pt x="570" y="421"/>
                    </a:cubicBezTo>
                    <a:cubicBezTo>
                      <a:pt x="411" y="245"/>
                      <a:pt x="411" y="245"/>
                      <a:pt x="411" y="245"/>
                    </a:cubicBezTo>
                    <a:cubicBezTo>
                      <a:pt x="403" y="236"/>
                      <a:pt x="399" y="232"/>
                      <a:pt x="399" y="229"/>
                    </a:cubicBezTo>
                    <a:cubicBezTo>
                      <a:pt x="399" y="226"/>
                      <a:pt x="403" y="222"/>
                      <a:pt x="411" y="213"/>
                    </a:cubicBezTo>
                    <a:moveTo>
                      <a:pt x="252" y="439"/>
                    </a:moveTo>
                    <a:cubicBezTo>
                      <a:pt x="252" y="449"/>
                      <a:pt x="261" y="454"/>
                      <a:pt x="281" y="454"/>
                    </a:cubicBezTo>
                    <a:cubicBezTo>
                      <a:pt x="300" y="454"/>
                      <a:pt x="309" y="449"/>
                      <a:pt x="309" y="439"/>
                    </a:cubicBezTo>
                    <a:cubicBezTo>
                      <a:pt x="309" y="19"/>
                      <a:pt x="309" y="19"/>
                      <a:pt x="309" y="19"/>
                    </a:cubicBezTo>
                    <a:cubicBezTo>
                      <a:pt x="309" y="9"/>
                      <a:pt x="300" y="4"/>
                      <a:pt x="281" y="4"/>
                    </a:cubicBezTo>
                    <a:cubicBezTo>
                      <a:pt x="261" y="4"/>
                      <a:pt x="252" y="9"/>
                      <a:pt x="252" y="19"/>
                    </a:cubicBezTo>
                    <a:lnTo>
                      <a:pt x="252" y="439"/>
                    </a:lnTo>
                    <a:close/>
                    <a:moveTo>
                      <a:pt x="0" y="439"/>
                    </a:moveTo>
                    <a:cubicBezTo>
                      <a:pt x="0" y="449"/>
                      <a:pt x="8" y="454"/>
                      <a:pt x="28" y="454"/>
                    </a:cubicBezTo>
                    <a:cubicBezTo>
                      <a:pt x="48" y="454"/>
                      <a:pt x="56" y="449"/>
                      <a:pt x="56" y="439"/>
                    </a:cubicBezTo>
                    <a:cubicBezTo>
                      <a:pt x="56" y="157"/>
                      <a:pt x="56" y="157"/>
                      <a:pt x="56" y="157"/>
                    </a:cubicBezTo>
                    <a:cubicBezTo>
                      <a:pt x="56" y="83"/>
                      <a:pt x="85" y="53"/>
                      <a:pt x="165" y="53"/>
                    </a:cubicBezTo>
                    <a:cubicBezTo>
                      <a:pt x="180" y="53"/>
                      <a:pt x="180" y="53"/>
                      <a:pt x="180" y="53"/>
                    </a:cubicBezTo>
                    <a:cubicBezTo>
                      <a:pt x="192" y="53"/>
                      <a:pt x="196" y="43"/>
                      <a:pt x="196" y="27"/>
                    </a:cubicBezTo>
                    <a:cubicBezTo>
                      <a:pt x="196" y="8"/>
                      <a:pt x="185" y="4"/>
                      <a:pt x="154" y="4"/>
                    </a:cubicBezTo>
                    <a:cubicBezTo>
                      <a:pt x="64" y="4"/>
                      <a:pt x="0" y="43"/>
                      <a:pt x="0" y="152"/>
                    </a:cubicBezTo>
                    <a:lnTo>
                      <a:pt x="0" y="43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sp>
            <p:nvSpPr>
              <p:cNvPr id="22" name="Freeform 7">
                <a:extLst>
                  <a:ext uri="{FF2B5EF4-FFF2-40B4-BE49-F238E27FC236}">
                    <a16:creationId xmlns:a16="http://schemas.microsoft.com/office/drawing/2014/main" id="{2F32DCBD-8628-F245-85CD-97686A20ECFD}"/>
                  </a:ext>
                </a:extLst>
              </p:cNvPr>
              <p:cNvSpPr>
                <a:spLocks/>
              </p:cNvSpPr>
              <p:nvPr/>
            </p:nvSpPr>
            <p:spPr bwMode="gray">
              <a:xfrm>
                <a:off x="2880" y="1704"/>
                <a:ext cx="618" cy="916"/>
              </a:xfrm>
              <a:custGeom>
                <a:avLst/>
                <a:gdLst>
                  <a:gd name="T0" fmla="*/ 307 w 307"/>
                  <a:gd name="T1" fmla="*/ 405 h 455"/>
                  <a:gd name="T2" fmla="*/ 307 w 307"/>
                  <a:gd name="T3" fmla="*/ 244 h 455"/>
                  <a:gd name="T4" fmla="*/ 279 w 307"/>
                  <a:gd name="T5" fmla="*/ 229 h 455"/>
                  <a:gd name="T6" fmla="*/ 250 w 307"/>
                  <a:gd name="T7" fmla="*/ 244 h 455"/>
                  <a:gd name="T8" fmla="*/ 250 w 307"/>
                  <a:gd name="T9" fmla="*/ 378 h 455"/>
                  <a:gd name="T10" fmla="*/ 199 w 307"/>
                  <a:gd name="T11" fmla="*/ 408 h 455"/>
                  <a:gd name="T12" fmla="*/ 61 w 307"/>
                  <a:gd name="T13" fmla="*/ 231 h 455"/>
                  <a:gd name="T14" fmla="*/ 238 w 307"/>
                  <a:gd name="T15" fmla="*/ 49 h 455"/>
                  <a:gd name="T16" fmla="*/ 270 w 307"/>
                  <a:gd name="T17" fmla="*/ 49 h 455"/>
                  <a:gd name="T18" fmla="*/ 286 w 307"/>
                  <a:gd name="T19" fmla="*/ 23 h 455"/>
                  <a:gd name="T20" fmla="*/ 244 w 307"/>
                  <a:gd name="T21" fmla="*/ 0 h 455"/>
                  <a:gd name="T22" fmla="*/ 231 w 307"/>
                  <a:gd name="T23" fmla="*/ 0 h 455"/>
                  <a:gd name="T24" fmla="*/ 0 w 307"/>
                  <a:gd name="T25" fmla="*/ 232 h 455"/>
                  <a:gd name="T26" fmla="*/ 198 w 307"/>
                  <a:gd name="T27" fmla="*/ 455 h 455"/>
                  <a:gd name="T28" fmla="*/ 307 w 307"/>
                  <a:gd name="T29" fmla="*/ 405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7" h="455">
                    <a:moveTo>
                      <a:pt x="307" y="405"/>
                    </a:moveTo>
                    <a:cubicBezTo>
                      <a:pt x="307" y="244"/>
                      <a:pt x="307" y="244"/>
                      <a:pt x="307" y="244"/>
                    </a:cubicBezTo>
                    <a:cubicBezTo>
                      <a:pt x="307" y="234"/>
                      <a:pt x="298" y="229"/>
                      <a:pt x="279" y="229"/>
                    </a:cubicBezTo>
                    <a:cubicBezTo>
                      <a:pt x="259" y="229"/>
                      <a:pt x="250" y="234"/>
                      <a:pt x="250" y="244"/>
                    </a:cubicBezTo>
                    <a:cubicBezTo>
                      <a:pt x="250" y="378"/>
                      <a:pt x="250" y="378"/>
                      <a:pt x="250" y="378"/>
                    </a:cubicBezTo>
                    <a:cubicBezTo>
                      <a:pt x="250" y="399"/>
                      <a:pt x="241" y="408"/>
                      <a:pt x="199" y="408"/>
                    </a:cubicBezTo>
                    <a:cubicBezTo>
                      <a:pt x="114" y="408"/>
                      <a:pt x="61" y="342"/>
                      <a:pt x="61" y="231"/>
                    </a:cubicBezTo>
                    <a:cubicBezTo>
                      <a:pt x="61" y="115"/>
                      <a:pt x="126" y="49"/>
                      <a:pt x="238" y="49"/>
                    </a:cubicBezTo>
                    <a:cubicBezTo>
                      <a:pt x="270" y="49"/>
                      <a:pt x="270" y="49"/>
                      <a:pt x="270" y="49"/>
                    </a:cubicBezTo>
                    <a:cubicBezTo>
                      <a:pt x="282" y="49"/>
                      <a:pt x="286" y="39"/>
                      <a:pt x="286" y="23"/>
                    </a:cubicBezTo>
                    <a:cubicBezTo>
                      <a:pt x="286" y="4"/>
                      <a:pt x="275" y="0"/>
                      <a:pt x="244" y="0"/>
                    </a:cubicBezTo>
                    <a:cubicBezTo>
                      <a:pt x="231" y="0"/>
                      <a:pt x="231" y="0"/>
                      <a:pt x="231" y="0"/>
                    </a:cubicBezTo>
                    <a:cubicBezTo>
                      <a:pt x="101" y="0"/>
                      <a:pt x="0" y="71"/>
                      <a:pt x="0" y="232"/>
                    </a:cubicBezTo>
                    <a:cubicBezTo>
                      <a:pt x="0" y="386"/>
                      <a:pt x="88" y="455"/>
                      <a:pt x="198" y="455"/>
                    </a:cubicBezTo>
                    <a:cubicBezTo>
                      <a:pt x="286" y="455"/>
                      <a:pt x="307" y="430"/>
                      <a:pt x="307" y="40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sp>
            <p:nvSpPr>
              <p:cNvPr id="23" name="Oval 8">
                <a:extLst>
                  <a:ext uri="{FF2B5EF4-FFF2-40B4-BE49-F238E27FC236}">
                    <a16:creationId xmlns:a16="http://schemas.microsoft.com/office/drawing/2014/main" id="{60D97C11-1A3B-5449-A48D-98A3E79B3810}"/>
                  </a:ext>
                </a:extLst>
              </p:cNvPr>
              <p:cNvSpPr>
                <a:spLocks noChangeArrowheads="1"/>
              </p:cNvSpPr>
              <p:nvPr/>
            </p:nvSpPr>
            <p:spPr bwMode="gray">
              <a:xfrm>
                <a:off x="3778" y="2099"/>
                <a:ext cx="122" cy="12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sp>
            <p:nvSpPr>
              <p:cNvPr id="24" name="Freeform 9">
                <a:extLst>
                  <a:ext uri="{FF2B5EF4-FFF2-40B4-BE49-F238E27FC236}">
                    <a16:creationId xmlns:a16="http://schemas.microsoft.com/office/drawing/2014/main" id="{5856770D-B8F0-244E-A05D-AED190086F10}"/>
                  </a:ext>
                </a:extLst>
              </p:cNvPr>
              <p:cNvSpPr>
                <a:spLocks noEditPoints="1"/>
              </p:cNvSpPr>
              <p:nvPr/>
            </p:nvSpPr>
            <p:spPr bwMode="gray">
              <a:xfrm>
                <a:off x="3623" y="1696"/>
                <a:ext cx="1167" cy="922"/>
              </a:xfrm>
              <a:custGeom>
                <a:avLst/>
                <a:gdLst>
                  <a:gd name="T0" fmla="*/ 411 w 580"/>
                  <a:gd name="T1" fmla="*/ 213 h 458"/>
                  <a:gd name="T2" fmla="*/ 570 w 580"/>
                  <a:gd name="T3" fmla="*/ 37 h 458"/>
                  <a:gd name="T4" fmla="*/ 580 w 580"/>
                  <a:gd name="T5" fmla="*/ 20 h 458"/>
                  <a:gd name="T6" fmla="*/ 545 w 580"/>
                  <a:gd name="T7" fmla="*/ 0 h 458"/>
                  <a:gd name="T8" fmla="*/ 519 w 580"/>
                  <a:gd name="T9" fmla="*/ 16 h 458"/>
                  <a:gd name="T10" fmla="*/ 344 w 580"/>
                  <a:gd name="T11" fmla="*/ 210 h 458"/>
                  <a:gd name="T12" fmla="*/ 334 w 580"/>
                  <a:gd name="T13" fmla="*/ 229 h 458"/>
                  <a:gd name="T14" fmla="*/ 344 w 580"/>
                  <a:gd name="T15" fmla="*/ 248 h 458"/>
                  <a:gd name="T16" fmla="*/ 519 w 580"/>
                  <a:gd name="T17" fmla="*/ 442 h 458"/>
                  <a:gd name="T18" fmla="*/ 545 w 580"/>
                  <a:gd name="T19" fmla="*/ 458 h 458"/>
                  <a:gd name="T20" fmla="*/ 580 w 580"/>
                  <a:gd name="T21" fmla="*/ 438 h 458"/>
                  <a:gd name="T22" fmla="*/ 570 w 580"/>
                  <a:gd name="T23" fmla="*/ 421 h 458"/>
                  <a:gd name="T24" fmla="*/ 411 w 580"/>
                  <a:gd name="T25" fmla="*/ 245 h 458"/>
                  <a:gd name="T26" fmla="*/ 399 w 580"/>
                  <a:gd name="T27" fmla="*/ 229 h 458"/>
                  <a:gd name="T28" fmla="*/ 411 w 580"/>
                  <a:gd name="T29" fmla="*/ 213 h 458"/>
                  <a:gd name="T30" fmla="*/ 252 w 580"/>
                  <a:gd name="T31" fmla="*/ 439 h 458"/>
                  <a:gd name="T32" fmla="*/ 281 w 580"/>
                  <a:gd name="T33" fmla="*/ 454 h 458"/>
                  <a:gd name="T34" fmla="*/ 309 w 580"/>
                  <a:gd name="T35" fmla="*/ 439 h 458"/>
                  <a:gd name="T36" fmla="*/ 309 w 580"/>
                  <a:gd name="T37" fmla="*/ 19 h 458"/>
                  <a:gd name="T38" fmla="*/ 281 w 580"/>
                  <a:gd name="T39" fmla="*/ 4 h 458"/>
                  <a:gd name="T40" fmla="*/ 252 w 580"/>
                  <a:gd name="T41" fmla="*/ 19 h 458"/>
                  <a:gd name="T42" fmla="*/ 252 w 580"/>
                  <a:gd name="T43" fmla="*/ 439 h 458"/>
                  <a:gd name="T44" fmla="*/ 0 w 580"/>
                  <a:gd name="T45" fmla="*/ 439 h 458"/>
                  <a:gd name="T46" fmla="*/ 28 w 580"/>
                  <a:gd name="T47" fmla="*/ 454 h 458"/>
                  <a:gd name="T48" fmla="*/ 56 w 580"/>
                  <a:gd name="T49" fmla="*/ 439 h 458"/>
                  <a:gd name="T50" fmla="*/ 56 w 580"/>
                  <a:gd name="T51" fmla="*/ 157 h 458"/>
                  <a:gd name="T52" fmla="*/ 165 w 580"/>
                  <a:gd name="T53" fmla="*/ 53 h 458"/>
                  <a:gd name="T54" fmla="*/ 180 w 580"/>
                  <a:gd name="T55" fmla="*/ 53 h 458"/>
                  <a:gd name="T56" fmla="*/ 196 w 580"/>
                  <a:gd name="T57" fmla="*/ 27 h 458"/>
                  <a:gd name="T58" fmla="*/ 154 w 580"/>
                  <a:gd name="T59" fmla="*/ 4 h 458"/>
                  <a:gd name="T60" fmla="*/ 0 w 580"/>
                  <a:gd name="T61" fmla="*/ 152 h 458"/>
                  <a:gd name="T62" fmla="*/ 0 w 580"/>
                  <a:gd name="T63" fmla="*/ 439 h 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80" h="458">
                    <a:moveTo>
                      <a:pt x="411" y="213"/>
                    </a:moveTo>
                    <a:cubicBezTo>
                      <a:pt x="570" y="37"/>
                      <a:pt x="570" y="37"/>
                      <a:pt x="570" y="37"/>
                    </a:cubicBezTo>
                    <a:cubicBezTo>
                      <a:pt x="576" y="30"/>
                      <a:pt x="580" y="25"/>
                      <a:pt x="580" y="20"/>
                    </a:cubicBezTo>
                    <a:cubicBezTo>
                      <a:pt x="580" y="10"/>
                      <a:pt x="559" y="0"/>
                      <a:pt x="545" y="0"/>
                    </a:cubicBezTo>
                    <a:cubicBezTo>
                      <a:pt x="535" y="0"/>
                      <a:pt x="526" y="8"/>
                      <a:pt x="519" y="16"/>
                    </a:cubicBezTo>
                    <a:cubicBezTo>
                      <a:pt x="344" y="210"/>
                      <a:pt x="344" y="210"/>
                      <a:pt x="344" y="210"/>
                    </a:cubicBezTo>
                    <a:cubicBezTo>
                      <a:pt x="336" y="219"/>
                      <a:pt x="334" y="224"/>
                      <a:pt x="334" y="229"/>
                    </a:cubicBezTo>
                    <a:cubicBezTo>
                      <a:pt x="334" y="234"/>
                      <a:pt x="336" y="239"/>
                      <a:pt x="344" y="248"/>
                    </a:cubicBezTo>
                    <a:cubicBezTo>
                      <a:pt x="519" y="442"/>
                      <a:pt x="519" y="442"/>
                      <a:pt x="519" y="442"/>
                    </a:cubicBezTo>
                    <a:cubicBezTo>
                      <a:pt x="526" y="450"/>
                      <a:pt x="535" y="458"/>
                      <a:pt x="545" y="458"/>
                    </a:cubicBezTo>
                    <a:cubicBezTo>
                      <a:pt x="559" y="458"/>
                      <a:pt x="580" y="448"/>
                      <a:pt x="580" y="438"/>
                    </a:cubicBezTo>
                    <a:cubicBezTo>
                      <a:pt x="580" y="433"/>
                      <a:pt x="576" y="428"/>
                      <a:pt x="570" y="421"/>
                    </a:cubicBezTo>
                    <a:cubicBezTo>
                      <a:pt x="411" y="245"/>
                      <a:pt x="411" y="245"/>
                      <a:pt x="411" y="245"/>
                    </a:cubicBezTo>
                    <a:cubicBezTo>
                      <a:pt x="403" y="236"/>
                      <a:pt x="399" y="232"/>
                      <a:pt x="399" y="229"/>
                    </a:cubicBezTo>
                    <a:cubicBezTo>
                      <a:pt x="399" y="226"/>
                      <a:pt x="403" y="222"/>
                      <a:pt x="411" y="213"/>
                    </a:cubicBezTo>
                    <a:moveTo>
                      <a:pt x="252" y="439"/>
                    </a:moveTo>
                    <a:cubicBezTo>
                      <a:pt x="252" y="449"/>
                      <a:pt x="261" y="454"/>
                      <a:pt x="281" y="454"/>
                    </a:cubicBezTo>
                    <a:cubicBezTo>
                      <a:pt x="300" y="454"/>
                      <a:pt x="309" y="449"/>
                      <a:pt x="309" y="439"/>
                    </a:cubicBezTo>
                    <a:cubicBezTo>
                      <a:pt x="309" y="19"/>
                      <a:pt x="309" y="19"/>
                      <a:pt x="309" y="19"/>
                    </a:cubicBezTo>
                    <a:cubicBezTo>
                      <a:pt x="309" y="9"/>
                      <a:pt x="300" y="4"/>
                      <a:pt x="281" y="4"/>
                    </a:cubicBezTo>
                    <a:cubicBezTo>
                      <a:pt x="261" y="4"/>
                      <a:pt x="252" y="9"/>
                      <a:pt x="252" y="19"/>
                    </a:cubicBezTo>
                    <a:lnTo>
                      <a:pt x="252" y="439"/>
                    </a:lnTo>
                    <a:close/>
                    <a:moveTo>
                      <a:pt x="0" y="439"/>
                    </a:moveTo>
                    <a:cubicBezTo>
                      <a:pt x="0" y="449"/>
                      <a:pt x="8" y="454"/>
                      <a:pt x="28" y="454"/>
                    </a:cubicBezTo>
                    <a:cubicBezTo>
                      <a:pt x="48" y="454"/>
                      <a:pt x="56" y="449"/>
                      <a:pt x="56" y="439"/>
                    </a:cubicBezTo>
                    <a:cubicBezTo>
                      <a:pt x="56" y="157"/>
                      <a:pt x="56" y="157"/>
                      <a:pt x="56" y="157"/>
                    </a:cubicBezTo>
                    <a:cubicBezTo>
                      <a:pt x="56" y="83"/>
                      <a:pt x="85" y="53"/>
                      <a:pt x="165" y="53"/>
                    </a:cubicBezTo>
                    <a:cubicBezTo>
                      <a:pt x="180" y="53"/>
                      <a:pt x="180" y="53"/>
                      <a:pt x="180" y="53"/>
                    </a:cubicBezTo>
                    <a:cubicBezTo>
                      <a:pt x="192" y="53"/>
                      <a:pt x="196" y="43"/>
                      <a:pt x="196" y="27"/>
                    </a:cubicBezTo>
                    <a:cubicBezTo>
                      <a:pt x="196" y="8"/>
                      <a:pt x="185" y="4"/>
                      <a:pt x="154" y="4"/>
                    </a:cubicBezTo>
                    <a:cubicBezTo>
                      <a:pt x="64" y="4"/>
                      <a:pt x="0" y="43"/>
                      <a:pt x="0" y="152"/>
                    </a:cubicBezTo>
                    <a:lnTo>
                      <a:pt x="0" y="43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sp>
            <p:nvSpPr>
              <p:cNvPr id="25" name="Freeform 10">
                <a:extLst>
                  <a:ext uri="{FF2B5EF4-FFF2-40B4-BE49-F238E27FC236}">
                    <a16:creationId xmlns:a16="http://schemas.microsoft.com/office/drawing/2014/main" id="{2B91B16B-BC11-E547-8FAC-B9B8D18EA449}"/>
                  </a:ext>
                </a:extLst>
              </p:cNvPr>
              <p:cNvSpPr>
                <a:spLocks/>
              </p:cNvSpPr>
              <p:nvPr/>
            </p:nvSpPr>
            <p:spPr bwMode="gray">
              <a:xfrm>
                <a:off x="2880" y="1704"/>
                <a:ext cx="618" cy="916"/>
              </a:xfrm>
              <a:custGeom>
                <a:avLst/>
                <a:gdLst>
                  <a:gd name="T0" fmla="*/ 307 w 307"/>
                  <a:gd name="T1" fmla="*/ 405 h 455"/>
                  <a:gd name="T2" fmla="*/ 307 w 307"/>
                  <a:gd name="T3" fmla="*/ 244 h 455"/>
                  <a:gd name="T4" fmla="*/ 279 w 307"/>
                  <a:gd name="T5" fmla="*/ 229 h 455"/>
                  <a:gd name="T6" fmla="*/ 250 w 307"/>
                  <a:gd name="T7" fmla="*/ 244 h 455"/>
                  <a:gd name="T8" fmla="*/ 250 w 307"/>
                  <a:gd name="T9" fmla="*/ 378 h 455"/>
                  <a:gd name="T10" fmla="*/ 199 w 307"/>
                  <a:gd name="T11" fmla="*/ 408 h 455"/>
                  <a:gd name="T12" fmla="*/ 61 w 307"/>
                  <a:gd name="T13" fmla="*/ 231 h 455"/>
                  <a:gd name="T14" fmla="*/ 238 w 307"/>
                  <a:gd name="T15" fmla="*/ 49 h 455"/>
                  <a:gd name="T16" fmla="*/ 270 w 307"/>
                  <a:gd name="T17" fmla="*/ 49 h 455"/>
                  <a:gd name="T18" fmla="*/ 286 w 307"/>
                  <a:gd name="T19" fmla="*/ 23 h 455"/>
                  <a:gd name="T20" fmla="*/ 244 w 307"/>
                  <a:gd name="T21" fmla="*/ 0 h 455"/>
                  <a:gd name="T22" fmla="*/ 231 w 307"/>
                  <a:gd name="T23" fmla="*/ 0 h 455"/>
                  <a:gd name="T24" fmla="*/ 0 w 307"/>
                  <a:gd name="T25" fmla="*/ 232 h 455"/>
                  <a:gd name="T26" fmla="*/ 198 w 307"/>
                  <a:gd name="T27" fmla="*/ 455 h 455"/>
                  <a:gd name="T28" fmla="*/ 307 w 307"/>
                  <a:gd name="T29" fmla="*/ 405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7" h="455">
                    <a:moveTo>
                      <a:pt x="307" y="405"/>
                    </a:moveTo>
                    <a:cubicBezTo>
                      <a:pt x="307" y="244"/>
                      <a:pt x="307" y="244"/>
                      <a:pt x="307" y="244"/>
                    </a:cubicBezTo>
                    <a:cubicBezTo>
                      <a:pt x="307" y="234"/>
                      <a:pt x="298" y="229"/>
                      <a:pt x="279" y="229"/>
                    </a:cubicBezTo>
                    <a:cubicBezTo>
                      <a:pt x="259" y="229"/>
                      <a:pt x="250" y="234"/>
                      <a:pt x="250" y="244"/>
                    </a:cubicBezTo>
                    <a:cubicBezTo>
                      <a:pt x="250" y="378"/>
                      <a:pt x="250" y="378"/>
                      <a:pt x="250" y="378"/>
                    </a:cubicBezTo>
                    <a:cubicBezTo>
                      <a:pt x="250" y="399"/>
                      <a:pt x="241" y="408"/>
                      <a:pt x="199" y="408"/>
                    </a:cubicBezTo>
                    <a:cubicBezTo>
                      <a:pt x="114" y="408"/>
                      <a:pt x="61" y="342"/>
                      <a:pt x="61" y="231"/>
                    </a:cubicBezTo>
                    <a:cubicBezTo>
                      <a:pt x="61" y="115"/>
                      <a:pt x="126" y="49"/>
                      <a:pt x="238" y="49"/>
                    </a:cubicBezTo>
                    <a:cubicBezTo>
                      <a:pt x="270" y="49"/>
                      <a:pt x="270" y="49"/>
                      <a:pt x="270" y="49"/>
                    </a:cubicBezTo>
                    <a:cubicBezTo>
                      <a:pt x="282" y="49"/>
                      <a:pt x="286" y="39"/>
                      <a:pt x="286" y="23"/>
                    </a:cubicBezTo>
                    <a:cubicBezTo>
                      <a:pt x="286" y="4"/>
                      <a:pt x="275" y="0"/>
                      <a:pt x="244" y="0"/>
                    </a:cubicBezTo>
                    <a:cubicBezTo>
                      <a:pt x="231" y="0"/>
                      <a:pt x="231" y="0"/>
                      <a:pt x="231" y="0"/>
                    </a:cubicBezTo>
                    <a:cubicBezTo>
                      <a:pt x="101" y="0"/>
                      <a:pt x="0" y="71"/>
                      <a:pt x="0" y="232"/>
                    </a:cubicBezTo>
                    <a:cubicBezTo>
                      <a:pt x="0" y="386"/>
                      <a:pt x="88" y="455"/>
                      <a:pt x="198" y="455"/>
                    </a:cubicBezTo>
                    <a:cubicBezTo>
                      <a:pt x="286" y="455"/>
                      <a:pt x="307" y="430"/>
                      <a:pt x="307" y="40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sp>
            <p:nvSpPr>
              <p:cNvPr id="26" name="Oval 11">
                <a:extLst>
                  <a:ext uri="{FF2B5EF4-FFF2-40B4-BE49-F238E27FC236}">
                    <a16:creationId xmlns:a16="http://schemas.microsoft.com/office/drawing/2014/main" id="{14F8C3C8-4888-7646-B9B4-64EB46A1DA23}"/>
                  </a:ext>
                </a:extLst>
              </p:cNvPr>
              <p:cNvSpPr>
                <a:spLocks noChangeArrowheads="1"/>
              </p:cNvSpPr>
              <p:nvPr/>
            </p:nvSpPr>
            <p:spPr bwMode="gray">
              <a:xfrm>
                <a:off x="3778" y="2099"/>
                <a:ext cx="122" cy="12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sp>
            <p:nvSpPr>
              <p:cNvPr id="27" name="Freeform 12">
                <a:extLst>
                  <a:ext uri="{FF2B5EF4-FFF2-40B4-BE49-F238E27FC236}">
                    <a16:creationId xmlns:a16="http://schemas.microsoft.com/office/drawing/2014/main" id="{D79D01D1-4E3E-F34B-97D7-2D387E68746E}"/>
                  </a:ext>
                </a:extLst>
              </p:cNvPr>
              <p:cNvSpPr>
                <a:spLocks/>
              </p:cNvSpPr>
              <p:nvPr/>
            </p:nvSpPr>
            <p:spPr bwMode="gray">
              <a:xfrm>
                <a:off x="4321" y="1029"/>
                <a:ext cx="648" cy="649"/>
              </a:xfrm>
              <a:custGeom>
                <a:avLst/>
                <a:gdLst>
                  <a:gd name="T0" fmla="*/ 0 w 648"/>
                  <a:gd name="T1" fmla="*/ 649 h 649"/>
                  <a:gd name="T2" fmla="*/ 2 w 648"/>
                  <a:gd name="T3" fmla="*/ 649 h 649"/>
                  <a:gd name="T4" fmla="*/ 648 w 648"/>
                  <a:gd name="T5" fmla="*/ 0 h 649"/>
                  <a:gd name="T6" fmla="*/ 423 w 648"/>
                  <a:gd name="T7" fmla="*/ 0 h 649"/>
                  <a:gd name="T8" fmla="*/ 0 w 648"/>
                  <a:gd name="T9" fmla="*/ 649 h 649"/>
                </a:gdLst>
                <a:ahLst/>
                <a:cxnLst>
                  <a:cxn ang="0">
                    <a:pos x="T0" y="T1"/>
                  </a:cxn>
                  <a:cxn ang="0">
                    <a:pos x="T2" y="T3"/>
                  </a:cxn>
                  <a:cxn ang="0">
                    <a:pos x="T4" y="T5"/>
                  </a:cxn>
                  <a:cxn ang="0">
                    <a:pos x="T6" y="T7"/>
                  </a:cxn>
                  <a:cxn ang="0">
                    <a:pos x="T8" y="T9"/>
                  </a:cxn>
                </a:cxnLst>
                <a:rect l="0" t="0" r="r" b="b"/>
                <a:pathLst>
                  <a:path w="648" h="649">
                    <a:moveTo>
                      <a:pt x="0" y="649"/>
                    </a:moveTo>
                    <a:lnTo>
                      <a:pt x="2" y="649"/>
                    </a:lnTo>
                    <a:lnTo>
                      <a:pt x="648" y="0"/>
                    </a:lnTo>
                    <a:lnTo>
                      <a:pt x="423" y="0"/>
                    </a:lnTo>
                    <a:lnTo>
                      <a:pt x="0" y="64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sp>
            <p:nvSpPr>
              <p:cNvPr id="28" name="Freeform 13">
                <a:extLst>
                  <a:ext uri="{FF2B5EF4-FFF2-40B4-BE49-F238E27FC236}">
                    <a16:creationId xmlns:a16="http://schemas.microsoft.com/office/drawing/2014/main" id="{46549898-6C52-B147-A8F6-A73FDBE6163B}"/>
                  </a:ext>
                </a:extLst>
              </p:cNvPr>
              <p:cNvSpPr>
                <a:spLocks/>
              </p:cNvSpPr>
              <p:nvPr/>
            </p:nvSpPr>
            <p:spPr bwMode="gray">
              <a:xfrm>
                <a:off x="4321" y="1029"/>
                <a:ext cx="648" cy="649"/>
              </a:xfrm>
              <a:custGeom>
                <a:avLst/>
                <a:gdLst>
                  <a:gd name="T0" fmla="*/ 0 w 648"/>
                  <a:gd name="T1" fmla="*/ 649 h 649"/>
                  <a:gd name="T2" fmla="*/ 2 w 648"/>
                  <a:gd name="T3" fmla="*/ 649 h 649"/>
                  <a:gd name="T4" fmla="*/ 648 w 648"/>
                  <a:gd name="T5" fmla="*/ 0 h 649"/>
                  <a:gd name="T6" fmla="*/ 423 w 648"/>
                  <a:gd name="T7" fmla="*/ 0 h 649"/>
                  <a:gd name="T8" fmla="*/ 0 w 648"/>
                  <a:gd name="T9" fmla="*/ 649 h 649"/>
                </a:gdLst>
                <a:ahLst/>
                <a:cxnLst>
                  <a:cxn ang="0">
                    <a:pos x="T0" y="T1"/>
                  </a:cxn>
                  <a:cxn ang="0">
                    <a:pos x="T2" y="T3"/>
                  </a:cxn>
                  <a:cxn ang="0">
                    <a:pos x="T4" y="T5"/>
                  </a:cxn>
                  <a:cxn ang="0">
                    <a:pos x="T6" y="T7"/>
                  </a:cxn>
                  <a:cxn ang="0">
                    <a:pos x="T8" y="T9"/>
                  </a:cxn>
                </a:cxnLst>
                <a:rect l="0" t="0" r="r" b="b"/>
                <a:pathLst>
                  <a:path w="648" h="649">
                    <a:moveTo>
                      <a:pt x="0" y="649"/>
                    </a:moveTo>
                    <a:lnTo>
                      <a:pt x="2" y="649"/>
                    </a:lnTo>
                    <a:lnTo>
                      <a:pt x="648" y="0"/>
                    </a:lnTo>
                    <a:lnTo>
                      <a:pt x="423" y="0"/>
                    </a:lnTo>
                    <a:lnTo>
                      <a:pt x="0" y="64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grpSp>
      </p:grpSp>
      <p:sp>
        <p:nvSpPr>
          <p:cNvPr id="7" name="Date Placeholder 6"/>
          <p:cNvSpPr>
            <a:spLocks noGrp="1"/>
          </p:cNvSpPr>
          <p:nvPr>
            <p:ph type="dt" sz="half" idx="10"/>
          </p:nvPr>
        </p:nvSpPr>
        <p:spPr>
          <a:xfrm>
            <a:off x="0" y="0"/>
            <a:ext cx="0" cy="0"/>
          </a:xfrm>
          <a:prstGeom prst="rect">
            <a:avLst/>
          </a:prstGeom>
        </p:spPr>
        <p:txBody>
          <a:bodyPr/>
          <a:lstStyle>
            <a:lvl1pPr>
              <a:defRPr sz="100">
                <a:noFill/>
              </a:defRPr>
            </a:lvl1pPr>
          </a:lstStyle>
          <a:p>
            <a:fld id="{D6D08F88-38D2-4786-82D6-89211B05083D}" type="datetime5">
              <a:rPr lang="en-US" smtClean="0"/>
              <a:t>26-Jun-20</a:t>
            </a:fld>
            <a:endParaRPr lang="en-US" dirty="0"/>
          </a:p>
        </p:txBody>
      </p:sp>
      <p:sp>
        <p:nvSpPr>
          <p:cNvPr id="8" name="Footer Placeholder 7"/>
          <p:cNvSpPr>
            <a:spLocks noGrp="1"/>
          </p:cNvSpPr>
          <p:nvPr>
            <p:ph type="ftr" sz="quarter" idx="11"/>
          </p:nvPr>
        </p:nvSpPr>
        <p:spPr>
          <a:xfrm>
            <a:off x="0" y="0"/>
            <a:ext cx="0" cy="0"/>
          </a:xfrm>
          <a:prstGeom prst="rect">
            <a:avLst/>
          </a:prstGeom>
        </p:spPr>
        <p:txBody>
          <a:bodyPr/>
          <a:lstStyle>
            <a:lvl1pPr marL="0" indent="0">
              <a:buNone/>
              <a:defRPr sz="100">
                <a:noFill/>
              </a:defRPr>
            </a:lvl1pPr>
          </a:lstStyle>
          <a:p>
            <a:r>
              <a:rPr lang="en-US"/>
              <a:t>Title of presentation (Insert / Header &amp; Footer / Apply to All)</a:t>
            </a:r>
            <a:endParaRPr lang="en-US" dirty="0"/>
          </a:p>
        </p:txBody>
      </p:sp>
      <p:sp>
        <p:nvSpPr>
          <p:cNvPr id="9" name="Slide Number Placeholder 8"/>
          <p:cNvSpPr>
            <a:spLocks noGrp="1"/>
          </p:cNvSpPr>
          <p:nvPr>
            <p:ph type="sldNum" sz="quarter" idx="12"/>
          </p:nvPr>
        </p:nvSpPr>
        <p:spPr>
          <a:xfrm>
            <a:off x="0" y="0"/>
            <a:ext cx="0" cy="0"/>
          </a:xfrm>
          <a:prstGeom prst="rect">
            <a:avLst/>
          </a:prstGeom>
        </p:spPr>
        <p:txBody>
          <a:bodyPr/>
          <a:lstStyle>
            <a:lvl1pPr>
              <a:defRPr sz="100">
                <a:noFill/>
              </a:defRPr>
            </a:lvl1pPr>
          </a:lstStyle>
          <a:p>
            <a:fld id="{8E3B25F7-8D1F-44B5-B485-EE3C438CFD7B}" type="slidenum">
              <a:rPr lang="en-US" smtClean="0"/>
              <a:pPr/>
              <a:t>‹#›</a:t>
            </a:fld>
            <a:endParaRPr lang="en-US"/>
          </a:p>
        </p:txBody>
      </p:sp>
      <p:sp>
        <p:nvSpPr>
          <p:cNvPr id="2" name="Title 1"/>
          <p:cNvSpPr>
            <a:spLocks noGrp="1"/>
          </p:cNvSpPr>
          <p:nvPr>
            <p:ph type="ctrTitle" hasCustomPrompt="1"/>
          </p:nvPr>
        </p:nvSpPr>
        <p:spPr>
          <a:xfrm>
            <a:off x="417600" y="1628775"/>
            <a:ext cx="3816000" cy="2236264"/>
          </a:xfrm>
        </p:spPr>
        <p:txBody>
          <a:bodyPr anchor="b"/>
          <a:lstStyle>
            <a:lvl1pPr algn="l">
              <a:defRPr sz="3600"/>
            </a:lvl1pPr>
          </a:lstStyle>
          <a:p>
            <a:r>
              <a:rPr lang="en-US" dirty="0"/>
              <a:t>Click to add presentation title</a:t>
            </a:r>
          </a:p>
        </p:txBody>
      </p:sp>
      <p:sp>
        <p:nvSpPr>
          <p:cNvPr id="3" name="Subtitle 2"/>
          <p:cNvSpPr>
            <a:spLocks noGrp="1"/>
          </p:cNvSpPr>
          <p:nvPr>
            <p:ph type="subTitle" idx="1" hasCustomPrompt="1"/>
          </p:nvPr>
        </p:nvSpPr>
        <p:spPr>
          <a:xfrm>
            <a:off x="417600" y="4094163"/>
            <a:ext cx="3816000" cy="1080000"/>
          </a:xfrm>
        </p:spPr>
        <p:txBody>
          <a:bodyPr/>
          <a:lstStyle>
            <a:lvl1pPr marL="0" indent="0" algn="l">
              <a:spcBef>
                <a:spcPts val="0"/>
              </a:spcBef>
              <a:buNone/>
              <a:defRPr sz="1800" b="1"/>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31" name="Text Placeholder 30"/>
          <p:cNvSpPr>
            <a:spLocks noGrp="1"/>
          </p:cNvSpPr>
          <p:nvPr>
            <p:ph type="body" sz="quarter" idx="14" hasCustomPrompt="1"/>
          </p:nvPr>
        </p:nvSpPr>
        <p:spPr>
          <a:xfrm>
            <a:off x="417600" y="5393268"/>
            <a:ext cx="3816000" cy="296332"/>
          </a:xfrm>
        </p:spPr>
        <p:txBody>
          <a:bodyPr wrap="none"/>
          <a:lstStyle>
            <a:lvl1pPr marL="0" indent="0">
              <a:spcBef>
                <a:spcPts val="0"/>
              </a:spcBef>
              <a:buNone/>
              <a:defRPr sz="1200"/>
            </a:lvl1pPr>
            <a:lvl2pPr marL="0" indent="0">
              <a:buNone/>
              <a:defRPr sz="1200"/>
            </a:lvl2pPr>
            <a:lvl3pPr marL="0" indent="0">
              <a:buNone/>
              <a:defRPr sz="1200"/>
            </a:lvl3pPr>
            <a:lvl4pPr marL="0">
              <a:buNone/>
              <a:defRPr sz="1200"/>
            </a:lvl4pPr>
            <a:lvl5pPr marL="0" indent="0">
              <a:buNone/>
              <a:defRPr sz="1200"/>
            </a:lvl5pPr>
          </a:lstStyle>
          <a:p>
            <a:pPr lvl="0"/>
            <a:r>
              <a:rPr lang="en-US" dirty="0"/>
              <a:t>Name</a:t>
            </a:r>
          </a:p>
        </p:txBody>
      </p:sp>
      <p:sp>
        <p:nvSpPr>
          <p:cNvPr id="34" name="Text Placeholder 30"/>
          <p:cNvSpPr>
            <a:spLocks noGrp="1"/>
          </p:cNvSpPr>
          <p:nvPr>
            <p:ph type="body" sz="quarter" idx="15" hasCustomPrompt="1"/>
          </p:nvPr>
        </p:nvSpPr>
        <p:spPr>
          <a:xfrm>
            <a:off x="417600" y="5691446"/>
            <a:ext cx="3816000" cy="296332"/>
          </a:xfrm>
        </p:spPr>
        <p:txBody>
          <a:bodyPr wrap="none"/>
          <a:lstStyle>
            <a:lvl1pPr marL="0" indent="0">
              <a:spcBef>
                <a:spcPts val="0"/>
              </a:spcBef>
              <a:buNone/>
              <a:defRPr sz="1200"/>
            </a:lvl1pPr>
            <a:lvl2pPr marL="0" indent="0">
              <a:buNone/>
              <a:defRPr sz="1200"/>
            </a:lvl2pPr>
            <a:lvl3pPr marL="0" indent="0">
              <a:buNone/>
              <a:defRPr sz="1200"/>
            </a:lvl3pPr>
            <a:lvl4pPr marL="0">
              <a:buNone/>
              <a:defRPr sz="1200"/>
            </a:lvl4pPr>
            <a:lvl5pPr marL="0" indent="0">
              <a:buNone/>
              <a:defRPr sz="1200"/>
            </a:lvl5pPr>
          </a:lstStyle>
          <a:p>
            <a:pPr lvl="0"/>
            <a:r>
              <a:rPr lang="en-US" dirty="0"/>
              <a:t>Department</a:t>
            </a:r>
          </a:p>
        </p:txBody>
      </p:sp>
    </p:spTree>
    <p:extLst>
      <p:ext uri="{BB962C8B-B14F-4D97-AF65-F5344CB8AC3E}">
        <p14:creationId xmlns:p14="http://schemas.microsoft.com/office/powerpoint/2010/main" val="3141851272"/>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showMasterSp="0" preserve="1" userDrawn="1">
  <p:cSld name="2_Title with picture">
    <p:spTree>
      <p:nvGrpSpPr>
        <p:cNvPr id="1" name=""/>
        <p:cNvGrpSpPr/>
        <p:nvPr/>
      </p:nvGrpSpPr>
      <p:grpSpPr>
        <a:xfrm>
          <a:off x="0" y="0"/>
          <a:ext cx="0" cy="0"/>
          <a:chOff x="0" y="0"/>
          <a:chExt cx="0" cy="0"/>
        </a:xfrm>
      </p:grpSpPr>
      <p:sp>
        <p:nvSpPr>
          <p:cNvPr id="12" name="Picture Placeholder 11"/>
          <p:cNvSpPr>
            <a:spLocks noGrp="1"/>
          </p:cNvSpPr>
          <p:nvPr>
            <p:ph type="pic" sz="quarter" idx="13" hasCustomPrompt="1"/>
          </p:nvPr>
        </p:nvSpPr>
        <p:spPr>
          <a:xfrm>
            <a:off x="3376226" y="0"/>
            <a:ext cx="8815774" cy="6858000"/>
          </a:xfrm>
          <a:custGeom>
            <a:avLst/>
            <a:gdLst>
              <a:gd name="connsiteX0" fmla="*/ 331042 w 8815774"/>
              <a:gd name="connsiteY0" fmla="*/ 0 h 6858000"/>
              <a:gd name="connsiteX1" fmla="*/ 8815774 w 8815774"/>
              <a:gd name="connsiteY1" fmla="*/ 0 h 6858000"/>
              <a:gd name="connsiteX2" fmla="*/ 8815774 w 8815774"/>
              <a:gd name="connsiteY2" fmla="*/ 6858000 h 6858000"/>
              <a:gd name="connsiteX3" fmla="*/ 0 w 8815774"/>
              <a:gd name="connsiteY3" fmla="*/ 6858000 h 6858000"/>
              <a:gd name="connsiteX4" fmla="*/ 1580491 w 8815774"/>
              <a:gd name="connsiteY4" fmla="*/ 4163677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15774" h="6858000">
                <a:moveTo>
                  <a:pt x="331042" y="0"/>
                </a:moveTo>
                <a:lnTo>
                  <a:pt x="8815774" y="0"/>
                </a:lnTo>
                <a:lnTo>
                  <a:pt x="8815774" y="6858000"/>
                </a:lnTo>
                <a:lnTo>
                  <a:pt x="0" y="6858000"/>
                </a:lnTo>
                <a:lnTo>
                  <a:pt x="1580491" y="4163677"/>
                </a:lnTo>
                <a:close/>
              </a:path>
            </a:pathLst>
          </a:custGeom>
          <a:solidFill>
            <a:srgbClr val="D9DADB"/>
          </a:solidFill>
        </p:spPr>
        <p:txBody>
          <a:bodyPr wrap="square">
            <a:noAutofit/>
          </a:bodyPr>
          <a:lstStyle>
            <a:lvl1pPr marL="0" indent="0" algn="ctr">
              <a:buNone/>
              <a:defRPr/>
            </a:lvl1pPr>
          </a:lstStyle>
          <a:p>
            <a:r>
              <a:rPr lang="en-US" dirty="0"/>
              <a:t>Insert picture</a:t>
            </a:r>
          </a:p>
        </p:txBody>
      </p:sp>
      <p:sp>
        <p:nvSpPr>
          <p:cNvPr id="7" name="Date Placeholder 6"/>
          <p:cNvSpPr>
            <a:spLocks noGrp="1"/>
          </p:cNvSpPr>
          <p:nvPr>
            <p:ph type="dt" sz="half" idx="10"/>
          </p:nvPr>
        </p:nvSpPr>
        <p:spPr>
          <a:xfrm>
            <a:off x="0" y="0"/>
            <a:ext cx="0" cy="0"/>
          </a:xfrm>
          <a:prstGeom prst="rect">
            <a:avLst/>
          </a:prstGeom>
        </p:spPr>
        <p:txBody>
          <a:bodyPr/>
          <a:lstStyle>
            <a:lvl1pPr>
              <a:defRPr sz="100">
                <a:noFill/>
              </a:defRPr>
            </a:lvl1pPr>
          </a:lstStyle>
          <a:p>
            <a:fld id="{D6D08F88-38D2-4786-82D6-89211B05083D}" type="datetime5">
              <a:rPr lang="en-US" smtClean="0"/>
              <a:t>26-Jun-20</a:t>
            </a:fld>
            <a:endParaRPr lang="en-US" dirty="0"/>
          </a:p>
        </p:txBody>
      </p:sp>
      <p:sp>
        <p:nvSpPr>
          <p:cNvPr id="8" name="Footer Placeholder 7"/>
          <p:cNvSpPr>
            <a:spLocks noGrp="1"/>
          </p:cNvSpPr>
          <p:nvPr>
            <p:ph type="ftr" sz="quarter" idx="11"/>
          </p:nvPr>
        </p:nvSpPr>
        <p:spPr>
          <a:xfrm>
            <a:off x="0" y="0"/>
            <a:ext cx="0" cy="0"/>
          </a:xfrm>
          <a:prstGeom prst="rect">
            <a:avLst/>
          </a:prstGeom>
        </p:spPr>
        <p:txBody>
          <a:bodyPr/>
          <a:lstStyle>
            <a:lvl1pPr marL="0" indent="0">
              <a:buNone/>
              <a:defRPr sz="100">
                <a:noFill/>
              </a:defRPr>
            </a:lvl1pPr>
          </a:lstStyle>
          <a:p>
            <a:r>
              <a:rPr lang="en-US"/>
              <a:t>Title of presentation (Insert / Header &amp; Footer / Apply to All)</a:t>
            </a:r>
            <a:endParaRPr lang="en-US" dirty="0"/>
          </a:p>
        </p:txBody>
      </p:sp>
      <p:sp>
        <p:nvSpPr>
          <p:cNvPr id="9" name="Slide Number Placeholder 8"/>
          <p:cNvSpPr>
            <a:spLocks noGrp="1"/>
          </p:cNvSpPr>
          <p:nvPr>
            <p:ph type="sldNum" sz="quarter" idx="12"/>
          </p:nvPr>
        </p:nvSpPr>
        <p:spPr>
          <a:xfrm>
            <a:off x="0" y="0"/>
            <a:ext cx="0" cy="0"/>
          </a:xfrm>
          <a:prstGeom prst="rect">
            <a:avLst/>
          </a:prstGeom>
        </p:spPr>
        <p:txBody>
          <a:bodyPr/>
          <a:lstStyle>
            <a:lvl1pPr>
              <a:defRPr sz="100">
                <a:noFill/>
              </a:defRPr>
            </a:lvl1pPr>
          </a:lstStyle>
          <a:p>
            <a:fld id="{8E3B25F7-8D1F-44B5-B485-EE3C438CFD7B}" type="slidenum">
              <a:rPr lang="en-US" smtClean="0"/>
              <a:pPr/>
              <a:t>‹#›</a:t>
            </a:fld>
            <a:endParaRPr lang="en-US"/>
          </a:p>
        </p:txBody>
      </p:sp>
      <p:sp>
        <p:nvSpPr>
          <p:cNvPr id="29" name="Date Placeholder 20">
            <a:extLst>
              <a:ext uri="{FF2B5EF4-FFF2-40B4-BE49-F238E27FC236}">
                <a16:creationId xmlns:a16="http://schemas.microsoft.com/office/drawing/2014/main" id="{09EF4D79-F00E-4D52-A979-9E2C3142C34F}"/>
              </a:ext>
            </a:extLst>
          </p:cNvPr>
          <p:cNvSpPr txBox="1">
            <a:spLocks/>
          </p:cNvSpPr>
          <p:nvPr userDrawn="1"/>
        </p:nvSpPr>
        <p:spPr>
          <a:xfrm>
            <a:off x="192088" y="6461671"/>
            <a:ext cx="761512" cy="133790"/>
          </a:xfrm>
          <a:prstGeom prst="rect">
            <a:avLst/>
          </a:prstGeom>
        </p:spPr>
        <p:txBody>
          <a:bodyPr vert="horz" wrap="none" lIns="0" tIns="0" rIns="0" bIns="0" rtlCol="0" anchor="b" anchorCtr="0"/>
          <a:lstStyle>
            <a:defPPr>
              <a:defRPr lang="en-US"/>
            </a:defPPr>
            <a:lvl1pPr marL="0" algn="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7DCAAD07-09FD-49C1-9253-3DC58F499B21}" type="datetime5">
              <a:rPr lang="en-US" smtClean="0"/>
              <a:pPr/>
              <a:t>26-Jun-20</a:t>
            </a:fld>
            <a:endParaRPr lang="en-US"/>
          </a:p>
        </p:txBody>
      </p:sp>
      <p:sp>
        <p:nvSpPr>
          <p:cNvPr id="30" name="Footer Placeholder 21">
            <a:extLst>
              <a:ext uri="{FF2B5EF4-FFF2-40B4-BE49-F238E27FC236}">
                <a16:creationId xmlns:a16="http://schemas.microsoft.com/office/drawing/2014/main" id="{F43A1A69-4D4C-472C-A5BB-307EE539C85E}"/>
              </a:ext>
            </a:extLst>
          </p:cNvPr>
          <p:cNvSpPr txBox="1">
            <a:spLocks/>
          </p:cNvSpPr>
          <p:nvPr userDrawn="1"/>
        </p:nvSpPr>
        <p:spPr>
          <a:xfrm>
            <a:off x="1076400" y="6461671"/>
            <a:ext cx="8162717" cy="133790"/>
          </a:xfrm>
          <a:prstGeom prst="rect">
            <a:avLst/>
          </a:prstGeom>
        </p:spPr>
        <p:txBody>
          <a:bodyPr vert="horz" lIns="0" tIns="0" rIns="0" bIns="0" rtlCol="0" anchor="b" anchorCtr="0"/>
          <a:lstStyle>
            <a:defPPr>
              <a:defRPr lang="en-US"/>
            </a:defPPr>
            <a:lvl1pPr marL="144000" indent="-144000" algn="l" defTabSz="914400" rtl="0" eaLnBrk="1" latinLnBrk="0" hangingPunct="1">
              <a:buClr>
                <a:schemeClr val="tx2"/>
              </a:buClr>
              <a:buFont typeface="Wingdings" panose="05000000000000000000" pitchFamily="2" charset="2"/>
              <a:buChar char="§"/>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44000" marR="0" lvl="0" indent="-144000" algn="l" defTabSz="914400" rtl="0" eaLnBrk="1" fontAlgn="auto" latinLnBrk="0" hangingPunct="1">
              <a:lnSpc>
                <a:spcPct val="100000"/>
              </a:lnSpc>
              <a:spcBef>
                <a:spcPts val="0"/>
              </a:spcBef>
              <a:spcAft>
                <a:spcPts val="0"/>
              </a:spcAft>
              <a:buClr>
                <a:schemeClr val="tx2"/>
              </a:buClr>
              <a:buSzTx/>
              <a:buFont typeface="Wingdings" panose="05000000000000000000" pitchFamily="2" charset="2"/>
              <a:buChar char="§"/>
              <a:tabLst/>
              <a:defRPr/>
            </a:pPr>
            <a:r>
              <a:rPr lang="en-US" dirty="0"/>
              <a:t>TCG Market</a:t>
            </a:r>
          </a:p>
        </p:txBody>
      </p:sp>
      <p:sp>
        <p:nvSpPr>
          <p:cNvPr id="32" name="Slide Number Placeholder 22">
            <a:extLst>
              <a:ext uri="{FF2B5EF4-FFF2-40B4-BE49-F238E27FC236}">
                <a16:creationId xmlns:a16="http://schemas.microsoft.com/office/drawing/2014/main" id="{A84A7FA9-6A7E-4ED3-965D-2E05224C6706}"/>
              </a:ext>
            </a:extLst>
          </p:cNvPr>
          <p:cNvSpPr txBox="1">
            <a:spLocks/>
          </p:cNvSpPr>
          <p:nvPr userDrawn="1"/>
        </p:nvSpPr>
        <p:spPr>
          <a:xfrm>
            <a:off x="11186669" y="6461671"/>
            <a:ext cx="648000" cy="133790"/>
          </a:xfrm>
          <a:prstGeom prst="rect">
            <a:avLst/>
          </a:prstGeom>
        </p:spPr>
        <p:txBody>
          <a:bodyPr vert="horz" lIns="0" tIns="0" rIns="0" bIns="0" rtlCol="0" anchor="b" anchorCtr="0"/>
          <a:lstStyle>
            <a:defPPr>
              <a:defRPr lang="en-US"/>
            </a:defPPr>
            <a:lvl1pPr marL="0" algn="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F3E29E4-0979-4FCA-B4C5-5FC6044C982A}" type="slidenum">
              <a:rPr lang="en-US" smtClean="0"/>
              <a:pPr/>
              <a:t>‹#›</a:t>
            </a:fld>
            <a:endParaRPr lang="en-US"/>
          </a:p>
        </p:txBody>
      </p:sp>
      <p:sp>
        <p:nvSpPr>
          <p:cNvPr id="33" name="Title 1">
            <a:extLst>
              <a:ext uri="{FF2B5EF4-FFF2-40B4-BE49-F238E27FC236}">
                <a16:creationId xmlns:a16="http://schemas.microsoft.com/office/drawing/2014/main" id="{6BB3BB16-9BDA-4C7A-9A98-FD8478F6DF35}"/>
              </a:ext>
            </a:extLst>
          </p:cNvPr>
          <p:cNvSpPr>
            <a:spLocks noGrp="1"/>
          </p:cNvSpPr>
          <p:nvPr>
            <p:ph type="title" hasCustomPrompt="1"/>
          </p:nvPr>
        </p:nvSpPr>
        <p:spPr>
          <a:xfrm>
            <a:off x="1075061" y="288922"/>
            <a:ext cx="7910158" cy="648000"/>
          </a:xfrm>
        </p:spPr>
        <p:txBody>
          <a:bodyPr/>
          <a:lstStyle>
            <a:lvl1pPr>
              <a:defRPr/>
            </a:lvl1pPr>
          </a:lstStyle>
          <a:p>
            <a:r>
              <a:rPr lang="en-US" dirty="0"/>
              <a:t>Click to add slide title</a:t>
            </a:r>
          </a:p>
        </p:txBody>
      </p:sp>
      <p:sp>
        <p:nvSpPr>
          <p:cNvPr id="35" name="Subtitle 2">
            <a:extLst>
              <a:ext uri="{FF2B5EF4-FFF2-40B4-BE49-F238E27FC236}">
                <a16:creationId xmlns:a16="http://schemas.microsoft.com/office/drawing/2014/main" id="{9FBB6419-8B20-4561-BAE3-762DECA47174}"/>
              </a:ext>
            </a:extLst>
          </p:cNvPr>
          <p:cNvSpPr>
            <a:spLocks noGrp="1"/>
          </p:cNvSpPr>
          <p:nvPr>
            <p:ph type="subTitle" idx="14" hasCustomPrompt="1"/>
          </p:nvPr>
        </p:nvSpPr>
        <p:spPr>
          <a:xfrm>
            <a:off x="1075061" y="964671"/>
            <a:ext cx="7910158" cy="490042"/>
          </a:xfrm>
        </p:spPr>
        <p:txBody>
          <a:bodyPr wrap="none"/>
          <a:lstStyle>
            <a:lvl1pPr marL="0" indent="0" algn="l">
              <a:spcBef>
                <a:spcPts val="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36" name="Text Placeholder 4">
            <a:extLst>
              <a:ext uri="{FF2B5EF4-FFF2-40B4-BE49-F238E27FC236}">
                <a16:creationId xmlns:a16="http://schemas.microsoft.com/office/drawing/2014/main" id="{DF5D5E93-CC7C-4092-A76F-E40F6A432E68}"/>
              </a:ext>
            </a:extLst>
          </p:cNvPr>
          <p:cNvSpPr>
            <a:spLocks noGrp="1"/>
          </p:cNvSpPr>
          <p:nvPr>
            <p:ph type="body" sz="quarter" idx="17" hasCustomPrompt="1"/>
          </p:nvPr>
        </p:nvSpPr>
        <p:spPr>
          <a:xfrm>
            <a:off x="1075063" y="6307665"/>
            <a:ext cx="8162717" cy="133200"/>
          </a:xfrm>
        </p:spPr>
        <p:txBody>
          <a:bodyPr lIns="0" tIns="0" rIns="0" bIns="0" anchor="b" anchorCtr="0"/>
          <a:lstStyle>
            <a:lvl1pPr marL="0" indent="0" algn="l">
              <a:lnSpc>
                <a:spcPct val="100000"/>
              </a:lnSpc>
              <a:spcBef>
                <a:spcPts val="0"/>
              </a:spcBef>
              <a:buNone/>
              <a:defRPr sz="800" baseline="0"/>
            </a:lvl1pPr>
            <a:lvl2pPr marL="0" indent="0" algn="l">
              <a:lnSpc>
                <a:spcPct val="100000"/>
              </a:lnSpc>
              <a:spcBef>
                <a:spcPts val="0"/>
              </a:spcBef>
              <a:buNone/>
              <a:defRPr sz="800"/>
            </a:lvl2pPr>
            <a:lvl3pPr marL="0" indent="0" algn="l">
              <a:lnSpc>
                <a:spcPct val="100000"/>
              </a:lnSpc>
              <a:spcBef>
                <a:spcPts val="0"/>
              </a:spcBef>
              <a:buNone/>
              <a:defRPr sz="800"/>
            </a:lvl3pPr>
            <a:lvl4pPr marL="0" algn="l">
              <a:lnSpc>
                <a:spcPct val="100000"/>
              </a:lnSpc>
              <a:spcBef>
                <a:spcPts val="0"/>
              </a:spcBef>
              <a:buNone/>
              <a:defRPr sz="800"/>
            </a:lvl4pPr>
            <a:lvl5pPr marL="0" indent="0" algn="l">
              <a:lnSpc>
                <a:spcPct val="100000"/>
              </a:lnSpc>
              <a:spcBef>
                <a:spcPts val="0"/>
              </a:spcBef>
              <a:buNone/>
              <a:defRPr sz="800"/>
            </a:lvl5pPr>
          </a:lstStyle>
          <a:p>
            <a:pPr lvl="0"/>
            <a:r>
              <a:rPr lang="en-US" dirty="0"/>
              <a:t>Source lin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7" name="shp1">
            <a:extLst>
              <a:ext uri="{FF2B5EF4-FFF2-40B4-BE49-F238E27FC236}">
                <a16:creationId xmlns:a16="http://schemas.microsoft.com/office/drawing/2014/main" id="{9FA95122-73C2-426E-B634-AE5BBCE05D33}"/>
              </a:ext>
            </a:extLst>
          </p:cNvPr>
          <p:cNvSpPr/>
          <p:nvPr userDrawn="1"/>
        </p:nvSpPr>
        <p:spPr>
          <a:xfrm>
            <a:off x="192088" y="1"/>
            <a:ext cx="215900" cy="144938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de-DE" sz="1351"/>
          </a:p>
        </p:txBody>
      </p:sp>
      <p:grpSp>
        <p:nvGrpSpPr>
          <p:cNvPr id="38" name="logo">
            <a:extLst>
              <a:ext uri="{FF2B5EF4-FFF2-40B4-BE49-F238E27FC236}">
                <a16:creationId xmlns:a16="http://schemas.microsoft.com/office/drawing/2014/main" id="{509418D1-74B9-47FE-AA67-2E18B56937B9}"/>
              </a:ext>
            </a:extLst>
          </p:cNvPr>
          <p:cNvGrpSpPr>
            <a:grpSpLocks noChangeAspect="1"/>
          </p:cNvGrpSpPr>
          <p:nvPr userDrawn="1"/>
        </p:nvGrpSpPr>
        <p:grpSpPr bwMode="gray">
          <a:xfrm>
            <a:off x="11174018" y="401441"/>
            <a:ext cx="644225" cy="646507"/>
            <a:chOff x="2711" y="1027"/>
            <a:chExt cx="2258" cy="2266"/>
          </a:xfrm>
        </p:grpSpPr>
        <p:sp>
          <p:nvSpPr>
            <p:cNvPr id="39" name="AutoShape 3">
              <a:extLst>
                <a:ext uri="{FF2B5EF4-FFF2-40B4-BE49-F238E27FC236}">
                  <a16:creationId xmlns:a16="http://schemas.microsoft.com/office/drawing/2014/main" id="{68FDF78C-F57F-4F9B-A977-E4E43D32E629}"/>
                </a:ext>
              </a:extLst>
            </p:cNvPr>
            <p:cNvSpPr>
              <a:spLocks noChangeAspect="1" noChangeArrowheads="1" noTextEdit="1"/>
            </p:cNvSpPr>
            <p:nvPr/>
          </p:nvSpPr>
          <p:spPr bwMode="gray">
            <a:xfrm>
              <a:off x="2711" y="1027"/>
              <a:ext cx="2258" cy="22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sp>
          <p:nvSpPr>
            <p:cNvPr id="40" name="Freeform 5">
              <a:extLst>
                <a:ext uri="{FF2B5EF4-FFF2-40B4-BE49-F238E27FC236}">
                  <a16:creationId xmlns:a16="http://schemas.microsoft.com/office/drawing/2014/main" id="{2C2C98DA-D27B-46E5-B5A4-6D1F892674BA}"/>
                </a:ext>
              </a:extLst>
            </p:cNvPr>
            <p:cNvSpPr>
              <a:spLocks/>
            </p:cNvSpPr>
            <p:nvPr/>
          </p:nvSpPr>
          <p:spPr bwMode="gray">
            <a:xfrm>
              <a:off x="2709" y="1029"/>
              <a:ext cx="2260" cy="2262"/>
            </a:xfrm>
            <a:custGeom>
              <a:avLst/>
              <a:gdLst>
                <a:gd name="T0" fmla="*/ 2260 w 2260"/>
                <a:gd name="T1" fmla="*/ 0 h 2262"/>
                <a:gd name="T2" fmla="*/ 1612 w 2260"/>
                <a:gd name="T3" fmla="*/ 649 h 2262"/>
                <a:gd name="T4" fmla="*/ 1612 w 2260"/>
                <a:gd name="T5" fmla="*/ 649 h 2262"/>
                <a:gd name="T6" fmla="*/ 2035 w 2260"/>
                <a:gd name="T7" fmla="*/ 0 h 2262"/>
                <a:gd name="T8" fmla="*/ 0 w 2260"/>
                <a:gd name="T9" fmla="*/ 0 h 2262"/>
                <a:gd name="T10" fmla="*/ 0 w 2260"/>
                <a:gd name="T11" fmla="*/ 2262 h 2262"/>
                <a:gd name="T12" fmla="*/ 2260 w 2260"/>
                <a:gd name="T13" fmla="*/ 2262 h 2262"/>
                <a:gd name="T14" fmla="*/ 2260 w 2260"/>
                <a:gd name="T15" fmla="*/ 0 h 2262"/>
                <a:gd name="T16" fmla="*/ 2260 w 2260"/>
                <a:gd name="T17" fmla="*/ 0 h 2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0" h="2262">
                  <a:moveTo>
                    <a:pt x="2260" y="0"/>
                  </a:moveTo>
                  <a:lnTo>
                    <a:pt x="1612" y="649"/>
                  </a:lnTo>
                  <a:lnTo>
                    <a:pt x="1612" y="649"/>
                  </a:lnTo>
                  <a:lnTo>
                    <a:pt x="2035" y="0"/>
                  </a:lnTo>
                  <a:lnTo>
                    <a:pt x="0" y="0"/>
                  </a:lnTo>
                  <a:lnTo>
                    <a:pt x="0" y="2262"/>
                  </a:lnTo>
                  <a:lnTo>
                    <a:pt x="2260" y="2262"/>
                  </a:lnTo>
                  <a:lnTo>
                    <a:pt x="2260" y="0"/>
                  </a:lnTo>
                  <a:lnTo>
                    <a:pt x="2260" y="0"/>
                  </a:lnTo>
                  <a:close/>
                </a:path>
              </a:pathLst>
            </a:custGeom>
            <a:solidFill>
              <a:srgbClr val="E55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sp>
          <p:nvSpPr>
            <p:cNvPr id="41" name="Freeform 6">
              <a:extLst>
                <a:ext uri="{FF2B5EF4-FFF2-40B4-BE49-F238E27FC236}">
                  <a16:creationId xmlns:a16="http://schemas.microsoft.com/office/drawing/2014/main" id="{A89F0074-995F-4BF4-B467-8A01C0BD1350}"/>
                </a:ext>
              </a:extLst>
            </p:cNvPr>
            <p:cNvSpPr>
              <a:spLocks noEditPoints="1"/>
            </p:cNvSpPr>
            <p:nvPr/>
          </p:nvSpPr>
          <p:spPr bwMode="gray">
            <a:xfrm>
              <a:off x="3623" y="1696"/>
              <a:ext cx="1167" cy="922"/>
            </a:xfrm>
            <a:custGeom>
              <a:avLst/>
              <a:gdLst>
                <a:gd name="T0" fmla="*/ 411 w 580"/>
                <a:gd name="T1" fmla="*/ 213 h 458"/>
                <a:gd name="T2" fmla="*/ 570 w 580"/>
                <a:gd name="T3" fmla="*/ 37 h 458"/>
                <a:gd name="T4" fmla="*/ 580 w 580"/>
                <a:gd name="T5" fmla="*/ 20 h 458"/>
                <a:gd name="T6" fmla="*/ 545 w 580"/>
                <a:gd name="T7" fmla="*/ 0 h 458"/>
                <a:gd name="T8" fmla="*/ 519 w 580"/>
                <a:gd name="T9" fmla="*/ 16 h 458"/>
                <a:gd name="T10" fmla="*/ 344 w 580"/>
                <a:gd name="T11" fmla="*/ 210 h 458"/>
                <a:gd name="T12" fmla="*/ 334 w 580"/>
                <a:gd name="T13" fmla="*/ 229 h 458"/>
                <a:gd name="T14" fmla="*/ 344 w 580"/>
                <a:gd name="T15" fmla="*/ 248 h 458"/>
                <a:gd name="T16" fmla="*/ 519 w 580"/>
                <a:gd name="T17" fmla="*/ 442 h 458"/>
                <a:gd name="T18" fmla="*/ 545 w 580"/>
                <a:gd name="T19" fmla="*/ 458 h 458"/>
                <a:gd name="T20" fmla="*/ 580 w 580"/>
                <a:gd name="T21" fmla="*/ 438 h 458"/>
                <a:gd name="T22" fmla="*/ 570 w 580"/>
                <a:gd name="T23" fmla="*/ 421 h 458"/>
                <a:gd name="T24" fmla="*/ 411 w 580"/>
                <a:gd name="T25" fmla="*/ 245 h 458"/>
                <a:gd name="T26" fmla="*/ 399 w 580"/>
                <a:gd name="T27" fmla="*/ 229 h 458"/>
                <a:gd name="T28" fmla="*/ 411 w 580"/>
                <a:gd name="T29" fmla="*/ 213 h 458"/>
                <a:gd name="T30" fmla="*/ 252 w 580"/>
                <a:gd name="T31" fmla="*/ 439 h 458"/>
                <a:gd name="T32" fmla="*/ 281 w 580"/>
                <a:gd name="T33" fmla="*/ 454 h 458"/>
                <a:gd name="T34" fmla="*/ 309 w 580"/>
                <a:gd name="T35" fmla="*/ 439 h 458"/>
                <a:gd name="T36" fmla="*/ 309 w 580"/>
                <a:gd name="T37" fmla="*/ 19 h 458"/>
                <a:gd name="T38" fmla="*/ 281 w 580"/>
                <a:gd name="T39" fmla="*/ 4 h 458"/>
                <a:gd name="T40" fmla="*/ 252 w 580"/>
                <a:gd name="T41" fmla="*/ 19 h 458"/>
                <a:gd name="T42" fmla="*/ 252 w 580"/>
                <a:gd name="T43" fmla="*/ 439 h 458"/>
                <a:gd name="T44" fmla="*/ 0 w 580"/>
                <a:gd name="T45" fmla="*/ 439 h 458"/>
                <a:gd name="T46" fmla="*/ 28 w 580"/>
                <a:gd name="T47" fmla="*/ 454 h 458"/>
                <a:gd name="T48" fmla="*/ 56 w 580"/>
                <a:gd name="T49" fmla="*/ 439 h 458"/>
                <a:gd name="T50" fmla="*/ 56 w 580"/>
                <a:gd name="T51" fmla="*/ 157 h 458"/>
                <a:gd name="T52" fmla="*/ 165 w 580"/>
                <a:gd name="T53" fmla="*/ 53 h 458"/>
                <a:gd name="T54" fmla="*/ 180 w 580"/>
                <a:gd name="T55" fmla="*/ 53 h 458"/>
                <a:gd name="T56" fmla="*/ 196 w 580"/>
                <a:gd name="T57" fmla="*/ 27 h 458"/>
                <a:gd name="T58" fmla="*/ 154 w 580"/>
                <a:gd name="T59" fmla="*/ 4 h 458"/>
                <a:gd name="T60" fmla="*/ 0 w 580"/>
                <a:gd name="T61" fmla="*/ 152 h 458"/>
                <a:gd name="T62" fmla="*/ 0 w 580"/>
                <a:gd name="T63" fmla="*/ 439 h 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80" h="458">
                  <a:moveTo>
                    <a:pt x="411" y="213"/>
                  </a:moveTo>
                  <a:cubicBezTo>
                    <a:pt x="570" y="37"/>
                    <a:pt x="570" y="37"/>
                    <a:pt x="570" y="37"/>
                  </a:cubicBezTo>
                  <a:cubicBezTo>
                    <a:pt x="576" y="30"/>
                    <a:pt x="580" y="25"/>
                    <a:pt x="580" y="20"/>
                  </a:cubicBezTo>
                  <a:cubicBezTo>
                    <a:pt x="580" y="10"/>
                    <a:pt x="559" y="0"/>
                    <a:pt x="545" y="0"/>
                  </a:cubicBezTo>
                  <a:cubicBezTo>
                    <a:pt x="535" y="0"/>
                    <a:pt x="526" y="8"/>
                    <a:pt x="519" y="16"/>
                  </a:cubicBezTo>
                  <a:cubicBezTo>
                    <a:pt x="344" y="210"/>
                    <a:pt x="344" y="210"/>
                    <a:pt x="344" y="210"/>
                  </a:cubicBezTo>
                  <a:cubicBezTo>
                    <a:pt x="336" y="219"/>
                    <a:pt x="334" y="224"/>
                    <a:pt x="334" y="229"/>
                  </a:cubicBezTo>
                  <a:cubicBezTo>
                    <a:pt x="334" y="234"/>
                    <a:pt x="336" y="239"/>
                    <a:pt x="344" y="248"/>
                  </a:cubicBezTo>
                  <a:cubicBezTo>
                    <a:pt x="519" y="442"/>
                    <a:pt x="519" y="442"/>
                    <a:pt x="519" y="442"/>
                  </a:cubicBezTo>
                  <a:cubicBezTo>
                    <a:pt x="526" y="450"/>
                    <a:pt x="535" y="458"/>
                    <a:pt x="545" y="458"/>
                  </a:cubicBezTo>
                  <a:cubicBezTo>
                    <a:pt x="559" y="458"/>
                    <a:pt x="580" y="448"/>
                    <a:pt x="580" y="438"/>
                  </a:cubicBezTo>
                  <a:cubicBezTo>
                    <a:pt x="580" y="433"/>
                    <a:pt x="576" y="428"/>
                    <a:pt x="570" y="421"/>
                  </a:cubicBezTo>
                  <a:cubicBezTo>
                    <a:pt x="411" y="245"/>
                    <a:pt x="411" y="245"/>
                    <a:pt x="411" y="245"/>
                  </a:cubicBezTo>
                  <a:cubicBezTo>
                    <a:pt x="403" y="236"/>
                    <a:pt x="399" y="232"/>
                    <a:pt x="399" y="229"/>
                  </a:cubicBezTo>
                  <a:cubicBezTo>
                    <a:pt x="399" y="226"/>
                    <a:pt x="403" y="222"/>
                    <a:pt x="411" y="213"/>
                  </a:cubicBezTo>
                  <a:moveTo>
                    <a:pt x="252" y="439"/>
                  </a:moveTo>
                  <a:cubicBezTo>
                    <a:pt x="252" y="449"/>
                    <a:pt x="261" y="454"/>
                    <a:pt x="281" y="454"/>
                  </a:cubicBezTo>
                  <a:cubicBezTo>
                    <a:pt x="300" y="454"/>
                    <a:pt x="309" y="449"/>
                    <a:pt x="309" y="439"/>
                  </a:cubicBezTo>
                  <a:cubicBezTo>
                    <a:pt x="309" y="19"/>
                    <a:pt x="309" y="19"/>
                    <a:pt x="309" y="19"/>
                  </a:cubicBezTo>
                  <a:cubicBezTo>
                    <a:pt x="309" y="9"/>
                    <a:pt x="300" y="4"/>
                    <a:pt x="281" y="4"/>
                  </a:cubicBezTo>
                  <a:cubicBezTo>
                    <a:pt x="261" y="4"/>
                    <a:pt x="252" y="9"/>
                    <a:pt x="252" y="19"/>
                  </a:cubicBezTo>
                  <a:lnTo>
                    <a:pt x="252" y="439"/>
                  </a:lnTo>
                  <a:close/>
                  <a:moveTo>
                    <a:pt x="0" y="439"/>
                  </a:moveTo>
                  <a:cubicBezTo>
                    <a:pt x="0" y="449"/>
                    <a:pt x="8" y="454"/>
                    <a:pt x="28" y="454"/>
                  </a:cubicBezTo>
                  <a:cubicBezTo>
                    <a:pt x="48" y="454"/>
                    <a:pt x="56" y="449"/>
                    <a:pt x="56" y="439"/>
                  </a:cubicBezTo>
                  <a:cubicBezTo>
                    <a:pt x="56" y="157"/>
                    <a:pt x="56" y="157"/>
                    <a:pt x="56" y="157"/>
                  </a:cubicBezTo>
                  <a:cubicBezTo>
                    <a:pt x="56" y="83"/>
                    <a:pt x="85" y="53"/>
                    <a:pt x="165" y="53"/>
                  </a:cubicBezTo>
                  <a:cubicBezTo>
                    <a:pt x="180" y="53"/>
                    <a:pt x="180" y="53"/>
                    <a:pt x="180" y="53"/>
                  </a:cubicBezTo>
                  <a:cubicBezTo>
                    <a:pt x="192" y="53"/>
                    <a:pt x="196" y="43"/>
                    <a:pt x="196" y="27"/>
                  </a:cubicBezTo>
                  <a:cubicBezTo>
                    <a:pt x="196" y="8"/>
                    <a:pt x="185" y="4"/>
                    <a:pt x="154" y="4"/>
                  </a:cubicBezTo>
                  <a:cubicBezTo>
                    <a:pt x="64" y="4"/>
                    <a:pt x="0" y="43"/>
                    <a:pt x="0" y="152"/>
                  </a:cubicBezTo>
                  <a:lnTo>
                    <a:pt x="0" y="43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sp>
          <p:nvSpPr>
            <p:cNvPr id="42" name="Freeform 7">
              <a:extLst>
                <a:ext uri="{FF2B5EF4-FFF2-40B4-BE49-F238E27FC236}">
                  <a16:creationId xmlns:a16="http://schemas.microsoft.com/office/drawing/2014/main" id="{6164C78E-BD2B-49BF-8C0D-FD607237EB0A}"/>
                </a:ext>
              </a:extLst>
            </p:cNvPr>
            <p:cNvSpPr>
              <a:spLocks/>
            </p:cNvSpPr>
            <p:nvPr/>
          </p:nvSpPr>
          <p:spPr bwMode="gray">
            <a:xfrm>
              <a:off x="2880" y="1704"/>
              <a:ext cx="618" cy="916"/>
            </a:xfrm>
            <a:custGeom>
              <a:avLst/>
              <a:gdLst>
                <a:gd name="T0" fmla="*/ 307 w 307"/>
                <a:gd name="T1" fmla="*/ 405 h 455"/>
                <a:gd name="T2" fmla="*/ 307 w 307"/>
                <a:gd name="T3" fmla="*/ 244 h 455"/>
                <a:gd name="T4" fmla="*/ 279 w 307"/>
                <a:gd name="T5" fmla="*/ 229 h 455"/>
                <a:gd name="T6" fmla="*/ 250 w 307"/>
                <a:gd name="T7" fmla="*/ 244 h 455"/>
                <a:gd name="T8" fmla="*/ 250 w 307"/>
                <a:gd name="T9" fmla="*/ 378 h 455"/>
                <a:gd name="T10" fmla="*/ 199 w 307"/>
                <a:gd name="T11" fmla="*/ 408 h 455"/>
                <a:gd name="T12" fmla="*/ 61 w 307"/>
                <a:gd name="T13" fmla="*/ 231 h 455"/>
                <a:gd name="T14" fmla="*/ 238 w 307"/>
                <a:gd name="T15" fmla="*/ 49 h 455"/>
                <a:gd name="T16" fmla="*/ 270 w 307"/>
                <a:gd name="T17" fmla="*/ 49 h 455"/>
                <a:gd name="T18" fmla="*/ 286 w 307"/>
                <a:gd name="T19" fmla="*/ 23 h 455"/>
                <a:gd name="T20" fmla="*/ 244 w 307"/>
                <a:gd name="T21" fmla="*/ 0 h 455"/>
                <a:gd name="T22" fmla="*/ 231 w 307"/>
                <a:gd name="T23" fmla="*/ 0 h 455"/>
                <a:gd name="T24" fmla="*/ 0 w 307"/>
                <a:gd name="T25" fmla="*/ 232 h 455"/>
                <a:gd name="T26" fmla="*/ 198 w 307"/>
                <a:gd name="T27" fmla="*/ 455 h 455"/>
                <a:gd name="T28" fmla="*/ 307 w 307"/>
                <a:gd name="T29" fmla="*/ 405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7" h="455">
                  <a:moveTo>
                    <a:pt x="307" y="405"/>
                  </a:moveTo>
                  <a:cubicBezTo>
                    <a:pt x="307" y="244"/>
                    <a:pt x="307" y="244"/>
                    <a:pt x="307" y="244"/>
                  </a:cubicBezTo>
                  <a:cubicBezTo>
                    <a:pt x="307" y="234"/>
                    <a:pt x="298" y="229"/>
                    <a:pt x="279" y="229"/>
                  </a:cubicBezTo>
                  <a:cubicBezTo>
                    <a:pt x="259" y="229"/>
                    <a:pt x="250" y="234"/>
                    <a:pt x="250" y="244"/>
                  </a:cubicBezTo>
                  <a:cubicBezTo>
                    <a:pt x="250" y="378"/>
                    <a:pt x="250" y="378"/>
                    <a:pt x="250" y="378"/>
                  </a:cubicBezTo>
                  <a:cubicBezTo>
                    <a:pt x="250" y="399"/>
                    <a:pt x="241" y="408"/>
                    <a:pt x="199" y="408"/>
                  </a:cubicBezTo>
                  <a:cubicBezTo>
                    <a:pt x="114" y="408"/>
                    <a:pt x="61" y="342"/>
                    <a:pt x="61" y="231"/>
                  </a:cubicBezTo>
                  <a:cubicBezTo>
                    <a:pt x="61" y="115"/>
                    <a:pt x="126" y="49"/>
                    <a:pt x="238" y="49"/>
                  </a:cubicBezTo>
                  <a:cubicBezTo>
                    <a:pt x="270" y="49"/>
                    <a:pt x="270" y="49"/>
                    <a:pt x="270" y="49"/>
                  </a:cubicBezTo>
                  <a:cubicBezTo>
                    <a:pt x="282" y="49"/>
                    <a:pt x="286" y="39"/>
                    <a:pt x="286" y="23"/>
                  </a:cubicBezTo>
                  <a:cubicBezTo>
                    <a:pt x="286" y="4"/>
                    <a:pt x="275" y="0"/>
                    <a:pt x="244" y="0"/>
                  </a:cubicBezTo>
                  <a:cubicBezTo>
                    <a:pt x="231" y="0"/>
                    <a:pt x="231" y="0"/>
                    <a:pt x="231" y="0"/>
                  </a:cubicBezTo>
                  <a:cubicBezTo>
                    <a:pt x="101" y="0"/>
                    <a:pt x="0" y="71"/>
                    <a:pt x="0" y="232"/>
                  </a:cubicBezTo>
                  <a:cubicBezTo>
                    <a:pt x="0" y="386"/>
                    <a:pt x="88" y="455"/>
                    <a:pt x="198" y="455"/>
                  </a:cubicBezTo>
                  <a:cubicBezTo>
                    <a:pt x="286" y="455"/>
                    <a:pt x="307" y="430"/>
                    <a:pt x="307" y="40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sp>
          <p:nvSpPr>
            <p:cNvPr id="43" name="Oval 8">
              <a:extLst>
                <a:ext uri="{FF2B5EF4-FFF2-40B4-BE49-F238E27FC236}">
                  <a16:creationId xmlns:a16="http://schemas.microsoft.com/office/drawing/2014/main" id="{2002A743-C4D0-4F81-8EF4-182C564F5405}"/>
                </a:ext>
              </a:extLst>
            </p:cNvPr>
            <p:cNvSpPr>
              <a:spLocks noChangeArrowheads="1"/>
            </p:cNvSpPr>
            <p:nvPr/>
          </p:nvSpPr>
          <p:spPr bwMode="gray">
            <a:xfrm>
              <a:off x="3778" y="2099"/>
              <a:ext cx="122" cy="12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sp>
          <p:nvSpPr>
            <p:cNvPr id="44" name="Freeform 9">
              <a:extLst>
                <a:ext uri="{FF2B5EF4-FFF2-40B4-BE49-F238E27FC236}">
                  <a16:creationId xmlns:a16="http://schemas.microsoft.com/office/drawing/2014/main" id="{C36113A2-A352-4E15-A8DD-A4708864B4DD}"/>
                </a:ext>
              </a:extLst>
            </p:cNvPr>
            <p:cNvSpPr>
              <a:spLocks noEditPoints="1"/>
            </p:cNvSpPr>
            <p:nvPr/>
          </p:nvSpPr>
          <p:spPr bwMode="gray">
            <a:xfrm>
              <a:off x="3623" y="1696"/>
              <a:ext cx="1167" cy="922"/>
            </a:xfrm>
            <a:custGeom>
              <a:avLst/>
              <a:gdLst>
                <a:gd name="T0" fmla="*/ 411 w 580"/>
                <a:gd name="T1" fmla="*/ 213 h 458"/>
                <a:gd name="T2" fmla="*/ 570 w 580"/>
                <a:gd name="T3" fmla="*/ 37 h 458"/>
                <a:gd name="T4" fmla="*/ 580 w 580"/>
                <a:gd name="T5" fmla="*/ 20 h 458"/>
                <a:gd name="T6" fmla="*/ 545 w 580"/>
                <a:gd name="T7" fmla="*/ 0 h 458"/>
                <a:gd name="T8" fmla="*/ 519 w 580"/>
                <a:gd name="T9" fmla="*/ 16 h 458"/>
                <a:gd name="T10" fmla="*/ 344 w 580"/>
                <a:gd name="T11" fmla="*/ 210 h 458"/>
                <a:gd name="T12" fmla="*/ 334 w 580"/>
                <a:gd name="T13" fmla="*/ 229 h 458"/>
                <a:gd name="T14" fmla="*/ 344 w 580"/>
                <a:gd name="T15" fmla="*/ 248 h 458"/>
                <a:gd name="T16" fmla="*/ 519 w 580"/>
                <a:gd name="T17" fmla="*/ 442 h 458"/>
                <a:gd name="T18" fmla="*/ 545 w 580"/>
                <a:gd name="T19" fmla="*/ 458 h 458"/>
                <a:gd name="T20" fmla="*/ 580 w 580"/>
                <a:gd name="T21" fmla="*/ 438 h 458"/>
                <a:gd name="T22" fmla="*/ 570 w 580"/>
                <a:gd name="T23" fmla="*/ 421 h 458"/>
                <a:gd name="T24" fmla="*/ 411 w 580"/>
                <a:gd name="T25" fmla="*/ 245 h 458"/>
                <a:gd name="T26" fmla="*/ 399 w 580"/>
                <a:gd name="T27" fmla="*/ 229 h 458"/>
                <a:gd name="T28" fmla="*/ 411 w 580"/>
                <a:gd name="T29" fmla="*/ 213 h 458"/>
                <a:gd name="T30" fmla="*/ 252 w 580"/>
                <a:gd name="T31" fmla="*/ 439 h 458"/>
                <a:gd name="T32" fmla="*/ 281 w 580"/>
                <a:gd name="T33" fmla="*/ 454 h 458"/>
                <a:gd name="T34" fmla="*/ 309 w 580"/>
                <a:gd name="T35" fmla="*/ 439 h 458"/>
                <a:gd name="T36" fmla="*/ 309 w 580"/>
                <a:gd name="T37" fmla="*/ 19 h 458"/>
                <a:gd name="T38" fmla="*/ 281 w 580"/>
                <a:gd name="T39" fmla="*/ 4 h 458"/>
                <a:gd name="T40" fmla="*/ 252 w 580"/>
                <a:gd name="T41" fmla="*/ 19 h 458"/>
                <a:gd name="T42" fmla="*/ 252 w 580"/>
                <a:gd name="T43" fmla="*/ 439 h 458"/>
                <a:gd name="T44" fmla="*/ 0 w 580"/>
                <a:gd name="T45" fmla="*/ 439 h 458"/>
                <a:gd name="T46" fmla="*/ 28 w 580"/>
                <a:gd name="T47" fmla="*/ 454 h 458"/>
                <a:gd name="T48" fmla="*/ 56 w 580"/>
                <a:gd name="T49" fmla="*/ 439 h 458"/>
                <a:gd name="T50" fmla="*/ 56 w 580"/>
                <a:gd name="T51" fmla="*/ 157 h 458"/>
                <a:gd name="T52" fmla="*/ 165 w 580"/>
                <a:gd name="T53" fmla="*/ 53 h 458"/>
                <a:gd name="T54" fmla="*/ 180 w 580"/>
                <a:gd name="T55" fmla="*/ 53 h 458"/>
                <a:gd name="T56" fmla="*/ 196 w 580"/>
                <a:gd name="T57" fmla="*/ 27 h 458"/>
                <a:gd name="T58" fmla="*/ 154 w 580"/>
                <a:gd name="T59" fmla="*/ 4 h 458"/>
                <a:gd name="T60" fmla="*/ 0 w 580"/>
                <a:gd name="T61" fmla="*/ 152 h 458"/>
                <a:gd name="T62" fmla="*/ 0 w 580"/>
                <a:gd name="T63" fmla="*/ 439 h 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80" h="458">
                  <a:moveTo>
                    <a:pt x="411" y="213"/>
                  </a:moveTo>
                  <a:cubicBezTo>
                    <a:pt x="570" y="37"/>
                    <a:pt x="570" y="37"/>
                    <a:pt x="570" y="37"/>
                  </a:cubicBezTo>
                  <a:cubicBezTo>
                    <a:pt x="576" y="30"/>
                    <a:pt x="580" y="25"/>
                    <a:pt x="580" y="20"/>
                  </a:cubicBezTo>
                  <a:cubicBezTo>
                    <a:pt x="580" y="10"/>
                    <a:pt x="559" y="0"/>
                    <a:pt x="545" y="0"/>
                  </a:cubicBezTo>
                  <a:cubicBezTo>
                    <a:pt x="535" y="0"/>
                    <a:pt x="526" y="8"/>
                    <a:pt x="519" y="16"/>
                  </a:cubicBezTo>
                  <a:cubicBezTo>
                    <a:pt x="344" y="210"/>
                    <a:pt x="344" y="210"/>
                    <a:pt x="344" y="210"/>
                  </a:cubicBezTo>
                  <a:cubicBezTo>
                    <a:pt x="336" y="219"/>
                    <a:pt x="334" y="224"/>
                    <a:pt x="334" y="229"/>
                  </a:cubicBezTo>
                  <a:cubicBezTo>
                    <a:pt x="334" y="234"/>
                    <a:pt x="336" y="239"/>
                    <a:pt x="344" y="248"/>
                  </a:cubicBezTo>
                  <a:cubicBezTo>
                    <a:pt x="519" y="442"/>
                    <a:pt x="519" y="442"/>
                    <a:pt x="519" y="442"/>
                  </a:cubicBezTo>
                  <a:cubicBezTo>
                    <a:pt x="526" y="450"/>
                    <a:pt x="535" y="458"/>
                    <a:pt x="545" y="458"/>
                  </a:cubicBezTo>
                  <a:cubicBezTo>
                    <a:pt x="559" y="458"/>
                    <a:pt x="580" y="448"/>
                    <a:pt x="580" y="438"/>
                  </a:cubicBezTo>
                  <a:cubicBezTo>
                    <a:pt x="580" y="433"/>
                    <a:pt x="576" y="428"/>
                    <a:pt x="570" y="421"/>
                  </a:cubicBezTo>
                  <a:cubicBezTo>
                    <a:pt x="411" y="245"/>
                    <a:pt x="411" y="245"/>
                    <a:pt x="411" y="245"/>
                  </a:cubicBezTo>
                  <a:cubicBezTo>
                    <a:pt x="403" y="236"/>
                    <a:pt x="399" y="232"/>
                    <a:pt x="399" y="229"/>
                  </a:cubicBezTo>
                  <a:cubicBezTo>
                    <a:pt x="399" y="226"/>
                    <a:pt x="403" y="222"/>
                    <a:pt x="411" y="213"/>
                  </a:cubicBezTo>
                  <a:moveTo>
                    <a:pt x="252" y="439"/>
                  </a:moveTo>
                  <a:cubicBezTo>
                    <a:pt x="252" y="449"/>
                    <a:pt x="261" y="454"/>
                    <a:pt x="281" y="454"/>
                  </a:cubicBezTo>
                  <a:cubicBezTo>
                    <a:pt x="300" y="454"/>
                    <a:pt x="309" y="449"/>
                    <a:pt x="309" y="439"/>
                  </a:cubicBezTo>
                  <a:cubicBezTo>
                    <a:pt x="309" y="19"/>
                    <a:pt x="309" y="19"/>
                    <a:pt x="309" y="19"/>
                  </a:cubicBezTo>
                  <a:cubicBezTo>
                    <a:pt x="309" y="9"/>
                    <a:pt x="300" y="4"/>
                    <a:pt x="281" y="4"/>
                  </a:cubicBezTo>
                  <a:cubicBezTo>
                    <a:pt x="261" y="4"/>
                    <a:pt x="252" y="9"/>
                    <a:pt x="252" y="19"/>
                  </a:cubicBezTo>
                  <a:lnTo>
                    <a:pt x="252" y="439"/>
                  </a:lnTo>
                  <a:close/>
                  <a:moveTo>
                    <a:pt x="0" y="439"/>
                  </a:moveTo>
                  <a:cubicBezTo>
                    <a:pt x="0" y="449"/>
                    <a:pt x="8" y="454"/>
                    <a:pt x="28" y="454"/>
                  </a:cubicBezTo>
                  <a:cubicBezTo>
                    <a:pt x="48" y="454"/>
                    <a:pt x="56" y="449"/>
                    <a:pt x="56" y="439"/>
                  </a:cubicBezTo>
                  <a:cubicBezTo>
                    <a:pt x="56" y="157"/>
                    <a:pt x="56" y="157"/>
                    <a:pt x="56" y="157"/>
                  </a:cubicBezTo>
                  <a:cubicBezTo>
                    <a:pt x="56" y="83"/>
                    <a:pt x="85" y="53"/>
                    <a:pt x="165" y="53"/>
                  </a:cubicBezTo>
                  <a:cubicBezTo>
                    <a:pt x="180" y="53"/>
                    <a:pt x="180" y="53"/>
                    <a:pt x="180" y="53"/>
                  </a:cubicBezTo>
                  <a:cubicBezTo>
                    <a:pt x="192" y="53"/>
                    <a:pt x="196" y="43"/>
                    <a:pt x="196" y="27"/>
                  </a:cubicBezTo>
                  <a:cubicBezTo>
                    <a:pt x="196" y="8"/>
                    <a:pt x="185" y="4"/>
                    <a:pt x="154" y="4"/>
                  </a:cubicBezTo>
                  <a:cubicBezTo>
                    <a:pt x="64" y="4"/>
                    <a:pt x="0" y="43"/>
                    <a:pt x="0" y="152"/>
                  </a:cubicBezTo>
                  <a:lnTo>
                    <a:pt x="0" y="43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sp>
          <p:nvSpPr>
            <p:cNvPr id="45" name="Freeform 10">
              <a:extLst>
                <a:ext uri="{FF2B5EF4-FFF2-40B4-BE49-F238E27FC236}">
                  <a16:creationId xmlns:a16="http://schemas.microsoft.com/office/drawing/2014/main" id="{101234C3-3931-45EE-839A-CC9D91FA78C3}"/>
                </a:ext>
              </a:extLst>
            </p:cNvPr>
            <p:cNvSpPr>
              <a:spLocks/>
            </p:cNvSpPr>
            <p:nvPr/>
          </p:nvSpPr>
          <p:spPr bwMode="gray">
            <a:xfrm>
              <a:off x="2880" y="1704"/>
              <a:ext cx="618" cy="916"/>
            </a:xfrm>
            <a:custGeom>
              <a:avLst/>
              <a:gdLst>
                <a:gd name="T0" fmla="*/ 307 w 307"/>
                <a:gd name="T1" fmla="*/ 405 h 455"/>
                <a:gd name="T2" fmla="*/ 307 w 307"/>
                <a:gd name="T3" fmla="*/ 244 h 455"/>
                <a:gd name="T4" fmla="*/ 279 w 307"/>
                <a:gd name="T5" fmla="*/ 229 h 455"/>
                <a:gd name="T6" fmla="*/ 250 w 307"/>
                <a:gd name="T7" fmla="*/ 244 h 455"/>
                <a:gd name="T8" fmla="*/ 250 w 307"/>
                <a:gd name="T9" fmla="*/ 378 h 455"/>
                <a:gd name="T10" fmla="*/ 199 w 307"/>
                <a:gd name="T11" fmla="*/ 408 h 455"/>
                <a:gd name="T12" fmla="*/ 61 w 307"/>
                <a:gd name="T13" fmla="*/ 231 h 455"/>
                <a:gd name="T14" fmla="*/ 238 w 307"/>
                <a:gd name="T15" fmla="*/ 49 h 455"/>
                <a:gd name="T16" fmla="*/ 270 w 307"/>
                <a:gd name="T17" fmla="*/ 49 h 455"/>
                <a:gd name="T18" fmla="*/ 286 w 307"/>
                <a:gd name="T19" fmla="*/ 23 h 455"/>
                <a:gd name="T20" fmla="*/ 244 w 307"/>
                <a:gd name="T21" fmla="*/ 0 h 455"/>
                <a:gd name="T22" fmla="*/ 231 w 307"/>
                <a:gd name="T23" fmla="*/ 0 h 455"/>
                <a:gd name="T24" fmla="*/ 0 w 307"/>
                <a:gd name="T25" fmla="*/ 232 h 455"/>
                <a:gd name="T26" fmla="*/ 198 w 307"/>
                <a:gd name="T27" fmla="*/ 455 h 455"/>
                <a:gd name="T28" fmla="*/ 307 w 307"/>
                <a:gd name="T29" fmla="*/ 405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7" h="455">
                  <a:moveTo>
                    <a:pt x="307" y="405"/>
                  </a:moveTo>
                  <a:cubicBezTo>
                    <a:pt x="307" y="244"/>
                    <a:pt x="307" y="244"/>
                    <a:pt x="307" y="244"/>
                  </a:cubicBezTo>
                  <a:cubicBezTo>
                    <a:pt x="307" y="234"/>
                    <a:pt x="298" y="229"/>
                    <a:pt x="279" y="229"/>
                  </a:cubicBezTo>
                  <a:cubicBezTo>
                    <a:pt x="259" y="229"/>
                    <a:pt x="250" y="234"/>
                    <a:pt x="250" y="244"/>
                  </a:cubicBezTo>
                  <a:cubicBezTo>
                    <a:pt x="250" y="378"/>
                    <a:pt x="250" y="378"/>
                    <a:pt x="250" y="378"/>
                  </a:cubicBezTo>
                  <a:cubicBezTo>
                    <a:pt x="250" y="399"/>
                    <a:pt x="241" y="408"/>
                    <a:pt x="199" y="408"/>
                  </a:cubicBezTo>
                  <a:cubicBezTo>
                    <a:pt x="114" y="408"/>
                    <a:pt x="61" y="342"/>
                    <a:pt x="61" y="231"/>
                  </a:cubicBezTo>
                  <a:cubicBezTo>
                    <a:pt x="61" y="115"/>
                    <a:pt x="126" y="49"/>
                    <a:pt x="238" y="49"/>
                  </a:cubicBezTo>
                  <a:cubicBezTo>
                    <a:pt x="270" y="49"/>
                    <a:pt x="270" y="49"/>
                    <a:pt x="270" y="49"/>
                  </a:cubicBezTo>
                  <a:cubicBezTo>
                    <a:pt x="282" y="49"/>
                    <a:pt x="286" y="39"/>
                    <a:pt x="286" y="23"/>
                  </a:cubicBezTo>
                  <a:cubicBezTo>
                    <a:pt x="286" y="4"/>
                    <a:pt x="275" y="0"/>
                    <a:pt x="244" y="0"/>
                  </a:cubicBezTo>
                  <a:cubicBezTo>
                    <a:pt x="231" y="0"/>
                    <a:pt x="231" y="0"/>
                    <a:pt x="231" y="0"/>
                  </a:cubicBezTo>
                  <a:cubicBezTo>
                    <a:pt x="101" y="0"/>
                    <a:pt x="0" y="71"/>
                    <a:pt x="0" y="232"/>
                  </a:cubicBezTo>
                  <a:cubicBezTo>
                    <a:pt x="0" y="386"/>
                    <a:pt x="88" y="455"/>
                    <a:pt x="198" y="455"/>
                  </a:cubicBezTo>
                  <a:cubicBezTo>
                    <a:pt x="286" y="455"/>
                    <a:pt x="307" y="430"/>
                    <a:pt x="307" y="40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sp>
          <p:nvSpPr>
            <p:cNvPr id="46" name="Oval 11">
              <a:extLst>
                <a:ext uri="{FF2B5EF4-FFF2-40B4-BE49-F238E27FC236}">
                  <a16:creationId xmlns:a16="http://schemas.microsoft.com/office/drawing/2014/main" id="{680B1E87-6C01-4FCA-82DC-0ED51B37DE9D}"/>
                </a:ext>
              </a:extLst>
            </p:cNvPr>
            <p:cNvSpPr>
              <a:spLocks noChangeArrowheads="1"/>
            </p:cNvSpPr>
            <p:nvPr/>
          </p:nvSpPr>
          <p:spPr bwMode="gray">
            <a:xfrm>
              <a:off x="3778" y="2099"/>
              <a:ext cx="122" cy="12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sp>
          <p:nvSpPr>
            <p:cNvPr id="47" name="Freeform 12">
              <a:extLst>
                <a:ext uri="{FF2B5EF4-FFF2-40B4-BE49-F238E27FC236}">
                  <a16:creationId xmlns:a16="http://schemas.microsoft.com/office/drawing/2014/main" id="{996D2E35-1EA5-48EC-82BA-3DBE38FA5FBF}"/>
                </a:ext>
              </a:extLst>
            </p:cNvPr>
            <p:cNvSpPr>
              <a:spLocks/>
            </p:cNvSpPr>
            <p:nvPr/>
          </p:nvSpPr>
          <p:spPr bwMode="gray">
            <a:xfrm>
              <a:off x="4321" y="1029"/>
              <a:ext cx="648" cy="649"/>
            </a:xfrm>
            <a:custGeom>
              <a:avLst/>
              <a:gdLst>
                <a:gd name="T0" fmla="*/ 0 w 648"/>
                <a:gd name="T1" fmla="*/ 649 h 649"/>
                <a:gd name="T2" fmla="*/ 2 w 648"/>
                <a:gd name="T3" fmla="*/ 649 h 649"/>
                <a:gd name="T4" fmla="*/ 648 w 648"/>
                <a:gd name="T5" fmla="*/ 0 h 649"/>
                <a:gd name="T6" fmla="*/ 423 w 648"/>
                <a:gd name="T7" fmla="*/ 0 h 649"/>
                <a:gd name="T8" fmla="*/ 0 w 648"/>
                <a:gd name="T9" fmla="*/ 649 h 649"/>
              </a:gdLst>
              <a:ahLst/>
              <a:cxnLst>
                <a:cxn ang="0">
                  <a:pos x="T0" y="T1"/>
                </a:cxn>
                <a:cxn ang="0">
                  <a:pos x="T2" y="T3"/>
                </a:cxn>
                <a:cxn ang="0">
                  <a:pos x="T4" y="T5"/>
                </a:cxn>
                <a:cxn ang="0">
                  <a:pos x="T6" y="T7"/>
                </a:cxn>
                <a:cxn ang="0">
                  <a:pos x="T8" y="T9"/>
                </a:cxn>
              </a:cxnLst>
              <a:rect l="0" t="0" r="r" b="b"/>
              <a:pathLst>
                <a:path w="648" h="649">
                  <a:moveTo>
                    <a:pt x="0" y="649"/>
                  </a:moveTo>
                  <a:lnTo>
                    <a:pt x="2" y="649"/>
                  </a:lnTo>
                  <a:lnTo>
                    <a:pt x="648" y="0"/>
                  </a:lnTo>
                  <a:lnTo>
                    <a:pt x="423" y="0"/>
                  </a:lnTo>
                  <a:lnTo>
                    <a:pt x="0" y="64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sp>
          <p:nvSpPr>
            <p:cNvPr id="48" name="Freeform 13">
              <a:extLst>
                <a:ext uri="{FF2B5EF4-FFF2-40B4-BE49-F238E27FC236}">
                  <a16:creationId xmlns:a16="http://schemas.microsoft.com/office/drawing/2014/main" id="{E3C2ECCA-B929-49EA-89EF-66E0E22E4BF9}"/>
                </a:ext>
              </a:extLst>
            </p:cNvPr>
            <p:cNvSpPr>
              <a:spLocks/>
            </p:cNvSpPr>
            <p:nvPr/>
          </p:nvSpPr>
          <p:spPr bwMode="gray">
            <a:xfrm>
              <a:off x="4321" y="1029"/>
              <a:ext cx="648" cy="649"/>
            </a:xfrm>
            <a:custGeom>
              <a:avLst/>
              <a:gdLst>
                <a:gd name="T0" fmla="*/ 0 w 648"/>
                <a:gd name="T1" fmla="*/ 649 h 649"/>
                <a:gd name="T2" fmla="*/ 2 w 648"/>
                <a:gd name="T3" fmla="*/ 649 h 649"/>
                <a:gd name="T4" fmla="*/ 648 w 648"/>
                <a:gd name="T5" fmla="*/ 0 h 649"/>
                <a:gd name="T6" fmla="*/ 423 w 648"/>
                <a:gd name="T7" fmla="*/ 0 h 649"/>
                <a:gd name="T8" fmla="*/ 0 w 648"/>
                <a:gd name="T9" fmla="*/ 649 h 649"/>
              </a:gdLst>
              <a:ahLst/>
              <a:cxnLst>
                <a:cxn ang="0">
                  <a:pos x="T0" y="T1"/>
                </a:cxn>
                <a:cxn ang="0">
                  <a:pos x="T2" y="T3"/>
                </a:cxn>
                <a:cxn ang="0">
                  <a:pos x="T4" y="T5"/>
                </a:cxn>
                <a:cxn ang="0">
                  <a:pos x="T6" y="T7"/>
                </a:cxn>
                <a:cxn ang="0">
                  <a:pos x="T8" y="T9"/>
                </a:cxn>
              </a:cxnLst>
              <a:rect l="0" t="0" r="r" b="b"/>
              <a:pathLst>
                <a:path w="648" h="649">
                  <a:moveTo>
                    <a:pt x="0" y="649"/>
                  </a:moveTo>
                  <a:lnTo>
                    <a:pt x="2" y="649"/>
                  </a:lnTo>
                  <a:lnTo>
                    <a:pt x="648" y="0"/>
                  </a:lnTo>
                  <a:lnTo>
                    <a:pt x="423" y="0"/>
                  </a:lnTo>
                  <a:lnTo>
                    <a:pt x="0" y="64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grpSp>
    </p:spTree>
    <p:extLst>
      <p:ext uri="{BB962C8B-B14F-4D97-AF65-F5344CB8AC3E}">
        <p14:creationId xmlns:p14="http://schemas.microsoft.com/office/powerpoint/2010/main" val="2790046256"/>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showMasterSp="0" preserve="1" userDrawn="1">
  <p:cSld name="1_Title with picture">
    <p:spTree>
      <p:nvGrpSpPr>
        <p:cNvPr id="1" name=""/>
        <p:cNvGrpSpPr/>
        <p:nvPr/>
      </p:nvGrpSpPr>
      <p:grpSpPr>
        <a:xfrm>
          <a:off x="0" y="0"/>
          <a:ext cx="0" cy="0"/>
          <a:chOff x="0" y="0"/>
          <a:chExt cx="0" cy="0"/>
        </a:xfrm>
      </p:grpSpPr>
      <p:sp>
        <p:nvSpPr>
          <p:cNvPr id="12" name="Picture Placeholder 11"/>
          <p:cNvSpPr>
            <a:spLocks noGrp="1"/>
          </p:cNvSpPr>
          <p:nvPr>
            <p:ph type="pic" sz="quarter" idx="13" hasCustomPrompt="1"/>
          </p:nvPr>
        </p:nvSpPr>
        <p:spPr>
          <a:xfrm>
            <a:off x="7829550" y="0"/>
            <a:ext cx="4362450" cy="6858000"/>
          </a:xfrm>
          <a:custGeom>
            <a:avLst/>
            <a:gdLst>
              <a:gd name="connsiteX0" fmla="*/ 331042 w 8815774"/>
              <a:gd name="connsiteY0" fmla="*/ 0 h 6858000"/>
              <a:gd name="connsiteX1" fmla="*/ 8815774 w 8815774"/>
              <a:gd name="connsiteY1" fmla="*/ 0 h 6858000"/>
              <a:gd name="connsiteX2" fmla="*/ 8815774 w 8815774"/>
              <a:gd name="connsiteY2" fmla="*/ 6858000 h 6858000"/>
              <a:gd name="connsiteX3" fmla="*/ 0 w 8815774"/>
              <a:gd name="connsiteY3" fmla="*/ 6858000 h 6858000"/>
              <a:gd name="connsiteX4" fmla="*/ 1580491 w 8815774"/>
              <a:gd name="connsiteY4" fmla="*/ 4163677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15774" h="6858000">
                <a:moveTo>
                  <a:pt x="331042" y="0"/>
                </a:moveTo>
                <a:lnTo>
                  <a:pt x="8815774" y="0"/>
                </a:lnTo>
                <a:lnTo>
                  <a:pt x="8815774" y="6858000"/>
                </a:lnTo>
                <a:lnTo>
                  <a:pt x="0" y="6858000"/>
                </a:lnTo>
                <a:lnTo>
                  <a:pt x="1580491" y="4163677"/>
                </a:lnTo>
                <a:close/>
              </a:path>
            </a:pathLst>
          </a:custGeom>
          <a:solidFill>
            <a:srgbClr val="D9DADB"/>
          </a:solidFill>
        </p:spPr>
        <p:txBody>
          <a:bodyPr wrap="square">
            <a:noAutofit/>
          </a:bodyPr>
          <a:lstStyle>
            <a:lvl1pPr marL="0" indent="0" algn="ctr">
              <a:buNone/>
              <a:defRPr/>
            </a:lvl1pPr>
          </a:lstStyle>
          <a:p>
            <a:r>
              <a:rPr lang="en-US" dirty="0"/>
              <a:t>Insert picture</a:t>
            </a:r>
          </a:p>
        </p:txBody>
      </p:sp>
      <p:sp>
        <p:nvSpPr>
          <p:cNvPr id="7" name="Date Placeholder 6"/>
          <p:cNvSpPr>
            <a:spLocks noGrp="1"/>
          </p:cNvSpPr>
          <p:nvPr>
            <p:ph type="dt" sz="half" idx="10"/>
          </p:nvPr>
        </p:nvSpPr>
        <p:spPr>
          <a:xfrm>
            <a:off x="0" y="0"/>
            <a:ext cx="0" cy="0"/>
          </a:xfrm>
          <a:prstGeom prst="rect">
            <a:avLst/>
          </a:prstGeom>
        </p:spPr>
        <p:txBody>
          <a:bodyPr/>
          <a:lstStyle>
            <a:lvl1pPr>
              <a:defRPr sz="100">
                <a:noFill/>
              </a:defRPr>
            </a:lvl1pPr>
          </a:lstStyle>
          <a:p>
            <a:fld id="{D6D08F88-38D2-4786-82D6-89211B05083D}" type="datetime5">
              <a:rPr lang="en-US" smtClean="0"/>
              <a:t>26-Jun-20</a:t>
            </a:fld>
            <a:endParaRPr lang="en-US" dirty="0"/>
          </a:p>
        </p:txBody>
      </p:sp>
      <p:sp>
        <p:nvSpPr>
          <p:cNvPr id="8" name="Footer Placeholder 7"/>
          <p:cNvSpPr>
            <a:spLocks noGrp="1"/>
          </p:cNvSpPr>
          <p:nvPr>
            <p:ph type="ftr" sz="quarter" idx="11"/>
          </p:nvPr>
        </p:nvSpPr>
        <p:spPr>
          <a:xfrm>
            <a:off x="0" y="0"/>
            <a:ext cx="0" cy="0"/>
          </a:xfrm>
          <a:prstGeom prst="rect">
            <a:avLst/>
          </a:prstGeom>
        </p:spPr>
        <p:txBody>
          <a:bodyPr/>
          <a:lstStyle>
            <a:lvl1pPr marL="0" indent="0">
              <a:buNone/>
              <a:defRPr sz="100">
                <a:noFill/>
              </a:defRPr>
            </a:lvl1pPr>
          </a:lstStyle>
          <a:p>
            <a:r>
              <a:rPr lang="en-US"/>
              <a:t>Title of presentation (Insert / Header &amp; Footer / Apply to All)</a:t>
            </a:r>
            <a:endParaRPr lang="en-US" dirty="0"/>
          </a:p>
        </p:txBody>
      </p:sp>
      <p:sp>
        <p:nvSpPr>
          <p:cNvPr id="9" name="Slide Number Placeholder 8"/>
          <p:cNvSpPr>
            <a:spLocks noGrp="1"/>
          </p:cNvSpPr>
          <p:nvPr>
            <p:ph type="sldNum" sz="quarter" idx="12"/>
          </p:nvPr>
        </p:nvSpPr>
        <p:spPr>
          <a:xfrm>
            <a:off x="0" y="0"/>
            <a:ext cx="0" cy="0"/>
          </a:xfrm>
          <a:prstGeom prst="rect">
            <a:avLst/>
          </a:prstGeom>
        </p:spPr>
        <p:txBody>
          <a:bodyPr/>
          <a:lstStyle>
            <a:lvl1pPr>
              <a:defRPr sz="100">
                <a:noFill/>
              </a:defRPr>
            </a:lvl1pPr>
          </a:lstStyle>
          <a:p>
            <a:fld id="{8E3B25F7-8D1F-44B5-B485-EE3C438CFD7B}" type="slidenum">
              <a:rPr lang="en-US" smtClean="0"/>
              <a:pPr/>
              <a:t>‹#›</a:t>
            </a:fld>
            <a:endParaRPr lang="en-US"/>
          </a:p>
        </p:txBody>
      </p:sp>
      <p:sp>
        <p:nvSpPr>
          <p:cNvPr id="29" name="Date Placeholder 20">
            <a:extLst>
              <a:ext uri="{FF2B5EF4-FFF2-40B4-BE49-F238E27FC236}">
                <a16:creationId xmlns:a16="http://schemas.microsoft.com/office/drawing/2014/main" id="{7FCE975C-BA43-4059-8FE8-8CC89C1F64D6}"/>
              </a:ext>
            </a:extLst>
          </p:cNvPr>
          <p:cNvSpPr txBox="1">
            <a:spLocks/>
          </p:cNvSpPr>
          <p:nvPr userDrawn="1"/>
        </p:nvSpPr>
        <p:spPr>
          <a:xfrm>
            <a:off x="192088" y="6461671"/>
            <a:ext cx="761512" cy="133790"/>
          </a:xfrm>
          <a:prstGeom prst="rect">
            <a:avLst/>
          </a:prstGeom>
        </p:spPr>
        <p:txBody>
          <a:bodyPr vert="horz" wrap="none" lIns="0" tIns="0" rIns="0" bIns="0" rtlCol="0" anchor="b" anchorCtr="0"/>
          <a:lstStyle>
            <a:defPPr>
              <a:defRPr lang="en-US"/>
            </a:defPPr>
            <a:lvl1pPr marL="0" algn="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7DCAAD07-09FD-49C1-9253-3DC58F499B21}" type="datetime5">
              <a:rPr lang="en-US" smtClean="0"/>
              <a:pPr/>
              <a:t>26-Jun-20</a:t>
            </a:fld>
            <a:endParaRPr lang="en-US"/>
          </a:p>
        </p:txBody>
      </p:sp>
      <p:sp>
        <p:nvSpPr>
          <p:cNvPr id="30" name="Footer Placeholder 21">
            <a:extLst>
              <a:ext uri="{FF2B5EF4-FFF2-40B4-BE49-F238E27FC236}">
                <a16:creationId xmlns:a16="http://schemas.microsoft.com/office/drawing/2014/main" id="{49D88A06-145B-4538-BD95-AAC6D22B8AD6}"/>
              </a:ext>
            </a:extLst>
          </p:cNvPr>
          <p:cNvSpPr txBox="1">
            <a:spLocks/>
          </p:cNvSpPr>
          <p:nvPr userDrawn="1"/>
        </p:nvSpPr>
        <p:spPr>
          <a:xfrm>
            <a:off x="1076400" y="6461671"/>
            <a:ext cx="8162717" cy="133790"/>
          </a:xfrm>
          <a:prstGeom prst="rect">
            <a:avLst/>
          </a:prstGeom>
        </p:spPr>
        <p:txBody>
          <a:bodyPr vert="horz" lIns="0" tIns="0" rIns="0" bIns="0" rtlCol="0" anchor="b" anchorCtr="0"/>
          <a:lstStyle>
            <a:defPPr>
              <a:defRPr lang="en-US"/>
            </a:defPPr>
            <a:lvl1pPr marL="144000" indent="-144000" algn="l" defTabSz="914400" rtl="0" eaLnBrk="1" latinLnBrk="0" hangingPunct="1">
              <a:buClr>
                <a:schemeClr val="tx2"/>
              </a:buClr>
              <a:buFont typeface="Wingdings" panose="05000000000000000000" pitchFamily="2" charset="2"/>
              <a:buChar char="§"/>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a:t>TCG Market</a:t>
            </a:r>
          </a:p>
        </p:txBody>
      </p:sp>
      <p:sp>
        <p:nvSpPr>
          <p:cNvPr id="32" name="Slide Number Placeholder 22">
            <a:extLst>
              <a:ext uri="{FF2B5EF4-FFF2-40B4-BE49-F238E27FC236}">
                <a16:creationId xmlns:a16="http://schemas.microsoft.com/office/drawing/2014/main" id="{3F00F7E1-35FD-496D-92B4-3229E5352EDD}"/>
              </a:ext>
            </a:extLst>
          </p:cNvPr>
          <p:cNvSpPr txBox="1">
            <a:spLocks/>
          </p:cNvSpPr>
          <p:nvPr userDrawn="1"/>
        </p:nvSpPr>
        <p:spPr>
          <a:xfrm>
            <a:off x="11186669" y="6461671"/>
            <a:ext cx="648000" cy="133790"/>
          </a:xfrm>
          <a:prstGeom prst="rect">
            <a:avLst/>
          </a:prstGeom>
        </p:spPr>
        <p:txBody>
          <a:bodyPr vert="horz" lIns="0" tIns="0" rIns="0" bIns="0" rtlCol="0" anchor="b" anchorCtr="0"/>
          <a:lstStyle>
            <a:defPPr>
              <a:defRPr lang="en-US"/>
            </a:defPPr>
            <a:lvl1pPr marL="0" algn="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F3E29E4-0979-4FCA-B4C5-5FC6044C982A}" type="slidenum">
              <a:rPr lang="en-US" smtClean="0"/>
              <a:pPr/>
              <a:t>‹#›</a:t>
            </a:fld>
            <a:endParaRPr lang="en-US"/>
          </a:p>
        </p:txBody>
      </p:sp>
      <p:sp>
        <p:nvSpPr>
          <p:cNvPr id="33" name="Title 1">
            <a:extLst>
              <a:ext uri="{FF2B5EF4-FFF2-40B4-BE49-F238E27FC236}">
                <a16:creationId xmlns:a16="http://schemas.microsoft.com/office/drawing/2014/main" id="{E2E11798-CED3-4BA1-943E-F2DFDBC0418C}"/>
              </a:ext>
            </a:extLst>
          </p:cNvPr>
          <p:cNvSpPr>
            <a:spLocks noGrp="1"/>
          </p:cNvSpPr>
          <p:nvPr>
            <p:ph type="title" hasCustomPrompt="1"/>
          </p:nvPr>
        </p:nvSpPr>
        <p:spPr>
          <a:xfrm>
            <a:off x="1075061" y="288922"/>
            <a:ext cx="7910158" cy="648000"/>
          </a:xfrm>
        </p:spPr>
        <p:txBody>
          <a:bodyPr/>
          <a:lstStyle>
            <a:lvl1pPr>
              <a:defRPr/>
            </a:lvl1pPr>
          </a:lstStyle>
          <a:p>
            <a:r>
              <a:rPr lang="en-US" dirty="0"/>
              <a:t>Click to add slide title</a:t>
            </a:r>
          </a:p>
        </p:txBody>
      </p:sp>
      <p:sp>
        <p:nvSpPr>
          <p:cNvPr id="35" name="Subtitle 2">
            <a:extLst>
              <a:ext uri="{FF2B5EF4-FFF2-40B4-BE49-F238E27FC236}">
                <a16:creationId xmlns:a16="http://schemas.microsoft.com/office/drawing/2014/main" id="{D0B3DAC6-76CF-4BF2-B54A-D2798FF5C5C7}"/>
              </a:ext>
            </a:extLst>
          </p:cNvPr>
          <p:cNvSpPr>
            <a:spLocks noGrp="1"/>
          </p:cNvSpPr>
          <p:nvPr>
            <p:ph type="subTitle" idx="14" hasCustomPrompt="1"/>
          </p:nvPr>
        </p:nvSpPr>
        <p:spPr>
          <a:xfrm>
            <a:off x="1075061" y="964671"/>
            <a:ext cx="7910158" cy="490042"/>
          </a:xfrm>
        </p:spPr>
        <p:txBody>
          <a:bodyPr wrap="none"/>
          <a:lstStyle>
            <a:lvl1pPr marL="0" indent="0" algn="l">
              <a:spcBef>
                <a:spcPts val="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36" name="Text Placeholder 4">
            <a:extLst>
              <a:ext uri="{FF2B5EF4-FFF2-40B4-BE49-F238E27FC236}">
                <a16:creationId xmlns:a16="http://schemas.microsoft.com/office/drawing/2014/main" id="{DC6AE256-6982-4211-8A38-F80FFE83B266}"/>
              </a:ext>
            </a:extLst>
          </p:cNvPr>
          <p:cNvSpPr>
            <a:spLocks noGrp="1"/>
          </p:cNvSpPr>
          <p:nvPr>
            <p:ph type="body" sz="quarter" idx="17" hasCustomPrompt="1"/>
          </p:nvPr>
        </p:nvSpPr>
        <p:spPr>
          <a:xfrm>
            <a:off x="1075063" y="6307665"/>
            <a:ext cx="8162717" cy="133200"/>
          </a:xfrm>
        </p:spPr>
        <p:txBody>
          <a:bodyPr lIns="0" tIns="0" rIns="0" bIns="0" anchor="b" anchorCtr="0"/>
          <a:lstStyle>
            <a:lvl1pPr marL="0" indent="0" algn="l">
              <a:lnSpc>
                <a:spcPct val="100000"/>
              </a:lnSpc>
              <a:spcBef>
                <a:spcPts val="0"/>
              </a:spcBef>
              <a:buNone/>
              <a:defRPr sz="800" baseline="0"/>
            </a:lvl1pPr>
            <a:lvl2pPr marL="0" indent="0" algn="l">
              <a:lnSpc>
                <a:spcPct val="100000"/>
              </a:lnSpc>
              <a:spcBef>
                <a:spcPts val="0"/>
              </a:spcBef>
              <a:buNone/>
              <a:defRPr sz="800"/>
            </a:lvl2pPr>
            <a:lvl3pPr marL="0" indent="0" algn="l">
              <a:lnSpc>
                <a:spcPct val="100000"/>
              </a:lnSpc>
              <a:spcBef>
                <a:spcPts val="0"/>
              </a:spcBef>
              <a:buNone/>
              <a:defRPr sz="800"/>
            </a:lvl3pPr>
            <a:lvl4pPr marL="0" algn="l">
              <a:lnSpc>
                <a:spcPct val="100000"/>
              </a:lnSpc>
              <a:spcBef>
                <a:spcPts val="0"/>
              </a:spcBef>
              <a:buNone/>
              <a:defRPr sz="800"/>
            </a:lvl4pPr>
            <a:lvl5pPr marL="0" indent="0" algn="l">
              <a:lnSpc>
                <a:spcPct val="100000"/>
              </a:lnSpc>
              <a:spcBef>
                <a:spcPts val="0"/>
              </a:spcBef>
              <a:buNone/>
              <a:defRPr sz="800"/>
            </a:lvl5pPr>
          </a:lstStyle>
          <a:p>
            <a:pPr lvl="0"/>
            <a:r>
              <a:rPr lang="en-US" dirty="0"/>
              <a:t>Source lin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8" name="shp1">
            <a:extLst>
              <a:ext uri="{FF2B5EF4-FFF2-40B4-BE49-F238E27FC236}">
                <a16:creationId xmlns:a16="http://schemas.microsoft.com/office/drawing/2014/main" id="{4F787973-AD9B-451F-BACF-10D19C75F0E8}"/>
              </a:ext>
            </a:extLst>
          </p:cNvPr>
          <p:cNvSpPr/>
          <p:nvPr userDrawn="1"/>
        </p:nvSpPr>
        <p:spPr>
          <a:xfrm>
            <a:off x="192088" y="1"/>
            <a:ext cx="215900" cy="144938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de-DE" sz="1351"/>
          </a:p>
        </p:txBody>
      </p:sp>
    </p:spTree>
    <p:extLst>
      <p:ext uri="{BB962C8B-B14F-4D97-AF65-F5344CB8AC3E}">
        <p14:creationId xmlns:p14="http://schemas.microsoft.com/office/powerpoint/2010/main" val="4225376843"/>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p:cSld name="Divider 1">
    <p:spTree>
      <p:nvGrpSpPr>
        <p:cNvPr id="1" name=""/>
        <p:cNvGrpSpPr/>
        <p:nvPr/>
      </p:nvGrpSpPr>
      <p:grpSpPr>
        <a:xfrm>
          <a:off x="0" y="0"/>
          <a:ext cx="0" cy="0"/>
          <a:chOff x="0" y="0"/>
          <a:chExt cx="0" cy="0"/>
        </a:xfrm>
      </p:grpSpPr>
      <p:sp>
        <p:nvSpPr>
          <p:cNvPr id="12" name="Picture Placeholder 11"/>
          <p:cNvSpPr>
            <a:spLocks noGrp="1"/>
          </p:cNvSpPr>
          <p:nvPr>
            <p:ph type="pic" sz="quarter" idx="17" hasCustomPrompt="1"/>
          </p:nvPr>
        </p:nvSpPr>
        <p:spPr>
          <a:xfrm>
            <a:off x="-1" y="0"/>
            <a:ext cx="8822478" cy="6858000"/>
          </a:xfrm>
          <a:custGeom>
            <a:avLst/>
            <a:gdLst>
              <a:gd name="connsiteX0" fmla="*/ 0 w 8822478"/>
              <a:gd name="connsiteY0" fmla="*/ 0 h 6858000"/>
              <a:gd name="connsiteX1" fmla="*/ 8477306 w 8822478"/>
              <a:gd name="connsiteY1" fmla="*/ 0 h 6858000"/>
              <a:gd name="connsiteX2" fmla="*/ 6998505 w 8822478"/>
              <a:gd name="connsiteY2" fmla="*/ 3834029 h 6858000"/>
              <a:gd name="connsiteX3" fmla="*/ 8822478 w 8822478"/>
              <a:gd name="connsiteY3" fmla="*/ 6858000 h 6858000"/>
              <a:gd name="connsiteX4" fmla="*/ 0 w 8822478"/>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22478" h="6858000">
                <a:moveTo>
                  <a:pt x="0" y="0"/>
                </a:moveTo>
                <a:lnTo>
                  <a:pt x="8477306" y="0"/>
                </a:lnTo>
                <a:lnTo>
                  <a:pt x="6998505" y="3834029"/>
                </a:lnTo>
                <a:lnTo>
                  <a:pt x="8822478" y="6858000"/>
                </a:lnTo>
                <a:lnTo>
                  <a:pt x="0" y="6858000"/>
                </a:lnTo>
                <a:close/>
              </a:path>
            </a:pathLst>
          </a:custGeom>
          <a:solidFill>
            <a:srgbClr val="D9DADB"/>
          </a:solidFill>
        </p:spPr>
        <p:txBody>
          <a:bodyPr wrap="square">
            <a:noAutofit/>
          </a:bodyPr>
          <a:lstStyle>
            <a:lvl1pPr marL="0" indent="0">
              <a:buNone/>
              <a:defRPr/>
            </a:lvl1pPr>
          </a:lstStyle>
          <a:p>
            <a:r>
              <a:rPr lang="en-US" dirty="0"/>
              <a:t>Insert picture</a:t>
            </a:r>
          </a:p>
        </p:txBody>
      </p:sp>
      <p:sp>
        <p:nvSpPr>
          <p:cNvPr id="21" name="Date Placeholder 20"/>
          <p:cNvSpPr>
            <a:spLocks noGrp="1"/>
          </p:cNvSpPr>
          <p:nvPr>
            <p:ph type="dt" sz="half" idx="14"/>
          </p:nvPr>
        </p:nvSpPr>
        <p:spPr>
          <a:xfrm>
            <a:off x="192088" y="6461671"/>
            <a:ext cx="761512" cy="133790"/>
          </a:xfrm>
          <a:prstGeom prst="rect">
            <a:avLst/>
          </a:prstGeom>
        </p:spPr>
        <p:txBody>
          <a:bodyPr/>
          <a:lstStyle>
            <a:lvl1pPr>
              <a:defRPr>
                <a:solidFill>
                  <a:schemeClr val="bg1"/>
                </a:solidFill>
              </a:defRPr>
            </a:lvl1pPr>
          </a:lstStyle>
          <a:p>
            <a:fld id="{4A274CF1-226C-4201-826C-EA56EA2B3C12}" type="datetime5">
              <a:rPr lang="en-US" smtClean="0"/>
              <a:t>26-Jun-20</a:t>
            </a:fld>
            <a:endParaRPr lang="en-US"/>
          </a:p>
        </p:txBody>
      </p:sp>
      <p:sp>
        <p:nvSpPr>
          <p:cNvPr id="22" name="Footer Placeholder 21"/>
          <p:cNvSpPr>
            <a:spLocks noGrp="1"/>
          </p:cNvSpPr>
          <p:nvPr>
            <p:ph type="ftr" sz="quarter" idx="15"/>
          </p:nvPr>
        </p:nvSpPr>
        <p:spPr>
          <a:xfrm>
            <a:off x="1076400" y="6461671"/>
            <a:ext cx="8162717" cy="133790"/>
          </a:xfrm>
          <a:prstGeom prst="rect">
            <a:avLst/>
          </a:prstGeom>
        </p:spPr>
        <p:txBody>
          <a:bodyPr/>
          <a:lstStyle>
            <a:lvl1pPr>
              <a:defRPr>
                <a:solidFill>
                  <a:schemeClr val="bg1"/>
                </a:solidFill>
              </a:defRPr>
            </a:lvl1pPr>
          </a:lstStyle>
          <a:p>
            <a:r>
              <a:rPr lang="en-US"/>
              <a:t>Title of presentation (Insert / Header &amp; Footer / Apply to All)</a:t>
            </a:r>
            <a:endParaRPr lang="en-US" dirty="0"/>
          </a:p>
        </p:txBody>
      </p:sp>
      <p:sp>
        <p:nvSpPr>
          <p:cNvPr id="23" name="Slide Number Placeholder 22"/>
          <p:cNvSpPr>
            <a:spLocks noGrp="1"/>
          </p:cNvSpPr>
          <p:nvPr>
            <p:ph type="sldNum" sz="quarter" idx="16"/>
          </p:nvPr>
        </p:nvSpPr>
        <p:spPr/>
        <p:txBody>
          <a:bodyPr/>
          <a:lstStyle>
            <a:lvl1pPr>
              <a:defRPr>
                <a:solidFill>
                  <a:schemeClr val="tx1"/>
                </a:solidFill>
              </a:defRPr>
            </a:lvl1pPr>
          </a:lstStyle>
          <a:p>
            <a:fld id="{5F3E29E4-0979-4FCA-B4C5-5FC6044C982A}" type="slidenum">
              <a:rPr lang="en-US" smtClean="0"/>
              <a:pPr/>
              <a:t>‹#›</a:t>
            </a:fld>
            <a:endParaRPr lang="en-US"/>
          </a:p>
        </p:txBody>
      </p:sp>
      <p:sp>
        <p:nvSpPr>
          <p:cNvPr id="2" name="Title 1"/>
          <p:cNvSpPr>
            <a:spLocks noGrp="1"/>
          </p:cNvSpPr>
          <p:nvPr>
            <p:ph type="title" hasCustomPrompt="1"/>
          </p:nvPr>
        </p:nvSpPr>
        <p:spPr>
          <a:xfrm>
            <a:off x="7737533" y="2908628"/>
            <a:ext cx="4082992" cy="2103640"/>
          </a:xfrm>
        </p:spPr>
        <p:txBody>
          <a:bodyPr/>
          <a:lstStyle>
            <a:lvl1pPr>
              <a:defRPr>
                <a:solidFill>
                  <a:schemeClr val="tx1"/>
                </a:solidFill>
              </a:defRPr>
            </a:lvl1pPr>
          </a:lstStyle>
          <a:p>
            <a:r>
              <a:rPr lang="en-US" dirty="0"/>
              <a:t>Click to add section title</a:t>
            </a:r>
          </a:p>
        </p:txBody>
      </p:sp>
    </p:spTree>
    <p:extLst>
      <p:ext uri="{BB962C8B-B14F-4D97-AF65-F5344CB8AC3E}">
        <p14:creationId xmlns:p14="http://schemas.microsoft.com/office/powerpoint/2010/main" val="1425823544"/>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p:cSld name="Divider 2">
    <p:spTree>
      <p:nvGrpSpPr>
        <p:cNvPr id="1" name=""/>
        <p:cNvGrpSpPr/>
        <p:nvPr/>
      </p:nvGrpSpPr>
      <p:grpSpPr>
        <a:xfrm>
          <a:off x="0" y="0"/>
          <a:ext cx="0" cy="0"/>
          <a:chOff x="0" y="0"/>
          <a:chExt cx="0" cy="0"/>
        </a:xfrm>
      </p:grpSpPr>
      <p:sp>
        <p:nvSpPr>
          <p:cNvPr id="4" name="shp2"/>
          <p:cNvSpPr/>
          <p:nvPr/>
        </p:nvSpPr>
        <p:spPr>
          <a:xfrm>
            <a:off x="0" y="0"/>
            <a:ext cx="121932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a:p>
        </p:txBody>
      </p:sp>
      <p:sp>
        <p:nvSpPr>
          <p:cNvPr id="21" name="Date Placeholder 20"/>
          <p:cNvSpPr>
            <a:spLocks noGrp="1"/>
          </p:cNvSpPr>
          <p:nvPr>
            <p:ph type="dt" sz="half" idx="14"/>
          </p:nvPr>
        </p:nvSpPr>
        <p:spPr bwMode="ltGray">
          <a:xfrm>
            <a:off x="192088" y="6461671"/>
            <a:ext cx="761512" cy="133790"/>
          </a:xfrm>
          <a:prstGeom prst="rect">
            <a:avLst/>
          </a:prstGeom>
        </p:spPr>
        <p:txBody>
          <a:bodyPr/>
          <a:lstStyle>
            <a:lvl1pPr>
              <a:defRPr>
                <a:solidFill>
                  <a:schemeClr val="bg1"/>
                </a:solidFill>
              </a:defRPr>
            </a:lvl1pPr>
          </a:lstStyle>
          <a:p>
            <a:fld id="{3869822F-F9F4-4987-AC88-332F892BB2CC}" type="datetime5">
              <a:rPr lang="en-US" smtClean="0"/>
              <a:t>26-Jun-20</a:t>
            </a:fld>
            <a:endParaRPr lang="en-US"/>
          </a:p>
        </p:txBody>
      </p:sp>
      <p:sp>
        <p:nvSpPr>
          <p:cNvPr id="22" name="Footer Placeholder 21"/>
          <p:cNvSpPr>
            <a:spLocks noGrp="1"/>
          </p:cNvSpPr>
          <p:nvPr>
            <p:ph type="ftr" sz="quarter" idx="15"/>
          </p:nvPr>
        </p:nvSpPr>
        <p:spPr bwMode="ltGray">
          <a:xfrm>
            <a:off x="1076400" y="6461671"/>
            <a:ext cx="8162717" cy="133790"/>
          </a:xfrm>
          <a:prstGeom prst="rect">
            <a:avLst/>
          </a:prstGeom>
        </p:spPr>
        <p:txBody>
          <a:bodyPr/>
          <a:lstStyle>
            <a:lvl1pPr>
              <a:defRPr>
                <a:solidFill>
                  <a:schemeClr val="bg1"/>
                </a:solidFill>
              </a:defRPr>
            </a:lvl1pPr>
          </a:lstStyle>
          <a:p>
            <a:r>
              <a:rPr lang="en-US"/>
              <a:t>Title of presentation (Insert / Header &amp; Footer / Apply to All)</a:t>
            </a:r>
            <a:endParaRPr lang="en-US" dirty="0"/>
          </a:p>
        </p:txBody>
      </p:sp>
      <p:sp>
        <p:nvSpPr>
          <p:cNvPr id="23" name="Slide Number Placeholder 22"/>
          <p:cNvSpPr>
            <a:spLocks noGrp="1"/>
          </p:cNvSpPr>
          <p:nvPr>
            <p:ph type="sldNum" sz="quarter" idx="16"/>
          </p:nvPr>
        </p:nvSpPr>
        <p:spPr bwMode="ltGray"/>
        <p:txBody>
          <a:bodyPr/>
          <a:lstStyle>
            <a:lvl1pPr>
              <a:defRPr>
                <a:solidFill>
                  <a:schemeClr val="bg1"/>
                </a:solidFill>
              </a:defRPr>
            </a:lvl1pPr>
          </a:lstStyle>
          <a:p>
            <a:fld id="{5F3E29E4-0979-4FCA-B4C5-5FC6044C982A}" type="slidenum">
              <a:rPr lang="en-US" smtClean="0"/>
              <a:pPr/>
              <a:t>‹#›</a:t>
            </a:fld>
            <a:endParaRPr lang="en-US"/>
          </a:p>
        </p:txBody>
      </p:sp>
      <p:sp>
        <p:nvSpPr>
          <p:cNvPr id="8" name="copyright"/>
          <p:cNvSpPr txBox="1"/>
          <p:nvPr/>
        </p:nvSpPr>
        <p:spPr>
          <a:xfrm>
            <a:off x="10672209" y="6237288"/>
            <a:ext cx="500617" cy="358173"/>
          </a:xfrm>
          <a:prstGeom prst="rect">
            <a:avLst/>
          </a:prstGeom>
          <a:noFill/>
        </p:spPr>
        <p:txBody>
          <a:bodyPr wrap="none" lIns="0" tIns="0" rIns="0" bIns="0" rtlCol="0" anchor="b" anchorCtr="0">
            <a:noAutofit/>
          </a:bodyPr>
          <a:lstStyle/>
          <a:p>
            <a:pPr marL="0" indent="0" algn="r">
              <a:lnSpc>
                <a:spcPct val="125000"/>
              </a:lnSpc>
              <a:buClr>
                <a:schemeClr val="tx2"/>
              </a:buClr>
              <a:buFont typeface="Wingdings" panose="05000000000000000000" pitchFamily="2" charset="2"/>
              <a:buNone/>
            </a:pPr>
            <a:r>
              <a:rPr lang="en-US" sz="800" dirty="0">
                <a:solidFill>
                  <a:schemeClr val="bg1"/>
                </a:solidFill>
              </a:rPr>
              <a:t>© GfK</a:t>
            </a:r>
          </a:p>
        </p:txBody>
      </p:sp>
      <p:sp>
        <p:nvSpPr>
          <p:cNvPr id="2" name="Title 1"/>
          <p:cNvSpPr>
            <a:spLocks noGrp="1"/>
          </p:cNvSpPr>
          <p:nvPr>
            <p:ph type="title" hasCustomPrompt="1"/>
          </p:nvPr>
        </p:nvSpPr>
        <p:spPr bwMode="ltGray">
          <a:xfrm>
            <a:off x="1075062" y="1519552"/>
            <a:ext cx="10097763" cy="2273171"/>
          </a:xfrm>
        </p:spPr>
        <p:txBody>
          <a:bodyPr/>
          <a:lstStyle>
            <a:lvl1pPr>
              <a:defRPr>
                <a:solidFill>
                  <a:schemeClr val="bg1"/>
                </a:solidFill>
              </a:defRPr>
            </a:lvl1pPr>
          </a:lstStyle>
          <a:p>
            <a:r>
              <a:rPr lang="en-US" dirty="0"/>
              <a:t>Click to add section title</a:t>
            </a:r>
          </a:p>
        </p:txBody>
      </p:sp>
      <p:grpSp>
        <p:nvGrpSpPr>
          <p:cNvPr id="9" name="logo">
            <a:extLst>
              <a:ext uri="{FF2B5EF4-FFF2-40B4-BE49-F238E27FC236}">
                <a16:creationId xmlns:a16="http://schemas.microsoft.com/office/drawing/2014/main" id="{57BD2C4C-DC67-B843-B26C-309622FC75F7}"/>
              </a:ext>
            </a:extLst>
          </p:cNvPr>
          <p:cNvGrpSpPr>
            <a:grpSpLocks noChangeAspect="1"/>
          </p:cNvGrpSpPr>
          <p:nvPr/>
        </p:nvGrpSpPr>
        <p:grpSpPr bwMode="gray">
          <a:xfrm>
            <a:off x="11174018" y="401441"/>
            <a:ext cx="644225" cy="646507"/>
            <a:chOff x="2711" y="1027"/>
            <a:chExt cx="2258" cy="2266"/>
          </a:xfrm>
        </p:grpSpPr>
        <p:sp>
          <p:nvSpPr>
            <p:cNvPr id="11" name="AutoShape 3">
              <a:extLst>
                <a:ext uri="{FF2B5EF4-FFF2-40B4-BE49-F238E27FC236}">
                  <a16:creationId xmlns:a16="http://schemas.microsoft.com/office/drawing/2014/main" id="{FE1DC41B-291E-574C-9F2C-874E70A40758}"/>
                </a:ext>
              </a:extLst>
            </p:cNvPr>
            <p:cNvSpPr>
              <a:spLocks noChangeAspect="1" noChangeArrowheads="1" noTextEdit="1"/>
            </p:cNvSpPr>
            <p:nvPr/>
          </p:nvSpPr>
          <p:spPr bwMode="gray">
            <a:xfrm>
              <a:off x="2711" y="1027"/>
              <a:ext cx="2258" cy="22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sp>
          <p:nvSpPr>
            <p:cNvPr id="12" name="Freeform 5">
              <a:extLst>
                <a:ext uri="{FF2B5EF4-FFF2-40B4-BE49-F238E27FC236}">
                  <a16:creationId xmlns:a16="http://schemas.microsoft.com/office/drawing/2014/main" id="{D4B633C8-F761-C54B-9BD2-EB59D49A2DBC}"/>
                </a:ext>
              </a:extLst>
            </p:cNvPr>
            <p:cNvSpPr>
              <a:spLocks/>
            </p:cNvSpPr>
            <p:nvPr/>
          </p:nvSpPr>
          <p:spPr bwMode="gray">
            <a:xfrm>
              <a:off x="2709" y="1029"/>
              <a:ext cx="2260" cy="2262"/>
            </a:xfrm>
            <a:custGeom>
              <a:avLst/>
              <a:gdLst>
                <a:gd name="T0" fmla="*/ 2260 w 2260"/>
                <a:gd name="T1" fmla="*/ 0 h 2262"/>
                <a:gd name="T2" fmla="*/ 1612 w 2260"/>
                <a:gd name="T3" fmla="*/ 649 h 2262"/>
                <a:gd name="T4" fmla="*/ 1612 w 2260"/>
                <a:gd name="T5" fmla="*/ 649 h 2262"/>
                <a:gd name="T6" fmla="*/ 2035 w 2260"/>
                <a:gd name="T7" fmla="*/ 0 h 2262"/>
                <a:gd name="T8" fmla="*/ 0 w 2260"/>
                <a:gd name="T9" fmla="*/ 0 h 2262"/>
                <a:gd name="T10" fmla="*/ 0 w 2260"/>
                <a:gd name="T11" fmla="*/ 2262 h 2262"/>
                <a:gd name="T12" fmla="*/ 2260 w 2260"/>
                <a:gd name="T13" fmla="*/ 2262 h 2262"/>
                <a:gd name="T14" fmla="*/ 2260 w 2260"/>
                <a:gd name="T15" fmla="*/ 0 h 2262"/>
                <a:gd name="T16" fmla="*/ 2260 w 2260"/>
                <a:gd name="T17" fmla="*/ 0 h 2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0" h="2262">
                  <a:moveTo>
                    <a:pt x="2260" y="0"/>
                  </a:moveTo>
                  <a:lnTo>
                    <a:pt x="1612" y="649"/>
                  </a:lnTo>
                  <a:lnTo>
                    <a:pt x="1612" y="649"/>
                  </a:lnTo>
                  <a:lnTo>
                    <a:pt x="2035" y="0"/>
                  </a:lnTo>
                  <a:lnTo>
                    <a:pt x="0" y="0"/>
                  </a:lnTo>
                  <a:lnTo>
                    <a:pt x="0" y="2262"/>
                  </a:lnTo>
                  <a:lnTo>
                    <a:pt x="2260" y="2262"/>
                  </a:lnTo>
                  <a:lnTo>
                    <a:pt x="2260" y="0"/>
                  </a:lnTo>
                  <a:lnTo>
                    <a:pt x="2260" y="0"/>
                  </a:lnTo>
                  <a:close/>
                </a:path>
              </a:pathLst>
            </a:custGeom>
            <a:solidFill>
              <a:srgbClr val="E55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sp>
          <p:nvSpPr>
            <p:cNvPr id="13" name="Freeform 6">
              <a:extLst>
                <a:ext uri="{FF2B5EF4-FFF2-40B4-BE49-F238E27FC236}">
                  <a16:creationId xmlns:a16="http://schemas.microsoft.com/office/drawing/2014/main" id="{B16BAAE4-1A41-C843-9754-490F7A1E1270}"/>
                </a:ext>
              </a:extLst>
            </p:cNvPr>
            <p:cNvSpPr>
              <a:spLocks noEditPoints="1"/>
            </p:cNvSpPr>
            <p:nvPr/>
          </p:nvSpPr>
          <p:spPr bwMode="gray">
            <a:xfrm>
              <a:off x="3623" y="1696"/>
              <a:ext cx="1167" cy="922"/>
            </a:xfrm>
            <a:custGeom>
              <a:avLst/>
              <a:gdLst>
                <a:gd name="T0" fmla="*/ 411 w 580"/>
                <a:gd name="T1" fmla="*/ 213 h 458"/>
                <a:gd name="T2" fmla="*/ 570 w 580"/>
                <a:gd name="T3" fmla="*/ 37 h 458"/>
                <a:gd name="T4" fmla="*/ 580 w 580"/>
                <a:gd name="T5" fmla="*/ 20 h 458"/>
                <a:gd name="T6" fmla="*/ 545 w 580"/>
                <a:gd name="T7" fmla="*/ 0 h 458"/>
                <a:gd name="T8" fmla="*/ 519 w 580"/>
                <a:gd name="T9" fmla="*/ 16 h 458"/>
                <a:gd name="T10" fmla="*/ 344 w 580"/>
                <a:gd name="T11" fmla="*/ 210 h 458"/>
                <a:gd name="T12" fmla="*/ 334 w 580"/>
                <a:gd name="T13" fmla="*/ 229 h 458"/>
                <a:gd name="T14" fmla="*/ 344 w 580"/>
                <a:gd name="T15" fmla="*/ 248 h 458"/>
                <a:gd name="T16" fmla="*/ 519 w 580"/>
                <a:gd name="T17" fmla="*/ 442 h 458"/>
                <a:gd name="T18" fmla="*/ 545 w 580"/>
                <a:gd name="T19" fmla="*/ 458 h 458"/>
                <a:gd name="T20" fmla="*/ 580 w 580"/>
                <a:gd name="T21" fmla="*/ 438 h 458"/>
                <a:gd name="T22" fmla="*/ 570 w 580"/>
                <a:gd name="T23" fmla="*/ 421 h 458"/>
                <a:gd name="T24" fmla="*/ 411 w 580"/>
                <a:gd name="T25" fmla="*/ 245 h 458"/>
                <a:gd name="T26" fmla="*/ 399 w 580"/>
                <a:gd name="T27" fmla="*/ 229 h 458"/>
                <a:gd name="T28" fmla="*/ 411 w 580"/>
                <a:gd name="T29" fmla="*/ 213 h 458"/>
                <a:gd name="T30" fmla="*/ 252 w 580"/>
                <a:gd name="T31" fmla="*/ 439 h 458"/>
                <a:gd name="T32" fmla="*/ 281 w 580"/>
                <a:gd name="T33" fmla="*/ 454 h 458"/>
                <a:gd name="T34" fmla="*/ 309 w 580"/>
                <a:gd name="T35" fmla="*/ 439 h 458"/>
                <a:gd name="T36" fmla="*/ 309 w 580"/>
                <a:gd name="T37" fmla="*/ 19 h 458"/>
                <a:gd name="T38" fmla="*/ 281 w 580"/>
                <a:gd name="T39" fmla="*/ 4 h 458"/>
                <a:gd name="T40" fmla="*/ 252 w 580"/>
                <a:gd name="T41" fmla="*/ 19 h 458"/>
                <a:gd name="T42" fmla="*/ 252 w 580"/>
                <a:gd name="T43" fmla="*/ 439 h 458"/>
                <a:gd name="T44" fmla="*/ 0 w 580"/>
                <a:gd name="T45" fmla="*/ 439 h 458"/>
                <a:gd name="T46" fmla="*/ 28 w 580"/>
                <a:gd name="T47" fmla="*/ 454 h 458"/>
                <a:gd name="T48" fmla="*/ 56 w 580"/>
                <a:gd name="T49" fmla="*/ 439 h 458"/>
                <a:gd name="T50" fmla="*/ 56 w 580"/>
                <a:gd name="T51" fmla="*/ 157 h 458"/>
                <a:gd name="T52" fmla="*/ 165 w 580"/>
                <a:gd name="T53" fmla="*/ 53 h 458"/>
                <a:gd name="T54" fmla="*/ 180 w 580"/>
                <a:gd name="T55" fmla="*/ 53 h 458"/>
                <a:gd name="T56" fmla="*/ 196 w 580"/>
                <a:gd name="T57" fmla="*/ 27 h 458"/>
                <a:gd name="T58" fmla="*/ 154 w 580"/>
                <a:gd name="T59" fmla="*/ 4 h 458"/>
                <a:gd name="T60" fmla="*/ 0 w 580"/>
                <a:gd name="T61" fmla="*/ 152 h 458"/>
                <a:gd name="T62" fmla="*/ 0 w 580"/>
                <a:gd name="T63" fmla="*/ 439 h 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80" h="458">
                  <a:moveTo>
                    <a:pt x="411" y="213"/>
                  </a:moveTo>
                  <a:cubicBezTo>
                    <a:pt x="570" y="37"/>
                    <a:pt x="570" y="37"/>
                    <a:pt x="570" y="37"/>
                  </a:cubicBezTo>
                  <a:cubicBezTo>
                    <a:pt x="576" y="30"/>
                    <a:pt x="580" y="25"/>
                    <a:pt x="580" y="20"/>
                  </a:cubicBezTo>
                  <a:cubicBezTo>
                    <a:pt x="580" y="10"/>
                    <a:pt x="559" y="0"/>
                    <a:pt x="545" y="0"/>
                  </a:cubicBezTo>
                  <a:cubicBezTo>
                    <a:pt x="535" y="0"/>
                    <a:pt x="526" y="8"/>
                    <a:pt x="519" y="16"/>
                  </a:cubicBezTo>
                  <a:cubicBezTo>
                    <a:pt x="344" y="210"/>
                    <a:pt x="344" y="210"/>
                    <a:pt x="344" y="210"/>
                  </a:cubicBezTo>
                  <a:cubicBezTo>
                    <a:pt x="336" y="219"/>
                    <a:pt x="334" y="224"/>
                    <a:pt x="334" y="229"/>
                  </a:cubicBezTo>
                  <a:cubicBezTo>
                    <a:pt x="334" y="234"/>
                    <a:pt x="336" y="239"/>
                    <a:pt x="344" y="248"/>
                  </a:cubicBezTo>
                  <a:cubicBezTo>
                    <a:pt x="519" y="442"/>
                    <a:pt x="519" y="442"/>
                    <a:pt x="519" y="442"/>
                  </a:cubicBezTo>
                  <a:cubicBezTo>
                    <a:pt x="526" y="450"/>
                    <a:pt x="535" y="458"/>
                    <a:pt x="545" y="458"/>
                  </a:cubicBezTo>
                  <a:cubicBezTo>
                    <a:pt x="559" y="458"/>
                    <a:pt x="580" y="448"/>
                    <a:pt x="580" y="438"/>
                  </a:cubicBezTo>
                  <a:cubicBezTo>
                    <a:pt x="580" y="433"/>
                    <a:pt x="576" y="428"/>
                    <a:pt x="570" y="421"/>
                  </a:cubicBezTo>
                  <a:cubicBezTo>
                    <a:pt x="411" y="245"/>
                    <a:pt x="411" y="245"/>
                    <a:pt x="411" y="245"/>
                  </a:cubicBezTo>
                  <a:cubicBezTo>
                    <a:pt x="403" y="236"/>
                    <a:pt x="399" y="232"/>
                    <a:pt x="399" y="229"/>
                  </a:cubicBezTo>
                  <a:cubicBezTo>
                    <a:pt x="399" y="226"/>
                    <a:pt x="403" y="222"/>
                    <a:pt x="411" y="213"/>
                  </a:cubicBezTo>
                  <a:moveTo>
                    <a:pt x="252" y="439"/>
                  </a:moveTo>
                  <a:cubicBezTo>
                    <a:pt x="252" y="449"/>
                    <a:pt x="261" y="454"/>
                    <a:pt x="281" y="454"/>
                  </a:cubicBezTo>
                  <a:cubicBezTo>
                    <a:pt x="300" y="454"/>
                    <a:pt x="309" y="449"/>
                    <a:pt x="309" y="439"/>
                  </a:cubicBezTo>
                  <a:cubicBezTo>
                    <a:pt x="309" y="19"/>
                    <a:pt x="309" y="19"/>
                    <a:pt x="309" y="19"/>
                  </a:cubicBezTo>
                  <a:cubicBezTo>
                    <a:pt x="309" y="9"/>
                    <a:pt x="300" y="4"/>
                    <a:pt x="281" y="4"/>
                  </a:cubicBezTo>
                  <a:cubicBezTo>
                    <a:pt x="261" y="4"/>
                    <a:pt x="252" y="9"/>
                    <a:pt x="252" y="19"/>
                  </a:cubicBezTo>
                  <a:lnTo>
                    <a:pt x="252" y="439"/>
                  </a:lnTo>
                  <a:close/>
                  <a:moveTo>
                    <a:pt x="0" y="439"/>
                  </a:moveTo>
                  <a:cubicBezTo>
                    <a:pt x="0" y="449"/>
                    <a:pt x="8" y="454"/>
                    <a:pt x="28" y="454"/>
                  </a:cubicBezTo>
                  <a:cubicBezTo>
                    <a:pt x="48" y="454"/>
                    <a:pt x="56" y="449"/>
                    <a:pt x="56" y="439"/>
                  </a:cubicBezTo>
                  <a:cubicBezTo>
                    <a:pt x="56" y="157"/>
                    <a:pt x="56" y="157"/>
                    <a:pt x="56" y="157"/>
                  </a:cubicBezTo>
                  <a:cubicBezTo>
                    <a:pt x="56" y="83"/>
                    <a:pt x="85" y="53"/>
                    <a:pt x="165" y="53"/>
                  </a:cubicBezTo>
                  <a:cubicBezTo>
                    <a:pt x="180" y="53"/>
                    <a:pt x="180" y="53"/>
                    <a:pt x="180" y="53"/>
                  </a:cubicBezTo>
                  <a:cubicBezTo>
                    <a:pt x="192" y="53"/>
                    <a:pt x="196" y="43"/>
                    <a:pt x="196" y="27"/>
                  </a:cubicBezTo>
                  <a:cubicBezTo>
                    <a:pt x="196" y="8"/>
                    <a:pt x="185" y="4"/>
                    <a:pt x="154" y="4"/>
                  </a:cubicBezTo>
                  <a:cubicBezTo>
                    <a:pt x="64" y="4"/>
                    <a:pt x="0" y="43"/>
                    <a:pt x="0" y="152"/>
                  </a:cubicBezTo>
                  <a:lnTo>
                    <a:pt x="0" y="43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sp>
          <p:nvSpPr>
            <p:cNvPr id="14" name="Freeform 7">
              <a:extLst>
                <a:ext uri="{FF2B5EF4-FFF2-40B4-BE49-F238E27FC236}">
                  <a16:creationId xmlns:a16="http://schemas.microsoft.com/office/drawing/2014/main" id="{2F32DCBD-8628-F245-85CD-97686A20ECFD}"/>
                </a:ext>
              </a:extLst>
            </p:cNvPr>
            <p:cNvSpPr>
              <a:spLocks/>
            </p:cNvSpPr>
            <p:nvPr/>
          </p:nvSpPr>
          <p:spPr bwMode="gray">
            <a:xfrm>
              <a:off x="2880" y="1704"/>
              <a:ext cx="618" cy="916"/>
            </a:xfrm>
            <a:custGeom>
              <a:avLst/>
              <a:gdLst>
                <a:gd name="T0" fmla="*/ 307 w 307"/>
                <a:gd name="T1" fmla="*/ 405 h 455"/>
                <a:gd name="T2" fmla="*/ 307 w 307"/>
                <a:gd name="T3" fmla="*/ 244 h 455"/>
                <a:gd name="T4" fmla="*/ 279 w 307"/>
                <a:gd name="T5" fmla="*/ 229 h 455"/>
                <a:gd name="T6" fmla="*/ 250 w 307"/>
                <a:gd name="T7" fmla="*/ 244 h 455"/>
                <a:gd name="T8" fmla="*/ 250 w 307"/>
                <a:gd name="T9" fmla="*/ 378 h 455"/>
                <a:gd name="T10" fmla="*/ 199 w 307"/>
                <a:gd name="T11" fmla="*/ 408 h 455"/>
                <a:gd name="T12" fmla="*/ 61 w 307"/>
                <a:gd name="T13" fmla="*/ 231 h 455"/>
                <a:gd name="T14" fmla="*/ 238 w 307"/>
                <a:gd name="T15" fmla="*/ 49 h 455"/>
                <a:gd name="T16" fmla="*/ 270 w 307"/>
                <a:gd name="T17" fmla="*/ 49 h 455"/>
                <a:gd name="T18" fmla="*/ 286 w 307"/>
                <a:gd name="T19" fmla="*/ 23 h 455"/>
                <a:gd name="T20" fmla="*/ 244 w 307"/>
                <a:gd name="T21" fmla="*/ 0 h 455"/>
                <a:gd name="T22" fmla="*/ 231 w 307"/>
                <a:gd name="T23" fmla="*/ 0 h 455"/>
                <a:gd name="T24" fmla="*/ 0 w 307"/>
                <a:gd name="T25" fmla="*/ 232 h 455"/>
                <a:gd name="T26" fmla="*/ 198 w 307"/>
                <a:gd name="T27" fmla="*/ 455 h 455"/>
                <a:gd name="T28" fmla="*/ 307 w 307"/>
                <a:gd name="T29" fmla="*/ 405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7" h="455">
                  <a:moveTo>
                    <a:pt x="307" y="405"/>
                  </a:moveTo>
                  <a:cubicBezTo>
                    <a:pt x="307" y="244"/>
                    <a:pt x="307" y="244"/>
                    <a:pt x="307" y="244"/>
                  </a:cubicBezTo>
                  <a:cubicBezTo>
                    <a:pt x="307" y="234"/>
                    <a:pt x="298" y="229"/>
                    <a:pt x="279" y="229"/>
                  </a:cubicBezTo>
                  <a:cubicBezTo>
                    <a:pt x="259" y="229"/>
                    <a:pt x="250" y="234"/>
                    <a:pt x="250" y="244"/>
                  </a:cubicBezTo>
                  <a:cubicBezTo>
                    <a:pt x="250" y="378"/>
                    <a:pt x="250" y="378"/>
                    <a:pt x="250" y="378"/>
                  </a:cubicBezTo>
                  <a:cubicBezTo>
                    <a:pt x="250" y="399"/>
                    <a:pt x="241" y="408"/>
                    <a:pt x="199" y="408"/>
                  </a:cubicBezTo>
                  <a:cubicBezTo>
                    <a:pt x="114" y="408"/>
                    <a:pt x="61" y="342"/>
                    <a:pt x="61" y="231"/>
                  </a:cubicBezTo>
                  <a:cubicBezTo>
                    <a:pt x="61" y="115"/>
                    <a:pt x="126" y="49"/>
                    <a:pt x="238" y="49"/>
                  </a:cubicBezTo>
                  <a:cubicBezTo>
                    <a:pt x="270" y="49"/>
                    <a:pt x="270" y="49"/>
                    <a:pt x="270" y="49"/>
                  </a:cubicBezTo>
                  <a:cubicBezTo>
                    <a:pt x="282" y="49"/>
                    <a:pt x="286" y="39"/>
                    <a:pt x="286" y="23"/>
                  </a:cubicBezTo>
                  <a:cubicBezTo>
                    <a:pt x="286" y="4"/>
                    <a:pt x="275" y="0"/>
                    <a:pt x="244" y="0"/>
                  </a:cubicBezTo>
                  <a:cubicBezTo>
                    <a:pt x="231" y="0"/>
                    <a:pt x="231" y="0"/>
                    <a:pt x="231" y="0"/>
                  </a:cubicBezTo>
                  <a:cubicBezTo>
                    <a:pt x="101" y="0"/>
                    <a:pt x="0" y="71"/>
                    <a:pt x="0" y="232"/>
                  </a:cubicBezTo>
                  <a:cubicBezTo>
                    <a:pt x="0" y="386"/>
                    <a:pt x="88" y="455"/>
                    <a:pt x="198" y="455"/>
                  </a:cubicBezTo>
                  <a:cubicBezTo>
                    <a:pt x="286" y="455"/>
                    <a:pt x="307" y="430"/>
                    <a:pt x="307" y="40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sp>
          <p:nvSpPr>
            <p:cNvPr id="15" name="Oval 8">
              <a:extLst>
                <a:ext uri="{FF2B5EF4-FFF2-40B4-BE49-F238E27FC236}">
                  <a16:creationId xmlns:a16="http://schemas.microsoft.com/office/drawing/2014/main" id="{60D97C11-1A3B-5449-A48D-98A3E79B3810}"/>
                </a:ext>
              </a:extLst>
            </p:cNvPr>
            <p:cNvSpPr>
              <a:spLocks noChangeArrowheads="1"/>
            </p:cNvSpPr>
            <p:nvPr/>
          </p:nvSpPr>
          <p:spPr bwMode="gray">
            <a:xfrm>
              <a:off x="3778" y="2099"/>
              <a:ext cx="122" cy="12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sp>
          <p:nvSpPr>
            <p:cNvPr id="16" name="Freeform 9">
              <a:extLst>
                <a:ext uri="{FF2B5EF4-FFF2-40B4-BE49-F238E27FC236}">
                  <a16:creationId xmlns:a16="http://schemas.microsoft.com/office/drawing/2014/main" id="{5856770D-B8F0-244E-A05D-AED190086F10}"/>
                </a:ext>
              </a:extLst>
            </p:cNvPr>
            <p:cNvSpPr>
              <a:spLocks noEditPoints="1"/>
            </p:cNvSpPr>
            <p:nvPr/>
          </p:nvSpPr>
          <p:spPr bwMode="gray">
            <a:xfrm>
              <a:off x="3623" y="1696"/>
              <a:ext cx="1167" cy="922"/>
            </a:xfrm>
            <a:custGeom>
              <a:avLst/>
              <a:gdLst>
                <a:gd name="T0" fmla="*/ 411 w 580"/>
                <a:gd name="T1" fmla="*/ 213 h 458"/>
                <a:gd name="T2" fmla="*/ 570 w 580"/>
                <a:gd name="T3" fmla="*/ 37 h 458"/>
                <a:gd name="T4" fmla="*/ 580 w 580"/>
                <a:gd name="T5" fmla="*/ 20 h 458"/>
                <a:gd name="T6" fmla="*/ 545 w 580"/>
                <a:gd name="T7" fmla="*/ 0 h 458"/>
                <a:gd name="T8" fmla="*/ 519 w 580"/>
                <a:gd name="T9" fmla="*/ 16 h 458"/>
                <a:gd name="T10" fmla="*/ 344 w 580"/>
                <a:gd name="T11" fmla="*/ 210 h 458"/>
                <a:gd name="T12" fmla="*/ 334 w 580"/>
                <a:gd name="T13" fmla="*/ 229 h 458"/>
                <a:gd name="T14" fmla="*/ 344 w 580"/>
                <a:gd name="T15" fmla="*/ 248 h 458"/>
                <a:gd name="T16" fmla="*/ 519 w 580"/>
                <a:gd name="T17" fmla="*/ 442 h 458"/>
                <a:gd name="T18" fmla="*/ 545 w 580"/>
                <a:gd name="T19" fmla="*/ 458 h 458"/>
                <a:gd name="T20" fmla="*/ 580 w 580"/>
                <a:gd name="T21" fmla="*/ 438 h 458"/>
                <a:gd name="T22" fmla="*/ 570 w 580"/>
                <a:gd name="T23" fmla="*/ 421 h 458"/>
                <a:gd name="T24" fmla="*/ 411 w 580"/>
                <a:gd name="T25" fmla="*/ 245 h 458"/>
                <a:gd name="T26" fmla="*/ 399 w 580"/>
                <a:gd name="T27" fmla="*/ 229 h 458"/>
                <a:gd name="T28" fmla="*/ 411 w 580"/>
                <a:gd name="T29" fmla="*/ 213 h 458"/>
                <a:gd name="T30" fmla="*/ 252 w 580"/>
                <a:gd name="T31" fmla="*/ 439 h 458"/>
                <a:gd name="T32" fmla="*/ 281 w 580"/>
                <a:gd name="T33" fmla="*/ 454 h 458"/>
                <a:gd name="T34" fmla="*/ 309 w 580"/>
                <a:gd name="T35" fmla="*/ 439 h 458"/>
                <a:gd name="T36" fmla="*/ 309 w 580"/>
                <a:gd name="T37" fmla="*/ 19 h 458"/>
                <a:gd name="T38" fmla="*/ 281 w 580"/>
                <a:gd name="T39" fmla="*/ 4 h 458"/>
                <a:gd name="T40" fmla="*/ 252 w 580"/>
                <a:gd name="T41" fmla="*/ 19 h 458"/>
                <a:gd name="T42" fmla="*/ 252 w 580"/>
                <a:gd name="T43" fmla="*/ 439 h 458"/>
                <a:gd name="T44" fmla="*/ 0 w 580"/>
                <a:gd name="T45" fmla="*/ 439 h 458"/>
                <a:gd name="T46" fmla="*/ 28 w 580"/>
                <a:gd name="T47" fmla="*/ 454 h 458"/>
                <a:gd name="T48" fmla="*/ 56 w 580"/>
                <a:gd name="T49" fmla="*/ 439 h 458"/>
                <a:gd name="T50" fmla="*/ 56 w 580"/>
                <a:gd name="T51" fmla="*/ 157 h 458"/>
                <a:gd name="T52" fmla="*/ 165 w 580"/>
                <a:gd name="T53" fmla="*/ 53 h 458"/>
                <a:gd name="T54" fmla="*/ 180 w 580"/>
                <a:gd name="T55" fmla="*/ 53 h 458"/>
                <a:gd name="T56" fmla="*/ 196 w 580"/>
                <a:gd name="T57" fmla="*/ 27 h 458"/>
                <a:gd name="T58" fmla="*/ 154 w 580"/>
                <a:gd name="T59" fmla="*/ 4 h 458"/>
                <a:gd name="T60" fmla="*/ 0 w 580"/>
                <a:gd name="T61" fmla="*/ 152 h 458"/>
                <a:gd name="T62" fmla="*/ 0 w 580"/>
                <a:gd name="T63" fmla="*/ 439 h 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80" h="458">
                  <a:moveTo>
                    <a:pt x="411" y="213"/>
                  </a:moveTo>
                  <a:cubicBezTo>
                    <a:pt x="570" y="37"/>
                    <a:pt x="570" y="37"/>
                    <a:pt x="570" y="37"/>
                  </a:cubicBezTo>
                  <a:cubicBezTo>
                    <a:pt x="576" y="30"/>
                    <a:pt x="580" y="25"/>
                    <a:pt x="580" y="20"/>
                  </a:cubicBezTo>
                  <a:cubicBezTo>
                    <a:pt x="580" y="10"/>
                    <a:pt x="559" y="0"/>
                    <a:pt x="545" y="0"/>
                  </a:cubicBezTo>
                  <a:cubicBezTo>
                    <a:pt x="535" y="0"/>
                    <a:pt x="526" y="8"/>
                    <a:pt x="519" y="16"/>
                  </a:cubicBezTo>
                  <a:cubicBezTo>
                    <a:pt x="344" y="210"/>
                    <a:pt x="344" y="210"/>
                    <a:pt x="344" y="210"/>
                  </a:cubicBezTo>
                  <a:cubicBezTo>
                    <a:pt x="336" y="219"/>
                    <a:pt x="334" y="224"/>
                    <a:pt x="334" y="229"/>
                  </a:cubicBezTo>
                  <a:cubicBezTo>
                    <a:pt x="334" y="234"/>
                    <a:pt x="336" y="239"/>
                    <a:pt x="344" y="248"/>
                  </a:cubicBezTo>
                  <a:cubicBezTo>
                    <a:pt x="519" y="442"/>
                    <a:pt x="519" y="442"/>
                    <a:pt x="519" y="442"/>
                  </a:cubicBezTo>
                  <a:cubicBezTo>
                    <a:pt x="526" y="450"/>
                    <a:pt x="535" y="458"/>
                    <a:pt x="545" y="458"/>
                  </a:cubicBezTo>
                  <a:cubicBezTo>
                    <a:pt x="559" y="458"/>
                    <a:pt x="580" y="448"/>
                    <a:pt x="580" y="438"/>
                  </a:cubicBezTo>
                  <a:cubicBezTo>
                    <a:pt x="580" y="433"/>
                    <a:pt x="576" y="428"/>
                    <a:pt x="570" y="421"/>
                  </a:cubicBezTo>
                  <a:cubicBezTo>
                    <a:pt x="411" y="245"/>
                    <a:pt x="411" y="245"/>
                    <a:pt x="411" y="245"/>
                  </a:cubicBezTo>
                  <a:cubicBezTo>
                    <a:pt x="403" y="236"/>
                    <a:pt x="399" y="232"/>
                    <a:pt x="399" y="229"/>
                  </a:cubicBezTo>
                  <a:cubicBezTo>
                    <a:pt x="399" y="226"/>
                    <a:pt x="403" y="222"/>
                    <a:pt x="411" y="213"/>
                  </a:cubicBezTo>
                  <a:moveTo>
                    <a:pt x="252" y="439"/>
                  </a:moveTo>
                  <a:cubicBezTo>
                    <a:pt x="252" y="449"/>
                    <a:pt x="261" y="454"/>
                    <a:pt x="281" y="454"/>
                  </a:cubicBezTo>
                  <a:cubicBezTo>
                    <a:pt x="300" y="454"/>
                    <a:pt x="309" y="449"/>
                    <a:pt x="309" y="439"/>
                  </a:cubicBezTo>
                  <a:cubicBezTo>
                    <a:pt x="309" y="19"/>
                    <a:pt x="309" y="19"/>
                    <a:pt x="309" y="19"/>
                  </a:cubicBezTo>
                  <a:cubicBezTo>
                    <a:pt x="309" y="9"/>
                    <a:pt x="300" y="4"/>
                    <a:pt x="281" y="4"/>
                  </a:cubicBezTo>
                  <a:cubicBezTo>
                    <a:pt x="261" y="4"/>
                    <a:pt x="252" y="9"/>
                    <a:pt x="252" y="19"/>
                  </a:cubicBezTo>
                  <a:lnTo>
                    <a:pt x="252" y="439"/>
                  </a:lnTo>
                  <a:close/>
                  <a:moveTo>
                    <a:pt x="0" y="439"/>
                  </a:moveTo>
                  <a:cubicBezTo>
                    <a:pt x="0" y="449"/>
                    <a:pt x="8" y="454"/>
                    <a:pt x="28" y="454"/>
                  </a:cubicBezTo>
                  <a:cubicBezTo>
                    <a:pt x="48" y="454"/>
                    <a:pt x="56" y="449"/>
                    <a:pt x="56" y="439"/>
                  </a:cubicBezTo>
                  <a:cubicBezTo>
                    <a:pt x="56" y="157"/>
                    <a:pt x="56" y="157"/>
                    <a:pt x="56" y="157"/>
                  </a:cubicBezTo>
                  <a:cubicBezTo>
                    <a:pt x="56" y="83"/>
                    <a:pt x="85" y="53"/>
                    <a:pt x="165" y="53"/>
                  </a:cubicBezTo>
                  <a:cubicBezTo>
                    <a:pt x="180" y="53"/>
                    <a:pt x="180" y="53"/>
                    <a:pt x="180" y="53"/>
                  </a:cubicBezTo>
                  <a:cubicBezTo>
                    <a:pt x="192" y="53"/>
                    <a:pt x="196" y="43"/>
                    <a:pt x="196" y="27"/>
                  </a:cubicBezTo>
                  <a:cubicBezTo>
                    <a:pt x="196" y="8"/>
                    <a:pt x="185" y="4"/>
                    <a:pt x="154" y="4"/>
                  </a:cubicBezTo>
                  <a:cubicBezTo>
                    <a:pt x="64" y="4"/>
                    <a:pt x="0" y="43"/>
                    <a:pt x="0" y="152"/>
                  </a:cubicBezTo>
                  <a:lnTo>
                    <a:pt x="0" y="43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sp>
          <p:nvSpPr>
            <p:cNvPr id="17" name="Freeform 10">
              <a:extLst>
                <a:ext uri="{FF2B5EF4-FFF2-40B4-BE49-F238E27FC236}">
                  <a16:creationId xmlns:a16="http://schemas.microsoft.com/office/drawing/2014/main" id="{2B91B16B-BC11-E547-8FAC-B9B8D18EA449}"/>
                </a:ext>
              </a:extLst>
            </p:cNvPr>
            <p:cNvSpPr>
              <a:spLocks/>
            </p:cNvSpPr>
            <p:nvPr/>
          </p:nvSpPr>
          <p:spPr bwMode="gray">
            <a:xfrm>
              <a:off x="2880" y="1704"/>
              <a:ext cx="618" cy="916"/>
            </a:xfrm>
            <a:custGeom>
              <a:avLst/>
              <a:gdLst>
                <a:gd name="T0" fmla="*/ 307 w 307"/>
                <a:gd name="T1" fmla="*/ 405 h 455"/>
                <a:gd name="T2" fmla="*/ 307 w 307"/>
                <a:gd name="T3" fmla="*/ 244 h 455"/>
                <a:gd name="T4" fmla="*/ 279 w 307"/>
                <a:gd name="T5" fmla="*/ 229 h 455"/>
                <a:gd name="T6" fmla="*/ 250 w 307"/>
                <a:gd name="T7" fmla="*/ 244 h 455"/>
                <a:gd name="T8" fmla="*/ 250 w 307"/>
                <a:gd name="T9" fmla="*/ 378 h 455"/>
                <a:gd name="T10" fmla="*/ 199 w 307"/>
                <a:gd name="T11" fmla="*/ 408 h 455"/>
                <a:gd name="T12" fmla="*/ 61 w 307"/>
                <a:gd name="T13" fmla="*/ 231 h 455"/>
                <a:gd name="T14" fmla="*/ 238 w 307"/>
                <a:gd name="T15" fmla="*/ 49 h 455"/>
                <a:gd name="T16" fmla="*/ 270 w 307"/>
                <a:gd name="T17" fmla="*/ 49 h 455"/>
                <a:gd name="T18" fmla="*/ 286 w 307"/>
                <a:gd name="T19" fmla="*/ 23 h 455"/>
                <a:gd name="T20" fmla="*/ 244 w 307"/>
                <a:gd name="T21" fmla="*/ 0 h 455"/>
                <a:gd name="T22" fmla="*/ 231 w 307"/>
                <a:gd name="T23" fmla="*/ 0 h 455"/>
                <a:gd name="T24" fmla="*/ 0 w 307"/>
                <a:gd name="T25" fmla="*/ 232 h 455"/>
                <a:gd name="T26" fmla="*/ 198 w 307"/>
                <a:gd name="T27" fmla="*/ 455 h 455"/>
                <a:gd name="T28" fmla="*/ 307 w 307"/>
                <a:gd name="T29" fmla="*/ 405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7" h="455">
                  <a:moveTo>
                    <a:pt x="307" y="405"/>
                  </a:moveTo>
                  <a:cubicBezTo>
                    <a:pt x="307" y="244"/>
                    <a:pt x="307" y="244"/>
                    <a:pt x="307" y="244"/>
                  </a:cubicBezTo>
                  <a:cubicBezTo>
                    <a:pt x="307" y="234"/>
                    <a:pt x="298" y="229"/>
                    <a:pt x="279" y="229"/>
                  </a:cubicBezTo>
                  <a:cubicBezTo>
                    <a:pt x="259" y="229"/>
                    <a:pt x="250" y="234"/>
                    <a:pt x="250" y="244"/>
                  </a:cubicBezTo>
                  <a:cubicBezTo>
                    <a:pt x="250" y="378"/>
                    <a:pt x="250" y="378"/>
                    <a:pt x="250" y="378"/>
                  </a:cubicBezTo>
                  <a:cubicBezTo>
                    <a:pt x="250" y="399"/>
                    <a:pt x="241" y="408"/>
                    <a:pt x="199" y="408"/>
                  </a:cubicBezTo>
                  <a:cubicBezTo>
                    <a:pt x="114" y="408"/>
                    <a:pt x="61" y="342"/>
                    <a:pt x="61" y="231"/>
                  </a:cubicBezTo>
                  <a:cubicBezTo>
                    <a:pt x="61" y="115"/>
                    <a:pt x="126" y="49"/>
                    <a:pt x="238" y="49"/>
                  </a:cubicBezTo>
                  <a:cubicBezTo>
                    <a:pt x="270" y="49"/>
                    <a:pt x="270" y="49"/>
                    <a:pt x="270" y="49"/>
                  </a:cubicBezTo>
                  <a:cubicBezTo>
                    <a:pt x="282" y="49"/>
                    <a:pt x="286" y="39"/>
                    <a:pt x="286" y="23"/>
                  </a:cubicBezTo>
                  <a:cubicBezTo>
                    <a:pt x="286" y="4"/>
                    <a:pt x="275" y="0"/>
                    <a:pt x="244" y="0"/>
                  </a:cubicBezTo>
                  <a:cubicBezTo>
                    <a:pt x="231" y="0"/>
                    <a:pt x="231" y="0"/>
                    <a:pt x="231" y="0"/>
                  </a:cubicBezTo>
                  <a:cubicBezTo>
                    <a:pt x="101" y="0"/>
                    <a:pt x="0" y="71"/>
                    <a:pt x="0" y="232"/>
                  </a:cubicBezTo>
                  <a:cubicBezTo>
                    <a:pt x="0" y="386"/>
                    <a:pt x="88" y="455"/>
                    <a:pt x="198" y="455"/>
                  </a:cubicBezTo>
                  <a:cubicBezTo>
                    <a:pt x="286" y="455"/>
                    <a:pt x="307" y="430"/>
                    <a:pt x="307" y="40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sp>
          <p:nvSpPr>
            <p:cNvPr id="18" name="Oval 11">
              <a:extLst>
                <a:ext uri="{FF2B5EF4-FFF2-40B4-BE49-F238E27FC236}">
                  <a16:creationId xmlns:a16="http://schemas.microsoft.com/office/drawing/2014/main" id="{14F8C3C8-4888-7646-B9B4-64EB46A1DA23}"/>
                </a:ext>
              </a:extLst>
            </p:cNvPr>
            <p:cNvSpPr>
              <a:spLocks noChangeArrowheads="1"/>
            </p:cNvSpPr>
            <p:nvPr/>
          </p:nvSpPr>
          <p:spPr bwMode="gray">
            <a:xfrm>
              <a:off x="3778" y="2099"/>
              <a:ext cx="122" cy="12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sp>
          <p:nvSpPr>
            <p:cNvPr id="19" name="Freeform 12">
              <a:extLst>
                <a:ext uri="{FF2B5EF4-FFF2-40B4-BE49-F238E27FC236}">
                  <a16:creationId xmlns:a16="http://schemas.microsoft.com/office/drawing/2014/main" id="{D79D01D1-4E3E-F34B-97D7-2D387E68746E}"/>
                </a:ext>
              </a:extLst>
            </p:cNvPr>
            <p:cNvSpPr>
              <a:spLocks/>
            </p:cNvSpPr>
            <p:nvPr/>
          </p:nvSpPr>
          <p:spPr bwMode="gray">
            <a:xfrm>
              <a:off x="4321" y="1029"/>
              <a:ext cx="648" cy="649"/>
            </a:xfrm>
            <a:custGeom>
              <a:avLst/>
              <a:gdLst>
                <a:gd name="T0" fmla="*/ 0 w 648"/>
                <a:gd name="T1" fmla="*/ 649 h 649"/>
                <a:gd name="T2" fmla="*/ 2 w 648"/>
                <a:gd name="T3" fmla="*/ 649 h 649"/>
                <a:gd name="T4" fmla="*/ 648 w 648"/>
                <a:gd name="T5" fmla="*/ 0 h 649"/>
                <a:gd name="T6" fmla="*/ 423 w 648"/>
                <a:gd name="T7" fmla="*/ 0 h 649"/>
                <a:gd name="T8" fmla="*/ 0 w 648"/>
                <a:gd name="T9" fmla="*/ 649 h 649"/>
              </a:gdLst>
              <a:ahLst/>
              <a:cxnLst>
                <a:cxn ang="0">
                  <a:pos x="T0" y="T1"/>
                </a:cxn>
                <a:cxn ang="0">
                  <a:pos x="T2" y="T3"/>
                </a:cxn>
                <a:cxn ang="0">
                  <a:pos x="T4" y="T5"/>
                </a:cxn>
                <a:cxn ang="0">
                  <a:pos x="T6" y="T7"/>
                </a:cxn>
                <a:cxn ang="0">
                  <a:pos x="T8" y="T9"/>
                </a:cxn>
              </a:cxnLst>
              <a:rect l="0" t="0" r="r" b="b"/>
              <a:pathLst>
                <a:path w="648" h="649">
                  <a:moveTo>
                    <a:pt x="0" y="649"/>
                  </a:moveTo>
                  <a:lnTo>
                    <a:pt x="2" y="649"/>
                  </a:lnTo>
                  <a:lnTo>
                    <a:pt x="648" y="0"/>
                  </a:lnTo>
                  <a:lnTo>
                    <a:pt x="423" y="0"/>
                  </a:lnTo>
                  <a:lnTo>
                    <a:pt x="0" y="64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sp>
          <p:nvSpPr>
            <p:cNvPr id="20" name="Freeform 13">
              <a:extLst>
                <a:ext uri="{FF2B5EF4-FFF2-40B4-BE49-F238E27FC236}">
                  <a16:creationId xmlns:a16="http://schemas.microsoft.com/office/drawing/2014/main" id="{46549898-6C52-B147-A8F6-A73FDBE6163B}"/>
                </a:ext>
              </a:extLst>
            </p:cNvPr>
            <p:cNvSpPr>
              <a:spLocks/>
            </p:cNvSpPr>
            <p:nvPr/>
          </p:nvSpPr>
          <p:spPr bwMode="gray">
            <a:xfrm>
              <a:off x="4321" y="1029"/>
              <a:ext cx="648" cy="649"/>
            </a:xfrm>
            <a:custGeom>
              <a:avLst/>
              <a:gdLst>
                <a:gd name="T0" fmla="*/ 0 w 648"/>
                <a:gd name="T1" fmla="*/ 649 h 649"/>
                <a:gd name="T2" fmla="*/ 2 w 648"/>
                <a:gd name="T3" fmla="*/ 649 h 649"/>
                <a:gd name="T4" fmla="*/ 648 w 648"/>
                <a:gd name="T5" fmla="*/ 0 h 649"/>
                <a:gd name="T6" fmla="*/ 423 w 648"/>
                <a:gd name="T7" fmla="*/ 0 h 649"/>
                <a:gd name="T8" fmla="*/ 0 w 648"/>
                <a:gd name="T9" fmla="*/ 649 h 649"/>
              </a:gdLst>
              <a:ahLst/>
              <a:cxnLst>
                <a:cxn ang="0">
                  <a:pos x="T0" y="T1"/>
                </a:cxn>
                <a:cxn ang="0">
                  <a:pos x="T2" y="T3"/>
                </a:cxn>
                <a:cxn ang="0">
                  <a:pos x="T4" y="T5"/>
                </a:cxn>
                <a:cxn ang="0">
                  <a:pos x="T6" y="T7"/>
                </a:cxn>
                <a:cxn ang="0">
                  <a:pos x="T8" y="T9"/>
                </a:cxn>
              </a:cxnLst>
              <a:rect l="0" t="0" r="r" b="b"/>
              <a:pathLst>
                <a:path w="648" h="649">
                  <a:moveTo>
                    <a:pt x="0" y="649"/>
                  </a:moveTo>
                  <a:lnTo>
                    <a:pt x="2" y="649"/>
                  </a:lnTo>
                  <a:lnTo>
                    <a:pt x="648" y="0"/>
                  </a:lnTo>
                  <a:lnTo>
                    <a:pt x="423" y="0"/>
                  </a:lnTo>
                  <a:lnTo>
                    <a:pt x="0" y="64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grpSp>
    </p:spTree>
    <p:extLst>
      <p:ext uri="{BB962C8B-B14F-4D97-AF65-F5344CB8AC3E}">
        <p14:creationId xmlns:p14="http://schemas.microsoft.com/office/powerpoint/2010/main" val="279541804"/>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Headline only">
    <p:spTree>
      <p:nvGrpSpPr>
        <p:cNvPr id="1" name=""/>
        <p:cNvGrpSpPr/>
        <p:nvPr/>
      </p:nvGrpSpPr>
      <p:grpSpPr>
        <a:xfrm>
          <a:off x="0" y="0"/>
          <a:ext cx="0" cy="0"/>
          <a:chOff x="0" y="0"/>
          <a:chExt cx="0" cy="0"/>
        </a:xfrm>
      </p:grpSpPr>
      <p:sp>
        <p:nvSpPr>
          <p:cNvPr id="23" name="Slide Number Placeholder 22"/>
          <p:cNvSpPr>
            <a:spLocks noGrp="1"/>
          </p:cNvSpPr>
          <p:nvPr>
            <p:ph type="sldNum" sz="quarter" idx="16"/>
          </p:nvPr>
        </p:nvSpPr>
        <p:spPr/>
        <p:txBody>
          <a:bodyPr/>
          <a:lstStyle/>
          <a:p>
            <a:fld id="{5F3E29E4-0979-4FCA-B4C5-5FC6044C982A}" type="slidenum">
              <a:rPr lang="en-US" smtClean="0"/>
              <a:t>‹#›</a:t>
            </a:fld>
            <a:endParaRPr lang="en-US"/>
          </a:p>
        </p:txBody>
      </p:sp>
      <p:sp>
        <p:nvSpPr>
          <p:cNvPr id="2" name="Title 1"/>
          <p:cNvSpPr>
            <a:spLocks noGrp="1"/>
          </p:cNvSpPr>
          <p:nvPr>
            <p:ph type="title" hasCustomPrompt="1"/>
          </p:nvPr>
        </p:nvSpPr>
        <p:spPr/>
        <p:txBody>
          <a:bodyPr/>
          <a:lstStyle>
            <a:lvl1pPr>
              <a:defRPr/>
            </a:lvl1pPr>
          </a:lstStyle>
          <a:p>
            <a:r>
              <a:rPr lang="en-US" dirty="0"/>
              <a:t>Click to add slide title</a:t>
            </a:r>
          </a:p>
        </p:txBody>
      </p:sp>
      <p:sp>
        <p:nvSpPr>
          <p:cNvPr id="7" name="Subtitle 2"/>
          <p:cNvSpPr>
            <a:spLocks noGrp="1"/>
          </p:cNvSpPr>
          <p:nvPr>
            <p:ph type="subTitle" idx="13" hasCustomPrompt="1"/>
          </p:nvPr>
        </p:nvSpPr>
        <p:spPr>
          <a:xfrm>
            <a:off x="1075061" y="964671"/>
            <a:ext cx="7910158" cy="490042"/>
          </a:xfrm>
        </p:spPr>
        <p:txBody>
          <a:bodyPr wrap="none"/>
          <a:lstStyle>
            <a:lvl1pPr marL="0" indent="0" algn="l">
              <a:spcBef>
                <a:spcPts val="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Tree>
    <p:extLst>
      <p:ext uri="{BB962C8B-B14F-4D97-AF65-F5344CB8AC3E}">
        <p14:creationId xmlns:p14="http://schemas.microsoft.com/office/powerpoint/2010/main" val="1997395858"/>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p:cSld name="One content">
    <p:spTree>
      <p:nvGrpSpPr>
        <p:cNvPr id="1" name=""/>
        <p:cNvGrpSpPr/>
        <p:nvPr/>
      </p:nvGrpSpPr>
      <p:grpSpPr>
        <a:xfrm>
          <a:off x="0" y="0"/>
          <a:ext cx="0" cy="0"/>
          <a:chOff x="0" y="0"/>
          <a:chExt cx="0" cy="0"/>
        </a:xfrm>
      </p:grpSpPr>
      <p:sp>
        <p:nvSpPr>
          <p:cNvPr id="21" name="Date Placeholder 20"/>
          <p:cNvSpPr>
            <a:spLocks noGrp="1"/>
          </p:cNvSpPr>
          <p:nvPr>
            <p:ph type="dt" sz="half" idx="14"/>
          </p:nvPr>
        </p:nvSpPr>
        <p:spPr>
          <a:xfrm>
            <a:off x="192088" y="6461671"/>
            <a:ext cx="761512" cy="133790"/>
          </a:xfrm>
          <a:prstGeom prst="rect">
            <a:avLst/>
          </a:prstGeom>
        </p:spPr>
        <p:txBody>
          <a:bodyPr/>
          <a:lstStyle/>
          <a:p>
            <a:fld id="{4CC19292-71B2-4BF0-8023-C669B9188137}" type="datetime5">
              <a:rPr lang="en-US" smtClean="0"/>
              <a:t>26-Jun-20</a:t>
            </a:fld>
            <a:endParaRPr lang="en-US" dirty="0"/>
          </a:p>
        </p:txBody>
      </p:sp>
      <p:sp>
        <p:nvSpPr>
          <p:cNvPr id="22" name="Footer Placeholder 21"/>
          <p:cNvSpPr>
            <a:spLocks noGrp="1"/>
          </p:cNvSpPr>
          <p:nvPr>
            <p:ph type="ftr" sz="quarter" idx="15"/>
          </p:nvPr>
        </p:nvSpPr>
        <p:spPr>
          <a:xfrm>
            <a:off x="1076400" y="6461671"/>
            <a:ext cx="8162717" cy="133790"/>
          </a:xfrm>
          <a:prstGeom prst="rect">
            <a:avLst/>
          </a:prstGeom>
        </p:spPr>
        <p:txBody>
          <a:bodyPr/>
          <a:lstStyle>
            <a:lvl1pPr>
              <a:defRPr/>
            </a:lvl1pPr>
          </a:lstStyle>
          <a:p>
            <a:r>
              <a:rPr lang="en-US" dirty="0"/>
              <a:t>TCG Market</a:t>
            </a:r>
          </a:p>
        </p:txBody>
      </p:sp>
      <p:sp>
        <p:nvSpPr>
          <p:cNvPr id="23" name="Slide Number Placeholder 22"/>
          <p:cNvSpPr>
            <a:spLocks noGrp="1"/>
          </p:cNvSpPr>
          <p:nvPr>
            <p:ph type="sldNum" sz="quarter" idx="16"/>
          </p:nvPr>
        </p:nvSpPr>
        <p:spPr/>
        <p:txBody>
          <a:bodyPr/>
          <a:lstStyle/>
          <a:p>
            <a:fld id="{5F3E29E4-0979-4FCA-B4C5-5FC6044C982A}" type="slidenum">
              <a:rPr lang="en-US" smtClean="0"/>
              <a:t>‹#›</a:t>
            </a:fld>
            <a:endParaRPr lang="en-US"/>
          </a:p>
        </p:txBody>
      </p:sp>
      <p:sp>
        <p:nvSpPr>
          <p:cNvPr id="2" name="Title 1"/>
          <p:cNvSpPr>
            <a:spLocks noGrp="1"/>
          </p:cNvSpPr>
          <p:nvPr>
            <p:ph type="title" hasCustomPrompt="1"/>
          </p:nvPr>
        </p:nvSpPr>
        <p:spPr/>
        <p:txBody>
          <a:bodyPr/>
          <a:lstStyle>
            <a:lvl1pPr>
              <a:defRPr/>
            </a:lvl1pPr>
          </a:lstStyle>
          <a:p>
            <a:r>
              <a:rPr lang="en-US" dirty="0"/>
              <a:t>Click to add slide title</a:t>
            </a:r>
          </a:p>
        </p:txBody>
      </p:sp>
      <p:sp>
        <p:nvSpPr>
          <p:cNvPr id="7" name="Subtitle 2"/>
          <p:cNvSpPr>
            <a:spLocks noGrp="1"/>
          </p:cNvSpPr>
          <p:nvPr>
            <p:ph type="subTitle" idx="13" hasCustomPrompt="1"/>
          </p:nvPr>
        </p:nvSpPr>
        <p:spPr>
          <a:xfrm>
            <a:off x="1075061" y="964671"/>
            <a:ext cx="7910158" cy="490042"/>
          </a:xfrm>
        </p:spPr>
        <p:txBody>
          <a:bodyPr wrap="none"/>
          <a:lstStyle>
            <a:lvl1pPr marL="0" indent="0" algn="l">
              <a:spcBef>
                <a:spcPts val="0"/>
              </a:spcBef>
              <a:buNone/>
              <a:defRPr sz="2400" baseline="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3" name="Content Placeholder 2"/>
          <p:cNvSpPr>
            <a:spLocks noGrp="1"/>
          </p:cNvSpPr>
          <p:nvPr>
            <p:ph idx="1" hasCustomPrompt="1"/>
          </p:nvPr>
        </p:nvSpPr>
        <p:spPr/>
        <p:txBody>
          <a:bodyPr/>
          <a:lstStyle>
            <a:lvl1pPr>
              <a:defRPr baseline="0"/>
            </a:lvl1pPr>
          </a:lstStyle>
          <a:p>
            <a:pPr lvl="0"/>
            <a:r>
              <a:rPr lang="en-US" dirty="0"/>
              <a:t>Click to add text or conten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p:cNvSpPr>
            <a:spLocks noGrp="1"/>
          </p:cNvSpPr>
          <p:nvPr>
            <p:ph type="body" sz="quarter" idx="17" hasCustomPrompt="1"/>
          </p:nvPr>
        </p:nvSpPr>
        <p:spPr>
          <a:xfrm>
            <a:off x="1075063" y="6307665"/>
            <a:ext cx="8162717" cy="133200"/>
          </a:xfrm>
        </p:spPr>
        <p:txBody>
          <a:bodyPr lIns="0" tIns="0" rIns="0" bIns="0" anchor="b" anchorCtr="0"/>
          <a:lstStyle>
            <a:lvl1pPr marL="0" indent="0" algn="l">
              <a:lnSpc>
                <a:spcPct val="100000"/>
              </a:lnSpc>
              <a:spcBef>
                <a:spcPts val="0"/>
              </a:spcBef>
              <a:buNone/>
              <a:defRPr sz="800" baseline="0"/>
            </a:lvl1pPr>
            <a:lvl2pPr marL="0" indent="0" algn="l">
              <a:lnSpc>
                <a:spcPct val="100000"/>
              </a:lnSpc>
              <a:spcBef>
                <a:spcPts val="0"/>
              </a:spcBef>
              <a:buNone/>
              <a:defRPr sz="800"/>
            </a:lvl2pPr>
            <a:lvl3pPr marL="0" indent="0" algn="l">
              <a:lnSpc>
                <a:spcPct val="100000"/>
              </a:lnSpc>
              <a:spcBef>
                <a:spcPts val="0"/>
              </a:spcBef>
              <a:buNone/>
              <a:defRPr sz="800"/>
            </a:lvl3pPr>
            <a:lvl4pPr marL="0" algn="l">
              <a:lnSpc>
                <a:spcPct val="100000"/>
              </a:lnSpc>
              <a:spcBef>
                <a:spcPts val="0"/>
              </a:spcBef>
              <a:buNone/>
              <a:defRPr sz="800"/>
            </a:lvl4pPr>
            <a:lvl5pPr marL="0" indent="0" algn="l">
              <a:lnSpc>
                <a:spcPct val="100000"/>
              </a:lnSpc>
              <a:spcBef>
                <a:spcPts val="0"/>
              </a:spcBef>
              <a:buNone/>
              <a:defRPr sz="800"/>
            </a:lvl5pPr>
          </a:lstStyle>
          <a:p>
            <a:pPr lvl="0"/>
            <a:r>
              <a:rPr lang="en-US" dirty="0"/>
              <a:t>Source line</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647256305"/>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p:cSld name="Content and picture">
    <p:spTree>
      <p:nvGrpSpPr>
        <p:cNvPr id="1" name=""/>
        <p:cNvGrpSpPr/>
        <p:nvPr/>
      </p:nvGrpSpPr>
      <p:grpSpPr>
        <a:xfrm>
          <a:off x="0" y="0"/>
          <a:ext cx="0" cy="0"/>
          <a:chOff x="0" y="0"/>
          <a:chExt cx="0" cy="0"/>
        </a:xfrm>
      </p:grpSpPr>
      <p:sp>
        <p:nvSpPr>
          <p:cNvPr id="21" name="Date Placeholder 20"/>
          <p:cNvSpPr>
            <a:spLocks noGrp="1"/>
          </p:cNvSpPr>
          <p:nvPr>
            <p:ph type="dt" sz="half" idx="14"/>
          </p:nvPr>
        </p:nvSpPr>
        <p:spPr>
          <a:xfrm>
            <a:off x="192088" y="6461671"/>
            <a:ext cx="761512" cy="133790"/>
          </a:xfrm>
          <a:prstGeom prst="rect">
            <a:avLst/>
          </a:prstGeom>
        </p:spPr>
        <p:txBody>
          <a:bodyPr/>
          <a:lstStyle/>
          <a:p>
            <a:fld id="{97AF90B7-6970-4C8C-AA59-7302F717A183}" type="datetime5">
              <a:rPr lang="en-US" smtClean="0"/>
              <a:t>26-Jun-20</a:t>
            </a:fld>
            <a:endParaRPr lang="en-US"/>
          </a:p>
        </p:txBody>
      </p:sp>
      <p:sp>
        <p:nvSpPr>
          <p:cNvPr id="22" name="Footer Placeholder 21"/>
          <p:cNvSpPr>
            <a:spLocks noGrp="1"/>
          </p:cNvSpPr>
          <p:nvPr>
            <p:ph type="ftr" sz="quarter" idx="15"/>
          </p:nvPr>
        </p:nvSpPr>
        <p:spPr>
          <a:xfrm>
            <a:off x="1076400" y="6461671"/>
            <a:ext cx="8162717" cy="133790"/>
          </a:xfrm>
          <a:prstGeom prst="rect">
            <a:avLst/>
          </a:prstGeom>
        </p:spPr>
        <p:txBody>
          <a:bodyPr/>
          <a:lstStyle>
            <a:lvl1pPr>
              <a:defRPr/>
            </a:lvl1pPr>
          </a:lstStyle>
          <a:p>
            <a:r>
              <a:rPr lang="en-US" dirty="0"/>
              <a:t>TCG Market</a:t>
            </a:r>
          </a:p>
        </p:txBody>
      </p:sp>
      <p:sp>
        <p:nvSpPr>
          <p:cNvPr id="23" name="Slide Number Placeholder 22"/>
          <p:cNvSpPr>
            <a:spLocks noGrp="1"/>
          </p:cNvSpPr>
          <p:nvPr>
            <p:ph type="sldNum" sz="quarter" idx="16"/>
          </p:nvPr>
        </p:nvSpPr>
        <p:spPr/>
        <p:txBody>
          <a:bodyPr/>
          <a:lstStyle/>
          <a:p>
            <a:fld id="{5F3E29E4-0979-4FCA-B4C5-5FC6044C982A}" type="slidenum">
              <a:rPr lang="en-US" smtClean="0"/>
              <a:t>‹#›</a:t>
            </a:fld>
            <a:endParaRPr lang="en-US"/>
          </a:p>
        </p:txBody>
      </p:sp>
      <p:sp>
        <p:nvSpPr>
          <p:cNvPr id="2" name="Title 1"/>
          <p:cNvSpPr>
            <a:spLocks noGrp="1"/>
          </p:cNvSpPr>
          <p:nvPr>
            <p:ph type="title" hasCustomPrompt="1"/>
          </p:nvPr>
        </p:nvSpPr>
        <p:spPr/>
        <p:txBody>
          <a:bodyPr/>
          <a:lstStyle>
            <a:lvl1pPr>
              <a:defRPr/>
            </a:lvl1pPr>
          </a:lstStyle>
          <a:p>
            <a:r>
              <a:rPr lang="en-US" dirty="0"/>
              <a:t>Click to add slide title</a:t>
            </a:r>
          </a:p>
        </p:txBody>
      </p:sp>
      <p:sp>
        <p:nvSpPr>
          <p:cNvPr id="7" name="Subtitle 2"/>
          <p:cNvSpPr>
            <a:spLocks noGrp="1"/>
          </p:cNvSpPr>
          <p:nvPr>
            <p:ph type="subTitle" idx="13" hasCustomPrompt="1"/>
          </p:nvPr>
        </p:nvSpPr>
        <p:spPr>
          <a:xfrm>
            <a:off x="1075061" y="964671"/>
            <a:ext cx="7910158" cy="490042"/>
          </a:xfrm>
        </p:spPr>
        <p:txBody>
          <a:bodyPr wrap="none"/>
          <a:lstStyle>
            <a:lvl1pPr marL="0" indent="0" algn="l">
              <a:spcBef>
                <a:spcPts val="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3" name="Content Placeholder 2"/>
          <p:cNvSpPr>
            <a:spLocks noGrp="1"/>
          </p:cNvSpPr>
          <p:nvPr>
            <p:ph idx="1" hasCustomPrompt="1"/>
          </p:nvPr>
        </p:nvSpPr>
        <p:spPr>
          <a:xfrm>
            <a:off x="1075062" y="1629618"/>
            <a:ext cx="5220000" cy="4139357"/>
          </a:xfrm>
        </p:spPr>
        <p:txBody>
          <a:bodyPr/>
          <a:lstStyle>
            <a:lvl1pPr>
              <a:defRPr/>
            </a:lvl1pPr>
          </a:lstStyle>
          <a:p>
            <a:pPr lvl="0"/>
            <a:r>
              <a:rPr lang="en-US" dirty="0"/>
              <a:t>Click to add text or conten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Picture Placeholder 4"/>
          <p:cNvSpPr>
            <a:spLocks noGrp="1"/>
          </p:cNvSpPr>
          <p:nvPr>
            <p:ph type="pic" sz="quarter" idx="17" hasCustomPrompt="1"/>
          </p:nvPr>
        </p:nvSpPr>
        <p:spPr>
          <a:xfrm>
            <a:off x="6600525" y="1637783"/>
            <a:ext cx="5220000" cy="4599506"/>
          </a:xfrm>
          <a:solidFill>
            <a:srgbClr val="D9DADB"/>
          </a:solidFill>
        </p:spPr>
        <p:txBody>
          <a:bodyPr/>
          <a:lstStyle>
            <a:lvl1pPr marL="0" indent="0">
              <a:buNone/>
              <a:defRPr/>
            </a:lvl1pPr>
          </a:lstStyle>
          <a:p>
            <a:r>
              <a:rPr lang="en-US" dirty="0"/>
              <a:t>Insert picture</a:t>
            </a:r>
          </a:p>
        </p:txBody>
      </p:sp>
      <p:sp>
        <p:nvSpPr>
          <p:cNvPr id="10" name="Text Placeholder 4"/>
          <p:cNvSpPr>
            <a:spLocks noGrp="1"/>
          </p:cNvSpPr>
          <p:nvPr>
            <p:ph type="body" sz="quarter" idx="18" hasCustomPrompt="1"/>
          </p:nvPr>
        </p:nvSpPr>
        <p:spPr>
          <a:xfrm>
            <a:off x="1075063" y="6307665"/>
            <a:ext cx="8162717" cy="133200"/>
          </a:xfrm>
        </p:spPr>
        <p:txBody>
          <a:bodyPr lIns="0" tIns="0" rIns="0" bIns="0" anchor="b" anchorCtr="0"/>
          <a:lstStyle>
            <a:lvl1pPr marL="0" indent="0" algn="l">
              <a:lnSpc>
                <a:spcPct val="100000"/>
              </a:lnSpc>
              <a:spcBef>
                <a:spcPts val="0"/>
              </a:spcBef>
              <a:buNone/>
              <a:defRPr sz="800" baseline="0"/>
            </a:lvl1pPr>
            <a:lvl2pPr marL="0" indent="0" algn="l">
              <a:lnSpc>
                <a:spcPct val="100000"/>
              </a:lnSpc>
              <a:spcBef>
                <a:spcPts val="0"/>
              </a:spcBef>
              <a:buNone/>
              <a:defRPr sz="800"/>
            </a:lvl2pPr>
            <a:lvl3pPr marL="0" indent="0" algn="l">
              <a:lnSpc>
                <a:spcPct val="100000"/>
              </a:lnSpc>
              <a:spcBef>
                <a:spcPts val="0"/>
              </a:spcBef>
              <a:buNone/>
              <a:defRPr sz="800"/>
            </a:lvl3pPr>
            <a:lvl4pPr marL="0" algn="l">
              <a:lnSpc>
                <a:spcPct val="100000"/>
              </a:lnSpc>
              <a:spcBef>
                <a:spcPts val="0"/>
              </a:spcBef>
              <a:buNone/>
              <a:defRPr sz="800"/>
            </a:lvl4pPr>
            <a:lvl5pPr marL="0" indent="0" algn="l">
              <a:lnSpc>
                <a:spcPct val="100000"/>
              </a:lnSpc>
              <a:spcBef>
                <a:spcPts val="0"/>
              </a:spcBef>
              <a:buNone/>
              <a:defRPr sz="800"/>
            </a:lvl5pPr>
          </a:lstStyle>
          <a:p>
            <a:pPr lvl="0"/>
            <a:r>
              <a:rPr lang="en-US" dirty="0"/>
              <a:t>Source line</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566197214"/>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p:cSld name="Content with full picture">
    <p:spTree>
      <p:nvGrpSpPr>
        <p:cNvPr id="1" name=""/>
        <p:cNvGrpSpPr/>
        <p:nvPr/>
      </p:nvGrpSpPr>
      <p:grpSpPr>
        <a:xfrm>
          <a:off x="0" y="0"/>
          <a:ext cx="0" cy="0"/>
          <a:chOff x="0" y="0"/>
          <a:chExt cx="0" cy="0"/>
        </a:xfrm>
      </p:grpSpPr>
      <p:sp>
        <p:nvSpPr>
          <p:cNvPr id="12" name="Picture Placeholder 11"/>
          <p:cNvSpPr>
            <a:spLocks noGrp="1"/>
          </p:cNvSpPr>
          <p:nvPr>
            <p:ph type="pic" sz="quarter" idx="17" hasCustomPrompt="1"/>
          </p:nvPr>
        </p:nvSpPr>
        <p:spPr>
          <a:xfrm>
            <a:off x="0" y="0"/>
            <a:ext cx="12193200" cy="6858000"/>
          </a:xfrm>
          <a:prstGeom prst="rect">
            <a:avLst/>
          </a:prstGeom>
          <a:solidFill>
            <a:srgbClr val="D9DADB"/>
          </a:solidFill>
        </p:spPr>
        <p:txBody>
          <a:bodyPr wrap="square">
            <a:noAutofit/>
          </a:bodyPr>
          <a:lstStyle>
            <a:lvl1pPr marL="0" indent="0">
              <a:buNone/>
              <a:defRPr/>
            </a:lvl1pPr>
          </a:lstStyle>
          <a:p>
            <a:r>
              <a:rPr lang="en-US" dirty="0"/>
              <a:t>Insert picture</a:t>
            </a:r>
          </a:p>
        </p:txBody>
      </p:sp>
      <p:sp>
        <p:nvSpPr>
          <p:cNvPr id="9" name="copyright"/>
          <p:cNvSpPr txBox="1"/>
          <p:nvPr/>
        </p:nvSpPr>
        <p:spPr>
          <a:xfrm>
            <a:off x="10672209" y="6237288"/>
            <a:ext cx="500617" cy="358173"/>
          </a:xfrm>
          <a:prstGeom prst="rect">
            <a:avLst/>
          </a:prstGeom>
          <a:noFill/>
        </p:spPr>
        <p:txBody>
          <a:bodyPr wrap="none" lIns="0" tIns="0" rIns="0" bIns="0" rtlCol="0" anchor="b" anchorCtr="0">
            <a:noAutofit/>
          </a:bodyPr>
          <a:lstStyle/>
          <a:p>
            <a:pPr marL="0" indent="0" algn="r">
              <a:lnSpc>
                <a:spcPct val="125000"/>
              </a:lnSpc>
              <a:buClr>
                <a:schemeClr val="tx2"/>
              </a:buClr>
              <a:buFont typeface="Wingdings" panose="05000000000000000000" pitchFamily="2" charset="2"/>
              <a:buNone/>
            </a:pPr>
            <a:r>
              <a:rPr lang="en-US" sz="800" dirty="0">
                <a:solidFill>
                  <a:schemeClr val="bg1"/>
                </a:solidFill>
              </a:rPr>
              <a:t>© GfK</a:t>
            </a:r>
          </a:p>
        </p:txBody>
      </p:sp>
      <p:sp>
        <p:nvSpPr>
          <p:cNvPr id="21" name="Date Placeholder 20"/>
          <p:cNvSpPr>
            <a:spLocks noGrp="1"/>
          </p:cNvSpPr>
          <p:nvPr>
            <p:ph type="dt" sz="half" idx="14"/>
          </p:nvPr>
        </p:nvSpPr>
        <p:spPr>
          <a:xfrm>
            <a:off x="192088" y="6461671"/>
            <a:ext cx="761512" cy="133790"/>
          </a:xfrm>
          <a:prstGeom prst="rect">
            <a:avLst/>
          </a:prstGeom>
        </p:spPr>
        <p:txBody>
          <a:bodyPr/>
          <a:lstStyle>
            <a:lvl1pPr>
              <a:defRPr>
                <a:solidFill>
                  <a:schemeClr val="bg1"/>
                </a:solidFill>
              </a:defRPr>
            </a:lvl1pPr>
          </a:lstStyle>
          <a:p>
            <a:fld id="{50FDD96B-8754-4910-8CA2-9F882EDC331D}" type="datetime5">
              <a:rPr lang="en-US" smtClean="0"/>
              <a:t>26-Jun-20</a:t>
            </a:fld>
            <a:endParaRPr lang="en-US"/>
          </a:p>
        </p:txBody>
      </p:sp>
      <p:sp>
        <p:nvSpPr>
          <p:cNvPr id="22" name="Footer Placeholder 21"/>
          <p:cNvSpPr>
            <a:spLocks noGrp="1"/>
          </p:cNvSpPr>
          <p:nvPr>
            <p:ph type="ftr" sz="quarter" idx="15"/>
          </p:nvPr>
        </p:nvSpPr>
        <p:spPr>
          <a:xfrm>
            <a:off x="1076400" y="6461671"/>
            <a:ext cx="8162717" cy="133790"/>
          </a:xfrm>
          <a:prstGeom prst="rect">
            <a:avLst/>
          </a:prstGeom>
        </p:spPr>
        <p:txBody>
          <a:bodyPr/>
          <a:lstStyle>
            <a:lvl1pPr>
              <a:defRPr>
                <a:solidFill>
                  <a:schemeClr val="bg1"/>
                </a:solidFill>
              </a:defRPr>
            </a:lvl1pPr>
          </a:lstStyle>
          <a:p>
            <a:r>
              <a:rPr lang="en-US"/>
              <a:t>Title of presentation (Insert / Header &amp; Footer / Apply to All)</a:t>
            </a:r>
            <a:endParaRPr lang="en-US" dirty="0"/>
          </a:p>
        </p:txBody>
      </p:sp>
      <p:sp>
        <p:nvSpPr>
          <p:cNvPr id="23" name="Slide Number Placeholder 22"/>
          <p:cNvSpPr>
            <a:spLocks noGrp="1"/>
          </p:cNvSpPr>
          <p:nvPr>
            <p:ph type="sldNum" sz="quarter" idx="16"/>
          </p:nvPr>
        </p:nvSpPr>
        <p:spPr/>
        <p:txBody>
          <a:bodyPr/>
          <a:lstStyle>
            <a:lvl1pPr>
              <a:defRPr>
                <a:solidFill>
                  <a:schemeClr val="bg1"/>
                </a:solidFill>
              </a:defRPr>
            </a:lvl1pPr>
          </a:lstStyle>
          <a:p>
            <a:fld id="{5F3E29E4-0979-4FCA-B4C5-5FC6044C982A}" type="slidenum">
              <a:rPr lang="en-US" smtClean="0"/>
              <a:pPr/>
              <a:t>‹#›</a:t>
            </a:fld>
            <a:endParaRPr lang="en-US"/>
          </a:p>
        </p:txBody>
      </p:sp>
      <p:sp>
        <p:nvSpPr>
          <p:cNvPr id="2" name="Title 1"/>
          <p:cNvSpPr>
            <a:spLocks noGrp="1"/>
          </p:cNvSpPr>
          <p:nvPr>
            <p:ph type="title" hasCustomPrompt="1"/>
          </p:nvPr>
        </p:nvSpPr>
        <p:spPr>
          <a:xfrm>
            <a:off x="6543675" y="1519552"/>
            <a:ext cx="4629150" cy="4249423"/>
          </a:xfrm>
        </p:spPr>
        <p:txBody>
          <a:bodyPr/>
          <a:lstStyle>
            <a:lvl1pPr>
              <a:defRPr>
                <a:solidFill>
                  <a:schemeClr val="bg1"/>
                </a:solidFill>
              </a:defRPr>
            </a:lvl1pPr>
          </a:lstStyle>
          <a:p>
            <a:r>
              <a:rPr lang="en-US" dirty="0"/>
              <a:t>Click to add text</a:t>
            </a:r>
          </a:p>
        </p:txBody>
      </p:sp>
      <p:sp>
        <p:nvSpPr>
          <p:cNvPr id="8" name="Text Placeholder 4"/>
          <p:cNvSpPr>
            <a:spLocks noGrp="1"/>
          </p:cNvSpPr>
          <p:nvPr>
            <p:ph type="body" sz="quarter" idx="18" hasCustomPrompt="1"/>
          </p:nvPr>
        </p:nvSpPr>
        <p:spPr>
          <a:xfrm>
            <a:off x="1075063" y="6307665"/>
            <a:ext cx="8162717" cy="133200"/>
          </a:xfrm>
        </p:spPr>
        <p:txBody>
          <a:bodyPr lIns="0" tIns="0" rIns="0" bIns="0" anchor="b" anchorCtr="0"/>
          <a:lstStyle>
            <a:lvl1pPr marL="0" indent="0" algn="l">
              <a:lnSpc>
                <a:spcPct val="100000"/>
              </a:lnSpc>
              <a:spcBef>
                <a:spcPts val="0"/>
              </a:spcBef>
              <a:buNone/>
              <a:defRPr sz="800" baseline="0">
                <a:solidFill>
                  <a:schemeClr val="bg1"/>
                </a:solidFill>
              </a:defRPr>
            </a:lvl1pPr>
            <a:lvl2pPr marL="0" indent="0" algn="l">
              <a:lnSpc>
                <a:spcPct val="100000"/>
              </a:lnSpc>
              <a:spcBef>
                <a:spcPts val="0"/>
              </a:spcBef>
              <a:buNone/>
              <a:defRPr sz="800">
                <a:solidFill>
                  <a:schemeClr val="bg1"/>
                </a:solidFill>
              </a:defRPr>
            </a:lvl2pPr>
            <a:lvl3pPr marL="0" indent="0" algn="l">
              <a:lnSpc>
                <a:spcPct val="100000"/>
              </a:lnSpc>
              <a:spcBef>
                <a:spcPts val="0"/>
              </a:spcBef>
              <a:buNone/>
              <a:defRPr sz="800">
                <a:solidFill>
                  <a:schemeClr val="bg1"/>
                </a:solidFill>
              </a:defRPr>
            </a:lvl3pPr>
            <a:lvl4pPr marL="0" algn="l">
              <a:lnSpc>
                <a:spcPct val="100000"/>
              </a:lnSpc>
              <a:spcBef>
                <a:spcPts val="0"/>
              </a:spcBef>
              <a:buNone/>
              <a:defRPr sz="800">
                <a:solidFill>
                  <a:schemeClr val="bg1"/>
                </a:solidFill>
              </a:defRPr>
            </a:lvl4pPr>
            <a:lvl5pPr marL="0" indent="0" algn="l">
              <a:lnSpc>
                <a:spcPct val="100000"/>
              </a:lnSpc>
              <a:spcBef>
                <a:spcPts val="0"/>
              </a:spcBef>
              <a:buNone/>
              <a:defRPr sz="800">
                <a:solidFill>
                  <a:schemeClr val="bg1"/>
                </a:solidFill>
              </a:defRPr>
            </a:lvl5pPr>
          </a:lstStyle>
          <a:p>
            <a:pPr lvl="0"/>
            <a:r>
              <a:rPr lang="en-US" dirty="0"/>
              <a:t>Source line</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26720921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End slide">
    <p:spTree>
      <p:nvGrpSpPr>
        <p:cNvPr id="1" name=""/>
        <p:cNvGrpSpPr/>
        <p:nvPr/>
      </p:nvGrpSpPr>
      <p:grpSpPr>
        <a:xfrm>
          <a:off x="0" y="0"/>
          <a:ext cx="0" cy="0"/>
          <a:chOff x="0" y="0"/>
          <a:chExt cx="0" cy="0"/>
        </a:xfrm>
      </p:grpSpPr>
      <p:pic>
        <p:nvPicPr>
          <p:cNvPr id="7" name="Picture 1"/>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bwMode="gray">
          <a:xfrm>
            <a:off x="0" y="0"/>
            <a:ext cx="12192000" cy="6858000"/>
          </a:xfrm>
          <a:prstGeom prst="rect">
            <a:avLst/>
          </a:prstGeom>
          <a:noFill/>
          <a:ln>
            <a:noFill/>
          </a:ln>
        </p:spPr>
      </p:pic>
      <p:sp>
        <p:nvSpPr>
          <p:cNvPr id="3" name="Title 2"/>
          <p:cNvSpPr>
            <a:spLocks noGrp="1"/>
          </p:cNvSpPr>
          <p:nvPr>
            <p:ph type="title" hasCustomPrompt="1"/>
          </p:nvPr>
        </p:nvSpPr>
        <p:spPr bwMode="gray">
          <a:xfrm>
            <a:off x="431215" y="1316568"/>
            <a:ext cx="11329573" cy="2592917"/>
          </a:xfrm>
        </p:spPr>
        <p:txBody>
          <a:bodyPr anchor="b"/>
          <a:lstStyle>
            <a:lvl1pPr>
              <a:defRPr sz="4796" cap="none" baseline="0">
                <a:solidFill>
                  <a:schemeClr val="bg1"/>
                </a:solidFill>
                <a:latin typeface="Arial" pitchFamily="34" charset="0"/>
              </a:defRPr>
            </a:lvl1pPr>
          </a:lstStyle>
          <a:p>
            <a:r>
              <a:rPr lang="en-US"/>
              <a:t>Thank you</a:t>
            </a:r>
          </a:p>
        </p:txBody>
      </p:sp>
      <p:sp>
        <p:nvSpPr>
          <p:cNvPr id="8" name="Text Placeholder 5"/>
          <p:cNvSpPr>
            <a:spLocks noGrp="1"/>
          </p:cNvSpPr>
          <p:nvPr>
            <p:ph type="body" sz="quarter" idx="10" hasCustomPrompt="1"/>
          </p:nvPr>
        </p:nvSpPr>
        <p:spPr bwMode="gray">
          <a:xfrm>
            <a:off x="431372" y="6309413"/>
            <a:ext cx="11329259" cy="288032"/>
          </a:xfrm>
        </p:spPr>
        <p:txBody>
          <a:bodyPr anchor="b"/>
          <a:lstStyle>
            <a:lvl1pPr marL="0" indent="0">
              <a:spcBef>
                <a:spcPts val="0"/>
              </a:spcBef>
              <a:spcAft>
                <a:spcPts val="0"/>
              </a:spcAft>
              <a:buFontTx/>
              <a:buNone/>
              <a:defRPr sz="1598" baseline="0">
                <a:solidFill>
                  <a:schemeClr val="bg1"/>
                </a:solidFill>
              </a:defRPr>
            </a:lvl1pPr>
            <a:lvl2pPr marL="0" indent="0">
              <a:spcBef>
                <a:spcPts val="0"/>
              </a:spcBef>
              <a:spcAft>
                <a:spcPts val="0"/>
              </a:spcAft>
              <a:buFontTx/>
              <a:buNone/>
              <a:defRPr sz="1598">
                <a:solidFill>
                  <a:schemeClr val="bg1"/>
                </a:solidFill>
              </a:defRPr>
            </a:lvl2pPr>
            <a:lvl3pPr marL="0" indent="0">
              <a:spcBef>
                <a:spcPts val="0"/>
              </a:spcBef>
              <a:spcAft>
                <a:spcPts val="0"/>
              </a:spcAft>
              <a:buFontTx/>
              <a:buNone/>
              <a:defRPr sz="1598">
                <a:solidFill>
                  <a:schemeClr val="bg1"/>
                </a:solidFill>
              </a:defRPr>
            </a:lvl3pPr>
            <a:lvl4pPr marL="0" indent="0">
              <a:spcBef>
                <a:spcPts val="0"/>
              </a:spcBef>
              <a:spcAft>
                <a:spcPts val="0"/>
              </a:spcAft>
              <a:buFontTx/>
              <a:buNone/>
              <a:defRPr sz="1598">
                <a:solidFill>
                  <a:schemeClr val="bg1"/>
                </a:solidFill>
              </a:defRPr>
            </a:lvl4pPr>
            <a:lvl5pPr marL="0" indent="0">
              <a:spcBef>
                <a:spcPts val="0"/>
              </a:spcBef>
              <a:spcAft>
                <a:spcPts val="0"/>
              </a:spcAft>
              <a:buFontTx/>
              <a:buNone/>
              <a:defRPr sz="1598">
                <a:solidFill>
                  <a:schemeClr val="bg1"/>
                </a:solidFill>
              </a:defRPr>
            </a:lvl5pPr>
            <a:lvl6pPr marL="0" indent="0">
              <a:spcBef>
                <a:spcPts val="0"/>
              </a:spcBef>
              <a:spcAft>
                <a:spcPts val="0"/>
              </a:spcAft>
              <a:buFontTx/>
              <a:buNone/>
              <a:defRPr sz="1598">
                <a:solidFill>
                  <a:schemeClr val="bg1"/>
                </a:solidFill>
              </a:defRPr>
            </a:lvl6pPr>
            <a:lvl7pPr marL="0" indent="0">
              <a:spcBef>
                <a:spcPts val="0"/>
              </a:spcBef>
              <a:spcAft>
                <a:spcPts val="0"/>
              </a:spcAft>
              <a:buFontTx/>
              <a:buNone/>
              <a:defRPr sz="1598">
                <a:solidFill>
                  <a:schemeClr val="bg1"/>
                </a:solidFill>
              </a:defRPr>
            </a:lvl7pPr>
            <a:lvl8pPr marL="0" indent="0">
              <a:spcBef>
                <a:spcPts val="0"/>
              </a:spcBef>
              <a:spcAft>
                <a:spcPts val="0"/>
              </a:spcAft>
              <a:buFontTx/>
              <a:buNone/>
              <a:defRPr sz="1598">
                <a:solidFill>
                  <a:schemeClr val="bg1"/>
                </a:solidFill>
              </a:defRPr>
            </a:lvl8pPr>
            <a:lvl9pPr marL="0" indent="0">
              <a:spcBef>
                <a:spcPts val="0"/>
              </a:spcBef>
              <a:spcAft>
                <a:spcPts val="0"/>
              </a:spcAft>
              <a:buFontTx/>
              <a:buNone/>
              <a:defRPr sz="1598">
                <a:solidFill>
                  <a:schemeClr val="bg1"/>
                </a:solidFill>
              </a:defRPr>
            </a:lvl9pPr>
          </a:lstStyle>
          <a:p>
            <a:pPr lvl="0"/>
            <a:r>
              <a:rPr lang="en-US" noProof="0"/>
              <a:t>Click to add additional text, e.g. author, location, date</a:t>
            </a:r>
          </a:p>
        </p:txBody>
      </p:sp>
    </p:spTree>
    <p:extLst>
      <p:ext uri="{BB962C8B-B14F-4D97-AF65-F5344CB8AC3E}">
        <p14:creationId xmlns:p14="http://schemas.microsoft.com/office/powerpoint/2010/main" val="2039754466"/>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p:cSld name="Two pictures">
    <p:spTree>
      <p:nvGrpSpPr>
        <p:cNvPr id="1" name=""/>
        <p:cNvGrpSpPr/>
        <p:nvPr/>
      </p:nvGrpSpPr>
      <p:grpSpPr>
        <a:xfrm>
          <a:off x="0" y="0"/>
          <a:ext cx="0" cy="0"/>
          <a:chOff x="0" y="0"/>
          <a:chExt cx="0" cy="0"/>
        </a:xfrm>
      </p:grpSpPr>
      <p:sp>
        <p:nvSpPr>
          <p:cNvPr id="21" name="Date Placeholder 20"/>
          <p:cNvSpPr>
            <a:spLocks noGrp="1"/>
          </p:cNvSpPr>
          <p:nvPr>
            <p:ph type="dt" sz="half" idx="14"/>
          </p:nvPr>
        </p:nvSpPr>
        <p:spPr>
          <a:xfrm>
            <a:off x="192088" y="6461671"/>
            <a:ext cx="761512" cy="133790"/>
          </a:xfrm>
          <a:prstGeom prst="rect">
            <a:avLst/>
          </a:prstGeom>
        </p:spPr>
        <p:txBody>
          <a:bodyPr/>
          <a:lstStyle/>
          <a:p>
            <a:fld id="{0C2FFEBC-2BB8-4026-95F3-22D358B37101}" type="datetime5">
              <a:rPr lang="en-US" smtClean="0"/>
              <a:t>26-Jun-20</a:t>
            </a:fld>
            <a:endParaRPr lang="en-US"/>
          </a:p>
        </p:txBody>
      </p:sp>
      <p:sp>
        <p:nvSpPr>
          <p:cNvPr id="22" name="Footer Placeholder 21"/>
          <p:cNvSpPr>
            <a:spLocks noGrp="1"/>
          </p:cNvSpPr>
          <p:nvPr>
            <p:ph type="ftr" sz="quarter" idx="15"/>
          </p:nvPr>
        </p:nvSpPr>
        <p:spPr>
          <a:xfrm>
            <a:off x="1076400" y="6461671"/>
            <a:ext cx="8162717" cy="133790"/>
          </a:xfrm>
          <a:prstGeom prst="rect">
            <a:avLst/>
          </a:prstGeom>
        </p:spPr>
        <p:txBody>
          <a:bodyPr/>
          <a:lstStyle>
            <a:lvl1pPr>
              <a:defRPr/>
            </a:lvl1pPr>
          </a:lstStyle>
          <a:p>
            <a:r>
              <a:rPr lang="en-US" dirty="0"/>
              <a:t>TCG Market</a:t>
            </a:r>
          </a:p>
        </p:txBody>
      </p:sp>
      <p:sp>
        <p:nvSpPr>
          <p:cNvPr id="23" name="Slide Number Placeholder 22"/>
          <p:cNvSpPr>
            <a:spLocks noGrp="1"/>
          </p:cNvSpPr>
          <p:nvPr>
            <p:ph type="sldNum" sz="quarter" idx="16"/>
          </p:nvPr>
        </p:nvSpPr>
        <p:spPr/>
        <p:txBody>
          <a:bodyPr/>
          <a:lstStyle/>
          <a:p>
            <a:fld id="{5F3E29E4-0979-4FCA-B4C5-5FC6044C982A}" type="slidenum">
              <a:rPr lang="en-US" smtClean="0"/>
              <a:t>‹#›</a:t>
            </a:fld>
            <a:endParaRPr lang="en-US"/>
          </a:p>
        </p:txBody>
      </p:sp>
      <p:sp>
        <p:nvSpPr>
          <p:cNvPr id="2" name="Title 1"/>
          <p:cNvSpPr>
            <a:spLocks noGrp="1"/>
          </p:cNvSpPr>
          <p:nvPr>
            <p:ph type="title" hasCustomPrompt="1"/>
          </p:nvPr>
        </p:nvSpPr>
        <p:spPr/>
        <p:txBody>
          <a:bodyPr/>
          <a:lstStyle>
            <a:lvl1pPr>
              <a:defRPr/>
            </a:lvl1pPr>
          </a:lstStyle>
          <a:p>
            <a:r>
              <a:rPr lang="en-US" dirty="0"/>
              <a:t>Click to add slide title</a:t>
            </a:r>
          </a:p>
        </p:txBody>
      </p:sp>
      <p:sp>
        <p:nvSpPr>
          <p:cNvPr id="7" name="Subtitle 2"/>
          <p:cNvSpPr>
            <a:spLocks noGrp="1"/>
          </p:cNvSpPr>
          <p:nvPr>
            <p:ph type="subTitle" idx="13" hasCustomPrompt="1"/>
          </p:nvPr>
        </p:nvSpPr>
        <p:spPr>
          <a:xfrm>
            <a:off x="1075061" y="964671"/>
            <a:ext cx="7910158" cy="490042"/>
          </a:xfrm>
        </p:spPr>
        <p:txBody>
          <a:bodyPr wrap="none"/>
          <a:lstStyle>
            <a:lvl1pPr marL="0" indent="0" algn="l">
              <a:spcBef>
                <a:spcPts val="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5" name="Picture Placeholder 4"/>
          <p:cNvSpPr>
            <a:spLocks noGrp="1"/>
          </p:cNvSpPr>
          <p:nvPr>
            <p:ph type="pic" sz="quarter" idx="17" hasCustomPrompt="1"/>
          </p:nvPr>
        </p:nvSpPr>
        <p:spPr>
          <a:xfrm>
            <a:off x="1075062" y="1637783"/>
            <a:ext cx="5220000" cy="4599506"/>
          </a:xfrm>
          <a:solidFill>
            <a:srgbClr val="D9DADB"/>
          </a:solidFill>
        </p:spPr>
        <p:txBody>
          <a:bodyPr/>
          <a:lstStyle>
            <a:lvl1pPr marL="0" indent="0">
              <a:buNone/>
              <a:defRPr/>
            </a:lvl1pPr>
          </a:lstStyle>
          <a:p>
            <a:r>
              <a:rPr lang="en-US" dirty="0"/>
              <a:t>Insert picture</a:t>
            </a:r>
          </a:p>
        </p:txBody>
      </p:sp>
      <p:sp>
        <p:nvSpPr>
          <p:cNvPr id="9" name="Picture Placeholder 4"/>
          <p:cNvSpPr>
            <a:spLocks noGrp="1"/>
          </p:cNvSpPr>
          <p:nvPr>
            <p:ph type="pic" sz="quarter" idx="18" hasCustomPrompt="1"/>
          </p:nvPr>
        </p:nvSpPr>
        <p:spPr>
          <a:xfrm>
            <a:off x="6600525" y="1637783"/>
            <a:ext cx="5220000" cy="4599506"/>
          </a:xfrm>
          <a:solidFill>
            <a:srgbClr val="D9DADB"/>
          </a:solidFill>
        </p:spPr>
        <p:txBody>
          <a:bodyPr/>
          <a:lstStyle>
            <a:lvl1pPr marL="0" indent="0">
              <a:buNone/>
              <a:defRPr/>
            </a:lvl1pPr>
          </a:lstStyle>
          <a:p>
            <a:r>
              <a:rPr lang="en-US" dirty="0"/>
              <a:t>Insert picture</a:t>
            </a:r>
          </a:p>
        </p:txBody>
      </p:sp>
      <p:sp>
        <p:nvSpPr>
          <p:cNvPr id="11" name="Text Placeholder 4"/>
          <p:cNvSpPr>
            <a:spLocks noGrp="1"/>
          </p:cNvSpPr>
          <p:nvPr>
            <p:ph type="body" sz="quarter" idx="19" hasCustomPrompt="1"/>
          </p:nvPr>
        </p:nvSpPr>
        <p:spPr>
          <a:xfrm>
            <a:off x="1075063" y="6307665"/>
            <a:ext cx="8162717" cy="133200"/>
          </a:xfrm>
        </p:spPr>
        <p:txBody>
          <a:bodyPr lIns="0" tIns="0" rIns="0" bIns="0" anchor="b" anchorCtr="0"/>
          <a:lstStyle>
            <a:lvl1pPr marL="0" indent="0" algn="l">
              <a:lnSpc>
                <a:spcPct val="100000"/>
              </a:lnSpc>
              <a:spcBef>
                <a:spcPts val="0"/>
              </a:spcBef>
              <a:buNone/>
              <a:defRPr sz="800" baseline="0"/>
            </a:lvl1pPr>
            <a:lvl2pPr marL="0" indent="0" algn="l">
              <a:lnSpc>
                <a:spcPct val="100000"/>
              </a:lnSpc>
              <a:spcBef>
                <a:spcPts val="0"/>
              </a:spcBef>
              <a:buNone/>
              <a:defRPr sz="800"/>
            </a:lvl2pPr>
            <a:lvl3pPr marL="0" indent="0" algn="l">
              <a:lnSpc>
                <a:spcPct val="100000"/>
              </a:lnSpc>
              <a:spcBef>
                <a:spcPts val="0"/>
              </a:spcBef>
              <a:buNone/>
              <a:defRPr sz="800"/>
            </a:lvl3pPr>
            <a:lvl4pPr marL="0" algn="l">
              <a:lnSpc>
                <a:spcPct val="100000"/>
              </a:lnSpc>
              <a:spcBef>
                <a:spcPts val="0"/>
              </a:spcBef>
              <a:buNone/>
              <a:defRPr sz="800"/>
            </a:lvl4pPr>
            <a:lvl5pPr marL="0" indent="0" algn="l">
              <a:lnSpc>
                <a:spcPct val="100000"/>
              </a:lnSpc>
              <a:spcBef>
                <a:spcPts val="0"/>
              </a:spcBef>
              <a:buNone/>
              <a:defRPr sz="800"/>
            </a:lvl5pPr>
          </a:lstStyle>
          <a:p>
            <a:pPr lvl="0"/>
            <a:r>
              <a:rPr lang="en-US" dirty="0"/>
              <a:t>Source line</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329552468"/>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p:cSld name="Two contents">
    <p:spTree>
      <p:nvGrpSpPr>
        <p:cNvPr id="1" name=""/>
        <p:cNvGrpSpPr/>
        <p:nvPr/>
      </p:nvGrpSpPr>
      <p:grpSpPr>
        <a:xfrm>
          <a:off x="0" y="0"/>
          <a:ext cx="0" cy="0"/>
          <a:chOff x="0" y="0"/>
          <a:chExt cx="0" cy="0"/>
        </a:xfrm>
      </p:grpSpPr>
      <p:sp>
        <p:nvSpPr>
          <p:cNvPr id="21" name="Date Placeholder 20"/>
          <p:cNvSpPr>
            <a:spLocks noGrp="1"/>
          </p:cNvSpPr>
          <p:nvPr>
            <p:ph type="dt" sz="half" idx="14"/>
          </p:nvPr>
        </p:nvSpPr>
        <p:spPr>
          <a:xfrm>
            <a:off x="192088" y="6461671"/>
            <a:ext cx="761512" cy="133790"/>
          </a:xfrm>
          <a:prstGeom prst="rect">
            <a:avLst/>
          </a:prstGeom>
        </p:spPr>
        <p:txBody>
          <a:bodyPr/>
          <a:lstStyle/>
          <a:p>
            <a:fld id="{9D45F382-CD09-4611-8552-1549F9F12240}" type="datetime5">
              <a:rPr lang="en-US" smtClean="0"/>
              <a:t>26-Jun-20</a:t>
            </a:fld>
            <a:endParaRPr lang="en-US"/>
          </a:p>
        </p:txBody>
      </p:sp>
      <p:sp>
        <p:nvSpPr>
          <p:cNvPr id="22" name="Footer Placeholder 21"/>
          <p:cNvSpPr>
            <a:spLocks noGrp="1"/>
          </p:cNvSpPr>
          <p:nvPr>
            <p:ph type="ftr" sz="quarter" idx="15"/>
          </p:nvPr>
        </p:nvSpPr>
        <p:spPr>
          <a:xfrm>
            <a:off x="1076400" y="6461671"/>
            <a:ext cx="8162717" cy="133790"/>
          </a:xfrm>
          <a:prstGeom prst="rect">
            <a:avLst/>
          </a:prstGeom>
        </p:spPr>
        <p:txBody>
          <a:bodyPr/>
          <a:lstStyle>
            <a:lvl1pPr>
              <a:defRPr/>
            </a:lvl1pPr>
          </a:lstStyle>
          <a:p>
            <a:r>
              <a:rPr lang="en-US" dirty="0"/>
              <a:t>TCG Market</a:t>
            </a:r>
          </a:p>
        </p:txBody>
      </p:sp>
      <p:sp>
        <p:nvSpPr>
          <p:cNvPr id="23" name="Slide Number Placeholder 22"/>
          <p:cNvSpPr>
            <a:spLocks noGrp="1"/>
          </p:cNvSpPr>
          <p:nvPr>
            <p:ph type="sldNum" sz="quarter" idx="16"/>
          </p:nvPr>
        </p:nvSpPr>
        <p:spPr/>
        <p:txBody>
          <a:bodyPr/>
          <a:lstStyle/>
          <a:p>
            <a:fld id="{5F3E29E4-0979-4FCA-B4C5-5FC6044C982A}" type="slidenum">
              <a:rPr lang="en-US" smtClean="0"/>
              <a:t>‹#›</a:t>
            </a:fld>
            <a:endParaRPr lang="en-US"/>
          </a:p>
        </p:txBody>
      </p:sp>
      <p:sp>
        <p:nvSpPr>
          <p:cNvPr id="2" name="Title 1"/>
          <p:cNvSpPr>
            <a:spLocks noGrp="1"/>
          </p:cNvSpPr>
          <p:nvPr>
            <p:ph type="title" hasCustomPrompt="1"/>
          </p:nvPr>
        </p:nvSpPr>
        <p:spPr/>
        <p:txBody>
          <a:bodyPr/>
          <a:lstStyle>
            <a:lvl1pPr>
              <a:defRPr/>
            </a:lvl1pPr>
          </a:lstStyle>
          <a:p>
            <a:r>
              <a:rPr lang="en-US" dirty="0"/>
              <a:t>Click to add slide title</a:t>
            </a:r>
          </a:p>
        </p:txBody>
      </p:sp>
      <p:sp>
        <p:nvSpPr>
          <p:cNvPr id="7" name="Subtitle 2"/>
          <p:cNvSpPr>
            <a:spLocks noGrp="1"/>
          </p:cNvSpPr>
          <p:nvPr>
            <p:ph type="subTitle" idx="13" hasCustomPrompt="1"/>
          </p:nvPr>
        </p:nvSpPr>
        <p:spPr>
          <a:xfrm>
            <a:off x="1075061" y="964671"/>
            <a:ext cx="7910158" cy="490042"/>
          </a:xfrm>
        </p:spPr>
        <p:txBody>
          <a:bodyPr wrap="none"/>
          <a:lstStyle>
            <a:lvl1pPr marL="0" indent="0" algn="l">
              <a:spcBef>
                <a:spcPts val="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3" name="Content Placeholder 2"/>
          <p:cNvSpPr>
            <a:spLocks noGrp="1"/>
          </p:cNvSpPr>
          <p:nvPr>
            <p:ph idx="1" hasCustomPrompt="1"/>
          </p:nvPr>
        </p:nvSpPr>
        <p:spPr>
          <a:xfrm>
            <a:off x="1075062" y="1629618"/>
            <a:ext cx="5220000" cy="4139357"/>
          </a:xfrm>
        </p:spPr>
        <p:txBody>
          <a:bodyPr/>
          <a:lstStyle>
            <a:lvl1pPr>
              <a:defRPr/>
            </a:lvl1pPr>
          </a:lstStyle>
          <a:p>
            <a:pPr lvl="0"/>
            <a:r>
              <a:rPr lang="en-US" dirty="0"/>
              <a:t>Click to add text or conten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Content Placeholder 2"/>
          <p:cNvSpPr>
            <a:spLocks noGrp="1"/>
          </p:cNvSpPr>
          <p:nvPr>
            <p:ph idx="17" hasCustomPrompt="1"/>
          </p:nvPr>
        </p:nvSpPr>
        <p:spPr>
          <a:xfrm>
            <a:off x="6600525" y="1629618"/>
            <a:ext cx="5220000" cy="4139357"/>
          </a:xfrm>
        </p:spPr>
        <p:txBody>
          <a:bodyPr/>
          <a:lstStyle>
            <a:lvl1pPr>
              <a:defRPr/>
            </a:lvl1pPr>
          </a:lstStyle>
          <a:p>
            <a:pPr lvl="0"/>
            <a:r>
              <a:rPr lang="en-US" dirty="0"/>
              <a:t>Click to add text or conten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4"/>
          <p:cNvSpPr>
            <a:spLocks noGrp="1"/>
          </p:cNvSpPr>
          <p:nvPr>
            <p:ph type="body" sz="quarter" idx="18" hasCustomPrompt="1"/>
          </p:nvPr>
        </p:nvSpPr>
        <p:spPr>
          <a:xfrm>
            <a:off x="1075063" y="6307665"/>
            <a:ext cx="8162717" cy="133200"/>
          </a:xfrm>
        </p:spPr>
        <p:txBody>
          <a:bodyPr lIns="0" tIns="0" rIns="0" bIns="0" anchor="b" anchorCtr="0"/>
          <a:lstStyle>
            <a:lvl1pPr marL="0" indent="0" algn="l">
              <a:lnSpc>
                <a:spcPct val="100000"/>
              </a:lnSpc>
              <a:spcBef>
                <a:spcPts val="0"/>
              </a:spcBef>
              <a:buNone/>
              <a:defRPr sz="800" baseline="0"/>
            </a:lvl1pPr>
            <a:lvl2pPr marL="0" indent="0" algn="l">
              <a:lnSpc>
                <a:spcPct val="100000"/>
              </a:lnSpc>
              <a:spcBef>
                <a:spcPts val="0"/>
              </a:spcBef>
              <a:buNone/>
              <a:defRPr sz="800"/>
            </a:lvl2pPr>
            <a:lvl3pPr marL="0" indent="0" algn="l">
              <a:lnSpc>
                <a:spcPct val="100000"/>
              </a:lnSpc>
              <a:spcBef>
                <a:spcPts val="0"/>
              </a:spcBef>
              <a:buNone/>
              <a:defRPr sz="800"/>
            </a:lvl3pPr>
            <a:lvl4pPr marL="0" algn="l">
              <a:lnSpc>
                <a:spcPct val="100000"/>
              </a:lnSpc>
              <a:spcBef>
                <a:spcPts val="0"/>
              </a:spcBef>
              <a:buNone/>
              <a:defRPr sz="800"/>
            </a:lvl4pPr>
            <a:lvl5pPr marL="0" indent="0" algn="l">
              <a:lnSpc>
                <a:spcPct val="100000"/>
              </a:lnSpc>
              <a:spcBef>
                <a:spcPts val="0"/>
              </a:spcBef>
              <a:buNone/>
              <a:defRPr sz="800"/>
            </a:lvl5pPr>
          </a:lstStyle>
          <a:p>
            <a:pPr lvl="0"/>
            <a:r>
              <a:rPr lang="en-US" dirty="0"/>
              <a:t>Source line</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334335928"/>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p:cSld name="Three contents">
    <p:spTree>
      <p:nvGrpSpPr>
        <p:cNvPr id="1" name=""/>
        <p:cNvGrpSpPr/>
        <p:nvPr/>
      </p:nvGrpSpPr>
      <p:grpSpPr>
        <a:xfrm>
          <a:off x="0" y="0"/>
          <a:ext cx="0" cy="0"/>
          <a:chOff x="0" y="0"/>
          <a:chExt cx="0" cy="0"/>
        </a:xfrm>
      </p:grpSpPr>
      <p:sp>
        <p:nvSpPr>
          <p:cNvPr id="21" name="Date Placeholder 20"/>
          <p:cNvSpPr>
            <a:spLocks noGrp="1"/>
          </p:cNvSpPr>
          <p:nvPr>
            <p:ph type="dt" sz="half" idx="14"/>
          </p:nvPr>
        </p:nvSpPr>
        <p:spPr>
          <a:xfrm>
            <a:off x="192088" y="6461671"/>
            <a:ext cx="761512" cy="133790"/>
          </a:xfrm>
          <a:prstGeom prst="rect">
            <a:avLst/>
          </a:prstGeom>
        </p:spPr>
        <p:txBody>
          <a:bodyPr/>
          <a:lstStyle/>
          <a:p>
            <a:fld id="{E67FA33E-39D1-4C68-AC07-495881E0A93B}" type="datetime5">
              <a:rPr lang="en-US" smtClean="0"/>
              <a:t>26-Jun-20</a:t>
            </a:fld>
            <a:endParaRPr lang="en-US"/>
          </a:p>
        </p:txBody>
      </p:sp>
      <p:sp>
        <p:nvSpPr>
          <p:cNvPr id="22" name="Footer Placeholder 21"/>
          <p:cNvSpPr>
            <a:spLocks noGrp="1"/>
          </p:cNvSpPr>
          <p:nvPr>
            <p:ph type="ftr" sz="quarter" idx="15"/>
          </p:nvPr>
        </p:nvSpPr>
        <p:spPr>
          <a:xfrm>
            <a:off x="1076400" y="6461671"/>
            <a:ext cx="8162717" cy="133790"/>
          </a:xfrm>
          <a:prstGeom prst="rect">
            <a:avLst/>
          </a:prstGeom>
        </p:spPr>
        <p:txBody>
          <a:bodyPr/>
          <a:lstStyle>
            <a:lvl1pPr>
              <a:defRPr/>
            </a:lvl1pPr>
          </a:lstStyle>
          <a:p>
            <a:r>
              <a:rPr lang="en-US" dirty="0"/>
              <a:t>TCG Market</a:t>
            </a:r>
          </a:p>
        </p:txBody>
      </p:sp>
      <p:sp>
        <p:nvSpPr>
          <p:cNvPr id="23" name="Slide Number Placeholder 22"/>
          <p:cNvSpPr>
            <a:spLocks noGrp="1"/>
          </p:cNvSpPr>
          <p:nvPr>
            <p:ph type="sldNum" sz="quarter" idx="16"/>
          </p:nvPr>
        </p:nvSpPr>
        <p:spPr/>
        <p:txBody>
          <a:bodyPr/>
          <a:lstStyle/>
          <a:p>
            <a:fld id="{5F3E29E4-0979-4FCA-B4C5-5FC6044C982A}" type="slidenum">
              <a:rPr lang="en-US" smtClean="0"/>
              <a:t>‹#›</a:t>
            </a:fld>
            <a:endParaRPr lang="en-US"/>
          </a:p>
        </p:txBody>
      </p:sp>
      <p:sp>
        <p:nvSpPr>
          <p:cNvPr id="2" name="Title 1"/>
          <p:cNvSpPr>
            <a:spLocks noGrp="1"/>
          </p:cNvSpPr>
          <p:nvPr>
            <p:ph type="title" hasCustomPrompt="1"/>
          </p:nvPr>
        </p:nvSpPr>
        <p:spPr/>
        <p:txBody>
          <a:bodyPr/>
          <a:lstStyle>
            <a:lvl1pPr>
              <a:defRPr/>
            </a:lvl1pPr>
          </a:lstStyle>
          <a:p>
            <a:r>
              <a:rPr lang="en-US" dirty="0"/>
              <a:t>Click to add slide title</a:t>
            </a:r>
          </a:p>
        </p:txBody>
      </p:sp>
      <p:sp>
        <p:nvSpPr>
          <p:cNvPr id="7" name="Subtitle 2"/>
          <p:cNvSpPr>
            <a:spLocks noGrp="1"/>
          </p:cNvSpPr>
          <p:nvPr>
            <p:ph type="subTitle" idx="13" hasCustomPrompt="1"/>
          </p:nvPr>
        </p:nvSpPr>
        <p:spPr>
          <a:xfrm>
            <a:off x="1075061" y="964671"/>
            <a:ext cx="7910158" cy="490042"/>
          </a:xfrm>
        </p:spPr>
        <p:txBody>
          <a:bodyPr wrap="none"/>
          <a:lstStyle>
            <a:lvl1pPr marL="0" indent="0" algn="l">
              <a:spcBef>
                <a:spcPts val="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3" name="Content Placeholder 2"/>
          <p:cNvSpPr>
            <a:spLocks noGrp="1"/>
          </p:cNvSpPr>
          <p:nvPr>
            <p:ph idx="1" hasCustomPrompt="1"/>
          </p:nvPr>
        </p:nvSpPr>
        <p:spPr>
          <a:xfrm>
            <a:off x="1075061" y="1629618"/>
            <a:ext cx="3384000" cy="4139357"/>
          </a:xfrm>
        </p:spPr>
        <p:txBody>
          <a:bodyPr/>
          <a:lstStyle>
            <a:lvl1pPr>
              <a:defRPr/>
            </a:lvl1pPr>
          </a:lstStyle>
          <a:p>
            <a:pPr lvl="0"/>
            <a:r>
              <a:rPr lang="en-US" dirty="0"/>
              <a:t>Click to add text or conten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Content Placeholder 2"/>
          <p:cNvSpPr>
            <a:spLocks noGrp="1"/>
          </p:cNvSpPr>
          <p:nvPr>
            <p:ph idx="17" hasCustomPrompt="1"/>
          </p:nvPr>
        </p:nvSpPr>
        <p:spPr>
          <a:xfrm>
            <a:off x="4755793" y="1629618"/>
            <a:ext cx="3384000" cy="4139357"/>
          </a:xfrm>
        </p:spPr>
        <p:txBody>
          <a:bodyPr/>
          <a:lstStyle>
            <a:lvl1pPr>
              <a:defRPr/>
            </a:lvl1pPr>
          </a:lstStyle>
          <a:p>
            <a:pPr lvl="0"/>
            <a:r>
              <a:rPr lang="en-US" dirty="0"/>
              <a:t>Click to add text or conten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Content Placeholder 2"/>
          <p:cNvSpPr>
            <a:spLocks noGrp="1"/>
          </p:cNvSpPr>
          <p:nvPr>
            <p:ph idx="18" hasCustomPrompt="1"/>
          </p:nvPr>
        </p:nvSpPr>
        <p:spPr>
          <a:xfrm>
            <a:off x="8436525" y="1629618"/>
            <a:ext cx="3384000" cy="4139357"/>
          </a:xfrm>
        </p:spPr>
        <p:txBody>
          <a:bodyPr/>
          <a:lstStyle>
            <a:lvl1pPr>
              <a:defRPr/>
            </a:lvl1pPr>
          </a:lstStyle>
          <a:p>
            <a:pPr lvl="0"/>
            <a:r>
              <a:rPr lang="en-US" dirty="0"/>
              <a:t>Click to add text or conten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4"/>
          <p:cNvSpPr>
            <a:spLocks noGrp="1"/>
          </p:cNvSpPr>
          <p:nvPr>
            <p:ph type="body" sz="quarter" idx="19" hasCustomPrompt="1"/>
          </p:nvPr>
        </p:nvSpPr>
        <p:spPr>
          <a:xfrm>
            <a:off x="1075063" y="6307665"/>
            <a:ext cx="8162717" cy="133200"/>
          </a:xfrm>
        </p:spPr>
        <p:txBody>
          <a:bodyPr lIns="0" tIns="0" rIns="0" bIns="0" anchor="b" anchorCtr="0"/>
          <a:lstStyle>
            <a:lvl1pPr marL="0" indent="0" algn="l">
              <a:lnSpc>
                <a:spcPct val="100000"/>
              </a:lnSpc>
              <a:spcBef>
                <a:spcPts val="0"/>
              </a:spcBef>
              <a:buNone/>
              <a:defRPr sz="800" baseline="0"/>
            </a:lvl1pPr>
            <a:lvl2pPr marL="0" indent="0" algn="l">
              <a:lnSpc>
                <a:spcPct val="100000"/>
              </a:lnSpc>
              <a:spcBef>
                <a:spcPts val="0"/>
              </a:spcBef>
              <a:buNone/>
              <a:defRPr sz="800"/>
            </a:lvl2pPr>
            <a:lvl3pPr marL="0" indent="0" algn="l">
              <a:lnSpc>
                <a:spcPct val="100000"/>
              </a:lnSpc>
              <a:spcBef>
                <a:spcPts val="0"/>
              </a:spcBef>
              <a:buNone/>
              <a:defRPr sz="800"/>
            </a:lvl3pPr>
            <a:lvl4pPr marL="0" algn="l">
              <a:lnSpc>
                <a:spcPct val="100000"/>
              </a:lnSpc>
              <a:spcBef>
                <a:spcPts val="0"/>
              </a:spcBef>
              <a:buNone/>
              <a:defRPr sz="800"/>
            </a:lvl4pPr>
            <a:lvl5pPr marL="0" indent="0" algn="l">
              <a:lnSpc>
                <a:spcPct val="100000"/>
              </a:lnSpc>
              <a:spcBef>
                <a:spcPts val="0"/>
              </a:spcBef>
              <a:buNone/>
              <a:defRPr sz="800"/>
            </a:lvl5pPr>
          </a:lstStyle>
          <a:p>
            <a:pPr lvl="0"/>
            <a:r>
              <a:rPr lang="en-US" dirty="0"/>
              <a:t>Source line</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671324759"/>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p:cSld name="Four contents 1">
    <p:spTree>
      <p:nvGrpSpPr>
        <p:cNvPr id="1" name=""/>
        <p:cNvGrpSpPr/>
        <p:nvPr/>
      </p:nvGrpSpPr>
      <p:grpSpPr>
        <a:xfrm>
          <a:off x="0" y="0"/>
          <a:ext cx="0" cy="0"/>
          <a:chOff x="0" y="0"/>
          <a:chExt cx="0" cy="0"/>
        </a:xfrm>
      </p:grpSpPr>
      <p:sp>
        <p:nvSpPr>
          <p:cNvPr id="21" name="Date Placeholder 20"/>
          <p:cNvSpPr>
            <a:spLocks noGrp="1"/>
          </p:cNvSpPr>
          <p:nvPr>
            <p:ph type="dt" sz="half" idx="14"/>
          </p:nvPr>
        </p:nvSpPr>
        <p:spPr>
          <a:xfrm>
            <a:off x="192088" y="6461671"/>
            <a:ext cx="761512" cy="133790"/>
          </a:xfrm>
          <a:prstGeom prst="rect">
            <a:avLst/>
          </a:prstGeom>
        </p:spPr>
        <p:txBody>
          <a:bodyPr/>
          <a:lstStyle/>
          <a:p>
            <a:fld id="{C2672A55-7139-4AA9-8041-42818C956C2C}" type="datetime5">
              <a:rPr lang="en-US" smtClean="0"/>
              <a:t>26-Jun-20</a:t>
            </a:fld>
            <a:endParaRPr lang="en-US"/>
          </a:p>
        </p:txBody>
      </p:sp>
      <p:sp>
        <p:nvSpPr>
          <p:cNvPr id="22" name="Footer Placeholder 21"/>
          <p:cNvSpPr>
            <a:spLocks noGrp="1"/>
          </p:cNvSpPr>
          <p:nvPr>
            <p:ph type="ftr" sz="quarter" idx="15"/>
          </p:nvPr>
        </p:nvSpPr>
        <p:spPr>
          <a:xfrm>
            <a:off x="1076400" y="6461671"/>
            <a:ext cx="8162717" cy="133790"/>
          </a:xfrm>
          <a:prstGeom prst="rect">
            <a:avLst/>
          </a:prstGeom>
        </p:spPr>
        <p:txBody>
          <a:bodyPr/>
          <a:lstStyle>
            <a:lvl1pPr>
              <a:defRPr/>
            </a:lvl1pPr>
          </a:lstStyle>
          <a:p>
            <a:r>
              <a:rPr lang="en-US" dirty="0"/>
              <a:t>TCG Market</a:t>
            </a:r>
          </a:p>
        </p:txBody>
      </p:sp>
      <p:sp>
        <p:nvSpPr>
          <p:cNvPr id="23" name="Slide Number Placeholder 22"/>
          <p:cNvSpPr>
            <a:spLocks noGrp="1"/>
          </p:cNvSpPr>
          <p:nvPr>
            <p:ph type="sldNum" sz="quarter" idx="16"/>
          </p:nvPr>
        </p:nvSpPr>
        <p:spPr/>
        <p:txBody>
          <a:bodyPr/>
          <a:lstStyle/>
          <a:p>
            <a:fld id="{5F3E29E4-0979-4FCA-B4C5-5FC6044C982A}" type="slidenum">
              <a:rPr lang="en-US" smtClean="0"/>
              <a:t>‹#›</a:t>
            </a:fld>
            <a:endParaRPr lang="en-US"/>
          </a:p>
        </p:txBody>
      </p:sp>
      <p:sp>
        <p:nvSpPr>
          <p:cNvPr id="2" name="Title 1"/>
          <p:cNvSpPr>
            <a:spLocks noGrp="1"/>
          </p:cNvSpPr>
          <p:nvPr>
            <p:ph type="title" hasCustomPrompt="1"/>
          </p:nvPr>
        </p:nvSpPr>
        <p:spPr/>
        <p:txBody>
          <a:bodyPr/>
          <a:lstStyle>
            <a:lvl1pPr>
              <a:defRPr/>
            </a:lvl1pPr>
          </a:lstStyle>
          <a:p>
            <a:r>
              <a:rPr lang="en-US" dirty="0"/>
              <a:t>Click to add slide title</a:t>
            </a:r>
          </a:p>
        </p:txBody>
      </p:sp>
      <p:sp>
        <p:nvSpPr>
          <p:cNvPr id="7" name="Subtitle 2"/>
          <p:cNvSpPr>
            <a:spLocks noGrp="1"/>
          </p:cNvSpPr>
          <p:nvPr>
            <p:ph type="subTitle" idx="13" hasCustomPrompt="1"/>
          </p:nvPr>
        </p:nvSpPr>
        <p:spPr>
          <a:xfrm>
            <a:off x="1075061" y="964671"/>
            <a:ext cx="7910158" cy="490042"/>
          </a:xfrm>
        </p:spPr>
        <p:txBody>
          <a:bodyPr wrap="none"/>
          <a:lstStyle>
            <a:lvl1pPr marL="0" indent="0" algn="l">
              <a:spcBef>
                <a:spcPts val="0"/>
              </a:spcBef>
              <a:buNone/>
              <a:defRPr sz="2400" baseline="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3" name="Content Placeholder 2"/>
          <p:cNvSpPr>
            <a:spLocks noGrp="1"/>
          </p:cNvSpPr>
          <p:nvPr>
            <p:ph idx="1" hasCustomPrompt="1"/>
          </p:nvPr>
        </p:nvSpPr>
        <p:spPr>
          <a:xfrm>
            <a:off x="192088" y="1629618"/>
            <a:ext cx="2682000" cy="4139357"/>
          </a:xfrm>
        </p:spPr>
        <p:txBody>
          <a:bodyPr/>
          <a:lstStyle>
            <a:lvl1pPr>
              <a:defRPr/>
            </a:lvl1pPr>
          </a:lstStyle>
          <a:p>
            <a:pPr lvl="0"/>
            <a:r>
              <a:rPr lang="en-US" dirty="0"/>
              <a:t>Click to add text or conten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Content Placeholder 2"/>
          <p:cNvSpPr>
            <a:spLocks noGrp="1"/>
          </p:cNvSpPr>
          <p:nvPr>
            <p:ph idx="17" hasCustomPrompt="1"/>
          </p:nvPr>
        </p:nvSpPr>
        <p:spPr>
          <a:xfrm>
            <a:off x="3174234" y="1629618"/>
            <a:ext cx="2682000" cy="4139357"/>
          </a:xfrm>
        </p:spPr>
        <p:txBody>
          <a:bodyPr/>
          <a:lstStyle>
            <a:lvl1pPr>
              <a:defRPr/>
            </a:lvl1pPr>
          </a:lstStyle>
          <a:p>
            <a:pPr lvl="0"/>
            <a:r>
              <a:rPr lang="en-US" dirty="0"/>
              <a:t>Click to add text or conten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Content Placeholder 2"/>
          <p:cNvSpPr>
            <a:spLocks noGrp="1"/>
          </p:cNvSpPr>
          <p:nvPr>
            <p:ph idx="18" hasCustomPrompt="1"/>
          </p:nvPr>
        </p:nvSpPr>
        <p:spPr>
          <a:xfrm>
            <a:off x="6156380" y="1629618"/>
            <a:ext cx="2682000" cy="4139357"/>
          </a:xfrm>
        </p:spPr>
        <p:txBody>
          <a:bodyPr/>
          <a:lstStyle>
            <a:lvl1pPr>
              <a:defRPr/>
            </a:lvl1pPr>
          </a:lstStyle>
          <a:p>
            <a:pPr lvl="0"/>
            <a:r>
              <a:rPr lang="en-US" dirty="0"/>
              <a:t>Click to add text or conten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Content Placeholder 2"/>
          <p:cNvSpPr>
            <a:spLocks noGrp="1"/>
          </p:cNvSpPr>
          <p:nvPr>
            <p:ph idx="19" hasCustomPrompt="1"/>
          </p:nvPr>
        </p:nvSpPr>
        <p:spPr>
          <a:xfrm>
            <a:off x="9138525" y="1629618"/>
            <a:ext cx="2682000" cy="4139357"/>
          </a:xfrm>
        </p:spPr>
        <p:txBody>
          <a:bodyPr/>
          <a:lstStyle>
            <a:lvl1pPr>
              <a:defRPr/>
            </a:lvl1pPr>
          </a:lstStyle>
          <a:p>
            <a:pPr lvl="0"/>
            <a:r>
              <a:rPr lang="en-US" dirty="0"/>
              <a:t>Click to add text or conten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4"/>
          <p:cNvSpPr>
            <a:spLocks noGrp="1"/>
          </p:cNvSpPr>
          <p:nvPr>
            <p:ph type="body" sz="quarter" idx="20" hasCustomPrompt="1"/>
          </p:nvPr>
        </p:nvSpPr>
        <p:spPr>
          <a:xfrm>
            <a:off x="1075063" y="6307665"/>
            <a:ext cx="8162717" cy="133200"/>
          </a:xfrm>
        </p:spPr>
        <p:txBody>
          <a:bodyPr lIns="0" tIns="0" rIns="0" bIns="0" anchor="b" anchorCtr="0"/>
          <a:lstStyle>
            <a:lvl1pPr marL="0" indent="0" algn="l">
              <a:lnSpc>
                <a:spcPct val="100000"/>
              </a:lnSpc>
              <a:spcBef>
                <a:spcPts val="0"/>
              </a:spcBef>
              <a:buNone/>
              <a:defRPr sz="800" baseline="0"/>
            </a:lvl1pPr>
            <a:lvl2pPr marL="0" indent="0" algn="l">
              <a:lnSpc>
                <a:spcPct val="100000"/>
              </a:lnSpc>
              <a:spcBef>
                <a:spcPts val="0"/>
              </a:spcBef>
              <a:buNone/>
              <a:defRPr sz="800"/>
            </a:lvl2pPr>
            <a:lvl3pPr marL="0" indent="0" algn="l">
              <a:lnSpc>
                <a:spcPct val="100000"/>
              </a:lnSpc>
              <a:spcBef>
                <a:spcPts val="0"/>
              </a:spcBef>
              <a:buNone/>
              <a:defRPr sz="800"/>
            </a:lvl3pPr>
            <a:lvl4pPr marL="0" algn="l">
              <a:lnSpc>
                <a:spcPct val="100000"/>
              </a:lnSpc>
              <a:spcBef>
                <a:spcPts val="0"/>
              </a:spcBef>
              <a:buNone/>
              <a:defRPr sz="800"/>
            </a:lvl4pPr>
            <a:lvl5pPr marL="0" indent="0" algn="l">
              <a:lnSpc>
                <a:spcPct val="100000"/>
              </a:lnSpc>
              <a:spcBef>
                <a:spcPts val="0"/>
              </a:spcBef>
              <a:buNone/>
              <a:defRPr sz="800"/>
            </a:lvl5pPr>
          </a:lstStyle>
          <a:p>
            <a:pPr lvl="0"/>
            <a:r>
              <a:rPr lang="en-US" dirty="0"/>
              <a:t>Source line</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616014864"/>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p:cSld name="Four contents 2">
    <p:spTree>
      <p:nvGrpSpPr>
        <p:cNvPr id="1" name=""/>
        <p:cNvGrpSpPr/>
        <p:nvPr/>
      </p:nvGrpSpPr>
      <p:grpSpPr>
        <a:xfrm>
          <a:off x="0" y="0"/>
          <a:ext cx="0" cy="0"/>
          <a:chOff x="0" y="0"/>
          <a:chExt cx="0" cy="0"/>
        </a:xfrm>
      </p:grpSpPr>
      <p:sp>
        <p:nvSpPr>
          <p:cNvPr id="21" name="Date Placeholder 20"/>
          <p:cNvSpPr>
            <a:spLocks noGrp="1"/>
          </p:cNvSpPr>
          <p:nvPr>
            <p:ph type="dt" sz="half" idx="14"/>
          </p:nvPr>
        </p:nvSpPr>
        <p:spPr>
          <a:xfrm>
            <a:off x="192088" y="6461671"/>
            <a:ext cx="761512" cy="133790"/>
          </a:xfrm>
          <a:prstGeom prst="rect">
            <a:avLst/>
          </a:prstGeom>
        </p:spPr>
        <p:txBody>
          <a:bodyPr/>
          <a:lstStyle/>
          <a:p>
            <a:fld id="{C1A94770-6330-463A-BD32-DB4363F98C83}" type="datetime5">
              <a:rPr lang="en-US" smtClean="0"/>
              <a:t>26-Jun-20</a:t>
            </a:fld>
            <a:endParaRPr lang="en-US"/>
          </a:p>
        </p:txBody>
      </p:sp>
      <p:sp>
        <p:nvSpPr>
          <p:cNvPr id="22" name="Footer Placeholder 21"/>
          <p:cNvSpPr>
            <a:spLocks noGrp="1"/>
          </p:cNvSpPr>
          <p:nvPr>
            <p:ph type="ftr" sz="quarter" idx="15"/>
          </p:nvPr>
        </p:nvSpPr>
        <p:spPr>
          <a:xfrm>
            <a:off x="1076400" y="6461671"/>
            <a:ext cx="8162717" cy="133790"/>
          </a:xfrm>
          <a:prstGeom prst="rect">
            <a:avLst/>
          </a:prstGeom>
        </p:spPr>
        <p:txBody>
          <a:bodyPr/>
          <a:lstStyle>
            <a:lvl1pPr>
              <a:defRPr/>
            </a:lvl1pPr>
          </a:lstStyle>
          <a:p>
            <a:r>
              <a:rPr lang="en-US" dirty="0"/>
              <a:t>TCG Market</a:t>
            </a:r>
          </a:p>
        </p:txBody>
      </p:sp>
      <p:sp>
        <p:nvSpPr>
          <p:cNvPr id="23" name="Slide Number Placeholder 22"/>
          <p:cNvSpPr>
            <a:spLocks noGrp="1"/>
          </p:cNvSpPr>
          <p:nvPr>
            <p:ph type="sldNum" sz="quarter" idx="16"/>
          </p:nvPr>
        </p:nvSpPr>
        <p:spPr/>
        <p:txBody>
          <a:bodyPr/>
          <a:lstStyle/>
          <a:p>
            <a:fld id="{5F3E29E4-0979-4FCA-B4C5-5FC6044C982A}" type="slidenum">
              <a:rPr lang="en-US" smtClean="0"/>
              <a:t>‹#›</a:t>
            </a:fld>
            <a:endParaRPr lang="en-US"/>
          </a:p>
        </p:txBody>
      </p:sp>
      <p:sp>
        <p:nvSpPr>
          <p:cNvPr id="2" name="Title 1"/>
          <p:cNvSpPr>
            <a:spLocks noGrp="1"/>
          </p:cNvSpPr>
          <p:nvPr>
            <p:ph type="title" hasCustomPrompt="1"/>
          </p:nvPr>
        </p:nvSpPr>
        <p:spPr/>
        <p:txBody>
          <a:bodyPr/>
          <a:lstStyle>
            <a:lvl1pPr>
              <a:defRPr/>
            </a:lvl1pPr>
          </a:lstStyle>
          <a:p>
            <a:r>
              <a:rPr lang="en-US" dirty="0"/>
              <a:t>Click to add slide title</a:t>
            </a:r>
          </a:p>
        </p:txBody>
      </p:sp>
      <p:sp>
        <p:nvSpPr>
          <p:cNvPr id="7" name="Subtitle 2"/>
          <p:cNvSpPr>
            <a:spLocks noGrp="1"/>
          </p:cNvSpPr>
          <p:nvPr>
            <p:ph type="subTitle" idx="13" hasCustomPrompt="1"/>
          </p:nvPr>
        </p:nvSpPr>
        <p:spPr>
          <a:xfrm>
            <a:off x="1075061" y="964671"/>
            <a:ext cx="7910158" cy="490042"/>
          </a:xfrm>
        </p:spPr>
        <p:txBody>
          <a:bodyPr wrap="none"/>
          <a:lstStyle>
            <a:lvl1pPr marL="0" indent="0" algn="l">
              <a:spcBef>
                <a:spcPts val="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3" name="Content Placeholder 2"/>
          <p:cNvSpPr>
            <a:spLocks noGrp="1"/>
          </p:cNvSpPr>
          <p:nvPr>
            <p:ph idx="1" hasCustomPrompt="1"/>
          </p:nvPr>
        </p:nvSpPr>
        <p:spPr>
          <a:xfrm>
            <a:off x="192088" y="1629617"/>
            <a:ext cx="6102974" cy="2160000"/>
          </a:xfrm>
        </p:spPr>
        <p:txBody>
          <a:bodyPr/>
          <a:lstStyle>
            <a:lvl1pPr>
              <a:defRPr/>
            </a:lvl1pPr>
          </a:lstStyle>
          <a:p>
            <a:pPr lvl="0"/>
            <a:r>
              <a:rPr lang="en-US" dirty="0"/>
              <a:t>Click to add text or conten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Content Placeholder 2"/>
          <p:cNvSpPr>
            <a:spLocks noGrp="1"/>
          </p:cNvSpPr>
          <p:nvPr>
            <p:ph idx="17" hasCustomPrompt="1"/>
          </p:nvPr>
        </p:nvSpPr>
        <p:spPr>
          <a:xfrm>
            <a:off x="6600525" y="1629617"/>
            <a:ext cx="5234144" cy="2160000"/>
          </a:xfrm>
        </p:spPr>
        <p:txBody>
          <a:bodyPr/>
          <a:lstStyle>
            <a:lvl1pPr>
              <a:defRPr/>
            </a:lvl1pPr>
          </a:lstStyle>
          <a:p>
            <a:pPr lvl="0"/>
            <a:r>
              <a:rPr lang="en-US" dirty="0"/>
              <a:t>Click to add text or conten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Content Placeholder 2"/>
          <p:cNvSpPr>
            <a:spLocks noGrp="1"/>
          </p:cNvSpPr>
          <p:nvPr>
            <p:ph idx="18" hasCustomPrompt="1"/>
          </p:nvPr>
        </p:nvSpPr>
        <p:spPr>
          <a:xfrm>
            <a:off x="192088" y="4077289"/>
            <a:ext cx="6102974" cy="2160000"/>
          </a:xfrm>
        </p:spPr>
        <p:txBody>
          <a:bodyPr/>
          <a:lstStyle>
            <a:lvl1pPr>
              <a:defRPr/>
            </a:lvl1pPr>
          </a:lstStyle>
          <a:p>
            <a:pPr lvl="0"/>
            <a:r>
              <a:rPr lang="en-US" dirty="0"/>
              <a:t>Click to add text or conten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Content Placeholder 2"/>
          <p:cNvSpPr>
            <a:spLocks noGrp="1"/>
          </p:cNvSpPr>
          <p:nvPr>
            <p:ph idx="19" hasCustomPrompt="1"/>
          </p:nvPr>
        </p:nvSpPr>
        <p:spPr>
          <a:xfrm>
            <a:off x="6600525" y="4077289"/>
            <a:ext cx="5234144" cy="2160000"/>
          </a:xfrm>
        </p:spPr>
        <p:txBody>
          <a:bodyPr/>
          <a:lstStyle>
            <a:lvl1pPr>
              <a:defRPr/>
            </a:lvl1pPr>
          </a:lstStyle>
          <a:p>
            <a:pPr lvl="0"/>
            <a:r>
              <a:rPr lang="en-US" dirty="0"/>
              <a:t>Click to add text or conten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4"/>
          <p:cNvSpPr>
            <a:spLocks noGrp="1"/>
          </p:cNvSpPr>
          <p:nvPr>
            <p:ph type="body" sz="quarter" idx="20" hasCustomPrompt="1"/>
          </p:nvPr>
        </p:nvSpPr>
        <p:spPr>
          <a:xfrm>
            <a:off x="1075063" y="6307665"/>
            <a:ext cx="8162717" cy="133200"/>
          </a:xfrm>
        </p:spPr>
        <p:txBody>
          <a:bodyPr lIns="0" tIns="0" rIns="0" bIns="0" anchor="b" anchorCtr="0"/>
          <a:lstStyle>
            <a:lvl1pPr marL="0" indent="0" algn="l">
              <a:lnSpc>
                <a:spcPct val="100000"/>
              </a:lnSpc>
              <a:spcBef>
                <a:spcPts val="0"/>
              </a:spcBef>
              <a:buNone/>
              <a:defRPr sz="800" baseline="0"/>
            </a:lvl1pPr>
            <a:lvl2pPr marL="0" indent="0" algn="l">
              <a:lnSpc>
                <a:spcPct val="100000"/>
              </a:lnSpc>
              <a:spcBef>
                <a:spcPts val="0"/>
              </a:spcBef>
              <a:buNone/>
              <a:defRPr sz="800"/>
            </a:lvl2pPr>
            <a:lvl3pPr marL="0" indent="0" algn="l">
              <a:lnSpc>
                <a:spcPct val="100000"/>
              </a:lnSpc>
              <a:spcBef>
                <a:spcPts val="0"/>
              </a:spcBef>
              <a:buNone/>
              <a:defRPr sz="800"/>
            </a:lvl3pPr>
            <a:lvl4pPr marL="0" algn="l">
              <a:lnSpc>
                <a:spcPct val="100000"/>
              </a:lnSpc>
              <a:spcBef>
                <a:spcPts val="0"/>
              </a:spcBef>
              <a:buNone/>
              <a:defRPr sz="800"/>
            </a:lvl4pPr>
            <a:lvl5pPr marL="0" indent="0" algn="l">
              <a:lnSpc>
                <a:spcPct val="100000"/>
              </a:lnSpc>
              <a:spcBef>
                <a:spcPts val="0"/>
              </a:spcBef>
              <a:buNone/>
              <a:defRPr sz="800"/>
            </a:lvl5pPr>
          </a:lstStyle>
          <a:p>
            <a:pPr lvl="0"/>
            <a:r>
              <a:rPr lang="en-US" dirty="0"/>
              <a:t>Source line</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369540703"/>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Large charts and tables">
    <p:spTree>
      <p:nvGrpSpPr>
        <p:cNvPr id="1" name=""/>
        <p:cNvGrpSpPr/>
        <p:nvPr/>
      </p:nvGrpSpPr>
      <p:grpSpPr>
        <a:xfrm>
          <a:off x="0" y="0"/>
          <a:ext cx="0" cy="0"/>
          <a:chOff x="0" y="0"/>
          <a:chExt cx="0" cy="0"/>
        </a:xfrm>
      </p:grpSpPr>
      <p:sp>
        <p:nvSpPr>
          <p:cNvPr id="23" name="Slide Number Placeholder 22"/>
          <p:cNvSpPr>
            <a:spLocks noGrp="1"/>
          </p:cNvSpPr>
          <p:nvPr>
            <p:ph type="sldNum" sz="quarter" idx="16"/>
          </p:nvPr>
        </p:nvSpPr>
        <p:spPr/>
        <p:txBody>
          <a:bodyPr/>
          <a:lstStyle/>
          <a:p>
            <a:fld id="{5F3E29E4-0979-4FCA-B4C5-5FC6044C982A}" type="slidenum">
              <a:rPr lang="en-US" smtClean="0"/>
              <a:t>‹#›</a:t>
            </a:fld>
            <a:endParaRPr lang="en-US"/>
          </a:p>
        </p:txBody>
      </p:sp>
      <p:sp>
        <p:nvSpPr>
          <p:cNvPr id="2" name="Title 1"/>
          <p:cNvSpPr>
            <a:spLocks noGrp="1"/>
          </p:cNvSpPr>
          <p:nvPr>
            <p:ph type="title" hasCustomPrompt="1"/>
          </p:nvPr>
        </p:nvSpPr>
        <p:spPr/>
        <p:txBody>
          <a:bodyPr/>
          <a:lstStyle>
            <a:lvl1pPr>
              <a:defRPr/>
            </a:lvl1pPr>
          </a:lstStyle>
          <a:p>
            <a:r>
              <a:rPr lang="en-US" dirty="0"/>
              <a:t>Click to add slide title</a:t>
            </a:r>
          </a:p>
        </p:txBody>
      </p:sp>
      <p:sp>
        <p:nvSpPr>
          <p:cNvPr id="7" name="Subtitle 2"/>
          <p:cNvSpPr>
            <a:spLocks noGrp="1"/>
          </p:cNvSpPr>
          <p:nvPr>
            <p:ph type="subTitle" idx="13" hasCustomPrompt="1"/>
          </p:nvPr>
        </p:nvSpPr>
        <p:spPr>
          <a:xfrm>
            <a:off x="1075061" y="964671"/>
            <a:ext cx="7910158" cy="490042"/>
          </a:xfrm>
        </p:spPr>
        <p:txBody>
          <a:bodyPr wrap="none"/>
          <a:lstStyle>
            <a:lvl1pPr marL="0" indent="0" algn="l">
              <a:spcBef>
                <a:spcPts val="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3" name="Content Placeholder 2"/>
          <p:cNvSpPr>
            <a:spLocks noGrp="1"/>
          </p:cNvSpPr>
          <p:nvPr>
            <p:ph idx="1" hasCustomPrompt="1"/>
          </p:nvPr>
        </p:nvSpPr>
        <p:spPr>
          <a:xfrm>
            <a:off x="192088" y="1629617"/>
            <a:ext cx="11642581" cy="4599506"/>
          </a:xfrm>
        </p:spPr>
        <p:txBody>
          <a:bodyPr anchor="t"/>
          <a:lstStyle>
            <a:lvl1pPr marL="0" indent="0" algn="ctr">
              <a:spcBef>
                <a:spcPts val="1000"/>
              </a:spcBef>
              <a:buNone/>
              <a:defRPr sz="2800" baseline="0"/>
            </a:lvl1pPr>
            <a:lvl2pPr marL="0" indent="0">
              <a:spcBef>
                <a:spcPts val="1000"/>
              </a:spcBef>
              <a:buNone/>
              <a:defRPr sz="2800"/>
            </a:lvl2pPr>
            <a:lvl3pPr marL="0" indent="0">
              <a:spcBef>
                <a:spcPts val="1000"/>
              </a:spcBef>
              <a:buNone/>
              <a:defRPr sz="2800"/>
            </a:lvl3pPr>
            <a:lvl4pPr>
              <a:spcBef>
                <a:spcPts val="1000"/>
              </a:spcBef>
              <a:buNone/>
              <a:defRPr sz="2800"/>
            </a:lvl4pPr>
            <a:lvl5pPr marL="0" indent="0">
              <a:spcBef>
                <a:spcPts val="1000"/>
              </a:spcBef>
              <a:buNone/>
              <a:defRPr sz="2800"/>
            </a:lvl5pPr>
          </a:lstStyle>
          <a:p>
            <a:pPr lvl="0"/>
            <a:r>
              <a:rPr lang="en-US" dirty="0"/>
              <a:t>Use this layout for large charts and tables only. Please, do not use with text.</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874864604"/>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p:cSld name="Chart with description">
    <p:spTree>
      <p:nvGrpSpPr>
        <p:cNvPr id="1" name=""/>
        <p:cNvGrpSpPr/>
        <p:nvPr/>
      </p:nvGrpSpPr>
      <p:grpSpPr>
        <a:xfrm>
          <a:off x="0" y="0"/>
          <a:ext cx="0" cy="0"/>
          <a:chOff x="0" y="0"/>
          <a:chExt cx="0" cy="0"/>
        </a:xfrm>
      </p:grpSpPr>
      <p:sp>
        <p:nvSpPr>
          <p:cNvPr id="21" name="Date Placeholder 20"/>
          <p:cNvSpPr>
            <a:spLocks noGrp="1"/>
          </p:cNvSpPr>
          <p:nvPr>
            <p:ph type="dt" sz="half" idx="14"/>
          </p:nvPr>
        </p:nvSpPr>
        <p:spPr>
          <a:xfrm>
            <a:off x="192088" y="6461671"/>
            <a:ext cx="761512" cy="133790"/>
          </a:xfrm>
          <a:prstGeom prst="rect">
            <a:avLst/>
          </a:prstGeom>
        </p:spPr>
        <p:txBody>
          <a:bodyPr/>
          <a:lstStyle/>
          <a:p>
            <a:fld id="{7E0CC7EF-9DF0-4DDD-B873-4143C4455B77}" type="datetime5">
              <a:rPr lang="en-US" smtClean="0"/>
              <a:t>26-Jun-20</a:t>
            </a:fld>
            <a:endParaRPr lang="en-US"/>
          </a:p>
        </p:txBody>
      </p:sp>
      <p:sp>
        <p:nvSpPr>
          <p:cNvPr id="22" name="Footer Placeholder 21"/>
          <p:cNvSpPr>
            <a:spLocks noGrp="1"/>
          </p:cNvSpPr>
          <p:nvPr>
            <p:ph type="ftr" sz="quarter" idx="15"/>
          </p:nvPr>
        </p:nvSpPr>
        <p:spPr>
          <a:xfrm>
            <a:off x="1076400" y="6461671"/>
            <a:ext cx="8162717" cy="133790"/>
          </a:xfrm>
          <a:prstGeom prst="rect">
            <a:avLst/>
          </a:prstGeom>
        </p:spPr>
        <p:txBody>
          <a:bodyPr/>
          <a:lstStyle>
            <a:lvl1pPr>
              <a:defRPr/>
            </a:lvl1pPr>
          </a:lstStyle>
          <a:p>
            <a:r>
              <a:rPr lang="en-US" dirty="0"/>
              <a:t>TCG Market</a:t>
            </a:r>
          </a:p>
        </p:txBody>
      </p:sp>
      <p:sp>
        <p:nvSpPr>
          <p:cNvPr id="23" name="Slide Number Placeholder 22"/>
          <p:cNvSpPr>
            <a:spLocks noGrp="1"/>
          </p:cNvSpPr>
          <p:nvPr>
            <p:ph type="sldNum" sz="quarter" idx="16"/>
          </p:nvPr>
        </p:nvSpPr>
        <p:spPr/>
        <p:txBody>
          <a:bodyPr/>
          <a:lstStyle/>
          <a:p>
            <a:fld id="{5F3E29E4-0979-4FCA-B4C5-5FC6044C982A}" type="slidenum">
              <a:rPr lang="en-US" smtClean="0"/>
              <a:t>‹#›</a:t>
            </a:fld>
            <a:endParaRPr lang="en-US"/>
          </a:p>
        </p:txBody>
      </p:sp>
      <p:sp>
        <p:nvSpPr>
          <p:cNvPr id="2" name="Title 1"/>
          <p:cNvSpPr>
            <a:spLocks noGrp="1"/>
          </p:cNvSpPr>
          <p:nvPr>
            <p:ph type="title" hasCustomPrompt="1"/>
          </p:nvPr>
        </p:nvSpPr>
        <p:spPr/>
        <p:txBody>
          <a:bodyPr/>
          <a:lstStyle>
            <a:lvl1pPr>
              <a:defRPr/>
            </a:lvl1pPr>
          </a:lstStyle>
          <a:p>
            <a:r>
              <a:rPr lang="en-US" dirty="0"/>
              <a:t>Click to add slide title</a:t>
            </a:r>
          </a:p>
        </p:txBody>
      </p:sp>
      <p:sp>
        <p:nvSpPr>
          <p:cNvPr id="7" name="Subtitle 2"/>
          <p:cNvSpPr>
            <a:spLocks noGrp="1"/>
          </p:cNvSpPr>
          <p:nvPr>
            <p:ph type="subTitle" idx="13" hasCustomPrompt="1"/>
          </p:nvPr>
        </p:nvSpPr>
        <p:spPr>
          <a:xfrm>
            <a:off x="1075061" y="964671"/>
            <a:ext cx="7910158" cy="490042"/>
          </a:xfrm>
        </p:spPr>
        <p:txBody>
          <a:bodyPr wrap="none"/>
          <a:lstStyle>
            <a:lvl1pPr marL="0" indent="0" algn="l">
              <a:spcBef>
                <a:spcPts val="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4" name="Chart Placeholder 3"/>
          <p:cNvSpPr>
            <a:spLocks noGrp="1"/>
          </p:cNvSpPr>
          <p:nvPr>
            <p:ph type="chart" sz="quarter" idx="17" hasCustomPrompt="1"/>
          </p:nvPr>
        </p:nvSpPr>
        <p:spPr>
          <a:xfrm>
            <a:off x="192088" y="1629617"/>
            <a:ext cx="5903913" cy="4599506"/>
          </a:xfrm>
        </p:spPr>
        <p:txBody>
          <a:bodyPr/>
          <a:lstStyle>
            <a:lvl1pPr>
              <a:defRPr/>
            </a:lvl1pPr>
          </a:lstStyle>
          <a:p>
            <a:r>
              <a:rPr lang="en-US" dirty="0"/>
              <a:t>Click to add chart</a:t>
            </a:r>
          </a:p>
        </p:txBody>
      </p:sp>
      <p:sp>
        <p:nvSpPr>
          <p:cNvPr id="6" name="Text Placeholder 5"/>
          <p:cNvSpPr>
            <a:spLocks noGrp="1"/>
          </p:cNvSpPr>
          <p:nvPr>
            <p:ph type="body" sz="quarter" idx="18" hasCustomPrompt="1"/>
          </p:nvPr>
        </p:nvSpPr>
        <p:spPr>
          <a:xfrm>
            <a:off x="6206067" y="3393019"/>
            <a:ext cx="5628602" cy="2023841"/>
          </a:xfrm>
          <a:solidFill>
            <a:srgbClr val="D9DADB"/>
          </a:solidFill>
        </p:spPr>
        <p:txBody>
          <a:bodyPr lIns="108000" tIns="108000" rIns="108000" bIns="108000"/>
          <a:lstStyle>
            <a:lvl1pPr>
              <a:defRPr sz="1600"/>
            </a:lvl1pPr>
            <a:lvl2pPr>
              <a:defRPr sz="1600"/>
            </a:lvl2pPr>
            <a:lvl3pPr>
              <a:defRPr sz="1600"/>
            </a:lvl3pPr>
            <a:lvl4pPr>
              <a:defRPr sz="1600"/>
            </a:lvl4pPr>
            <a:lvl5pPr>
              <a:defRPr sz="1600"/>
            </a:lvl5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 Placeholder 4"/>
          <p:cNvSpPr>
            <a:spLocks noGrp="1"/>
          </p:cNvSpPr>
          <p:nvPr>
            <p:ph type="body" sz="quarter" idx="19" hasCustomPrompt="1"/>
          </p:nvPr>
        </p:nvSpPr>
        <p:spPr>
          <a:xfrm>
            <a:off x="1075063" y="6307665"/>
            <a:ext cx="8162717" cy="133200"/>
          </a:xfrm>
        </p:spPr>
        <p:txBody>
          <a:bodyPr lIns="0" tIns="0" rIns="0" bIns="0" anchor="b" anchorCtr="0"/>
          <a:lstStyle>
            <a:lvl1pPr marL="0" indent="0" algn="l">
              <a:lnSpc>
                <a:spcPct val="100000"/>
              </a:lnSpc>
              <a:spcBef>
                <a:spcPts val="0"/>
              </a:spcBef>
              <a:buNone/>
              <a:defRPr sz="800" baseline="0"/>
            </a:lvl1pPr>
            <a:lvl2pPr marL="0" indent="0" algn="l">
              <a:lnSpc>
                <a:spcPct val="100000"/>
              </a:lnSpc>
              <a:spcBef>
                <a:spcPts val="0"/>
              </a:spcBef>
              <a:buNone/>
              <a:defRPr sz="800"/>
            </a:lvl2pPr>
            <a:lvl3pPr marL="0" indent="0" algn="l">
              <a:lnSpc>
                <a:spcPct val="100000"/>
              </a:lnSpc>
              <a:spcBef>
                <a:spcPts val="0"/>
              </a:spcBef>
              <a:buNone/>
              <a:defRPr sz="800"/>
            </a:lvl3pPr>
            <a:lvl4pPr marL="0" algn="l">
              <a:lnSpc>
                <a:spcPct val="100000"/>
              </a:lnSpc>
              <a:spcBef>
                <a:spcPts val="0"/>
              </a:spcBef>
              <a:buNone/>
              <a:defRPr sz="800"/>
            </a:lvl4pPr>
            <a:lvl5pPr marL="0" indent="0" algn="l">
              <a:lnSpc>
                <a:spcPct val="100000"/>
              </a:lnSpc>
              <a:spcBef>
                <a:spcPts val="0"/>
              </a:spcBef>
              <a:buNone/>
              <a:defRPr sz="800"/>
            </a:lvl5pPr>
          </a:lstStyle>
          <a:p>
            <a:pPr lvl="0"/>
            <a:r>
              <a:rPr lang="en-US" dirty="0"/>
              <a:t>Source line</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880993978"/>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p:cSld name="Notebook">
    <p:spTree>
      <p:nvGrpSpPr>
        <p:cNvPr id="1" name=""/>
        <p:cNvGrpSpPr/>
        <p:nvPr/>
      </p:nvGrpSpPr>
      <p:grpSpPr>
        <a:xfrm>
          <a:off x="0" y="0"/>
          <a:ext cx="0" cy="0"/>
          <a:chOff x="0" y="0"/>
          <a:chExt cx="0" cy="0"/>
        </a:xfrm>
      </p:grpSpPr>
      <p:pic>
        <p:nvPicPr>
          <p:cNvPr id="13" name="Notebook">
            <a:extLst>
              <a:ext uri="{FF2B5EF4-FFF2-40B4-BE49-F238E27FC236}">
                <a16:creationId xmlns:a16="http://schemas.microsoft.com/office/drawing/2014/main" id="{6DEE1461-64EC-7246-8FA6-71C6BF497627}"/>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3651351" y="1267197"/>
            <a:ext cx="8528460" cy="5161713"/>
          </a:xfrm>
          <a:prstGeom prst="rect">
            <a:avLst/>
          </a:prstGeom>
        </p:spPr>
      </p:pic>
      <p:sp>
        <p:nvSpPr>
          <p:cNvPr id="21" name="Date Placeholder 20"/>
          <p:cNvSpPr>
            <a:spLocks noGrp="1"/>
          </p:cNvSpPr>
          <p:nvPr>
            <p:ph type="dt" sz="half" idx="14"/>
          </p:nvPr>
        </p:nvSpPr>
        <p:spPr>
          <a:xfrm>
            <a:off x="192088" y="6461671"/>
            <a:ext cx="761512" cy="133790"/>
          </a:xfrm>
          <a:prstGeom prst="rect">
            <a:avLst/>
          </a:prstGeom>
        </p:spPr>
        <p:txBody>
          <a:bodyPr/>
          <a:lstStyle/>
          <a:p>
            <a:fld id="{DC5CC4D7-5797-439F-A8BE-F20DB0B4B50C}" type="datetime5">
              <a:rPr lang="en-US" smtClean="0"/>
              <a:t>26-Jun-20</a:t>
            </a:fld>
            <a:endParaRPr lang="en-US"/>
          </a:p>
        </p:txBody>
      </p:sp>
      <p:sp>
        <p:nvSpPr>
          <p:cNvPr id="22" name="Footer Placeholder 21"/>
          <p:cNvSpPr>
            <a:spLocks noGrp="1"/>
          </p:cNvSpPr>
          <p:nvPr>
            <p:ph type="ftr" sz="quarter" idx="15"/>
          </p:nvPr>
        </p:nvSpPr>
        <p:spPr>
          <a:xfrm>
            <a:off x="1076400" y="6461671"/>
            <a:ext cx="8162717" cy="133790"/>
          </a:xfrm>
          <a:prstGeom prst="rect">
            <a:avLst/>
          </a:prstGeom>
        </p:spPr>
        <p:txBody>
          <a:bodyPr/>
          <a:lstStyle/>
          <a:p>
            <a:r>
              <a:rPr lang="en-US"/>
              <a:t>Title of presentation (Insert / Header &amp; Footer / Apply to All)</a:t>
            </a:r>
            <a:endParaRPr lang="en-US" dirty="0"/>
          </a:p>
        </p:txBody>
      </p:sp>
      <p:sp>
        <p:nvSpPr>
          <p:cNvPr id="23" name="Slide Number Placeholder 22"/>
          <p:cNvSpPr>
            <a:spLocks noGrp="1"/>
          </p:cNvSpPr>
          <p:nvPr>
            <p:ph type="sldNum" sz="quarter" idx="16"/>
          </p:nvPr>
        </p:nvSpPr>
        <p:spPr/>
        <p:txBody>
          <a:bodyPr/>
          <a:lstStyle/>
          <a:p>
            <a:fld id="{5F3E29E4-0979-4FCA-B4C5-5FC6044C982A}" type="slidenum">
              <a:rPr lang="en-US" smtClean="0"/>
              <a:t>‹#›</a:t>
            </a:fld>
            <a:endParaRPr lang="en-US"/>
          </a:p>
        </p:txBody>
      </p:sp>
      <p:sp>
        <p:nvSpPr>
          <p:cNvPr id="2" name="Title 1"/>
          <p:cNvSpPr>
            <a:spLocks noGrp="1"/>
          </p:cNvSpPr>
          <p:nvPr>
            <p:ph type="title" hasCustomPrompt="1"/>
          </p:nvPr>
        </p:nvSpPr>
        <p:spPr/>
        <p:txBody>
          <a:bodyPr/>
          <a:lstStyle>
            <a:lvl1pPr>
              <a:defRPr/>
            </a:lvl1pPr>
          </a:lstStyle>
          <a:p>
            <a:r>
              <a:rPr lang="en-US" dirty="0"/>
              <a:t>Click to add slide title</a:t>
            </a:r>
          </a:p>
        </p:txBody>
      </p:sp>
      <p:sp>
        <p:nvSpPr>
          <p:cNvPr id="7" name="Subtitle 2"/>
          <p:cNvSpPr>
            <a:spLocks noGrp="1"/>
          </p:cNvSpPr>
          <p:nvPr>
            <p:ph type="subTitle" idx="13" hasCustomPrompt="1"/>
          </p:nvPr>
        </p:nvSpPr>
        <p:spPr>
          <a:xfrm>
            <a:off x="1075061" y="964671"/>
            <a:ext cx="7910158" cy="490042"/>
          </a:xfrm>
        </p:spPr>
        <p:txBody>
          <a:bodyPr wrap="none"/>
          <a:lstStyle>
            <a:lvl1pPr marL="0" indent="0" algn="l">
              <a:spcBef>
                <a:spcPts val="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3" name="Content Placeholder 2"/>
          <p:cNvSpPr>
            <a:spLocks noGrp="1"/>
          </p:cNvSpPr>
          <p:nvPr>
            <p:ph idx="1" hasCustomPrompt="1"/>
          </p:nvPr>
        </p:nvSpPr>
        <p:spPr>
          <a:xfrm>
            <a:off x="1075062" y="1852623"/>
            <a:ext cx="3287388" cy="3658714"/>
          </a:xfrm>
        </p:spPr>
        <p:txBody>
          <a:bodyPr anchor="ctr"/>
          <a:lstStyle>
            <a:lvl1pPr>
              <a:defRPr sz="1600"/>
            </a:lvl1pPr>
            <a:lvl2pPr>
              <a:defRPr sz="1600"/>
            </a:lvl2pPr>
            <a:lvl3pPr>
              <a:defRPr sz="1600"/>
            </a:lvl3pPr>
            <a:lvl4pPr>
              <a:defRPr sz="1600"/>
            </a:lvl4pPr>
            <a:lvl5pPr>
              <a:defRPr sz="1600"/>
            </a:lvl5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Picture Placeholder 4"/>
          <p:cNvSpPr>
            <a:spLocks noGrp="1"/>
          </p:cNvSpPr>
          <p:nvPr>
            <p:ph type="pic" sz="quarter" idx="17" hasCustomPrompt="1"/>
          </p:nvPr>
        </p:nvSpPr>
        <p:spPr>
          <a:xfrm>
            <a:off x="4904507" y="1821610"/>
            <a:ext cx="6001200" cy="3664800"/>
          </a:xfrm>
          <a:solidFill>
            <a:srgbClr val="D9DADB"/>
          </a:solidFill>
        </p:spPr>
        <p:txBody>
          <a:bodyPr/>
          <a:lstStyle>
            <a:lvl1pPr marL="0" indent="0">
              <a:buNone/>
              <a:defRPr/>
            </a:lvl1pPr>
          </a:lstStyle>
          <a:p>
            <a:r>
              <a:rPr lang="en-US" dirty="0"/>
              <a:t>Insert picture</a:t>
            </a:r>
          </a:p>
        </p:txBody>
      </p:sp>
      <p:sp>
        <p:nvSpPr>
          <p:cNvPr id="11" name="Text Placeholder 4"/>
          <p:cNvSpPr>
            <a:spLocks noGrp="1"/>
          </p:cNvSpPr>
          <p:nvPr>
            <p:ph type="body" sz="quarter" idx="18" hasCustomPrompt="1"/>
          </p:nvPr>
        </p:nvSpPr>
        <p:spPr>
          <a:xfrm>
            <a:off x="1075063" y="6307665"/>
            <a:ext cx="8162717" cy="133200"/>
          </a:xfrm>
        </p:spPr>
        <p:txBody>
          <a:bodyPr lIns="0" tIns="0" rIns="0" bIns="0" anchor="b" anchorCtr="0"/>
          <a:lstStyle>
            <a:lvl1pPr marL="0" indent="0" algn="l">
              <a:lnSpc>
                <a:spcPct val="100000"/>
              </a:lnSpc>
              <a:spcBef>
                <a:spcPts val="0"/>
              </a:spcBef>
              <a:buNone/>
              <a:defRPr sz="800" baseline="0"/>
            </a:lvl1pPr>
            <a:lvl2pPr marL="0" indent="0" algn="l">
              <a:lnSpc>
                <a:spcPct val="100000"/>
              </a:lnSpc>
              <a:spcBef>
                <a:spcPts val="0"/>
              </a:spcBef>
              <a:buNone/>
              <a:defRPr sz="800"/>
            </a:lvl2pPr>
            <a:lvl3pPr marL="0" indent="0" algn="l">
              <a:lnSpc>
                <a:spcPct val="100000"/>
              </a:lnSpc>
              <a:spcBef>
                <a:spcPts val="0"/>
              </a:spcBef>
              <a:buNone/>
              <a:defRPr sz="800"/>
            </a:lvl3pPr>
            <a:lvl4pPr marL="0" algn="l">
              <a:lnSpc>
                <a:spcPct val="100000"/>
              </a:lnSpc>
              <a:spcBef>
                <a:spcPts val="0"/>
              </a:spcBef>
              <a:buNone/>
              <a:defRPr sz="800"/>
            </a:lvl4pPr>
            <a:lvl5pPr marL="0" indent="0" algn="l">
              <a:lnSpc>
                <a:spcPct val="100000"/>
              </a:lnSpc>
              <a:spcBef>
                <a:spcPts val="0"/>
              </a:spcBef>
              <a:buNone/>
              <a:defRPr sz="800"/>
            </a:lvl5pPr>
          </a:lstStyle>
          <a:p>
            <a:pPr lvl="0"/>
            <a:r>
              <a:rPr lang="en-US" dirty="0"/>
              <a:t>Source line</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757840515"/>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p:cSld name="Tablet">
    <p:spTree>
      <p:nvGrpSpPr>
        <p:cNvPr id="1" name=""/>
        <p:cNvGrpSpPr/>
        <p:nvPr/>
      </p:nvGrpSpPr>
      <p:grpSpPr>
        <a:xfrm>
          <a:off x="0" y="0"/>
          <a:ext cx="0" cy="0"/>
          <a:chOff x="0" y="0"/>
          <a:chExt cx="0" cy="0"/>
        </a:xfrm>
      </p:grpSpPr>
      <p:pic>
        <p:nvPicPr>
          <p:cNvPr id="12" name="Grafik 3">
            <a:extLst>
              <a:ext uri="{FF2B5EF4-FFF2-40B4-BE49-F238E27FC236}">
                <a16:creationId xmlns:a16="http://schemas.microsoft.com/office/drawing/2014/main" id="{1D97A272-8DE5-144D-9076-0F435EC79171}"/>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4422451" y="1441279"/>
            <a:ext cx="6858000" cy="5323585"/>
          </a:xfrm>
          <a:prstGeom prst="rect">
            <a:avLst/>
          </a:prstGeom>
        </p:spPr>
      </p:pic>
      <p:sp>
        <p:nvSpPr>
          <p:cNvPr id="21" name="Date Placeholder 20"/>
          <p:cNvSpPr>
            <a:spLocks noGrp="1"/>
          </p:cNvSpPr>
          <p:nvPr>
            <p:ph type="dt" sz="half" idx="14"/>
          </p:nvPr>
        </p:nvSpPr>
        <p:spPr>
          <a:xfrm>
            <a:off x="192088" y="6461671"/>
            <a:ext cx="761512" cy="133790"/>
          </a:xfrm>
          <a:prstGeom prst="rect">
            <a:avLst/>
          </a:prstGeom>
        </p:spPr>
        <p:txBody>
          <a:bodyPr/>
          <a:lstStyle/>
          <a:p>
            <a:fld id="{22BF40EB-4E4B-4735-9535-C7494D4B38E6}" type="datetime5">
              <a:rPr lang="en-US" smtClean="0"/>
              <a:t>26-Jun-20</a:t>
            </a:fld>
            <a:endParaRPr lang="en-US"/>
          </a:p>
        </p:txBody>
      </p:sp>
      <p:sp>
        <p:nvSpPr>
          <p:cNvPr id="22" name="Footer Placeholder 21"/>
          <p:cNvSpPr>
            <a:spLocks noGrp="1"/>
          </p:cNvSpPr>
          <p:nvPr>
            <p:ph type="ftr" sz="quarter" idx="15"/>
          </p:nvPr>
        </p:nvSpPr>
        <p:spPr>
          <a:xfrm>
            <a:off x="1076400" y="6461671"/>
            <a:ext cx="8162717" cy="133790"/>
          </a:xfrm>
          <a:prstGeom prst="rect">
            <a:avLst/>
          </a:prstGeom>
        </p:spPr>
        <p:txBody>
          <a:bodyPr/>
          <a:lstStyle>
            <a:lvl1pPr>
              <a:defRPr/>
            </a:lvl1pPr>
          </a:lstStyle>
          <a:p>
            <a:r>
              <a:rPr lang="en-US" dirty="0"/>
              <a:t>TCG Market</a:t>
            </a:r>
          </a:p>
        </p:txBody>
      </p:sp>
      <p:sp>
        <p:nvSpPr>
          <p:cNvPr id="23" name="Slide Number Placeholder 22"/>
          <p:cNvSpPr>
            <a:spLocks noGrp="1"/>
          </p:cNvSpPr>
          <p:nvPr>
            <p:ph type="sldNum" sz="quarter" idx="16"/>
          </p:nvPr>
        </p:nvSpPr>
        <p:spPr/>
        <p:txBody>
          <a:bodyPr/>
          <a:lstStyle/>
          <a:p>
            <a:fld id="{5F3E29E4-0979-4FCA-B4C5-5FC6044C982A}" type="slidenum">
              <a:rPr lang="en-US" smtClean="0"/>
              <a:t>‹#›</a:t>
            </a:fld>
            <a:endParaRPr lang="en-US"/>
          </a:p>
        </p:txBody>
      </p:sp>
      <p:sp>
        <p:nvSpPr>
          <p:cNvPr id="2" name="Title 1"/>
          <p:cNvSpPr>
            <a:spLocks noGrp="1"/>
          </p:cNvSpPr>
          <p:nvPr>
            <p:ph type="title" hasCustomPrompt="1"/>
          </p:nvPr>
        </p:nvSpPr>
        <p:spPr/>
        <p:txBody>
          <a:bodyPr/>
          <a:lstStyle>
            <a:lvl1pPr>
              <a:defRPr/>
            </a:lvl1pPr>
          </a:lstStyle>
          <a:p>
            <a:r>
              <a:rPr lang="en-US" dirty="0"/>
              <a:t>Click to add slide title</a:t>
            </a:r>
          </a:p>
        </p:txBody>
      </p:sp>
      <p:sp>
        <p:nvSpPr>
          <p:cNvPr id="7" name="Subtitle 2"/>
          <p:cNvSpPr>
            <a:spLocks noGrp="1"/>
          </p:cNvSpPr>
          <p:nvPr>
            <p:ph type="subTitle" idx="13" hasCustomPrompt="1"/>
          </p:nvPr>
        </p:nvSpPr>
        <p:spPr>
          <a:xfrm>
            <a:off x="1075061" y="964671"/>
            <a:ext cx="7910158" cy="490042"/>
          </a:xfrm>
        </p:spPr>
        <p:txBody>
          <a:bodyPr wrap="none"/>
          <a:lstStyle>
            <a:lvl1pPr marL="0" indent="0" algn="l">
              <a:spcBef>
                <a:spcPts val="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3" name="Content Placeholder 2"/>
          <p:cNvSpPr>
            <a:spLocks noGrp="1"/>
          </p:cNvSpPr>
          <p:nvPr>
            <p:ph idx="1" hasCustomPrompt="1"/>
          </p:nvPr>
        </p:nvSpPr>
        <p:spPr>
          <a:xfrm>
            <a:off x="1075062" y="1852623"/>
            <a:ext cx="3287388" cy="3658714"/>
          </a:xfrm>
        </p:spPr>
        <p:txBody>
          <a:bodyPr anchor="ctr"/>
          <a:lstStyle>
            <a:lvl1pPr>
              <a:defRPr sz="1600"/>
            </a:lvl1pPr>
            <a:lvl2pPr>
              <a:defRPr sz="1600"/>
            </a:lvl2pPr>
            <a:lvl3pPr>
              <a:defRPr sz="1600"/>
            </a:lvl3pPr>
            <a:lvl4pPr>
              <a:defRPr sz="1600"/>
            </a:lvl4pPr>
            <a:lvl5pPr>
              <a:defRPr sz="1600"/>
            </a:lvl5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Picture Placeholder 4"/>
          <p:cNvSpPr>
            <a:spLocks noGrp="1"/>
          </p:cNvSpPr>
          <p:nvPr>
            <p:ph type="pic" sz="quarter" idx="17" hasCustomPrompt="1"/>
          </p:nvPr>
        </p:nvSpPr>
        <p:spPr>
          <a:xfrm>
            <a:off x="5135561" y="2010934"/>
            <a:ext cx="5491064" cy="3428280"/>
          </a:xfrm>
          <a:solidFill>
            <a:srgbClr val="D9DADB"/>
          </a:solidFill>
        </p:spPr>
        <p:txBody>
          <a:bodyPr/>
          <a:lstStyle>
            <a:lvl1pPr marL="0" indent="0">
              <a:buNone/>
              <a:defRPr/>
            </a:lvl1pPr>
          </a:lstStyle>
          <a:p>
            <a:r>
              <a:rPr lang="en-US" dirty="0"/>
              <a:t>Insert picture</a:t>
            </a:r>
          </a:p>
        </p:txBody>
      </p:sp>
      <p:sp>
        <p:nvSpPr>
          <p:cNvPr id="11" name="Text Placeholder 4"/>
          <p:cNvSpPr>
            <a:spLocks noGrp="1"/>
          </p:cNvSpPr>
          <p:nvPr>
            <p:ph type="body" sz="quarter" idx="18" hasCustomPrompt="1"/>
          </p:nvPr>
        </p:nvSpPr>
        <p:spPr>
          <a:xfrm>
            <a:off x="1075063" y="6307665"/>
            <a:ext cx="8162717" cy="133200"/>
          </a:xfrm>
        </p:spPr>
        <p:txBody>
          <a:bodyPr lIns="0" tIns="0" rIns="0" bIns="0" anchor="b" anchorCtr="0"/>
          <a:lstStyle>
            <a:lvl1pPr marL="0" indent="0" algn="l">
              <a:lnSpc>
                <a:spcPct val="100000"/>
              </a:lnSpc>
              <a:spcBef>
                <a:spcPts val="0"/>
              </a:spcBef>
              <a:buNone/>
              <a:defRPr sz="800" baseline="0"/>
            </a:lvl1pPr>
            <a:lvl2pPr marL="0" indent="0" algn="l">
              <a:lnSpc>
                <a:spcPct val="100000"/>
              </a:lnSpc>
              <a:spcBef>
                <a:spcPts val="0"/>
              </a:spcBef>
              <a:buNone/>
              <a:defRPr sz="800"/>
            </a:lvl2pPr>
            <a:lvl3pPr marL="0" indent="0" algn="l">
              <a:lnSpc>
                <a:spcPct val="100000"/>
              </a:lnSpc>
              <a:spcBef>
                <a:spcPts val="0"/>
              </a:spcBef>
              <a:buNone/>
              <a:defRPr sz="800"/>
            </a:lvl3pPr>
            <a:lvl4pPr marL="0" algn="l">
              <a:lnSpc>
                <a:spcPct val="100000"/>
              </a:lnSpc>
              <a:spcBef>
                <a:spcPts val="0"/>
              </a:spcBef>
              <a:buNone/>
              <a:defRPr sz="800"/>
            </a:lvl4pPr>
            <a:lvl5pPr marL="0" indent="0" algn="l">
              <a:lnSpc>
                <a:spcPct val="100000"/>
              </a:lnSpc>
              <a:spcBef>
                <a:spcPts val="0"/>
              </a:spcBef>
              <a:buNone/>
              <a:defRPr sz="800"/>
            </a:lvl5pPr>
          </a:lstStyle>
          <a:p>
            <a:pPr lvl="0"/>
            <a:r>
              <a:rPr lang="en-US" dirty="0"/>
              <a:t>Source line</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441776742"/>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p:cSld name="Smartphone">
    <p:spTree>
      <p:nvGrpSpPr>
        <p:cNvPr id="1" name=""/>
        <p:cNvGrpSpPr/>
        <p:nvPr/>
      </p:nvGrpSpPr>
      <p:grpSpPr>
        <a:xfrm>
          <a:off x="0" y="0"/>
          <a:ext cx="0" cy="0"/>
          <a:chOff x="0" y="0"/>
          <a:chExt cx="0" cy="0"/>
        </a:xfrm>
      </p:grpSpPr>
      <p:pic>
        <p:nvPicPr>
          <p:cNvPr id="10" name="Grafik 2">
            <a:extLst>
              <a:ext uri="{FF2B5EF4-FFF2-40B4-BE49-F238E27FC236}">
                <a16:creationId xmlns:a16="http://schemas.microsoft.com/office/drawing/2014/main" id="{6421FD8A-F5D4-E041-A727-98ABA693B1A7}"/>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5472449" y="1362516"/>
            <a:ext cx="4953000" cy="4865134"/>
          </a:xfrm>
          <a:prstGeom prst="rect">
            <a:avLst/>
          </a:prstGeom>
          <a:effectLst>
            <a:reflection blurRad="6350" stA="48000" endPos="6000" dir="5400000" sy="-100000" algn="bl" rotWithShape="0"/>
          </a:effectLst>
        </p:spPr>
      </p:pic>
      <p:sp>
        <p:nvSpPr>
          <p:cNvPr id="21" name="Date Placeholder 20"/>
          <p:cNvSpPr>
            <a:spLocks noGrp="1"/>
          </p:cNvSpPr>
          <p:nvPr>
            <p:ph type="dt" sz="half" idx="14"/>
          </p:nvPr>
        </p:nvSpPr>
        <p:spPr>
          <a:xfrm>
            <a:off x="192088" y="6461671"/>
            <a:ext cx="761512" cy="133790"/>
          </a:xfrm>
          <a:prstGeom prst="rect">
            <a:avLst/>
          </a:prstGeom>
        </p:spPr>
        <p:txBody>
          <a:bodyPr/>
          <a:lstStyle/>
          <a:p>
            <a:fld id="{3A57DC1E-3194-45CD-A5C4-CC4893251E0F}" type="datetime5">
              <a:rPr lang="en-US" smtClean="0"/>
              <a:t>26-Jun-20</a:t>
            </a:fld>
            <a:endParaRPr lang="en-US"/>
          </a:p>
        </p:txBody>
      </p:sp>
      <p:sp>
        <p:nvSpPr>
          <p:cNvPr id="22" name="Footer Placeholder 21"/>
          <p:cNvSpPr>
            <a:spLocks noGrp="1"/>
          </p:cNvSpPr>
          <p:nvPr>
            <p:ph type="ftr" sz="quarter" idx="15"/>
          </p:nvPr>
        </p:nvSpPr>
        <p:spPr>
          <a:xfrm>
            <a:off x="1076400" y="6461671"/>
            <a:ext cx="8162717" cy="133790"/>
          </a:xfrm>
          <a:prstGeom prst="rect">
            <a:avLst/>
          </a:prstGeom>
        </p:spPr>
        <p:txBody>
          <a:bodyPr/>
          <a:lstStyle>
            <a:lvl1pPr>
              <a:defRPr/>
            </a:lvl1pPr>
          </a:lstStyle>
          <a:p>
            <a:r>
              <a:rPr lang="en-US" dirty="0"/>
              <a:t>TCG Market</a:t>
            </a:r>
          </a:p>
        </p:txBody>
      </p:sp>
      <p:sp>
        <p:nvSpPr>
          <p:cNvPr id="23" name="Slide Number Placeholder 22"/>
          <p:cNvSpPr>
            <a:spLocks noGrp="1"/>
          </p:cNvSpPr>
          <p:nvPr>
            <p:ph type="sldNum" sz="quarter" idx="16"/>
          </p:nvPr>
        </p:nvSpPr>
        <p:spPr/>
        <p:txBody>
          <a:bodyPr/>
          <a:lstStyle/>
          <a:p>
            <a:fld id="{5F3E29E4-0979-4FCA-B4C5-5FC6044C982A}" type="slidenum">
              <a:rPr lang="en-US" smtClean="0"/>
              <a:t>‹#›</a:t>
            </a:fld>
            <a:endParaRPr lang="en-US"/>
          </a:p>
        </p:txBody>
      </p:sp>
      <p:sp>
        <p:nvSpPr>
          <p:cNvPr id="2" name="Title 1"/>
          <p:cNvSpPr>
            <a:spLocks noGrp="1"/>
          </p:cNvSpPr>
          <p:nvPr>
            <p:ph type="title" hasCustomPrompt="1"/>
          </p:nvPr>
        </p:nvSpPr>
        <p:spPr/>
        <p:txBody>
          <a:bodyPr/>
          <a:lstStyle>
            <a:lvl1pPr>
              <a:defRPr/>
            </a:lvl1pPr>
          </a:lstStyle>
          <a:p>
            <a:r>
              <a:rPr lang="en-US" dirty="0"/>
              <a:t>Click to add slide title</a:t>
            </a:r>
          </a:p>
        </p:txBody>
      </p:sp>
      <p:sp>
        <p:nvSpPr>
          <p:cNvPr id="7" name="Subtitle 2"/>
          <p:cNvSpPr>
            <a:spLocks noGrp="1"/>
          </p:cNvSpPr>
          <p:nvPr>
            <p:ph type="subTitle" idx="13" hasCustomPrompt="1"/>
          </p:nvPr>
        </p:nvSpPr>
        <p:spPr>
          <a:xfrm>
            <a:off x="1075061" y="964671"/>
            <a:ext cx="7910158" cy="490042"/>
          </a:xfrm>
        </p:spPr>
        <p:txBody>
          <a:bodyPr wrap="none"/>
          <a:lstStyle>
            <a:lvl1pPr marL="0" indent="0" algn="l">
              <a:spcBef>
                <a:spcPts val="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3" name="Content Placeholder 2"/>
          <p:cNvSpPr>
            <a:spLocks noGrp="1"/>
          </p:cNvSpPr>
          <p:nvPr>
            <p:ph idx="1" hasCustomPrompt="1"/>
          </p:nvPr>
        </p:nvSpPr>
        <p:spPr>
          <a:xfrm>
            <a:off x="1075061" y="1852623"/>
            <a:ext cx="5241071" cy="3658714"/>
          </a:xfrm>
        </p:spPr>
        <p:txBody>
          <a:bodyPr anchor="ctr"/>
          <a:lstStyle>
            <a:lvl1pPr>
              <a:defRPr sz="1600"/>
            </a:lvl1pPr>
            <a:lvl2pPr>
              <a:defRPr sz="1600"/>
            </a:lvl2pPr>
            <a:lvl3pPr>
              <a:defRPr sz="1600"/>
            </a:lvl3pPr>
            <a:lvl4pPr>
              <a:defRPr sz="1600"/>
            </a:lvl4pPr>
            <a:lvl5pPr>
              <a:defRPr sz="1600"/>
            </a:lvl5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Picture Placeholder 4"/>
          <p:cNvSpPr>
            <a:spLocks noGrp="1"/>
          </p:cNvSpPr>
          <p:nvPr>
            <p:ph type="pic" sz="quarter" idx="17" hasCustomPrompt="1"/>
          </p:nvPr>
        </p:nvSpPr>
        <p:spPr>
          <a:xfrm>
            <a:off x="6923531" y="1784822"/>
            <a:ext cx="2006654" cy="4104000"/>
          </a:xfrm>
          <a:solidFill>
            <a:srgbClr val="D9DADB"/>
          </a:solidFill>
        </p:spPr>
        <p:txBody>
          <a:bodyPr/>
          <a:lstStyle>
            <a:lvl1pPr marL="0" indent="0">
              <a:buNone/>
              <a:defRPr/>
            </a:lvl1pPr>
          </a:lstStyle>
          <a:p>
            <a:r>
              <a:rPr lang="en-US" dirty="0"/>
              <a:t>Insert picture</a:t>
            </a:r>
          </a:p>
        </p:txBody>
      </p:sp>
      <p:sp>
        <p:nvSpPr>
          <p:cNvPr id="12" name="Text Placeholder 4"/>
          <p:cNvSpPr>
            <a:spLocks noGrp="1"/>
          </p:cNvSpPr>
          <p:nvPr>
            <p:ph type="body" sz="quarter" idx="18" hasCustomPrompt="1"/>
          </p:nvPr>
        </p:nvSpPr>
        <p:spPr>
          <a:xfrm>
            <a:off x="1075063" y="6307665"/>
            <a:ext cx="8162717" cy="133200"/>
          </a:xfrm>
        </p:spPr>
        <p:txBody>
          <a:bodyPr lIns="0" tIns="0" rIns="0" bIns="0" anchor="b" anchorCtr="0"/>
          <a:lstStyle>
            <a:lvl1pPr marL="0" indent="0" algn="l">
              <a:lnSpc>
                <a:spcPct val="100000"/>
              </a:lnSpc>
              <a:spcBef>
                <a:spcPts val="0"/>
              </a:spcBef>
              <a:buNone/>
              <a:defRPr sz="800" baseline="0"/>
            </a:lvl1pPr>
            <a:lvl2pPr marL="0" indent="0" algn="l">
              <a:lnSpc>
                <a:spcPct val="100000"/>
              </a:lnSpc>
              <a:spcBef>
                <a:spcPts val="0"/>
              </a:spcBef>
              <a:buNone/>
              <a:defRPr sz="800"/>
            </a:lvl2pPr>
            <a:lvl3pPr marL="0" indent="0" algn="l">
              <a:lnSpc>
                <a:spcPct val="100000"/>
              </a:lnSpc>
              <a:spcBef>
                <a:spcPts val="0"/>
              </a:spcBef>
              <a:buNone/>
              <a:defRPr sz="800"/>
            </a:lvl3pPr>
            <a:lvl4pPr marL="0" algn="l">
              <a:lnSpc>
                <a:spcPct val="100000"/>
              </a:lnSpc>
              <a:spcBef>
                <a:spcPts val="0"/>
              </a:spcBef>
              <a:buNone/>
              <a:defRPr sz="800"/>
            </a:lvl4pPr>
            <a:lvl5pPr marL="0" indent="0" algn="l">
              <a:lnSpc>
                <a:spcPct val="100000"/>
              </a:lnSpc>
              <a:spcBef>
                <a:spcPts val="0"/>
              </a:spcBef>
              <a:buNone/>
              <a:defRPr sz="800"/>
            </a:lvl5pPr>
          </a:lstStyle>
          <a:p>
            <a:pPr lvl="0"/>
            <a:r>
              <a:rPr lang="en-US" dirty="0"/>
              <a:t>Source line</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19200334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with picture (1)">
    <p:spTree>
      <p:nvGrpSpPr>
        <p:cNvPr id="1" name=""/>
        <p:cNvGrpSpPr/>
        <p:nvPr/>
      </p:nvGrpSpPr>
      <p:grpSpPr>
        <a:xfrm>
          <a:off x="0" y="0"/>
          <a:ext cx="0" cy="0"/>
          <a:chOff x="0" y="0"/>
          <a:chExt cx="0" cy="0"/>
        </a:xfrm>
      </p:grpSpPr>
      <p:sp>
        <p:nvSpPr>
          <p:cNvPr id="6" name="Picture Placeholder 5"/>
          <p:cNvSpPr>
            <a:spLocks noGrp="1"/>
          </p:cNvSpPr>
          <p:nvPr>
            <p:ph type="pic" sz="quarter" idx="11" hasCustomPrompt="1"/>
          </p:nvPr>
        </p:nvSpPr>
        <p:spPr bwMode="gray">
          <a:xfrm>
            <a:off x="431213" y="1316708"/>
            <a:ext cx="11328987" cy="5280943"/>
          </a:xfrm>
        </p:spPr>
        <p:txBody>
          <a:bodyPr/>
          <a:lstStyle/>
          <a:p>
            <a:r>
              <a:rPr lang="en-US"/>
              <a:t>Click to the symbol to add a picture</a:t>
            </a:r>
          </a:p>
        </p:txBody>
      </p:sp>
      <p:sp>
        <p:nvSpPr>
          <p:cNvPr id="2" name="Title 1"/>
          <p:cNvSpPr>
            <a:spLocks noGrp="1"/>
          </p:cNvSpPr>
          <p:nvPr>
            <p:ph type="ctrTitle" hasCustomPrompt="1"/>
          </p:nvPr>
        </p:nvSpPr>
        <p:spPr bwMode="gray">
          <a:xfrm>
            <a:off x="623240" y="2372786"/>
            <a:ext cx="10945520" cy="1344257"/>
          </a:xfrm>
        </p:spPr>
        <p:txBody>
          <a:bodyPr anchor="b"/>
          <a:lstStyle>
            <a:lvl1pPr>
              <a:defRPr sz="4796" cap="none" baseline="0">
                <a:solidFill>
                  <a:schemeClr val="tx2"/>
                </a:solidFill>
              </a:defRPr>
            </a:lvl1pPr>
          </a:lstStyle>
          <a:p>
            <a:r>
              <a:rPr lang="en-US"/>
              <a:t>Click to add title of presentation</a:t>
            </a:r>
          </a:p>
        </p:txBody>
      </p:sp>
      <p:sp>
        <p:nvSpPr>
          <p:cNvPr id="3" name="Subtitle 2"/>
          <p:cNvSpPr>
            <a:spLocks noGrp="1"/>
          </p:cNvSpPr>
          <p:nvPr>
            <p:ph type="subTitle" idx="1" hasCustomPrompt="1"/>
          </p:nvPr>
        </p:nvSpPr>
        <p:spPr bwMode="gray">
          <a:xfrm>
            <a:off x="622496" y="3813053"/>
            <a:ext cx="10946245" cy="1536214"/>
          </a:xfrm>
        </p:spPr>
        <p:txBody>
          <a:bodyPr/>
          <a:lstStyle>
            <a:lvl1pPr marL="0" indent="0" algn="l">
              <a:spcBef>
                <a:spcPts val="800"/>
              </a:spcBef>
              <a:spcAft>
                <a:spcPts val="0"/>
              </a:spcAft>
              <a:buNone/>
              <a:defRPr sz="2663">
                <a:solidFill>
                  <a:schemeClr val="tx2"/>
                </a:solidFill>
              </a:defRPr>
            </a:lvl1pPr>
            <a:lvl2pPr marL="0" indent="0" algn="l">
              <a:spcBef>
                <a:spcPts val="800"/>
              </a:spcBef>
              <a:spcAft>
                <a:spcPts val="0"/>
              </a:spcAft>
              <a:buNone/>
              <a:defRPr sz="2663">
                <a:solidFill>
                  <a:schemeClr val="tx2"/>
                </a:solidFill>
              </a:defRPr>
            </a:lvl2pPr>
            <a:lvl3pPr marL="0" indent="0" algn="l">
              <a:spcBef>
                <a:spcPts val="800"/>
              </a:spcBef>
              <a:spcAft>
                <a:spcPts val="0"/>
              </a:spcAft>
              <a:buNone/>
              <a:defRPr sz="2663">
                <a:solidFill>
                  <a:schemeClr val="tx2"/>
                </a:solidFill>
              </a:defRPr>
            </a:lvl3pPr>
            <a:lvl4pPr marL="0" indent="0" algn="l">
              <a:spcBef>
                <a:spcPts val="800"/>
              </a:spcBef>
              <a:spcAft>
                <a:spcPts val="0"/>
              </a:spcAft>
              <a:buNone/>
              <a:defRPr sz="2663">
                <a:solidFill>
                  <a:schemeClr val="tx2"/>
                </a:solidFill>
              </a:defRPr>
            </a:lvl4pPr>
            <a:lvl5pPr marL="0" indent="0" algn="l">
              <a:spcBef>
                <a:spcPts val="800"/>
              </a:spcBef>
              <a:spcAft>
                <a:spcPts val="0"/>
              </a:spcAft>
              <a:buNone/>
              <a:defRPr sz="2663">
                <a:solidFill>
                  <a:schemeClr val="tx2"/>
                </a:solidFill>
              </a:defRPr>
            </a:lvl5pPr>
            <a:lvl6pPr marL="0" indent="0" algn="l">
              <a:spcBef>
                <a:spcPts val="800"/>
              </a:spcBef>
              <a:spcAft>
                <a:spcPts val="0"/>
              </a:spcAft>
              <a:buNone/>
              <a:defRPr sz="2663">
                <a:solidFill>
                  <a:schemeClr val="tx2"/>
                </a:solidFill>
              </a:defRPr>
            </a:lvl6pPr>
            <a:lvl7pPr marL="0" indent="0" algn="l">
              <a:spcBef>
                <a:spcPts val="800"/>
              </a:spcBef>
              <a:spcAft>
                <a:spcPts val="0"/>
              </a:spcAft>
              <a:buNone/>
              <a:defRPr sz="2663">
                <a:solidFill>
                  <a:schemeClr val="tx2"/>
                </a:solidFill>
              </a:defRPr>
            </a:lvl7pPr>
            <a:lvl8pPr marL="0" indent="0" algn="l">
              <a:spcAft>
                <a:spcPts val="0"/>
              </a:spcAft>
              <a:buNone/>
              <a:defRPr sz="2663">
                <a:solidFill>
                  <a:schemeClr val="bg1"/>
                </a:solidFill>
              </a:defRPr>
            </a:lvl8pPr>
            <a:lvl9pPr marL="0" indent="0" algn="l">
              <a:spcBef>
                <a:spcPts val="800"/>
              </a:spcBef>
              <a:spcAft>
                <a:spcPts val="0"/>
              </a:spcAft>
              <a:buNone/>
              <a:defRPr sz="2663">
                <a:solidFill>
                  <a:schemeClr val="tx2"/>
                </a:solidFill>
              </a:defRPr>
            </a:lvl9pPr>
          </a:lstStyle>
          <a:p>
            <a:pPr lvl="0"/>
            <a:r>
              <a:rPr lang="en-US" noProof="0"/>
              <a:t>Click to add subtitle of presentation</a:t>
            </a:r>
          </a:p>
        </p:txBody>
      </p:sp>
      <p:sp>
        <p:nvSpPr>
          <p:cNvPr id="7" name="Rechteck 6"/>
          <p:cNvSpPr/>
          <p:nvPr/>
        </p:nvSpPr>
        <p:spPr bwMode="gray">
          <a:xfrm>
            <a:off x="0" y="6570173"/>
            <a:ext cx="12192000" cy="28783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802" tIns="60901" rIns="121802" bIns="60901" numCol="1" spcCol="0" rtlCol="0" fromWordArt="0" anchor="ctr" anchorCtr="0" forceAA="0" compatLnSpc="1">
            <a:prstTxWarp prst="textNoShape">
              <a:avLst/>
            </a:prstTxWarp>
            <a:noAutofit/>
          </a:bodyPr>
          <a:lstStyle/>
          <a:p>
            <a:pPr marL="0" indent="0" algn="ctr">
              <a:buFont typeface="Courier New" pitchFamily="49" charset="0"/>
              <a:buNone/>
            </a:pPr>
            <a:endParaRPr lang="en-US" sz="2133">
              <a:solidFill>
                <a:schemeClr val="tx1"/>
              </a:solidFill>
              <a:latin typeface="Arial" pitchFamily="34" charset="0"/>
            </a:endParaRPr>
          </a:p>
        </p:txBody>
      </p:sp>
      <p:sp>
        <p:nvSpPr>
          <p:cNvPr id="8" name="Text Placeholder 10"/>
          <p:cNvSpPr>
            <a:spLocks noGrp="1"/>
          </p:cNvSpPr>
          <p:nvPr>
            <p:ph type="body" sz="quarter" idx="10" hasCustomPrompt="1"/>
          </p:nvPr>
        </p:nvSpPr>
        <p:spPr bwMode="gray">
          <a:xfrm>
            <a:off x="623241" y="6117376"/>
            <a:ext cx="10945520" cy="288000"/>
          </a:xfrm>
        </p:spPr>
        <p:txBody>
          <a:bodyPr tIns="0" anchor="b" anchorCtr="0"/>
          <a:lstStyle>
            <a:lvl1pPr marL="0" indent="0">
              <a:lnSpc>
                <a:spcPct val="100000"/>
              </a:lnSpc>
              <a:spcBef>
                <a:spcPts val="0"/>
              </a:spcBef>
              <a:spcAft>
                <a:spcPts val="0"/>
              </a:spcAft>
              <a:buFontTx/>
              <a:buNone/>
              <a:defRPr sz="1598">
                <a:solidFill>
                  <a:schemeClr val="tx2"/>
                </a:solidFill>
              </a:defRPr>
            </a:lvl1pPr>
            <a:lvl2pPr marL="0" indent="0">
              <a:lnSpc>
                <a:spcPct val="100000"/>
              </a:lnSpc>
              <a:spcBef>
                <a:spcPts val="0"/>
              </a:spcBef>
              <a:spcAft>
                <a:spcPts val="0"/>
              </a:spcAft>
              <a:buFontTx/>
              <a:buNone/>
              <a:defRPr sz="1598">
                <a:solidFill>
                  <a:schemeClr val="tx2"/>
                </a:solidFill>
              </a:defRPr>
            </a:lvl2pPr>
            <a:lvl3pPr marL="0" indent="0">
              <a:lnSpc>
                <a:spcPct val="100000"/>
              </a:lnSpc>
              <a:spcBef>
                <a:spcPts val="0"/>
              </a:spcBef>
              <a:spcAft>
                <a:spcPts val="0"/>
              </a:spcAft>
              <a:buFontTx/>
              <a:buNone/>
              <a:defRPr sz="1598">
                <a:solidFill>
                  <a:schemeClr val="tx2"/>
                </a:solidFill>
              </a:defRPr>
            </a:lvl3pPr>
            <a:lvl4pPr marL="0" indent="0">
              <a:lnSpc>
                <a:spcPct val="100000"/>
              </a:lnSpc>
              <a:spcBef>
                <a:spcPts val="0"/>
              </a:spcBef>
              <a:spcAft>
                <a:spcPts val="0"/>
              </a:spcAft>
              <a:buFontTx/>
              <a:buNone/>
              <a:defRPr sz="1598">
                <a:solidFill>
                  <a:schemeClr val="tx2"/>
                </a:solidFill>
              </a:defRPr>
            </a:lvl4pPr>
            <a:lvl5pPr marL="0" indent="0">
              <a:lnSpc>
                <a:spcPct val="100000"/>
              </a:lnSpc>
              <a:spcBef>
                <a:spcPts val="0"/>
              </a:spcBef>
              <a:spcAft>
                <a:spcPts val="0"/>
              </a:spcAft>
              <a:buFontTx/>
              <a:buNone/>
              <a:defRPr sz="1598">
                <a:solidFill>
                  <a:schemeClr val="tx2"/>
                </a:solidFill>
              </a:defRPr>
            </a:lvl5pPr>
            <a:lvl6pPr marL="0" indent="0">
              <a:lnSpc>
                <a:spcPct val="100000"/>
              </a:lnSpc>
              <a:spcBef>
                <a:spcPts val="0"/>
              </a:spcBef>
              <a:spcAft>
                <a:spcPts val="0"/>
              </a:spcAft>
              <a:buFontTx/>
              <a:buNone/>
              <a:defRPr sz="1598">
                <a:solidFill>
                  <a:schemeClr val="tx2"/>
                </a:solidFill>
              </a:defRPr>
            </a:lvl6pPr>
            <a:lvl7pPr marL="0" indent="0">
              <a:lnSpc>
                <a:spcPct val="100000"/>
              </a:lnSpc>
              <a:spcBef>
                <a:spcPts val="0"/>
              </a:spcBef>
              <a:spcAft>
                <a:spcPts val="0"/>
              </a:spcAft>
              <a:buFontTx/>
              <a:buNone/>
              <a:defRPr sz="1598">
                <a:solidFill>
                  <a:schemeClr val="tx2"/>
                </a:solidFill>
              </a:defRPr>
            </a:lvl7pPr>
            <a:lvl8pPr marL="0" indent="0">
              <a:lnSpc>
                <a:spcPct val="100000"/>
              </a:lnSpc>
              <a:spcBef>
                <a:spcPts val="0"/>
              </a:spcBef>
              <a:spcAft>
                <a:spcPts val="0"/>
              </a:spcAft>
              <a:buFontTx/>
              <a:buNone/>
              <a:defRPr sz="1598">
                <a:solidFill>
                  <a:schemeClr val="bg1"/>
                </a:solidFill>
              </a:defRPr>
            </a:lvl8pPr>
            <a:lvl9pPr marL="0" indent="0">
              <a:lnSpc>
                <a:spcPct val="100000"/>
              </a:lnSpc>
              <a:spcBef>
                <a:spcPts val="0"/>
              </a:spcBef>
              <a:spcAft>
                <a:spcPts val="0"/>
              </a:spcAft>
              <a:buFontTx/>
              <a:buNone/>
              <a:defRPr sz="1598">
                <a:solidFill>
                  <a:schemeClr val="tx2"/>
                </a:solidFill>
              </a:defRPr>
            </a:lvl9pPr>
          </a:lstStyle>
          <a:p>
            <a:pPr lvl="0"/>
            <a:r>
              <a:rPr lang="en-US" noProof="0"/>
              <a:t>Click to add additional text, e.g. author, location, date</a:t>
            </a:r>
          </a:p>
        </p:txBody>
      </p:sp>
    </p:spTree>
    <p:extLst>
      <p:ext uri="{BB962C8B-B14F-4D97-AF65-F5344CB8AC3E}">
        <p14:creationId xmlns:p14="http://schemas.microsoft.com/office/powerpoint/2010/main" val="388075317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cSld name="Divider Slide for presentation">
    <p:bg>
      <p:bgPr>
        <a:solidFill>
          <a:schemeClr val="bg1">
            <a:lumMod val="95000"/>
          </a:schemeClr>
        </a:solidFill>
        <a:effectLst/>
      </p:bgPr>
    </p:bg>
    <p:spTree>
      <p:nvGrpSpPr>
        <p:cNvPr id="1" name=""/>
        <p:cNvGrpSpPr/>
        <p:nvPr/>
      </p:nvGrpSpPr>
      <p:grpSpPr>
        <a:xfrm>
          <a:off x="0" y="0"/>
          <a:ext cx="0" cy="0"/>
          <a:chOff x="0" y="0"/>
          <a:chExt cx="0" cy="0"/>
        </a:xfrm>
      </p:grpSpPr>
      <p:sp>
        <p:nvSpPr>
          <p:cNvPr id="2" name="Titel 1"/>
          <p:cNvSpPr>
            <a:spLocks noGrp="1"/>
          </p:cNvSpPr>
          <p:nvPr>
            <p:ph type="title" hasCustomPrompt="1"/>
          </p:nvPr>
        </p:nvSpPr>
        <p:spPr bwMode="gray">
          <a:xfrm>
            <a:off x="0" y="2372856"/>
            <a:ext cx="12192000" cy="2112293"/>
          </a:xfrm>
          <a:gradFill>
            <a:gsLst>
              <a:gs pos="2000">
                <a:schemeClr val="accent6"/>
              </a:gs>
              <a:gs pos="100000">
                <a:srgbClr val="F9B200"/>
              </a:gs>
            </a:gsLst>
            <a:lin ang="0" scaled="0"/>
          </a:gra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24000" tIns="0" rIns="324000" bIns="0" numCol="1" spcCol="0" rtlCol="0" fromWordArt="0" anchor="ctr" anchorCtr="0" forceAA="0" compatLnSpc="1">
            <a:prstTxWarp prst="textNoShape">
              <a:avLst/>
            </a:prstTxWarp>
            <a:noAutofit/>
          </a:bodyPr>
          <a:lstStyle>
            <a:lvl1pPr>
              <a:defRPr lang="de-DE" sz="5863" kern="1200" dirty="0">
                <a:solidFill>
                  <a:schemeClr val="bg1"/>
                </a:solidFill>
                <a:latin typeface="Insight screen" pitchFamily="2" charset="0"/>
                <a:ea typeface="+mn-ea"/>
                <a:cs typeface="+mn-cs"/>
              </a:defRPr>
            </a:lvl1pPr>
          </a:lstStyle>
          <a:p>
            <a:pPr lvl="0"/>
            <a:r>
              <a:rPr lang="en-US"/>
              <a:t>Click to add text</a:t>
            </a:r>
          </a:p>
        </p:txBody>
      </p:sp>
      <p:grpSp>
        <p:nvGrpSpPr>
          <p:cNvPr id="96" name="Gruppieren 95"/>
          <p:cNvGrpSpPr/>
          <p:nvPr/>
        </p:nvGrpSpPr>
        <p:grpSpPr bwMode="gray">
          <a:xfrm>
            <a:off x="431801" y="-420692"/>
            <a:ext cx="11328987" cy="288040"/>
            <a:chOff x="323850" y="-531550"/>
            <a:chExt cx="8496740" cy="432060"/>
          </a:xfrm>
        </p:grpSpPr>
        <p:cxnSp>
          <p:nvCxnSpPr>
            <p:cNvPr id="97" name="Gerade Verbindung 96"/>
            <p:cNvCxnSpPr/>
            <p:nvPr userDrawn="1"/>
          </p:nvCxnSpPr>
          <p:spPr bwMode="gray">
            <a:xfrm rot="5400000">
              <a:off x="10782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8" name="Gerade Verbindung 97"/>
            <p:cNvCxnSpPr/>
            <p:nvPr userDrawn="1"/>
          </p:nvCxnSpPr>
          <p:spPr bwMode="gray">
            <a:xfrm rot="5400000">
              <a:off x="14035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9" name="Gerade Verbindung 98"/>
            <p:cNvCxnSpPr/>
            <p:nvPr userDrawn="1"/>
          </p:nvCxnSpPr>
          <p:spPr bwMode="gray">
            <a:xfrm rot="5400000">
              <a:off x="154758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0" name="Gerade Verbindung 99"/>
            <p:cNvCxnSpPr/>
            <p:nvPr userDrawn="1"/>
          </p:nvCxnSpPr>
          <p:spPr bwMode="gray">
            <a:xfrm rot="5400000">
              <a:off x="28437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1" name="Gerade Verbindung 100"/>
            <p:cNvCxnSpPr/>
            <p:nvPr userDrawn="1"/>
          </p:nvCxnSpPr>
          <p:spPr bwMode="gray">
            <a:xfrm rot="5400000">
              <a:off x="298778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2" name="Gerade Verbindung 101"/>
            <p:cNvCxnSpPr/>
            <p:nvPr userDrawn="1"/>
          </p:nvCxnSpPr>
          <p:spPr bwMode="gray">
            <a:xfrm rot="5400000">
              <a:off x="42839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3" name="Gerade Verbindung 102"/>
            <p:cNvCxnSpPr/>
            <p:nvPr userDrawn="1"/>
          </p:nvCxnSpPr>
          <p:spPr bwMode="gray">
            <a:xfrm rot="5400000">
              <a:off x="442798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4" name="Gerade Verbindung 103"/>
            <p:cNvCxnSpPr/>
            <p:nvPr userDrawn="1"/>
          </p:nvCxnSpPr>
          <p:spPr bwMode="gray">
            <a:xfrm rot="5400000">
              <a:off x="57241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5" name="Gerade Verbindung 104"/>
            <p:cNvCxnSpPr/>
            <p:nvPr userDrawn="1"/>
          </p:nvCxnSpPr>
          <p:spPr bwMode="gray">
            <a:xfrm rot="5400000">
              <a:off x="586818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6" name="Gerade Verbindung 105"/>
            <p:cNvCxnSpPr/>
            <p:nvPr userDrawn="1"/>
          </p:nvCxnSpPr>
          <p:spPr bwMode="gray">
            <a:xfrm rot="5400000">
              <a:off x="71643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7" name="Gerade Verbindung 106"/>
            <p:cNvCxnSpPr/>
            <p:nvPr userDrawn="1"/>
          </p:nvCxnSpPr>
          <p:spPr bwMode="gray">
            <a:xfrm rot="5400000">
              <a:off x="730838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8" name="Gerade Verbindung 107"/>
            <p:cNvCxnSpPr/>
            <p:nvPr userDrawn="1"/>
          </p:nvCxnSpPr>
          <p:spPr bwMode="gray">
            <a:xfrm rot="5400000">
              <a:off x="86045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09" name="Gruppieren 108"/>
          <p:cNvGrpSpPr/>
          <p:nvPr/>
        </p:nvGrpSpPr>
        <p:grpSpPr bwMode="gray">
          <a:xfrm>
            <a:off x="431801" y="6981493"/>
            <a:ext cx="11328987" cy="288040"/>
            <a:chOff x="323850" y="-531550"/>
            <a:chExt cx="8496740" cy="432060"/>
          </a:xfrm>
        </p:grpSpPr>
        <p:cxnSp>
          <p:nvCxnSpPr>
            <p:cNvPr id="110" name="Gerade Verbindung 109"/>
            <p:cNvCxnSpPr/>
            <p:nvPr userDrawn="1"/>
          </p:nvCxnSpPr>
          <p:spPr bwMode="gray">
            <a:xfrm rot="5400000">
              <a:off x="10782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1" name="Gerade Verbindung 110"/>
            <p:cNvCxnSpPr/>
            <p:nvPr userDrawn="1"/>
          </p:nvCxnSpPr>
          <p:spPr bwMode="gray">
            <a:xfrm rot="5400000">
              <a:off x="14035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2" name="Gerade Verbindung 111"/>
            <p:cNvCxnSpPr/>
            <p:nvPr userDrawn="1"/>
          </p:nvCxnSpPr>
          <p:spPr bwMode="gray">
            <a:xfrm rot="5400000">
              <a:off x="154758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3" name="Gerade Verbindung 112"/>
            <p:cNvCxnSpPr/>
            <p:nvPr userDrawn="1"/>
          </p:nvCxnSpPr>
          <p:spPr bwMode="gray">
            <a:xfrm rot="5400000">
              <a:off x="28437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4" name="Gerade Verbindung 113"/>
            <p:cNvCxnSpPr/>
            <p:nvPr userDrawn="1"/>
          </p:nvCxnSpPr>
          <p:spPr bwMode="gray">
            <a:xfrm rot="5400000">
              <a:off x="298778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5" name="Gerade Verbindung 114"/>
            <p:cNvCxnSpPr/>
            <p:nvPr userDrawn="1"/>
          </p:nvCxnSpPr>
          <p:spPr bwMode="gray">
            <a:xfrm rot="5400000">
              <a:off x="42839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6" name="Gerade Verbindung 115"/>
            <p:cNvCxnSpPr/>
            <p:nvPr userDrawn="1"/>
          </p:nvCxnSpPr>
          <p:spPr bwMode="gray">
            <a:xfrm rot="5400000">
              <a:off x="442798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7" name="Gerade Verbindung 116"/>
            <p:cNvCxnSpPr/>
            <p:nvPr userDrawn="1"/>
          </p:nvCxnSpPr>
          <p:spPr bwMode="gray">
            <a:xfrm rot="5400000">
              <a:off x="57241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8" name="Gerade Verbindung 117"/>
            <p:cNvCxnSpPr/>
            <p:nvPr userDrawn="1"/>
          </p:nvCxnSpPr>
          <p:spPr bwMode="gray">
            <a:xfrm rot="5400000">
              <a:off x="586818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9" name="Gerade Verbindung 118"/>
            <p:cNvCxnSpPr/>
            <p:nvPr userDrawn="1"/>
          </p:nvCxnSpPr>
          <p:spPr bwMode="gray">
            <a:xfrm rot="5400000">
              <a:off x="71643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0" name="Gerade Verbindung 119"/>
            <p:cNvCxnSpPr/>
            <p:nvPr userDrawn="1"/>
          </p:nvCxnSpPr>
          <p:spPr bwMode="gray">
            <a:xfrm rot="5400000">
              <a:off x="730838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1" name="Gerade Verbindung 120"/>
            <p:cNvCxnSpPr/>
            <p:nvPr userDrawn="1"/>
          </p:nvCxnSpPr>
          <p:spPr bwMode="gray">
            <a:xfrm rot="5400000">
              <a:off x="86045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22" name="Gruppieren 121"/>
          <p:cNvGrpSpPr/>
          <p:nvPr/>
        </p:nvGrpSpPr>
        <p:grpSpPr bwMode="gray">
          <a:xfrm>
            <a:off x="12336867" y="1028668"/>
            <a:ext cx="288040" cy="5568773"/>
            <a:chOff x="9252650" y="771500"/>
            <a:chExt cx="216030" cy="4176580"/>
          </a:xfrm>
        </p:grpSpPr>
        <p:cxnSp>
          <p:nvCxnSpPr>
            <p:cNvPr id="123" name="Gerade Verbindung 122"/>
            <p:cNvCxnSpPr/>
            <p:nvPr userDrawn="1"/>
          </p:nvCxnSpPr>
          <p:spPr bwMode="gray">
            <a:xfrm>
              <a:off x="9252650" y="98753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4" name="Gerade Verbindung 123"/>
            <p:cNvCxnSpPr/>
            <p:nvPr userDrawn="1"/>
          </p:nvCxnSpPr>
          <p:spPr bwMode="gray">
            <a:xfrm>
              <a:off x="9252650" y="77150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5" name="Gerade Verbindung 124"/>
            <p:cNvCxnSpPr/>
            <p:nvPr userDrawn="1"/>
          </p:nvCxnSpPr>
          <p:spPr bwMode="gray">
            <a:xfrm>
              <a:off x="9252650" y="494808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6" name="Gerade Verbindung 125"/>
            <p:cNvCxnSpPr/>
            <p:nvPr userDrawn="1"/>
          </p:nvCxnSpPr>
          <p:spPr bwMode="gray">
            <a:xfrm>
              <a:off x="9252650" y="480406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7" name="Gerade Verbindung 126"/>
            <p:cNvCxnSpPr/>
            <p:nvPr userDrawn="1"/>
          </p:nvCxnSpPr>
          <p:spPr bwMode="gray">
            <a:xfrm>
              <a:off x="9252650" y="415597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8" name="Gerade Verbindung 127"/>
            <p:cNvCxnSpPr/>
            <p:nvPr userDrawn="1"/>
          </p:nvCxnSpPr>
          <p:spPr bwMode="gray">
            <a:xfrm>
              <a:off x="9252650" y="401195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9" name="Gerade Verbindung 128"/>
            <p:cNvCxnSpPr/>
            <p:nvPr userDrawn="1"/>
          </p:nvCxnSpPr>
          <p:spPr bwMode="gray">
            <a:xfrm>
              <a:off x="9252650" y="336386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0" name="Gerade Verbindung 129"/>
            <p:cNvCxnSpPr/>
            <p:nvPr userDrawn="1"/>
          </p:nvCxnSpPr>
          <p:spPr bwMode="gray">
            <a:xfrm>
              <a:off x="9252650" y="321984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1" name="Gerade Verbindung 130"/>
            <p:cNvCxnSpPr/>
            <p:nvPr userDrawn="1"/>
          </p:nvCxnSpPr>
          <p:spPr bwMode="gray">
            <a:xfrm>
              <a:off x="9252650" y="257175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2" name="Gerade Verbindung 131"/>
            <p:cNvCxnSpPr/>
            <p:nvPr userDrawn="1"/>
          </p:nvCxnSpPr>
          <p:spPr bwMode="gray">
            <a:xfrm>
              <a:off x="9252650" y="242773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3" name="Gerade Verbindung 132"/>
            <p:cNvCxnSpPr/>
            <p:nvPr userDrawn="1"/>
          </p:nvCxnSpPr>
          <p:spPr bwMode="gray">
            <a:xfrm>
              <a:off x="9252650" y="177964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4" name="Gerade Verbindung 133"/>
            <p:cNvCxnSpPr/>
            <p:nvPr userDrawn="1"/>
          </p:nvCxnSpPr>
          <p:spPr bwMode="gray">
            <a:xfrm>
              <a:off x="9252650" y="163562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5" name="Gerade Verbindung 134"/>
            <p:cNvCxnSpPr/>
            <p:nvPr userDrawn="1"/>
          </p:nvCxnSpPr>
          <p:spPr bwMode="gray">
            <a:xfrm>
              <a:off x="9252650" y="473205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3" name="Rechteck 2"/>
          <p:cNvSpPr/>
          <p:nvPr/>
        </p:nvSpPr>
        <p:spPr bwMode="gray">
          <a:xfrm>
            <a:off x="0" y="2"/>
            <a:ext cx="12192000" cy="2241925"/>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845" tIns="60923" rIns="121845" bIns="60923" numCol="1" spcCol="0" rtlCol="0" fromWordArt="0" anchor="ctr" anchorCtr="0" forceAA="0" compatLnSpc="1">
            <a:prstTxWarp prst="textNoShape">
              <a:avLst/>
            </a:prstTxWarp>
            <a:noAutofit/>
          </a:bodyPr>
          <a:lstStyle/>
          <a:p>
            <a:pPr marL="0" indent="0" algn="ctr">
              <a:buFont typeface="Courier New" pitchFamily="49" charset="0"/>
              <a:buNone/>
            </a:pPr>
            <a:endParaRPr lang="de-DE" sz="2133">
              <a:solidFill>
                <a:schemeClr val="tx1"/>
              </a:solidFill>
              <a:latin typeface="Arial" pitchFamily="34" charset="0"/>
            </a:endParaRPr>
          </a:p>
        </p:txBody>
      </p:sp>
    </p:spTree>
    <p:extLst>
      <p:ext uri="{BB962C8B-B14F-4D97-AF65-F5344CB8AC3E}">
        <p14:creationId xmlns:p14="http://schemas.microsoft.com/office/powerpoint/2010/main" val="3935880366"/>
      </p:ext>
    </p:extLst>
  </p:cSld>
  <p:clrMapOvr>
    <a:masterClrMapping/>
  </p:clrMapOvr>
  <p:transition spd="slow">
    <p:fade thruBlk="1"/>
  </p:transition>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p:cSld name="One contact">
    <p:spTree>
      <p:nvGrpSpPr>
        <p:cNvPr id="1" name=""/>
        <p:cNvGrpSpPr/>
        <p:nvPr/>
      </p:nvGrpSpPr>
      <p:grpSpPr>
        <a:xfrm>
          <a:off x="0" y="0"/>
          <a:ext cx="0" cy="0"/>
          <a:chOff x="0" y="0"/>
          <a:chExt cx="0" cy="0"/>
        </a:xfrm>
      </p:grpSpPr>
      <p:sp>
        <p:nvSpPr>
          <p:cNvPr id="4" name="Picture Placeholder 3"/>
          <p:cNvSpPr>
            <a:spLocks noGrp="1"/>
          </p:cNvSpPr>
          <p:nvPr>
            <p:ph type="pic" sz="quarter" idx="17" hasCustomPrompt="1"/>
          </p:nvPr>
        </p:nvSpPr>
        <p:spPr>
          <a:xfrm>
            <a:off x="1056217" y="1833656"/>
            <a:ext cx="3203503" cy="3935319"/>
          </a:xfrm>
          <a:solidFill>
            <a:srgbClr val="D9DADB"/>
          </a:solidFill>
        </p:spPr>
        <p:txBody>
          <a:bodyPr/>
          <a:lstStyle>
            <a:lvl1pPr marL="0" indent="0">
              <a:buNone/>
              <a:defRPr sz="1400"/>
            </a:lvl1pPr>
          </a:lstStyle>
          <a:p>
            <a:r>
              <a:rPr lang="en-US" dirty="0"/>
              <a:t>Insert picture</a:t>
            </a:r>
          </a:p>
        </p:txBody>
      </p:sp>
      <p:sp>
        <p:nvSpPr>
          <p:cNvPr id="21" name="Date Placeholder 20"/>
          <p:cNvSpPr>
            <a:spLocks noGrp="1"/>
          </p:cNvSpPr>
          <p:nvPr>
            <p:ph type="dt" sz="half" idx="14"/>
          </p:nvPr>
        </p:nvSpPr>
        <p:spPr>
          <a:xfrm>
            <a:off x="192088" y="6461671"/>
            <a:ext cx="761512" cy="133790"/>
          </a:xfrm>
          <a:prstGeom prst="rect">
            <a:avLst/>
          </a:prstGeom>
        </p:spPr>
        <p:txBody>
          <a:bodyPr/>
          <a:lstStyle/>
          <a:p>
            <a:fld id="{59171ED9-6851-4525-A763-2524710A57F8}" type="datetime5">
              <a:rPr lang="en-US" smtClean="0"/>
              <a:t>26-Jun-20</a:t>
            </a:fld>
            <a:endParaRPr lang="en-US"/>
          </a:p>
        </p:txBody>
      </p:sp>
      <p:sp>
        <p:nvSpPr>
          <p:cNvPr id="22" name="Footer Placeholder 21"/>
          <p:cNvSpPr>
            <a:spLocks noGrp="1"/>
          </p:cNvSpPr>
          <p:nvPr>
            <p:ph type="ftr" sz="quarter" idx="15"/>
          </p:nvPr>
        </p:nvSpPr>
        <p:spPr>
          <a:xfrm>
            <a:off x="1076400" y="6461671"/>
            <a:ext cx="8162717" cy="133790"/>
          </a:xfrm>
          <a:prstGeom prst="rect">
            <a:avLst/>
          </a:prstGeom>
        </p:spPr>
        <p:txBody>
          <a:bodyPr/>
          <a:lstStyle>
            <a:lvl1pPr>
              <a:defRPr/>
            </a:lvl1pPr>
          </a:lstStyle>
          <a:p>
            <a:r>
              <a:rPr lang="en-US" dirty="0"/>
              <a:t>TCG Market</a:t>
            </a:r>
          </a:p>
        </p:txBody>
      </p:sp>
      <p:sp>
        <p:nvSpPr>
          <p:cNvPr id="23" name="Slide Number Placeholder 22"/>
          <p:cNvSpPr>
            <a:spLocks noGrp="1"/>
          </p:cNvSpPr>
          <p:nvPr>
            <p:ph type="sldNum" sz="quarter" idx="16"/>
          </p:nvPr>
        </p:nvSpPr>
        <p:spPr/>
        <p:txBody>
          <a:bodyPr/>
          <a:lstStyle/>
          <a:p>
            <a:fld id="{5F3E29E4-0979-4FCA-B4C5-5FC6044C982A}" type="slidenum">
              <a:rPr lang="en-US" smtClean="0"/>
              <a:t>‹#›</a:t>
            </a:fld>
            <a:endParaRPr lang="en-US"/>
          </a:p>
        </p:txBody>
      </p:sp>
      <p:sp>
        <p:nvSpPr>
          <p:cNvPr id="2" name="Title 1"/>
          <p:cNvSpPr>
            <a:spLocks noGrp="1"/>
          </p:cNvSpPr>
          <p:nvPr>
            <p:ph type="title" hasCustomPrompt="1"/>
          </p:nvPr>
        </p:nvSpPr>
        <p:spPr/>
        <p:txBody>
          <a:bodyPr/>
          <a:lstStyle>
            <a:lvl1pPr>
              <a:defRPr/>
            </a:lvl1pPr>
          </a:lstStyle>
          <a:p>
            <a:r>
              <a:rPr lang="en-US" dirty="0"/>
              <a:t>Click to add contact title</a:t>
            </a:r>
          </a:p>
        </p:txBody>
      </p:sp>
      <p:sp>
        <p:nvSpPr>
          <p:cNvPr id="7" name="Subtitle 2"/>
          <p:cNvSpPr>
            <a:spLocks noGrp="1"/>
          </p:cNvSpPr>
          <p:nvPr>
            <p:ph type="subTitle" idx="13" hasCustomPrompt="1"/>
          </p:nvPr>
        </p:nvSpPr>
        <p:spPr>
          <a:xfrm>
            <a:off x="1075061" y="964671"/>
            <a:ext cx="7910158" cy="490042"/>
          </a:xfrm>
        </p:spPr>
        <p:txBody>
          <a:bodyPr wrap="none"/>
          <a:lstStyle>
            <a:lvl1pPr marL="0" indent="0" algn="l">
              <a:spcBef>
                <a:spcPts val="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grpSp>
        <p:nvGrpSpPr>
          <p:cNvPr id="8" name="Gruppieren 80">
            <a:extLst>
              <a:ext uri="{FF2B5EF4-FFF2-40B4-BE49-F238E27FC236}">
                <a16:creationId xmlns:a16="http://schemas.microsoft.com/office/drawing/2014/main" id="{6B969E7B-9C39-4443-9B02-74C1E7C5CCAC}"/>
              </a:ext>
            </a:extLst>
          </p:cNvPr>
          <p:cNvGrpSpPr/>
          <p:nvPr/>
        </p:nvGrpSpPr>
        <p:grpSpPr>
          <a:xfrm>
            <a:off x="4451001" y="2884199"/>
            <a:ext cx="171180" cy="171180"/>
            <a:chOff x="3392092" y="1841122"/>
            <a:chExt cx="646508" cy="646508"/>
          </a:xfrm>
        </p:grpSpPr>
        <p:sp>
          <p:nvSpPr>
            <p:cNvPr id="9" name="Rechteck 14">
              <a:extLst>
                <a:ext uri="{FF2B5EF4-FFF2-40B4-BE49-F238E27FC236}">
                  <a16:creationId xmlns:a16="http://schemas.microsoft.com/office/drawing/2014/main" id="{D78F58EA-5525-8D43-8295-FEA52ECF6BFA}"/>
                </a:ext>
              </a:extLst>
            </p:cNvPr>
            <p:cNvSpPr>
              <a:spLocks noChangeAspect="1"/>
            </p:cNvSpPr>
            <p:nvPr/>
          </p:nvSpPr>
          <p:spPr bwMode="gray">
            <a:xfrm>
              <a:off x="3392092" y="1841122"/>
              <a:ext cx="646508" cy="646508"/>
            </a:xfrm>
            <a:prstGeom prst="rect">
              <a:avLst/>
            </a:prstGeom>
            <a:solidFill>
              <a:srgbClr val="E55A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pPr>
              <a:endParaRPr lang="en-US" sz="1000" dirty="0">
                <a:solidFill>
                  <a:schemeClr val="tx1"/>
                </a:solidFill>
                <a:latin typeface="Arial" pitchFamily="34" charset="0"/>
                <a:cs typeface="Arial" pitchFamily="34" charset="0"/>
              </a:endParaRPr>
            </a:p>
          </p:txBody>
        </p:sp>
        <p:sp>
          <p:nvSpPr>
            <p:cNvPr id="10" name="Freeform 67">
              <a:extLst>
                <a:ext uri="{FF2B5EF4-FFF2-40B4-BE49-F238E27FC236}">
                  <a16:creationId xmlns:a16="http://schemas.microsoft.com/office/drawing/2014/main" id="{D01A6292-2776-4945-B828-483D79DC4908}"/>
                </a:ext>
              </a:extLst>
            </p:cNvPr>
            <p:cNvSpPr>
              <a:spLocks noChangeAspect="1"/>
            </p:cNvSpPr>
            <p:nvPr/>
          </p:nvSpPr>
          <p:spPr bwMode="auto">
            <a:xfrm>
              <a:off x="3546638" y="1970424"/>
              <a:ext cx="337415" cy="387905"/>
            </a:xfrm>
            <a:custGeom>
              <a:avLst/>
              <a:gdLst>
                <a:gd name="T0" fmla="*/ 573 w 1624"/>
                <a:gd name="T1" fmla="*/ 1257 h 1867"/>
                <a:gd name="T2" fmla="*/ 662 w 1624"/>
                <a:gd name="T3" fmla="*/ 1288 h 1867"/>
                <a:gd name="T4" fmla="*/ 938 w 1624"/>
                <a:gd name="T5" fmla="*/ 1051 h 1867"/>
                <a:gd name="T6" fmla="*/ 1106 w 1624"/>
                <a:gd name="T7" fmla="*/ 731 h 1867"/>
                <a:gd name="T8" fmla="*/ 1059 w 1624"/>
                <a:gd name="T9" fmla="*/ 645 h 1867"/>
                <a:gd name="T10" fmla="*/ 1001 w 1624"/>
                <a:gd name="T11" fmla="*/ 613 h 1867"/>
                <a:gd name="T12" fmla="*/ 924 w 1624"/>
                <a:gd name="T13" fmla="*/ 432 h 1867"/>
                <a:gd name="T14" fmla="*/ 1114 w 1624"/>
                <a:gd name="T15" fmla="*/ 81 h 1867"/>
                <a:gd name="T16" fmla="*/ 1287 w 1624"/>
                <a:gd name="T17" fmla="*/ 35 h 1867"/>
                <a:gd name="T18" fmla="*/ 1350 w 1624"/>
                <a:gd name="T19" fmla="*/ 69 h 1867"/>
                <a:gd name="T20" fmla="*/ 1527 w 1624"/>
                <a:gd name="T21" fmla="*/ 235 h 1867"/>
                <a:gd name="T22" fmla="*/ 1583 w 1624"/>
                <a:gd name="T23" fmla="*/ 555 h 1867"/>
                <a:gd name="T24" fmla="*/ 1172 w 1624"/>
                <a:gd name="T25" fmla="*/ 1253 h 1867"/>
                <a:gd name="T26" fmla="*/ 586 w 1624"/>
                <a:gd name="T27" fmla="*/ 1803 h 1867"/>
                <a:gd name="T28" fmla="*/ 269 w 1624"/>
                <a:gd name="T29" fmla="*/ 1807 h 1867"/>
                <a:gd name="T30" fmla="*/ 33 w 1624"/>
                <a:gd name="T31" fmla="*/ 1602 h 1867"/>
                <a:gd name="T32" fmla="*/ 2 w 1624"/>
                <a:gd name="T33" fmla="*/ 1508 h 1867"/>
                <a:gd name="T34" fmla="*/ 45 w 1624"/>
                <a:gd name="T35" fmla="*/ 1421 h 1867"/>
                <a:gd name="T36" fmla="*/ 346 w 1624"/>
                <a:gd name="T37" fmla="*/ 1158 h 1867"/>
                <a:gd name="T38" fmla="*/ 448 w 1624"/>
                <a:gd name="T39" fmla="*/ 1145 h 1867"/>
                <a:gd name="T40" fmla="*/ 573 w 1624"/>
                <a:gd name="T41" fmla="*/ 1257 h 18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24" h="1867">
                  <a:moveTo>
                    <a:pt x="573" y="1257"/>
                  </a:moveTo>
                  <a:cubicBezTo>
                    <a:pt x="592" y="1282"/>
                    <a:pt x="630" y="1303"/>
                    <a:pt x="662" y="1288"/>
                  </a:cubicBezTo>
                  <a:cubicBezTo>
                    <a:pt x="753" y="1245"/>
                    <a:pt x="854" y="1156"/>
                    <a:pt x="938" y="1051"/>
                  </a:cubicBezTo>
                  <a:cubicBezTo>
                    <a:pt x="1020" y="948"/>
                    <a:pt x="1084" y="831"/>
                    <a:pt x="1106" y="731"/>
                  </a:cubicBezTo>
                  <a:cubicBezTo>
                    <a:pt x="1113" y="696"/>
                    <a:pt x="1089" y="661"/>
                    <a:pt x="1059" y="645"/>
                  </a:cubicBezTo>
                  <a:cubicBezTo>
                    <a:pt x="1001" y="613"/>
                    <a:pt x="1001" y="613"/>
                    <a:pt x="1001" y="613"/>
                  </a:cubicBezTo>
                  <a:cubicBezTo>
                    <a:pt x="942" y="580"/>
                    <a:pt x="888" y="499"/>
                    <a:pt x="924" y="432"/>
                  </a:cubicBezTo>
                  <a:cubicBezTo>
                    <a:pt x="1114" y="81"/>
                    <a:pt x="1114" y="81"/>
                    <a:pt x="1114" y="81"/>
                  </a:cubicBezTo>
                  <a:cubicBezTo>
                    <a:pt x="1150" y="16"/>
                    <a:pt x="1224" y="0"/>
                    <a:pt x="1287" y="35"/>
                  </a:cubicBezTo>
                  <a:cubicBezTo>
                    <a:pt x="1350" y="69"/>
                    <a:pt x="1350" y="69"/>
                    <a:pt x="1350" y="69"/>
                  </a:cubicBezTo>
                  <a:cubicBezTo>
                    <a:pt x="1415" y="105"/>
                    <a:pt x="1479" y="165"/>
                    <a:pt x="1527" y="235"/>
                  </a:cubicBezTo>
                  <a:cubicBezTo>
                    <a:pt x="1593" y="332"/>
                    <a:pt x="1624" y="442"/>
                    <a:pt x="1583" y="555"/>
                  </a:cubicBezTo>
                  <a:cubicBezTo>
                    <a:pt x="1500" y="781"/>
                    <a:pt x="1351" y="1030"/>
                    <a:pt x="1172" y="1253"/>
                  </a:cubicBezTo>
                  <a:cubicBezTo>
                    <a:pt x="994" y="1477"/>
                    <a:pt x="786" y="1676"/>
                    <a:pt x="586" y="1803"/>
                  </a:cubicBezTo>
                  <a:cubicBezTo>
                    <a:pt x="486" y="1867"/>
                    <a:pt x="375" y="1856"/>
                    <a:pt x="269" y="1807"/>
                  </a:cubicBezTo>
                  <a:cubicBezTo>
                    <a:pt x="157" y="1755"/>
                    <a:pt x="106" y="1695"/>
                    <a:pt x="33" y="1602"/>
                  </a:cubicBezTo>
                  <a:cubicBezTo>
                    <a:pt x="11" y="1573"/>
                    <a:pt x="0" y="1540"/>
                    <a:pt x="2" y="1508"/>
                  </a:cubicBezTo>
                  <a:cubicBezTo>
                    <a:pt x="4" y="1475"/>
                    <a:pt x="18" y="1444"/>
                    <a:pt x="45" y="1421"/>
                  </a:cubicBezTo>
                  <a:cubicBezTo>
                    <a:pt x="70" y="1399"/>
                    <a:pt x="346" y="1158"/>
                    <a:pt x="346" y="1158"/>
                  </a:cubicBezTo>
                  <a:cubicBezTo>
                    <a:pt x="376" y="1134"/>
                    <a:pt x="413" y="1133"/>
                    <a:pt x="448" y="1145"/>
                  </a:cubicBezTo>
                  <a:cubicBezTo>
                    <a:pt x="510" y="1166"/>
                    <a:pt x="536" y="1210"/>
                    <a:pt x="573" y="1257"/>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351" dirty="0"/>
            </a:p>
          </p:txBody>
        </p:sp>
      </p:grpSp>
      <p:grpSp>
        <p:nvGrpSpPr>
          <p:cNvPr id="11" name="Group 3">
            <a:extLst>
              <a:ext uri="{FF2B5EF4-FFF2-40B4-BE49-F238E27FC236}">
                <a16:creationId xmlns:a16="http://schemas.microsoft.com/office/drawing/2014/main" id="{DED6A25A-5DE2-1441-8BA2-C68D3B4F9209}"/>
              </a:ext>
            </a:extLst>
          </p:cNvPr>
          <p:cNvGrpSpPr>
            <a:grpSpLocks noChangeAspect="1"/>
          </p:cNvGrpSpPr>
          <p:nvPr>
            <p:custDataLst>
              <p:tags r:id="rId1"/>
            </p:custDataLst>
          </p:nvPr>
        </p:nvGrpSpPr>
        <p:grpSpPr>
          <a:xfrm>
            <a:off x="4451002" y="3169087"/>
            <a:ext cx="171180" cy="171180"/>
            <a:chOff x="328396" y="5313940"/>
            <a:chExt cx="720000" cy="720000"/>
          </a:xfrm>
        </p:grpSpPr>
        <p:sp>
          <p:nvSpPr>
            <p:cNvPr id="12" name="Rectangle 4">
              <a:extLst>
                <a:ext uri="{FF2B5EF4-FFF2-40B4-BE49-F238E27FC236}">
                  <a16:creationId xmlns:a16="http://schemas.microsoft.com/office/drawing/2014/main" id="{5F49E67F-D4FA-9D48-96BC-59AE946ECD15}"/>
                </a:ext>
              </a:extLst>
            </p:cNvPr>
            <p:cNvSpPr/>
            <p:nvPr/>
          </p:nvSpPr>
          <p:spPr bwMode="gray">
            <a:xfrm>
              <a:off x="328396" y="5313940"/>
              <a:ext cx="720000" cy="720000"/>
            </a:xfrm>
            <a:prstGeom prst="rect">
              <a:avLst/>
            </a:prstGeom>
            <a:solidFill>
              <a:srgbClr val="E55A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pPr>
              <a:endParaRPr lang="en-US" sz="1000" dirty="0">
                <a:solidFill>
                  <a:schemeClr val="tx1"/>
                </a:solidFill>
                <a:latin typeface="Arial" pitchFamily="34" charset="0"/>
                <a:cs typeface="Arial" pitchFamily="34" charset="0"/>
              </a:endParaRPr>
            </a:p>
          </p:txBody>
        </p:sp>
        <p:sp>
          <p:nvSpPr>
            <p:cNvPr id="13" name="Freeform 76">
              <a:extLst>
                <a:ext uri="{FF2B5EF4-FFF2-40B4-BE49-F238E27FC236}">
                  <a16:creationId xmlns:a16="http://schemas.microsoft.com/office/drawing/2014/main" id="{187E70E6-AF3F-2549-908E-DF4BA61040AA}"/>
                </a:ext>
              </a:extLst>
            </p:cNvPr>
            <p:cNvSpPr>
              <a:spLocks noChangeAspect="1" noEditPoints="1"/>
            </p:cNvSpPr>
            <p:nvPr/>
          </p:nvSpPr>
          <p:spPr bwMode="auto">
            <a:xfrm>
              <a:off x="456202" y="5509222"/>
              <a:ext cx="504000" cy="329436"/>
            </a:xfrm>
            <a:custGeom>
              <a:avLst/>
              <a:gdLst>
                <a:gd name="T0" fmla="*/ 0 w 2080"/>
                <a:gd name="T1" fmla="*/ 65 h 1360"/>
                <a:gd name="T2" fmla="*/ 0 w 2080"/>
                <a:gd name="T3" fmla="*/ 0 h 1360"/>
                <a:gd name="T4" fmla="*/ 2080 w 2080"/>
                <a:gd name="T5" fmla="*/ 0 h 1360"/>
                <a:gd name="T6" fmla="*/ 2080 w 2080"/>
                <a:gd name="T7" fmla="*/ 65 h 1360"/>
                <a:gd name="T8" fmla="*/ 1089 w 2080"/>
                <a:gd name="T9" fmla="*/ 862 h 1360"/>
                <a:gd name="T10" fmla="*/ 991 w 2080"/>
                <a:gd name="T11" fmla="*/ 862 h 1360"/>
                <a:gd name="T12" fmla="*/ 0 w 2080"/>
                <a:gd name="T13" fmla="*/ 65 h 1360"/>
                <a:gd name="T14" fmla="*/ 1139 w 2080"/>
                <a:gd name="T15" fmla="*/ 924 h 1360"/>
                <a:gd name="T16" fmla="*/ 1282 w 2080"/>
                <a:gd name="T17" fmla="*/ 810 h 1360"/>
                <a:gd name="T18" fmla="*/ 2076 w 2080"/>
                <a:gd name="T19" fmla="*/ 1360 h 1360"/>
                <a:gd name="T20" fmla="*/ 4 w 2080"/>
                <a:gd name="T21" fmla="*/ 1360 h 1360"/>
                <a:gd name="T22" fmla="*/ 798 w 2080"/>
                <a:gd name="T23" fmla="*/ 810 h 1360"/>
                <a:gd name="T24" fmla="*/ 941 w 2080"/>
                <a:gd name="T25" fmla="*/ 924 h 1360"/>
                <a:gd name="T26" fmla="*/ 1139 w 2080"/>
                <a:gd name="T27" fmla="*/ 924 h 1360"/>
                <a:gd name="T28" fmla="*/ 2 w 2080"/>
                <a:gd name="T29" fmla="*/ 137 h 1360"/>
                <a:gd name="T30" fmla="*/ 42 w 2080"/>
                <a:gd name="T31" fmla="*/ 201 h 1360"/>
                <a:gd name="T32" fmla="*/ 734 w 2080"/>
                <a:gd name="T33" fmla="*/ 758 h 1360"/>
                <a:gd name="T34" fmla="*/ 0 w 2080"/>
                <a:gd name="T35" fmla="*/ 1266 h 1360"/>
                <a:gd name="T36" fmla="*/ 0 w 2080"/>
                <a:gd name="T37" fmla="*/ 135 h 1360"/>
                <a:gd name="T38" fmla="*/ 2 w 2080"/>
                <a:gd name="T39" fmla="*/ 137 h 1360"/>
                <a:gd name="T40" fmla="*/ 2080 w 2080"/>
                <a:gd name="T41" fmla="*/ 136 h 1360"/>
                <a:gd name="T42" fmla="*/ 2080 w 2080"/>
                <a:gd name="T43" fmla="*/ 1265 h 1360"/>
                <a:gd name="T44" fmla="*/ 1346 w 2080"/>
                <a:gd name="T45" fmla="*/ 758 h 1360"/>
                <a:gd name="T46" fmla="*/ 2038 w 2080"/>
                <a:gd name="T47" fmla="*/ 201 h 1360"/>
                <a:gd name="T48" fmla="*/ 2080 w 2080"/>
                <a:gd name="T49" fmla="*/ 136 h 1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080" h="1360">
                  <a:moveTo>
                    <a:pt x="0" y="65"/>
                  </a:moveTo>
                  <a:cubicBezTo>
                    <a:pt x="0" y="0"/>
                    <a:pt x="0" y="0"/>
                    <a:pt x="0" y="0"/>
                  </a:cubicBezTo>
                  <a:cubicBezTo>
                    <a:pt x="2080" y="0"/>
                    <a:pt x="2080" y="0"/>
                    <a:pt x="2080" y="0"/>
                  </a:cubicBezTo>
                  <a:cubicBezTo>
                    <a:pt x="2080" y="65"/>
                    <a:pt x="2080" y="65"/>
                    <a:pt x="2080" y="65"/>
                  </a:cubicBezTo>
                  <a:cubicBezTo>
                    <a:pt x="1089" y="862"/>
                    <a:pt x="1089" y="862"/>
                    <a:pt x="1089" y="862"/>
                  </a:cubicBezTo>
                  <a:cubicBezTo>
                    <a:pt x="1060" y="886"/>
                    <a:pt x="1020" y="886"/>
                    <a:pt x="991" y="862"/>
                  </a:cubicBezTo>
                  <a:lnTo>
                    <a:pt x="0" y="65"/>
                  </a:lnTo>
                  <a:close/>
                  <a:moveTo>
                    <a:pt x="1139" y="924"/>
                  </a:moveTo>
                  <a:cubicBezTo>
                    <a:pt x="1282" y="810"/>
                    <a:pt x="1282" y="810"/>
                    <a:pt x="1282" y="810"/>
                  </a:cubicBezTo>
                  <a:cubicBezTo>
                    <a:pt x="2076" y="1360"/>
                    <a:pt x="2076" y="1360"/>
                    <a:pt x="2076" y="1360"/>
                  </a:cubicBezTo>
                  <a:cubicBezTo>
                    <a:pt x="4" y="1360"/>
                    <a:pt x="4" y="1360"/>
                    <a:pt x="4" y="1360"/>
                  </a:cubicBezTo>
                  <a:cubicBezTo>
                    <a:pt x="798" y="810"/>
                    <a:pt x="798" y="810"/>
                    <a:pt x="798" y="810"/>
                  </a:cubicBezTo>
                  <a:cubicBezTo>
                    <a:pt x="941" y="924"/>
                    <a:pt x="941" y="924"/>
                    <a:pt x="941" y="924"/>
                  </a:cubicBezTo>
                  <a:cubicBezTo>
                    <a:pt x="1000" y="972"/>
                    <a:pt x="1080" y="972"/>
                    <a:pt x="1139" y="924"/>
                  </a:cubicBezTo>
                  <a:close/>
                  <a:moveTo>
                    <a:pt x="2" y="137"/>
                  </a:moveTo>
                  <a:cubicBezTo>
                    <a:pt x="8" y="163"/>
                    <a:pt x="22" y="185"/>
                    <a:pt x="42" y="201"/>
                  </a:cubicBezTo>
                  <a:cubicBezTo>
                    <a:pt x="734" y="758"/>
                    <a:pt x="734" y="758"/>
                    <a:pt x="734" y="758"/>
                  </a:cubicBezTo>
                  <a:cubicBezTo>
                    <a:pt x="0" y="1266"/>
                    <a:pt x="0" y="1266"/>
                    <a:pt x="0" y="1266"/>
                  </a:cubicBezTo>
                  <a:cubicBezTo>
                    <a:pt x="0" y="135"/>
                    <a:pt x="0" y="135"/>
                    <a:pt x="0" y="135"/>
                  </a:cubicBezTo>
                  <a:lnTo>
                    <a:pt x="2" y="137"/>
                  </a:lnTo>
                  <a:close/>
                  <a:moveTo>
                    <a:pt x="2080" y="136"/>
                  </a:moveTo>
                  <a:cubicBezTo>
                    <a:pt x="2080" y="1265"/>
                    <a:pt x="2080" y="1265"/>
                    <a:pt x="2080" y="1265"/>
                  </a:cubicBezTo>
                  <a:cubicBezTo>
                    <a:pt x="1346" y="758"/>
                    <a:pt x="1346" y="758"/>
                    <a:pt x="1346" y="758"/>
                  </a:cubicBezTo>
                  <a:cubicBezTo>
                    <a:pt x="2038" y="201"/>
                    <a:pt x="2038" y="201"/>
                    <a:pt x="2038" y="201"/>
                  </a:cubicBezTo>
                  <a:cubicBezTo>
                    <a:pt x="2060" y="182"/>
                    <a:pt x="2072" y="162"/>
                    <a:pt x="2080" y="13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000"/>
            </a:p>
          </p:txBody>
        </p:sp>
      </p:grpSp>
      <p:cxnSp>
        <p:nvCxnSpPr>
          <p:cNvPr id="20" name="Straight Connector 19"/>
          <p:cNvCxnSpPr/>
          <p:nvPr/>
        </p:nvCxnSpPr>
        <p:spPr>
          <a:xfrm>
            <a:off x="4451001" y="3494093"/>
            <a:ext cx="2463190" cy="0"/>
          </a:xfrm>
          <a:prstGeom prst="line">
            <a:avLst/>
          </a:prstGeom>
          <a:ln w="6350">
            <a:solidFill>
              <a:schemeClr val="tx2"/>
            </a:solidFill>
            <a:prstDash val="dash"/>
          </a:ln>
        </p:spPr>
        <p:style>
          <a:lnRef idx="1">
            <a:schemeClr val="accent1"/>
          </a:lnRef>
          <a:fillRef idx="0">
            <a:schemeClr val="accent1"/>
          </a:fillRef>
          <a:effectRef idx="0">
            <a:schemeClr val="accent1"/>
          </a:effectRef>
          <a:fontRef idx="minor">
            <a:schemeClr val="tx1"/>
          </a:fontRef>
        </p:style>
      </p:cxnSp>
      <p:sp>
        <p:nvSpPr>
          <p:cNvPr id="6" name="Text Placeholder 5"/>
          <p:cNvSpPr>
            <a:spLocks noGrp="1"/>
          </p:cNvSpPr>
          <p:nvPr>
            <p:ph type="body" sz="quarter" idx="19" hasCustomPrompt="1"/>
          </p:nvPr>
        </p:nvSpPr>
        <p:spPr>
          <a:xfrm>
            <a:off x="4451001" y="1824401"/>
            <a:ext cx="2463190" cy="192360"/>
          </a:xfrm>
        </p:spPr>
        <p:txBody>
          <a:bodyPr lIns="0" tIns="0" rIns="0" bIns="0" anchor="ctr" anchorCtr="0"/>
          <a:lstStyle>
            <a:lvl1pPr marL="0" indent="0" algn="l">
              <a:lnSpc>
                <a:spcPct val="100000"/>
              </a:lnSpc>
              <a:buNone/>
              <a:defRPr sz="100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Country</a:t>
            </a:r>
          </a:p>
        </p:txBody>
      </p:sp>
      <p:sp>
        <p:nvSpPr>
          <p:cNvPr id="26" name="Text Placeholder 5"/>
          <p:cNvSpPr>
            <a:spLocks noGrp="1"/>
          </p:cNvSpPr>
          <p:nvPr>
            <p:ph type="body" sz="quarter" idx="20" hasCustomPrompt="1"/>
          </p:nvPr>
        </p:nvSpPr>
        <p:spPr>
          <a:xfrm>
            <a:off x="4451001" y="2036217"/>
            <a:ext cx="2463190" cy="266182"/>
          </a:xfrm>
        </p:spPr>
        <p:txBody>
          <a:bodyPr lIns="0" tIns="0" rIns="0" bIns="0" anchor="b" anchorCtr="0"/>
          <a:lstStyle>
            <a:lvl1pPr marL="0" indent="0" algn="l">
              <a:lnSpc>
                <a:spcPct val="100000"/>
              </a:lnSpc>
              <a:buNone/>
              <a:defRPr sz="1400" b="1" baseline="0">
                <a:solidFill>
                  <a:schemeClr val="tx2"/>
                </a:solidFill>
              </a:defRPr>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Name, Surname</a:t>
            </a:r>
          </a:p>
        </p:txBody>
      </p:sp>
      <p:sp>
        <p:nvSpPr>
          <p:cNvPr id="27" name="Text Placeholder 5"/>
          <p:cNvSpPr>
            <a:spLocks noGrp="1"/>
          </p:cNvSpPr>
          <p:nvPr>
            <p:ph type="body" sz="quarter" idx="21" hasCustomPrompt="1"/>
          </p:nvPr>
        </p:nvSpPr>
        <p:spPr>
          <a:xfrm>
            <a:off x="4451001" y="2332792"/>
            <a:ext cx="2463190"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Job Position</a:t>
            </a:r>
          </a:p>
        </p:txBody>
      </p:sp>
      <p:sp>
        <p:nvSpPr>
          <p:cNvPr id="28" name="Text Placeholder 5"/>
          <p:cNvSpPr>
            <a:spLocks noGrp="1"/>
          </p:cNvSpPr>
          <p:nvPr>
            <p:ph type="body" sz="quarter" idx="22" hasCustomPrompt="1"/>
          </p:nvPr>
        </p:nvSpPr>
        <p:spPr>
          <a:xfrm>
            <a:off x="4695884" y="2861468"/>
            <a:ext cx="2218307"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Phone number</a:t>
            </a:r>
          </a:p>
        </p:txBody>
      </p:sp>
      <p:sp>
        <p:nvSpPr>
          <p:cNvPr id="29" name="Text Placeholder 5"/>
          <p:cNvSpPr>
            <a:spLocks noGrp="1"/>
          </p:cNvSpPr>
          <p:nvPr>
            <p:ph type="body" sz="quarter" idx="23" hasCustomPrompt="1"/>
          </p:nvPr>
        </p:nvSpPr>
        <p:spPr>
          <a:xfrm>
            <a:off x="4695884" y="3144275"/>
            <a:ext cx="2218307"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Email address</a:t>
            </a:r>
          </a:p>
        </p:txBody>
      </p:sp>
      <p:sp>
        <p:nvSpPr>
          <p:cNvPr id="35" name="Text Placeholder 34"/>
          <p:cNvSpPr>
            <a:spLocks noGrp="1"/>
          </p:cNvSpPr>
          <p:nvPr>
            <p:ph type="body" sz="quarter" idx="24" hasCustomPrompt="1"/>
          </p:nvPr>
        </p:nvSpPr>
        <p:spPr>
          <a:xfrm>
            <a:off x="4492626" y="3681413"/>
            <a:ext cx="4492594" cy="2087562"/>
          </a:xfrm>
        </p:spPr>
        <p:txBody>
          <a:bodyPr/>
          <a:lstStyle>
            <a:lvl1pPr>
              <a:defRPr sz="1400" baseline="0"/>
            </a:lvl1pPr>
            <a:lvl2pPr>
              <a:defRPr sz="1400"/>
            </a:lvl2pPr>
            <a:lvl3pPr>
              <a:defRPr sz="1400"/>
            </a:lvl3pPr>
            <a:lvl4pPr>
              <a:defRPr sz="1400"/>
            </a:lvl4pPr>
            <a:lvl5pPr>
              <a:defRPr sz="1400"/>
            </a:lvl5pPr>
          </a:lstStyle>
          <a:p>
            <a:pPr lvl="0"/>
            <a:r>
              <a:rPr lang="en-US" dirty="0"/>
              <a:t>Additional information (if needed)</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597338876"/>
      </p:ext>
    </p:extLst>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p:cSld name="Two contacts">
    <p:spTree>
      <p:nvGrpSpPr>
        <p:cNvPr id="1" name=""/>
        <p:cNvGrpSpPr/>
        <p:nvPr/>
      </p:nvGrpSpPr>
      <p:grpSpPr>
        <a:xfrm>
          <a:off x="0" y="0"/>
          <a:ext cx="0" cy="0"/>
          <a:chOff x="0" y="0"/>
          <a:chExt cx="0" cy="0"/>
        </a:xfrm>
      </p:grpSpPr>
      <p:sp>
        <p:nvSpPr>
          <p:cNvPr id="21" name="Date Placeholder 20"/>
          <p:cNvSpPr>
            <a:spLocks noGrp="1"/>
          </p:cNvSpPr>
          <p:nvPr>
            <p:ph type="dt" sz="half" idx="14"/>
          </p:nvPr>
        </p:nvSpPr>
        <p:spPr>
          <a:xfrm>
            <a:off x="192088" y="6461671"/>
            <a:ext cx="761512" cy="133790"/>
          </a:xfrm>
          <a:prstGeom prst="rect">
            <a:avLst/>
          </a:prstGeom>
        </p:spPr>
        <p:txBody>
          <a:bodyPr/>
          <a:lstStyle/>
          <a:p>
            <a:fld id="{3F4603FF-FCF6-4AE0-9349-4AF38C1FF5B2}" type="datetime5">
              <a:rPr lang="en-US" smtClean="0"/>
              <a:t>26-Jun-20</a:t>
            </a:fld>
            <a:endParaRPr lang="en-US"/>
          </a:p>
        </p:txBody>
      </p:sp>
      <p:sp>
        <p:nvSpPr>
          <p:cNvPr id="22" name="Footer Placeholder 21"/>
          <p:cNvSpPr>
            <a:spLocks noGrp="1"/>
          </p:cNvSpPr>
          <p:nvPr>
            <p:ph type="ftr" sz="quarter" idx="15"/>
          </p:nvPr>
        </p:nvSpPr>
        <p:spPr>
          <a:xfrm>
            <a:off x="1076400" y="6461671"/>
            <a:ext cx="8162717" cy="133790"/>
          </a:xfrm>
          <a:prstGeom prst="rect">
            <a:avLst/>
          </a:prstGeom>
        </p:spPr>
        <p:txBody>
          <a:bodyPr/>
          <a:lstStyle/>
          <a:p>
            <a:r>
              <a:rPr lang="en-US"/>
              <a:t>Title of presentation (Insert / Header &amp; Footer / Apply to All)</a:t>
            </a:r>
            <a:endParaRPr lang="en-US" dirty="0"/>
          </a:p>
        </p:txBody>
      </p:sp>
      <p:sp>
        <p:nvSpPr>
          <p:cNvPr id="23" name="Slide Number Placeholder 22"/>
          <p:cNvSpPr>
            <a:spLocks noGrp="1"/>
          </p:cNvSpPr>
          <p:nvPr>
            <p:ph type="sldNum" sz="quarter" idx="16"/>
          </p:nvPr>
        </p:nvSpPr>
        <p:spPr/>
        <p:txBody>
          <a:bodyPr/>
          <a:lstStyle/>
          <a:p>
            <a:fld id="{5F3E29E4-0979-4FCA-B4C5-5FC6044C982A}" type="slidenum">
              <a:rPr lang="en-US" smtClean="0"/>
              <a:t>‹#›</a:t>
            </a:fld>
            <a:endParaRPr lang="en-US"/>
          </a:p>
        </p:txBody>
      </p:sp>
      <p:sp>
        <p:nvSpPr>
          <p:cNvPr id="2" name="Title 1"/>
          <p:cNvSpPr>
            <a:spLocks noGrp="1"/>
          </p:cNvSpPr>
          <p:nvPr>
            <p:ph type="title" hasCustomPrompt="1"/>
          </p:nvPr>
        </p:nvSpPr>
        <p:spPr/>
        <p:txBody>
          <a:bodyPr/>
          <a:lstStyle>
            <a:lvl1pPr>
              <a:defRPr/>
            </a:lvl1pPr>
          </a:lstStyle>
          <a:p>
            <a:r>
              <a:rPr lang="en-US" dirty="0"/>
              <a:t>Click to add contact title</a:t>
            </a:r>
          </a:p>
        </p:txBody>
      </p:sp>
      <p:sp>
        <p:nvSpPr>
          <p:cNvPr id="7" name="Subtitle 2"/>
          <p:cNvSpPr>
            <a:spLocks noGrp="1"/>
          </p:cNvSpPr>
          <p:nvPr>
            <p:ph type="subTitle" idx="13" hasCustomPrompt="1"/>
          </p:nvPr>
        </p:nvSpPr>
        <p:spPr>
          <a:xfrm>
            <a:off x="1075061" y="964671"/>
            <a:ext cx="7910158" cy="490042"/>
          </a:xfrm>
        </p:spPr>
        <p:txBody>
          <a:bodyPr wrap="none"/>
          <a:lstStyle>
            <a:lvl1pPr marL="0" indent="0" algn="l">
              <a:spcBef>
                <a:spcPts val="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grpSp>
        <p:nvGrpSpPr>
          <p:cNvPr id="8" name="Gruppieren 80">
            <a:extLst>
              <a:ext uri="{FF2B5EF4-FFF2-40B4-BE49-F238E27FC236}">
                <a16:creationId xmlns:a16="http://schemas.microsoft.com/office/drawing/2014/main" id="{6B969E7B-9C39-4443-9B02-74C1E7C5CCAC}"/>
              </a:ext>
            </a:extLst>
          </p:cNvPr>
          <p:cNvGrpSpPr/>
          <p:nvPr/>
        </p:nvGrpSpPr>
        <p:grpSpPr>
          <a:xfrm>
            <a:off x="3770065" y="2868319"/>
            <a:ext cx="171180" cy="171180"/>
            <a:chOff x="3392092" y="1841122"/>
            <a:chExt cx="646508" cy="646508"/>
          </a:xfrm>
        </p:grpSpPr>
        <p:sp>
          <p:nvSpPr>
            <p:cNvPr id="9" name="Rechteck 14">
              <a:extLst>
                <a:ext uri="{FF2B5EF4-FFF2-40B4-BE49-F238E27FC236}">
                  <a16:creationId xmlns:a16="http://schemas.microsoft.com/office/drawing/2014/main" id="{D78F58EA-5525-8D43-8295-FEA52ECF6BFA}"/>
                </a:ext>
              </a:extLst>
            </p:cNvPr>
            <p:cNvSpPr>
              <a:spLocks noChangeAspect="1"/>
            </p:cNvSpPr>
            <p:nvPr/>
          </p:nvSpPr>
          <p:spPr bwMode="gray">
            <a:xfrm>
              <a:off x="3392092" y="1841122"/>
              <a:ext cx="646508" cy="646508"/>
            </a:xfrm>
            <a:prstGeom prst="rect">
              <a:avLst/>
            </a:prstGeom>
            <a:solidFill>
              <a:srgbClr val="E55A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pPr>
              <a:endParaRPr lang="en-US" sz="1000" dirty="0">
                <a:solidFill>
                  <a:schemeClr val="tx1"/>
                </a:solidFill>
                <a:latin typeface="Arial" pitchFamily="34" charset="0"/>
                <a:cs typeface="Arial" pitchFamily="34" charset="0"/>
              </a:endParaRPr>
            </a:p>
          </p:txBody>
        </p:sp>
        <p:sp>
          <p:nvSpPr>
            <p:cNvPr id="10" name="Freeform 67">
              <a:extLst>
                <a:ext uri="{FF2B5EF4-FFF2-40B4-BE49-F238E27FC236}">
                  <a16:creationId xmlns:a16="http://schemas.microsoft.com/office/drawing/2014/main" id="{D01A6292-2776-4945-B828-483D79DC4908}"/>
                </a:ext>
              </a:extLst>
            </p:cNvPr>
            <p:cNvSpPr>
              <a:spLocks noChangeAspect="1"/>
            </p:cNvSpPr>
            <p:nvPr/>
          </p:nvSpPr>
          <p:spPr bwMode="auto">
            <a:xfrm>
              <a:off x="3546638" y="1970424"/>
              <a:ext cx="337415" cy="387905"/>
            </a:xfrm>
            <a:custGeom>
              <a:avLst/>
              <a:gdLst>
                <a:gd name="T0" fmla="*/ 573 w 1624"/>
                <a:gd name="T1" fmla="*/ 1257 h 1867"/>
                <a:gd name="T2" fmla="*/ 662 w 1624"/>
                <a:gd name="T3" fmla="*/ 1288 h 1867"/>
                <a:gd name="T4" fmla="*/ 938 w 1624"/>
                <a:gd name="T5" fmla="*/ 1051 h 1867"/>
                <a:gd name="T6" fmla="*/ 1106 w 1624"/>
                <a:gd name="T7" fmla="*/ 731 h 1867"/>
                <a:gd name="T8" fmla="*/ 1059 w 1624"/>
                <a:gd name="T9" fmla="*/ 645 h 1867"/>
                <a:gd name="T10" fmla="*/ 1001 w 1624"/>
                <a:gd name="T11" fmla="*/ 613 h 1867"/>
                <a:gd name="T12" fmla="*/ 924 w 1624"/>
                <a:gd name="T13" fmla="*/ 432 h 1867"/>
                <a:gd name="T14" fmla="*/ 1114 w 1624"/>
                <a:gd name="T15" fmla="*/ 81 h 1867"/>
                <a:gd name="T16" fmla="*/ 1287 w 1624"/>
                <a:gd name="T17" fmla="*/ 35 h 1867"/>
                <a:gd name="T18" fmla="*/ 1350 w 1624"/>
                <a:gd name="T19" fmla="*/ 69 h 1867"/>
                <a:gd name="T20" fmla="*/ 1527 w 1624"/>
                <a:gd name="T21" fmla="*/ 235 h 1867"/>
                <a:gd name="T22" fmla="*/ 1583 w 1624"/>
                <a:gd name="T23" fmla="*/ 555 h 1867"/>
                <a:gd name="T24" fmla="*/ 1172 w 1624"/>
                <a:gd name="T25" fmla="*/ 1253 h 1867"/>
                <a:gd name="T26" fmla="*/ 586 w 1624"/>
                <a:gd name="T27" fmla="*/ 1803 h 1867"/>
                <a:gd name="T28" fmla="*/ 269 w 1624"/>
                <a:gd name="T29" fmla="*/ 1807 h 1867"/>
                <a:gd name="T30" fmla="*/ 33 w 1624"/>
                <a:gd name="T31" fmla="*/ 1602 h 1867"/>
                <a:gd name="T32" fmla="*/ 2 w 1624"/>
                <a:gd name="T33" fmla="*/ 1508 h 1867"/>
                <a:gd name="T34" fmla="*/ 45 w 1624"/>
                <a:gd name="T35" fmla="*/ 1421 h 1867"/>
                <a:gd name="T36" fmla="*/ 346 w 1624"/>
                <a:gd name="T37" fmla="*/ 1158 h 1867"/>
                <a:gd name="T38" fmla="*/ 448 w 1624"/>
                <a:gd name="T39" fmla="*/ 1145 h 1867"/>
                <a:gd name="T40" fmla="*/ 573 w 1624"/>
                <a:gd name="T41" fmla="*/ 1257 h 18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24" h="1867">
                  <a:moveTo>
                    <a:pt x="573" y="1257"/>
                  </a:moveTo>
                  <a:cubicBezTo>
                    <a:pt x="592" y="1282"/>
                    <a:pt x="630" y="1303"/>
                    <a:pt x="662" y="1288"/>
                  </a:cubicBezTo>
                  <a:cubicBezTo>
                    <a:pt x="753" y="1245"/>
                    <a:pt x="854" y="1156"/>
                    <a:pt x="938" y="1051"/>
                  </a:cubicBezTo>
                  <a:cubicBezTo>
                    <a:pt x="1020" y="948"/>
                    <a:pt x="1084" y="831"/>
                    <a:pt x="1106" y="731"/>
                  </a:cubicBezTo>
                  <a:cubicBezTo>
                    <a:pt x="1113" y="696"/>
                    <a:pt x="1089" y="661"/>
                    <a:pt x="1059" y="645"/>
                  </a:cubicBezTo>
                  <a:cubicBezTo>
                    <a:pt x="1001" y="613"/>
                    <a:pt x="1001" y="613"/>
                    <a:pt x="1001" y="613"/>
                  </a:cubicBezTo>
                  <a:cubicBezTo>
                    <a:pt x="942" y="580"/>
                    <a:pt x="888" y="499"/>
                    <a:pt x="924" y="432"/>
                  </a:cubicBezTo>
                  <a:cubicBezTo>
                    <a:pt x="1114" y="81"/>
                    <a:pt x="1114" y="81"/>
                    <a:pt x="1114" y="81"/>
                  </a:cubicBezTo>
                  <a:cubicBezTo>
                    <a:pt x="1150" y="16"/>
                    <a:pt x="1224" y="0"/>
                    <a:pt x="1287" y="35"/>
                  </a:cubicBezTo>
                  <a:cubicBezTo>
                    <a:pt x="1350" y="69"/>
                    <a:pt x="1350" y="69"/>
                    <a:pt x="1350" y="69"/>
                  </a:cubicBezTo>
                  <a:cubicBezTo>
                    <a:pt x="1415" y="105"/>
                    <a:pt x="1479" y="165"/>
                    <a:pt x="1527" y="235"/>
                  </a:cubicBezTo>
                  <a:cubicBezTo>
                    <a:pt x="1593" y="332"/>
                    <a:pt x="1624" y="442"/>
                    <a:pt x="1583" y="555"/>
                  </a:cubicBezTo>
                  <a:cubicBezTo>
                    <a:pt x="1500" y="781"/>
                    <a:pt x="1351" y="1030"/>
                    <a:pt x="1172" y="1253"/>
                  </a:cubicBezTo>
                  <a:cubicBezTo>
                    <a:pt x="994" y="1477"/>
                    <a:pt x="786" y="1676"/>
                    <a:pt x="586" y="1803"/>
                  </a:cubicBezTo>
                  <a:cubicBezTo>
                    <a:pt x="486" y="1867"/>
                    <a:pt x="375" y="1856"/>
                    <a:pt x="269" y="1807"/>
                  </a:cubicBezTo>
                  <a:cubicBezTo>
                    <a:pt x="157" y="1755"/>
                    <a:pt x="106" y="1695"/>
                    <a:pt x="33" y="1602"/>
                  </a:cubicBezTo>
                  <a:cubicBezTo>
                    <a:pt x="11" y="1573"/>
                    <a:pt x="0" y="1540"/>
                    <a:pt x="2" y="1508"/>
                  </a:cubicBezTo>
                  <a:cubicBezTo>
                    <a:pt x="4" y="1475"/>
                    <a:pt x="18" y="1444"/>
                    <a:pt x="45" y="1421"/>
                  </a:cubicBezTo>
                  <a:cubicBezTo>
                    <a:pt x="70" y="1399"/>
                    <a:pt x="346" y="1158"/>
                    <a:pt x="346" y="1158"/>
                  </a:cubicBezTo>
                  <a:cubicBezTo>
                    <a:pt x="376" y="1134"/>
                    <a:pt x="413" y="1133"/>
                    <a:pt x="448" y="1145"/>
                  </a:cubicBezTo>
                  <a:cubicBezTo>
                    <a:pt x="510" y="1166"/>
                    <a:pt x="536" y="1210"/>
                    <a:pt x="573" y="1257"/>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351" dirty="0"/>
            </a:p>
          </p:txBody>
        </p:sp>
      </p:grpSp>
      <p:grpSp>
        <p:nvGrpSpPr>
          <p:cNvPr id="11" name="Group 3">
            <a:extLst>
              <a:ext uri="{FF2B5EF4-FFF2-40B4-BE49-F238E27FC236}">
                <a16:creationId xmlns:a16="http://schemas.microsoft.com/office/drawing/2014/main" id="{DED6A25A-5DE2-1441-8BA2-C68D3B4F9209}"/>
              </a:ext>
            </a:extLst>
          </p:cNvPr>
          <p:cNvGrpSpPr>
            <a:grpSpLocks noChangeAspect="1"/>
          </p:cNvGrpSpPr>
          <p:nvPr>
            <p:custDataLst>
              <p:tags r:id="rId1"/>
            </p:custDataLst>
          </p:nvPr>
        </p:nvGrpSpPr>
        <p:grpSpPr>
          <a:xfrm>
            <a:off x="3770066" y="3153207"/>
            <a:ext cx="171180" cy="171180"/>
            <a:chOff x="328396" y="5313940"/>
            <a:chExt cx="720000" cy="720000"/>
          </a:xfrm>
        </p:grpSpPr>
        <p:sp>
          <p:nvSpPr>
            <p:cNvPr id="12" name="Rectangle 4">
              <a:extLst>
                <a:ext uri="{FF2B5EF4-FFF2-40B4-BE49-F238E27FC236}">
                  <a16:creationId xmlns:a16="http://schemas.microsoft.com/office/drawing/2014/main" id="{5F49E67F-D4FA-9D48-96BC-59AE946ECD15}"/>
                </a:ext>
              </a:extLst>
            </p:cNvPr>
            <p:cNvSpPr/>
            <p:nvPr/>
          </p:nvSpPr>
          <p:spPr bwMode="gray">
            <a:xfrm>
              <a:off x="328396" y="5313940"/>
              <a:ext cx="720000" cy="720000"/>
            </a:xfrm>
            <a:prstGeom prst="rect">
              <a:avLst/>
            </a:prstGeom>
            <a:solidFill>
              <a:srgbClr val="E55A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pPr>
              <a:endParaRPr lang="en-US" sz="1000" dirty="0">
                <a:solidFill>
                  <a:schemeClr val="tx1"/>
                </a:solidFill>
                <a:latin typeface="Arial" pitchFamily="34" charset="0"/>
                <a:cs typeface="Arial" pitchFamily="34" charset="0"/>
              </a:endParaRPr>
            </a:p>
          </p:txBody>
        </p:sp>
        <p:sp>
          <p:nvSpPr>
            <p:cNvPr id="13" name="Freeform 76">
              <a:extLst>
                <a:ext uri="{FF2B5EF4-FFF2-40B4-BE49-F238E27FC236}">
                  <a16:creationId xmlns:a16="http://schemas.microsoft.com/office/drawing/2014/main" id="{187E70E6-AF3F-2549-908E-DF4BA61040AA}"/>
                </a:ext>
              </a:extLst>
            </p:cNvPr>
            <p:cNvSpPr>
              <a:spLocks noChangeAspect="1" noEditPoints="1"/>
            </p:cNvSpPr>
            <p:nvPr/>
          </p:nvSpPr>
          <p:spPr bwMode="auto">
            <a:xfrm>
              <a:off x="456202" y="5509222"/>
              <a:ext cx="504000" cy="329436"/>
            </a:xfrm>
            <a:custGeom>
              <a:avLst/>
              <a:gdLst>
                <a:gd name="T0" fmla="*/ 0 w 2080"/>
                <a:gd name="T1" fmla="*/ 65 h 1360"/>
                <a:gd name="T2" fmla="*/ 0 w 2080"/>
                <a:gd name="T3" fmla="*/ 0 h 1360"/>
                <a:gd name="T4" fmla="*/ 2080 w 2080"/>
                <a:gd name="T5" fmla="*/ 0 h 1360"/>
                <a:gd name="T6" fmla="*/ 2080 w 2080"/>
                <a:gd name="T7" fmla="*/ 65 h 1360"/>
                <a:gd name="T8" fmla="*/ 1089 w 2080"/>
                <a:gd name="T9" fmla="*/ 862 h 1360"/>
                <a:gd name="T10" fmla="*/ 991 w 2080"/>
                <a:gd name="T11" fmla="*/ 862 h 1360"/>
                <a:gd name="T12" fmla="*/ 0 w 2080"/>
                <a:gd name="T13" fmla="*/ 65 h 1360"/>
                <a:gd name="T14" fmla="*/ 1139 w 2080"/>
                <a:gd name="T15" fmla="*/ 924 h 1360"/>
                <a:gd name="T16" fmla="*/ 1282 w 2080"/>
                <a:gd name="T17" fmla="*/ 810 h 1360"/>
                <a:gd name="T18" fmla="*/ 2076 w 2080"/>
                <a:gd name="T19" fmla="*/ 1360 h 1360"/>
                <a:gd name="T20" fmla="*/ 4 w 2080"/>
                <a:gd name="T21" fmla="*/ 1360 h 1360"/>
                <a:gd name="T22" fmla="*/ 798 w 2080"/>
                <a:gd name="T23" fmla="*/ 810 h 1360"/>
                <a:gd name="T24" fmla="*/ 941 w 2080"/>
                <a:gd name="T25" fmla="*/ 924 h 1360"/>
                <a:gd name="T26" fmla="*/ 1139 w 2080"/>
                <a:gd name="T27" fmla="*/ 924 h 1360"/>
                <a:gd name="T28" fmla="*/ 2 w 2080"/>
                <a:gd name="T29" fmla="*/ 137 h 1360"/>
                <a:gd name="T30" fmla="*/ 42 w 2080"/>
                <a:gd name="T31" fmla="*/ 201 h 1360"/>
                <a:gd name="T32" fmla="*/ 734 w 2080"/>
                <a:gd name="T33" fmla="*/ 758 h 1360"/>
                <a:gd name="T34" fmla="*/ 0 w 2080"/>
                <a:gd name="T35" fmla="*/ 1266 h 1360"/>
                <a:gd name="T36" fmla="*/ 0 w 2080"/>
                <a:gd name="T37" fmla="*/ 135 h 1360"/>
                <a:gd name="T38" fmla="*/ 2 w 2080"/>
                <a:gd name="T39" fmla="*/ 137 h 1360"/>
                <a:gd name="T40" fmla="*/ 2080 w 2080"/>
                <a:gd name="T41" fmla="*/ 136 h 1360"/>
                <a:gd name="T42" fmla="*/ 2080 w 2080"/>
                <a:gd name="T43" fmla="*/ 1265 h 1360"/>
                <a:gd name="T44" fmla="*/ 1346 w 2080"/>
                <a:gd name="T45" fmla="*/ 758 h 1360"/>
                <a:gd name="T46" fmla="*/ 2038 w 2080"/>
                <a:gd name="T47" fmla="*/ 201 h 1360"/>
                <a:gd name="T48" fmla="*/ 2080 w 2080"/>
                <a:gd name="T49" fmla="*/ 136 h 1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080" h="1360">
                  <a:moveTo>
                    <a:pt x="0" y="65"/>
                  </a:moveTo>
                  <a:cubicBezTo>
                    <a:pt x="0" y="0"/>
                    <a:pt x="0" y="0"/>
                    <a:pt x="0" y="0"/>
                  </a:cubicBezTo>
                  <a:cubicBezTo>
                    <a:pt x="2080" y="0"/>
                    <a:pt x="2080" y="0"/>
                    <a:pt x="2080" y="0"/>
                  </a:cubicBezTo>
                  <a:cubicBezTo>
                    <a:pt x="2080" y="65"/>
                    <a:pt x="2080" y="65"/>
                    <a:pt x="2080" y="65"/>
                  </a:cubicBezTo>
                  <a:cubicBezTo>
                    <a:pt x="1089" y="862"/>
                    <a:pt x="1089" y="862"/>
                    <a:pt x="1089" y="862"/>
                  </a:cubicBezTo>
                  <a:cubicBezTo>
                    <a:pt x="1060" y="886"/>
                    <a:pt x="1020" y="886"/>
                    <a:pt x="991" y="862"/>
                  </a:cubicBezTo>
                  <a:lnTo>
                    <a:pt x="0" y="65"/>
                  </a:lnTo>
                  <a:close/>
                  <a:moveTo>
                    <a:pt x="1139" y="924"/>
                  </a:moveTo>
                  <a:cubicBezTo>
                    <a:pt x="1282" y="810"/>
                    <a:pt x="1282" y="810"/>
                    <a:pt x="1282" y="810"/>
                  </a:cubicBezTo>
                  <a:cubicBezTo>
                    <a:pt x="2076" y="1360"/>
                    <a:pt x="2076" y="1360"/>
                    <a:pt x="2076" y="1360"/>
                  </a:cubicBezTo>
                  <a:cubicBezTo>
                    <a:pt x="4" y="1360"/>
                    <a:pt x="4" y="1360"/>
                    <a:pt x="4" y="1360"/>
                  </a:cubicBezTo>
                  <a:cubicBezTo>
                    <a:pt x="798" y="810"/>
                    <a:pt x="798" y="810"/>
                    <a:pt x="798" y="810"/>
                  </a:cubicBezTo>
                  <a:cubicBezTo>
                    <a:pt x="941" y="924"/>
                    <a:pt x="941" y="924"/>
                    <a:pt x="941" y="924"/>
                  </a:cubicBezTo>
                  <a:cubicBezTo>
                    <a:pt x="1000" y="972"/>
                    <a:pt x="1080" y="972"/>
                    <a:pt x="1139" y="924"/>
                  </a:cubicBezTo>
                  <a:close/>
                  <a:moveTo>
                    <a:pt x="2" y="137"/>
                  </a:moveTo>
                  <a:cubicBezTo>
                    <a:pt x="8" y="163"/>
                    <a:pt x="22" y="185"/>
                    <a:pt x="42" y="201"/>
                  </a:cubicBezTo>
                  <a:cubicBezTo>
                    <a:pt x="734" y="758"/>
                    <a:pt x="734" y="758"/>
                    <a:pt x="734" y="758"/>
                  </a:cubicBezTo>
                  <a:cubicBezTo>
                    <a:pt x="0" y="1266"/>
                    <a:pt x="0" y="1266"/>
                    <a:pt x="0" y="1266"/>
                  </a:cubicBezTo>
                  <a:cubicBezTo>
                    <a:pt x="0" y="135"/>
                    <a:pt x="0" y="135"/>
                    <a:pt x="0" y="135"/>
                  </a:cubicBezTo>
                  <a:lnTo>
                    <a:pt x="2" y="137"/>
                  </a:lnTo>
                  <a:close/>
                  <a:moveTo>
                    <a:pt x="2080" y="136"/>
                  </a:moveTo>
                  <a:cubicBezTo>
                    <a:pt x="2080" y="1265"/>
                    <a:pt x="2080" y="1265"/>
                    <a:pt x="2080" y="1265"/>
                  </a:cubicBezTo>
                  <a:cubicBezTo>
                    <a:pt x="1346" y="758"/>
                    <a:pt x="1346" y="758"/>
                    <a:pt x="1346" y="758"/>
                  </a:cubicBezTo>
                  <a:cubicBezTo>
                    <a:pt x="2038" y="201"/>
                    <a:pt x="2038" y="201"/>
                    <a:pt x="2038" y="201"/>
                  </a:cubicBezTo>
                  <a:cubicBezTo>
                    <a:pt x="2060" y="182"/>
                    <a:pt x="2072" y="162"/>
                    <a:pt x="2080" y="13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000"/>
            </a:p>
          </p:txBody>
        </p:sp>
      </p:grpSp>
      <p:grpSp>
        <p:nvGrpSpPr>
          <p:cNvPr id="14" name="Gruppieren 2">
            <a:extLst>
              <a:ext uri="{FF2B5EF4-FFF2-40B4-BE49-F238E27FC236}">
                <a16:creationId xmlns:a16="http://schemas.microsoft.com/office/drawing/2014/main" id="{BE697CE9-EBDE-6B4A-BE70-582D92A8A831}"/>
              </a:ext>
            </a:extLst>
          </p:cNvPr>
          <p:cNvGrpSpPr/>
          <p:nvPr/>
        </p:nvGrpSpPr>
        <p:grpSpPr>
          <a:xfrm>
            <a:off x="8701917" y="2868319"/>
            <a:ext cx="171180" cy="171180"/>
            <a:chOff x="3392092" y="1841122"/>
            <a:chExt cx="646508" cy="646508"/>
          </a:xfrm>
        </p:grpSpPr>
        <p:sp>
          <p:nvSpPr>
            <p:cNvPr id="15" name="Rechteck 14">
              <a:extLst>
                <a:ext uri="{FF2B5EF4-FFF2-40B4-BE49-F238E27FC236}">
                  <a16:creationId xmlns:a16="http://schemas.microsoft.com/office/drawing/2014/main" id="{E142A731-19B7-C34D-9534-9E05108F895F}"/>
                </a:ext>
              </a:extLst>
            </p:cNvPr>
            <p:cNvSpPr>
              <a:spLocks noChangeAspect="1"/>
            </p:cNvSpPr>
            <p:nvPr/>
          </p:nvSpPr>
          <p:spPr bwMode="gray">
            <a:xfrm>
              <a:off x="3392092" y="1841122"/>
              <a:ext cx="646508" cy="646508"/>
            </a:xfrm>
            <a:prstGeom prst="rect">
              <a:avLst/>
            </a:prstGeom>
            <a:solidFill>
              <a:srgbClr val="E55A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pPr>
              <a:endParaRPr lang="en-US" sz="1000" dirty="0">
                <a:solidFill>
                  <a:schemeClr val="tx1"/>
                </a:solidFill>
                <a:latin typeface="Arial" pitchFamily="34" charset="0"/>
                <a:cs typeface="Arial" pitchFamily="34" charset="0"/>
              </a:endParaRPr>
            </a:p>
          </p:txBody>
        </p:sp>
        <p:sp>
          <p:nvSpPr>
            <p:cNvPr id="16" name="Freeform 15">
              <a:extLst>
                <a:ext uri="{FF2B5EF4-FFF2-40B4-BE49-F238E27FC236}">
                  <a16:creationId xmlns:a16="http://schemas.microsoft.com/office/drawing/2014/main" id="{F97E84AE-4AD9-4B44-9AA1-F797FC373809}"/>
                </a:ext>
              </a:extLst>
            </p:cNvPr>
            <p:cNvSpPr>
              <a:spLocks noChangeAspect="1"/>
            </p:cNvSpPr>
            <p:nvPr/>
          </p:nvSpPr>
          <p:spPr bwMode="auto">
            <a:xfrm>
              <a:off x="3546638" y="1970424"/>
              <a:ext cx="337415" cy="387905"/>
            </a:xfrm>
            <a:custGeom>
              <a:avLst/>
              <a:gdLst>
                <a:gd name="T0" fmla="*/ 573 w 1624"/>
                <a:gd name="T1" fmla="*/ 1257 h 1867"/>
                <a:gd name="T2" fmla="*/ 662 w 1624"/>
                <a:gd name="T3" fmla="*/ 1288 h 1867"/>
                <a:gd name="T4" fmla="*/ 938 w 1624"/>
                <a:gd name="T5" fmla="*/ 1051 h 1867"/>
                <a:gd name="T6" fmla="*/ 1106 w 1624"/>
                <a:gd name="T7" fmla="*/ 731 h 1867"/>
                <a:gd name="T8" fmla="*/ 1059 w 1624"/>
                <a:gd name="T9" fmla="*/ 645 h 1867"/>
                <a:gd name="T10" fmla="*/ 1001 w 1624"/>
                <a:gd name="T11" fmla="*/ 613 h 1867"/>
                <a:gd name="T12" fmla="*/ 924 w 1624"/>
                <a:gd name="T13" fmla="*/ 432 h 1867"/>
                <a:gd name="T14" fmla="*/ 1114 w 1624"/>
                <a:gd name="T15" fmla="*/ 81 h 1867"/>
                <a:gd name="T16" fmla="*/ 1287 w 1624"/>
                <a:gd name="T17" fmla="*/ 35 h 1867"/>
                <a:gd name="T18" fmla="*/ 1350 w 1624"/>
                <a:gd name="T19" fmla="*/ 69 h 1867"/>
                <a:gd name="T20" fmla="*/ 1527 w 1624"/>
                <a:gd name="T21" fmla="*/ 235 h 1867"/>
                <a:gd name="T22" fmla="*/ 1583 w 1624"/>
                <a:gd name="T23" fmla="*/ 555 h 1867"/>
                <a:gd name="T24" fmla="*/ 1172 w 1624"/>
                <a:gd name="T25" fmla="*/ 1253 h 1867"/>
                <a:gd name="T26" fmla="*/ 586 w 1624"/>
                <a:gd name="T27" fmla="*/ 1803 h 1867"/>
                <a:gd name="T28" fmla="*/ 269 w 1624"/>
                <a:gd name="T29" fmla="*/ 1807 h 1867"/>
                <a:gd name="T30" fmla="*/ 33 w 1624"/>
                <a:gd name="T31" fmla="*/ 1602 h 1867"/>
                <a:gd name="T32" fmla="*/ 2 w 1624"/>
                <a:gd name="T33" fmla="*/ 1508 h 1867"/>
                <a:gd name="T34" fmla="*/ 45 w 1624"/>
                <a:gd name="T35" fmla="*/ 1421 h 1867"/>
                <a:gd name="T36" fmla="*/ 346 w 1624"/>
                <a:gd name="T37" fmla="*/ 1158 h 1867"/>
                <a:gd name="T38" fmla="*/ 448 w 1624"/>
                <a:gd name="T39" fmla="*/ 1145 h 1867"/>
                <a:gd name="T40" fmla="*/ 573 w 1624"/>
                <a:gd name="T41" fmla="*/ 1257 h 18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24" h="1867">
                  <a:moveTo>
                    <a:pt x="573" y="1257"/>
                  </a:moveTo>
                  <a:cubicBezTo>
                    <a:pt x="592" y="1282"/>
                    <a:pt x="630" y="1303"/>
                    <a:pt x="662" y="1288"/>
                  </a:cubicBezTo>
                  <a:cubicBezTo>
                    <a:pt x="753" y="1245"/>
                    <a:pt x="854" y="1156"/>
                    <a:pt x="938" y="1051"/>
                  </a:cubicBezTo>
                  <a:cubicBezTo>
                    <a:pt x="1020" y="948"/>
                    <a:pt x="1084" y="831"/>
                    <a:pt x="1106" y="731"/>
                  </a:cubicBezTo>
                  <a:cubicBezTo>
                    <a:pt x="1113" y="696"/>
                    <a:pt x="1089" y="661"/>
                    <a:pt x="1059" y="645"/>
                  </a:cubicBezTo>
                  <a:cubicBezTo>
                    <a:pt x="1001" y="613"/>
                    <a:pt x="1001" y="613"/>
                    <a:pt x="1001" y="613"/>
                  </a:cubicBezTo>
                  <a:cubicBezTo>
                    <a:pt x="942" y="580"/>
                    <a:pt x="888" y="499"/>
                    <a:pt x="924" y="432"/>
                  </a:cubicBezTo>
                  <a:cubicBezTo>
                    <a:pt x="1114" y="81"/>
                    <a:pt x="1114" y="81"/>
                    <a:pt x="1114" y="81"/>
                  </a:cubicBezTo>
                  <a:cubicBezTo>
                    <a:pt x="1150" y="16"/>
                    <a:pt x="1224" y="0"/>
                    <a:pt x="1287" y="35"/>
                  </a:cubicBezTo>
                  <a:cubicBezTo>
                    <a:pt x="1350" y="69"/>
                    <a:pt x="1350" y="69"/>
                    <a:pt x="1350" y="69"/>
                  </a:cubicBezTo>
                  <a:cubicBezTo>
                    <a:pt x="1415" y="105"/>
                    <a:pt x="1479" y="165"/>
                    <a:pt x="1527" y="235"/>
                  </a:cubicBezTo>
                  <a:cubicBezTo>
                    <a:pt x="1593" y="332"/>
                    <a:pt x="1624" y="442"/>
                    <a:pt x="1583" y="555"/>
                  </a:cubicBezTo>
                  <a:cubicBezTo>
                    <a:pt x="1500" y="781"/>
                    <a:pt x="1351" y="1030"/>
                    <a:pt x="1172" y="1253"/>
                  </a:cubicBezTo>
                  <a:cubicBezTo>
                    <a:pt x="994" y="1477"/>
                    <a:pt x="786" y="1676"/>
                    <a:pt x="586" y="1803"/>
                  </a:cubicBezTo>
                  <a:cubicBezTo>
                    <a:pt x="486" y="1867"/>
                    <a:pt x="375" y="1856"/>
                    <a:pt x="269" y="1807"/>
                  </a:cubicBezTo>
                  <a:cubicBezTo>
                    <a:pt x="157" y="1755"/>
                    <a:pt x="106" y="1695"/>
                    <a:pt x="33" y="1602"/>
                  </a:cubicBezTo>
                  <a:cubicBezTo>
                    <a:pt x="11" y="1573"/>
                    <a:pt x="0" y="1540"/>
                    <a:pt x="2" y="1508"/>
                  </a:cubicBezTo>
                  <a:cubicBezTo>
                    <a:pt x="4" y="1475"/>
                    <a:pt x="18" y="1444"/>
                    <a:pt x="45" y="1421"/>
                  </a:cubicBezTo>
                  <a:cubicBezTo>
                    <a:pt x="70" y="1399"/>
                    <a:pt x="346" y="1158"/>
                    <a:pt x="346" y="1158"/>
                  </a:cubicBezTo>
                  <a:cubicBezTo>
                    <a:pt x="376" y="1134"/>
                    <a:pt x="413" y="1133"/>
                    <a:pt x="448" y="1145"/>
                  </a:cubicBezTo>
                  <a:cubicBezTo>
                    <a:pt x="510" y="1166"/>
                    <a:pt x="536" y="1210"/>
                    <a:pt x="573" y="1257"/>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351" dirty="0"/>
            </a:p>
          </p:txBody>
        </p:sp>
      </p:grpSp>
      <p:grpSp>
        <p:nvGrpSpPr>
          <p:cNvPr id="17" name="Group 3">
            <a:extLst>
              <a:ext uri="{FF2B5EF4-FFF2-40B4-BE49-F238E27FC236}">
                <a16:creationId xmlns:a16="http://schemas.microsoft.com/office/drawing/2014/main" id="{7104BADD-8CD1-6F4A-B894-869C3BDB3EEB}"/>
              </a:ext>
            </a:extLst>
          </p:cNvPr>
          <p:cNvGrpSpPr>
            <a:grpSpLocks noChangeAspect="1"/>
          </p:cNvGrpSpPr>
          <p:nvPr>
            <p:custDataLst>
              <p:tags r:id="rId2"/>
            </p:custDataLst>
          </p:nvPr>
        </p:nvGrpSpPr>
        <p:grpSpPr>
          <a:xfrm>
            <a:off x="8701918" y="3153207"/>
            <a:ext cx="171180" cy="171180"/>
            <a:chOff x="328396" y="5313940"/>
            <a:chExt cx="720000" cy="720000"/>
          </a:xfrm>
        </p:grpSpPr>
        <p:sp>
          <p:nvSpPr>
            <p:cNvPr id="18" name="Rectangle 4">
              <a:extLst>
                <a:ext uri="{FF2B5EF4-FFF2-40B4-BE49-F238E27FC236}">
                  <a16:creationId xmlns:a16="http://schemas.microsoft.com/office/drawing/2014/main" id="{74BE3D5F-1445-6E40-8B49-72E15568383B}"/>
                </a:ext>
              </a:extLst>
            </p:cNvPr>
            <p:cNvSpPr/>
            <p:nvPr/>
          </p:nvSpPr>
          <p:spPr bwMode="gray">
            <a:xfrm>
              <a:off x="328396" y="5313940"/>
              <a:ext cx="720000" cy="720000"/>
            </a:xfrm>
            <a:prstGeom prst="rect">
              <a:avLst/>
            </a:prstGeom>
            <a:solidFill>
              <a:srgbClr val="E55A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pPr>
              <a:endParaRPr lang="en-US" sz="1000" dirty="0">
                <a:solidFill>
                  <a:schemeClr val="tx1"/>
                </a:solidFill>
                <a:latin typeface="Arial" pitchFamily="34" charset="0"/>
                <a:cs typeface="Arial" pitchFamily="34" charset="0"/>
              </a:endParaRPr>
            </a:p>
          </p:txBody>
        </p:sp>
        <p:sp>
          <p:nvSpPr>
            <p:cNvPr id="19" name="Freeform 76">
              <a:extLst>
                <a:ext uri="{FF2B5EF4-FFF2-40B4-BE49-F238E27FC236}">
                  <a16:creationId xmlns:a16="http://schemas.microsoft.com/office/drawing/2014/main" id="{55DB3C95-7D0C-D141-901E-96D692794D2B}"/>
                </a:ext>
              </a:extLst>
            </p:cNvPr>
            <p:cNvSpPr>
              <a:spLocks noChangeAspect="1" noEditPoints="1"/>
            </p:cNvSpPr>
            <p:nvPr/>
          </p:nvSpPr>
          <p:spPr bwMode="auto">
            <a:xfrm>
              <a:off x="456202" y="5509222"/>
              <a:ext cx="504000" cy="329436"/>
            </a:xfrm>
            <a:custGeom>
              <a:avLst/>
              <a:gdLst>
                <a:gd name="T0" fmla="*/ 0 w 2080"/>
                <a:gd name="T1" fmla="*/ 65 h 1360"/>
                <a:gd name="T2" fmla="*/ 0 w 2080"/>
                <a:gd name="T3" fmla="*/ 0 h 1360"/>
                <a:gd name="T4" fmla="*/ 2080 w 2080"/>
                <a:gd name="T5" fmla="*/ 0 h 1360"/>
                <a:gd name="T6" fmla="*/ 2080 w 2080"/>
                <a:gd name="T7" fmla="*/ 65 h 1360"/>
                <a:gd name="T8" fmla="*/ 1089 w 2080"/>
                <a:gd name="T9" fmla="*/ 862 h 1360"/>
                <a:gd name="T10" fmla="*/ 991 w 2080"/>
                <a:gd name="T11" fmla="*/ 862 h 1360"/>
                <a:gd name="T12" fmla="*/ 0 w 2080"/>
                <a:gd name="T13" fmla="*/ 65 h 1360"/>
                <a:gd name="T14" fmla="*/ 1139 w 2080"/>
                <a:gd name="T15" fmla="*/ 924 h 1360"/>
                <a:gd name="T16" fmla="*/ 1282 w 2080"/>
                <a:gd name="T17" fmla="*/ 810 h 1360"/>
                <a:gd name="T18" fmla="*/ 2076 w 2080"/>
                <a:gd name="T19" fmla="*/ 1360 h 1360"/>
                <a:gd name="T20" fmla="*/ 4 w 2080"/>
                <a:gd name="T21" fmla="*/ 1360 h 1360"/>
                <a:gd name="T22" fmla="*/ 798 w 2080"/>
                <a:gd name="T23" fmla="*/ 810 h 1360"/>
                <a:gd name="T24" fmla="*/ 941 w 2080"/>
                <a:gd name="T25" fmla="*/ 924 h 1360"/>
                <a:gd name="T26" fmla="*/ 1139 w 2080"/>
                <a:gd name="T27" fmla="*/ 924 h 1360"/>
                <a:gd name="T28" fmla="*/ 2 w 2080"/>
                <a:gd name="T29" fmla="*/ 137 h 1360"/>
                <a:gd name="T30" fmla="*/ 42 w 2080"/>
                <a:gd name="T31" fmla="*/ 201 h 1360"/>
                <a:gd name="T32" fmla="*/ 734 w 2080"/>
                <a:gd name="T33" fmla="*/ 758 h 1360"/>
                <a:gd name="T34" fmla="*/ 0 w 2080"/>
                <a:gd name="T35" fmla="*/ 1266 h 1360"/>
                <a:gd name="T36" fmla="*/ 0 w 2080"/>
                <a:gd name="T37" fmla="*/ 135 h 1360"/>
                <a:gd name="T38" fmla="*/ 2 w 2080"/>
                <a:gd name="T39" fmla="*/ 137 h 1360"/>
                <a:gd name="T40" fmla="*/ 2080 w 2080"/>
                <a:gd name="T41" fmla="*/ 136 h 1360"/>
                <a:gd name="T42" fmla="*/ 2080 w 2080"/>
                <a:gd name="T43" fmla="*/ 1265 h 1360"/>
                <a:gd name="T44" fmla="*/ 1346 w 2080"/>
                <a:gd name="T45" fmla="*/ 758 h 1360"/>
                <a:gd name="T46" fmla="*/ 2038 w 2080"/>
                <a:gd name="T47" fmla="*/ 201 h 1360"/>
                <a:gd name="T48" fmla="*/ 2080 w 2080"/>
                <a:gd name="T49" fmla="*/ 136 h 1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080" h="1360">
                  <a:moveTo>
                    <a:pt x="0" y="65"/>
                  </a:moveTo>
                  <a:cubicBezTo>
                    <a:pt x="0" y="0"/>
                    <a:pt x="0" y="0"/>
                    <a:pt x="0" y="0"/>
                  </a:cubicBezTo>
                  <a:cubicBezTo>
                    <a:pt x="2080" y="0"/>
                    <a:pt x="2080" y="0"/>
                    <a:pt x="2080" y="0"/>
                  </a:cubicBezTo>
                  <a:cubicBezTo>
                    <a:pt x="2080" y="65"/>
                    <a:pt x="2080" y="65"/>
                    <a:pt x="2080" y="65"/>
                  </a:cubicBezTo>
                  <a:cubicBezTo>
                    <a:pt x="1089" y="862"/>
                    <a:pt x="1089" y="862"/>
                    <a:pt x="1089" y="862"/>
                  </a:cubicBezTo>
                  <a:cubicBezTo>
                    <a:pt x="1060" y="886"/>
                    <a:pt x="1020" y="886"/>
                    <a:pt x="991" y="862"/>
                  </a:cubicBezTo>
                  <a:lnTo>
                    <a:pt x="0" y="65"/>
                  </a:lnTo>
                  <a:close/>
                  <a:moveTo>
                    <a:pt x="1139" y="924"/>
                  </a:moveTo>
                  <a:cubicBezTo>
                    <a:pt x="1282" y="810"/>
                    <a:pt x="1282" y="810"/>
                    <a:pt x="1282" y="810"/>
                  </a:cubicBezTo>
                  <a:cubicBezTo>
                    <a:pt x="2076" y="1360"/>
                    <a:pt x="2076" y="1360"/>
                    <a:pt x="2076" y="1360"/>
                  </a:cubicBezTo>
                  <a:cubicBezTo>
                    <a:pt x="4" y="1360"/>
                    <a:pt x="4" y="1360"/>
                    <a:pt x="4" y="1360"/>
                  </a:cubicBezTo>
                  <a:cubicBezTo>
                    <a:pt x="798" y="810"/>
                    <a:pt x="798" y="810"/>
                    <a:pt x="798" y="810"/>
                  </a:cubicBezTo>
                  <a:cubicBezTo>
                    <a:pt x="941" y="924"/>
                    <a:pt x="941" y="924"/>
                    <a:pt x="941" y="924"/>
                  </a:cubicBezTo>
                  <a:cubicBezTo>
                    <a:pt x="1000" y="972"/>
                    <a:pt x="1080" y="972"/>
                    <a:pt x="1139" y="924"/>
                  </a:cubicBezTo>
                  <a:close/>
                  <a:moveTo>
                    <a:pt x="2" y="137"/>
                  </a:moveTo>
                  <a:cubicBezTo>
                    <a:pt x="8" y="163"/>
                    <a:pt x="22" y="185"/>
                    <a:pt x="42" y="201"/>
                  </a:cubicBezTo>
                  <a:cubicBezTo>
                    <a:pt x="734" y="758"/>
                    <a:pt x="734" y="758"/>
                    <a:pt x="734" y="758"/>
                  </a:cubicBezTo>
                  <a:cubicBezTo>
                    <a:pt x="0" y="1266"/>
                    <a:pt x="0" y="1266"/>
                    <a:pt x="0" y="1266"/>
                  </a:cubicBezTo>
                  <a:cubicBezTo>
                    <a:pt x="0" y="135"/>
                    <a:pt x="0" y="135"/>
                    <a:pt x="0" y="135"/>
                  </a:cubicBezTo>
                  <a:lnTo>
                    <a:pt x="2" y="137"/>
                  </a:lnTo>
                  <a:close/>
                  <a:moveTo>
                    <a:pt x="2080" y="136"/>
                  </a:moveTo>
                  <a:cubicBezTo>
                    <a:pt x="2080" y="1265"/>
                    <a:pt x="2080" y="1265"/>
                    <a:pt x="2080" y="1265"/>
                  </a:cubicBezTo>
                  <a:cubicBezTo>
                    <a:pt x="1346" y="758"/>
                    <a:pt x="1346" y="758"/>
                    <a:pt x="1346" y="758"/>
                  </a:cubicBezTo>
                  <a:cubicBezTo>
                    <a:pt x="2038" y="201"/>
                    <a:pt x="2038" y="201"/>
                    <a:pt x="2038" y="201"/>
                  </a:cubicBezTo>
                  <a:cubicBezTo>
                    <a:pt x="2060" y="182"/>
                    <a:pt x="2072" y="162"/>
                    <a:pt x="2080" y="13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000"/>
            </a:p>
          </p:txBody>
        </p:sp>
      </p:grpSp>
      <p:cxnSp>
        <p:nvCxnSpPr>
          <p:cNvPr id="20" name="Straight Connector 19"/>
          <p:cNvCxnSpPr/>
          <p:nvPr/>
        </p:nvCxnSpPr>
        <p:spPr>
          <a:xfrm>
            <a:off x="2371725" y="3478213"/>
            <a:ext cx="3888000" cy="0"/>
          </a:xfrm>
          <a:prstGeom prst="line">
            <a:avLst/>
          </a:prstGeom>
          <a:ln w="6350">
            <a:solidFill>
              <a:schemeClr val="tx2"/>
            </a:solidFill>
            <a:prstDash val="dash"/>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p:nvCxnSpPr>
        <p:spPr>
          <a:xfrm>
            <a:off x="7287766" y="3478213"/>
            <a:ext cx="3888000" cy="0"/>
          </a:xfrm>
          <a:prstGeom prst="line">
            <a:avLst/>
          </a:prstGeom>
          <a:ln w="6350">
            <a:solidFill>
              <a:schemeClr val="tx2"/>
            </a:solidFill>
            <a:prstDash val="dash"/>
          </a:ln>
        </p:spPr>
        <p:style>
          <a:lnRef idx="1">
            <a:schemeClr val="accent1"/>
          </a:lnRef>
          <a:fillRef idx="0">
            <a:schemeClr val="accent1"/>
          </a:fillRef>
          <a:effectRef idx="0">
            <a:schemeClr val="accent1"/>
          </a:effectRef>
          <a:fontRef idx="minor">
            <a:schemeClr val="tx1"/>
          </a:fontRef>
        </p:style>
      </p:cxnSp>
      <p:sp>
        <p:nvSpPr>
          <p:cNvPr id="4" name="Picture Placeholder 3"/>
          <p:cNvSpPr>
            <a:spLocks noGrp="1"/>
          </p:cNvSpPr>
          <p:nvPr>
            <p:ph type="pic" sz="quarter" idx="17" hasCustomPrompt="1"/>
          </p:nvPr>
        </p:nvSpPr>
        <p:spPr>
          <a:xfrm>
            <a:off x="2355914" y="1808984"/>
            <a:ext cx="1188677" cy="1547840"/>
          </a:xfrm>
          <a:solidFill>
            <a:srgbClr val="D9DADB"/>
          </a:solidFill>
        </p:spPr>
        <p:txBody>
          <a:bodyPr/>
          <a:lstStyle>
            <a:lvl1pPr marL="0" indent="0">
              <a:buNone/>
              <a:defRPr sz="1400"/>
            </a:lvl1pPr>
          </a:lstStyle>
          <a:p>
            <a:r>
              <a:rPr lang="en-US" dirty="0"/>
              <a:t>Insert picture</a:t>
            </a:r>
          </a:p>
        </p:txBody>
      </p:sp>
      <p:sp>
        <p:nvSpPr>
          <p:cNvPr id="25" name="Picture Placeholder 3"/>
          <p:cNvSpPr>
            <a:spLocks noGrp="1"/>
          </p:cNvSpPr>
          <p:nvPr>
            <p:ph type="pic" sz="quarter" idx="18" hasCustomPrompt="1"/>
          </p:nvPr>
        </p:nvSpPr>
        <p:spPr>
          <a:xfrm>
            <a:off x="7287766" y="1808984"/>
            <a:ext cx="1188677" cy="1547840"/>
          </a:xfrm>
          <a:solidFill>
            <a:srgbClr val="D9DADB"/>
          </a:solidFill>
        </p:spPr>
        <p:txBody>
          <a:bodyPr/>
          <a:lstStyle>
            <a:lvl1pPr marL="0" indent="0">
              <a:buNone/>
              <a:defRPr sz="1400"/>
            </a:lvl1pPr>
          </a:lstStyle>
          <a:p>
            <a:r>
              <a:rPr lang="en-US" dirty="0"/>
              <a:t>Insert picture</a:t>
            </a:r>
          </a:p>
        </p:txBody>
      </p:sp>
      <p:sp>
        <p:nvSpPr>
          <p:cNvPr id="6" name="Text Placeholder 5"/>
          <p:cNvSpPr>
            <a:spLocks noGrp="1"/>
          </p:cNvSpPr>
          <p:nvPr>
            <p:ph type="body" sz="quarter" idx="19" hasCustomPrompt="1"/>
          </p:nvPr>
        </p:nvSpPr>
        <p:spPr>
          <a:xfrm>
            <a:off x="3770065" y="1808521"/>
            <a:ext cx="2463190" cy="192360"/>
          </a:xfrm>
        </p:spPr>
        <p:txBody>
          <a:bodyPr lIns="0" tIns="0" rIns="0" bIns="0" anchor="ctr" anchorCtr="0"/>
          <a:lstStyle>
            <a:lvl1pPr marL="0" indent="0" algn="l">
              <a:lnSpc>
                <a:spcPct val="100000"/>
              </a:lnSpc>
              <a:buNone/>
              <a:defRPr sz="100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Country</a:t>
            </a:r>
          </a:p>
        </p:txBody>
      </p:sp>
      <p:sp>
        <p:nvSpPr>
          <p:cNvPr id="26" name="Text Placeholder 5"/>
          <p:cNvSpPr>
            <a:spLocks noGrp="1"/>
          </p:cNvSpPr>
          <p:nvPr>
            <p:ph type="body" sz="quarter" idx="20" hasCustomPrompt="1"/>
          </p:nvPr>
        </p:nvSpPr>
        <p:spPr>
          <a:xfrm>
            <a:off x="3770065" y="2020337"/>
            <a:ext cx="2463190" cy="266182"/>
          </a:xfrm>
        </p:spPr>
        <p:txBody>
          <a:bodyPr lIns="0" tIns="0" rIns="0" bIns="0" anchor="b" anchorCtr="0"/>
          <a:lstStyle>
            <a:lvl1pPr marL="0" indent="0" algn="l">
              <a:lnSpc>
                <a:spcPct val="100000"/>
              </a:lnSpc>
              <a:buNone/>
              <a:defRPr sz="1400" b="1" baseline="0">
                <a:solidFill>
                  <a:schemeClr val="tx2"/>
                </a:solidFill>
              </a:defRPr>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Name, Surname</a:t>
            </a:r>
          </a:p>
        </p:txBody>
      </p:sp>
      <p:sp>
        <p:nvSpPr>
          <p:cNvPr id="27" name="Text Placeholder 5"/>
          <p:cNvSpPr>
            <a:spLocks noGrp="1"/>
          </p:cNvSpPr>
          <p:nvPr>
            <p:ph type="body" sz="quarter" idx="21" hasCustomPrompt="1"/>
          </p:nvPr>
        </p:nvSpPr>
        <p:spPr>
          <a:xfrm>
            <a:off x="3770065" y="2316912"/>
            <a:ext cx="2463190"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Job Position</a:t>
            </a:r>
          </a:p>
        </p:txBody>
      </p:sp>
      <p:sp>
        <p:nvSpPr>
          <p:cNvPr id="28" name="Text Placeholder 5"/>
          <p:cNvSpPr>
            <a:spLocks noGrp="1"/>
          </p:cNvSpPr>
          <p:nvPr>
            <p:ph type="body" sz="quarter" idx="22" hasCustomPrompt="1"/>
          </p:nvPr>
        </p:nvSpPr>
        <p:spPr>
          <a:xfrm>
            <a:off x="4014948" y="2845588"/>
            <a:ext cx="2218307"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Phone number</a:t>
            </a:r>
          </a:p>
        </p:txBody>
      </p:sp>
      <p:sp>
        <p:nvSpPr>
          <p:cNvPr id="29" name="Text Placeholder 5"/>
          <p:cNvSpPr>
            <a:spLocks noGrp="1"/>
          </p:cNvSpPr>
          <p:nvPr>
            <p:ph type="body" sz="quarter" idx="23" hasCustomPrompt="1"/>
          </p:nvPr>
        </p:nvSpPr>
        <p:spPr>
          <a:xfrm>
            <a:off x="4014948" y="3128395"/>
            <a:ext cx="2218307"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Email address</a:t>
            </a:r>
          </a:p>
        </p:txBody>
      </p:sp>
      <p:sp>
        <p:nvSpPr>
          <p:cNvPr id="30" name="Text Placeholder 5"/>
          <p:cNvSpPr>
            <a:spLocks noGrp="1"/>
          </p:cNvSpPr>
          <p:nvPr>
            <p:ph type="body" sz="quarter" idx="24" hasCustomPrompt="1"/>
          </p:nvPr>
        </p:nvSpPr>
        <p:spPr>
          <a:xfrm>
            <a:off x="8701917" y="1808521"/>
            <a:ext cx="2463190" cy="192360"/>
          </a:xfrm>
        </p:spPr>
        <p:txBody>
          <a:bodyPr lIns="0" tIns="0" rIns="0" bIns="0" anchor="ctr" anchorCtr="0"/>
          <a:lstStyle>
            <a:lvl1pPr marL="0" indent="0" algn="l">
              <a:lnSpc>
                <a:spcPct val="100000"/>
              </a:lnSpc>
              <a:buNone/>
              <a:defRPr sz="100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Country</a:t>
            </a:r>
          </a:p>
        </p:txBody>
      </p:sp>
      <p:sp>
        <p:nvSpPr>
          <p:cNvPr id="31" name="Text Placeholder 5"/>
          <p:cNvSpPr>
            <a:spLocks noGrp="1"/>
          </p:cNvSpPr>
          <p:nvPr>
            <p:ph type="body" sz="quarter" idx="25" hasCustomPrompt="1"/>
          </p:nvPr>
        </p:nvSpPr>
        <p:spPr>
          <a:xfrm>
            <a:off x="8701917" y="2020337"/>
            <a:ext cx="2463190" cy="266182"/>
          </a:xfrm>
        </p:spPr>
        <p:txBody>
          <a:bodyPr lIns="0" tIns="0" rIns="0" bIns="0" anchor="b" anchorCtr="0"/>
          <a:lstStyle>
            <a:lvl1pPr marL="0" indent="0" algn="l">
              <a:lnSpc>
                <a:spcPct val="100000"/>
              </a:lnSpc>
              <a:buNone/>
              <a:defRPr sz="1400" b="1" baseline="0">
                <a:solidFill>
                  <a:schemeClr val="tx2"/>
                </a:solidFill>
              </a:defRPr>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Name, Surname</a:t>
            </a:r>
          </a:p>
        </p:txBody>
      </p:sp>
      <p:sp>
        <p:nvSpPr>
          <p:cNvPr id="32" name="Text Placeholder 5"/>
          <p:cNvSpPr>
            <a:spLocks noGrp="1"/>
          </p:cNvSpPr>
          <p:nvPr>
            <p:ph type="body" sz="quarter" idx="26" hasCustomPrompt="1"/>
          </p:nvPr>
        </p:nvSpPr>
        <p:spPr>
          <a:xfrm>
            <a:off x="8701917" y="2316912"/>
            <a:ext cx="2463190"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Job Position</a:t>
            </a:r>
          </a:p>
        </p:txBody>
      </p:sp>
      <p:sp>
        <p:nvSpPr>
          <p:cNvPr id="33" name="Text Placeholder 5"/>
          <p:cNvSpPr>
            <a:spLocks noGrp="1"/>
          </p:cNvSpPr>
          <p:nvPr>
            <p:ph type="body" sz="quarter" idx="27" hasCustomPrompt="1"/>
          </p:nvPr>
        </p:nvSpPr>
        <p:spPr>
          <a:xfrm>
            <a:off x="8946800" y="2845588"/>
            <a:ext cx="2218307"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Phone number</a:t>
            </a:r>
          </a:p>
        </p:txBody>
      </p:sp>
      <p:sp>
        <p:nvSpPr>
          <p:cNvPr id="34" name="Text Placeholder 5"/>
          <p:cNvSpPr>
            <a:spLocks noGrp="1"/>
          </p:cNvSpPr>
          <p:nvPr>
            <p:ph type="body" sz="quarter" idx="28" hasCustomPrompt="1"/>
          </p:nvPr>
        </p:nvSpPr>
        <p:spPr>
          <a:xfrm>
            <a:off x="8946800" y="3128395"/>
            <a:ext cx="2218307"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Email address</a:t>
            </a:r>
          </a:p>
        </p:txBody>
      </p:sp>
    </p:spTree>
    <p:extLst>
      <p:ext uri="{BB962C8B-B14F-4D97-AF65-F5344CB8AC3E}">
        <p14:creationId xmlns:p14="http://schemas.microsoft.com/office/powerpoint/2010/main" val="1834518595"/>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p:cSld name="Three contacts">
    <p:spTree>
      <p:nvGrpSpPr>
        <p:cNvPr id="1" name=""/>
        <p:cNvGrpSpPr/>
        <p:nvPr/>
      </p:nvGrpSpPr>
      <p:grpSpPr>
        <a:xfrm>
          <a:off x="0" y="0"/>
          <a:ext cx="0" cy="0"/>
          <a:chOff x="0" y="0"/>
          <a:chExt cx="0" cy="0"/>
        </a:xfrm>
      </p:grpSpPr>
      <p:sp>
        <p:nvSpPr>
          <p:cNvPr id="21" name="Date Placeholder 20"/>
          <p:cNvSpPr>
            <a:spLocks noGrp="1"/>
          </p:cNvSpPr>
          <p:nvPr>
            <p:ph type="dt" sz="half" idx="14"/>
          </p:nvPr>
        </p:nvSpPr>
        <p:spPr>
          <a:xfrm>
            <a:off x="192088" y="6461671"/>
            <a:ext cx="761512" cy="133790"/>
          </a:xfrm>
          <a:prstGeom prst="rect">
            <a:avLst/>
          </a:prstGeom>
        </p:spPr>
        <p:txBody>
          <a:bodyPr/>
          <a:lstStyle/>
          <a:p>
            <a:fld id="{6580B400-49DF-489E-B82C-8D138BFCC234}" type="datetime5">
              <a:rPr lang="en-US" smtClean="0"/>
              <a:t>26-Jun-20</a:t>
            </a:fld>
            <a:endParaRPr lang="en-US"/>
          </a:p>
        </p:txBody>
      </p:sp>
      <p:sp>
        <p:nvSpPr>
          <p:cNvPr id="22" name="Footer Placeholder 21"/>
          <p:cNvSpPr>
            <a:spLocks noGrp="1"/>
          </p:cNvSpPr>
          <p:nvPr>
            <p:ph type="ftr" sz="quarter" idx="15"/>
          </p:nvPr>
        </p:nvSpPr>
        <p:spPr>
          <a:xfrm>
            <a:off x="1076400" y="6461671"/>
            <a:ext cx="8162717" cy="133790"/>
          </a:xfrm>
          <a:prstGeom prst="rect">
            <a:avLst/>
          </a:prstGeom>
        </p:spPr>
        <p:txBody>
          <a:bodyPr/>
          <a:lstStyle/>
          <a:p>
            <a:r>
              <a:rPr lang="en-US"/>
              <a:t>Title of presentation (Insert / Header &amp; Footer / Apply to All)</a:t>
            </a:r>
            <a:endParaRPr lang="en-US" dirty="0"/>
          </a:p>
        </p:txBody>
      </p:sp>
      <p:sp>
        <p:nvSpPr>
          <p:cNvPr id="23" name="Slide Number Placeholder 22"/>
          <p:cNvSpPr>
            <a:spLocks noGrp="1"/>
          </p:cNvSpPr>
          <p:nvPr>
            <p:ph type="sldNum" sz="quarter" idx="16"/>
          </p:nvPr>
        </p:nvSpPr>
        <p:spPr/>
        <p:txBody>
          <a:bodyPr/>
          <a:lstStyle/>
          <a:p>
            <a:fld id="{5F3E29E4-0979-4FCA-B4C5-5FC6044C982A}" type="slidenum">
              <a:rPr lang="en-US" smtClean="0"/>
              <a:t>‹#›</a:t>
            </a:fld>
            <a:endParaRPr lang="en-US"/>
          </a:p>
        </p:txBody>
      </p:sp>
      <p:sp>
        <p:nvSpPr>
          <p:cNvPr id="2" name="Title 1"/>
          <p:cNvSpPr>
            <a:spLocks noGrp="1"/>
          </p:cNvSpPr>
          <p:nvPr>
            <p:ph type="title" hasCustomPrompt="1"/>
          </p:nvPr>
        </p:nvSpPr>
        <p:spPr/>
        <p:txBody>
          <a:bodyPr/>
          <a:lstStyle>
            <a:lvl1pPr>
              <a:defRPr/>
            </a:lvl1pPr>
          </a:lstStyle>
          <a:p>
            <a:r>
              <a:rPr lang="en-US" dirty="0"/>
              <a:t>Click to add contact title</a:t>
            </a:r>
          </a:p>
        </p:txBody>
      </p:sp>
      <p:sp>
        <p:nvSpPr>
          <p:cNvPr id="7" name="Subtitle 2"/>
          <p:cNvSpPr>
            <a:spLocks noGrp="1"/>
          </p:cNvSpPr>
          <p:nvPr>
            <p:ph type="subTitle" idx="13" hasCustomPrompt="1"/>
          </p:nvPr>
        </p:nvSpPr>
        <p:spPr>
          <a:xfrm>
            <a:off x="1075061" y="964671"/>
            <a:ext cx="7910158" cy="490042"/>
          </a:xfrm>
        </p:spPr>
        <p:txBody>
          <a:bodyPr wrap="none"/>
          <a:lstStyle>
            <a:lvl1pPr marL="0" indent="0" algn="l">
              <a:spcBef>
                <a:spcPts val="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grpSp>
        <p:nvGrpSpPr>
          <p:cNvPr id="8" name="Gruppieren 80">
            <a:extLst>
              <a:ext uri="{FF2B5EF4-FFF2-40B4-BE49-F238E27FC236}">
                <a16:creationId xmlns:a16="http://schemas.microsoft.com/office/drawing/2014/main" id="{6B969E7B-9C39-4443-9B02-74C1E7C5CCAC}"/>
              </a:ext>
            </a:extLst>
          </p:cNvPr>
          <p:cNvGrpSpPr/>
          <p:nvPr/>
        </p:nvGrpSpPr>
        <p:grpSpPr>
          <a:xfrm>
            <a:off x="3770065" y="2868319"/>
            <a:ext cx="171180" cy="171180"/>
            <a:chOff x="3392092" y="1841122"/>
            <a:chExt cx="646508" cy="646508"/>
          </a:xfrm>
        </p:grpSpPr>
        <p:sp>
          <p:nvSpPr>
            <p:cNvPr id="9" name="Rechteck 14">
              <a:extLst>
                <a:ext uri="{FF2B5EF4-FFF2-40B4-BE49-F238E27FC236}">
                  <a16:creationId xmlns:a16="http://schemas.microsoft.com/office/drawing/2014/main" id="{D78F58EA-5525-8D43-8295-FEA52ECF6BFA}"/>
                </a:ext>
              </a:extLst>
            </p:cNvPr>
            <p:cNvSpPr>
              <a:spLocks noChangeAspect="1"/>
            </p:cNvSpPr>
            <p:nvPr/>
          </p:nvSpPr>
          <p:spPr bwMode="gray">
            <a:xfrm>
              <a:off x="3392092" y="1841122"/>
              <a:ext cx="646508" cy="646508"/>
            </a:xfrm>
            <a:prstGeom prst="rect">
              <a:avLst/>
            </a:prstGeom>
            <a:solidFill>
              <a:srgbClr val="E55A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pPr>
              <a:endParaRPr lang="en-US" sz="1000" dirty="0">
                <a:solidFill>
                  <a:schemeClr val="tx1"/>
                </a:solidFill>
                <a:latin typeface="Arial" pitchFamily="34" charset="0"/>
                <a:cs typeface="Arial" pitchFamily="34" charset="0"/>
              </a:endParaRPr>
            </a:p>
          </p:txBody>
        </p:sp>
        <p:sp>
          <p:nvSpPr>
            <p:cNvPr id="10" name="Freeform 67">
              <a:extLst>
                <a:ext uri="{FF2B5EF4-FFF2-40B4-BE49-F238E27FC236}">
                  <a16:creationId xmlns:a16="http://schemas.microsoft.com/office/drawing/2014/main" id="{D01A6292-2776-4945-B828-483D79DC4908}"/>
                </a:ext>
              </a:extLst>
            </p:cNvPr>
            <p:cNvSpPr>
              <a:spLocks noChangeAspect="1"/>
            </p:cNvSpPr>
            <p:nvPr/>
          </p:nvSpPr>
          <p:spPr bwMode="auto">
            <a:xfrm>
              <a:off x="3546638" y="1970424"/>
              <a:ext cx="337415" cy="387905"/>
            </a:xfrm>
            <a:custGeom>
              <a:avLst/>
              <a:gdLst>
                <a:gd name="T0" fmla="*/ 573 w 1624"/>
                <a:gd name="T1" fmla="*/ 1257 h 1867"/>
                <a:gd name="T2" fmla="*/ 662 w 1624"/>
                <a:gd name="T3" fmla="*/ 1288 h 1867"/>
                <a:gd name="T4" fmla="*/ 938 w 1624"/>
                <a:gd name="T5" fmla="*/ 1051 h 1867"/>
                <a:gd name="T6" fmla="*/ 1106 w 1624"/>
                <a:gd name="T7" fmla="*/ 731 h 1867"/>
                <a:gd name="T8" fmla="*/ 1059 w 1624"/>
                <a:gd name="T9" fmla="*/ 645 h 1867"/>
                <a:gd name="T10" fmla="*/ 1001 w 1624"/>
                <a:gd name="T11" fmla="*/ 613 h 1867"/>
                <a:gd name="T12" fmla="*/ 924 w 1624"/>
                <a:gd name="T13" fmla="*/ 432 h 1867"/>
                <a:gd name="T14" fmla="*/ 1114 w 1624"/>
                <a:gd name="T15" fmla="*/ 81 h 1867"/>
                <a:gd name="T16" fmla="*/ 1287 w 1624"/>
                <a:gd name="T17" fmla="*/ 35 h 1867"/>
                <a:gd name="T18" fmla="*/ 1350 w 1624"/>
                <a:gd name="T19" fmla="*/ 69 h 1867"/>
                <a:gd name="T20" fmla="*/ 1527 w 1624"/>
                <a:gd name="T21" fmla="*/ 235 h 1867"/>
                <a:gd name="T22" fmla="*/ 1583 w 1624"/>
                <a:gd name="T23" fmla="*/ 555 h 1867"/>
                <a:gd name="T24" fmla="*/ 1172 w 1624"/>
                <a:gd name="T25" fmla="*/ 1253 h 1867"/>
                <a:gd name="T26" fmla="*/ 586 w 1624"/>
                <a:gd name="T27" fmla="*/ 1803 h 1867"/>
                <a:gd name="T28" fmla="*/ 269 w 1624"/>
                <a:gd name="T29" fmla="*/ 1807 h 1867"/>
                <a:gd name="T30" fmla="*/ 33 w 1624"/>
                <a:gd name="T31" fmla="*/ 1602 h 1867"/>
                <a:gd name="T32" fmla="*/ 2 w 1624"/>
                <a:gd name="T33" fmla="*/ 1508 h 1867"/>
                <a:gd name="T34" fmla="*/ 45 w 1624"/>
                <a:gd name="T35" fmla="*/ 1421 h 1867"/>
                <a:gd name="T36" fmla="*/ 346 w 1624"/>
                <a:gd name="T37" fmla="*/ 1158 h 1867"/>
                <a:gd name="T38" fmla="*/ 448 w 1624"/>
                <a:gd name="T39" fmla="*/ 1145 h 1867"/>
                <a:gd name="T40" fmla="*/ 573 w 1624"/>
                <a:gd name="T41" fmla="*/ 1257 h 18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24" h="1867">
                  <a:moveTo>
                    <a:pt x="573" y="1257"/>
                  </a:moveTo>
                  <a:cubicBezTo>
                    <a:pt x="592" y="1282"/>
                    <a:pt x="630" y="1303"/>
                    <a:pt x="662" y="1288"/>
                  </a:cubicBezTo>
                  <a:cubicBezTo>
                    <a:pt x="753" y="1245"/>
                    <a:pt x="854" y="1156"/>
                    <a:pt x="938" y="1051"/>
                  </a:cubicBezTo>
                  <a:cubicBezTo>
                    <a:pt x="1020" y="948"/>
                    <a:pt x="1084" y="831"/>
                    <a:pt x="1106" y="731"/>
                  </a:cubicBezTo>
                  <a:cubicBezTo>
                    <a:pt x="1113" y="696"/>
                    <a:pt x="1089" y="661"/>
                    <a:pt x="1059" y="645"/>
                  </a:cubicBezTo>
                  <a:cubicBezTo>
                    <a:pt x="1001" y="613"/>
                    <a:pt x="1001" y="613"/>
                    <a:pt x="1001" y="613"/>
                  </a:cubicBezTo>
                  <a:cubicBezTo>
                    <a:pt x="942" y="580"/>
                    <a:pt x="888" y="499"/>
                    <a:pt x="924" y="432"/>
                  </a:cubicBezTo>
                  <a:cubicBezTo>
                    <a:pt x="1114" y="81"/>
                    <a:pt x="1114" y="81"/>
                    <a:pt x="1114" y="81"/>
                  </a:cubicBezTo>
                  <a:cubicBezTo>
                    <a:pt x="1150" y="16"/>
                    <a:pt x="1224" y="0"/>
                    <a:pt x="1287" y="35"/>
                  </a:cubicBezTo>
                  <a:cubicBezTo>
                    <a:pt x="1350" y="69"/>
                    <a:pt x="1350" y="69"/>
                    <a:pt x="1350" y="69"/>
                  </a:cubicBezTo>
                  <a:cubicBezTo>
                    <a:pt x="1415" y="105"/>
                    <a:pt x="1479" y="165"/>
                    <a:pt x="1527" y="235"/>
                  </a:cubicBezTo>
                  <a:cubicBezTo>
                    <a:pt x="1593" y="332"/>
                    <a:pt x="1624" y="442"/>
                    <a:pt x="1583" y="555"/>
                  </a:cubicBezTo>
                  <a:cubicBezTo>
                    <a:pt x="1500" y="781"/>
                    <a:pt x="1351" y="1030"/>
                    <a:pt x="1172" y="1253"/>
                  </a:cubicBezTo>
                  <a:cubicBezTo>
                    <a:pt x="994" y="1477"/>
                    <a:pt x="786" y="1676"/>
                    <a:pt x="586" y="1803"/>
                  </a:cubicBezTo>
                  <a:cubicBezTo>
                    <a:pt x="486" y="1867"/>
                    <a:pt x="375" y="1856"/>
                    <a:pt x="269" y="1807"/>
                  </a:cubicBezTo>
                  <a:cubicBezTo>
                    <a:pt x="157" y="1755"/>
                    <a:pt x="106" y="1695"/>
                    <a:pt x="33" y="1602"/>
                  </a:cubicBezTo>
                  <a:cubicBezTo>
                    <a:pt x="11" y="1573"/>
                    <a:pt x="0" y="1540"/>
                    <a:pt x="2" y="1508"/>
                  </a:cubicBezTo>
                  <a:cubicBezTo>
                    <a:pt x="4" y="1475"/>
                    <a:pt x="18" y="1444"/>
                    <a:pt x="45" y="1421"/>
                  </a:cubicBezTo>
                  <a:cubicBezTo>
                    <a:pt x="70" y="1399"/>
                    <a:pt x="346" y="1158"/>
                    <a:pt x="346" y="1158"/>
                  </a:cubicBezTo>
                  <a:cubicBezTo>
                    <a:pt x="376" y="1134"/>
                    <a:pt x="413" y="1133"/>
                    <a:pt x="448" y="1145"/>
                  </a:cubicBezTo>
                  <a:cubicBezTo>
                    <a:pt x="510" y="1166"/>
                    <a:pt x="536" y="1210"/>
                    <a:pt x="573" y="1257"/>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351" dirty="0"/>
            </a:p>
          </p:txBody>
        </p:sp>
      </p:grpSp>
      <p:grpSp>
        <p:nvGrpSpPr>
          <p:cNvPr id="11" name="Group 3">
            <a:extLst>
              <a:ext uri="{FF2B5EF4-FFF2-40B4-BE49-F238E27FC236}">
                <a16:creationId xmlns:a16="http://schemas.microsoft.com/office/drawing/2014/main" id="{DED6A25A-5DE2-1441-8BA2-C68D3B4F9209}"/>
              </a:ext>
            </a:extLst>
          </p:cNvPr>
          <p:cNvGrpSpPr>
            <a:grpSpLocks noChangeAspect="1"/>
          </p:cNvGrpSpPr>
          <p:nvPr>
            <p:custDataLst>
              <p:tags r:id="rId1"/>
            </p:custDataLst>
          </p:nvPr>
        </p:nvGrpSpPr>
        <p:grpSpPr>
          <a:xfrm>
            <a:off x="3770066" y="3153207"/>
            <a:ext cx="171180" cy="171180"/>
            <a:chOff x="328396" y="5313940"/>
            <a:chExt cx="720000" cy="720000"/>
          </a:xfrm>
        </p:grpSpPr>
        <p:sp>
          <p:nvSpPr>
            <p:cNvPr id="12" name="Rectangle 4">
              <a:extLst>
                <a:ext uri="{FF2B5EF4-FFF2-40B4-BE49-F238E27FC236}">
                  <a16:creationId xmlns:a16="http://schemas.microsoft.com/office/drawing/2014/main" id="{5F49E67F-D4FA-9D48-96BC-59AE946ECD15}"/>
                </a:ext>
              </a:extLst>
            </p:cNvPr>
            <p:cNvSpPr/>
            <p:nvPr/>
          </p:nvSpPr>
          <p:spPr bwMode="gray">
            <a:xfrm>
              <a:off x="328396" y="5313940"/>
              <a:ext cx="720000" cy="720000"/>
            </a:xfrm>
            <a:prstGeom prst="rect">
              <a:avLst/>
            </a:prstGeom>
            <a:solidFill>
              <a:srgbClr val="E55A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pPr>
              <a:endParaRPr lang="en-US" sz="1000" dirty="0">
                <a:solidFill>
                  <a:schemeClr val="tx1"/>
                </a:solidFill>
                <a:latin typeface="Arial" pitchFamily="34" charset="0"/>
                <a:cs typeface="Arial" pitchFamily="34" charset="0"/>
              </a:endParaRPr>
            </a:p>
          </p:txBody>
        </p:sp>
        <p:sp>
          <p:nvSpPr>
            <p:cNvPr id="13" name="Freeform 76">
              <a:extLst>
                <a:ext uri="{FF2B5EF4-FFF2-40B4-BE49-F238E27FC236}">
                  <a16:creationId xmlns:a16="http://schemas.microsoft.com/office/drawing/2014/main" id="{187E70E6-AF3F-2549-908E-DF4BA61040AA}"/>
                </a:ext>
              </a:extLst>
            </p:cNvPr>
            <p:cNvSpPr>
              <a:spLocks noChangeAspect="1" noEditPoints="1"/>
            </p:cNvSpPr>
            <p:nvPr/>
          </p:nvSpPr>
          <p:spPr bwMode="auto">
            <a:xfrm>
              <a:off x="456202" y="5509222"/>
              <a:ext cx="504000" cy="329436"/>
            </a:xfrm>
            <a:custGeom>
              <a:avLst/>
              <a:gdLst>
                <a:gd name="T0" fmla="*/ 0 w 2080"/>
                <a:gd name="T1" fmla="*/ 65 h 1360"/>
                <a:gd name="T2" fmla="*/ 0 w 2080"/>
                <a:gd name="T3" fmla="*/ 0 h 1360"/>
                <a:gd name="T4" fmla="*/ 2080 w 2080"/>
                <a:gd name="T5" fmla="*/ 0 h 1360"/>
                <a:gd name="T6" fmla="*/ 2080 w 2080"/>
                <a:gd name="T7" fmla="*/ 65 h 1360"/>
                <a:gd name="T8" fmla="*/ 1089 w 2080"/>
                <a:gd name="T9" fmla="*/ 862 h 1360"/>
                <a:gd name="T10" fmla="*/ 991 w 2080"/>
                <a:gd name="T11" fmla="*/ 862 h 1360"/>
                <a:gd name="T12" fmla="*/ 0 w 2080"/>
                <a:gd name="T13" fmla="*/ 65 h 1360"/>
                <a:gd name="T14" fmla="*/ 1139 w 2080"/>
                <a:gd name="T15" fmla="*/ 924 h 1360"/>
                <a:gd name="T16" fmla="*/ 1282 w 2080"/>
                <a:gd name="T17" fmla="*/ 810 h 1360"/>
                <a:gd name="T18" fmla="*/ 2076 w 2080"/>
                <a:gd name="T19" fmla="*/ 1360 h 1360"/>
                <a:gd name="T20" fmla="*/ 4 w 2080"/>
                <a:gd name="T21" fmla="*/ 1360 h 1360"/>
                <a:gd name="T22" fmla="*/ 798 w 2080"/>
                <a:gd name="T23" fmla="*/ 810 h 1360"/>
                <a:gd name="T24" fmla="*/ 941 w 2080"/>
                <a:gd name="T25" fmla="*/ 924 h 1360"/>
                <a:gd name="T26" fmla="*/ 1139 w 2080"/>
                <a:gd name="T27" fmla="*/ 924 h 1360"/>
                <a:gd name="T28" fmla="*/ 2 w 2080"/>
                <a:gd name="T29" fmla="*/ 137 h 1360"/>
                <a:gd name="T30" fmla="*/ 42 w 2080"/>
                <a:gd name="T31" fmla="*/ 201 h 1360"/>
                <a:gd name="T32" fmla="*/ 734 w 2080"/>
                <a:gd name="T33" fmla="*/ 758 h 1360"/>
                <a:gd name="T34" fmla="*/ 0 w 2080"/>
                <a:gd name="T35" fmla="*/ 1266 h 1360"/>
                <a:gd name="T36" fmla="*/ 0 w 2080"/>
                <a:gd name="T37" fmla="*/ 135 h 1360"/>
                <a:gd name="T38" fmla="*/ 2 w 2080"/>
                <a:gd name="T39" fmla="*/ 137 h 1360"/>
                <a:gd name="T40" fmla="*/ 2080 w 2080"/>
                <a:gd name="T41" fmla="*/ 136 h 1360"/>
                <a:gd name="T42" fmla="*/ 2080 w 2080"/>
                <a:gd name="T43" fmla="*/ 1265 h 1360"/>
                <a:gd name="T44" fmla="*/ 1346 w 2080"/>
                <a:gd name="T45" fmla="*/ 758 h 1360"/>
                <a:gd name="T46" fmla="*/ 2038 w 2080"/>
                <a:gd name="T47" fmla="*/ 201 h 1360"/>
                <a:gd name="T48" fmla="*/ 2080 w 2080"/>
                <a:gd name="T49" fmla="*/ 136 h 1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080" h="1360">
                  <a:moveTo>
                    <a:pt x="0" y="65"/>
                  </a:moveTo>
                  <a:cubicBezTo>
                    <a:pt x="0" y="0"/>
                    <a:pt x="0" y="0"/>
                    <a:pt x="0" y="0"/>
                  </a:cubicBezTo>
                  <a:cubicBezTo>
                    <a:pt x="2080" y="0"/>
                    <a:pt x="2080" y="0"/>
                    <a:pt x="2080" y="0"/>
                  </a:cubicBezTo>
                  <a:cubicBezTo>
                    <a:pt x="2080" y="65"/>
                    <a:pt x="2080" y="65"/>
                    <a:pt x="2080" y="65"/>
                  </a:cubicBezTo>
                  <a:cubicBezTo>
                    <a:pt x="1089" y="862"/>
                    <a:pt x="1089" y="862"/>
                    <a:pt x="1089" y="862"/>
                  </a:cubicBezTo>
                  <a:cubicBezTo>
                    <a:pt x="1060" y="886"/>
                    <a:pt x="1020" y="886"/>
                    <a:pt x="991" y="862"/>
                  </a:cubicBezTo>
                  <a:lnTo>
                    <a:pt x="0" y="65"/>
                  </a:lnTo>
                  <a:close/>
                  <a:moveTo>
                    <a:pt x="1139" y="924"/>
                  </a:moveTo>
                  <a:cubicBezTo>
                    <a:pt x="1282" y="810"/>
                    <a:pt x="1282" y="810"/>
                    <a:pt x="1282" y="810"/>
                  </a:cubicBezTo>
                  <a:cubicBezTo>
                    <a:pt x="2076" y="1360"/>
                    <a:pt x="2076" y="1360"/>
                    <a:pt x="2076" y="1360"/>
                  </a:cubicBezTo>
                  <a:cubicBezTo>
                    <a:pt x="4" y="1360"/>
                    <a:pt x="4" y="1360"/>
                    <a:pt x="4" y="1360"/>
                  </a:cubicBezTo>
                  <a:cubicBezTo>
                    <a:pt x="798" y="810"/>
                    <a:pt x="798" y="810"/>
                    <a:pt x="798" y="810"/>
                  </a:cubicBezTo>
                  <a:cubicBezTo>
                    <a:pt x="941" y="924"/>
                    <a:pt x="941" y="924"/>
                    <a:pt x="941" y="924"/>
                  </a:cubicBezTo>
                  <a:cubicBezTo>
                    <a:pt x="1000" y="972"/>
                    <a:pt x="1080" y="972"/>
                    <a:pt x="1139" y="924"/>
                  </a:cubicBezTo>
                  <a:close/>
                  <a:moveTo>
                    <a:pt x="2" y="137"/>
                  </a:moveTo>
                  <a:cubicBezTo>
                    <a:pt x="8" y="163"/>
                    <a:pt x="22" y="185"/>
                    <a:pt x="42" y="201"/>
                  </a:cubicBezTo>
                  <a:cubicBezTo>
                    <a:pt x="734" y="758"/>
                    <a:pt x="734" y="758"/>
                    <a:pt x="734" y="758"/>
                  </a:cubicBezTo>
                  <a:cubicBezTo>
                    <a:pt x="0" y="1266"/>
                    <a:pt x="0" y="1266"/>
                    <a:pt x="0" y="1266"/>
                  </a:cubicBezTo>
                  <a:cubicBezTo>
                    <a:pt x="0" y="135"/>
                    <a:pt x="0" y="135"/>
                    <a:pt x="0" y="135"/>
                  </a:cubicBezTo>
                  <a:lnTo>
                    <a:pt x="2" y="137"/>
                  </a:lnTo>
                  <a:close/>
                  <a:moveTo>
                    <a:pt x="2080" y="136"/>
                  </a:moveTo>
                  <a:cubicBezTo>
                    <a:pt x="2080" y="1265"/>
                    <a:pt x="2080" y="1265"/>
                    <a:pt x="2080" y="1265"/>
                  </a:cubicBezTo>
                  <a:cubicBezTo>
                    <a:pt x="1346" y="758"/>
                    <a:pt x="1346" y="758"/>
                    <a:pt x="1346" y="758"/>
                  </a:cubicBezTo>
                  <a:cubicBezTo>
                    <a:pt x="2038" y="201"/>
                    <a:pt x="2038" y="201"/>
                    <a:pt x="2038" y="201"/>
                  </a:cubicBezTo>
                  <a:cubicBezTo>
                    <a:pt x="2060" y="182"/>
                    <a:pt x="2072" y="162"/>
                    <a:pt x="2080" y="13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000"/>
            </a:p>
          </p:txBody>
        </p:sp>
      </p:grpSp>
      <p:grpSp>
        <p:nvGrpSpPr>
          <p:cNvPr id="14" name="Gruppieren 2">
            <a:extLst>
              <a:ext uri="{FF2B5EF4-FFF2-40B4-BE49-F238E27FC236}">
                <a16:creationId xmlns:a16="http://schemas.microsoft.com/office/drawing/2014/main" id="{BE697CE9-EBDE-6B4A-BE70-582D92A8A831}"/>
              </a:ext>
            </a:extLst>
          </p:cNvPr>
          <p:cNvGrpSpPr/>
          <p:nvPr/>
        </p:nvGrpSpPr>
        <p:grpSpPr>
          <a:xfrm>
            <a:off x="8701917" y="2868319"/>
            <a:ext cx="171180" cy="171180"/>
            <a:chOff x="3392092" y="1841122"/>
            <a:chExt cx="646508" cy="646508"/>
          </a:xfrm>
        </p:grpSpPr>
        <p:sp>
          <p:nvSpPr>
            <p:cNvPr id="15" name="Rechteck 14">
              <a:extLst>
                <a:ext uri="{FF2B5EF4-FFF2-40B4-BE49-F238E27FC236}">
                  <a16:creationId xmlns:a16="http://schemas.microsoft.com/office/drawing/2014/main" id="{E142A731-19B7-C34D-9534-9E05108F895F}"/>
                </a:ext>
              </a:extLst>
            </p:cNvPr>
            <p:cNvSpPr>
              <a:spLocks noChangeAspect="1"/>
            </p:cNvSpPr>
            <p:nvPr/>
          </p:nvSpPr>
          <p:spPr bwMode="gray">
            <a:xfrm>
              <a:off x="3392092" y="1841122"/>
              <a:ext cx="646508" cy="646508"/>
            </a:xfrm>
            <a:prstGeom prst="rect">
              <a:avLst/>
            </a:prstGeom>
            <a:solidFill>
              <a:srgbClr val="E55A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pPr>
              <a:endParaRPr lang="en-US" sz="1000" dirty="0">
                <a:solidFill>
                  <a:schemeClr val="tx1"/>
                </a:solidFill>
                <a:latin typeface="Arial" pitchFamily="34" charset="0"/>
                <a:cs typeface="Arial" pitchFamily="34" charset="0"/>
              </a:endParaRPr>
            </a:p>
          </p:txBody>
        </p:sp>
        <p:sp>
          <p:nvSpPr>
            <p:cNvPr id="16" name="Freeform 15">
              <a:extLst>
                <a:ext uri="{FF2B5EF4-FFF2-40B4-BE49-F238E27FC236}">
                  <a16:creationId xmlns:a16="http://schemas.microsoft.com/office/drawing/2014/main" id="{F97E84AE-4AD9-4B44-9AA1-F797FC373809}"/>
                </a:ext>
              </a:extLst>
            </p:cNvPr>
            <p:cNvSpPr>
              <a:spLocks noChangeAspect="1"/>
            </p:cNvSpPr>
            <p:nvPr/>
          </p:nvSpPr>
          <p:spPr bwMode="auto">
            <a:xfrm>
              <a:off x="3546638" y="1970424"/>
              <a:ext cx="337415" cy="387905"/>
            </a:xfrm>
            <a:custGeom>
              <a:avLst/>
              <a:gdLst>
                <a:gd name="T0" fmla="*/ 573 w 1624"/>
                <a:gd name="T1" fmla="*/ 1257 h 1867"/>
                <a:gd name="T2" fmla="*/ 662 w 1624"/>
                <a:gd name="T3" fmla="*/ 1288 h 1867"/>
                <a:gd name="T4" fmla="*/ 938 w 1624"/>
                <a:gd name="T5" fmla="*/ 1051 h 1867"/>
                <a:gd name="T6" fmla="*/ 1106 w 1624"/>
                <a:gd name="T7" fmla="*/ 731 h 1867"/>
                <a:gd name="T8" fmla="*/ 1059 w 1624"/>
                <a:gd name="T9" fmla="*/ 645 h 1867"/>
                <a:gd name="T10" fmla="*/ 1001 w 1624"/>
                <a:gd name="T11" fmla="*/ 613 h 1867"/>
                <a:gd name="T12" fmla="*/ 924 w 1624"/>
                <a:gd name="T13" fmla="*/ 432 h 1867"/>
                <a:gd name="T14" fmla="*/ 1114 w 1624"/>
                <a:gd name="T15" fmla="*/ 81 h 1867"/>
                <a:gd name="T16" fmla="*/ 1287 w 1624"/>
                <a:gd name="T17" fmla="*/ 35 h 1867"/>
                <a:gd name="T18" fmla="*/ 1350 w 1624"/>
                <a:gd name="T19" fmla="*/ 69 h 1867"/>
                <a:gd name="T20" fmla="*/ 1527 w 1624"/>
                <a:gd name="T21" fmla="*/ 235 h 1867"/>
                <a:gd name="T22" fmla="*/ 1583 w 1624"/>
                <a:gd name="T23" fmla="*/ 555 h 1867"/>
                <a:gd name="T24" fmla="*/ 1172 w 1624"/>
                <a:gd name="T25" fmla="*/ 1253 h 1867"/>
                <a:gd name="T26" fmla="*/ 586 w 1624"/>
                <a:gd name="T27" fmla="*/ 1803 h 1867"/>
                <a:gd name="T28" fmla="*/ 269 w 1624"/>
                <a:gd name="T29" fmla="*/ 1807 h 1867"/>
                <a:gd name="T30" fmla="*/ 33 w 1624"/>
                <a:gd name="T31" fmla="*/ 1602 h 1867"/>
                <a:gd name="T32" fmla="*/ 2 w 1624"/>
                <a:gd name="T33" fmla="*/ 1508 h 1867"/>
                <a:gd name="T34" fmla="*/ 45 w 1624"/>
                <a:gd name="T35" fmla="*/ 1421 h 1867"/>
                <a:gd name="T36" fmla="*/ 346 w 1624"/>
                <a:gd name="T37" fmla="*/ 1158 h 1867"/>
                <a:gd name="T38" fmla="*/ 448 w 1624"/>
                <a:gd name="T39" fmla="*/ 1145 h 1867"/>
                <a:gd name="T40" fmla="*/ 573 w 1624"/>
                <a:gd name="T41" fmla="*/ 1257 h 18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24" h="1867">
                  <a:moveTo>
                    <a:pt x="573" y="1257"/>
                  </a:moveTo>
                  <a:cubicBezTo>
                    <a:pt x="592" y="1282"/>
                    <a:pt x="630" y="1303"/>
                    <a:pt x="662" y="1288"/>
                  </a:cubicBezTo>
                  <a:cubicBezTo>
                    <a:pt x="753" y="1245"/>
                    <a:pt x="854" y="1156"/>
                    <a:pt x="938" y="1051"/>
                  </a:cubicBezTo>
                  <a:cubicBezTo>
                    <a:pt x="1020" y="948"/>
                    <a:pt x="1084" y="831"/>
                    <a:pt x="1106" y="731"/>
                  </a:cubicBezTo>
                  <a:cubicBezTo>
                    <a:pt x="1113" y="696"/>
                    <a:pt x="1089" y="661"/>
                    <a:pt x="1059" y="645"/>
                  </a:cubicBezTo>
                  <a:cubicBezTo>
                    <a:pt x="1001" y="613"/>
                    <a:pt x="1001" y="613"/>
                    <a:pt x="1001" y="613"/>
                  </a:cubicBezTo>
                  <a:cubicBezTo>
                    <a:pt x="942" y="580"/>
                    <a:pt x="888" y="499"/>
                    <a:pt x="924" y="432"/>
                  </a:cubicBezTo>
                  <a:cubicBezTo>
                    <a:pt x="1114" y="81"/>
                    <a:pt x="1114" y="81"/>
                    <a:pt x="1114" y="81"/>
                  </a:cubicBezTo>
                  <a:cubicBezTo>
                    <a:pt x="1150" y="16"/>
                    <a:pt x="1224" y="0"/>
                    <a:pt x="1287" y="35"/>
                  </a:cubicBezTo>
                  <a:cubicBezTo>
                    <a:pt x="1350" y="69"/>
                    <a:pt x="1350" y="69"/>
                    <a:pt x="1350" y="69"/>
                  </a:cubicBezTo>
                  <a:cubicBezTo>
                    <a:pt x="1415" y="105"/>
                    <a:pt x="1479" y="165"/>
                    <a:pt x="1527" y="235"/>
                  </a:cubicBezTo>
                  <a:cubicBezTo>
                    <a:pt x="1593" y="332"/>
                    <a:pt x="1624" y="442"/>
                    <a:pt x="1583" y="555"/>
                  </a:cubicBezTo>
                  <a:cubicBezTo>
                    <a:pt x="1500" y="781"/>
                    <a:pt x="1351" y="1030"/>
                    <a:pt x="1172" y="1253"/>
                  </a:cubicBezTo>
                  <a:cubicBezTo>
                    <a:pt x="994" y="1477"/>
                    <a:pt x="786" y="1676"/>
                    <a:pt x="586" y="1803"/>
                  </a:cubicBezTo>
                  <a:cubicBezTo>
                    <a:pt x="486" y="1867"/>
                    <a:pt x="375" y="1856"/>
                    <a:pt x="269" y="1807"/>
                  </a:cubicBezTo>
                  <a:cubicBezTo>
                    <a:pt x="157" y="1755"/>
                    <a:pt x="106" y="1695"/>
                    <a:pt x="33" y="1602"/>
                  </a:cubicBezTo>
                  <a:cubicBezTo>
                    <a:pt x="11" y="1573"/>
                    <a:pt x="0" y="1540"/>
                    <a:pt x="2" y="1508"/>
                  </a:cubicBezTo>
                  <a:cubicBezTo>
                    <a:pt x="4" y="1475"/>
                    <a:pt x="18" y="1444"/>
                    <a:pt x="45" y="1421"/>
                  </a:cubicBezTo>
                  <a:cubicBezTo>
                    <a:pt x="70" y="1399"/>
                    <a:pt x="346" y="1158"/>
                    <a:pt x="346" y="1158"/>
                  </a:cubicBezTo>
                  <a:cubicBezTo>
                    <a:pt x="376" y="1134"/>
                    <a:pt x="413" y="1133"/>
                    <a:pt x="448" y="1145"/>
                  </a:cubicBezTo>
                  <a:cubicBezTo>
                    <a:pt x="510" y="1166"/>
                    <a:pt x="536" y="1210"/>
                    <a:pt x="573" y="1257"/>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351" dirty="0"/>
            </a:p>
          </p:txBody>
        </p:sp>
      </p:grpSp>
      <p:grpSp>
        <p:nvGrpSpPr>
          <p:cNvPr id="17" name="Group 3">
            <a:extLst>
              <a:ext uri="{FF2B5EF4-FFF2-40B4-BE49-F238E27FC236}">
                <a16:creationId xmlns:a16="http://schemas.microsoft.com/office/drawing/2014/main" id="{7104BADD-8CD1-6F4A-B894-869C3BDB3EEB}"/>
              </a:ext>
            </a:extLst>
          </p:cNvPr>
          <p:cNvGrpSpPr>
            <a:grpSpLocks noChangeAspect="1"/>
          </p:cNvGrpSpPr>
          <p:nvPr>
            <p:custDataLst>
              <p:tags r:id="rId2"/>
            </p:custDataLst>
          </p:nvPr>
        </p:nvGrpSpPr>
        <p:grpSpPr>
          <a:xfrm>
            <a:off x="8701918" y="3153207"/>
            <a:ext cx="171180" cy="171180"/>
            <a:chOff x="328396" y="5313940"/>
            <a:chExt cx="720000" cy="720000"/>
          </a:xfrm>
        </p:grpSpPr>
        <p:sp>
          <p:nvSpPr>
            <p:cNvPr id="18" name="Rectangle 4">
              <a:extLst>
                <a:ext uri="{FF2B5EF4-FFF2-40B4-BE49-F238E27FC236}">
                  <a16:creationId xmlns:a16="http://schemas.microsoft.com/office/drawing/2014/main" id="{74BE3D5F-1445-6E40-8B49-72E15568383B}"/>
                </a:ext>
              </a:extLst>
            </p:cNvPr>
            <p:cNvSpPr/>
            <p:nvPr/>
          </p:nvSpPr>
          <p:spPr bwMode="gray">
            <a:xfrm>
              <a:off x="328396" y="5313940"/>
              <a:ext cx="720000" cy="720000"/>
            </a:xfrm>
            <a:prstGeom prst="rect">
              <a:avLst/>
            </a:prstGeom>
            <a:solidFill>
              <a:srgbClr val="E55A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pPr>
              <a:endParaRPr lang="en-US" sz="1000" dirty="0">
                <a:solidFill>
                  <a:schemeClr val="tx1"/>
                </a:solidFill>
                <a:latin typeface="Arial" pitchFamily="34" charset="0"/>
                <a:cs typeface="Arial" pitchFamily="34" charset="0"/>
              </a:endParaRPr>
            </a:p>
          </p:txBody>
        </p:sp>
        <p:sp>
          <p:nvSpPr>
            <p:cNvPr id="19" name="Freeform 76">
              <a:extLst>
                <a:ext uri="{FF2B5EF4-FFF2-40B4-BE49-F238E27FC236}">
                  <a16:creationId xmlns:a16="http://schemas.microsoft.com/office/drawing/2014/main" id="{55DB3C95-7D0C-D141-901E-96D692794D2B}"/>
                </a:ext>
              </a:extLst>
            </p:cNvPr>
            <p:cNvSpPr>
              <a:spLocks noChangeAspect="1" noEditPoints="1"/>
            </p:cNvSpPr>
            <p:nvPr/>
          </p:nvSpPr>
          <p:spPr bwMode="auto">
            <a:xfrm>
              <a:off x="456202" y="5509222"/>
              <a:ext cx="504000" cy="329436"/>
            </a:xfrm>
            <a:custGeom>
              <a:avLst/>
              <a:gdLst>
                <a:gd name="T0" fmla="*/ 0 w 2080"/>
                <a:gd name="T1" fmla="*/ 65 h 1360"/>
                <a:gd name="T2" fmla="*/ 0 w 2080"/>
                <a:gd name="T3" fmla="*/ 0 h 1360"/>
                <a:gd name="T4" fmla="*/ 2080 w 2080"/>
                <a:gd name="T5" fmla="*/ 0 h 1360"/>
                <a:gd name="T6" fmla="*/ 2080 w 2080"/>
                <a:gd name="T7" fmla="*/ 65 h 1360"/>
                <a:gd name="T8" fmla="*/ 1089 w 2080"/>
                <a:gd name="T9" fmla="*/ 862 h 1360"/>
                <a:gd name="T10" fmla="*/ 991 w 2080"/>
                <a:gd name="T11" fmla="*/ 862 h 1360"/>
                <a:gd name="T12" fmla="*/ 0 w 2080"/>
                <a:gd name="T13" fmla="*/ 65 h 1360"/>
                <a:gd name="T14" fmla="*/ 1139 w 2080"/>
                <a:gd name="T15" fmla="*/ 924 h 1360"/>
                <a:gd name="T16" fmla="*/ 1282 w 2080"/>
                <a:gd name="T17" fmla="*/ 810 h 1360"/>
                <a:gd name="T18" fmla="*/ 2076 w 2080"/>
                <a:gd name="T19" fmla="*/ 1360 h 1360"/>
                <a:gd name="T20" fmla="*/ 4 w 2080"/>
                <a:gd name="T21" fmla="*/ 1360 h 1360"/>
                <a:gd name="T22" fmla="*/ 798 w 2080"/>
                <a:gd name="T23" fmla="*/ 810 h 1360"/>
                <a:gd name="T24" fmla="*/ 941 w 2080"/>
                <a:gd name="T25" fmla="*/ 924 h 1360"/>
                <a:gd name="T26" fmla="*/ 1139 w 2080"/>
                <a:gd name="T27" fmla="*/ 924 h 1360"/>
                <a:gd name="T28" fmla="*/ 2 w 2080"/>
                <a:gd name="T29" fmla="*/ 137 h 1360"/>
                <a:gd name="T30" fmla="*/ 42 w 2080"/>
                <a:gd name="T31" fmla="*/ 201 h 1360"/>
                <a:gd name="T32" fmla="*/ 734 w 2080"/>
                <a:gd name="T33" fmla="*/ 758 h 1360"/>
                <a:gd name="T34" fmla="*/ 0 w 2080"/>
                <a:gd name="T35" fmla="*/ 1266 h 1360"/>
                <a:gd name="T36" fmla="*/ 0 w 2080"/>
                <a:gd name="T37" fmla="*/ 135 h 1360"/>
                <a:gd name="T38" fmla="*/ 2 w 2080"/>
                <a:gd name="T39" fmla="*/ 137 h 1360"/>
                <a:gd name="T40" fmla="*/ 2080 w 2080"/>
                <a:gd name="T41" fmla="*/ 136 h 1360"/>
                <a:gd name="T42" fmla="*/ 2080 w 2080"/>
                <a:gd name="T43" fmla="*/ 1265 h 1360"/>
                <a:gd name="T44" fmla="*/ 1346 w 2080"/>
                <a:gd name="T45" fmla="*/ 758 h 1360"/>
                <a:gd name="T46" fmla="*/ 2038 w 2080"/>
                <a:gd name="T47" fmla="*/ 201 h 1360"/>
                <a:gd name="T48" fmla="*/ 2080 w 2080"/>
                <a:gd name="T49" fmla="*/ 136 h 1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080" h="1360">
                  <a:moveTo>
                    <a:pt x="0" y="65"/>
                  </a:moveTo>
                  <a:cubicBezTo>
                    <a:pt x="0" y="0"/>
                    <a:pt x="0" y="0"/>
                    <a:pt x="0" y="0"/>
                  </a:cubicBezTo>
                  <a:cubicBezTo>
                    <a:pt x="2080" y="0"/>
                    <a:pt x="2080" y="0"/>
                    <a:pt x="2080" y="0"/>
                  </a:cubicBezTo>
                  <a:cubicBezTo>
                    <a:pt x="2080" y="65"/>
                    <a:pt x="2080" y="65"/>
                    <a:pt x="2080" y="65"/>
                  </a:cubicBezTo>
                  <a:cubicBezTo>
                    <a:pt x="1089" y="862"/>
                    <a:pt x="1089" y="862"/>
                    <a:pt x="1089" y="862"/>
                  </a:cubicBezTo>
                  <a:cubicBezTo>
                    <a:pt x="1060" y="886"/>
                    <a:pt x="1020" y="886"/>
                    <a:pt x="991" y="862"/>
                  </a:cubicBezTo>
                  <a:lnTo>
                    <a:pt x="0" y="65"/>
                  </a:lnTo>
                  <a:close/>
                  <a:moveTo>
                    <a:pt x="1139" y="924"/>
                  </a:moveTo>
                  <a:cubicBezTo>
                    <a:pt x="1282" y="810"/>
                    <a:pt x="1282" y="810"/>
                    <a:pt x="1282" y="810"/>
                  </a:cubicBezTo>
                  <a:cubicBezTo>
                    <a:pt x="2076" y="1360"/>
                    <a:pt x="2076" y="1360"/>
                    <a:pt x="2076" y="1360"/>
                  </a:cubicBezTo>
                  <a:cubicBezTo>
                    <a:pt x="4" y="1360"/>
                    <a:pt x="4" y="1360"/>
                    <a:pt x="4" y="1360"/>
                  </a:cubicBezTo>
                  <a:cubicBezTo>
                    <a:pt x="798" y="810"/>
                    <a:pt x="798" y="810"/>
                    <a:pt x="798" y="810"/>
                  </a:cubicBezTo>
                  <a:cubicBezTo>
                    <a:pt x="941" y="924"/>
                    <a:pt x="941" y="924"/>
                    <a:pt x="941" y="924"/>
                  </a:cubicBezTo>
                  <a:cubicBezTo>
                    <a:pt x="1000" y="972"/>
                    <a:pt x="1080" y="972"/>
                    <a:pt x="1139" y="924"/>
                  </a:cubicBezTo>
                  <a:close/>
                  <a:moveTo>
                    <a:pt x="2" y="137"/>
                  </a:moveTo>
                  <a:cubicBezTo>
                    <a:pt x="8" y="163"/>
                    <a:pt x="22" y="185"/>
                    <a:pt x="42" y="201"/>
                  </a:cubicBezTo>
                  <a:cubicBezTo>
                    <a:pt x="734" y="758"/>
                    <a:pt x="734" y="758"/>
                    <a:pt x="734" y="758"/>
                  </a:cubicBezTo>
                  <a:cubicBezTo>
                    <a:pt x="0" y="1266"/>
                    <a:pt x="0" y="1266"/>
                    <a:pt x="0" y="1266"/>
                  </a:cubicBezTo>
                  <a:cubicBezTo>
                    <a:pt x="0" y="135"/>
                    <a:pt x="0" y="135"/>
                    <a:pt x="0" y="135"/>
                  </a:cubicBezTo>
                  <a:lnTo>
                    <a:pt x="2" y="137"/>
                  </a:lnTo>
                  <a:close/>
                  <a:moveTo>
                    <a:pt x="2080" y="136"/>
                  </a:moveTo>
                  <a:cubicBezTo>
                    <a:pt x="2080" y="1265"/>
                    <a:pt x="2080" y="1265"/>
                    <a:pt x="2080" y="1265"/>
                  </a:cubicBezTo>
                  <a:cubicBezTo>
                    <a:pt x="1346" y="758"/>
                    <a:pt x="1346" y="758"/>
                    <a:pt x="1346" y="758"/>
                  </a:cubicBezTo>
                  <a:cubicBezTo>
                    <a:pt x="2038" y="201"/>
                    <a:pt x="2038" y="201"/>
                    <a:pt x="2038" y="201"/>
                  </a:cubicBezTo>
                  <a:cubicBezTo>
                    <a:pt x="2060" y="182"/>
                    <a:pt x="2072" y="162"/>
                    <a:pt x="2080" y="13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000"/>
            </a:p>
          </p:txBody>
        </p:sp>
      </p:grpSp>
      <p:cxnSp>
        <p:nvCxnSpPr>
          <p:cNvPr id="20" name="Straight Connector 19"/>
          <p:cNvCxnSpPr/>
          <p:nvPr/>
        </p:nvCxnSpPr>
        <p:spPr>
          <a:xfrm>
            <a:off x="2371725" y="3478213"/>
            <a:ext cx="3888000" cy="0"/>
          </a:xfrm>
          <a:prstGeom prst="line">
            <a:avLst/>
          </a:prstGeom>
          <a:ln w="6350">
            <a:solidFill>
              <a:schemeClr val="tx2"/>
            </a:solidFill>
            <a:prstDash val="dash"/>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p:nvCxnSpPr>
        <p:spPr>
          <a:xfrm>
            <a:off x="7287766" y="3478213"/>
            <a:ext cx="3888000" cy="0"/>
          </a:xfrm>
          <a:prstGeom prst="line">
            <a:avLst/>
          </a:prstGeom>
          <a:ln w="6350">
            <a:solidFill>
              <a:schemeClr val="tx2"/>
            </a:solidFill>
            <a:prstDash val="dash"/>
          </a:ln>
        </p:spPr>
        <p:style>
          <a:lnRef idx="1">
            <a:schemeClr val="accent1"/>
          </a:lnRef>
          <a:fillRef idx="0">
            <a:schemeClr val="accent1"/>
          </a:fillRef>
          <a:effectRef idx="0">
            <a:schemeClr val="accent1"/>
          </a:effectRef>
          <a:fontRef idx="minor">
            <a:schemeClr val="tx1"/>
          </a:fontRef>
        </p:style>
      </p:cxnSp>
      <p:sp>
        <p:nvSpPr>
          <p:cNvPr id="4" name="Picture Placeholder 3"/>
          <p:cNvSpPr>
            <a:spLocks noGrp="1"/>
          </p:cNvSpPr>
          <p:nvPr>
            <p:ph type="pic" sz="quarter" idx="17" hasCustomPrompt="1"/>
          </p:nvPr>
        </p:nvSpPr>
        <p:spPr>
          <a:xfrm>
            <a:off x="2355914" y="1808984"/>
            <a:ext cx="1188677" cy="1547840"/>
          </a:xfrm>
          <a:solidFill>
            <a:srgbClr val="D9DADB"/>
          </a:solidFill>
        </p:spPr>
        <p:txBody>
          <a:bodyPr/>
          <a:lstStyle>
            <a:lvl1pPr marL="0" indent="0">
              <a:buNone/>
              <a:defRPr sz="1400"/>
            </a:lvl1pPr>
          </a:lstStyle>
          <a:p>
            <a:r>
              <a:rPr lang="en-US" dirty="0"/>
              <a:t>Insert picture</a:t>
            </a:r>
          </a:p>
        </p:txBody>
      </p:sp>
      <p:sp>
        <p:nvSpPr>
          <p:cNvPr id="25" name="Picture Placeholder 3"/>
          <p:cNvSpPr>
            <a:spLocks noGrp="1"/>
          </p:cNvSpPr>
          <p:nvPr>
            <p:ph type="pic" sz="quarter" idx="18" hasCustomPrompt="1"/>
          </p:nvPr>
        </p:nvSpPr>
        <p:spPr>
          <a:xfrm>
            <a:off x="7287766" y="1808984"/>
            <a:ext cx="1188677" cy="1547840"/>
          </a:xfrm>
          <a:solidFill>
            <a:srgbClr val="D9DADB"/>
          </a:solidFill>
        </p:spPr>
        <p:txBody>
          <a:bodyPr/>
          <a:lstStyle>
            <a:lvl1pPr marL="0" indent="0">
              <a:buNone/>
              <a:defRPr sz="1400"/>
            </a:lvl1pPr>
          </a:lstStyle>
          <a:p>
            <a:r>
              <a:rPr lang="en-US" dirty="0"/>
              <a:t>Insert picture</a:t>
            </a:r>
          </a:p>
        </p:txBody>
      </p:sp>
      <p:sp>
        <p:nvSpPr>
          <p:cNvPr id="6" name="Text Placeholder 5"/>
          <p:cNvSpPr>
            <a:spLocks noGrp="1"/>
          </p:cNvSpPr>
          <p:nvPr>
            <p:ph type="body" sz="quarter" idx="19" hasCustomPrompt="1"/>
          </p:nvPr>
        </p:nvSpPr>
        <p:spPr>
          <a:xfrm>
            <a:off x="3770065" y="1808521"/>
            <a:ext cx="2463190" cy="192360"/>
          </a:xfrm>
        </p:spPr>
        <p:txBody>
          <a:bodyPr lIns="0" tIns="0" rIns="0" bIns="0" anchor="ctr" anchorCtr="0"/>
          <a:lstStyle>
            <a:lvl1pPr marL="0" indent="0" algn="l">
              <a:lnSpc>
                <a:spcPct val="100000"/>
              </a:lnSpc>
              <a:buNone/>
              <a:defRPr sz="100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Country</a:t>
            </a:r>
          </a:p>
        </p:txBody>
      </p:sp>
      <p:sp>
        <p:nvSpPr>
          <p:cNvPr id="26" name="Text Placeholder 5"/>
          <p:cNvSpPr>
            <a:spLocks noGrp="1"/>
          </p:cNvSpPr>
          <p:nvPr>
            <p:ph type="body" sz="quarter" idx="20" hasCustomPrompt="1"/>
          </p:nvPr>
        </p:nvSpPr>
        <p:spPr>
          <a:xfrm>
            <a:off x="3770065" y="2020337"/>
            <a:ext cx="2463190" cy="266182"/>
          </a:xfrm>
        </p:spPr>
        <p:txBody>
          <a:bodyPr lIns="0" tIns="0" rIns="0" bIns="0" anchor="b" anchorCtr="0"/>
          <a:lstStyle>
            <a:lvl1pPr marL="0" indent="0" algn="l">
              <a:lnSpc>
                <a:spcPct val="100000"/>
              </a:lnSpc>
              <a:buNone/>
              <a:defRPr sz="1400" b="1" baseline="0">
                <a:solidFill>
                  <a:schemeClr val="tx2"/>
                </a:solidFill>
              </a:defRPr>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Name, Surname</a:t>
            </a:r>
          </a:p>
        </p:txBody>
      </p:sp>
      <p:sp>
        <p:nvSpPr>
          <p:cNvPr id="27" name="Text Placeholder 5"/>
          <p:cNvSpPr>
            <a:spLocks noGrp="1"/>
          </p:cNvSpPr>
          <p:nvPr>
            <p:ph type="body" sz="quarter" idx="21" hasCustomPrompt="1"/>
          </p:nvPr>
        </p:nvSpPr>
        <p:spPr>
          <a:xfrm>
            <a:off x="3770065" y="2316912"/>
            <a:ext cx="2463190"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Job Position</a:t>
            </a:r>
          </a:p>
        </p:txBody>
      </p:sp>
      <p:sp>
        <p:nvSpPr>
          <p:cNvPr id="28" name="Text Placeholder 5"/>
          <p:cNvSpPr>
            <a:spLocks noGrp="1"/>
          </p:cNvSpPr>
          <p:nvPr>
            <p:ph type="body" sz="quarter" idx="22" hasCustomPrompt="1"/>
          </p:nvPr>
        </p:nvSpPr>
        <p:spPr>
          <a:xfrm>
            <a:off x="4014948" y="2845588"/>
            <a:ext cx="2218307"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Phone number</a:t>
            </a:r>
          </a:p>
        </p:txBody>
      </p:sp>
      <p:sp>
        <p:nvSpPr>
          <p:cNvPr id="29" name="Text Placeholder 5"/>
          <p:cNvSpPr>
            <a:spLocks noGrp="1"/>
          </p:cNvSpPr>
          <p:nvPr>
            <p:ph type="body" sz="quarter" idx="23" hasCustomPrompt="1"/>
          </p:nvPr>
        </p:nvSpPr>
        <p:spPr>
          <a:xfrm>
            <a:off x="4014948" y="3128395"/>
            <a:ext cx="2218307"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Email address</a:t>
            </a:r>
          </a:p>
        </p:txBody>
      </p:sp>
      <p:sp>
        <p:nvSpPr>
          <p:cNvPr id="30" name="Text Placeholder 5"/>
          <p:cNvSpPr>
            <a:spLocks noGrp="1"/>
          </p:cNvSpPr>
          <p:nvPr>
            <p:ph type="body" sz="quarter" idx="24" hasCustomPrompt="1"/>
          </p:nvPr>
        </p:nvSpPr>
        <p:spPr>
          <a:xfrm>
            <a:off x="8701917" y="1808521"/>
            <a:ext cx="2463190" cy="192360"/>
          </a:xfrm>
        </p:spPr>
        <p:txBody>
          <a:bodyPr lIns="0" tIns="0" rIns="0" bIns="0" anchor="ctr" anchorCtr="0"/>
          <a:lstStyle>
            <a:lvl1pPr marL="0" indent="0" algn="l">
              <a:lnSpc>
                <a:spcPct val="100000"/>
              </a:lnSpc>
              <a:buNone/>
              <a:defRPr sz="100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Country</a:t>
            </a:r>
          </a:p>
        </p:txBody>
      </p:sp>
      <p:sp>
        <p:nvSpPr>
          <p:cNvPr id="31" name="Text Placeholder 5"/>
          <p:cNvSpPr>
            <a:spLocks noGrp="1"/>
          </p:cNvSpPr>
          <p:nvPr>
            <p:ph type="body" sz="quarter" idx="25" hasCustomPrompt="1"/>
          </p:nvPr>
        </p:nvSpPr>
        <p:spPr>
          <a:xfrm>
            <a:off x="8701917" y="2020337"/>
            <a:ext cx="2463190" cy="266182"/>
          </a:xfrm>
        </p:spPr>
        <p:txBody>
          <a:bodyPr lIns="0" tIns="0" rIns="0" bIns="0" anchor="b" anchorCtr="0"/>
          <a:lstStyle>
            <a:lvl1pPr marL="0" indent="0" algn="l">
              <a:lnSpc>
                <a:spcPct val="100000"/>
              </a:lnSpc>
              <a:buNone/>
              <a:defRPr sz="1400" b="1" baseline="0">
                <a:solidFill>
                  <a:schemeClr val="tx2"/>
                </a:solidFill>
              </a:defRPr>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Name, Surname</a:t>
            </a:r>
          </a:p>
        </p:txBody>
      </p:sp>
      <p:sp>
        <p:nvSpPr>
          <p:cNvPr id="32" name="Text Placeholder 5"/>
          <p:cNvSpPr>
            <a:spLocks noGrp="1"/>
          </p:cNvSpPr>
          <p:nvPr>
            <p:ph type="body" sz="quarter" idx="26" hasCustomPrompt="1"/>
          </p:nvPr>
        </p:nvSpPr>
        <p:spPr>
          <a:xfrm>
            <a:off x="8701917" y="2316912"/>
            <a:ext cx="2463190"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Job Position</a:t>
            </a:r>
          </a:p>
        </p:txBody>
      </p:sp>
      <p:sp>
        <p:nvSpPr>
          <p:cNvPr id="33" name="Text Placeholder 5"/>
          <p:cNvSpPr>
            <a:spLocks noGrp="1"/>
          </p:cNvSpPr>
          <p:nvPr>
            <p:ph type="body" sz="quarter" idx="27" hasCustomPrompt="1"/>
          </p:nvPr>
        </p:nvSpPr>
        <p:spPr>
          <a:xfrm>
            <a:off x="8946800" y="2845588"/>
            <a:ext cx="2218307"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Phone number</a:t>
            </a:r>
          </a:p>
        </p:txBody>
      </p:sp>
      <p:sp>
        <p:nvSpPr>
          <p:cNvPr id="34" name="Text Placeholder 5"/>
          <p:cNvSpPr>
            <a:spLocks noGrp="1"/>
          </p:cNvSpPr>
          <p:nvPr>
            <p:ph type="body" sz="quarter" idx="28" hasCustomPrompt="1"/>
          </p:nvPr>
        </p:nvSpPr>
        <p:spPr>
          <a:xfrm>
            <a:off x="8946800" y="3128395"/>
            <a:ext cx="2218307"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Email address</a:t>
            </a:r>
          </a:p>
        </p:txBody>
      </p:sp>
      <p:grpSp>
        <p:nvGrpSpPr>
          <p:cNvPr id="35" name="Gruppieren 2">
            <a:extLst>
              <a:ext uri="{FF2B5EF4-FFF2-40B4-BE49-F238E27FC236}">
                <a16:creationId xmlns:a16="http://schemas.microsoft.com/office/drawing/2014/main" id="{BE697CE9-EBDE-6B4A-BE70-582D92A8A831}"/>
              </a:ext>
            </a:extLst>
          </p:cNvPr>
          <p:cNvGrpSpPr/>
          <p:nvPr/>
        </p:nvGrpSpPr>
        <p:grpSpPr>
          <a:xfrm>
            <a:off x="3770065" y="5045939"/>
            <a:ext cx="171180" cy="171180"/>
            <a:chOff x="3392092" y="1841122"/>
            <a:chExt cx="646508" cy="646508"/>
          </a:xfrm>
        </p:grpSpPr>
        <p:sp>
          <p:nvSpPr>
            <p:cNvPr id="36" name="Rechteck 14">
              <a:extLst>
                <a:ext uri="{FF2B5EF4-FFF2-40B4-BE49-F238E27FC236}">
                  <a16:creationId xmlns:a16="http://schemas.microsoft.com/office/drawing/2014/main" id="{E142A731-19B7-C34D-9534-9E05108F895F}"/>
                </a:ext>
              </a:extLst>
            </p:cNvPr>
            <p:cNvSpPr>
              <a:spLocks noChangeAspect="1"/>
            </p:cNvSpPr>
            <p:nvPr/>
          </p:nvSpPr>
          <p:spPr bwMode="gray">
            <a:xfrm>
              <a:off x="3392092" y="1841122"/>
              <a:ext cx="646508" cy="646508"/>
            </a:xfrm>
            <a:prstGeom prst="rect">
              <a:avLst/>
            </a:prstGeom>
            <a:solidFill>
              <a:srgbClr val="E55A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pPr>
              <a:endParaRPr lang="en-US" sz="1000" dirty="0">
                <a:solidFill>
                  <a:schemeClr val="tx1"/>
                </a:solidFill>
                <a:latin typeface="Arial" pitchFamily="34" charset="0"/>
                <a:cs typeface="Arial" pitchFamily="34" charset="0"/>
              </a:endParaRPr>
            </a:p>
          </p:txBody>
        </p:sp>
        <p:sp>
          <p:nvSpPr>
            <p:cNvPr id="37" name="Freeform 36">
              <a:extLst>
                <a:ext uri="{FF2B5EF4-FFF2-40B4-BE49-F238E27FC236}">
                  <a16:creationId xmlns:a16="http://schemas.microsoft.com/office/drawing/2014/main" id="{F97E84AE-4AD9-4B44-9AA1-F797FC373809}"/>
                </a:ext>
              </a:extLst>
            </p:cNvPr>
            <p:cNvSpPr>
              <a:spLocks noChangeAspect="1"/>
            </p:cNvSpPr>
            <p:nvPr/>
          </p:nvSpPr>
          <p:spPr bwMode="auto">
            <a:xfrm>
              <a:off x="3546638" y="1970424"/>
              <a:ext cx="337415" cy="387905"/>
            </a:xfrm>
            <a:custGeom>
              <a:avLst/>
              <a:gdLst>
                <a:gd name="T0" fmla="*/ 573 w 1624"/>
                <a:gd name="T1" fmla="*/ 1257 h 1867"/>
                <a:gd name="T2" fmla="*/ 662 w 1624"/>
                <a:gd name="T3" fmla="*/ 1288 h 1867"/>
                <a:gd name="T4" fmla="*/ 938 w 1624"/>
                <a:gd name="T5" fmla="*/ 1051 h 1867"/>
                <a:gd name="T6" fmla="*/ 1106 w 1624"/>
                <a:gd name="T7" fmla="*/ 731 h 1867"/>
                <a:gd name="T8" fmla="*/ 1059 w 1624"/>
                <a:gd name="T9" fmla="*/ 645 h 1867"/>
                <a:gd name="T10" fmla="*/ 1001 w 1624"/>
                <a:gd name="T11" fmla="*/ 613 h 1867"/>
                <a:gd name="T12" fmla="*/ 924 w 1624"/>
                <a:gd name="T13" fmla="*/ 432 h 1867"/>
                <a:gd name="T14" fmla="*/ 1114 w 1624"/>
                <a:gd name="T15" fmla="*/ 81 h 1867"/>
                <a:gd name="T16" fmla="*/ 1287 w 1624"/>
                <a:gd name="T17" fmla="*/ 35 h 1867"/>
                <a:gd name="T18" fmla="*/ 1350 w 1624"/>
                <a:gd name="T19" fmla="*/ 69 h 1867"/>
                <a:gd name="T20" fmla="*/ 1527 w 1624"/>
                <a:gd name="T21" fmla="*/ 235 h 1867"/>
                <a:gd name="T22" fmla="*/ 1583 w 1624"/>
                <a:gd name="T23" fmla="*/ 555 h 1867"/>
                <a:gd name="T24" fmla="*/ 1172 w 1624"/>
                <a:gd name="T25" fmla="*/ 1253 h 1867"/>
                <a:gd name="T26" fmla="*/ 586 w 1624"/>
                <a:gd name="T27" fmla="*/ 1803 h 1867"/>
                <a:gd name="T28" fmla="*/ 269 w 1624"/>
                <a:gd name="T29" fmla="*/ 1807 h 1867"/>
                <a:gd name="T30" fmla="*/ 33 w 1624"/>
                <a:gd name="T31" fmla="*/ 1602 h 1867"/>
                <a:gd name="T32" fmla="*/ 2 w 1624"/>
                <a:gd name="T33" fmla="*/ 1508 h 1867"/>
                <a:gd name="T34" fmla="*/ 45 w 1624"/>
                <a:gd name="T35" fmla="*/ 1421 h 1867"/>
                <a:gd name="T36" fmla="*/ 346 w 1624"/>
                <a:gd name="T37" fmla="*/ 1158 h 1867"/>
                <a:gd name="T38" fmla="*/ 448 w 1624"/>
                <a:gd name="T39" fmla="*/ 1145 h 1867"/>
                <a:gd name="T40" fmla="*/ 573 w 1624"/>
                <a:gd name="T41" fmla="*/ 1257 h 18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24" h="1867">
                  <a:moveTo>
                    <a:pt x="573" y="1257"/>
                  </a:moveTo>
                  <a:cubicBezTo>
                    <a:pt x="592" y="1282"/>
                    <a:pt x="630" y="1303"/>
                    <a:pt x="662" y="1288"/>
                  </a:cubicBezTo>
                  <a:cubicBezTo>
                    <a:pt x="753" y="1245"/>
                    <a:pt x="854" y="1156"/>
                    <a:pt x="938" y="1051"/>
                  </a:cubicBezTo>
                  <a:cubicBezTo>
                    <a:pt x="1020" y="948"/>
                    <a:pt x="1084" y="831"/>
                    <a:pt x="1106" y="731"/>
                  </a:cubicBezTo>
                  <a:cubicBezTo>
                    <a:pt x="1113" y="696"/>
                    <a:pt x="1089" y="661"/>
                    <a:pt x="1059" y="645"/>
                  </a:cubicBezTo>
                  <a:cubicBezTo>
                    <a:pt x="1001" y="613"/>
                    <a:pt x="1001" y="613"/>
                    <a:pt x="1001" y="613"/>
                  </a:cubicBezTo>
                  <a:cubicBezTo>
                    <a:pt x="942" y="580"/>
                    <a:pt x="888" y="499"/>
                    <a:pt x="924" y="432"/>
                  </a:cubicBezTo>
                  <a:cubicBezTo>
                    <a:pt x="1114" y="81"/>
                    <a:pt x="1114" y="81"/>
                    <a:pt x="1114" y="81"/>
                  </a:cubicBezTo>
                  <a:cubicBezTo>
                    <a:pt x="1150" y="16"/>
                    <a:pt x="1224" y="0"/>
                    <a:pt x="1287" y="35"/>
                  </a:cubicBezTo>
                  <a:cubicBezTo>
                    <a:pt x="1350" y="69"/>
                    <a:pt x="1350" y="69"/>
                    <a:pt x="1350" y="69"/>
                  </a:cubicBezTo>
                  <a:cubicBezTo>
                    <a:pt x="1415" y="105"/>
                    <a:pt x="1479" y="165"/>
                    <a:pt x="1527" y="235"/>
                  </a:cubicBezTo>
                  <a:cubicBezTo>
                    <a:pt x="1593" y="332"/>
                    <a:pt x="1624" y="442"/>
                    <a:pt x="1583" y="555"/>
                  </a:cubicBezTo>
                  <a:cubicBezTo>
                    <a:pt x="1500" y="781"/>
                    <a:pt x="1351" y="1030"/>
                    <a:pt x="1172" y="1253"/>
                  </a:cubicBezTo>
                  <a:cubicBezTo>
                    <a:pt x="994" y="1477"/>
                    <a:pt x="786" y="1676"/>
                    <a:pt x="586" y="1803"/>
                  </a:cubicBezTo>
                  <a:cubicBezTo>
                    <a:pt x="486" y="1867"/>
                    <a:pt x="375" y="1856"/>
                    <a:pt x="269" y="1807"/>
                  </a:cubicBezTo>
                  <a:cubicBezTo>
                    <a:pt x="157" y="1755"/>
                    <a:pt x="106" y="1695"/>
                    <a:pt x="33" y="1602"/>
                  </a:cubicBezTo>
                  <a:cubicBezTo>
                    <a:pt x="11" y="1573"/>
                    <a:pt x="0" y="1540"/>
                    <a:pt x="2" y="1508"/>
                  </a:cubicBezTo>
                  <a:cubicBezTo>
                    <a:pt x="4" y="1475"/>
                    <a:pt x="18" y="1444"/>
                    <a:pt x="45" y="1421"/>
                  </a:cubicBezTo>
                  <a:cubicBezTo>
                    <a:pt x="70" y="1399"/>
                    <a:pt x="346" y="1158"/>
                    <a:pt x="346" y="1158"/>
                  </a:cubicBezTo>
                  <a:cubicBezTo>
                    <a:pt x="376" y="1134"/>
                    <a:pt x="413" y="1133"/>
                    <a:pt x="448" y="1145"/>
                  </a:cubicBezTo>
                  <a:cubicBezTo>
                    <a:pt x="510" y="1166"/>
                    <a:pt x="536" y="1210"/>
                    <a:pt x="573" y="1257"/>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351" dirty="0"/>
            </a:p>
          </p:txBody>
        </p:sp>
      </p:grpSp>
      <p:grpSp>
        <p:nvGrpSpPr>
          <p:cNvPr id="38" name="Group 3">
            <a:extLst>
              <a:ext uri="{FF2B5EF4-FFF2-40B4-BE49-F238E27FC236}">
                <a16:creationId xmlns:a16="http://schemas.microsoft.com/office/drawing/2014/main" id="{7104BADD-8CD1-6F4A-B894-869C3BDB3EEB}"/>
              </a:ext>
            </a:extLst>
          </p:cNvPr>
          <p:cNvGrpSpPr>
            <a:grpSpLocks noChangeAspect="1"/>
          </p:cNvGrpSpPr>
          <p:nvPr>
            <p:custDataLst>
              <p:tags r:id="rId3"/>
            </p:custDataLst>
          </p:nvPr>
        </p:nvGrpSpPr>
        <p:grpSpPr>
          <a:xfrm>
            <a:off x="3770066" y="5330827"/>
            <a:ext cx="171180" cy="171180"/>
            <a:chOff x="328396" y="5313940"/>
            <a:chExt cx="720000" cy="720000"/>
          </a:xfrm>
        </p:grpSpPr>
        <p:sp>
          <p:nvSpPr>
            <p:cNvPr id="39" name="Rectangle 4">
              <a:extLst>
                <a:ext uri="{FF2B5EF4-FFF2-40B4-BE49-F238E27FC236}">
                  <a16:creationId xmlns:a16="http://schemas.microsoft.com/office/drawing/2014/main" id="{74BE3D5F-1445-6E40-8B49-72E15568383B}"/>
                </a:ext>
              </a:extLst>
            </p:cNvPr>
            <p:cNvSpPr/>
            <p:nvPr/>
          </p:nvSpPr>
          <p:spPr bwMode="gray">
            <a:xfrm>
              <a:off x="328396" y="5313940"/>
              <a:ext cx="720000" cy="720000"/>
            </a:xfrm>
            <a:prstGeom prst="rect">
              <a:avLst/>
            </a:prstGeom>
            <a:solidFill>
              <a:srgbClr val="E55A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pPr>
              <a:endParaRPr lang="en-US" sz="1000" dirty="0">
                <a:solidFill>
                  <a:schemeClr val="tx1"/>
                </a:solidFill>
                <a:latin typeface="Arial" pitchFamily="34" charset="0"/>
                <a:cs typeface="Arial" pitchFamily="34" charset="0"/>
              </a:endParaRPr>
            </a:p>
          </p:txBody>
        </p:sp>
        <p:sp>
          <p:nvSpPr>
            <p:cNvPr id="40" name="Freeform 76">
              <a:extLst>
                <a:ext uri="{FF2B5EF4-FFF2-40B4-BE49-F238E27FC236}">
                  <a16:creationId xmlns:a16="http://schemas.microsoft.com/office/drawing/2014/main" id="{55DB3C95-7D0C-D141-901E-96D692794D2B}"/>
                </a:ext>
              </a:extLst>
            </p:cNvPr>
            <p:cNvSpPr>
              <a:spLocks noChangeAspect="1" noEditPoints="1"/>
            </p:cNvSpPr>
            <p:nvPr/>
          </p:nvSpPr>
          <p:spPr bwMode="auto">
            <a:xfrm>
              <a:off x="456202" y="5509222"/>
              <a:ext cx="504000" cy="329436"/>
            </a:xfrm>
            <a:custGeom>
              <a:avLst/>
              <a:gdLst>
                <a:gd name="T0" fmla="*/ 0 w 2080"/>
                <a:gd name="T1" fmla="*/ 65 h 1360"/>
                <a:gd name="T2" fmla="*/ 0 w 2080"/>
                <a:gd name="T3" fmla="*/ 0 h 1360"/>
                <a:gd name="T4" fmla="*/ 2080 w 2080"/>
                <a:gd name="T5" fmla="*/ 0 h 1360"/>
                <a:gd name="T6" fmla="*/ 2080 w 2080"/>
                <a:gd name="T7" fmla="*/ 65 h 1360"/>
                <a:gd name="T8" fmla="*/ 1089 w 2080"/>
                <a:gd name="T9" fmla="*/ 862 h 1360"/>
                <a:gd name="T10" fmla="*/ 991 w 2080"/>
                <a:gd name="T11" fmla="*/ 862 h 1360"/>
                <a:gd name="T12" fmla="*/ 0 w 2080"/>
                <a:gd name="T13" fmla="*/ 65 h 1360"/>
                <a:gd name="T14" fmla="*/ 1139 w 2080"/>
                <a:gd name="T15" fmla="*/ 924 h 1360"/>
                <a:gd name="T16" fmla="*/ 1282 w 2080"/>
                <a:gd name="T17" fmla="*/ 810 h 1360"/>
                <a:gd name="T18" fmla="*/ 2076 w 2080"/>
                <a:gd name="T19" fmla="*/ 1360 h 1360"/>
                <a:gd name="T20" fmla="*/ 4 w 2080"/>
                <a:gd name="T21" fmla="*/ 1360 h 1360"/>
                <a:gd name="T22" fmla="*/ 798 w 2080"/>
                <a:gd name="T23" fmla="*/ 810 h 1360"/>
                <a:gd name="T24" fmla="*/ 941 w 2080"/>
                <a:gd name="T25" fmla="*/ 924 h 1360"/>
                <a:gd name="T26" fmla="*/ 1139 w 2080"/>
                <a:gd name="T27" fmla="*/ 924 h 1360"/>
                <a:gd name="T28" fmla="*/ 2 w 2080"/>
                <a:gd name="T29" fmla="*/ 137 h 1360"/>
                <a:gd name="T30" fmla="*/ 42 w 2080"/>
                <a:gd name="T31" fmla="*/ 201 h 1360"/>
                <a:gd name="T32" fmla="*/ 734 w 2080"/>
                <a:gd name="T33" fmla="*/ 758 h 1360"/>
                <a:gd name="T34" fmla="*/ 0 w 2080"/>
                <a:gd name="T35" fmla="*/ 1266 h 1360"/>
                <a:gd name="T36" fmla="*/ 0 w 2080"/>
                <a:gd name="T37" fmla="*/ 135 h 1360"/>
                <a:gd name="T38" fmla="*/ 2 w 2080"/>
                <a:gd name="T39" fmla="*/ 137 h 1360"/>
                <a:gd name="T40" fmla="*/ 2080 w 2080"/>
                <a:gd name="T41" fmla="*/ 136 h 1360"/>
                <a:gd name="T42" fmla="*/ 2080 w 2080"/>
                <a:gd name="T43" fmla="*/ 1265 h 1360"/>
                <a:gd name="T44" fmla="*/ 1346 w 2080"/>
                <a:gd name="T45" fmla="*/ 758 h 1360"/>
                <a:gd name="T46" fmla="*/ 2038 w 2080"/>
                <a:gd name="T47" fmla="*/ 201 h 1360"/>
                <a:gd name="T48" fmla="*/ 2080 w 2080"/>
                <a:gd name="T49" fmla="*/ 136 h 1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080" h="1360">
                  <a:moveTo>
                    <a:pt x="0" y="65"/>
                  </a:moveTo>
                  <a:cubicBezTo>
                    <a:pt x="0" y="0"/>
                    <a:pt x="0" y="0"/>
                    <a:pt x="0" y="0"/>
                  </a:cubicBezTo>
                  <a:cubicBezTo>
                    <a:pt x="2080" y="0"/>
                    <a:pt x="2080" y="0"/>
                    <a:pt x="2080" y="0"/>
                  </a:cubicBezTo>
                  <a:cubicBezTo>
                    <a:pt x="2080" y="65"/>
                    <a:pt x="2080" y="65"/>
                    <a:pt x="2080" y="65"/>
                  </a:cubicBezTo>
                  <a:cubicBezTo>
                    <a:pt x="1089" y="862"/>
                    <a:pt x="1089" y="862"/>
                    <a:pt x="1089" y="862"/>
                  </a:cubicBezTo>
                  <a:cubicBezTo>
                    <a:pt x="1060" y="886"/>
                    <a:pt x="1020" y="886"/>
                    <a:pt x="991" y="862"/>
                  </a:cubicBezTo>
                  <a:lnTo>
                    <a:pt x="0" y="65"/>
                  </a:lnTo>
                  <a:close/>
                  <a:moveTo>
                    <a:pt x="1139" y="924"/>
                  </a:moveTo>
                  <a:cubicBezTo>
                    <a:pt x="1282" y="810"/>
                    <a:pt x="1282" y="810"/>
                    <a:pt x="1282" y="810"/>
                  </a:cubicBezTo>
                  <a:cubicBezTo>
                    <a:pt x="2076" y="1360"/>
                    <a:pt x="2076" y="1360"/>
                    <a:pt x="2076" y="1360"/>
                  </a:cubicBezTo>
                  <a:cubicBezTo>
                    <a:pt x="4" y="1360"/>
                    <a:pt x="4" y="1360"/>
                    <a:pt x="4" y="1360"/>
                  </a:cubicBezTo>
                  <a:cubicBezTo>
                    <a:pt x="798" y="810"/>
                    <a:pt x="798" y="810"/>
                    <a:pt x="798" y="810"/>
                  </a:cubicBezTo>
                  <a:cubicBezTo>
                    <a:pt x="941" y="924"/>
                    <a:pt x="941" y="924"/>
                    <a:pt x="941" y="924"/>
                  </a:cubicBezTo>
                  <a:cubicBezTo>
                    <a:pt x="1000" y="972"/>
                    <a:pt x="1080" y="972"/>
                    <a:pt x="1139" y="924"/>
                  </a:cubicBezTo>
                  <a:close/>
                  <a:moveTo>
                    <a:pt x="2" y="137"/>
                  </a:moveTo>
                  <a:cubicBezTo>
                    <a:pt x="8" y="163"/>
                    <a:pt x="22" y="185"/>
                    <a:pt x="42" y="201"/>
                  </a:cubicBezTo>
                  <a:cubicBezTo>
                    <a:pt x="734" y="758"/>
                    <a:pt x="734" y="758"/>
                    <a:pt x="734" y="758"/>
                  </a:cubicBezTo>
                  <a:cubicBezTo>
                    <a:pt x="0" y="1266"/>
                    <a:pt x="0" y="1266"/>
                    <a:pt x="0" y="1266"/>
                  </a:cubicBezTo>
                  <a:cubicBezTo>
                    <a:pt x="0" y="135"/>
                    <a:pt x="0" y="135"/>
                    <a:pt x="0" y="135"/>
                  </a:cubicBezTo>
                  <a:lnTo>
                    <a:pt x="2" y="137"/>
                  </a:lnTo>
                  <a:close/>
                  <a:moveTo>
                    <a:pt x="2080" y="136"/>
                  </a:moveTo>
                  <a:cubicBezTo>
                    <a:pt x="2080" y="1265"/>
                    <a:pt x="2080" y="1265"/>
                    <a:pt x="2080" y="1265"/>
                  </a:cubicBezTo>
                  <a:cubicBezTo>
                    <a:pt x="1346" y="758"/>
                    <a:pt x="1346" y="758"/>
                    <a:pt x="1346" y="758"/>
                  </a:cubicBezTo>
                  <a:cubicBezTo>
                    <a:pt x="2038" y="201"/>
                    <a:pt x="2038" y="201"/>
                    <a:pt x="2038" y="201"/>
                  </a:cubicBezTo>
                  <a:cubicBezTo>
                    <a:pt x="2060" y="182"/>
                    <a:pt x="2072" y="162"/>
                    <a:pt x="2080" y="13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000"/>
            </a:p>
          </p:txBody>
        </p:sp>
      </p:grpSp>
      <p:cxnSp>
        <p:nvCxnSpPr>
          <p:cNvPr id="41" name="Straight Connector 40"/>
          <p:cNvCxnSpPr/>
          <p:nvPr/>
        </p:nvCxnSpPr>
        <p:spPr>
          <a:xfrm>
            <a:off x="2355914" y="5655833"/>
            <a:ext cx="3888000" cy="0"/>
          </a:xfrm>
          <a:prstGeom prst="line">
            <a:avLst/>
          </a:prstGeom>
          <a:ln w="6350">
            <a:solidFill>
              <a:schemeClr val="tx2"/>
            </a:solidFill>
            <a:prstDash val="dash"/>
          </a:ln>
        </p:spPr>
        <p:style>
          <a:lnRef idx="1">
            <a:schemeClr val="accent1"/>
          </a:lnRef>
          <a:fillRef idx="0">
            <a:schemeClr val="accent1"/>
          </a:fillRef>
          <a:effectRef idx="0">
            <a:schemeClr val="accent1"/>
          </a:effectRef>
          <a:fontRef idx="minor">
            <a:schemeClr val="tx1"/>
          </a:fontRef>
        </p:style>
      </p:cxnSp>
      <p:sp>
        <p:nvSpPr>
          <p:cNvPr id="42" name="Picture Placeholder 3"/>
          <p:cNvSpPr>
            <a:spLocks noGrp="1"/>
          </p:cNvSpPr>
          <p:nvPr>
            <p:ph type="pic" sz="quarter" idx="29" hasCustomPrompt="1"/>
          </p:nvPr>
        </p:nvSpPr>
        <p:spPr>
          <a:xfrm>
            <a:off x="2355914" y="3986604"/>
            <a:ext cx="1188677" cy="1547840"/>
          </a:xfrm>
          <a:solidFill>
            <a:srgbClr val="D9DADB"/>
          </a:solidFill>
        </p:spPr>
        <p:txBody>
          <a:bodyPr/>
          <a:lstStyle>
            <a:lvl1pPr marL="0" indent="0">
              <a:buNone/>
              <a:defRPr sz="1400"/>
            </a:lvl1pPr>
          </a:lstStyle>
          <a:p>
            <a:r>
              <a:rPr lang="en-US" dirty="0"/>
              <a:t>Insert picture</a:t>
            </a:r>
          </a:p>
        </p:txBody>
      </p:sp>
      <p:sp>
        <p:nvSpPr>
          <p:cNvPr id="43" name="Text Placeholder 5"/>
          <p:cNvSpPr>
            <a:spLocks noGrp="1"/>
          </p:cNvSpPr>
          <p:nvPr>
            <p:ph type="body" sz="quarter" idx="30" hasCustomPrompt="1"/>
          </p:nvPr>
        </p:nvSpPr>
        <p:spPr>
          <a:xfrm>
            <a:off x="3770065" y="3986141"/>
            <a:ext cx="2463190" cy="192360"/>
          </a:xfrm>
        </p:spPr>
        <p:txBody>
          <a:bodyPr lIns="0" tIns="0" rIns="0" bIns="0" anchor="ctr" anchorCtr="0"/>
          <a:lstStyle>
            <a:lvl1pPr marL="0" indent="0" algn="l">
              <a:lnSpc>
                <a:spcPct val="100000"/>
              </a:lnSpc>
              <a:buNone/>
              <a:defRPr sz="100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Country</a:t>
            </a:r>
          </a:p>
        </p:txBody>
      </p:sp>
      <p:sp>
        <p:nvSpPr>
          <p:cNvPr id="44" name="Text Placeholder 5"/>
          <p:cNvSpPr>
            <a:spLocks noGrp="1"/>
          </p:cNvSpPr>
          <p:nvPr>
            <p:ph type="body" sz="quarter" idx="31" hasCustomPrompt="1"/>
          </p:nvPr>
        </p:nvSpPr>
        <p:spPr>
          <a:xfrm>
            <a:off x="3770065" y="4197957"/>
            <a:ext cx="2463190" cy="266182"/>
          </a:xfrm>
        </p:spPr>
        <p:txBody>
          <a:bodyPr lIns="0" tIns="0" rIns="0" bIns="0" anchor="b" anchorCtr="0"/>
          <a:lstStyle>
            <a:lvl1pPr marL="0" indent="0" algn="l">
              <a:lnSpc>
                <a:spcPct val="100000"/>
              </a:lnSpc>
              <a:buNone/>
              <a:defRPr sz="1400" b="1" baseline="0">
                <a:solidFill>
                  <a:schemeClr val="tx2"/>
                </a:solidFill>
              </a:defRPr>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Name, Surname</a:t>
            </a:r>
          </a:p>
        </p:txBody>
      </p:sp>
      <p:sp>
        <p:nvSpPr>
          <p:cNvPr id="45" name="Text Placeholder 5"/>
          <p:cNvSpPr>
            <a:spLocks noGrp="1"/>
          </p:cNvSpPr>
          <p:nvPr>
            <p:ph type="body" sz="quarter" idx="32" hasCustomPrompt="1"/>
          </p:nvPr>
        </p:nvSpPr>
        <p:spPr>
          <a:xfrm>
            <a:off x="3770065" y="4494532"/>
            <a:ext cx="2463190"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Job Position</a:t>
            </a:r>
          </a:p>
        </p:txBody>
      </p:sp>
      <p:sp>
        <p:nvSpPr>
          <p:cNvPr id="46" name="Text Placeholder 5"/>
          <p:cNvSpPr>
            <a:spLocks noGrp="1"/>
          </p:cNvSpPr>
          <p:nvPr>
            <p:ph type="body" sz="quarter" idx="33" hasCustomPrompt="1"/>
          </p:nvPr>
        </p:nvSpPr>
        <p:spPr>
          <a:xfrm>
            <a:off x="4014948" y="5023208"/>
            <a:ext cx="2218307"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Phone number</a:t>
            </a:r>
          </a:p>
        </p:txBody>
      </p:sp>
      <p:sp>
        <p:nvSpPr>
          <p:cNvPr id="47" name="Text Placeholder 5"/>
          <p:cNvSpPr>
            <a:spLocks noGrp="1"/>
          </p:cNvSpPr>
          <p:nvPr>
            <p:ph type="body" sz="quarter" idx="34" hasCustomPrompt="1"/>
          </p:nvPr>
        </p:nvSpPr>
        <p:spPr>
          <a:xfrm>
            <a:off x="4014948" y="5306015"/>
            <a:ext cx="2218307"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Email address</a:t>
            </a:r>
          </a:p>
        </p:txBody>
      </p:sp>
    </p:spTree>
    <p:extLst>
      <p:ext uri="{BB962C8B-B14F-4D97-AF65-F5344CB8AC3E}">
        <p14:creationId xmlns:p14="http://schemas.microsoft.com/office/powerpoint/2010/main" val="1957497736"/>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p:cSld name="Four contacts">
    <p:spTree>
      <p:nvGrpSpPr>
        <p:cNvPr id="1" name=""/>
        <p:cNvGrpSpPr/>
        <p:nvPr/>
      </p:nvGrpSpPr>
      <p:grpSpPr>
        <a:xfrm>
          <a:off x="0" y="0"/>
          <a:ext cx="0" cy="0"/>
          <a:chOff x="0" y="0"/>
          <a:chExt cx="0" cy="0"/>
        </a:xfrm>
      </p:grpSpPr>
      <p:sp>
        <p:nvSpPr>
          <p:cNvPr id="21" name="Date Placeholder 20"/>
          <p:cNvSpPr>
            <a:spLocks noGrp="1"/>
          </p:cNvSpPr>
          <p:nvPr>
            <p:ph type="dt" sz="half" idx="14"/>
          </p:nvPr>
        </p:nvSpPr>
        <p:spPr>
          <a:xfrm>
            <a:off x="192088" y="6461671"/>
            <a:ext cx="761512" cy="133790"/>
          </a:xfrm>
          <a:prstGeom prst="rect">
            <a:avLst/>
          </a:prstGeom>
        </p:spPr>
        <p:txBody>
          <a:bodyPr/>
          <a:lstStyle/>
          <a:p>
            <a:fld id="{279C7CF9-AE45-4637-9DF5-AFC713D6D2FE}" type="datetime5">
              <a:rPr lang="en-US" smtClean="0"/>
              <a:t>26-Jun-20</a:t>
            </a:fld>
            <a:endParaRPr lang="en-US"/>
          </a:p>
        </p:txBody>
      </p:sp>
      <p:sp>
        <p:nvSpPr>
          <p:cNvPr id="22" name="Footer Placeholder 21"/>
          <p:cNvSpPr>
            <a:spLocks noGrp="1"/>
          </p:cNvSpPr>
          <p:nvPr>
            <p:ph type="ftr" sz="quarter" idx="15"/>
          </p:nvPr>
        </p:nvSpPr>
        <p:spPr>
          <a:xfrm>
            <a:off x="1076400" y="6461671"/>
            <a:ext cx="8162717" cy="133790"/>
          </a:xfrm>
          <a:prstGeom prst="rect">
            <a:avLst/>
          </a:prstGeom>
        </p:spPr>
        <p:txBody>
          <a:bodyPr/>
          <a:lstStyle/>
          <a:p>
            <a:r>
              <a:rPr lang="en-US"/>
              <a:t>Title of presentation (Insert / Header &amp; Footer / Apply to All)</a:t>
            </a:r>
            <a:endParaRPr lang="en-US" dirty="0"/>
          </a:p>
        </p:txBody>
      </p:sp>
      <p:sp>
        <p:nvSpPr>
          <p:cNvPr id="23" name="Slide Number Placeholder 22"/>
          <p:cNvSpPr>
            <a:spLocks noGrp="1"/>
          </p:cNvSpPr>
          <p:nvPr>
            <p:ph type="sldNum" sz="quarter" idx="16"/>
          </p:nvPr>
        </p:nvSpPr>
        <p:spPr/>
        <p:txBody>
          <a:bodyPr/>
          <a:lstStyle/>
          <a:p>
            <a:fld id="{5F3E29E4-0979-4FCA-B4C5-5FC6044C982A}" type="slidenum">
              <a:rPr lang="en-US" smtClean="0"/>
              <a:t>‹#›</a:t>
            </a:fld>
            <a:endParaRPr lang="en-US"/>
          </a:p>
        </p:txBody>
      </p:sp>
      <p:sp>
        <p:nvSpPr>
          <p:cNvPr id="2" name="Title 1"/>
          <p:cNvSpPr>
            <a:spLocks noGrp="1"/>
          </p:cNvSpPr>
          <p:nvPr>
            <p:ph type="title" hasCustomPrompt="1"/>
          </p:nvPr>
        </p:nvSpPr>
        <p:spPr/>
        <p:txBody>
          <a:bodyPr/>
          <a:lstStyle>
            <a:lvl1pPr>
              <a:defRPr/>
            </a:lvl1pPr>
          </a:lstStyle>
          <a:p>
            <a:r>
              <a:rPr lang="en-US" dirty="0"/>
              <a:t>Click to add contact title</a:t>
            </a:r>
          </a:p>
        </p:txBody>
      </p:sp>
      <p:sp>
        <p:nvSpPr>
          <p:cNvPr id="7" name="Subtitle 2"/>
          <p:cNvSpPr>
            <a:spLocks noGrp="1"/>
          </p:cNvSpPr>
          <p:nvPr>
            <p:ph type="subTitle" idx="13" hasCustomPrompt="1"/>
          </p:nvPr>
        </p:nvSpPr>
        <p:spPr>
          <a:xfrm>
            <a:off x="1075061" y="964671"/>
            <a:ext cx="7910158" cy="490042"/>
          </a:xfrm>
        </p:spPr>
        <p:txBody>
          <a:bodyPr wrap="none"/>
          <a:lstStyle>
            <a:lvl1pPr marL="0" indent="0" algn="l">
              <a:spcBef>
                <a:spcPts val="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grpSp>
        <p:nvGrpSpPr>
          <p:cNvPr id="8" name="Gruppieren 80">
            <a:extLst>
              <a:ext uri="{FF2B5EF4-FFF2-40B4-BE49-F238E27FC236}">
                <a16:creationId xmlns:a16="http://schemas.microsoft.com/office/drawing/2014/main" id="{6B969E7B-9C39-4443-9B02-74C1E7C5CCAC}"/>
              </a:ext>
            </a:extLst>
          </p:cNvPr>
          <p:cNvGrpSpPr/>
          <p:nvPr/>
        </p:nvGrpSpPr>
        <p:grpSpPr>
          <a:xfrm>
            <a:off x="3770065" y="2868319"/>
            <a:ext cx="171180" cy="171180"/>
            <a:chOff x="3392092" y="1841122"/>
            <a:chExt cx="646508" cy="646508"/>
          </a:xfrm>
        </p:grpSpPr>
        <p:sp>
          <p:nvSpPr>
            <p:cNvPr id="9" name="Rechteck 14">
              <a:extLst>
                <a:ext uri="{FF2B5EF4-FFF2-40B4-BE49-F238E27FC236}">
                  <a16:creationId xmlns:a16="http://schemas.microsoft.com/office/drawing/2014/main" id="{D78F58EA-5525-8D43-8295-FEA52ECF6BFA}"/>
                </a:ext>
              </a:extLst>
            </p:cNvPr>
            <p:cNvSpPr>
              <a:spLocks noChangeAspect="1"/>
            </p:cNvSpPr>
            <p:nvPr/>
          </p:nvSpPr>
          <p:spPr bwMode="gray">
            <a:xfrm>
              <a:off x="3392092" y="1841122"/>
              <a:ext cx="646508" cy="646508"/>
            </a:xfrm>
            <a:prstGeom prst="rect">
              <a:avLst/>
            </a:prstGeom>
            <a:solidFill>
              <a:srgbClr val="E55A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pPr>
              <a:endParaRPr lang="en-US" sz="1000" dirty="0">
                <a:solidFill>
                  <a:schemeClr val="tx1"/>
                </a:solidFill>
                <a:latin typeface="Arial" pitchFamily="34" charset="0"/>
                <a:cs typeface="Arial" pitchFamily="34" charset="0"/>
              </a:endParaRPr>
            </a:p>
          </p:txBody>
        </p:sp>
        <p:sp>
          <p:nvSpPr>
            <p:cNvPr id="10" name="Freeform 67">
              <a:extLst>
                <a:ext uri="{FF2B5EF4-FFF2-40B4-BE49-F238E27FC236}">
                  <a16:creationId xmlns:a16="http://schemas.microsoft.com/office/drawing/2014/main" id="{D01A6292-2776-4945-B828-483D79DC4908}"/>
                </a:ext>
              </a:extLst>
            </p:cNvPr>
            <p:cNvSpPr>
              <a:spLocks noChangeAspect="1"/>
            </p:cNvSpPr>
            <p:nvPr/>
          </p:nvSpPr>
          <p:spPr bwMode="auto">
            <a:xfrm>
              <a:off x="3546638" y="1970424"/>
              <a:ext cx="337415" cy="387905"/>
            </a:xfrm>
            <a:custGeom>
              <a:avLst/>
              <a:gdLst>
                <a:gd name="T0" fmla="*/ 573 w 1624"/>
                <a:gd name="T1" fmla="*/ 1257 h 1867"/>
                <a:gd name="T2" fmla="*/ 662 w 1624"/>
                <a:gd name="T3" fmla="*/ 1288 h 1867"/>
                <a:gd name="T4" fmla="*/ 938 w 1624"/>
                <a:gd name="T5" fmla="*/ 1051 h 1867"/>
                <a:gd name="T6" fmla="*/ 1106 w 1624"/>
                <a:gd name="T7" fmla="*/ 731 h 1867"/>
                <a:gd name="T8" fmla="*/ 1059 w 1624"/>
                <a:gd name="T9" fmla="*/ 645 h 1867"/>
                <a:gd name="T10" fmla="*/ 1001 w 1624"/>
                <a:gd name="T11" fmla="*/ 613 h 1867"/>
                <a:gd name="T12" fmla="*/ 924 w 1624"/>
                <a:gd name="T13" fmla="*/ 432 h 1867"/>
                <a:gd name="T14" fmla="*/ 1114 w 1624"/>
                <a:gd name="T15" fmla="*/ 81 h 1867"/>
                <a:gd name="T16" fmla="*/ 1287 w 1624"/>
                <a:gd name="T17" fmla="*/ 35 h 1867"/>
                <a:gd name="T18" fmla="*/ 1350 w 1624"/>
                <a:gd name="T19" fmla="*/ 69 h 1867"/>
                <a:gd name="T20" fmla="*/ 1527 w 1624"/>
                <a:gd name="T21" fmla="*/ 235 h 1867"/>
                <a:gd name="T22" fmla="*/ 1583 w 1624"/>
                <a:gd name="T23" fmla="*/ 555 h 1867"/>
                <a:gd name="T24" fmla="*/ 1172 w 1624"/>
                <a:gd name="T25" fmla="*/ 1253 h 1867"/>
                <a:gd name="T26" fmla="*/ 586 w 1624"/>
                <a:gd name="T27" fmla="*/ 1803 h 1867"/>
                <a:gd name="T28" fmla="*/ 269 w 1624"/>
                <a:gd name="T29" fmla="*/ 1807 h 1867"/>
                <a:gd name="T30" fmla="*/ 33 w 1624"/>
                <a:gd name="T31" fmla="*/ 1602 h 1867"/>
                <a:gd name="T32" fmla="*/ 2 w 1624"/>
                <a:gd name="T33" fmla="*/ 1508 h 1867"/>
                <a:gd name="T34" fmla="*/ 45 w 1624"/>
                <a:gd name="T35" fmla="*/ 1421 h 1867"/>
                <a:gd name="T36" fmla="*/ 346 w 1624"/>
                <a:gd name="T37" fmla="*/ 1158 h 1867"/>
                <a:gd name="T38" fmla="*/ 448 w 1624"/>
                <a:gd name="T39" fmla="*/ 1145 h 1867"/>
                <a:gd name="T40" fmla="*/ 573 w 1624"/>
                <a:gd name="T41" fmla="*/ 1257 h 18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24" h="1867">
                  <a:moveTo>
                    <a:pt x="573" y="1257"/>
                  </a:moveTo>
                  <a:cubicBezTo>
                    <a:pt x="592" y="1282"/>
                    <a:pt x="630" y="1303"/>
                    <a:pt x="662" y="1288"/>
                  </a:cubicBezTo>
                  <a:cubicBezTo>
                    <a:pt x="753" y="1245"/>
                    <a:pt x="854" y="1156"/>
                    <a:pt x="938" y="1051"/>
                  </a:cubicBezTo>
                  <a:cubicBezTo>
                    <a:pt x="1020" y="948"/>
                    <a:pt x="1084" y="831"/>
                    <a:pt x="1106" y="731"/>
                  </a:cubicBezTo>
                  <a:cubicBezTo>
                    <a:pt x="1113" y="696"/>
                    <a:pt x="1089" y="661"/>
                    <a:pt x="1059" y="645"/>
                  </a:cubicBezTo>
                  <a:cubicBezTo>
                    <a:pt x="1001" y="613"/>
                    <a:pt x="1001" y="613"/>
                    <a:pt x="1001" y="613"/>
                  </a:cubicBezTo>
                  <a:cubicBezTo>
                    <a:pt x="942" y="580"/>
                    <a:pt x="888" y="499"/>
                    <a:pt x="924" y="432"/>
                  </a:cubicBezTo>
                  <a:cubicBezTo>
                    <a:pt x="1114" y="81"/>
                    <a:pt x="1114" y="81"/>
                    <a:pt x="1114" y="81"/>
                  </a:cubicBezTo>
                  <a:cubicBezTo>
                    <a:pt x="1150" y="16"/>
                    <a:pt x="1224" y="0"/>
                    <a:pt x="1287" y="35"/>
                  </a:cubicBezTo>
                  <a:cubicBezTo>
                    <a:pt x="1350" y="69"/>
                    <a:pt x="1350" y="69"/>
                    <a:pt x="1350" y="69"/>
                  </a:cubicBezTo>
                  <a:cubicBezTo>
                    <a:pt x="1415" y="105"/>
                    <a:pt x="1479" y="165"/>
                    <a:pt x="1527" y="235"/>
                  </a:cubicBezTo>
                  <a:cubicBezTo>
                    <a:pt x="1593" y="332"/>
                    <a:pt x="1624" y="442"/>
                    <a:pt x="1583" y="555"/>
                  </a:cubicBezTo>
                  <a:cubicBezTo>
                    <a:pt x="1500" y="781"/>
                    <a:pt x="1351" y="1030"/>
                    <a:pt x="1172" y="1253"/>
                  </a:cubicBezTo>
                  <a:cubicBezTo>
                    <a:pt x="994" y="1477"/>
                    <a:pt x="786" y="1676"/>
                    <a:pt x="586" y="1803"/>
                  </a:cubicBezTo>
                  <a:cubicBezTo>
                    <a:pt x="486" y="1867"/>
                    <a:pt x="375" y="1856"/>
                    <a:pt x="269" y="1807"/>
                  </a:cubicBezTo>
                  <a:cubicBezTo>
                    <a:pt x="157" y="1755"/>
                    <a:pt x="106" y="1695"/>
                    <a:pt x="33" y="1602"/>
                  </a:cubicBezTo>
                  <a:cubicBezTo>
                    <a:pt x="11" y="1573"/>
                    <a:pt x="0" y="1540"/>
                    <a:pt x="2" y="1508"/>
                  </a:cubicBezTo>
                  <a:cubicBezTo>
                    <a:pt x="4" y="1475"/>
                    <a:pt x="18" y="1444"/>
                    <a:pt x="45" y="1421"/>
                  </a:cubicBezTo>
                  <a:cubicBezTo>
                    <a:pt x="70" y="1399"/>
                    <a:pt x="346" y="1158"/>
                    <a:pt x="346" y="1158"/>
                  </a:cubicBezTo>
                  <a:cubicBezTo>
                    <a:pt x="376" y="1134"/>
                    <a:pt x="413" y="1133"/>
                    <a:pt x="448" y="1145"/>
                  </a:cubicBezTo>
                  <a:cubicBezTo>
                    <a:pt x="510" y="1166"/>
                    <a:pt x="536" y="1210"/>
                    <a:pt x="573" y="1257"/>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351" dirty="0"/>
            </a:p>
          </p:txBody>
        </p:sp>
      </p:grpSp>
      <p:grpSp>
        <p:nvGrpSpPr>
          <p:cNvPr id="11" name="Group 3">
            <a:extLst>
              <a:ext uri="{FF2B5EF4-FFF2-40B4-BE49-F238E27FC236}">
                <a16:creationId xmlns:a16="http://schemas.microsoft.com/office/drawing/2014/main" id="{DED6A25A-5DE2-1441-8BA2-C68D3B4F9209}"/>
              </a:ext>
            </a:extLst>
          </p:cNvPr>
          <p:cNvGrpSpPr>
            <a:grpSpLocks noChangeAspect="1"/>
          </p:cNvGrpSpPr>
          <p:nvPr>
            <p:custDataLst>
              <p:tags r:id="rId1"/>
            </p:custDataLst>
          </p:nvPr>
        </p:nvGrpSpPr>
        <p:grpSpPr>
          <a:xfrm>
            <a:off x="3770066" y="3153207"/>
            <a:ext cx="171180" cy="171180"/>
            <a:chOff x="328396" y="5313940"/>
            <a:chExt cx="720000" cy="720000"/>
          </a:xfrm>
        </p:grpSpPr>
        <p:sp>
          <p:nvSpPr>
            <p:cNvPr id="12" name="Rectangle 4">
              <a:extLst>
                <a:ext uri="{FF2B5EF4-FFF2-40B4-BE49-F238E27FC236}">
                  <a16:creationId xmlns:a16="http://schemas.microsoft.com/office/drawing/2014/main" id="{5F49E67F-D4FA-9D48-96BC-59AE946ECD15}"/>
                </a:ext>
              </a:extLst>
            </p:cNvPr>
            <p:cNvSpPr/>
            <p:nvPr/>
          </p:nvSpPr>
          <p:spPr bwMode="gray">
            <a:xfrm>
              <a:off x="328396" y="5313940"/>
              <a:ext cx="720000" cy="720000"/>
            </a:xfrm>
            <a:prstGeom prst="rect">
              <a:avLst/>
            </a:prstGeom>
            <a:solidFill>
              <a:srgbClr val="E55A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pPr>
              <a:endParaRPr lang="en-US" sz="1000" dirty="0">
                <a:solidFill>
                  <a:schemeClr val="tx1"/>
                </a:solidFill>
                <a:latin typeface="Arial" pitchFamily="34" charset="0"/>
                <a:cs typeface="Arial" pitchFamily="34" charset="0"/>
              </a:endParaRPr>
            </a:p>
          </p:txBody>
        </p:sp>
        <p:sp>
          <p:nvSpPr>
            <p:cNvPr id="13" name="Freeform 76">
              <a:extLst>
                <a:ext uri="{FF2B5EF4-FFF2-40B4-BE49-F238E27FC236}">
                  <a16:creationId xmlns:a16="http://schemas.microsoft.com/office/drawing/2014/main" id="{187E70E6-AF3F-2549-908E-DF4BA61040AA}"/>
                </a:ext>
              </a:extLst>
            </p:cNvPr>
            <p:cNvSpPr>
              <a:spLocks noChangeAspect="1" noEditPoints="1"/>
            </p:cNvSpPr>
            <p:nvPr/>
          </p:nvSpPr>
          <p:spPr bwMode="auto">
            <a:xfrm>
              <a:off x="456202" y="5509222"/>
              <a:ext cx="504000" cy="329436"/>
            </a:xfrm>
            <a:custGeom>
              <a:avLst/>
              <a:gdLst>
                <a:gd name="T0" fmla="*/ 0 w 2080"/>
                <a:gd name="T1" fmla="*/ 65 h 1360"/>
                <a:gd name="T2" fmla="*/ 0 w 2080"/>
                <a:gd name="T3" fmla="*/ 0 h 1360"/>
                <a:gd name="T4" fmla="*/ 2080 w 2080"/>
                <a:gd name="T5" fmla="*/ 0 h 1360"/>
                <a:gd name="T6" fmla="*/ 2080 w 2080"/>
                <a:gd name="T7" fmla="*/ 65 h 1360"/>
                <a:gd name="T8" fmla="*/ 1089 w 2080"/>
                <a:gd name="T9" fmla="*/ 862 h 1360"/>
                <a:gd name="T10" fmla="*/ 991 w 2080"/>
                <a:gd name="T11" fmla="*/ 862 h 1360"/>
                <a:gd name="T12" fmla="*/ 0 w 2080"/>
                <a:gd name="T13" fmla="*/ 65 h 1360"/>
                <a:gd name="T14" fmla="*/ 1139 w 2080"/>
                <a:gd name="T15" fmla="*/ 924 h 1360"/>
                <a:gd name="T16" fmla="*/ 1282 w 2080"/>
                <a:gd name="T17" fmla="*/ 810 h 1360"/>
                <a:gd name="T18" fmla="*/ 2076 w 2080"/>
                <a:gd name="T19" fmla="*/ 1360 h 1360"/>
                <a:gd name="T20" fmla="*/ 4 w 2080"/>
                <a:gd name="T21" fmla="*/ 1360 h 1360"/>
                <a:gd name="T22" fmla="*/ 798 w 2080"/>
                <a:gd name="T23" fmla="*/ 810 h 1360"/>
                <a:gd name="T24" fmla="*/ 941 w 2080"/>
                <a:gd name="T25" fmla="*/ 924 h 1360"/>
                <a:gd name="T26" fmla="*/ 1139 w 2080"/>
                <a:gd name="T27" fmla="*/ 924 h 1360"/>
                <a:gd name="T28" fmla="*/ 2 w 2080"/>
                <a:gd name="T29" fmla="*/ 137 h 1360"/>
                <a:gd name="T30" fmla="*/ 42 w 2080"/>
                <a:gd name="T31" fmla="*/ 201 h 1360"/>
                <a:gd name="T32" fmla="*/ 734 w 2080"/>
                <a:gd name="T33" fmla="*/ 758 h 1360"/>
                <a:gd name="T34" fmla="*/ 0 w 2080"/>
                <a:gd name="T35" fmla="*/ 1266 h 1360"/>
                <a:gd name="T36" fmla="*/ 0 w 2080"/>
                <a:gd name="T37" fmla="*/ 135 h 1360"/>
                <a:gd name="T38" fmla="*/ 2 w 2080"/>
                <a:gd name="T39" fmla="*/ 137 h 1360"/>
                <a:gd name="T40" fmla="*/ 2080 w 2080"/>
                <a:gd name="T41" fmla="*/ 136 h 1360"/>
                <a:gd name="T42" fmla="*/ 2080 w 2080"/>
                <a:gd name="T43" fmla="*/ 1265 h 1360"/>
                <a:gd name="T44" fmla="*/ 1346 w 2080"/>
                <a:gd name="T45" fmla="*/ 758 h 1360"/>
                <a:gd name="T46" fmla="*/ 2038 w 2080"/>
                <a:gd name="T47" fmla="*/ 201 h 1360"/>
                <a:gd name="T48" fmla="*/ 2080 w 2080"/>
                <a:gd name="T49" fmla="*/ 136 h 1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080" h="1360">
                  <a:moveTo>
                    <a:pt x="0" y="65"/>
                  </a:moveTo>
                  <a:cubicBezTo>
                    <a:pt x="0" y="0"/>
                    <a:pt x="0" y="0"/>
                    <a:pt x="0" y="0"/>
                  </a:cubicBezTo>
                  <a:cubicBezTo>
                    <a:pt x="2080" y="0"/>
                    <a:pt x="2080" y="0"/>
                    <a:pt x="2080" y="0"/>
                  </a:cubicBezTo>
                  <a:cubicBezTo>
                    <a:pt x="2080" y="65"/>
                    <a:pt x="2080" y="65"/>
                    <a:pt x="2080" y="65"/>
                  </a:cubicBezTo>
                  <a:cubicBezTo>
                    <a:pt x="1089" y="862"/>
                    <a:pt x="1089" y="862"/>
                    <a:pt x="1089" y="862"/>
                  </a:cubicBezTo>
                  <a:cubicBezTo>
                    <a:pt x="1060" y="886"/>
                    <a:pt x="1020" y="886"/>
                    <a:pt x="991" y="862"/>
                  </a:cubicBezTo>
                  <a:lnTo>
                    <a:pt x="0" y="65"/>
                  </a:lnTo>
                  <a:close/>
                  <a:moveTo>
                    <a:pt x="1139" y="924"/>
                  </a:moveTo>
                  <a:cubicBezTo>
                    <a:pt x="1282" y="810"/>
                    <a:pt x="1282" y="810"/>
                    <a:pt x="1282" y="810"/>
                  </a:cubicBezTo>
                  <a:cubicBezTo>
                    <a:pt x="2076" y="1360"/>
                    <a:pt x="2076" y="1360"/>
                    <a:pt x="2076" y="1360"/>
                  </a:cubicBezTo>
                  <a:cubicBezTo>
                    <a:pt x="4" y="1360"/>
                    <a:pt x="4" y="1360"/>
                    <a:pt x="4" y="1360"/>
                  </a:cubicBezTo>
                  <a:cubicBezTo>
                    <a:pt x="798" y="810"/>
                    <a:pt x="798" y="810"/>
                    <a:pt x="798" y="810"/>
                  </a:cubicBezTo>
                  <a:cubicBezTo>
                    <a:pt x="941" y="924"/>
                    <a:pt x="941" y="924"/>
                    <a:pt x="941" y="924"/>
                  </a:cubicBezTo>
                  <a:cubicBezTo>
                    <a:pt x="1000" y="972"/>
                    <a:pt x="1080" y="972"/>
                    <a:pt x="1139" y="924"/>
                  </a:cubicBezTo>
                  <a:close/>
                  <a:moveTo>
                    <a:pt x="2" y="137"/>
                  </a:moveTo>
                  <a:cubicBezTo>
                    <a:pt x="8" y="163"/>
                    <a:pt x="22" y="185"/>
                    <a:pt x="42" y="201"/>
                  </a:cubicBezTo>
                  <a:cubicBezTo>
                    <a:pt x="734" y="758"/>
                    <a:pt x="734" y="758"/>
                    <a:pt x="734" y="758"/>
                  </a:cubicBezTo>
                  <a:cubicBezTo>
                    <a:pt x="0" y="1266"/>
                    <a:pt x="0" y="1266"/>
                    <a:pt x="0" y="1266"/>
                  </a:cubicBezTo>
                  <a:cubicBezTo>
                    <a:pt x="0" y="135"/>
                    <a:pt x="0" y="135"/>
                    <a:pt x="0" y="135"/>
                  </a:cubicBezTo>
                  <a:lnTo>
                    <a:pt x="2" y="137"/>
                  </a:lnTo>
                  <a:close/>
                  <a:moveTo>
                    <a:pt x="2080" y="136"/>
                  </a:moveTo>
                  <a:cubicBezTo>
                    <a:pt x="2080" y="1265"/>
                    <a:pt x="2080" y="1265"/>
                    <a:pt x="2080" y="1265"/>
                  </a:cubicBezTo>
                  <a:cubicBezTo>
                    <a:pt x="1346" y="758"/>
                    <a:pt x="1346" y="758"/>
                    <a:pt x="1346" y="758"/>
                  </a:cubicBezTo>
                  <a:cubicBezTo>
                    <a:pt x="2038" y="201"/>
                    <a:pt x="2038" y="201"/>
                    <a:pt x="2038" y="201"/>
                  </a:cubicBezTo>
                  <a:cubicBezTo>
                    <a:pt x="2060" y="182"/>
                    <a:pt x="2072" y="162"/>
                    <a:pt x="2080" y="13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000"/>
            </a:p>
          </p:txBody>
        </p:sp>
      </p:grpSp>
      <p:grpSp>
        <p:nvGrpSpPr>
          <p:cNvPr id="14" name="Gruppieren 2">
            <a:extLst>
              <a:ext uri="{FF2B5EF4-FFF2-40B4-BE49-F238E27FC236}">
                <a16:creationId xmlns:a16="http://schemas.microsoft.com/office/drawing/2014/main" id="{BE697CE9-EBDE-6B4A-BE70-582D92A8A831}"/>
              </a:ext>
            </a:extLst>
          </p:cNvPr>
          <p:cNvGrpSpPr/>
          <p:nvPr/>
        </p:nvGrpSpPr>
        <p:grpSpPr>
          <a:xfrm>
            <a:off x="8701917" y="2868319"/>
            <a:ext cx="171180" cy="171180"/>
            <a:chOff x="3392092" y="1841122"/>
            <a:chExt cx="646508" cy="646508"/>
          </a:xfrm>
        </p:grpSpPr>
        <p:sp>
          <p:nvSpPr>
            <p:cNvPr id="15" name="Rechteck 14">
              <a:extLst>
                <a:ext uri="{FF2B5EF4-FFF2-40B4-BE49-F238E27FC236}">
                  <a16:creationId xmlns:a16="http://schemas.microsoft.com/office/drawing/2014/main" id="{E142A731-19B7-C34D-9534-9E05108F895F}"/>
                </a:ext>
              </a:extLst>
            </p:cNvPr>
            <p:cNvSpPr>
              <a:spLocks noChangeAspect="1"/>
            </p:cNvSpPr>
            <p:nvPr/>
          </p:nvSpPr>
          <p:spPr bwMode="gray">
            <a:xfrm>
              <a:off x="3392092" y="1841122"/>
              <a:ext cx="646508" cy="646508"/>
            </a:xfrm>
            <a:prstGeom prst="rect">
              <a:avLst/>
            </a:prstGeom>
            <a:solidFill>
              <a:srgbClr val="E55A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pPr>
              <a:endParaRPr lang="en-US" sz="1000" dirty="0">
                <a:solidFill>
                  <a:schemeClr val="tx1"/>
                </a:solidFill>
                <a:latin typeface="Arial" pitchFamily="34" charset="0"/>
                <a:cs typeface="Arial" pitchFamily="34" charset="0"/>
              </a:endParaRPr>
            </a:p>
          </p:txBody>
        </p:sp>
        <p:sp>
          <p:nvSpPr>
            <p:cNvPr id="16" name="Freeform 15">
              <a:extLst>
                <a:ext uri="{FF2B5EF4-FFF2-40B4-BE49-F238E27FC236}">
                  <a16:creationId xmlns:a16="http://schemas.microsoft.com/office/drawing/2014/main" id="{F97E84AE-4AD9-4B44-9AA1-F797FC373809}"/>
                </a:ext>
              </a:extLst>
            </p:cNvPr>
            <p:cNvSpPr>
              <a:spLocks noChangeAspect="1"/>
            </p:cNvSpPr>
            <p:nvPr/>
          </p:nvSpPr>
          <p:spPr bwMode="auto">
            <a:xfrm>
              <a:off x="3546638" y="1970424"/>
              <a:ext cx="337415" cy="387905"/>
            </a:xfrm>
            <a:custGeom>
              <a:avLst/>
              <a:gdLst>
                <a:gd name="T0" fmla="*/ 573 w 1624"/>
                <a:gd name="T1" fmla="*/ 1257 h 1867"/>
                <a:gd name="T2" fmla="*/ 662 w 1624"/>
                <a:gd name="T3" fmla="*/ 1288 h 1867"/>
                <a:gd name="T4" fmla="*/ 938 w 1624"/>
                <a:gd name="T5" fmla="*/ 1051 h 1867"/>
                <a:gd name="T6" fmla="*/ 1106 w 1624"/>
                <a:gd name="T7" fmla="*/ 731 h 1867"/>
                <a:gd name="T8" fmla="*/ 1059 w 1624"/>
                <a:gd name="T9" fmla="*/ 645 h 1867"/>
                <a:gd name="T10" fmla="*/ 1001 w 1624"/>
                <a:gd name="T11" fmla="*/ 613 h 1867"/>
                <a:gd name="T12" fmla="*/ 924 w 1624"/>
                <a:gd name="T13" fmla="*/ 432 h 1867"/>
                <a:gd name="T14" fmla="*/ 1114 w 1624"/>
                <a:gd name="T15" fmla="*/ 81 h 1867"/>
                <a:gd name="T16" fmla="*/ 1287 w 1624"/>
                <a:gd name="T17" fmla="*/ 35 h 1867"/>
                <a:gd name="T18" fmla="*/ 1350 w 1624"/>
                <a:gd name="T19" fmla="*/ 69 h 1867"/>
                <a:gd name="T20" fmla="*/ 1527 w 1624"/>
                <a:gd name="T21" fmla="*/ 235 h 1867"/>
                <a:gd name="T22" fmla="*/ 1583 w 1624"/>
                <a:gd name="T23" fmla="*/ 555 h 1867"/>
                <a:gd name="T24" fmla="*/ 1172 w 1624"/>
                <a:gd name="T25" fmla="*/ 1253 h 1867"/>
                <a:gd name="T26" fmla="*/ 586 w 1624"/>
                <a:gd name="T27" fmla="*/ 1803 h 1867"/>
                <a:gd name="T28" fmla="*/ 269 w 1624"/>
                <a:gd name="T29" fmla="*/ 1807 h 1867"/>
                <a:gd name="T30" fmla="*/ 33 w 1624"/>
                <a:gd name="T31" fmla="*/ 1602 h 1867"/>
                <a:gd name="T32" fmla="*/ 2 w 1624"/>
                <a:gd name="T33" fmla="*/ 1508 h 1867"/>
                <a:gd name="T34" fmla="*/ 45 w 1624"/>
                <a:gd name="T35" fmla="*/ 1421 h 1867"/>
                <a:gd name="T36" fmla="*/ 346 w 1624"/>
                <a:gd name="T37" fmla="*/ 1158 h 1867"/>
                <a:gd name="T38" fmla="*/ 448 w 1624"/>
                <a:gd name="T39" fmla="*/ 1145 h 1867"/>
                <a:gd name="T40" fmla="*/ 573 w 1624"/>
                <a:gd name="T41" fmla="*/ 1257 h 18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24" h="1867">
                  <a:moveTo>
                    <a:pt x="573" y="1257"/>
                  </a:moveTo>
                  <a:cubicBezTo>
                    <a:pt x="592" y="1282"/>
                    <a:pt x="630" y="1303"/>
                    <a:pt x="662" y="1288"/>
                  </a:cubicBezTo>
                  <a:cubicBezTo>
                    <a:pt x="753" y="1245"/>
                    <a:pt x="854" y="1156"/>
                    <a:pt x="938" y="1051"/>
                  </a:cubicBezTo>
                  <a:cubicBezTo>
                    <a:pt x="1020" y="948"/>
                    <a:pt x="1084" y="831"/>
                    <a:pt x="1106" y="731"/>
                  </a:cubicBezTo>
                  <a:cubicBezTo>
                    <a:pt x="1113" y="696"/>
                    <a:pt x="1089" y="661"/>
                    <a:pt x="1059" y="645"/>
                  </a:cubicBezTo>
                  <a:cubicBezTo>
                    <a:pt x="1001" y="613"/>
                    <a:pt x="1001" y="613"/>
                    <a:pt x="1001" y="613"/>
                  </a:cubicBezTo>
                  <a:cubicBezTo>
                    <a:pt x="942" y="580"/>
                    <a:pt x="888" y="499"/>
                    <a:pt x="924" y="432"/>
                  </a:cubicBezTo>
                  <a:cubicBezTo>
                    <a:pt x="1114" y="81"/>
                    <a:pt x="1114" y="81"/>
                    <a:pt x="1114" y="81"/>
                  </a:cubicBezTo>
                  <a:cubicBezTo>
                    <a:pt x="1150" y="16"/>
                    <a:pt x="1224" y="0"/>
                    <a:pt x="1287" y="35"/>
                  </a:cubicBezTo>
                  <a:cubicBezTo>
                    <a:pt x="1350" y="69"/>
                    <a:pt x="1350" y="69"/>
                    <a:pt x="1350" y="69"/>
                  </a:cubicBezTo>
                  <a:cubicBezTo>
                    <a:pt x="1415" y="105"/>
                    <a:pt x="1479" y="165"/>
                    <a:pt x="1527" y="235"/>
                  </a:cubicBezTo>
                  <a:cubicBezTo>
                    <a:pt x="1593" y="332"/>
                    <a:pt x="1624" y="442"/>
                    <a:pt x="1583" y="555"/>
                  </a:cubicBezTo>
                  <a:cubicBezTo>
                    <a:pt x="1500" y="781"/>
                    <a:pt x="1351" y="1030"/>
                    <a:pt x="1172" y="1253"/>
                  </a:cubicBezTo>
                  <a:cubicBezTo>
                    <a:pt x="994" y="1477"/>
                    <a:pt x="786" y="1676"/>
                    <a:pt x="586" y="1803"/>
                  </a:cubicBezTo>
                  <a:cubicBezTo>
                    <a:pt x="486" y="1867"/>
                    <a:pt x="375" y="1856"/>
                    <a:pt x="269" y="1807"/>
                  </a:cubicBezTo>
                  <a:cubicBezTo>
                    <a:pt x="157" y="1755"/>
                    <a:pt x="106" y="1695"/>
                    <a:pt x="33" y="1602"/>
                  </a:cubicBezTo>
                  <a:cubicBezTo>
                    <a:pt x="11" y="1573"/>
                    <a:pt x="0" y="1540"/>
                    <a:pt x="2" y="1508"/>
                  </a:cubicBezTo>
                  <a:cubicBezTo>
                    <a:pt x="4" y="1475"/>
                    <a:pt x="18" y="1444"/>
                    <a:pt x="45" y="1421"/>
                  </a:cubicBezTo>
                  <a:cubicBezTo>
                    <a:pt x="70" y="1399"/>
                    <a:pt x="346" y="1158"/>
                    <a:pt x="346" y="1158"/>
                  </a:cubicBezTo>
                  <a:cubicBezTo>
                    <a:pt x="376" y="1134"/>
                    <a:pt x="413" y="1133"/>
                    <a:pt x="448" y="1145"/>
                  </a:cubicBezTo>
                  <a:cubicBezTo>
                    <a:pt x="510" y="1166"/>
                    <a:pt x="536" y="1210"/>
                    <a:pt x="573" y="1257"/>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351" dirty="0"/>
            </a:p>
          </p:txBody>
        </p:sp>
      </p:grpSp>
      <p:grpSp>
        <p:nvGrpSpPr>
          <p:cNvPr id="17" name="Group 3">
            <a:extLst>
              <a:ext uri="{FF2B5EF4-FFF2-40B4-BE49-F238E27FC236}">
                <a16:creationId xmlns:a16="http://schemas.microsoft.com/office/drawing/2014/main" id="{7104BADD-8CD1-6F4A-B894-869C3BDB3EEB}"/>
              </a:ext>
            </a:extLst>
          </p:cNvPr>
          <p:cNvGrpSpPr>
            <a:grpSpLocks noChangeAspect="1"/>
          </p:cNvGrpSpPr>
          <p:nvPr>
            <p:custDataLst>
              <p:tags r:id="rId2"/>
            </p:custDataLst>
          </p:nvPr>
        </p:nvGrpSpPr>
        <p:grpSpPr>
          <a:xfrm>
            <a:off x="8701918" y="3153207"/>
            <a:ext cx="171180" cy="171180"/>
            <a:chOff x="328396" y="5313940"/>
            <a:chExt cx="720000" cy="720000"/>
          </a:xfrm>
        </p:grpSpPr>
        <p:sp>
          <p:nvSpPr>
            <p:cNvPr id="18" name="Rectangle 4">
              <a:extLst>
                <a:ext uri="{FF2B5EF4-FFF2-40B4-BE49-F238E27FC236}">
                  <a16:creationId xmlns:a16="http://schemas.microsoft.com/office/drawing/2014/main" id="{74BE3D5F-1445-6E40-8B49-72E15568383B}"/>
                </a:ext>
              </a:extLst>
            </p:cNvPr>
            <p:cNvSpPr/>
            <p:nvPr/>
          </p:nvSpPr>
          <p:spPr bwMode="gray">
            <a:xfrm>
              <a:off x="328396" y="5313940"/>
              <a:ext cx="720000" cy="720000"/>
            </a:xfrm>
            <a:prstGeom prst="rect">
              <a:avLst/>
            </a:prstGeom>
            <a:solidFill>
              <a:srgbClr val="E55A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pPr>
              <a:endParaRPr lang="en-US" sz="1000" dirty="0">
                <a:solidFill>
                  <a:schemeClr val="tx1"/>
                </a:solidFill>
                <a:latin typeface="Arial" pitchFamily="34" charset="0"/>
                <a:cs typeface="Arial" pitchFamily="34" charset="0"/>
              </a:endParaRPr>
            </a:p>
          </p:txBody>
        </p:sp>
        <p:sp>
          <p:nvSpPr>
            <p:cNvPr id="19" name="Freeform 76">
              <a:extLst>
                <a:ext uri="{FF2B5EF4-FFF2-40B4-BE49-F238E27FC236}">
                  <a16:creationId xmlns:a16="http://schemas.microsoft.com/office/drawing/2014/main" id="{55DB3C95-7D0C-D141-901E-96D692794D2B}"/>
                </a:ext>
              </a:extLst>
            </p:cNvPr>
            <p:cNvSpPr>
              <a:spLocks noChangeAspect="1" noEditPoints="1"/>
            </p:cNvSpPr>
            <p:nvPr/>
          </p:nvSpPr>
          <p:spPr bwMode="auto">
            <a:xfrm>
              <a:off x="456202" y="5509222"/>
              <a:ext cx="504000" cy="329436"/>
            </a:xfrm>
            <a:custGeom>
              <a:avLst/>
              <a:gdLst>
                <a:gd name="T0" fmla="*/ 0 w 2080"/>
                <a:gd name="T1" fmla="*/ 65 h 1360"/>
                <a:gd name="T2" fmla="*/ 0 w 2080"/>
                <a:gd name="T3" fmla="*/ 0 h 1360"/>
                <a:gd name="T4" fmla="*/ 2080 w 2080"/>
                <a:gd name="T5" fmla="*/ 0 h 1360"/>
                <a:gd name="T6" fmla="*/ 2080 w 2080"/>
                <a:gd name="T7" fmla="*/ 65 h 1360"/>
                <a:gd name="T8" fmla="*/ 1089 w 2080"/>
                <a:gd name="T9" fmla="*/ 862 h 1360"/>
                <a:gd name="T10" fmla="*/ 991 w 2080"/>
                <a:gd name="T11" fmla="*/ 862 h 1360"/>
                <a:gd name="T12" fmla="*/ 0 w 2080"/>
                <a:gd name="T13" fmla="*/ 65 h 1360"/>
                <a:gd name="T14" fmla="*/ 1139 w 2080"/>
                <a:gd name="T15" fmla="*/ 924 h 1360"/>
                <a:gd name="T16" fmla="*/ 1282 w 2080"/>
                <a:gd name="T17" fmla="*/ 810 h 1360"/>
                <a:gd name="T18" fmla="*/ 2076 w 2080"/>
                <a:gd name="T19" fmla="*/ 1360 h 1360"/>
                <a:gd name="T20" fmla="*/ 4 w 2080"/>
                <a:gd name="T21" fmla="*/ 1360 h 1360"/>
                <a:gd name="T22" fmla="*/ 798 w 2080"/>
                <a:gd name="T23" fmla="*/ 810 h 1360"/>
                <a:gd name="T24" fmla="*/ 941 w 2080"/>
                <a:gd name="T25" fmla="*/ 924 h 1360"/>
                <a:gd name="T26" fmla="*/ 1139 w 2080"/>
                <a:gd name="T27" fmla="*/ 924 h 1360"/>
                <a:gd name="T28" fmla="*/ 2 w 2080"/>
                <a:gd name="T29" fmla="*/ 137 h 1360"/>
                <a:gd name="T30" fmla="*/ 42 w 2080"/>
                <a:gd name="T31" fmla="*/ 201 h 1360"/>
                <a:gd name="T32" fmla="*/ 734 w 2080"/>
                <a:gd name="T33" fmla="*/ 758 h 1360"/>
                <a:gd name="T34" fmla="*/ 0 w 2080"/>
                <a:gd name="T35" fmla="*/ 1266 h 1360"/>
                <a:gd name="T36" fmla="*/ 0 w 2080"/>
                <a:gd name="T37" fmla="*/ 135 h 1360"/>
                <a:gd name="T38" fmla="*/ 2 w 2080"/>
                <a:gd name="T39" fmla="*/ 137 h 1360"/>
                <a:gd name="T40" fmla="*/ 2080 w 2080"/>
                <a:gd name="T41" fmla="*/ 136 h 1360"/>
                <a:gd name="T42" fmla="*/ 2080 w 2080"/>
                <a:gd name="T43" fmla="*/ 1265 h 1360"/>
                <a:gd name="T44" fmla="*/ 1346 w 2080"/>
                <a:gd name="T45" fmla="*/ 758 h 1360"/>
                <a:gd name="T46" fmla="*/ 2038 w 2080"/>
                <a:gd name="T47" fmla="*/ 201 h 1360"/>
                <a:gd name="T48" fmla="*/ 2080 w 2080"/>
                <a:gd name="T49" fmla="*/ 136 h 1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080" h="1360">
                  <a:moveTo>
                    <a:pt x="0" y="65"/>
                  </a:moveTo>
                  <a:cubicBezTo>
                    <a:pt x="0" y="0"/>
                    <a:pt x="0" y="0"/>
                    <a:pt x="0" y="0"/>
                  </a:cubicBezTo>
                  <a:cubicBezTo>
                    <a:pt x="2080" y="0"/>
                    <a:pt x="2080" y="0"/>
                    <a:pt x="2080" y="0"/>
                  </a:cubicBezTo>
                  <a:cubicBezTo>
                    <a:pt x="2080" y="65"/>
                    <a:pt x="2080" y="65"/>
                    <a:pt x="2080" y="65"/>
                  </a:cubicBezTo>
                  <a:cubicBezTo>
                    <a:pt x="1089" y="862"/>
                    <a:pt x="1089" y="862"/>
                    <a:pt x="1089" y="862"/>
                  </a:cubicBezTo>
                  <a:cubicBezTo>
                    <a:pt x="1060" y="886"/>
                    <a:pt x="1020" y="886"/>
                    <a:pt x="991" y="862"/>
                  </a:cubicBezTo>
                  <a:lnTo>
                    <a:pt x="0" y="65"/>
                  </a:lnTo>
                  <a:close/>
                  <a:moveTo>
                    <a:pt x="1139" y="924"/>
                  </a:moveTo>
                  <a:cubicBezTo>
                    <a:pt x="1282" y="810"/>
                    <a:pt x="1282" y="810"/>
                    <a:pt x="1282" y="810"/>
                  </a:cubicBezTo>
                  <a:cubicBezTo>
                    <a:pt x="2076" y="1360"/>
                    <a:pt x="2076" y="1360"/>
                    <a:pt x="2076" y="1360"/>
                  </a:cubicBezTo>
                  <a:cubicBezTo>
                    <a:pt x="4" y="1360"/>
                    <a:pt x="4" y="1360"/>
                    <a:pt x="4" y="1360"/>
                  </a:cubicBezTo>
                  <a:cubicBezTo>
                    <a:pt x="798" y="810"/>
                    <a:pt x="798" y="810"/>
                    <a:pt x="798" y="810"/>
                  </a:cubicBezTo>
                  <a:cubicBezTo>
                    <a:pt x="941" y="924"/>
                    <a:pt x="941" y="924"/>
                    <a:pt x="941" y="924"/>
                  </a:cubicBezTo>
                  <a:cubicBezTo>
                    <a:pt x="1000" y="972"/>
                    <a:pt x="1080" y="972"/>
                    <a:pt x="1139" y="924"/>
                  </a:cubicBezTo>
                  <a:close/>
                  <a:moveTo>
                    <a:pt x="2" y="137"/>
                  </a:moveTo>
                  <a:cubicBezTo>
                    <a:pt x="8" y="163"/>
                    <a:pt x="22" y="185"/>
                    <a:pt x="42" y="201"/>
                  </a:cubicBezTo>
                  <a:cubicBezTo>
                    <a:pt x="734" y="758"/>
                    <a:pt x="734" y="758"/>
                    <a:pt x="734" y="758"/>
                  </a:cubicBezTo>
                  <a:cubicBezTo>
                    <a:pt x="0" y="1266"/>
                    <a:pt x="0" y="1266"/>
                    <a:pt x="0" y="1266"/>
                  </a:cubicBezTo>
                  <a:cubicBezTo>
                    <a:pt x="0" y="135"/>
                    <a:pt x="0" y="135"/>
                    <a:pt x="0" y="135"/>
                  </a:cubicBezTo>
                  <a:lnTo>
                    <a:pt x="2" y="137"/>
                  </a:lnTo>
                  <a:close/>
                  <a:moveTo>
                    <a:pt x="2080" y="136"/>
                  </a:moveTo>
                  <a:cubicBezTo>
                    <a:pt x="2080" y="1265"/>
                    <a:pt x="2080" y="1265"/>
                    <a:pt x="2080" y="1265"/>
                  </a:cubicBezTo>
                  <a:cubicBezTo>
                    <a:pt x="1346" y="758"/>
                    <a:pt x="1346" y="758"/>
                    <a:pt x="1346" y="758"/>
                  </a:cubicBezTo>
                  <a:cubicBezTo>
                    <a:pt x="2038" y="201"/>
                    <a:pt x="2038" y="201"/>
                    <a:pt x="2038" y="201"/>
                  </a:cubicBezTo>
                  <a:cubicBezTo>
                    <a:pt x="2060" y="182"/>
                    <a:pt x="2072" y="162"/>
                    <a:pt x="2080" y="13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000"/>
            </a:p>
          </p:txBody>
        </p:sp>
      </p:grpSp>
      <p:cxnSp>
        <p:nvCxnSpPr>
          <p:cNvPr id="20" name="Straight Connector 19"/>
          <p:cNvCxnSpPr/>
          <p:nvPr/>
        </p:nvCxnSpPr>
        <p:spPr>
          <a:xfrm>
            <a:off x="2371725" y="3478213"/>
            <a:ext cx="3888000" cy="0"/>
          </a:xfrm>
          <a:prstGeom prst="line">
            <a:avLst/>
          </a:prstGeom>
          <a:ln w="6350">
            <a:solidFill>
              <a:schemeClr val="tx2"/>
            </a:solidFill>
            <a:prstDash val="dash"/>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p:nvCxnSpPr>
        <p:spPr>
          <a:xfrm>
            <a:off x="7287766" y="3478213"/>
            <a:ext cx="3888000" cy="0"/>
          </a:xfrm>
          <a:prstGeom prst="line">
            <a:avLst/>
          </a:prstGeom>
          <a:ln w="6350">
            <a:solidFill>
              <a:schemeClr val="tx2"/>
            </a:solidFill>
            <a:prstDash val="dash"/>
          </a:ln>
        </p:spPr>
        <p:style>
          <a:lnRef idx="1">
            <a:schemeClr val="accent1"/>
          </a:lnRef>
          <a:fillRef idx="0">
            <a:schemeClr val="accent1"/>
          </a:fillRef>
          <a:effectRef idx="0">
            <a:schemeClr val="accent1"/>
          </a:effectRef>
          <a:fontRef idx="minor">
            <a:schemeClr val="tx1"/>
          </a:fontRef>
        </p:style>
      </p:cxnSp>
      <p:sp>
        <p:nvSpPr>
          <p:cNvPr id="4" name="Picture Placeholder 3"/>
          <p:cNvSpPr>
            <a:spLocks noGrp="1"/>
          </p:cNvSpPr>
          <p:nvPr>
            <p:ph type="pic" sz="quarter" idx="17" hasCustomPrompt="1"/>
          </p:nvPr>
        </p:nvSpPr>
        <p:spPr>
          <a:xfrm>
            <a:off x="2355914" y="1808984"/>
            <a:ext cx="1188677" cy="1547840"/>
          </a:xfrm>
          <a:solidFill>
            <a:srgbClr val="D9DADB"/>
          </a:solidFill>
        </p:spPr>
        <p:txBody>
          <a:bodyPr/>
          <a:lstStyle>
            <a:lvl1pPr marL="0" indent="0">
              <a:buNone/>
              <a:defRPr sz="1400"/>
            </a:lvl1pPr>
          </a:lstStyle>
          <a:p>
            <a:r>
              <a:rPr lang="en-US" dirty="0"/>
              <a:t>Insert picture</a:t>
            </a:r>
          </a:p>
        </p:txBody>
      </p:sp>
      <p:sp>
        <p:nvSpPr>
          <p:cNvPr id="25" name="Picture Placeholder 3"/>
          <p:cNvSpPr>
            <a:spLocks noGrp="1"/>
          </p:cNvSpPr>
          <p:nvPr>
            <p:ph type="pic" sz="quarter" idx="18" hasCustomPrompt="1"/>
          </p:nvPr>
        </p:nvSpPr>
        <p:spPr>
          <a:xfrm>
            <a:off x="7287766" y="1808984"/>
            <a:ext cx="1188677" cy="1547840"/>
          </a:xfrm>
          <a:solidFill>
            <a:srgbClr val="D9DADB"/>
          </a:solidFill>
        </p:spPr>
        <p:txBody>
          <a:bodyPr/>
          <a:lstStyle>
            <a:lvl1pPr marL="0" indent="0">
              <a:buNone/>
              <a:defRPr sz="1400"/>
            </a:lvl1pPr>
          </a:lstStyle>
          <a:p>
            <a:r>
              <a:rPr lang="en-US" dirty="0"/>
              <a:t>Insert picture</a:t>
            </a:r>
          </a:p>
        </p:txBody>
      </p:sp>
      <p:sp>
        <p:nvSpPr>
          <p:cNvPr id="6" name="Text Placeholder 5"/>
          <p:cNvSpPr>
            <a:spLocks noGrp="1"/>
          </p:cNvSpPr>
          <p:nvPr>
            <p:ph type="body" sz="quarter" idx="19" hasCustomPrompt="1"/>
          </p:nvPr>
        </p:nvSpPr>
        <p:spPr>
          <a:xfrm>
            <a:off x="3770065" y="1808521"/>
            <a:ext cx="2463190" cy="192360"/>
          </a:xfrm>
        </p:spPr>
        <p:txBody>
          <a:bodyPr lIns="0" tIns="0" rIns="0" bIns="0" anchor="ctr" anchorCtr="0"/>
          <a:lstStyle>
            <a:lvl1pPr marL="0" indent="0" algn="l">
              <a:lnSpc>
                <a:spcPct val="100000"/>
              </a:lnSpc>
              <a:buNone/>
              <a:defRPr sz="100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Country</a:t>
            </a:r>
          </a:p>
        </p:txBody>
      </p:sp>
      <p:sp>
        <p:nvSpPr>
          <p:cNvPr id="26" name="Text Placeholder 5"/>
          <p:cNvSpPr>
            <a:spLocks noGrp="1"/>
          </p:cNvSpPr>
          <p:nvPr>
            <p:ph type="body" sz="quarter" idx="20" hasCustomPrompt="1"/>
          </p:nvPr>
        </p:nvSpPr>
        <p:spPr>
          <a:xfrm>
            <a:off x="3770065" y="2020337"/>
            <a:ext cx="2463190" cy="266182"/>
          </a:xfrm>
        </p:spPr>
        <p:txBody>
          <a:bodyPr lIns="0" tIns="0" rIns="0" bIns="0" anchor="b" anchorCtr="0"/>
          <a:lstStyle>
            <a:lvl1pPr marL="0" indent="0" algn="l">
              <a:lnSpc>
                <a:spcPct val="100000"/>
              </a:lnSpc>
              <a:buNone/>
              <a:defRPr sz="1400" b="1" baseline="0">
                <a:solidFill>
                  <a:schemeClr val="tx2"/>
                </a:solidFill>
              </a:defRPr>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Name, Surname</a:t>
            </a:r>
          </a:p>
        </p:txBody>
      </p:sp>
      <p:sp>
        <p:nvSpPr>
          <p:cNvPr id="27" name="Text Placeholder 5"/>
          <p:cNvSpPr>
            <a:spLocks noGrp="1"/>
          </p:cNvSpPr>
          <p:nvPr>
            <p:ph type="body" sz="quarter" idx="21" hasCustomPrompt="1"/>
          </p:nvPr>
        </p:nvSpPr>
        <p:spPr>
          <a:xfrm>
            <a:off x="3770065" y="2316912"/>
            <a:ext cx="2463190"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Job Position</a:t>
            </a:r>
          </a:p>
        </p:txBody>
      </p:sp>
      <p:sp>
        <p:nvSpPr>
          <p:cNvPr id="28" name="Text Placeholder 5"/>
          <p:cNvSpPr>
            <a:spLocks noGrp="1"/>
          </p:cNvSpPr>
          <p:nvPr>
            <p:ph type="body" sz="quarter" idx="22" hasCustomPrompt="1"/>
          </p:nvPr>
        </p:nvSpPr>
        <p:spPr>
          <a:xfrm>
            <a:off x="4014948" y="2845588"/>
            <a:ext cx="2218307"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Phone number</a:t>
            </a:r>
          </a:p>
        </p:txBody>
      </p:sp>
      <p:sp>
        <p:nvSpPr>
          <p:cNvPr id="29" name="Text Placeholder 5"/>
          <p:cNvSpPr>
            <a:spLocks noGrp="1"/>
          </p:cNvSpPr>
          <p:nvPr>
            <p:ph type="body" sz="quarter" idx="23" hasCustomPrompt="1"/>
          </p:nvPr>
        </p:nvSpPr>
        <p:spPr>
          <a:xfrm>
            <a:off x="4014948" y="3128395"/>
            <a:ext cx="2218307"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Email address</a:t>
            </a:r>
          </a:p>
        </p:txBody>
      </p:sp>
      <p:sp>
        <p:nvSpPr>
          <p:cNvPr id="30" name="Text Placeholder 5"/>
          <p:cNvSpPr>
            <a:spLocks noGrp="1"/>
          </p:cNvSpPr>
          <p:nvPr>
            <p:ph type="body" sz="quarter" idx="24" hasCustomPrompt="1"/>
          </p:nvPr>
        </p:nvSpPr>
        <p:spPr>
          <a:xfrm>
            <a:off x="8701917" y="1808521"/>
            <a:ext cx="2463190" cy="192360"/>
          </a:xfrm>
        </p:spPr>
        <p:txBody>
          <a:bodyPr lIns="0" tIns="0" rIns="0" bIns="0" anchor="ctr" anchorCtr="0"/>
          <a:lstStyle>
            <a:lvl1pPr marL="0" indent="0" algn="l">
              <a:lnSpc>
                <a:spcPct val="100000"/>
              </a:lnSpc>
              <a:buNone/>
              <a:defRPr sz="100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Country</a:t>
            </a:r>
          </a:p>
        </p:txBody>
      </p:sp>
      <p:sp>
        <p:nvSpPr>
          <p:cNvPr id="31" name="Text Placeholder 5"/>
          <p:cNvSpPr>
            <a:spLocks noGrp="1"/>
          </p:cNvSpPr>
          <p:nvPr>
            <p:ph type="body" sz="quarter" idx="25" hasCustomPrompt="1"/>
          </p:nvPr>
        </p:nvSpPr>
        <p:spPr>
          <a:xfrm>
            <a:off x="8701917" y="2020337"/>
            <a:ext cx="2463190" cy="266182"/>
          </a:xfrm>
        </p:spPr>
        <p:txBody>
          <a:bodyPr lIns="0" tIns="0" rIns="0" bIns="0" anchor="b" anchorCtr="0"/>
          <a:lstStyle>
            <a:lvl1pPr marL="0" indent="0" algn="l">
              <a:lnSpc>
                <a:spcPct val="100000"/>
              </a:lnSpc>
              <a:buNone/>
              <a:defRPr sz="1400" b="1" baseline="0">
                <a:solidFill>
                  <a:schemeClr val="tx2"/>
                </a:solidFill>
              </a:defRPr>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Name, Surname</a:t>
            </a:r>
          </a:p>
        </p:txBody>
      </p:sp>
      <p:sp>
        <p:nvSpPr>
          <p:cNvPr id="32" name="Text Placeholder 5"/>
          <p:cNvSpPr>
            <a:spLocks noGrp="1"/>
          </p:cNvSpPr>
          <p:nvPr>
            <p:ph type="body" sz="quarter" idx="26" hasCustomPrompt="1"/>
          </p:nvPr>
        </p:nvSpPr>
        <p:spPr>
          <a:xfrm>
            <a:off x="8701917" y="2316912"/>
            <a:ext cx="2463190"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Job Position</a:t>
            </a:r>
          </a:p>
        </p:txBody>
      </p:sp>
      <p:sp>
        <p:nvSpPr>
          <p:cNvPr id="33" name="Text Placeholder 5"/>
          <p:cNvSpPr>
            <a:spLocks noGrp="1"/>
          </p:cNvSpPr>
          <p:nvPr>
            <p:ph type="body" sz="quarter" idx="27" hasCustomPrompt="1"/>
          </p:nvPr>
        </p:nvSpPr>
        <p:spPr>
          <a:xfrm>
            <a:off x="8946800" y="2845588"/>
            <a:ext cx="2218307"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Phone number</a:t>
            </a:r>
          </a:p>
        </p:txBody>
      </p:sp>
      <p:sp>
        <p:nvSpPr>
          <p:cNvPr id="34" name="Text Placeholder 5"/>
          <p:cNvSpPr>
            <a:spLocks noGrp="1"/>
          </p:cNvSpPr>
          <p:nvPr>
            <p:ph type="body" sz="quarter" idx="28" hasCustomPrompt="1"/>
          </p:nvPr>
        </p:nvSpPr>
        <p:spPr>
          <a:xfrm>
            <a:off x="8946800" y="3128395"/>
            <a:ext cx="2218307"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Email address</a:t>
            </a:r>
          </a:p>
        </p:txBody>
      </p:sp>
      <p:grpSp>
        <p:nvGrpSpPr>
          <p:cNvPr id="35" name="Gruppieren 2">
            <a:extLst>
              <a:ext uri="{FF2B5EF4-FFF2-40B4-BE49-F238E27FC236}">
                <a16:creationId xmlns:a16="http://schemas.microsoft.com/office/drawing/2014/main" id="{BE697CE9-EBDE-6B4A-BE70-582D92A8A831}"/>
              </a:ext>
            </a:extLst>
          </p:cNvPr>
          <p:cNvGrpSpPr/>
          <p:nvPr/>
        </p:nvGrpSpPr>
        <p:grpSpPr>
          <a:xfrm>
            <a:off x="3770065" y="5045939"/>
            <a:ext cx="171180" cy="171180"/>
            <a:chOff x="3392092" y="1841122"/>
            <a:chExt cx="646508" cy="646508"/>
          </a:xfrm>
        </p:grpSpPr>
        <p:sp>
          <p:nvSpPr>
            <p:cNvPr id="36" name="Rechteck 14">
              <a:extLst>
                <a:ext uri="{FF2B5EF4-FFF2-40B4-BE49-F238E27FC236}">
                  <a16:creationId xmlns:a16="http://schemas.microsoft.com/office/drawing/2014/main" id="{E142A731-19B7-C34D-9534-9E05108F895F}"/>
                </a:ext>
              </a:extLst>
            </p:cNvPr>
            <p:cNvSpPr>
              <a:spLocks noChangeAspect="1"/>
            </p:cNvSpPr>
            <p:nvPr/>
          </p:nvSpPr>
          <p:spPr bwMode="gray">
            <a:xfrm>
              <a:off x="3392092" y="1841122"/>
              <a:ext cx="646508" cy="646508"/>
            </a:xfrm>
            <a:prstGeom prst="rect">
              <a:avLst/>
            </a:prstGeom>
            <a:solidFill>
              <a:srgbClr val="E55A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pPr>
              <a:endParaRPr lang="en-US" sz="1000" dirty="0">
                <a:solidFill>
                  <a:schemeClr val="tx1"/>
                </a:solidFill>
                <a:latin typeface="Arial" pitchFamily="34" charset="0"/>
                <a:cs typeface="Arial" pitchFamily="34" charset="0"/>
              </a:endParaRPr>
            </a:p>
          </p:txBody>
        </p:sp>
        <p:sp>
          <p:nvSpPr>
            <p:cNvPr id="37" name="Freeform 36">
              <a:extLst>
                <a:ext uri="{FF2B5EF4-FFF2-40B4-BE49-F238E27FC236}">
                  <a16:creationId xmlns:a16="http://schemas.microsoft.com/office/drawing/2014/main" id="{F97E84AE-4AD9-4B44-9AA1-F797FC373809}"/>
                </a:ext>
              </a:extLst>
            </p:cNvPr>
            <p:cNvSpPr>
              <a:spLocks noChangeAspect="1"/>
            </p:cNvSpPr>
            <p:nvPr/>
          </p:nvSpPr>
          <p:spPr bwMode="auto">
            <a:xfrm>
              <a:off x="3546638" y="1970424"/>
              <a:ext cx="337415" cy="387905"/>
            </a:xfrm>
            <a:custGeom>
              <a:avLst/>
              <a:gdLst>
                <a:gd name="T0" fmla="*/ 573 w 1624"/>
                <a:gd name="T1" fmla="*/ 1257 h 1867"/>
                <a:gd name="T2" fmla="*/ 662 w 1624"/>
                <a:gd name="T3" fmla="*/ 1288 h 1867"/>
                <a:gd name="T4" fmla="*/ 938 w 1624"/>
                <a:gd name="T5" fmla="*/ 1051 h 1867"/>
                <a:gd name="T6" fmla="*/ 1106 w 1624"/>
                <a:gd name="T7" fmla="*/ 731 h 1867"/>
                <a:gd name="T8" fmla="*/ 1059 w 1624"/>
                <a:gd name="T9" fmla="*/ 645 h 1867"/>
                <a:gd name="T10" fmla="*/ 1001 w 1624"/>
                <a:gd name="T11" fmla="*/ 613 h 1867"/>
                <a:gd name="T12" fmla="*/ 924 w 1624"/>
                <a:gd name="T13" fmla="*/ 432 h 1867"/>
                <a:gd name="T14" fmla="*/ 1114 w 1624"/>
                <a:gd name="T15" fmla="*/ 81 h 1867"/>
                <a:gd name="T16" fmla="*/ 1287 w 1624"/>
                <a:gd name="T17" fmla="*/ 35 h 1867"/>
                <a:gd name="T18" fmla="*/ 1350 w 1624"/>
                <a:gd name="T19" fmla="*/ 69 h 1867"/>
                <a:gd name="T20" fmla="*/ 1527 w 1624"/>
                <a:gd name="T21" fmla="*/ 235 h 1867"/>
                <a:gd name="T22" fmla="*/ 1583 w 1624"/>
                <a:gd name="T23" fmla="*/ 555 h 1867"/>
                <a:gd name="T24" fmla="*/ 1172 w 1624"/>
                <a:gd name="T25" fmla="*/ 1253 h 1867"/>
                <a:gd name="T26" fmla="*/ 586 w 1624"/>
                <a:gd name="T27" fmla="*/ 1803 h 1867"/>
                <a:gd name="T28" fmla="*/ 269 w 1624"/>
                <a:gd name="T29" fmla="*/ 1807 h 1867"/>
                <a:gd name="T30" fmla="*/ 33 w 1624"/>
                <a:gd name="T31" fmla="*/ 1602 h 1867"/>
                <a:gd name="T32" fmla="*/ 2 w 1624"/>
                <a:gd name="T33" fmla="*/ 1508 h 1867"/>
                <a:gd name="T34" fmla="*/ 45 w 1624"/>
                <a:gd name="T35" fmla="*/ 1421 h 1867"/>
                <a:gd name="T36" fmla="*/ 346 w 1624"/>
                <a:gd name="T37" fmla="*/ 1158 h 1867"/>
                <a:gd name="T38" fmla="*/ 448 w 1624"/>
                <a:gd name="T39" fmla="*/ 1145 h 1867"/>
                <a:gd name="T40" fmla="*/ 573 w 1624"/>
                <a:gd name="T41" fmla="*/ 1257 h 18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24" h="1867">
                  <a:moveTo>
                    <a:pt x="573" y="1257"/>
                  </a:moveTo>
                  <a:cubicBezTo>
                    <a:pt x="592" y="1282"/>
                    <a:pt x="630" y="1303"/>
                    <a:pt x="662" y="1288"/>
                  </a:cubicBezTo>
                  <a:cubicBezTo>
                    <a:pt x="753" y="1245"/>
                    <a:pt x="854" y="1156"/>
                    <a:pt x="938" y="1051"/>
                  </a:cubicBezTo>
                  <a:cubicBezTo>
                    <a:pt x="1020" y="948"/>
                    <a:pt x="1084" y="831"/>
                    <a:pt x="1106" y="731"/>
                  </a:cubicBezTo>
                  <a:cubicBezTo>
                    <a:pt x="1113" y="696"/>
                    <a:pt x="1089" y="661"/>
                    <a:pt x="1059" y="645"/>
                  </a:cubicBezTo>
                  <a:cubicBezTo>
                    <a:pt x="1001" y="613"/>
                    <a:pt x="1001" y="613"/>
                    <a:pt x="1001" y="613"/>
                  </a:cubicBezTo>
                  <a:cubicBezTo>
                    <a:pt x="942" y="580"/>
                    <a:pt x="888" y="499"/>
                    <a:pt x="924" y="432"/>
                  </a:cubicBezTo>
                  <a:cubicBezTo>
                    <a:pt x="1114" y="81"/>
                    <a:pt x="1114" y="81"/>
                    <a:pt x="1114" y="81"/>
                  </a:cubicBezTo>
                  <a:cubicBezTo>
                    <a:pt x="1150" y="16"/>
                    <a:pt x="1224" y="0"/>
                    <a:pt x="1287" y="35"/>
                  </a:cubicBezTo>
                  <a:cubicBezTo>
                    <a:pt x="1350" y="69"/>
                    <a:pt x="1350" y="69"/>
                    <a:pt x="1350" y="69"/>
                  </a:cubicBezTo>
                  <a:cubicBezTo>
                    <a:pt x="1415" y="105"/>
                    <a:pt x="1479" y="165"/>
                    <a:pt x="1527" y="235"/>
                  </a:cubicBezTo>
                  <a:cubicBezTo>
                    <a:pt x="1593" y="332"/>
                    <a:pt x="1624" y="442"/>
                    <a:pt x="1583" y="555"/>
                  </a:cubicBezTo>
                  <a:cubicBezTo>
                    <a:pt x="1500" y="781"/>
                    <a:pt x="1351" y="1030"/>
                    <a:pt x="1172" y="1253"/>
                  </a:cubicBezTo>
                  <a:cubicBezTo>
                    <a:pt x="994" y="1477"/>
                    <a:pt x="786" y="1676"/>
                    <a:pt x="586" y="1803"/>
                  </a:cubicBezTo>
                  <a:cubicBezTo>
                    <a:pt x="486" y="1867"/>
                    <a:pt x="375" y="1856"/>
                    <a:pt x="269" y="1807"/>
                  </a:cubicBezTo>
                  <a:cubicBezTo>
                    <a:pt x="157" y="1755"/>
                    <a:pt x="106" y="1695"/>
                    <a:pt x="33" y="1602"/>
                  </a:cubicBezTo>
                  <a:cubicBezTo>
                    <a:pt x="11" y="1573"/>
                    <a:pt x="0" y="1540"/>
                    <a:pt x="2" y="1508"/>
                  </a:cubicBezTo>
                  <a:cubicBezTo>
                    <a:pt x="4" y="1475"/>
                    <a:pt x="18" y="1444"/>
                    <a:pt x="45" y="1421"/>
                  </a:cubicBezTo>
                  <a:cubicBezTo>
                    <a:pt x="70" y="1399"/>
                    <a:pt x="346" y="1158"/>
                    <a:pt x="346" y="1158"/>
                  </a:cubicBezTo>
                  <a:cubicBezTo>
                    <a:pt x="376" y="1134"/>
                    <a:pt x="413" y="1133"/>
                    <a:pt x="448" y="1145"/>
                  </a:cubicBezTo>
                  <a:cubicBezTo>
                    <a:pt x="510" y="1166"/>
                    <a:pt x="536" y="1210"/>
                    <a:pt x="573" y="1257"/>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351" dirty="0"/>
            </a:p>
          </p:txBody>
        </p:sp>
      </p:grpSp>
      <p:grpSp>
        <p:nvGrpSpPr>
          <p:cNvPr id="38" name="Group 3">
            <a:extLst>
              <a:ext uri="{FF2B5EF4-FFF2-40B4-BE49-F238E27FC236}">
                <a16:creationId xmlns:a16="http://schemas.microsoft.com/office/drawing/2014/main" id="{7104BADD-8CD1-6F4A-B894-869C3BDB3EEB}"/>
              </a:ext>
            </a:extLst>
          </p:cNvPr>
          <p:cNvGrpSpPr>
            <a:grpSpLocks noChangeAspect="1"/>
          </p:cNvGrpSpPr>
          <p:nvPr>
            <p:custDataLst>
              <p:tags r:id="rId3"/>
            </p:custDataLst>
          </p:nvPr>
        </p:nvGrpSpPr>
        <p:grpSpPr>
          <a:xfrm>
            <a:off x="3770066" y="5330827"/>
            <a:ext cx="171180" cy="171180"/>
            <a:chOff x="328396" y="5313940"/>
            <a:chExt cx="720000" cy="720000"/>
          </a:xfrm>
        </p:grpSpPr>
        <p:sp>
          <p:nvSpPr>
            <p:cNvPr id="39" name="Rectangle 4">
              <a:extLst>
                <a:ext uri="{FF2B5EF4-FFF2-40B4-BE49-F238E27FC236}">
                  <a16:creationId xmlns:a16="http://schemas.microsoft.com/office/drawing/2014/main" id="{74BE3D5F-1445-6E40-8B49-72E15568383B}"/>
                </a:ext>
              </a:extLst>
            </p:cNvPr>
            <p:cNvSpPr/>
            <p:nvPr/>
          </p:nvSpPr>
          <p:spPr bwMode="gray">
            <a:xfrm>
              <a:off x="328396" y="5313940"/>
              <a:ext cx="720000" cy="720000"/>
            </a:xfrm>
            <a:prstGeom prst="rect">
              <a:avLst/>
            </a:prstGeom>
            <a:solidFill>
              <a:srgbClr val="E55A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pPr>
              <a:endParaRPr lang="en-US" sz="1000" dirty="0">
                <a:solidFill>
                  <a:schemeClr val="tx1"/>
                </a:solidFill>
                <a:latin typeface="Arial" pitchFamily="34" charset="0"/>
                <a:cs typeface="Arial" pitchFamily="34" charset="0"/>
              </a:endParaRPr>
            </a:p>
          </p:txBody>
        </p:sp>
        <p:sp>
          <p:nvSpPr>
            <p:cNvPr id="40" name="Freeform 76">
              <a:extLst>
                <a:ext uri="{FF2B5EF4-FFF2-40B4-BE49-F238E27FC236}">
                  <a16:creationId xmlns:a16="http://schemas.microsoft.com/office/drawing/2014/main" id="{55DB3C95-7D0C-D141-901E-96D692794D2B}"/>
                </a:ext>
              </a:extLst>
            </p:cNvPr>
            <p:cNvSpPr>
              <a:spLocks noChangeAspect="1" noEditPoints="1"/>
            </p:cNvSpPr>
            <p:nvPr/>
          </p:nvSpPr>
          <p:spPr bwMode="auto">
            <a:xfrm>
              <a:off x="456202" y="5509222"/>
              <a:ext cx="504000" cy="329436"/>
            </a:xfrm>
            <a:custGeom>
              <a:avLst/>
              <a:gdLst>
                <a:gd name="T0" fmla="*/ 0 w 2080"/>
                <a:gd name="T1" fmla="*/ 65 h 1360"/>
                <a:gd name="T2" fmla="*/ 0 w 2080"/>
                <a:gd name="T3" fmla="*/ 0 h 1360"/>
                <a:gd name="T4" fmla="*/ 2080 w 2080"/>
                <a:gd name="T5" fmla="*/ 0 h 1360"/>
                <a:gd name="T6" fmla="*/ 2080 w 2080"/>
                <a:gd name="T7" fmla="*/ 65 h 1360"/>
                <a:gd name="T8" fmla="*/ 1089 w 2080"/>
                <a:gd name="T9" fmla="*/ 862 h 1360"/>
                <a:gd name="T10" fmla="*/ 991 w 2080"/>
                <a:gd name="T11" fmla="*/ 862 h 1360"/>
                <a:gd name="T12" fmla="*/ 0 w 2080"/>
                <a:gd name="T13" fmla="*/ 65 h 1360"/>
                <a:gd name="T14" fmla="*/ 1139 w 2080"/>
                <a:gd name="T15" fmla="*/ 924 h 1360"/>
                <a:gd name="T16" fmla="*/ 1282 w 2080"/>
                <a:gd name="T17" fmla="*/ 810 h 1360"/>
                <a:gd name="T18" fmla="*/ 2076 w 2080"/>
                <a:gd name="T19" fmla="*/ 1360 h 1360"/>
                <a:gd name="T20" fmla="*/ 4 w 2080"/>
                <a:gd name="T21" fmla="*/ 1360 h 1360"/>
                <a:gd name="T22" fmla="*/ 798 w 2080"/>
                <a:gd name="T23" fmla="*/ 810 h 1360"/>
                <a:gd name="T24" fmla="*/ 941 w 2080"/>
                <a:gd name="T25" fmla="*/ 924 h 1360"/>
                <a:gd name="T26" fmla="*/ 1139 w 2080"/>
                <a:gd name="T27" fmla="*/ 924 h 1360"/>
                <a:gd name="T28" fmla="*/ 2 w 2080"/>
                <a:gd name="T29" fmla="*/ 137 h 1360"/>
                <a:gd name="T30" fmla="*/ 42 w 2080"/>
                <a:gd name="T31" fmla="*/ 201 h 1360"/>
                <a:gd name="T32" fmla="*/ 734 w 2080"/>
                <a:gd name="T33" fmla="*/ 758 h 1360"/>
                <a:gd name="T34" fmla="*/ 0 w 2080"/>
                <a:gd name="T35" fmla="*/ 1266 h 1360"/>
                <a:gd name="T36" fmla="*/ 0 w 2080"/>
                <a:gd name="T37" fmla="*/ 135 h 1360"/>
                <a:gd name="T38" fmla="*/ 2 w 2080"/>
                <a:gd name="T39" fmla="*/ 137 h 1360"/>
                <a:gd name="T40" fmla="*/ 2080 w 2080"/>
                <a:gd name="T41" fmla="*/ 136 h 1360"/>
                <a:gd name="T42" fmla="*/ 2080 w 2080"/>
                <a:gd name="T43" fmla="*/ 1265 h 1360"/>
                <a:gd name="T44" fmla="*/ 1346 w 2080"/>
                <a:gd name="T45" fmla="*/ 758 h 1360"/>
                <a:gd name="T46" fmla="*/ 2038 w 2080"/>
                <a:gd name="T47" fmla="*/ 201 h 1360"/>
                <a:gd name="T48" fmla="*/ 2080 w 2080"/>
                <a:gd name="T49" fmla="*/ 136 h 1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080" h="1360">
                  <a:moveTo>
                    <a:pt x="0" y="65"/>
                  </a:moveTo>
                  <a:cubicBezTo>
                    <a:pt x="0" y="0"/>
                    <a:pt x="0" y="0"/>
                    <a:pt x="0" y="0"/>
                  </a:cubicBezTo>
                  <a:cubicBezTo>
                    <a:pt x="2080" y="0"/>
                    <a:pt x="2080" y="0"/>
                    <a:pt x="2080" y="0"/>
                  </a:cubicBezTo>
                  <a:cubicBezTo>
                    <a:pt x="2080" y="65"/>
                    <a:pt x="2080" y="65"/>
                    <a:pt x="2080" y="65"/>
                  </a:cubicBezTo>
                  <a:cubicBezTo>
                    <a:pt x="1089" y="862"/>
                    <a:pt x="1089" y="862"/>
                    <a:pt x="1089" y="862"/>
                  </a:cubicBezTo>
                  <a:cubicBezTo>
                    <a:pt x="1060" y="886"/>
                    <a:pt x="1020" y="886"/>
                    <a:pt x="991" y="862"/>
                  </a:cubicBezTo>
                  <a:lnTo>
                    <a:pt x="0" y="65"/>
                  </a:lnTo>
                  <a:close/>
                  <a:moveTo>
                    <a:pt x="1139" y="924"/>
                  </a:moveTo>
                  <a:cubicBezTo>
                    <a:pt x="1282" y="810"/>
                    <a:pt x="1282" y="810"/>
                    <a:pt x="1282" y="810"/>
                  </a:cubicBezTo>
                  <a:cubicBezTo>
                    <a:pt x="2076" y="1360"/>
                    <a:pt x="2076" y="1360"/>
                    <a:pt x="2076" y="1360"/>
                  </a:cubicBezTo>
                  <a:cubicBezTo>
                    <a:pt x="4" y="1360"/>
                    <a:pt x="4" y="1360"/>
                    <a:pt x="4" y="1360"/>
                  </a:cubicBezTo>
                  <a:cubicBezTo>
                    <a:pt x="798" y="810"/>
                    <a:pt x="798" y="810"/>
                    <a:pt x="798" y="810"/>
                  </a:cubicBezTo>
                  <a:cubicBezTo>
                    <a:pt x="941" y="924"/>
                    <a:pt x="941" y="924"/>
                    <a:pt x="941" y="924"/>
                  </a:cubicBezTo>
                  <a:cubicBezTo>
                    <a:pt x="1000" y="972"/>
                    <a:pt x="1080" y="972"/>
                    <a:pt x="1139" y="924"/>
                  </a:cubicBezTo>
                  <a:close/>
                  <a:moveTo>
                    <a:pt x="2" y="137"/>
                  </a:moveTo>
                  <a:cubicBezTo>
                    <a:pt x="8" y="163"/>
                    <a:pt x="22" y="185"/>
                    <a:pt x="42" y="201"/>
                  </a:cubicBezTo>
                  <a:cubicBezTo>
                    <a:pt x="734" y="758"/>
                    <a:pt x="734" y="758"/>
                    <a:pt x="734" y="758"/>
                  </a:cubicBezTo>
                  <a:cubicBezTo>
                    <a:pt x="0" y="1266"/>
                    <a:pt x="0" y="1266"/>
                    <a:pt x="0" y="1266"/>
                  </a:cubicBezTo>
                  <a:cubicBezTo>
                    <a:pt x="0" y="135"/>
                    <a:pt x="0" y="135"/>
                    <a:pt x="0" y="135"/>
                  </a:cubicBezTo>
                  <a:lnTo>
                    <a:pt x="2" y="137"/>
                  </a:lnTo>
                  <a:close/>
                  <a:moveTo>
                    <a:pt x="2080" y="136"/>
                  </a:moveTo>
                  <a:cubicBezTo>
                    <a:pt x="2080" y="1265"/>
                    <a:pt x="2080" y="1265"/>
                    <a:pt x="2080" y="1265"/>
                  </a:cubicBezTo>
                  <a:cubicBezTo>
                    <a:pt x="1346" y="758"/>
                    <a:pt x="1346" y="758"/>
                    <a:pt x="1346" y="758"/>
                  </a:cubicBezTo>
                  <a:cubicBezTo>
                    <a:pt x="2038" y="201"/>
                    <a:pt x="2038" y="201"/>
                    <a:pt x="2038" y="201"/>
                  </a:cubicBezTo>
                  <a:cubicBezTo>
                    <a:pt x="2060" y="182"/>
                    <a:pt x="2072" y="162"/>
                    <a:pt x="2080" y="13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000"/>
            </a:p>
          </p:txBody>
        </p:sp>
      </p:grpSp>
      <p:cxnSp>
        <p:nvCxnSpPr>
          <p:cNvPr id="41" name="Straight Connector 40"/>
          <p:cNvCxnSpPr/>
          <p:nvPr/>
        </p:nvCxnSpPr>
        <p:spPr>
          <a:xfrm>
            <a:off x="2355914" y="5655833"/>
            <a:ext cx="3888000" cy="0"/>
          </a:xfrm>
          <a:prstGeom prst="line">
            <a:avLst/>
          </a:prstGeom>
          <a:ln w="6350">
            <a:solidFill>
              <a:schemeClr val="tx2"/>
            </a:solidFill>
            <a:prstDash val="dash"/>
          </a:ln>
        </p:spPr>
        <p:style>
          <a:lnRef idx="1">
            <a:schemeClr val="accent1"/>
          </a:lnRef>
          <a:fillRef idx="0">
            <a:schemeClr val="accent1"/>
          </a:fillRef>
          <a:effectRef idx="0">
            <a:schemeClr val="accent1"/>
          </a:effectRef>
          <a:fontRef idx="minor">
            <a:schemeClr val="tx1"/>
          </a:fontRef>
        </p:style>
      </p:cxnSp>
      <p:sp>
        <p:nvSpPr>
          <p:cNvPr id="42" name="Picture Placeholder 3"/>
          <p:cNvSpPr>
            <a:spLocks noGrp="1"/>
          </p:cNvSpPr>
          <p:nvPr>
            <p:ph type="pic" sz="quarter" idx="29" hasCustomPrompt="1"/>
          </p:nvPr>
        </p:nvSpPr>
        <p:spPr>
          <a:xfrm>
            <a:off x="2355914" y="3986604"/>
            <a:ext cx="1188677" cy="1547840"/>
          </a:xfrm>
          <a:solidFill>
            <a:srgbClr val="D9DADB"/>
          </a:solidFill>
        </p:spPr>
        <p:txBody>
          <a:bodyPr/>
          <a:lstStyle>
            <a:lvl1pPr marL="0" indent="0">
              <a:buNone/>
              <a:defRPr sz="1400"/>
            </a:lvl1pPr>
          </a:lstStyle>
          <a:p>
            <a:r>
              <a:rPr lang="en-US" dirty="0"/>
              <a:t>Insert picture</a:t>
            </a:r>
          </a:p>
        </p:txBody>
      </p:sp>
      <p:sp>
        <p:nvSpPr>
          <p:cNvPr id="43" name="Text Placeholder 5"/>
          <p:cNvSpPr>
            <a:spLocks noGrp="1"/>
          </p:cNvSpPr>
          <p:nvPr>
            <p:ph type="body" sz="quarter" idx="30" hasCustomPrompt="1"/>
          </p:nvPr>
        </p:nvSpPr>
        <p:spPr>
          <a:xfrm>
            <a:off x="3770065" y="3986141"/>
            <a:ext cx="2463190" cy="192360"/>
          </a:xfrm>
        </p:spPr>
        <p:txBody>
          <a:bodyPr lIns="0" tIns="0" rIns="0" bIns="0" anchor="ctr" anchorCtr="0"/>
          <a:lstStyle>
            <a:lvl1pPr marL="0" indent="0" algn="l">
              <a:lnSpc>
                <a:spcPct val="100000"/>
              </a:lnSpc>
              <a:buNone/>
              <a:defRPr sz="100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Country</a:t>
            </a:r>
          </a:p>
        </p:txBody>
      </p:sp>
      <p:sp>
        <p:nvSpPr>
          <p:cNvPr id="44" name="Text Placeholder 5"/>
          <p:cNvSpPr>
            <a:spLocks noGrp="1"/>
          </p:cNvSpPr>
          <p:nvPr>
            <p:ph type="body" sz="quarter" idx="31" hasCustomPrompt="1"/>
          </p:nvPr>
        </p:nvSpPr>
        <p:spPr>
          <a:xfrm>
            <a:off x="3770065" y="4197957"/>
            <a:ext cx="2463190" cy="266182"/>
          </a:xfrm>
        </p:spPr>
        <p:txBody>
          <a:bodyPr lIns="0" tIns="0" rIns="0" bIns="0" anchor="b" anchorCtr="0"/>
          <a:lstStyle>
            <a:lvl1pPr marL="0" indent="0" algn="l">
              <a:lnSpc>
                <a:spcPct val="100000"/>
              </a:lnSpc>
              <a:buNone/>
              <a:defRPr sz="1400" b="1" baseline="0">
                <a:solidFill>
                  <a:schemeClr val="tx2"/>
                </a:solidFill>
              </a:defRPr>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Name, Surname</a:t>
            </a:r>
          </a:p>
        </p:txBody>
      </p:sp>
      <p:sp>
        <p:nvSpPr>
          <p:cNvPr id="45" name="Text Placeholder 5"/>
          <p:cNvSpPr>
            <a:spLocks noGrp="1"/>
          </p:cNvSpPr>
          <p:nvPr>
            <p:ph type="body" sz="quarter" idx="32" hasCustomPrompt="1"/>
          </p:nvPr>
        </p:nvSpPr>
        <p:spPr>
          <a:xfrm>
            <a:off x="3770065" y="4494532"/>
            <a:ext cx="2463190"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Job Position</a:t>
            </a:r>
          </a:p>
        </p:txBody>
      </p:sp>
      <p:sp>
        <p:nvSpPr>
          <p:cNvPr id="46" name="Text Placeholder 5"/>
          <p:cNvSpPr>
            <a:spLocks noGrp="1"/>
          </p:cNvSpPr>
          <p:nvPr>
            <p:ph type="body" sz="quarter" idx="33" hasCustomPrompt="1"/>
          </p:nvPr>
        </p:nvSpPr>
        <p:spPr>
          <a:xfrm>
            <a:off x="4014948" y="5023208"/>
            <a:ext cx="2218307"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Phone number</a:t>
            </a:r>
          </a:p>
        </p:txBody>
      </p:sp>
      <p:sp>
        <p:nvSpPr>
          <p:cNvPr id="47" name="Text Placeholder 5"/>
          <p:cNvSpPr>
            <a:spLocks noGrp="1"/>
          </p:cNvSpPr>
          <p:nvPr>
            <p:ph type="body" sz="quarter" idx="34" hasCustomPrompt="1"/>
          </p:nvPr>
        </p:nvSpPr>
        <p:spPr>
          <a:xfrm>
            <a:off x="4014948" y="5306015"/>
            <a:ext cx="2218307"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Email address</a:t>
            </a:r>
          </a:p>
        </p:txBody>
      </p:sp>
      <p:grpSp>
        <p:nvGrpSpPr>
          <p:cNvPr id="48" name="Gruppieren 2">
            <a:extLst>
              <a:ext uri="{FF2B5EF4-FFF2-40B4-BE49-F238E27FC236}">
                <a16:creationId xmlns:a16="http://schemas.microsoft.com/office/drawing/2014/main" id="{BE697CE9-EBDE-6B4A-BE70-582D92A8A831}"/>
              </a:ext>
            </a:extLst>
          </p:cNvPr>
          <p:cNvGrpSpPr/>
          <p:nvPr/>
        </p:nvGrpSpPr>
        <p:grpSpPr>
          <a:xfrm>
            <a:off x="8701917" y="5043528"/>
            <a:ext cx="171180" cy="171180"/>
            <a:chOff x="3392092" y="1841122"/>
            <a:chExt cx="646508" cy="646508"/>
          </a:xfrm>
        </p:grpSpPr>
        <p:sp>
          <p:nvSpPr>
            <p:cNvPr id="49" name="Rechteck 14">
              <a:extLst>
                <a:ext uri="{FF2B5EF4-FFF2-40B4-BE49-F238E27FC236}">
                  <a16:creationId xmlns:a16="http://schemas.microsoft.com/office/drawing/2014/main" id="{E142A731-19B7-C34D-9534-9E05108F895F}"/>
                </a:ext>
              </a:extLst>
            </p:cNvPr>
            <p:cNvSpPr>
              <a:spLocks noChangeAspect="1"/>
            </p:cNvSpPr>
            <p:nvPr/>
          </p:nvSpPr>
          <p:spPr bwMode="gray">
            <a:xfrm>
              <a:off x="3392092" y="1841122"/>
              <a:ext cx="646508" cy="646508"/>
            </a:xfrm>
            <a:prstGeom prst="rect">
              <a:avLst/>
            </a:prstGeom>
            <a:solidFill>
              <a:srgbClr val="E55A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pPr>
              <a:endParaRPr lang="en-US" sz="1000" dirty="0">
                <a:solidFill>
                  <a:schemeClr val="tx1"/>
                </a:solidFill>
                <a:latin typeface="Arial" pitchFamily="34" charset="0"/>
                <a:cs typeface="Arial" pitchFamily="34" charset="0"/>
              </a:endParaRPr>
            </a:p>
          </p:txBody>
        </p:sp>
        <p:sp>
          <p:nvSpPr>
            <p:cNvPr id="50" name="Freeform 49">
              <a:extLst>
                <a:ext uri="{FF2B5EF4-FFF2-40B4-BE49-F238E27FC236}">
                  <a16:creationId xmlns:a16="http://schemas.microsoft.com/office/drawing/2014/main" id="{F97E84AE-4AD9-4B44-9AA1-F797FC373809}"/>
                </a:ext>
              </a:extLst>
            </p:cNvPr>
            <p:cNvSpPr>
              <a:spLocks noChangeAspect="1"/>
            </p:cNvSpPr>
            <p:nvPr/>
          </p:nvSpPr>
          <p:spPr bwMode="auto">
            <a:xfrm>
              <a:off x="3546638" y="1970424"/>
              <a:ext cx="337415" cy="387905"/>
            </a:xfrm>
            <a:custGeom>
              <a:avLst/>
              <a:gdLst>
                <a:gd name="T0" fmla="*/ 573 w 1624"/>
                <a:gd name="T1" fmla="*/ 1257 h 1867"/>
                <a:gd name="T2" fmla="*/ 662 w 1624"/>
                <a:gd name="T3" fmla="*/ 1288 h 1867"/>
                <a:gd name="T4" fmla="*/ 938 w 1624"/>
                <a:gd name="T5" fmla="*/ 1051 h 1867"/>
                <a:gd name="T6" fmla="*/ 1106 w 1624"/>
                <a:gd name="T7" fmla="*/ 731 h 1867"/>
                <a:gd name="T8" fmla="*/ 1059 w 1624"/>
                <a:gd name="T9" fmla="*/ 645 h 1867"/>
                <a:gd name="T10" fmla="*/ 1001 w 1624"/>
                <a:gd name="T11" fmla="*/ 613 h 1867"/>
                <a:gd name="T12" fmla="*/ 924 w 1624"/>
                <a:gd name="T13" fmla="*/ 432 h 1867"/>
                <a:gd name="T14" fmla="*/ 1114 w 1624"/>
                <a:gd name="T15" fmla="*/ 81 h 1867"/>
                <a:gd name="T16" fmla="*/ 1287 w 1624"/>
                <a:gd name="T17" fmla="*/ 35 h 1867"/>
                <a:gd name="T18" fmla="*/ 1350 w 1624"/>
                <a:gd name="T19" fmla="*/ 69 h 1867"/>
                <a:gd name="T20" fmla="*/ 1527 w 1624"/>
                <a:gd name="T21" fmla="*/ 235 h 1867"/>
                <a:gd name="T22" fmla="*/ 1583 w 1624"/>
                <a:gd name="T23" fmla="*/ 555 h 1867"/>
                <a:gd name="T24" fmla="*/ 1172 w 1624"/>
                <a:gd name="T25" fmla="*/ 1253 h 1867"/>
                <a:gd name="T26" fmla="*/ 586 w 1624"/>
                <a:gd name="T27" fmla="*/ 1803 h 1867"/>
                <a:gd name="T28" fmla="*/ 269 w 1624"/>
                <a:gd name="T29" fmla="*/ 1807 h 1867"/>
                <a:gd name="T30" fmla="*/ 33 w 1624"/>
                <a:gd name="T31" fmla="*/ 1602 h 1867"/>
                <a:gd name="T32" fmla="*/ 2 w 1624"/>
                <a:gd name="T33" fmla="*/ 1508 h 1867"/>
                <a:gd name="T34" fmla="*/ 45 w 1624"/>
                <a:gd name="T35" fmla="*/ 1421 h 1867"/>
                <a:gd name="T36" fmla="*/ 346 w 1624"/>
                <a:gd name="T37" fmla="*/ 1158 h 1867"/>
                <a:gd name="T38" fmla="*/ 448 w 1624"/>
                <a:gd name="T39" fmla="*/ 1145 h 1867"/>
                <a:gd name="T40" fmla="*/ 573 w 1624"/>
                <a:gd name="T41" fmla="*/ 1257 h 18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24" h="1867">
                  <a:moveTo>
                    <a:pt x="573" y="1257"/>
                  </a:moveTo>
                  <a:cubicBezTo>
                    <a:pt x="592" y="1282"/>
                    <a:pt x="630" y="1303"/>
                    <a:pt x="662" y="1288"/>
                  </a:cubicBezTo>
                  <a:cubicBezTo>
                    <a:pt x="753" y="1245"/>
                    <a:pt x="854" y="1156"/>
                    <a:pt x="938" y="1051"/>
                  </a:cubicBezTo>
                  <a:cubicBezTo>
                    <a:pt x="1020" y="948"/>
                    <a:pt x="1084" y="831"/>
                    <a:pt x="1106" y="731"/>
                  </a:cubicBezTo>
                  <a:cubicBezTo>
                    <a:pt x="1113" y="696"/>
                    <a:pt x="1089" y="661"/>
                    <a:pt x="1059" y="645"/>
                  </a:cubicBezTo>
                  <a:cubicBezTo>
                    <a:pt x="1001" y="613"/>
                    <a:pt x="1001" y="613"/>
                    <a:pt x="1001" y="613"/>
                  </a:cubicBezTo>
                  <a:cubicBezTo>
                    <a:pt x="942" y="580"/>
                    <a:pt x="888" y="499"/>
                    <a:pt x="924" y="432"/>
                  </a:cubicBezTo>
                  <a:cubicBezTo>
                    <a:pt x="1114" y="81"/>
                    <a:pt x="1114" y="81"/>
                    <a:pt x="1114" y="81"/>
                  </a:cubicBezTo>
                  <a:cubicBezTo>
                    <a:pt x="1150" y="16"/>
                    <a:pt x="1224" y="0"/>
                    <a:pt x="1287" y="35"/>
                  </a:cubicBezTo>
                  <a:cubicBezTo>
                    <a:pt x="1350" y="69"/>
                    <a:pt x="1350" y="69"/>
                    <a:pt x="1350" y="69"/>
                  </a:cubicBezTo>
                  <a:cubicBezTo>
                    <a:pt x="1415" y="105"/>
                    <a:pt x="1479" y="165"/>
                    <a:pt x="1527" y="235"/>
                  </a:cubicBezTo>
                  <a:cubicBezTo>
                    <a:pt x="1593" y="332"/>
                    <a:pt x="1624" y="442"/>
                    <a:pt x="1583" y="555"/>
                  </a:cubicBezTo>
                  <a:cubicBezTo>
                    <a:pt x="1500" y="781"/>
                    <a:pt x="1351" y="1030"/>
                    <a:pt x="1172" y="1253"/>
                  </a:cubicBezTo>
                  <a:cubicBezTo>
                    <a:pt x="994" y="1477"/>
                    <a:pt x="786" y="1676"/>
                    <a:pt x="586" y="1803"/>
                  </a:cubicBezTo>
                  <a:cubicBezTo>
                    <a:pt x="486" y="1867"/>
                    <a:pt x="375" y="1856"/>
                    <a:pt x="269" y="1807"/>
                  </a:cubicBezTo>
                  <a:cubicBezTo>
                    <a:pt x="157" y="1755"/>
                    <a:pt x="106" y="1695"/>
                    <a:pt x="33" y="1602"/>
                  </a:cubicBezTo>
                  <a:cubicBezTo>
                    <a:pt x="11" y="1573"/>
                    <a:pt x="0" y="1540"/>
                    <a:pt x="2" y="1508"/>
                  </a:cubicBezTo>
                  <a:cubicBezTo>
                    <a:pt x="4" y="1475"/>
                    <a:pt x="18" y="1444"/>
                    <a:pt x="45" y="1421"/>
                  </a:cubicBezTo>
                  <a:cubicBezTo>
                    <a:pt x="70" y="1399"/>
                    <a:pt x="346" y="1158"/>
                    <a:pt x="346" y="1158"/>
                  </a:cubicBezTo>
                  <a:cubicBezTo>
                    <a:pt x="376" y="1134"/>
                    <a:pt x="413" y="1133"/>
                    <a:pt x="448" y="1145"/>
                  </a:cubicBezTo>
                  <a:cubicBezTo>
                    <a:pt x="510" y="1166"/>
                    <a:pt x="536" y="1210"/>
                    <a:pt x="573" y="1257"/>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351" dirty="0"/>
            </a:p>
          </p:txBody>
        </p:sp>
      </p:grpSp>
      <p:grpSp>
        <p:nvGrpSpPr>
          <p:cNvPr id="51" name="Group 3">
            <a:extLst>
              <a:ext uri="{FF2B5EF4-FFF2-40B4-BE49-F238E27FC236}">
                <a16:creationId xmlns:a16="http://schemas.microsoft.com/office/drawing/2014/main" id="{7104BADD-8CD1-6F4A-B894-869C3BDB3EEB}"/>
              </a:ext>
            </a:extLst>
          </p:cNvPr>
          <p:cNvGrpSpPr>
            <a:grpSpLocks noChangeAspect="1"/>
          </p:cNvGrpSpPr>
          <p:nvPr>
            <p:custDataLst>
              <p:tags r:id="rId4"/>
            </p:custDataLst>
          </p:nvPr>
        </p:nvGrpSpPr>
        <p:grpSpPr>
          <a:xfrm>
            <a:off x="8701918" y="5328416"/>
            <a:ext cx="171180" cy="171180"/>
            <a:chOff x="328396" y="5313940"/>
            <a:chExt cx="720000" cy="720000"/>
          </a:xfrm>
        </p:grpSpPr>
        <p:sp>
          <p:nvSpPr>
            <p:cNvPr id="52" name="Rectangle 4">
              <a:extLst>
                <a:ext uri="{FF2B5EF4-FFF2-40B4-BE49-F238E27FC236}">
                  <a16:creationId xmlns:a16="http://schemas.microsoft.com/office/drawing/2014/main" id="{74BE3D5F-1445-6E40-8B49-72E15568383B}"/>
                </a:ext>
              </a:extLst>
            </p:cNvPr>
            <p:cNvSpPr/>
            <p:nvPr/>
          </p:nvSpPr>
          <p:spPr bwMode="gray">
            <a:xfrm>
              <a:off x="328396" y="5313940"/>
              <a:ext cx="720000" cy="720000"/>
            </a:xfrm>
            <a:prstGeom prst="rect">
              <a:avLst/>
            </a:prstGeom>
            <a:solidFill>
              <a:srgbClr val="E55A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pPr>
              <a:endParaRPr lang="en-US" sz="1000" dirty="0">
                <a:solidFill>
                  <a:schemeClr val="tx1"/>
                </a:solidFill>
                <a:latin typeface="Arial" pitchFamily="34" charset="0"/>
                <a:cs typeface="Arial" pitchFamily="34" charset="0"/>
              </a:endParaRPr>
            </a:p>
          </p:txBody>
        </p:sp>
        <p:sp>
          <p:nvSpPr>
            <p:cNvPr id="53" name="Freeform 76">
              <a:extLst>
                <a:ext uri="{FF2B5EF4-FFF2-40B4-BE49-F238E27FC236}">
                  <a16:creationId xmlns:a16="http://schemas.microsoft.com/office/drawing/2014/main" id="{55DB3C95-7D0C-D141-901E-96D692794D2B}"/>
                </a:ext>
              </a:extLst>
            </p:cNvPr>
            <p:cNvSpPr>
              <a:spLocks noChangeAspect="1" noEditPoints="1"/>
            </p:cNvSpPr>
            <p:nvPr/>
          </p:nvSpPr>
          <p:spPr bwMode="auto">
            <a:xfrm>
              <a:off x="456202" y="5509222"/>
              <a:ext cx="504000" cy="329436"/>
            </a:xfrm>
            <a:custGeom>
              <a:avLst/>
              <a:gdLst>
                <a:gd name="T0" fmla="*/ 0 w 2080"/>
                <a:gd name="T1" fmla="*/ 65 h 1360"/>
                <a:gd name="T2" fmla="*/ 0 w 2080"/>
                <a:gd name="T3" fmla="*/ 0 h 1360"/>
                <a:gd name="T4" fmla="*/ 2080 w 2080"/>
                <a:gd name="T5" fmla="*/ 0 h 1360"/>
                <a:gd name="T6" fmla="*/ 2080 w 2080"/>
                <a:gd name="T7" fmla="*/ 65 h 1360"/>
                <a:gd name="T8" fmla="*/ 1089 w 2080"/>
                <a:gd name="T9" fmla="*/ 862 h 1360"/>
                <a:gd name="T10" fmla="*/ 991 w 2080"/>
                <a:gd name="T11" fmla="*/ 862 h 1360"/>
                <a:gd name="T12" fmla="*/ 0 w 2080"/>
                <a:gd name="T13" fmla="*/ 65 h 1360"/>
                <a:gd name="T14" fmla="*/ 1139 w 2080"/>
                <a:gd name="T15" fmla="*/ 924 h 1360"/>
                <a:gd name="T16" fmla="*/ 1282 w 2080"/>
                <a:gd name="T17" fmla="*/ 810 h 1360"/>
                <a:gd name="T18" fmla="*/ 2076 w 2080"/>
                <a:gd name="T19" fmla="*/ 1360 h 1360"/>
                <a:gd name="T20" fmla="*/ 4 w 2080"/>
                <a:gd name="T21" fmla="*/ 1360 h 1360"/>
                <a:gd name="T22" fmla="*/ 798 w 2080"/>
                <a:gd name="T23" fmla="*/ 810 h 1360"/>
                <a:gd name="T24" fmla="*/ 941 w 2080"/>
                <a:gd name="T25" fmla="*/ 924 h 1360"/>
                <a:gd name="T26" fmla="*/ 1139 w 2080"/>
                <a:gd name="T27" fmla="*/ 924 h 1360"/>
                <a:gd name="T28" fmla="*/ 2 w 2080"/>
                <a:gd name="T29" fmla="*/ 137 h 1360"/>
                <a:gd name="T30" fmla="*/ 42 w 2080"/>
                <a:gd name="T31" fmla="*/ 201 h 1360"/>
                <a:gd name="T32" fmla="*/ 734 w 2080"/>
                <a:gd name="T33" fmla="*/ 758 h 1360"/>
                <a:gd name="T34" fmla="*/ 0 w 2080"/>
                <a:gd name="T35" fmla="*/ 1266 h 1360"/>
                <a:gd name="T36" fmla="*/ 0 w 2080"/>
                <a:gd name="T37" fmla="*/ 135 h 1360"/>
                <a:gd name="T38" fmla="*/ 2 w 2080"/>
                <a:gd name="T39" fmla="*/ 137 h 1360"/>
                <a:gd name="T40" fmla="*/ 2080 w 2080"/>
                <a:gd name="T41" fmla="*/ 136 h 1360"/>
                <a:gd name="T42" fmla="*/ 2080 w 2080"/>
                <a:gd name="T43" fmla="*/ 1265 h 1360"/>
                <a:gd name="T44" fmla="*/ 1346 w 2080"/>
                <a:gd name="T45" fmla="*/ 758 h 1360"/>
                <a:gd name="T46" fmla="*/ 2038 w 2080"/>
                <a:gd name="T47" fmla="*/ 201 h 1360"/>
                <a:gd name="T48" fmla="*/ 2080 w 2080"/>
                <a:gd name="T49" fmla="*/ 136 h 1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080" h="1360">
                  <a:moveTo>
                    <a:pt x="0" y="65"/>
                  </a:moveTo>
                  <a:cubicBezTo>
                    <a:pt x="0" y="0"/>
                    <a:pt x="0" y="0"/>
                    <a:pt x="0" y="0"/>
                  </a:cubicBezTo>
                  <a:cubicBezTo>
                    <a:pt x="2080" y="0"/>
                    <a:pt x="2080" y="0"/>
                    <a:pt x="2080" y="0"/>
                  </a:cubicBezTo>
                  <a:cubicBezTo>
                    <a:pt x="2080" y="65"/>
                    <a:pt x="2080" y="65"/>
                    <a:pt x="2080" y="65"/>
                  </a:cubicBezTo>
                  <a:cubicBezTo>
                    <a:pt x="1089" y="862"/>
                    <a:pt x="1089" y="862"/>
                    <a:pt x="1089" y="862"/>
                  </a:cubicBezTo>
                  <a:cubicBezTo>
                    <a:pt x="1060" y="886"/>
                    <a:pt x="1020" y="886"/>
                    <a:pt x="991" y="862"/>
                  </a:cubicBezTo>
                  <a:lnTo>
                    <a:pt x="0" y="65"/>
                  </a:lnTo>
                  <a:close/>
                  <a:moveTo>
                    <a:pt x="1139" y="924"/>
                  </a:moveTo>
                  <a:cubicBezTo>
                    <a:pt x="1282" y="810"/>
                    <a:pt x="1282" y="810"/>
                    <a:pt x="1282" y="810"/>
                  </a:cubicBezTo>
                  <a:cubicBezTo>
                    <a:pt x="2076" y="1360"/>
                    <a:pt x="2076" y="1360"/>
                    <a:pt x="2076" y="1360"/>
                  </a:cubicBezTo>
                  <a:cubicBezTo>
                    <a:pt x="4" y="1360"/>
                    <a:pt x="4" y="1360"/>
                    <a:pt x="4" y="1360"/>
                  </a:cubicBezTo>
                  <a:cubicBezTo>
                    <a:pt x="798" y="810"/>
                    <a:pt x="798" y="810"/>
                    <a:pt x="798" y="810"/>
                  </a:cubicBezTo>
                  <a:cubicBezTo>
                    <a:pt x="941" y="924"/>
                    <a:pt x="941" y="924"/>
                    <a:pt x="941" y="924"/>
                  </a:cubicBezTo>
                  <a:cubicBezTo>
                    <a:pt x="1000" y="972"/>
                    <a:pt x="1080" y="972"/>
                    <a:pt x="1139" y="924"/>
                  </a:cubicBezTo>
                  <a:close/>
                  <a:moveTo>
                    <a:pt x="2" y="137"/>
                  </a:moveTo>
                  <a:cubicBezTo>
                    <a:pt x="8" y="163"/>
                    <a:pt x="22" y="185"/>
                    <a:pt x="42" y="201"/>
                  </a:cubicBezTo>
                  <a:cubicBezTo>
                    <a:pt x="734" y="758"/>
                    <a:pt x="734" y="758"/>
                    <a:pt x="734" y="758"/>
                  </a:cubicBezTo>
                  <a:cubicBezTo>
                    <a:pt x="0" y="1266"/>
                    <a:pt x="0" y="1266"/>
                    <a:pt x="0" y="1266"/>
                  </a:cubicBezTo>
                  <a:cubicBezTo>
                    <a:pt x="0" y="135"/>
                    <a:pt x="0" y="135"/>
                    <a:pt x="0" y="135"/>
                  </a:cubicBezTo>
                  <a:lnTo>
                    <a:pt x="2" y="137"/>
                  </a:lnTo>
                  <a:close/>
                  <a:moveTo>
                    <a:pt x="2080" y="136"/>
                  </a:moveTo>
                  <a:cubicBezTo>
                    <a:pt x="2080" y="1265"/>
                    <a:pt x="2080" y="1265"/>
                    <a:pt x="2080" y="1265"/>
                  </a:cubicBezTo>
                  <a:cubicBezTo>
                    <a:pt x="1346" y="758"/>
                    <a:pt x="1346" y="758"/>
                    <a:pt x="1346" y="758"/>
                  </a:cubicBezTo>
                  <a:cubicBezTo>
                    <a:pt x="2038" y="201"/>
                    <a:pt x="2038" y="201"/>
                    <a:pt x="2038" y="201"/>
                  </a:cubicBezTo>
                  <a:cubicBezTo>
                    <a:pt x="2060" y="182"/>
                    <a:pt x="2072" y="162"/>
                    <a:pt x="2080" y="13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000"/>
            </a:p>
          </p:txBody>
        </p:sp>
      </p:grpSp>
      <p:cxnSp>
        <p:nvCxnSpPr>
          <p:cNvPr id="54" name="Straight Connector 53"/>
          <p:cNvCxnSpPr/>
          <p:nvPr/>
        </p:nvCxnSpPr>
        <p:spPr>
          <a:xfrm>
            <a:off x="7287766" y="5653422"/>
            <a:ext cx="3888000" cy="0"/>
          </a:xfrm>
          <a:prstGeom prst="line">
            <a:avLst/>
          </a:prstGeom>
          <a:ln w="6350">
            <a:solidFill>
              <a:schemeClr val="tx2"/>
            </a:solidFill>
            <a:prstDash val="dash"/>
          </a:ln>
        </p:spPr>
        <p:style>
          <a:lnRef idx="1">
            <a:schemeClr val="accent1"/>
          </a:lnRef>
          <a:fillRef idx="0">
            <a:schemeClr val="accent1"/>
          </a:fillRef>
          <a:effectRef idx="0">
            <a:schemeClr val="accent1"/>
          </a:effectRef>
          <a:fontRef idx="minor">
            <a:schemeClr val="tx1"/>
          </a:fontRef>
        </p:style>
      </p:cxnSp>
      <p:sp>
        <p:nvSpPr>
          <p:cNvPr id="55" name="Picture Placeholder 3"/>
          <p:cNvSpPr>
            <a:spLocks noGrp="1"/>
          </p:cNvSpPr>
          <p:nvPr>
            <p:ph type="pic" sz="quarter" idx="35" hasCustomPrompt="1"/>
          </p:nvPr>
        </p:nvSpPr>
        <p:spPr>
          <a:xfrm>
            <a:off x="7287766" y="3984193"/>
            <a:ext cx="1188677" cy="1547840"/>
          </a:xfrm>
          <a:solidFill>
            <a:srgbClr val="D9DADB"/>
          </a:solidFill>
        </p:spPr>
        <p:txBody>
          <a:bodyPr/>
          <a:lstStyle>
            <a:lvl1pPr marL="0" indent="0">
              <a:buNone/>
              <a:defRPr sz="1400"/>
            </a:lvl1pPr>
          </a:lstStyle>
          <a:p>
            <a:r>
              <a:rPr lang="en-US" dirty="0"/>
              <a:t>Insert picture</a:t>
            </a:r>
          </a:p>
        </p:txBody>
      </p:sp>
      <p:sp>
        <p:nvSpPr>
          <p:cNvPr id="56" name="Text Placeholder 5"/>
          <p:cNvSpPr>
            <a:spLocks noGrp="1"/>
          </p:cNvSpPr>
          <p:nvPr>
            <p:ph type="body" sz="quarter" idx="36" hasCustomPrompt="1"/>
          </p:nvPr>
        </p:nvSpPr>
        <p:spPr>
          <a:xfrm>
            <a:off x="8701917" y="3983730"/>
            <a:ext cx="2463190" cy="192360"/>
          </a:xfrm>
        </p:spPr>
        <p:txBody>
          <a:bodyPr lIns="0" tIns="0" rIns="0" bIns="0" anchor="ctr" anchorCtr="0"/>
          <a:lstStyle>
            <a:lvl1pPr marL="0" indent="0" algn="l">
              <a:lnSpc>
                <a:spcPct val="100000"/>
              </a:lnSpc>
              <a:buNone/>
              <a:defRPr sz="100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Country</a:t>
            </a:r>
          </a:p>
        </p:txBody>
      </p:sp>
      <p:sp>
        <p:nvSpPr>
          <p:cNvPr id="57" name="Text Placeholder 5"/>
          <p:cNvSpPr>
            <a:spLocks noGrp="1"/>
          </p:cNvSpPr>
          <p:nvPr>
            <p:ph type="body" sz="quarter" idx="37" hasCustomPrompt="1"/>
          </p:nvPr>
        </p:nvSpPr>
        <p:spPr>
          <a:xfrm>
            <a:off x="8701917" y="4195546"/>
            <a:ext cx="2463190" cy="266182"/>
          </a:xfrm>
        </p:spPr>
        <p:txBody>
          <a:bodyPr lIns="0" tIns="0" rIns="0" bIns="0" anchor="b" anchorCtr="0"/>
          <a:lstStyle>
            <a:lvl1pPr marL="0" indent="0" algn="l">
              <a:lnSpc>
                <a:spcPct val="100000"/>
              </a:lnSpc>
              <a:buNone/>
              <a:defRPr sz="1400" b="1" baseline="0">
                <a:solidFill>
                  <a:schemeClr val="tx2"/>
                </a:solidFill>
              </a:defRPr>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Name, Surname</a:t>
            </a:r>
          </a:p>
        </p:txBody>
      </p:sp>
      <p:sp>
        <p:nvSpPr>
          <p:cNvPr id="58" name="Text Placeholder 5"/>
          <p:cNvSpPr>
            <a:spLocks noGrp="1"/>
          </p:cNvSpPr>
          <p:nvPr>
            <p:ph type="body" sz="quarter" idx="38" hasCustomPrompt="1"/>
          </p:nvPr>
        </p:nvSpPr>
        <p:spPr>
          <a:xfrm>
            <a:off x="8701917" y="4492121"/>
            <a:ext cx="2463190"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Job Position</a:t>
            </a:r>
          </a:p>
        </p:txBody>
      </p:sp>
      <p:sp>
        <p:nvSpPr>
          <p:cNvPr id="59" name="Text Placeholder 5"/>
          <p:cNvSpPr>
            <a:spLocks noGrp="1"/>
          </p:cNvSpPr>
          <p:nvPr>
            <p:ph type="body" sz="quarter" idx="39" hasCustomPrompt="1"/>
          </p:nvPr>
        </p:nvSpPr>
        <p:spPr>
          <a:xfrm>
            <a:off x="8946800" y="5020797"/>
            <a:ext cx="2218307"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Phone number</a:t>
            </a:r>
          </a:p>
        </p:txBody>
      </p:sp>
      <p:sp>
        <p:nvSpPr>
          <p:cNvPr id="60" name="Text Placeholder 5"/>
          <p:cNvSpPr>
            <a:spLocks noGrp="1"/>
          </p:cNvSpPr>
          <p:nvPr>
            <p:ph type="body" sz="quarter" idx="40" hasCustomPrompt="1"/>
          </p:nvPr>
        </p:nvSpPr>
        <p:spPr>
          <a:xfrm>
            <a:off x="8946800" y="5303604"/>
            <a:ext cx="2218307"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Email address</a:t>
            </a:r>
          </a:p>
        </p:txBody>
      </p:sp>
    </p:spTree>
    <p:extLst>
      <p:ext uri="{BB962C8B-B14F-4D97-AF65-F5344CB8AC3E}">
        <p14:creationId xmlns:p14="http://schemas.microsoft.com/office/powerpoint/2010/main" val="320458543"/>
      </p:ext>
    </p:extLst>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showMasterSp="0" preserve="1">
  <p:cSld name="End slide">
    <p:spTree>
      <p:nvGrpSpPr>
        <p:cNvPr id="1" name=""/>
        <p:cNvGrpSpPr/>
        <p:nvPr/>
      </p:nvGrpSpPr>
      <p:grpSpPr>
        <a:xfrm>
          <a:off x="0" y="0"/>
          <a:ext cx="0" cy="0"/>
          <a:chOff x="0" y="0"/>
          <a:chExt cx="0" cy="0"/>
        </a:xfrm>
      </p:grpSpPr>
      <p:pic>
        <p:nvPicPr>
          <p:cNvPr id="30" name="picture">
            <a:extLst>
              <a:ext uri="{FF2B5EF4-FFF2-40B4-BE49-F238E27FC236}">
                <a16:creationId xmlns:a16="http://schemas.microsoft.com/office/drawing/2014/main" id="{8BF907F5-A9CD-2740-AF54-6BACB62334AE}"/>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2620212" y="-8808"/>
            <a:ext cx="9697299" cy="6866807"/>
          </a:xfrm>
          <a:prstGeom prst="rect">
            <a:avLst/>
          </a:prstGeom>
        </p:spPr>
      </p:pic>
      <p:sp>
        <p:nvSpPr>
          <p:cNvPr id="29" name="shpPicture"/>
          <p:cNvSpPr/>
          <p:nvPr/>
        </p:nvSpPr>
        <p:spPr>
          <a:xfrm>
            <a:off x="0" y="0"/>
            <a:ext cx="4347306" cy="6858000"/>
          </a:xfrm>
          <a:custGeom>
            <a:avLst/>
            <a:gdLst>
              <a:gd name="connsiteX0" fmla="*/ 0 w 4347306"/>
              <a:gd name="connsiteY0" fmla="*/ 0 h 6858000"/>
              <a:gd name="connsiteX1" fmla="*/ 3252806 w 4347306"/>
              <a:gd name="connsiteY1" fmla="*/ 0 h 6858000"/>
              <a:gd name="connsiteX2" fmla="*/ 4347306 w 4347306"/>
              <a:gd name="connsiteY2" fmla="*/ 4140909 h 6858000"/>
              <a:gd name="connsiteX3" fmla="*/ 2943442 w 4347306"/>
              <a:gd name="connsiteY3" fmla="*/ 6858000 h 6858000"/>
              <a:gd name="connsiteX4" fmla="*/ 0 w 4347306"/>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47306" h="6858000">
                <a:moveTo>
                  <a:pt x="0" y="0"/>
                </a:moveTo>
                <a:lnTo>
                  <a:pt x="3252806" y="0"/>
                </a:lnTo>
                <a:lnTo>
                  <a:pt x="4347306" y="4140909"/>
                </a:lnTo>
                <a:lnTo>
                  <a:pt x="2943442"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US" sz="1600" dirty="0"/>
          </a:p>
        </p:txBody>
      </p:sp>
      <p:grpSp>
        <p:nvGrpSpPr>
          <p:cNvPr id="14" name="logo">
            <a:extLst>
              <a:ext uri="{FF2B5EF4-FFF2-40B4-BE49-F238E27FC236}">
                <a16:creationId xmlns:a16="http://schemas.microsoft.com/office/drawing/2014/main" id="{18C26D95-70F8-8A4D-9F18-DCCB92522AF8}"/>
              </a:ext>
            </a:extLst>
          </p:cNvPr>
          <p:cNvGrpSpPr/>
          <p:nvPr/>
        </p:nvGrpSpPr>
        <p:grpSpPr bwMode="gray">
          <a:xfrm>
            <a:off x="417363" y="407485"/>
            <a:ext cx="1518585" cy="646507"/>
            <a:chOff x="334963" y="296652"/>
            <a:chExt cx="1268411" cy="540000"/>
          </a:xfrm>
        </p:grpSpPr>
        <p:sp>
          <p:nvSpPr>
            <p:cNvPr id="17" name="Freeform 6">
              <a:extLst>
                <a:ext uri="{FF2B5EF4-FFF2-40B4-BE49-F238E27FC236}">
                  <a16:creationId xmlns:a16="http://schemas.microsoft.com/office/drawing/2014/main" id="{08737AD0-E375-E445-97E6-CD2E2DF60620}"/>
                </a:ext>
              </a:extLst>
            </p:cNvPr>
            <p:cNvSpPr>
              <a:spLocks noEditPoints="1"/>
            </p:cNvSpPr>
            <p:nvPr/>
          </p:nvSpPr>
          <p:spPr bwMode="gray">
            <a:xfrm>
              <a:off x="982662" y="360462"/>
              <a:ext cx="620712" cy="431800"/>
            </a:xfrm>
            <a:custGeom>
              <a:avLst/>
              <a:gdLst>
                <a:gd name="T0" fmla="*/ 19 w 1809"/>
                <a:gd name="T1" fmla="*/ 97 h 1253"/>
                <a:gd name="T2" fmla="*/ 165 w 1809"/>
                <a:gd name="T3" fmla="*/ 41 h 1253"/>
                <a:gd name="T4" fmla="*/ 211 w 1809"/>
                <a:gd name="T5" fmla="*/ 224 h 1253"/>
                <a:gd name="T6" fmla="*/ 248 w 1809"/>
                <a:gd name="T7" fmla="*/ 155 h 1253"/>
                <a:gd name="T8" fmla="*/ 931 w 1809"/>
                <a:gd name="T9" fmla="*/ 995 h 1253"/>
                <a:gd name="T10" fmla="*/ 858 w 1809"/>
                <a:gd name="T11" fmla="*/ 1115 h 1253"/>
                <a:gd name="T12" fmla="*/ 749 w 1809"/>
                <a:gd name="T13" fmla="*/ 1117 h 1253"/>
                <a:gd name="T14" fmla="*/ 681 w 1809"/>
                <a:gd name="T15" fmla="*/ 1055 h 1253"/>
                <a:gd name="T16" fmla="*/ 800 w 1809"/>
                <a:gd name="T17" fmla="*/ 1054 h 1253"/>
                <a:gd name="T18" fmla="*/ 884 w 1809"/>
                <a:gd name="T19" fmla="*/ 1181 h 1253"/>
                <a:gd name="T20" fmla="*/ 118 w 1809"/>
                <a:gd name="T21" fmla="*/ 1086 h 1253"/>
                <a:gd name="T22" fmla="*/ 147 w 1809"/>
                <a:gd name="T23" fmla="*/ 1026 h 1253"/>
                <a:gd name="T24" fmla="*/ 102 w 1809"/>
                <a:gd name="T25" fmla="*/ 1026 h 1253"/>
                <a:gd name="T26" fmla="*/ 639 w 1809"/>
                <a:gd name="T27" fmla="*/ 84 h 1253"/>
                <a:gd name="T28" fmla="*/ 763 w 1809"/>
                <a:gd name="T29" fmla="*/ 145 h 1253"/>
                <a:gd name="T30" fmla="*/ 863 w 1809"/>
                <a:gd name="T31" fmla="*/ 221 h 1253"/>
                <a:gd name="T32" fmla="*/ 834 w 1809"/>
                <a:gd name="T33" fmla="*/ 208 h 1253"/>
                <a:gd name="T34" fmla="*/ 719 w 1809"/>
                <a:gd name="T35" fmla="*/ 182 h 1253"/>
                <a:gd name="T36" fmla="*/ 507 w 1809"/>
                <a:gd name="T37" fmla="*/ 711 h 1253"/>
                <a:gd name="T38" fmla="*/ 614 w 1809"/>
                <a:gd name="T39" fmla="*/ 706 h 1253"/>
                <a:gd name="T40" fmla="*/ 736 w 1809"/>
                <a:gd name="T41" fmla="*/ 730 h 1253"/>
                <a:gd name="T42" fmla="*/ 607 w 1809"/>
                <a:gd name="T43" fmla="*/ 539 h 1253"/>
                <a:gd name="T44" fmla="*/ 1505 w 1809"/>
                <a:gd name="T45" fmla="*/ 1136 h 1253"/>
                <a:gd name="T46" fmla="*/ 1613 w 1809"/>
                <a:gd name="T47" fmla="*/ 1002 h 1253"/>
                <a:gd name="T48" fmla="*/ 1472 w 1809"/>
                <a:gd name="T49" fmla="*/ 1164 h 1253"/>
                <a:gd name="T50" fmla="*/ 1525 w 1809"/>
                <a:gd name="T51" fmla="*/ 1142 h 1253"/>
                <a:gd name="T52" fmla="*/ 1556 w 1809"/>
                <a:gd name="T53" fmla="*/ 1172 h 1253"/>
                <a:gd name="T54" fmla="*/ 1387 w 1809"/>
                <a:gd name="T55" fmla="*/ 910 h 1253"/>
                <a:gd name="T56" fmla="*/ 1261 w 1809"/>
                <a:gd name="T57" fmla="*/ 1157 h 1253"/>
                <a:gd name="T58" fmla="*/ 1413 w 1809"/>
                <a:gd name="T59" fmla="*/ 934 h 1253"/>
                <a:gd name="T60" fmla="*/ 1378 w 1809"/>
                <a:gd name="T61" fmla="*/ 1052 h 1253"/>
                <a:gd name="T62" fmla="*/ 488 w 1809"/>
                <a:gd name="T63" fmla="*/ 85 h 1253"/>
                <a:gd name="T64" fmla="*/ 509 w 1809"/>
                <a:gd name="T65" fmla="*/ 112 h 1253"/>
                <a:gd name="T66" fmla="*/ 548 w 1809"/>
                <a:gd name="T67" fmla="*/ 1187 h 1253"/>
                <a:gd name="T68" fmla="*/ 472 w 1809"/>
                <a:gd name="T69" fmla="*/ 1122 h 1253"/>
                <a:gd name="T70" fmla="*/ 558 w 1809"/>
                <a:gd name="T71" fmla="*/ 1157 h 1253"/>
                <a:gd name="T72" fmla="*/ 287 w 1809"/>
                <a:gd name="T73" fmla="*/ 654 h 1253"/>
                <a:gd name="T74" fmla="*/ 416 w 1809"/>
                <a:gd name="T75" fmla="*/ 684 h 1253"/>
                <a:gd name="T76" fmla="*/ 1106 w 1809"/>
                <a:gd name="T77" fmla="*/ 147 h 1253"/>
                <a:gd name="T78" fmla="*/ 1229 w 1809"/>
                <a:gd name="T79" fmla="*/ 258 h 1253"/>
                <a:gd name="T80" fmla="*/ 1106 w 1809"/>
                <a:gd name="T81" fmla="*/ 96 h 1253"/>
                <a:gd name="T82" fmla="*/ 1219 w 1809"/>
                <a:gd name="T83" fmla="*/ 1077 h 1253"/>
                <a:gd name="T84" fmla="*/ 1214 w 1809"/>
                <a:gd name="T85" fmla="*/ 1157 h 1253"/>
                <a:gd name="T86" fmla="*/ 1150 w 1809"/>
                <a:gd name="T87" fmla="*/ 1092 h 1253"/>
                <a:gd name="T88" fmla="*/ 1139 w 1809"/>
                <a:gd name="T89" fmla="*/ 1070 h 1253"/>
                <a:gd name="T90" fmla="*/ 1659 w 1809"/>
                <a:gd name="T91" fmla="*/ 1031 h 1253"/>
                <a:gd name="T92" fmla="*/ 1714 w 1809"/>
                <a:gd name="T93" fmla="*/ 1155 h 1253"/>
                <a:gd name="T94" fmla="*/ 1760 w 1809"/>
                <a:gd name="T95" fmla="*/ 1030 h 1253"/>
                <a:gd name="T96" fmla="*/ 111 w 1809"/>
                <a:gd name="T97" fmla="*/ 569 h 1253"/>
                <a:gd name="T98" fmla="*/ 109 w 1809"/>
                <a:gd name="T99" fmla="*/ 460 h 1253"/>
                <a:gd name="T100" fmla="*/ 32 w 1809"/>
                <a:gd name="T101" fmla="*/ 704 h 1253"/>
                <a:gd name="T102" fmla="*/ 310 w 1809"/>
                <a:gd name="T103" fmla="*/ 1058 h 1253"/>
                <a:gd name="T104" fmla="*/ 431 w 1809"/>
                <a:gd name="T105" fmla="*/ 1044 h 1253"/>
                <a:gd name="T106" fmla="*/ 278 w 1809"/>
                <a:gd name="T107" fmla="*/ 1165 h 1253"/>
                <a:gd name="T108" fmla="*/ 261 w 1809"/>
                <a:gd name="T109" fmla="*/ 540 h 1253"/>
                <a:gd name="T110" fmla="*/ 150 w 1809"/>
                <a:gd name="T111" fmla="*/ 635 h 1253"/>
                <a:gd name="T112" fmla="*/ 994 w 1809"/>
                <a:gd name="T113" fmla="*/ 1185 h 1253"/>
                <a:gd name="T114" fmla="*/ 331 w 1809"/>
                <a:gd name="T115" fmla="*/ 176 h 1253"/>
                <a:gd name="T116" fmla="*/ 333 w 1809"/>
                <a:gd name="T117" fmla="*/ 109 h 1253"/>
                <a:gd name="T118" fmla="*/ 946 w 1809"/>
                <a:gd name="T119" fmla="*/ 234 h 1253"/>
                <a:gd name="T120" fmla="*/ 1022 w 1809"/>
                <a:gd name="T121" fmla="*/ 113 h 1253"/>
                <a:gd name="T122" fmla="*/ 949 w 1809"/>
                <a:gd name="T123" fmla="*/ 65 h 1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09" h="1253">
                  <a:moveTo>
                    <a:pt x="248" y="198"/>
                  </a:moveTo>
                  <a:cubicBezTo>
                    <a:pt x="248" y="211"/>
                    <a:pt x="248" y="224"/>
                    <a:pt x="249" y="237"/>
                  </a:cubicBezTo>
                  <a:cubicBezTo>
                    <a:pt x="249" y="245"/>
                    <a:pt x="246" y="249"/>
                    <a:pt x="240" y="253"/>
                  </a:cubicBezTo>
                  <a:cubicBezTo>
                    <a:pt x="231" y="260"/>
                    <a:pt x="220" y="264"/>
                    <a:pt x="209" y="268"/>
                  </a:cubicBezTo>
                  <a:cubicBezTo>
                    <a:pt x="179" y="279"/>
                    <a:pt x="148" y="280"/>
                    <a:pt x="118" y="275"/>
                  </a:cubicBezTo>
                  <a:cubicBezTo>
                    <a:pt x="86" y="269"/>
                    <a:pt x="58" y="252"/>
                    <a:pt x="39" y="224"/>
                  </a:cubicBezTo>
                  <a:cubicBezTo>
                    <a:pt x="24" y="203"/>
                    <a:pt x="18" y="180"/>
                    <a:pt x="15" y="155"/>
                  </a:cubicBezTo>
                  <a:cubicBezTo>
                    <a:pt x="11" y="135"/>
                    <a:pt x="15" y="115"/>
                    <a:pt x="19" y="97"/>
                  </a:cubicBezTo>
                  <a:cubicBezTo>
                    <a:pt x="26" y="68"/>
                    <a:pt x="42" y="44"/>
                    <a:pt x="68" y="27"/>
                  </a:cubicBezTo>
                  <a:cubicBezTo>
                    <a:pt x="87" y="14"/>
                    <a:pt x="109" y="6"/>
                    <a:pt x="133" y="5"/>
                  </a:cubicBezTo>
                  <a:cubicBezTo>
                    <a:pt x="149" y="4"/>
                    <a:pt x="165" y="5"/>
                    <a:pt x="181" y="6"/>
                  </a:cubicBezTo>
                  <a:cubicBezTo>
                    <a:pt x="204" y="8"/>
                    <a:pt x="225" y="20"/>
                    <a:pt x="243" y="35"/>
                  </a:cubicBezTo>
                  <a:cubicBezTo>
                    <a:pt x="246" y="37"/>
                    <a:pt x="246" y="40"/>
                    <a:pt x="244" y="43"/>
                  </a:cubicBezTo>
                  <a:cubicBezTo>
                    <a:pt x="242" y="47"/>
                    <a:pt x="239" y="52"/>
                    <a:pt x="236" y="55"/>
                  </a:cubicBezTo>
                  <a:cubicBezTo>
                    <a:pt x="226" y="65"/>
                    <a:pt x="224" y="65"/>
                    <a:pt x="206" y="54"/>
                  </a:cubicBezTo>
                  <a:cubicBezTo>
                    <a:pt x="193" y="46"/>
                    <a:pt x="180" y="40"/>
                    <a:pt x="165" y="41"/>
                  </a:cubicBezTo>
                  <a:cubicBezTo>
                    <a:pt x="151" y="41"/>
                    <a:pt x="137" y="39"/>
                    <a:pt x="124" y="42"/>
                  </a:cubicBezTo>
                  <a:cubicBezTo>
                    <a:pt x="104" y="46"/>
                    <a:pt x="87" y="57"/>
                    <a:pt x="75" y="74"/>
                  </a:cubicBezTo>
                  <a:cubicBezTo>
                    <a:pt x="56" y="99"/>
                    <a:pt x="51" y="129"/>
                    <a:pt x="55" y="159"/>
                  </a:cubicBezTo>
                  <a:cubicBezTo>
                    <a:pt x="60" y="189"/>
                    <a:pt x="73" y="214"/>
                    <a:pt x="98" y="230"/>
                  </a:cubicBezTo>
                  <a:cubicBezTo>
                    <a:pt x="109" y="237"/>
                    <a:pt x="121" y="242"/>
                    <a:pt x="135" y="241"/>
                  </a:cubicBezTo>
                  <a:cubicBezTo>
                    <a:pt x="146" y="241"/>
                    <a:pt x="158" y="241"/>
                    <a:pt x="169" y="241"/>
                  </a:cubicBezTo>
                  <a:cubicBezTo>
                    <a:pt x="182" y="242"/>
                    <a:pt x="193" y="235"/>
                    <a:pt x="205" y="232"/>
                  </a:cubicBezTo>
                  <a:cubicBezTo>
                    <a:pt x="210" y="231"/>
                    <a:pt x="211" y="227"/>
                    <a:pt x="211" y="224"/>
                  </a:cubicBezTo>
                  <a:cubicBezTo>
                    <a:pt x="211" y="210"/>
                    <a:pt x="211" y="196"/>
                    <a:pt x="211" y="183"/>
                  </a:cubicBezTo>
                  <a:cubicBezTo>
                    <a:pt x="211" y="177"/>
                    <a:pt x="207" y="175"/>
                    <a:pt x="202" y="175"/>
                  </a:cubicBezTo>
                  <a:cubicBezTo>
                    <a:pt x="193" y="175"/>
                    <a:pt x="184" y="175"/>
                    <a:pt x="175" y="175"/>
                  </a:cubicBezTo>
                  <a:cubicBezTo>
                    <a:pt x="171" y="175"/>
                    <a:pt x="168" y="174"/>
                    <a:pt x="166" y="171"/>
                  </a:cubicBezTo>
                  <a:cubicBezTo>
                    <a:pt x="163" y="163"/>
                    <a:pt x="164" y="154"/>
                    <a:pt x="166" y="146"/>
                  </a:cubicBezTo>
                  <a:cubicBezTo>
                    <a:pt x="167" y="142"/>
                    <a:pt x="171" y="142"/>
                    <a:pt x="175" y="142"/>
                  </a:cubicBezTo>
                  <a:cubicBezTo>
                    <a:pt x="196" y="142"/>
                    <a:pt x="217" y="142"/>
                    <a:pt x="238" y="142"/>
                  </a:cubicBezTo>
                  <a:cubicBezTo>
                    <a:pt x="247" y="142"/>
                    <a:pt x="248" y="148"/>
                    <a:pt x="248" y="155"/>
                  </a:cubicBezTo>
                  <a:cubicBezTo>
                    <a:pt x="249" y="169"/>
                    <a:pt x="248" y="183"/>
                    <a:pt x="248" y="198"/>
                  </a:cubicBezTo>
                  <a:close/>
                  <a:moveTo>
                    <a:pt x="884" y="1181"/>
                  </a:moveTo>
                  <a:cubicBezTo>
                    <a:pt x="889" y="1167"/>
                    <a:pt x="894" y="1152"/>
                    <a:pt x="898" y="1137"/>
                  </a:cubicBezTo>
                  <a:cubicBezTo>
                    <a:pt x="901" y="1127"/>
                    <a:pt x="905" y="1116"/>
                    <a:pt x="908" y="1106"/>
                  </a:cubicBezTo>
                  <a:cubicBezTo>
                    <a:pt x="911" y="1098"/>
                    <a:pt x="912" y="1089"/>
                    <a:pt x="916" y="1081"/>
                  </a:cubicBezTo>
                  <a:cubicBezTo>
                    <a:pt x="921" y="1072"/>
                    <a:pt x="923" y="1060"/>
                    <a:pt x="927" y="1050"/>
                  </a:cubicBezTo>
                  <a:cubicBezTo>
                    <a:pt x="932" y="1037"/>
                    <a:pt x="934" y="1023"/>
                    <a:pt x="940" y="1010"/>
                  </a:cubicBezTo>
                  <a:cubicBezTo>
                    <a:pt x="945" y="1001"/>
                    <a:pt x="941" y="995"/>
                    <a:pt x="931" y="995"/>
                  </a:cubicBezTo>
                  <a:cubicBezTo>
                    <a:pt x="927" y="995"/>
                    <a:pt x="922" y="995"/>
                    <a:pt x="918" y="995"/>
                  </a:cubicBezTo>
                  <a:cubicBezTo>
                    <a:pt x="913" y="995"/>
                    <a:pt x="908" y="997"/>
                    <a:pt x="907" y="1001"/>
                  </a:cubicBezTo>
                  <a:cubicBezTo>
                    <a:pt x="904" y="1008"/>
                    <a:pt x="900" y="1015"/>
                    <a:pt x="899" y="1023"/>
                  </a:cubicBezTo>
                  <a:cubicBezTo>
                    <a:pt x="897" y="1034"/>
                    <a:pt x="893" y="1045"/>
                    <a:pt x="889" y="1055"/>
                  </a:cubicBezTo>
                  <a:cubicBezTo>
                    <a:pt x="887" y="1064"/>
                    <a:pt x="885" y="1072"/>
                    <a:pt x="882" y="1080"/>
                  </a:cubicBezTo>
                  <a:cubicBezTo>
                    <a:pt x="878" y="1091"/>
                    <a:pt x="874" y="1103"/>
                    <a:pt x="871" y="1115"/>
                  </a:cubicBezTo>
                  <a:cubicBezTo>
                    <a:pt x="870" y="1118"/>
                    <a:pt x="871" y="1124"/>
                    <a:pt x="866" y="1124"/>
                  </a:cubicBezTo>
                  <a:cubicBezTo>
                    <a:pt x="861" y="1125"/>
                    <a:pt x="859" y="1120"/>
                    <a:pt x="858" y="1115"/>
                  </a:cubicBezTo>
                  <a:cubicBezTo>
                    <a:pt x="856" y="1110"/>
                    <a:pt x="856" y="1104"/>
                    <a:pt x="854" y="1099"/>
                  </a:cubicBezTo>
                  <a:cubicBezTo>
                    <a:pt x="848" y="1080"/>
                    <a:pt x="841" y="1062"/>
                    <a:pt x="835" y="1044"/>
                  </a:cubicBezTo>
                  <a:cubicBezTo>
                    <a:pt x="831" y="1030"/>
                    <a:pt x="828" y="1016"/>
                    <a:pt x="822" y="1003"/>
                  </a:cubicBezTo>
                  <a:cubicBezTo>
                    <a:pt x="819" y="997"/>
                    <a:pt x="814" y="994"/>
                    <a:pt x="808" y="994"/>
                  </a:cubicBezTo>
                  <a:cubicBezTo>
                    <a:pt x="799" y="993"/>
                    <a:pt x="791" y="993"/>
                    <a:pt x="787" y="1001"/>
                  </a:cubicBezTo>
                  <a:cubicBezTo>
                    <a:pt x="783" y="1008"/>
                    <a:pt x="780" y="1015"/>
                    <a:pt x="779" y="1022"/>
                  </a:cubicBezTo>
                  <a:cubicBezTo>
                    <a:pt x="778" y="1034"/>
                    <a:pt x="772" y="1044"/>
                    <a:pt x="769" y="1055"/>
                  </a:cubicBezTo>
                  <a:cubicBezTo>
                    <a:pt x="762" y="1076"/>
                    <a:pt x="754" y="1096"/>
                    <a:pt x="749" y="1117"/>
                  </a:cubicBezTo>
                  <a:cubicBezTo>
                    <a:pt x="748" y="1120"/>
                    <a:pt x="747" y="1124"/>
                    <a:pt x="742" y="1124"/>
                  </a:cubicBezTo>
                  <a:cubicBezTo>
                    <a:pt x="737" y="1124"/>
                    <a:pt x="737" y="1120"/>
                    <a:pt x="736" y="1116"/>
                  </a:cubicBezTo>
                  <a:cubicBezTo>
                    <a:pt x="734" y="1104"/>
                    <a:pt x="730" y="1092"/>
                    <a:pt x="726" y="1080"/>
                  </a:cubicBezTo>
                  <a:cubicBezTo>
                    <a:pt x="720" y="1061"/>
                    <a:pt x="714" y="1040"/>
                    <a:pt x="708" y="1020"/>
                  </a:cubicBezTo>
                  <a:cubicBezTo>
                    <a:pt x="703" y="1000"/>
                    <a:pt x="698" y="994"/>
                    <a:pt x="676" y="995"/>
                  </a:cubicBezTo>
                  <a:cubicBezTo>
                    <a:pt x="665" y="996"/>
                    <a:pt x="661" y="1001"/>
                    <a:pt x="667" y="1011"/>
                  </a:cubicBezTo>
                  <a:cubicBezTo>
                    <a:pt x="669" y="1016"/>
                    <a:pt x="670" y="1021"/>
                    <a:pt x="672" y="1025"/>
                  </a:cubicBezTo>
                  <a:cubicBezTo>
                    <a:pt x="675" y="1035"/>
                    <a:pt x="678" y="1046"/>
                    <a:pt x="681" y="1055"/>
                  </a:cubicBezTo>
                  <a:cubicBezTo>
                    <a:pt x="685" y="1068"/>
                    <a:pt x="689" y="1080"/>
                    <a:pt x="693" y="1092"/>
                  </a:cubicBezTo>
                  <a:cubicBezTo>
                    <a:pt x="697" y="1103"/>
                    <a:pt x="699" y="1113"/>
                    <a:pt x="703" y="1124"/>
                  </a:cubicBezTo>
                  <a:cubicBezTo>
                    <a:pt x="707" y="1136"/>
                    <a:pt x="711" y="1147"/>
                    <a:pt x="715" y="1160"/>
                  </a:cubicBezTo>
                  <a:cubicBezTo>
                    <a:pt x="717" y="1168"/>
                    <a:pt x="720" y="1176"/>
                    <a:pt x="724" y="1183"/>
                  </a:cubicBezTo>
                  <a:cubicBezTo>
                    <a:pt x="728" y="1189"/>
                    <a:pt x="752" y="1185"/>
                    <a:pt x="757" y="1180"/>
                  </a:cubicBezTo>
                  <a:cubicBezTo>
                    <a:pt x="764" y="1173"/>
                    <a:pt x="762" y="1163"/>
                    <a:pt x="766" y="1156"/>
                  </a:cubicBezTo>
                  <a:cubicBezTo>
                    <a:pt x="774" y="1140"/>
                    <a:pt x="778" y="1122"/>
                    <a:pt x="784" y="1105"/>
                  </a:cubicBezTo>
                  <a:cubicBezTo>
                    <a:pt x="789" y="1088"/>
                    <a:pt x="796" y="1072"/>
                    <a:pt x="800" y="1054"/>
                  </a:cubicBezTo>
                  <a:cubicBezTo>
                    <a:pt x="800" y="1053"/>
                    <a:pt x="801" y="1050"/>
                    <a:pt x="803" y="1050"/>
                  </a:cubicBezTo>
                  <a:cubicBezTo>
                    <a:pt x="806" y="1050"/>
                    <a:pt x="806" y="1052"/>
                    <a:pt x="807" y="1055"/>
                  </a:cubicBezTo>
                  <a:cubicBezTo>
                    <a:pt x="807" y="1060"/>
                    <a:pt x="810" y="1066"/>
                    <a:pt x="811" y="1071"/>
                  </a:cubicBezTo>
                  <a:cubicBezTo>
                    <a:pt x="814" y="1081"/>
                    <a:pt x="818" y="1090"/>
                    <a:pt x="821" y="1099"/>
                  </a:cubicBezTo>
                  <a:cubicBezTo>
                    <a:pt x="824" y="1110"/>
                    <a:pt x="827" y="1120"/>
                    <a:pt x="831" y="1131"/>
                  </a:cubicBezTo>
                  <a:cubicBezTo>
                    <a:pt x="834" y="1142"/>
                    <a:pt x="839" y="1153"/>
                    <a:pt x="842" y="1164"/>
                  </a:cubicBezTo>
                  <a:cubicBezTo>
                    <a:pt x="846" y="1179"/>
                    <a:pt x="850" y="1188"/>
                    <a:pt x="869" y="1185"/>
                  </a:cubicBezTo>
                  <a:cubicBezTo>
                    <a:pt x="873" y="1184"/>
                    <a:pt x="881" y="1189"/>
                    <a:pt x="884" y="1181"/>
                  </a:cubicBezTo>
                  <a:close/>
                  <a:moveTo>
                    <a:pt x="33" y="1051"/>
                  </a:moveTo>
                  <a:cubicBezTo>
                    <a:pt x="33" y="1087"/>
                    <a:pt x="33" y="1124"/>
                    <a:pt x="33" y="1160"/>
                  </a:cubicBezTo>
                  <a:cubicBezTo>
                    <a:pt x="33" y="1188"/>
                    <a:pt x="29" y="1184"/>
                    <a:pt x="58" y="1185"/>
                  </a:cubicBezTo>
                  <a:cubicBezTo>
                    <a:pt x="72" y="1185"/>
                    <a:pt x="73" y="1184"/>
                    <a:pt x="73" y="1170"/>
                  </a:cubicBezTo>
                  <a:cubicBezTo>
                    <a:pt x="73" y="1138"/>
                    <a:pt x="73" y="1107"/>
                    <a:pt x="73" y="1076"/>
                  </a:cubicBezTo>
                  <a:cubicBezTo>
                    <a:pt x="73" y="1071"/>
                    <a:pt x="72" y="1067"/>
                    <a:pt x="78" y="1065"/>
                  </a:cubicBezTo>
                  <a:cubicBezTo>
                    <a:pt x="91" y="1062"/>
                    <a:pt x="102" y="1067"/>
                    <a:pt x="110" y="1076"/>
                  </a:cubicBezTo>
                  <a:cubicBezTo>
                    <a:pt x="112" y="1080"/>
                    <a:pt x="115" y="1083"/>
                    <a:pt x="118" y="1086"/>
                  </a:cubicBezTo>
                  <a:cubicBezTo>
                    <a:pt x="132" y="1103"/>
                    <a:pt x="146" y="1119"/>
                    <a:pt x="161" y="1136"/>
                  </a:cubicBezTo>
                  <a:cubicBezTo>
                    <a:pt x="173" y="1150"/>
                    <a:pt x="186" y="1165"/>
                    <a:pt x="198" y="1179"/>
                  </a:cubicBezTo>
                  <a:cubicBezTo>
                    <a:pt x="207" y="1188"/>
                    <a:pt x="218" y="1184"/>
                    <a:pt x="228" y="1185"/>
                  </a:cubicBezTo>
                  <a:cubicBezTo>
                    <a:pt x="233" y="1185"/>
                    <a:pt x="241" y="1188"/>
                    <a:pt x="244" y="1182"/>
                  </a:cubicBezTo>
                  <a:cubicBezTo>
                    <a:pt x="246" y="1178"/>
                    <a:pt x="239" y="1173"/>
                    <a:pt x="235" y="1169"/>
                  </a:cubicBezTo>
                  <a:cubicBezTo>
                    <a:pt x="206" y="1133"/>
                    <a:pt x="176" y="1098"/>
                    <a:pt x="146" y="1062"/>
                  </a:cubicBezTo>
                  <a:cubicBezTo>
                    <a:pt x="141" y="1056"/>
                    <a:pt x="131" y="1052"/>
                    <a:pt x="132" y="1044"/>
                  </a:cubicBezTo>
                  <a:cubicBezTo>
                    <a:pt x="132" y="1036"/>
                    <a:pt x="142" y="1032"/>
                    <a:pt x="147" y="1026"/>
                  </a:cubicBezTo>
                  <a:cubicBezTo>
                    <a:pt x="164" y="1006"/>
                    <a:pt x="182" y="988"/>
                    <a:pt x="198" y="968"/>
                  </a:cubicBezTo>
                  <a:cubicBezTo>
                    <a:pt x="209" y="954"/>
                    <a:pt x="221" y="942"/>
                    <a:pt x="234" y="929"/>
                  </a:cubicBezTo>
                  <a:cubicBezTo>
                    <a:pt x="236" y="926"/>
                    <a:pt x="238" y="923"/>
                    <a:pt x="237" y="920"/>
                  </a:cubicBezTo>
                  <a:cubicBezTo>
                    <a:pt x="235" y="915"/>
                    <a:pt x="231" y="917"/>
                    <a:pt x="228" y="917"/>
                  </a:cubicBezTo>
                  <a:cubicBezTo>
                    <a:pt x="224" y="918"/>
                    <a:pt x="221" y="918"/>
                    <a:pt x="217" y="918"/>
                  </a:cubicBezTo>
                  <a:cubicBezTo>
                    <a:pt x="204" y="917"/>
                    <a:pt x="193" y="922"/>
                    <a:pt x="185" y="931"/>
                  </a:cubicBezTo>
                  <a:cubicBezTo>
                    <a:pt x="172" y="946"/>
                    <a:pt x="158" y="961"/>
                    <a:pt x="145" y="977"/>
                  </a:cubicBezTo>
                  <a:cubicBezTo>
                    <a:pt x="131" y="993"/>
                    <a:pt x="117" y="1010"/>
                    <a:pt x="102" y="1026"/>
                  </a:cubicBezTo>
                  <a:cubicBezTo>
                    <a:pt x="96" y="1032"/>
                    <a:pt x="87" y="1037"/>
                    <a:pt x="78" y="1034"/>
                  </a:cubicBezTo>
                  <a:cubicBezTo>
                    <a:pt x="70" y="1030"/>
                    <a:pt x="73" y="1021"/>
                    <a:pt x="73" y="1015"/>
                  </a:cubicBezTo>
                  <a:cubicBezTo>
                    <a:pt x="73" y="991"/>
                    <a:pt x="73" y="967"/>
                    <a:pt x="73" y="944"/>
                  </a:cubicBezTo>
                  <a:cubicBezTo>
                    <a:pt x="73" y="916"/>
                    <a:pt x="75" y="917"/>
                    <a:pt x="46" y="918"/>
                  </a:cubicBezTo>
                  <a:cubicBezTo>
                    <a:pt x="33" y="918"/>
                    <a:pt x="33" y="918"/>
                    <a:pt x="33" y="931"/>
                  </a:cubicBezTo>
                  <a:cubicBezTo>
                    <a:pt x="33" y="971"/>
                    <a:pt x="33" y="1011"/>
                    <a:pt x="33" y="1051"/>
                  </a:cubicBezTo>
                  <a:cubicBezTo>
                    <a:pt x="33" y="1051"/>
                    <a:pt x="33" y="1051"/>
                    <a:pt x="33" y="1051"/>
                  </a:cubicBezTo>
                  <a:close/>
                  <a:moveTo>
                    <a:pt x="639" y="84"/>
                  </a:moveTo>
                  <a:cubicBezTo>
                    <a:pt x="627" y="84"/>
                    <a:pt x="626" y="84"/>
                    <a:pt x="629" y="95"/>
                  </a:cubicBezTo>
                  <a:cubicBezTo>
                    <a:pt x="634" y="113"/>
                    <a:pt x="640" y="131"/>
                    <a:pt x="646" y="148"/>
                  </a:cubicBezTo>
                  <a:cubicBezTo>
                    <a:pt x="652" y="166"/>
                    <a:pt x="658" y="185"/>
                    <a:pt x="664" y="203"/>
                  </a:cubicBezTo>
                  <a:cubicBezTo>
                    <a:pt x="671" y="223"/>
                    <a:pt x="676" y="244"/>
                    <a:pt x="684" y="264"/>
                  </a:cubicBezTo>
                  <a:cubicBezTo>
                    <a:pt x="688" y="274"/>
                    <a:pt x="694" y="274"/>
                    <a:pt x="702" y="274"/>
                  </a:cubicBezTo>
                  <a:cubicBezTo>
                    <a:pt x="711" y="274"/>
                    <a:pt x="719" y="272"/>
                    <a:pt x="723" y="263"/>
                  </a:cubicBezTo>
                  <a:cubicBezTo>
                    <a:pt x="733" y="236"/>
                    <a:pt x="741" y="208"/>
                    <a:pt x="750" y="181"/>
                  </a:cubicBezTo>
                  <a:cubicBezTo>
                    <a:pt x="754" y="169"/>
                    <a:pt x="757" y="156"/>
                    <a:pt x="763" y="145"/>
                  </a:cubicBezTo>
                  <a:cubicBezTo>
                    <a:pt x="764" y="143"/>
                    <a:pt x="764" y="140"/>
                    <a:pt x="767" y="140"/>
                  </a:cubicBezTo>
                  <a:cubicBezTo>
                    <a:pt x="770" y="140"/>
                    <a:pt x="770" y="143"/>
                    <a:pt x="771" y="145"/>
                  </a:cubicBezTo>
                  <a:cubicBezTo>
                    <a:pt x="771" y="156"/>
                    <a:pt x="777" y="165"/>
                    <a:pt x="780" y="175"/>
                  </a:cubicBezTo>
                  <a:cubicBezTo>
                    <a:pt x="782" y="184"/>
                    <a:pt x="785" y="193"/>
                    <a:pt x="788" y="201"/>
                  </a:cubicBezTo>
                  <a:cubicBezTo>
                    <a:pt x="794" y="219"/>
                    <a:pt x="801" y="237"/>
                    <a:pt x="806" y="255"/>
                  </a:cubicBezTo>
                  <a:cubicBezTo>
                    <a:pt x="811" y="272"/>
                    <a:pt x="825" y="280"/>
                    <a:pt x="842" y="273"/>
                  </a:cubicBezTo>
                  <a:cubicBezTo>
                    <a:pt x="845" y="271"/>
                    <a:pt x="847" y="269"/>
                    <a:pt x="848" y="266"/>
                  </a:cubicBezTo>
                  <a:cubicBezTo>
                    <a:pt x="853" y="251"/>
                    <a:pt x="859" y="236"/>
                    <a:pt x="863" y="221"/>
                  </a:cubicBezTo>
                  <a:cubicBezTo>
                    <a:pt x="867" y="202"/>
                    <a:pt x="875" y="185"/>
                    <a:pt x="880" y="166"/>
                  </a:cubicBezTo>
                  <a:cubicBezTo>
                    <a:pt x="886" y="144"/>
                    <a:pt x="895" y="123"/>
                    <a:pt x="900" y="101"/>
                  </a:cubicBezTo>
                  <a:cubicBezTo>
                    <a:pt x="901" y="96"/>
                    <a:pt x="909" y="91"/>
                    <a:pt x="904" y="86"/>
                  </a:cubicBezTo>
                  <a:cubicBezTo>
                    <a:pt x="900" y="81"/>
                    <a:pt x="892" y="84"/>
                    <a:pt x="886" y="84"/>
                  </a:cubicBezTo>
                  <a:cubicBezTo>
                    <a:pt x="885" y="84"/>
                    <a:pt x="883" y="84"/>
                    <a:pt x="881" y="84"/>
                  </a:cubicBezTo>
                  <a:cubicBezTo>
                    <a:pt x="875" y="84"/>
                    <a:pt x="872" y="86"/>
                    <a:pt x="869" y="91"/>
                  </a:cubicBezTo>
                  <a:cubicBezTo>
                    <a:pt x="860" y="110"/>
                    <a:pt x="856" y="131"/>
                    <a:pt x="850" y="151"/>
                  </a:cubicBezTo>
                  <a:cubicBezTo>
                    <a:pt x="844" y="170"/>
                    <a:pt x="836" y="188"/>
                    <a:pt x="834" y="208"/>
                  </a:cubicBezTo>
                  <a:cubicBezTo>
                    <a:pt x="833" y="211"/>
                    <a:pt x="831" y="214"/>
                    <a:pt x="827" y="214"/>
                  </a:cubicBezTo>
                  <a:cubicBezTo>
                    <a:pt x="823" y="214"/>
                    <a:pt x="822" y="210"/>
                    <a:pt x="822" y="207"/>
                  </a:cubicBezTo>
                  <a:cubicBezTo>
                    <a:pt x="817" y="188"/>
                    <a:pt x="811" y="170"/>
                    <a:pt x="805" y="152"/>
                  </a:cubicBezTo>
                  <a:cubicBezTo>
                    <a:pt x="799" y="133"/>
                    <a:pt x="794" y="114"/>
                    <a:pt x="786" y="96"/>
                  </a:cubicBezTo>
                  <a:cubicBezTo>
                    <a:pt x="783" y="87"/>
                    <a:pt x="779" y="84"/>
                    <a:pt x="770" y="84"/>
                  </a:cubicBezTo>
                  <a:cubicBezTo>
                    <a:pt x="761" y="84"/>
                    <a:pt x="752" y="82"/>
                    <a:pt x="748" y="94"/>
                  </a:cubicBezTo>
                  <a:cubicBezTo>
                    <a:pt x="744" y="109"/>
                    <a:pt x="738" y="123"/>
                    <a:pt x="734" y="138"/>
                  </a:cubicBezTo>
                  <a:cubicBezTo>
                    <a:pt x="729" y="153"/>
                    <a:pt x="724" y="167"/>
                    <a:pt x="719" y="182"/>
                  </a:cubicBezTo>
                  <a:cubicBezTo>
                    <a:pt x="716" y="192"/>
                    <a:pt x="715" y="203"/>
                    <a:pt x="708" y="212"/>
                  </a:cubicBezTo>
                  <a:cubicBezTo>
                    <a:pt x="707" y="214"/>
                    <a:pt x="707" y="217"/>
                    <a:pt x="704" y="217"/>
                  </a:cubicBezTo>
                  <a:cubicBezTo>
                    <a:pt x="701" y="217"/>
                    <a:pt x="701" y="213"/>
                    <a:pt x="700" y="211"/>
                  </a:cubicBezTo>
                  <a:cubicBezTo>
                    <a:pt x="699" y="198"/>
                    <a:pt x="694" y="186"/>
                    <a:pt x="690" y="174"/>
                  </a:cubicBezTo>
                  <a:cubicBezTo>
                    <a:pt x="684" y="153"/>
                    <a:pt x="677" y="131"/>
                    <a:pt x="672" y="110"/>
                  </a:cubicBezTo>
                  <a:cubicBezTo>
                    <a:pt x="667" y="88"/>
                    <a:pt x="663" y="84"/>
                    <a:pt x="645" y="84"/>
                  </a:cubicBezTo>
                  <a:cubicBezTo>
                    <a:pt x="643" y="84"/>
                    <a:pt x="641" y="84"/>
                    <a:pt x="639" y="84"/>
                  </a:cubicBezTo>
                  <a:close/>
                  <a:moveTo>
                    <a:pt x="507" y="711"/>
                  </a:moveTo>
                  <a:cubicBezTo>
                    <a:pt x="507" y="730"/>
                    <a:pt x="507" y="730"/>
                    <a:pt x="526" y="730"/>
                  </a:cubicBezTo>
                  <a:cubicBezTo>
                    <a:pt x="539" y="730"/>
                    <a:pt x="541" y="729"/>
                    <a:pt x="541" y="715"/>
                  </a:cubicBezTo>
                  <a:cubicBezTo>
                    <a:pt x="541" y="677"/>
                    <a:pt x="541" y="638"/>
                    <a:pt x="540" y="600"/>
                  </a:cubicBezTo>
                  <a:cubicBezTo>
                    <a:pt x="540" y="593"/>
                    <a:pt x="543" y="587"/>
                    <a:pt x="548" y="582"/>
                  </a:cubicBezTo>
                  <a:cubicBezTo>
                    <a:pt x="553" y="576"/>
                    <a:pt x="559" y="573"/>
                    <a:pt x="564" y="569"/>
                  </a:cubicBezTo>
                  <a:cubicBezTo>
                    <a:pt x="574" y="564"/>
                    <a:pt x="594" y="566"/>
                    <a:pt x="602" y="574"/>
                  </a:cubicBezTo>
                  <a:cubicBezTo>
                    <a:pt x="611" y="582"/>
                    <a:pt x="614" y="592"/>
                    <a:pt x="614" y="604"/>
                  </a:cubicBezTo>
                  <a:cubicBezTo>
                    <a:pt x="614" y="638"/>
                    <a:pt x="614" y="672"/>
                    <a:pt x="614" y="706"/>
                  </a:cubicBezTo>
                  <a:cubicBezTo>
                    <a:pt x="614" y="730"/>
                    <a:pt x="614" y="730"/>
                    <a:pt x="638" y="730"/>
                  </a:cubicBezTo>
                  <a:cubicBezTo>
                    <a:pt x="650" y="730"/>
                    <a:pt x="650" y="730"/>
                    <a:pt x="650" y="717"/>
                  </a:cubicBezTo>
                  <a:cubicBezTo>
                    <a:pt x="650" y="684"/>
                    <a:pt x="650" y="650"/>
                    <a:pt x="650" y="617"/>
                  </a:cubicBezTo>
                  <a:cubicBezTo>
                    <a:pt x="650" y="606"/>
                    <a:pt x="651" y="597"/>
                    <a:pt x="657" y="586"/>
                  </a:cubicBezTo>
                  <a:cubicBezTo>
                    <a:pt x="667" y="565"/>
                    <a:pt x="703" y="560"/>
                    <a:pt x="716" y="579"/>
                  </a:cubicBezTo>
                  <a:cubicBezTo>
                    <a:pt x="723" y="588"/>
                    <a:pt x="724" y="598"/>
                    <a:pt x="724" y="609"/>
                  </a:cubicBezTo>
                  <a:cubicBezTo>
                    <a:pt x="724" y="645"/>
                    <a:pt x="724" y="682"/>
                    <a:pt x="724" y="718"/>
                  </a:cubicBezTo>
                  <a:cubicBezTo>
                    <a:pt x="724" y="727"/>
                    <a:pt x="727" y="731"/>
                    <a:pt x="736" y="730"/>
                  </a:cubicBezTo>
                  <a:cubicBezTo>
                    <a:pt x="738" y="730"/>
                    <a:pt x="741" y="730"/>
                    <a:pt x="743" y="730"/>
                  </a:cubicBezTo>
                  <a:cubicBezTo>
                    <a:pt x="758" y="730"/>
                    <a:pt x="759" y="729"/>
                    <a:pt x="759" y="715"/>
                  </a:cubicBezTo>
                  <a:cubicBezTo>
                    <a:pt x="759" y="677"/>
                    <a:pt x="758" y="639"/>
                    <a:pt x="759" y="601"/>
                  </a:cubicBezTo>
                  <a:cubicBezTo>
                    <a:pt x="759" y="571"/>
                    <a:pt x="742" y="540"/>
                    <a:pt x="704" y="538"/>
                  </a:cubicBezTo>
                  <a:cubicBezTo>
                    <a:pt x="681" y="536"/>
                    <a:pt x="661" y="542"/>
                    <a:pt x="646" y="560"/>
                  </a:cubicBezTo>
                  <a:cubicBezTo>
                    <a:pt x="638" y="569"/>
                    <a:pt x="638" y="569"/>
                    <a:pt x="631" y="559"/>
                  </a:cubicBezTo>
                  <a:cubicBezTo>
                    <a:pt x="630" y="558"/>
                    <a:pt x="630" y="557"/>
                    <a:pt x="629" y="556"/>
                  </a:cubicBezTo>
                  <a:cubicBezTo>
                    <a:pt x="623" y="548"/>
                    <a:pt x="616" y="541"/>
                    <a:pt x="607" y="539"/>
                  </a:cubicBezTo>
                  <a:cubicBezTo>
                    <a:pt x="584" y="534"/>
                    <a:pt x="563" y="539"/>
                    <a:pt x="545" y="555"/>
                  </a:cubicBezTo>
                  <a:cubicBezTo>
                    <a:pt x="540" y="559"/>
                    <a:pt x="537" y="561"/>
                    <a:pt x="537" y="552"/>
                  </a:cubicBezTo>
                  <a:cubicBezTo>
                    <a:pt x="536" y="543"/>
                    <a:pt x="526" y="538"/>
                    <a:pt x="515" y="539"/>
                  </a:cubicBezTo>
                  <a:cubicBezTo>
                    <a:pt x="506" y="540"/>
                    <a:pt x="507" y="546"/>
                    <a:pt x="507" y="552"/>
                  </a:cubicBezTo>
                  <a:cubicBezTo>
                    <a:pt x="507" y="580"/>
                    <a:pt x="507" y="607"/>
                    <a:pt x="507" y="634"/>
                  </a:cubicBezTo>
                  <a:cubicBezTo>
                    <a:pt x="507" y="660"/>
                    <a:pt x="507" y="685"/>
                    <a:pt x="507" y="711"/>
                  </a:cubicBezTo>
                  <a:close/>
                  <a:moveTo>
                    <a:pt x="1525" y="1142"/>
                  </a:moveTo>
                  <a:cubicBezTo>
                    <a:pt x="1517" y="1143"/>
                    <a:pt x="1511" y="1141"/>
                    <a:pt x="1505" y="1136"/>
                  </a:cubicBezTo>
                  <a:cubicBezTo>
                    <a:pt x="1501" y="1133"/>
                    <a:pt x="1495" y="1130"/>
                    <a:pt x="1498" y="1124"/>
                  </a:cubicBezTo>
                  <a:cubicBezTo>
                    <a:pt x="1500" y="1118"/>
                    <a:pt x="1504" y="1114"/>
                    <a:pt x="1512" y="1114"/>
                  </a:cubicBezTo>
                  <a:cubicBezTo>
                    <a:pt x="1521" y="1115"/>
                    <a:pt x="1530" y="1114"/>
                    <a:pt x="1538" y="1115"/>
                  </a:cubicBezTo>
                  <a:cubicBezTo>
                    <a:pt x="1573" y="1117"/>
                    <a:pt x="1610" y="1084"/>
                    <a:pt x="1602" y="1044"/>
                  </a:cubicBezTo>
                  <a:cubicBezTo>
                    <a:pt x="1600" y="1035"/>
                    <a:pt x="1599" y="1028"/>
                    <a:pt x="1611" y="1027"/>
                  </a:cubicBezTo>
                  <a:cubicBezTo>
                    <a:pt x="1614" y="1027"/>
                    <a:pt x="1617" y="1024"/>
                    <a:pt x="1619" y="1023"/>
                  </a:cubicBezTo>
                  <a:cubicBezTo>
                    <a:pt x="1626" y="1019"/>
                    <a:pt x="1624" y="1013"/>
                    <a:pt x="1623" y="1008"/>
                  </a:cubicBezTo>
                  <a:cubicBezTo>
                    <a:pt x="1623" y="1002"/>
                    <a:pt x="1618" y="1003"/>
                    <a:pt x="1613" y="1002"/>
                  </a:cubicBezTo>
                  <a:cubicBezTo>
                    <a:pt x="1598" y="1002"/>
                    <a:pt x="1582" y="1004"/>
                    <a:pt x="1567" y="1000"/>
                  </a:cubicBezTo>
                  <a:cubicBezTo>
                    <a:pt x="1560" y="999"/>
                    <a:pt x="1554" y="993"/>
                    <a:pt x="1546" y="993"/>
                  </a:cubicBezTo>
                  <a:cubicBezTo>
                    <a:pt x="1536" y="994"/>
                    <a:pt x="1525" y="992"/>
                    <a:pt x="1515" y="993"/>
                  </a:cubicBezTo>
                  <a:cubicBezTo>
                    <a:pt x="1490" y="997"/>
                    <a:pt x="1469" y="1010"/>
                    <a:pt x="1462" y="1034"/>
                  </a:cubicBezTo>
                  <a:cubicBezTo>
                    <a:pt x="1455" y="1056"/>
                    <a:pt x="1457" y="1079"/>
                    <a:pt x="1476" y="1096"/>
                  </a:cubicBezTo>
                  <a:cubicBezTo>
                    <a:pt x="1483" y="1103"/>
                    <a:pt x="1483" y="1107"/>
                    <a:pt x="1476" y="1113"/>
                  </a:cubicBezTo>
                  <a:cubicBezTo>
                    <a:pt x="1462" y="1126"/>
                    <a:pt x="1462" y="1142"/>
                    <a:pt x="1473" y="1157"/>
                  </a:cubicBezTo>
                  <a:cubicBezTo>
                    <a:pt x="1476" y="1160"/>
                    <a:pt x="1476" y="1162"/>
                    <a:pt x="1472" y="1164"/>
                  </a:cubicBezTo>
                  <a:cubicBezTo>
                    <a:pt x="1470" y="1166"/>
                    <a:pt x="1468" y="1168"/>
                    <a:pt x="1466" y="1170"/>
                  </a:cubicBezTo>
                  <a:cubicBezTo>
                    <a:pt x="1449" y="1183"/>
                    <a:pt x="1444" y="1201"/>
                    <a:pt x="1454" y="1218"/>
                  </a:cubicBezTo>
                  <a:cubicBezTo>
                    <a:pt x="1464" y="1235"/>
                    <a:pt x="1479" y="1246"/>
                    <a:pt x="1499" y="1249"/>
                  </a:cubicBezTo>
                  <a:cubicBezTo>
                    <a:pt x="1517" y="1252"/>
                    <a:pt x="1535" y="1253"/>
                    <a:pt x="1553" y="1250"/>
                  </a:cubicBezTo>
                  <a:cubicBezTo>
                    <a:pt x="1584" y="1245"/>
                    <a:pt x="1607" y="1232"/>
                    <a:pt x="1619" y="1200"/>
                  </a:cubicBezTo>
                  <a:cubicBezTo>
                    <a:pt x="1627" y="1180"/>
                    <a:pt x="1611" y="1155"/>
                    <a:pt x="1593" y="1148"/>
                  </a:cubicBezTo>
                  <a:cubicBezTo>
                    <a:pt x="1578" y="1142"/>
                    <a:pt x="1563" y="1143"/>
                    <a:pt x="1549" y="1142"/>
                  </a:cubicBezTo>
                  <a:cubicBezTo>
                    <a:pt x="1540" y="1142"/>
                    <a:pt x="1532" y="1142"/>
                    <a:pt x="1525" y="1142"/>
                  </a:cubicBezTo>
                  <a:close/>
                  <a:moveTo>
                    <a:pt x="1556" y="1172"/>
                  </a:moveTo>
                  <a:cubicBezTo>
                    <a:pt x="1566" y="1172"/>
                    <a:pt x="1576" y="1176"/>
                    <a:pt x="1583" y="1183"/>
                  </a:cubicBezTo>
                  <a:cubicBezTo>
                    <a:pt x="1589" y="1190"/>
                    <a:pt x="1589" y="1198"/>
                    <a:pt x="1583" y="1205"/>
                  </a:cubicBezTo>
                  <a:cubicBezTo>
                    <a:pt x="1575" y="1215"/>
                    <a:pt x="1565" y="1220"/>
                    <a:pt x="1553" y="1223"/>
                  </a:cubicBezTo>
                  <a:cubicBezTo>
                    <a:pt x="1534" y="1228"/>
                    <a:pt x="1516" y="1225"/>
                    <a:pt x="1499" y="1219"/>
                  </a:cubicBezTo>
                  <a:cubicBezTo>
                    <a:pt x="1486" y="1214"/>
                    <a:pt x="1479" y="1203"/>
                    <a:pt x="1482" y="1193"/>
                  </a:cubicBezTo>
                  <a:cubicBezTo>
                    <a:pt x="1485" y="1182"/>
                    <a:pt x="1496" y="1168"/>
                    <a:pt x="1514" y="1171"/>
                  </a:cubicBezTo>
                  <a:cubicBezTo>
                    <a:pt x="1526" y="1173"/>
                    <a:pt x="1541" y="1171"/>
                    <a:pt x="1556" y="1172"/>
                  </a:cubicBezTo>
                  <a:close/>
                  <a:moveTo>
                    <a:pt x="1531" y="1019"/>
                  </a:moveTo>
                  <a:cubicBezTo>
                    <a:pt x="1553" y="1017"/>
                    <a:pt x="1570" y="1033"/>
                    <a:pt x="1570" y="1052"/>
                  </a:cubicBezTo>
                  <a:cubicBezTo>
                    <a:pt x="1570" y="1075"/>
                    <a:pt x="1554" y="1093"/>
                    <a:pt x="1532" y="1091"/>
                  </a:cubicBezTo>
                  <a:cubicBezTo>
                    <a:pt x="1508" y="1089"/>
                    <a:pt x="1494" y="1082"/>
                    <a:pt x="1493" y="1053"/>
                  </a:cubicBezTo>
                  <a:cubicBezTo>
                    <a:pt x="1494" y="1029"/>
                    <a:pt x="1508" y="1020"/>
                    <a:pt x="1531" y="1019"/>
                  </a:cubicBezTo>
                  <a:close/>
                  <a:moveTo>
                    <a:pt x="1413" y="934"/>
                  </a:moveTo>
                  <a:cubicBezTo>
                    <a:pt x="1413" y="909"/>
                    <a:pt x="1413" y="909"/>
                    <a:pt x="1389" y="910"/>
                  </a:cubicBezTo>
                  <a:cubicBezTo>
                    <a:pt x="1388" y="910"/>
                    <a:pt x="1387" y="910"/>
                    <a:pt x="1387" y="910"/>
                  </a:cubicBezTo>
                  <a:cubicBezTo>
                    <a:pt x="1379" y="910"/>
                    <a:pt x="1376" y="915"/>
                    <a:pt x="1376" y="921"/>
                  </a:cubicBezTo>
                  <a:cubicBezTo>
                    <a:pt x="1376" y="939"/>
                    <a:pt x="1377" y="956"/>
                    <a:pt x="1377" y="974"/>
                  </a:cubicBezTo>
                  <a:cubicBezTo>
                    <a:pt x="1377" y="983"/>
                    <a:pt x="1377" y="991"/>
                    <a:pt x="1377" y="1000"/>
                  </a:cubicBezTo>
                  <a:cubicBezTo>
                    <a:pt x="1377" y="1005"/>
                    <a:pt x="1374" y="1009"/>
                    <a:pt x="1369" y="1005"/>
                  </a:cubicBezTo>
                  <a:cubicBezTo>
                    <a:pt x="1352" y="990"/>
                    <a:pt x="1332" y="993"/>
                    <a:pt x="1312" y="993"/>
                  </a:cubicBezTo>
                  <a:cubicBezTo>
                    <a:pt x="1303" y="994"/>
                    <a:pt x="1294" y="998"/>
                    <a:pt x="1287" y="1003"/>
                  </a:cubicBezTo>
                  <a:cubicBezTo>
                    <a:pt x="1265" y="1017"/>
                    <a:pt x="1252" y="1039"/>
                    <a:pt x="1248" y="1065"/>
                  </a:cubicBezTo>
                  <a:cubicBezTo>
                    <a:pt x="1244" y="1096"/>
                    <a:pt x="1244" y="1128"/>
                    <a:pt x="1261" y="1157"/>
                  </a:cubicBezTo>
                  <a:cubicBezTo>
                    <a:pt x="1270" y="1170"/>
                    <a:pt x="1281" y="1181"/>
                    <a:pt x="1296" y="1185"/>
                  </a:cubicBezTo>
                  <a:cubicBezTo>
                    <a:pt x="1323" y="1191"/>
                    <a:pt x="1349" y="1188"/>
                    <a:pt x="1370" y="1167"/>
                  </a:cubicBezTo>
                  <a:cubicBezTo>
                    <a:pt x="1372" y="1165"/>
                    <a:pt x="1375" y="1162"/>
                    <a:pt x="1379" y="1163"/>
                  </a:cubicBezTo>
                  <a:cubicBezTo>
                    <a:pt x="1382" y="1165"/>
                    <a:pt x="1381" y="1169"/>
                    <a:pt x="1381" y="1172"/>
                  </a:cubicBezTo>
                  <a:cubicBezTo>
                    <a:pt x="1383" y="1181"/>
                    <a:pt x="1390" y="1186"/>
                    <a:pt x="1403" y="1186"/>
                  </a:cubicBezTo>
                  <a:cubicBezTo>
                    <a:pt x="1413" y="1185"/>
                    <a:pt x="1413" y="1178"/>
                    <a:pt x="1413" y="1172"/>
                  </a:cubicBezTo>
                  <a:cubicBezTo>
                    <a:pt x="1413" y="1131"/>
                    <a:pt x="1413" y="1090"/>
                    <a:pt x="1413" y="1049"/>
                  </a:cubicBezTo>
                  <a:cubicBezTo>
                    <a:pt x="1413" y="1010"/>
                    <a:pt x="1413" y="972"/>
                    <a:pt x="1413" y="934"/>
                  </a:cubicBezTo>
                  <a:close/>
                  <a:moveTo>
                    <a:pt x="1378" y="1113"/>
                  </a:moveTo>
                  <a:cubicBezTo>
                    <a:pt x="1378" y="1136"/>
                    <a:pt x="1360" y="1155"/>
                    <a:pt x="1337" y="1157"/>
                  </a:cubicBezTo>
                  <a:cubicBezTo>
                    <a:pt x="1319" y="1159"/>
                    <a:pt x="1304" y="1154"/>
                    <a:pt x="1294" y="1139"/>
                  </a:cubicBezTo>
                  <a:cubicBezTo>
                    <a:pt x="1286" y="1128"/>
                    <a:pt x="1283" y="1116"/>
                    <a:pt x="1283" y="1102"/>
                  </a:cubicBezTo>
                  <a:cubicBezTo>
                    <a:pt x="1282" y="1085"/>
                    <a:pt x="1282" y="1067"/>
                    <a:pt x="1290" y="1051"/>
                  </a:cubicBezTo>
                  <a:cubicBezTo>
                    <a:pt x="1297" y="1036"/>
                    <a:pt x="1308" y="1024"/>
                    <a:pt x="1325" y="1022"/>
                  </a:cubicBezTo>
                  <a:cubicBezTo>
                    <a:pt x="1342" y="1020"/>
                    <a:pt x="1358" y="1021"/>
                    <a:pt x="1371" y="1035"/>
                  </a:cubicBezTo>
                  <a:cubicBezTo>
                    <a:pt x="1376" y="1041"/>
                    <a:pt x="1378" y="1046"/>
                    <a:pt x="1378" y="1052"/>
                  </a:cubicBezTo>
                  <a:cubicBezTo>
                    <a:pt x="1378" y="1064"/>
                    <a:pt x="1378" y="1075"/>
                    <a:pt x="1378" y="1086"/>
                  </a:cubicBezTo>
                  <a:cubicBezTo>
                    <a:pt x="1378" y="1086"/>
                    <a:pt x="1378" y="1086"/>
                    <a:pt x="1378" y="1086"/>
                  </a:cubicBezTo>
                  <a:cubicBezTo>
                    <a:pt x="1378" y="1095"/>
                    <a:pt x="1378" y="1104"/>
                    <a:pt x="1378" y="1113"/>
                  </a:cubicBezTo>
                  <a:close/>
                  <a:moveTo>
                    <a:pt x="578" y="259"/>
                  </a:moveTo>
                  <a:cubicBezTo>
                    <a:pt x="603" y="241"/>
                    <a:pt x="611" y="213"/>
                    <a:pt x="614" y="183"/>
                  </a:cubicBezTo>
                  <a:cubicBezTo>
                    <a:pt x="615" y="171"/>
                    <a:pt x="610" y="159"/>
                    <a:pt x="609" y="147"/>
                  </a:cubicBezTo>
                  <a:cubicBezTo>
                    <a:pt x="608" y="137"/>
                    <a:pt x="603" y="129"/>
                    <a:pt x="599" y="121"/>
                  </a:cubicBezTo>
                  <a:cubicBezTo>
                    <a:pt x="579" y="87"/>
                    <a:pt x="527" y="70"/>
                    <a:pt x="488" y="85"/>
                  </a:cubicBezTo>
                  <a:cubicBezTo>
                    <a:pt x="453" y="99"/>
                    <a:pt x="436" y="127"/>
                    <a:pt x="431" y="163"/>
                  </a:cubicBezTo>
                  <a:cubicBezTo>
                    <a:pt x="429" y="180"/>
                    <a:pt x="430" y="196"/>
                    <a:pt x="436" y="213"/>
                  </a:cubicBezTo>
                  <a:cubicBezTo>
                    <a:pt x="439" y="222"/>
                    <a:pt x="442" y="232"/>
                    <a:pt x="447" y="239"/>
                  </a:cubicBezTo>
                  <a:cubicBezTo>
                    <a:pt x="465" y="265"/>
                    <a:pt x="491" y="277"/>
                    <a:pt x="525" y="276"/>
                  </a:cubicBezTo>
                  <a:cubicBezTo>
                    <a:pt x="543" y="278"/>
                    <a:pt x="562" y="271"/>
                    <a:pt x="578" y="259"/>
                  </a:cubicBezTo>
                  <a:close/>
                  <a:moveTo>
                    <a:pt x="471" y="205"/>
                  </a:moveTo>
                  <a:cubicBezTo>
                    <a:pt x="466" y="185"/>
                    <a:pt x="468" y="167"/>
                    <a:pt x="472" y="147"/>
                  </a:cubicBezTo>
                  <a:cubicBezTo>
                    <a:pt x="477" y="130"/>
                    <a:pt x="493" y="116"/>
                    <a:pt x="509" y="112"/>
                  </a:cubicBezTo>
                  <a:cubicBezTo>
                    <a:pt x="525" y="108"/>
                    <a:pt x="539" y="110"/>
                    <a:pt x="553" y="119"/>
                  </a:cubicBezTo>
                  <a:cubicBezTo>
                    <a:pt x="563" y="125"/>
                    <a:pt x="568" y="135"/>
                    <a:pt x="571" y="146"/>
                  </a:cubicBezTo>
                  <a:cubicBezTo>
                    <a:pt x="577" y="167"/>
                    <a:pt x="578" y="189"/>
                    <a:pt x="571" y="211"/>
                  </a:cubicBezTo>
                  <a:cubicBezTo>
                    <a:pt x="565" y="231"/>
                    <a:pt x="549" y="249"/>
                    <a:pt x="521" y="247"/>
                  </a:cubicBezTo>
                  <a:cubicBezTo>
                    <a:pt x="496" y="247"/>
                    <a:pt x="478" y="230"/>
                    <a:pt x="471" y="205"/>
                  </a:cubicBezTo>
                  <a:close/>
                  <a:moveTo>
                    <a:pt x="472" y="1122"/>
                  </a:moveTo>
                  <a:cubicBezTo>
                    <a:pt x="475" y="1136"/>
                    <a:pt x="481" y="1148"/>
                    <a:pt x="491" y="1158"/>
                  </a:cubicBezTo>
                  <a:cubicBezTo>
                    <a:pt x="506" y="1176"/>
                    <a:pt x="524" y="1185"/>
                    <a:pt x="548" y="1187"/>
                  </a:cubicBezTo>
                  <a:cubicBezTo>
                    <a:pt x="568" y="1188"/>
                    <a:pt x="587" y="1187"/>
                    <a:pt x="605" y="1177"/>
                  </a:cubicBezTo>
                  <a:cubicBezTo>
                    <a:pt x="632" y="1162"/>
                    <a:pt x="644" y="1136"/>
                    <a:pt x="649" y="1107"/>
                  </a:cubicBezTo>
                  <a:cubicBezTo>
                    <a:pt x="652" y="1089"/>
                    <a:pt x="649" y="1072"/>
                    <a:pt x="644" y="1054"/>
                  </a:cubicBezTo>
                  <a:cubicBezTo>
                    <a:pt x="638" y="1034"/>
                    <a:pt x="627" y="1019"/>
                    <a:pt x="610" y="1007"/>
                  </a:cubicBezTo>
                  <a:cubicBezTo>
                    <a:pt x="589" y="992"/>
                    <a:pt x="566" y="991"/>
                    <a:pt x="541" y="994"/>
                  </a:cubicBezTo>
                  <a:cubicBezTo>
                    <a:pt x="526" y="995"/>
                    <a:pt x="512" y="1002"/>
                    <a:pt x="500" y="1012"/>
                  </a:cubicBezTo>
                  <a:cubicBezTo>
                    <a:pt x="476" y="1032"/>
                    <a:pt x="469" y="1060"/>
                    <a:pt x="466" y="1095"/>
                  </a:cubicBezTo>
                  <a:cubicBezTo>
                    <a:pt x="465" y="1101"/>
                    <a:pt x="470" y="1111"/>
                    <a:pt x="472" y="1122"/>
                  </a:cubicBezTo>
                  <a:close/>
                  <a:moveTo>
                    <a:pt x="508" y="1113"/>
                  </a:moveTo>
                  <a:cubicBezTo>
                    <a:pt x="505" y="1095"/>
                    <a:pt x="506" y="1078"/>
                    <a:pt x="508" y="1061"/>
                  </a:cubicBezTo>
                  <a:cubicBezTo>
                    <a:pt x="511" y="1042"/>
                    <a:pt x="538" y="1021"/>
                    <a:pt x="554" y="1022"/>
                  </a:cubicBezTo>
                  <a:cubicBezTo>
                    <a:pt x="570" y="1022"/>
                    <a:pt x="586" y="1024"/>
                    <a:pt x="596" y="1037"/>
                  </a:cubicBezTo>
                  <a:cubicBezTo>
                    <a:pt x="602" y="1044"/>
                    <a:pt x="607" y="1052"/>
                    <a:pt x="608" y="1061"/>
                  </a:cubicBezTo>
                  <a:cubicBezTo>
                    <a:pt x="608" y="1064"/>
                    <a:pt x="609" y="1067"/>
                    <a:pt x="610" y="1070"/>
                  </a:cubicBezTo>
                  <a:cubicBezTo>
                    <a:pt x="618" y="1089"/>
                    <a:pt x="612" y="1107"/>
                    <a:pt x="607" y="1125"/>
                  </a:cubicBezTo>
                  <a:cubicBezTo>
                    <a:pt x="601" y="1143"/>
                    <a:pt x="588" y="1160"/>
                    <a:pt x="558" y="1157"/>
                  </a:cubicBezTo>
                  <a:cubicBezTo>
                    <a:pt x="530" y="1157"/>
                    <a:pt x="512" y="1141"/>
                    <a:pt x="508" y="1113"/>
                  </a:cubicBezTo>
                  <a:close/>
                  <a:moveTo>
                    <a:pt x="430" y="716"/>
                  </a:moveTo>
                  <a:cubicBezTo>
                    <a:pt x="450" y="703"/>
                    <a:pt x="459" y="683"/>
                    <a:pt x="464" y="661"/>
                  </a:cubicBezTo>
                  <a:cubicBezTo>
                    <a:pt x="468" y="648"/>
                    <a:pt x="467" y="635"/>
                    <a:pt x="466" y="621"/>
                  </a:cubicBezTo>
                  <a:cubicBezTo>
                    <a:pt x="463" y="592"/>
                    <a:pt x="453" y="567"/>
                    <a:pt x="427" y="550"/>
                  </a:cubicBezTo>
                  <a:cubicBezTo>
                    <a:pt x="401" y="534"/>
                    <a:pt x="372" y="532"/>
                    <a:pt x="345" y="541"/>
                  </a:cubicBezTo>
                  <a:cubicBezTo>
                    <a:pt x="310" y="552"/>
                    <a:pt x="291" y="580"/>
                    <a:pt x="287" y="617"/>
                  </a:cubicBezTo>
                  <a:cubicBezTo>
                    <a:pt x="286" y="629"/>
                    <a:pt x="286" y="641"/>
                    <a:pt x="287" y="654"/>
                  </a:cubicBezTo>
                  <a:cubicBezTo>
                    <a:pt x="289" y="671"/>
                    <a:pt x="295" y="686"/>
                    <a:pt x="306" y="700"/>
                  </a:cubicBezTo>
                  <a:cubicBezTo>
                    <a:pt x="324" y="722"/>
                    <a:pt x="348" y="733"/>
                    <a:pt x="378" y="731"/>
                  </a:cubicBezTo>
                  <a:cubicBezTo>
                    <a:pt x="396" y="733"/>
                    <a:pt x="414" y="727"/>
                    <a:pt x="430" y="716"/>
                  </a:cubicBezTo>
                  <a:close/>
                  <a:moveTo>
                    <a:pt x="331" y="592"/>
                  </a:moveTo>
                  <a:cubicBezTo>
                    <a:pt x="339" y="580"/>
                    <a:pt x="349" y="569"/>
                    <a:pt x="365" y="567"/>
                  </a:cubicBezTo>
                  <a:cubicBezTo>
                    <a:pt x="387" y="564"/>
                    <a:pt x="406" y="568"/>
                    <a:pt x="419" y="588"/>
                  </a:cubicBezTo>
                  <a:cubicBezTo>
                    <a:pt x="423" y="595"/>
                    <a:pt x="426" y="603"/>
                    <a:pt x="427" y="610"/>
                  </a:cubicBezTo>
                  <a:cubicBezTo>
                    <a:pt x="433" y="635"/>
                    <a:pt x="431" y="661"/>
                    <a:pt x="416" y="684"/>
                  </a:cubicBezTo>
                  <a:cubicBezTo>
                    <a:pt x="403" y="706"/>
                    <a:pt x="362" y="708"/>
                    <a:pt x="345" y="692"/>
                  </a:cubicBezTo>
                  <a:cubicBezTo>
                    <a:pt x="329" y="678"/>
                    <a:pt x="323" y="661"/>
                    <a:pt x="323" y="631"/>
                  </a:cubicBezTo>
                  <a:cubicBezTo>
                    <a:pt x="323" y="619"/>
                    <a:pt x="323" y="605"/>
                    <a:pt x="331" y="592"/>
                  </a:cubicBezTo>
                  <a:close/>
                  <a:moveTo>
                    <a:pt x="1073" y="259"/>
                  </a:moveTo>
                  <a:cubicBezTo>
                    <a:pt x="1073" y="269"/>
                    <a:pt x="1075" y="272"/>
                    <a:pt x="1086" y="272"/>
                  </a:cubicBezTo>
                  <a:cubicBezTo>
                    <a:pt x="1088" y="272"/>
                    <a:pt x="1090" y="272"/>
                    <a:pt x="1092" y="272"/>
                  </a:cubicBezTo>
                  <a:cubicBezTo>
                    <a:pt x="1105" y="272"/>
                    <a:pt x="1106" y="271"/>
                    <a:pt x="1106" y="258"/>
                  </a:cubicBezTo>
                  <a:cubicBezTo>
                    <a:pt x="1106" y="221"/>
                    <a:pt x="1106" y="184"/>
                    <a:pt x="1106" y="147"/>
                  </a:cubicBezTo>
                  <a:cubicBezTo>
                    <a:pt x="1106" y="143"/>
                    <a:pt x="1106" y="140"/>
                    <a:pt x="1107" y="137"/>
                  </a:cubicBezTo>
                  <a:cubicBezTo>
                    <a:pt x="1117" y="117"/>
                    <a:pt x="1157" y="104"/>
                    <a:pt x="1177" y="114"/>
                  </a:cubicBezTo>
                  <a:cubicBezTo>
                    <a:pt x="1179" y="115"/>
                    <a:pt x="1180" y="117"/>
                    <a:pt x="1182" y="118"/>
                  </a:cubicBezTo>
                  <a:cubicBezTo>
                    <a:pt x="1194" y="131"/>
                    <a:pt x="1196" y="147"/>
                    <a:pt x="1196" y="163"/>
                  </a:cubicBezTo>
                  <a:cubicBezTo>
                    <a:pt x="1197" y="195"/>
                    <a:pt x="1196" y="226"/>
                    <a:pt x="1196" y="258"/>
                  </a:cubicBezTo>
                  <a:cubicBezTo>
                    <a:pt x="1196" y="271"/>
                    <a:pt x="1197" y="272"/>
                    <a:pt x="1210" y="272"/>
                  </a:cubicBezTo>
                  <a:cubicBezTo>
                    <a:pt x="1212" y="272"/>
                    <a:pt x="1213" y="272"/>
                    <a:pt x="1215" y="272"/>
                  </a:cubicBezTo>
                  <a:cubicBezTo>
                    <a:pt x="1227" y="272"/>
                    <a:pt x="1229" y="270"/>
                    <a:pt x="1229" y="258"/>
                  </a:cubicBezTo>
                  <a:cubicBezTo>
                    <a:pt x="1229" y="222"/>
                    <a:pt x="1229" y="187"/>
                    <a:pt x="1229" y="151"/>
                  </a:cubicBezTo>
                  <a:cubicBezTo>
                    <a:pt x="1229" y="142"/>
                    <a:pt x="1228" y="132"/>
                    <a:pt x="1225" y="123"/>
                  </a:cubicBezTo>
                  <a:cubicBezTo>
                    <a:pt x="1219" y="105"/>
                    <a:pt x="1208" y="91"/>
                    <a:pt x="1189" y="85"/>
                  </a:cubicBezTo>
                  <a:cubicBezTo>
                    <a:pt x="1173" y="80"/>
                    <a:pt x="1156" y="84"/>
                    <a:pt x="1139" y="84"/>
                  </a:cubicBezTo>
                  <a:cubicBezTo>
                    <a:pt x="1137" y="84"/>
                    <a:pt x="1136" y="86"/>
                    <a:pt x="1134" y="87"/>
                  </a:cubicBezTo>
                  <a:cubicBezTo>
                    <a:pt x="1128" y="91"/>
                    <a:pt x="1121" y="96"/>
                    <a:pt x="1115" y="100"/>
                  </a:cubicBezTo>
                  <a:cubicBezTo>
                    <a:pt x="1113" y="102"/>
                    <a:pt x="1111" y="105"/>
                    <a:pt x="1108" y="103"/>
                  </a:cubicBezTo>
                  <a:cubicBezTo>
                    <a:pt x="1105" y="102"/>
                    <a:pt x="1106" y="98"/>
                    <a:pt x="1106" y="96"/>
                  </a:cubicBezTo>
                  <a:cubicBezTo>
                    <a:pt x="1106" y="69"/>
                    <a:pt x="1106" y="43"/>
                    <a:pt x="1106" y="17"/>
                  </a:cubicBezTo>
                  <a:cubicBezTo>
                    <a:pt x="1106" y="0"/>
                    <a:pt x="1106" y="0"/>
                    <a:pt x="1089" y="0"/>
                  </a:cubicBezTo>
                  <a:cubicBezTo>
                    <a:pt x="1074" y="0"/>
                    <a:pt x="1073" y="1"/>
                    <a:pt x="1073" y="16"/>
                  </a:cubicBezTo>
                  <a:cubicBezTo>
                    <a:pt x="1073" y="56"/>
                    <a:pt x="1073" y="96"/>
                    <a:pt x="1073" y="136"/>
                  </a:cubicBezTo>
                  <a:cubicBezTo>
                    <a:pt x="1073" y="177"/>
                    <a:pt x="1073" y="218"/>
                    <a:pt x="1073" y="259"/>
                  </a:cubicBezTo>
                  <a:close/>
                  <a:moveTo>
                    <a:pt x="1150" y="1092"/>
                  </a:moveTo>
                  <a:cubicBezTo>
                    <a:pt x="1168" y="1092"/>
                    <a:pt x="1186" y="1092"/>
                    <a:pt x="1204" y="1092"/>
                  </a:cubicBezTo>
                  <a:cubicBezTo>
                    <a:pt x="1215" y="1092"/>
                    <a:pt x="1218" y="1087"/>
                    <a:pt x="1219" y="1077"/>
                  </a:cubicBezTo>
                  <a:cubicBezTo>
                    <a:pt x="1220" y="1062"/>
                    <a:pt x="1216" y="1049"/>
                    <a:pt x="1210" y="1036"/>
                  </a:cubicBezTo>
                  <a:cubicBezTo>
                    <a:pt x="1204" y="1020"/>
                    <a:pt x="1193" y="1008"/>
                    <a:pt x="1177" y="1001"/>
                  </a:cubicBezTo>
                  <a:cubicBezTo>
                    <a:pt x="1155" y="992"/>
                    <a:pt x="1133" y="991"/>
                    <a:pt x="1109" y="999"/>
                  </a:cubicBezTo>
                  <a:cubicBezTo>
                    <a:pt x="1079" y="1010"/>
                    <a:pt x="1062" y="1031"/>
                    <a:pt x="1056" y="1061"/>
                  </a:cubicBezTo>
                  <a:cubicBezTo>
                    <a:pt x="1051" y="1090"/>
                    <a:pt x="1052" y="1120"/>
                    <a:pt x="1069" y="1148"/>
                  </a:cubicBezTo>
                  <a:cubicBezTo>
                    <a:pt x="1081" y="1169"/>
                    <a:pt x="1100" y="1180"/>
                    <a:pt x="1122" y="1185"/>
                  </a:cubicBezTo>
                  <a:cubicBezTo>
                    <a:pt x="1149" y="1190"/>
                    <a:pt x="1176" y="1186"/>
                    <a:pt x="1200" y="1171"/>
                  </a:cubicBezTo>
                  <a:cubicBezTo>
                    <a:pt x="1206" y="1168"/>
                    <a:pt x="1213" y="1165"/>
                    <a:pt x="1214" y="1157"/>
                  </a:cubicBezTo>
                  <a:cubicBezTo>
                    <a:pt x="1215" y="1147"/>
                    <a:pt x="1202" y="1139"/>
                    <a:pt x="1193" y="1144"/>
                  </a:cubicBezTo>
                  <a:cubicBezTo>
                    <a:pt x="1187" y="1147"/>
                    <a:pt x="1180" y="1150"/>
                    <a:pt x="1174" y="1153"/>
                  </a:cubicBezTo>
                  <a:cubicBezTo>
                    <a:pt x="1158" y="1161"/>
                    <a:pt x="1140" y="1161"/>
                    <a:pt x="1124" y="1155"/>
                  </a:cubicBezTo>
                  <a:cubicBezTo>
                    <a:pt x="1112" y="1151"/>
                    <a:pt x="1102" y="1142"/>
                    <a:pt x="1096" y="1129"/>
                  </a:cubicBezTo>
                  <a:cubicBezTo>
                    <a:pt x="1092" y="1121"/>
                    <a:pt x="1091" y="1112"/>
                    <a:pt x="1089" y="1104"/>
                  </a:cubicBezTo>
                  <a:cubicBezTo>
                    <a:pt x="1087" y="1093"/>
                    <a:pt x="1087" y="1092"/>
                    <a:pt x="1099" y="1092"/>
                  </a:cubicBezTo>
                  <a:cubicBezTo>
                    <a:pt x="1116" y="1092"/>
                    <a:pt x="1133" y="1092"/>
                    <a:pt x="1150" y="1092"/>
                  </a:cubicBezTo>
                  <a:cubicBezTo>
                    <a:pt x="1150" y="1092"/>
                    <a:pt x="1150" y="1092"/>
                    <a:pt x="1150" y="1092"/>
                  </a:cubicBezTo>
                  <a:close/>
                  <a:moveTo>
                    <a:pt x="1099" y="1070"/>
                  </a:moveTo>
                  <a:cubicBezTo>
                    <a:pt x="1092" y="1071"/>
                    <a:pt x="1089" y="1067"/>
                    <a:pt x="1091" y="1060"/>
                  </a:cubicBezTo>
                  <a:cubicBezTo>
                    <a:pt x="1094" y="1045"/>
                    <a:pt x="1108" y="1023"/>
                    <a:pt x="1128" y="1022"/>
                  </a:cubicBezTo>
                  <a:cubicBezTo>
                    <a:pt x="1142" y="1021"/>
                    <a:pt x="1156" y="1018"/>
                    <a:pt x="1168" y="1029"/>
                  </a:cubicBezTo>
                  <a:cubicBezTo>
                    <a:pt x="1181" y="1038"/>
                    <a:pt x="1185" y="1051"/>
                    <a:pt x="1187" y="1066"/>
                  </a:cubicBezTo>
                  <a:cubicBezTo>
                    <a:pt x="1188" y="1071"/>
                    <a:pt x="1183" y="1070"/>
                    <a:pt x="1180" y="1070"/>
                  </a:cubicBezTo>
                  <a:cubicBezTo>
                    <a:pt x="1166" y="1070"/>
                    <a:pt x="1153" y="1070"/>
                    <a:pt x="1139" y="1070"/>
                  </a:cubicBezTo>
                  <a:cubicBezTo>
                    <a:pt x="1139" y="1070"/>
                    <a:pt x="1139" y="1070"/>
                    <a:pt x="1139" y="1070"/>
                  </a:cubicBezTo>
                  <a:cubicBezTo>
                    <a:pt x="1126" y="1070"/>
                    <a:pt x="1113" y="1070"/>
                    <a:pt x="1099" y="1070"/>
                  </a:cubicBezTo>
                  <a:close/>
                  <a:moveTo>
                    <a:pt x="1741" y="1092"/>
                  </a:moveTo>
                  <a:cubicBezTo>
                    <a:pt x="1759" y="1092"/>
                    <a:pt x="1776" y="1092"/>
                    <a:pt x="1793" y="1092"/>
                  </a:cubicBezTo>
                  <a:cubicBezTo>
                    <a:pt x="1806" y="1092"/>
                    <a:pt x="1808" y="1089"/>
                    <a:pt x="1808" y="1076"/>
                  </a:cubicBezTo>
                  <a:cubicBezTo>
                    <a:pt x="1809" y="1063"/>
                    <a:pt x="1807" y="1051"/>
                    <a:pt x="1802" y="1038"/>
                  </a:cubicBezTo>
                  <a:cubicBezTo>
                    <a:pt x="1794" y="1021"/>
                    <a:pt x="1782" y="1008"/>
                    <a:pt x="1764" y="1000"/>
                  </a:cubicBezTo>
                  <a:cubicBezTo>
                    <a:pt x="1742" y="991"/>
                    <a:pt x="1720" y="991"/>
                    <a:pt x="1698" y="1000"/>
                  </a:cubicBezTo>
                  <a:cubicBezTo>
                    <a:pt x="1681" y="1006"/>
                    <a:pt x="1668" y="1016"/>
                    <a:pt x="1659" y="1031"/>
                  </a:cubicBezTo>
                  <a:cubicBezTo>
                    <a:pt x="1646" y="1050"/>
                    <a:pt x="1643" y="1071"/>
                    <a:pt x="1644" y="1094"/>
                  </a:cubicBezTo>
                  <a:cubicBezTo>
                    <a:pt x="1644" y="1110"/>
                    <a:pt x="1647" y="1127"/>
                    <a:pt x="1655" y="1141"/>
                  </a:cubicBezTo>
                  <a:cubicBezTo>
                    <a:pt x="1669" y="1168"/>
                    <a:pt x="1691" y="1183"/>
                    <a:pt x="1722" y="1186"/>
                  </a:cubicBezTo>
                  <a:cubicBezTo>
                    <a:pt x="1750" y="1188"/>
                    <a:pt x="1775" y="1183"/>
                    <a:pt x="1798" y="1165"/>
                  </a:cubicBezTo>
                  <a:cubicBezTo>
                    <a:pt x="1803" y="1161"/>
                    <a:pt x="1806" y="1157"/>
                    <a:pt x="1802" y="1151"/>
                  </a:cubicBezTo>
                  <a:cubicBezTo>
                    <a:pt x="1798" y="1144"/>
                    <a:pt x="1791" y="1140"/>
                    <a:pt x="1783" y="1144"/>
                  </a:cubicBezTo>
                  <a:cubicBezTo>
                    <a:pt x="1778" y="1147"/>
                    <a:pt x="1771" y="1149"/>
                    <a:pt x="1766" y="1152"/>
                  </a:cubicBezTo>
                  <a:cubicBezTo>
                    <a:pt x="1749" y="1161"/>
                    <a:pt x="1730" y="1162"/>
                    <a:pt x="1714" y="1155"/>
                  </a:cubicBezTo>
                  <a:cubicBezTo>
                    <a:pt x="1692" y="1145"/>
                    <a:pt x="1680" y="1127"/>
                    <a:pt x="1679" y="1102"/>
                  </a:cubicBezTo>
                  <a:cubicBezTo>
                    <a:pt x="1678" y="1095"/>
                    <a:pt x="1681" y="1092"/>
                    <a:pt x="1689" y="1092"/>
                  </a:cubicBezTo>
                  <a:cubicBezTo>
                    <a:pt x="1706" y="1092"/>
                    <a:pt x="1724" y="1092"/>
                    <a:pt x="1741" y="1092"/>
                  </a:cubicBezTo>
                  <a:cubicBezTo>
                    <a:pt x="1741" y="1092"/>
                    <a:pt x="1741" y="1092"/>
                    <a:pt x="1741" y="1092"/>
                  </a:cubicBezTo>
                  <a:close/>
                  <a:moveTo>
                    <a:pt x="1690" y="1070"/>
                  </a:moveTo>
                  <a:cubicBezTo>
                    <a:pt x="1683" y="1071"/>
                    <a:pt x="1680" y="1068"/>
                    <a:pt x="1681" y="1062"/>
                  </a:cubicBezTo>
                  <a:cubicBezTo>
                    <a:pt x="1683" y="1048"/>
                    <a:pt x="1697" y="1024"/>
                    <a:pt x="1716" y="1022"/>
                  </a:cubicBezTo>
                  <a:cubicBezTo>
                    <a:pt x="1731" y="1020"/>
                    <a:pt x="1747" y="1018"/>
                    <a:pt x="1760" y="1030"/>
                  </a:cubicBezTo>
                  <a:cubicBezTo>
                    <a:pt x="1771" y="1038"/>
                    <a:pt x="1775" y="1050"/>
                    <a:pt x="1778" y="1062"/>
                  </a:cubicBezTo>
                  <a:cubicBezTo>
                    <a:pt x="1780" y="1068"/>
                    <a:pt x="1775" y="1070"/>
                    <a:pt x="1769" y="1070"/>
                  </a:cubicBezTo>
                  <a:cubicBezTo>
                    <a:pt x="1756" y="1070"/>
                    <a:pt x="1742" y="1070"/>
                    <a:pt x="1729" y="1070"/>
                  </a:cubicBezTo>
                  <a:cubicBezTo>
                    <a:pt x="1729" y="1070"/>
                    <a:pt x="1729" y="1070"/>
                    <a:pt x="1729" y="1070"/>
                  </a:cubicBezTo>
                  <a:cubicBezTo>
                    <a:pt x="1716" y="1070"/>
                    <a:pt x="1703" y="1070"/>
                    <a:pt x="1690" y="1070"/>
                  </a:cubicBezTo>
                  <a:close/>
                  <a:moveTo>
                    <a:pt x="68" y="581"/>
                  </a:moveTo>
                  <a:cubicBezTo>
                    <a:pt x="68" y="573"/>
                    <a:pt x="70" y="568"/>
                    <a:pt x="80" y="569"/>
                  </a:cubicBezTo>
                  <a:cubicBezTo>
                    <a:pt x="90" y="570"/>
                    <a:pt x="101" y="570"/>
                    <a:pt x="111" y="569"/>
                  </a:cubicBezTo>
                  <a:cubicBezTo>
                    <a:pt x="120" y="569"/>
                    <a:pt x="120" y="563"/>
                    <a:pt x="120" y="556"/>
                  </a:cubicBezTo>
                  <a:cubicBezTo>
                    <a:pt x="120" y="549"/>
                    <a:pt x="119" y="544"/>
                    <a:pt x="111" y="544"/>
                  </a:cubicBezTo>
                  <a:cubicBezTo>
                    <a:pt x="104" y="544"/>
                    <a:pt x="97" y="544"/>
                    <a:pt x="91" y="544"/>
                  </a:cubicBezTo>
                  <a:cubicBezTo>
                    <a:pt x="66" y="544"/>
                    <a:pt x="65" y="543"/>
                    <a:pt x="68" y="518"/>
                  </a:cubicBezTo>
                  <a:cubicBezTo>
                    <a:pt x="69" y="504"/>
                    <a:pt x="83" y="487"/>
                    <a:pt x="99" y="489"/>
                  </a:cubicBezTo>
                  <a:cubicBezTo>
                    <a:pt x="103" y="489"/>
                    <a:pt x="107" y="489"/>
                    <a:pt x="110" y="488"/>
                  </a:cubicBezTo>
                  <a:cubicBezTo>
                    <a:pt x="118" y="487"/>
                    <a:pt x="123" y="479"/>
                    <a:pt x="123" y="471"/>
                  </a:cubicBezTo>
                  <a:cubicBezTo>
                    <a:pt x="123" y="461"/>
                    <a:pt x="116" y="462"/>
                    <a:pt x="109" y="460"/>
                  </a:cubicBezTo>
                  <a:cubicBezTo>
                    <a:pt x="100" y="458"/>
                    <a:pt x="92" y="460"/>
                    <a:pt x="84" y="460"/>
                  </a:cubicBezTo>
                  <a:cubicBezTo>
                    <a:pt x="68" y="461"/>
                    <a:pt x="56" y="469"/>
                    <a:pt x="47" y="480"/>
                  </a:cubicBezTo>
                  <a:cubicBezTo>
                    <a:pt x="34" y="493"/>
                    <a:pt x="32" y="511"/>
                    <a:pt x="32" y="529"/>
                  </a:cubicBezTo>
                  <a:cubicBezTo>
                    <a:pt x="32" y="544"/>
                    <a:pt x="32" y="544"/>
                    <a:pt x="17" y="544"/>
                  </a:cubicBezTo>
                  <a:cubicBezTo>
                    <a:pt x="4" y="543"/>
                    <a:pt x="0" y="548"/>
                    <a:pt x="4" y="561"/>
                  </a:cubicBezTo>
                  <a:cubicBezTo>
                    <a:pt x="6" y="569"/>
                    <a:pt x="13" y="568"/>
                    <a:pt x="19" y="569"/>
                  </a:cubicBezTo>
                  <a:cubicBezTo>
                    <a:pt x="32" y="571"/>
                    <a:pt x="32" y="571"/>
                    <a:pt x="32" y="584"/>
                  </a:cubicBezTo>
                  <a:cubicBezTo>
                    <a:pt x="32" y="624"/>
                    <a:pt x="32" y="664"/>
                    <a:pt x="32" y="704"/>
                  </a:cubicBezTo>
                  <a:cubicBezTo>
                    <a:pt x="32" y="731"/>
                    <a:pt x="32" y="730"/>
                    <a:pt x="57" y="731"/>
                  </a:cubicBezTo>
                  <a:cubicBezTo>
                    <a:pt x="66" y="731"/>
                    <a:pt x="68" y="727"/>
                    <a:pt x="68" y="720"/>
                  </a:cubicBezTo>
                  <a:cubicBezTo>
                    <a:pt x="68" y="697"/>
                    <a:pt x="68" y="674"/>
                    <a:pt x="68" y="651"/>
                  </a:cubicBezTo>
                  <a:cubicBezTo>
                    <a:pt x="68" y="628"/>
                    <a:pt x="68" y="605"/>
                    <a:pt x="68" y="581"/>
                  </a:cubicBezTo>
                  <a:close/>
                  <a:moveTo>
                    <a:pt x="278" y="1165"/>
                  </a:moveTo>
                  <a:cubicBezTo>
                    <a:pt x="278" y="1183"/>
                    <a:pt x="278" y="1183"/>
                    <a:pt x="296" y="1184"/>
                  </a:cubicBezTo>
                  <a:cubicBezTo>
                    <a:pt x="310" y="1184"/>
                    <a:pt x="310" y="1184"/>
                    <a:pt x="310" y="1169"/>
                  </a:cubicBezTo>
                  <a:cubicBezTo>
                    <a:pt x="310" y="1132"/>
                    <a:pt x="310" y="1095"/>
                    <a:pt x="310" y="1058"/>
                  </a:cubicBezTo>
                  <a:cubicBezTo>
                    <a:pt x="310" y="1052"/>
                    <a:pt x="312" y="1047"/>
                    <a:pt x="316" y="1042"/>
                  </a:cubicBezTo>
                  <a:cubicBezTo>
                    <a:pt x="324" y="1033"/>
                    <a:pt x="334" y="1027"/>
                    <a:pt x="345" y="1024"/>
                  </a:cubicBezTo>
                  <a:cubicBezTo>
                    <a:pt x="357" y="1020"/>
                    <a:pt x="371" y="1018"/>
                    <a:pt x="383" y="1028"/>
                  </a:cubicBezTo>
                  <a:cubicBezTo>
                    <a:pt x="397" y="1039"/>
                    <a:pt x="401" y="1054"/>
                    <a:pt x="401" y="1071"/>
                  </a:cubicBezTo>
                  <a:cubicBezTo>
                    <a:pt x="401" y="1102"/>
                    <a:pt x="401" y="1132"/>
                    <a:pt x="401" y="1163"/>
                  </a:cubicBezTo>
                  <a:cubicBezTo>
                    <a:pt x="401" y="1183"/>
                    <a:pt x="401" y="1182"/>
                    <a:pt x="420" y="1184"/>
                  </a:cubicBezTo>
                  <a:cubicBezTo>
                    <a:pt x="429" y="1185"/>
                    <a:pt x="433" y="1181"/>
                    <a:pt x="433" y="1173"/>
                  </a:cubicBezTo>
                  <a:cubicBezTo>
                    <a:pt x="432" y="1130"/>
                    <a:pt x="435" y="1087"/>
                    <a:pt x="431" y="1044"/>
                  </a:cubicBezTo>
                  <a:cubicBezTo>
                    <a:pt x="427" y="1014"/>
                    <a:pt x="404" y="996"/>
                    <a:pt x="376" y="994"/>
                  </a:cubicBezTo>
                  <a:cubicBezTo>
                    <a:pt x="353" y="992"/>
                    <a:pt x="333" y="1000"/>
                    <a:pt x="317" y="1017"/>
                  </a:cubicBezTo>
                  <a:cubicBezTo>
                    <a:pt x="312" y="1021"/>
                    <a:pt x="311" y="1019"/>
                    <a:pt x="309" y="1015"/>
                  </a:cubicBezTo>
                  <a:cubicBezTo>
                    <a:pt x="309" y="1013"/>
                    <a:pt x="308" y="1011"/>
                    <a:pt x="308" y="1008"/>
                  </a:cubicBezTo>
                  <a:cubicBezTo>
                    <a:pt x="306" y="1001"/>
                    <a:pt x="298" y="997"/>
                    <a:pt x="287" y="998"/>
                  </a:cubicBezTo>
                  <a:cubicBezTo>
                    <a:pt x="279" y="999"/>
                    <a:pt x="278" y="1004"/>
                    <a:pt x="278" y="1011"/>
                  </a:cubicBezTo>
                  <a:cubicBezTo>
                    <a:pt x="278" y="1037"/>
                    <a:pt x="278" y="1064"/>
                    <a:pt x="278" y="1091"/>
                  </a:cubicBezTo>
                  <a:cubicBezTo>
                    <a:pt x="278" y="1115"/>
                    <a:pt x="278" y="1140"/>
                    <a:pt x="278" y="1165"/>
                  </a:cubicBezTo>
                  <a:close/>
                  <a:moveTo>
                    <a:pt x="150" y="705"/>
                  </a:moveTo>
                  <a:cubicBezTo>
                    <a:pt x="150" y="734"/>
                    <a:pt x="145" y="730"/>
                    <a:pt x="176" y="731"/>
                  </a:cubicBezTo>
                  <a:cubicBezTo>
                    <a:pt x="185" y="731"/>
                    <a:pt x="187" y="727"/>
                    <a:pt x="187" y="719"/>
                  </a:cubicBezTo>
                  <a:cubicBezTo>
                    <a:pt x="187" y="685"/>
                    <a:pt x="187" y="651"/>
                    <a:pt x="187" y="618"/>
                  </a:cubicBezTo>
                  <a:cubicBezTo>
                    <a:pt x="187" y="597"/>
                    <a:pt x="204" y="578"/>
                    <a:pt x="225" y="574"/>
                  </a:cubicBezTo>
                  <a:cubicBezTo>
                    <a:pt x="232" y="572"/>
                    <a:pt x="240" y="574"/>
                    <a:pt x="247" y="575"/>
                  </a:cubicBezTo>
                  <a:cubicBezTo>
                    <a:pt x="257" y="576"/>
                    <a:pt x="261" y="572"/>
                    <a:pt x="265" y="564"/>
                  </a:cubicBezTo>
                  <a:cubicBezTo>
                    <a:pt x="269" y="556"/>
                    <a:pt x="267" y="542"/>
                    <a:pt x="261" y="540"/>
                  </a:cubicBezTo>
                  <a:cubicBezTo>
                    <a:pt x="253" y="538"/>
                    <a:pt x="244" y="534"/>
                    <a:pt x="237" y="536"/>
                  </a:cubicBezTo>
                  <a:cubicBezTo>
                    <a:pt x="228" y="537"/>
                    <a:pt x="217" y="537"/>
                    <a:pt x="209" y="544"/>
                  </a:cubicBezTo>
                  <a:cubicBezTo>
                    <a:pt x="204" y="549"/>
                    <a:pt x="198" y="553"/>
                    <a:pt x="194" y="558"/>
                  </a:cubicBezTo>
                  <a:cubicBezTo>
                    <a:pt x="192" y="561"/>
                    <a:pt x="189" y="563"/>
                    <a:pt x="185" y="562"/>
                  </a:cubicBezTo>
                  <a:cubicBezTo>
                    <a:pt x="182" y="561"/>
                    <a:pt x="182" y="558"/>
                    <a:pt x="182" y="556"/>
                  </a:cubicBezTo>
                  <a:cubicBezTo>
                    <a:pt x="180" y="539"/>
                    <a:pt x="179" y="539"/>
                    <a:pt x="162" y="539"/>
                  </a:cubicBezTo>
                  <a:cubicBezTo>
                    <a:pt x="151" y="539"/>
                    <a:pt x="150" y="540"/>
                    <a:pt x="150" y="551"/>
                  </a:cubicBezTo>
                  <a:cubicBezTo>
                    <a:pt x="150" y="579"/>
                    <a:pt x="150" y="607"/>
                    <a:pt x="150" y="635"/>
                  </a:cubicBezTo>
                  <a:cubicBezTo>
                    <a:pt x="150" y="658"/>
                    <a:pt x="149" y="682"/>
                    <a:pt x="150" y="705"/>
                  </a:cubicBezTo>
                  <a:close/>
                  <a:moveTo>
                    <a:pt x="1011" y="1049"/>
                  </a:moveTo>
                  <a:cubicBezTo>
                    <a:pt x="1011" y="1008"/>
                    <a:pt x="1011" y="966"/>
                    <a:pt x="1011" y="924"/>
                  </a:cubicBezTo>
                  <a:cubicBezTo>
                    <a:pt x="1011" y="913"/>
                    <a:pt x="1008" y="910"/>
                    <a:pt x="997" y="910"/>
                  </a:cubicBezTo>
                  <a:cubicBezTo>
                    <a:pt x="995" y="910"/>
                    <a:pt x="992" y="910"/>
                    <a:pt x="990" y="910"/>
                  </a:cubicBezTo>
                  <a:cubicBezTo>
                    <a:pt x="976" y="910"/>
                    <a:pt x="975" y="911"/>
                    <a:pt x="975" y="926"/>
                  </a:cubicBezTo>
                  <a:cubicBezTo>
                    <a:pt x="975" y="1006"/>
                    <a:pt x="975" y="1085"/>
                    <a:pt x="975" y="1165"/>
                  </a:cubicBezTo>
                  <a:cubicBezTo>
                    <a:pt x="975" y="1185"/>
                    <a:pt x="975" y="1185"/>
                    <a:pt x="994" y="1185"/>
                  </a:cubicBezTo>
                  <a:cubicBezTo>
                    <a:pt x="1009" y="1185"/>
                    <a:pt x="1011" y="1184"/>
                    <a:pt x="1011" y="1169"/>
                  </a:cubicBezTo>
                  <a:cubicBezTo>
                    <a:pt x="1011" y="1129"/>
                    <a:pt x="1011" y="1089"/>
                    <a:pt x="1011" y="1049"/>
                  </a:cubicBezTo>
                  <a:cubicBezTo>
                    <a:pt x="1011" y="1049"/>
                    <a:pt x="1011" y="1049"/>
                    <a:pt x="1011" y="1049"/>
                  </a:cubicBezTo>
                  <a:close/>
                  <a:moveTo>
                    <a:pt x="296" y="176"/>
                  </a:moveTo>
                  <a:cubicBezTo>
                    <a:pt x="296" y="201"/>
                    <a:pt x="296" y="226"/>
                    <a:pt x="296" y="251"/>
                  </a:cubicBezTo>
                  <a:cubicBezTo>
                    <a:pt x="295" y="276"/>
                    <a:pt x="296" y="274"/>
                    <a:pt x="318" y="274"/>
                  </a:cubicBezTo>
                  <a:cubicBezTo>
                    <a:pt x="330" y="274"/>
                    <a:pt x="331" y="274"/>
                    <a:pt x="331" y="260"/>
                  </a:cubicBezTo>
                  <a:cubicBezTo>
                    <a:pt x="331" y="232"/>
                    <a:pt x="331" y="204"/>
                    <a:pt x="331" y="176"/>
                  </a:cubicBezTo>
                  <a:cubicBezTo>
                    <a:pt x="331" y="165"/>
                    <a:pt x="331" y="155"/>
                    <a:pt x="337" y="145"/>
                  </a:cubicBezTo>
                  <a:cubicBezTo>
                    <a:pt x="349" y="123"/>
                    <a:pt x="359" y="117"/>
                    <a:pt x="377" y="118"/>
                  </a:cubicBezTo>
                  <a:cubicBezTo>
                    <a:pt x="383" y="118"/>
                    <a:pt x="389" y="119"/>
                    <a:pt x="395" y="120"/>
                  </a:cubicBezTo>
                  <a:cubicBezTo>
                    <a:pt x="401" y="120"/>
                    <a:pt x="407" y="118"/>
                    <a:pt x="408" y="112"/>
                  </a:cubicBezTo>
                  <a:cubicBezTo>
                    <a:pt x="409" y="103"/>
                    <a:pt x="415" y="93"/>
                    <a:pt x="407" y="85"/>
                  </a:cubicBezTo>
                  <a:cubicBezTo>
                    <a:pt x="406" y="84"/>
                    <a:pt x="404" y="84"/>
                    <a:pt x="402" y="84"/>
                  </a:cubicBezTo>
                  <a:cubicBezTo>
                    <a:pt x="376" y="78"/>
                    <a:pt x="353" y="82"/>
                    <a:pt x="337" y="106"/>
                  </a:cubicBezTo>
                  <a:cubicBezTo>
                    <a:pt x="336" y="108"/>
                    <a:pt x="335" y="110"/>
                    <a:pt x="333" y="109"/>
                  </a:cubicBezTo>
                  <a:cubicBezTo>
                    <a:pt x="331" y="109"/>
                    <a:pt x="330" y="107"/>
                    <a:pt x="330" y="105"/>
                  </a:cubicBezTo>
                  <a:cubicBezTo>
                    <a:pt x="329" y="101"/>
                    <a:pt x="329" y="97"/>
                    <a:pt x="328" y="94"/>
                  </a:cubicBezTo>
                  <a:cubicBezTo>
                    <a:pt x="325" y="85"/>
                    <a:pt x="318" y="82"/>
                    <a:pt x="303" y="84"/>
                  </a:cubicBezTo>
                  <a:cubicBezTo>
                    <a:pt x="297" y="84"/>
                    <a:pt x="295" y="86"/>
                    <a:pt x="295" y="92"/>
                  </a:cubicBezTo>
                  <a:cubicBezTo>
                    <a:pt x="296" y="120"/>
                    <a:pt x="295" y="148"/>
                    <a:pt x="295" y="176"/>
                  </a:cubicBezTo>
                  <a:cubicBezTo>
                    <a:pt x="296" y="176"/>
                    <a:pt x="296" y="176"/>
                    <a:pt x="296" y="176"/>
                  </a:cubicBezTo>
                  <a:close/>
                  <a:moveTo>
                    <a:pt x="946" y="179"/>
                  </a:moveTo>
                  <a:cubicBezTo>
                    <a:pt x="946" y="197"/>
                    <a:pt x="946" y="215"/>
                    <a:pt x="946" y="234"/>
                  </a:cubicBezTo>
                  <a:cubicBezTo>
                    <a:pt x="946" y="248"/>
                    <a:pt x="951" y="260"/>
                    <a:pt x="963" y="268"/>
                  </a:cubicBezTo>
                  <a:cubicBezTo>
                    <a:pt x="982" y="280"/>
                    <a:pt x="1011" y="277"/>
                    <a:pt x="1029" y="264"/>
                  </a:cubicBezTo>
                  <a:cubicBezTo>
                    <a:pt x="1036" y="259"/>
                    <a:pt x="1036" y="254"/>
                    <a:pt x="1032" y="248"/>
                  </a:cubicBezTo>
                  <a:cubicBezTo>
                    <a:pt x="1026" y="239"/>
                    <a:pt x="1020" y="238"/>
                    <a:pt x="1013" y="242"/>
                  </a:cubicBezTo>
                  <a:cubicBezTo>
                    <a:pt x="996" y="252"/>
                    <a:pt x="978" y="243"/>
                    <a:pt x="978" y="223"/>
                  </a:cubicBezTo>
                  <a:cubicBezTo>
                    <a:pt x="978" y="190"/>
                    <a:pt x="978" y="157"/>
                    <a:pt x="978" y="123"/>
                  </a:cubicBezTo>
                  <a:cubicBezTo>
                    <a:pt x="978" y="116"/>
                    <a:pt x="981" y="113"/>
                    <a:pt x="988" y="113"/>
                  </a:cubicBezTo>
                  <a:cubicBezTo>
                    <a:pt x="999" y="114"/>
                    <a:pt x="1011" y="113"/>
                    <a:pt x="1022" y="113"/>
                  </a:cubicBezTo>
                  <a:cubicBezTo>
                    <a:pt x="1028" y="113"/>
                    <a:pt x="1033" y="112"/>
                    <a:pt x="1033" y="104"/>
                  </a:cubicBezTo>
                  <a:cubicBezTo>
                    <a:pt x="1033" y="96"/>
                    <a:pt x="1032" y="90"/>
                    <a:pt x="1022" y="90"/>
                  </a:cubicBezTo>
                  <a:cubicBezTo>
                    <a:pt x="1011" y="90"/>
                    <a:pt x="1001" y="90"/>
                    <a:pt x="990" y="90"/>
                  </a:cubicBezTo>
                  <a:cubicBezTo>
                    <a:pt x="981" y="91"/>
                    <a:pt x="977" y="88"/>
                    <a:pt x="978" y="78"/>
                  </a:cubicBezTo>
                  <a:cubicBezTo>
                    <a:pt x="978" y="64"/>
                    <a:pt x="978" y="49"/>
                    <a:pt x="978" y="35"/>
                  </a:cubicBezTo>
                  <a:cubicBezTo>
                    <a:pt x="978" y="30"/>
                    <a:pt x="978" y="25"/>
                    <a:pt x="971" y="24"/>
                  </a:cubicBezTo>
                  <a:cubicBezTo>
                    <a:pt x="964" y="24"/>
                    <a:pt x="956" y="24"/>
                    <a:pt x="955" y="32"/>
                  </a:cubicBezTo>
                  <a:cubicBezTo>
                    <a:pt x="952" y="43"/>
                    <a:pt x="949" y="54"/>
                    <a:pt x="949" y="65"/>
                  </a:cubicBezTo>
                  <a:cubicBezTo>
                    <a:pt x="948" y="88"/>
                    <a:pt x="947" y="88"/>
                    <a:pt x="924" y="91"/>
                  </a:cubicBezTo>
                  <a:cubicBezTo>
                    <a:pt x="919" y="92"/>
                    <a:pt x="914" y="92"/>
                    <a:pt x="914" y="99"/>
                  </a:cubicBezTo>
                  <a:cubicBezTo>
                    <a:pt x="915" y="107"/>
                    <a:pt x="917" y="113"/>
                    <a:pt x="926" y="113"/>
                  </a:cubicBezTo>
                  <a:cubicBezTo>
                    <a:pt x="929" y="114"/>
                    <a:pt x="932" y="113"/>
                    <a:pt x="935" y="113"/>
                  </a:cubicBezTo>
                  <a:cubicBezTo>
                    <a:pt x="943" y="113"/>
                    <a:pt x="946" y="116"/>
                    <a:pt x="946" y="124"/>
                  </a:cubicBezTo>
                  <a:cubicBezTo>
                    <a:pt x="946" y="142"/>
                    <a:pt x="946" y="161"/>
                    <a:pt x="946" y="179"/>
                  </a:cubicBezTo>
                  <a:cubicBezTo>
                    <a:pt x="946" y="179"/>
                    <a:pt x="946" y="179"/>
                    <a:pt x="946" y="179"/>
                  </a:cubicBezTo>
                  <a:close/>
                </a:path>
              </a:pathLst>
            </a:custGeom>
            <a:solidFill>
              <a:srgbClr val="4C505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grpSp>
          <p:nvGrpSpPr>
            <p:cNvPr id="18" name="Group 4">
              <a:extLst>
                <a:ext uri="{FF2B5EF4-FFF2-40B4-BE49-F238E27FC236}">
                  <a16:creationId xmlns:a16="http://schemas.microsoft.com/office/drawing/2014/main" id="{57BD2C4C-DC67-B843-B26C-309622FC75F7}"/>
                </a:ext>
              </a:extLst>
            </p:cNvPr>
            <p:cNvGrpSpPr>
              <a:grpSpLocks noChangeAspect="1"/>
            </p:cNvGrpSpPr>
            <p:nvPr/>
          </p:nvGrpSpPr>
          <p:grpSpPr bwMode="gray">
            <a:xfrm>
              <a:off x="334963" y="296652"/>
              <a:ext cx="538094" cy="540000"/>
              <a:chOff x="2711" y="1027"/>
              <a:chExt cx="2258" cy="2266"/>
            </a:xfrm>
          </p:grpSpPr>
          <p:sp>
            <p:nvSpPr>
              <p:cNvPr id="19" name="AutoShape 3">
                <a:extLst>
                  <a:ext uri="{FF2B5EF4-FFF2-40B4-BE49-F238E27FC236}">
                    <a16:creationId xmlns:a16="http://schemas.microsoft.com/office/drawing/2014/main" id="{FE1DC41B-291E-574C-9F2C-874E70A40758}"/>
                  </a:ext>
                </a:extLst>
              </p:cNvPr>
              <p:cNvSpPr>
                <a:spLocks noChangeAspect="1" noChangeArrowheads="1" noTextEdit="1"/>
              </p:cNvSpPr>
              <p:nvPr/>
            </p:nvSpPr>
            <p:spPr bwMode="gray">
              <a:xfrm>
                <a:off x="2711" y="1027"/>
                <a:ext cx="2258" cy="22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sp>
            <p:nvSpPr>
              <p:cNvPr id="20" name="Freeform 5">
                <a:extLst>
                  <a:ext uri="{FF2B5EF4-FFF2-40B4-BE49-F238E27FC236}">
                    <a16:creationId xmlns:a16="http://schemas.microsoft.com/office/drawing/2014/main" id="{D4B633C8-F761-C54B-9BD2-EB59D49A2DBC}"/>
                  </a:ext>
                </a:extLst>
              </p:cNvPr>
              <p:cNvSpPr>
                <a:spLocks/>
              </p:cNvSpPr>
              <p:nvPr/>
            </p:nvSpPr>
            <p:spPr bwMode="gray">
              <a:xfrm>
                <a:off x="2709" y="1029"/>
                <a:ext cx="2260" cy="2262"/>
              </a:xfrm>
              <a:custGeom>
                <a:avLst/>
                <a:gdLst>
                  <a:gd name="T0" fmla="*/ 2260 w 2260"/>
                  <a:gd name="T1" fmla="*/ 0 h 2262"/>
                  <a:gd name="T2" fmla="*/ 1612 w 2260"/>
                  <a:gd name="T3" fmla="*/ 649 h 2262"/>
                  <a:gd name="T4" fmla="*/ 1612 w 2260"/>
                  <a:gd name="T5" fmla="*/ 649 h 2262"/>
                  <a:gd name="T6" fmla="*/ 2035 w 2260"/>
                  <a:gd name="T7" fmla="*/ 0 h 2262"/>
                  <a:gd name="T8" fmla="*/ 0 w 2260"/>
                  <a:gd name="T9" fmla="*/ 0 h 2262"/>
                  <a:gd name="T10" fmla="*/ 0 w 2260"/>
                  <a:gd name="T11" fmla="*/ 2262 h 2262"/>
                  <a:gd name="T12" fmla="*/ 2260 w 2260"/>
                  <a:gd name="T13" fmla="*/ 2262 h 2262"/>
                  <a:gd name="T14" fmla="*/ 2260 w 2260"/>
                  <a:gd name="T15" fmla="*/ 0 h 2262"/>
                  <a:gd name="T16" fmla="*/ 2260 w 2260"/>
                  <a:gd name="T17" fmla="*/ 0 h 2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0" h="2262">
                    <a:moveTo>
                      <a:pt x="2260" y="0"/>
                    </a:moveTo>
                    <a:lnTo>
                      <a:pt x="1612" y="649"/>
                    </a:lnTo>
                    <a:lnTo>
                      <a:pt x="1612" y="649"/>
                    </a:lnTo>
                    <a:lnTo>
                      <a:pt x="2035" y="0"/>
                    </a:lnTo>
                    <a:lnTo>
                      <a:pt x="0" y="0"/>
                    </a:lnTo>
                    <a:lnTo>
                      <a:pt x="0" y="2262"/>
                    </a:lnTo>
                    <a:lnTo>
                      <a:pt x="2260" y="2262"/>
                    </a:lnTo>
                    <a:lnTo>
                      <a:pt x="2260" y="0"/>
                    </a:lnTo>
                    <a:lnTo>
                      <a:pt x="2260" y="0"/>
                    </a:lnTo>
                    <a:close/>
                  </a:path>
                </a:pathLst>
              </a:custGeom>
              <a:solidFill>
                <a:srgbClr val="E55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sp>
            <p:nvSpPr>
              <p:cNvPr id="21" name="Freeform 6">
                <a:extLst>
                  <a:ext uri="{FF2B5EF4-FFF2-40B4-BE49-F238E27FC236}">
                    <a16:creationId xmlns:a16="http://schemas.microsoft.com/office/drawing/2014/main" id="{B16BAAE4-1A41-C843-9754-490F7A1E1270}"/>
                  </a:ext>
                </a:extLst>
              </p:cNvPr>
              <p:cNvSpPr>
                <a:spLocks noEditPoints="1"/>
              </p:cNvSpPr>
              <p:nvPr/>
            </p:nvSpPr>
            <p:spPr bwMode="gray">
              <a:xfrm>
                <a:off x="3623" y="1696"/>
                <a:ext cx="1167" cy="922"/>
              </a:xfrm>
              <a:custGeom>
                <a:avLst/>
                <a:gdLst>
                  <a:gd name="T0" fmla="*/ 411 w 580"/>
                  <a:gd name="T1" fmla="*/ 213 h 458"/>
                  <a:gd name="T2" fmla="*/ 570 w 580"/>
                  <a:gd name="T3" fmla="*/ 37 h 458"/>
                  <a:gd name="T4" fmla="*/ 580 w 580"/>
                  <a:gd name="T5" fmla="*/ 20 h 458"/>
                  <a:gd name="T6" fmla="*/ 545 w 580"/>
                  <a:gd name="T7" fmla="*/ 0 h 458"/>
                  <a:gd name="T8" fmla="*/ 519 w 580"/>
                  <a:gd name="T9" fmla="*/ 16 h 458"/>
                  <a:gd name="T10" fmla="*/ 344 w 580"/>
                  <a:gd name="T11" fmla="*/ 210 h 458"/>
                  <a:gd name="T12" fmla="*/ 334 w 580"/>
                  <a:gd name="T13" fmla="*/ 229 h 458"/>
                  <a:gd name="T14" fmla="*/ 344 w 580"/>
                  <a:gd name="T15" fmla="*/ 248 h 458"/>
                  <a:gd name="T16" fmla="*/ 519 w 580"/>
                  <a:gd name="T17" fmla="*/ 442 h 458"/>
                  <a:gd name="T18" fmla="*/ 545 w 580"/>
                  <a:gd name="T19" fmla="*/ 458 h 458"/>
                  <a:gd name="T20" fmla="*/ 580 w 580"/>
                  <a:gd name="T21" fmla="*/ 438 h 458"/>
                  <a:gd name="T22" fmla="*/ 570 w 580"/>
                  <a:gd name="T23" fmla="*/ 421 h 458"/>
                  <a:gd name="T24" fmla="*/ 411 w 580"/>
                  <a:gd name="T25" fmla="*/ 245 h 458"/>
                  <a:gd name="T26" fmla="*/ 399 w 580"/>
                  <a:gd name="T27" fmla="*/ 229 h 458"/>
                  <a:gd name="T28" fmla="*/ 411 w 580"/>
                  <a:gd name="T29" fmla="*/ 213 h 458"/>
                  <a:gd name="T30" fmla="*/ 252 w 580"/>
                  <a:gd name="T31" fmla="*/ 439 h 458"/>
                  <a:gd name="T32" fmla="*/ 281 w 580"/>
                  <a:gd name="T33" fmla="*/ 454 h 458"/>
                  <a:gd name="T34" fmla="*/ 309 w 580"/>
                  <a:gd name="T35" fmla="*/ 439 h 458"/>
                  <a:gd name="T36" fmla="*/ 309 w 580"/>
                  <a:gd name="T37" fmla="*/ 19 h 458"/>
                  <a:gd name="T38" fmla="*/ 281 w 580"/>
                  <a:gd name="T39" fmla="*/ 4 h 458"/>
                  <a:gd name="T40" fmla="*/ 252 w 580"/>
                  <a:gd name="T41" fmla="*/ 19 h 458"/>
                  <a:gd name="T42" fmla="*/ 252 w 580"/>
                  <a:gd name="T43" fmla="*/ 439 h 458"/>
                  <a:gd name="T44" fmla="*/ 0 w 580"/>
                  <a:gd name="T45" fmla="*/ 439 h 458"/>
                  <a:gd name="T46" fmla="*/ 28 w 580"/>
                  <a:gd name="T47" fmla="*/ 454 h 458"/>
                  <a:gd name="T48" fmla="*/ 56 w 580"/>
                  <a:gd name="T49" fmla="*/ 439 h 458"/>
                  <a:gd name="T50" fmla="*/ 56 w 580"/>
                  <a:gd name="T51" fmla="*/ 157 h 458"/>
                  <a:gd name="T52" fmla="*/ 165 w 580"/>
                  <a:gd name="T53" fmla="*/ 53 h 458"/>
                  <a:gd name="T54" fmla="*/ 180 w 580"/>
                  <a:gd name="T55" fmla="*/ 53 h 458"/>
                  <a:gd name="T56" fmla="*/ 196 w 580"/>
                  <a:gd name="T57" fmla="*/ 27 h 458"/>
                  <a:gd name="T58" fmla="*/ 154 w 580"/>
                  <a:gd name="T59" fmla="*/ 4 h 458"/>
                  <a:gd name="T60" fmla="*/ 0 w 580"/>
                  <a:gd name="T61" fmla="*/ 152 h 458"/>
                  <a:gd name="T62" fmla="*/ 0 w 580"/>
                  <a:gd name="T63" fmla="*/ 439 h 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80" h="458">
                    <a:moveTo>
                      <a:pt x="411" y="213"/>
                    </a:moveTo>
                    <a:cubicBezTo>
                      <a:pt x="570" y="37"/>
                      <a:pt x="570" y="37"/>
                      <a:pt x="570" y="37"/>
                    </a:cubicBezTo>
                    <a:cubicBezTo>
                      <a:pt x="576" y="30"/>
                      <a:pt x="580" y="25"/>
                      <a:pt x="580" y="20"/>
                    </a:cubicBezTo>
                    <a:cubicBezTo>
                      <a:pt x="580" y="10"/>
                      <a:pt x="559" y="0"/>
                      <a:pt x="545" y="0"/>
                    </a:cubicBezTo>
                    <a:cubicBezTo>
                      <a:pt x="535" y="0"/>
                      <a:pt x="526" y="8"/>
                      <a:pt x="519" y="16"/>
                    </a:cubicBezTo>
                    <a:cubicBezTo>
                      <a:pt x="344" y="210"/>
                      <a:pt x="344" y="210"/>
                      <a:pt x="344" y="210"/>
                    </a:cubicBezTo>
                    <a:cubicBezTo>
                      <a:pt x="336" y="219"/>
                      <a:pt x="334" y="224"/>
                      <a:pt x="334" y="229"/>
                    </a:cubicBezTo>
                    <a:cubicBezTo>
                      <a:pt x="334" y="234"/>
                      <a:pt x="336" y="239"/>
                      <a:pt x="344" y="248"/>
                    </a:cubicBezTo>
                    <a:cubicBezTo>
                      <a:pt x="519" y="442"/>
                      <a:pt x="519" y="442"/>
                      <a:pt x="519" y="442"/>
                    </a:cubicBezTo>
                    <a:cubicBezTo>
                      <a:pt x="526" y="450"/>
                      <a:pt x="535" y="458"/>
                      <a:pt x="545" y="458"/>
                    </a:cubicBezTo>
                    <a:cubicBezTo>
                      <a:pt x="559" y="458"/>
                      <a:pt x="580" y="448"/>
                      <a:pt x="580" y="438"/>
                    </a:cubicBezTo>
                    <a:cubicBezTo>
                      <a:pt x="580" y="433"/>
                      <a:pt x="576" y="428"/>
                      <a:pt x="570" y="421"/>
                    </a:cubicBezTo>
                    <a:cubicBezTo>
                      <a:pt x="411" y="245"/>
                      <a:pt x="411" y="245"/>
                      <a:pt x="411" y="245"/>
                    </a:cubicBezTo>
                    <a:cubicBezTo>
                      <a:pt x="403" y="236"/>
                      <a:pt x="399" y="232"/>
                      <a:pt x="399" y="229"/>
                    </a:cubicBezTo>
                    <a:cubicBezTo>
                      <a:pt x="399" y="226"/>
                      <a:pt x="403" y="222"/>
                      <a:pt x="411" y="213"/>
                    </a:cubicBezTo>
                    <a:moveTo>
                      <a:pt x="252" y="439"/>
                    </a:moveTo>
                    <a:cubicBezTo>
                      <a:pt x="252" y="449"/>
                      <a:pt x="261" y="454"/>
                      <a:pt x="281" y="454"/>
                    </a:cubicBezTo>
                    <a:cubicBezTo>
                      <a:pt x="300" y="454"/>
                      <a:pt x="309" y="449"/>
                      <a:pt x="309" y="439"/>
                    </a:cubicBezTo>
                    <a:cubicBezTo>
                      <a:pt x="309" y="19"/>
                      <a:pt x="309" y="19"/>
                      <a:pt x="309" y="19"/>
                    </a:cubicBezTo>
                    <a:cubicBezTo>
                      <a:pt x="309" y="9"/>
                      <a:pt x="300" y="4"/>
                      <a:pt x="281" y="4"/>
                    </a:cubicBezTo>
                    <a:cubicBezTo>
                      <a:pt x="261" y="4"/>
                      <a:pt x="252" y="9"/>
                      <a:pt x="252" y="19"/>
                    </a:cubicBezTo>
                    <a:lnTo>
                      <a:pt x="252" y="439"/>
                    </a:lnTo>
                    <a:close/>
                    <a:moveTo>
                      <a:pt x="0" y="439"/>
                    </a:moveTo>
                    <a:cubicBezTo>
                      <a:pt x="0" y="449"/>
                      <a:pt x="8" y="454"/>
                      <a:pt x="28" y="454"/>
                    </a:cubicBezTo>
                    <a:cubicBezTo>
                      <a:pt x="48" y="454"/>
                      <a:pt x="56" y="449"/>
                      <a:pt x="56" y="439"/>
                    </a:cubicBezTo>
                    <a:cubicBezTo>
                      <a:pt x="56" y="157"/>
                      <a:pt x="56" y="157"/>
                      <a:pt x="56" y="157"/>
                    </a:cubicBezTo>
                    <a:cubicBezTo>
                      <a:pt x="56" y="83"/>
                      <a:pt x="85" y="53"/>
                      <a:pt x="165" y="53"/>
                    </a:cubicBezTo>
                    <a:cubicBezTo>
                      <a:pt x="180" y="53"/>
                      <a:pt x="180" y="53"/>
                      <a:pt x="180" y="53"/>
                    </a:cubicBezTo>
                    <a:cubicBezTo>
                      <a:pt x="192" y="53"/>
                      <a:pt x="196" y="43"/>
                      <a:pt x="196" y="27"/>
                    </a:cubicBezTo>
                    <a:cubicBezTo>
                      <a:pt x="196" y="8"/>
                      <a:pt x="185" y="4"/>
                      <a:pt x="154" y="4"/>
                    </a:cubicBezTo>
                    <a:cubicBezTo>
                      <a:pt x="64" y="4"/>
                      <a:pt x="0" y="43"/>
                      <a:pt x="0" y="152"/>
                    </a:cubicBezTo>
                    <a:lnTo>
                      <a:pt x="0" y="43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sp>
            <p:nvSpPr>
              <p:cNvPr id="22" name="Freeform 7">
                <a:extLst>
                  <a:ext uri="{FF2B5EF4-FFF2-40B4-BE49-F238E27FC236}">
                    <a16:creationId xmlns:a16="http://schemas.microsoft.com/office/drawing/2014/main" id="{2F32DCBD-8628-F245-85CD-97686A20ECFD}"/>
                  </a:ext>
                </a:extLst>
              </p:cNvPr>
              <p:cNvSpPr>
                <a:spLocks/>
              </p:cNvSpPr>
              <p:nvPr/>
            </p:nvSpPr>
            <p:spPr bwMode="gray">
              <a:xfrm>
                <a:off x="2880" y="1704"/>
                <a:ext cx="618" cy="916"/>
              </a:xfrm>
              <a:custGeom>
                <a:avLst/>
                <a:gdLst>
                  <a:gd name="T0" fmla="*/ 307 w 307"/>
                  <a:gd name="T1" fmla="*/ 405 h 455"/>
                  <a:gd name="T2" fmla="*/ 307 w 307"/>
                  <a:gd name="T3" fmla="*/ 244 h 455"/>
                  <a:gd name="T4" fmla="*/ 279 w 307"/>
                  <a:gd name="T5" fmla="*/ 229 h 455"/>
                  <a:gd name="T6" fmla="*/ 250 w 307"/>
                  <a:gd name="T7" fmla="*/ 244 h 455"/>
                  <a:gd name="T8" fmla="*/ 250 w 307"/>
                  <a:gd name="T9" fmla="*/ 378 h 455"/>
                  <a:gd name="T10" fmla="*/ 199 w 307"/>
                  <a:gd name="T11" fmla="*/ 408 h 455"/>
                  <a:gd name="T12" fmla="*/ 61 w 307"/>
                  <a:gd name="T13" fmla="*/ 231 h 455"/>
                  <a:gd name="T14" fmla="*/ 238 w 307"/>
                  <a:gd name="T15" fmla="*/ 49 h 455"/>
                  <a:gd name="T16" fmla="*/ 270 w 307"/>
                  <a:gd name="T17" fmla="*/ 49 h 455"/>
                  <a:gd name="T18" fmla="*/ 286 w 307"/>
                  <a:gd name="T19" fmla="*/ 23 h 455"/>
                  <a:gd name="T20" fmla="*/ 244 w 307"/>
                  <a:gd name="T21" fmla="*/ 0 h 455"/>
                  <a:gd name="T22" fmla="*/ 231 w 307"/>
                  <a:gd name="T23" fmla="*/ 0 h 455"/>
                  <a:gd name="T24" fmla="*/ 0 w 307"/>
                  <a:gd name="T25" fmla="*/ 232 h 455"/>
                  <a:gd name="T26" fmla="*/ 198 w 307"/>
                  <a:gd name="T27" fmla="*/ 455 h 455"/>
                  <a:gd name="T28" fmla="*/ 307 w 307"/>
                  <a:gd name="T29" fmla="*/ 405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7" h="455">
                    <a:moveTo>
                      <a:pt x="307" y="405"/>
                    </a:moveTo>
                    <a:cubicBezTo>
                      <a:pt x="307" y="244"/>
                      <a:pt x="307" y="244"/>
                      <a:pt x="307" y="244"/>
                    </a:cubicBezTo>
                    <a:cubicBezTo>
                      <a:pt x="307" y="234"/>
                      <a:pt x="298" y="229"/>
                      <a:pt x="279" y="229"/>
                    </a:cubicBezTo>
                    <a:cubicBezTo>
                      <a:pt x="259" y="229"/>
                      <a:pt x="250" y="234"/>
                      <a:pt x="250" y="244"/>
                    </a:cubicBezTo>
                    <a:cubicBezTo>
                      <a:pt x="250" y="378"/>
                      <a:pt x="250" y="378"/>
                      <a:pt x="250" y="378"/>
                    </a:cubicBezTo>
                    <a:cubicBezTo>
                      <a:pt x="250" y="399"/>
                      <a:pt x="241" y="408"/>
                      <a:pt x="199" y="408"/>
                    </a:cubicBezTo>
                    <a:cubicBezTo>
                      <a:pt x="114" y="408"/>
                      <a:pt x="61" y="342"/>
                      <a:pt x="61" y="231"/>
                    </a:cubicBezTo>
                    <a:cubicBezTo>
                      <a:pt x="61" y="115"/>
                      <a:pt x="126" y="49"/>
                      <a:pt x="238" y="49"/>
                    </a:cubicBezTo>
                    <a:cubicBezTo>
                      <a:pt x="270" y="49"/>
                      <a:pt x="270" y="49"/>
                      <a:pt x="270" y="49"/>
                    </a:cubicBezTo>
                    <a:cubicBezTo>
                      <a:pt x="282" y="49"/>
                      <a:pt x="286" y="39"/>
                      <a:pt x="286" y="23"/>
                    </a:cubicBezTo>
                    <a:cubicBezTo>
                      <a:pt x="286" y="4"/>
                      <a:pt x="275" y="0"/>
                      <a:pt x="244" y="0"/>
                    </a:cubicBezTo>
                    <a:cubicBezTo>
                      <a:pt x="231" y="0"/>
                      <a:pt x="231" y="0"/>
                      <a:pt x="231" y="0"/>
                    </a:cubicBezTo>
                    <a:cubicBezTo>
                      <a:pt x="101" y="0"/>
                      <a:pt x="0" y="71"/>
                      <a:pt x="0" y="232"/>
                    </a:cubicBezTo>
                    <a:cubicBezTo>
                      <a:pt x="0" y="386"/>
                      <a:pt x="88" y="455"/>
                      <a:pt x="198" y="455"/>
                    </a:cubicBezTo>
                    <a:cubicBezTo>
                      <a:pt x="286" y="455"/>
                      <a:pt x="307" y="430"/>
                      <a:pt x="307" y="40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sp>
            <p:nvSpPr>
              <p:cNvPr id="23" name="Oval 8">
                <a:extLst>
                  <a:ext uri="{FF2B5EF4-FFF2-40B4-BE49-F238E27FC236}">
                    <a16:creationId xmlns:a16="http://schemas.microsoft.com/office/drawing/2014/main" id="{60D97C11-1A3B-5449-A48D-98A3E79B3810}"/>
                  </a:ext>
                </a:extLst>
              </p:cNvPr>
              <p:cNvSpPr>
                <a:spLocks noChangeArrowheads="1"/>
              </p:cNvSpPr>
              <p:nvPr/>
            </p:nvSpPr>
            <p:spPr bwMode="gray">
              <a:xfrm>
                <a:off x="3778" y="2099"/>
                <a:ext cx="122" cy="12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sp>
            <p:nvSpPr>
              <p:cNvPr id="24" name="Freeform 9">
                <a:extLst>
                  <a:ext uri="{FF2B5EF4-FFF2-40B4-BE49-F238E27FC236}">
                    <a16:creationId xmlns:a16="http://schemas.microsoft.com/office/drawing/2014/main" id="{5856770D-B8F0-244E-A05D-AED190086F10}"/>
                  </a:ext>
                </a:extLst>
              </p:cNvPr>
              <p:cNvSpPr>
                <a:spLocks noEditPoints="1"/>
              </p:cNvSpPr>
              <p:nvPr/>
            </p:nvSpPr>
            <p:spPr bwMode="gray">
              <a:xfrm>
                <a:off x="3623" y="1696"/>
                <a:ext cx="1167" cy="922"/>
              </a:xfrm>
              <a:custGeom>
                <a:avLst/>
                <a:gdLst>
                  <a:gd name="T0" fmla="*/ 411 w 580"/>
                  <a:gd name="T1" fmla="*/ 213 h 458"/>
                  <a:gd name="T2" fmla="*/ 570 w 580"/>
                  <a:gd name="T3" fmla="*/ 37 h 458"/>
                  <a:gd name="T4" fmla="*/ 580 w 580"/>
                  <a:gd name="T5" fmla="*/ 20 h 458"/>
                  <a:gd name="T6" fmla="*/ 545 w 580"/>
                  <a:gd name="T7" fmla="*/ 0 h 458"/>
                  <a:gd name="T8" fmla="*/ 519 w 580"/>
                  <a:gd name="T9" fmla="*/ 16 h 458"/>
                  <a:gd name="T10" fmla="*/ 344 w 580"/>
                  <a:gd name="T11" fmla="*/ 210 h 458"/>
                  <a:gd name="T12" fmla="*/ 334 w 580"/>
                  <a:gd name="T13" fmla="*/ 229 h 458"/>
                  <a:gd name="T14" fmla="*/ 344 w 580"/>
                  <a:gd name="T15" fmla="*/ 248 h 458"/>
                  <a:gd name="T16" fmla="*/ 519 w 580"/>
                  <a:gd name="T17" fmla="*/ 442 h 458"/>
                  <a:gd name="T18" fmla="*/ 545 w 580"/>
                  <a:gd name="T19" fmla="*/ 458 h 458"/>
                  <a:gd name="T20" fmla="*/ 580 w 580"/>
                  <a:gd name="T21" fmla="*/ 438 h 458"/>
                  <a:gd name="T22" fmla="*/ 570 w 580"/>
                  <a:gd name="T23" fmla="*/ 421 h 458"/>
                  <a:gd name="T24" fmla="*/ 411 w 580"/>
                  <a:gd name="T25" fmla="*/ 245 h 458"/>
                  <a:gd name="T26" fmla="*/ 399 w 580"/>
                  <a:gd name="T27" fmla="*/ 229 h 458"/>
                  <a:gd name="T28" fmla="*/ 411 w 580"/>
                  <a:gd name="T29" fmla="*/ 213 h 458"/>
                  <a:gd name="T30" fmla="*/ 252 w 580"/>
                  <a:gd name="T31" fmla="*/ 439 h 458"/>
                  <a:gd name="T32" fmla="*/ 281 w 580"/>
                  <a:gd name="T33" fmla="*/ 454 h 458"/>
                  <a:gd name="T34" fmla="*/ 309 w 580"/>
                  <a:gd name="T35" fmla="*/ 439 h 458"/>
                  <a:gd name="T36" fmla="*/ 309 w 580"/>
                  <a:gd name="T37" fmla="*/ 19 h 458"/>
                  <a:gd name="T38" fmla="*/ 281 w 580"/>
                  <a:gd name="T39" fmla="*/ 4 h 458"/>
                  <a:gd name="T40" fmla="*/ 252 w 580"/>
                  <a:gd name="T41" fmla="*/ 19 h 458"/>
                  <a:gd name="T42" fmla="*/ 252 w 580"/>
                  <a:gd name="T43" fmla="*/ 439 h 458"/>
                  <a:gd name="T44" fmla="*/ 0 w 580"/>
                  <a:gd name="T45" fmla="*/ 439 h 458"/>
                  <a:gd name="T46" fmla="*/ 28 w 580"/>
                  <a:gd name="T47" fmla="*/ 454 h 458"/>
                  <a:gd name="T48" fmla="*/ 56 w 580"/>
                  <a:gd name="T49" fmla="*/ 439 h 458"/>
                  <a:gd name="T50" fmla="*/ 56 w 580"/>
                  <a:gd name="T51" fmla="*/ 157 h 458"/>
                  <a:gd name="T52" fmla="*/ 165 w 580"/>
                  <a:gd name="T53" fmla="*/ 53 h 458"/>
                  <a:gd name="T54" fmla="*/ 180 w 580"/>
                  <a:gd name="T55" fmla="*/ 53 h 458"/>
                  <a:gd name="T56" fmla="*/ 196 w 580"/>
                  <a:gd name="T57" fmla="*/ 27 h 458"/>
                  <a:gd name="T58" fmla="*/ 154 w 580"/>
                  <a:gd name="T59" fmla="*/ 4 h 458"/>
                  <a:gd name="T60" fmla="*/ 0 w 580"/>
                  <a:gd name="T61" fmla="*/ 152 h 458"/>
                  <a:gd name="T62" fmla="*/ 0 w 580"/>
                  <a:gd name="T63" fmla="*/ 439 h 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80" h="458">
                    <a:moveTo>
                      <a:pt x="411" y="213"/>
                    </a:moveTo>
                    <a:cubicBezTo>
                      <a:pt x="570" y="37"/>
                      <a:pt x="570" y="37"/>
                      <a:pt x="570" y="37"/>
                    </a:cubicBezTo>
                    <a:cubicBezTo>
                      <a:pt x="576" y="30"/>
                      <a:pt x="580" y="25"/>
                      <a:pt x="580" y="20"/>
                    </a:cubicBezTo>
                    <a:cubicBezTo>
                      <a:pt x="580" y="10"/>
                      <a:pt x="559" y="0"/>
                      <a:pt x="545" y="0"/>
                    </a:cubicBezTo>
                    <a:cubicBezTo>
                      <a:pt x="535" y="0"/>
                      <a:pt x="526" y="8"/>
                      <a:pt x="519" y="16"/>
                    </a:cubicBezTo>
                    <a:cubicBezTo>
                      <a:pt x="344" y="210"/>
                      <a:pt x="344" y="210"/>
                      <a:pt x="344" y="210"/>
                    </a:cubicBezTo>
                    <a:cubicBezTo>
                      <a:pt x="336" y="219"/>
                      <a:pt x="334" y="224"/>
                      <a:pt x="334" y="229"/>
                    </a:cubicBezTo>
                    <a:cubicBezTo>
                      <a:pt x="334" y="234"/>
                      <a:pt x="336" y="239"/>
                      <a:pt x="344" y="248"/>
                    </a:cubicBezTo>
                    <a:cubicBezTo>
                      <a:pt x="519" y="442"/>
                      <a:pt x="519" y="442"/>
                      <a:pt x="519" y="442"/>
                    </a:cubicBezTo>
                    <a:cubicBezTo>
                      <a:pt x="526" y="450"/>
                      <a:pt x="535" y="458"/>
                      <a:pt x="545" y="458"/>
                    </a:cubicBezTo>
                    <a:cubicBezTo>
                      <a:pt x="559" y="458"/>
                      <a:pt x="580" y="448"/>
                      <a:pt x="580" y="438"/>
                    </a:cubicBezTo>
                    <a:cubicBezTo>
                      <a:pt x="580" y="433"/>
                      <a:pt x="576" y="428"/>
                      <a:pt x="570" y="421"/>
                    </a:cubicBezTo>
                    <a:cubicBezTo>
                      <a:pt x="411" y="245"/>
                      <a:pt x="411" y="245"/>
                      <a:pt x="411" y="245"/>
                    </a:cubicBezTo>
                    <a:cubicBezTo>
                      <a:pt x="403" y="236"/>
                      <a:pt x="399" y="232"/>
                      <a:pt x="399" y="229"/>
                    </a:cubicBezTo>
                    <a:cubicBezTo>
                      <a:pt x="399" y="226"/>
                      <a:pt x="403" y="222"/>
                      <a:pt x="411" y="213"/>
                    </a:cubicBezTo>
                    <a:moveTo>
                      <a:pt x="252" y="439"/>
                    </a:moveTo>
                    <a:cubicBezTo>
                      <a:pt x="252" y="449"/>
                      <a:pt x="261" y="454"/>
                      <a:pt x="281" y="454"/>
                    </a:cubicBezTo>
                    <a:cubicBezTo>
                      <a:pt x="300" y="454"/>
                      <a:pt x="309" y="449"/>
                      <a:pt x="309" y="439"/>
                    </a:cubicBezTo>
                    <a:cubicBezTo>
                      <a:pt x="309" y="19"/>
                      <a:pt x="309" y="19"/>
                      <a:pt x="309" y="19"/>
                    </a:cubicBezTo>
                    <a:cubicBezTo>
                      <a:pt x="309" y="9"/>
                      <a:pt x="300" y="4"/>
                      <a:pt x="281" y="4"/>
                    </a:cubicBezTo>
                    <a:cubicBezTo>
                      <a:pt x="261" y="4"/>
                      <a:pt x="252" y="9"/>
                      <a:pt x="252" y="19"/>
                    </a:cubicBezTo>
                    <a:lnTo>
                      <a:pt x="252" y="439"/>
                    </a:lnTo>
                    <a:close/>
                    <a:moveTo>
                      <a:pt x="0" y="439"/>
                    </a:moveTo>
                    <a:cubicBezTo>
                      <a:pt x="0" y="449"/>
                      <a:pt x="8" y="454"/>
                      <a:pt x="28" y="454"/>
                    </a:cubicBezTo>
                    <a:cubicBezTo>
                      <a:pt x="48" y="454"/>
                      <a:pt x="56" y="449"/>
                      <a:pt x="56" y="439"/>
                    </a:cubicBezTo>
                    <a:cubicBezTo>
                      <a:pt x="56" y="157"/>
                      <a:pt x="56" y="157"/>
                      <a:pt x="56" y="157"/>
                    </a:cubicBezTo>
                    <a:cubicBezTo>
                      <a:pt x="56" y="83"/>
                      <a:pt x="85" y="53"/>
                      <a:pt x="165" y="53"/>
                    </a:cubicBezTo>
                    <a:cubicBezTo>
                      <a:pt x="180" y="53"/>
                      <a:pt x="180" y="53"/>
                      <a:pt x="180" y="53"/>
                    </a:cubicBezTo>
                    <a:cubicBezTo>
                      <a:pt x="192" y="53"/>
                      <a:pt x="196" y="43"/>
                      <a:pt x="196" y="27"/>
                    </a:cubicBezTo>
                    <a:cubicBezTo>
                      <a:pt x="196" y="8"/>
                      <a:pt x="185" y="4"/>
                      <a:pt x="154" y="4"/>
                    </a:cubicBezTo>
                    <a:cubicBezTo>
                      <a:pt x="64" y="4"/>
                      <a:pt x="0" y="43"/>
                      <a:pt x="0" y="152"/>
                    </a:cubicBezTo>
                    <a:lnTo>
                      <a:pt x="0" y="43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sp>
            <p:nvSpPr>
              <p:cNvPr id="25" name="Freeform 10">
                <a:extLst>
                  <a:ext uri="{FF2B5EF4-FFF2-40B4-BE49-F238E27FC236}">
                    <a16:creationId xmlns:a16="http://schemas.microsoft.com/office/drawing/2014/main" id="{2B91B16B-BC11-E547-8FAC-B9B8D18EA449}"/>
                  </a:ext>
                </a:extLst>
              </p:cNvPr>
              <p:cNvSpPr>
                <a:spLocks/>
              </p:cNvSpPr>
              <p:nvPr/>
            </p:nvSpPr>
            <p:spPr bwMode="gray">
              <a:xfrm>
                <a:off x="2880" y="1704"/>
                <a:ext cx="618" cy="916"/>
              </a:xfrm>
              <a:custGeom>
                <a:avLst/>
                <a:gdLst>
                  <a:gd name="T0" fmla="*/ 307 w 307"/>
                  <a:gd name="T1" fmla="*/ 405 h 455"/>
                  <a:gd name="T2" fmla="*/ 307 w 307"/>
                  <a:gd name="T3" fmla="*/ 244 h 455"/>
                  <a:gd name="T4" fmla="*/ 279 w 307"/>
                  <a:gd name="T5" fmla="*/ 229 h 455"/>
                  <a:gd name="T6" fmla="*/ 250 w 307"/>
                  <a:gd name="T7" fmla="*/ 244 h 455"/>
                  <a:gd name="T8" fmla="*/ 250 w 307"/>
                  <a:gd name="T9" fmla="*/ 378 h 455"/>
                  <a:gd name="T10" fmla="*/ 199 w 307"/>
                  <a:gd name="T11" fmla="*/ 408 h 455"/>
                  <a:gd name="T12" fmla="*/ 61 w 307"/>
                  <a:gd name="T13" fmla="*/ 231 h 455"/>
                  <a:gd name="T14" fmla="*/ 238 w 307"/>
                  <a:gd name="T15" fmla="*/ 49 h 455"/>
                  <a:gd name="T16" fmla="*/ 270 w 307"/>
                  <a:gd name="T17" fmla="*/ 49 h 455"/>
                  <a:gd name="T18" fmla="*/ 286 w 307"/>
                  <a:gd name="T19" fmla="*/ 23 h 455"/>
                  <a:gd name="T20" fmla="*/ 244 w 307"/>
                  <a:gd name="T21" fmla="*/ 0 h 455"/>
                  <a:gd name="T22" fmla="*/ 231 w 307"/>
                  <a:gd name="T23" fmla="*/ 0 h 455"/>
                  <a:gd name="T24" fmla="*/ 0 w 307"/>
                  <a:gd name="T25" fmla="*/ 232 h 455"/>
                  <a:gd name="T26" fmla="*/ 198 w 307"/>
                  <a:gd name="T27" fmla="*/ 455 h 455"/>
                  <a:gd name="T28" fmla="*/ 307 w 307"/>
                  <a:gd name="T29" fmla="*/ 405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7" h="455">
                    <a:moveTo>
                      <a:pt x="307" y="405"/>
                    </a:moveTo>
                    <a:cubicBezTo>
                      <a:pt x="307" y="244"/>
                      <a:pt x="307" y="244"/>
                      <a:pt x="307" y="244"/>
                    </a:cubicBezTo>
                    <a:cubicBezTo>
                      <a:pt x="307" y="234"/>
                      <a:pt x="298" y="229"/>
                      <a:pt x="279" y="229"/>
                    </a:cubicBezTo>
                    <a:cubicBezTo>
                      <a:pt x="259" y="229"/>
                      <a:pt x="250" y="234"/>
                      <a:pt x="250" y="244"/>
                    </a:cubicBezTo>
                    <a:cubicBezTo>
                      <a:pt x="250" y="378"/>
                      <a:pt x="250" y="378"/>
                      <a:pt x="250" y="378"/>
                    </a:cubicBezTo>
                    <a:cubicBezTo>
                      <a:pt x="250" y="399"/>
                      <a:pt x="241" y="408"/>
                      <a:pt x="199" y="408"/>
                    </a:cubicBezTo>
                    <a:cubicBezTo>
                      <a:pt x="114" y="408"/>
                      <a:pt x="61" y="342"/>
                      <a:pt x="61" y="231"/>
                    </a:cubicBezTo>
                    <a:cubicBezTo>
                      <a:pt x="61" y="115"/>
                      <a:pt x="126" y="49"/>
                      <a:pt x="238" y="49"/>
                    </a:cubicBezTo>
                    <a:cubicBezTo>
                      <a:pt x="270" y="49"/>
                      <a:pt x="270" y="49"/>
                      <a:pt x="270" y="49"/>
                    </a:cubicBezTo>
                    <a:cubicBezTo>
                      <a:pt x="282" y="49"/>
                      <a:pt x="286" y="39"/>
                      <a:pt x="286" y="23"/>
                    </a:cubicBezTo>
                    <a:cubicBezTo>
                      <a:pt x="286" y="4"/>
                      <a:pt x="275" y="0"/>
                      <a:pt x="244" y="0"/>
                    </a:cubicBezTo>
                    <a:cubicBezTo>
                      <a:pt x="231" y="0"/>
                      <a:pt x="231" y="0"/>
                      <a:pt x="231" y="0"/>
                    </a:cubicBezTo>
                    <a:cubicBezTo>
                      <a:pt x="101" y="0"/>
                      <a:pt x="0" y="71"/>
                      <a:pt x="0" y="232"/>
                    </a:cubicBezTo>
                    <a:cubicBezTo>
                      <a:pt x="0" y="386"/>
                      <a:pt x="88" y="455"/>
                      <a:pt x="198" y="455"/>
                    </a:cubicBezTo>
                    <a:cubicBezTo>
                      <a:pt x="286" y="455"/>
                      <a:pt x="307" y="430"/>
                      <a:pt x="307" y="40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sp>
            <p:nvSpPr>
              <p:cNvPr id="26" name="Oval 11">
                <a:extLst>
                  <a:ext uri="{FF2B5EF4-FFF2-40B4-BE49-F238E27FC236}">
                    <a16:creationId xmlns:a16="http://schemas.microsoft.com/office/drawing/2014/main" id="{14F8C3C8-4888-7646-B9B4-64EB46A1DA23}"/>
                  </a:ext>
                </a:extLst>
              </p:cNvPr>
              <p:cNvSpPr>
                <a:spLocks noChangeArrowheads="1"/>
              </p:cNvSpPr>
              <p:nvPr/>
            </p:nvSpPr>
            <p:spPr bwMode="gray">
              <a:xfrm>
                <a:off x="3778" y="2099"/>
                <a:ext cx="122" cy="12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sp>
            <p:nvSpPr>
              <p:cNvPr id="27" name="Freeform 12">
                <a:extLst>
                  <a:ext uri="{FF2B5EF4-FFF2-40B4-BE49-F238E27FC236}">
                    <a16:creationId xmlns:a16="http://schemas.microsoft.com/office/drawing/2014/main" id="{D79D01D1-4E3E-F34B-97D7-2D387E68746E}"/>
                  </a:ext>
                </a:extLst>
              </p:cNvPr>
              <p:cNvSpPr>
                <a:spLocks/>
              </p:cNvSpPr>
              <p:nvPr/>
            </p:nvSpPr>
            <p:spPr bwMode="gray">
              <a:xfrm>
                <a:off x="4321" y="1029"/>
                <a:ext cx="648" cy="649"/>
              </a:xfrm>
              <a:custGeom>
                <a:avLst/>
                <a:gdLst>
                  <a:gd name="T0" fmla="*/ 0 w 648"/>
                  <a:gd name="T1" fmla="*/ 649 h 649"/>
                  <a:gd name="T2" fmla="*/ 2 w 648"/>
                  <a:gd name="T3" fmla="*/ 649 h 649"/>
                  <a:gd name="T4" fmla="*/ 648 w 648"/>
                  <a:gd name="T5" fmla="*/ 0 h 649"/>
                  <a:gd name="T6" fmla="*/ 423 w 648"/>
                  <a:gd name="T7" fmla="*/ 0 h 649"/>
                  <a:gd name="T8" fmla="*/ 0 w 648"/>
                  <a:gd name="T9" fmla="*/ 649 h 649"/>
                </a:gdLst>
                <a:ahLst/>
                <a:cxnLst>
                  <a:cxn ang="0">
                    <a:pos x="T0" y="T1"/>
                  </a:cxn>
                  <a:cxn ang="0">
                    <a:pos x="T2" y="T3"/>
                  </a:cxn>
                  <a:cxn ang="0">
                    <a:pos x="T4" y="T5"/>
                  </a:cxn>
                  <a:cxn ang="0">
                    <a:pos x="T6" y="T7"/>
                  </a:cxn>
                  <a:cxn ang="0">
                    <a:pos x="T8" y="T9"/>
                  </a:cxn>
                </a:cxnLst>
                <a:rect l="0" t="0" r="r" b="b"/>
                <a:pathLst>
                  <a:path w="648" h="649">
                    <a:moveTo>
                      <a:pt x="0" y="649"/>
                    </a:moveTo>
                    <a:lnTo>
                      <a:pt x="2" y="649"/>
                    </a:lnTo>
                    <a:lnTo>
                      <a:pt x="648" y="0"/>
                    </a:lnTo>
                    <a:lnTo>
                      <a:pt x="423" y="0"/>
                    </a:lnTo>
                    <a:lnTo>
                      <a:pt x="0" y="64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sp>
            <p:nvSpPr>
              <p:cNvPr id="28" name="Freeform 13">
                <a:extLst>
                  <a:ext uri="{FF2B5EF4-FFF2-40B4-BE49-F238E27FC236}">
                    <a16:creationId xmlns:a16="http://schemas.microsoft.com/office/drawing/2014/main" id="{46549898-6C52-B147-A8F6-A73FDBE6163B}"/>
                  </a:ext>
                </a:extLst>
              </p:cNvPr>
              <p:cNvSpPr>
                <a:spLocks/>
              </p:cNvSpPr>
              <p:nvPr/>
            </p:nvSpPr>
            <p:spPr bwMode="gray">
              <a:xfrm>
                <a:off x="4321" y="1029"/>
                <a:ext cx="648" cy="649"/>
              </a:xfrm>
              <a:custGeom>
                <a:avLst/>
                <a:gdLst>
                  <a:gd name="T0" fmla="*/ 0 w 648"/>
                  <a:gd name="T1" fmla="*/ 649 h 649"/>
                  <a:gd name="T2" fmla="*/ 2 w 648"/>
                  <a:gd name="T3" fmla="*/ 649 h 649"/>
                  <a:gd name="T4" fmla="*/ 648 w 648"/>
                  <a:gd name="T5" fmla="*/ 0 h 649"/>
                  <a:gd name="T6" fmla="*/ 423 w 648"/>
                  <a:gd name="T7" fmla="*/ 0 h 649"/>
                  <a:gd name="T8" fmla="*/ 0 w 648"/>
                  <a:gd name="T9" fmla="*/ 649 h 649"/>
                </a:gdLst>
                <a:ahLst/>
                <a:cxnLst>
                  <a:cxn ang="0">
                    <a:pos x="T0" y="T1"/>
                  </a:cxn>
                  <a:cxn ang="0">
                    <a:pos x="T2" y="T3"/>
                  </a:cxn>
                  <a:cxn ang="0">
                    <a:pos x="T4" y="T5"/>
                  </a:cxn>
                  <a:cxn ang="0">
                    <a:pos x="T6" y="T7"/>
                  </a:cxn>
                  <a:cxn ang="0">
                    <a:pos x="T8" y="T9"/>
                  </a:cxn>
                </a:cxnLst>
                <a:rect l="0" t="0" r="r" b="b"/>
                <a:pathLst>
                  <a:path w="648" h="649">
                    <a:moveTo>
                      <a:pt x="0" y="649"/>
                    </a:moveTo>
                    <a:lnTo>
                      <a:pt x="2" y="649"/>
                    </a:lnTo>
                    <a:lnTo>
                      <a:pt x="648" y="0"/>
                    </a:lnTo>
                    <a:lnTo>
                      <a:pt x="423" y="0"/>
                    </a:lnTo>
                    <a:lnTo>
                      <a:pt x="0" y="64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grpSp>
      </p:grpSp>
      <p:sp>
        <p:nvSpPr>
          <p:cNvPr id="7" name="Date Placeholder 6"/>
          <p:cNvSpPr>
            <a:spLocks noGrp="1"/>
          </p:cNvSpPr>
          <p:nvPr>
            <p:ph type="dt" sz="half" idx="10"/>
          </p:nvPr>
        </p:nvSpPr>
        <p:spPr>
          <a:xfrm>
            <a:off x="0" y="0"/>
            <a:ext cx="0" cy="0"/>
          </a:xfrm>
          <a:prstGeom prst="rect">
            <a:avLst/>
          </a:prstGeom>
        </p:spPr>
        <p:txBody>
          <a:bodyPr/>
          <a:lstStyle>
            <a:lvl1pPr>
              <a:defRPr sz="100">
                <a:noFill/>
              </a:defRPr>
            </a:lvl1pPr>
          </a:lstStyle>
          <a:p>
            <a:fld id="{D76217CC-534C-41BF-930C-27B1184E95F2}" type="datetime5">
              <a:rPr lang="en-US" smtClean="0"/>
              <a:t>26-Jun-20</a:t>
            </a:fld>
            <a:endParaRPr lang="en-US" dirty="0"/>
          </a:p>
        </p:txBody>
      </p:sp>
      <p:sp>
        <p:nvSpPr>
          <p:cNvPr id="8" name="Footer Placeholder 7"/>
          <p:cNvSpPr>
            <a:spLocks noGrp="1"/>
          </p:cNvSpPr>
          <p:nvPr>
            <p:ph type="ftr" sz="quarter" idx="11"/>
          </p:nvPr>
        </p:nvSpPr>
        <p:spPr>
          <a:xfrm>
            <a:off x="0" y="0"/>
            <a:ext cx="0" cy="0"/>
          </a:xfrm>
          <a:prstGeom prst="rect">
            <a:avLst/>
          </a:prstGeom>
        </p:spPr>
        <p:txBody>
          <a:bodyPr/>
          <a:lstStyle>
            <a:lvl1pPr marL="0" indent="0">
              <a:buNone/>
              <a:defRPr sz="100">
                <a:noFill/>
              </a:defRPr>
            </a:lvl1pPr>
          </a:lstStyle>
          <a:p>
            <a:r>
              <a:rPr lang="en-US"/>
              <a:t>Title of presentation (Insert / Header &amp; Footer / Apply to All)</a:t>
            </a:r>
            <a:endParaRPr lang="en-US" dirty="0"/>
          </a:p>
        </p:txBody>
      </p:sp>
      <p:sp>
        <p:nvSpPr>
          <p:cNvPr id="9" name="Slide Number Placeholder 8"/>
          <p:cNvSpPr>
            <a:spLocks noGrp="1"/>
          </p:cNvSpPr>
          <p:nvPr>
            <p:ph type="sldNum" sz="quarter" idx="12"/>
          </p:nvPr>
        </p:nvSpPr>
        <p:spPr>
          <a:xfrm>
            <a:off x="0" y="0"/>
            <a:ext cx="0" cy="0"/>
          </a:xfrm>
          <a:prstGeom prst="rect">
            <a:avLst/>
          </a:prstGeom>
        </p:spPr>
        <p:txBody>
          <a:bodyPr/>
          <a:lstStyle>
            <a:lvl1pPr>
              <a:defRPr sz="100">
                <a:noFill/>
              </a:defRPr>
            </a:lvl1pPr>
          </a:lstStyle>
          <a:p>
            <a:fld id="{8E3B25F7-8D1F-44B5-B485-EE3C438CFD7B}" type="slidenum">
              <a:rPr lang="en-US" smtClean="0"/>
              <a:pPr/>
              <a:t>‹#›</a:t>
            </a:fld>
            <a:endParaRPr lang="en-US"/>
          </a:p>
        </p:txBody>
      </p:sp>
      <p:sp>
        <p:nvSpPr>
          <p:cNvPr id="2" name="Title 1"/>
          <p:cNvSpPr>
            <a:spLocks noGrp="1"/>
          </p:cNvSpPr>
          <p:nvPr>
            <p:ph type="ctrTitle" hasCustomPrompt="1"/>
          </p:nvPr>
        </p:nvSpPr>
        <p:spPr>
          <a:xfrm>
            <a:off x="4777671" y="2019727"/>
            <a:ext cx="3816000" cy="2236264"/>
          </a:xfrm>
        </p:spPr>
        <p:txBody>
          <a:bodyPr anchor="b"/>
          <a:lstStyle>
            <a:lvl1pPr algn="l">
              <a:defRPr sz="3600"/>
            </a:lvl1pPr>
          </a:lstStyle>
          <a:p>
            <a:r>
              <a:rPr lang="en-US" dirty="0"/>
              <a:t>Click to add thank you</a:t>
            </a:r>
          </a:p>
        </p:txBody>
      </p:sp>
    </p:spTree>
    <p:extLst>
      <p:ext uri="{BB962C8B-B14F-4D97-AF65-F5344CB8AC3E}">
        <p14:creationId xmlns:p14="http://schemas.microsoft.com/office/powerpoint/2010/main" val="3581228029"/>
      </p:ext>
    </p:extLst>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p:cSld name="Empty">
    <p:spTree>
      <p:nvGrpSpPr>
        <p:cNvPr id="1" name=""/>
        <p:cNvGrpSpPr/>
        <p:nvPr/>
      </p:nvGrpSpPr>
      <p:grpSpPr>
        <a:xfrm>
          <a:off x="0" y="0"/>
          <a:ext cx="0" cy="0"/>
          <a:chOff x="0" y="0"/>
          <a:chExt cx="0" cy="0"/>
        </a:xfrm>
      </p:grpSpPr>
      <p:sp>
        <p:nvSpPr>
          <p:cNvPr id="5" name="Rectangle 4"/>
          <p:cNvSpPr/>
          <p:nvPr/>
        </p:nvSpPr>
        <p:spPr bwMode="white">
          <a:xfrm>
            <a:off x="0" y="0"/>
            <a:ext cx="514350" cy="16287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Date Placeholder 5"/>
          <p:cNvSpPr>
            <a:spLocks noGrp="1"/>
          </p:cNvSpPr>
          <p:nvPr>
            <p:ph type="dt" sz="half" idx="10"/>
          </p:nvPr>
        </p:nvSpPr>
        <p:spPr>
          <a:xfrm>
            <a:off x="192088" y="6461671"/>
            <a:ext cx="761512" cy="133790"/>
          </a:xfrm>
          <a:prstGeom prst="rect">
            <a:avLst/>
          </a:prstGeom>
        </p:spPr>
        <p:txBody>
          <a:bodyPr/>
          <a:lstStyle/>
          <a:p>
            <a:fld id="{2DD22AFC-145E-4433-8756-926F8A0E61FA}" type="datetime5">
              <a:rPr lang="en-US" smtClean="0"/>
              <a:t>26-Jun-20</a:t>
            </a:fld>
            <a:endParaRPr lang="en-US" dirty="0"/>
          </a:p>
        </p:txBody>
      </p:sp>
      <p:sp>
        <p:nvSpPr>
          <p:cNvPr id="7" name="Footer Placeholder 6"/>
          <p:cNvSpPr>
            <a:spLocks noGrp="1"/>
          </p:cNvSpPr>
          <p:nvPr>
            <p:ph type="ftr" sz="quarter" idx="11"/>
          </p:nvPr>
        </p:nvSpPr>
        <p:spPr>
          <a:xfrm>
            <a:off x="1076400" y="6461671"/>
            <a:ext cx="8162717" cy="133790"/>
          </a:xfrm>
          <a:prstGeom prst="rect">
            <a:avLst/>
          </a:prstGeom>
        </p:spPr>
        <p:txBody>
          <a:bodyPr/>
          <a:lstStyle>
            <a:lvl1pPr>
              <a:defRPr/>
            </a:lvl1pPr>
          </a:lstStyle>
          <a:p>
            <a:r>
              <a:rPr lang="en-US" dirty="0"/>
              <a:t>TCG Market</a:t>
            </a:r>
          </a:p>
        </p:txBody>
      </p:sp>
      <p:sp>
        <p:nvSpPr>
          <p:cNvPr id="8" name="Slide Number Placeholder 7"/>
          <p:cNvSpPr>
            <a:spLocks noGrp="1"/>
          </p:cNvSpPr>
          <p:nvPr>
            <p:ph type="sldNum" sz="quarter" idx="12"/>
          </p:nvPr>
        </p:nvSpPr>
        <p:spPr/>
        <p:txBody>
          <a:bodyPr/>
          <a:lstStyle/>
          <a:p>
            <a:fld id="{5F3E29E4-0979-4FCA-B4C5-5FC6044C982A}" type="slidenum">
              <a:rPr lang="en-US" smtClean="0"/>
              <a:pPr/>
              <a:t>‹#›</a:t>
            </a:fld>
            <a:endParaRPr lang="en-US"/>
          </a:p>
        </p:txBody>
      </p:sp>
      <p:sp>
        <p:nvSpPr>
          <p:cNvPr id="10" name="Text Placeholder 4"/>
          <p:cNvSpPr>
            <a:spLocks noGrp="1"/>
          </p:cNvSpPr>
          <p:nvPr>
            <p:ph type="body" sz="quarter" idx="17" hasCustomPrompt="1"/>
          </p:nvPr>
        </p:nvSpPr>
        <p:spPr>
          <a:xfrm>
            <a:off x="1075063" y="6307665"/>
            <a:ext cx="8162717" cy="133200"/>
          </a:xfrm>
        </p:spPr>
        <p:txBody>
          <a:bodyPr lIns="0" tIns="0" rIns="0" bIns="0" anchor="b" anchorCtr="0"/>
          <a:lstStyle>
            <a:lvl1pPr marL="0" indent="0" algn="l">
              <a:lnSpc>
                <a:spcPct val="100000"/>
              </a:lnSpc>
              <a:spcBef>
                <a:spcPts val="0"/>
              </a:spcBef>
              <a:buNone/>
              <a:defRPr sz="800" baseline="0"/>
            </a:lvl1pPr>
            <a:lvl2pPr marL="0" indent="0" algn="l">
              <a:lnSpc>
                <a:spcPct val="100000"/>
              </a:lnSpc>
              <a:spcBef>
                <a:spcPts val="0"/>
              </a:spcBef>
              <a:buNone/>
              <a:defRPr sz="800"/>
            </a:lvl2pPr>
            <a:lvl3pPr marL="0" indent="0" algn="l">
              <a:lnSpc>
                <a:spcPct val="100000"/>
              </a:lnSpc>
              <a:spcBef>
                <a:spcPts val="0"/>
              </a:spcBef>
              <a:buNone/>
              <a:defRPr sz="800"/>
            </a:lvl3pPr>
            <a:lvl4pPr marL="0" algn="l">
              <a:lnSpc>
                <a:spcPct val="100000"/>
              </a:lnSpc>
              <a:spcBef>
                <a:spcPts val="0"/>
              </a:spcBef>
              <a:buNone/>
              <a:defRPr sz="800"/>
            </a:lvl4pPr>
            <a:lvl5pPr marL="0" indent="0" algn="l">
              <a:lnSpc>
                <a:spcPct val="100000"/>
              </a:lnSpc>
              <a:spcBef>
                <a:spcPts val="0"/>
              </a:spcBef>
              <a:buNone/>
              <a:defRPr sz="800"/>
            </a:lvl5pPr>
          </a:lstStyle>
          <a:p>
            <a:pPr lvl="0"/>
            <a:r>
              <a:rPr lang="en-US" dirty="0"/>
              <a:t>Source line</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086432775"/>
      </p:ext>
    </p:extLst>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type="vertTx" preserve="1">
  <p:cSld name="Заголовок и вертикальный текст">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ru-RU"/>
              <a:t>Образец заголовка</a:t>
            </a:r>
            <a:endParaRPr lang="en-US" dirty="0"/>
          </a:p>
        </p:txBody>
      </p:sp>
      <p:sp>
        <p:nvSpPr>
          <p:cNvPr id="3" name="Vertical Text Placeholder 2"/>
          <p:cNvSpPr>
            <a:spLocks noGrp="1"/>
          </p:cNvSpPr>
          <p:nvPr>
            <p:ph type="body" orient="vert" idx="1"/>
          </p:nvPr>
        </p:nvSpPr>
        <p:spPr/>
        <p:txBody>
          <a:bodyPr vert="eaVert"/>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endParaRPr lang="en-US" dirty="0"/>
          </a:p>
        </p:txBody>
      </p:sp>
      <p:sp>
        <p:nvSpPr>
          <p:cNvPr id="7" name="Date Placeholder 6"/>
          <p:cNvSpPr>
            <a:spLocks noGrp="1"/>
          </p:cNvSpPr>
          <p:nvPr>
            <p:ph type="dt" sz="half" idx="10"/>
          </p:nvPr>
        </p:nvSpPr>
        <p:spPr>
          <a:xfrm>
            <a:off x="192088" y="6461671"/>
            <a:ext cx="761512" cy="133790"/>
          </a:xfrm>
          <a:prstGeom prst="rect">
            <a:avLst/>
          </a:prstGeom>
        </p:spPr>
        <p:txBody>
          <a:bodyPr/>
          <a:lstStyle/>
          <a:p>
            <a:fld id="{AF5B2FD7-A1C3-4F99-9996-6254468DC4CB}" type="datetime5">
              <a:rPr lang="en-US" smtClean="0"/>
              <a:t>26-Jun-20</a:t>
            </a:fld>
            <a:endParaRPr lang="en-US" dirty="0"/>
          </a:p>
        </p:txBody>
      </p:sp>
      <p:sp>
        <p:nvSpPr>
          <p:cNvPr id="8" name="Footer Placeholder 7"/>
          <p:cNvSpPr>
            <a:spLocks noGrp="1"/>
          </p:cNvSpPr>
          <p:nvPr>
            <p:ph type="ftr" sz="quarter" idx="11"/>
          </p:nvPr>
        </p:nvSpPr>
        <p:spPr>
          <a:xfrm>
            <a:off x="1076400" y="6461671"/>
            <a:ext cx="8162717" cy="133790"/>
          </a:xfrm>
          <a:prstGeom prst="rect">
            <a:avLst/>
          </a:prstGeom>
        </p:spPr>
        <p:txBody>
          <a:bodyPr/>
          <a:lstStyle>
            <a:lvl1pPr>
              <a:defRPr/>
            </a:lvl1pPr>
          </a:lstStyle>
          <a:p>
            <a:r>
              <a:rPr lang="en-US" dirty="0"/>
              <a:t>TCG Market</a:t>
            </a:r>
          </a:p>
        </p:txBody>
      </p:sp>
      <p:sp>
        <p:nvSpPr>
          <p:cNvPr id="9" name="Slide Number Placeholder 8"/>
          <p:cNvSpPr>
            <a:spLocks noGrp="1"/>
          </p:cNvSpPr>
          <p:nvPr>
            <p:ph type="sldNum" sz="quarter" idx="12"/>
          </p:nvPr>
        </p:nvSpPr>
        <p:spPr/>
        <p:txBody>
          <a:bodyPr/>
          <a:lstStyle/>
          <a:p>
            <a:fld id="{5F3E29E4-0979-4FCA-B4C5-5FC6044C982A}" type="slidenum">
              <a:rPr lang="en-US" smtClean="0"/>
              <a:pPr/>
              <a:t>‹#›</a:t>
            </a:fld>
            <a:endParaRPr lang="en-US"/>
          </a:p>
        </p:txBody>
      </p:sp>
    </p:spTree>
    <p:extLst>
      <p:ext uri="{BB962C8B-B14F-4D97-AF65-F5344CB8AC3E}">
        <p14:creationId xmlns:p14="http://schemas.microsoft.com/office/powerpoint/2010/main" val="3816499479"/>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type="vertTitleAndTx" preserve="1">
  <p:cSld name="Вертикальный заголовок и текст">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196278" y="404813"/>
            <a:ext cx="1400175" cy="5832474"/>
          </a:xfrm>
        </p:spPr>
        <p:txBody>
          <a:bodyPr vert="eaVert"/>
          <a:lstStyle/>
          <a:p>
            <a:r>
              <a:rPr lang="ru-RU"/>
              <a:t>Образец заголовка</a:t>
            </a:r>
            <a:endParaRPr lang="en-US" dirty="0"/>
          </a:p>
        </p:txBody>
      </p:sp>
      <p:sp>
        <p:nvSpPr>
          <p:cNvPr id="3" name="Vertical Text Placeholder 2"/>
          <p:cNvSpPr>
            <a:spLocks noGrp="1"/>
          </p:cNvSpPr>
          <p:nvPr>
            <p:ph type="body" orient="vert" idx="1"/>
          </p:nvPr>
        </p:nvSpPr>
        <p:spPr>
          <a:xfrm>
            <a:off x="1076400" y="404813"/>
            <a:ext cx="5943525" cy="5832474"/>
          </a:xfrm>
        </p:spPr>
        <p:txBody>
          <a:bodyPr vert="eaVert"/>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endParaRPr lang="en-US"/>
          </a:p>
        </p:txBody>
      </p:sp>
      <p:sp>
        <p:nvSpPr>
          <p:cNvPr id="7" name="Date Placeholder 6"/>
          <p:cNvSpPr>
            <a:spLocks noGrp="1"/>
          </p:cNvSpPr>
          <p:nvPr>
            <p:ph type="dt" sz="half" idx="10"/>
          </p:nvPr>
        </p:nvSpPr>
        <p:spPr>
          <a:xfrm>
            <a:off x="192088" y="6461671"/>
            <a:ext cx="761512" cy="133790"/>
          </a:xfrm>
          <a:prstGeom prst="rect">
            <a:avLst/>
          </a:prstGeom>
        </p:spPr>
        <p:txBody>
          <a:bodyPr/>
          <a:lstStyle/>
          <a:p>
            <a:fld id="{A1079567-0E61-4D85-B570-3273C3AD246A}" type="datetime5">
              <a:rPr lang="en-US" smtClean="0"/>
              <a:t>26-Jun-20</a:t>
            </a:fld>
            <a:endParaRPr lang="en-US" dirty="0"/>
          </a:p>
        </p:txBody>
      </p:sp>
      <p:sp>
        <p:nvSpPr>
          <p:cNvPr id="8" name="Footer Placeholder 7"/>
          <p:cNvSpPr>
            <a:spLocks noGrp="1"/>
          </p:cNvSpPr>
          <p:nvPr>
            <p:ph type="ftr" sz="quarter" idx="11"/>
          </p:nvPr>
        </p:nvSpPr>
        <p:spPr>
          <a:xfrm>
            <a:off x="1076400" y="6461671"/>
            <a:ext cx="8162717" cy="133790"/>
          </a:xfrm>
          <a:prstGeom prst="rect">
            <a:avLst/>
          </a:prstGeom>
        </p:spPr>
        <p:txBody>
          <a:bodyPr/>
          <a:lstStyle>
            <a:lvl1pPr>
              <a:defRPr/>
            </a:lvl1pPr>
          </a:lstStyle>
          <a:p>
            <a:r>
              <a:rPr lang="en-US" dirty="0"/>
              <a:t>TCG Market</a:t>
            </a:r>
          </a:p>
        </p:txBody>
      </p:sp>
      <p:sp>
        <p:nvSpPr>
          <p:cNvPr id="9" name="Slide Number Placeholder 8"/>
          <p:cNvSpPr>
            <a:spLocks noGrp="1"/>
          </p:cNvSpPr>
          <p:nvPr>
            <p:ph type="sldNum" sz="quarter" idx="12"/>
          </p:nvPr>
        </p:nvSpPr>
        <p:spPr/>
        <p:txBody>
          <a:bodyPr/>
          <a:lstStyle/>
          <a:p>
            <a:fld id="{5F3E29E4-0979-4FCA-B4C5-5FC6044C982A}" type="slidenum">
              <a:rPr lang="en-US" smtClean="0"/>
              <a:pPr/>
              <a:t>‹#›</a:t>
            </a:fld>
            <a:endParaRPr lang="en-US"/>
          </a:p>
        </p:txBody>
      </p:sp>
    </p:spTree>
    <p:extLst>
      <p:ext uri="{BB962C8B-B14F-4D97-AF65-F5344CB8AC3E}">
        <p14:creationId xmlns:p14="http://schemas.microsoft.com/office/powerpoint/2010/main" val="878970381"/>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showMasterSp="0" preserve="1" userDrawn="1">
  <p:cSld name="Titelfolie 1">
    <p:spTree>
      <p:nvGrpSpPr>
        <p:cNvPr id="1" name=""/>
        <p:cNvGrpSpPr/>
        <p:nvPr/>
      </p:nvGrpSpPr>
      <p:grpSpPr>
        <a:xfrm>
          <a:off x="0" y="0"/>
          <a:ext cx="0" cy="0"/>
          <a:chOff x="0" y="0"/>
          <a:chExt cx="0" cy="0"/>
        </a:xfrm>
      </p:grpSpPr>
      <p:sp>
        <p:nvSpPr>
          <p:cNvPr id="14" name="Rechteck 13">
            <a:extLst>
              <a:ext uri="{FF2B5EF4-FFF2-40B4-BE49-F238E27FC236}">
                <a16:creationId xmlns:a16="http://schemas.microsoft.com/office/drawing/2014/main" id="{09FC095E-7AC1-45E0-A097-481A06D91FA8}"/>
              </a:ext>
            </a:extLst>
          </p:cNvPr>
          <p:cNvSpPr/>
          <p:nvPr userDrawn="1"/>
        </p:nvSpPr>
        <p:spPr bwMode="gray">
          <a:xfrm>
            <a:off x="0" y="-5176"/>
            <a:ext cx="12192000" cy="6857993"/>
          </a:xfrm>
          <a:prstGeom prst="rect">
            <a:avLst/>
          </a:prstGeom>
          <a:gradFill flip="none" rotWithShape="1">
            <a:gsLst>
              <a:gs pos="28000">
                <a:schemeClr val="tx1">
                  <a:alpha val="0"/>
                </a:schemeClr>
              </a:gs>
              <a:gs pos="100000">
                <a:schemeClr val="tx1">
                  <a:alpha val="78000"/>
                </a:schemeClr>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dirty="0"/>
          </a:p>
        </p:txBody>
      </p:sp>
      <p:sp>
        <p:nvSpPr>
          <p:cNvPr id="2" name="Rechteck 1">
            <a:extLst>
              <a:ext uri="{FF2B5EF4-FFF2-40B4-BE49-F238E27FC236}">
                <a16:creationId xmlns:a16="http://schemas.microsoft.com/office/drawing/2014/main" id="{6627EE1A-76F1-46AB-9A1A-6FC43E5817BC}"/>
              </a:ext>
            </a:extLst>
          </p:cNvPr>
          <p:cNvSpPr/>
          <p:nvPr userDrawn="1"/>
        </p:nvSpPr>
        <p:spPr bwMode="gray">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dirty="0"/>
          </a:p>
        </p:txBody>
      </p:sp>
      <p:pic>
        <p:nvPicPr>
          <p:cNvPr id="9" name="Рисунок 8"/>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flipH="1">
            <a:off x="983433" y="1"/>
            <a:ext cx="11223463" cy="6852816"/>
          </a:xfrm>
          <a:prstGeom prst="rect">
            <a:avLst/>
          </a:prstGeom>
        </p:spPr>
      </p:pic>
      <p:sp>
        <p:nvSpPr>
          <p:cNvPr id="5" name="Freihandform: Form 4">
            <a:extLst>
              <a:ext uri="{FF2B5EF4-FFF2-40B4-BE49-F238E27FC236}">
                <a16:creationId xmlns:a16="http://schemas.microsoft.com/office/drawing/2014/main" id="{BD0D671A-2CE7-41EE-A197-2C823245BD78}"/>
              </a:ext>
            </a:extLst>
          </p:cNvPr>
          <p:cNvSpPr/>
          <p:nvPr userDrawn="1"/>
        </p:nvSpPr>
        <p:spPr bwMode="gray">
          <a:xfrm>
            <a:off x="-1097" y="0"/>
            <a:ext cx="7099300" cy="6858000"/>
          </a:xfrm>
          <a:custGeom>
            <a:avLst/>
            <a:gdLst>
              <a:gd name="connsiteX0" fmla="*/ 0 w 7124700"/>
              <a:gd name="connsiteY0" fmla="*/ 0 h 6883400"/>
              <a:gd name="connsiteX1" fmla="*/ 4025900 w 7124700"/>
              <a:gd name="connsiteY1" fmla="*/ 0 h 6883400"/>
              <a:gd name="connsiteX2" fmla="*/ 7124700 w 7124700"/>
              <a:gd name="connsiteY2" fmla="*/ 4508500 h 6883400"/>
              <a:gd name="connsiteX3" fmla="*/ 1384300 w 7124700"/>
              <a:gd name="connsiteY3" fmla="*/ 6883400 h 6883400"/>
              <a:gd name="connsiteX4" fmla="*/ 0 w 7124700"/>
              <a:gd name="connsiteY4" fmla="*/ 6883400 h 6883400"/>
              <a:gd name="connsiteX5" fmla="*/ 0 w 7124700"/>
              <a:gd name="connsiteY5" fmla="*/ 0 h 6883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124700" h="6883400">
                <a:moveTo>
                  <a:pt x="0" y="0"/>
                </a:moveTo>
                <a:lnTo>
                  <a:pt x="4025900" y="0"/>
                </a:lnTo>
                <a:lnTo>
                  <a:pt x="7124700" y="4508500"/>
                </a:lnTo>
                <a:lnTo>
                  <a:pt x="1384300" y="6883400"/>
                </a:lnTo>
                <a:lnTo>
                  <a:pt x="0" y="6883400"/>
                </a:ln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dirty="0"/>
          </a:p>
        </p:txBody>
      </p:sp>
      <p:sp>
        <p:nvSpPr>
          <p:cNvPr id="3" name="Untertitel 2"/>
          <p:cNvSpPr>
            <a:spLocks noGrp="1"/>
          </p:cNvSpPr>
          <p:nvPr>
            <p:ph type="subTitle" idx="1" hasCustomPrompt="1"/>
          </p:nvPr>
        </p:nvSpPr>
        <p:spPr bwMode="gray">
          <a:xfrm>
            <a:off x="334965" y="4113076"/>
            <a:ext cx="4716921" cy="936104"/>
          </a:xfrm>
          <a:prstGeom prst="rect">
            <a:avLst/>
          </a:prstGeom>
        </p:spPr>
        <p:txBody>
          <a:bodyPr anchor="t">
            <a:normAutofit/>
          </a:bodyPr>
          <a:lstStyle>
            <a:lvl1pPr marL="0" indent="0" algn="l">
              <a:buNone/>
              <a:defRPr sz="1799" i="1">
                <a:solidFill>
                  <a:schemeClr val="bg2"/>
                </a:solidFill>
                <a:latin typeface="Lato"/>
                <a:ea typeface="Lato"/>
                <a:cs typeface="Lato"/>
              </a:defRPr>
            </a:lvl1pPr>
            <a:lvl2pPr marL="457051" indent="0" algn="ctr">
              <a:buNone/>
              <a:defRPr sz="1999"/>
            </a:lvl2pPr>
            <a:lvl3pPr marL="914103" indent="0" algn="ctr">
              <a:buNone/>
              <a:defRPr sz="1799"/>
            </a:lvl3pPr>
            <a:lvl4pPr marL="1371154" indent="0" algn="ctr">
              <a:buNone/>
              <a:defRPr sz="1599"/>
            </a:lvl4pPr>
            <a:lvl5pPr marL="1828206" indent="0" algn="ctr">
              <a:buNone/>
              <a:defRPr sz="1599"/>
            </a:lvl5pPr>
            <a:lvl6pPr marL="2285257" indent="0" algn="ctr">
              <a:buNone/>
              <a:defRPr sz="1599"/>
            </a:lvl6pPr>
            <a:lvl7pPr marL="2742308" indent="0" algn="ctr">
              <a:buNone/>
              <a:defRPr sz="1599"/>
            </a:lvl7pPr>
            <a:lvl8pPr marL="3199360" indent="0" algn="ctr">
              <a:buNone/>
              <a:defRPr sz="1599"/>
            </a:lvl8pPr>
            <a:lvl9pPr marL="3656411" indent="0" algn="ctr">
              <a:buNone/>
              <a:defRPr sz="1599"/>
            </a:lvl9pPr>
          </a:lstStyle>
          <a:p>
            <a:r>
              <a:rPr lang="en-US" dirty="0"/>
              <a:t>Click to add subtitle of presentation</a:t>
            </a:r>
          </a:p>
        </p:txBody>
      </p:sp>
      <p:sp>
        <p:nvSpPr>
          <p:cNvPr id="19" name="Titel 18"/>
          <p:cNvSpPr>
            <a:spLocks noGrp="1"/>
          </p:cNvSpPr>
          <p:nvPr>
            <p:ph type="title" hasCustomPrompt="1"/>
          </p:nvPr>
        </p:nvSpPr>
        <p:spPr bwMode="gray">
          <a:xfrm>
            <a:off x="334965" y="1700810"/>
            <a:ext cx="4716921" cy="2268000"/>
          </a:xfrm>
        </p:spPr>
        <p:txBody>
          <a:bodyPr anchor="b">
            <a:normAutofit/>
          </a:bodyPr>
          <a:lstStyle>
            <a:lvl1pPr>
              <a:defRPr sz="4399">
                <a:solidFill>
                  <a:schemeClr val="bg2"/>
                </a:solidFill>
                <a:latin typeface="Lato" charset="0"/>
                <a:ea typeface="Lato" charset="0"/>
                <a:cs typeface="Lato" charset="0"/>
              </a:defRPr>
            </a:lvl1pPr>
          </a:lstStyle>
          <a:p>
            <a:r>
              <a:rPr lang="en-US" dirty="0"/>
              <a:t>Click to add title of presentation</a:t>
            </a:r>
          </a:p>
        </p:txBody>
      </p:sp>
      <p:sp>
        <p:nvSpPr>
          <p:cNvPr id="7" name="Textplatzhalter 6">
            <a:extLst>
              <a:ext uri="{FF2B5EF4-FFF2-40B4-BE49-F238E27FC236}">
                <a16:creationId xmlns:a16="http://schemas.microsoft.com/office/drawing/2014/main" id="{18C0CA5B-E924-43BF-A9AF-807144F155F7}"/>
              </a:ext>
            </a:extLst>
          </p:cNvPr>
          <p:cNvSpPr>
            <a:spLocks noGrp="1"/>
          </p:cNvSpPr>
          <p:nvPr>
            <p:ph type="body" sz="quarter" idx="10" hasCustomPrompt="1"/>
          </p:nvPr>
        </p:nvSpPr>
        <p:spPr bwMode="gray">
          <a:xfrm>
            <a:off x="334961" y="5193228"/>
            <a:ext cx="1908611" cy="288000"/>
          </a:xfrm>
        </p:spPr>
        <p:txBody>
          <a:bodyPr anchor="ctr"/>
          <a:lstStyle>
            <a:lvl1pPr>
              <a:defRPr sz="1200">
                <a:solidFill>
                  <a:schemeClr val="bg2"/>
                </a:solidFill>
              </a:defRPr>
            </a:lvl1pPr>
            <a:lvl5pPr marL="1077562" indent="0">
              <a:buNone/>
              <a:defRPr/>
            </a:lvl5pPr>
          </a:lstStyle>
          <a:p>
            <a:pPr lvl="0"/>
            <a:r>
              <a:rPr lang="en-US" dirty="0"/>
              <a:t>Name</a:t>
            </a:r>
          </a:p>
        </p:txBody>
      </p:sp>
      <p:sp>
        <p:nvSpPr>
          <p:cNvPr id="10" name="Textplatzhalter 9">
            <a:extLst>
              <a:ext uri="{FF2B5EF4-FFF2-40B4-BE49-F238E27FC236}">
                <a16:creationId xmlns:a16="http://schemas.microsoft.com/office/drawing/2014/main" id="{B84D3797-62B3-484C-A206-88D21615313A}"/>
              </a:ext>
            </a:extLst>
          </p:cNvPr>
          <p:cNvSpPr>
            <a:spLocks noGrp="1"/>
          </p:cNvSpPr>
          <p:nvPr>
            <p:ph type="body" sz="quarter" idx="11" hasCustomPrompt="1"/>
          </p:nvPr>
        </p:nvSpPr>
        <p:spPr bwMode="gray">
          <a:xfrm>
            <a:off x="2423593" y="5193228"/>
            <a:ext cx="1980220" cy="288000"/>
          </a:xfrm>
        </p:spPr>
        <p:txBody>
          <a:bodyPr vert="horz" lIns="0" tIns="0" rIns="0" bIns="0" rtlCol="0" anchor="ctr">
            <a:noAutofit/>
          </a:bodyPr>
          <a:lstStyle>
            <a:lvl1pPr marL="177742" indent="-177742">
              <a:buClr>
                <a:schemeClr val="tx2"/>
              </a:buClr>
              <a:buFont typeface="Wingdings 3" panose="05040102010807070707" pitchFamily="18" charset="2"/>
              <a:buChar char=""/>
              <a:defRPr lang="de-DE" sz="1200" dirty="0">
                <a:solidFill>
                  <a:schemeClr val="bg2"/>
                </a:solidFill>
              </a:defRPr>
            </a:lvl1pPr>
          </a:lstStyle>
          <a:p>
            <a:pPr lvl="0"/>
            <a:r>
              <a:rPr lang="en-US" dirty="0"/>
              <a:t>Department</a:t>
            </a:r>
          </a:p>
        </p:txBody>
      </p:sp>
      <p:sp>
        <p:nvSpPr>
          <p:cNvPr id="30" name="Rechteck 29">
            <a:extLst>
              <a:ext uri="{FF2B5EF4-FFF2-40B4-BE49-F238E27FC236}">
                <a16:creationId xmlns:a16="http://schemas.microsoft.com/office/drawing/2014/main" id="{E566EA80-728D-465C-AA9A-6751F793F175}"/>
              </a:ext>
            </a:extLst>
          </p:cNvPr>
          <p:cNvSpPr/>
          <p:nvPr userDrawn="1"/>
        </p:nvSpPr>
        <p:spPr bwMode="gray">
          <a:xfrm>
            <a:off x="334965" y="6525360"/>
            <a:ext cx="288428" cy="144000"/>
          </a:xfrm>
          <a:prstGeom prst="rect">
            <a:avLst/>
          </a:prstGeom>
        </p:spPr>
        <p:txBody>
          <a:bodyPr vert="horz" lIns="0" tIns="0" rIns="0" bIns="0" rtlCol="0" anchor="ctr"/>
          <a:lstStyle/>
          <a:p>
            <a:pPr lvl="0"/>
            <a:r>
              <a:rPr lang="en-US" sz="800" noProof="0" dirty="0">
                <a:solidFill>
                  <a:schemeClr val="bg2"/>
                </a:solidFill>
              </a:rPr>
              <a:t>© GfK</a:t>
            </a:r>
            <a:endParaRPr lang="en-US" sz="800" dirty="0">
              <a:solidFill>
                <a:schemeClr val="bg2"/>
              </a:solidFill>
            </a:endParaRPr>
          </a:p>
        </p:txBody>
      </p:sp>
      <p:grpSp>
        <p:nvGrpSpPr>
          <p:cNvPr id="18" name="Gruppieren 17">
            <a:extLst>
              <a:ext uri="{FF2B5EF4-FFF2-40B4-BE49-F238E27FC236}">
                <a16:creationId xmlns:a16="http://schemas.microsoft.com/office/drawing/2014/main" id="{9DDC4255-6D5D-4FF2-8565-CA26EDA635F5}"/>
              </a:ext>
            </a:extLst>
          </p:cNvPr>
          <p:cNvGrpSpPr/>
          <p:nvPr userDrawn="1"/>
        </p:nvGrpSpPr>
        <p:grpSpPr bwMode="gray">
          <a:xfrm>
            <a:off x="334964" y="296653"/>
            <a:ext cx="1268411" cy="540000"/>
            <a:chOff x="334963" y="296652"/>
            <a:chExt cx="1268411" cy="540000"/>
          </a:xfrm>
        </p:grpSpPr>
        <p:sp>
          <p:nvSpPr>
            <p:cNvPr id="20" name="Freeform 6">
              <a:extLst>
                <a:ext uri="{FF2B5EF4-FFF2-40B4-BE49-F238E27FC236}">
                  <a16:creationId xmlns:a16="http://schemas.microsoft.com/office/drawing/2014/main" id="{63F3F5EB-2742-48DE-B892-4540EF2E02B0}"/>
                </a:ext>
              </a:extLst>
            </p:cNvPr>
            <p:cNvSpPr>
              <a:spLocks noEditPoints="1"/>
            </p:cNvSpPr>
            <p:nvPr userDrawn="1"/>
          </p:nvSpPr>
          <p:spPr bwMode="gray">
            <a:xfrm>
              <a:off x="982662" y="360462"/>
              <a:ext cx="620712" cy="431800"/>
            </a:xfrm>
            <a:custGeom>
              <a:avLst/>
              <a:gdLst>
                <a:gd name="T0" fmla="*/ 19 w 1809"/>
                <a:gd name="T1" fmla="*/ 97 h 1253"/>
                <a:gd name="T2" fmla="*/ 165 w 1809"/>
                <a:gd name="T3" fmla="*/ 41 h 1253"/>
                <a:gd name="T4" fmla="*/ 211 w 1809"/>
                <a:gd name="T5" fmla="*/ 224 h 1253"/>
                <a:gd name="T6" fmla="*/ 248 w 1809"/>
                <a:gd name="T7" fmla="*/ 155 h 1253"/>
                <a:gd name="T8" fmla="*/ 931 w 1809"/>
                <a:gd name="T9" fmla="*/ 995 h 1253"/>
                <a:gd name="T10" fmla="*/ 858 w 1809"/>
                <a:gd name="T11" fmla="*/ 1115 h 1253"/>
                <a:gd name="T12" fmla="*/ 749 w 1809"/>
                <a:gd name="T13" fmla="*/ 1117 h 1253"/>
                <a:gd name="T14" fmla="*/ 681 w 1809"/>
                <a:gd name="T15" fmla="*/ 1055 h 1253"/>
                <a:gd name="T16" fmla="*/ 800 w 1809"/>
                <a:gd name="T17" fmla="*/ 1054 h 1253"/>
                <a:gd name="T18" fmla="*/ 884 w 1809"/>
                <a:gd name="T19" fmla="*/ 1181 h 1253"/>
                <a:gd name="T20" fmla="*/ 118 w 1809"/>
                <a:gd name="T21" fmla="*/ 1086 h 1253"/>
                <a:gd name="T22" fmla="*/ 147 w 1809"/>
                <a:gd name="T23" fmla="*/ 1026 h 1253"/>
                <a:gd name="T24" fmla="*/ 102 w 1809"/>
                <a:gd name="T25" fmla="*/ 1026 h 1253"/>
                <a:gd name="T26" fmla="*/ 639 w 1809"/>
                <a:gd name="T27" fmla="*/ 84 h 1253"/>
                <a:gd name="T28" fmla="*/ 763 w 1809"/>
                <a:gd name="T29" fmla="*/ 145 h 1253"/>
                <a:gd name="T30" fmla="*/ 863 w 1809"/>
                <a:gd name="T31" fmla="*/ 221 h 1253"/>
                <a:gd name="T32" fmla="*/ 834 w 1809"/>
                <a:gd name="T33" fmla="*/ 208 h 1253"/>
                <a:gd name="T34" fmla="*/ 719 w 1809"/>
                <a:gd name="T35" fmla="*/ 182 h 1253"/>
                <a:gd name="T36" fmla="*/ 507 w 1809"/>
                <a:gd name="T37" fmla="*/ 711 h 1253"/>
                <a:gd name="T38" fmla="*/ 614 w 1809"/>
                <a:gd name="T39" fmla="*/ 706 h 1253"/>
                <a:gd name="T40" fmla="*/ 736 w 1809"/>
                <a:gd name="T41" fmla="*/ 730 h 1253"/>
                <a:gd name="T42" fmla="*/ 607 w 1809"/>
                <a:gd name="T43" fmla="*/ 539 h 1253"/>
                <a:gd name="T44" fmla="*/ 1505 w 1809"/>
                <a:gd name="T45" fmla="*/ 1136 h 1253"/>
                <a:gd name="T46" fmla="*/ 1613 w 1809"/>
                <a:gd name="T47" fmla="*/ 1002 h 1253"/>
                <a:gd name="T48" fmla="*/ 1472 w 1809"/>
                <a:gd name="T49" fmla="*/ 1164 h 1253"/>
                <a:gd name="T50" fmla="*/ 1525 w 1809"/>
                <a:gd name="T51" fmla="*/ 1142 h 1253"/>
                <a:gd name="T52" fmla="*/ 1556 w 1809"/>
                <a:gd name="T53" fmla="*/ 1172 h 1253"/>
                <a:gd name="T54" fmla="*/ 1387 w 1809"/>
                <a:gd name="T55" fmla="*/ 910 h 1253"/>
                <a:gd name="T56" fmla="*/ 1261 w 1809"/>
                <a:gd name="T57" fmla="*/ 1157 h 1253"/>
                <a:gd name="T58" fmla="*/ 1413 w 1809"/>
                <a:gd name="T59" fmla="*/ 934 h 1253"/>
                <a:gd name="T60" fmla="*/ 1378 w 1809"/>
                <a:gd name="T61" fmla="*/ 1052 h 1253"/>
                <a:gd name="T62" fmla="*/ 488 w 1809"/>
                <a:gd name="T63" fmla="*/ 85 h 1253"/>
                <a:gd name="T64" fmla="*/ 509 w 1809"/>
                <a:gd name="T65" fmla="*/ 112 h 1253"/>
                <a:gd name="T66" fmla="*/ 548 w 1809"/>
                <a:gd name="T67" fmla="*/ 1187 h 1253"/>
                <a:gd name="T68" fmla="*/ 472 w 1809"/>
                <a:gd name="T69" fmla="*/ 1122 h 1253"/>
                <a:gd name="T70" fmla="*/ 558 w 1809"/>
                <a:gd name="T71" fmla="*/ 1157 h 1253"/>
                <a:gd name="T72" fmla="*/ 287 w 1809"/>
                <a:gd name="T73" fmla="*/ 654 h 1253"/>
                <a:gd name="T74" fmla="*/ 416 w 1809"/>
                <a:gd name="T75" fmla="*/ 684 h 1253"/>
                <a:gd name="T76" fmla="*/ 1106 w 1809"/>
                <a:gd name="T77" fmla="*/ 147 h 1253"/>
                <a:gd name="T78" fmla="*/ 1229 w 1809"/>
                <a:gd name="T79" fmla="*/ 258 h 1253"/>
                <a:gd name="T80" fmla="*/ 1106 w 1809"/>
                <a:gd name="T81" fmla="*/ 96 h 1253"/>
                <a:gd name="T82" fmla="*/ 1219 w 1809"/>
                <a:gd name="T83" fmla="*/ 1077 h 1253"/>
                <a:gd name="T84" fmla="*/ 1214 w 1809"/>
                <a:gd name="T85" fmla="*/ 1157 h 1253"/>
                <a:gd name="T86" fmla="*/ 1150 w 1809"/>
                <a:gd name="T87" fmla="*/ 1092 h 1253"/>
                <a:gd name="T88" fmla="*/ 1139 w 1809"/>
                <a:gd name="T89" fmla="*/ 1070 h 1253"/>
                <a:gd name="T90" fmla="*/ 1659 w 1809"/>
                <a:gd name="T91" fmla="*/ 1031 h 1253"/>
                <a:gd name="T92" fmla="*/ 1714 w 1809"/>
                <a:gd name="T93" fmla="*/ 1155 h 1253"/>
                <a:gd name="T94" fmla="*/ 1760 w 1809"/>
                <a:gd name="T95" fmla="*/ 1030 h 1253"/>
                <a:gd name="T96" fmla="*/ 111 w 1809"/>
                <a:gd name="T97" fmla="*/ 569 h 1253"/>
                <a:gd name="T98" fmla="*/ 109 w 1809"/>
                <a:gd name="T99" fmla="*/ 460 h 1253"/>
                <a:gd name="T100" fmla="*/ 32 w 1809"/>
                <a:gd name="T101" fmla="*/ 704 h 1253"/>
                <a:gd name="T102" fmla="*/ 310 w 1809"/>
                <a:gd name="T103" fmla="*/ 1058 h 1253"/>
                <a:gd name="T104" fmla="*/ 431 w 1809"/>
                <a:gd name="T105" fmla="*/ 1044 h 1253"/>
                <a:gd name="T106" fmla="*/ 278 w 1809"/>
                <a:gd name="T107" fmla="*/ 1165 h 1253"/>
                <a:gd name="T108" fmla="*/ 261 w 1809"/>
                <a:gd name="T109" fmla="*/ 540 h 1253"/>
                <a:gd name="T110" fmla="*/ 150 w 1809"/>
                <a:gd name="T111" fmla="*/ 635 h 1253"/>
                <a:gd name="T112" fmla="*/ 994 w 1809"/>
                <a:gd name="T113" fmla="*/ 1185 h 1253"/>
                <a:gd name="T114" fmla="*/ 331 w 1809"/>
                <a:gd name="T115" fmla="*/ 176 h 1253"/>
                <a:gd name="T116" fmla="*/ 333 w 1809"/>
                <a:gd name="T117" fmla="*/ 109 h 1253"/>
                <a:gd name="T118" fmla="*/ 946 w 1809"/>
                <a:gd name="T119" fmla="*/ 234 h 1253"/>
                <a:gd name="T120" fmla="*/ 1022 w 1809"/>
                <a:gd name="T121" fmla="*/ 113 h 1253"/>
                <a:gd name="T122" fmla="*/ 949 w 1809"/>
                <a:gd name="T123" fmla="*/ 65 h 1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09" h="1253">
                  <a:moveTo>
                    <a:pt x="248" y="198"/>
                  </a:moveTo>
                  <a:cubicBezTo>
                    <a:pt x="248" y="211"/>
                    <a:pt x="248" y="224"/>
                    <a:pt x="249" y="237"/>
                  </a:cubicBezTo>
                  <a:cubicBezTo>
                    <a:pt x="249" y="245"/>
                    <a:pt x="246" y="249"/>
                    <a:pt x="240" y="253"/>
                  </a:cubicBezTo>
                  <a:cubicBezTo>
                    <a:pt x="231" y="260"/>
                    <a:pt x="220" y="264"/>
                    <a:pt x="209" y="268"/>
                  </a:cubicBezTo>
                  <a:cubicBezTo>
                    <a:pt x="179" y="279"/>
                    <a:pt x="148" y="280"/>
                    <a:pt x="118" y="275"/>
                  </a:cubicBezTo>
                  <a:cubicBezTo>
                    <a:pt x="86" y="269"/>
                    <a:pt x="58" y="252"/>
                    <a:pt x="39" y="224"/>
                  </a:cubicBezTo>
                  <a:cubicBezTo>
                    <a:pt x="24" y="203"/>
                    <a:pt x="18" y="180"/>
                    <a:pt x="15" y="155"/>
                  </a:cubicBezTo>
                  <a:cubicBezTo>
                    <a:pt x="11" y="135"/>
                    <a:pt x="15" y="115"/>
                    <a:pt x="19" y="97"/>
                  </a:cubicBezTo>
                  <a:cubicBezTo>
                    <a:pt x="26" y="68"/>
                    <a:pt x="42" y="44"/>
                    <a:pt x="68" y="27"/>
                  </a:cubicBezTo>
                  <a:cubicBezTo>
                    <a:pt x="87" y="14"/>
                    <a:pt x="109" y="6"/>
                    <a:pt x="133" y="5"/>
                  </a:cubicBezTo>
                  <a:cubicBezTo>
                    <a:pt x="149" y="4"/>
                    <a:pt x="165" y="5"/>
                    <a:pt x="181" y="6"/>
                  </a:cubicBezTo>
                  <a:cubicBezTo>
                    <a:pt x="204" y="8"/>
                    <a:pt x="225" y="20"/>
                    <a:pt x="243" y="35"/>
                  </a:cubicBezTo>
                  <a:cubicBezTo>
                    <a:pt x="246" y="37"/>
                    <a:pt x="246" y="40"/>
                    <a:pt x="244" y="43"/>
                  </a:cubicBezTo>
                  <a:cubicBezTo>
                    <a:pt x="242" y="47"/>
                    <a:pt x="239" y="52"/>
                    <a:pt x="236" y="55"/>
                  </a:cubicBezTo>
                  <a:cubicBezTo>
                    <a:pt x="226" y="65"/>
                    <a:pt x="224" y="65"/>
                    <a:pt x="206" y="54"/>
                  </a:cubicBezTo>
                  <a:cubicBezTo>
                    <a:pt x="193" y="46"/>
                    <a:pt x="180" y="40"/>
                    <a:pt x="165" y="41"/>
                  </a:cubicBezTo>
                  <a:cubicBezTo>
                    <a:pt x="151" y="41"/>
                    <a:pt x="137" y="39"/>
                    <a:pt x="124" y="42"/>
                  </a:cubicBezTo>
                  <a:cubicBezTo>
                    <a:pt x="104" y="46"/>
                    <a:pt x="87" y="57"/>
                    <a:pt x="75" y="74"/>
                  </a:cubicBezTo>
                  <a:cubicBezTo>
                    <a:pt x="56" y="99"/>
                    <a:pt x="51" y="129"/>
                    <a:pt x="55" y="159"/>
                  </a:cubicBezTo>
                  <a:cubicBezTo>
                    <a:pt x="60" y="189"/>
                    <a:pt x="73" y="214"/>
                    <a:pt x="98" y="230"/>
                  </a:cubicBezTo>
                  <a:cubicBezTo>
                    <a:pt x="109" y="237"/>
                    <a:pt x="121" y="242"/>
                    <a:pt x="135" y="241"/>
                  </a:cubicBezTo>
                  <a:cubicBezTo>
                    <a:pt x="146" y="241"/>
                    <a:pt x="158" y="241"/>
                    <a:pt x="169" y="241"/>
                  </a:cubicBezTo>
                  <a:cubicBezTo>
                    <a:pt x="182" y="242"/>
                    <a:pt x="193" y="235"/>
                    <a:pt x="205" y="232"/>
                  </a:cubicBezTo>
                  <a:cubicBezTo>
                    <a:pt x="210" y="231"/>
                    <a:pt x="211" y="227"/>
                    <a:pt x="211" y="224"/>
                  </a:cubicBezTo>
                  <a:cubicBezTo>
                    <a:pt x="211" y="210"/>
                    <a:pt x="211" y="196"/>
                    <a:pt x="211" y="183"/>
                  </a:cubicBezTo>
                  <a:cubicBezTo>
                    <a:pt x="211" y="177"/>
                    <a:pt x="207" y="175"/>
                    <a:pt x="202" y="175"/>
                  </a:cubicBezTo>
                  <a:cubicBezTo>
                    <a:pt x="193" y="175"/>
                    <a:pt x="184" y="175"/>
                    <a:pt x="175" y="175"/>
                  </a:cubicBezTo>
                  <a:cubicBezTo>
                    <a:pt x="171" y="175"/>
                    <a:pt x="168" y="174"/>
                    <a:pt x="166" y="171"/>
                  </a:cubicBezTo>
                  <a:cubicBezTo>
                    <a:pt x="163" y="163"/>
                    <a:pt x="164" y="154"/>
                    <a:pt x="166" y="146"/>
                  </a:cubicBezTo>
                  <a:cubicBezTo>
                    <a:pt x="167" y="142"/>
                    <a:pt x="171" y="142"/>
                    <a:pt x="175" y="142"/>
                  </a:cubicBezTo>
                  <a:cubicBezTo>
                    <a:pt x="196" y="142"/>
                    <a:pt x="217" y="142"/>
                    <a:pt x="238" y="142"/>
                  </a:cubicBezTo>
                  <a:cubicBezTo>
                    <a:pt x="247" y="142"/>
                    <a:pt x="248" y="148"/>
                    <a:pt x="248" y="155"/>
                  </a:cubicBezTo>
                  <a:cubicBezTo>
                    <a:pt x="249" y="169"/>
                    <a:pt x="248" y="183"/>
                    <a:pt x="248" y="198"/>
                  </a:cubicBezTo>
                  <a:close/>
                  <a:moveTo>
                    <a:pt x="884" y="1181"/>
                  </a:moveTo>
                  <a:cubicBezTo>
                    <a:pt x="889" y="1167"/>
                    <a:pt x="894" y="1152"/>
                    <a:pt x="898" y="1137"/>
                  </a:cubicBezTo>
                  <a:cubicBezTo>
                    <a:pt x="901" y="1127"/>
                    <a:pt x="905" y="1116"/>
                    <a:pt x="908" y="1106"/>
                  </a:cubicBezTo>
                  <a:cubicBezTo>
                    <a:pt x="911" y="1098"/>
                    <a:pt x="912" y="1089"/>
                    <a:pt x="916" y="1081"/>
                  </a:cubicBezTo>
                  <a:cubicBezTo>
                    <a:pt x="921" y="1072"/>
                    <a:pt x="923" y="1060"/>
                    <a:pt x="927" y="1050"/>
                  </a:cubicBezTo>
                  <a:cubicBezTo>
                    <a:pt x="932" y="1037"/>
                    <a:pt x="934" y="1023"/>
                    <a:pt x="940" y="1010"/>
                  </a:cubicBezTo>
                  <a:cubicBezTo>
                    <a:pt x="945" y="1001"/>
                    <a:pt x="941" y="995"/>
                    <a:pt x="931" y="995"/>
                  </a:cubicBezTo>
                  <a:cubicBezTo>
                    <a:pt x="927" y="995"/>
                    <a:pt x="922" y="995"/>
                    <a:pt x="918" y="995"/>
                  </a:cubicBezTo>
                  <a:cubicBezTo>
                    <a:pt x="913" y="995"/>
                    <a:pt x="908" y="997"/>
                    <a:pt x="907" y="1001"/>
                  </a:cubicBezTo>
                  <a:cubicBezTo>
                    <a:pt x="904" y="1008"/>
                    <a:pt x="900" y="1015"/>
                    <a:pt x="899" y="1023"/>
                  </a:cubicBezTo>
                  <a:cubicBezTo>
                    <a:pt x="897" y="1034"/>
                    <a:pt x="893" y="1045"/>
                    <a:pt x="889" y="1055"/>
                  </a:cubicBezTo>
                  <a:cubicBezTo>
                    <a:pt x="887" y="1064"/>
                    <a:pt x="885" y="1072"/>
                    <a:pt x="882" y="1080"/>
                  </a:cubicBezTo>
                  <a:cubicBezTo>
                    <a:pt x="878" y="1091"/>
                    <a:pt x="874" y="1103"/>
                    <a:pt x="871" y="1115"/>
                  </a:cubicBezTo>
                  <a:cubicBezTo>
                    <a:pt x="870" y="1118"/>
                    <a:pt x="871" y="1124"/>
                    <a:pt x="866" y="1124"/>
                  </a:cubicBezTo>
                  <a:cubicBezTo>
                    <a:pt x="861" y="1125"/>
                    <a:pt x="859" y="1120"/>
                    <a:pt x="858" y="1115"/>
                  </a:cubicBezTo>
                  <a:cubicBezTo>
                    <a:pt x="856" y="1110"/>
                    <a:pt x="856" y="1104"/>
                    <a:pt x="854" y="1099"/>
                  </a:cubicBezTo>
                  <a:cubicBezTo>
                    <a:pt x="848" y="1080"/>
                    <a:pt x="841" y="1062"/>
                    <a:pt x="835" y="1044"/>
                  </a:cubicBezTo>
                  <a:cubicBezTo>
                    <a:pt x="831" y="1030"/>
                    <a:pt x="828" y="1016"/>
                    <a:pt x="822" y="1003"/>
                  </a:cubicBezTo>
                  <a:cubicBezTo>
                    <a:pt x="819" y="997"/>
                    <a:pt x="814" y="994"/>
                    <a:pt x="808" y="994"/>
                  </a:cubicBezTo>
                  <a:cubicBezTo>
                    <a:pt x="799" y="993"/>
                    <a:pt x="791" y="993"/>
                    <a:pt x="787" y="1001"/>
                  </a:cubicBezTo>
                  <a:cubicBezTo>
                    <a:pt x="783" y="1008"/>
                    <a:pt x="780" y="1015"/>
                    <a:pt x="779" y="1022"/>
                  </a:cubicBezTo>
                  <a:cubicBezTo>
                    <a:pt x="778" y="1034"/>
                    <a:pt x="772" y="1044"/>
                    <a:pt x="769" y="1055"/>
                  </a:cubicBezTo>
                  <a:cubicBezTo>
                    <a:pt x="762" y="1076"/>
                    <a:pt x="754" y="1096"/>
                    <a:pt x="749" y="1117"/>
                  </a:cubicBezTo>
                  <a:cubicBezTo>
                    <a:pt x="748" y="1120"/>
                    <a:pt x="747" y="1124"/>
                    <a:pt x="742" y="1124"/>
                  </a:cubicBezTo>
                  <a:cubicBezTo>
                    <a:pt x="737" y="1124"/>
                    <a:pt x="737" y="1120"/>
                    <a:pt x="736" y="1116"/>
                  </a:cubicBezTo>
                  <a:cubicBezTo>
                    <a:pt x="734" y="1104"/>
                    <a:pt x="730" y="1092"/>
                    <a:pt x="726" y="1080"/>
                  </a:cubicBezTo>
                  <a:cubicBezTo>
                    <a:pt x="720" y="1061"/>
                    <a:pt x="714" y="1040"/>
                    <a:pt x="708" y="1020"/>
                  </a:cubicBezTo>
                  <a:cubicBezTo>
                    <a:pt x="703" y="1000"/>
                    <a:pt x="698" y="994"/>
                    <a:pt x="676" y="995"/>
                  </a:cubicBezTo>
                  <a:cubicBezTo>
                    <a:pt x="665" y="996"/>
                    <a:pt x="661" y="1001"/>
                    <a:pt x="667" y="1011"/>
                  </a:cubicBezTo>
                  <a:cubicBezTo>
                    <a:pt x="669" y="1016"/>
                    <a:pt x="670" y="1021"/>
                    <a:pt x="672" y="1025"/>
                  </a:cubicBezTo>
                  <a:cubicBezTo>
                    <a:pt x="675" y="1035"/>
                    <a:pt x="678" y="1046"/>
                    <a:pt x="681" y="1055"/>
                  </a:cubicBezTo>
                  <a:cubicBezTo>
                    <a:pt x="685" y="1068"/>
                    <a:pt x="689" y="1080"/>
                    <a:pt x="693" y="1092"/>
                  </a:cubicBezTo>
                  <a:cubicBezTo>
                    <a:pt x="697" y="1103"/>
                    <a:pt x="699" y="1113"/>
                    <a:pt x="703" y="1124"/>
                  </a:cubicBezTo>
                  <a:cubicBezTo>
                    <a:pt x="707" y="1136"/>
                    <a:pt x="711" y="1147"/>
                    <a:pt x="715" y="1160"/>
                  </a:cubicBezTo>
                  <a:cubicBezTo>
                    <a:pt x="717" y="1168"/>
                    <a:pt x="720" y="1176"/>
                    <a:pt x="724" y="1183"/>
                  </a:cubicBezTo>
                  <a:cubicBezTo>
                    <a:pt x="728" y="1189"/>
                    <a:pt x="752" y="1185"/>
                    <a:pt x="757" y="1180"/>
                  </a:cubicBezTo>
                  <a:cubicBezTo>
                    <a:pt x="764" y="1173"/>
                    <a:pt x="762" y="1163"/>
                    <a:pt x="766" y="1156"/>
                  </a:cubicBezTo>
                  <a:cubicBezTo>
                    <a:pt x="774" y="1140"/>
                    <a:pt x="778" y="1122"/>
                    <a:pt x="784" y="1105"/>
                  </a:cubicBezTo>
                  <a:cubicBezTo>
                    <a:pt x="789" y="1088"/>
                    <a:pt x="796" y="1072"/>
                    <a:pt x="800" y="1054"/>
                  </a:cubicBezTo>
                  <a:cubicBezTo>
                    <a:pt x="800" y="1053"/>
                    <a:pt x="801" y="1050"/>
                    <a:pt x="803" y="1050"/>
                  </a:cubicBezTo>
                  <a:cubicBezTo>
                    <a:pt x="806" y="1050"/>
                    <a:pt x="806" y="1052"/>
                    <a:pt x="807" y="1055"/>
                  </a:cubicBezTo>
                  <a:cubicBezTo>
                    <a:pt x="807" y="1060"/>
                    <a:pt x="810" y="1066"/>
                    <a:pt x="811" y="1071"/>
                  </a:cubicBezTo>
                  <a:cubicBezTo>
                    <a:pt x="814" y="1081"/>
                    <a:pt x="818" y="1090"/>
                    <a:pt x="821" y="1099"/>
                  </a:cubicBezTo>
                  <a:cubicBezTo>
                    <a:pt x="824" y="1110"/>
                    <a:pt x="827" y="1120"/>
                    <a:pt x="831" y="1131"/>
                  </a:cubicBezTo>
                  <a:cubicBezTo>
                    <a:pt x="834" y="1142"/>
                    <a:pt x="839" y="1153"/>
                    <a:pt x="842" y="1164"/>
                  </a:cubicBezTo>
                  <a:cubicBezTo>
                    <a:pt x="846" y="1179"/>
                    <a:pt x="850" y="1188"/>
                    <a:pt x="869" y="1185"/>
                  </a:cubicBezTo>
                  <a:cubicBezTo>
                    <a:pt x="873" y="1184"/>
                    <a:pt x="881" y="1189"/>
                    <a:pt x="884" y="1181"/>
                  </a:cubicBezTo>
                  <a:close/>
                  <a:moveTo>
                    <a:pt x="33" y="1051"/>
                  </a:moveTo>
                  <a:cubicBezTo>
                    <a:pt x="33" y="1087"/>
                    <a:pt x="33" y="1124"/>
                    <a:pt x="33" y="1160"/>
                  </a:cubicBezTo>
                  <a:cubicBezTo>
                    <a:pt x="33" y="1188"/>
                    <a:pt x="29" y="1184"/>
                    <a:pt x="58" y="1185"/>
                  </a:cubicBezTo>
                  <a:cubicBezTo>
                    <a:pt x="72" y="1185"/>
                    <a:pt x="73" y="1184"/>
                    <a:pt x="73" y="1170"/>
                  </a:cubicBezTo>
                  <a:cubicBezTo>
                    <a:pt x="73" y="1138"/>
                    <a:pt x="73" y="1107"/>
                    <a:pt x="73" y="1076"/>
                  </a:cubicBezTo>
                  <a:cubicBezTo>
                    <a:pt x="73" y="1071"/>
                    <a:pt x="72" y="1067"/>
                    <a:pt x="78" y="1065"/>
                  </a:cubicBezTo>
                  <a:cubicBezTo>
                    <a:pt x="91" y="1062"/>
                    <a:pt x="102" y="1067"/>
                    <a:pt x="110" y="1076"/>
                  </a:cubicBezTo>
                  <a:cubicBezTo>
                    <a:pt x="112" y="1080"/>
                    <a:pt x="115" y="1083"/>
                    <a:pt x="118" y="1086"/>
                  </a:cubicBezTo>
                  <a:cubicBezTo>
                    <a:pt x="132" y="1103"/>
                    <a:pt x="146" y="1119"/>
                    <a:pt x="161" y="1136"/>
                  </a:cubicBezTo>
                  <a:cubicBezTo>
                    <a:pt x="173" y="1150"/>
                    <a:pt x="186" y="1165"/>
                    <a:pt x="198" y="1179"/>
                  </a:cubicBezTo>
                  <a:cubicBezTo>
                    <a:pt x="207" y="1188"/>
                    <a:pt x="218" y="1184"/>
                    <a:pt x="228" y="1185"/>
                  </a:cubicBezTo>
                  <a:cubicBezTo>
                    <a:pt x="233" y="1185"/>
                    <a:pt x="241" y="1188"/>
                    <a:pt x="244" y="1182"/>
                  </a:cubicBezTo>
                  <a:cubicBezTo>
                    <a:pt x="246" y="1178"/>
                    <a:pt x="239" y="1173"/>
                    <a:pt x="235" y="1169"/>
                  </a:cubicBezTo>
                  <a:cubicBezTo>
                    <a:pt x="206" y="1133"/>
                    <a:pt x="176" y="1098"/>
                    <a:pt x="146" y="1062"/>
                  </a:cubicBezTo>
                  <a:cubicBezTo>
                    <a:pt x="141" y="1056"/>
                    <a:pt x="131" y="1052"/>
                    <a:pt x="132" y="1044"/>
                  </a:cubicBezTo>
                  <a:cubicBezTo>
                    <a:pt x="132" y="1036"/>
                    <a:pt x="142" y="1032"/>
                    <a:pt x="147" y="1026"/>
                  </a:cubicBezTo>
                  <a:cubicBezTo>
                    <a:pt x="164" y="1006"/>
                    <a:pt x="182" y="988"/>
                    <a:pt x="198" y="968"/>
                  </a:cubicBezTo>
                  <a:cubicBezTo>
                    <a:pt x="209" y="954"/>
                    <a:pt x="221" y="942"/>
                    <a:pt x="234" y="929"/>
                  </a:cubicBezTo>
                  <a:cubicBezTo>
                    <a:pt x="236" y="926"/>
                    <a:pt x="238" y="923"/>
                    <a:pt x="237" y="920"/>
                  </a:cubicBezTo>
                  <a:cubicBezTo>
                    <a:pt x="235" y="915"/>
                    <a:pt x="231" y="917"/>
                    <a:pt x="228" y="917"/>
                  </a:cubicBezTo>
                  <a:cubicBezTo>
                    <a:pt x="224" y="918"/>
                    <a:pt x="221" y="918"/>
                    <a:pt x="217" y="918"/>
                  </a:cubicBezTo>
                  <a:cubicBezTo>
                    <a:pt x="204" y="917"/>
                    <a:pt x="193" y="922"/>
                    <a:pt x="185" y="931"/>
                  </a:cubicBezTo>
                  <a:cubicBezTo>
                    <a:pt x="172" y="946"/>
                    <a:pt x="158" y="961"/>
                    <a:pt x="145" y="977"/>
                  </a:cubicBezTo>
                  <a:cubicBezTo>
                    <a:pt x="131" y="993"/>
                    <a:pt x="117" y="1010"/>
                    <a:pt x="102" y="1026"/>
                  </a:cubicBezTo>
                  <a:cubicBezTo>
                    <a:pt x="96" y="1032"/>
                    <a:pt x="87" y="1037"/>
                    <a:pt x="78" y="1034"/>
                  </a:cubicBezTo>
                  <a:cubicBezTo>
                    <a:pt x="70" y="1030"/>
                    <a:pt x="73" y="1021"/>
                    <a:pt x="73" y="1015"/>
                  </a:cubicBezTo>
                  <a:cubicBezTo>
                    <a:pt x="73" y="991"/>
                    <a:pt x="73" y="967"/>
                    <a:pt x="73" y="944"/>
                  </a:cubicBezTo>
                  <a:cubicBezTo>
                    <a:pt x="73" y="916"/>
                    <a:pt x="75" y="917"/>
                    <a:pt x="46" y="918"/>
                  </a:cubicBezTo>
                  <a:cubicBezTo>
                    <a:pt x="33" y="918"/>
                    <a:pt x="33" y="918"/>
                    <a:pt x="33" y="931"/>
                  </a:cubicBezTo>
                  <a:cubicBezTo>
                    <a:pt x="33" y="971"/>
                    <a:pt x="33" y="1011"/>
                    <a:pt x="33" y="1051"/>
                  </a:cubicBezTo>
                  <a:cubicBezTo>
                    <a:pt x="33" y="1051"/>
                    <a:pt x="33" y="1051"/>
                    <a:pt x="33" y="1051"/>
                  </a:cubicBezTo>
                  <a:close/>
                  <a:moveTo>
                    <a:pt x="639" y="84"/>
                  </a:moveTo>
                  <a:cubicBezTo>
                    <a:pt x="627" y="84"/>
                    <a:pt x="626" y="84"/>
                    <a:pt x="629" y="95"/>
                  </a:cubicBezTo>
                  <a:cubicBezTo>
                    <a:pt x="634" y="113"/>
                    <a:pt x="640" y="131"/>
                    <a:pt x="646" y="148"/>
                  </a:cubicBezTo>
                  <a:cubicBezTo>
                    <a:pt x="652" y="166"/>
                    <a:pt x="658" y="185"/>
                    <a:pt x="664" y="203"/>
                  </a:cubicBezTo>
                  <a:cubicBezTo>
                    <a:pt x="671" y="223"/>
                    <a:pt x="676" y="244"/>
                    <a:pt x="684" y="264"/>
                  </a:cubicBezTo>
                  <a:cubicBezTo>
                    <a:pt x="688" y="274"/>
                    <a:pt x="694" y="274"/>
                    <a:pt x="702" y="274"/>
                  </a:cubicBezTo>
                  <a:cubicBezTo>
                    <a:pt x="711" y="274"/>
                    <a:pt x="719" y="272"/>
                    <a:pt x="723" y="263"/>
                  </a:cubicBezTo>
                  <a:cubicBezTo>
                    <a:pt x="733" y="236"/>
                    <a:pt x="741" y="208"/>
                    <a:pt x="750" y="181"/>
                  </a:cubicBezTo>
                  <a:cubicBezTo>
                    <a:pt x="754" y="169"/>
                    <a:pt x="757" y="156"/>
                    <a:pt x="763" y="145"/>
                  </a:cubicBezTo>
                  <a:cubicBezTo>
                    <a:pt x="764" y="143"/>
                    <a:pt x="764" y="140"/>
                    <a:pt x="767" y="140"/>
                  </a:cubicBezTo>
                  <a:cubicBezTo>
                    <a:pt x="770" y="140"/>
                    <a:pt x="770" y="143"/>
                    <a:pt x="771" y="145"/>
                  </a:cubicBezTo>
                  <a:cubicBezTo>
                    <a:pt x="771" y="156"/>
                    <a:pt x="777" y="165"/>
                    <a:pt x="780" y="175"/>
                  </a:cubicBezTo>
                  <a:cubicBezTo>
                    <a:pt x="782" y="184"/>
                    <a:pt x="785" y="193"/>
                    <a:pt x="788" y="201"/>
                  </a:cubicBezTo>
                  <a:cubicBezTo>
                    <a:pt x="794" y="219"/>
                    <a:pt x="801" y="237"/>
                    <a:pt x="806" y="255"/>
                  </a:cubicBezTo>
                  <a:cubicBezTo>
                    <a:pt x="811" y="272"/>
                    <a:pt x="825" y="280"/>
                    <a:pt x="842" y="273"/>
                  </a:cubicBezTo>
                  <a:cubicBezTo>
                    <a:pt x="845" y="271"/>
                    <a:pt x="847" y="269"/>
                    <a:pt x="848" y="266"/>
                  </a:cubicBezTo>
                  <a:cubicBezTo>
                    <a:pt x="853" y="251"/>
                    <a:pt x="859" y="236"/>
                    <a:pt x="863" y="221"/>
                  </a:cubicBezTo>
                  <a:cubicBezTo>
                    <a:pt x="867" y="202"/>
                    <a:pt x="875" y="185"/>
                    <a:pt x="880" y="166"/>
                  </a:cubicBezTo>
                  <a:cubicBezTo>
                    <a:pt x="886" y="144"/>
                    <a:pt x="895" y="123"/>
                    <a:pt x="900" y="101"/>
                  </a:cubicBezTo>
                  <a:cubicBezTo>
                    <a:pt x="901" y="96"/>
                    <a:pt x="909" y="91"/>
                    <a:pt x="904" y="86"/>
                  </a:cubicBezTo>
                  <a:cubicBezTo>
                    <a:pt x="900" y="81"/>
                    <a:pt x="892" y="84"/>
                    <a:pt x="886" y="84"/>
                  </a:cubicBezTo>
                  <a:cubicBezTo>
                    <a:pt x="885" y="84"/>
                    <a:pt x="883" y="84"/>
                    <a:pt x="881" y="84"/>
                  </a:cubicBezTo>
                  <a:cubicBezTo>
                    <a:pt x="875" y="84"/>
                    <a:pt x="872" y="86"/>
                    <a:pt x="869" y="91"/>
                  </a:cubicBezTo>
                  <a:cubicBezTo>
                    <a:pt x="860" y="110"/>
                    <a:pt x="856" y="131"/>
                    <a:pt x="850" y="151"/>
                  </a:cubicBezTo>
                  <a:cubicBezTo>
                    <a:pt x="844" y="170"/>
                    <a:pt x="836" y="188"/>
                    <a:pt x="834" y="208"/>
                  </a:cubicBezTo>
                  <a:cubicBezTo>
                    <a:pt x="833" y="211"/>
                    <a:pt x="831" y="214"/>
                    <a:pt x="827" y="214"/>
                  </a:cubicBezTo>
                  <a:cubicBezTo>
                    <a:pt x="823" y="214"/>
                    <a:pt x="822" y="210"/>
                    <a:pt x="822" y="207"/>
                  </a:cubicBezTo>
                  <a:cubicBezTo>
                    <a:pt x="817" y="188"/>
                    <a:pt x="811" y="170"/>
                    <a:pt x="805" y="152"/>
                  </a:cubicBezTo>
                  <a:cubicBezTo>
                    <a:pt x="799" y="133"/>
                    <a:pt x="794" y="114"/>
                    <a:pt x="786" y="96"/>
                  </a:cubicBezTo>
                  <a:cubicBezTo>
                    <a:pt x="783" y="87"/>
                    <a:pt x="779" y="84"/>
                    <a:pt x="770" y="84"/>
                  </a:cubicBezTo>
                  <a:cubicBezTo>
                    <a:pt x="761" y="84"/>
                    <a:pt x="752" y="82"/>
                    <a:pt x="748" y="94"/>
                  </a:cubicBezTo>
                  <a:cubicBezTo>
                    <a:pt x="744" y="109"/>
                    <a:pt x="738" y="123"/>
                    <a:pt x="734" y="138"/>
                  </a:cubicBezTo>
                  <a:cubicBezTo>
                    <a:pt x="729" y="153"/>
                    <a:pt x="724" y="167"/>
                    <a:pt x="719" y="182"/>
                  </a:cubicBezTo>
                  <a:cubicBezTo>
                    <a:pt x="716" y="192"/>
                    <a:pt x="715" y="203"/>
                    <a:pt x="708" y="212"/>
                  </a:cubicBezTo>
                  <a:cubicBezTo>
                    <a:pt x="707" y="214"/>
                    <a:pt x="707" y="217"/>
                    <a:pt x="704" y="217"/>
                  </a:cubicBezTo>
                  <a:cubicBezTo>
                    <a:pt x="701" y="217"/>
                    <a:pt x="701" y="213"/>
                    <a:pt x="700" y="211"/>
                  </a:cubicBezTo>
                  <a:cubicBezTo>
                    <a:pt x="699" y="198"/>
                    <a:pt x="694" y="186"/>
                    <a:pt x="690" y="174"/>
                  </a:cubicBezTo>
                  <a:cubicBezTo>
                    <a:pt x="684" y="153"/>
                    <a:pt x="677" y="131"/>
                    <a:pt x="672" y="110"/>
                  </a:cubicBezTo>
                  <a:cubicBezTo>
                    <a:pt x="667" y="88"/>
                    <a:pt x="663" y="84"/>
                    <a:pt x="645" y="84"/>
                  </a:cubicBezTo>
                  <a:cubicBezTo>
                    <a:pt x="643" y="84"/>
                    <a:pt x="641" y="84"/>
                    <a:pt x="639" y="84"/>
                  </a:cubicBezTo>
                  <a:close/>
                  <a:moveTo>
                    <a:pt x="507" y="711"/>
                  </a:moveTo>
                  <a:cubicBezTo>
                    <a:pt x="507" y="730"/>
                    <a:pt x="507" y="730"/>
                    <a:pt x="526" y="730"/>
                  </a:cubicBezTo>
                  <a:cubicBezTo>
                    <a:pt x="539" y="730"/>
                    <a:pt x="541" y="729"/>
                    <a:pt x="541" y="715"/>
                  </a:cubicBezTo>
                  <a:cubicBezTo>
                    <a:pt x="541" y="677"/>
                    <a:pt x="541" y="638"/>
                    <a:pt x="540" y="600"/>
                  </a:cubicBezTo>
                  <a:cubicBezTo>
                    <a:pt x="540" y="593"/>
                    <a:pt x="543" y="587"/>
                    <a:pt x="548" y="582"/>
                  </a:cubicBezTo>
                  <a:cubicBezTo>
                    <a:pt x="553" y="576"/>
                    <a:pt x="559" y="573"/>
                    <a:pt x="564" y="569"/>
                  </a:cubicBezTo>
                  <a:cubicBezTo>
                    <a:pt x="574" y="564"/>
                    <a:pt x="594" y="566"/>
                    <a:pt x="602" y="574"/>
                  </a:cubicBezTo>
                  <a:cubicBezTo>
                    <a:pt x="611" y="582"/>
                    <a:pt x="614" y="592"/>
                    <a:pt x="614" y="604"/>
                  </a:cubicBezTo>
                  <a:cubicBezTo>
                    <a:pt x="614" y="638"/>
                    <a:pt x="614" y="672"/>
                    <a:pt x="614" y="706"/>
                  </a:cubicBezTo>
                  <a:cubicBezTo>
                    <a:pt x="614" y="730"/>
                    <a:pt x="614" y="730"/>
                    <a:pt x="638" y="730"/>
                  </a:cubicBezTo>
                  <a:cubicBezTo>
                    <a:pt x="650" y="730"/>
                    <a:pt x="650" y="730"/>
                    <a:pt x="650" y="717"/>
                  </a:cubicBezTo>
                  <a:cubicBezTo>
                    <a:pt x="650" y="684"/>
                    <a:pt x="650" y="650"/>
                    <a:pt x="650" y="617"/>
                  </a:cubicBezTo>
                  <a:cubicBezTo>
                    <a:pt x="650" y="606"/>
                    <a:pt x="651" y="597"/>
                    <a:pt x="657" y="586"/>
                  </a:cubicBezTo>
                  <a:cubicBezTo>
                    <a:pt x="667" y="565"/>
                    <a:pt x="703" y="560"/>
                    <a:pt x="716" y="579"/>
                  </a:cubicBezTo>
                  <a:cubicBezTo>
                    <a:pt x="723" y="588"/>
                    <a:pt x="724" y="598"/>
                    <a:pt x="724" y="609"/>
                  </a:cubicBezTo>
                  <a:cubicBezTo>
                    <a:pt x="724" y="645"/>
                    <a:pt x="724" y="682"/>
                    <a:pt x="724" y="718"/>
                  </a:cubicBezTo>
                  <a:cubicBezTo>
                    <a:pt x="724" y="727"/>
                    <a:pt x="727" y="731"/>
                    <a:pt x="736" y="730"/>
                  </a:cubicBezTo>
                  <a:cubicBezTo>
                    <a:pt x="738" y="730"/>
                    <a:pt x="741" y="730"/>
                    <a:pt x="743" y="730"/>
                  </a:cubicBezTo>
                  <a:cubicBezTo>
                    <a:pt x="758" y="730"/>
                    <a:pt x="759" y="729"/>
                    <a:pt x="759" y="715"/>
                  </a:cubicBezTo>
                  <a:cubicBezTo>
                    <a:pt x="759" y="677"/>
                    <a:pt x="758" y="639"/>
                    <a:pt x="759" y="601"/>
                  </a:cubicBezTo>
                  <a:cubicBezTo>
                    <a:pt x="759" y="571"/>
                    <a:pt x="742" y="540"/>
                    <a:pt x="704" y="538"/>
                  </a:cubicBezTo>
                  <a:cubicBezTo>
                    <a:pt x="681" y="536"/>
                    <a:pt x="661" y="542"/>
                    <a:pt x="646" y="560"/>
                  </a:cubicBezTo>
                  <a:cubicBezTo>
                    <a:pt x="638" y="569"/>
                    <a:pt x="638" y="569"/>
                    <a:pt x="631" y="559"/>
                  </a:cubicBezTo>
                  <a:cubicBezTo>
                    <a:pt x="630" y="558"/>
                    <a:pt x="630" y="557"/>
                    <a:pt x="629" y="556"/>
                  </a:cubicBezTo>
                  <a:cubicBezTo>
                    <a:pt x="623" y="548"/>
                    <a:pt x="616" y="541"/>
                    <a:pt x="607" y="539"/>
                  </a:cubicBezTo>
                  <a:cubicBezTo>
                    <a:pt x="584" y="534"/>
                    <a:pt x="563" y="539"/>
                    <a:pt x="545" y="555"/>
                  </a:cubicBezTo>
                  <a:cubicBezTo>
                    <a:pt x="540" y="559"/>
                    <a:pt x="537" y="561"/>
                    <a:pt x="537" y="552"/>
                  </a:cubicBezTo>
                  <a:cubicBezTo>
                    <a:pt x="536" y="543"/>
                    <a:pt x="526" y="538"/>
                    <a:pt x="515" y="539"/>
                  </a:cubicBezTo>
                  <a:cubicBezTo>
                    <a:pt x="506" y="540"/>
                    <a:pt x="507" y="546"/>
                    <a:pt x="507" y="552"/>
                  </a:cubicBezTo>
                  <a:cubicBezTo>
                    <a:pt x="507" y="580"/>
                    <a:pt x="507" y="607"/>
                    <a:pt x="507" y="634"/>
                  </a:cubicBezTo>
                  <a:cubicBezTo>
                    <a:pt x="507" y="660"/>
                    <a:pt x="507" y="685"/>
                    <a:pt x="507" y="711"/>
                  </a:cubicBezTo>
                  <a:close/>
                  <a:moveTo>
                    <a:pt x="1525" y="1142"/>
                  </a:moveTo>
                  <a:cubicBezTo>
                    <a:pt x="1517" y="1143"/>
                    <a:pt x="1511" y="1141"/>
                    <a:pt x="1505" y="1136"/>
                  </a:cubicBezTo>
                  <a:cubicBezTo>
                    <a:pt x="1501" y="1133"/>
                    <a:pt x="1495" y="1130"/>
                    <a:pt x="1498" y="1124"/>
                  </a:cubicBezTo>
                  <a:cubicBezTo>
                    <a:pt x="1500" y="1118"/>
                    <a:pt x="1504" y="1114"/>
                    <a:pt x="1512" y="1114"/>
                  </a:cubicBezTo>
                  <a:cubicBezTo>
                    <a:pt x="1521" y="1115"/>
                    <a:pt x="1530" y="1114"/>
                    <a:pt x="1538" y="1115"/>
                  </a:cubicBezTo>
                  <a:cubicBezTo>
                    <a:pt x="1573" y="1117"/>
                    <a:pt x="1610" y="1084"/>
                    <a:pt x="1602" y="1044"/>
                  </a:cubicBezTo>
                  <a:cubicBezTo>
                    <a:pt x="1600" y="1035"/>
                    <a:pt x="1599" y="1028"/>
                    <a:pt x="1611" y="1027"/>
                  </a:cubicBezTo>
                  <a:cubicBezTo>
                    <a:pt x="1614" y="1027"/>
                    <a:pt x="1617" y="1024"/>
                    <a:pt x="1619" y="1023"/>
                  </a:cubicBezTo>
                  <a:cubicBezTo>
                    <a:pt x="1626" y="1019"/>
                    <a:pt x="1624" y="1013"/>
                    <a:pt x="1623" y="1008"/>
                  </a:cubicBezTo>
                  <a:cubicBezTo>
                    <a:pt x="1623" y="1002"/>
                    <a:pt x="1618" y="1003"/>
                    <a:pt x="1613" y="1002"/>
                  </a:cubicBezTo>
                  <a:cubicBezTo>
                    <a:pt x="1598" y="1002"/>
                    <a:pt x="1582" y="1004"/>
                    <a:pt x="1567" y="1000"/>
                  </a:cubicBezTo>
                  <a:cubicBezTo>
                    <a:pt x="1560" y="999"/>
                    <a:pt x="1554" y="993"/>
                    <a:pt x="1546" y="993"/>
                  </a:cubicBezTo>
                  <a:cubicBezTo>
                    <a:pt x="1536" y="994"/>
                    <a:pt x="1525" y="992"/>
                    <a:pt x="1515" y="993"/>
                  </a:cubicBezTo>
                  <a:cubicBezTo>
                    <a:pt x="1490" y="997"/>
                    <a:pt x="1469" y="1010"/>
                    <a:pt x="1462" y="1034"/>
                  </a:cubicBezTo>
                  <a:cubicBezTo>
                    <a:pt x="1455" y="1056"/>
                    <a:pt x="1457" y="1079"/>
                    <a:pt x="1476" y="1096"/>
                  </a:cubicBezTo>
                  <a:cubicBezTo>
                    <a:pt x="1483" y="1103"/>
                    <a:pt x="1483" y="1107"/>
                    <a:pt x="1476" y="1113"/>
                  </a:cubicBezTo>
                  <a:cubicBezTo>
                    <a:pt x="1462" y="1126"/>
                    <a:pt x="1462" y="1142"/>
                    <a:pt x="1473" y="1157"/>
                  </a:cubicBezTo>
                  <a:cubicBezTo>
                    <a:pt x="1476" y="1160"/>
                    <a:pt x="1476" y="1162"/>
                    <a:pt x="1472" y="1164"/>
                  </a:cubicBezTo>
                  <a:cubicBezTo>
                    <a:pt x="1470" y="1166"/>
                    <a:pt x="1468" y="1168"/>
                    <a:pt x="1466" y="1170"/>
                  </a:cubicBezTo>
                  <a:cubicBezTo>
                    <a:pt x="1449" y="1183"/>
                    <a:pt x="1444" y="1201"/>
                    <a:pt x="1454" y="1218"/>
                  </a:cubicBezTo>
                  <a:cubicBezTo>
                    <a:pt x="1464" y="1235"/>
                    <a:pt x="1479" y="1246"/>
                    <a:pt x="1499" y="1249"/>
                  </a:cubicBezTo>
                  <a:cubicBezTo>
                    <a:pt x="1517" y="1252"/>
                    <a:pt x="1535" y="1253"/>
                    <a:pt x="1553" y="1250"/>
                  </a:cubicBezTo>
                  <a:cubicBezTo>
                    <a:pt x="1584" y="1245"/>
                    <a:pt x="1607" y="1232"/>
                    <a:pt x="1619" y="1200"/>
                  </a:cubicBezTo>
                  <a:cubicBezTo>
                    <a:pt x="1627" y="1180"/>
                    <a:pt x="1611" y="1155"/>
                    <a:pt x="1593" y="1148"/>
                  </a:cubicBezTo>
                  <a:cubicBezTo>
                    <a:pt x="1578" y="1142"/>
                    <a:pt x="1563" y="1143"/>
                    <a:pt x="1549" y="1142"/>
                  </a:cubicBezTo>
                  <a:cubicBezTo>
                    <a:pt x="1540" y="1142"/>
                    <a:pt x="1532" y="1142"/>
                    <a:pt x="1525" y="1142"/>
                  </a:cubicBezTo>
                  <a:close/>
                  <a:moveTo>
                    <a:pt x="1556" y="1172"/>
                  </a:moveTo>
                  <a:cubicBezTo>
                    <a:pt x="1566" y="1172"/>
                    <a:pt x="1576" y="1176"/>
                    <a:pt x="1583" y="1183"/>
                  </a:cubicBezTo>
                  <a:cubicBezTo>
                    <a:pt x="1589" y="1190"/>
                    <a:pt x="1589" y="1198"/>
                    <a:pt x="1583" y="1205"/>
                  </a:cubicBezTo>
                  <a:cubicBezTo>
                    <a:pt x="1575" y="1215"/>
                    <a:pt x="1565" y="1220"/>
                    <a:pt x="1553" y="1223"/>
                  </a:cubicBezTo>
                  <a:cubicBezTo>
                    <a:pt x="1534" y="1228"/>
                    <a:pt x="1516" y="1225"/>
                    <a:pt x="1499" y="1219"/>
                  </a:cubicBezTo>
                  <a:cubicBezTo>
                    <a:pt x="1486" y="1214"/>
                    <a:pt x="1479" y="1203"/>
                    <a:pt x="1482" y="1193"/>
                  </a:cubicBezTo>
                  <a:cubicBezTo>
                    <a:pt x="1485" y="1182"/>
                    <a:pt x="1496" y="1168"/>
                    <a:pt x="1514" y="1171"/>
                  </a:cubicBezTo>
                  <a:cubicBezTo>
                    <a:pt x="1526" y="1173"/>
                    <a:pt x="1541" y="1171"/>
                    <a:pt x="1556" y="1172"/>
                  </a:cubicBezTo>
                  <a:close/>
                  <a:moveTo>
                    <a:pt x="1531" y="1019"/>
                  </a:moveTo>
                  <a:cubicBezTo>
                    <a:pt x="1553" y="1017"/>
                    <a:pt x="1570" y="1033"/>
                    <a:pt x="1570" y="1052"/>
                  </a:cubicBezTo>
                  <a:cubicBezTo>
                    <a:pt x="1570" y="1075"/>
                    <a:pt x="1554" y="1093"/>
                    <a:pt x="1532" y="1091"/>
                  </a:cubicBezTo>
                  <a:cubicBezTo>
                    <a:pt x="1508" y="1089"/>
                    <a:pt x="1494" y="1082"/>
                    <a:pt x="1493" y="1053"/>
                  </a:cubicBezTo>
                  <a:cubicBezTo>
                    <a:pt x="1494" y="1029"/>
                    <a:pt x="1508" y="1020"/>
                    <a:pt x="1531" y="1019"/>
                  </a:cubicBezTo>
                  <a:close/>
                  <a:moveTo>
                    <a:pt x="1413" y="934"/>
                  </a:moveTo>
                  <a:cubicBezTo>
                    <a:pt x="1413" y="909"/>
                    <a:pt x="1413" y="909"/>
                    <a:pt x="1389" y="910"/>
                  </a:cubicBezTo>
                  <a:cubicBezTo>
                    <a:pt x="1388" y="910"/>
                    <a:pt x="1387" y="910"/>
                    <a:pt x="1387" y="910"/>
                  </a:cubicBezTo>
                  <a:cubicBezTo>
                    <a:pt x="1379" y="910"/>
                    <a:pt x="1376" y="915"/>
                    <a:pt x="1376" y="921"/>
                  </a:cubicBezTo>
                  <a:cubicBezTo>
                    <a:pt x="1376" y="939"/>
                    <a:pt x="1377" y="956"/>
                    <a:pt x="1377" y="974"/>
                  </a:cubicBezTo>
                  <a:cubicBezTo>
                    <a:pt x="1377" y="983"/>
                    <a:pt x="1377" y="991"/>
                    <a:pt x="1377" y="1000"/>
                  </a:cubicBezTo>
                  <a:cubicBezTo>
                    <a:pt x="1377" y="1005"/>
                    <a:pt x="1374" y="1009"/>
                    <a:pt x="1369" y="1005"/>
                  </a:cubicBezTo>
                  <a:cubicBezTo>
                    <a:pt x="1352" y="990"/>
                    <a:pt x="1332" y="993"/>
                    <a:pt x="1312" y="993"/>
                  </a:cubicBezTo>
                  <a:cubicBezTo>
                    <a:pt x="1303" y="994"/>
                    <a:pt x="1294" y="998"/>
                    <a:pt x="1287" y="1003"/>
                  </a:cubicBezTo>
                  <a:cubicBezTo>
                    <a:pt x="1265" y="1017"/>
                    <a:pt x="1252" y="1039"/>
                    <a:pt x="1248" y="1065"/>
                  </a:cubicBezTo>
                  <a:cubicBezTo>
                    <a:pt x="1244" y="1096"/>
                    <a:pt x="1244" y="1128"/>
                    <a:pt x="1261" y="1157"/>
                  </a:cubicBezTo>
                  <a:cubicBezTo>
                    <a:pt x="1270" y="1170"/>
                    <a:pt x="1281" y="1181"/>
                    <a:pt x="1296" y="1185"/>
                  </a:cubicBezTo>
                  <a:cubicBezTo>
                    <a:pt x="1323" y="1191"/>
                    <a:pt x="1349" y="1188"/>
                    <a:pt x="1370" y="1167"/>
                  </a:cubicBezTo>
                  <a:cubicBezTo>
                    <a:pt x="1372" y="1165"/>
                    <a:pt x="1375" y="1162"/>
                    <a:pt x="1379" y="1163"/>
                  </a:cubicBezTo>
                  <a:cubicBezTo>
                    <a:pt x="1382" y="1165"/>
                    <a:pt x="1381" y="1169"/>
                    <a:pt x="1381" y="1172"/>
                  </a:cubicBezTo>
                  <a:cubicBezTo>
                    <a:pt x="1383" y="1181"/>
                    <a:pt x="1390" y="1186"/>
                    <a:pt x="1403" y="1186"/>
                  </a:cubicBezTo>
                  <a:cubicBezTo>
                    <a:pt x="1413" y="1185"/>
                    <a:pt x="1413" y="1178"/>
                    <a:pt x="1413" y="1172"/>
                  </a:cubicBezTo>
                  <a:cubicBezTo>
                    <a:pt x="1413" y="1131"/>
                    <a:pt x="1413" y="1090"/>
                    <a:pt x="1413" y="1049"/>
                  </a:cubicBezTo>
                  <a:cubicBezTo>
                    <a:pt x="1413" y="1010"/>
                    <a:pt x="1413" y="972"/>
                    <a:pt x="1413" y="934"/>
                  </a:cubicBezTo>
                  <a:close/>
                  <a:moveTo>
                    <a:pt x="1378" y="1113"/>
                  </a:moveTo>
                  <a:cubicBezTo>
                    <a:pt x="1378" y="1136"/>
                    <a:pt x="1360" y="1155"/>
                    <a:pt x="1337" y="1157"/>
                  </a:cubicBezTo>
                  <a:cubicBezTo>
                    <a:pt x="1319" y="1159"/>
                    <a:pt x="1304" y="1154"/>
                    <a:pt x="1294" y="1139"/>
                  </a:cubicBezTo>
                  <a:cubicBezTo>
                    <a:pt x="1286" y="1128"/>
                    <a:pt x="1283" y="1116"/>
                    <a:pt x="1283" y="1102"/>
                  </a:cubicBezTo>
                  <a:cubicBezTo>
                    <a:pt x="1282" y="1085"/>
                    <a:pt x="1282" y="1067"/>
                    <a:pt x="1290" y="1051"/>
                  </a:cubicBezTo>
                  <a:cubicBezTo>
                    <a:pt x="1297" y="1036"/>
                    <a:pt x="1308" y="1024"/>
                    <a:pt x="1325" y="1022"/>
                  </a:cubicBezTo>
                  <a:cubicBezTo>
                    <a:pt x="1342" y="1020"/>
                    <a:pt x="1358" y="1021"/>
                    <a:pt x="1371" y="1035"/>
                  </a:cubicBezTo>
                  <a:cubicBezTo>
                    <a:pt x="1376" y="1041"/>
                    <a:pt x="1378" y="1046"/>
                    <a:pt x="1378" y="1052"/>
                  </a:cubicBezTo>
                  <a:cubicBezTo>
                    <a:pt x="1378" y="1064"/>
                    <a:pt x="1378" y="1075"/>
                    <a:pt x="1378" y="1086"/>
                  </a:cubicBezTo>
                  <a:cubicBezTo>
                    <a:pt x="1378" y="1086"/>
                    <a:pt x="1378" y="1086"/>
                    <a:pt x="1378" y="1086"/>
                  </a:cubicBezTo>
                  <a:cubicBezTo>
                    <a:pt x="1378" y="1095"/>
                    <a:pt x="1378" y="1104"/>
                    <a:pt x="1378" y="1113"/>
                  </a:cubicBezTo>
                  <a:close/>
                  <a:moveTo>
                    <a:pt x="578" y="259"/>
                  </a:moveTo>
                  <a:cubicBezTo>
                    <a:pt x="603" y="241"/>
                    <a:pt x="611" y="213"/>
                    <a:pt x="614" y="183"/>
                  </a:cubicBezTo>
                  <a:cubicBezTo>
                    <a:pt x="615" y="171"/>
                    <a:pt x="610" y="159"/>
                    <a:pt x="609" y="147"/>
                  </a:cubicBezTo>
                  <a:cubicBezTo>
                    <a:pt x="608" y="137"/>
                    <a:pt x="603" y="129"/>
                    <a:pt x="599" y="121"/>
                  </a:cubicBezTo>
                  <a:cubicBezTo>
                    <a:pt x="579" y="87"/>
                    <a:pt x="527" y="70"/>
                    <a:pt x="488" y="85"/>
                  </a:cubicBezTo>
                  <a:cubicBezTo>
                    <a:pt x="453" y="99"/>
                    <a:pt x="436" y="127"/>
                    <a:pt x="431" y="163"/>
                  </a:cubicBezTo>
                  <a:cubicBezTo>
                    <a:pt x="429" y="180"/>
                    <a:pt x="430" y="196"/>
                    <a:pt x="436" y="213"/>
                  </a:cubicBezTo>
                  <a:cubicBezTo>
                    <a:pt x="439" y="222"/>
                    <a:pt x="442" y="232"/>
                    <a:pt x="447" y="239"/>
                  </a:cubicBezTo>
                  <a:cubicBezTo>
                    <a:pt x="465" y="265"/>
                    <a:pt x="491" y="277"/>
                    <a:pt x="525" y="276"/>
                  </a:cubicBezTo>
                  <a:cubicBezTo>
                    <a:pt x="543" y="278"/>
                    <a:pt x="562" y="271"/>
                    <a:pt x="578" y="259"/>
                  </a:cubicBezTo>
                  <a:close/>
                  <a:moveTo>
                    <a:pt x="471" y="205"/>
                  </a:moveTo>
                  <a:cubicBezTo>
                    <a:pt x="466" y="185"/>
                    <a:pt x="468" y="167"/>
                    <a:pt x="472" y="147"/>
                  </a:cubicBezTo>
                  <a:cubicBezTo>
                    <a:pt x="477" y="130"/>
                    <a:pt x="493" y="116"/>
                    <a:pt x="509" y="112"/>
                  </a:cubicBezTo>
                  <a:cubicBezTo>
                    <a:pt x="525" y="108"/>
                    <a:pt x="539" y="110"/>
                    <a:pt x="553" y="119"/>
                  </a:cubicBezTo>
                  <a:cubicBezTo>
                    <a:pt x="563" y="125"/>
                    <a:pt x="568" y="135"/>
                    <a:pt x="571" y="146"/>
                  </a:cubicBezTo>
                  <a:cubicBezTo>
                    <a:pt x="577" y="167"/>
                    <a:pt x="578" y="189"/>
                    <a:pt x="571" y="211"/>
                  </a:cubicBezTo>
                  <a:cubicBezTo>
                    <a:pt x="565" y="231"/>
                    <a:pt x="549" y="249"/>
                    <a:pt x="521" y="247"/>
                  </a:cubicBezTo>
                  <a:cubicBezTo>
                    <a:pt x="496" y="247"/>
                    <a:pt x="478" y="230"/>
                    <a:pt x="471" y="205"/>
                  </a:cubicBezTo>
                  <a:close/>
                  <a:moveTo>
                    <a:pt x="472" y="1122"/>
                  </a:moveTo>
                  <a:cubicBezTo>
                    <a:pt x="475" y="1136"/>
                    <a:pt x="481" y="1148"/>
                    <a:pt x="491" y="1158"/>
                  </a:cubicBezTo>
                  <a:cubicBezTo>
                    <a:pt x="506" y="1176"/>
                    <a:pt x="524" y="1185"/>
                    <a:pt x="548" y="1187"/>
                  </a:cubicBezTo>
                  <a:cubicBezTo>
                    <a:pt x="568" y="1188"/>
                    <a:pt x="587" y="1187"/>
                    <a:pt x="605" y="1177"/>
                  </a:cubicBezTo>
                  <a:cubicBezTo>
                    <a:pt x="632" y="1162"/>
                    <a:pt x="644" y="1136"/>
                    <a:pt x="649" y="1107"/>
                  </a:cubicBezTo>
                  <a:cubicBezTo>
                    <a:pt x="652" y="1089"/>
                    <a:pt x="649" y="1072"/>
                    <a:pt x="644" y="1054"/>
                  </a:cubicBezTo>
                  <a:cubicBezTo>
                    <a:pt x="638" y="1034"/>
                    <a:pt x="627" y="1019"/>
                    <a:pt x="610" y="1007"/>
                  </a:cubicBezTo>
                  <a:cubicBezTo>
                    <a:pt x="589" y="992"/>
                    <a:pt x="566" y="991"/>
                    <a:pt x="541" y="994"/>
                  </a:cubicBezTo>
                  <a:cubicBezTo>
                    <a:pt x="526" y="995"/>
                    <a:pt x="512" y="1002"/>
                    <a:pt x="500" y="1012"/>
                  </a:cubicBezTo>
                  <a:cubicBezTo>
                    <a:pt x="476" y="1032"/>
                    <a:pt x="469" y="1060"/>
                    <a:pt x="466" y="1095"/>
                  </a:cubicBezTo>
                  <a:cubicBezTo>
                    <a:pt x="465" y="1101"/>
                    <a:pt x="470" y="1111"/>
                    <a:pt x="472" y="1122"/>
                  </a:cubicBezTo>
                  <a:close/>
                  <a:moveTo>
                    <a:pt x="508" y="1113"/>
                  </a:moveTo>
                  <a:cubicBezTo>
                    <a:pt x="505" y="1095"/>
                    <a:pt x="506" y="1078"/>
                    <a:pt x="508" y="1061"/>
                  </a:cubicBezTo>
                  <a:cubicBezTo>
                    <a:pt x="511" y="1042"/>
                    <a:pt x="538" y="1021"/>
                    <a:pt x="554" y="1022"/>
                  </a:cubicBezTo>
                  <a:cubicBezTo>
                    <a:pt x="570" y="1022"/>
                    <a:pt x="586" y="1024"/>
                    <a:pt x="596" y="1037"/>
                  </a:cubicBezTo>
                  <a:cubicBezTo>
                    <a:pt x="602" y="1044"/>
                    <a:pt x="607" y="1052"/>
                    <a:pt x="608" y="1061"/>
                  </a:cubicBezTo>
                  <a:cubicBezTo>
                    <a:pt x="608" y="1064"/>
                    <a:pt x="609" y="1067"/>
                    <a:pt x="610" y="1070"/>
                  </a:cubicBezTo>
                  <a:cubicBezTo>
                    <a:pt x="618" y="1089"/>
                    <a:pt x="612" y="1107"/>
                    <a:pt x="607" y="1125"/>
                  </a:cubicBezTo>
                  <a:cubicBezTo>
                    <a:pt x="601" y="1143"/>
                    <a:pt x="588" y="1160"/>
                    <a:pt x="558" y="1157"/>
                  </a:cubicBezTo>
                  <a:cubicBezTo>
                    <a:pt x="530" y="1157"/>
                    <a:pt x="512" y="1141"/>
                    <a:pt x="508" y="1113"/>
                  </a:cubicBezTo>
                  <a:close/>
                  <a:moveTo>
                    <a:pt x="430" y="716"/>
                  </a:moveTo>
                  <a:cubicBezTo>
                    <a:pt x="450" y="703"/>
                    <a:pt x="459" y="683"/>
                    <a:pt x="464" y="661"/>
                  </a:cubicBezTo>
                  <a:cubicBezTo>
                    <a:pt x="468" y="648"/>
                    <a:pt x="467" y="635"/>
                    <a:pt x="466" y="621"/>
                  </a:cubicBezTo>
                  <a:cubicBezTo>
                    <a:pt x="463" y="592"/>
                    <a:pt x="453" y="567"/>
                    <a:pt x="427" y="550"/>
                  </a:cubicBezTo>
                  <a:cubicBezTo>
                    <a:pt x="401" y="534"/>
                    <a:pt x="372" y="532"/>
                    <a:pt x="345" y="541"/>
                  </a:cubicBezTo>
                  <a:cubicBezTo>
                    <a:pt x="310" y="552"/>
                    <a:pt x="291" y="580"/>
                    <a:pt x="287" y="617"/>
                  </a:cubicBezTo>
                  <a:cubicBezTo>
                    <a:pt x="286" y="629"/>
                    <a:pt x="286" y="641"/>
                    <a:pt x="287" y="654"/>
                  </a:cubicBezTo>
                  <a:cubicBezTo>
                    <a:pt x="289" y="671"/>
                    <a:pt x="295" y="686"/>
                    <a:pt x="306" y="700"/>
                  </a:cubicBezTo>
                  <a:cubicBezTo>
                    <a:pt x="324" y="722"/>
                    <a:pt x="348" y="733"/>
                    <a:pt x="378" y="731"/>
                  </a:cubicBezTo>
                  <a:cubicBezTo>
                    <a:pt x="396" y="733"/>
                    <a:pt x="414" y="727"/>
                    <a:pt x="430" y="716"/>
                  </a:cubicBezTo>
                  <a:close/>
                  <a:moveTo>
                    <a:pt x="331" y="592"/>
                  </a:moveTo>
                  <a:cubicBezTo>
                    <a:pt x="339" y="580"/>
                    <a:pt x="349" y="569"/>
                    <a:pt x="365" y="567"/>
                  </a:cubicBezTo>
                  <a:cubicBezTo>
                    <a:pt x="387" y="564"/>
                    <a:pt x="406" y="568"/>
                    <a:pt x="419" y="588"/>
                  </a:cubicBezTo>
                  <a:cubicBezTo>
                    <a:pt x="423" y="595"/>
                    <a:pt x="426" y="603"/>
                    <a:pt x="427" y="610"/>
                  </a:cubicBezTo>
                  <a:cubicBezTo>
                    <a:pt x="433" y="635"/>
                    <a:pt x="431" y="661"/>
                    <a:pt x="416" y="684"/>
                  </a:cubicBezTo>
                  <a:cubicBezTo>
                    <a:pt x="403" y="706"/>
                    <a:pt x="362" y="708"/>
                    <a:pt x="345" y="692"/>
                  </a:cubicBezTo>
                  <a:cubicBezTo>
                    <a:pt x="329" y="678"/>
                    <a:pt x="323" y="661"/>
                    <a:pt x="323" y="631"/>
                  </a:cubicBezTo>
                  <a:cubicBezTo>
                    <a:pt x="323" y="619"/>
                    <a:pt x="323" y="605"/>
                    <a:pt x="331" y="592"/>
                  </a:cubicBezTo>
                  <a:close/>
                  <a:moveTo>
                    <a:pt x="1073" y="259"/>
                  </a:moveTo>
                  <a:cubicBezTo>
                    <a:pt x="1073" y="269"/>
                    <a:pt x="1075" y="272"/>
                    <a:pt x="1086" y="272"/>
                  </a:cubicBezTo>
                  <a:cubicBezTo>
                    <a:pt x="1088" y="272"/>
                    <a:pt x="1090" y="272"/>
                    <a:pt x="1092" y="272"/>
                  </a:cubicBezTo>
                  <a:cubicBezTo>
                    <a:pt x="1105" y="272"/>
                    <a:pt x="1106" y="271"/>
                    <a:pt x="1106" y="258"/>
                  </a:cubicBezTo>
                  <a:cubicBezTo>
                    <a:pt x="1106" y="221"/>
                    <a:pt x="1106" y="184"/>
                    <a:pt x="1106" y="147"/>
                  </a:cubicBezTo>
                  <a:cubicBezTo>
                    <a:pt x="1106" y="143"/>
                    <a:pt x="1106" y="140"/>
                    <a:pt x="1107" y="137"/>
                  </a:cubicBezTo>
                  <a:cubicBezTo>
                    <a:pt x="1117" y="117"/>
                    <a:pt x="1157" y="104"/>
                    <a:pt x="1177" y="114"/>
                  </a:cubicBezTo>
                  <a:cubicBezTo>
                    <a:pt x="1179" y="115"/>
                    <a:pt x="1180" y="117"/>
                    <a:pt x="1182" y="118"/>
                  </a:cubicBezTo>
                  <a:cubicBezTo>
                    <a:pt x="1194" y="131"/>
                    <a:pt x="1196" y="147"/>
                    <a:pt x="1196" y="163"/>
                  </a:cubicBezTo>
                  <a:cubicBezTo>
                    <a:pt x="1197" y="195"/>
                    <a:pt x="1196" y="226"/>
                    <a:pt x="1196" y="258"/>
                  </a:cubicBezTo>
                  <a:cubicBezTo>
                    <a:pt x="1196" y="271"/>
                    <a:pt x="1197" y="272"/>
                    <a:pt x="1210" y="272"/>
                  </a:cubicBezTo>
                  <a:cubicBezTo>
                    <a:pt x="1212" y="272"/>
                    <a:pt x="1213" y="272"/>
                    <a:pt x="1215" y="272"/>
                  </a:cubicBezTo>
                  <a:cubicBezTo>
                    <a:pt x="1227" y="272"/>
                    <a:pt x="1229" y="270"/>
                    <a:pt x="1229" y="258"/>
                  </a:cubicBezTo>
                  <a:cubicBezTo>
                    <a:pt x="1229" y="222"/>
                    <a:pt x="1229" y="187"/>
                    <a:pt x="1229" y="151"/>
                  </a:cubicBezTo>
                  <a:cubicBezTo>
                    <a:pt x="1229" y="142"/>
                    <a:pt x="1228" y="132"/>
                    <a:pt x="1225" y="123"/>
                  </a:cubicBezTo>
                  <a:cubicBezTo>
                    <a:pt x="1219" y="105"/>
                    <a:pt x="1208" y="91"/>
                    <a:pt x="1189" y="85"/>
                  </a:cubicBezTo>
                  <a:cubicBezTo>
                    <a:pt x="1173" y="80"/>
                    <a:pt x="1156" y="84"/>
                    <a:pt x="1139" y="84"/>
                  </a:cubicBezTo>
                  <a:cubicBezTo>
                    <a:pt x="1137" y="84"/>
                    <a:pt x="1136" y="86"/>
                    <a:pt x="1134" y="87"/>
                  </a:cubicBezTo>
                  <a:cubicBezTo>
                    <a:pt x="1128" y="91"/>
                    <a:pt x="1121" y="96"/>
                    <a:pt x="1115" y="100"/>
                  </a:cubicBezTo>
                  <a:cubicBezTo>
                    <a:pt x="1113" y="102"/>
                    <a:pt x="1111" y="105"/>
                    <a:pt x="1108" y="103"/>
                  </a:cubicBezTo>
                  <a:cubicBezTo>
                    <a:pt x="1105" y="102"/>
                    <a:pt x="1106" y="98"/>
                    <a:pt x="1106" y="96"/>
                  </a:cubicBezTo>
                  <a:cubicBezTo>
                    <a:pt x="1106" y="69"/>
                    <a:pt x="1106" y="43"/>
                    <a:pt x="1106" y="17"/>
                  </a:cubicBezTo>
                  <a:cubicBezTo>
                    <a:pt x="1106" y="0"/>
                    <a:pt x="1106" y="0"/>
                    <a:pt x="1089" y="0"/>
                  </a:cubicBezTo>
                  <a:cubicBezTo>
                    <a:pt x="1074" y="0"/>
                    <a:pt x="1073" y="1"/>
                    <a:pt x="1073" y="16"/>
                  </a:cubicBezTo>
                  <a:cubicBezTo>
                    <a:pt x="1073" y="56"/>
                    <a:pt x="1073" y="96"/>
                    <a:pt x="1073" y="136"/>
                  </a:cubicBezTo>
                  <a:cubicBezTo>
                    <a:pt x="1073" y="177"/>
                    <a:pt x="1073" y="218"/>
                    <a:pt x="1073" y="259"/>
                  </a:cubicBezTo>
                  <a:close/>
                  <a:moveTo>
                    <a:pt x="1150" y="1092"/>
                  </a:moveTo>
                  <a:cubicBezTo>
                    <a:pt x="1168" y="1092"/>
                    <a:pt x="1186" y="1092"/>
                    <a:pt x="1204" y="1092"/>
                  </a:cubicBezTo>
                  <a:cubicBezTo>
                    <a:pt x="1215" y="1092"/>
                    <a:pt x="1218" y="1087"/>
                    <a:pt x="1219" y="1077"/>
                  </a:cubicBezTo>
                  <a:cubicBezTo>
                    <a:pt x="1220" y="1062"/>
                    <a:pt x="1216" y="1049"/>
                    <a:pt x="1210" y="1036"/>
                  </a:cubicBezTo>
                  <a:cubicBezTo>
                    <a:pt x="1204" y="1020"/>
                    <a:pt x="1193" y="1008"/>
                    <a:pt x="1177" y="1001"/>
                  </a:cubicBezTo>
                  <a:cubicBezTo>
                    <a:pt x="1155" y="992"/>
                    <a:pt x="1133" y="991"/>
                    <a:pt x="1109" y="999"/>
                  </a:cubicBezTo>
                  <a:cubicBezTo>
                    <a:pt x="1079" y="1010"/>
                    <a:pt x="1062" y="1031"/>
                    <a:pt x="1056" y="1061"/>
                  </a:cubicBezTo>
                  <a:cubicBezTo>
                    <a:pt x="1051" y="1090"/>
                    <a:pt x="1052" y="1120"/>
                    <a:pt x="1069" y="1148"/>
                  </a:cubicBezTo>
                  <a:cubicBezTo>
                    <a:pt x="1081" y="1169"/>
                    <a:pt x="1100" y="1180"/>
                    <a:pt x="1122" y="1185"/>
                  </a:cubicBezTo>
                  <a:cubicBezTo>
                    <a:pt x="1149" y="1190"/>
                    <a:pt x="1176" y="1186"/>
                    <a:pt x="1200" y="1171"/>
                  </a:cubicBezTo>
                  <a:cubicBezTo>
                    <a:pt x="1206" y="1168"/>
                    <a:pt x="1213" y="1165"/>
                    <a:pt x="1214" y="1157"/>
                  </a:cubicBezTo>
                  <a:cubicBezTo>
                    <a:pt x="1215" y="1147"/>
                    <a:pt x="1202" y="1139"/>
                    <a:pt x="1193" y="1144"/>
                  </a:cubicBezTo>
                  <a:cubicBezTo>
                    <a:pt x="1187" y="1147"/>
                    <a:pt x="1180" y="1150"/>
                    <a:pt x="1174" y="1153"/>
                  </a:cubicBezTo>
                  <a:cubicBezTo>
                    <a:pt x="1158" y="1161"/>
                    <a:pt x="1140" y="1161"/>
                    <a:pt x="1124" y="1155"/>
                  </a:cubicBezTo>
                  <a:cubicBezTo>
                    <a:pt x="1112" y="1151"/>
                    <a:pt x="1102" y="1142"/>
                    <a:pt x="1096" y="1129"/>
                  </a:cubicBezTo>
                  <a:cubicBezTo>
                    <a:pt x="1092" y="1121"/>
                    <a:pt x="1091" y="1112"/>
                    <a:pt x="1089" y="1104"/>
                  </a:cubicBezTo>
                  <a:cubicBezTo>
                    <a:pt x="1087" y="1093"/>
                    <a:pt x="1087" y="1092"/>
                    <a:pt x="1099" y="1092"/>
                  </a:cubicBezTo>
                  <a:cubicBezTo>
                    <a:pt x="1116" y="1092"/>
                    <a:pt x="1133" y="1092"/>
                    <a:pt x="1150" y="1092"/>
                  </a:cubicBezTo>
                  <a:cubicBezTo>
                    <a:pt x="1150" y="1092"/>
                    <a:pt x="1150" y="1092"/>
                    <a:pt x="1150" y="1092"/>
                  </a:cubicBezTo>
                  <a:close/>
                  <a:moveTo>
                    <a:pt x="1099" y="1070"/>
                  </a:moveTo>
                  <a:cubicBezTo>
                    <a:pt x="1092" y="1071"/>
                    <a:pt x="1089" y="1067"/>
                    <a:pt x="1091" y="1060"/>
                  </a:cubicBezTo>
                  <a:cubicBezTo>
                    <a:pt x="1094" y="1045"/>
                    <a:pt x="1108" y="1023"/>
                    <a:pt x="1128" y="1022"/>
                  </a:cubicBezTo>
                  <a:cubicBezTo>
                    <a:pt x="1142" y="1021"/>
                    <a:pt x="1156" y="1018"/>
                    <a:pt x="1168" y="1029"/>
                  </a:cubicBezTo>
                  <a:cubicBezTo>
                    <a:pt x="1181" y="1038"/>
                    <a:pt x="1185" y="1051"/>
                    <a:pt x="1187" y="1066"/>
                  </a:cubicBezTo>
                  <a:cubicBezTo>
                    <a:pt x="1188" y="1071"/>
                    <a:pt x="1183" y="1070"/>
                    <a:pt x="1180" y="1070"/>
                  </a:cubicBezTo>
                  <a:cubicBezTo>
                    <a:pt x="1166" y="1070"/>
                    <a:pt x="1153" y="1070"/>
                    <a:pt x="1139" y="1070"/>
                  </a:cubicBezTo>
                  <a:cubicBezTo>
                    <a:pt x="1139" y="1070"/>
                    <a:pt x="1139" y="1070"/>
                    <a:pt x="1139" y="1070"/>
                  </a:cubicBezTo>
                  <a:cubicBezTo>
                    <a:pt x="1126" y="1070"/>
                    <a:pt x="1113" y="1070"/>
                    <a:pt x="1099" y="1070"/>
                  </a:cubicBezTo>
                  <a:close/>
                  <a:moveTo>
                    <a:pt x="1741" y="1092"/>
                  </a:moveTo>
                  <a:cubicBezTo>
                    <a:pt x="1759" y="1092"/>
                    <a:pt x="1776" y="1092"/>
                    <a:pt x="1793" y="1092"/>
                  </a:cubicBezTo>
                  <a:cubicBezTo>
                    <a:pt x="1806" y="1092"/>
                    <a:pt x="1808" y="1089"/>
                    <a:pt x="1808" y="1076"/>
                  </a:cubicBezTo>
                  <a:cubicBezTo>
                    <a:pt x="1809" y="1063"/>
                    <a:pt x="1807" y="1051"/>
                    <a:pt x="1802" y="1038"/>
                  </a:cubicBezTo>
                  <a:cubicBezTo>
                    <a:pt x="1794" y="1021"/>
                    <a:pt x="1782" y="1008"/>
                    <a:pt x="1764" y="1000"/>
                  </a:cubicBezTo>
                  <a:cubicBezTo>
                    <a:pt x="1742" y="991"/>
                    <a:pt x="1720" y="991"/>
                    <a:pt x="1698" y="1000"/>
                  </a:cubicBezTo>
                  <a:cubicBezTo>
                    <a:pt x="1681" y="1006"/>
                    <a:pt x="1668" y="1016"/>
                    <a:pt x="1659" y="1031"/>
                  </a:cubicBezTo>
                  <a:cubicBezTo>
                    <a:pt x="1646" y="1050"/>
                    <a:pt x="1643" y="1071"/>
                    <a:pt x="1644" y="1094"/>
                  </a:cubicBezTo>
                  <a:cubicBezTo>
                    <a:pt x="1644" y="1110"/>
                    <a:pt x="1647" y="1127"/>
                    <a:pt x="1655" y="1141"/>
                  </a:cubicBezTo>
                  <a:cubicBezTo>
                    <a:pt x="1669" y="1168"/>
                    <a:pt x="1691" y="1183"/>
                    <a:pt x="1722" y="1186"/>
                  </a:cubicBezTo>
                  <a:cubicBezTo>
                    <a:pt x="1750" y="1188"/>
                    <a:pt x="1775" y="1183"/>
                    <a:pt x="1798" y="1165"/>
                  </a:cubicBezTo>
                  <a:cubicBezTo>
                    <a:pt x="1803" y="1161"/>
                    <a:pt x="1806" y="1157"/>
                    <a:pt x="1802" y="1151"/>
                  </a:cubicBezTo>
                  <a:cubicBezTo>
                    <a:pt x="1798" y="1144"/>
                    <a:pt x="1791" y="1140"/>
                    <a:pt x="1783" y="1144"/>
                  </a:cubicBezTo>
                  <a:cubicBezTo>
                    <a:pt x="1778" y="1147"/>
                    <a:pt x="1771" y="1149"/>
                    <a:pt x="1766" y="1152"/>
                  </a:cubicBezTo>
                  <a:cubicBezTo>
                    <a:pt x="1749" y="1161"/>
                    <a:pt x="1730" y="1162"/>
                    <a:pt x="1714" y="1155"/>
                  </a:cubicBezTo>
                  <a:cubicBezTo>
                    <a:pt x="1692" y="1145"/>
                    <a:pt x="1680" y="1127"/>
                    <a:pt x="1679" y="1102"/>
                  </a:cubicBezTo>
                  <a:cubicBezTo>
                    <a:pt x="1678" y="1095"/>
                    <a:pt x="1681" y="1092"/>
                    <a:pt x="1689" y="1092"/>
                  </a:cubicBezTo>
                  <a:cubicBezTo>
                    <a:pt x="1706" y="1092"/>
                    <a:pt x="1724" y="1092"/>
                    <a:pt x="1741" y="1092"/>
                  </a:cubicBezTo>
                  <a:cubicBezTo>
                    <a:pt x="1741" y="1092"/>
                    <a:pt x="1741" y="1092"/>
                    <a:pt x="1741" y="1092"/>
                  </a:cubicBezTo>
                  <a:close/>
                  <a:moveTo>
                    <a:pt x="1690" y="1070"/>
                  </a:moveTo>
                  <a:cubicBezTo>
                    <a:pt x="1683" y="1071"/>
                    <a:pt x="1680" y="1068"/>
                    <a:pt x="1681" y="1062"/>
                  </a:cubicBezTo>
                  <a:cubicBezTo>
                    <a:pt x="1683" y="1048"/>
                    <a:pt x="1697" y="1024"/>
                    <a:pt x="1716" y="1022"/>
                  </a:cubicBezTo>
                  <a:cubicBezTo>
                    <a:pt x="1731" y="1020"/>
                    <a:pt x="1747" y="1018"/>
                    <a:pt x="1760" y="1030"/>
                  </a:cubicBezTo>
                  <a:cubicBezTo>
                    <a:pt x="1771" y="1038"/>
                    <a:pt x="1775" y="1050"/>
                    <a:pt x="1778" y="1062"/>
                  </a:cubicBezTo>
                  <a:cubicBezTo>
                    <a:pt x="1780" y="1068"/>
                    <a:pt x="1775" y="1070"/>
                    <a:pt x="1769" y="1070"/>
                  </a:cubicBezTo>
                  <a:cubicBezTo>
                    <a:pt x="1756" y="1070"/>
                    <a:pt x="1742" y="1070"/>
                    <a:pt x="1729" y="1070"/>
                  </a:cubicBezTo>
                  <a:cubicBezTo>
                    <a:pt x="1729" y="1070"/>
                    <a:pt x="1729" y="1070"/>
                    <a:pt x="1729" y="1070"/>
                  </a:cubicBezTo>
                  <a:cubicBezTo>
                    <a:pt x="1716" y="1070"/>
                    <a:pt x="1703" y="1070"/>
                    <a:pt x="1690" y="1070"/>
                  </a:cubicBezTo>
                  <a:close/>
                  <a:moveTo>
                    <a:pt x="68" y="581"/>
                  </a:moveTo>
                  <a:cubicBezTo>
                    <a:pt x="68" y="573"/>
                    <a:pt x="70" y="568"/>
                    <a:pt x="80" y="569"/>
                  </a:cubicBezTo>
                  <a:cubicBezTo>
                    <a:pt x="90" y="570"/>
                    <a:pt x="101" y="570"/>
                    <a:pt x="111" y="569"/>
                  </a:cubicBezTo>
                  <a:cubicBezTo>
                    <a:pt x="120" y="569"/>
                    <a:pt x="120" y="563"/>
                    <a:pt x="120" y="556"/>
                  </a:cubicBezTo>
                  <a:cubicBezTo>
                    <a:pt x="120" y="549"/>
                    <a:pt x="119" y="544"/>
                    <a:pt x="111" y="544"/>
                  </a:cubicBezTo>
                  <a:cubicBezTo>
                    <a:pt x="104" y="544"/>
                    <a:pt x="97" y="544"/>
                    <a:pt x="91" y="544"/>
                  </a:cubicBezTo>
                  <a:cubicBezTo>
                    <a:pt x="66" y="544"/>
                    <a:pt x="65" y="543"/>
                    <a:pt x="68" y="518"/>
                  </a:cubicBezTo>
                  <a:cubicBezTo>
                    <a:pt x="69" y="504"/>
                    <a:pt x="83" y="487"/>
                    <a:pt x="99" y="489"/>
                  </a:cubicBezTo>
                  <a:cubicBezTo>
                    <a:pt x="103" y="489"/>
                    <a:pt x="107" y="489"/>
                    <a:pt x="110" y="488"/>
                  </a:cubicBezTo>
                  <a:cubicBezTo>
                    <a:pt x="118" y="487"/>
                    <a:pt x="123" y="479"/>
                    <a:pt x="123" y="471"/>
                  </a:cubicBezTo>
                  <a:cubicBezTo>
                    <a:pt x="123" y="461"/>
                    <a:pt x="116" y="462"/>
                    <a:pt x="109" y="460"/>
                  </a:cubicBezTo>
                  <a:cubicBezTo>
                    <a:pt x="100" y="458"/>
                    <a:pt x="92" y="460"/>
                    <a:pt x="84" y="460"/>
                  </a:cubicBezTo>
                  <a:cubicBezTo>
                    <a:pt x="68" y="461"/>
                    <a:pt x="56" y="469"/>
                    <a:pt x="47" y="480"/>
                  </a:cubicBezTo>
                  <a:cubicBezTo>
                    <a:pt x="34" y="493"/>
                    <a:pt x="32" y="511"/>
                    <a:pt x="32" y="529"/>
                  </a:cubicBezTo>
                  <a:cubicBezTo>
                    <a:pt x="32" y="544"/>
                    <a:pt x="32" y="544"/>
                    <a:pt x="17" y="544"/>
                  </a:cubicBezTo>
                  <a:cubicBezTo>
                    <a:pt x="4" y="543"/>
                    <a:pt x="0" y="548"/>
                    <a:pt x="4" y="561"/>
                  </a:cubicBezTo>
                  <a:cubicBezTo>
                    <a:pt x="6" y="569"/>
                    <a:pt x="13" y="568"/>
                    <a:pt x="19" y="569"/>
                  </a:cubicBezTo>
                  <a:cubicBezTo>
                    <a:pt x="32" y="571"/>
                    <a:pt x="32" y="571"/>
                    <a:pt x="32" y="584"/>
                  </a:cubicBezTo>
                  <a:cubicBezTo>
                    <a:pt x="32" y="624"/>
                    <a:pt x="32" y="664"/>
                    <a:pt x="32" y="704"/>
                  </a:cubicBezTo>
                  <a:cubicBezTo>
                    <a:pt x="32" y="731"/>
                    <a:pt x="32" y="730"/>
                    <a:pt x="57" y="731"/>
                  </a:cubicBezTo>
                  <a:cubicBezTo>
                    <a:pt x="66" y="731"/>
                    <a:pt x="68" y="727"/>
                    <a:pt x="68" y="720"/>
                  </a:cubicBezTo>
                  <a:cubicBezTo>
                    <a:pt x="68" y="697"/>
                    <a:pt x="68" y="674"/>
                    <a:pt x="68" y="651"/>
                  </a:cubicBezTo>
                  <a:cubicBezTo>
                    <a:pt x="68" y="628"/>
                    <a:pt x="68" y="605"/>
                    <a:pt x="68" y="581"/>
                  </a:cubicBezTo>
                  <a:close/>
                  <a:moveTo>
                    <a:pt x="278" y="1165"/>
                  </a:moveTo>
                  <a:cubicBezTo>
                    <a:pt x="278" y="1183"/>
                    <a:pt x="278" y="1183"/>
                    <a:pt x="296" y="1184"/>
                  </a:cubicBezTo>
                  <a:cubicBezTo>
                    <a:pt x="310" y="1184"/>
                    <a:pt x="310" y="1184"/>
                    <a:pt x="310" y="1169"/>
                  </a:cubicBezTo>
                  <a:cubicBezTo>
                    <a:pt x="310" y="1132"/>
                    <a:pt x="310" y="1095"/>
                    <a:pt x="310" y="1058"/>
                  </a:cubicBezTo>
                  <a:cubicBezTo>
                    <a:pt x="310" y="1052"/>
                    <a:pt x="312" y="1047"/>
                    <a:pt x="316" y="1042"/>
                  </a:cubicBezTo>
                  <a:cubicBezTo>
                    <a:pt x="324" y="1033"/>
                    <a:pt x="334" y="1027"/>
                    <a:pt x="345" y="1024"/>
                  </a:cubicBezTo>
                  <a:cubicBezTo>
                    <a:pt x="357" y="1020"/>
                    <a:pt x="371" y="1018"/>
                    <a:pt x="383" y="1028"/>
                  </a:cubicBezTo>
                  <a:cubicBezTo>
                    <a:pt x="397" y="1039"/>
                    <a:pt x="401" y="1054"/>
                    <a:pt x="401" y="1071"/>
                  </a:cubicBezTo>
                  <a:cubicBezTo>
                    <a:pt x="401" y="1102"/>
                    <a:pt x="401" y="1132"/>
                    <a:pt x="401" y="1163"/>
                  </a:cubicBezTo>
                  <a:cubicBezTo>
                    <a:pt x="401" y="1183"/>
                    <a:pt x="401" y="1182"/>
                    <a:pt x="420" y="1184"/>
                  </a:cubicBezTo>
                  <a:cubicBezTo>
                    <a:pt x="429" y="1185"/>
                    <a:pt x="433" y="1181"/>
                    <a:pt x="433" y="1173"/>
                  </a:cubicBezTo>
                  <a:cubicBezTo>
                    <a:pt x="432" y="1130"/>
                    <a:pt x="435" y="1087"/>
                    <a:pt x="431" y="1044"/>
                  </a:cubicBezTo>
                  <a:cubicBezTo>
                    <a:pt x="427" y="1014"/>
                    <a:pt x="404" y="996"/>
                    <a:pt x="376" y="994"/>
                  </a:cubicBezTo>
                  <a:cubicBezTo>
                    <a:pt x="353" y="992"/>
                    <a:pt x="333" y="1000"/>
                    <a:pt x="317" y="1017"/>
                  </a:cubicBezTo>
                  <a:cubicBezTo>
                    <a:pt x="312" y="1021"/>
                    <a:pt x="311" y="1019"/>
                    <a:pt x="309" y="1015"/>
                  </a:cubicBezTo>
                  <a:cubicBezTo>
                    <a:pt x="309" y="1013"/>
                    <a:pt x="308" y="1011"/>
                    <a:pt x="308" y="1008"/>
                  </a:cubicBezTo>
                  <a:cubicBezTo>
                    <a:pt x="306" y="1001"/>
                    <a:pt x="298" y="997"/>
                    <a:pt x="287" y="998"/>
                  </a:cubicBezTo>
                  <a:cubicBezTo>
                    <a:pt x="279" y="999"/>
                    <a:pt x="278" y="1004"/>
                    <a:pt x="278" y="1011"/>
                  </a:cubicBezTo>
                  <a:cubicBezTo>
                    <a:pt x="278" y="1037"/>
                    <a:pt x="278" y="1064"/>
                    <a:pt x="278" y="1091"/>
                  </a:cubicBezTo>
                  <a:cubicBezTo>
                    <a:pt x="278" y="1115"/>
                    <a:pt x="278" y="1140"/>
                    <a:pt x="278" y="1165"/>
                  </a:cubicBezTo>
                  <a:close/>
                  <a:moveTo>
                    <a:pt x="150" y="705"/>
                  </a:moveTo>
                  <a:cubicBezTo>
                    <a:pt x="150" y="734"/>
                    <a:pt x="145" y="730"/>
                    <a:pt x="176" y="731"/>
                  </a:cubicBezTo>
                  <a:cubicBezTo>
                    <a:pt x="185" y="731"/>
                    <a:pt x="187" y="727"/>
                    <a:pt x="187" y="719"/>
                  </a:cubicBezTo>
                  <a:cubicBezTo>
                    <a:pt x="187" y="685"/>
                    <a:pt x="187" y="651"/>
                    <a:pt x="187" y="618"/>
                  </a:cubicBezTo>
                  <a:cubicBezTo>
                    <a:pt x="187" y="597"/>
                    <a:pt x="204" y="578"/>
                    <a:pt x="225" y="574"/>
                  </a:cubicBezTo>
                  <a:cubicBezTo>
                    <a:pt x="232" y="572"/>
                    <a:pt x="240" y="574"/>
                    <a:pt x="247" y="575"/>
                  </a:cubicBezTo>
                  <a:cubicBezTo>
                    <a:pt x="257" y="576"/>
                    <a:pt x="261" y="572"/>
                    <a:pt x="265" y="564"/>
                  </a:cubicBezTo>
                  <a:cubicBezTo>
                    <a:pt x="269" y="556"/>
                    <a:pt x="267" y="542"/>
                    <a:pt x="261" y="540"/>
                  </a:cubicBezTo>
                  <a:cubicBezTo>
                    <a:pt x="253" y="538"/>
                    <a:pt x="244" y="534"/>
                    <a:pt x="237" y="536"/>
                  </a:cubicBezTo>
                  <a:cubicBezTo>
                    <a:pt x="228" y="537"/>
                    <a:pt x="217" y="537"/>
                    <a:pt x="209" y="544"/>
                  </a:cubicBezTo>
                  <a:cubicBezTo>
                    <a:pt x="204" y="549"/>
                    <a:pt x="198" y="553"/>
                    <a:pt x="194" y="558"/>
                  </a:cubicBezTo>
                  <a:cubicBezTo>
                    <a:pt x="192" y="561"/>
                    <a:pt x="189" y="563"/>
                    <a:pt x="185" y="562"/>
                  </a:cubicBezTo>
                  <a:cubicBezTo>
                    <a:pt x="182" y="561"/>
                    <a:pt x="182" y="558"/>
                    <a:pt x="182" y="556"/>
                  </a:cubicBezTo>
                  <a:cubicBezTo>
                    <a:pt x="180" y="539"/>
                    <a:pt x="179" y="539"/>
                    <a:pt x="162" y="539"/>
                  </a:cubicBezTo>
                  <a:cubicBezTo>
                    <a:pt x="151" y="539"/>
                    <a:pt x="150" y="540"/>
                    <a:pt x="150" y="551"/>
                  </a:cubicBezTo>
                  <a:cubicBezTo>
                    <a:pt x="150" y="579"/>
                    <a:pt x="150" y="607"/>
                    <a:pt x="150" y="635"/>
                  </a:cubicBezTo>
                  <a:cubicBezTo>
                    <a:pt x="150" y="658"/>
                    <a:pt x="149" y="682"/>
                    <a:pt x="150" y="705"/>
                  </a:cubicBezTo>
                  <a:close/>
                  <a:moveTo>
                    <a:pt x="1011" y="1049"/>
                  </a:moveTo>
                  <a:cubicBezTo>
                    <a:pt x="1011" y="1008"/>
                    <a:pt x="1011" y="966"/>
                    <a:pt x="1011" y="924"/>
                  </a:cubicBezTo>
                  <a:cubicBezTo>
                    <a:pt x="1011" y="913"/>
                    <a:pt x="1008" y="910"/>
                    <a:pt x="997" y="910"/>
                  </a:cubicBezTo>
                  <a:cubicBezTo>
                    <a:pt x="995" y="910"/>
                    <a:pt x="992" y="910"/>
                    <a:pt x="990" y="910"/>
                  </a:cubicBezTo>
                  <a:cubicBezTo>
                    <a:pt x="976" y="910"/>
                    <a:pt x="975" y="911"/>
                    <a:pt x="975" y="926"/>
                  </a:cubicBezTo>
                  <a:cubicBezTo>
                    <a:pt x="975" y="1006"/>
                    <a:pt x="975" y="1085"/>
                    <a:pt x="975" y="1165"/>
                  </a:cubicBezTo>
                  <a:cubicBezTo>
                    <a:pt x="975" y="1185"/>
                    <a:pt x="975" y="1185"/>
                    <a:pt x="994" y="1185"/>
                  </a:cubicBezTo>
                  <a:cubicBezTo>
                    <a:pt x="1009" y="1185"/>
                    <a:pt x="1011" y="1184"/>
                    <a:pt x="1011" y="1169"/>
                  </a:cubicBezTo>
                  <a:cubicBezTo>
                    <a:pt x="1011" y="1129"/>
                    <a:pt x="1011" y="1089"/>
                    <a:pt x="1011" y="1049"/>
                  </a:cubicBezTo>
                  <a:cubicBezTo>
                    <a:pt x="1011" y="1049"/>
                    <a:pt x="1011" y="1049"/>
                    <a:pt x="1011" y="1049"/>
                  </a:cubicBezTo>
                  <a:close/>
                  <a:moveTo>
                    <a:pt x="296" y="176"/>
                  </a:moveTo>
                  <a:cubicBezTo>
                    <a:pt x="296" y="201"/>
                    <a:pt x="296" y="226"/>
                    <a:pt x="296" y="251"/>
                  </a:cubicBezTo>
                  <a:cubicBezTo>
                    <a:pt x="295" y="276"/>
                    <a:pt x="296" y="274"/>
                    <a:pt x="318" y="274"/>
                  </a:cubicBezTo>
                  <a:cubicBezTo>
                    <a:pt x="330" y="274"/>
                    <a:pt x="331" y="274"/>
                    <a:pt x="331" y="260"/>
                  </a:cubicBezTo>
                  <a:cubicBezTo>
                    <a:pt x="331" y="232"/>
                    <a:pt x="331" y="204"/>
                    <a:pt x="331" y="176"/>
                  </a:cubicBezTo>
                  <a:cubicBezTo>
                    <a:pt x="331" y="165"/>
                    <a:pt x="331" y="155"/>
                    <a:pt x="337" y="145"/>
                  </a:cubicBezTo>
                  <a:cubicBezTo>
                    <a:pt x="349" y="123"/>
                    <a:pt x="359" y="117"/>
                    <a:pt x="377" y="118"/>
                  </a:cubicBezTo>
                  <a:cubicBezTo>
                    <a:pt x="383" y="118"/>
                    <a:pt x="389" y="119"/>
                    <a:pt x="395" y="120"/>
                  </a:cubicBezTo>
                  <a:cubicBezTo>
                    <a:pt x="401" y="120"/>
                    <a:pt x="407" y="118"/>
                    <a:pt x="408" y="112"/>
                  </a:cubicBezTo>
                  <a:cubicBezTo>
                    <a:pt x="409" y="103"/>
                    <a:pt x="415" y="93"/>
                    <a:pt x="407" y="85"/>
                  </a:cubicBezTo>
                  <a:cubicBezTo>
                    <a:pt x="406" y="84"/>
                    <a:pt x="404" y="84"/>
                    <a:pt x="402" y="84"/>
                  </a:cubicBezTo>
                  <a:cubicBezTo>
                    <a:pt x="376" y="78"/>
                    <a:pt x="353" y="82"/>
                    <a:pt x="337" y="106"/>
                  </a:cubicBezTo>
                  <a:cubicBezTo>
                    <a:pt x="336" y="108"/>
                    <a:pt x="335" y="110"/>
                    <a:pt x="333" y="109"/>
                  </a:cubicBezTo>
                  <a:cubicBezTo>
                    <a:pt x="331" y="109"/>
                    <a:pt x="330" y="107"/>
                    <a:pt x="330" y="105"/>
                  </a:cubicBezTo>
                  <a:cubicBezTo>
                    <a:pt x="329" y="101"/>
                    <a:pt x="329" y="97"/>
                    <a:pt x="328" y="94"/>
                  </a:cubicBezTo>
                  <a:cubicBezTo>
                    <a:pt x="325" y="85"/>
                    <a:pt x="318" y="82"/>
                    <a:pt x="303" y="84"/>
                  </a:cubicBezTo>
                  <a:cubicBezTo>
                    <a:pt x="297" y="84"/>
                    <a:pt x="295" y="86"/>
                    <a:pt x="295" y="92"/>
                  </a:cubicBezTo>
                  <a:cubicBezTo>
                    <a:pt x="296" y="120"/>
                    <a:pt x="295" y="148"/>
                    <a:pt x="295" y="176"/>
                  </a:cubicBezTo>
                  <a:cubicBezTo>
                    <a:pt x="296" y="176"/>
                    <a:pt x="296" y="176"/>
                    <a:pt x="296" y="176"/>
                  </a:cubicBezTo>
                  <a:close/>
                  <a:moveTo>
                    <a:pt x="946" y="179"/>
                  </a:moveTo>
                  <a:cubicBezTo>
                    <a:pt x="946" y="197"/>
                    <a:pt x="946" y="215"/>
                    <a:pt x="946" y="234"/>
                  </a:cubicBezTo>
                  <a:cubicBezTo>
                    <a:pt x="946" y="248"/>
                    <a:pt x="951" y="260"/>
                    <a:pt x="963" y="268"/>
                  </a:cubicBezTo>
                  <a:cubicBezTo>
                    <a:pt x="982" y="280"/>
                    <a:pt x="1011" y="277"/>
                    <a:pt x="1029" y="264"/>
                  </a:cubicBezTo>
                  <a:cubicBezTo>
                    <a:pt x="1036" y="259"/>
                    <a:pt x="1036" y="254"/>
                    <a:pt x="1032" y="248"/>
                  </a:cubicBezTo>
                  <a:cubicBezTo>
                    <a:pt x="1026" y="239"/>
                    <a:pt x="1020" y="238"/>
                    <a:pt x="1013" y="242"/>
                  </a:cubicBezTo>
                  <a:cubicBezTo>
                    <a:pt x="996" y="252"/>
                    <a:pt x="978" y="243"/>
                    <a:pt x="978" y="223"/>
                  </a:cubicBezTo>
                  <a:cubicBezTo>
                    <a:pt x="978" y="190"/>
                    <a:pt x="978" y="157"/>
                    <a:pt x="978" y="123"/>
                  </a:cubicBezTo>
                  <a:cubicBezTo>
                    <a:pt x="978" y="116"/>
                    <a:pt x="981" y="113"/>
                    <a:pt x="988" y="113"/>
                  </a:cubicBezTo>
                  <a:cubicBezTo>
                    <a:pt x="999" y="114"/>
                    <a:pt x="1011" y="113"/>
                    <a:pt x="1022" y="113"/>
                  </a:cubicBezTo>
                  <a:cubicBezTo>
                    <a:pt x="1028" y="113"/>
                    <a:pt x="1033" y="112"/>
                    <a:pt x="1033" y="104"/>
                  </a:cubicBezTo>
                  <a:cubicBezTo>
                    <a:pt x="1033" y="96"/>
                    <a:pt x="1032" y="90"/>
                    <a:pt x="1022" y="90"/>
                  </a:cubicBezTo>
                  <a:cubicBezTo>
                    <a:pt x="1011" y="90"/>
                    <a:pt x="1001" y="90"/>
                    <a:pt x="990" y="90"/>
                  </a:cubicBezTo>
                  <a:cubicBezTo>
                    <a:pt x="981" y="91"/>
                    <a:pt x="977" y="88"/>
                    <a:pt x="978" y="78"/>
                  </a:cubicBezTo>
                  <a:cubicBezTo>
                    <a:pt x="978" y="64"/>
                    <a:pt x="978" y="49"/>
                    <a:pt x="978" y="35"/>
                  </a:cubicBezTo>
                  <a:cubicBezTo>
                    <a:pt x="978" y="30"/>
                    <a:pt x="978" y="25"/>
                    <a:pt x="971" y="24"/>
                  </a:cubicBezTo>
                  <a:cubicBezTo>
                    <a:pt x="964" y="24"/>
                    <a:pt x="956" y="24"/>
                    <a:pt x="955" y="32"/>
                  </a:cubicBezTo>
                  <a:cubicBezTo>
                    <a:pt x="952" y="43"/>
                    <a:pt x="949" y="54"/>
                    <a:pt x="949" y="65"/>
                  </a:cubicBezTo>
                  <a:cubicBezTo>
                    <a:pt x="948" y="88"/>
                    <a:pt x="947" y="88"/>
                    <a:pt x="924" y="91"/>
                  </a:cubicBezTo>
                  <a:cubicBezTo>
                    <a:pt x="919" y="92"/>
                    <a:pt x="914" y="92"/>
                    <a:pt x="914" y="99"/>
                  </a:cubicBezTo>
                  <a:cubicBezTo>
                    <a:pt x="915" y="107"/>
                    <a:pt x="917" y="113"/>
                    <a:pt x="926" y="113"/>
                  </a:cubicBezTo>
                  <a:cubicBezTo>
                    <a:pt x="929" y="114"/>
                    <a:pt x="932" y="113"/>
                    <a:pt x="935" y="113"/>
                  </a:cubicBezTo>
                  <a:cubicBezTo>
                    <a:pt x="943" y="113"/>
                    <a:pt x="946" y="116"/>
                    <a:pt x="946" y="124"/>
                  </a:cubicBezTo>
                  <a:cubicBezTo>
                    <a:pt x="946" y="142"/>
                    <a:pt x="946" y="161"/>
                    <a:pt x="946" y="179"/>
                  </a:cubicBezTo>
                  <a:cubicBezTo>
                    <a:pt x="946" y="179"/>
                    <a:pt x="946" y="179"/>
                    <a:pt x="946" y="179"/>
                  </a:cubicBezTo>
                  <a:close/>
                </a:path>
              </a:pathLst>
            </a:custGeom>
            <a:solidFill>
              <a:srgbClr val="4C505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p>
          </p:txBody>
        </p:sp>
        <p:grpSp>
          <p:nvGrpSpPr>
            <p:cNvPr id="22" name="Group 4">
              <a:extLst>
                <a:ext uri="{FF2B5EF4-FFF2-40B4-BE49-F238E27FC236}">
                  <a16:creationId xmlns:a16="http://schemas.microsoft.com/office/drawing/2014/main" id="{841CE161-6F37-4024-80FD-2DE51F6FF046}"/>
                </a:ext>
              </a:extLst>
            </p:cNvPr>
            <p:cNvGrpSpPr>
              <a:grpSpLocks noChangeAspect="1"/>
            </p:cNvGrpSpPr>
            <p:nvPr userDrawn="1"/>
          </p:nvGrpSpPr>
          <p:grpSpPr bwMode="gray">
            <a:xfrm>
              <a:off x="334963" y="296652"/>
              <a:ext cx="538094" cy="540000"/>
              <a:chOff x="2711" y="1027"/>
              <a:chExt cx="2258" cy="2266"/>
            </a:xfrm>
          </p:grpSpPr>
          <p:sp>
            <p:nvSpPr>
              <p:cNvPr id="23" name="AutoShape 3">
                <a:extLst>
                  <a:ext uri="{FF2B5EF4-FFF2-40B4-BE49-F238E27FC236}">
                    <a16:creationId xmlns:a16="http://schemas.microsoft.com/office/drawing/2014/main" id="{0CDA5636-7EDC-429C-91A5-CDAF9001428B}"/>
                  </a:ext>
                </a:extLst>
              </p:cNvPr>
              <p:cNvSpPr>
                <a:spLocks noChangeAspect="1" noChangeArrowheads="1" noTextEdit="1"/>
              </p:cNvSpPr>
              <p:nvPr userDrawn="1"/>
            </p:nvSpPr>
            <p:spPr bwMode="gray">
              <a:xfrm>
                <a:off x="2711" y="1027"/>
                <a:ext cx="2258" cy="22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9" dirty="0"/>
              </a:p>
            </p:txBody>
          </p:sp>
          <p:sp>
            <p:nvSpPr>
              <p:cNvPr id="24" name="Freeform 5">
                <a:extLst>
                  <a:ext uri="{FF2B5EF4-FFF2-40B4-BE49-F238E27FC236}">
                    <a16:creationId xmlns:a16="http://schemas.microsoft.com/office/drawing/2014/main" id="{E1B03C70-0655-443C-BB1B-A29D63ED15A8}"/>
                  </a:ext>
                </a:extLst>
              </p:cNvPr>
              <p:cNvSpPr>
                <a:spLocks/>
              </p:cNvSpPr>
              <p:nvPr userDrawn="1"/>
            </p:nvSpPr>
            <p:spPr bwMode="gray">
              <a:xfrm>
                <a:off x="2709" y="1029"/>
                <a:ext cx="2260" cy="2262"/>
              </a:xfrm>
              <a:custGeom>
                <a:avLst/>
                <a:gdLst>
                  <a:gd name="T0" fmla="*/ 2260 w 2260"/>
                  <a:gd name="T1" fmla="*/ 0 h 2262"/>
                  <a:gd name="T2" fmla="*/ 1612 w 2260"/>
                  <a:gd name="T3" fmla="*/ 649 h 2262"/>
                  <a:gd name="T4" fmla="*/ 1612 w 2260"/>
                  <a:gd name="T5" fmla="*/ 649 h 2262"/>
                  <a:gd name="T6" fmla="*/ 2035 w 2260"/>
                  <a:gd name="T7" fmla="*/ 0 h 2262"/>
                  <a:gd name="T8" fmla="*/ 0 w 2260"/>
                  <a:gd name="T9" fmla="*/ 0 h 2262"/>
                  <a:gd name="T10" fmla="*/ 0 w 2260"/>
                  <a:gd name="T11" fmla="*/ 2262 h 2262"/>
                  <a:gd name="T12" fmla="*/ 2260 w 2260"/>
                  <a:gd name="T13" fmla="*/ 2262 h 2262"/>
                  <a:gd name="T14" fmla="*/ 2260 w 2260"/>
                  <a:gd name="T15" fmla="*/ 0 h 2262"/>
                  <a:gd name="T16" fmla="*/ 2260 w 2260"/>
                  <a:gd name="T17" fmla="*/ 0 h 2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0" h="2262">
                    <a:moveTo>
                      <a:pt x="2260" y="0"/>
                    </a:moveTo>
                    <a:lnTo>
                      <a:pt x="1612" y="649"/>
                    </a:lnTo>
                    <a:lnTo>
                      <a:pt x="1612" y="649"/>
                    </a:lnTo>
                    <a:lnTo>
                      <a:pt x="2035" y="0"/>
                    </a:lnTo>
                    <a:lnTo>
                      <a:pt x="0" y="0"/>
                    </a:lnTo>
                    <a:lnTo>
                      <a:pt x="0" y="2262"/>
                    </a:lnTo>
                    <a:lnTo>
                      <a:pt x="2260" y="2262"/>
                    </a:lnTo>
                    <a:lnTo>
                      <a:pt x="2260" y="0"/>
                    </a:lnTo>
                    <a:lnTo>
                      <a:pt x="2260" y="0"/>
                    </a:lnTo>
                    <a:close/>
                  </a:path>
                </a:pathLst>
              </a:custGeom>
              <a:solidFill>
                <a:srgbClr val="E55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p>
            </p:txBody>
          </p:sp>
          <p:sp>
            <p:nvSpPr>
              <p:cNvPr id="25" name="Freeform 6">
                <a:extLst>
                  <a:ext uri="{FF2B5EF4-FFF2-40B4-BE49-F238E27FC236}">
                    <a16:creationId xmlns:a16="http://schemas.microsoft.com/office/drawing/2014/main" id="{1ADD4FFD-FF1A-41F7-97E1-DC9EDA1D7D1C}"/>
                  </a:ext>
                </a:extLst>
              </p:cNvPr>
              <p:cNvSpPr>
                <a:spLocks noEditPoints="1"/>
              </p:cNvSpPr>
              <p:nvPr userDrawn="1"/>
            </p:nvSpPr>
            <p:spPr bwMode="gray">
              <a:xfrm>
                <a:off x="3623" y="1696"/>
                <a:ext cx="1167" cy="922"/>
              </a:xfrm>
              <a:custGeom>
                <a:avLst/>
                <a:gdLst>
                  <a:gd name="T0" fmla="*/ 411 w 580"/>
                  <a:gd name="T1" fmla="*/ 213 h 458"/>
                  <a:gd name="T2" fmla="*/ 570 w 580"/>
                  <a:gd name="T3" fmla="*/ 37 h 458"/>
                  <a:gd name="T4" fmla="*/ 580 w 580"/>
                  <a:gd name="T5" fmla="*/ 20 h 458"/>
                  <a:gd name="T6" fmla="*/ 545 w 580"/>
                  <a:gd name="T7" fmla="*/ 0 h 458"/>
                  <a:gd name="T8" fmla="*/ 519 w 580"/>
                  <a:gd name="T9" fmla="*/ 16 h 458"/>
                  <a:gd name="T10" fmla="*/ 344 w 580"/>
                  <a:gd name="T11" fmla="*/ 210 h 458"/>
                  <a:gd name="T12" fmla="*/ 334 w 580"/>
                  <a:gd name="T13" fmla="*/ 229 h 458"/>
                  <a:gd name="T14" fmla="*/ 344 w 580"/>
                  <a:gd name="T15" fmla="*/ 248 h 458"/>
                  <a:gd name="T16" fmla="*/ 519 w 580"/>
                  <a:gd name="T17" fmla="*/ 442 h 458"/>
                  <a:gd name="T18" fmla="*/ 545 w 580"/>
                  <a:gd name="T19" fmla="*/ 458 h 458"/>
                  <a:gd name="T20" fmla="*/ 580 w 580"/>
                  <a:gd name="T21" fmla="*/ 438 h 458"/>
                  <a:gd name="T22" fmla="*/ 570 w 580"/>
                  <a:gd name="T23" fmla="*/ 421 h 458"/>
                  <a:gd name="T24" fmla="*/ 411 w 580"/>
                  <a:gd name="T25" fmla="*/ 245 h 458"/>
                  <a:gd name="T26" fmla="*/ 399 w 580"/>
                  <a:gd name="T27" fmla="*/ 229 h 458"/>
                  <a:gd name="T28" fmla="*/ 411 w 580"/>
                  <a:gd name="T29" fmla="*/ 213 h 458"/>
                  <a:gd name="T30" fmla="*/ 252 w 580"/>
                  <a:gd name="T31" fmla="*/ 439 h 458"/>
                  <a:gd name="T32" fmla="*/ 281 w 580"/>
                  <a:gd name="T33" fmla="*/ 454 h 458"/>
                  <a:gd name="T34" fmla="*/ 309 w 580"/>
                  <a:gd name="T35" fmla="*/ 439 h 458"/>
                  <a:gd name="T36" fmla="*/ 309 w 580"/>
                  <a:gd name="T37" fmla="*/ 19 h 458"/>
                  <a:gd name="T38" fmla="*/ 281 w 580"/>
                  <a:gd name="T39" fmla="*/ 4 h 458"/>
                  <a:gd name="T40" fmla="*/ 252 w 580"/>
                  <a:gd name="T41" fmla="*/ 19 h 458"/>
                  <a:gd name="T42" fmla="*/ 252 w 580"/>
                  <a:gd name="T43" fmla="*/ 439 h 458"/>
                  <a:gd name="T44" fmla="*/ 0 w 580"/>
                  <a:gd name="T45" fmla="*/ 439 h 458"/>
                  <a:gd name="T46" fmla="*/ 28 w 580"/>
                  <a:gd name="T47" fmla="*/ 454 h 458"/>
                  <a:gd name="T48" fmla="*/ 56 w 580"/>
                  <a:gd name="T49" fmla="*/ 439 h 458"/>
                  <a:gd name="T50" fmla="*/ 56 w 580"/>
                  <a:gd name="T51" fmla="*/ 157 h 458"/>
                  <a:gd name="T52" fmla="*/ 165 w 580"/>
                  <a:gd name="T53" fmla="*/ 53 h 458"/>
                  <a:gd name="T54" fmla="*/ 180 w 580"/>
                  <a:gd name="T55" fmla="*/ 53 h 458"/>
                  <a:gd name="T56" fmla="*/ 196 w 580"/>
                  <a:gd name="T57" fmla="*/ 27 h 458"/>
                  <a:gd name="T58" fmla="*/ 154 w 580"/>
                  <a:gd name="T59" fmla="*/ 4 h 458"/>
                  <a:gd name="T60" fmla="*/ 0 w 580"/>
                  <a:gd name="T61" fmla="*/ 152 h 458"/>
                  <a:gd name="T62" fmla="*/ 0 w 580"/>
                  <a:gd name="T63" fmla="*/ 439 h 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80" h="458">
                    <a:moveTo>
                      <a:pt x="411" y="213"/>
                    </a:moveTo>
                    <a:cubicBezTo>
                      <a:pt x="570" y="37"/>
                      <a:pt x="570" y="37"/>
                      <a:pt x="570" y="37"/>
                    </a:cubicBezTo>
                    <a:cubicBezTo>
                      <a:pt x="576" y="30"/>
                      <a:pt x="580" y="25"/>
                      <a:pt x="580" y="20"/>
                    </a:cubicBezTo>
                    <a:cubicBezTo>
                      <a:pt x="580" y="10"/>
                      <a:pt x="559" y="0"/>
                      <a:pt x="545" y="0"/>
                    </a:cubicBezTo>
                    <a:cubicBezTo>
                      <a:pt x="535" y="0"/>
                      <a:pt x="526" y="8"/>
                      <a:pt x="519" y="16"/>
                    </a:cubicBezTo>
                    <a:cubicBezTo>
                      <a:pt x="344" y="210"/>
                      <a:pt x="344" y="210"/>
                      <a:pt x="344" y="210"/>
                    </a:cubicBezTo>
                    <a:cubicBezTo>
                      <a:pt x="336" y="219"/>
                      <a:pt x="334" y="224"/>
                      <a:pt x="334" y="229"/>
                    </a:cubicBezTo>
                    <a:cubicBezTo>
                      <a:pt x="334" y="234"/>
                      <a:pt x="336" y="239"/>
                      <a:pt x="344" y="248"/>
                    </a:cubicBezTo>
                    <a:cubicBezTo>
                      <a:pt x="519" y="442"/>
                      <a:pt x="519" y="442"/>
                      <a:pt x="519" y="442"/>
                    </a:cubicBezTo>
                    <a:cubicBezTo>
                      <a:pt x="526" y="450"/>
                      <a:pt x="535" y="458"/>
                      <a:pt x="545" y="458"/>
                    </a:cubicBezTo>
                    <a:cubicBezTo>
                      <a:pt x="559" y="458"/>
                      <a:pt x="580" y="448"/>
                      <a:pt x="580" y="438"/>
                    </a:cubicBezTo>
                    <a:cubicBezTo>
                      <a:pt x="580" y="433"/>
                      <a:pt x="576" y="428"/>
                      <a:pt x="570" y="421"/>
                    </a:cubicBezTo>
                    <a:cubicBezTo>
                      <a:pt x="411" y="245"/>
                      <a:pt x="411" y="245"/>
                      <a:pt x="411" y="245"/>
                    </a:cubicBezTo>
                    <a:cubicBezTo>
                      <a:pt x="403" y="236"/>
                      <a:pt x="399" y="232"/>
                      <a:pt x="399" y="229"/>
                    </a:cubicBezTo>
                    <a:cubicBezTo>
                      <a:pt x="399" y="226"/>
                      <a:pt x="403" y="222"/>
                      <a:pt x="411" y="213"/>
                    </a:cubicBezTo>
                    <a:moveTo>
                      <a:pt x="252" y="439"/>
                    </a:moveTo>
                    <a:cubicBezTo>
                      <a:pt x="252" y="449"/>
                      <a:pt x="261" y="454"/>
                      <a:pt x="281" y="454"/>
                    </a:cubicBezTo>
                    <a:cubicBezTo>
                      <a:pt x="300" y="454"/>
                      <a:pt x="309" y="449"/>
                      <a:pt x="309" y="439"/>
                    </a:cubicBezTo>
                    <a:cubicBezTo>
                      <a:pt x="309" y="19"/>
                      <a:pt x="309" y="19"/>
                      <a:pt x="309" y="19"/>
                    </a:cubicBezTo>
                    <a:cubicBezTo>
                      <a:pt x="309" y="9"/>
                      <a:pt x="300" y="4"/>
                      <a:pt x="281" y="4"/>
                    </a:cubicBezTo>
                    <a:cubicBezTo>
                      <a:pt x="261" y="4"/>
                      <a:pt x="252" y="9"/>
                      <a:pt x="252" y="19"/>
                    </a:cubicBezTo>
                    <a:lnTo>
                      <a:pt x="252" y="439"/>
                    </a:lnTo>
                    <a:close/>
                    <a:moveTo>
                      <a:pt x="0" y="439"/>
                    </a:moveTo>
                    <a:cubicBezTo>
                      <a:pt x="0" y="449"/>
                      <a:pt x="8" y="454"/>
                      <a:pt x="28" y="454"/>
                    </a:cubicBezTo>
                    <a:cubicBezTo>
                      <a:pt x="48" y="454"/>
                      <a:pt x="56" y="449"/>
                      <a:pt x="56" y="439"/>
                    </a:cubicBezTo>
                    <a:cubicBezTo>
                      <a:pt x="56" y="157"/>
                      <a:pt x="56" y="157"/>
                      <a:pt x="56" y="157"/>
                    </a:cubicBezTo>
                    <a:cubicBezTo>
                      <a:pt x="56" y="83"/>
                      <a:pt x="85" y="53"/>
                      <a:pt x="165" y="53"/>
                    </a:cubicBezTo>
                    <a:cubicBezTo>
                      <a:pt x="180" y="53"/>
                      <a:pt x="180" y="53"/>
                      <a:pt x="180" y="53"/>
                    </a:cubicBezTo>
                    <a:cubicBezTo>
                      <a:pt x="192" y="53"/>
                      <a:pt x="196" y="43"/>
                      <a:pt x="196" y="27"/>
                    </a:cubicBezTo>
                    <a:cubicBezTo>
                      <a:pt x="196" y="8"/>
                      <a:pt x="185" y="4"/>
                      <a:pt x="154" y="4"/>
                    </a:cubicBezTo>
                    <a:cubicBezTo>
                      <a:pt x="64" y="4"/>
                      <a:pt x="0" y="43"/>
                      <a:pt x="0" y="152"/>
                    </a:cubicBezTo>
                    <a:lnTo>
                      <a:pt x="0" y="43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p>
            </p:txBody>
          </p:sp>
          <p:sp>
            <p:nvSpPr>
              <p:cNvPr id="26" name="Freeform 7">
                <a:extLst>
                  <a:ext uri="{FF2B5EF4-FFF2-40B4-BE49-F238E27FC236}">
                    <a16:creationId xmlns:a16="http://schemas.microsoft.com/office/drawing/2014/main" id="{2B93C94A-1487-48B3-A51B-C60A5FBEA547}"/>
                  </a:ext>
                </a:extLst>
              </p:cNvPr>
              <p:cNvSpPr>
                <a:spLocks/>
              </p:cNvSpPr>
              <p:nvPr userDrawn="1"/>
            </p:nvSpPr>
            <p:spPr bwMode="gray">
              <a:xfrm>
                <a:off x="2880" y="1704"/>
                <a:ext cx="618" cy="916"/>
              </a:xfrm>
              <a:custGeom>
                <a:avLst/>
                <a:gdLst>
                  <a:gd name="T0" fmla="*/ 307 w 307"/>
                  <a:gd name="T1" fmla="*/ 405 h 455"/>
                  <a:gd name="T2" fmla="*/ 307 w 307"/>
                  <a:gd name="T3" fmla="*/ 244 h 455"/>
                  <a:gd name="T4" fmla="*/ 279 w 307"/>
                  <a:gd name="T5" fmla="*/ 229 h 455"/>
                  <a:gd name="T6" fmla="*/ 250 w 307"/>
                  <a:gd name="T7" fmla="*/ 244 h 455"/>
                  <a:gd name="T8" fmla="*/ 250 w 307"/>
                  <a:gd name="T9" fmla="*/ 378 h 455"/>
                  <a:gd name="T10" fmla="*/ 199 w 307"/>
                  <a:gd name="T11" fmla="*/ 408 h 455"/>
                  <a:gd name="T12" fmla="*/ 61 w 307"/>
                  <a:gd name="T13" fmla="*/ 231 h 455"/>
                  <a:gd name="T14" fmla="*/ 238 w 307"/>
                  <a:gd name="T15" fmla="*/ 49 h 455"/>
                  <a:gd name="T16" fmla="*/ 270 w 307"/>
                  <a:gd name="T17" fmla="*/ 49 h 455"/>
                  <a:gd name="T18" fmla="*/ 286 w 307"/>
                  <a:gd name="T19" fmla="*/ 23 h 455"/>
                  <a:gd name="T20" fmla="*/ 244 w 307"/>
                  <a:gd name="T21" fmla="*/ 0 h 455"/>
                  <a:gd name="T22" fmla="*/ 231 w 307"/>
                  <a:gd name="T23" fmla="*/ 0 h 455"/>
                  <a:gd name="T24" fmla="*/ 0 w 307"/>
                  <a:gd name="T25" fmla="*/ 232 h 455"/>
                  <a:gd name="T26" fmla="*/ 198 w 307"/>
                  <a:gd name="T27" fmla="*/ 455 h 455"/>
                  <a:gd name="T28" fmla="*/ 307 w 307"/>
                  <a:gd name="T29" fmla="*/ 405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7" h="455">
                    <a:moveTo>
                      <a:pt x="307" y="405"/>
                    </a:moveTo>
                    <a:cubicBezTo>
                      <a:pt x="307" y="244"/>
                      <a:pt x="307" y="244"/>
                      <a:pt x="307" y="244"/>
                    </a:cubicBezTo>
                    <a:cubicBezTo>
                      <a:pt x="307" y="234"/>
                      <a:pt x="298" y="229"/>
                      <a:pt x="279" y="229"/>
                    </a:cubicBezTo>
                    <a:cubicBezTo>
                      <a:pt x="259" y="229"/>
                      <a:pt x="250" y="234"/>
                      <a:pt x="250" y="244"/>
                    </a:cubicBezTo>
                    <a:cubicBezTo>
                      <a:pt x="250" y="378"/>
                      <a:pt x="250" y="378"/>
                      <a:pt x="250" y="378"/>
                    </a:cubicBezTo>
                    <a:cubicBezTo>
                      <a:pt x="250" y="399"/>
                      <a:pt x="241" y="408"/>
                      <a:pt x="199" y="408"/>
                    </a:cubicBezTo>
                    <a:cubicBezTo>
                      <a:pt x="114" y="408"/>
                      <a:pt x="61" y="342"/>
                      <a:pt x="61" y="231"/>
                    </a:cubicBezTo>
                    <a:cubicBezTo>
                      <a:pt x="61" y="115"/>
                      <a:pt x="126" y="49"/>
                      <a:pt x="238" y="49"/>
                    </a:cubicBezTo>
                    <a:cubicBezTo>
                      <a:pt x="270" y="49"/>
                      <a:pt x="270" y="49"/>
                      <a:pt x="270" y="49"/>
                    </a:cubicBezTo>
                    <a:cubicBezTo>
                      <a:pt x="282" y="49"/>
                      <a:pt x="286" y="39"/>
                      <a:pt x="286" y="23"/>
                    </a:cubicBezTo>
                    <a:cubicBezTo>
                      <a:pt x="286" y="4"/>
                      <a:pt x="275" y="0"/>
                      <a:pt x="244" y="0"/>
                    </a:cubicBezTo>
                    <a:cubicBezTo>
                      <a:pt x="231" y="0"/>
                      <a:pt x="231" y="0"/>
                      <a:pt x="231" y="0"/>
                    </a:cubicBezTo>
                    <a:cubicBezTo>
                      <a:pt x="101" y="0"/>
                      <a:pt x="0" y="71"/>
                      <a:pt x="0" y="232"/>
                    </a:cubicBezTo>
                    <a:cubicBezTo>
                      <a:pt x="0" y="386"/>
                      <a:pt x="88" y="455"/>
                      <a:pt x="198" y="455"/>
                    </a:cubicBezTo>
                    <a:cubicBezTo>
                      <a:pt x="286" y="455"/>
                      <a:pt x="307" y="430"/>
                      <a:pt x="307" y="40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p>
            </p:txBody>
          </p:sp>
          <p:sp>
            <p:nvSpPr>
              <p:cNvPr id="27" name="Oval 8">
                <a:extLst>
                  <a:ext uri="{FF2B5EF4-FFF2-40B4-BE49-F238E27FC236}">
                    <a16:creationId xmlns:a16="http://schemas.microsoft.com/office/drawing/2014/main" id="{1CA583DE-FBF0-466F-9886-D23A3AEE0F61}"/>
                  </a:ext>
                </a:extLst>
              </p:cNvPr>
              <p:cNvSpPr>
                <a:spLocks noChangeArrowheads="1"/>
              </p:cNvSpPr>
              <p:nvPr userDrawn="1"/>
            </p:nvSpPr>
            <p:spPr bwMode="gray">
              <a:xfrm>
                <a:off x="3778" y="2099"/>
                <a:ext cx="122" cy="12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p>
            </p:txBody>
          </p:sp>
          <p:sp>
            <p:nvSpPr>
              <p:cNvPr id="28" name="Freeform 9">
                <a:extLst>
                  <a:ext uri="{FF2B5EF4-FFF2-40B4-BE49-F238E27FC236}">
                    <a16:creationId xmlns:a16="http://schemas.microsoft.com/office/drawing/2014/main" id="{525DB4FE-6F6B-444C-8A42-B07CDAB20CD3}"/>
                  </a:ext>
                </a:extLst>
              </p:cNvPr>
              <p:cNvSpPr>
                <a:spLocks noEditPoints="1"/>
              </p:cNvSpPr>
              <p:nvPr userDrawn="1"/>
            </p:nvSpPr>
            <p:spPr bwMode="gray">
              <a:xfrm>
                <a:off x="3623" y="1696"/>
                <a:ext cx="1167" cy="922"/>
              </a:xfrm>
              <a:custGeom>
                <a:avLst/>
                <a:gdLst>
                  <a:gd name="T0" fmla="*/ 411 w 580"/>
                  <a:gd name="T1" fmla="*/ 213 h 458"/>
                  <a:gd name="T2" fmla="*/ 570 w 580"/>
                  <a:gd name="T3" fmla="*/ 37 h 458"/>
                  <a:gd name="T4" fmla="*/ 580 w 580"/>
                  <a:gd name="T5" fmla="*/ 20 h 458"/>
                  <a:gd name="T6" fmla="*/ 545 w 580"/>
                  <a:gd name="T7" fmla="*/ 0 h 458"/>
                  <a:gd name="T8" fmla="*/ 519 w 580"/>
                  <a:gd name="T9" fmla="*/ 16 h 458"/>
                  <a:gd name="T10" fmla="*/ 344 w 580"/>
                  <a:gd name="T11" fmla="*/ 210 h 458"/>
                  <a:gd name="T12" fmla="*/ 334 w 580"/>
                  <a:gd name="T13" fmla="*/ 229 h 458"/>
                  <a:gd name="T14" fmla="*/ 344 w 580"/>
                  <a:gd name="T15" fmla="*/ 248 h 458"/>
                  <a:gd name="T16" fmla="*/ 519 w 580"/>
                  <a:gd name="T17" fmla="*/ 442 h 458"/>
                  <a:gd name="T18" fmla="*/ 545 w 580"/>
                  <a:gd name="T19" fmla="*/ 458 h 458"/>
                  <a:gd name="T20" fmla="*/ 580 w 580"/>
                  <a:gd name="T21" fmla="*/ 438 h 458"/>
                  <a:gd name="T22" fmla="*/ 570 w 580"/>
                  <a:gd name="T23" fmla="*/ 421 h 458"/>
                  <a:gd name="T24" fmla="*/ 411 w 580"/>
                  <a:gd name="T25" fmla="*/ 245 h 458"/>
                  <a:gd name="T26" fmla="*/ 399 w 580"/>
                  <a:gd name="T27" fmla="*/ 229 h 458"/>
                  <a:gd name="T28" fmla="*/ 411 w 580"/>
                  <a:gd name="T29" fmla="*/ 213 h 458"/>
                  <a:gd name="T30" fmla="*/ 252 w 580"/>
                  <a:gd name="T31" fmla="*/ 439 h 458"/>
                  <a:gd name="T32" fmla="*/ 281 w 580"/>
                  <a:gd name="T33" fmla="*/ 454 h 458"/>
                  <a:gd name="T34" fmla="*/ 309 w 580"/>
                  <a:gd name="T35" fmla="*/ 439 h 458"/>
                  <a:gd name="T36" fmla="*/ 309 w 580"/>
                  <a:gd name="T37" fmla="*/ 19 h 458"/>
                  <a:gd name="T38" fmla="*/ 281 w 580"/>
                  <a:gd name="T39" fmla="*/ 4 h 458"/>
                  <a:gd name="T40" fmla="*/ 252 w 580"/>
                  <a:gd name="T41" fmla="*/ 19 h 458"/>
                  <a:gd name="T42" fmla="*/ 252 w 580"/>
                  <a:gd name="T43" fmla="*/ 439 h 458"/>
                  <a:gd name="T44" fmla="*/ 0 w 580"/>
                  <a:gd name="T45" fmla="*/ 439 h 458"/>
                  <a:gd name="T46" fmla="*/ 28 w 580"/>
                  <a:gd name="T47" fmla="*/ 454 h 458"/>
                  <a:gd name="T48" fmla="*/ 56 w 580"/>
                  <a:gd name="T49" fmla="*/ 439 h 458"/>
                  <a:gd name="T50" fmla="*/ 56 w 580"/>
                  <a:gd name="T51" fmla="*/ 157 h 458"/>
                  <a:gd name="T52" fmla="*/ 165 w 580"/>
                  <a:gd name="T53" fmla="*/ 53 h 458"/>
                  <a:gd name="T54" fmla="*/ 180 w 580"/>
                  <a:gd name="T55" fmla="*/ 53 h 458"/>
                  <a:gd name="T56" fmla="*/ 196 w 580"/>
                  <a:gd name="T57" fmla="*/ 27 h 458"/>
                  <a:gd name="T58" fmla="*/ 154 w 580"/>
                  <a:gd name="T59" fmla="*/ 4 h 458"/>
                  <a:gd name="T60" fmla="*/ 0 w 580"/>
                  <a:gd name="T61" fmla="*/ 152 h 458"/>
                  <a:gd name="T62" fmla="*/ 0 w 580"/>
                  <a:gd name="T63" fmla="*/ 439 h 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80" h="458">
                    <a:moveTo>
                      <a:pt x="411" y="213"/>
                    </a:moveTo>
                    <a:cubicBezTo>
                      <a:pt x="570" y="37"/>
                      <a:pt x="570" y="37"/>
                      <a:pt x="570" y="37"/>
                    </a:cubicBezTo>
                    <a:cubicBezTo>
                      <a:pt x="576" y="30"/>
                      <a:pt x="580" y="25"/>
                      <a:pt x="580" y="20"/>
                    </a:cubicBezTo>
                    <a:cubicBezTo>
                      <a:pt x="580" y="10"/>
                      <a:pt x="559" y="0"/>
                      <a:pt x="545" y="0"/>
                    </a:cubicBezTo>
                    <a:cubicBezTo>
                      <a:pt x="535" y="0"/>
                      <a:pt x="526" y="8"/>
                      <a:pt x="519" y="16"/>
                    </a:cubicBezTo>
                    <a:cubicBezTo>
                      <a:pt x="344" y="210"/>
                      <a:pt x="344" y="210"/>
                      <a:pt x="344" y="210"/>
                    </a:cubicBezTo>
                    <a:cubicBezTo>
                      <a:pt x="336" y="219"/>
                      <a:pt x="334" y="224"/>
                      <a:pt x="334" y="229"/>
                    </a:cubicBezTo>
                    <a:cubicBezTo>
                      <a:pt x="334" y="234"/>
                      <a:pt x="336" y="239"/>
                      <a:pt x="344" y="248"/>
                    </a:cubicBezTo>
                    <a:cubicBezTo>
                      <a:pt x="519" y="442"/>
                      <a:pt x="519" y="442"/>
                      <a:pt x="519" y="442"/>
                    </a:cubicBezTo>
                    <a:cubicBezTo>
                      <a:pt x="526" y="450"/>
                      <a:pt x="535" y="458"/>
                      <a:pt x="545" y="458"/>
                    </a:cubicBezTo>
                    <a:cubicBezTo>
                      <a:pt x="559" y="458"/>
                      <a:pt x="580" y="448"/>
                      <a:pt x="580" y="438"/>
                    </a:cubicBezTo>
                    <a:cubicBezTo>
                      <a:pt x="580" y="433"/>
                      <a:pt x="576" y="428"/>
                      <a:pt x="570" y="421"/>
                    </a:cubicBezTo>
                    <a:cubicBezTo>
                      <a:pt x="411" y="245"/>
                      <a:pt x="411" y="245"/>
                      <a:pt x="411" y="245"/>
                    </a:cubicBezTo>
                    <a:cubicBezTo>
                      <a:pt x="403" y="236"/>
                      <a:pt x="399" y="232"/>
                      <a:pt x="399" y="229"/>
                    </a:cubicBezTo>
                    <a:cubicBezTo>
                      <a:pt x="399" y="226"/>
                      <a:pt x="403" y="222"/>
                      <a:pt x="411" y="213"/>
                    </a:cubicBezTo>
                    <a:moveTo>
                      <a:pt x="252" y="439"/>
                    </a:moveTo>
                    <a:cubicBezTo>
                      <a:pt x="252" y="449"/>
                      <a:pt x="261" y="454"/>
                      <a:pt x="281" y="454"/>
                    </a:cubicBezTo>
                    <a:cubicBezTo>
                      <a:pt x="300" y="454"/>
                      <a:pt x="309" y="449"/>
                      <a:pt x="309" y="439"/>
                    </a:cubicBezTo>
                    <a:cubicBezTo>
                      <a:pt x="309" y="19"/>
                      <a:pt x="309" y="19"/>
                      <a:pt x="309" y="19"/>
                    </a:cubicBezTo>
                    <a:cubicBezTo>
                      <a:pt x="309" y="9"/>
                      <a:pt x="300" y="4"/>
                      <a:pt x="281" y="4"/>
                    </a:cubicBezTo>
                    <a:cubicBezTo>
                      <a:pt x="261" y="4"/>
                      <a:pt x="252" y="9"/>
                      <a:pt x="252" y="19"/>
                    </a:cubicBezTo>
                    <a:lnTo>
                      <a:pt x="252" y="439"/>
                    </a:lnTo>
                    <a:close/>
                    <a:moveTo>
                      <a:pt x="0" y="439"/>
                    </a:moveTo>
                    <a:cubicBezTo>
                      <a:pt x="0" y="449"/>
                      <a:pt x="8" y="454"/>
                      <a:pt x="28" y="454"/>
                    </a:cubicBezTo>
                    <a:cubicBezTo>
                      <a:pt x="48" y="454"/>
                      <a:pt x="56" y="449"/>
                      <a:pt x="56" y="439"/>
                    </a:cubicBezTo>
                    <a:cubicBezTo>
                      <a:pt x="56" y="157"/>
                      <a:pt x="56" y="157"/>
                      <a:pt x="56" y="157"/>
                    </a:cubicBezTo>
                    <a:cubicBezTo>
                      <a:pt x="56" y="83"/>
                      <a:pt x="85" y="53"/>
                      <a:pt x="165" y="53"/>
                    </a:cubicBezTo>
                    <a:cubicBezTo>
                      <a:pt x="180" y="53"/>
                      <a:pt x="180" y="53"/>
                      <a:pt x="180" y="53"/>
                    </a:cubicBezTo>
                    <a:cubicBezTo>
                      <a:pt x="192" y="53"/>
                      <a:pt x="196" y="43"/>
                      <a:pt x="196" y="27"/>
                    </a:cubicBezTo>
                    <a:cubicBezTo>
                      <a:pt x="196" y="8"/>
                      <a:pt x="185" y="4"/>
                      <a:pt x="154" y="4"/>
                    </a:cubicBezTo>
                    <a:cubicBezTo>
                      <a:pt x="64" y="4"/>
                      <a:pt x="0" y="43"/>
                      <a:pt x="0" y="152"/>
                    </a:cubicBezTo>
                    <a:lnTo>
                      <a:pt x="0" y="43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p>
            </p:txBody>
          </p:sp>
          <p:sp>
            <p:nvSpPr>
              <p:cNvPr id="31" name="Freeform 10">
                <a:extLst>
                  <a:ext uri="{FF2B5EF4-FFF2-40B4-BE49-F238E27FC236}">
                    <a16:creationId xmlns:a16="http://schemas.microsoft.com/office/drawing/2014/main" id="{E19E262A-A8D9-4AFF-A111-735F30513058}"/>
                  </a:ext>
                </a:extLst>
              </p:cNvPr>
              <p:cNvSpPr>
                <a:spLocks/>
              </p:cNvSpPr>
              <p:nvPr userDrawn="1"/>
            </p:nvSpPr>
            <p:spPr bwMode="gray">
              <a:xfrm>
                <a:off x="2880" y="1704"/>
                <a:ext cx="618" cy="916"/>
              </a:xfrm>
              <a:custGeom>
                <a:avLst/>
                <a:gdLst>
                  <a:gd name="T0" fmla="*/ 307 w 307"/>
                  <a:gd name="T1" fmla="*/ 405 h 455"/>
                  <a:gd name="T2" fmla="*/ 307 w 307"/>
                  <a:gd name="T3" fmla="*/ 244 h 455"/>
                  <a:gd name="T4" fmla="*/ 279 w 307"/>
                  <a:gd name="T5" fmla="*/ 229 h 455"/>
                  <a:gd name="T6" fmla="*/ 250 w 307"/>
                  <a:gd name="T7" fmla="*/ 244 h 455"/>
                  <a:gd name="T8" fmla="*/ 250 w 307"/>
                  <a:gd name="T9" fmla="*/ 378 h 455"/>
                  <a:gd name="T10" fmla="*/ 199 w 307"/>
                  <a:gd name="T11" fmla="*/ 408 h 455"/>
                  <a:gd name="T12" fmla="*/ 61 w 307"/>
                  <a:gd name="T13" fmla="*/ 231 h 455"/>
                  <a:gd name="T14" fmla="*/ 238 w 307"/>
                  <a:gd name="T15" fmla="*/ 49 h 455"/>
                  <a:gd name="T16" fmla="*/ 270 w 307"/>
                  <a:gd name="T17" fmla="*/ 49 h 455"/>
                  <a:gd name="T18" fmla="*/ 286 w 307"/>
                  <a:gd name="T19" fmla="*/ 23 h 455"/>
                  <a:gd name="T20" fmla="*/ 244 w 307"/>
                  <a:gd name="T21" fmla="*/ 0 h 455"/>
                  <a:gd name="T22" fmla="*/ 231 w 307"/>
                  <a:gd name="T23" fmla="*/ 0 h 455"/>
                  <a:gd name="T24" fmla="*/ 0 w 307"/>
                  <a:gd name="T25" fmla="*/ 232 h 455"/>
                  <a:gd name="T26" fmla="*/ 198 w 307"/>
                  <a:gd name="T27" fmla="*/ 455 h 455"/>
                  <a:gd name="T28" fmla="*/ 307 w 307"/>
                  <a:gd name="T29" fmla="*/ 405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7" h="455">
                    <a:moveTo>
                      <a:pt x="307" y="405"/>
                    </a:moveTo>
                    <a:cubicBezTo>
                      <a:pt x="307" y="244"/>
                      <a:pt x="307" y="244"/>
                      <a:pt x="307" y="244"/>
                    </a:cubicBezTo>
                    <a:cubicBezTo>
                      <a:pt x="307" y="234"/>
                      <a:pt x="298" y="229"/>
                      <a:pt x="279" y="229"/>
                    </a:cubicBezTo>
                    <a:cubicBezTo>
                      <a:pt x="259" y="229"/>
                      <a:pt x="250" y="234"/>
                      <a:pt x="250" y="244"/>
                    </a:cubicBezTo>
                    <a:cubicBezTo>
                      <a:pt x="250" y="378"/>
                      <a:pt x="250" y="378"/>
                      <a:pt x="250" y="378"/>
                    </a:cubicBezTo>
                    <a:cubicBezTo>
                      <a:pt x="250" y="399"/>
                      <a:pt x="241" y="408"/>
                      <a:pt x="199" y="408"/>
                    </a:cubicBezTo>
                    <a:cubicBezTo>
                      <a:pt x="114" y="408"/>
                      <a:pt x="61" y="342"/>
                      <a:pt x="61" y="231"/>
                    </a:cubicBezTo>
                    <a:cubicBezTo>
                      <a:pt x="61" y="115"/>
                      <a:pt x="126" y="49"/>
                      <a:pt x="238" y="49"/>
                    </a:cubicBezTo>
                    <a:cubicBezTo>
                      <a:pt x="270" y="49"/>
                      <a:pt x="270" y="49"/>
                      <a:pt x="270" y="49"/>
                    </a:cubicBezTo>
                    <a:cubicBezTo>
                      <a:pt x="282" y="49"/>
                      <a:pt x="286" y="39"/>
                      <a:pt x="286" y="23"/>
                    </a:cubicBezTo>
                    <a:cubicBezTo>
                      <a:pt x="286" y="4"/>
                      <a:pt x="275" y="0"/>
                      <a:pt x="244" y="0"/>
                    </a:cubicBezTo>
                    <a:cubicBezTo>
                      <a:pt x="231" y="0"/>
                      <a:pt x="231" y="0"/>
                      <a:pt x="231" y="0"/>
                    </a:cubicBezTo>
                    <a:cubicBezTo>
                      <a:pt x="101" y="0"/>
                      <a:pt x="0" y="71"/>
                      <a:pt x="0" y="232"/>
                    </a:cubicBezTo>
                    <a:cubicBezTo>
                      <a:pt x="0" y="386"/>
                      <a:pt x="88" y="455"/>
                      <a:pt x="198" y="455"/>
                    </a:cubicBezTo>
                    <a:cubicBezTo>
                      <a:pt x="286" y="455"/>
                      <a:pt x="307" y="430"/>
                      <a:pt x="307" y="40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p>
            </p:txBody>
          </p:sp>
          <p:sp>
            <p:nvSpPr>
              <p:cNvPr id="32" name="Oval 11">
                <a:extLst>
                  <a:ext uri="{FF2B5EF4-FFF2-40B4-BE49-F238E27FC236}">
                    <a16:creationId xmlns:a16="http://schemas.microsoft.com/office/drawing/2014/main" id="{65AB504F-E0E2-4D53-A1AC-DAA34158EA0B}"/>
                  </a:ext>
                </a:extLst>
              </p:cNvPr>
              <p:cNvSpPr>
                <a:spLocks noChangeArrowheads="1"/>
              </p:cNvSpPr>
              <p:nvPr userDrawn="1"/>
            </p:nvSpPr>
            <p:spPr bwMode="gray">
              <a:xfrm>
                <a:off x="3778" y="2099"/>
                <a:ext cx="122" cy="12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p>
            </p:txBody>
          </p:sp>
          <p:sp>
            <p:nvSpPr>
              <p:cNvPr id="33" name="Freeform 12">
                <a:extLst>
                  <a:ext uri="{FF2B5EF4-FFF2-40B4-BE49-F238E27FC236}">
                    <a16:creationId xmlns:a16="http://schemas.microsoft.com/office/drawing/2014/main" id="{E4B30B17-84A8-4311-8672-29BA6EC289A9}"/>
                  </a:ext>
                </a:extLst>
              </p:cNvPr>
              <p:cNvSpPr>
                <a:spLocks/>
              </p:cNvSpPr>
              <p:nvPr userDrawn="1"/>
            </p:nvSpPr>
            <p:spPr bwMode="gray">
              <a:xfrm>
                <a:off x="4321" y="1029"/>
                <a:ext cx="648" cy="649"/>
              </a:xfrm>
              <a:custGeom>
                <a:avLst/>
                <a:gdLst>
                  <a:gd name="T0" fmla="*/ 0 w 648"/>
                  <a:gd name="T1" fmla="*/ 649 h 649"/>
                  <a:gd name="T2" fmla="*/ 2 w 648"/>
                  <a:gd name="T3" fmla="*/ 649 h 649"/>
                  <a:gd name="T4" fmla="*/ 648 w 648"/>
                  <a:gd name="T5" fmla="*/ 0 h 649"/>
                  <a:gd name="T6" fmla="*/ 423 w 648"/>
                  <a:gd name="T7" fmla="*/ 0 h 649"/>
                  <a:gd name="T8" fmla="*/ 0 w 648"/>
                  <a:gd name="T9" fmla="*/ 649 h 649"/>
                </a:gdLst>
                <a:ahLst/>
                <a:cxnLst>
                  <a:cxn ang="0">
                    <a:pos x="T0" y="T1"/>
                  </a:cxn>
                  <a:cxn ang="0">
                    <a:pos x="T2" y="T3"/>
                  </a:cxn>
                  <a:cxn ang="0">
                    <a:pos x="T4" y="T5"/>
                  </a:cxn>
                  <a:cxn ang="0">
                    <a:pos x="T6" y="T7"/>
                  </a:cxn>
                  <a:cxn ang="0">
                    <a:pos x="T8" y="T9"/>
                  </a:cxn>
                </a:cxnLst>
                <a:rect l="0" t="0" r="r" b="b"/>
                <a:pathLst>
                  <a:path w="648" h="649">
                    <a:moveTo>
                      <a:pt x="0" y="649"/>
                    </a:moveTo>
                    <a:lnTo>
                      <a:pt x="2" y="649"/>
                    </a:lnTo>
                    <a:lnTo>
                      <a:pt x="648" y="0"/>
                    </a:lnTo>
                    <a:lnTo>
                      <a:pt x="423" y="0"/>
                    </a:lnTo>
                    <a:lnTo>
                      <a:pt x="0" y="64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p>
            </p:txBody>
          </p:sp>
          <p:sp>
            <p:nvSpPr>
              <p:cNvPr id="34" name="Freeform 13">
                <a:extLst>
                  <a:ext uri="{FF2B5EF4-FFF2-40B4-BE49-F238E27FC236}">
                    <a16:creationId xmlns:a16="http://schemas.microsoft.com/office/drawing/2014/main" id="{58BBE620-BFD5-4463-8CD0-05D1808A49A1}"/>
                  </a:ext>
                </a:extLst>
              </p:cNvPr>
              <p:cNvSpPr>
                <a:spLocks/>
              </p:cNvSpPr>
              <p:nvPr userDrawn="1"/>
            </p:nvSpPr>
            <p:spPr bwMode="gray">
              <a:xfrm>
                <a:off x="4321" y="1029"/>
                <a:ext cx="648" cy="649"/>
              </a:xfrm>
              <a:custGeom>
                <a:avLst/>
                <a:gdLst>
                  <a:gd name="T0" fmla="*/ 0 w 648"/>
                  <a:gd name="T1" fmla="*/ 649 h 649"/>
                  <a:gd name="T2" fmla="*/ 2 w 648"/>
                  <a:gd name="T3" fmla="*/ 649 h 649"/>
                  <a:gd name="T4" fmla="*/ 648 w 648"/>
                  <a:gd name="T5" fmla="*/ 0 h 649"/>
                  <a:gd name="T6" fmla="*/ 423 w 648"/>
                  <a:gd name="T7" fmla="*/ 0 h 649"/>
                  <a:gd name="T8" fmla="*/ 0 w 648"/>
                  <a:gd name="T9" fmla="*/ 649 h 649"/>
                </a:gdLst>
                <a:ahLst/>
                <a:cxnLst>
                  <a:cxn ang="0">
                    <a:pos x="T0" y="T1"/>
                  </a:cxn>
                  <a:cxn ang="0">
                    <a:pos x="T2" y="T3"/>
                  </a:cxn>
                  <a:cxn ang="0">
                    <a:pos x="T4" y="T5"/>
                  </a:cxn>
                  <a:cxn ang="0">
                    <a:pos x="T6" y="T7"/>
                  </a:cxn>
                  <a:cxn ang="0">
                    <a:pos x="T8" y="T9"/>
                  </a:cxn>
                </a:cxnLst>
                <a:rect l="0" t="0" r="r" b="b"/>
                <a:pathLst>
                  <a:path w="648" h="649">
                    <a:moveTo>
                      <a:pt x="0" y="649"/>
                    </a:moveTo>
                    <a:lnTo>
                      <a:pt x="2" y="649"/>
                    </a:lnTo>
                    <a:lnTo>
                      <a:pt x="648" y="0"/>
                    </a:lnTo>
                    <a:lnTo>
                      <a:pt x="423" y="0"/>
                    </a:lnTo>
                    <a:lnTo>
                      <a:pt x="0" y="64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p>
            </p:txBody>
          </p:sp>
        </p:grpSp>
      </p:grpSp>
      <p:sp>
        <p:nvSpPr>
          <p:cNvPr id="29" name="Datumsplatzhalter 2"/>
          <p:cNvSpPr txBox="1">
            <a:spLocks/>
          </p:cNvSpPr>
          <p:nvPr userDrawn="1"/>
        </p:nvSpPr>
        <p:spPr bwMode="gray">
          <a:xfrm>
            <a:off x="623460" y="6523540"/>
            <a:ext cx="612000" cy="144000"/>
          </a:xfrm>
          <a:prstGeom prst="rect">
            <a:avLst/>
          </a:prstGeom>
        </p:spPr>
        <p:txBody>
          <a:bodyPr vert="horz" lIns="0" tIns="0" rIns="0" bIns="0" rtlCol="0" anchor="ctr"/>
          <a:lstStyle>
            <a:defPPr>
              <a:defRPr lang="de-DE"/>
            </a:defPPr>
            <a:lvl1pPr marL="0" algn="r" defTabSz="914400" rtl="0" eaLnBrk="1" latinLnBrk="0" hangingPunct="1">
              <a:defRPr sz="800" kern="1200">
                <a:solidFill>
                  <a:schemeClr val="bg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08562B7D-83DE-47C6-9848-8F150F47F574}" type="datetime1">
              <a:rPr lang="en-GB" sz="800" smtClean="0"/>
              <a:pPr/>
              <a:t>26/06/2020</a:t>
            </a:fld>
            <a:endParaRPr lang="en-US" sz="800" dirty="0"/>
          </a:p>
        </p:txBody>
      </p:sp>
    </p:spTree>
    <p:extLst>
      <p:ext uri="{BB962C8B-B14F-4D97-AF65-F5344CB8AC3E}">
        <p14:creationId xmlns:p14="http://schemas.microsoft.com/office/powerpoint/2010/main" val="57771354"/>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showMasterSp="0" preserve="1" userDrawn="1">
  <p:cSld name="1_Thank you">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0521F82B-A2AD-424C-BBAE-E24B92FE91C7}"/>
              </a:ext>
            </a:extLst>
          </p:cNvPr>
          <p:cNvGraphicFramePr>
            <a:graphicFrameLocks noChangeAspect="1"/>
          </p:cNvGraphicFramePr>
          <p:nvPr userDrawn="1">
            <p:custDataLst>
              <p:tags r:id="rId2"/>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598073" name="think-cell Folie" r:id="rId5" imgW="359" imgH="358" progId="TCLayout.ActiveDocument.1">
                  <p:embed/>
                </p:oleObj>
              </mc:Choice>
              <mc:Fallback>
                <p:oleObj name="think-cell Folie" r:id="rId5" imgW="359" imgH="358" progId="TCLayout.ActiveDocument.1">
                  <p:embed/>
                  <p:pic>
                    <p:nvPicPr>
                      <p:cNvPr id="6" name="Objekt 5" hidden="1">
                        <a:extLst>
                          <a:ext uri="{FF2B5EF4-FFF2-40B4-BE49-F238E27FC236}">
                            <a16:creationId xmlns:a16="http://schemas.microsoft.com/office/drawing/2014/main" id="{0521F82B-A2AD-424C-BBAE-E24B92FE91C7}"/>
                          </a:ext>
                        </a:extLst>
                      </p:cNvPr>
                      <p:cNvPicPr/>
                      <p:nvPr/>
                    </p:nvPicPr>
                    <p:blipFill>
                      <a:blip r:embed="rId6"/>
                      <a:stretch>
                        <a:fillRect/>
                      </a:stretch>
                    </p:blipFill>
                    <p:spPr>
                      <a:xfrm>
                        <a:off x="1589" y="1589"/>
                        <a:ext cx="1588" cy="1588"/>
                      </a:xfrm>
                      <a:prstGeom prst="rect">
                        <a:avLst/>
                      </a:prstGeom>
                    </p:spPr>
                  </p:pic>
                </p:oleObj>
              </mc:Fallback>
            </mc:AlternateContent>
          </a:graphicData>
        </a:graphic>
      </p:graphicFrame>
      <p:sp>
        <p:nvSpPr>
          <p:cNvPr id="3" name="Rechteck 2" hidden="1">
            <a:extLst>
              <a:ext uri="{FF2B5EF4-FFF2-40B4-BE49-F238E27FC236}">
                <a16:creationId xmlns:a16="http://schemas.microsoft.com/office/drawing/2014/main" id="{434B2DA5-7DC4-4359-ADAB-1406AD03F8D6}"/>
              </a:ext>
            </a:extLst>
          </p:cNvPr>
          <p:cNvSpPr/>
          <p:nvPr userDrawn="1">
            <p:custDataLst>
              <p:tags r:id="rId3"/>
            </p:custDataLst>
          </p:nvPr>
        </p:nvSpPr>
        <p:spPr bwMode="gray">
          <a:xfrm>
            <a:off x="1" y="0"/>
            <a:ext cx="158751"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l" eaLnBrk="1">
              <a:lnSpc>
                <a:spcPct val="90000"/>
              </a:lnSpc>
              <a:spcBef>
                <a:spcPct val="0"/>
              </a:spcBef>
              <a:spcAft>
                <a:spcPct val="0"/>
              </a:spcAft>
            </a:pPr>
            <a:endParaRPr lang="en-US" sz="4599" b="1" i="0" baseline="0" dirty="0">
              <a:latin typeface="Lato" panose="020F0502020204030203" pitchFamily="34" charset="0"/>
              <a:ea typeface="+mj-ea"/>
              <a:cs typeface="+mj-cs"/>
              <a:sym typeface="Lato" panose="020F0502020204030203" pitchFamily="34" charset="0"/>
            </a:endParaRPr>
          </a:p>
        </p:txBody>
      </p:sp>
      <p:sp>
        <p:nvSpPr>
          <p:cNvPr id="10" name="Rechteck 9">
            <a:extLst>
              <a:ext uri="{FF2B5EF4-FFF2-40B4-BE49-F238E27FC236}">
                <a16:creationId xmlns:a16="http://schemas.microsoft.com/office/drawing/2014/main" id="{0FFF1F1E-A313-45B8-99A7-907C3ED5944C}"/>
              </a:ext>
            </a:extLst>
          </p:cNvPr>
          <p:cNvSpPr/>
          <p:nvPr userDrawn="1"/>
        </p:nvSpPr>
        <p:spPr bwMode="gray">
          <a:xfrm>
            <a:off x="0" y="0"/>
            <a:ext cx="12192000" cy="6858000"/>
          </a:xfrm>
          <a:prstGeom prst="rect">
            <a:avLst/>
          </a:prstGeom>
          <a:gradFill flip="none" rotWithShape="1">
            <a:gsLst>
              <a:gs pos="0">
                <a:schemeClr val="bg2"/>
              </a:gs>
              <a:gs pos="100000">
                <a:schemeClr val="bg2">
                  <a:lumMod val="7500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dirty="0"/>
          </a:p>
        </p:txBody>
      </p:sp>
      <p:sp>
        <p:nvSpPr>
          <p:cNvPr id="2" name="Titel 1"/>
          <p:cNvSpPr>
            <a:spLocks noGrp="1"/>
          </p:cNvSpPr>
          <p:nvPr>
            <p:ph type="title" hasCustomPrompt="1"/>
          </p:nvPr>
        </p:nvSpPr>
        <p:spPr bwMode="gray">
          <a:xfrm>
            <a:off x="3683732" y="2600908"/>
            <a:ext cx="6228619" cy="1728000"/>
          </a:xfrm>
        </p:spPr>
        <p:txBody>
          <a:bodyPr anchor="t"/>
          <a:lstStyle>
            <a:lvl1pPr marL="685577" indent="-685577" algn="l">
              <a:buClr>
                <a:schemeClr val="tx2"/>
              </a:buClr>
              <a:buFont typeface="Wingdings 3" panose="05040102010807070707" pitchFamily="18" charset="2"/>
              <a:buChar char=""/>
              <a:defRPr sz="4599">
                <a:solidFill>
                  <a:schemeClr val="bg1"/>
                </a:solidFill>
              </a:defRPr>
            </a:lvl1pPr>
          </a:lstStyle>
          <a:p>
            <a:r>
              <a:rPr lang="en-US" dirty="0"/>
              <a:t>Thank you.</a:t>
            </a:r>
          </a:p>
        </p:txBody>
      </p:sp>
      <p:sp>
        <p:nvSpPr>
          <p:cNvPr id="4" name="Datumsplatzhalter 3"/>
          <p:cNvSpPr>
            <a:spLocks noGrp="1"/>
          </p:cNvSpPr>
          <p:nvPr>
            <p:ph type="dt" sz="half" idx="10"/>
          </p:nvPr>
        </p:nvSpPr>
        <p:spPr bwMode="gray">
          <a:xfrm>
            <a:off x="659464" y="6525360"/>
            <a:ext cx="612000" cy="144000"/>
          </a:xfrm>
          <a:prstGeom prst="rect">
            <a:avLst/>
          </a:prstGeom>
        </p:spPr>
        <p:txBody>
          <a:bodyPr/>
          <a:lstStyle>
            <a:lvl1pPr>
              <a:defRPr>
                <a:solidFill>
                  <a:schemeClr val="bg1"/>
                </a:solidFill>
              </a:defRPr>
            </a:lvl1pPr>
          </a:lstStyle>
          <a:p>
            <a:fld id="{D956EFA7-82A5-4287-AE9F-5DFAE80AD2C7}" type="datetime1">
              <a:rPr lang="en-GB" smtClean="0"/>
              <a:t>26/06/2020</a:t>
            </a:fld>
            <a:endParaRPr lang="en-US" dirty="0"/>
          </a:p>
        </p:txBody>
      </p:sp>
      <p:sp>
        <p:nvSpPr>
          <p:cNvPr id="8" name="Rechteck 7">
            <a:extLst>
              <a:ext uri="{FF2B5EF4-FFF2-40B4-BE49-F238E27FC236}">
                <a16:creationId xmlns:a16="http://schemas.microsoft.com/office/drawing/2014/main" id="{5FF2A560-10F7-4D82-9AF4-C758E726E7BF}"/>
              </a:ext>
            </a:extLst>
          </p:cNvPr>
          <p:cNvSpPr/>
          <p:nvPr userDrawn="1"/>
        </p:nvSpPr>
        <p:spPr bwMode="gray">
          <a:xfrm>
            <a:off x="334965" y="6525360"/>
            <a:ext cx="288428" cy="144000"/>
          </a:xfrm>
          <a:prstGeom prst="rect">
            <a:avLst/>
          </a:prstGeom>
        </p:spPr>
        <p:txBody>
          <a:bodyPr vert="horz" lIns="0" tIns="0" rIns="0" bIns="0" rtlCol="0" anchor="ctr"/>
          <a:lstStyle/>
          <a:p>
            <a:pPr lvl="0"/>
            <a:r>
              <a:rPr lang="en-US" sz="800" noProof="0" dirty="0">
                <a:solidFill>
                  <a:schemeClr val="bg1"/>
                </a:solidFill>
              </a:rPr>
              <a:t>© GfK</a:t>
            </a:r>
            <a:endParaRPr lang="en-US" sz="800" dirty="0">
              <a:solidFill>
                <a:schemeClr val="bg1"/>
              </a:solidFill>
            </a:endParaRPr>
          </a:p>
        </p:txBody>
      </p:sp>
      <p:grpSp>
        <p:nvGrpSpPr>
          <p:cNvPr id="12" name="Gruppieren 11">
            <a:extLst>
              <a:ext uri="{FF2B5EF4-FFF2-40B4-BE49-F238E27FC236}">
                <a16:creationId xmlns:a16="http://schemas.microsoft.com/office/drawing/2014/main" id="{716EC135-7463-48B2-AB5B-9870D4237239}"/>
              </a:ext>
            </a:extLst>
          </p:cNvPr>
          <p:cNvGrpSpPr/>
          <p:nvPr userDrawn="1"/>
        </p:nvGrpSpPr>
        <p:grpSpPr bwMode="gray">
          <a:xfrm>
            <a:off x="6463978" y="5051844"/>
            <a:ext cx="5861372" cy="2219191"/>
            <a:chOff x="6463977" y="5085184"/>
            <a:chExt cx="5861372" cy="2219191"/>
          </a:xfrm>
        </p:grpSpPr>
        <p:sp>
          <p:nvSpPr>
            <p:cNvPr id="13" name="Freeform 47">
              <a:extLst>
                <a:ext uri="{FF2B5EF4-FFF2-40B4-BE49-F238E27FC236}">
                  <a16:creationId xmlns:a16="http://schemas.microsoft.com/office/drawing/2014/main" id="{1F3EDD4E-DAD7-41A0-82F5-1F3370C0C534}"/>
                </a:ext>
              </a:extLst>
            </p:cNvPr>
            <p:cNvSpPr>
              <a:spLocks/>
            </p:cNvSpPr>
            <p:nvPr userDrawn="1"/>
          </p:nvSpPr>
          <p:spPr bwMode="gray">
            <a:xfrm flipH="1">
              <a:off x="6841584" y="6853623"/>
              <a:ext cx="299141" cy="304434"/>
            </a:xfrm>
            <a:custGeom>
              <a:avLst/>
              <a:gdLst>
                <a:gd name="T0" fmla="*/ 0 w 113"/>
                <a:gd name="T1" fmla="*/ 115 h 115"/>
                <a:gd name="T2" fmla="*/ 0 w 113"/>
                <a:gd name="T3" fmla="*/ 0 h 115"/>
                <a:gd name="T4" fmla="*/ 113 w 113"/>
                <a:gd name="T5" fmla="*/ 56 h 115"/>
                <a:gd name="T6" fmla="*/ 0 w 113"/>
                <a:gd name="T7" fmla="*/ 115 h 115"/>
              </a:gdLst>
              <a:ahLst/>
              <a:cxnLst>
                <a:cxn ang="0">
                  <a:pos x="T0" y="T1"/>
                </a:cxn>
                <a:cxn ang="0">
                  <a:pos x="T2" y="T3"/>
                </a:cxn>
                <a:cxn ang="0">
                  <a:pos x="T4" y="T5"/>
                </a:cxn>
                <a:cxn ang="0">
                  <a:pos x="T6" y="T7"/>
                </a:cxn>
              </a:cxnLst>
              <a:rect l="0" t="0" r="r" b="b"/>
              <a:pathLst>
                <a:path w="113" h="115">
                  <a:moveTo>
                    <a:pt x="0" y="115"/>
                  </a:moveTo>
                  <a:lnTo>
                    <a:pt x="0" y="0"/>
                  </a:lnTo>
                  <a:lnTo>
                    <a:pt x="113" y="56"/>
                  </a:lnTo>
                  <a:lnTo>
                    <a:pt x="0" y="115"/>
                  </a:lnTo>
                  <a:close/>
                </a:path>
              </a:pathLst>
            </a:custGeom>
            <a:solidFill>
              <a:srgbClr val="ED8B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p>
          </p:txBody>
        </p:sp>
        <p:sp>
          <p:nvSpPr>
            <p:cNvPr id="14" name="Freeform 52">
              <a:extLst>
                <a:ext uri="{FF2B5EF4-FFF2-40B4-BE49-F238E27FC236}">
                  <a16:creationId xmlns:a16="http://schemas.microsoft.com/office/drawing/2014/main" id="{7B3895AE-AA2B-4F9A-9EF0-EEC5196DC401}"/>
                </a:ext>
              </a:extLst>
            </p:cNvPr>
            <p:cNvSpPr>
              <a:spLocks/>
            </p:cNvSpPr>
            <p:nvPr userDrawn="1"/>
          </p:nvSpPr>
          <p:spPr bwMode="gray">
            <a:xfrm flipH="1">
              <a:off x="8406295" y="6382162"/>
              <a:ext cx="275909" cy="278329"/>
            </a:xfrm>
            <a:custGeom>
              <a:avLst/>
              <a:gdLst>
                <a:gd name="T0" fmla="*/ 0 w 114"/>
                <a:gd name="T1" fmla="*/ 115 h 115"/>
                <a:gd name="T2" fmla="*/ 0 w 114"/>
                <a:gd name="T3" fmla="*/ 0 h 115"/>
                <a:gd name="T4" fmla="*/ 114 w 114"/>
                <a:gd name="T5" fmla="*/ 57 h 115"/>
                <a:gd name="T6" fmla="*/ 0 w 114"/>
                <a:gd name="T7" fmla="*/ 115 h 115"/>
              </a:gdLst>
              <a:ahLst/>
              <a:cxnLst>
                <a:cxn ang="0">
                  <a:pos x="T0" y="T1"/>
                </a:cxn>
                <a:cxn ang="0">
                  <a:pos x="T2" y="T3"/>
                </a:cxn>
                <a:cxn ang="0">
                  <a:pos x="T4" y="T5"/>
                </a:cxn>
                <a:cxn ang="0">
                  <a:pos x="T6" y="T7"/>
                </a:cxn>
              </a:cxnLst>
              <a:rect l="0" t="0" r="r" b="b"/>
              <a:pathLst>
                <a:path w="114" h="115">
                  <a:moveTo>
                    <a:pt x="0" y="115"/>
                  </a:moveTo>
                  <a:lnTo>
                    <a:pt x="0" y="0"/>
                  </a:lnTo>
                  <a:lnTo>
                    <a:pt x="114" y="57"/>
                  </a:lnTo>
                  <a:lnTo>
                    <a:pt x="0" y="115"/>
                  </a:lnTo>
                  <a:close/>
                </a:path>
              </a:pathLst>
            </a:custGeom>
            <a:solidFill>
              <a:srgbClr val="E86A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p>
          </p:txBody>
        </p:sp>
        <p:sp>
          <p:nvSpPr>
            <p:cNvPr id="15" name="Freeform 66">
              <a:extLst>
                <a:ext uri="{FF2B5EF4-FFF2-40B4-BE49-F238E27FC236}">
                  <a16:creationId xmlns:a16="http://schemas.microsoft.com/office/drawing/2014/main" id="{C4C2EAB8-2468-4924-962D-7B9C1F07AACA}"/>
                </a:ext>
              </a:extLst>
            </p:cNvPr>
            <p:cNvSpPr>
              <a:spLocks/>
            </p:cNvSpPr>
            <p:nvPr userDrawn="1"/>
          </p:nvSpPr>
          <p:spPr bwMode="gray">
            <a:xfrm>
              <a:off x="6463977" y="6794434"/>
              <a:ext cx="194591" cy="196299"/>
            </a:xfrm>
            <a:custGeom>
              <a:avLst/>
              <a:gdLst>
                <a:gd name="T0" fmla="*/ 0 w 114"/>
                <a:gd name="T1" fmla="*/ 115 h 115"/>
                <a:gd name="T2" fmla="*/ 0 w 114"/>
                <a:gd name="T3" fmla="*/ 0 h 115"/>
                <a:gd name="T4" fmla="*/ 114 w 114"/>
                <a:gd name="T5" fmla="*/ 56 h 115"/>
                <a:gd name="T6" fmla="*/ 0 w 114"/>
                <a:gd name="T7" fmla="*/ 115 h 115"/>
              </a:gdLst>
              <a:ahLst/>
              <a:cxnLst>
                <a:cxn ang="0">
                  <a:pos x="T0" y="T1"/>
                </a:cxn>
                <a:cxn ang="0">
                  <a:pos x="T2" y="T3"/>
                </a:cxn>
                <a:cxn ang="0">
                  <a:pos x="T4" y="T5"/>
                </a:cxn>
                <a:cxn ang="0">
                  <a:pos x="T6" y="T7"/>
                </a:cxn>
              </a:cxnLst>
              <a:rect l="0" t="0" r="r" b="b"/>
              <a:pathLst>
                <a:path w="114" h="115">
                  <a:moveTo>
                    <a:pt x="0" y="115"/>
                  </a:moveTo>
                  <a:lnTo>
                    <a:pt x="0" y="0"/>
                  </a:lnTo>
                  <a:lnTo>
                    <a:pt x="114" y="56"/>
                  </a:lnTo>
                  <a:lnTo>
                    <a:pt x="0" y="115"/>
                  </a:lnTo>
                  <a:close/>
                </a:path>
              </a:pathLst>
            </a:custGeom>
            <a:solidFill>
              <a:srgbClr val="F5BD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p>
          </p:txBody>
        </p:sp>
        <p:sp>
          <p:nvSpPr>
            <p:cNvPr id="16" name="Freeform 17">
              <a:extLst>
                <a:ext uri="{FF2B5EF4-FFF2-40B4-BE49-F238E27FC236}">
                  <a16:creationId xmlns:a16="http://schemas.microsoft.com/office/drawing/2014/main" id="{E2B824E6-AEE1-465B-BE0B-CF1E15CDFA4F}"/>
                </a:ext>
              </a:extLst>
            </p:cNvPr>
            <p:cNvSpPr>
              <a:spLocks/>
            </p:cNvSpPr>
            <p:nvPr userDrawn="1"/>
          </p:nvSpPr>
          <p:spPr bwMode="gray">
            <a:xfrm flipH="1">
              <a:off x="6837529" y="6673385"/>
              <a:ext cx="309822" cy="329403"/>
            </a:xfrm>
            <a:custGeom>
              <a:avLst/>
              <a:gdLst>
                <a:gd name="T0" fmla="*/ 113 w 113"/>
                <a:gd name="T1" fmla="*/ 0 h 113"/>
                <a:gd name="T2" fmla="*/ 113 w 113"/>
                <a:gd name="T3" fmla="*/ 113 h 113"/>
                <a:gd name="T4" fmla="*/ 0 w 113"/>
                <a:gd name="T5" fmla="*/ 56 h 113"/>
                <a:gd name="T6" fmla="*/ 113 w 113"/>
                <a:gd name="T7" fmla="*/ 0 h 113"/>
              </a:gdLst>
              <a:ahLst/>
              <a:cxnLst>
                <a:cxn ang="0">
                  <a:pos x="T0" y="T1"/>
                </a:cxn>
                <a:cxn ang="0">
                  <a:pos x="T2" y="T3"/>
                </a:cxn>
                <a:cxn ang="0">
                  <a:pos x="T4" y="T5"/>
                </a:cxn>
                <a:cxn ang="0">
                  <a:pos x="T6" y="T7"/>
                </a:cxn>
              </a:cxnLst>
              <a:rect l="0" t="0" r="r" b="b"/>
              <a:pathLst>
                <a:path w="113" h="113">
                  <a:moveTo>
                    <a:pt x="113" y="0"/>
                  </a:moveTo>
                  <a:lnTo>
                    <a:pt x="113" y="113"/>
                  </a:lnTo>
                  <a:lnTo>
                    <a:pt x="0" y="56"/>
                  </a:lnTo>
                  <a:lnTo>
                    <a:pt x="113" y="0"/>
                  </a:lnTo>
                  <a:close/>
                </a:path>
              </a:pathLst>
            </a:custGeom>
            <a:solidFill>
              <a:srgbClr val="FCEE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p>
          </p:txBody>
        </p:sp>
        <p:sp>
          <p:nvSpPr>
            <p:cNvPr id="17" name="Freeform 47">
              <a:extLst>
                <a:ext uri="{FF2B5EF4-FFF2-40B4-BE49-F238E27FC236}">
                  <a16:creationId xmlns:a16="http://schemas.microsoft.com/office/drawing/2014/main" id="{45FAE52D-97F7-45C8-BD33-C50A0CA58D4B}"/>
                </a:ext>
              </a:extLst>
            </p:cNvPr>
            <p:cNvSpPr>
              <a:spLocks/>
            </p:cNvSpPr>
            <p:nvPr userDrawn="1"/>
          </p:nvSpPr>
          <p:spPr bwMode="gray">
            <a:xfrm>
              <a:off x="7141399" y="6853623"/>
              <a:ext cx="299141" cy="304434"/>
            </a:xfrm>
            <a:custGeom>
              <a:avLst/>
              <a:gdLst>
                <a:gd name="T0" fmla="*/ 0 w 113"/>
                <a:gd name="T1" fmla="*/ 115 h 115"/>
                <a:gd name="T2" fmla="*/ 0 w 113"/>
                <a:gd name="T3" fmla="*/ 0 h 115"/>
                <a:gd name="T4" fmla="*/ 113 w 113"/>
                <a:gd name="T5" fmla="*/ 56 h 115"/>
                <a:gd name="T6" fmla="*/ 0 w 113"/>
                <a:gd name="T7" fmla="*/ 115 h 115"/>
              </a:gdLst>
              <a:ahLst/>
              <a:cxnLst>
                <a:cxn ang="0">
                  <a:pos x="T0" y="T1"/>
                </a:cxn>
                <a:cxn ang="0">
                  <a:pos x="T2" y="T3"/>
                </a:cxn>
                <a:cxn ang="0">
                  <a:pos x="T4" y="T5"/>
                </a:cxn>
                <a:cxn ang="0">
                  <a:pos x="T6" y="T7"/>
                </a:cxn>
              </a:cxnLst>
              <a:rect l="0" t="0" r="r" b="b"/>
              <a:pathLst>
                <a:path w="113" h="115">
                  <a:moveTo>
                    <a:pt x="0" y="115"/>
                  </a:moveTo>
                  <a:lnTo>
                    <a:pt x="0" y="0"/>
                  </a:lnTo>
                  <a:lnTo>
                    <a:pt x="113" y="56"/>
                  </a:lnTo>
                  <a:lnTo>
                    <a:pt x="0" y="115"/>
                  </a:lnTo>
                  <a:close/>
                </a:path>
              </a:pathLst>
            </a:custGeom>
            <a:solidFill>
              <a:srgbClr val="FCEE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sz="1799" dirty="0"/>
            </a:p>
          </p:txBody>
        </p:sp>
        <p:sp>
          <p:nvSpPr>
            <p:cNvPr id="18" name="Freeform 47">
              <a:extLst>
                <a:ext uri="{FF2B5EF4-FFF2-40B4-BE49-F238E27FC236}">
                  <a16:creationId xmlns:a16="http://schemas.microsoft.com/office/drawing/2014/main" id="{CFD46B6C-19C4-41BB-B455-749EF62E371F}"/>
                </a:ext>
              </a:extLst>
            </p:cNvPr>
            <p:cNvSpPr>
              <a:spLocks/>
            </p:cNvSpPr>
            <p:nvPr userDrawn="1"/>
          </p:nvSpPr>
          <p:spPr bwMode="gray">
            <a:xfrm flipH="1">
              <a:off x="7153652" y="6704359"/>
              <a:ext cx="299141" cy="304434"/>
            </a:xfrm>
            <a:custGeom>
              <a:avLst/>
              <a:gdLst>
                <a:gd name="T0" fmla="*/ 0 w 113"/>
                <a:gd name="T1" fmla="*/ 115 h 115"/>
                <a:gd name="T2" fmla="*/ 0 w 113"/>
                <a:gd name="T3" fmla="*/ 0 h 115"/>
                <a:gd name="T4" fmla="*/ 113 w 113"/>
                <a:gd name="T5" fmla="*/ 56 h 115"/>
                <a:gd name="T6" fmla="*/ 0 w 113"/>
                <a:gd name="T7" fmla="*/ 115 h 115"/>
              </a:gdLst>
              <a:ahLst/>
              <a:cxnLst>
                <a:cxn ang="0">
                  <a:pos x="T0" y="T1"/>
                </a:cxn>
                <a:cxn ang="0">
                  <a:pos x="T2" y="T3"/>
                </a:cxn>
                <a:cxn ang="0">
                  <a:pos x="T4" y="T5"/>
                </a:cxn>
                <a:cxn ang="0">
                  <a:pos x="T6" y="T7"/>
                </a:cxn>
              </a:cxnLst>
              <a:rect l="0" t="0" r="r" b="b"/>
              <a:pathLst>
                <a:path w="113" h="115">
                  <a:moveTo>
                    <a:pt x="0" y="115"/>
                  </a:moveTo>
                  <a:lnTo>
                    <a:pt x="0" y="0"/>
                  </a:lnTo>
                  <a:lnTo>
                    <a:pt x="113" y="56"/>
                  </a:lnTo>
                  <a:lnTo>
                    <a:pt x="0" y="115"/>
                  </a:lnTo>
                  <a:close/>
                </a:path>
              </a:pathLst>
            </a:custGeom>
            <a:solidFill>
              <a:srgbClr val="ED8B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p>
          </p:txBody>
        </p:sp>
        <p:sp>
          <p:nvSpPr>
            <p:cNvPr id="19" name="Freeform 66">
              <a:extLst>
                <a:ext uri="{FF2B5EF4-FFF2-40B4-BE49-F238E27FC236}">
                  <a16:creationId xmlns:a16="http://schemas.microsoft.com/office/drawing/2014/main" id="{FD28B85F-C9CE-4CD1-B280-42125B566012}"/>
                </a:ext>
              </a:extLst>
            </p:cNvPr>
            <p:cNvSpPr>
              <a:spLocks/>
            </p:cNvSpPr>
            <p:nvPr userDrawn="1"/>
          </p:nvSpPr>
          <p:spPr bwMode="gray">
            <a:xfrm>
              <a:off x="7499732" y="6784143"/>
              <a:ext cx="515709" cy="520232"/>
            </a:xfrm>
            <a:custGeom>
              <a:avLst/>
              <a:gdLst>
                <a:gd name="T0" fmla="*/ 0 w 114"/>
                <a:gd name="T1" fmla="*/ 115 h 115"/>
                <a:gd name="T2" fmla="*/ 0 w 114"/>
                <a:gd name="T3" fmla="*/ 0 h 115"/>
                <a:gd name="T4" fmla="*/ 114 w 114"/>
                <a:gd name="T5" fmla="*/ 56 h 115"/>
                <a:gd name="T6" fmla="*/ 0 w 114"/>
                <a:gd name="T7" fmla="*/ 115 h 115"/>
              </a:gdLst>
              <a:ahLst/>
              <a:cxnLst>
                <a:cxn ang="0">
                  <a:pos x="T0" y="T1"/>
                </a:cxn>
                <a:cxn ang="0">
                  <a:pos x="T2" y="T3"/>
                </a:cxn>
                <a:cxn ang="0">
                  <a:pos x="T4" y="T5"/>
                </a:cxn>
                <a:cxn ang="0">
                  <a:pos x="T6" y="T7"/>
                </a:cxn>
              </a:cxnLst>
              <a:rect l="0" t="0" r="r" b="b"/>
              <a:pathLst>
                <a:path w="114" h="115">
                  <a:moveTo>
                    <a:pt x="0" y="115"/>
                  </a:moveTo>
                  <a:lnTo>
                    <a:pt x="0" y="0"/>
                  </a:lnTo>
                  <a:lnTo>
                    <a:pt x="114" y="56"/>
                  </a:lnTo>
                  <a:lnTo>
                    <a:pt x="0" y="115"/>
                  </a:lnTo>
                  <a:close/>
                </a:path>
              </a:pathLst>
            </a:custGeom>
            <a:solidFill>
              <a:srgbClr val="F5BD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p>
          </p:txBody>
        </p:sp>
        <p:sp>
          <p:nvSpPr>
            <p:cNvPr id="20" name="Freeform 17">
              <a:extLst>
                <a:ext uri="{FF2B5EF4-FFF2-40B4-BE49-F238E27FC236}">
                  <a16:creationId xmlns:a16="http://schemas.microsoft.com/office/drawing/2014/main" id="{6E7CF1F1-55C6-45C9-A4C3-92FE46D0D2DB}"/>
                </a:ext>
              </a:extLst>
            </p:cNvPr>
            <p:cNvSpPr>
              <a:spLocks/>
            </p:cNvSpPr>
            <p:nvPr userDrawn="1"/>
          </p:nvSpPr>
          <p:spPr bwMode="gray">
            <a:xfrm>
              <a:off x="7603716" y="6801641"/>
              <a:ext cx="178107" cy="189363"/>
            </a:xfrm>
            <a:custGeom>
              <a:avLst/>
              <a:gdLst>
                <a:gd name="T0" fmla="*/ 113 w 113"/>
                <a:gd name="T1" fmla="*/ 0 h 113"/>
                <a:gd name="T2" fmla="*/ 113 w 113"/>
                <a:gd name="T3" fmla="*/ 113 h 113"/>
                <a:gd name="T4" fmla="*/ 0 w 113"/>
                <a:gd name="T5" fmla="*/ 56 h 113"/>
                <a:gd name="T6" fmla="*/ 113 w 113"/>
                <a:gd name="T7" fmla="*/ 0 h 113"/>
              </a:gdLst>
              <a:ahLst/>
              <a:cxnLst>
                <a:cxn ang="0">
                  <a:pos x="T0" y="T1"/>
                </a:cxn>
                <a:cxn ang="0">
                  <a:pos x="T2" y="T3"/>
                </a:cxn>
                <a:cxn ang="0">
                  <a:pos x="T4" y="T5"/>
                </a:cxn>
                <a:cxn ang="0">
                  <a:pos x="T6" y="T7"/>
                </a:cxn>
              </a:cxnLst>
              <a:rect l="0" t="0" r="r" b="b"/>
              <a:pathLst>
                <a:path w="113" h="113">
                  <a:moveTo>
                    <a:pt x="113" y="0"/>
                  </a:moveTo>
                  <a:lnTo>
                    <a:pt x="113" y="113"/>
                  </a:lnTo>
                  <a:lnTo>
                    <a:pt x="0" y="56"/>
                  </a:lnTo>
                  <a:lnTo>
                    <a:pt x="113" y="0"/>
                  </a:lnTo>
                  <a:close/>
                </a:path>
              </a:pathLst>
            </a:custGeom>
            <a:solidFill>
              <a:srgbClr val="F8D6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sz="1799" dirty="0"/>
            </a:p>
          </p:txBody>
        </p:sp>
        <p:sp>
          <p:nvSpPr>
            <p:cNvPr id="21" name="Freeform 47">
              <a:extLst>
                <a:ext uri="{FF2B5EF4-FFF2-40B4-BE49-F238E27FC236}">
                  <a16:creationId xmlns:a16="http://schemas.microsoft.com/office/drawing/2014/main" id="{90675E58-5010-4926-AD16-C2D5289D0F01}"/>
                </a:ext>
              </a:extLst>
            </p:cNvPr>
            <p:cNvSpPr>
              <a:spLocks/>
            </p:cNvSpPr>
            <p:nvPr userDrawn="1"/>
          </p:nvSpPr>
          <p:spPr bwMode="gray">
            <a:xfrm flipH="1">
              <a:off x="7045517" y="6674798"/>
              <a:ext cx="150933" cy="153604"/>
            </a:xfrm>
            <a:custGeom>
              <a:avLst/>
              <a:gdLst>
                <a:gd name="T0" fmla="*/ 0 w 113"/>
                <a:gd name="T1" fmla="*/ 115 h 115"/>
                <a:gd name="T2" fmla="*/ 0 w 113"/>
                <a:gd name="T3" fmla="*/ 0 h 115"/>
                <a:gd name="T4" fmla="*/ 113 w 113"/>
                <a:gd name="T5" fmla="*/ 56 h 115"/>
                <a:gd name="T6" fmla="*/ 0 w 113"/>
                <a:gd name="T7" fmla="*/ 115 h 115"/>
              </a:gdLst>
              <a:ahLst/>
              <a:cxnLst>
                <a:cxn ang="0">
                  <a:pos x="T0" y="T1"/>
                </a:cxn>
                <a:cxn ang="0">
                  <a:pos x="T2" y="T3"/>
                </a:cxn>
                <a:cxn ang="0">
                  <a:pos x="T4" y="T5"/>
                </a:cxn>
                <a:cxn ang="0">
                  <a:pos x="T6" y="T7"/>
                </a:cxn>
              </a:cxnLst>
              <a:rect l="0" t="0" r="r" b="b"/>
              <a:pathLst>
                <a:path w="113" h="115">
                  <a:moveTo>
                    <a:pt x="0" y="115"/>
                  </a:moveTo>
                  <a:lnTo>
                    <a:pt x="0" y="0"/>
                  </a:lnTo>
                  <a:lnTo>
                    <a:pt x="113" y="56"/>
                  </a:lnTo>
                  <a:lnTo>
                    <a:pt x="0" y="115"/>
                  </a:lnTo>
                  <a:close/>
                </a:path>
              </a:pathLst>
            </a:custGeom>
            <a:solidFill>
              <a:srgbClr val="ED8B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p>
          </p:txBody>
        </p:sp>
        <p:sp>
          <p:nvSpPr>
            <p:cNvPr id="22" name="Freeform 66">
              <a:extLst>
                <a:ext uri="{FF2B5EF4-FFF2-40B4-BE49-F238E27FC236}">
                  <a16:creationId xmlns:a16="http://schemas.microsoft.com/office/drawing/2014/main" id="{D6F9BB3D-3154-4972-9C37-BD9FA2CD4C6C}"/>
                </a:ext>
              </a:extLst>
            </p:cNvPr>
            <p:cNvSpPr>
              <a:spLocks/>
            </p:cNvSpPr>
            <p:nvPr userDrawn="1"/>
          </p:nvSpPr>
          <p:spPr bwMode="gray">
            <a:xfrm>
              <a:off x="7151689" y="6600268"/>
              <a:ext cx="194591" cy="196299"/>
            </a:xfrm>
            <a:custGeom>
              <a:avLst/>
              <a:gdLst>
                <a:gd name="T0" fmla="*/ 0 w 114"/>
                <a:gd name="T1" fmla="*/ 115 h 115"/>
                <a:gd name="T2" fmla="*/ 0 w 114"/>
                <a:gd name="T3" fmla="*/ 0 h 115"/>
                <a:gd name="T4" fmla="*/ 114 w 114"/>
                <a:gd name="T5" fmla="*/ 56 h 115"/>
                <a:gd name="T6" fmla="*/ 0 w 114"/>
                <a:gd name="T7" fmla="*/ 115 h 115"/>
              </a:gdLst>
              <a:ahLst/>
              <a:cxnLst>
                <a:cxn ang="0">
                  <a:pos x="T0" y="T1"/>
                </a:cxn>
                <a:cxn ang="0">
                  <a:pos x="T2" y="T3"/>
                </a:cxn>
                <a:cxn ang="0">
                  <a:pos x="T4" y="T5"/>
                </a:cxn>
                <a:cxn ang="0">
                  <a:pos x="T6" y="T7"/>
                </a:cxn>
              </a:cxnLst>
              <a:rect l="0" t="0" r="r" b="b"/>
              <a:pathLst>
                <a:path w="114" h="115">
                  <a:moveTo>
                    <a:pt x="0" y="115"/>
                  </a:moveTo>
                  <a:lnTo>
                    <a:pt x="0" y="0"/>
                  </a:lnTo>
                  <a:lnTo>
                    <a:pt x="114" y="56"/>
                  </a:lnTo>
                  <a:lnTo>
                    <a:pt x="0" y="115"/>
                  </a:lnTo>
                  <a:close/>
                </a:path>
              </a:pathLst>
            </a:custGeom>
            <a:solidFill>
              <a:srgbClr val="F5BD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p>
          </p:txBody>
        </p:sp>
        <p:sp>
          <p:nvSpPr>
            <p:cNvPr id="23" name="Freeform 66">
              <a:extLst>
                <a:ext uri="{FF2B5EF4-FFF2-40B4-BE49-F238E27FC236}">
                  <a16:creationId xmlns:a16="http://schemas.microsoft.com/office/drawing/2014/main" id="{6F533E71-F3E2-4CD8-9748-13BE48E6A98E}"/>
                </a:ext>
              </a:extLst>
            </p:cNvPr>
            <p:cNvSpPr>
              <a:spLocks/>
            </p:cNvSpPr>
            <p:nvPr userDrawn="1"/>
          </p:nvSpPr>
          <p:spPr bwMode="gray">
            <a:xfrm flipH="1">
              <a:off x="7815274" y="6704352"/>
              <a:ext cx="231588" cy="233621"/>
            </a:xfrm>
            <a:custGeom>
              <a:avLst/>
              <a:gdLst>
                <a:gd name="T0" fmla="*/ 0 w 114"/>
                <a:gd name="T1" fmla="*/ 115 h 115"/>
                <a:gd name="T2" fmla="*/ 0 w 114"/>
                <a:gd name="T3" fmla="*/ 0 h 115"/>
                <a:gd name="T4" fmla="*/ 114 w 114"/>
                <a:gd name="T5" fmla="*/ 56 h 115"/>
                <a:gd name="T6" fmla="*/ 0 w 114"/>
                <a:gd name="T7" fmla="*/ 115 h 115"/>
              </a:gdLst>
              <a:ahLst/>
              <a:cxnLst>
                <a:cxn ang="0">
                  <a:pos x="T0" y="T1"/>
                </a:cxn>
                <a:cxn ang="0">
                  <a:pos x="T2" y="T3"/>
                </a:cxn>
                <a:cxn ang="0">
                  <a:pos x="T4" y="T5"/>
                </a:cxn>
                <a:cxn ang="0">
                  <a:pos x="T6" y="T7"/>
                </a:cxn>
              </a:cxnLst>
              <a:rect l="0" t="0" r="r" b="b"/>
              <a:pathLst>
                <a:path w="114" h="115">
                  <a:moveTo>
                    <a:pt x="0" y="115"/>
                  </a:moveTo>
                  <a:lnTo>
                    <a:pt x="0" y="0"/>
                  </a:lnTo>
                  <a:lnTo>
                    <a:pt x="114" y="56"/>
                  </a:lnTo>
                  <a:lnTo>
                    <a:pt x="0" y="115"/>
                  </a:lnTo>
                  <a:close/>
                </a:path>
              </a:pathLst>
            </a:custGeom>
            <a:solidFill>
              <a:srgbClr val="F5BD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p>
          </p:txBody>
        </p:sp>
        <p:sp>
          <p:nvSpPr>
            <p:cNvPr id="24" name="Freeform 47">
              <a:extLst>
                <a:ext uri="{FF2B5EF4-FFF2-40B4-BE49-F238E27FC236}">
                  <a16:creationId xmlns:a16="http://schemas.microsoft.com/office/drawing/2014/main" id="{AF4918F5-C61C-4E6D-BCBE-6766A96D0140}"/>
                </a:ext>
              </a:extLst>
            </p:cNvPr>
            <p:cNvSpPr>
              <a:spLocks/>
            </p:cNvSpPr>
            <p:nvPr userDrawn="1"/>
          </p:nvSpPr>
          <p:spPr bwMode="gray">
            <a:xfrm>
              <a:off x="8285531" y="6566879"/>
              <a:ext cx="299141" cy="304434"/>
            </a:xfrm>
            <a:custGeom>
              <a:avLst/>
              <a:gdLst>
                <a:gd name="T0" fmla="*/ 0 w 113"/>
                <a:gd name="T1" fmla="*/ 115 h 115"/>
                <a:gd name="T2" fmla="*/ 0 w 113"/>
                <a:gd name="T3" fmla="*/ 0 h 115"/>
                <a:gd name="T4" fmla="*/ 113 w 113"/>
                <a:gd name="T5" fmla="*/ 56 h 115"/>
                <a:gd name="T6" fmla="*/ 0 w 113"/>
                <a:gd name="T7" fmla="*/ 115 h 115"/>
              </a:gdLst>
              <a:ahLst/>
              <a:cxnLst>
                <a:cxn ang="0">
                  <a:pos x="T0" y="T1"/>
                </a:cxn>
                <a:cxn ang="0">
                  <a:pos x="T2" y="T3"/>
                </a:cxn>
                <a:cxn ang="0">
                  <a:pos x="T4" y="T5"/>
                </a:cxn>
                <a:cxn ang="0">
                  <a:pos x="T6" y="T7"/>
                </a:cxn>
              </a:cxnLst>
              <a:rect l="0" t="0" r="r" b="b"/>
              <a:pathLst>
                <a:path w="113" h="115">
                  <a:moveTo>
                    <a:pt x="0" y="115"/>
                  </a:moveTo>
                  <a:lnTo>
                    <a:pt x="0" y="0"/>
                  </a:lnTo>
                  <a:lnTo>
                    <a:pt x="113" y="56"/>
                  </a:lnTo>
                  <a:lnTo>
                    <a:pt x="0" y="115"/>
                  </a:lnTo>
                  <a:close/>
                </a:path>
              </a:pathLst>
            </a:custGeom>
            <a:solidFill>
              <a:srgbClr val="ED8B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p>
          </p:txBody>
        </p:sp>
        <p:sp>
          <p:nvSpPr>
            <p:cNvPr id="25" name="Freeform 66">
              <a:extLst>
                <a:ext uri="{FF2B5EF4-FFF2-40B4-BE49-F238E27FC236}">
                  <a16:creationId xmlns:a16="http://schemas.microsoft.com/office/drawing/2014/main" id="{8704ACEA-B233-4C06-89B1-B5EF8A0856A4}"/>
                </a:ext>
              </a:extLst>
            </p:cNvPr>
            <p:cNvSpPr>
              <a:spLocks/>
            </p:cNvSpPr>
            <p:nvPr userDrawn="1"/>
          </p:nvSpPr>
          <p:spPr bwMode="gray">
            <a:xfrm flipH="1">
              <a:off x="8064539" y="6634126"/>
              <a:ext cx="338197" cy="341164"/>
            </a:xfrm>
            <a:custGeom>
              <a:avLst/>
              <a:gdLst>
                <a:gd name="T0" fmla="*/ 0 w 114"/>
                <a:gd name="T1" fmla="*/ 115 h 115"/>
                <a:gd name="T2" fmla="*/ 0 w 114"/>
                <a:gd name="T3" fmla="*/ 0 h 115"/>
                <a:gd name="T4" fmla="*/ 114 w 114"/>
                <a:gd name="T5" fmla="*/ 56 h 115"/>
                <a:gd name="T6" fmla="*/ 0 w 114"/>
                <a:gd name="T7" fmla="*/ 115 h 115"/>
              </a:gdLst>
              <a:ahLst/>
              <a:cxnLst>
                <a:cxn ang="0">
                  <a:pos x="T0" y="T1"/>
                </a:cxn>
                <a:cxn ang="0">
                  <a:pos x="T2" y="T3"/>
                </a:cxn>
                <a:cxn ang="0">
                  <a:pos x="T4" y="T5"/>
                </a:cxn>
                <a:cxn ang="0">
                  <a:pos x="T6" y="T7"/>
                </a:cxn>
              </a:cxnLst>
              <a:rect l="0" t="0" r="r" b="b"/>
              <a:pathLst>
                <a:path w="114" h="115">
                  <a:moveTo>
                    <a:pt x="0" y="115"/>
                  </a:moveTo>
                  <a:lnTo>
                    <a:pt x="0" y="0"/>
                  </a:lnTo>
                  <a:lnTo>
                    <a:pt x="114" y="56"/>
                  </a:lnTo>
                  <a:lnTo>
                    <a:pt x="0" y="115"/>
                  </a:lnTo>
                  <a:close/>
                </a:path>
              </a:pathLst>
            </a:custGeom>
            <a:solidFill>
              <a:srgbClr val="F5BD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p>
          </p:txBody>
        </p:sp>
        <p:sp>
          <p:nvSpPr>
            <p:cNvPr id="26" name="Freeform 66">
              <a:extLst>
                <a:ext uri="{FF2B5EF4-FFF2-40B4-BE49-F238E27FC236}">
                  <a16:creationId xmlns:a16="http://schemas.microsoft.com/office/drawing/2014/main" id="{50FE66D4-E31C-48D1-A427-AA5FC7A13389}"/>
                </a:ext>
              </a:extLst>
            </p:cNvPr>
            <p:cNvSpPr>
              <a:spLocks/>
            </p:cNvSpPr>
            <p:nvPr userDrawn="1"/>
          </p:nvSpPr>
          <p:spPr bwMode="gray">
            <a:xfrm flipH="1">
              <a:off x="8460245" y="6704352"/>
              <a:ext cx="231588" cy="233621"/>
            </a:xfrm>
            <a:custGeom>
              <a:avLst/>
              <a:gdLst>
                <a:gd name="T0" fmla="*/ 0 w 114"/>
                <a:gd name="T1" fmla="*/ 115 h 115"/>
                <a:gd name="T2" fmla="*/ 0 w 114"/>
                <a:gd name="T3" fmla="*/ 0 h 115"/>
                <a:gd name="T4" fmla="*/ 114 w 114"/>
                <a:gd name="T5" fmla="*/ 56 h 115"/>
                <a:gd name="T6" fmla="*/ 0 w 114"/>
                <a:gd name="T7" fmla="*/ 115 h 115"/>
              </a:gdLst>
              <a:ahLst/>
              <a:cxnLst>
                <a:cxn ang="0">
                  <a:pos x="T0" y="T1"/>
                </a:cxn>
                <a:cxn ang="0">
                  <a:pos x="T2" y="T3"/>
                </a:cxn>
                <a:cxn ang="0">
                  <a:pos x="T4" y="T5"/>
                </a:cxn>
                <a:cxn ang="0">
                  <a:pos x="T6" y="T7"/>
                </a:cxn>
              </a:cxnLst>
              <a:rect l="0" t="0" r="r" b="b"/>
              <a:pathLst>
                <a:path w="114" h="115">
                  <a:moveTo>
                    <a:pt x="0" y="115"/>
                  </a:moveTo>
                  <a:lnTo>
                    <a:pt x="0" y="0"/>
                  </a:lnTo>
                  <a:lnTo>
                    <a:pt x="114" y="56"/>
                  </a:lnTo>
                  <a:lnTo>
                    <a:pt x="0" y="115"/>
                  </a:lnTo>
                  <a:close/>
                </a:path>
              </a:pathLst>
            </a:custGeom>
            <a:solidFill>
              <a:srgbClr val="F5BD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p>
          </p:txBody>
        </p:sp>
        <p:sp>
          <p:nvSpPr>
            <p:cNvPr id="27" name="Freeform 15">
              <a:extLst>
                <a:ext uri="{FF2B5EF4-FFF2-40B4-BE49-F238E27FC236}">
                  <a16:creationId xmlns:a16="http://schemas.microsoft.com/office/drawing/2014/main" id="{15398C18-A48F-4E72-97E5-13039B771446}"/>
                </a:ext>
              </a:extLst>
            </p:cNvPr>
            <p:cNvSpPr>
              <a:spLocks/>
            </p:cNvSpPr>
            <p:nvPr userDrawn="1"/>
          </p:nvSpPr>
          <p:spPr bwMode="gray">
            <a:xfrm>
              <a:off x="8486141" y="6652991"/>
              <a:ext cx="304434" cy="304434"/>
            </a:xfrm>
            <a:custGeom>
              <a:avLst/>
              <a:gdLst>
                <a:gd name="T0" fmla="*/ 0 w 115"/>
                <a:gd name="T1" fmla="*/ 115 h 115"/>
                <a:gd name="T2" fmla="*/ 0 w 115"/>
                <a:gd name="T3" fmla="*/ 0 h 115"/>
                <a:gd name="T4" fmla="*/ 115 w 115"/>
                <a:gd name="T5" fmla="*/ 59 h 115"/>
                <a:gd name="T6" fmla="*/ 0 w 115"/>
                <a:gd name="T7" fmla="*/ 115 h 115"/>
              </a:gdLst>
              <a:ahLst/>
              <a:cxnLst>
                <a:cxn ang="0">
                  <a:pos x="T0" y="T1"/>
                </a:cxn>
                <a:cxn ang="0">
                  <a:pos x="T2" y="T3"/>
                </a:cxn>
                <a:cxn ang="0">
                  <a:pos x="T4" y="T5"/>
                </a:cxn>
                <a:cxn ang="0">
                  <a:pos x="T6" y="T7"/>
                </a:cxn>
              </a:cxnLst>
              <a:rect l="0" t="0" r="r" b="b"/>
              <a:pathLst>
                <a:path w="115" h="115">
                  <a:moveTo>
                    <a:pt x="0" y="115"/>
                  </a:moveTo>
                  <a:lnTo>
                    <a:pt x="0" y="0"/>
                  </a:lnTo>
                  <a:lnTo>
                    <a:pt x="115" y="59"/>
                  </a:lnTo>
                  <a:lnTo>
                    <a:pt x="0" y="115"/>
                  </a:lnTo>
                  <a:close/>
                </a:path>
              </a:pathLst>
            </a:custGeom>
            <a:solidFill>
              <a:srgbClr val="FCEE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p>
          </p:txBody>
        </p:sp>
        <p:sp>
          <p:nvSpPr>
            <p:cNvPr id="28" name="Freeform 17">
              <a:extLst>
                <a:ext uri="{FF2B5EF4-FFF2-40B4-BE49-F238E27FC236}">
                  <a16:creationId xmlns:a16="http://schemas.microsoft.com/office/drawing/2014/main" id="{B6377C6A-0905-47E3-822B-B54174185A9C}"/>
                </a:ext>
              </a:extLst>
            </p:cNvPr>
            <p:cNvSpPr>
              <a:spLocks/>
            </p:cNvSpPr>
            <p:nvPr userDrawn="1"/>
          </p:nvSpPr>
          <p:spPr bwMode="gray">
            <a:xfrm flipH="1">
              <a:off x="8222376" y="6346342"/>
              <a:ext cx="238891" cy="253989"/>
            </a:xfrm>
            <a:custGeom>
              <a:avLst/>
              <a:gdLst>
                <a:gd name="T0" fmla="*/ 113 w 113"/>
                <a:gd name="T1" fmla="*/ 0 h 113"/>
                <a:gd name="T2" fmla="*/ 113 w 113"/>
                <a:gd name="T3" fmla="*/ 113 h 113"/>
                <a:gd name="T4" fmla="*/ 0 w 113"/>
                <a:gd name="T5" fmla="*/ 56 h 113"/>
                <a:gd name="T6" fmla="*/ 113 w 113"/>
                <a:gd name="T7" fmla="*/ 0 h 113"/>
              </a:gdLst>
              <a:ahLst/>
              <a:cxnLst>
                <a:cxn ang="0">
                  <a:pos x="T0" y="T1"/>
                </a:cxn>
                <a:cxn ang="0">
                  <a:pos x="T2" y="T3"/>
                </a:cxn>
                <a:cxn ang="0">
                  <a:pos x="T4" y="T5"/>
                </a:cxn>
                <a:cxn ang="0">
                  <a:pos x="T6" y="T7"/>
                </a:cxn>
              </a:cxnLst>
              <a:rect l="0" t="0" r="r" b="b"/>
              <a:pathLst>
                <a:path w="113" h="113">
                  <a:moveTo>
                    <a:pt x="113" y="0"/>
                  </a:moveTo>
                  <a:lnTo>
                    <a:pt x="113" y="113"/>
                  </a:lnTo>
                  <a:lnTo>
                    <a:pt x="0" y="56"/>
                  </a:lnTo>
                  <a:lnTo>
                    <a:pt x="113" y="0"/>
                  </a:lnTo>
                  <a:close/>
                </a:path>
              </a:pathLst>
            </a:custGeom>
            <a:solidFill>
              <a:srgbClr val="F8D6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sz="1799" dirty="0"/>
            </a:p>
          </p:txBody>
        </p:sp>
        <p:sp>
          <p:nvSpPr>
            <p:cNvPr id="29" name="Freeform 66">
              <a:extLst>
                <a:ext uri="{FF2B5EF4-FFF2-40B4-BE49-F238E27FC236}">
                  <a16:creationId xmlns:a16="http://schemas.microsoft.com/office/drawing/2014/main" id="{A5576D4B-1419-4095-8FA5-A70A0AC9CFDC}"/>
                </a:ext>
              </a:extLst>
            </p:cNvPr>
            <p:cNvSpPr>
              <a:spLocks/>
            </p:cNvSpPr>
            <p:nvPr userDrawn="1"/>
          </p:nvSpPr>
          <p:spPr bwMode="gray">
            <a:xfrm>
              <a:off x="8924608" y="6293875"/>
              <a:ext cx="231588" cy="233621"/>
            </a:xfrm>
            <a:custGeom>
              <a:avLst/>
              <a:gdLst>
                <a:gd name="T0" fmla="*/ 0 w 114"/>
                <a:gd name="T1" fmla="*/ 115 h 115"/>
                <a:gd name="T2" fmla="*/ 0 w 114"/>
                <a:gd name="T3" fmla="*/ 0 h 115"/>
                <a:gd name="T4" fmla="*/ 114 w 114"/>
                <a:gd name="T5" fmla="*/ 56 h 115"/>
                <a:gd name="T6" fmla="*/ 0 w 114"/>
                <a:gd name="T7" fmla="*/ 115 h 115"/>
              </a:gdLst>
              <a:ahLst/>
              <a:cxnLst>
                <a:cxn ang="0">
                  <a:pos x="T0" y="T1"/>
                </a:cxn>
                <a:cxn ang="0">
                  <a:pos x="T2" y="T3"/>
                </a:cxn>
                <a:cxn ang="0">
                  <a:pos x="T4" y="T5"/>
                </a:cxn>
                <a:cxn ang="0">
                  <a:pos x="T6" y="T7"/>
                </a:cxn>
              </a:cxnLst>
              <a:rect l="0" t="0" r="r" b="b"/>
              <a:pathLst>
                <a:path w="114" h="115">
                  <a:moveTo>
                    <a:pt x="0" y="115"/>
                  </a:moveTo>
                  <a:lnTo>
                    <a:pt x="0" y="0"/>
                  </a:lnTo>
                  <a:lnTo>
                    <a:pt x="114" y="56"/>
                  </a:lnTo>
                  <a:lnTo>
                    <a:pt x="0" y="115"/>
                  </a:lnTo>
                  <a:close/>
                </a:path>
              </a:pathLst>
            </a:custGeom>
            <a:solidFill>
              <a:srgbClr val="ED8B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sz="1799" dirty="0"/>
            </a:p>
          </p:txBody>
        </p:sp>
        <p:sp>
          <p:nvSpPr>
            <p:cNvPr id="30" name="Freeform 66">
              <a:extLst>
                <a:ext uri="{FF2B5EF4-FFF2-40B4-BE49-F238E27FC236}">
                  <a16:creationId xmlns:a16="http://schemas.microsoft.com/office/drawing/2014/main" id="{53FF688B-2721-472C-BF22-7B7D930FA447}"/>
                </a:ext>
              </a:extLst>
            </p:cNvPr>
            <p:cNvSpPr>
              <a:spLocks/>
            </p:cNvSpPr>
            <p:nvPr userDrawn="1"/>
          </p:nvSpPr>
          <p:spPr bwMode="gray">
            <a:xfrm>
              <a:off x="9162253" y="6403860"/>
              <a:ext cx="231588" cy="233621"/>
            </a:xfrm>
            <a:custGeom>
              <a:avLst/>
              <a:gdLst>
                <a:gd name="T0" fmla="*/ 0 w 114"/>
                <a:gd name="T1" fmla="*/ 115 h 115"/>
                <a:gd name="T2" fmla="*/ 0 w 114"/>
                <a:gd name="T3" fmla="*/ 0 h 115"/>
                <a:gd name="T4" fmla="*/ 114 w 114"/>
                <a:gd name="T5" fmla="*/ 56 h 115"/>
                <a:gd name="T6" fmla="*/ 0 w 114"/>
                <a:gd name="T7" fmla="*/ 115 h 115"/>
              </a:gdLst>
              <a:ahLst/>
              <a:cxnLst>
                <a:cxn ang="0">
                  <a:pos x="T0" y="T1"/>
                </a:cxn>
                <a:cxn ang="0">
                  <a:pos x="T2" y="T3"/>
                </a:cxn>
                <a:cxn ang="0">
                  <a:pos x="T4" y="T5"/>
                </a:cxn>
                <a:cxn ang="0">
                  <a:pos x="T6" y="T7"/>
                </a:cxn>
              </a:cxnLst>
              <a:rect l="0" t="0" r="r" b="b"/>
              <a:pathLst>
                <a:path w="114" h="115">
                  <a:moveTo>
                    <a:pt x="0" y="115"/>
                  </a:moveTo>
                  <a:lnTo>
                    <a:pt x="0" y="0"/>
                  </a:lnTo>
                  <a:lnTo>
                    <a:pt x="114" y="56"/>
                  </a:lnTo>
                  <a:lnTo>
                    <a:pt x="0" y="115"/>
                  </a:lnTo>
                  <a:close/>
                </a:path>
              </a:pathLst>
            </a:custGeom>
            <a:solidFill>
              <a:srgbClr val="F5BD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p>
          </p:txBody>
        </p:sp>
        <p:sp>
          <p:nvSpPr>
            <p:cNvPr id="31" name="Freeform 66">
              <a:extLst>
                <a:ext uri="{FF2B5EF4-FFF2-40B4-BE49-F238E27FC236}">
                  <a16:creationId xmlns:a16="http://schemas.microsoft.com/office/drawing/2014/main" id="{55F65AC8-5776-4FD6-BFD8-0123750B0DCC}"/>
                </a:ext>
              </a:extLst>
            </p:cNvPr>
            <p:cNvSpPr>
              <a:spLocks/>
            </p:cNvSpPr>
            <p:nvPr userDrawn="1"/>
          </p:nvSpPr>
          <p:spPr bwMode="gray">
            <a:xfrm flipH="1">
              <a:off x="9146540" y="6777020"/>
              <a:ext cx="231588" cy="233621"/>
            </a:xfrm>
            <a:custGeom>
              <a:avLst/>
              <a:gdLst>
                <a:gd name="T0" fmla="*/ 0 w 114"/>
                <a:gd name="T1" fmla="*/ 115 h 115"/>
                <a:gd name="T2" fmla="*/ 0 w 114"/>
                <a:gd name="T3" fmla="*/ 0 h 115"/>
                <a:gd name="T4" fmla="*/ 114 w 114"/>
                <a:gd name="T5" fmla="*/ 56 h 115"/>
                <a:gd name="T6" fmla="*/ 0 w 114"/>
                <a:gd name="T7" fmla="*/ 115 h 115"/>
              </a:gdLst>
              <a:ahLst/>
              <a:cxnLst>
                <a:cxn ang="0">
                  <a:pos x="T0" y="T1"/>
                </a:cxn>
                <a:cxn ang="0">
                  <a:pos x="T2" y="T3"/>
                </a:cxn>
                <a:cxn ang="0">
                  <a:pos x="T4" y="T5"/>
                </a:cxn>
                <a:cxn ang="0">
                  <a:pos x="T6" y="T7"/>
                </a:cxn>
              </a:cxnLst>
              <a:rect l="0" t="0" r="r" b="b"/>
              <a:pathLst>
                <a:path w="114" h="115">
                  <a:moveTo>
                    <a:pt x="0" y="115"/>
                  </a:moveTo>
                  <a:lnTo>
                    <a:pt x="0" y="0"/>
                  </a:lnTo>
                  <a:lnTo>
                    <a:pt x="114" y="56"/>
                  </a:lnTo>
                  <a:lnTo>
                    <a:pt x="0" y="115"/>
                  </a:lnTo>
                  <a:close/>
                </a:path>
              </a:pathLst>
            </a:custGeom>
            <a:solidFill>
              <a:srgbClr val="F5BD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p>
          </p:txBody>
        </p:sp>
        <p:sp>
          <p:nvSpPr>
            <p:cNvPr id="32" name="Freeform 66">
              <a:extLst>
                <a:ext uri="{FF2B5EF4-FFF2-40B4-BE49-F238E27FC236}">
                  <a16:creationId xmlns:a16="http://schemas.microsoft.com/office/drawing/2014/main" id="{9C9FC6D5-D87C-43A1-9D50-E45E1459345A}"/>
                </a:ext>
              </a:extLst>
            </p:cNvPr>
            <p:cNvSpPr>
              <a:spLocks/>
            </p:cNvSpPr>
            <p:nvPr userDrawn="1"/>
          </p:nvSpPr>
          <p:spPr bwMode="gray">
            <a:xfrm flipH="1">
              <a:off x="11321754" y="6691057"/>
              <a:ext cx="178172" cy="179736"/>
            </a:xfrm>
            <a:custGeom>
              <a:avLst/>
              <a:gdLst>
                <a:gd name="T0" fmla="*/ 0 w 114"/>
                <a:gd name="T1" fmla="*/ 115 h 115"/>
                <a:gd name="T2" fmla="*/ 0 w 114"/>
                <a:gd name="T3" fmla="*/ 0 h 115"/>
                <a:gd name="T4" fmla="*/ 114 w 114"/>
                <a:gd name="T5" fmla="*/ 56 h 115"/>
                <a:gd name="T6" fmla="*/ 0 w 114"/>
                <a:gd name="T7" fmla="*/ 115 h 115"/>
              </a:gdLst>
              <a:ahLst/>
              <a:cxnLst>
                <a:cxn ang="0">
                  <a:pos x="T0" y="T1"/>
                </a:cxn>
                <a:cxn ang="0">
                  <a:pos x="T2" y="T3"/>
                </a:cxn>
                <a:cxn ang="0">
                  <a:pos x="T4" y="T5"/>
                </a:cxn>
                <a:cxn ang="0">
                  <a:pos x="T6" y="T7"/>
                </a:cxn>
              </a:cxnLst>
              <a:rect l="0" t="0" r="r" b="b"/>
              <a:pathLst>
                <a:path w="114" h="115">
                  <a:moveTo>
                    <a:pt x="0" y="115"/>
                  </a:moveTo>
                  <a:lnTo>
                    <a:pt x="0" y="0"/>
                  </a:lnTo>
                  <a:lnTo>
                    <a:pt x="114" y="56"/>
                  </a:lnTo>
                  <a:lnTo>
                    <a:pt x="0" y="115"/>
                  </a:lnTo>
                  <a:close/>
                </a:path>
              </a:pathLst>
            </a:custGeom>
            <a:solidFill>
              <a:srgbClr val="F5BD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p>
          </p:txBody>
        </p:sp>
        <p:sp>
          <p:nvSpPr>
            <p:cNvPr id="33" name="Freeform 66">
              <a:extLst>
                <a:ext uri="{FF2B5EF4-FFF2-40B4-BE49-F238E27FC236}">
                  <a16:creationId xmlns:a16="http://schemas.microsoft.com/office/drawing/2014/main" id="{BF32C2EC-954F-4AC1-9E7D-52900563C8E3}"/>
                </a:ext>
              </a:extLst>
            </p:cNvPr>
            <p:cNvSpPr>
              <a:spLocks/>
            </p:cNvSpPr>
            <p:nvPr userDrawn="1"/>
          </p:nvSpPr>
          <p:spPr bwMode="gray">
            <a:xfrm>
              <a:off x="10668315" y="5924447"/>
              <a:ext cx="260988" cy="263279"/>
            </a:xfrm>
            <a:custGeom>
              <a:avLst/>
              <a:gdLst>
                <a:gd name="T0" fmla="*/ 0 w 114"/>
                <a:gd name="T1" fmla="*/ 115 h 115"/>
                <a:gd name="T2" fmla="*/ 0 w 114"/>
                <a:gd name="T3" fmla="*/ 0 h 115"/>
                <a:gd name="T4" fmla="*/ 114 w 114"/>
                <a:gd name="T5" fmla="*/ 56 h 115"/>
                <a:gd name="T6" fmla="*/ 0 w 114"/>
                <a:gd name="T7" fmla="*/ 115 h 115"/>
              </a:gdLst>
              <a:ahLst/>
              <a:cxnLst>
                <a:cxn ang="0">
                  <a:pos x="T0" y="T1"/>
                </a:cxn>
                <a:cxn ang="0">
                  <a:pos x="T2" y="T3"/>
                </a:cxn>
                <a:cxn ang="0">
                  <a:pos x="T4" y="T5"/>
                </a:cxn>
                <a:cxn ang="0">
                  <a:pos x="T6" y="T7"/>
                </a:cxn>
              </a:cxnLst>
              <a:rect l="0" t="0" r="r" b="b"/>
              <a:pathLst>
                <a:path w="114" h="115">
                  <a:moveTo>
                    <a:pt x="0" y="115"/>
                  </a:moveTo>
                  <a:lnTo>
                    <a:pt x="0" y="0"/>
                  </a:lnTo>
                  <a:lnTo>
                    <a:pt x="114" y="56"/>
                  </a:lnTo>
                  <a:lnTo>
                    <a:pt x="0" y="115"/>
                  </a:lnTo>
                  <a:close/>
                </a:path>
              </a:pathLst>
            </a:custGeom>
            <a:solidFill>
              <a:srgbClr val="F5BD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p>
          </p:txBody>
        </p:sp>
        <p:sp>
          <p:nvSpPr>
            <p:cNvPr id="34" name="Freeform 66">
              <a:extLst>
                <a:ext uri="{FF2B5EF4-FFF2-40B4-BE49-F238E27FC236}">
                  <a16:creationId xmlns:a16="http://schemas.microsoft.com/office/drawing/2014/main" id="{46E73DA1-E583-42F9-B2D4-CA0B24B799C0}"/>
                </a:ext>
              </a:extLst>
            </p:cNvPr>
            <p:cNvSpPr>
              <a:spLocks/>
            </p:cNvSpPr>
            <p:nvPr userDrawn="1"/>
          </p:nvSpPr>
          <p:spPr bwMode="gray">
            <a:xfrm>
              <a:off x="10094663" y="6505988"/>
              <a:ext cx="169559" cy="171047"/>
            </a:xfrm>
            <a:custGeom>
              <a:avLst/>
              <a:gdLst>
                <a:gd name="T0" fmla="*/ 0 w 114"/>
                <a:gd name="T1" fmla="*/ 115 h 115"/>
                <a:gd name="T2" fmla="*/ 0 w 114"/>
                <a:gd name="T3" fmla="*/ 0 h 115"/>
                <a:gd name="T4" fmla="*/ 114 w 114"/>
                <a:gd name="T5" fmla="*/ 56 h 115"/>
                <a:gd name="T6" fmla="*/ 0 w 114"/>
                <a:gd name="T7" fmla="*/ 115 h 115"/>
              </a:gdLst>
              <a:ahLst/>
              <a:cxnLst>
                <a:cxn ang="0">
                  <a:pos x="T0" y="T1"/>
                </a:cxn>
                <a:cxn ang="0">
                  <a:pos x="T2" y="T3"/>
                </a:cxn>
                <a:cxn ang="0">
                  <a:pos x="T4" y="T5"/>
                </a:cxn>
                <a:cxn ang="0">
                  <a:pos x="T6" y="T7"/>
                </a:cxn>
              </a:cxnLst>
              <a:rect l="0" t="0" r="r" b="b"/>
              <a:pathLst>
                <a:path w="114" h="115">
                  <a:moveTo>
                    <a:pt x="0" y="115"/>
                  </a:moveTo>
                  <a:lnTo>
                    <a:pt x="0" y="0"/>
                  </a:lnTo>
                  <a:lnTo>
                    <a:pt x="114" y="56"/>
                  </a:lnTo>
                  <a:lnTo>
                    <a:pt x="0" y="115"/>
                  </a:lnTo>
                  <a:close/>
                </a:path>
              </a:pathLst>
            </a:custGeom>
            <a:solidFill>
              <a:srgbClr val="FCEE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sz="1799" dirty="0"/>
            </a:p>
          </p:txBody>
        </p:sp>
        <p:sp>
          <p:nvSpPr>
            <p:cNvPr id="35" name="Freeform 66">
              <a:extLst>
                <a:ext uri="{FF2B5EF4-FFF2-40B4-BE49-F238E27FC236}">
                  <a16:creationId xmlns:a16="http://schemas.microsoft.com/office/drawing/2014/main" id="{BFFEF4CA-2AAD-493F-B904-DC4BC216DB5F}"/>
                </a:ext>
              </a:extLst>
            </p:cNvPr>
            <p:cNvSpPr>
              <a:spLocks/>
            </p:cNvSpPr>
            <p:nvPr userDrawn="1"/>
          </p:nvSpPr>
          <p:spPr bwMode="gray">
            <a:xfrm flipH="1">
              <a:off x="10082879" y="6382257"/>
              <a:ext cx="169559" cy="171047"/>
            </a:xfrm>
            <a:custGeom>
              <a:avLst/>
              <a:gdLst>
                <a:gd name="T0" fmla="*/ 0 w 114"/>
                <a:gd name="T1" fmla="*/ 115 h 115"/>
                <a:gd name="T2" fmla="*/ 0 w 114"/>
                <a:gd name="T3" fmla="*/ 0 h 115"/>
                <a:gd name="T4" fmla="*/ 114 w 114"/>
                <a:gd name="T5" fmla="*/ 56 h 115"/>
                <a:gd name="T6" fmla="*/ 0 w 114"/>
                <a:gd name="T7" fmla="*/ 115 h 115"/>
              </a:gdLst>
              <a:ahLst/>
              <a:cxnLst>
                <a:cxn ang="0">
                  <a:pos x="T0" y="T1"/>
                </a:cxn>
                <a:cxn ang="0">
                  <a:pos x="T2" y="T3"/>
                </a:cxn>
                <a:cxn ang="0">
                  <a:pos x="T4" y="T5"/>
                </a:cxn>
                <a:cxn ang="0">
                  <a:pos x="T6" y="T7"/>
                </a:cxn>
              </a:cxnLst>
              <a:rect l="0" t="0" r="r" b="b"/>
              <a:pathLst>
                <a:path w="114" h="115">
                  <a:moveTo>
                    <a:pt x="0" y="115"/>
                  </a:moveTo>
                  <a:lnTo>
                    <a:pt x="0" y="0"/>
                  </a:lnTo>
                  <a:lnTo>
                    <a:pt x="114" y="56"/>
                  </a:lnTo>
                  <a:lnTo>
                    <a:pt x="0" y="115"/>
                  </a:lnTo>
                  <a:close/>
                </a:path>
              </a:pathLst>
            </a:custGeom>
            <a:solidFill>
              <a:srgbClr val="F5BD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p>
          </p:txBody>
        </p:sp>
        <p:sp>
          <p:nvSpPr>
            <p:cNvPr id="36" name="Freeform 66">
              <a:extLst>
                <a:ext uri="{FF2B5EF4-FFF2-40B4-BE49-F238E27FC236}">
                  <a16:creationId xmlns:a16="http://schemas.microsoft.com/office/drawing/2014/main" id="{9350A371-27CC-4AAF-804F-BA88FD5AF189}"/>
                </a:ext>
              </a:extLst>
            </p:cNvPr>
            <p:cNvSpPr>
              <a:spLocks/>
            </p:cNvSpPr>
            <p:nvPr userDrawn="1"/>
          </p:nvSpPr>
          <p:spPr bwMode="gray">
            <a:xfrm flipH="1">
              <a:off x="10782718" y="6612509"/>
              <a:ext cx="447547" cy="451475"/>
            </a:xfrm>
            <a:custGeom>
              <a:avLst/>
              <a:gdLst>
                <a:gd name="T0" fmla="*/ 0 w 114"/>
                <a:gd name="T1" fmla="*/ 115 h 115"/>
                <a:gd name="T2" fmla="*/ 0 w 114"/>
                <a:gd name="T3" fmla="*/ 0 h 115"/>
                <a:gd name="T4" fmla="*/ 114 w 114"/>
                <a:gd name="T5" fmla="*/ 56 h 115"/>
                <a:gd name="T6" fmla="*/ 0 w 114"/>
                <a:gd name="T7" fmla="*/ 115 h 115"/>
              </a:gdLst>
              <a:ahLst/>
              <a:cxnLst>
                <a:cxn ang="0">
                  <a:pos x="T0" y="T1"/>
                </a:cxn>
                <a:cxn ang="0">
                  <a:pos x="T2" y="T3"/>
                </a:cxn>
                <a:cxn ang="0">
                  <a:pos x="T4" y="T5"/>
                </a:cxn>
                <a:cxn ang="0">
                  <a:pos x="T6" y="T7"/>
                </a:cxn>
              </a:cxnLst>
              <a:rect l="0" t="0" r="r" b="b"/>
              <a:pathLst>
                <a:path w="114" h="115">
                  <a:moveTo>
                    <a:pt x="0" y="115"/>
                  </a:moveTo>
                  <a:lnTo>
                    <a:pt x="0" y="0"/>
                  </a:lnTo>
                  <a:lnTo>
                    <a:pt x="114" y="56"/>
                  </a:lnTo>
                  <a:lnTo>
                    <a:pt x="0" y="115"/>
                  </a:lnTo>
                  <a:close/>
                </a:path>
              </a:pathLst>
            </a:custGeom>
            <a:solidFill>
              <a:srgbClr val="F5BD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p>
          </p:txBody>
        </p:sp>
        <p:sp>
          <p:nvSpPr>
            <p:cNvPr id="37" name="Freeform 66">
              <a:extLst>
                <a:ext uri="{FF2B5EF4-FFF2-40B4-BE49-F238E27FC236}">
                  <a16:creationId xmlns:a16="http://schemas.microsoft.com/office/drawing/2014/main" id="{5CFC75B9-ED16-4800-ACC9-9007AFB40EB3}"/>
                </a:ext>
              </a:extLst>
            </p:cNvPr>
            <p:cNvSpPr>
              <a:spLocks/>
            </p:cNvSpPr>
            <p:nvPr userDrawn="1"/>
          </p:nvSpPr>
          <p:spPr bwMode="gray">
            <a:xfrm flipH="1">
              <a:off x="10898103" y="5615793"/>
              <a:ext cx="260988" cy="263279"/>
            </a:xfrm>
            <a:custGeom>
              <a:avLst/>
              <a:gdLst>
                <a:gd name="T0" fmla="*/ 0 w 114"/>
                <a:gd name="T1" fmla="*/ 115 h 115"/>
                <a:gd name="T2" fmla="*/ 0 w 114"/>
                <a:gd name="T3" fmla="*/ 0 h 115"/>
                <a:gd name="T4" fmla="*/ 114 w 114"/>
                <a:gd name="T5" fmla="*/ 56 h 115"/>
                <a:gd name="T6" fmla="*/ 0 w 114"/>
                <a:gd name="T7" fmla="*/ 115 h 115"/>
              </a:gdLst>
              <a:ahLst/>
              <a:cxnLst>
                <a:cxn ang="0">
                  <a:pos x="T0" y="T1"/>
                </a:cxn>
                <a:cxn ang="0">
                  <a:pos x="T2" y="T3"/>
                </a:cxn>
                <a:cxn ang="0">
                  <a:pos x="T4" y="T5"/>
                </a:cxn>
                <a:cxn ang="0">
                  <a:pos x="T6" y="T7"/>
                </a:cxn>
              </a:cxnLst>
              <a:rect l="0" t="0" r="r" b="b"/>
              <a:pathLst>
                <a:path w="114" h="115">
                  <a:moveTo>
                    <a:pt x="0" y="115"/>
                  </a:moveTo>
                  <a:lnTo>
                    <a:pt x="0" y="0"/>
                  </a:lnTo>
                  <a:lnTo>
                    <a:pt x="114" y="56"/>
                  </a:lnTo>
                  <a:lnTo>
                    <a:pt x="0" y="115"/>
                  </a:lnTo>
                  <a:close/>
                </a:path>
              </a:pathLst>
            </a:custGeom>
            <a:solidFill>
              <a:srgbClr val="F5BD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p>
          </p:txBody>
        </p:sp>
        <p:sp>
          <p:nvSpPr>
            <p:cNvPr id="38" name="Freeform 15">
              <a:extLst>
                <a:ext uri="{FF2B5EF4-FFF2-40B4-BE49-F238E27FC236}">
                  <a16:creationId xmlns:a16="http://schemas.microsoft.com/office/drawing/2014/main" id="{0456CCBE-0AFD-45F1-8FF7-CC891968F85A}"/>
                </a:ext>
              </a:extLst>
            </p:cNvPr>
            <p:cNvSpPr>
              <a:spLocks/>
            </p:cNvSpPr>
            <p:nvPr userDrawn="1"/>
          </p:nvSpPr>
          <p:spPr bwMode="gray">
            <a:xfrm flipH="1">
              <a:off x="8919574" y="6163114"/>
              <a:ext cx="245044" cy="245044"/>
            </a:xfrm>
            <a:custGeom>
              <a:avLst/>
              <a:gdLst>
                <a:gd name="T0" fmla="*/ 0 w 115"/>
                <a:gd name="T1" fmla="*/ 115 h 115"/>
                <a:gd name="T2" fmla="*/ 0 w 115"/>
                <a:gd name="T3" fmla="*/ 0 h 115"/>
                <a:gd name="T4" fmla="*/ 115 w 115"/>
                <a:gd name="T5" fmla="*/ 59 h 115"/>
                <a:gd name="T6" fmla="*/ 0 w 115"/>
                <a:gd name="T7" fmla="*/ 115 h 115"/>
              </a:gdLst>
              <a:ahLst/>
              <a:cxnLst>
                <a:cxn ang="0">
                  <a:pos x="T0" y="T1"/>
                </a:cxn>
                <a:cxn ang="0">
                  <a:pos x="T2" y="T3"/>
                </a:cxn>
                <a:cxn ang="0">
                  <a:pos x="T4" y="T5"/>
                </a:cxn>
                <a:cxn ang="0">
                  <a:pos x="T6" y="T7"/>
                </a:cxn>
              </a:cxnLst>
              <a:rect l="0" t="0" r="r" b="b"/>
              <a:pathLst>
                <a:path w="115" h="115">
                  <a:moveTo>
                    <a:pt x="0" y="115"/>
                  </a:moveTo>
                  <a:lnTo>
                    <a:pt x="0" y="0"/>
                  </a:lnTo>
                  <a:lnTo>
                    <a:pt x="115" y="59"/>
                  </a:lnTo>
                  <a:lnTo>
                    <a:pt x="0" y="115"/>
                  </a:lnTo>
                  <a:close/>
                </a:path>
              </a:pathLst>
            </a:custGeom>
            <a:solidFill>
              <a:srgbClr val="FCEE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p>
          </p:txBody>
        </p:sp>
        <p:sp>
          <p:nvSpPr>
            <p:cNvPr id="39" name="Freeform 15">
              <a:extLst>
                <a:ext uri="{FF2B5EF4-FFF2-40B4-BE49-F238E27FC236}">
                  <a16:creationId xmlns:a16="http://schemas.microsoft.com/office/drawing/2014/main" id="{48BFD825-9819-41F0-B7FE-F3241061A7D6}"/>
                </a:ext>
              </a:extLst>
            </p:cNvPr>
            <p:cNvSpPr>
              <a:spLocks/>
            </p:cNvSpPr>
            <p:nvPr userDrawn="1"/>
          </p:nvSpPr>
          <p:spPr bwMode="gray">
            <a:xfrm flipH="1">
              <a:off x="8913683" y="6655159"/>
              <a:ext cx="245044" cy="245044"/>
            </a:xfrm>
            <a:custGeom>
              <a:avLst/>
              <a:gdLst>
                <a:gd name="T0" fmla="*/ 0 w 115"/>
                <a:gd name="T1" fmla="*/ 115 h 115"/>
                <a:gd name="T2" fmla="*/ 0 w 115"/>
                <a:gd name="T3" fmla="*/ 0 h 115"/>
                <a:gd name="T4" fmla="*/ 115 w 115"/>
                <a:gd name="T5" fmla="*/ 59 h 115"/>
                <a:gd name="T6" fmla="*/ 0 w 115"/>
                <a:gd name="T7" fmla="*/ 115 h 115"/>
              </a:gdLst>
              <a:ahLst/>
              <a:cxnLst>
                <a:cxn ang="0">
                  <a:pos x="T0" y="T1"/>
                </a:cxn>
                <a:cxn ang="0">
                  <a:pos x="T2" y="T3"/>
                </a:cxn>
                <a:cxn ang="0">
                  <a:pos x="T4" y="T5"/>
                </a:cxn>
                <a:cxn ang="0">
                  <a:pos x="T6" y="T7"/>
                </a:cxn>
              </a:cxnLst>
              <a:rect l="0" t="0" r="r" b="b"/>
              <a:pathLst>
                <a:path w="115" h="115">
                  <a:moveTo>
                    <a:pt x="0" y="115"/>
                  </a:moveTo>
                  <a:lnTo>
                    <a:pt x="0" y="0"/>
                  </a:lnTo>
                  <a:lnTo>
                    <a:pt x="115" y="59"/>
                  </a:lnTo>
                  <a:lnTo>
                    <a:pt x="0" y="115"/>
                  </a:lnTo>
                  <a:close/>
                </a:path>
              </a:pathLst>
            </a:custGeom>
            <a:solidFill>
              <a:srgbClr val="FCEE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p>
          </p:txBody>
        </p:sp>
        <p:sp>
          <p:nvSpPr>
            <p:cNvPr id="40" name="Freeform 66">
              <a:extLst>
                <a:ext uri="{FF2B5EF4-FFF2-40B4-BE49-F238E27FC236}">
                  <a16:creationId xmlns:a16="http://schemas.microsoft.com/office/drawing/2014/main" id="{7A028EB2-8F1D-42D3-9ABD-2793ADC59C81}"/>
                </a:ext>
              </a:extLst>
            </p:cNvPr>
            <p:cNvSpPr>
              <a:spLocks/>
            </p:cNvSpPr>
            <p:nvPr userDrawn="1"/>
          </p:nvSpPr>
          <p:spPr bwMode="gray">
            <a:xfrm>
              <a:off x="8924608" y="6520399"/>
              <a:ext cx="231588" cy="233621"/>
            </a:xfrm>
            <a:custGeom>
              <a:avLst/>
              <a:gdLst>
                <a:gd name="T0" fmla="*/ 0 w 114"/>
                <a:gd name="T1" fmla="*/ 115 h 115"/>
                <a:gd name="T2" fmla="*/ 0 w 114"/>
                <a:gd name="T3" fmla="*/ 0 h 115"/>
                <a:gd name="T4" fmla="*/ 114 w 114"/>
                <a:gd name="T5" fmla="*/ 56 h 115"/>
                <a:gd name="T6" fmla="*/ 0 w 114"/>
                <a:gd name="T7" fmla="*/ 115 h 115"/>
              </a:gdLst>
              <a:ahLst/>
              <a:cxnLst>
                <a:cxn ang="0">
                  <a:pos x="T0" y="T1"/>
                </a:cxn>
                <a:cxn ang="0">
                  <a:pos x="T2" y="T3"/>
                </a:cxn>
                <a:cxn ang="0">
                  <a:pos x="T4" y="T5"/>
                </a:cxn>
                <a:cxn ang="0">
                  <a:pos x="T6" y="T7"/>
                </a:cxn>
              </a:cxnLst>
              <a:rect l="0" t="0" r="r" b="b"/>
              <a:pathLst>
                <a:path w="114" h="115">
                  <a:moveTo>
                    <a:pt x="0" y="115"/>
                  </a:moveTo>
                  <a:lnTo>
                    <a:pt x="0" y="0"/>
                  </a:lnTo>
                  <a:lnTo>
                    <a:pt x="114" y="56"/>
                  </a:lnTo>
                  <a:lnTo>
                    <a:pt x="0" y="115"/>
                  </a:lnTo>
                  <a:close/>
                </a:path>
              </a:pathLst>
            </a:custGeom>
            <a:solidFill>
              <a:srgbClr val="E86A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sz="1799" dirty="0"/>
            </a:p>
          </p:txBody>
        </p:sp>
        <p:sp>
          <p:nvSpPr>
            <p:cNvPr id="41" name="Freeform 17">
              <a:extLst>
                <a:ext uri="{FF2B5EF4-FFF2-40B4-BE49-F238E27FC236}">
                  <a16:creationId xmlns:a16="http://schemas.microsoft.com/office/drawing/2014/main" id="{B4EBE3B8-6B26-49D2-BDC5-1450CDEB327A}"/>
                </a:ext>
              </a:extLst>
            </p:cNvPr>
            <p:cNvSpPr>
              <a:spLocks/>
            </p:cNvSpPr>
            <p:nvPr userDrawn="1"/>
          </p:nvSpPr>
          <p:spPr bwMode="gray">
            <a:xfrm flipH="1">
              <a:off x="8807791" y="6438650"/>
              <a:ext cx="238891" cy="253989"/>
            </a:xfrm>
            <a:custGeom>
              <a:avLst/>
              <a:gdLst>
                <a:gd name="T0" fmla="*/ 113 w 113"/>
                <a:gd name="T1" fmla="*/ 0 h 113"/>
                <a:gd name="T2" fmla="*/ 113 w 113"/>
                <a:gd name="T3" fmla="*/ 113 h 113"/>
                <a:gd name="T4" fmla="*/ 0 w 113"/>
                <a:gd name="T5" fmla="*/ 56 h 113"/>
                <a:gd name="T6" fmla="*/ 113 w 113"/>
                <a:gd name="T7" fmla="*/ 0 h 113"/>
              </a:gdLst>
              <a:ahLst/>
              <a:cxnLst>
                <a:cxn ang="0">
                  <a:pos x="T0" y="T1"/>
                </a:cxn>
                <a:cxn ang="0">
                  <a:pos x="T2" y="T3"/>
                </a:cxn>
                <a:cxn ang="0">
                  <a:pos x="T4" y="T5"/>
                </a:cxn>
                <a:cxn ang="0">
                  <a:pos x="T6" y="T7"/>
                </a:cxn>
              </a:cxnLst>
              <a:rect l="0" t="0" r="r" b="b"/>
              <a:pathLst>
                <a:path w="113" h="113">
                  <a:moveTo>
                    <a:pt x="113" y="0"/>
                  </a:moveTo>
                  <a:lnTo>
                    <a:pt x="113" y="113"/>
                  </a:lnTo>
                  <a:lnTo>
                    <a:pt x="0" y="56"/>
                  </a:lnTo>
                  <a:lnTo>
                    <a:pt x="113" y="0"/>
                  </a:lnTo>
                  <a:close/>
                </a:path>
              </a:pathLst>
            </a:custGeom>
            <a:solidFill>
              <a:srgbClr val="F8D6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sz="1799" dirty="0"/>
            </a:p>
          </p:txBody>
        </p:sp>
        <p:sp>
          <p:nvSpPr>
            <p:cNvPr id="42" name="Freeform 66">
              <a:extLst>
                <a:ext uri="{FF2B5EF4-FFF2-40B4-BE49-F238E27FC236}">
                  <a16:creationId xmlns:a16="http://schemas.microsoft.com/office/drawing/2014/main" id="{CD8C5FAC-512A-4B2E-9C40-A68246A53322}"/>
                </a:ext>
              </a:extLst>
            </p:cNvPr>
            <p:cNvSpPr>
              <a:spLocks/>
            </p:cNvSpPr>
            <p:nvPr userDrawn="1"/>
          </p:nvSpPr>
          <p:spPr bwMode="gray">
            <a:xfrm>
              <a:off x="9442859" y="6314216"/>
              <a:ext cx="611214" cy="616577"/>
            </a:xfrm>
            <a:custGeom>
              <a:avLst/>
              <a:gdLst>
                <a:gd name="T0" fmla="*/ 0 w 114"/>
                <a:gd name="T1" fmla="*/ 115 h 115"/>
                <a:gd name="T2" fmla="*/ 0 w 114"/>
                <a:gd name="T3" fmla="*/ 0 h 115"/>
                <a:gd name="T4" fmla="*/ 114 w 114"/>
                <a:gd name="T5" fmla="*/ 56 h 115"/>
                <a:gd name="T6" fmla="*/ 0 w 114"/>
                <a:gd name="T7" fmla="*/ 115 h 115"/>
              </a:gdLst>
              <a:ahLst/>
              <a:cxnLst>
                <a:cxn ang="0">
                  <a:pos x="T0" y="T1"/>
                </a:cxn>
                <a:cxn ang="0">
                  <a:pos x="T2" y="T3"/>
                </a:cxn>
                <a:cxn ang="0">
                  <a:pos x="T4" y="T5"/>
                </a:cxn>
                <a:cxn ang="0">
                  <a:pos x="T6" y="T7"/>
                </a:cxn>
              </a:cxnLst>
              <a:rect l="0" t="0" r="r" b="b"/>
              <a:pathLst>
                <a:path w="114" h="115">
                  <a:moveTo>
                    <a:pt x="0" y="115"/>
                  </a:moveTo>
                  <a:lnTo>
                    <a:pt x="0" y="0"/>
                  </a:lnTo>
                  <a:lnTo>
                    <a:pt x="114" y="56"/>
                  </a:lnTo>
                  <a:lnTo>
                    <a:pt x="0" y="115"/>
                  </a:lnTo>
                  <a:close/>
                </a:path>
              </a:pathLst>
            </a:custGeom>
            <a:solidFill>
              <a:srgbClr val="ED8B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sz="1799" dirty="0"/>
            </a:p>
          </p:txBody>
        </p:sp>
        <p:sp>
          <p:nvSpPr>
            <p:cNvPr id="43" name="Freeform 66">
              <a:extLst>
                <a:ext uri="{FF2B5EF4-FFF2-40B4-BE49-F238E27FC236}">
                  <a16:creationId xmlns:a16="http://schemas.microsoft.com/office/drawing/2014/main" id="{A9DDCE69-BA00-415A-9DC5-AC2B3948C716}"/>
                </a:ext>
              </a:extLst>
            </p:cNvPr>
            <p:cNvSpPr>
              <a:spLocks/>
            </p:cNvSpPr>
            <p:nvPr userDrawn="1"/>
          </p:nvSpPr>
          <p:spPr bwMode="gray">
            <a:xfrm>
              <a:off x="9692205" y="6621864"/>
              <a:ext cx="231588" cy="233621"/>
            </a:xfrm>
            <a:custGeom>
              <a:avLst/>
              <a:gdLst>
                <a:gd name="T0" fmla="*/ 0 w 114"/>
                <a:gd name="T1" fmla="*/ 115 h 115"/>
                <a:gd name="T2" fmla="*/ 0 w 114"/>
                <a:gd name="T3" fmla="*/ 0 h 115"/>
                <a:gd name="T4" fmla="*/ 114 w 114"/>
                <a:gd name="T5" fmla="*/ 56 h 115"/>
                <a:gd name="T6" fmla="*/ 0 w 114"/>
                <a:gd name="T7" fmla="*/ 115 h 115"/>
              </a:gdLst>
              <a:ahLst/>
              <a:cxnLst>
                <a:cxn ang="0">
                  <a:pos x="T0" y="T1"/>
                </a:cxn>
                <a:cxn ang="0">
                  <a:pos x="T2" y="T3"/>
                </a:cxn>
                <a:cxn ang="0">
                  <a:pos x="T4" y="T5"/>
                </a:cxn>
                <a:cxn ang="0">
                  <a:pos x="T6" y="T7"/>
                </a:cxn>
              </a:cxnLst>
              <a:rect l="0" t="0" r="r" b="b"/>
              <a:pathLst>
                <a:path w="114" h="115">
                  <a:moveTo>
                    <a:pt x="0" y="115"/>
                  </a:moveTo>
                  <a:lnTo>
                    <a:pt x="0" y="0"/>
                  </a:lnTo>
                  <a:lnTo>
                    <a:pt x="114" y="56"/>
                  </a:lnTo>
                  <a:lnTo>
                    <a:pt x="0" y="115"/>
                  </a:lnTo>
                  <a:close/>
                </a:path>
              </a:pathLst>
            </a:custGeom>
            <a:solidFill>
              <a:srgbClr val="F5BD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p>
          </p:txBody>
        </p:sp>
        <p:sp>
          <p:nvSpPr>
            <p:cNvPr id="44" name="Freeform 66">
              <a:extLst>
                <a:ext uri="{FF2B5EF4-FFF2-40B4-BE49-F238E27FC236}">
                  <a16:creationId xmlns:a16="http://schemas.microsoft.com/office/drawing/2014/main" id="{51DA1E36-43F9-4A19-AD1C-BE46C9765351}"/>
                </a:ext>
              </a:extLst>
            </p:cNvPr>
            <p:cNvSpPr>
              <a:spLocks/>
            </p:cNvSpPr>
            <p:nvPr userDrawn="1"/>
          </p:nvSpPr>
          <p:spPr bwMode="gray">
            <a:xfrm>
              <a:off x="9850819" y="6767863"/>
              <a:ext cx="248426" cy="250606"/>
            </a:xfrm>
            <a:custGeom>
              <a:avLst/>
              <a:gdLst>
                <a:gd name="T0" fmla="*/ 0 w 114"/>
                <a:gd name="T1" fmla="*/ 115 h 115"/>
                <a:gd name="T2" fmla="*/ 0 w 114"/>
                <a:gd name="T3" fmla="*/ 0 h 115"/>
                <a:gd name="T4" fmla="*/ 114 w 114"/>
                <a:gd name="T5" fmla="*/ 56 h 115"/>
                <a:gd name="T6" fmla="*/ 0 w 114"/>
                <a:gd name="T7" fmla="*/ 115 h 115"/>
              </a:gdLst>
              <a:ahLst/>
              <a:cxnLst>
                <a:cxn ang="0">
                  <a:pos x="T0" y="T1"/>
                </a:cxn>
                <a:cxn ang="0">
                  <a:pos x="T2" y="T3"/>
                </a:cxn>
                <a:cxn ang="0">
                  <a:pos x="T4" y="T5"/>
                </a:cxn>
                <a:cxn ang="0">
                  <a:pos x="T6" y="T7"/>
                </a:cxn>
              </a:cxnLst>
              <a:rect l="0" t="0" r="r" b="b"/>
              <a:pathLst>
                <a:path w="114" h="115">
                  <a:moveTo>
                    <a:pt x="0" y="115"/>
                  </a:moveTo>
                  <a:lnTo>
                    <a:pt x="0" y="0"/>
                  </a:lnTo>
                  <a:lnTo>
                    <a:pt x="114" y="56"/>
                  </a:lnTo>
                  <a:lnTo>
                    <a:pt x="0" y="115"/>
                  </a:lnTo>
                  <a:close/>
                </a:path>
              </a:pathLst>
            </a:custGeom>
            <a:solidFill>
              <a:srgbClr val="E86A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sz="1799" dirty="0"/>
            </a:p>
          </p:txBody>
        </p:sp>
        <p:sp>
          <p:nvSpPr>
            <p:cNvPr id="45" name="Freeform 66">
              <a:extLst>
                <a:ext uri="{FF2B5EF4-FFF2-40B4-BE49-F238E27FC236}">
                  <a16:creationId xmlns:a16="http://schemas.microsoft.com/office/drawing/2014/main" id="{CB474EAD-5449-41E6-BD89-E224A56971E6}"/>
                </a:ext>
              </a:extLst>
            </p:cNvPr>
            <p:cNvSpPr>
              <a:spLocks/>
            </p:cNvSpPr>
            <p:nvPr userDrawn="1"/>
          </p:nvSpPr>
          <p:spPr bwMode="gray">
            <a:xfrm flipH="1">
              <a:off x="10138359" y="6727662"/>
              <a:ext cx="330118" cy="333015"/>
            </a:xfrm>
            <a:custGeom>
              <a:avLst/>
              <a:gdLst>
                <a:gd name="T0" fmla="*/ 0 w 114"/>
                <a:gd name="T1" fmla="*/ 115 h 115"/>
                <a:gd name="T2" fmla="*/ 0 w 114"/>
                <a:gd name="T3" fmla="*/ 0 h 115"/>
                <a:gd name="T4" fmla="*/ 114 w 114"/>
                <a:gd name="T5" fmla="*/ 56 h 115"/>
                <a:gd name="T6" fmla="*/ 0 w 114"/>
                <a:gd name="T7" fmla="*/ 115 h 115"/>
              </a:gdLst>
              <a:ahLst/>
              <a:cxnLst>
                <a:cxn ang="0">
                  <a:pos x="T0" y="T1"/>
                </a:cxn>
                <a:cxn ang="0">
                  <a:pos x="T2" y="T3"/>
                </a:cxn>
                <a:cxn ang="0">
                  <a:pos x="T4" y="T5"/>
                </a:cxn>
                <a:cxn ang="0">
                  <a:pos x="T6" y="T7"/>
                </a:cxn>
              </a:cxnLst>
              <a:rect l="0" t="0" r="r" b="b"/>
              <a:pathLst>
                <a:path w="114" h="115">
                  <a:moveTo>
                    <a:pt x="0" y="115"/>
                  </a:moveTo>
                  <a:lnTo>
                    <a:pt x="0" y="0"/>
                  </a:lnTo>
                  <a:lnTo>
                    <a:pt x="114" y="56"/>
                  </a:lnTo>
                  <a:lnTo>
                    <a:pt x="0" y="115"/>
                  </a:lnTo>
                  <a:close/>
                </a:path>
              </a:pathLst>
            </a:custGeom>
            <a:solidFill>
              <a:srgbClr val="ED8B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sz="1799" dirty="0"/>
            </a:p>
          </p:txBody>
        </p:sp>
        <p:sp>
          <p:nvSpPr>
            <p:cNvPr id="46" name="Freeform 66">
              <a:extLst>
                <a:ext uri="{FF2B5EF4-FFF2-40B4-BE49-F238E27FC236}">
                  <a16:creationId xmlns:a16="http://schemas.microsoft.com/office/drawing/2014/main" id="{8166F95C-CC44-4F2C-8AA8-7F37167C6361}"/>
                </a:ext>
              </a:extLst>
            </p:cNvPr>
            <p:cNvSpPr>
              <a:spLocks/>
            </p:cNvSpPr>
            <p:nvPr userDrawn="1"/>
          </p:nvSpPr>
          <p:spPr bwMode="gray">
            <a:xfrm flipH="1">
              <a:off x="10358324" y="6411951"/>
              <a:ext cx="330121" cy="333019"/>
            </a:xfrm>
            <a:custGeom>
              <a:avLst/>
              <a:gdLst>
                <a:gd name="T0" fmla="*/ 0 w 114"/>
                <a:gd name="T1" fmla="*/ 115 h 115"/>
                <a:gd name="T2" fmla="*/ 0 w 114"/>
                <a:gd name="T3" fmla="*/ 0 h 115"/>
                <a:gd name="T4" fmla="*/ 114 w 114"/>
                <a:gd name="T5" fmla="*/ 56 h 115"/>
                <a:gd name="T6" fmla="*/ 0 w 114"/>
                <a:gd name="T7" fmla="*/ 115 h 115"/>
              </a:gdLst>
              <a:ahLst/>
              <a:cxnLst>
                <a:cxn ang="0">
                  <a:pos x="T0" y="T1"/>
                </a:cxn>
                <a:cxn ang="0">
                  <a:pos x="T2" y="T3"/>
                </a:cxn>
                <a:cxn ang="0">
                  <a:pos x="T4" y="T5"/>
                </a:cxn>
                <a:cxn ang="0">
                  <a:pos x="T6" y="T7"/>
                </a:cxn>
              </a:cxnLst>
              <a:rect l="0" t="0" r="r" b="b"/>
              <a:pathLst>
                <a:path w="114" h="115">
                  <a:moveTo>
                    <a:pt x="0" y="115"/>
                  </a:moveTo>
                  <a:lnTo>
                    <a:pt x="0" y="0"/>
                  </a:lnTo>
                  <a:lnTo>
                    <a:pt x="114" y="56"/>
                  </a:lnTo>
                  <a:lnTo>
                    <a:pt x="0" y="115"/>
                  </a:lnTo>
                  <a:close/>
                </a:path>
              </a:pathLst>
            </a:custGeom>
            <a:solidFill>
              <a:srgbClr val="ED8B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sz="1799" dirty="0"/>
            </a:p>
          </p:txBody>
        </p:sp>
        <p:sp>
          <p:nvSpPr>
            <p:cNvPr id="47" name="Freeform 66">
              <a:extLst>
                <a:ext uri="{FF2B5EF4-FFF2-40B4-BE49-F238E27FC236}">
                  <a16:creationId xmlns:a16="http://schemas.microsoft.com/office/drawing/2014/main" id="{721620AF-2FA0-4018-A471-74B1AB4FF377}"/>
                </a:ext>
              </a:extLst>
            </p:cNvPr>
            <p:cNvSpPr>
              <a:spLocks/>
            </p:cNvSpPr>
            <p:nvPr userDrawn="1"/>
          </p:nvSpPr>
          <p:spPr bwMode="gray">
            <a:xfrm flipH="1">
              <a:off x="10773507" y="6609167"/>
              <a:ext cx="456390" cy="460394"/>
            </a:xfrm>
            <a:custGeom>
              <a:avLst/>
              <a:gdLst>
                <a:gd name="T0" fmla="*/ 0 w 114"/>
                <a:gd name="T1" fmla="*/ 115 h 115"/>
                <a:gd name="T2" fmla="*/ 0 w 114"/>
                <a:gd name="T3" fmla="*/ 0 h 115"/>
                <a:gd name="T4" fmla="*/ 114 w 114"/>
                <a:gd name="T5" fmla="*/ 56 h 115"/>
                <a:gd name="T6" fmla="*/ 0 w 114"/>
                <a:gd name="T7" fmla="*/ 115 h 115"/>
              </a:gdLst>
              <a:ahLst/>
              <a:cxnLst>
                <a:cxn ang="0">
                  <a:pos x="T0" y="T1"/>
                </a:cxn>
                <a:cxn ang="0">
                  <a:pos x="T2" y="T3"/>
                </a:cxn>
                <a:cxn ang="0">
                  <a:pos x="T4" y="T5"/>
                </a:cxn>
                <a:cxn ang="0">
                  <a:pos x="T6" y="T7"/>
                </a:cxn>
              </a:cxnLst>
              <a:rect l="0" t="0" r="r" b="b"/>
              <a:pathLst>
                <a:path w="114" h="115">
                  <a:moveTo>
                    <a:pt x="0" y="115"/>
                  </a:moveTo>
                  <a:lnTo>
                    <a:pt x="0" y="0"/>
                  </a:lnTo>
                  <a:lnTo>
                    <a:pt x="114" y="56"/>
                  </a:lnTo>
                  <a:lnTo>
                    <a:pt x="0" y="115"/>
                  </a:lnTo>
                  <a:close/>
                </a:path>
              </a:pathLst>
            </a:custGeom>
            <a:solidFill>
              <a:srgbClr val="F5BD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sz="1799" dirty="0"/>
            </a:p>
          </p:txBody>
        </p:sp>
        <p:sp>
          <p:nvSpPr>
            <p:cNvPr id="48" name="Freeform 66">
              <a:extLst>
                <a:ext uri="{FF2B5EF4-FFF2-40B4-BE49-F238E27FC236}">
                  <a16:creationId xmlns:a16="http://schemas.microsoft.com/office/drawing/2014/main" id="{9177C2C7-24C3-4F64-93F3-4915D54F236A}"/>
                </a:ext>
              </a:extLst>
            </p:cNvPr>
            <p:cNvSpPr>
              <a:spLocks/>
            </p:cNvSpPr>
            <p:nvPr userDrawn="1"/>
          </p:nvSpPr>
          <p:spPr bwMode="gray">
            <a:xfrm>
              <a:off x="11295751" y="6556758"/>
              <a:ext cx="178295" cy="179858"/>
            </a:xfrm>
            <a:custGeom>
              <a:avLst/>
              <a:gdLst>
                <a:gd name="T0" fmla="*/ 0 w 114"/>
                <a:gd name="T1" fmla="*/ 115 h 115"/>
                <a:gd name="T2" fmla="*/ 0 w 114"/>
                <a:gd name="T3" fmla="*/ 0 h 115"/>
                <a:gd name="T4" fmla="*/ 114 w 114"/>
                <a:gd name="T5" fmla="*/ 56 h 115"/>
                <a:gd name="T6" fmla="*/ 0 w 114"/>
                <a:gd name="T7" fmla="*/ 115 h 115"/>
              </a:gdLst>
              <a:ahLst/>
              <a:cxnLst>
                <a:cxn ang="0">
                  <a:pos x="T0" y="T1"/>
                </a:cxn>
                <a:cxn ang="0">
                  <a:pos x="T2" y="T3"/>
                </a:cxn>
                <a:cxn ang="0">
                  <a:pos x="T4" y="T5"/>
                </a:cxn>
                <a:cxn ang="0">
                  <a:pos x="T6" y="T7"/>
                </a:cxn>
              </a:cxnLst>
              <a:rect l="0" t="0" r="r" b="b"/>
              <a:pathLst>
                <a:path w="114" h="115">
                  <a:moveTo>
                    <a:pt x="0" y="115"/>
                  </a:moveTo>
                  <a:lnTo>
                    <a:pt x="0" y="0"/>
                  </a:lnTo>
                  <a:lnTo>
                    <a:pt x="114" y="56"/>
                  </a:lnTo>
                  <a:lnTo>
                    <a:pt x="0" y="115"/>
                  </a:lnTo>
                  <a:close/>
                </a:path>
              </a:pathLst>
            </a:custGeom>
            <a:solidFill>
              <a:srgbClr val="ED8B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sz="1799" dirty="0"/>
            </a:p>
          </p:txBody>
        </p:sp>
        <p:sp>
          <p:nvSpPr>
            <p:cNvPr id="49" name="Freeform 66">
              <a:extLst>
                <a:ext uri="{FF2B5EF4-FFF2-40B4-BE49-F238E27FC236}">
                  <a16:creationId xmlns:a16="http://schemas.microsoft.com/office/drawing/2014/main" id="{19F44D70-6B39-43DB-B666-AB2976B88A96}"/>
                </a:ext>
              </a:extLst>
            </p:cNvPr>
            <p:cNvSpPr>
              <a:spLocks/>
            </p:cNvSpPr>
            <p:nvPr userDrawn="1"/>
          </p:nvSpPr>
          <p:spPr bwMode="gray">
            <a:xfrm>
              <a:off x="11829326" y="6484090"/>
              <a:ext cx="178295" cy="179858"/>
            </a:xfrm>
            <a:custGeom>
              <a:avLst/>
              <a:gdLst>
                <a:gd name="T0" fmla="*/ 0 w 114"/>
                <a:gd name="T1" fmla="*/ 115 h 115"/>
                <a:gd name="T2" fmla="*/ 0 w 114"/>
                <a:gd name="T3" fmla="*/ 0 h 115"/>
                <a:gd name="T4" fmla="*/ 114 w 114"/>
                <a:gd name="T5" fmla="*/ 56 h 115"/>
                <a:gd name="T6" fmla="*/ 0 w 114"/>
                <a:gd name="T7" fmla="*/ 115 h 115"/>
              </a:gdLst>
              <a:ahLst/>
              <a:cxnLst>
                <a:cxn ang="0">
                  <a:pos x="T0" y="T1"/>
                </a:cxn>
                <a:cxn ang="0">
                  <a:pos x="T2" y="T3"/>
                </a:cxn>
                <a:cxn ang="0">
                  <a:pos x="T4" y="T5"/>
                </a:cxn>
                <a:cxn ang="0">
                  <a:pos x="T6" y="T7"/>
                </a:cxn>
              </a:cxnLst>
              <a:rect l="0" t="0" r="r" b="b"/>
              <a:pathLst>
                <a:path w="114" h="115">
                  <a:moveTo>
                    <a:pt x="0" y="115"/>
                  </a:moveTo>
                  <a:lnTo>
                    <a:pt x="0" y="0"/>
                  </a:lnTo>
                  <a:lnTo>
                    <a:pt x="114" y="56"/>
                  </a:lnTo>
                  <a:lnTo>
                    <a:pt x="0" y="115"/>
                  </a:lnTo>
                  <a:close/>
                </a:path>
              </a:pathLst>
            </a:custGeom>
            <a:solidFill>
              <a:srgbClr val="ED8B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sz="1799" dirty="0"/>
            </a:p>
          </p:txBody>
        </p:sp>
        <p:sp>
          <p:nvSpPr>
            <p:cNvPr id="50" name="Freeform 66">
              <a:extLst>
                <a:ext uri="{FF2B5EF4-FFF2-40B4-BE49-F238E27FC236}">
                  <a16:creationId xmlns:a16="http://schemas.microsoft.com/office/drawing/2014/main" id="{76E7E436-2DA6-4B29-A585-700338D99843}"/>
                </a:ext>
              </a:extLst>
            </p:cNvPr>
            <p:cNvSpPr>
              <a:spLocks/>
            </p:cNvSpPr>
            <p:nvPr userDrawn="1"/>
          </p:nvSpPr>
          <p:spPr bwMode="gray">
            <a:xfrm>
              <a:off x="12033582" y="6142353"/>
              <a:ext cx="178295" cy="179858"/>
            </a:xfrm>
            <a:custGeom>
              <a:avLst/>
              <a:gdLst>
                <a:gd name="T0" fmla="*/ 0 w 114"/>
                <a:gd name="T1" fmla="*/ 115 h 115"/>
                <a:gd name="T2" fmla="*/ 0 w 114"/>
                <a:gd name="T3" fmla="*/ 0 h 115"/>
                <a:gd name="T4" fmla="*/ 114 w 114"/>
                <a:gd name="T5" fmla="*/ 56 h 115"/>
                <a:gd name="T6" fmla="*/ 0 w 114"/>
                <a:gd name="T7" fmla="*/ 115 h 115"/>
              </a:gdLst>
              <a:ahLst/>
              <a:cxnLst>
                <a:cxn ang="0">
                  <a:pos x="T0" y="T1"/>
                </a:cxn>
                <a:cxn ang="0">
                  <a:pos x="T2" y="T3"/>
                </a:cxn>
                <a:cxn ang="0">
                  <a:pos x="T4" y="T5"/>
                </a:cxn>
                <a:cxn ang="0">
                  <a:pos x="T6" y="T7"/>
                </a:cxn>
              </a:cxnLst>
              <a:rect l="0" t="0" r="r" b="b"/>
              <a:pathLst>
                <a:path w="114" h="115">
                  <a:moveTo>
                    <a:pt x="0" y="115"/>
                  </a:moveTo>
                  <a:lnTo>
                    <a:pt x="0" y="0"/>
                  </a:lnTo>
                  <a:lnTo>
                    <a:pt x="114" y="56"/>
                  </a:lnTo>
                  <a:lnTo>
                    <a:pt x="0" y="115"/>
                  </a:lnTo>
                  <a:close/>
                </a:path>
              </a:pathLst>
            </a:custGeom>
            <a:solidFill>
              <a:srgbClr val="ED8B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sz="1799" dirty="0"/>
            </a:p>
          </p:txBody>
        </p:sp>
        <p:sp>
          <p:nvSpPr>
            <p:cNvPr id="51" name="Freeform 66">
              <a:extLst>
                <a:ext uri="{FF2B5EF4-FFF2-40B4-BE49-F238E27FC236}">
                  <a16:creationId xmlns:a16="http://schemas.microsoft.com/office/drawing/2014/main" id="{61C4C5D9-3101-4294-B337-BDC9C2392000}"/>
                </a:ext>
              </a:extLst>
            </p:cNvPr>
            <p:cNvSpPr>
              <a:spLocks/>
            </p:cNvSpPr>
            <p:nvPr userDrawn="1"/>
          </p:nvSpPr>
          <p:spPr bwMode="gray">
            <a:xfrm flipH="1">
              <a:off x="11854859" y="6132532"/>
              <a:ext cx="178295" cy="179858"/>
            </a:xfrm>
            <a:custGeom>
              <a:avLst/>
              <a:gdLst>
                <a:gd name="T0" fmla="*/ 0 w 114"/>
                <a:gd name="T1" fmla="*/ 115 h 115"/>
                <a:gd name="T2" fmla="*/ 0 w 114"/>
                <a:gd name="T3" fmla="*/ 0 h 115"/>
                <a:gd name="T4" fmla="*/ 114 w 114"/>
                <a:gd name="T5" fmla="*/ 56 h 115"/>
                <a:gd name="T6" fmla="*/ 0 w 114"/>
                <a:gd name="T7" fmla="*/ 115 h 115"/>
              </a:gdLst>
              <a:ahLst/>
              <a:cxnLst>
                <a:cxn ang="0">
                  <a:pos x="T0" y="T1"/>
                </a:cxn>
                <a:cxn ang="0">
                  <a:pos x="T2" y="T3"/>
                </a:cxn>
                <a:cxn ang="0">
                  <a:pos x="T4" y="T5"/>
                </a:cxn>
                <a:cxn ang="0">
                  <a:pos x="T6" y="T7"/>
                </a:cxn>
              </a:cxnLst>
              <a:rect l="0" t="0" r="r" b="b"/>
              <a:pathLst>
                <a:path w="114" h="115">
                  <a:moveTo>
                    <a:pt x="0" y="115"/>
                  </a:moveTo>
                  <a:lnTo>
                    <a:pt x="0" y="0"/>
                  </a:lnTo>
                  <a:lnTo>
                    <a:pt x="114" y="56"/>
                  </a:lnTo>
                  <a:lnTo>
                    <a:pt x="0" y="115"/>
                  </a:lnTo>
                  <a:close/>
                </a:path>
              </a:pathLst>
            </a:custGeom>
            <a:solidFill>
              <a:srgbClr val="ED8B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sz="1799" dirty="0"/>
            </a:p>
          </p:txBody>
        </p:sp>
        <p:sp>
          <p:nvSpPr>
            <p:cNvPr id="52" name="Freeform 66">
              <a:extLst>
                <a:ext uri="{FF2B5EF4-FFF2-40B4-BE49-F238E27FC236}">
                  <a16:creationId xmlns:a16="http://schemas.microsoft.com/office/drawing/2014/main" id="{D98CB454-F14B-4A94-91B6-18493303AE41}"/>
                </a:ext>
              </a:extLst>
            </p:cNvPr>
            <p:cNvSpPr>
              <a:spLocks/>
            </p:cNvSpPr>
            <p:nvPr userDrawn="1"/>
          </p:nvSpPr>
          <p:spPr bwMode="gray">
            <a:xfrm>
              <a:off x="11845039" y="5981305"/>
              <a:ext cx="178295" cy="179858"/>
            </a:xfrm>
            <a:custGeom>
              <a:avLst/>
              <a:gdLst>
                <a:gd name="T0" fmla="*/ 0 w 114"/>
                <a:gd name="T1" fmla="*/ 115 h 115"/>
                <a:gd name="T2" fmla="*/ 0 w 114"/>
                <a:gd name="T3" fmla="*/ 0 h 115"/>
                <a:gd name="T4" fmla="*/ 114 w 114"/>
                <a:gd name="T5" fmla="*/ 56 h 115"/>
                <a:gd name="T6" fmla="*/ 0 w 114"/>
                <a:gd name="T7" fmla="*/ 115 h 115"/>
              </a:gdLst>
              <a:ahLst/>
              <a:cxnLst>
                <a:cxn ang="0">
                  <a:pos x="T0" y="T1"/>
                </a:cxn>
                <a:cxn ang="0">
                  <a:pos x="T2" y="T3"/>
                </a:cxn>
                <a:cxn ang="0">
                  <a:pos x="T4" y="T5"/>
                </a:cxn>
                <a:cxn ang="0">
                  <a:pos x="T6" y="T7"/>
                </a:cxn>
              </a:cxnLst>
              <a:rect l="0" t="0" r="r" b="b"/>
              <a:pathLst>
                <a:path w="114" h="115">
                  <a:moveTo>
                    <a:pt x="0" y="115"/>
                  </a:moveTo>
                  <a:lnTo>
                    <a:pt x="0" y="0"/>
                  </a:lnTo>
                  <a:lnTo>
                    <a:pt x="114" y="56"/>
                  </a:lnTo>
                  <a:lnTo>
                    <a:pt x="0" y="115"/>
                  </a:lnTo>
                  <a:close/>
                </a:path>
              </a:pathLst>
            </a:custGeom>
            <a:solidFill>
              <a:srgbClr val="ED8B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sz="1799" dirty="0"/>
            </a:p>
          </p:txBody>
        </p:sp>
        <p:sp>
          <p:nvSpPr>
            <p:cNvPr id="53" name="Freeform 66">
              <a:extLst>
                <a:ext uri="{FF2B5EF4-FFF2-40B4-BE49-F238E27FC236}">
                  <a16:creationId xmlns:a16="http://schemas.microsoft.com/office/drawing/2014/main" id="{1B85ACD4-F8DA-46E7-AFF3-1E2B2DE2C053}"/>
                </a:ext>
              </a:extLst>
            </p:cNvPr>
            <p:cNvSpPr>
              <a:spLocks/>
            </p:cNvSpPr>
            <p:nvPr userDrawn="1"/>
          </p:nvSpPr>
          <p:spPr bwMode="gray">
            <a:xfrm flipH="1">
              <a:off x="11461116" y="5205524"/>
              <a:ext cx="178295" cy="179858"/>
            </a:xfrm>
            <a:custGeom>
              <a:avLst/>
              <a:gdLst>
                <a:gd name="T0" fmla="*/ 0 w 114"/>
                <a:gd name="T1" fmla="*/ 115 h 115"/>
                <a:gd name="T2" fmla="*/ 0 w 114"/>
                <a:gd name="T3" fmla="*/ 0 h 115"/>
                <a:gd name="T4" fmla="*/ 114 w 114"/>
                <a:gd name="T5" fmla="*/ 56 h 115"/>
                <a:gd name="T6" fmla="*/ 0 w 114"/>
                <a:gd name="T7" fmla="*/ 115 h 115"/>
              </a:gdLst>
              <a:ahLst/>
              <a:cxnLst>
                <a:cxn ang="0">
                  <a:pos x="T0" y="T1"/>
                </a:cxn>
                <a:cxn ang="0">
                  <a:pos x="T2" y="T3"/>
                </a:cxn>
                <a:cxn ang="0">
                  <a:pos x="T4" y="T5"/>
                </a:cxn>
                <a:cxn ang="0">
                  <a:pos x="T6" y="T7"/>
                </a:cxn>
              </a:cxnLst>
              <a:rect l="0" t="0" r="r" b="b"/>
              <a:pathLst>
                <a:path w="114" h="115">
                  <a:moveTo>
                    <a:pt x="0" y="115"/>
                  </a:moveTo>
                  <a:lnTo>
                    <a:pt x="0" y="0"/>
                  </a:lnTo>
                  <a:lnTo>
                    <a:pt x="114" y="56"/>
                  </a:lnTo>
                  <a:lnTo>
                    <a:pt x="0" y="115"/>
                  </a:lnTo>
                  <a:close/>
                </a:path>
              </a:pathLst>
            </a:custGeom>
            <a:solidFill>
              <a:srgbClr val="ED8B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sz="1799" dirty="0"/>
            </a:p>
          </p:txBody>
        </p:sp>
        <p:sp>
          <p:nvSpPr>
            <p:cNvPr id="54" name="Freeform 66">
              <a:extLst>
                <a:ext uri="{FF2B5EF4-FFF2-40B4-BE49-F238E27FC236}">
                  <a16:creationId xmlns:a16="http://schemas.microsoft.com/office/drawing/2014/main" id="{B179FBF1-0330-41DD-9322-4EAAFB4F314C}"/>
                </a:ext>
              </a:extLst>
            </p:cNvPr>
            <p:cNvSpPr>
              <a:spLocks/>
            </p:cNvSpPr>
            <p:nvPr userDrawn="1"/>
          </p:nvSpPr>
          <p:spPr bwMode="gray">
            <a:xfrm flipH="1">
              <a:off x="11845815" y="5895089"/>
              <a:ext cx="173979" cy="175506"/>
            </a:xfrm>
            <a:custGeom>
              <a:avLst/>
              <a:gdLst>
                <a:gd name="T0" fmla="*/ 0 w 114"/>
                <a:gd name="T1" fmla="*/ 115 h 115"/>
                <a:gd name="T2" fmla="*/ 0 w 114"/>
                <a:gd name="T3" fmla="*/ 0 h 115"/>
                <a:gd name="T4" fmla="*/ 114 w 114"/>
                <a:gd name="T5" fmla="*/ 56 h 115"/>
                <a:gd name="T6" fmla="*/ 0 w 114"/>
                <a:gd name="T7" fmla="*/ 115 h 115"/>
              </a:gdLst>
              <a:ahLst/>
              <a:cxnLst>
                <a:cxn ang="0">
                  <a:pos x="T0" y="T1"/>
                </a:cxn>
                <a:cxn ang="0">
                  <a:pos x="T2" y="T3"/>
                </a:cxn>
                <a:cxn ang="0">
                  <a:pos x="T4" y="T5"/>
                </a:cxn>
                <a:cxn ang="0">
                  <a:pos x="T6" y="T7"/>
                </a:cxn>
              </a:cxnLst>
              <a:rect l="0" t="0" r="r" b="b"/>
              <a:pathLst>
                <a:path w="114" h="115">
                  <a:moveTo>
                    <a:pt x="0" y="115"/>
                  </a:moveTo>
                  <a:lnTo>
                    <a:pt x="0" y="0"/>
                  </a:lnTo>
                  <a:lnTo>
                    <a:pt x="114" y="56"/>
                  </a:lnTo>
                  <a:lnTo>
                    <a:pt x="0" y="115"/>
                  </a:lnTo>
                  <a:close/>
                </a:path>
              </a:pathLst>
            </a:custGeom>
            <a:solidFill>
              <a:srgbClr val="E86A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sz="1799" dirty="0"/>
            </a:p>
          </p:txBody>
        </p:sp>
        <p:sp>
          <p:nvSpPr>
            <p:cNvPr id="55" name="Freeform 66">
              <a:extLst>
                <a:ext uri="{FF2B5EF4-FFF2-40B4-BE49-F238E27FC236}">
                  <a16:creationId xmlns:a16="http://schemas.microsoft.com/office/drawing/2014/main" id="{C64ADEB2-8CDC-43DB-B143-7E8BA1826225}"/>
                </a:ext>
              </a:extLst>
            </p:cNvPr>
            <p:cNvSpPr>
              <a:spLocks/>
            </p:cNvSpPr>
            <p:nvPr userDrawn="1"/>
          </p:nvSpPr>
          <p:spPr bwMode="gray">
            <a:xfrm flipH="1">
              <a:off x="11288039" y="5885268"/>
              <a:ext cx="173979" cy="175506"/>
            </a:xfrm>
            <a:custGeom>
              <a:avLst/>
              <a:gdLst>
                <a:gd name="T0" fmla="*/ 0 w 114"/>
                <a:gd name="T1" fmla="*/ 115 h 115"/>
                <a:gd name="T2" fmla="*/ 0 w 114"/>
                <a:gd name="T3" fmla="*/ 0 h 115"/>
                <a:gd name="T4" fmla="*/ 114 w 114"/>
                <a:gd name="T5" fmla="*/ 56 h 115"/>
                <a:gd name="T6" fmla="*/ 0 w 114"/>
                <a:gd name="T7" fmla="*/ 115 h 115"/>
              </a:gdLst>
              <a:ahLst/>
              <a:cxnLst>
                <a:cxn ang="0">
                  <a:pos x="T0" y="T1"/>
                </a:cxn>
                <a:cxn ang="0">
                  <a:pos x="T2" y="T3"/>
                </a:cxn>
                <a:cxn ang="0">
                  <a:pos x="T4" y="T5"/>
                </a:cxn>
                <a:cxn ang="0">
                  <a:pos x="T6" y="T7"/>
                </a:cxn>
              </a:cxnLst>
              <a:rect l="0" t="0" r="r" b="b"/>
              <a:pathLst>
                <a:path w="114" h="115">
                  <a:moveTo>
                    <a:pt x="0" y="115"/>
                  </a:moveTo>
                  <a:lnTo>
                    <a:pt x="0" y="0"/>
                  </a:lnTo>
                  <a:lnTo>
                    <a:pt x="114" y="56"/>
                  </a:lnTo>
                  <a:lnTo>
                    <a:pt x="0" y="115"/>
                  </a:lnTo>
                  <a:close/>
                </a:path>
              </a:pathLst>
            </a:custGeom>
            <a:solidFill>
              <a:srgbClr val="E86A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sz="1799" dirty="0"/>
            </a:p>
          </p:txBody>
        </p:sp>
        <p:sp>
          <p:nvSpPr>
            <p:cNvPr id="56" name="Freeform 66">
              <a:extLst>
                <a:ext uri="{FF2B5EF4-FFF2-40B4-BE49-F238E27FC236}">
                  <a16:creationId xmlns:a16="http://schemas.microsoft.com/office/drawing/2014/main" id="{A3ABAB73-3CF7-4931-85A3-0F63E0BD106B}"/>
                </a:ext>
              </a:extLst>
            </p:cNvPr>
            <p:cNvSpPr>
              <a:spLocks/>
            </p:cNvSpPr>
            <p:nvPr userDrawn="1"/>
          </p:nvSpPr>
          <p:spPr bwMode="gray">
            <a:xfrm flipH="1">
              <a:off x="11847779" y="6333061"/>
              <a:ext cx="173979" cy="175506"/>
            </a:xfrm>
            <a:custGeom>
              <a:avLst/>
              <a:gdLst>
                <a:gd name="T0" fmla="*/ 0 w 114"/>
                <a:gd name="T1" fmla="*/ 115 h 115"/>
                <a:gd name="T2" fmla="*/ 0 w 114"/>
                <a:gd name="T3" fmla="*/ 0 h 115"/>
                <a:gd name="T4" fmla="*/ 114 w 114"/>
                <a:gd name="T5" fmla="*/ 56 h 115"/>
                <a:gd name="T6" fmla="*/ 0 w 114"/>
                <a:gd name="T7" fmla="*/ 115 h 115"/>
              </a:gdLst>
              <a:ahLst/>
              <a:cxnLst>
                <a:cxn ang="0">
                  <a:pos x="T0" y="T1"/>
                </a:cxn>
                <a:cxn ang="0">
                  <a:pos x="T2" y="T3"/>
                </a:cxn>
                <a:cxn ang="0">
                  <a:pos x="T4" y="T5"/>
                </a:cxn>
                <a:cxn ang="0">
                  <a:pos x="T6" y="T7"/>
                </a:cxn>
              </a:cxnLst>
              <a:rect l="0" t="0" r="r" b="b"/>
              <a:pathLst>
                <a:path w="114" h="115">
                  <a:moveTo>
                    <a:pt x="0" y="115"/>
                  </a:moveTo>
                  <a:lnTo>
                    <a:pt x="0" y="0"/>
                  </a:lnTo>
                  <a:lnTo>
                    <a:pt x="114" y="56"/>
                  </a:lnTo>
                  <a:lnTo>
                    <a:pt x="0" y="115"/>
                  </a:lnTo>
                  <a:close/>
                </a:path>
              </a:pathLst>
            </a:custGeom>
            <a:solidFill>
              <a:srgbClr val="E86A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sz="1799" dirty="0"/>
            </a:p>
          </p:txBody>
        </p:sp>
        <p:sp>
          <p:nvSpPr>
            <p:cNvPr id="57" name="Freeform 66">
              <a:extLst>
                <a:ext uri="{FF2B5EF4-FFF2-40B4-BE49-F238E27FC236}">
                  <a16:creationId xmlns:a16="http://schemas.microsoft.com/office/drawing/2014/main" id="{3CA9B3A2-4A9F-4CE6-8583-E665F5C3ED2A}"/>
                </a:ext>
              </a:extLst>
            </p:cNvPr>
            <p:cNvSpPr>
              <a:spLocks/>
            </p:cNvSpPr>
            <p:nvPr userDrawn="1"/>
          </p:nvSpPr>
          <p:spPr bwMode="gray">
            <a:xfrm>
              <a:off x="12024539" y="6340917"/>
              <a:ext cx="173979" cy="175506"/>
            </a:xfrm>
            <a:custGeom>
              <a:avLst/>
              <a:gdLst>
                <a:gd name="T0" fmla="*/ 0 w 114"/>
                <a:gd name="T1" fmla="*/ 115 h 115"/>
                <a:gd name="T2" fmla="*/ 0 w 114"/>
                <a:gd name="T3" fmla="*/ 0 h 115"/>
                <a:gd name="T4" fmla="*/ 114 w 114"/>
                <a:gd name="T5" fmla="*/ 56 h 115"/>
                <a:gd name="T6" fmla="*/ 0 w 114"/>
                <a:gd name="T7" fmla="*/ 115 h 115"/>
              </a:gdLst>
              <a:ahLst/>
              <a:cxnLst>
                <a:cxn ang="0">
                  <a:pos x="T0" y="T1"/>
                </a:cxn>
                <a:cxn ang="0">
                  <a:pos x="T2" y="T3"/>
                </a:cxn>
                <a:cxn ang="0">
                  <a:pos x="T4" y="T5"/>
                </a:cxn>
                <a:cxn ang="0">
                  <a:pos x="T6" y="T7"/>
                </a:cxn>
              </a:cxnLst>
              <a:rect l="0" t="0" r="r" b="b"/>
              <a:pathLst>
                <a:path w="114" h="115">
                  <a:moveTo>
                    <a:pt x="0" y="115"/>
                  </a:moveTo>
                  <a:lnTo>
                    <a:pt x="0" y="0"/>
                  </a:lnTo>
                  <a:lnTo>
                    <a:pt x="114" y="56"/>
                  </a:lnTo>
                  <a:lnTo>
                    <a:pt x="0" y="115"/>
                  </a:lnTo>
                  <a:close/>
                </a:path>
              </a:pathLst>
            </a:custGeom>
            <a:solidFill>
              <a:srgbClr val="E86A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sz="1799" dirty="0"/>
            </a:p>
          </p:txBody>
        </p:sp>
        <p:sp>
          <p:nvSpPr>
            <p:cNvPr id="58" name="Freeform 66">
              <a:extLst>
                <a:ext uri="{FF2B5EF4-FFF2-40B4-BE49-F238E27FC236}">
                  <a16:creationId xmlns:a16="http://schemas.microsoft.com/office/drawing/2014/main" id="{C081E5D2-101C-481A-847B-1797321ED2E8}"/>
                </a:ext>
              </a:extLst>
            </p:cNvPr>
            <p:cNvSpPr>
              <a:spLocks/>
            </p:cNvSpPr>
            <p:nvPr userDrawn="1"/>
          </p:nvSpPr>
          <p:spPr bwMode="gray">
            <a:xfrm>
              <a:off x="10895259" y="5985884"/>
              <a:ext cx="483688" cy="487932"/>
            </a:xfrm>
            <a:custGeom>
              <a:avLst/>
              <a:gdLst>
                <a:gd name="T0" fmla="*/ 0 w 114"/>
                <a:gd name="T1" fmla="*/ 115 h 115"/>
                <a:gd name="T2" fmla="*/ 0 w 114"/>
                <a:gd name="T3" fmla="*/ 0 h 115"/>
                <a:gd name="T4" fmla="*/ 114 w 114"/>
                <a:gd name="T5" fmla="*/ 56 h 115"/>
                <a:gd name="T6" fmla="*/ 0 w 114"/>
                <a:gd name="T7" fmla="*/ 115 h 115"/>
              </a:gdLst>
              <a:ahLst/>
              <a:cxnLst>
                <a:cxn ang="0">
                  <a:pos x="T0" y="T1"/>
                </a:cxn>
                <a:cxn ang="0">
                  <a:pos x="T2" y="T3"/>
                </a:cxn>
                <a:cxn ang="0">
                  <a:pos x="T4" y="T5"/>
                </a:cxn>
                <a:cxn ang="0">
                  <a:pos x="T6" y="T7"/>
                </a:cxn>
              </a:cxnLst>
              <a:rect l="0" t="0" r="r" b="b"/>
              <a:pathLst>
                <a:path w="114" h="115">
                  <a:moveTo>
                    <a:pt x="0" y="115"/>
                  </a:moveTo>
                  <a:lnTo>
                    <a:pt x="0" y="0"/>
                  </a:lnTo>
                  <a:lnTo>
                    <a:pt x="114" y="56"/>
                  </a:lnTo>
                  <a:lnTo>
                    <a:pt x="0" y="115"/>
                  </a:lnTo>
                  <a:close/>
                </a:path>
              </a:pathLst>
            </a:custGeom>
            <a:solidFill>
              <a:srgbClr val="F8D6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sz="1799" dirty="0"/>
            </a:p>
          </p:txBody>
        </p:sp>
        <p:sp>
          <p:nvSpPr>
            <p:cNvPr id="59" name="Freeform 66">
              <a:extLst>
                <a:ext uri="{FF2B5EF4-FFF2-40B4-BE49-F238E27FC236}">
                  <a16:creationId xmlns:a16="http://schemas.microsoft.com/office/drawing/2014/main" id="{588E8019-EB94-44F9-8370-64F80F9D2E9F}"/>
                </a:ext>
              </a:extLst>
            </p:cNvPr>
            <p:cNvSpPr>
              <a:spLocks/>
            </p:cNvSpPr>
            <p:nvPr userDrawn="1"/>
          </p:nvSpPr>
          <p:spPr bwMode="gray">
            <a:xfrm flipH="1">
              <a:off x="10945239" y="5970172"/>
              <a:ext cx="260988" cy="263279"/>
            </a:xfrm>
            <a:custGeom>
              <a:avLst/>
              <a:gdLst>
                <a:gd name="T0" fmla="*/ 0 w 114"/>
                <a:gd name="T1" fmla="*/ 115 h 115"/>
                <a:gd name="T2" fmla="*/ 0 w 114"/>
                <a:gd name="T3" fmla="*/ 0 h 115"/>
                <a:gd name="T4" fmla="*/ 114 w 114"/>
                <a:gd name="T5" fmla="*/ 56 h 115"/>
                <a:gd name="T6" fmla="*/ 0 w 114"/>
                <a:gd name="T7" fmla="*/ 115 h 115"/>
              </a:gdLst>
              <a:ahLst/>
              <a:cxnLst>
                <a:cxn ang="0">
                  <a:pos x="T0" y="T1"/>
                </a:cxn>
                <a:cxn ang="0">
                  <a:pos x="T2" y="T3"/>
                </a:cxn>
                <a:cxn ang="0">
                  <a:pos x="T4" y="T5"/>
                </a:cxn>
                <a:cxn ang="0">
                  <a:pos x="T6" y="T7"/>
                </a:cxn>
              </a:cxnLst>
              <a:rect l="0" t="0" r="r" b="b"/>
              <a:pathLst>
                <a:path w="114" h="115">
                  <a:moveTo>
                    <a:pt x="0" y="115"/>
                  </a:moveTo>
                  <a:lnTo>
                    <a:pt x="0" y="0"/>
                  </a:lnTo>
                  <a:lnTo>
                    <a:pt x="114" y="56"/>
                  </a:lnTo>
                  <a:lnTo>
                    <a:pt x="0" y="115"/>
                  </a:lnTo>
                  <a:close/>
                </a:path>
              </a:pathLst>
            </a:custGeom>
            <a:solidFill>
              <a:srgbClr val="FCEE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sz="1799" dirty="0"/>
            </a:p>
          </p:txBody>
        </p:sp>
        <p:sp>
          <p:nvSpPr>
            <p:cNvPr id="60" name="Freeform 66">
              <a:extLst>
                <a:ext uri="{FF2B5EF4-FFF2-40B4-BE49-F238E27FC236}">
                  <a16:creationId xmlns:a16="http://schemas.microsoft.com/office/drawing/2014/main" id="{781602A0-5605-4502-B0E1-1A127A7EF88E}"/>
                </a:ext>
              </a:extLst>
            </p:cNvPr>
            <p:cNvSpPr>
              <a:spLocks/>
            </p:cNvSpPr>
            <p:nvPr userDrawn="1"/>
          </p:nvSpPr>
          <p:spPr bwMode="gray">
            <a:xfrm>
              <a:off x="11279569" y="6068004"/>
              <a:ext cx="167534" cy="196319"/>
            </a:xfrm>
            <a:custGeom>
              <a:avLst/>
              <a:gdLst>
                <a:gd name="T0" fmla="*/ 0 w 114"/>
                <a:gd name="T1" fmla="*/ 115 h 115"/>
                <a:gd name="T2" fmla="*/ 0 w 114"/>
                <a:gd name="T3" fmla="*/ 0 h 115"/>
                <a:gd name="T4" fmla="*/ 114 w 114"/>
                <a:gd name="T5" fmla="*/ 56 h 115"/>
                <a:gd name="T6" fmla="*/ 0 w 114"/>
                <a:gd name="T7" fmla="*/ 115 h 115"/>
              </a:gdLst>
              <a:ahLst/>
              <a:cxnLst>
                <a:cxn ang="0">
                  <a:pos x="T0" y="T1"/>
                </a:cxn>
                <a:cxn ang="0">
                  <a:pos x="T2" y="T3"/>
                </a:cxn>
                <a:cxn ang="0">
                  <a:pos x="T4" y="T5"/>
                </a:cxn>
                <a:cxn ang="0">
                  <a:pos x="T6" y="T7"/>
                </a:cxn>
              </a:cxnLst>
              <a:rect l="0" t="0" r="r" b="b"/>
              <a:pathLst>
                <a:path w="114" h="115">
                  <a:moveTo>
                    <a:pt x="0" y="115"/>
                  </a:moveTo>
                  <a:lnTo>
                    <a:pt x="0" y="0"/>
                  </a:lnTo>
                  <a:lnTo>
                    <a:pt x="114" y="56"/>
                  </a:lnTo>
                  <a:lnTo>
                    <a:pt x="0" y="115"/>
                  </a:lnTo>
                  <a:close/>
                </a:path>
              </a:pathLst>
            </a:custGeom>
            <a:solidFill>
              <a:srgbClr val="F5BD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sz="1799" dirty="0"/>
            </a:p>
          </p:txBody>
        </p:sp>
        <p:sp>
          <p:nvSpPr>
            <p:cNvPr id="61" name="Freeform 66">
              <a:extLst>
                <a:ext uri="{FF2B5EF4-FFF2-40B4-BE49-F238E27FC236}">
                  <a16:creationId xmlns:a16="http://schemas.microsoft.com/office/drawing/2014/main" id="{A0DC4AE3-C627-4528-86AE-FE9D162FC644}"/>
                </a:ext>
              </a:extLst>
            </p:cNvPr>
            <p:cNvSpPr>
              <a:spLocks/>
            </p:cNvSpPr>
            <p:nvPr userDrawn="1"/>
          </p:nvSpPr>
          <p:spPr bwMode="gray">
            <a:xfrm flipH="1">
              <a:off x="10496176" y="6317349"/>
              <a:ext cx="606910" cy="612237"/>
            </a:xfrm>
            <a:custGeom>
              <a:avLst/>
              <a:gdLst>
                <a:gd name="T0" fmla="*/ 0 w 114"/>
                <a:gd name="T1" fmla="*/ 115 h 115"/>
                <a:gd name="T2" fmla="*/ 0 w 114"/>
                <a:gd name="T3" fmla="*/ 0 h 115"/>
                <a:gd name="T4" fmla="*/ 114 w 114"/>
                <a:gd name="T5" fmla="*/ 56 h 115"/>
                <a:gd name="T6" fmla="*/ 0 w 114"/>
                <a:gd name="T7" fmla="*/ 115 h 115"/>
              </a:gdLst>
              <a:ahLst/>
              <a:cxnLst>
                <a:cxn ang="0">
                  <a:pos x="T0" y="T1"/>
                </a:cxn>
                <a:cxn ang="0">
                  <a:pos x="T2" y="T3"/>
                </a:cxn>
                <a:cxn ang="0">
                  <a:pos x="T4" y="T5"/>
                </a:cxn>
                <a:cxn ang="0">
                  <a:pos x="T6" y="T7"/>
                </a:cxn>
              </a:cxnLst>
              <a:rect l="0" t="0" r="r" b="b"/>
              <a:pathLst>
                <a:path w="114" h="115">
                  <a:moveTo>
                    <a:pt x="0" y="115"/>
                  </a:moveTo>
                  <a:lnTo>
                    <a:pt x="0" y="0"/>
                  </a:lnTo>
                  <a:lnTo>
                    <a:pt x="114" y="56"/>
                  </a:lnTo>
                  <a:lnTo>
                    <a:pt x="0" y="115"/>
                  </a:lnTo>
                  <a:close/>
                </a:path>
              </a:pathLst>
            </a:custGeom>
            <a:solidFill>
              <a:srgbClr val="ED8B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sz="1799" dirty="0"/>
            </a:p>
          </p:txBody>
        </p:sp>
        <p:sp>
          <p:nvSpPr>
            <p:cNvPr id="62" name="Freeform 66">
              <a:extLst>
                <a:ext uri="{FF2B5EF4-FFF2-40B4-BE49-F238E27FC236}">
                  <a16:creationId xmlns:a16="http://schemas.microsoft.com/office/drawing/2014/main" id="{D522E902-E10B-4876-BDDB-2722CD87C2B5}"/>
                </a:ext>
              </a:extLst>
            </p:cNvPr>
            <p:cNvSpPr>
              <a:spLocks/>
            </p:cNvSpPr>
            <p:nvPr userDrawn="1"/>
          </p:nvSpPr>
          <p:spPr bwMode="gray">
            <a:xfrm flipH="1">
              <a:off x="10366181" y="6547138"/>
              <a:ext cx="165143" cy="166592"/>
            </a:xfrm>
            <a:custGeom>
              <a:avLst/>
              <a:gdLst>
                <a:gd name="T0" fmla="*/ 0 w 114"/>
                <a:gd name="T1" fmla="*/ 115 h 115"/>
                <a:gd name="T2" fmla="*/ 0 w 114"/>
                <a:gd name="T3" fmla="*/ 0 h 115"/>
                <a:gd name="T4" fmla="*/ 114 w 114"/>
                <a:gd name="T5" fmla="*/ 56 h 115"/>
                <a:gd name="T6" fmla="*/ 0 w 114"/>
                <a:gd name="T7" fmla="*/ 115 h 115"/>
              </a:gdLst>
              <a:ahLst/>
              <a:cxnLst>
                <a:cxn ang="0">
                  <a:pos x="T0" y="T1"/>
                </a:cxn>
                <a:cxn ang="0">
                  <a:pos x="T2" y="T3"/>
                </a:cxn>
                <a:cxn ang="0">
                  <a:pos x="T4" y="T5"/>
                </a:cxn>
                <a:cxn ang="0">
                  <a:pos x="T6" y="T7"/>
                </a:cxn>
              </a:cxnLst>
              <a:rect l="0" t="0" r="r" b="b"/>
              <a:pathLst>
                <a:path w="114" h="115">
                  <a:moveTo>
                    <a:pt x="0" y="115"/>
                  </a:moveTo>
                  <a:lnTo>
                    <a:pt x="0" y="0"/>
                  </a:lnTo>
                  <a:lnTo>
                    <a:pt x="114" y="56"/>
                  </a:lnTo>
                  <a:lnTo>
                    <a:pt x="0" y="115"/>
                  </a:lnTo>
                  <a:close/>
                </a:path>
              </a:pathLst>
            </a:custGeom>
            <a:solidFill>
              <a:srgbClr val="F5BD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sz="1799" dirty="0"/>
            </a:p>
          </p:txBody>
        </p:sp>
        <p:sp>
          <p:nvSpPr>
            <p:cNvPr id="63" name="Freeform 66">
              <a:extLst>
                <a:ext uri="{FF2B5EF4-FFF2-40B4-BE49-F238E27FC236}">
                  <a16:creationId xmlns:a16="http://schemas.microsoft.com/office/drawing/2014/main" id="{8E825EA5-9449-4B7B-8236-C933B19DCFE0}"/>
                </a:ext>
              </a:extLst>
            </p:cNvPr>
            <p:cNvSpPr>
              <a:spLocks/>
            </p:cNvSpPr>
            <p:nvPr userDrawn="1"/>
          </p:nvSpPr>
          <p:spPr bwMode="gray">
            <a:xfrm>
              <a:off x="11238530" y="5247112"/>
              <a:ext cx="260988" cy="263279"/>
            </a:xfrm>
            <a:custGeom>
              <a:avLst/>
              <a:gdLst>
                <a:gd name="T0" fmla="*/ 0 w 114"/>
                <a:gd name="T1" fmla="*/ 115 h 115"/>
                <a:gd name="T2" fmla="*/ 0 w 114"/>
                <a:gd name="T3" fmla="*/ 0 h 115"/>
                <a:gd name="T4" fmla="*/ 114 w 114"/>
                <a:gd name="T5" fmla="*/ 56 h 115"/>
                <a:gd name="T6" fmla="*/ 0 w 114"/>
                <a:gd name="T7" fmla="*/ 115 h 115"/>
              </a:gdLst>
              <a:ahLst/>
              <a:cxnLst>
                <a:cxn ang="0">
                  <a:pos x="T0" y="T1"/>
                </a:cxn>
                <a:cxn ang="0">
                  <a:pos x="T2" y="T3"/>
                </a:cxn>
                <a:cxn ang="0">
                  <a:pos x="T4" y="T5"/>
                </a:cxn>
                <a:cxn ang="0">
                  <a:pos x="T6" y="T7"/>
                </a:cxn>
              </a:cxnLst>
              <a:rect l="0" t="0" r="r" b="b"/>
              <a:pathLst>
                <a:path w="114" h="115">
                  <a:moveTo>
                    <a:pt x="0" y="115"/>
                  </a:moveTo>
                  <a:lnTo>
                    <a:pt x="0" y="0"/>
                  </a:lnTo>
                  <a:lnTo>
                    <a:pt x="114" y="56"/>
                  </a:lnTo>
                  <a:lnTo>
                    <a:pt x="0" y="115"/>
                  </a:lnTo>
                  <a:close/>
                </a:path>
              </a:pathLst>
            </a:custGeom>
            <a:solidFill>
              <a:srgbClr val="F5BD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p>
          </p:txBody>
        </p:sp>
        <p:sp>
          <p:nvSpPr>
            <p:cNvPr id="64" name="Freeform 66">
              <a:extLst>
                <a:ext uri="{FF2B5EF4-FFF2-40B4-BE49-F238E27FC236}">
                  <a16:creationId xmlns:a16="http://schemas.microsoft.com/office/drawing/2014/main" id="{FE566F5A-0D5A-469E-977E-49924F832BE5}"/>
                </a:ext>
              </a:extLst>
            </p:cNvPr>
            <p:cNvSpPr>
              <a:spLocks/>
            </p:cNvSpPr>
            <p:nvPr userDrawn="1"/>
          </p:nvSpPr>
          <p:spPr bwMode="gray">
            <a:xfrm>
              <a:off x="11136402" y="5331748"/>
              <a:ext cx="164158" cy="165599"/>
            </a:xfrm>
            <a:custGeom>
              <a:avLst/>
              <a:gdLst>
                <a:gd name="T0" fmla="*/ 0 w 114"/>
                <a:gd name="T1" fmla="*/ 115 h 115"/>
                <a:gd name="T2" fmla="*/ 0 w 114"/>
                <a:gd name="T3" fmla="*/ 0 h 115"/>
                <a:gd name="T4" fmla="*/ 114 w 114"/>
                <a:gd name="T5" fmla="*/ 56 h 115"/>
                <a:gd name="T6" fmla="*/ 0 w 114"/>
                <a:gd name="T7" fmla="*/ 115 h 115"/>
              </a:gdLst>
              <a:ahLst/>
              <a:cxnLst>
                <a:cxn ang="0">
                  <a:pos x="T0" y="T1"/>
                </a:cxn>
                <a:cxn ang="0">
                  <a:pos x="T2" y="T3"/>
                </a:cxn>
                <a:cxn ang="0">
                  <a:pos x="T4" y="T5"/>
                </a:cxn>
                <a:cxn ang="0">
                  <a:pos x="T6" y="T7"/>
                </a:cxn>
              </a:cxnLst>
              <a:rect l="0" t="0" r="r" b="b"/>
              <a:pathLst>
                <a:path w="114" h="115">
                  <a:moveTo>
                    <a:pt x="0" y="115"/>
                  </a:moveTo>
                  <a:lnTo>
                    <a:pt x="0" y="0"/>
                  </a:lnTo>
                  <a:lnTo>
                    <a:pt x="114" y="56"/>
                  </a:lnTo>
                  <a:lnTo>
                    <a:pt x="0" y="115"/>
                  </a:lnTo>
                  <a:close/>
                </a:path>
              </a:pathLst>
            </a:custGeom>
            <a:solidFill>
              <a:srgbClr val="FCEE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sz="1799" dirty="0"/>
            </a:p>
          </p:txBody>
        </p:sp>
        <p:sp>
          <p:nvSpPr>
            <p:cNvPr id="65" name="Freeform 66">
              <a:extLst>
                <a:ext uri="{FF2B5EF4-FFF2-40B4-BE49-F238E27FC236}">
                  <a16:creationId xmlns:a16="http://schemas.microsoft.com/office/drawing/2014/main" id="{A5D4E4F2-4755-46B3-8635-4B8A522B588A}"/>
                </a:ext>
              </a:extLst>
            </p:cNvPr>
            <p:cNvSpPr>
              <a:spLocks/>
            </p:cNvSpPr>
            <p:nvPr userDrawn="1"/>
          </p:nvSpPr>
          <p:spPr bwMode="gray">
            <a:xfrm>
              <a:off x="11841110" y="5085184"/>
              <a:ext cx="233921" cy="235974"/>
            </a:xfrm>
            <a:custGeom>
              <a:avLst/>
              <a:gdLst>
                <a:gd name="T0" fmla="*/ 0 w 114"/>
                <a:gd name="T1" fmla="*/ 115 h 115"/>
                <a:gd name="T2" fmla="*/ 0 w 114"/>
                <a:gd name="T3" fmla="*/ 0 h 115"/>
                <a:gd name="T4" fmla="*/ 114 w 114"/>
                <a:gd name="T5" fmla="*/ 56 h 115"/>
                <a:gd name="T6" fmla="*/ 0 w 114"/>
                <a:gd name="T7" fmla="*/ 115 h 115"/>
              </a:gdLst>
              <a:ahLst/>
              <a:cxnLst>
                <a:cxn ang="0">
                  <a:pos x="T0" y="T1"/>
                </a:cxn>
                <a:cxn ang="0">
                  <a:pos x="T2" y="T3"/>
                </a:cxn>
                <a:cxn ang="0">
                  <a:pos x="T4" y="T5"/>
                </a:cxn>
                <a:cxn ang="0">
                  <a:pos x="T6" y="T7"/>
                </a:cxn>
              </a:cxnLst>
              <a:rect l="0" t="0" r="r" b="b"/>
              <a:pathLst>
                <a:path w="114" h="115">
                  <a:moveTo>
                    <a:pt x="0" y="115"/>
                  </a:moveTo>
                  <a:lnTo>
                    <a:pt x="0" y="0"/>
                  </a:lnTo>
                  <a:lnTo>
                    <a:pt x="114" y="56"/>
                  </a:lnTo>
                  <a:lnTo>
                    <a:pt x="0" y="115"/>
                  </a:lnTo>
                  <a:close/>
                </a:path>
              </a:pathLst>
            </a:custGeom>
            <a:solidFill>
              <a:srgbClr val="F8D6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sz="1799" dirty="0"/>
            </a:p>
          </p:txBody>
        </p:sp>
        <p:sp>
          <p:nvSpPr>
            <p:cNvPr id="66" name="Freeform 66">
              <a:extLst>
                <a:ext uri="{FF2B5EF4-FFF2-40B4-BE49-F238E27FC236}">
                  <a16:creationId xmlns:a16="http://schemas.microsoft.com/office/drawing/2014/main" id="{03E00ACE-942B-4F2B-9254-B644E3C03193}"/>
                </a:ext>
              </a:extLst>
            </p:cNvPr>
            <p:cNvSpPr>
              <a:spLocks/>
            </p:cNvSpPr>
            <p:nvPr userDrawn="1"/>
          </p:nvSpPr>
          <p:spPr bwMode="gray">
            <a:xfrm flipH="1">
              <a:off x="11675662" y="5503844"/>
              <a:ext cx="493007" cy="497331"/>
            </a:xfrm>
            <a:custGeom>
              <a:avLst/>
              <a:gdLst>
                <a:gd name="T0" fmla="*/ 0 w 114"/>
                <a:gd name="T1" fmla="*/ 115 h 115"/>
                <a:gd name="T2" fmla="*/ 0 w 114"/>
                <a:gd name="T3" fmla="*/ 0 h 115"/>
                <a:gd name="T4" fmla="*/ 114 w 114"/>
                <a:gd name="T5" fmla="*/ 56 h 115"/>
                <a:gd name="T6" fmla="*/ 0 w 114"/>
                <a:gd name="T7" fmla="*/ 115 h 115"/>
              </a:gdLst>
              <a:ahLst/>
              <a:cxnLst>
                <a:cxn ang="0">
                  <a:pos x="T0" y="T1"/>
                </a:cxn>
                <a:cxn ang="0">
                  <a:pos x="T2" y="T3"/>
                </a:cxn>
                <a:cxn ang="0">
                  <a:pos x="T4" y="T5"/>
                </a:cxn>
                <a:cxn ang="0">
                  <a:pos x="T6" y="T7"/>
                </a:cxn>
              </a:cxnLst>
              <a:rect l="0" t="0" r="r" b="b"/>
              <a:pathLst>
                <a:path w="114" h="115">
                  <a:moveTo>
                    <a:pt x="0" y="115"/>
                  </a:moveTo>
                  <a:lnTo>
                    <a:pt x="0" y="0"/>
                  </a:lnTo>
                  <a:lnTo>
                    <a:pt x="114" y="56"/>
                  </a:lnTo>
                  <a:lnTo>
                    <a:pt x="0" y="115"/>
                  </a:lnTo>
                  <a:close/>
                </a:path>
              </a:pathLst>
            </a:custGeom>
            <a:solidFill>
              <a:srgbClr val="ED8B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sz="1799" dirty="0"/>
            </a:p>
          </p:txBody>
        </p:sp>
        <p:sp>
          <p:nvSpPr>
            <p:cNvPr id="67" name="Freeform 66">
              <a:extLst>
                <a:ext uri="{FF2B5EF4-FFF2-40B4-BE49-F238E27FC236}">
                  <a16:creationId xmlns:a16="http://schemas.microsoft.com/office/drawing/2014/main" id="{24366F35-7CF8-49D8-8530-48852E59374B}"/>
                </a:ext>
              </a:extLst>
            </p:cNvPr>
            <p:cNvSpPr>
              <a:spLocks/>
            </p:cNvSpPr>
            <p:nvPr userDrawn="1"/>
          </p:nvSpPr>
          <p:spPr bwMode="gray">
            <a:xfrm flipH="1">
              <a:off x="11432311" y="5633469"/>
              <a:ext cx="260988" cy="263279"/>
            </a:xfrm>
            <a:custGeom>
              <a:avLst/>
              <a:gdLst>
                <a:gd name="T0" fmla="*/ 0 w 114"/>
                <a:gd name="T1" fmla="*/ 115 h 115"/>
                <a:gd name="T2" fmla="*/ 0 w 114"/>
                <a:gd name="T3" fmla="*/ 0 h 115"/>
                <a:gd name="T4" fmla="*/ 114 w 114"/>
                <a:gd name="T5" fmla="*/ 56 h 115"/>
                <a:gd name="T6" fmla="*/ 0 w 114"/>
                <a:gd name="T7" fmla="*/ 115 h 115"/>
              </a:gdLst>
              <a:ahLst/>
              <a:cxnLst>
                <a:cxn ang="0">
                  <a:pos x="T0" y="T1"/>
                </a:cxn>
                <a:cxn ang="0">
                  <a:pos x="T2" y="T3"/>
                </a:cxn>
                <a:cxn ang="0">
                  <a:pos x="T4" y="T5"/>
                </a:cxn>
                <a:cxn ang="0">
                  <a:pos x="T6" y="T7"/>
                </a:cxn>
              </a:cxnLst>
              <a:rect l="0" t="0" r="r" b="b"/>
              <a:pathLst>
                <a:path w="114" h="115">
                  <a:moveTo>
                    <a:pt x="0" y="115"/>
                  </a:moveTo>
                  <a:lnTo>
                    <a:pt x="0" y="0"/>
                  </a:lnTo>
                  <a:lnTo>
                    <a:pt x="114" y="56"/>
                  </a:lnTo>
                  <a:lnTo>
                    <a:pt x="0" y="115"/>
                  </a:lnTo>
                  <a:close/>
                </a:path>
              </a:pathLst>
            </a:custGeom>
            <a:solidFill>
              <a:srgbClr val="F5BD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p>
          </p:txBody>
        </p:sp>
        <p:sp>
          <p:nvSpPr>
            <p:cNvPr id="68" name="Freeform 66">
              <a:extLst>
                <a:ext uri="{FF2B5EF4-FFF2-40B4-BE49-F238E27FC236}">
                  <a16:creationId xmlns:a16="http://schemas.microsoft.com/office/drawing/2014/main" id="{234BFC8F-38C0-4CEF-AB98-72A130E89354}"/>
                </a:ext>
              </a:extLst>
            </p:cNvPr>
            <p:cNvSpPr>
              <a:spLocks/>
            </p:cNvSpPr>
            <p:nvPr userDrawn="1"/>
          </p:nvSpPr>
          <p:spPr bwMode="gray">
            <a:xfrm flipH="1">
              <a:off x="11811362" y="5346725"/>
              <a:ext cx="454177" cy="458163"/>
            </a:xfrm>
            <a:custGeom>
              <a:avLst/>
              <a:gdLst>
                <a:gd name="T0" fmla="*/ 0 w 114"/>
                <a:gd name="T1" fmla="*/ 115 h 115"/>
                <a:gd name="T2" fmla="*/ 0 w 114"/>
                <a:gd name="T3" fmla="*/ 0 h 115"/>
                <a:gd name="T4" fmla="*/ 114 w 114"/>
                <a:gd name="T5" fmla="*/ 56 h 115"/>
                <a:gd name="T6" fmla="*/ 0 w 114"/>
                <a:gd name="T7" fmla="*/ 115 h 115"/>
              </a:gdLst>
              <a:ahLst/>
              <a:cxnLst>
                <a:cxn ang="0">
                  <a:pos x="T0" y="T1"/>
                </a:cxn>
                <a:cxn ang="0">
                  <a:pos x="T2" y="T3"/>
                </a:cxn>
                <a:cxn ang="0">
                  <a:pos x="T4" y="T5"/>
                </a:cxn>
                <a:cxn ang="0">
                  <a:pos x="T6" y="T7"/>
                </a:cxn>
              </a:cxnLst>
              <a:rect l="0" t="0" r="r" b="b"/>
              <a:pathLst>
                <a:path w="114" h="115">
                  <a:moveTo>
                    <a:pt x="0" y="115"/>
                  </a:moveTo>
                  <a:lnTo>
                    <a:pt x="0" y="0"/>
                  </a:lnTo>
                  <a:lnTo>
                    <a:pt x="114" y="56"/>
                  </a:lnTo>
                  <a:lnTo>
                    <a:pt x="0" y="115"/>
                  </a:lnTo>
                  <a:close/>
                </a:path>
              </a:pathLst>
            </a:custGeom>
            <a:solidFill>
              <a:srgbClr val="F5BD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p>
          </p:txBody>
        </p:sp>
        <p:sp>
          <p:nvSpPr>
            <p:cNvPr id="69" name="Freeform 66">
              <a:extLst>
                <a:ext uri="{FF2B5EF4-FFF2-40B4-BE49-F238E27FC236}">
                  <a16:creationId xmlns:a16="http://schemas.microsoft.com/office/drawing/2014/main" id="{EEACACC2-5ECC-48A2-9C11-27384E995C6B}"/>
                </a:ext>
              </a:extLst>
            </p:cNvPr>
            <p:cNvSpPr>
              <a:spLocks/>
            </p:cNvSpPr>
            <p:nvPr userDrawn="1"/>
          </p:nvSpPr>
          <p:spPr bwMode="gray">
            <a:xfrm>
              <a:off x="12041439" y="5883104"/>
              <a:ext cx="178295" cy="179858"/>
            </a:xfrm>
            <a:custGeom>
              <a:avLst/>
              <a:gdLst>
                <a:gd name="T0" fmla="*/ 0 w 114"/>
                <a:gd name="T1" fmla="*/ 115 h 115"/>
                <a:gd name="T2" fmla="*/ 0 w 114"/>
                <a:gd name="T3" fmla="*/ 0 h 115"/>
                <a:gd name="T4" fmla="*/ 114 w 114"/>
                <a:gd name="T5" fmla="*/ 56 h 115"/>
                <a:gd name="T6" fmla="*/ 0 w 114"/>
                <a:gd name="T7" fmla="*/ 115 h 115"/>
              </a:gdLst>
              <a:ahLst/>
              <a:cxnLst>
                <a:cxn ang="0">
                  <a:pos x="T0" y="T1"/>
                </a:cxn>
                <a:cxn ang="0">
                  <a:pos x="T2" y="T3"/>
                </a:cxn>
                <a:cxn ang="0">
                  <a:pos x="T4" y="T5"/>
                </a:cxn>
                <a:cxn ang="0">
                  <a:pos x="T6" y="T7"/>
                </a:cxn>
              </a:cxnLst>
              <a:rect l="0" t="0" r="r" b="b"/>
              <a:pathLst>
                <a:path w="114" h="115">
                  <a:moveTo>
                    <a:pt x="0" y="115"/>
                  </a:moveTo>
                  <a:lnTo>
                    <a:pt x="0" y="0"/>
                  </a:lnTo>
                  <a:lnTo>
                    <a:pt x="114" y="56"/>
                  </a:lnTo>
                  <a:lnTo>
                    <a:pt x="0" y="115"/>
                  </a:lnTo>
                  <a:close/>
                </a:path>
              </a:pathLst>
            </a:custGeom>
            <a:solidFill>
              <a:srgbClr val="ED8B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sz="1799" dirty="0"/>
            </a:p>
          </p:txBody>
        </p:sp>
        <p:sp>
          <p:nvSpPr>
            <p:cNvPr id="70" name="Freeform 66">
              <a:extLst>
                <a:ext uri="{FF2B5EF4-FFF2-40B4-BE49-F238E27FC236}">
                  <a16:creationId xmlns:a16="http://schemas.microsoft.com/office/drawing/2014/main" id="{6857C917-AC61-4A7D-A15B-900E30643F06}"/>
                </a:ext>
              </a:extLst>
            </p:cNvPr>
            <p:cNvSpPr>
              <a:spLocks/>
            </p:cNvSpPr>
            <p:nvPr userDrawn="1"/>
          </p:nvSpPr>
          <p:spPr bwMode="gray">
            <a:xfrm flipH="1">
              <a:off x="12044262" y="5796688"/>
              <a:ext cx="178295" cy="179858"/>
            </a:xfrm>
            <a:custGeom>
              <a:avLst/>
              <a:gdLst>
                <a:gd name="T0" fmla="*/ 0 w 114"/>
                <a:gd name="T1" fmla="*/ 115 h 115"/>
                <a:gd name="T2" fmla="*/ 0 w 114"/>
                <a:gd name="T3" fmla="*/ 0 h 115"/>
                <a:gd name="T4" fmla="*/ 114 w 114"/>
                <a:gd name="T5" fmla="*/ 56 h 115"/>
                <a:gd name="T6" fmla="*/ 0 w 114"/>
                <a:gd name="T7" fmla="*/ 115 h 115"/>
              </a:gdLst>
              <a:ahLst/>
              <a:cxnLst>
                <a:cxn ang="0">
                  <a:pos x="T0" y="T1"/>
                </a:cxn>
                <a:cxn ang="0">
                  <a:pos x="T2" y="T3"/>
                </a:cxn>
                <a:cxn ang="0">
                  <a:pos x="T4" y="T5"/>
                </a:cxn>
                <a:cxn ang="0">
                  <a:pos x="T6" y="T7"/>
                </a:cxn>
              </a:cxnLst>
              <a:rect l="0" t="0" r="r" b="b"/>
              <a:pathLst>
                <a:path w="114" h="115">
                  <a:moveTo>
                    <a:pt x="0" y="115"/>
                  </a:moveTo>
                  <a:lnTo>
                    <a:pt x="0" y="0"/>
                  </a:lnTo>
                  <a:lnTo>
                    <a:pt x="114" y="56"/>
                  </a:lnTo>
                  <a:lnTo>
                    <a:pt x="0" y="115"/>
                  </a:lnTo>
                  <a:close/>
                </a:path>
              </a:pathLst>
            </a:custGeom>
            <a:solidFill>
              <a:srgbClr val="ED8B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sz="1799" dirty="0"/>
            </a:p>
          </p:txBody>
        </p:sp>
        <p:sp>
          <p:nvSpPr>
            <p:cNvPr id="71" name="Freeform 66">
              <a:extLst>
                <a:ext uri="{FF2B5EF4-FFF2-40B4-BE49-F238E27FC236}">
                  <a16:creationId xmlns:a16="http://schemas.microsoft.com/office/drawing/2014/main" id="{AADD23B7-238B-4B6B-95B1-47C9F4500E1A}"/>
                </a:ext>
              </a:extLst>
            </p:cNvPr>
            <p:cNvSpPr>
              <a:spLocks/>
            </p:cNvSpPr>
            <p:nvPr userDrawn="1"/>
          </p:nvSpPr>
          <p:spPr bwMode="gray">
            <a:xfrm flipH="1">
              <a:off x="11362671" y="5543532"/>
              <a:ext cx="173979" cy="175506"/>
            </a:xfrm>
            <a:custGeom>
              <a:avLst/>
              <a:gdLst>
                <a:gd name="T0" fmla="*/ 0 w 114"/>
                <a:gd name="T1" fmla="*/ 115 h 115"/>
                <a:gd name="T2" fmla="*/ 0 w 114"/>
                <a:gd name="T3" fmla="*/ 0 h 115"/>
                <a:gd name="T4" fmla="*/ 114 w 114"/>
                <a:gd name="T5" fmla="*/ 56 h 115"/>
                <a:gd name="T6" fmla="*/ 0 w 114"/>
                <a:gd name="T7" fmla="*/ 115 h 115"/>
              </a:gdLst>
              <a:ahLst/>
              <a:cxnLst>
                <a:cxn ang="0">
                  <a:pos x="T0" y="T1"/>
                </a:cxn>
                <a:cxn ang="0">
                  <a:pos x="T2" y="T3"/>
                </a:cxn>
                <a:cxn ang="0">
                  <a:pos x="T4" y="T5"/>
                </a:cxn>
                <a:cxn ang="0">
                  <a:pos x="T6" y="T7"/>
                </a:cxn>
              </a:cxnLst>
              <a:rect l="0" t="0" r="r" b="b"/>
              <a:pathLst>
                <a:path w="114" h="115">
                  <a:moveTo>
                    <a:pt x="0" y="115"/>
                  </a:moveTo>
                  <a:lnTo>
                    <a:pt x="0" y="0"/>
                  </a:lnTo>
                  <a:lnTo>
                    <a:pt x="114" y="56"/>
                  </a:lnTo>
                  <a:lnTo>
                    <a:pt x="0" y="115"/>
                  </a:lnTo>
                  <a:close/>
                </a:path>
              </a:pathLst>
            </a:custGeom>
            <a:solidFill>
              <a:srgbClr val="E86A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sz="1799" dirty="0"/>
            </a:p>
          </p:txBody>
        </p:sp>
        <p:sp>
          <p:nvSpPr>
            <p:cNvPr id="72" name="Freeform 66">
              <a:extLst>
                <a:ext uri="{FF2B5EF4-FFF2-40B4-BE49-F238E27FC236}">
                  <a16:creationId xmlns:a16="http://schemas.microsoft.com/office/drawing/2014/main" id="{4D6AC48E-0E84-4AA7-B309-39FCDDC8EEBD}"/>
                </a:ext>
              </a:extLst>
            </p:cNvPr>
            <p:cNvSpPr>
              <a:spLocks/>
            </p:cNvSpPr>
            <p:nvPr userDrawn="1"/>
          </p:nvSpPr>
          <p:spPr bwMode="gray">
            <a:xfrm flipH="1">
              <a:off x="11566874" y="6764451"/>
              <a:ext cx="207663" cy="209485"/>
            </a:xfrm>
            <a:custGeom>
              <a:avLst/>
              <a:gdLst>
                <a:gd name="T0" fmla="*/ 0 w 114"/>
                <a:gd name="T1" fmla="*/ 115 h 115"/>
                <a:gd name="T2" fmla="*/ 0 w 114"/>
                <a:gd name="T3" fmla="*/ 0 h 115"/>
                <a:gd name="T4" fmla="*/ 114 w 114"/>
                <a:gd name="T5" fmla="*/ 56 h 115"/>
                <a:gd name="T6" fmla="*/ 0 w 114"/>
                <a:gd name="T7" fmla="*/ 115 h 115"/>
              </a:gdLst>
              <a:ahLst/>
              <a:cxnLst>
                <a:cxn ang="0">
                  <a:pos x="T0" y="T1"/>
                </a:cxn>
                <a:cxn ang="0">
                  <a:pos x="T2" y="T3"/>
                </a:cxn>
                <a:cxn ang="0">
                  <a:pos x="T4" y="T5"/>
                </a:cxn>
                <a:cxn ang="0">
                  <a:pos x="T6" y="T7"/>
                </a:cxn>
              </a:cxnLst>
              <a:rect l="0" t="0" r="r" b="b"/>
              <a:pathLst>
                <a:path w="114" h="115">
                  <a:moveTo>
                    <a:pt x="0" y="115"/>
                  </a:moveTo>
                  <a:lnTo>
                    <a:pt x="0" y="0"/>
                  </a:lnTo>
                  <a:lnTo>
                    <a:pt x="114" y="56"/>
                  </a:lnTo>
                  <a:lnTo>
                    <a:pt x="0" y="115"/>
                  </a:lnTo>
                  <a:close/>
                </a:path>
              </a:pathLst>
            </a:custGeom>
            <a:solidFill>
              <a:srgbClr val="FCEE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sz="1799" dirty="0"/>
            </a:p>
          </p:txBody>
        </p:sp>
        <p:sp>
          <p:nvSpPr>
            <p:cNvPr id="73" name="Freeform 66">
              <a:extLst>
                <a:ext uri="{FF2B5EF4-FFF2-40B4-BE49-F238E27FC236}">
                  <a16:creationId xmlns:a16="http://schemas.microsoft.com/office/drawing/2014/main" id="{E5B7CE33-C550-47EA-9824-79CE532AAED3}"/>
                </a:ext>
              </a:extLst>
            </p:cNvPr>
            <p:cNvSpPr>
              <a:spLocks/>
            </p:cNvSpPr>
            <p:nvPr userDrawn="1"/>
          </p:nvSpPr>
          <p:spPr bwMode="gray">
            <a:xfrm>
              <a:off x="11562947" y="6630853"/>
              <a:ext cx="207663" cy="209485"/>
            </a:xfrm>
            <a:custGeom>
              <a:avLst/>
              <a:gdLst>
                <a:gd name="T0" fmla="*/ 0 w 114"/>
                <a:gd name="T1" fmla="*/ 115 h 115"/>
                <a:gd name="T2" fmla="*/ 0 w 114"/>
                <a:gd name="T3" fmla="*/ 0 h 115"/>
                <a:gd name="T4" fmla="*/ 114 w 114"/>
                <a:gd name="T5" fmla="*/ 56 h 115"/>
                <a:gd name="T6" fmla="*/ 0 w 114"/>
                <a:gd name="T7" fmla="*/ 115 h 115"/>
              </a:gdLst>
              <a:ahLst/>
              <a:cxnLst>
                <a:cxn ang="0">
                  <a:pos x="T0" y="T1"/>
                </a:cxn>
                <a:cxn ang="0">
                  <a:pos x="T2" y="T3"/>
                </a:cxn>
                <a:cxn ang="0">
                  <a:pos x="T4" y="T5"/>
                </a:cxn>
                <a:cxn ang="0">
                  <a:pos x="T6" y="T7"/>
                </a:cxn>
              </a:cxnLst>
              <a:rect l="0" t="0" r="r" b="b"/>
              <a:pathLst>
                <a:path w="114" h="115">
                  <a:moveTo>
                    <a:pt x="0" y="115"/>
                  </a:moveTo>
                  <a:lnTo>
                    <a:pt x="0" y="0"/>
                  </a:lnTo>
                  <a:lnTo>
                    <a:pt x="114" y="56"/>
                  </a:lnTo>
                  <a:lnTo>
                    <a:pt x="0" y="115"/>
                  </a:lnTo>
                  <a:close/>
                </a:path>
              </a:pathLst>
            </a:custGeom>
            <a:solidFill>
              <a:srgbClr val="F8D6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sz="1799" dirty="0"/>
            </a:p>
          </p:txBody>
        </p:sp>
        <p:sp>
          <p:nvSpPr>
            <p:cNvPr id="74" name="Freeform 66">
              <a:extLst>
                <a:ext uri="{FF2B5EF4-FFF2-40B4-BE49-F238E27FC236}">
                  <a16:creationId xmlns:a16="http://schemas.microsoft.com/office/drawing/2014/main" id="{CE808DB3-1312-49F4-8D71-5A4A0A7950B2}"/>
                </a:ext>
              </a:extLst>
            </p:cNvPr>
            <p:cNvSpPr>
              <a:spLocks/>
            </p:cNvSpPr>
            <p:nvPr userDrawn="1"/>
          </p:nvSpPr>
          <p:spPr bwMode="gray">
            <a:xfrm flipH="1">
              <a:off x="11445486" y="6405545"/>
              <a:ext cx="178172" cy="179736"/>
            </a:xfrm>
            <a:custGeom>
              <a:avLst/>
              <a:gdLst>
                <a:gd name="T0" fmla="*/ 0 w 114"/>
                <a:gd name="T1" fmla="*/ 115 h 115"/>
                <a:gd name="T2" fmla="*/ 0 w 114"/>
                <a:gd name="T3" fmla="*/ 0 h 115"/>
                <a:gd name="T4" fmla="*/ 114 w 114"/>
                <a:gd name="T5" fmla="*/ 56 h 115"/>
                <a:gd name="T6" fmla="*/ 0 w 114"/>
                <a:gd name="T7" fmla="*/ 115 h 115"/>
              </a:gdLst>
              <a:ahLst/>
              <a:cxnLst>
                <a:cxn ang="0">
                  <a:pos x="T0" y="T1"/>
                </a:cxn>
                <a:cxn ang="0">
                  <a:pos x="T2" y="T3"/>
                </a:cxn>
                <a:cxn ang="0">
                  <a:pos x="T4" y="T5"/>
                </a:cxn>
                <a:cxn ang="0">
                  <a:pos x="T6" y="T7"/>
                </a:cxn>
              </a:cxnLst>
              <a:rect l="0" t="0" r="r" b="b"/>
              <a:pathLst>
                <a:path w="114" h="115">
                  <a:moveTo>
                    <a:pt x="0" y="115"/>
                  </a:moveTo>
                  <a:lnTo>
                    <a:pt x="0" y="0"/>
                  </a:lnTo>
                  <a:lnTo>
                    <a:pt x="114" y="56"/>
                  </a:lnTo>
                  <a:lnTo>
                    <a:pt x="0" y="115"/>
                  </a:lnTo>
                  <a:close/>
                </a:path>
              </a:pathLst>
            </a:custGeom>
            <a:solidFill>
              <a:srgbClr val="F5BD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p>
          </p:txBody>
        </p:sp>
        <p:sp>
          <p:nvSpPr>
            <p:cNvPr id="75" name="Freeform 66">
              <a:extLst>
                <a:ext uri="{FF2B5EF4-FFF2-40B4-BE49-F238E27FC236}">
                  <a16:creationId xmlns:a16="http://schemas.microsoft.com/office/drawing/2014/main" id="{724B5F69-6EFF-47F4-BB91-AE71BB9590B5}"/>
                </a:ext>
              </a:extLst>
            </p:cNvPr>
            <p:cNvSpPr>
              <a:spLocks/>
            </p:cNvSpPr>
            <p:nvPr userDrawn="1"/>
          </p:nvSpPr>
          <p:spPr bwMode="gray">
            <a:xfrm>
              <a:off x="11481309" y="6040049"/>
              <a:ext cx="476537" cy="480719"/>
            </a:xfrm>
            <a:custGeom>
              <a:avLst/>
              <a:gdLst>
                <a:gd name="T0" fmla="*/ 0 w 114"/>
                <a:gd name="T1" fmla="*/ 115 h 115"/>
                <a:gd name="T2" fmla="*/ 0 w 114"/>
                <a:gd name="T3" fmla="*/ 0 h 115"/>
                <a:gd name="T4" fmla="*/ 114 w 114"/>
                <a:gd name="T5" fmla="*/ 56 h 115"/>
                <a:gd name="T6" fmla="*/ 0 w 114"/>
                <a:gd name="T7" fmla="*/ 115 h 115"/>
              </a:gdLst>
              <a:ahLst/>
              <a:cxnLst>
                <a:cxn ang="0">
                  <a:pos x="T0" y="T1"/>
                </a:cxn>
                <a:cxn ang="0">
                  <a:pos x="T2" y="T3"/>
                </a:cxn>
                <a:cxn ang="0">
                  <a:pos x="T4" y="T5"/>
                </a:cxn>
                <a:cxn ang="0">
                  <a:pos x="T6" y="T7"/>
                </a:cxn>
              </a:cxnLst>
              <a:rect l="0" t="0" r="r" b="b"/>
              <a:pathLst>
                <a:path w="114" h="115">
                  <a:moveTo>
                    <a:pt x="0" y="115"/>
                  </a:moveTo>
                  <a:lnTo>
                    <a:pt x="0" y="0"/>
                  </a:lnTo>
                  <a:lnTo>
                    <a:pt x="114" y="56"/>
                  </a:lnTo>
                  <a:lnTo>
                    <a:pt x="0" y="115"/>
                  </a:lnTo>
                  <a:close/>
                </a:path>
              </a:pathLst>
            </a:custGeom>
            <a:solidFill>
              <a:srgbClr val="FCEE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sz="1799" dirty="0"/>
            </a:p>
          </p:txBody>
        </p:sp>
        <p:sp>
          <p:nvSpPr>
            <p:cNvPr id="76" name="Freeform 66">
              <a:extLst>
                <a:ext uri="{FF2B5EF4-FFF2-40B4-BE49-F238E27FC236}">
                  <a16:creationId xmlns:a16="http://schemas.microsoft.com/office/drawing/2014/main" id="{6E2930D8-5DAD-4AE0-A4D5-4355BD2F34CE}"/>
                </a:ext>
              </a:extLst>
            </p:cNvPr>
            <p:cNvSpPr>
              <a:spLocks/>
            </p:cNvSpPr>
            <p:nvPr userDrawn="1"/>
          </p:nvSpPr>
          <p:spPr bwMode="gray">
            <a:xfrm>
              <a:off x="11512734" y="6143945"/>
              <a:ext cx="167534" cy="196319"/>
            </a:xfrm>
            <a:custGeom>
              <a:avLst/>
              <a:gdLst>
                <a:gd name="T0" fmla="*/ 0 w 114"/>
                <a:gd name="T1" fmla="*/ 115 h 115"/>
                <a:gd name="T2" fmla="*/ 0 w 114"/>
                <a:gd name="T3" fmla="*/ 0 h 115"/>
                <a:gd name="T4" fmla="*/ 114 w 114"/>
                <a:gd name="T5" fmla="*/ 56 h 115"/>
                <a:gd name="T6" fmla="*/ 0 w 114"/>
                <a:gd name="T7" fmla="*/ 115 h 115"/>
              </a:gdLst>
              <a:ahLst/>
              <a:cxnLst>
                <a:cxn ang="0">
                  <a:pos x="T0" y="T1"/>
                </a:cxn>
                <a:cxn ang="0">
                  <a:pos x="T2" y="T3"/>
                </a:cxn>
                <a:cxn ang="0">
                  <a:pos x="T4" y="T5"/>
                </a:cxn>
                <a:cxn ang="0">
                  <a:pos x="T6" y="T7"/>
                </a:cxn>
              </a:cxnLst>
              <a:rect l="0" t="0" r="r" b="b"/>
              <a:pathLst>
                <a:path w="114" h="115">
                  <a:moveTo>
                    <a:pt x="0" y="115"/>
                  </a:moveTo>
                  <a:lnTo>
                    <a:pt x="0" y="0"/>
                  </a:lnTo>
                  <a:lnTo>
                    <a:pt x="114" y="56"/>
                  </a:lnTo>
                  <a:lnTo>
                    <a:pt x="0" y="115"/>
                  </a:lnTo>
                  <a:close/>
                </a:path>
              </a:pathLst>
            </a:custGeom>
            <a:solidFill>
              <a:srgbClr val="F5BD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sz="1799" dirty="0"/>
            </a:p>
          </p:txBody>
        </p:sp>
        <p:sp>
          <p:nvSpPr>
            <p:cNvPr id="77" name="Freeform 66">
              <a:extLst>
                <a:ext uri="{FF2B5EF4-FFF2-40B4-BE49-F238E27FC236}">
                  <a16:creationId xmlns:a16="http://schemas.microsoft.com/office/drawing/2014/main" id="{9E9510A5-D2E8-498C-A740-83801BF323B8}"/>
                </a:ext>
              </a:extLst>
            </p:cNvPr>
            <p:cNvSpPr>
              <a:spLocks/>
            </p:cNvSpPr>
            <p:nvPr userDrawn="1"/>
          </p:nvSpPr>
          <p:spPr bwMode="gray">
            <a:xfrm>
              <a:off x="11570344" y="6040876"/>
              <a:ext cx="205927" cy="207734"/>
            </a:xfrm>
            <a:custGeom>
              <a:avLst/>
              <a:gdLst>
                <a:gd name="T0" fmla="*/ 0 w 114"/>
                <a:gd name="T1" fmla="*/ 115 h 115"/>
                <a:gd name="T2" fmla="*/ 0 w 114"/>
                <a:gd name="T3" fmla="*/ 0 h 115"/>
                <a:gd name="T4" fmla="*/ 114 w 114"/>
                <a:gd name="T5" fmla="*/ 56 h 115"/>
                <a:gd name="T6" fmla="*/ 0 w 114"/>
                <a:gd name="T7" fmla="*/ 115 h 115"/>
              </a:gdLst>
              <a:ahLst/>
              <a:cxnLst>
                <a:cxn ang="0">
                  <a:pos x="T0" y="T1"/>
                </a:cxn>
                <a:cxn ang="0">
                  <a:pos x="T2" y="T3"/>
                </a:cxn>
                <a:cxn ang="0">
                  <a:pos x="T4" y="T5"/>
                </a:cxn>
                <a:cxn ang="0">
                  <a:pos x="T6" y="T7"/>
                </a:cxn>
              </a:cxnLst>
              <a:rect l="0" t="0" r="r" b="b"/>
              <a:pathLst>
                <a:path w="114" h="115">
                  <a:moveTo>
                    <a:pt x="0" y="115"/>
                  </a:moveTo>
                  <a:lnTo>
                    <a:pt x="0" y="0"/>
                  </a:lnTo>
                  <a:lnTo>
                    <a:pt x="114" y="56"/>
                  </a:lnTo>
                  <a:lnTo>
                    <a:pt x="0" y="115"/>
                  </a:lnTo>
                  <a:close/>
                </a:path>
              </a:pathLst>
            </a:custGeom>
            <a:solidFill>
              <a:srgbClr val="ED8B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sz="1799" dirty="0"/>
            </a:p>
          </p:txBody>
        </p:sp>
        <p:sp>
          <p:nvSpPr>
            <p:cNvPr id="78" name="Freeform 66">
              <a:extLst>
                <a:ext uri="{FF2B5EF4-FFF2-40B4-BE49-F238E27FC236}">
                  <a16:creationId xmlns:a16="http://schemas.microsoft.com/office/drawing/2014/main" id="{1C23B5B9-496F-41A5-AAA5-4CD13686CC50}"/>
                </a:ext>
              </a:extLst>
            </p:cNvPr>
            <p:cNvSpPr>
              <a:spLocks/>
            </p:cNvSpPr>
            <p:nvPr userDrawn="1"/>
          </p:nvSpPr>
          <p:spPr bwMode="gray">
            <a:xfrm flipH="1">
              <a:off x="12046088" y="6254798"/>
              <a:ext cx="152674" cy="154013"/>
            </a:xfrm>
            <a:custGeom>
              <a:avLst/>
              <a:gdLst>
                <a:gd name="T0" fmla="*/ 0 w 114"/>
                <a:gd name="T1" fmla="*/ 115 h 115"/>
                <a:gd name="T2" fmla="*/ 0 w 114"/>
                <a:gd name="T3" fmla="*/ 0 h 115"/>
                <a:gd name="T4" fmla="*/ 114 w 114"/>
                <a:gd name="T5" fmla="*/ 56 h 115"/>
                <a:gd name="T6" fmla="*/ 0 w 114"/>
                <a:gd name="T7" fmla="*/ 115 h 115"/>
              </a:gdLst>
              <a:ahLst/>
              <a:cxnLst>
                <a:cxn ang="0">
                  <a:pos x="T0" y="T1"/>
                </a:cxn>
                <a:cxn ang="0">
                  <a:pos x="T2" y="T3"/>
                </a:cxn>
                <a:cxn ang="0">
                  <a:pos x="T4" y="T5"/>
                </a:cxn>
                <a:cxn ang="0">
                  <a:pos x="T6" y="T7"/>
                </a:cxn>
              </a:cxnLst>
              <a:rect l="0" t="0" r="r" b="b"/>
              <a:pathLst>
                <a:path w="114" h="115">
                  <a:moveTo>
                    <a:pt x="0" y="115"/>
                  </a:moveTo>
                  <a:lnTo>
                    <a:pt x="0" y="0"/>
                  </a:lnTo>
                  <a:lnTo>
                    <a:pt x="114" y="56"/>
                  </a:lnTo>
                  <a:lnTo>
                    <a:pt x="0" y="115"/>
                  </a:lnTo>
                  <a:close/>
                </a:path>
              </a:pathLst>
            </a:custGeom>
            <a:solidFill>
              <a:srgbClr val="FCEE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sz="1799" dirty="0"/>
            </a:p>
          </p:txBody>
        </p:sp>
        <p:sp>
          <p:nvSpPr>
            <p:cNvPr id="79" name="Freeform 66">
              <a:extLst>
                <a:ext uri="{FF2B5EF4-FFF2-40B4-BE49-F238E27FC236}">
                  <a16:creationId xmlns:a16="http://schemas.microsoft.com/office/drawing/2014/main" id="{1777B57D-6706-4E60-B750-6B0880E9927D}"/>
                </a:ext>
              </a:extLst>
            </p:cNvPr>
            <p:cNvSpPr>
              <a:spLocks/>
            </p:cNvSpPr>
            <p:nvPr userDrawn="1"/>
          </p:nvSpPr>
          <p:spPr bwMode="gray">
            <a:xfrm>
              <a:off x="11765701" y="5932205"/>
              <a:ext cx="178295" cy="179858"/>
            </a:xfrm>
            <a:custGeom>
              <a:avLst/>
              <a:gdLst>
                <a:gd name="T0" fmla="*/ 0 w 114"/>
                <a:gd name="T1" fmla="*/ 115 h 115"/>
                <a:gd name="T2" fmla="*/ 0 w 114"/>
                <a:gd name="T3" fmla="*/ 0 h 115"/>
                <a:gd name="T4" fmla="*/ 114 w 114"/>
                <a:gd name="T5" fmla="*/ 56 h 115"/>
                <a:gd name="T6" fmla="*/ 0 w 114"/>
                <a:gd name="T7" fmla="*/ 115 h 115"/>
              </a:gdLst>
              <a:ahLst/>
              <a:cxnLst>
                <a:cxn ang="0">
                  <a:pos x="T0" y="T1"/>
                </a:cxn>
                <a:cxn ang="0">
                  <a:pos x="T2" y="T3"/>
                </a:cxn>
                <a:cxn ang="0">
                  <a:pos x="T4" y="T5"/>
                </a:cxn>
                <a:cxn ang="0">
                  <a:pos x="T6" y="T7"/>
                </a:cxn>
              </a:cxnLst>
              <a:rect l="0" t="0" r="r" b="b"/>
              <a:pathLst>
                <a:path w="114" h="115">
                  <a:moveTo>
                    <a:pt x="0" y="115"/>
                  </a:moveTo>
                  <a:lnTo>
                    <a:pt x="0" y="0"/>
                  </a:lnTo>
                  <a:lnTo>
                    <a:pt x="114" y="56"/>
                  </a:lnTo>
                  <a:lnTo>
                    <a:pt x="0" y="115"/>
                  </a:lnTo>
                  <a:close/>
                </a:path>
              </a:pathLst>
            </a:custGeom>
            <a:solidFill>
              <a:srgbClr val="F5BD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sz="1799" dirty="0"/>
            </a:p>
          </p:txBody>
        </p:sp>
        <p:sp>
          <p:nvSpPr>
            <p:cNvPr id="80" name="Freeform 66">
              <a:extLst>
                <a:ext uri="{FF2B5EF4-FFF2-40B4-BE49-F238E27FC236}">
                  <a16:creationId xmlns:a16="http://schemas.microsoft.com/office/drawing/2014/main" id="{D2ABDB85-28C6-4218-BF4C-78CB790F18DC}"/>
                </a:ext>
              </a:extLst>
            </p:cNvPr>
            <p:cNvSpPr>
              <a:spLocks/>
            </p:cNvSpPr>
            <p:nvPr userDrawn="1"/>
          </p:nvSpPr>
          <p:spPr bwMode="gray">
            <a:xfrm flipH="1">
              <a:off x="11766477" y="5845989"/>
              <a:ext cx="173979" cy="175506"/>
            </a:xfrm>
            <a:custGeom>
              <a:avLst/>
              <a:gdLst>
                <a:gd name="T0" fmla="*/ 0 w 114"/>
                <a:gd name="T1" fmla="*/ 115 h 115"/>
                <a:gd name="T2" fmla="*/ 0 w 114"/>
                <a:gd name="T3" fmla="*/ 0 h 115"/>
                <a:gd name="T4" fmla="*/ 114 w 114"/>
                <a:gd name="T5" fmla="*/ 56 h 115"/>
                <a:gd name="T6" fmla="*/ 0 w 114"/>
                <a:gd name="T7" fmla="*/ 115 h 115"/>
              </a:gdLst>
              <a:ahLst/>
              <a:cxnLst>
                <a:cxn ang="0">
                  <a:pos x="T0" y="T1"/>
                </a:cxn>
                <a:cxn ang="0">
                  <a:pos x="T2" y="T3"/>
                </a:cxn>
                <a:cxn ang="0">
                  <a:pos x="T4" y="T5"/>
                </a:cxn>
                <a:cxn ang="0">
                  <a:pos x="T6" y="T7"/>
                </a:cxn>
              </a:cxnLst>
              <a:rect l="0" t="0" r="r" b="b"/>
              <a:pathLst>
                <a:path w="114" h="115">
                  <a:moveTo>
                    <a:pt x="0" y="115"/>
                  </a:moveTo>
                  <a:lnTo>
                    <a:pt x="0" y="0"/>
                  </a:lnTo>
                  <a:lnTo>
                    <a:pt x="114" y="56"/>
                  </a:lnTo>
                  <a:lnTo>
                    <a:pt x="0" y="115"/>
                  </a:lnTo>
                  <a:close/>
                </a:path>
              </a:pathLst>
            </a:custGeom>
            <a:solidFill>
              <a:srgbClr val="F8D6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sz="1799" dirty="0"/>
            </a:p>
          </p:txBody>
        </p:sp>
        <p:sp>
          <p:nvSpPr>
            <p:cNvPr id="81" name="Freeform 66">
              <a:extLst>
                <a:ext uri="{FF2B5EF4-FFF2-40B4-BE49-F238E27FC236}">
                  <a16:creationId xmlns:a16="http://schemas.microsoft.com/office/drawing/2014/main" id="{C6D44299-DBF9-4F68-9AB5-D6D41C01BDCE}"/>
                </a:ext>
              </a:extLst>
            </p:cNvPr>
            <p:cNvSpPr>
              <a:spLocks/>
            </p:cNvSpPr>
            <p:nvPr userDrawn="1"/>
          </p:nvSpPr>
          <p:spPr bwMode="gray">
            <a:xfrm flipH="1">
              <a:off x="12025931" y="5984389"/>
              <a:ext cx="213832" cy="215708"/>
            </a:xfrm>
            <a:custGeom>
              <a:avLst/>
              <a:gdLst>
                <a:gd name="T0" fmla="*/ 0 w 114"/>
                <a:gd name="T1" fmla="*/ 115 h 115"/>
                <a:gd name="T2" fmla="*/ 0 w 114"/>
                <a:gd name="T3" fmla="*/ 0 h 115"/>
                <a:gd name="T4" fmla="*/ 114 w 114"/>
                <a:gd name="T5" fmla="*/ 56 h 115"/>
                <a:gd name="T6" fmla="*/ 0 w 114"/>
                <a:gd name="T7" fmla="*/ 115 h 115"/>
              </a:gdLst>
              <a:ahLst/>
              <a:cxnLst>
                <a:cxn ang="0">
                  <a:pos x="T0" y="T1"/>
                </a:cxn>
                <a:cxn ang="0">
                  <a:pos x="T2" y="T3"/>
                </a:cxn>
                <a:cxn ang="0">
                  <a:pos x="T4" y="T5"/>
                </a:cxn>
                <a:cxn ang="0">
                  <a:pos x="T6" y="T7"/>
                </a:cxn>
              </a:cxnLst>
              <a:rect l="0" t="0" r="r" b="b"/>
              <a:pathLst>
                <a:path w="114" h="115">
                  <a:moveTo>
                    <a:pt x="0" y="115"/>
                  </a:moveTo>
                  <a:lnTo>
                    <a:pt x="0" y="0"/>
                  </a:lnTo>
                  <a:lnTo>
                    <a:pt x="114" y="56"/>
                  </a:lnTo>
                  <a:lnTo>
                    <a:pt x="0" y="115"/>
                  </a:lnTo>
                  <a:close/>
                </a:path>
              </a:pathLst>
            </a:custGeom>
            <a:solidFill>
              <a:srgbClr val="E86A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sz="1799" dirty="0"/>
            </a:p>
          </p:txBody>
        </p:sp>
        <p:sp>
          <p:nvSpPr>
            <p:cNvPr id="82" name="Freeform 66">
              <a:extLst>
                <a:ext uri="{FF2B5EF4-FFF2-40B4-BE49-F238E27FC236}">
                  <a16:creationId xmlns:a16="http://schemas.microsoft.com/office/drawing/2014/main" id="{CEA269BC-4CF5-40F7-9BEA-B099E629B9B3}"/>
                </a:ext>
              </a:extLst>
            </p:cNvPr>
            <p:cNvSpPr>
              <a:spLocks/>
            </p:cNvSpPr>
            <p:nvPr userDrawn="1"/>
          </p:nvSpPr>
          <p:spPr bwMode="gray">
            <a:xfrm>
              <a:off x="12130207" y="5993371"/>
              <a:ext cx="167534" cy="196319"/>
            </a:xfrm>
            <a:custGeom>
              <a:avLst/>
              <a:gdLst>
                <a:gd name="T0" fmla="*/ 0 w 114"/>
                <a:gd name="T1" fmla="*/ 115 h 115"/>
                <a:gd name="T2" fmla="*/ 0 w 114"/>
                <a:gd name="T3" fmla="*/ 0 h 115"/>
                <a:gd name="T4" fmla="*/ 114 w 114"/>
                <a:gd name="T5" fmla="*/ 56 h 115"/>
                <a:gd name="T6" fmla="*/ 0 w 114"/>
                <a:gd name="T7" fmla="*/ 115 h 115"/>
              </a:gdLst>
              <a:ahLst/>
              <a:cxnLst>
                <a:cxn ang="0">
                  <a:pos x="T0" y="T1"/>
                </a:cxn>
                <a:cxn ang="0">
                  <a:pos x="T2" y="T3"/>
                </a:cxn>
                <a:cxn ang="0">
                  <a:pos x="T4" y="T5"/>
                </a:cxn>
                <a:cxn ang="0">
                  <a:pos x="T6" y="T7"/>
                </a:cxn>
              </a:cxnLst>
              <a:rect l="0" t="0" r="r" b="b"/>
              <a:pathLst>
                <a:path w="114" h="115">
                  <a:moveTo>
                    <a:pt x="0" y="115"/>
                  </a:moveTo>
                  <a:lnTo>
                    <a:pt x="0" y="0"/>
                  </a:lnTo>
                  <a:lnTo>
                    <a:pt x="114" y="56"/>
                  </a:lnTo>
                  <a:lnTo>
                    <a:pt x="0" y="115"/>
                  </a:lnTo>
                  <a:close/>
                </a:path>
              </a:pathLst>
            </a:custGeom>
            <a:solidFill>
              <a:srgbClr val="F5BD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sz="1799" dirty="0"/>
            </a:p>
          </p:txBody>
        </p:sp>
        <p:sp>
          <p:nvSpPr>
            <p:cNvPr id="83" name="Freeform 66">
              <a:extLst>
                <a:ext uri="{FF2B5EF4-FFF2-40B4-BE49-F238E27FC236}">
                  <a16:creationId xmlns:a16="http://schemas.microsoft.com/office/drawing/2014/main" id="{1DC9B690-90F9-4D30-9686-C8FB052CCFE4}"/>
                </a:ext>
              </a:extLst>
            </p:cNvPr>
            <p:cNvSpPr>
              <a:spLocks/>
            </p:cNvSpPr>
            <p:nvPr userDrawn="1"/>
          </p:nvSpPr>
          <p:spPr bwMode="gray">
            <a:xfrm flipH="1">
              <a:off x="11814440" y="6521155"/>
              <a:ext cx="510909" cy="515393"/>
            </a:xfrm>
            <a:custGeom>
              <a:avLst/>
              <a:gdLst>
                <a:gd name="T0" fmla="*/ 0 w 114"/>
                <a:gd name="T1" fmla="*/ 115 h 115"/>
                <a:gd name="T2" fmla="*/ 0 w 114"/>
                <a:gd name="T3" fmla="*/ 0 h 115"/>
                <a:gd name="T4" fmla="*/ 114 w 114"/>
                <a:gd name="T5" fmla="*/ 56 h 115"/>
                <a:gd name="T6" fmla="*/ 0 w 114"/>
                <a:gd name="T7" fmla="*/ 115 h 115"/>
              </a:gdLst>
              <a:ahLst/>
              <a:cxnLst>
                <a:cxn ang="0">
                  <a:pos x="T0" y="T1"/>
                </a:cxn>
                <a:cxn ang="0">
                  <a:pos x="T2" y="T3"/>
                </a:cxn>
                <a:cxn ang="0">
                  <a:pos x="T4" y="T5"/>
                </a:cxn>
                <a:cxn ang="0">
                  <a:pos x="T6" y="T7"/>
                </a:cxn>
              </a:cxnLst>
              <a:rect l="0" t="0" r="r" b="b"/>
              <a:pathLst>
                <a:path w="114" h="115">
                  <a:moveTo>
                    <a:pt x="0" y="115"/>
                  </a:moveTo>
                  <a:lnTo>
                    <a:pt x="0" y="0"/>
                  </a:lnTo>
                  <a:lnTo>
                    <a:pt x="114" y="56"/>
                  </a:lnTo>
                  <a:lnTo>
                    <a:pt x="0" y="115"/>
                  </a:lnTo>
                  <a:close/>
                </a:path>
              </a:pathLst>
            </a:custGeom>
            <a:solidFill>
              <a:srgbClr val="E86A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sz="1799" dirty="0"/>
            </a:p>
          </p:txBody>
        </p:sp>
      </p:grpSp>
    </p:spTree>
    <p:extLst>
      <p:ext uri="{BB962C8B-B14F-4D97-AF65-F5344CB8AC3E}">
        <p14:creationId xmlns:p14="http://schemas.microsoft.com/office/powerpoint/2010/main" val="2084032771"/>
      </p:ext>
    </p:extLst>
  </p:cSld>
  <p:clrMapOvr>
    <a:masterClrMapping/>
  </p:clrMapOvr>
  <p:extLst>
    <p:ext uri="{DCECCB84-F9BA-43D5-87BE-67443E8EF086}">
      <p15:sldGuideLst xmlns:p15="http://schemas.microsoft.com/office/powerpoint/2012/main"/>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p>
            <a:r>
              <a:rPr lang="en-US"/>
              <a:t>Click to add text</a:t>
            </a:r>
          </a:p>
        </p:txBody>
      </p:sp>
      <p:sp>
        <p:nvSpPr>
          <p:cNvPr id="5" name="Textplatzhalter 6"/>
          <p:cNvSpPr>
            <a:spLocks noGrp="1"/>
          </p:cNvSpPr>
          <p:nvPr>
            <p:ph type="body" sz="quarter" idx="12" hasCustomPrompt="1"/>
          </p:nvPr>
        </p:nvSpPr>
        <p:spPr bwMode="gray">
          <a:xfrm>
            <a:off x="431800" y="6405035"/>
            <a:ext cx="11328400" cy="192617"/>
          </a:xfrm>
        </p:spPr>
        <p:txBody>
          <a:bodyPr tIns="0" bIns="36000" anchor="b" anchorCtr="0"/>
          <a:lstStyle>
            <a:lvl1pPr marL="0" marR="0" indent="0" algn="l" defTabSz="1218408" rtl="0" eaLnBrk="1" fontAlgn="auto" latinLnBrk="0" hangingPunct="1">
              <a:lnSpc>
                <a:spcPct val="100000"/>
              </a:lnSpc>
              <a:spcBef>
                <a:spcPts val="0"/>
              </a:spcBef>
              <a:spcAft>
                <a:spcPts val="0"/>
              </a:spcAft>
              <a:buClrTx/>
              <a:buSzTx/>
              <a:buFont typeface="Arial" pitchFamily="34" charset="0"/>
              <a:buNone/>
              <a:tabLst/>
              <a:defRPr sz="1066">
                <a:solidFill>
                  <a:schemeClr val="bg2"/>
                </a:solidFill>
              </a:defRPr>
            </a:lvl1pPr>
            <a:lvl2pPr marL="0" indent="0">
              <a:spcBef>
                <a:spcPts val="400"/>
              </a:spcBef>
              <a:spcAft>
                <a:spcPts val="0"/>
              </a:spcAft>
              <a:buFont typeface="Arial" pitchFamily="34" charset="0"/>
              <a:buNone/>
              <a:defRPr sz="1200">
                <a:solidFill>
                  <a:schemeClr val="bg2"/>
                </a:solidFill>
              </a:defRPr>
            </a:lvl2pPr>
            <a:lvl3pPr marL="0" indent="0">
              <a:spcBef>
                <a:spcPts val="400"/>
              </a:spcBef>
              <a:spcAft>
                <a:spcPts val="0"/>
              </a:spcAft>
              <a:buFont typeface="Arial" pitchFamily="34" charset="0"/>
              <a:buNone/>
              <a:defRPr sz="1200">
                <a:solidFill>
                  <a:schemeClr val="bg2"/>
                </a:solidFill>
              </a:defRPr>
            </a:lvl3pPr>
            <a:lvl4pPr marL="0" indent="0">
              <a:spcBef>
                <a:spcPts val="400"/>
              </a:spcBef>
              <a:spcAft>
                <a:spcPts val="0"/>
              </a:spcAft>
              <a:buNone/>
              <a:defRPr sz="1200">
                <a:solidFill>
                  <a:schemeClr val="bg2"/>
                </a:solidFill>
              </a:defRPr>
            </a:lvl4pPr>
            <a:lvl5pPr marL="0" indent="0">
              <a:spcBef>
                <a:spcPts val="400"/>
              </a:spcBef>
              <a:spcAft>
                <a:spcPts val="0"/>
              </a:spcAft>
              <a:buNone/>
              <a:defRPr sz="1200" b="0">
                <a:solidFill>
                  <a:schemeClr val="bg2"/>
                </a:solidFill>
              </a:defRPr>
            </a:lvl5pPr>
            <a:lvl6pPr marL="0" indent="0">
              <a:spcBef>
                <a:spcPts val="400"/>
              </a:spcBef>
              <a:buFont typeface="Arial" pitchFamily="34" charset="0"/>
              <a:buNone/>
              <a:defRPr sz="1200">
                <a:solidFill>
                  <a:schemeClr val="bg2"/>
                </a:solidFill>
              </a:defRPr>
            </a:lvl6pPr>
            <a:lvl7pPr marL="0" indent="0">
              <a:spcBef>
                <a:spcPts val="400"/>
              </a:spcBef>
              <a:buFont typeface="Arial" pitchFamily="34" charset="0"/>
              <a:buNone/>
              <a:defRPr sz="1200">
                <a:solidFill>
                  <a:schemeClr val="bg2"/>
                </a:solidFill>
              </a:defRPr>
            </a:lvl7pPr>
            <a:lvl8pPr marL="0" indent="0">
              <a:spcBef>
                <a:spcPts val="400"/>
              </a:spcBef>
              <a:buFont typeface="Arial" pitchFamily="34" charset="0"/>
              <a:buNone/>
              <a:defRPr sz="1200">
                <a:solidFill>
                  <a:schemeClr val="bg2"/>
                </a:solidFill>
              </a:defRPr>
            </a:lvl8pPr>
            <a:lvl9pPr marL="0" indent="0">
              <a:spcBef>
                <a:spcPts val="400"/>
              </a:spcBef>
              <a:buFont typeface="Arial" pitchFamily="34" charset="0"/>
              <a:buNone/>
              <a:defRPr sz="1200">
                <a:solidFill>
                  <a:schemeClr val="bg2"/>
                </a:solidFill>
              </a:defRPr>
            </a:lvl9pPr>
          </a:lstStyle>
          <a:p>
            <a:pPr lvl="0"/>
            <a:r>
              <a:rPr lang="en-US" noProof="0"/>
              <a:t>[Source information]</a:t>
            </a:r>
          </a:p>
        </p:txBody>
      </p:sp>
    </p:spTree>
    <p:extLst>
      <p:ext uri="{BB962C8B-B14F-4D97-AF65-F5344CB8AC3E}">
        <p14:creationId xmlns:p14="http://schemas.microsoft.com/office/powerpoint/2010/main" val="3906537370"/>
      </p:ext>
    </p:extLst>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
        <p:nvSpPr>
          <p:cNvPr id="2" name="Заголовок 1">
            <a:extLst>
              <a:ext uri="{FF2B5EF4-FFF2-40B4-BE49-F238E27FC236}">
                <a16:creationId xmlns:a16="http://schemas.microsoft.com/office/drawing/2014/main" id="{E5DEC35D-F774-48E2-B6B5-08F96F0FAD36}"/>
              </a:ext>
            </a:extLst>
          </p:cNvPr>
          <p:cNvSpPr>
            <a:spLocks noGrp="1"/>
          </p:cNvSpPr>
          <p:nvPr>
            <p:ph type="title"/>
          </p:nvPr>
        </p:nvSpPr>
        <p:spPr>
          <a:xfrm>
            <a:off x="690113" y="288923"/>
            <a:ext cx="8295107" cy="754874"/>
          </a:xfrm>
        </p:spPr>
        <p:txBody>
          <a:bodyPr anchor="ctr"/>
          <a:lstStyle>
            <a:lvl1pPr>
              <a:defRPr sz="2399"/>
            </a:lvl1pPr>
          </a:lstStyle>
          <a:p>
            <a:r>
              <a:rPr lang="ru-RU" dirty="0"/>
              <a:t>Образец заголовка</a:t>
            </a:r>
          </a:p>
        </p:txBody>
      </p:sp>
    </p:spTree>
    <p:extLst>
      <p:ext uri="{BB962C8B-B14F-4D97-AF65-F5344CB8AC3E}">
        <p14:creationId xmlns:p14="http://schemas.microsoft.com/office/powerpoint/2010/main" val="2074858988"/>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userDrawn="1">
  <p:cSld name="Только заголовок">
    <p:spTree>
      <p:nvGrpSpPr>
        <p:cNvPr id="1" name=""/>
        <p:cNvGrpSpPr/>
        <p:nvPr/>
      </p:nvGrpSpPr>
      <p:grpSpPr>
        <a:xfrm>
          <a:off x="0" y="0"/>
          <a:ext cx="0" cy="0"/>
          <a:chOff x="0" y="0"/>
          <a:chExt cx="0" cy="0"/>
        </a:xfrm>
      </p:grpSpPr>
      <p:sp>
        <p:nvSpPr>
          <p:cNvPr id="5" name="Textplatzhalter 6"/>
          <p:cNvSpPr>
            <a:spLocks noGrp="1"/>
          </p:cNvSpPr>
          <p:nvPr>
            <p:ph type="body" sz="quarter" idx="12" hasCustomPrompt="1"/>
          </p:nvPr>
        </p:nvSpPr>
        <p:spPr bwMode="gray">
          <a:xfrm>
            <a:off x="431800" y="6453209"/>
            <a:ext cx="11328400" cy="144463"/>
          </a:xfrm>
        </p:spPr>
        <p:txBody>
          <a:bodyPr tIns="0" bIns="47990" anchor="b" anchorCtr="0"/>
          <a:lstStyle>
            <a:lvl1pPr marL="0" marR="0" indent="0" algn="l" defTabSz="1624630" rtl="0" eaLnBrk="1" fontAlgn="auto" latinLnBrk="0" hangingPunct="1">
              <a:lnSpc>
                <a:spcPct val="100000"/>
              </a:lnSpc>
              <a:spcBef>
                <a:spcPts val="0"/>
              </a:spcBef>
              <a:spcAft>
                <a:spcPts val="0"/>
              </a:spcAft>
              <a:buClrTx/>
              <a:buSzTx/>
              <a:buFont typeface="Arial" pitchFamily="34" charset="0"/>
              <a:buNone/>
              <a:tabLst/>
              <a:defRPr sz="1466">
                <a:solidFill>
                  <a:schemeClr val="bg2"/>
                </a:solidFill>
              </a:defRPr>
            </a:lvl1pPr>
            <a:lvl2pPr marL="0" indent="0">
              <a:spcBef>
                <a:spcPts val="533"/>
              </a:spcBef>
              <a:spcAft>
                <a:spcPts val="0"/>
              </a:spcAft>
              <a:buFont typeface="Arial" pitchFamily="34" charset="0"/>
              <a:buNone/>
              <a:defRPr sz="1599">
                <a:solidFill>
                  <a:schemeClr val="bg2"/>
                </a:solidFill>
              </a:defRPr>
            </a:lvl2pPr>
            <a:lvl3pPr marL="0" indent="0">
              <a:spcBef>
                <a:spcPts val="533"/>
              </a:spcBef>
              <a:spcAft>
                <a:spcPts val="0"/>
              </a:spcAft>
              <a:buFont typeface="Arial" pitchFamily="34" charset="0"/>
              <a:buNone/>
              <a:defRPr sz="1599">
                <a:solidFill>
                  <a:schemeClr val="bg2"/>
                </a:solidFill>
              </a:defRPr>
            </a:lvl3pPr>
            <a:lvl4pPr marL="0" indent="0">
              <a:spcBef>
                <a:spcPts val="533"/>
              </a:spcBef>
              <a:spcAft>
                <a:spcPts val="0"/>
              </a:spcAft>
              <a:buNone/>
              <a:defRPr sz="1599">
                <a:solidFill>
                  <a:schemeClr val="bg2"/>
                </a:solidFill>
              </a:defRPr>
            </a:lvl4pPr>
            <a:lvl5pPr marL="0" indent="0">
              <a:spcBef>
                <a:spcPts val="533"/>
              </a:spcBef>
              <a:spcAft>
                <a:spcPts val="0"/>
              </a:spcAft>
              <a:buNone/>
              <a:defRPr sz="1599" b="0">
                <a:solidFill>
                  <a:schemeClr val="bg2"/>
                </a:solidFill>
              </a:defRPr>
            </a:lvl5pPr>
            <a:lvl6pPr marL="0" indent="0">
              <a:spcBef>
                <a:spcPts val="533"/>
              </a:spcBef>
              <a:buFont typeface="Arial" pitchFamily="34" charset="0"/>
              <a:buNone/>
              <a:defRPr sz="1599">
                <a:solidFill>
                  <a:schemeClr val="bg2"/>
                </a:solidFill>
              </a:defRPr>
            </a:lvl6pPr>
            <a:lvl7pPr marL="0" indent="0">
              <a:spcBef>
                <a:spcPts val="533"/>
              </a:spcBef>
              <a:buFont typeface="Arial" pitchFamily="34" charset="0"/>
              <a:buNone/>
              <a:defRPr sz="1599">
                <a:solidFill>
                  <a:schemeClr val="bg2"/>
                </a:solidFill>
              </a:defRPr>
            </a:lvl7pPr>
            <a:lvl8pPr marL="0" indent="0">
              <a:spcBef>
                <a:spcPts val="533"/>
              </a:spcBef>
              <a:buFont typeface="Arial" pitchFamily="34" charset="0"/>
              <a:buNone/>
              <a:defRPr sz="1599">
                <a:solidFill>
                  <a:schemeClr val="bg2"/>
                </a:solidFill>
              </a:defRPr>
            </a:lvl8pPr>
            <a:lvl9pPr marL="0" indent="0">
              <a:spcBef>
                <a:spcPts val="533"/>
              </a:spcBef>
              <a:buFont typeface="Arial" pitchFamily="34" charset="0"/>
              <a:buNone/>
              <a:defRPr sz="1599">
                <a:solidFill>
                  <a:schemeClr val="bg2"/>
                </a:solidFill>
              </a:defRPr>
            </a:lvl9pPr>
          </a:lstStyle>
          <a:p>
            <a:pPr lvl="0"/>
            <a:r>
              <a:rPr lang="en-US" noProof="0" dirty="0"/>
              <a:t>[Source information]</a:t>
            </a:r>
          </a:p>
        </p:txBody>
      </p:sp>
      <p:sp>
        <p:nvSpPr>
          <p:cNvPr id="6" name="Title 5"/>
          <p:cNvSpPr>
            <a:spLocks noGrp="1"/>
          </p:cNvSpPr>
          <p:nvPr>
            <p:ph type="title" hasCustomPrompt="1"/>
          </p:nvPr>
        </p:nvSpPr>
        <p:spPr bwMode="gray"/>
        <p:txBody>
          <a:bodyPr/>
          <a:lstStyle>
            <a:lvl1pPr>
              <a:defRPr>
                <a:latin typeface="Arial" pitchFamily="34" charset="0"/>
              </a:defRPr>
            </a:lvl1pPr>
          </a:lstStyle>
          <a:p>
            <a:r>
              <a:rPr lang="en-US" dirty="0"/>
              <a:t>Click to add text</a:t>
            </a:r>
            <a:endParaRPr lang="en-GB" dirty="0"/>
          </a:p>
        </p:txBody>
      </p:sp>
    </p:spTree>
    <p:extLst>
      <p:ext uri="{BB962C8B-B14F-4D97-AF65-F5344CB8AC3E}">
        <p14:creationId xmlns:p14="http://schemas.microsoft.com/office/powerpoint/2010/main" val="3139627292"/>
      </p:ext>
    </p:extLst>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3" y="2130827"/>
            <a:ext cx="10363200" cy="1470629"/>
          </a:xfrm>
        </p:spPr>
        <p:txBody>
          <a:bodyPr/>
          <a:lstStyle/>
          <a:p>
            <a:r>
              <a:rPr lang="en-US"/>
              <a:t>Click to edit Master title style</a:t>
            </a:r>
            <a:endParaRPr lang="ru-RU"/>
          </a:p>
        </p:txBody>
      </p:sp>
      <p:sp>
        <p:nvSpPr>
          <p:cNvPr id="3" name="Subtitle 2"/>
          <p:cNvSpPr>
            <a:spLocks noGrp="1"/>
          </p:cNvSpPr>
          <p:nvPr>
            <p:ph type="subTitle" idx="1"/>
          </p:nvPr>
        </p:nvSpPr>
        <p:spPr>
          <a:xfrm>
            <a:off x="1828801" y="3887117"/>
            <a:ext cx="8534401" cy="1752059"/>
          </a:xfrm>
        </p:spPr>
        <p:txBody>
          <a:bodyPr/>
          <a:lstStyle>
            <a:lvl1pPr marL="0" indent="0" algn="ctr">
              <a:buNone/>
              <a:defRPr/>
            </a:lvl1pPr>
            <a:lvl2pPr marL="609402" indent="0" algn="ctr">
              <a:buNone/>
              <a:defRPr/>
            </a:lvl2pPr>
            <a:lvl3pPr marL="1218804" indent="0" algn="ctr">
              <a:buNone/>
              <a:defRPr/>
            </a:lvl3pPr>
            <a:lvl4pPr marL="1828206" indent="0" algn="ctr">
              <a:buNone/>
              <a:defRPr/>
            </a:lvl4pPr>
            <a:lvl5pPr marL="2437608" indent="0" algn="ctr">
              <a:buNone/>
              <a:defRPr/>
            </a:lvl5pPr>
            <a:lvl6pPr marL="3047009" indent="0" algn="ctr">
              <a:buNone/>
              <a:defRPr/>
            </a:lvl6pPr>
            <a:lvl7pPr marL="3656411" indent="0" algn="ctr">
              <a:buNone/>
              <a:defRPr/>
            </a:lvl7pPr>
            <a:lvl8pPr marL="4265813" indent="0" algn="ctr">
              <a:buNone/>
              <a:defRPr/>
            </a:lvl8pPr>
            <a:lvl9pPr marL="4875215" indent="0" algn="ctr">
              <a:buNone/>
              <a:defRPr/>
            </a:lvl9pPr>
          </a:lstStyle>
          <a:p>
            <a:r>
              <a:rPr lang="en-US"/>
              <a:t>Click to edit Master subtitle style</a:t>
            </a:r>
            <a:endParaRPr lang="ru-RU"/>
          </a:p>
        </p:txBody>
      </p:sp>
    </p:spTree>
    <p:extLst>
      <p:ext uri="{BB962C8B-B14F-4D97-AF65-F5344CB8AC3E}">
        <p14:creationId xmlns:p14="http://schemas.microsoft.com/office/powerpoint/2010/main" val="3649076968"/>
      </p:ext>
    </p:extLst>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nchor="ctr"/>
          <a:lstStyle>
            <a:lvl1pPr>
              <a:defRPr sz="4265"/>
            </a:lvl1pPr>
          </a:lstStyle>
          <a:p>
            <a:r>
              <a:rPr lang="en-US" dirty="0"/>
              <a:t>Click to add text</a:t>
            </a:r>
          </a:p>
        </p:txBody>
      </p:sp>
    </p:spTree>
    <p:extLst>
      <p:ext uri="{BB962C8B-B14F-4D97-AF65-F5344CB8AC3E}">
        <p14:creationId xmlns:p14="http://schemas.microsoft.com/office/powerpoint/2010/main" val="3935289689"/>
      </p:ext>
    </p:extLst>
  </p:cSld>
  <p:clrMapOvr>
    <a:masterClrMapping/>
  </p:clrMapOvr>
  <p:transition spd="slow">
    <p:fade thruBlk="1"/>
  </p:transition>
</p:sldLayout>
</file>

<file path=ppt/slideLayouts/slideLayout214.xml><?xml version="1.0" encoding="utf-8"?>
<p:sldLayout xmlns:a="http://schemas.openxmlformats.org/drawingml/2006/main" xmlns:r="http://schemas.openxmlformats.org/officeDocument/2006/relationships" xmlns:p="http://schemas.openxmlformats.org/presentationml/2006/main" showMasterSp="0" preserve="1" userDrawn="1">
  <p:cSld name="1_Titelfolie 1">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6627EE1A-76F1-46AB-9A1A-6FC43E5817BC}"/>
              </a:ext>
            </a:extLst>
          </p:cNvPr>
          <p:cNvSpPr/>
          <p:nvPr userDrawn="1"/>
        </p:nvSpPr>
        <p:spPr bwMode="gray">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dirty="0"/>
          </a:p>
        </p:txBody>
      </p:sp>
      <p:pic>
        <p:nvPicPr>
          <p:cNvPr id="4" name="Рисунок 3"/>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2907" y="0"/>
            <a:ext cx="12194907" cy="6852815"/>
          </a:xfrm>
          <a:prstGeom prst="rect">
            <a:avLst/>
          </a:prstGeom>
        </p:spPr>
      </p:pic>
      <p:sp>
        <p:nvSpPr>
          <p:cNvPr id="5" name="Freihandform: Form 4">
            <a:extLst>
              <a:ext uri="{FF2B5EF4-FFF2-40B4-BE49-F238E27FC236}">
                <a16:creationId xmlns:a16="http://schemas.microsoft.com/office/drawing/2014/main" id="{BD0D671A-2CE7-41EE-A197-2C823245BD78}"/>
              </a:ext>
            </a:extLst>
          </p:cNvPr>
          <p:cNvSpPr/>
          <p:nvPr userDrawn="1"/>
        </p:nvSpPr>
        <p:spPr bwMode="gray">
          <a:xfrm>
            <a:off x="-1097" y="0"/>
            <a:ext cx="7099300" cy="6858000"/>
          </a:xfrm>
          <a:custGeom>
            <a:avLst/>
            <a:gdLst>
              <a:gd name="connsiteX0" fmla="*/ 0 w 7124700"/>
              <a:gd name="connsiteY0" fmla="*/ 0 h 6883400"/>
              <a:gd name="connsiteX1" fmla="*/ 4025900 w 7124700"/>
              <a:gd name="connsiteY1" fmla="*/ 0 h 6883400"/>
              <a:gd name="connsiteX2" fmla="*/ 7124700 w 7124700"/>
              <a:gd name="connsiteY2" fmla="*/ 4508500 h 6883400"/>
              <a:gd name="connsiteX3" fmla="*/ 1384300 w 7124700"/>
              <a:gd name="connsiteY3" fmla="*/ 6883400 h 6883400"/>
              <a:gd name="connsiteX4" fmla="*/ 0 w 7124700"/>
              <a:gd name="connsiteY4" fmla="*/ 6883400 h 6883400"/>
              <a:gd name="connsiteX5" fmla="*/ 0 w 7124700"/>
              <a:gd name="connsiteY5" fmla="*/ 0 h 6883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124700" h="6883400">
                <a:moveTo>
                  <a:pt x="0" y="0"/>
                </a:moveTo>
                <a:lnTo>
                  <a:pt x="4025900" y="0"/>
                </a:lnTo>
                <a:lnTo>
                  <a:pt x="7124700" y="4508500"/>
                </a:lnTo>
                <a:lnTo>
                  <a:pt x="1384300" y="6883400"/>
                </a:lnTo>
                <a:lnTo>
                  <a:pt x="0" y="6883400"/>
                </a:ln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dirty="0"/>
          </a:p>
        </p:txBody>
      </p:sp>
      <p:sp>
        <p:nvSpPr>
          <p:cNvPr id="3" name="Untertitel 2"/>
          <p:cNvSpPr>
            <a:spLocks noGrp="1"/>
          </p:cNvSpPr>
          <p:nvPr>
            <p:ph type="subTitle" idx="1" hasCustomPrompt="1"/>
          </p:nvPr>
        </p:nvSpPr>
        <p:spPr bwMode="gray">
          <a:xfrm>
            <a:off x="334965" y="4113076"/>
            <a:ext cx="4716921" cy="936104"/>
          </a:xfrm>
          <a:prstGeom prst="rect">
            <a:avLst/>
          </a:prstGeom>
        </p:spPr>
        <p:txBody>
          <a:bodyPr anchor="t">
            <a:normAutofit/>
          </a:bodyPr>
          <a:lstStyle>
            <a:lvl1pPr marL="0" indent="0" algn="l">
              <a:buNone/>
              <a:defRPr sz="1799" i="1">
                <a:solidFill>
                  <a:schemeClr val="bg2"/>
                </a:solidFill>
                <a:latin typeface="Lato"/>
                <a:ea typeface="Lato"/>
                <a:cs typeface="Lato"/>
              </a:defRPr>
            </a:lvl1pPr>
            <a:lvl2pPr marL="457051" indent="0" algn="ctr">
              <a:buNone/>
              <a:defRPr sz="1999"/>
            </a:lvl2pPr>
            <a:lvl3pPr marL="914103" indent="0" algn="ctr">
              <a:buNone/>
              <a:defRPr sz="1799"/>
            </a:lvl3pPr>
            <a:lvl4pPr marL="1371154" indent="0" algn="ctr">
              <a:buNone/>
              <a:defRPr sz="1599"/>
            </a:lvl4pPr>
            <a:lvl5pPr marL="1828206" indent="0" algn="ctr">
              <a:buNone/>
              <a:defRPr sz="1599"/>
            </a:lvl5pPr>
            <a:lvl6pPr marL="2285257" indent="0" algn="ctr">
              <a:buNone/>
              <a:defRPr sz="1599"/>
            </a:lvl6pPr>
            <a:lvl7pPr marL="2742308" indent="0" algn="ctr">
              <a:buNone/>
              <a:defRPr sz="1599"/>
            </a:lvl7pPr>
            <a:lvl8pPr marL="3199360" indent="0" algn="ctr">
              <a:buNone/>
              <a:defRPr sz="1599"/>
            </a:lvl8pPr>
            <a:lvl9pPr marL="3656411" indent="0" algn="ctr">
              <a:buNone/>
              <a:defRPr sz="1599"/>
            </a:lvl9pPr>
          </a:lstStyle>
          <a:p>
            <a:r>
              <a:rPr lang="en-US" dirty="0"/>
              <a:t>Click to add subtitle of presentation</a:t>
            </a:r>
          </a:p>
        </p:txBody>
      </p:sp>
      <p:sp>
        <p:nvSpPr>
          <p:cNvPr id="19" name="Titel 18"/>
          <p:cNvSpPr>
            <a:spLocks noGrp="1"/>
          </p:cNvSpPr>
          <p:nvPr>
            <p:ph type="title" hasCustomPrompt="1"/>
          </p:nvPr>
        </p:nvSpPr>
        <p:spPr bwMode="gray">
          <a:xfrm>
            <a:off x="334965" y="1700810"/>
            <a:ext cx="4716921" cy="2268000"/>
          </a:xfrm>
        </p:spPr>
        <p:txBody>
          <a:bodyPr anchor="b">
            <a:normAutofit/>
          </a:bodyPr>
          <a:lstStyle>
            <a:lvl1pPr>
              <a:defRPr sz="4399">
                <a:solidFill>
                  <a:schemeClr val="bg2"/>
                </a:solidFill>
                <a:latin typeface="Lato" charset="0"/>
                <a:ea typeface="Lato" charset="0"/>
                <a:cs typeface="Lato" charset="0"/>
              </a:defRPr>
            </a:lvl1pPr>
          </a:lstStyle>
          <a:p>
            <a:r>
              <a:rPr lang="en-US" dirty="0"/>
              <a:t>Click to add title of presentation</a:t>
            </a:r>
          </a:p>
        </p:txBody>
      </p:sp>
      <p:sp>
        <p:nvSpPr>
          <p:cNvPr id="7" name="Textplatzhalter 6">
            <a:extLst>
              <a:ext uri="{FF2B5EF4-FFF2-40B4-BE49-F238E27FC236}">
                <a16:creationId xmlns:a16="http://schemas.microsoft.com/office/drawing/2014/main" id="{18C0CA5B-E924-43BF-A9AF-807144F155F7}"/>
              </a:ext>
            </a:extLst>
          </p:cNvPr>
          <p:cNvSpPr>
            <a:spLocks noGrp="1"/>
          </p:cNvSpPr>
          <p:nvPr>
            <p:ph type="body" sz="quarter" idx="10" hasCustomPrompt="1"/>
          </p:nvPr>
        </p:nvSpPr>
        <p:spPr bwMode="gray">
          <a:xfrm>
            <a:off x="334961" y="5193228"/>
            <a:ext cx="1908611" cy="288000"/>
          </a:xfrm>
        </p:spPr>
        <p:txBody>
          <a:bodyPr anchor="ctr"/>
          <a:lstStyle>
            <a:lvl1pPr>
              <a:defRPr sz="1200">
                <a:solidFill>
                  <a:schemeClr val="bg2"/>
                </a:solidFill>
              </a:defRPr>
            </a:lvl1pPr>
            <a:lvl5pPr marL="1077562" indent="0">
              <a:buNone/>
              <a:defRPr/>
            </a:lvl5pPr>
          </a:lstStyle>
          <a:p>
            <a:pPr lvl="0"/>
            <a:r>
              <a:rPr lang="en-US" dirty="0"/>
              <a:t>Name</a:t>
            </a:r>
          </a:p>
        </p:txBody>
      </p:sp>
      <p:sp>
        <p:nvSpPr>
          <p:cNvPr id="10" name="Textplatzhalter 9">
            <a:extLst>
              <a:ext uri="{FF2B5EF4-FFF2-40B4-BE49-F238E27FC236}">
                <a16:creationId xmlns:a16="http://schemas.microsoft.com/office/drawing/2014/main" id="{B84D3797-62B3-484C-A206-88D21615313A}"/>
              </a:ext>
            </a:extLst>
          </p:cNvPr>
          <p:cNvSpPr>
            <a:spLocks noGrp="1"/>
          </p:cNvSpPr>
          <p:nvPr>
            <p:ph type="body" sz="quarter" idx="11" hasCustomPrompt="1"/>
          </p:nvPr>
        </p:nvSpPr>
        <p:spPr bwMode="gray">
          <a:xfrm>
            <a:off x="2423593" y="5193228"/>
            <a:ext cx="1980220" cy="288000"/>
          </a:xfrm>
        </p:spPr>
        <p:txBody>
          <a:bodyPr vert="horz" lIns="0" tIns="0" rIns="0" bIns="0" rtlCol="0" anchor="ctr">
            <a:noAutofit/>
          </a:bodyPr>
          <a:lstStyle>
            <a:lvl1pPr marL="177742" indent="-177742">
              <a:buClr>
                <a:schemeClr val="tx2"/>
              </a:buClr>
              <a:buFont typeface="Wingdings 3" panose="05040102010807070707" pitchFamily="18" charset="2"/>
              <a:buChar char=""/>
              <a:defRPr lang="de-DE" sz="1200" dirty="0">
                <a:solidFill>
                  <a:schemeClr val="bg2"/>
                </a:solidFill>
              </a:defRPr>
            </a:lvl1pPr>
          </a:lstStyle>
          <a:p>
            <a:pPr lvl="0"/>
            <a:r>
              <a:rPr lang="en-US" dirty="0"/>
              <a:t>Department</a:t>
            </a:r>
          </a:p>
        </p:txBody>
      </p:sp>
      <p:sp>
        <p:nvSpPr>
          <p:cNvPr id="30" name="Rechteck 29">
            <a:extLst>
              <a:ext uri="{FF2B5EF4-FFF2-40B4-BE49-F238E27FC236}">
                <a16:creationId xmlns:a16="http://schemas.microsoft.com/office/drawing/2014/main" id="{E566EA80-728D-465C-AA9A-6751F793F175}"/>
              </a:ext>
            </a:extLst>
          </p:cNvPr>
          <p:cNvSpPr/>
          <p:nvPr userDrawn="1"/>
        </p:nvSpPr>
        <p:spPr bwMode="gray">
          <a:xfrm>
            <a:off x="334965" y="6525360"/>
            <a:ext cx="288428" cy="144000"/>
          </a:xfrm>
          <a:prstGeom prst="rect">
            <a:avLst/>
          </a:prstGeom>
        </p:spPr>
        <p:txBody>
          <a:bodyPr vert="horz" lIns="0" tIns="0" rIns="0" bIns="0" rtlCol="0" anchor="ctr"/>
          <a:lstStyle/>
          <a:p>
            <a:pPr lvl="0"/>
            <a:r>
              <a:rPr lang="en-US" sz="800" noProof="0" dirty="0">
                <a:solidFill>
                  <a:schemeClr val="bg2"/>
                </a:solidFill>
              </a:rPr>
              <a:t>© GfK</a:t>
            </a:r>
            <a:endParaRPr lang="en-US" sz="800" dirty="0">
              <a:solidFill>
                <a:schemeClr val="bg2"/>
              </a:solidFill>
            </a:endParaRPr>
          </a:p>
        </p:txBody>
      </p:sp>
      <p:grpSp>
        <p:nvGrpSpPr>
          <p:cNvPr id="18" name="Gruppieren 17">
            <a:extLst>
              <a:ext uri="{FF2B5EF4-FFF2-40B4-BE49-F238E27FC236}">
                <a16:creationId xmlns:a16="http://schemas.microsoft.com/office/drawing/2014/main" id="{9DDC4255-6D5D-4FF2-8565-CA26EDA635F5}"/>
              </a:ext>
            </a:extLst>
          </p:cNvPr>
          <p:cNvGrpSpPr/>
          <p:nvPr userDrawn="1"/>
        </p:nvGrpSpPr>
        <p:grpSpPr bwMode="gray">
          <a:xfrm>
            <a:off x="334964" y="296653"/>
            <a:ext cx="1268411" cy="540000"/>
            <a:chOff x="334963" y="296652"/>
            <a:chExt cx="1268411" cy="540000"/>
          </a:xfrm>
        </p:grpSpPr>
        <p:sp>
          <p:nvSpPr>
            <p:cNvPr id="20" name="Freeform 6">
              <a:extLst>
                <a:ext uri="{FF2B5EF4-FFF2-40B4-BE49-F238E27FC236}">
                  <a16:creationId xmlns:a16="http://schemas.microsoft.com/office/drawing/2014/main" id="{63F3F5EB-2742-48DE-B892-4540EF2E02B0}"/>
                </a:ext>
              </a:extLst>
            </p:cNvPr>
            <p:cNvSpPr>
              <a:spLocks noEditPoints="1"/>
            </p:cNvSpPr>
            <p:nvPr userDrawn="1"/>
          </p:nvSpPr>
          <p:spPr bwMode="gray">
            <a:xfrm>
              <a:off x="982662" y="360462"/>
              <a:ext cx="620712" cy="431800"/>
            </a:xfrm>
            <a:custGeom>
              <a:avLst/>
              <a:gdLst>
                <a:gd name="T0" fmla="*/ 19 w 1809"/>
                <a:gd name="T1" fmla="*/ 97 h 1253"/>
                <a:gd name="T2" fmla="*/ 165 w 1809"/>
                <a:gd name="T3" fmla="*/ 41 h 1253"/>
                <a:gd name="T4" fmla="*/ 211 w 1809"/>
                <a:gd name="T5" fmla="*/ 224 h 1253"/>
                <a:gd name="T6" fmla="*/ 248 w 1809"/>
                <a:gd name="T7" fmla="*/ 155 h 1253"/>
                <a:gd name="T8" fmla="*/ 931 w 1809"/>
                <a:gd name="T9" fmla="*/ 995 h 1253"/>
                <a:gd name="T10" fmla="*/ 858 w 1809"/>
                <a:gd name="T11" fmla="*/ 1115 h 1253"/>
                <a:gd name="T12" fmla="*/ 749 w 1809"/>
                <a:gd name="T13" fmla="*/ 1117 h 1253"/>
                <a:gd name="T14" fmla="*/ 681 w 1809"/>
                <a:gd name="T15" fmla="*/ 1055 h 1253"/>
                <a:gd name="T16" fmla="*/ 800 w 1809"/>
                <a:gd name="T17" fmla="*/ 1054 h 1253"/>
                <a:gd name="T18" fmla="*/ 884 w 1809"/>
                <a:gd name="T19" fmla="*/ 1181 h 1253"/>
                <a:gd name="T20" fmla="*/ 118 w 1809"/>
                <a:gd name="T21" fmla="*/ 1086 h 1253"/>
                <a:gd name="T22" fmla="*/ 147 w 1809"/>
                <a:gd name="T23" fmla="*/ 1026 h 1253"/>
                <a:gd name="T24" fmla="*/ 102 w 1809"/>
                <a:gd name="T25" fmla="*/ 1026 h 1253"/>
                <a:gd name="T26" fmla="*/ 639 w 1809"/>
                <a:gd name="T27" fmla="*/ 84 h 1253"/>
                <a:gd name="T28" fmla="*/ 763 w 1809"/>
                <a:gd name="T29" fmla="*/ 145 h 1253"/>
                <a:gd name="T30" fmla="*/ 863 w 1809"/>
                <a:gd name="T31" fmla="*/ 221 h 1253"/>
                <a:gd name="T32" fmla="*/ 834 w 1809"/>
                <a:gd name="T33" fmla="*/ 208 h 1253"/>
                <a:gd name="T34" fmla="*/ 719 w 1809"/>
                <a:gd name="T35" fmla="*/ 182 h 1253"/>
                <a:gd name="T36" fmla="*/ 507 w 1809"/>
                <a:gd name="T37" fmla="*/ 711 h 1253"/>
                <a:gd name="T38" fmla="*/ 614 w 1809"/>
                <a:gd name="T39" fmla="*/ 706 h 1253"/>
                <a:gd name="T40" fmla="*/ 736 w 1809"/>
                <a:gd name="T41" fmla="*/ 730 h 1253"/>
                <a:gd name="T42" fmla="*/ 607 w 1809"/>
                <a:gd name="T43" fmla="*/ 539 h 1253"/>
                <a:gd name="T44" fmla="*/ 1505 w 1809"/>
                <a:gd name="T45" fmla="*/ 1136 h 1253"/>
                <a:gd name="T46" fmla="*/ 1613 w 1809"/>
                <a:gd name="T47" fmla="*/ 1002 h 1253"/>
                <a:gd name="T48" fmla="*/ 1472 w 1809"/>
                <a:gd name="T49" fmla="*/ 1164 h 1253"/>
                <a:gd name="T50" fmla="*/ 1525 w 1809"/>
                <a:gd name="T51" fmla="*/ 1142 h 1253"/>
                <a:gd name="T52" fmla="*/ 1556 w 1809"/>
                <a:gd name="T53" fmla="*/ 1172 h 1253"/>
                <a:gd name="T54" fmla="*/ 1387 w 1809"/>
                <a:gd name="T55" fmla="*/ 910 h 1253"/>
                <a:gd name="T56" fmla="*/ 1261 w 1809"/>
                <a:gd name="T57" fmla="*/ 1157 h 1253"/>
                <a:gd name="T58" fmla="*/ 1413 w 1809"/>
                <a:gd name="T59" fmla="*/ 934 h 1253"/>
                <a:gd name="T60" fmla="*/ 1378 w 1809"/>
                <a:gd name="T61" fmla="*/ 1052 h 1253"/>
                <a:gd name="T62" fmla="*/ 488 w 1809"/>
                <a:gd name="T63" fmla="*/ 85 h 1253"/>
                <a:gd name="T64" fmla="*/ 509 w 1809"/>
                <a:gd name="T65" fmla="*/ 112 h 1253"/>
                <a:gd name="T66" fmla="*/ 548 w 1809"/>
                <a:gd name="T67" fmla="*/ 1187 h 1253"/>
                <a:gd name="T68" fmla="*/ 472 w 1809"/>
                <a:gd name="T69" fmla="*/ 1122 h 1253"/>
                <a:gd name="T70" fmla="*/ 558 w 1809"/>
                <a:gd name="T71" fmla="*/ 1157 h 1253"/>
                <a:gd name="T72" fmla="*/ 287 w 1809"/>
                <a:gd name="T73" fmla="*/ 654 h 1253"/>
                <a:gd name="T74" fmla="*/ 416 w 1809"/>
                <a:gd name="T75" fmla="*/ 684 h 1253"/>
                <a:gd name="T76" fmla="*/ 1106 w 1809"/>
                <a:gd name="T77" fmla="*/ 147 h 1253"/>
                <a:gd name="T78" fmla="*/ 1229 w 1809"/>
                <a:gd name="T79" fmla="*/ 258 h 1253"/>
                <a:gd name="T80" fmla="*/ 1106 w 1809"/>
                <a:gd name="T81" fmla="*/ 96 h 1253"/>
                <a:gd name="T82" fmla="*/ 1219 w 1809"/>
                <a:gd name="T83" fmla="*/ 1077 h 1253"/>
                <a:gd name="T84" fmla="*/ 1214 w 1809"/>
                <a:gd name="T85" fmla="*/ 1157 h 1253"/>
                <a:gd name="T86" fmla="*/ 1150 w 1809"/>
                <a:gd name="T87" fmla="*/ 1092 h 1253"/>
                <a:gd name="T88" fmla="*/ 1139 w 1809"/>
                <a:gd name="T89" fmla="*/ 1070 h 1253"/>
                <a:gd name="T90" fmla="*/ 1659 w 1809"/>
                <a:gd name="T91" fmla="*/ 1031 h 1253"/>
                <a:gd name="T92" fmla="*/ 1714 w 1809"/>
                <a:gd name="T93" fmla="*/ 1155 h 1253"/>
                <a:gd name="T94" fmla="*/ 1760 w 1809"/>
                <a:gd name="T95" fmla="*/ 1030 h 1253"/>
                <a:gd name="T96" fmla="*/ 111 w 1809"/>
                <a:gd name="T97" fmla="*/ 569 h 1253"/>
                <a:gd name="T98" fmla="*/ 109 w 1809"/>
                <a:gd name="T99" fmla="*/ 460 h 1253"/>
                <a:gd name="T100" fmla="*/ 32 w 1809"/>
                <a:gd name="T101" fmla="*/ 704 h 1253"/>
                <a:gd name="T102" fmla="*/ 310 w 1809"/>
                <a:gd name="T103" fmla="*/ 1058 h 1253"/>
                <a:gd name="T104" fmla="*/ 431 w 1809"/>
                <a:gd name="T105" fmla="*/ 1044 h 1253"/>
                <a:gd name="T106" fmla="*/ 278 w 1809"/>
                <a:gd name="T107" fmla="*/ 1165 h 1253"/>
                <a:gd name="T108" fmla="*/ 261 w 1809"/>
                <a:gd name="T109" fmla="*/ 540 h 1253"/>
                <a:gd name="T110" fmla="*/ 150 w 1809"/>
                <a:gd name="T111" fmla="*/ 635 h 1253"/>
                <a:gd name="T112" fmla="*/ 994 w 1809"/>
                <a:gd name="T113" fmla="*/ 1185 h 1253"/>
                <a:gd name="T114" fmla="*/ 331 w 1809"/>
                <a:gd name="T115" fmla="*/ 176 h 1253"/>
                <a:gd name="T116" fmla="*/ 333 w 1809"/>
                <a:gd name="T117" fmla="*/ 109 h 1253"/>
                <a:gd name="T118" fmla="*/ 946 w 1809"/>
                <a:gd name="T119" fmla="*/ 234 h 1253"/>
                <a:gd name="T120" fmla="*/ 1022 w 1809"/>
                <a:gd name="T121" fmla="*/ 113 h 1253"/>
                <a:gd name="T122" fmla="*/ 949 w 1809"/>
                <a:gd name="T123" fmla="*/ 65 h 1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09" h="1253">
                  <a:moveTo>
                    <a:pt x="248" y="198"/>
                  </a:moveTo>
                  <a:cubicBezTo>
                    <a:pt x="248" y="211"/>
                    <a:pt x="248" y="224"/>
                    <a:pt x="249" y="237"/>
                  </a:cubicBezTo>
                  <a:cubicBezTo>
                    <a:pt x="249" y="245"/>
                    <a:pt x="246" y="249"/>
                    <a:pt x="240" y="253"/>
                  </a:cubicBezTo>
                  <a:cubicBezTo>
                    <a:pt x="231" y="260"/>
                    <a:pt x="220" y="264"/>
                    <a:pt x="209" y="268"/>
                  </a:cubicBezTo>
                  <a:cubicBezTo>
                    <a:pt x="179" y="279"/>
                    <a:pt x="148" y="280"/>
                    <a:pt x="118" y="275"/>
                  </a:cubicBezTo>
                  <a:cubicBezTo>
                    <a:pt x="86" y="269"/>
                    <a:pt x="58" y="252"/>
                    <a:pt x="39" y="224"/>
                  </a:cubicBezTo>
                  <a:cubicBezTo>
                    <a:pt x="24" y="203"/>
                    <a:pt x="18" y="180"/>
                    <a:pt x="15" y="155"/>
                  </a:cubicBezTo>
                  <a:cubicBezTo>
                    <a:pt x="11" y="135"/>
                    <a:pt x="15" y="115"/>
                    <a:pt x="19" y="97"/>
                  </a:cubicBezTo>
                  <a:cubicBezTo>
                    <a:pt x="26" y="68"/>
                    <a:pt x="42" y="44"/>
                    <a:pt x="68" y="27"/>
                  </a:cubicBezTo>
                  <a:cubicBezTo>
                    <a:pt x="87" y="14"/>
                    <a:pt x="109" y="6"/>
                    <a:pt x="133" y="5"/>
                  </a:cubicBezTo>
                  <a:cubicBezTo>
                    <a:pt x="149" y="4"/>
                    <a:pt x="165" y="5"/>
                    <a:pt x="181" y="6"/>
                  </a:cubicBezTo>
                  <a:cubicBezTo>
                    <a:pt x="204" y="8"/>
                    <a:pt x="225" y="20"/>
                    <a:pt x="243" y="35"/>
                  </a:cubicBezTo>
                  <a:cubicBezTo>
                    <a:pt x="246" y="37"/>
                    <a:pt x="246" y="40"/>
                    <a:pt x="244" y="43"/>
                  </a:cubicBezTo>
                  <a:cubicBezTo>
                    <a:pt x="242" y="47"/>
                    <a:pt x="239" y="52"/>
                    <a:pt x="236" y="55"/>
                  </a:cubicBezTo>
                  <a:cubicBezTo>
                    <a:pt x="226" y="65"/>
                    <a:pt x="224" y="65"/>
                    <a:pt x="206" y="54"/>
                  </a:cubicBezTo>
                  <a:cubicBezTo>
                    <a:pt x="193" y="46"/>
                    <a:pt x="180" y="40"/>
                    <a:pt x="165" y="41"/>
                  </a:cubicBezTo>
                  <a:cubicBezTo>
                    <a:pt x="151" y="41"/>
                    <a:pt x="137" y="39"/>
                    <a:pt x="124" y="42"/>
                  </a:cubicBezTo>
                  <a:cubicBezTo>
                    <a:pt x="104" y="46"/>
                    <a:pt x="87" y="57"/>
                    <a:pt x="75" y="74"/>
                  </a:cubicBezTo>
                  <a:cubicBezTo>
                    <a:pt x="56" y="99"/>
                    <a:pt x="51" y="129"/>
                    <a:pt x="55" y="159"/>
                  </a:cubicBezTo>
                  <a:cubicBezTo>
                    <a:pt x="60" y="189"/>
                    <a:pt x="73" y="214"/>
                    <a:pt x="98" y="230"/>
                  </a:cubicBezTo>
                  <a:cubicBezTo>
                    <a:pt x="109" y="237"/>
                    <a:pt x="121" y="242"/>
                    <a:pt x="135" y="241"/>
                  </a:cubicBezTo>
                  <a:cubicBezTo>
                    <a:pt x="146" y="241"/>
                    <a:pt x="158" y="241"/>
                    <a:pt x="169" y="241"/>
                  </a:cubicBezTo>
                  <a:cubicBezTo>
                    <a:pt x="182" y="242"/>
                    <a:pt x="193" y="235"/>
                    <a:pt x="205" y="232"/>
                  </a:cubicBezTo>
                  <a:cubicBezTo>
                    <a:pt x="210" y="231"/>
                    <a:pt x="211" y="227"/>
                    <a:pt x="211" y="224"/>
                  </a:cubicBezTo>
                  <a:cubicBezTo>
                    <a:pt x="211" y="210"/>
                    <a:pt x="211" y="196"/>
                    <a:pt x="211" y="183"/>
                  </a:cubicBezTo>
                  <a:cubicBezTo>
                    <a:pt x="211" y="177"/>
                    <a:pt x="207" y="175"/>
                    <a:pt x="202" y="175"/>
                  </a:cubicBezTo>
                  <a:cubicBezTo>
                    <a:pt x="193" y="175"/>
                    <a:pt x="184" y="175"/>
                    <a:pt x="175" y="175"/>
                  </a:cubicBezTo>
                  <a:cubicBezTo>
                    <a:pt x="171" y="175"/>
                    <a:pt x="168" y="174"/>
                    <a:pt x="166" y="171"/>
                  </a:cubicBezTo>
                  <a:cubicBezTo>
                    <a:pt x="163" y="163"/>
                    <a:pt x="164" y="154"/>
                    <a:pt x="166" y="146"/>
                  </a:cubicBezTo>
                  <a:cubicBezTo>
                    <a:pt x="167" y="142"/>
                    <a:pt x="171" y="142"/>
                    <a:pt x="175" y="142"/>
                  </a:cubicBezTo>
                  <a:cubicBezTo>
                    <a:pt x="196" y="142"/>
                    <a:pt x="217" y="142"/>
                    <a:pt x="238" y="142"/>
                  </a:cubicBezTo>
                  <a:cubicBezTo>
                    <a:pt x="247" y="142"/>
                    <a:pt x="248" y="148"/>
                    <a:pt x="248" y="155"/>
                  </a:cubicBezTo>
                  <a:cubicBezTo>
                    <a:pt x="249" y="169"/>
                    <a:pt x="248" y="183"/>
                    <a:pt x="248" y="198"/>
                  </a:cubicBezTo>
                  <a:close/>
                  <a:moveTo>
                    <a:pt x="884" y="1181"/>
                  </a:moveTo>
                  <a:cubicBezTo>
                    <a:pt x="889" y="1167"/>
                    <a:pt x="894" y="1152"/>
                    <a:pt x="898" y="1137"/>
                  </a:cubicBezTo>
                  <a:cubicBezTo>
                    <a:pt x="901" y="1127"/>
                    <a:pt x="905" y="1116"/>
                    <a:pt x="908" y="1106"/>
                  </a:cubicBezTo>
                  <a:cubicBezTo>
                    <a:pt x="911" y="1098"/>
                    <a:pt x="912" y="1089"/>
                    <a:pt x="916" y="1081"/>
                  </a:cubicBezTo>
                  <a:cubicBezTo>
                    <a:pt x="921" y="1072"/>
                    <a:pt x="923" y="1060"/>
                    <a:pt x="927" y="1050"/>
                  </a:cubicBezTo>
                  <a:cubicBezTo>
                    <a:pt x="932" y="1037"/>
                    <a:pt x="934" y="1023"/>
                    <a:pt x="940" y="1010"/>
                  </a:cubicBezTo>
                  <a:cubicBezTo>
                    <a:pt x="945" y="1001"/>
                    <a:pt x="941" y="995"/>
                    <a:pt x="931" y="995"/>
                  </a:cubicBezTo>
                  <a:cubicBezTo>
                    <a:pt x="927" y="995"/>
                    <a:pt x="922" y="995"/>
                    <a:pt x="918" y="995"/>
                  </a:cubicBezTo>
                  <a:cubicBezTo>
                    <a:pt x="913" y="995"/>
                    <a:pt x="908" y="997"/>
                    <a:pt x="907" y="1001"/>
                  </a:cubicBezTo>
                  <a:cubicBezTo>
                    <a:pt x="904" y="1008"/>
                    <a:pt x="900" y="1015"/>
                    <a:pt x="899" y="1023"/>
                  </a:cubicBezTo>
                  <a:cubicBezTo>
                    <a:pt x="897" y="1034"/>
                    <a:pt x="893" y="1045"/>
                    <a:pt x="889" y="1055"/>
                  </a:cubicBezTo>
                  <a:cubicBezTo>
                    <a:pt x="887" y="1064"/>
                    <a:pt x="885" y="1072"/>
                    <a:pt x="882" y="1080"/>
                  </a:cubicBezTo>
                  <a:cubicBezTo>
                    <a:pt x="878" y="1091"/>
                    <a:pt x="874" y="1103"/>
                    <a:pt x="871" y="1115"/>
                  </a:cubicBezTo>
                  <a:cubicBezTo>
                    <a:pt x="870" y="1118"/>
                    <a:pt x="871" y="1124"/>
                    <a:pt x="866" y="1124"/>
                  </a:cubicBezTo>
                  <a:cubicBezTo>
                    <a:pt x="861" y="1125"/>
                    <a:pt x="859" y="1120"/>
                    <a:pt x="858" y="1115"/>
                  </a:cubicBezTo>
                  <a:cubicBezTo>
                    <a:pt x="856" y="1110"/>
                    <a:pt x="856" y="1104"/>
                    <a:pt x="854" y="1099"/>
                  </a:cubicBezTo>
                  <a:cubicBezTo>
                    <a:pt x="848" y="1080"/>
                    <a:pt x="841" y="1062"/>
                    <a:pt x="835" y="1044"/>
                  </a:cubicBezTo>
                  <a:cubicBezTo>
                    <a:pt x="831" y="1030"/>
                    <a:pt x="828" y="1016"/>
                    <a:pt x="822" y="1003"/>
                  </a:cubicBezTo>
                  <a:cubicBezTo>
                    <a:pt x="819" y="997"/>
                    <a:pt x="814" y="994"/>
                    <a:pt x="808" y="994"/>
                  </a:cubicBezTo>
                  <a:cubicBezTo>
                    <a:pt x="799" y="993"/>
                    <a:pt x="791" y="993"/>
                    <a:pt x="787" y="1001"/>
                  </a:cubicBezTo>
                  <a:cubicBezTo>
                    <a:pt x="783" y="1008"/>
                    <a:pt x="780" y="1015"/>
                    <a:pt x="779" y="1022"/>
                  </a:cubicBezTo>
                  <a:cubicBezTo>
                    <a:pt x="778" y="1034"/>
                    <a:pt x="772" y="1044"/>
                    <a:pt x="769" y="1055"/>
                  </a:cubicBezTo>
                  <a:cubicBezTo>
                    <a:pt x="762" y="1076"/>
                    <a:pt x="754" y="1096"/>
                    <a:pt x="749" y="1117"/>
                  </a:cubicBezTo>
                  <a:cubicBezTo>
                    <a:pt x="748" y="1120"/>
                    <a:pt x="747" y="1124"/>
                    <a:pt x="742" y="1124"/>
                  </a:cubicBezTo>
                  <a:cubicBezTo>
                    <a:pt x="737" y="1124"/>
                    <a:pt x="737" y="1120"/>
                    <a:pt x="736" y="1116"/>
                  </a:cubicBezTo>
                  <a:cubicBezTo>
                    <a:pt x="734" y="1104"/>
                    <a:pt x="730" y="1092"/>
                    <a:pt x="726" y="1080"/>
                  </a:cubicBezTo>
                  <a:cubicBezTo>
                    <a:pt x="720" y="1061"/>
                    <a:pt x="714" y="1040"/>
                    <a:pt x="708" y="1020"/>
                  </a:cubicBezTo>
                  <a:cubicBezTo>
                    <a:pt x="703" y="1000"/>
                    <a:pt x="698" y="994"/>
                    <a:pt x="676" y="995"/>
                  </a:cubicBezTo>
                  <a:cubicBezTo>
                    <a:pt x="665" y="996"/>
                    <a:pt x="661" y="1001"/>
                    <a:pt x="667" y="1011"/>
                  </a:cubicBezTo>
                  <a:cubicBezTo>
                    <a:pt x="669" y="1016"/>
                    <a:pt x="670" y="1021"/>
                    <a:pt x="672" y="1025"/>
                  </a:cubicBezTo>
                  <a:cubicBezTo>
                    <a:pt x="675" y="1035"/>
                    <a:pt x="678" y="1046"/>
                    <a:pt x="681" y="1055"/>
                  </a:cubicBezTo>
                  <a:cubicBezTo>
                    <a:pt x="685" y="1068"/>
                    <a:pt x="689" y="1080"/>
                    <a:pt x="693" y="1092"/>
                  </a:cubicBezTo>
                  <a:cubicBezTo>
                    <a:pt x="697" y="1103"/>
                    <a:pt x="699" y="1113"/>
                    <a:pt x="703" y="1124"/>
                  </a:cubicBezTo>
                  <a:cubicBezTo>
                    <a:pt x="707" y="1136"/>
                    <a:pt x="711" y="1147"/>
                    <a:pt x="715" y="1160"/>
                  </a:cubicBezTo>
                  <a:cubicBezTo>
                    <a:pt x="717" y="1168"/>
                    <a:pt x="720" y="1176"/>
                    <a:pt x="724" y="1183"/>
                  </a:cubicBezTo>
                  <a:cubicBezTo>
                    <a:pt x="728" y="1189"/>
                    <a:pt x="752" y="1185"/>
                    <a:pt x="757" y="1180"/>
                  </a:cubicBezTo>
                  <a:cubicBezTo>
                    <a:pt x="764" y="1173"/>
                    <a:pt x="762" y="1163"/>
                    <a:pt x="766" y="1156"/>
                  </a:cubicBezTo>
                  <a:cubicBezTo>
                    <a:pt x="774" y="1140"/>
                    <a:pt x="778" y="1122"/>
                    <a:pt x="784" y="1105"/>
                  </a:cubicBezTo>
                  <a:cubicBezTo>
                    <a:pt x="789" y="1088"/>
                    <a:pt x="796" y="1072"/>
                    <a:pt x="800" y="1054"/>
                  </a:cubicBezTo>
                  <a:cubicBezTo>
                    <a:pt x="800" y="1053"/>
                    <a:pt x="801" y="1050"/>
                    <a:pt x="803" y="1050"/>
                  </a:cubicBezTo>
                  <a:cubicBezTo>
                    <a:pt x="806" y="1050"/>
                    <a:pt x="806" y="1052"/>
                    <a:pt x="807" y="1055"/>
                  </a:cubicBezTo>
                  <a:cubicBezTo>
                    <a:pt x="807" y="1060"/>
                    <a:pt x="810" y="1066"/>
                    <a:pt x="811" y="1071"/>
                  </a:cubicBezTo>
                  <a:cubicBezTo>
                    <a:pt x="814" y="1081"/>
                    <a:pt x="818" y="1090"/>
                    <a:pt x="821" y="1099"/>
                  </a:cubicBezTo>
                  <a:cubicBezTo>
                    <a:pt x="824" y="1110"/>
                    <a:pt x="827" y="1120"/>
                    <a:pt x="831" y="1131"/>
                  </a:cubicBezTo>
                  <a:cubicBezTo>
                    <a:pt x="834" y="1142"/>
                    <a:pt x="839" y="1153"/>
                    <a:pt x="842" y="1164"/>
                  </a:cubicBezTo>
                  <a:cubicBezTo>
                    <a:pt x="846" y="1179"/>
                    <a:pt x="850" y="1188"/>
                    <a:pt x="869" y="1185"/>
                  </a:cubicBezTo>
                  <a:cubicBezTo>
                    <a:pt x="873" y="1184"/>
                    <a:pt x="881" y="1189"/>
                    <a:pt x="884" y="1181"/>
                  </a:cubicBezTo>
                  <a:close/>
                  <a:moveTo>
                    <a:pt x="33" y="1051"/>
                  </a:moveTo>
                  <a:cubicBezTo>
                    <a:pt x="33" y="1087"/>
                    <a:pt x="33" y="1124"/>
                    <a:pt x="33" y="1160"/>
                  </a:cubicBezTo>
                  <a:cubicBezTo>
                    <a:pt x="33" y="1188"/>
                    <a:pt x="29" y="1184"/>
                    <a:pt x="58" y="1185"/>
                  </a:cubicBezTo>
                  <a:cubicBezTo>
                    <a:pt x="72" y="1185"/>
                    <a:pt x="73" y="1184"/>
                    <a:pt x="73" y="1170"/>
                  </a:cubicBezTo>
                  <a:cubicBezTo>
                    <a:pt x="73" y="1138"/>
                    <a:pt x="73" y="1107"/>
                    <a:pt x="73" y="1076"/>
                  </a:cubicBezTo>
                  <a:cubicBezTo>
                    <a:pt x="73" y="1071"/>
                    <a:pt x="72" y="1067"/>
                    <a:pt x="78" y="1065"/>
                  </a:cubicBezTo>
                  <a:cubicBezTo>
                    <a:pt x="91" y="1062"/>
                    <a:pt x="102" y="1067"/>
                    <a:pt x="110" y="1076"/>
                  </a:cubicBezTo>
                  <a:cubicBezTo>
                    <a:pt x="112" y="1080"/>
                    <a:pt x="115" y="1083"/>
                    <a:pt x="118" y="1086"/>
                  </a:cubicBezTo>
                  <a:cubicBezTo>
                    <a:pt x="132" y="1103"/>
                    <a:pt x="146" y="1119"/>
                    <a:pt x="161" y="1136"/>
                  </a:cubicBezTo>
                  <a:cubicBezTo>
                    <a:pt x="173" y="1150"/>
                    <a:pt x="186" y="1165"/>
                    <a:pt x="198" y="1179"/>
                  </a:cubicBezTo>
                  <a:cubicBezTo>
                    <a:pt x="207" y="1188"/>
                    <a:pt x="218" y="1184"/>
                    <a:pt x="228" y="1185"/>
                  </a:cubicBezTo>
                  <a:cubicBezTo>
                    <a:pt x="233" y="1185"/>
                    <a:pt x="241" y="1188"/>
                    <a:pt x="244" y="1182"/>
                  </a:cubicBezTo>
                  <a:cubicBezTo>
                    <a:pt x="246" y="1178"/>
                    <a:pt x="239" y="1173"/>
                    <a:pt x="235" y="1169"/>
                  </a:cubicBezTo>
                  <a:cubicBezTo>
                    <a:pt x="206" y="1133"/>
                    <a:pt x="176" y="1098"/>
                    <a:pt x="146" y="1062"/>
                  </a:cubicBezTo>
                  <a:cubicBezTo>
                    <a:pt x="141" y="1056"/>
                    <a:pt x="131" y="1052"/>
                    <a:pt x="132" y="1044"/>
                  </a:cubicBezTo>
                  <a:cubicBezTo>
                    <a:pt x="132" y="1036"/>
                    <a:pt x="142" y="1032"/>
                    <a:pt x="147" y="1026"/>
                  </a:cubicBezTo>
                  <a:cubicBezTo>
                    <a:pt x="164" y="1006"/>
                    <a:pt x="182" y="988"/>
                    <a:pt x="198" y="968"/>
                  </a:cubicBezTo>
                  <a:cubicBezTo>
                    <a:pt x="209" y="954"/>
                    <a:pt x="221" y="942"/>
                    <a:pt x="234" y="929"/>
                  </a:cubicBezTo>
                  <a:cubicBezTo>
                    <a:pt x="236" y="926"/>
                    <a:pt x="238" y="923"/>
                    <a:pt x="237" y="920"/>
                  </a:cubicBezTo>
                  <a:cubicBezTo>
                    <a:pt x="235" y="915"/>
                    <a:pt x="231" y="917"/>
                    <a:pt x="228" y="917"/>
                  </a:cubicBezTo>
                  <a:cubicBezTo>
                    <a:pt x="224" y="918"/>
                    <a:pt x="221" y="918"/>
                    <a:pt x="217" y="918"/>
                  </a:cubicBezTo>
                  <a:cubicBezTo>
                    <a:pt x="204" y="917"/>
                    <a:pt x="193" y="922"/>
                    <a:pt x="185" y="931"/>
                  </a:cubicBezTo>
                  <a:cubicBezTo>
                    <a:pt x="172" y="946"/>
                    <a:pt x="158" y="961"/>
                    <a:pt x="145" y="977"/>
                  </a:cubicBezTo>
                  <a:cubicBezTo>
                    <a:pt x="131" y="993"/>
                    <a:pt x="117" y="1010"/>
                    <a:pt x="102" y="1026"/>
                  </a:cubicBezTo>
                  <a:cubicBezTo>
                    <a:pt x="96" y="1032"/>
                    <a:pt x="87" y="1037"/>
                    <a:pt x="78" y="1034"/>
                  </a:cubicBezTo>
                  <a:cubicBezTo>
                    <a:pt x="70" y="1030"/>
                    <a:pt x="73" y="1021"/>
                    <a:pt x="73" y="1015"/>
                  </a:cubicBezTo>
                  <a:cubicBezTo>
                    <a:pt x="73" y="991"/>
                    <a:pt x="73" y="967"/>
                    <a:pt x="73" y="944"/>
                  </a:cubicBezTo>
                  <a:cubicBezTo>
                    <a:pt x="73" y="916"/>
                    <a:pt x="75" y="917"/>
                    <a:pt x="46" y="918"/>
                  </a:cubicBezTo>
                  <a:cubicBezTo>
                    <a:pt x="33" y="918"/>
                    <a:pt x="33" y="918"/>
                    <a:pt x="33" y="931"/>
                  </a:cubicBezTo>
                  <a:cubicBezTo>
                    <a:pt x="33" y="971"/>
                    <a:pt x="33" y="1011"/>
                    <a:pt x="33" y="1051"/>
                  </a:cubicBezTo>
                  <a:cubicBezTo>
                    <a:pt x="33" y="1051"/>
                    <a:pt x="33" y="1051"/>
                    <a:pt x="33" y="1051"/>
                  </a:cubicBezTo>
                  <a:close/>
                  <a:moveTo>
                    <a:pt x="639" y="84"/>
                  </a:moveTo>
                  <a:cubicBezTo>
                    <a:pt x="627" y="84"/>
                    <a:pt x="626" y="84"/>
                    <a:pt x="629" y="95"/>
                  </a:cubicBezTo>
                  <a:cubicBezTo>
                    <a:pt x="634" y="113"/>
                    <a:pt x="640" y="131"/>
                    <a:pt x="646" y="148"/>
                  </a:cubicBezTo>
                  <a:cubicBezTo>
                    <a:pt x="652" y="166"/>
                    <a:pt x="658" y="185"/>
                    <a:pt x="664" y="203"/>
                  </a:cubicBezTo>
                  <a:cubicBezTo>
                    <a:pt x="671" y="223"/>
                    <a:pt x="676" y="244"/>
                    <a:pt x="684" y="264"/>
                  </a:cubicBezTo>
                  <a:cubicBezTo>
                    <a:pt x="688" y="274"/>
                    <a:pt x="694" y="274"/>
                    <a:pt x="702" y="274"/>
                  </a:cubicBezTo>
                  <a:cubicBezTo>
                    <a:pt x="711" y="274"/>
                    <a:pt x="719" y="272"/>
                    <a:pt x="723" y="263"/>
                  </a:cubicBezTo>
                  <a:cubicBezTo>
                    <a:pt x="733" y="236"/>
                    <a:pt x="741" y="208"/>
                    <a:pt x="750" y="181"/>
                  </a:cubicBezTo>
                  <a:cubicBezTo>
                    <a:pt x="754" y="169"/>
                    <a:pt x="757" y="156"/>
                    <a:pt x="763" y="145"/>
                  </a:cubicBezTo>
                  <a:cubicBezTo>
                    <a:pt x="764" y="143"/>
                    <a:pt x="764" y="140"/>
                    <a:pt x="767" y="140"/>
                  </a:cubicBezTo>
                  <a:cubicBezTo>
                    <a:pt x="770" y="140"/>
                    <a:pt x="770" y="143"/>
                    <a:pt x="771" y="145"/>
                  </a:cubicBezTo>
                  <a:cubicBezTo>
                    <a:pt x="771" y="156"/>
                    <a:pt x="777" y="165"/>
                    <a:pt x="780" y="175"/>
                  </a:cubicBezTo>
                  <a:cubicBezTo>
                    <a:pt x="782" y="184"/>
                    <a:pt x="785" y="193"/>
                    <a:pt x="788" y="201"/>
                  </a:cubicBezTo>
                  <a:cubicBezTo>
                    <a:pt x="794" y="219"/>
                    <a:pt x="801" y="237"/>
                    <a:pt x="806" y="255"/>
                  </a:cubicBezTo>
                  <a:cubicBezTo>
                    <a:pt x="811" y="272"/>
                    <a:pt x="825" y="280"/>
                    <a:pt x="842" y="273"/>
                  </a:cubicBezTo>
                  <a:cubicBezTo>
                    <a:pt x="845" y="271"/>
                    <a:pt x="847" y="269"/>
                    <a:pt x="848" y="266"/>
                  </a:cubicBezTo>
                  <a:cubicBezTo>
                    <a:pt x="853" y="251"/>
                    <a:pt x="859" y="236"/>
                    <a:pt x="863" y="221"/>
                  </a:cubicBezTo>
                  <a:cubicBezTo>
                    <a:pt x="867" y="202"/>
                    <a:pt x="875" y="185"/>
                    <a:pt x="880" y="166"/>
                  </a:cubicBezTo>
                  <a:cubicBezTo>
                    <a:pt x="886" y="144"/>
                    <a:pt x="895" y="123"/>
                    <a:pt x="900" y="101"/>
                  </a:cubicBezTo>
                  <a:cubicBezTo>
                    <a:pt x="901" y="96"/>
                    <a:pt x="909" y="91"/>
                    <a:pt x="904" y="86"/>
                  </a:cubicBezTo>
                  <a:cubicBezTo>
                    <a:pt x="900" y="81"/>
                    <a:pt x="892" y="84"/>
                    <a:pt x="886" y="84"/>
                  </a:cubicBezTo>
                  <a:cubicBezTo>
                    <a:pt x="885" y="84"/>
                    <a:pt x="883" y="84"/>
                    <a:pt x="881" y="84"/>
                  </a:cubicBezTo>
                  <a:cubicBezTo>
                    <a:pt x="875" y="84"/>
                    <a:pt x="872" y="86"/>
                    <a:pt x="869" y="91"/>
                  </a:cubicBezTo>
                  <a:cubicBezTo>
                    <a:pt x="860" y="110"/>
                    <a:pt x="856" y="131"/>
                    <a:pt x="850" y="151"/>
                  </a:cubicBezTo>
                  <a:cubicBezTo>
                    <a:pt x="844" y="170"/>
                    <a:pt x="836" y="188"/>
                    <a:pt x="834" y="208"/>
                  </a:cubicBezTo>
                  <a:cubicBezTo>
                    <a:pt x="833" y="211"/>
                    <a:pt x="831" y="214"/>
                    <a:pt x="827" y="214"/>
                  </a:cubicBezTo>
                  <a:cubicBezTo>
                    <a:pt x="823" y="214"/>
                    <a:pt x="822" y="210"/>
                    <a:pt x="822" y="207"/>
                  </a:cubicBezTo>
                  <a:cubicBezTo>
                    <a:pt x="817" y="188"/>
                    <a:pt x="811" y="170"/>
                    <a:pt x="805" y="152"/>
                  </a:cubicBezTo>
                  <a:cubicBezTo>
                    <a:pt x="799" y="133"/>
                    <a:pt x="794" y="114"/>
                    <a:pt x="786" y="96"/>
                  </a:cubicBezTo>
                  <a:cubicBezTo>
                    <a:pt x="783" y="87"/>
                    <a:pt x="779" y="84"/>
                    <a:pt x="770" y="84"/>
                  </a:cubicBezTo>
                  <a:cubicBezTo>
                    <a:pt x="761" y="84"/>
                    <a:pt x="752" y="82"/>
                    <a:pt x="748" y="94"/>
                  </a:cubicBezTo>
                  <a:cubicBezTo>
                    <a:pt x="744" y="109"/>
                    <a:pt x="738" y="123"/>
                    <a:pt x="734" y="138"/>
                  </a:cubicBezTo>
                  <a:cubicBezTo>
                    <a:pt x="729" y="153"/>
                    <a:pt x="724" y="167"/>
                    <a:pt x="719" y="182"/>
                  </a:cubicBezTo>
                  <a:cubicBezTo>
                    <a:pt x="716" y="192"/>
                    <a:pt x="715" y="203"/>
                    <a:pt x="708" y="212"/>
                  </a:cubicBezTo>
                  <a:cubicBezTo>
                    <a:pt x="707" y="214"/>
                    <a:pt x="707" y="217"/>
                    <a:pt x="704" y="217"/>
                  </a:cubicBezTo>
                  <a:cubicBezTo>
                    <a:pt x="701" y="217"/>
                    <a:pt x="701" y="213"/>
                    <a:pt x="700" y="211"/>
                  </a:cubicBezTo>
                  <a:cubicBezTo>
                    <a:pt x="699" y="198"/>
                    <a:pt x="694" y="186"/>
                    <a:pt x="690" y="174"/>
                  </a:cubicBezTo>
                  <a:cubicBezTo>
                    <a:pt x="684" y="153"/>
                    <a:pt x="677" y="131"/>
                    <a:pt x="672" y="110"/>
                  </a:cubicBezTo>
                  <a:cubicBezTo>
                    <a:pt x="667" y="88"/>
                    <a:pt x="663" y="84"/>
                    <a:pt x="645" y="84"/>
                  </a:cubicBezTo>
                  <a:cubicBezTo>
                    <a:pt x="643" y="84"/>
                    <a:pt x="641" y="84"/>
                    <a:pt x="639" y="84"/>
                  </a:cubicBezTo>
                  <a:close/>
                  <a:moveTo>
                    <a:pt x="507" y="711"/>
                  </a:moveTo>
                  <a:cubicBezTo>
                    <a:pt x="507" y="730"/>
                    <a:pt x="507" y="730"/>
                    <a:pt x="526" y="730"/>
                  </a:cubicBezTo>
                  <a:cubicBezTo>
                    <a:pt x="539" y="730"/>
                    <a:pt x="541" y="729"/>
                    <a:pt x="541" y="715"/>
                  </a:cubicBezTo>
                  <a:cubicBezTo>
                    <a:pt x="541" y="677"/>
                    <a:pt x="541" y="638"/>
                    <a:pt x="540" y="600"/>
                  </a:cubicBezTo>
                  <a:cubicBezTo>
                    <a:pt x="540" y="593"/>
                    <a:pt x="543" y="587"/>
                    <a:pt x="548" y="582"/>
                  </a:cubicBezTo>
                  <a:cubicBezTo>
                    <a:pt x="553" y="576"/>
                    <a:pt x="559" y="573"/>
                    <a:pt x="564" y="569"/>
                  </a:cubicBezTo>
                  <a:cubicBezTo>
                    <a:pt x="574" y="564"/>
                    <a:pt x="594" y="566"/>
                    <a:pt x="602" y="574"/>
                  </a:cubicBezTo>
                  <a:cubicBezTo>
                    <a:pt x="611" y="582"/>
                    <a:pt x="614" y="592"/>
                    <a:pt x="614" y="604"/>
                  </a:cubicBezTo>
                  <a:cubicBezTo>
                    <a:pt x="614" y="638"/>
                    <a:pt x="614" y="672"/>
                    <a:pt x="614" y="706"/>
                  </a:cubicBezTo>
                  <a:cubicBezTo>
                    <a:pt x="614" y="730"/>
                    <a:pt x="614" y="730"/>
                    <a:pt x="638" y="730"/>
                  </a:cubicBezTo>
                  <a:cubicBezTo>
                    <a:pt x="650" y="730"/>
                    <a:pt x="650" y="730"/>
                    <a:pt x="650" y="717"/>
                  </a:cubicBezTo>
                  <a:cubicBezTo>
                    <a:pt x="650" y="684"/>
                    <a:pt x="650" y="650"/>
                    <a:pt x="650" y="617"/>
                  </a:cubicBezTo>
                  <a:cubicBezTo>
                    <a:pt x="650" y="606"/>
                    <a:pt x="651" y="597"/>
                    <a:pt x="657" y="586"/>
                  </a:cubicBezTo>
                  <a:cubicBezTo>
                    <a:pt x="667" y="565"/>
                    <a:pt x="703" y="560"/>
                    <a:pt x="716" y="579"/>
                  </a:cubicBezTo>
                  <a:cubicBezTo>
                    <a:pt x="723" y="588"/>
                    <a:pt x="724" y="598"/>
                    <a:pt x="724" y="609"/>
                  </a:cubicBezTo>
                  <a:cubicBezTo>
                    <a:pt x="724" y="645"/>
                    <a:pt x="724" y="682"/>
                    <a:pt x="724" y="718"/>
                  </a:cubicBezTo>
                  <a:cubicBezTo>
                    <a:pt x="724" y="727"/>
                    <a:pt x="727" y="731"/>
                    <a:pt x="736" y="730"/>
                  </a:cubicBezTo>
                  <a:cubicBezTo>
                    <a:pt x="738" y="730"/>
                    <a:pt x="741" y="730"/>
                    <a:pt x="743" y="730"/>
                  </a:cubicBezTo>
                  <a:cubicBezTo>
                    <a:pt x="758" y="730"/>
                    <a:pt x="759" y="729"/>
                    <a:pt x="759" y="715"/>
                  </a:cubicBezTo>
                  <a:cubicBezTo>
                    <a:pt x="759" y="677"/>
                    <a:pt x="758" y="639"/>
                    <a:pt x="759" y="601"/>
                  </a:cubicBezTo>
                  <a:cubicBezTo>
                    <a:pt x="759" y="571"/>
                    <a:pt x="742" y="540"/>
                    <a:pt x="704" y="538"/>
                  </a:cubicBezTo>
                  <a:cubicBezTo>
                    <a:pt x="681" y="536"/>
                    <a:pt x="661" y="542"/>
                    <a:pt x="646" y="560"/>
                  </a:cubicBezTo>
                  <a:cubicBezTo>
                    <a:pt x="638" y="569"/>
                    <a:pt x="638" y="569"/>
                    <a:pt x="631" y="559"/>
                  </a:cubicBezTo>
                  <a:cubicBezTo>
                    <a:pt x="630" y="558"/>
                    <a:pt x="630" y="557"/>
                    <a:pt x="629" y="556"/>
                  </a:cubicBezTo>
                  <a:cubicBezTo>
                    <a:pt x="623" y="548"/>
                    <a:pt x="616" y="541"/>
                    <a:pt x="607" y="539"/>
                  </a:cubicBezTo>
                  <a:cubicBezTo>
                    <a:pt x="584" y="534"/>
                    <a:pt x="563" y="539"/>
                    <a:pt x="545" y="555"/>
                  </a:cubicBezTo>
                  <a:cubicBezTo>
                    <a:pt x="540" y="559"/>
                    <a:pt x="537" y="561"/>
                    <a:pt x="537" y="552"/>
                  </a:cubicBezTo>
                  <a:cubicBezTo>
                    <a:pt x="536" y="543"/>
                    <a:pt x="526" y="538"/>
                    <a:pt x="515" y="539"/>
                  </a:cubicBezTo>
                  <a:cubicBezTo>
                    <a:pt x="506" y="540"/>
                    <a:pt x="507" y="546"/>
                    <a:pt x="507" y="552"/>
                  </a:cubicBezTo>
                  <a:cubicBezTo>
                    <a:pt x="507" y="580"/>
                    <a:pt x="507" y="607"/>
                    <a:pt x="507" y="634"/>
                  </a:cubicBezTo>
                  <a:cubicBezTo>
                    <a:pt x="507" y="660"/>
                    <a:pt x="507" y="685"/>
                    <a:pt x="507" y="711"/>
                  </a:cubicBezTo>
                  <a:close/>
                  <a:moveTo>
                    <a:pt x="1525" y="1142"/>
                  </a:moveTo>
                  <a:cubicBezTo>
                    <a:pt x="1517" y="1143"/>
                    <a:pt x="1511" y="1141"/>
                    <a:pt x="1505" y="1136"/>
                  </a:cubicBezTo>
                  <a:cubicBezTo>
                    <a:pt x="1501" y="1133"/>
                    <a:pt x="1495" y="1130"/>
                    <a:pt x="1498" y="1124"/>
                  </a:cubicBezTo>
                  <a:cubicBezTo>
                    <a:pt x="1500" y="1118"/>
                    <a:pt x="1504" y="1114"/>
                    <a:pt x="1512" y="1114"/>
                  </a:cubicBezTo>
                  <a:cubicBezTo>
                    <a:pt x="1521" y="1115"/>
                    <a:pt x="1530" y="1114"/>
                    <a:pt x="1538" y="1115"/>
                  </a:cubicBezTo>
                  <a:cubicBezTo>
                    <a:pt x="1573" y="1117"/>
                    <a:pt x="1610" y="1084"/>
                    <a:pt x="1602" y="1044"/>
                  </a:cubicBezTo>
                  <a:cubicBezTo>
                    <a:pt x="1600" y="1035"/>
                    <a:pt x="1599" y="1028"/>
                    <a:pt x="1611" y="1027"/>
                  </a:cubicBezTo>
                  <a:cubicBezTo>
                    <a:pt x="1614" y="1027"/>
                    <a:pt x="1617" y="1024"/>
                    <a:pt x="1619" y="1023"/>
                  </a:cubicBezTo>
                  <a:cubicBezTo>
                    <a:pt x="1626" y="1019"/>
                    <a:pt x="1624" y="1013"/>
                    <a:pt x="1623" y="1008"/>
                  </a:cubicBezTo>
                  <a:cubicBezTo>
                    <a:pt x="1623" y="1002"/>
                    <a:pt x="1618" y="1003"/>
                    <a:pt x="1613" y="1002"/>
                  </a:cubicBezTo>
                  <a:cubicBezTo>
                    <a:pt x="1598" y="1002"/>
                    <a:pt x="1582" y="1004"/>
                    <a:pt x="1567" y="1000"/>
                  </a:cubicBezTo>
                  <a:cubicBezTo>
                    <a:pt x="1560" y="999"/>
                    <a:pt x="1554" y="993"/>
                    <a:pt x="1546" y="993"/>
                  </a:cubicBezTo>
                  <a:cubicBezTo>
                    <a:pt x="1536" y="994"/>
                    <a:pt x="1525" y="992"/>
                    <a:pt x="1515" y="993"/>
                  </a:cubicBezTo>
                  <a:cubicBezTo>
                    <a:pt x="1490" y="997"/>
                    <a:pt x="1469" y="1010"/>
                    <a:pt x="1462" y="1034"/>
                  </a:cubicBezTo>
                  <a:cubicBezTo>
                    <a:pt x="1455" y="1056"/>
                    <a:pt x="1457" y="1079"/>
                    <a:pt x="1476" y="1096"/>
                  </a:cubicBezTo>
                  <a:cubicBezTo>
                    <a:pt x="1483" y="1103"/>
                    <a:pt x="1483" y="1107"/>
                    <a:pt x="1476" y="1113"/>
                  </a:cubicBezTo>
                  <a:cubicBezTo>
                    <a:pt x="1462" y="1126"/>
                    <a:pt x="1462" y="1142"/>
                    <a:pt x="1473" y="1157"/>
                  </a:cubicBezTo>
                  <a:cubicBezTo>
                    <a:pt x="1476" y="1160"/>
                    <a:pt x="1476" y="1162"/>
                    <a:pt x="1472" y="1164"/>
                  </a:cubicBezTo>
                  <a:cubicBezTo>
                    <a:pt x="1470" y="1166"/>
                    <a:pt x="1468" y="1168"/>
                    <a:pt x="1466" y="1170"/>
                  </a:cubicBezTo>
                  <a:cubicBezTo>
                    <a:pt x="1449" y="1183"/>
                    <a:pt x="1444" y="1201"/>
                    <a:pt x="1454" y="1218"/>
                  </a:cubicBezTo>
                  <a:cubicBezTo>
                    <a:pt x="1464" y="1235"/>
                    <a:pt x="1479" y="1246"/>
                    <a:pt x="1499" y="1249"/>
                  </a:cubicBezTo>
                  <a:cubicBezTo>
                    <a:pt x="1517" y="1252"/>
                    <a:pt x="1535" y="1253"/>
                    <a:pt x="1553" y="1250"/>
                  </a:cubicBezTo>
                  <a:cubicBezTo>
                    <a:pt x="1584" y="1245"/>
                    <a:pt x="1607" y="1232"/>
                    <a:pt x="1619" y="1200"/>
                  </a:cubicBezTo>
                  <a:cubicBezTo>
                    <a:pt x="1627" y="1180"/>
                    <a:pt x="1611" y="1155"/>
                    <a:pt x="1593" y="1148"/>
                  </a:cubicBezTo>
                  <a:cubicBezTo>
                    <a:pt x="1578" y="1142"/>
                    <a:pt x="1563" y="1143"/>
                    <a:pt x="1549" y="1142"/>
                  </a:cubicBezTo>
                  <a:cubicBezTo>
                    <a:pt x="1540" y="1142"/>
                    <a:pt x="1532" y="1142"/>
                    <a:pt x="1525" y="1142"/>
                  </a:cubicBezTo>
                  <a:close/>
                  <a:moveTo>
                    <a:pt x="1556" y="1172"/>
                  </a:moveTo>
                  <a:cubicBezTo>
                    <a:pt x="1566" y="1172"/>
                    <a:pt x="1576" y="1176"/>
                    <a:pt x="1583" y="1183"/>
                  </a:cubicBezTo>
                  <a:cubicBezTo>
                    <a:pt x="1589" y="1190"/>
                    <a:pt x="1589" y="1198"/>
                    <a:pt x="1583" y="1205"/>
                  </a:cubicBezTo>
                  <a:cubicBezTo>
                    <a:pt x="1575" y="1215"/>
                    <a:pt x="1565" y="1220"/>
                    <a:pt x="1553" y="1223"/>
                  </a:cubicBezTo>
                  <a:cubicBezTo>
                    <a:pt x="1534" y="1228"/>
                    <a:pt x="1516" y="1225"/>
                    <a:pt x="1499" y="1219"/>
                  </a:cubicBezTo>
                  <a:cubicBezTo>
                    <a:pt x="1486" y="1214"/>
                    <a:pt x="1479" y="1203"/>
                    <a:pt x="1482" y="1193"/>
                  </a:cubicBezTo>
                  <a:cubicBezTo>
                    <a:pt x="1485" y="1182"/>
                    <a:pt x="1496" y="1168"/>
                    <a:pt x="1514" y="1171"/>
                  </a:cubicBezTo>
                  <a:cubicBezTo>
                    <a:pt x="1526" y="1173"/>
                    <a:pt x="1541" y="1171"/>
                    <a:pt x="1556" y="1172"/>
                  </a:cubicBezTo>
                  <a:close/>
                  <a:moveTo>
                    <a:pt x="1531" y="1019"/>
                  </a:moveTo>
                  <a:cubicBezTo>
                    <a:pt x="1553" y="1017"/>
                    <a:pt x="1570" y="1033"/>
                    <a:pt x="1570" y="1052"/>
                  </a:cubicBezTo>
                  <a:cubicBezTo>
                    <a:pt x="1570" y="1075"/>
                    <a:pt x="1554" y="1093"/>
                    <a:pt x="1532" y="1091"/>
                  </a:cubicBezTo>
                  <a:cubicBezTo>
                    <a:pt x="1508" y="1089"/>
                    <a:pt x="1494" y="1082"/>
                    <a:pt x="1493" y="1053"/>
                  </a:cubicBezTo>
                  <a:cubicBezTo>
                    <a:pt x="1494" y="1029"/>
                    <a:pt x="1508" y="1020"/>
                    <a:pt x="1531" y="1019"/>
                  </a:cubicBezTo>
                  <a:close/>
                  <a:moveTo>
                    <a:pt x="1413" y="934"/>
                  </a:moveTo>
                  <a:cubicBezTo>
                    <a:pt x="1413" y="909"/>
                    <a:pt x="1413" y="909"/>
                    <a:pt x="1389" y="910"/>
                  </a:cubicBezTo>
                  <a:cubicBezTo>
                    <a:pt x="1388" y="910"/>
                    <a:pt x="1387" y="910"/>
                    <a:pt x="1387" y="910"/>
                  </a:cubicBezTo>
                  <a:cubicBezTo>
                    <a:pt x="1379" y="910"/>
                    <a:pt x="1376" y="915"/>
                    <a:pt x="1376" y="921"/>
                  </a:cubicBezTo>
                  <a:cubicBezTo>
                    <a:pt x="1376" y="939"/>
                    <a:pt x="1377" y="956"/>
                    <a:pt x="1377" y="974"/>
                  </a:cubicBezTo>
                  <a:cubicBezTo>
                    <a:pt x="1377" y="983"/>
                    <a:pt x="1377" y="991"/>
                    <a:pt x="1377" y="1000"/>
                  </a:cubicBezTo>
                  <a:cubicBezTo>
                    <a:pt x="1377" y="1005"/>
                    <a:pt x="1374" y="1009"/>
                    <a:pt x="1369" y="1005"/>
                  </a:cubicBezTo>
                  <a:cubicBezTo>
                    <a:pt x="1352" y="990"/>
                    <a:pt x="1332" y="993"/>
                    <a:pt x="1312" y="993"/>
                  </a:cubicBezTo>
                  <a:cubicBezTo>
                    <a:pt x="1303" y="994"/>
                    <a:pt x="1294" y="998"/>
                    <a:pt x="1287" y="1003"/>
                  </a:cubicBezTo>
                  <a:cubicBezTo>
                    <a:pt x="1265" y="1017"/>
                    <a:pt x="1252" y="1039"/>
                    <a:pt x="1248" y="1065"/>
                  </a:cubicBezTo>
                  <a:cubicBezTo>
                    <a:pt x="1244" y="1096"/>
                    <a:pt x="1244" y="1128"/>
                    <a:pt x="1261" y="1157"/>
                  </a:cubicBezTo>
                  <a:cubicBezTo>
                    <a:pt x="1270" y="1170"/>
                    <a:pt x="1281" y="1181"/>
                    <a:pt x="1296" y="1185"/>
                  </a:cubicBezTo>
                  <a:cubicBezTo>
                    <a:pt x="1323" y="1191"/>
                    <a:pt x="1349" y="1188"/>
                    <a:pt x="1370" y="1167"/>
                  </a:cubicBezTo>
                  <a:cubicBezTo>
                    <a:pt x="1372" y="1165"/>
                    <a:pt x="1375" y="1162"/>
                    <a:pt x="1379" y="1163"/>
                  </a:cubicBezTo>
                  <a:cubicBezTo>
                    <a:pt x="1382" y="1165"/>
                    <a:pt x="1381" y="1169"/>
                    <a:pt x="1381" y="1172"/>
                  </a:cubicBezTo>
                  <a:cubicBezTo>
                    <a:pt x="1383" y="1181"/>
                    <a:pt x="1390" y="1186"/>
                    <a:pt x="1403" y="1186"/>
                  </a:cubicBezTo>
                  <a:cubicBezTo>
                    <a:pt x="1413" y="1185"/>
                    <a:pt x="1413" y="1178"/>
                    <a:pt x="1413" y="1172"/>
                  </a:cubicBezTo>
                  <a:cubicBezTo>
                    <a:pt x="1413" y="1131"/>
                    <a:pt x="1413" y="1090"/>
                    <a:pt x="1413" y="1049"/>
                  </a:cubicBezTo>
                  <a:cubicBezTo>
                    <a:pt x="1413" y="1010"/>
                    <a:pt x="1413" y="972"/>
                    <a:pt x="1413" y="934"/>
                  </a:cubicBezTo>
                  <a:close/>
                  <a:moveTo>
                    <a:pt x="1378" y="1113"/>
                  </a:moveTo>
                  <a:cubicBezTo>
                    <a:pt x="1378" y="1136"/>
                    <a:pt x="1360" y="1155"/>
                    <a:pt x="1337" y="1157"/>
                  </a:cubicBezTo>
                  <a:cubicBezTo>
                    <a:pt x="1319" y="1159"/>
                    <a:pt x="1304" y="1154"/>
                    <a:pt x="1294" y="1139"/>
                  </a:cubicBezTo>
                  <a:cubicBezTo>
                    <a:pt x="1286" y="1128"/>
                    <a:pt x="1283" y="1116"/>
                    <a:pt x="1283" y="1102"/>
                  </a:cubicBezTo>
                  <a:cubicBezTo>
                    <a:pt x="1282" y="1085"/>
                    <a:pt x="1282" y="1067"/>
                    <a:pt x="1290" y="1051"/>
                  </a:cubicBezTo>
                  <a:cubicBezTo>
                    <a:pt x="1297" y="1036"/>
                    <a:pt x="1308" y="1024"/>
                    <a:pt x="1325" y="1022"/>
                  </a:cubicBezTo>
                  <a:cubicBezTo>
                    <a:pt x="1342" y="1020"/>
                    <a:pt x="1358" y="1021"/>
                    <a:pt x="1371" y="1035"/>
                  </a:cubicBezTo>
                  <a:cubicBezTo>
                    <a:pt x="1376" y="1041"/>
                    <a:pt x="1378" y="1046"/>
                    <a:pt x="1378" y="1052"/>
                  </a:cubicBezTo>
                  <a:cubicBezTo>
                    <a:pt x="1378" y="1064"/>
                    <a:pt x="1378" y="1075"/>
                    <a:pt x="1378" y="1086"/>
                  </a:cubicBezTo>
                  <a:cubicBezTo>
                    <a:pt x="1378" y="1086"/>
                    <a:pt x="1378" y="1086"/>
                    <a:pt x="1378" y="1086"/>
                  </a:cubicBezTo>
                  <a:cubicBezTo>
                    <a:pt x="1378" y="1095"/>
                    <a:pt x="1378" y="1104"/>
                    <a:pt x="1378" y="1113"/>
                  </a:cubicBezTo>
                  <a:close/>
                  <a:moveTo>
                    <a:pt x="578" y="259"/>
                  </a:moveTo>
                  <a:cubicBezTo>
                    <a:pt x="603" y="241"/>
                    <a:pt x="611" y="213"/>
                    <a:pt x="614" y="183"/>
                  </a:cubicBezTo>
                  <a:cubicBezTo>
                    <a:pt x="615" y="171"/>
                    <a:pt x="610" y="159"/>
                    <a:pt x="609" y="147"/>
                  </a:cubicBezTo>
                  <a:cubicBezTo>
                    <a:pt x="608" y="137"/>
                    <a:pt x="603" y="129"/>
                    <a:pt x="599" y="121"/>
                  </a:cubicBezTo>
                  <a:cubicBezTo>
                    <a:pt x="579" y="87"/>
                    <a:pt x="527" y="70"/>
                    <a:pt x="488" y="85"/>
                  </a:cubicBezTo>
                  <a:cubicBezTo>
                    <a:pt x="453" y="99"/>
                    <a:pt x="436" y="127"/>
                    <a:pt x="431" y="163"/>
                  </a:cubicBezTo>
                  <a:cubicBezTo>
                    <a:pt x="429" y="180"/>
                    <a:pt x="430" y="196"/>
                    <a:pt x="436" y="213"/>
                  </a:cubicBezTo>
                  <a:cubicBezTo>
                    <a:pt x="439" y="222"/>
                    <a:pt x="442" y="232"/>
                    <a:pt x="447" y="239"/>
                  </a:cubicBezTo>
                  <a:cubicBezTo>
                    <a:pt x="465" y="265"/>
                    <a:pt x="491" y="277"/>
                    <a:pt x="525" y="276"/>
                  </a:cubicBezTo>
                  <a:cubicBezTo>
                    <a:pt x="543" y="278"/>
                    <a:pt x="562" y="271"/>
                    <a:pt x="578" y="259"/>
                  </a:cubicBezTo>
                  <a:close/>
                  <a:moveTo>
                    <a:pt x="471" y="205"/>
                  </a:moveTo>
                  <a:cubicBezTo>
                    <a:pt x="466" y="185"/>
                    <a:pt x="468" y="167"/>
                    <a:pt x="472" y="147"/>
                  </a:cubicBezTo>
                  <a:cubicBezTo>
                    <a:pt x="477" y="130"/>
                    <a:pt x="493" y="116"/>
                    <a:pt x="509" y="112"/>
                  </a:cubicBezTo>
                  <a:cubicBezTo>
                    <a:pt x="525" y="108"/>
                    <a:pt x="539" y="110"/>
                    <a:pt x="553" y="119"/>
                  </a:cubicBezTo>
                  <a:cubicBezTo>
                    <a:pt x="563" y="125"/>
                    <a:pt x="568" y="135"/>
                    <a:pt x="571" y="146"/>
                  </a:cubicBezTo>
                  <a:cubicBezTo>
                    <a:pt x="577" y="167"/>
                    <a:pt x="578" y="189"/>
                    <a:pt x="571" y="211"/>
                  </a:cubicBezTo>
                  <a:cubicBezTo>
                    <a:pt x="565" y="231"/>
                    <a:pt x="549" y="249"/>
                    <a:pt x="521" y="247"/>
                  </a:cubicBezTo>
                  <a:cubicBezTo>
                    <a:pt x="496" y="247"/>
                    <a:pt x="478" y="230"/>
                    <a:pt x="471" y="205"/>
                  </a:cubicBezTo>
                  <a:close/>
                  <a:moveTo>
                    <a:pt x="472" y="1122"/>
                  </a:moveTo>
                  <a:cubicBezTo>
                    <a:pt x="475" y="1136"/>
                    <a:pt x="481" y="1148"/>
                    <a:pt x="491" y="1158"/>
                  </a:cubicBezTo>
                  <a:cubicBezTo>
                    <a:pt x="506" y="1176"/>
                    <a:pt x="524" y="1185"/>
                    <a:pt x="548" y="1187"/>
                  </a:cubicBezTo>
                  <a:cubicBezTo>
                    <a:pt x="568" y="1188"/>
                    <a:pt x="587" y="1187"/>
                    <a:pt x="605" y="1177"/>
                  </a:cubicBezTo>
                  <a:cubicBezTo>
                    <a:pt x="632" y="1162"/>
                    <a:pt x="644" y="1136"/>
                    <a:pt x="649" y="1107"/>
                  </a:cubicBezTo>
                  <a:cubicBezTo>
                    <a:pt x="652" y="1089"/>
                    <a:pt x="649" y="1072"/>
                    <a:pt x="644" y="1054"/>
                  </a:cubicBezTo>
                  <a:cubicBezTo>
                    <a:pt x="638" y="1034"/>
                    <a:pt x="627" y="1019"/>
                    <a:pt x="610" y="1007"/>
                  </a:cubicBezTo>
                  <a:cubicBezTo>
                    <a:pt x="589" y="992"/>
                    <a:pt x="566" y="991"/>
                    <a:pt x="541" y="994"/>
                  </a:cubicBezTo>
                  <a:cubicBezTo>
                    <a:pt x="526" y="995"/>
                    <a:pt x="512" y="1002"/>
                    <a:pt x="500" y="1012"/>
                  </a:cubicBezTo>
                  <a:cubicBezTo>
                    <a:pt x="476" y="1032"/>
                    <a:pt x="469" y="1060"/>
                    <a:pt x="466" y="1095"/>
                  </a:cubicBezTo>
                  <a:cubicBezTo>
                    <a:pt x="465" y="1101"/>
                    <a:pt x="470" y="1111"/>
                    <a:pt x="472" y="1122"/>
                  </a:cubicBezTo>
                  <a:close/>
                  <a:moveTo>
                    <a:pt x="508" y="1113"/>
                  </a:moveTo>
                  <a:cubicBezTo>
                    <a:pt x="505" y="1095"/>
                    <a:pt x="506" y="1078"/>
                    <a:pt x="508" y="1061"/>
                  </a:cubicBezTo>
                  <a:cubicBezTo>
                    <a:pt x="511" y="1042"/>
                    <a:pt x="538" y="1021"/>
                    <a:pt x="554" y="1022"/>
                  </a:cubicBezTo>
                  <a:cubicBezTo>
                    <a:pt x="570" y="1022"/>
                    <a:pt x="586" y="1024"/>
                    <a:pt x="596" y="1037"/>
                  </a:cubicBezTo>
                  <a:cubicBezTo>
                    <a:pt x="602" y="1044"/>
                    <a:pt x="607" y="1052"/>
                    <a:pt x="608" y="1061"/>
                  </a:cubicBezTo>
                  <a:cubicBezTo>
                    <a:pt x="608" y="1064"/>
                    <a:pt x="609" y="1067"/>
                    <a:pt x="610" y="1070"/>
                  </a:cubicBezTo>
                  <a:cubicBezTo>
                    <a:pt x="618" y="1089"/>
                    <a:pt x="612" y="1107"/>
                    <a:pt x="607" y="1125"/>
                  </a:cubicBezTo>
                  <a:cubicBezTo>
                    <a:pt x="601" y="1143"/>
                    <a:pt x="588" y="1160"/>
                    <a:pt x="558" y="1157"/>
                  </a:cubicBezTo>
                  <a:cubicBezTo>
                    <a:pt x="530" y="1157"/>
                    <a:pt x="512" y="1141"/>
                    <a:pt x="508" y="1113"/>
                  </a:cubicBezTo>
                  <a:close/>
                  <a:moveTo>
                    <a:pt x="430" y="716"/>
                  </a:moveTo>
                  <a:cubicBezTo>
                    <a:pt x="450" y="703"/>
                    <a:pt x="459" y="683"/>
                    <a:pt x="464" y="661"/>
                  </a:cubicBezTo>
                  <a:cubicBezTo>
                    <a:pt x="468" y="648"/>
                    <a:pt x="467" y="635"/>
                    <a:pt x="466" y="621"/>
                  </a:cubicBezTo>
                  <a:cubicBezTo>
                    <a:pt x="463" y="592"/>
                    <a:pt x="453" y="567"/>
                    <a:pt x="427" y="550"/>
                  </a:cubicBezTo>
                  <a:cubicBezTo>
                    <a:pt x="401" y="534"/>
                    <a:pt x="372" y="532"/>
                    <a:pt x="345" y="541"/>
                  </a:cubicBezTo>
                  <a:cubicBezTo>
                    <a:pt x="310" y="552"/>
                    <a:pt x="291" y="580"/>
                    <a:pt x="287" y="617"/>
                  </a:cubicBezTo>
                  <a:cubicBezTo>
                    <a:pt x="286" y="629"/>
                    <a:pt x="286" y="641"/>
                    <a:pt x="287" y="654"/>
                  </a:cubicBezTo>
                  <a:cubicBezTo>
                    <a:pt x="289" y="671"/>
                    <a:pt x="295" y="686"/>
                    <a:pt x="306" y="700"/>
                  </a:cubicBezTo>
                  <a:cubicBezTo>
                    <a:pt x="324" y="722"/>
                    <a:pt x="348" y="733"/>
                    <a:pt x="378" y="731"/>
                  </a:cubicBezTo>
                  <a:cubicBezTo>
                    <a:pt x="396" y="733"/>
                    <a:pt x="414" y="727"/>
                    <a:pt x="430" y="716"/>
                  </a:cubicBezTo>
                  <a:close/>
                  <a:moveTo>
                    <a:pt x="331" y="592"/>
                  </a:moveTo>
                  <a:cubicBezTo>
                    <a:pt x="339" y="580"/>
                    <a:pt x="349" y="569"/>
                    <a:pt x="365" y="567"/>
                  </a:cubicBezTo>
                  <a:cubicBezTo>
                    <a:pt x="387" y="564"/>
                    <a:pt x="406" y="568"/>
                    <a:pt x="419" y="588"/>
                  </a:cubicBezTo>
                  <a:cubicBezTo>
                    <a:pt x="423" y="595"/>
                    <a:pt x="426" y="603"/>
                    <a:pt x="427" y="610"/>
                  </a:cubicBezTo>
                  <a:cubicBezTo>
                    <a:pt x="433" y="635"/>
                    <a:pt x="431" y="661"/>
                    <a:pt x="416" y="684"/>
                  </a:cubicBezTo>
                  <a:cubicBezTo>
                    <a:pt x="403" y="706"/>
                    <a:pt x="362" y="708"/>
                    <a:pt x="345" y="692"/>
                  </a:cubicBezTo>
                  <a:cubicBezTo>
                    <a:pt x="329" y="678"/>
                    <a:pt x="323" y="661"/>
                    <a:pt x="323" y="631"/>
                  </a:cubicBezTo>
                  <a:cubicBezTo>
                    <a:pt x="323" y="619"/>
                    <a:pt x="323" y="605"/>
                    <a:pt x="331" y="592"/>
                  </a:cubicBezTo>
                  <a:close/>
                  <a:moveTo>
                    <a:pt x="1073" y="259"/>
                  </a:moveTo>
                  <a:cubicBezTo>
                    <a:pt x="1073" y="269"/>
                    <a:pt x="1075" y="272"/>
                    <a:pt x="1086" y="272"/>
                  </a:cubicBezTo>
                  <a:cubicBezTo>
                    <a:pt x="1088" y="272"/>
                    <a:pt x="1090" y="272"/>
                    <a:pt x="1092" y="272"/>
                  </a:cubicBezTo>
                  <a:cubicBezTo>
                    <a:pt x="1105" y="272"/>
                    <a:pt x="1106" y="271"/>
                    <a:pt x="1106" y="258"/>
                  </a:cubicBezTo>
                  <a:cubicBezTo>
                    <a:pt x="1106" y="221"/>
                    <a:pt x="1106" y="184"/>
                    <a:pt x="1106" y="147"/>
                  </a:cubicBezTo>
                  <a:cubicBezTo>
                    <a:pt x="1106" y="143"/>
                    <a:pt x="1106" y="140"/>
                    <a:pt x="1107" y="137"/>
                  </a:cubicBezTo>
                  <a:cubicBezTo>
                    <a:pt x="1117" y="117"/>
                    <a:pt x="1157" y="104"/>
                    <a:pt x="1177" y="114"/>
                  </a:cubicBezTo>
                  <a:cubicBezTo>
                    <a:pt x="1179" y="115"/>
                    <a:pt x="1180" y="117"/>
                    <a:pt x="1182" y="118"/>
                  </a:cubicBezTo>
                  <a:cubicBezTo>
                    <a:pt x="1194" y="131"/>
                    <a:pt x="1196" y="147"/>
                    <a:pt x="1196" y="163"/>
                  </a:cubicBezTo>
                  <a:cubicBezTo>
                    <a:pt x="1197" y="195"/>
                    <a:pt x="1196" y="226"/>
                    <a:pt x="1196" y="258"/>
                  </a:cubicBezTo>
                  <a:cubicBezTo>
                    <a:pt x="1196" y="271"/>
                    <a:pt x="1197" y="272"/>
                    <a:pt x="1210" y="272"/>
                  </a:cubicBezTo>
                  <a:cubicBezTo>
                    <a:pt x="1212" y="272"/>
                    <a:pt x="1213" y="272"/>
                    <a:pt x="1215" y="272"/>
                  </a:cubicBezTo>
                  <a:cubicBezTo>
                    <a:pt x="1227" y="272"/>
                    <a:pt x="1229" y="270"/>
                    <a:pt x="1229" y="258"/>
                  </a:cubicBezTo>
                  <a:cubicBezTo>
                    <a:pt x="1229" y="222"/>
                    <a:pt x="1229" y="187"/>
                    <a:pt x="1229" y="151"/>
                  </a:cubicBezTo>
                  <a:cubicBezTo>
                    <a:pt x="1229" y="142"/>
                    <a:pt x="1228" y="132"/>
                    <a:pt x="1225" y="123"/>
                  </a:cubicBezTo>
                  <a:cubicBezTo>
                    <a:pt x="1219" y="105"/>
                    <a:pt x="1208" y="91"/>
                    <a:pt x="1189" y="85"/>
                  </a:cubicBezTo>
                  <a:cubicBezTo>
                    <a:pt x="1173" y="80"/>
                    <a:pt x="1156" y="84"/>
                    <a:pt x="1139" y="84"/>
                  </a:cubicBezTo>
                  <a:cubicBezTo>
                    <a:pt x="1137" y="84"/>
                    <a:pt x="1136" y="86"/>
                    <a:pt x="1134" y="87"/>
                  </a:cubicBezTo>
                  <a:cubicBezTo>
                    <a:pt x="1128" y="91"/>
                    <a:pt x="1121" y="96"/>
                    <a:pt x="1115" y="100"/>
                  </a:cubicBezTo>
                  <a:cubicBezTo>
                    <a:pt x="1113" y="102"/>
                    <a:pt x="1111" y="105"/>
                    <a:pt x="1108" y="103"/>
                  </a:cubicBezTo>
                  <a:cubicBezTo>
                    <a:pt x="1105" y="102"/>
                    <a:pt x="1106" y="98"/>
                    <a:pt x="1106" y="96"/>
                  </a:cubicBezTo>
                  <a:cubicBezTo>
                    <a:pt x="1106" y="69"/>
                    <a:pt x="1106" y="43"/>
                    <a:pt x="1106" y="17"/>
                  </a:cubicBezTo>
                  <a:cubicBezTo>
                    <a:pt x="1106" y="0"/>
                    <a:pt x="1106" y="0"/>
                    <a:pt x="1089" y="0"/>
                  </a:cubicBezTo>
                  <a:cubicBezTo>
                    <a:pt x="1074" y="0"/>
                    <a:pt x="1073" y="1"/>
                    <a:pt x="1073" y="16"/>
                  </a:cubicBezTo>
                  <a:cubicBezTo>
                    <a:pt x="1073" y="56"/>
                    <a:pt x="1073" y="96"/>
                    <a:pt x="1073" y="136"/>
                  </a:cubicBezTo>
                  <a:cubicBezTo>
                    <a:pt x="1073" y="177"/>
                    <a:pt x="1073" y="218"/>
                    <a:pt x="1073" y="259"/>
                  </a:cubicBezTo>
                  <a:close/>
                  <a:moveTo>
                    <a:pt x="1150" y="1092"/>
                  </a:moveTo>
                  <a:cubicBezTo>
                    <a:pt x="1168" y="1092"/>
                    <a:pt x="1186" y="1092"/>
                    <a:pt x="1204" y="1092"/>
                  </a:cubicBezTo>
                  <a:cubicBezTo>
                    <a:pt x="1215" y="1092"/>
                    <a:pt x="1218" y="1087"/>
                    <a:pt x="1219" y="1077"/>
                  </a:cubicBezTo>
                  <a:cubicBezTo>
                    <a:pt x="1220" y="1062"/>
                    <a:pt x="1216" y="1049"/>
                    <a:pt x="1210" y="1036"/>
                  </a:cubicBezTo>
                  <a:cubicBezTo>
                    <a:pt x="1204" y="1020"/>
                    <a:pt x="1193" y="1008"/>
                    <a:pt x="1177" y="1001"/>
                  </a:cubicBezTo>
                  <a:cubicBezTo>
                    <a:pt x="1155" y="992"/>
                    <a:pt x="1133" y="991"/>
                    <a:pt x="1109" y="999"/>
                  </a:cubicBezTo>
                  <a:cubicBezTo>
                    <a:pt x="1079" y="1010"/>
                    <a:pt x="1062" y="1031"/>
                    <a:pt x="1056" y="1061"/>
                  </a:cubicBezTo>
                  <a:cubicBezTo>
                    <a:pt x="1051" y="1090"/>
                    <a:pt x="1052" y="1120"/>
                    <a:pt x="1069" y="1148"/>
                  </a:cubicBezTo>
                  <a:cubicBezTo>
                    <a:pt x="1081" y="1169"/>
                    <a:pt x="1100" y="1180"/>
                    <a:pt x="1122" y="1185"/>
                  </a:cubicBezTo>
                  <a:cubicBezTo>
                    <a:pt x="1149" y="1190"/>
                    <a:pt x="1176" y="1186"/>
                    <a:pt x="1200" y="1171"/>
                  </a:cubicBezTo>
                  <a:cubicBezTo>
                    <a:pt x="1206" y="1168"/>
                    <a:pt x="1213" y="1165"/>
                    <a:pt x="1214" y="1157"/>
                  </a:cubicBezTo>
                  <a:cubicBezTo>
                    <a:pt x="1215" y="1147"/>
                    <a:pt x="1202" y="1139"/>
                    <a:pt x="1193" y="1144"/>
                  </a:cubicBezTo>
                  <a:cubicBezTo>
                    <a:pt x="1187" y="1147"/>
                    <a:pt x="1180" y="1150"/>
                    <a:pt x="1174" y="1153"/>
                  </a:cubicBezTo>
                  <a:cubicBezTo>
                    <a:pt x="1158" y="1161"/>
                    <a:pt x="1140" y="1161"/>
                    <a:pt x="1124" y="1155"/>
                  </a:cubicBezTo>
                  <a:cubicBezTo>
                    <a:pt x="1112" y="1151"/>
                    <a:pt x="1102" y="1142"/>
                    <a:pt x="1096" y="1129"/>
                  </a:cubicBezTo>
                  <a:cubicBezTo>
                    <a:pt x="1092" y="1121"/>
                    <a:pt x="1091" y="1112"/>
                    <a:pt x="1089" y="1104"/>
                  </a:cubicBezTo>
                  <a:cubicBezTo>
                    <a:pt x="1087" y="1093"/>
                    <a:pt x="1087" y="1092"/>
                    <a:pt x="1099" y="1092"/>
                  </a:cubicBezTo>
                  <a:cubicBezTo>
                    <a:pt x="1116" y="1092"/>
                    <a:pt x="1133" y="1092"/>
                    <a:pt x="1150" y="1092"/>
                  </a:cubicBezTo>
                  <a:cubicBezTo>
                    <a:pt x="1150" y="1092"/>
                    <a:pt x="1150" y="1092"/>
                    <a:pt x="1150" y="1092"/>
                  </a:cubicBezTo>
                  <a:close/>
                  <a:moveTo>
                    <a:pt x="1099" y="1070"/>
                  </a:moveTo>
                  <a:cubicBezTo>
                    <a:pt x="1092" y="1071"/>
                    <a:pt x="1089" y="1067"/>
                    <a:pt x="1091" y="1060"/>
                  </a:cubicBezTo>
                  <a:cubicBezTo>
                    <a:pt x="1094" y="1045"/>
                    <a:pt x="1108" y="1023"/>
                    <a:pt x="1128" y="1022"/>
                  </a:cubicBezTo>
                  <a:cubicBezTo>
                    <a:pt x="1142" y="1021"/>
                    <a:pt x="1156" y="1018"/>
                    <a:pt x="1168" y="1029"/>
                  </a:cubicBezTo>
                  <a:cubicBezTo>
                    <a:pt x="1181" y="1038"/>
                    <a:pt x="1185" y="1051"/>
                    <a:pt x="1187" y="1066"/>
                  </a:cubicBezTo>
                  <a:cubicBezTo>
                    <a:pt x="1188" y="1071"/>
                    <a:pt x="1183" y="1070"/>
                    <a:pt x="1180" y="1070"/>
                  </a:cubicBezTo>
                  <a:cubicBezTo>
                    <a:pt x="1166" y="1070"/>
                    <a:pt x="1153" y="1070"/>
                    <a:pt x="1139" y="1070"/>
                  </a:cubicBezTo>
                  <a:cubicBezTo>
                    <a:pt x="1139" y="1070"/>
                    <a:pt x="1139" y="1070"/>
                    <a:pt x="1139" y="1070"/>
                  </a:cubicBezTo>
                  <a:cubicBezTo>
                    <a:pt x="1126" y="1070"/>
                    <a:pt x="1113" y="1070"/>
                    <a:pt x="1099" y="1070"/>
                  </a:cubicBezTo>
                  <a:close/>
                  <a:moveTo>
                    <a:pt x="1741" y="1092"/>
                  </a:moveTo>
                  <a:cubicBezTo>
                    <a:pt x="1759" y="1092"/>
                    <a:pt x="1776" y="1092"/>
                    <a:pt x="1793" y="1092"/>
                  </a:cubicBezTo>
                  <a:cubicBezTo>
                    <a:pt x="1806" y="1092"/>
                    <a:pt x="1808" y="1089"/>
                    <a:pt x="1808" y="1076"/>
                  </a:cubicBezTo>
                  <a:cubicBezTo>
                    <a:pt x="1809" y="1063"/>
                    <a:pt x="1807" y="1051"/>
                    <a:pt x="1802" y="1038"/>
                  </a:cubicBezTo>
                  <a:cubicBezTo>
                    <a:pt x="1794" y="1021"/>
                    <a:pt x="1782" y="1008"/>
                    <a:pt x="1764" y="1000"/>
                  </a:cubicBezTo>
                  <a:cubicBezTo>
                    <a:pt x="1742" y="991"/>
                    <a:pt x="1720" y="991"/>
                    <a:pt x="1698" y="1000"/>
                  </a:cubicBezTo>
                  <a:cubicBezTo>
                    <a:pt x="1681" y="1006"/>
                    <a:pt x="1668" y="1016"/>
                    <a:pt x="1659" y="1031"/>
                  </a:cubicBezTo>
                  <a:cubicBezTo>
                    <a:pt x="1646" y="1050"/>
                    <a:pt x="1643" y="1071"/>
                    <a:pt x="1644" y="1094"/>
                  </a:cubicBezTo>
                  <a:cubicBezTo>
                    <a:pt x="1644" y="1110"/>
                    <a:pt x="1647" y="1127"/>
                    <a:pt x="1655" y="1141"/>
                  </a:cubicBezTo>
                  <a:cubicBezTo>
                    <a:pt x="1669" y="1168"/>
                    <a:pt x="1691" y="1183"/>
                    <a:pt x="1722" y="1186"/>
                  </a:cubicBezTo>
                  <a:cubicBezTo>
                    <a:pt x="1750" y="1188"/>
                    <a:pt x="1775" y="1183"/>
                    <a:pt x="1798" y="1165"/>
                  </a:cubicBezTo>
                  <a:cubicBezTo>
                    <a:pt x="1803" y="1161"/>
                    <a:pt x="1806" y="1157"/>
                    <a:pt x="1802" y="1151"/>
                  </a:cubicBezTo>
                  <a:cubicBezTo>
                    <a:pt x="1798" y="1144"/>
                    <a:pt x="1791" y="1140"/>
                    <a:pt x="1783" y="1144"/>
                  </a:cubicBezTo>
                  <a:cubicBezTo>
                    <a:pt x="1778" y="1147"/>
                    <a:pt x="1771" y="1149"/>
                    <a:pt x="1766" y="1152"/>
                  </a:cubicBezTo>
                  <a:cubicBezTo>
                    <a:pt x="1749" y="1161"/>
                    <a:pt x="1730" y="1162"/>
                    <a:pt x="1714" y="1155"/>
                  </a:cubicBezTo>
                  <a:cubicBezTo>
                    <a:pt x="1692" y="1145"/>
                    <a:pt x="1680" y="1127"/>
                    <a:pt x="1679" y="1102"/>
                  </a:cubicBezTo>
                  <a:cubicBezTo>
                    <a:pt x="1678" y="1095"/>
                    <a:pt x="1681" y="1092"/>
                    <a:pt x="1689" y="1092"/>
                  </a:cubicBezTo>
                  <a:cubicBezTo>
                    <a:pt x="1706" y="1092"/>
                    <a:pt x="1724" y="1092"/>
                    <a:pt x="1741" y="1092"/>
                  </a:cubicBezTo>
                  <a:cubicBezTo>
                    <a:pt x="1741" y="1092"/>
                    <a:pt x="1741" y="1092"/>
                    <a:pt x="1741" y="1092"/>
                  </a:cubicBezTo>
                  <a:close/>
                  <a:moveTo>
                    <a:pt x="1690" y="1070"/>
                  </a:moveTo>
                  <a:cubicBezTo>
                    <a:pt x="1683" y="1071"/>
                    <a:pt x="1680" y="1068"/>
                    <a:pt x="1681" y="1062"/>
                  </a:cubicBezTo>
                  <a:cubicBezTo>
                    <a:pt x="1683" y="1048"/>
                    <a:pt x="1697" y="1024"/>
                    <a:pt x="1716" y="1022"/>
                  </a:cubicBezTo>
                  <a:cubicBezTo>
                    <a:pt x="1731" y="1020"/>
                    <a:pt x="1747" y="1018"/>
                    <a:pt x="1760" y="1030"/>
                  </a:cubicBezTo>
                  <a:cubicBezTo>
                    <a:pt x="1771" y="1038"/>
                    <a:pt x="1775" y="1050"/>
                    <a:pt x="1778" y="1062"/>
                  </a:cubicBezTo>
                  <a:cubicBezTo>
                    <a:pt x="1780" y="1068"/>
                    <a:pt x="1775" y="1070"/>
                    <a:pt x="1769" y="1070"/>
                  </a:cubicBezTo>
                  <a:cubicBezTo>
                    <a:pt x="1756" y="1070"/>
                    <a:pt x="1742" y="1070"/>
                    <a:pt x="1729" y="1070"/>
                  </a:cubicBezTo>
                  <a:cubicBezTo>
                    <a:pt x="1729" y="1070"/>
                    <a:pt x="1729" y="1070"/>
                    <a:pt x="1729" y="1070"/>
                  </a:cubicBezTo>
                  <a:cubicBezTo>
                    <a:pt x="1716" y="1070"/>
                    <a:pt x="1703" y="1070"/>
                    <a:pt x="1690" y="1070"/>
                  </a:cubicBezTo>
                  <a:close/>
                  <a:moveTo>
                    <a:pt x="68" y="581"/>
                  </a:moveTo>
                  <a:cubicBezTo>
                    <a:pt x="68" y="573"/>
                    <a:pt x="70" y="568"/>
                    <a:pt x="80" y="569"/>
                  </a:cubicBezTo>
                  <a:cubicBezTo>
                    <a:pt x="90" y="570"/>
                    <a:pt x="101" y="570"/>
                    <a:pt x="111" y="569"/>
                  </a:cubicBezTo>
                  <a:cubicBezTo>
                    <a:pt x="120" y="569"/>
                    <a:pt x="120" y="563"/>
                    <a:pt x="120" y="556"/>
                  </a:cubicBezTo>
                  <a:cubicBezTo>
                    <a:pt x="120" y="549"/>
                    <a:pt x="119" y="544"/>
                    <a:pt x="111" y="544"/>
                  </a:cubicBezTo>
                  <a:cubicBezTo>
                    <a:pt x="104" y="544"/>
                    <a:pt x="97" y="544"/>
                    <a:pt x="91" y="544"/>
                  </a:cubicBezTo>
                  <a:cubicBezTo>
                    <a:pt x="66" y="544"/>
                    <a:pt x="65" y="543"/>
                    <a:pt x="68" y="518"/>
                  </a:cubicBezTo>
                  <a:cubicBezTo>
                    <a:pt x="69" y="504"/>
                    <a:pt x="83" y="487"/>
                    <a:pt x="99" y="489"/>
                  </a:cubicBezTo>
                  <a:cubicBezTo>
                    <a:pt x="103" y="489"/>
                    <a:pt x="107" y="489"/>
                    <a:pt x="110" y="488"/>
                  </a:cubicBezTo>
                  <a:cubicBezTo>
                    <a:pt x="118" y="487"/>
                    <a:pt x="123" y="479"/>
                    <a:pt x="123" y="471"/>
                  </a:cubicBezTo>
                  <a:cubicBezTo>
                    <a:pt x="123" y="461"/>
                    <a:pt x="116" y="462"/>
                    <a:pt x="109" y="460"/>
                  </a:cubicBezTo>
                  <a:cubicBezTo>
                    <a:pt x="100" y="458"/>
                    <a:pt x="92" y="460"/>
                    <a:pt x="84" y="460"/>
                  </a:cubicBezTo>
                  <a:cubicBezTo>
                    <a:pt x="68" y="461"/>
                    <a:pt x="56" y="469"/>
                    <a:pt x="47" y="480"/>
                  </a:cubicBezTo>
                  <a:cubicBezTo>
                    <a:pt x="34" y="493"/>
                    <a:pt x="32" y="511"/>
                    <a:pt x="32" y="529"/>
                  </a:cubicBezTo>
                  <a:cubicBezTo>
                    <a:pt x="32" y="544"/>
                    <a:pt x="32" y="544"/>
                    <a:pt x="17" y="544"/>
                  </a:cubicBezTo>
                  <a:cubicBezTo>
                    <a:pt x="4" y="543"/>
                    <a:pt x="0" y="548"/>
                    <a:pt x="4" y="561"/>
                  </a:cubicBezTo>
                  <a:cubicBezTo>
                    <a:pt x="6" y="569"/>
                    <a:pt x="13" y="568"/>
                    <a:pt x="19" y="569"/>
                  </a:cubicBezTo>
                  <a:cubicBezTo>
                    <a:pt x="32" y="571"/>
                    <a:pt x="32" y="571"/>
                    <a:pt x="32" y="584"/>
                  </a:cubicBezTo>
                  <a:cubicBezTo>
                    <a:pt x="32" y="624"/>
                    <a:pt x="32" y="664"/>
                    <a:pt x="32" y="704"/>
                  </a:cubicBezTo>
                  <a:cubicBezTo>
                    <a:pt x="32" y="731"/>
                    <a:pt x="32" y="730"/>
                    <a:pt x="57" y="731"/>
                  </a:cubicBezTo>
                  <a:cubicBezTo>
                    <a:pt x="66" y="731"/>
                    <a:pt x="68" y="727"/>
                    <a:pt x="68" y="720"/>
                  </a:cubicBezTo>
                  <a:cubicBezTo>
                    <a:pt x="68" y="697"/>
                    <a:pt x="68" y="674"/>
                    <a:pt x="68" y="651"/>
                  </a:cubicBezTo>
                  <a:cubicBezTo>
                    <a:pt x="68" y="628"/>
                    <a:pt x="68" y="605"/>
                    <a:pt x="68" y="581"/>
                  </a:cubicBezTo>
                  <a:close/>
                  <a:moveTo>
                    <a:pt x="278" y="1165"/>
                  </a:moveTo>
                  <a:cubicBezTo>
                    <a:pt x="278" y="1183"/>
                    <a:pt x="278" y="1183"/>
                    <a:pt x="296" y="1184"/>
                  </a:cubicBezTo>
                  <a:cubicBezTo>
                    <a:pt x="310" y="1184"/>
                    <a:pt x="310" y="1184"/>
                    <a:pt x="310" y="1169"/>
                  </a:cubicBezTo>
                  <a:cubicBezTo>
                    <a:pt x="310" y="1132"/>
                    <a:pt x="310" y="1095"/>
                    <a:pt x="310" y="1058"/>
                  </a:cubicBezTo>
                  <a:cubicBezTo>
                    <a:pt x="310" y="1052"/>
                    <a:pt x="312" y="1047"/>
                    <a:pt x="316" y="1042"/>
                  </a:cubicBezTo>
                  <a:cubicBezTo>
                    <a:pt x="324" y="1033"/>
                    <a:pt x="334" y="1027"/>
                    <a:pt x="345" y="1024"/>
                  </a:cubicBezTo>
                  <a:cubicBezTo>
                    <a:pt x="357" y="1020"/>
                    <a:pt x="371" y="1018"/>
                    <a:pt x="383" y="1028"/>
                  </a:cubicBezTo>
                  <a:cubicBezTo>
                    <a:pt x="397" y="1039"/>
                    <a:pt x="401" y="1054"/>
                    <a:pt x="401" y="1071"/>
                  </a:cubicBezTo>
                  <a:cubicBezTo>
                    <a:pt x="401" y="1102"/>
                    <a:pt x="401" y="1132"/>
                    <a:pt x="401" y="1163"/>
                  </a:cubicBezTo>
                  <a:cubicBezTo>
                    <a:pt x="401" y="1183"/>
                    <a:pt x="401" y="1182"/>
                    <a:pt x="420" y="1184"/>
                  </a:cubicBezTo>
                  <a:cubicBezTo>
                    <a:pt x="429" y="1185"/>
                    <a:pt x="433" y="1181"/>
                    <a:pt x="433" y="1173"/>
                  </a:cubicBezTo>
                  <a:cubicBezTo>
                    <a:pt x="432" y="1130"/>
                    <a:pt x="435" y="1087"/>
                    <a:pt x="431" y="1044"/>
                  </a:cubicBezTo>
                  <a:cubicBezTo>
                    <a:pt x="427" y="1014"/>
                    <a:pt x="404" y="996"/>
                    <a:pt x="376" y="994"/>
                  </a:cubicBezTo>
                  <a:cubicBezTo>
                    <a:pt x="353" y="992"/>
                    <a:pt x="333" y="1000"/>
                    <a:pt x="317" y="1017"/>
                  </a:cubicBezTo>
                  <a:cubicBezTo>
                    <a:pt x="312" y="1021"/>
                    <a:pt x="311" y="1019"/>
                    <a:pt x="309" y="1015"/>
                  </a:cubicBezTo>
                  <a:cubicBezTo>
                    <a:pt x="309" y="1013"/>
                    <a:pt x="308" y="1011"/>
                    <a:pt x="308" y="1008"/>
                  </a:cubicBezTo>
                  <a:cubicBezTo>
                    <a:pt x="306" y="1001"/>
                    <a:pt x="298" y="997"/>
                    <a:pt x="287" y="998"/>
                  </a:cubicBezTo>
                  <a:cubicBezTo>
                    <a:pt x="279" y="999"/>
                    <a:pt x="278" y="1004"/>
                    <a:pt x="278" y="1011"/>
                  </a:cubicBezTo>
                  <a:cubicBezTo>
                    <a:pt x="278" y="1037"/>
                    <a:pt x="278" y="1064"/>
                    <a:pt x="278" y="1091"/>
                  </a:cubicBezTo>
                  <a:cubicBezTo>
                    <a:pt x="278" y="1115"/>
                    <a:pt x="278" y="1140"/>
                    <a:pt x="278" y="1165"/>
                  </a:cubicBezTo>
                  <a:close/>
                  <a:moveTo>
                    <a:pt x="150" y="705"/>
                  </a:moveTo>
                  <a:cubicBezTo>
                    <a:pt x="150" y="734"/>
                    <a:pt x="145" y="730"/>
                    <a:pt x="176" y="731"/>
                  </a:cubicBezTo>
                  <a:cubicBezTo>
                    <a:pt x="185" y="731"/>
                    <a:pt x="187" y="727"/>
                    <a:pt x="187" y="719"/>
                  </a:cubicBezTo>
                  <a:cubicBezTo>
                    <a:pt x="187" y="685"/>
                    <a:pt x="187" y="651"/>
                    <a:pt x="187" y="618"/>
                  </a:cubicBezTo>
                  <a:cubicBezTo>
                    <a:pt x="187" y="597"/>
                    <a:pt x="204" y="578"/>
                    <a:pt x="225" y="574"/>
                  </a:cubicBezTo>
                  <a:cubicBezTo>
                    <a:pt x="232" y="572"/>
                    <a:pt x="240" y="574"/>
                    <a:pt x="247" y="575"/>
                  </a:cubicBezTo>
                  <a:cubicBezTo>
                    <a:pt x="257" y="576"/>
                    <a:pt x="261" y="572"/>
                    <a:pt x="265" y="564"/>
                  </a:cubicBezTo>
                  <a:cubicBezTo>
                    <a:pt x="269" y="556"/>
                    <a:pt x="267" y="542"/>
                    <a:pt x="261" y="540"/>
                  </a:cubicBezTo>
                  <a:cubicBezTo>
                    <a:pt x="253" y="538"/>
                    <a:pt x="244" y="534"/>
                    <a:pt x="237" y="536"/>
                  </a:cubicBezTo>
                  <a:cubicBezTo>
                    <a:pt x="228" y="537"/>
                    <a:pt x="217" y="537"/>
                    <a:pt x="209" y="544"/>
                  </a:cubicBezTo>
                  <a:cubicBezTo>
                    <a:pt x="204" y="549"/>
                    <a:pt x="198" y="553"/>
                    <a:pt x="194" y="558"/>
                  </a:cubicBezTo>
                  <a:cubicBezTo>
                    <a:pt x="192" y="561"/>
                    <a:pt x="189" y="563"/>
                    <a:pt x="185" y="562"/>
                  </a:cubicBezTo>
                  <a:cubicBezTo>
                    <a:pt x="182" y="561"/>
                    <a:pt x="182" y="558"/>
                    <a:pt x="182" y="556"/>
                  </a:cubicBezTo>
                  <a:cubicBezTo>
                    <a:pt x="180" y="539"/>
                    <a:pt x="179" y="539"/>
                    <a:pt x="162" y="539"/>
                  </a:cubicBezTo>
                  <a:cubicBezTo>
                    <a:pt x="151" y="539"/>
                    <a:pt x="150" y="540"/>
                    <a:pt x="150" y="551"/>
                  </a:cubicBezTo>
                  <a:cubicBezTo>
                    <a:pt x="150" y="579"/>
                    <a:pt x="150" y="607"/>
                    <a:pt x="150" y="635"/>
                  </a:cubicBezTo>
                  <a:cubicBezTo>
                    <a:pt x="150" y="658"/>
                    <a:pt x="149" y="682"/>
                    <a:pt x="150" y="705"/>
                  </a:cubicBezTo>
                  <a:close/>
                  <a:moveTo>
                    <a:pt x="1011" y="1049"/>
                  </a:moveTo>
                  <a:cubicBezTo>
                    <a:pt x="1011" y="1008"/>
                    <a:pt x="1011" y="966"/>
                    <a:pt x="1011" y="924"/>
                  </a:cubicBezTo>
                  <a:cubicBezTo>
                    <a:pt x="1011" y="913"/>
                    <a:pt x="1008" y="910"/>
                    <a:pt x="997" y="910"/>
                  </a:cubicBezTo>
                  <a:cubicBezTo>
                    <a:pt x="995" y="910"/>
                    <a:pt x="992" y="910"/>
                    <a:pt x="990" y="910"/>
                  </a:cubicBezTo>
                  <a:cubicBezTo>
                    <a:pt x="976" y="910"/>
                    <a:pt x="975" y="911"/>
                    <a:pt x="975" y="926"/>
                  </a:cubicBezTo>
                  <a:cubicBezTo>
                    <a:pt x="975" y="1006"/>
                    <a:pt x="975" y="1085"/>
                    <a:pt x="975" y="1165"/>
                  </a:cubicBezTo>
                  <a:cubicBezTo>
                    <a:pt x="975" y="1185"/>
                    <a:pt x="975" y="1185"/>
                    <a:pt x="994" y="1185"/>
                  </a:cubicBezTo>
                  <a:cubicBezTo>
                    <a:pt x="1009" y="1185"/>
                    <a:pt x="1011" y="1184"/>
                    <a:pt x="1011" y="1169"/>
                  </a:cubicBezTo>
                  <a:cubicBezTo>
                    <a:pt x="1011" y="1129"/>
                    <a:pt x="1011" y="1089"/>
                    <a:pt x="1011" y="1049"/>
                  </a:cubicBezTo>
                  <a:cubicBezTo>
                    <a:pt x="1011" y="1049"/>
                    <a:pt x="1011" y="1049"/>
                    <a:pt x="1011" y="1049"/>
                  </a:cubicBezTo>
                  <a:close/>
                  <a:moveTo>
                    <a:pt x="296" y="176"/>
                  </a:moveTo>
                  <a:cubicBezTo>
                    <a:pt x="296" y="201"/>
                    <a:pt x="296" y="226"/>
                    <a:pt x="296" y="251"/>
                  </a:cubicBezTo>
                  <a:cubicBezTo>
                    <a:pt x="295" y="276"/>
                    <a:pt x="296" y="274"/>
                    <a:pt x="318" y="274"/>
                  </a:cubicBezTo>
                  <a:cubicBezTo>
                    <a:pt x="330" y="274"/>
                    <a:pt x="331" y="274"/>
                    <a:pt x="331" y="260"/>
                  </a:cubicBezTo>
                  <a:cubicBezTo>
                    <a:pt x="331" y="232"/>
                    <a:pt x="331" y="204"/>
                    <a:pt x="331" y="176"/>
                  </a:cubicBezTo>
                  <a:cubicBezTo>
                    <a:pt x="331" y="165"/>
                    <a:pt x="331" y="155"/>
                    <a:pt x="337" y="145"/>
                  </a:cubicBezTo>
                  <a:cubicBezTo>
                    <a:pt x="349" y="123"/>
                    <a:pt x="359" y="117"/>
                    <a:pt x="377" y="118"/>
                  </a:cubicBezTo>
                  <a:cubicBezTo>
                    <a:pt x="383" y="118"/>
                    <a:pt x="389" y="119"/>
                    <a:pt x="395" y="120"/>
                  </a:cubicBezTo>
                  <a:cubicBezTo>
                    <a:pt x="401" y="120"/>
                    <a:pt x="407" y="118"/>
                    <a:pt x="408" y="112"/>
                  </a:cubicBezTo>
                  <a:cubicBezTo>
                    <a:pt x="409" y="103"/>
                    <a:pt x="415" y="93"/>
                    <a:pt x="407" y="85"/>
                  </a:cubicBezTo>
                  <a:cubicBezTo>
                    <a:pt x="406" y="84"/>
                    <a:pt x="404" y="84"/>
                    <a:pt x="402" y="84"/>
                  </a:cubicBezTo>
                  <a:cubicBezTo>
                    <a:pt x="376" y="78"/>
                    <a:pt x="353" y="82"/>
                    <a:pt x="337" y="106"/>
                  </a:cubicBezTo>
                  <a:cubicBezTo>
                    <a:pt x="336" y="108"/>
                    <a:pt x="335" y="110"/>
                    <a:pt x="333" y="109"/>
                  </a:cubicBezTo>
                  <a:cubicBezTo>
                    <a:pt x="331" y="109"/>
                    <a:pt x="330" y="107"/>
                    <a:pt x="330" y="105"/>
                  </a:cubicBezTo>
                  <a:cubicBezTo>
                    <a:pt x="329" y="101"/>
                    <a:pt x="329" y="97"/>
                    <a:pt x="328" y="94"/>
                  </a:cubicBezTo>
                  <a:cubicBezTo>
                    <a:pt x="325" y="85"/>
                    <a:pt x="318" y="82"/>
                    <a:pt x="303" y="84"/>
                  </a:cubicBezTo>
                  <a:cubicBezTo>
                    <a:pt x="297" y="84"/>
                    <a:pt x="295" y="86"/>
                    <a:pt x="295" y="92"/>
                  </a:cubicBezTo>
                  <a:cubicBezTo>
                    <a:pt x="296" y="120"/>
                    <a:pt x="295" y="148"/>
                    <a:pt x="295" y="176"/>
                  </a:cubicBezTo>
                  <a:cubicBezTo>
                    <a:pt x="296" y="176"/>
                    <a:pt x="296" y="176"/>
                    <a:pt x="296" y="176"/>
                  </a:cubicBezTo>
                  <a:close/>
                  <a:moveTo>
                    <a:pt x="946" y="179"/>
                  </a:moveTo>
                  <a:cubicBezTo>
                    <a:pt x="946" y="197"/>
                    <a:pt x="946" y="215"/>
                    <a:pt x="946" y="234"/>
                  </a:cubicBezTo>
                  <a:cubicBezTo>
                    <a:pt x="946" y="248"/>
                    <a:pt x="951" y="260"/>
                    <a:pt x="963" y="268"/>
                  </a:cubicBezTo>
                  <a:cubicBezTo>
                    <a:pt x="982" y="280"/>
                    <a:pt x="1011" y="277"/>
                    <a:pt x="1029" y="264"/>
                  </a:cubicBezTo>
                  <a:cubicBezTo>
                    <a:pt x="1036" y="259"/>
                    <a:pt x="1036" y="254"/>
                    <a:pt x="1032" y="248"/>
                  </a:cubicBezTo>
                  <a:cubicBezTo>
                    <a:pt x="1026" y="239"/>
                    <a:pt x="1020" y="238"/>
                    <a:pt x="1013" y="242"/>
                  </a:cubicBezTo>
                  <a:cubicBezTo>
                    <a:pt x="996" y="252"/>
                    <a:pt x="978" y="243"/>
                    <a:pt x="978" y="223"/>
                  </a:cubicBezTo>
                  <a:cubicBezTo>
                    <a:pt x="978" y="190"/>
                    <a:pt x="978" y="157"/>
                    <a:pt x="978" y="123"/>
                  </a:cubicBezTo>
                  <a:cubicBezTo>
                    <a:pt x="978" y="116"/>
                    <a:pt x="981" y="113"/>
                    <a:pt x="988" y="113"/>
                  </a:cubicBezTo>
                  <a:cubicBezTo>
                    <a:pt x="999" y="114"/>
                    <a:pt x="1011" y="113"/>
                    <a:pt x="1022" y="113"/>
                  </a:cubicBezTo>
                  <a:cubicBezTo>
                    <a:pt x="1028" y="113"/>
                    <a:pt x="1033" y="112"/>
                    <a:pt x="1033" y="104"/>
                  </a:cubicBezTo>
                  <a:cubicBezTo>
                    <a:pt x="1033" y="96"/>
                    <a:pt x="1032" y="90"/>
                    <a:pt x="1022" y="90"/>
                  </a:cubicBezTo>
                  <a:cubicBezTo>
                    <a:pt x="1011" y="90"/>
                    <a:pt x="1001" y="90"/>
                    <a:pt x="990" y="90"/>
                  </a:cubicBezTo>
                  <a:cubicBezTo>
                    <a:pt x="981" y="91"/>
                    <a:pt x="977" y="88"/>
                    <a:pt x="978" y="78"/>
                  </a:cubicBezTo>
                  <a:cubicBezTo>
                    <a:pt x="978" y="64"/>
                    <a:pt x="978" y="49"/>
                    <a:pt x="978" y="35"/>
                  </a:cubicBezTo>
                  <a:cubicBezTo>
                    <a:pt x="978" y="30"/>
                    <a:pt x="978" y="25"/>
                    <a:pt x="971" y="24"/>
                  </a:cubicBezTo>
                  <a:cubicBezTo>
                    <a:pt x="964" y="24"/>
                    <a:pt x="956" y="24"/>
                    <a:pt x="955" y="32"/>
                  </a:cubicBezTo>
                  <a:cubicBezTo>
                    <a:pt x="952" y="43"/>
                    <a:pt x="949" y="54"/>
                    <a:pt x="949" y="65"/>
                  </a:cubicBezTo>
                  <a:cubicBezTo>
                    <a:pt x="948" y="88"/>
                    <a:pt x="947" y="88"/>
                    <a:pt x="924" y="91"/>
                  </a:cubicBezTo>
                  <a:cubicBezTo>
                    <a:pt x="919" y="92"/>
                    <a:pt x="914" y="92"/>
                    <a:pt x="914" y="99"/>
                  </a:cubicBezTo>
                  <a:cubicBezTo>
                    <a:pt x="915" y="107"/>
                    <a:pt x="917" y="113"/>
                    <a:pt x="926" y="113"/>
                  </a:cubicBezTo>
                  <a:cubicBezTo>
                    <a:pt x="929" y="114"/>
                    <a:pt x="932" y="113"/>
                    <a:pt x="935" y="113"/>
                  </a:cubicBezTo>
                  <a:cubicBezTo>
                    <a:pt x="943" y="113"/>
                    <a:pt x="946" y="116"/>
                    <a:pt x="946" y="124"/>
                  </a:cubicBezTo>
                  <a:cubicBezTo>
                    <a:pt x="946" y="142"/>
                    <a:pt x="946" y="161"/>
                    <a:pt x="946" y="179"/>
                  </a:cubicBezTo>
                  <a:cubicBezTo>
                    <a:pt x="946" y="179"/>
                    <a:pt x="946" y="179"/>
                    <a:pt x="946" y="179"/>
                  </a:cubicBezTo>
                  <a:close/>
                </a:path>
              </a:pathLst>
            </a:custGeom>
            <a:solidFill>
              <a:srgbClr val="4C505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p>
          </p:txBody>
        </p:sp>
        <p:grpSp>
          <p:nvGrpSpPr>
            <p:cNvPr id="22" name="Group 4">
              <a:extLst>
                <a:ext uri="{FF2B5EF4-FFF2-40B4-BE49-F238E27FC236}">
                  <a16:creationId xmlns:a16="http://schemas.microsoft.com/office/drawing/2014/main" id="{841CE161-6F37-4024-80FD-2DE51F6FF046}"/>
                </a:ext>
              </a:extLst>
            </p:cNvPr>
            <p:cNvGrpSpPr>
              <a:grpSpLocks noChangeAspect="1"/>
            </p:cNvGrpSpPr>
            <p:nvPr userDrawn="1"/>
          </p:nvGrpSpPr>
          <p:grpSpPr bwMode="gray">
            <a:xfrm>
              <a:off x="334963" y="296652"/>
              <a:ext cx="538094" cy="540000"/>
              <a:chOff x="2711" y="1027"/>
              <a:chExt cx="2258" cy="2266"/>
            </a:xfrm>
          </p:grpSpPr>
          <p:sp>
            <p:nvSpPr>
              <p:cNvPr id="23" name="AutoShape 3">
                <a:extLst>
                  <a:ext uri="{FF2B5EF4-FFF2-40B4-BE49-F238E27FC236}">
                    <a16:creationId xmlns:a16="http://schemas.microsoft.com/office/drawing/2014/main" id="{0CDA5636-7EDC-429C-91A5-CDAF9001428B}"/>
                  </a:ext>
                </a:extLst>
              </p:cNvPr>
              <p:cNvSpPr>
                <a:spLocks noChangeAspect="1" noChangeArrowheads="1" noTextEdit="1"/>
              </p:cNvSpPr>
              <p:nvPr userDrawn="1"/>
            </p:nvSpPr>
            <p:spPr bwMode="gray">
              <a:xfrm>
                <a:off x="2711" y="1027"/>
                <a:ext cx="2258" cy="22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9" dirty="0"/>
              </a:p>
            </p:txBody>
          </p:sp>
          <p:sp>
            <p:nvSpPr>
              <p:cNvPr id="24" name="Freeform 5">
                <a:extLst>
                  <a:ext uri="{FF2B5EF4-FFF2-40B4-BE49-F238E27FC236}">
                    <a16:creationId xmlns:a16="http://schemas.microsoft.com/office/drawing/2014/main" id="{E1B03C70-0655-443C-BB1B-A29D63ED15A8}"/>
                  </a:ext>
                </a:extLst>
              </p:cNvPr>
              <p:cNvSpPr>
                <a:spLocks/>
              </p:cNvSpPr>
              <p:nvPr userDrawn="1"/>
            </p:nvSpPr>
            <p:spPr bwMode="gray">
              <a:xfrm>
                <a:off x="2709" y="1029"/>
                <a:ext cx="2260" cy="2262"/>
              </a:xfrm>
              <a:custGeom>
                <a:avLst/>
                <a:gdLst>
                  <a:gd name="T0" fmla="*/ 2260 w 2260"/>
                  <a:gd name="T1" fmla="*/ 0 h 2262"/>
                  <a:gd name="T2" fmla="*/ 1612 w 2260"/>
                  <a:gd name="T3" fmla="*/ 649 h 2262"/>
                  <a:gd name="T4" fmla="*/ 1612 w 2260"/>
                  <a:gd name="T5" fmla="*/ 649 h 2262"/>
                  <a:gd name="T6" fmla="*/ 2035 w 2260"/>
                  <a:gd name="T7" fmla="*/ 0 h 2262"/>
                  <a:gd name="T8" fmla="*/ 0 w 2260"/>
                  <a:gd name="T9" fmla="*/ 0 h 2262"/>
                  <a:gd name="T10" fmla="*/ 0 w 2260"/>
                  <a:gd name="T11" fmla="*/ 2262 h 2262"/>
                  <a:gd name="T12" fmla="*/ 2260 w 2260"/>
                  <a:gd name="T13" fmla="*/ 2262 h 2262"/>
                  <a:gd name="T14" fmla="*/ 2260 w 2260"/>
                  <a:gd name="T15" fmla="*/ 0 h 2262"/>
                  <a:gd name="T16" fmla="*/ 2260 w 2260"/>
                  <a:gd name="T17" fmla="*/ 0 h 2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0" h="2262">
                    <a:moveTo>
                      <a:pt x="2260" y="0"/>
                    </a:moveTo>
                    <a:lnTo>
                      <a:pt x="1612" y="649"/>
                    </a:lnTo>
                    <a:lnTo>
                      <a:pt x="1612" y="649"/>
                    </a:lnTo>
                    <a:lnTo>
                      <a:pt x="2035" y="0"/>
                    </a:lnTo>
                    <a:lnTo>
                      <a:pt x="0" y="0"/>
                    </a:lnTo>
                    <a:lnTo>
                      <a:pt x="0" y="2262"/>
                    </a:lnTo>
                    <a:lnTo>
                      <a:pt x="2260" y="2262"/>
                    </a:lnTo>
                    <a:lnTo>
                      <a:pt x="2260" y="0"/>
                    </a:lnTo>
                    <a:lnTo>
                      <a:pt x="2260" y="0"/>
                    </a:lnTo>
                    <a:close/>
                  </a:path>
                </a:pathLst>
              </a:custGeom>
              <a:solidFill>
                <a:srgbClr val="E55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p>
            </p:txBody>
          </p:sp>
          <p:sp>
            <p:nvSpPr>
              <p:cNvPr id="25" name="Freeform 6">
                <a:extLst>
                  <a:ext uri="{FF2B5EF4-FFF2-40B4-BE49-F238E27FC236}">
                    <a16:creationId xmlns:a16="http://schemas.microsoft.com/office/drawing/2014/main" id="{1ADD4FFD-FF1A-41F7-97E1-DC9EDA1D7D1C}"/>
                  </a:ext>
                </a:extLst>
              </p:cNvPr>
              <p:cNvSpPr>
                <a:spLocks noEditPoints="1"/>
              </p:cNvSpPr>
              <p:nvPr userDrawn="1"/>
            </p:nvSpPr>
            <p:spPr bwMode="gray">
              <a:xfrm>
                <a:off x="3623" y="1696"/>
                <a:ext cx="1167" cy="922"/>
              </a:xfrm>
              <a:custGeom>
                <a:avLst/>
                <a:gdLst>
                  <a:gd name="T0" fmla="*/ 411 w 580"/>
                  <a:gd name="T1" fmla="*/ 213 h 458"/>
                  <a:gd name="T2" fmla="*/ 570 w 580"/>
                  <a:gd name="T3" fmla="*/ 37 h 458"/>
                  <a:gd name="T4" fmla="*/ 580 w 580"/>
                  <a:gd name="T5" fmla="*/ 20 h 458"/>
                  <a:gd name="T6" fmla="*/ 545 w 580"/>
                  <a:gd name="T7" fmla="*/ 0 h 458"/>
                  <a:gd name="T8" fmla="*/ 519 w 580"/>
                  <a:gd name="T9" fmla="*/ 16 h 458"/>
                  <a:gd name="T10" fmla="*/ 344 w 580"/>
                  <a:gd name="T11" fmla="*/ 210 h 458"/>
                  <a:gd name="T12" fmla="*/ 334 w 580"/>
                  <a:gd name="T13" fmla="*/ 229 h 458"/>
                  <a:gd name="T14" fmla="*/ 344 w 580"/>
                  <a:gd name="T15" fmla="*/ 248 h 458"/>
                  <a:gd name="T16" fmla="*/ 519 w 580"/>
                  <a:gd name="T17" fmla="*/ 442 h 458"/>
                  <a:gd name="T18" fmla="*/ 545 w 580"/>
                  <a:gd name="T19" fmla="*/ 458 h 458"/>
                  <a:gd name="T20" fmla="*/ 580 w 580"/>
                  <a:gd name="T21" fmla="*/ 438 h 458"/>
                  <a:gd name="T22" fmla="*/ 570 w 580"/>
                  <a:gd name="T23" fmla="*/ 421 h 458"/>
                  <a:gd name="T24" fmla="*/ 411 w 580"/>
                  <a:gd name="T25" fmla="*/ 245 h 458"/>
                  <a:gd name="T26" fmla="*/ 399 w 580"/>
                  <a:gd name="T27" fmla="*/ 229 h 458"/>
                  <a:gd name="T28" fmla="*/ 411 w 580"/>
                  <a:gd name="T29" fmla="*/ 213 h 458"/>
                  <a:gd name="T30" fmla="*/ 252 w 580"/>
                  <a:gd name="T31" fmla="*/ 439 h 458"/>
                  <a:gd name="T32" fmla="*/ 281 w 580"/>
                  <a:gd name="T33" fmla="*/ 454 h 458"/>
                  <a:gd name="T34" fmla="*/ 309 w 580"/>
                  <a:gd name="T35" fmla="*/ 439 h 458"/>
                  <a:gd name="T36" fmla="*/ 309 w 580"/>
                  <a:gd name="T37" fmla="*/ 19 h 458"/>
                  <a:gd name="T38" fmla="*/ 281 w 580"/>
                  <a:gd name="T39" fmla="*/ 4 h 458"/>
                  <a:gd name="T40" fmla="*/ 252 w 580"/>
                  <a:gd name="T41" fmla="*/ 19 h 458"/>
                  <a:gd name="T42" fmla="*/ 252 w 580"/>
                  <a:gd name="T43" fmla="*/ 439 h 458"/>
                  <a:gd name="T44" fmla="*/ 0 w 580"/>
                  <a:gd name="T45" fmla="*/ 439 h 458"/>
                  <a:gd name="T46" fmla="*/ 28 w 580"/>
                  <a:gd name="T47" fmla="*/ 454 h 458"/>
                  <a:gd name="T48" fmla="*/ 56 w 580"/>
                  <a:gd name="T49" fmla="*/ 439 h 458"/>
                  <a:gd name="T50" fmla="*/ 56 w 580"/>
                  <a:gd name="T51" fmla="*/ 157 h 458"/>
                  <a:gd name="T52" fmla="*/ 165 w 580"/>
                  <a:gd name="T53" fmla="*/ 53 h 458"/>
                  <a:gd name="T54" fmla="*/ 180 w 580"/>
                  <a:gd name="T55" fmla="*/ 53 h 458"/>
                  <a:gd name="T56" fmla="*/ 196 w 580"/>
                  <a:gd name="T57" fmla="*/ 27 h 458"/>
                  <a:gd name="T58" fmla="*/ 154 w 580"/>
                  <a:gd name="T59" fmla="*/ 4 h 458"/>
                  <a:gd name="T60" fmla="*/ 0 w 580"/>
                  <a:gd name="T61" fmla="*/ 152 h 458"/>
                  <a:gd name="T62" fmla="*/ 0 w 580"/>
                  <a:gd name="T63" fmla="*/ 439 h 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80" h="458">
                    <a:moveTo>
                      <a:pt x="411" y="213"/>
                    </a:moveTo>
                    <a:cubicBezTo>
                      <a:pt x="570" y="37"/>
                      <a:pt x="570" y="37"/>
                      <a:pt x="570" y="37"/>
                    </a:cubicBezTo>
                    <a:cubicBezTo>
                      <a:pt x="576" y="30"/>
                      <a:pt x="580" y="25"/>
                      <a:pt x="580" y="20"/>
                    </a:cubicBezTo>
                    <a:cubicBezTo>
                      <a:pt x="580" y="10"/>
                      <a:pt x="559" y="0"/>
                      <a:pt x="545" y="0"/>
                    </a:cubicBezTo>
                    <a:cubicBezTo>
                      <a:pt x="535" y="0"/>
                      <a:pt x="526" y="8"/>
                      <a:pt x="519" y="16"/>
                    </a:cubicBezTo>
                    <a:cubicBezTo>
                      <a:pt x="344" y="210"/>
                      <a:pt x="344" y="210"/>
                      <a:pt x="344" y="210"/>
                    </a:cubicBezTo>
                    <a:cubicBezTo>
                      <a:pt x="336" y="219"/>
                      <a:pt x="334" y="224"/>
                      <a:pt x="334" y="229"/>
                    </a:cubicBezTo>
                    <a:cubicBezTo>
                      <a:pt x="334" y="234"/>
                      <a:pt x="336" y="239"/>
                      <a:pt x="344" y="248"/>
                    </a:cubicBezTo>
                    <a:cubicBezTo>
                      <a:pt x="519" y="442"/>
                      <a:pt x="519" y="442"/>
                      <a:pt x="519" y="442"/>
                    </a:cubicBezTo>
                    <a:cubicBezTo>
                      <a:pt x="526" y="450"/>
                      <a:pt x="535" y="458"/>
                      <a:pt x="545" y="458"/>
                    </a:cubicBezTo>
                    <a:cubicBezTo>
                      <a:pt x="559" y="458"/>
                      <a:pt x="580" y="448"/>
                      <a:pt x="580" y="438"/>
                    </a:cubicBezTo>
                    <a:cubicBezTo>
                      <a:pt x="580" y="433"/>
                      <a:pt x="576" y="428"/>
                      <a:pt x="570" y="421"/>
                    </a:cubicBezTo>
                    <a:cubicBezTo>
                      <a:pt x="411" y="245"/>
                      <a:pt x="411" y="245"/>
                      <a:pt x="411" y="245"/>
                    </a:cubicBezTo>
                    <a:cubicBezTo>
                      <a:pt x="403" y="236"/>
                      <a:pt x="399" y="232"/>
                      <a:pt x="399" y="229"/>
                    </a:cubicBezTo>
                    <a:cubicBezTo>
                      <a:pt x="399" y="226"/>
                      <a:pt x="403" y="222"/>
                      <a:pt x="411" y="213"/>
                    </a:cubicBezTo>
                    <a:moveTo>
                      <a:pt x="252" y="439"/>
                    </a:moveTo>
                    <a:cubicBezTo>
                      <a:pt x="252" y="449"/>
                      <a:pt x="261" y="454"/>
                      <a:pt x="281" y="454"/>
                    </a:cubicBezTo>
                    <a:cubicBezTo>
                      <a:pt x="300" y="454"/>
                      <a:pt x="309" y="449"/>
                      <a:pt x="309" y="439"/>
                    </a:cubicBezTo>
                    <a:cubicBezTo>
                      <a:pt x="309" y="19"/>
                      <a:pt x="309" y="19"/>
                      <a:pt x="309" y="19"/>
                    </a:cubicBezTo>
                    <a:cubicBezTo>
                      <a:pt x="309" y="9"/>
                      <a:pt x="300" y="4"/>
                      <a:pt x="281" y="4"/>
                    </a:cubicBezTo>
                    <a:cubicBezTo>
                      <a:pt x="261" y="4"/>
                      <a:pt x="252" y="9"/>
                      <a:pt x="252" y="19"/>
                    </a:cubicBezTo>
                    <a:lnTo>
                      <a:pt x="252" y="439"/>
                    </a:lnTo>
                    <a:close/>
                    <a:moveTo>
                      <a:pt x="0" y="439"/>
                    </a:moveTo>
                    <a:cubicBezTo>
                      <a:pt x="0" y="449"/>
                      <a:pt x="8" y="454"/>
                      <a:pt x="28" y="454"/>
                    </a:cubicBezTo>
                    <a:cubicBezTo>
                      <a:pt x="48" y="454"/>
                      <a:pt x="56" y="449"/>
                      <a:pt x="56" y="439"/>
                    </a:cubicBezTo>
                    <a:cubicBezTo>
                      <a:pt x="56" y="157"/>
                      <a:pt x="56" y="157"/>
                      <a:pt x="56" y="157"/>
                    </a:cubicBezTo>
                    <a:cubicBezTo>
                      <a:pt x="56" y="83"/>
                      <a:pt x="85" y="53"/>
                      <a:pt x="165" y="53"/>
                    </a:cubicBezTo>
                    <a:cubicBezTo>
                      <a:pt x="180" y="53"/>
                      <a:pt x="180" y="53"/>
                      <a:pt x="180" y="53"/>
                    </a:cubicBezTo>
                    <a:cubicBezTo>
                      <a:pt x="192" y="53"/>
                      <a:pt x="196" y="43"/>
                      <a:pt x="196" y="27"/>
                    </a:cubicBezTo>
                    <a:cubicBezTo>
                      <a:pt x="196" y="8"/>
                      <a:pt x="185" y="4"/>
                      <a:pt x="154" y="4"/>
                    </a:cubicBezTo>
                    <a:cubicBezTo>
                      <a:pt x="64" y="4"/>
                      <a:pt x="0" y="43"/>
                      <a:pt x="0" y="152"/>
                    </a:cubicBezTo>
                    <a:lnTo>
                      <a:pt x="0" y="43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p>
            </p:txBody>
          </p:sp>
          <p:sp>
            <p:nvSpPr>
              <p:cNvPr id="26" name="Freeform 7">
                <a:extLst>
                  <a:ext uri="{FF2B5EF4-FFF2-40B4-BE49-F238E27FC236}">
                    <a16:creationId xmlns:a16="http://schemas.microsoft.com/office/drawing/2014/main" id="{2B93C94A-1487-48B3-A51B-C60A5FBEA547}"/>
                  </a:ext>
                </a:extLst>
              </p:cNvPr>
              <p:cNvSpPr>
                <a:spLocks/>
              </p:cNvSpPr>
              <p:nvPr userDrawn="1"/>
            </p:nvSpPr>
            <p:spPr bwMode="gray">
              <a:xfrm>
                <a:off x="2880" y="1704"/>
                <a:ext cx="618" cy="916"/>
              </a:xfrm>
              <a:custGeom>
                <a:avLst/>
                <a:gdLst>
                  <a:gd name="T0" fmla="*/ 307 w 307"/>
                  <a:gd name="T1" fmla="*/ 405 h 455"/>
                  <a:gd name="T2" fmla="*/ 307 w 307"/>
                  <a:gd name="T3" fmla="*/ 244 h 455"/>
                  <a:gd name="T4" fmla="*/ 279 w 307"/>
                  <a:gd name="T5" fmla="*/ 229 h 455"/>
                  <a:gd name="T6" fmla="*/ 250 w 307"/>
                  <a:gd name="T7" fmla="*/ 244 h 455"/>
                  <a:gd name="T8" fmla="*/ 250 w 307"/>
                  <a:gd name="T9" fmla="*/ 378 h 455"/>
                  <a:gd name="T10" fmla="*/ 199 w 307"/>
                  <a:gd name="T11" fmla="*/ 408 h 455"/>
                  <a:gd name="T12" fmla="*/ 61 w 307"/>
                  <a:gd name="T13" fmla="*/ 231 h 455"/>
                  <a:gd name="T14" fmla="*/ 238 w 307"/>
                  <a:gd name="T15" fmla="*/ 49 h 455"/>
                  <a:gd name="T16" fmla="*/ 270 w 307"/>
                  <a:gd name="T17" fmla="*/ 49 h 455"/>
                  <a:gd name="T18" fmla="*/ 286 w 307"/>
                  <a:gd name="T19" fmla="*/ 23 h 455"/>
                  <a:gd name="T20" fmla="*/ 244 w 307"/>
                  <a:gd name="T21" fmla="*/ 0 h 455"/>
                  <a:gd name="T22" fmla="*/ 231 w 307"/>
                  <a:gd name="T23" fmla="*/ 0 h 455"/>
                  <a:gd name="T24" fmla="*/ 0 w 307"/>
                  <a:gd name="T25" fmla="*/ 232 h 455"/>
                  <a:gd name="T26" fmla="*/ 198 w 307"/>
                  <a:gd name="T27" fmla="*/ 455 h 455"/>
                  <a:gd name="T28" fmla="*/ 307 w 307"/>
                  <a:gd name="T29" fmla="*/ 405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7" h="455">
                    <a:moveTo>
                      <a:pt x="307" y="405"/>
                    </a:moveTo>
                    <a:cubicBezTo>
                      <a:pt x="307" y="244"/>
                      <a:pt x="307" y="244"/>
                      <a:pt x="307" y="244"/>
                    </a:cubicBezTo>
                    <a:cubicBezTo>
                      <a:pt x="307" y="234"/>
                      <a:pt x="298" y="229"/>
                      <a:pt x="279" y="229"/>
                    </a:cubicBezTo>
                    <a:cubicBezTo>
                      <a:pt x="259" y="229"/>
                      <a:pt x="250" y="234"/>
                      <a:pt x="250" y="244"/>
                    </a:cubicBezTo>
                    <a:cubicBezTo>
                      <a:pt x="250" y="378"/>
                      <a:pt x="250" y="378"/>
                      <a:pt x="250" y="378"/>
                    </a:cubicBezTo>
                    <a:cubicBezTo>
                      <a:pt x="250" y="399"/>
                      <a:pt x="241" y="408"/>
                      <a:pt x="199" y="408"/>
                    </a:cubicBezTo>
                    <a:cubicBezTo>
                      <a:pt x="114" y="408"/>
                      <a:pt x="61" y="342"/>
                      <a:pt x="61" y="231"/>
                    </a:cubicBezTo>
                    <a:cubicBezTo>
                      <a:pt x="61" y="115"/>
                      <a:pt x="126" y="49"/>
                      <a:pt x="238" y="49"/>
                    </a:cubicBezTo>
                    <a:cubicBezTo>
                      <a:pt x="270" y="49"/>
                      <a:pt x="270" y="49"/>
                      <a:pt x="270" y="49"/>
                    </a:cubicBezTo>
                    <a:cubicBezTo>
                      <a:pt x="282" y="49"/>
                      <a:pt x="286" y="39"/>
                      <a:pt x="286" y="23"/>
                    </a:cubicBezTo>
                    <a:cubicBezTo>
                      <a:pt x="286" y="4"/>
                      <a:pt x="275" y="0"/>
                      <a:pt x="244" y="0"/>
                    </a:cubicBezTo>
                    <a:cubicBezTo>
                      <a:pt x="231" y="0"/>
                      <a:pt x="231" y="0"/>
                      <a:pt x="231" y="0"/>
                    </a:cubicBezTo>
                    <a:cubicBezTo>
                      <a:pt x="101" y="0"/>
                      <a:pt x="0" y="71"/>
                      <a:pt x="0" y="232"/>
                    </a:cubicBezTo>
                    <a:cubicBezTo>
                      <a:pt x="0" y="386"/>
                      <a:pt x="88" y="455"/>
                      <a:pt x="198" y="455"/>
                    </a:cubicBezTo>
                    <a:cubicBezTo>
                      <a:pt x="286" y="455"/>
                      <a:pt x="307" y="430"/>
                      <a:pt x="307" y="40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p>
            </p:txBody>
          </p:sp>
          <p:sp>
            <p:nvSpPr>
              <p:cNvPr id="27" name="Oval 8">
                <a:extLst>
                  <a:ext uri="{FF2B5EF4-FFF2-40B4-BE49-F238E27FC236}">
                    <a16:creationId xmlns:a16="http://schemas.microsoft.com/office/drawing/2014/main" id="{1CA583DE-FBF0-466F-9886-D23A3AEE0F61}"/>
                  </a:ext>
                </a:extLst>
              </p:cNvPr>
              <p:cNvSpPr>
                <a:spLocks noChangeArrowheads="1"/>
              </p:cNvSpPr>
              <p:nvPr userDrawn="1"/>
            </p:nvSpPr>
            <p:spPr bwMode="gray">
              <a:xfrm>
                <a:off x="3778" y="2099"/>
                <a:ext cx="122" cy="12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p>
            </p:txBody>
          </p:sp>
          <p:sp>
            <p:nvSpPr>
              <p:cNvPr id="28" name="Freeform 9">
                <a:extLst>
                  <a:ext uri="{FF2B5EF4-FFF2-40B4-BE49-F238E27FC236}">
                    <a16:creationId xmlns:a16="http://schemas.microsoft.com/office/drawing/2014/main" id="{525DB4FE-6F6B-444C-8A42-B07CDAB20CD3}"/>
                  </a:ext>
                </a:extLst>
              </p:cNvPr>
              <p:cNvSpPr>
                <a:spLocks noEditPoints="1"/>
              </p:cNvSpPr>
              <p:nvPr userDrawn="1"/>
            </p:nvSpPr>
            <p:spPr bwMode="gray">
              <a:xfrm>
                <a:off x="3623" y="1696"/>
                <a:ext cx="1167" cy="922"/>
              </a:xfrm>
              <a:custGeom>
                <a:avLst/>
                <a:gdLst>
                  <a:gd name="T0" fmla="*/ 411 w 580"/>
                  <a:gd name="T1" fmla="*/ 213 h 458"/>
                  <a:gd name="T2" fmla="*/ 570 w 580"/>
                  <a:gd name="T3" fmla="*/ 37 h 458"/>
                  <a:gd name="T4" fmla="*/ 580 w 580"/>
                  <a:gd name="T5" fmla="*/ 20 h 458"/>
                  <a:gd name="T6" fmla="*/ 545 w 580"/>
                  <a:gd name="T7" fmla="*/ 0 h 458"/>
                  <a:gd name="T8" fmla="*/ 519 w 580"/>
                  <a:gd name="T9" fmla="*/ 16 h 458"/>
                  <a:gd name="T10" fmla="*/ 344 w 580"/>
                  <a:gd name="T11" fmla="*/ 210 h 458"/>
                  <a:gd name="T12" fmla="*/ 334 w 580"/>
                  <a:gd name="T13" fmla="*/ 229 h 458"/>
                  <a:gd name="T14" fmla="*/ 344 w 580"/>
                  <a:gd name="T15" fmla="*/ 248 h 458"/>
                  <a:gd name="T16" fmla="*/ 519 w 580"/>
                  <a:gd name="T17" fmla="*/ 442 h 458"/>
                  <a:gd name="T18" fmla="*/ 545 w 580"/>
                  <a:gd name="T19" fmla="*/ 458 h 458"/>
                  <a:gd name="T20" fmla="*/ 580 w 580"/>
                  <a:gd name="T21" fmla="*/ 438 h 458"/>
                  <a:gd name="T22" fmla="*/ 570 w 580"/>
                  <a:gd name="T23" fmla="*/ 421 h 458"/>
                  <a:gd name="T24" fmla="*/ 411 w 580"/>
                  <a:gd name="T25" fmla="*/ 245 h 458"/>
                  <a:gd name="T26" fmla="*/ 399 w 580"/>
                  <a:gd name="T27" fmla="*/ 229 h 458"/>
                  <a:gd name="T28" fmla="*/ 411 w 580"/>
                  <a:gd name="T29" fmla="*/ 213 h 458"/>
                  <a:gd name="T30" fmla="*/ 252 w 580"/>
                  <a:gd name="T31" fmla="*/ 439 h 458"/>
                  <a:gd name="T32" fmla="*/ 281 w 580"/>
                  <a:gd name="T33" fmla="*/ 454 h 458"/>
                  <a:gd name="T34" fmla="*/ 309 w 580"/>
                  <a:gd name="T35" fmla="*/ 439 h 458"/>
                  <a:gd name="T36" fmla="*/ 309 w 580"/>
                  <a:gd name="T37" fmla="*/ 19 h 458"/>
                  <a:gd name="T38" fmla="*/ 281 w 580"/>
                  <a:gd name="T39" fmla="*/ 4 h 458"/>
                  <a:gd name="T40" fmla="*/ 252 w 580"/>
                  <a:gd name="T41" fmla="*/ 19 h 458"/>
                  <a:gd name="T42" fmla="*/ 252 w 580"/>
                  <a:gd name="T43" fmla="*/ 439 h 458"/>
                  <a:gd name="T44" fmla="*/ 0 w 580"/>
                  <a:gd name="T45" fmla="*/ 439 h 458"/>
                  <a:gd name="T46" fmla="*/ 28 w 580"/>
                  <a:gd name="T47" fmla="*/ 454 h 458"/>
                  <a:gd name="T48" fmla="*/ 56 w 580"/>
                  <a:gd name="T49" fmla="*/ 439 h 458"/>
                  <a:gd name="T50" fmla="*/ 56 w 580"/>
                  <a:gd name="T51" fmla="*/ 157 h 458"/>
                  <a:gd name="T52" fmla="*/ 165 w 580"/>
                  <a:gd name="T53" fmla="*/ 53 h 458"/>
                  <a:gd name="T54" fmla="*/ 180 w 580"/>
                  <a:gd name="T55" fmla="*/ 53 h 458"/>
                  <a:gd name="T56" fmla="*/ 196 w 580"/>
                  <a:gd name="T57" fmla="*/ 27 h 458"/>
                  <a:gd name="T58" fmla="*/ 154 w 580"/>
                  <a:gd name="T59" fmla="*/ 4 h 458"/>
                  <a:gd name="T60" fmla="*/ 0 w 580"/>
                  <a:gd name="T61" fmla="*/ 152 h 458"/>
                  <a:gd name="T62" fmla="*/ 0 w 580"/>
                  <a:gd name="T63" fmla="*/ 439 h 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80" h="458">
                    <a:moveTo>
                      <a:pt x="411" y="213"/>
                    </a:moveTo>
                    <a:cubicBezTo>
                      <a:pt x="570" y="37"/>
                      <a:pt x="570" y="37"/>
                      <a:pt x="570" y="37"/>
                    </a:cubicBezTo>
                    <a:cubicBezTo>
                      <a:pt x="576" y="30"/>
                      <a:pt x="580" y="25"/>
                      <a:pt x="580" y="20"/>
                    </a:cubicBezTo>
                    <a:cubicBezTo>
                      <a:pt x="580" y="10"/>
                      <a:pt x="559" y="0"/>
                      <a:pt x="545" y="0"/>
                    </a:cubicBezTo>
                    <a:cubicBezTo>
                      <a:pt x="535" y="0"/>
                      <a:pt x="526" y="8"/>
                      <a:pt x="519" y="16"/>
                    </a:cubicBezTo>
                    <a:cubicBezTo>
                      <a:pt x="344" y="210"/>
                      <a:pt x="344" y="210"/>
                      <a:pt x="344" y="210"/>
                    </a:cubicBezTo>
                    <a:cubicBezTo>
                      <a:pt x="336" y="219"/>
                      <a:pt x="334" y="224"/>
                      <a:pt x="334" y="229"/>
                    </a:cubicBezTo>
                    <a:cubicBezTo>
                      <a:pt x="334" y="234"/>
                      <a:pt x="336" y="239"/>
                      <a:pt x="344" y="248"/>
                    </a:cubicBezTo>
                    <a:cubicBezTo>
                      <a:pt x="519" y="442"/>
                      <a:pt x="519" y="442"/>
                      <a:pt x="519" y="442"/>
                    </a:cubicBezTo>
                    <a:cubicBezTo>
                      <a:pt x="526" y="450"/>
                      <a:pt x="535" y="458"/>
                      <a:pt x="545" y="458"/>
                    </a:cubicBezTo>
                    <a:cubicBezTo>
                      <a:pt x="559" y="458"/>
                      <a:pt x="580" y="448"/>
                      <a:pt x="580" y="438"/>
                    </a:cubicBezTo>
                    <a:cubicBezTo>
                      <a:pt x="580" y="433"/>
                      <a:pt x="576" y="428"/>
                      <a:pt x="570" y="421"/>
                    </a:cubicBezTo>
                    <a:cubicBezTo>
                      <a:pt x="411" y="245"/>
                      <a:pt x="411" y="245"/>
                      <a:pt x="411" y="245"/>
                    </a:cubicBezTo>
                    <a:cubicBezTo>
                      <a:pt x="403" y="236"/>
                      <a:pt x="399" y="232"/>
                      <a:pt x="399" y="229"/>
                    </a:cubicBezTo>
                    <a:cubicBezTo>
                      <a:pt x="399" y="226"/>
                      <a:pt x="403" y="222"/>
                      <a:pt x="411" y="213"/>
                    </a:cubicBezTo>
                    <a:moveTo>
                      <a:pt x="252" y="439"/>
                    </a:moveTo>
                    <a:cubicBezTo>
                      <a:pt x="252" y="449"/>
                      <a:pt x="261" y="454"/>
                      <a:pt x="281" y="454"/>
                    </a:cubicBezTo>
                    <a:cubicBezTo>
                      <a:pt x="300" y="454"/>
                      <a:pt x="309" y="449"/>
                      <a:pt x="309" y="439"/>
                    </a:cubicBezTo>
                    <a:cubicBezTo>
                      <a:pt x="309" y="19"/>
                      <a:pt x="309" y="19"/>
                      <a:pt x="309" y="19"/>
                    </a:cubicBezTo>
                    <a:cubicBezTo>
                      <a:pt x="309" y="9"/>
                      <a:pt x="300" y="4"/>
                      <a:pt x="281" y="4"/>
                    </a:cubicBezTo>
                    <a:cubicBezTo>
                      <a:pt x="261" y="4"/>
                      <a:pt x="252" y="9"/>
                      <a:pt x="252" y="19"/>
                    </a:cubicBezTo>
                    <a:lnTo>
                      <a:pt x="252" y="439"/>
                    </a:lnTo>
                    <a:close/>
                    <a:moveTo>
                      <a:pt x="0" y="439"/>
                    </a:moveTo>
                    <a:cubicBezTo>
                      <a:pt x="0" y="449"/>
                      <a:pt x="8" y="454"/>
                      <a:pt x="28" y="454"/>
                    </a:cubicBezTo>
                    <a:cubicBezTo>
                      <a:pt x="48" y="454"/>
                      <a:pt x="56" y="449"/>
                      <a:pt x="56" y="439"/>
                    </a:cubicBezTo>
                    <a:cubicBezTo>
                      <a:pt x="56" y="157"/>
                      <a:pt x="56" y="157"/>
                      <a:pt x="56" y="157"/>
                    </a:cubicBezTo>
                    <a:cubicBezTo>
                      <a:pt x="56" y="83"/>
                      <a:pt x="85" y="53"/>
                      <a:pt x="165" y="53"/>
                    </a:cubicBezTo>
                    <a:cubicBezTo>
                      <a:pt x="180" y="53"/>
                      <a:pt x="180" y="53"/>
                      <a:pt x="180" y="53"/>
                    </a:cubicBezTo>
                    <a:cubicBezTo>
                      <a:pt x="192" y="53"/>
                      <a:pt x="196" y="43"/>
                      <a:pt x="196" y="27"/>
                    </a:cubicBezTo>
                    <a:cubicBezTo>
                      <a:pt x="196" y="8"/>
                      <a:pt x="185" y="4"/>
                      <a:pt x="154" y="4"/>
                    </a:cubicBezTo>
                    <a:cubicBezTo>
                      <a:pt x="64" y="4"/>
                      <a:pt x="0" y="43"/>
                      <a:pt x="0" y="152"/>
                    </a:cubicBezTo>
                    <a:lnTo>
                      <a:pt x="0" y="43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p>
            </p:txBody>
          </p:sp>
          <p:sp>
            <p:nvSpPr>
              <p:cNvPr id="31" name="Freeform 10">
                <a:extLst>
                  <a:ext uri="{FF2B5EF4-FFF2-40B4-BE49-F238E27FC236}">
                    <a16:creationId xmlns:a16="http://schemas.microsoft.com/office/drawing/2014/main" id="{E19E262A-A8D9-4AFF-A111-735F30513058}"/>
                  </a:ext>
                </a:extLst>
              </p:cNvPr>
              <p:cNvSpPr>
                <a:spLocks/>
              </p:cNvSpPr>
              <p:nvPr userDrawn="1"/>
            </p:nvSpPr>
            <p:spPr bwMode="gray">
              <a:xfrm>
                <a:off x="2880" y="1704"/>
                <a:ext cx="618" cy="916"/>
              </a:xfrm>
              <a:custGeom>
                <a:avLst/>
                <a:gdLst>
                  <a:gd name="T0" fmla="*/ 307 w 307"/>
                  <a:gd name="T1" fmla="*/ 405 h 455"/>
                  <a:gd name="T2" fmla="*/ 307 w 307"/>
                  <a:gd name="T3" fmla="*/ 244 h 455"/>
                  <a:gd name="T4" fmla="*/ 279 w 307"/>
                  <a:gd name="T5" fmla="*/ 229 h 455"/>
                  <a:gd name="T6" fmla="*/ 250 w 307"/>
                  <a:gd name="T7" fmla="*/ 244 h 455"/>
                  <a:gd name="T8" fmla="*/ 250 w 307"/>
                  <a:gd name="T9" fmla="*/ 378 h 455"/>
                  <a:gd name="T10" fmla="*/ 199 w 307"/>
                  <a:gd name="T11" fmla="*/ 408 h 455"/>
                  <a:gd name="T12" fmla="*/ 61 w 307"/>
                  <a:gd name="T13" fmla="*/ 231 h 455"/>
                  <a:gd name="T14" fmla="*/ 238 w 307"/>
                  <a:gd name="T15" fmla="*/ 49 h 455"/>
                  <a:gd name="T16" fmla="*/ 270 w 307"/>
                  <a:gd name="T17" fmla="*/ 49 h 455"/>
                  <a:gd name="T18" fmla="*/ 286 w 307"/>
                  <a:gd name="T19" fmla="*/ 23 h 455"/>
                  <a:gd name="T20" fmla="*/ 244 w 307"/>
                  <a:gd name="T21" fmla="*/ 0 h 455"/>
                  <a:gd name="T22" fmla="*/ 231 w 307"/>
                  <a:gd name="T23" fmla="*/ 0 h 455"/>
                  <a:gd name="T24" fmla="*/ 0 w 307"/>
                  <a:gd name="T25" fmla="*/ 232 h 455"/>
                  <a:gd name="T26" fmla="*/ 198 w 307"/>
                  <a:gd name="T27" fmla="*/ 455 h 455"/>
                  <a:gd name="T28" fmla="*/ 307 w 307"/>
                  <a:gd name="T29" fmla="*/ 405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7" h="455">
                    <a:moveTo>
                      <a:pt x="307" y="405"/>
                    </a:moveTo>
                    <a:cubicBezTo>
                      <a:pt x="307" y="244"/>
                      <a:pt x="307" y="244"/>
                      <a:pt x="307" y="244"/>
                    </a:cubicBezTo>
                    <a:cubicBezTo>
                      <a:pt x="307" y="234"/>
                      <a:pt x="298" y="229"/>
                      <a:pt x="279" y="229"/>
                    </a:cubicBezTo>
                    <a:cubicBezTo>
                      <a:pt x="259" y="229"/>
                      <a:pt x="250" y="234"/>
                      <a:pt x="250" y="244"/>
                    </a:cubicBezTo>
                    <a:cubicBezTo>
                      <a:pt x="250" y="378"/>
                      <a:pt x="250" y="378"/>
                      <a:pt x="250" y="378"/>
                    </a:cubicBezTo>
                    <a:cubicBezTo>
                      <a:pt x="250" y="399"/>
                      <a:pt x="241" y="408"/>
                      <a:pt x="199" y="408"/>
                    </a:cubicBezTo>
                    <a:cubicBezTo>
                      <a:pt x="114" y="408"/>
                      <a:pt x="61" y="342"/>
                      <a:pt x="61" y="231"/>
                    </a:cubicBezTo>
                    <a:cubicBezTo>
                      <a:pt x="61" y="115"/>
                      <a:pt x="126" y="49"/>
                      <a:pt x="238" y="49"/>
                    </a:cubicBezTo>
                    <a:cubicBezTo>
                      <a:pt x="270" y="49"/>
                      <a:pt x="270" y="49"/>
                      <a:pt x="270" y="49"/>
                    </a:cubicBezTo>
                    <a:cubicBezTo>
                      <a:pt x="282" y="49"/>
                      <a:pt x="286" y="39"/>
                      <a:pt x="286" y="23"/>
                    </a:cubicBezTo>
                    <a:cubicBezTo>
                      <a:pt x="286" y="4"/>
                      <a:pt x="275" y="0"/>
                      <a:pt x="244" y="0"/>
                    </a:cubicBezTo>
                    <a:cubicBezTo>
                      <a:pt x="231" y="0"/>
                      <a:pt x="231" y="0"/>
                      <a:pt x="231" y="0"/>
                    </a:cubicBezTo>
                    <a:cubicBezTo>
                      <a:pt x="101" y="0"/>
                      <a:pt x="0" y="71"/>
                      <a:pt x="0" y="232"/>
                    </a:cubicBezTo>
                    <a:cubicBezTo>
                      <a:pt x="0" y="386"/>
                      <a:pt x="88" y="455"/>
                      <a:pt x="198" y="455"/>
                    </a:cubicBezTo>
                    <a:cubicBezTo>
                      <a:pt x="286" y="455"/>
                      <a:pt x="307" y="430"/>
                      <a:pt x="307" y="40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p>
            </p:txBody>
          </p:sp>
          <p:sp>
            <p:nvSpPr>
              <p:cNvPr id="32" name="Oval 11">
                <a:extLst>
                  <a:ext uri="{FF2B5EF4-FFF2-40B4-BE49-F238E27FC236}">
                    <a16:creationId xmlns:a16="http://schemas.microsoft.com/office/drawing/2014/main" id="{65AB504F-E0E2-4D53-A1AC-DAA34158EA0B}"/>
                  </a:ext>
                </a:extLst>
              </p:cNvPr>
              <p:cNvSpPr>
                <a:spLocks noChangeArrowheads="1"/>
              </p:cNvSpPr>
              <p:nvPr userDrawn="1"/>
            </p:nvSpPr>
            <p:spPr bwMode="gray">
              <a:xfrm>
                <a:off x="3778" y="2099"/>
                <a:ext cx="122" cy="12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p>
            </p:txBody>
          </p:sp>
          <p:sp>
            <p:nvSpPr>
              <p:cNvPr id="33" name="Freeform 12">
                <a:extLst>
                  <a:ext uri="{FF2B5EF4-FFF2-40B4-BE49-F238E27FC236}">
                    <a16:creationId xmlns:a16="http://schemas.microsoft.com/office/drawing/2014/main" id="{E4B30B17-84A8-4311-8672-29BA6EC289A9}"/>
                  </a:ext>
                </a:extLst>
              </p:cNvPr>
              <p:cNvSpPr>
                <a:spLocks/>
              </p:cNvSpPr>
              <p:nvPr userDrawn="1"/>
            </p:nvSpPr>
            <p:spPr bwMode="gray">
              <a:xfrm>
                <a:off x="4321" y="1029"/>
                <a:ext cx="648" cy="649"/>
              </a:xfrm>
              <a:custGeom>
                <a:avLst/>
                <a:gdLst>
                  <a:gd name="T0" fmla="*/ 0 w 648"/>
                  <a:gd name="T1" fmla="*/ 649 h 649"/>
                  <a:gd name="T2" fmla="*/ 2 w 648"/>
                  <a:gd name="T3" fmla="*/ 649 h 649"/>
                  <a:gd name="T4" fmla="*/ 648 w 648"/>
                  <a:gd name="T5" fmla="*/ 0 h 649"/>
                  <a:gd name="T6" fmla="*/ 423 w 648"/>
                  <a:gd name="T7" fmla="*/ 0 h 649"/>
                  <a:gd name="T8" fmla="*/ 0 w 648"/>
                  <a:gd name="T9" fmla="*/ 649 h 649"/>
                </a:gdLst>
                <a:ahLst/>
                <a:cxnLst>
                  <a:cxn ang="0">
                    <a:pos x="T0" y="T1"/>
                  </a:cxn>
                  <a:cxn ang="0">
                    <a:pos x="T2" y="T3"/>
                  </a:cxn>
                  <a:cxn ang="0">
                    <a:pos x="T4" y="T5"/>
                  </a:cxn>
                  <a:cxn ang="0">
                    <a:pos x="T6" y="T7"/>
                  </a:cxn>
                  <a:cxn ang="0">
                    <a:pos x="T8" y="T9"/>
                  </a:cxn>
                </a:cxnLst>
                <a:rect l="0" t="0" r="r" b="b"/>
                <a:pathLst>
                  <a:path w="648" h="649">
                    <a:moveTo>
                      <a:pt x="0" y="649"/>
                    </a:moveTo>
                    <a:lnTo>
                      <a:pt x="2" y="649"/>
                    </a:lnTo>
                    <a:lnTo>
                      <a:pt x="648" y="0"/>
                    </a:lnTo>
                    <a:lnTo>
                      <a:pt x="423" y="0"/>
                    </a:lnTo>
                    <a:lnTo>
                      <a:pt x="0" y="64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p>
            </p:txBody>
          </p:sp>
          <p:sp>
            <p:nvSpPr>
              <p:cNvPr id="34" name="Freeform 13">
                <a:extLst>
                  <a:ext uri="{FF2B5EF4-FFF2-40B4-BE49-F238E27FC236}">
                    <a16:creationId xmlns:a16="http://schemas.microsoft.com/office/drawing/2014/main" id="{58BBE620-BFD5-4463-8CD0-05D1808A49A1}"/>
                  </a:ext>
                </a:extLst>
              </p:cNvPr>
              <p:cNvSpPr>
                <a:spLocks/>
              </p:cNvSpPr>
              <p:nvPr userDrawn="1"/>
            </p:nvSpPr>
            <p:spPr bwMode="gray">
              <a:xfrm>
                <a:off x="4321" y="1029"/>
                <a:ext cx="648" cy="649"/>
              </a:xfrm>
              <a:custGeom>
                <a:avLst/>
                <a:gdLst>
                  <a:gd name="T0" fmla="*/ 0 w 648"/>
                  <a:gd name="T1" fmla="*/ 649 h 649"/>
                  <a:gd name="T2" fmla="*/ 2 w 648"/>
                  <a:gd name="T3" fmla="*/ 649 h 649"/>
                  <a:gd name="T4" fmla="*/ 648 w 648"/>
                  <a:gd name="T5" fmla="*/ 0 h 649"/>
                  <a:gd name="T6" fmla="*/ 423 w 648"/>
                  <a:gd name="T7" fmla="*/ 0 h 649"/>
                  <a:gd name="T8" fmla="*/ 0 w 648"/>
                  <a:gd name="T9" fmla="*/ 649 h 649"/>
                </a:gdLst>
                <a:ahLst/>
                <a:cxnLst>
                  <a:cxn ang="0">
                    <a:pos x="T0" y="T1"/>
                  </a:cxn>
                  <a:cxn ang="0">
                    <a:pos x="T2" y="T3"/>
                  </a:cxn>
                  <a:cxn ang="0">
                    <a:pos x="T4" y="T5"/>
                  </a:cxn>
                  <a:cxn ang="0">
                    <a:pos x="T6" y="T7"/>
                  </a:cxn>
                  <a:cxn ang="0">
                    <a:pos x="T8" y="T9"/>
                  </a:cxn>
                </a:cxnLst>
                <a:rect l="0" t="0" r="r" b="b"/>
                <a:pathLst>
                  <a:path w="648" h="649">
                    <a:moveTo>
                      <a:pt x="0" y="649"/>
                    </a:moveTo>
                    <a:lnTo>
                      <a:pt x="2" y="649"/>
                    </a:lnTo>
                    <a:lnTo>
                      <a:pt x="648" y="0"/>
                    </a:lnTo>
                    <a:lnTo>
                      <a:pt x="423" y="0"/>
                    </a:lnTo>
                    <a:lnTo>
                      <a:pt x="0" y="64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p>
            </p:txBody>
          </p:sp>
        </p:grpSp>
      </p:grpSp>
      <p:sp>
        <p:nvSpPr>
          <p:cNvPr id="29" name="Datumsplatzhalter 2"/>
          <p:cNvSpPr txBox="1">
            <a:spLocks/>
          </p:cNvSpPr>
          <p:nvPr userDrawn="1"/>
        </p:nvSpPr>
        <p:spPr bwMode="gray">
          <a:xfrm>
            <a:off x="623460" y="6523540"/>
            <a:ext cx="612000" cy="144000"/>
          </a:xfrm>
          <a:prstGeom prst="rect">
            <a:avLst/>
          </a:prstGeom>
        </p:spPr>
        <p:txBody>
          <a:bodyPr vert="horz" lIns="0" tIns="0" rIns="0" bIns="0" rtlCol="0" anchor="ctr"/>
          <a:lstStyle>
            <a:defPPr>
              <a:defRPr lang="de-DE"/>
            </a:defPPr>
            <a:lvl1pPr marL="0" algn="r" defTabSz="914400" rtl="0" eaLnBrk="1" latinLnBrk="0" hangingPunct="1">
              <a:defRPr sz="800" kern="1200">
                <a:solidFill>
                  <a:schemeClr val="bg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08562B7D-83DE-47C6-9848-8F150F47F574}" type="datetime1">
              <a:rPr lang="en-GB" sz="800" smtClean="0"/>
              <a:pPr/>
              <a:t>26/06/2020</a:t>
            </a:fld>
            <a:endParaRPr lang="en-US" sz="800" dirty="0"/>
          </a:p>
        </p:txBody>
      </p:sp>
    </p:spTree>
    <p:extLst>
      <p:ext uri="{BB962C8B-B14F-4D97-AF65-F5344CB8AC3E}">
        <p14:creationId xmlns:p14="http://schemas.microsoft.com/office/powerpoint/2010/main" val="1921639561"/>
      </p:ext>
    </p:extLst>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showMasterSp="0" preserve="1" userDrawn="1">
  <p:cSld name="2_Thank you">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0521F82B-A2AD-424C-BBAE-E24B92FE91C7}"/>
              </a:ext>
            </a:extLst>
          </p:cNvPr>
          <p:cNvGraphicFramePr>
            <a:graphicFrameLocks noChangeAspect="1"/>
          </p:cNvGraphicFramePr>
          <p:nvPr userDrawn="1">
            <p:custDataLst>
              <p:tags r:id="rId2"/>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599097" name="think-cell Folie" r:id="rId5" imgW="359" imgH="358" progId="TCLayout.ActiveDocument.1">
                  <p:embed/>
                </p:oleObj>
              </mc:Choice>
              <mc:Fallback>
                <p:oleObj name="think-cell Folie" r:id="rId5" imgW="359" imgH="358" progId="TCLayout.ActiveDocument.1">
                  <p:embed/>
                  <p:pic>
                    <p:nvPicPr>
                      <p:cNvPr id="6" name="Objekt 5" hidden="1">
                        <a:extLst>
                          <a:ext uri="{FF2B5EF4-FFF2-40B4-BE49-F238E27FC236}">
                            <a16:creationId xmlns:a16="http://schemas.microsoft.com/office/drawing/2014/main" id="{0521F82B-A2AD-424C-BBAE-E24B92FE91C7}"/>
                          </a:ext>
                        </a:extLst>
                      </p:cNvPr>
                      <p:cNvPicPr/>
                      <p:nvPr/>
                    </p:nvPicPr>
                    <p:blipFill>
                      <a:blip r:embed="rId6"/>
                      <a:stretch>
                        <a:fillRect/>
                      </a:stretch>
                    </p:blipFill>
                    <p:spPr>
                      <a:xfrm>
                        <a:off x="1589" y="1589"/>
                        <a:ext cx="1588" cy="1588"/>
                      </a:xfrm>
                      <a:prstGeom prst="rect">
                        <a:avLst/>
                      </a:prstGeom>
                    </p:spPr>
                  </p:pic>
                </p:oleObj>
              </mc:Fallback>
            </mc:AlternateContent>
          </a:graphicData>
        </a:graphic>
      </p:graphicFrame>
      <p:sp>
        <p:nvSpPr>
          <p:cNvPr id="3" name="Rechteck 2" hidden="1">
            <a:extLst>
              <a:ext uri="{FF2B5EF4-FFF2-40B4-BE49-F238E27FC236}">
                <a16:creationId xmlns:a16="http://schemas.microsoft.com/office/drawing/2014/main" id="{434B2DA5-7DC4-4359-ADAB-1406AD03F8D6}"/>
              </a:ext>
            </a:extLst>
          </p:cNvPr>
          <p:cNvSpPr/>
          <p:nvPr userDrawn="1">
            <p:custDataLst>
              <p:tags r:id="rId3"/>
            </p:custDataLst>
          </p:nvPr>
        </p:nvSpPr>
        <p:spPr bwMode="gray">
          <a:xfrm>
            <a:off x="1" y="0"/>
            <a:ext cx="158751"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l" eaLnBrk="1">
              <a:lnSpc>
                <a:spcPct val="90000"/>
              </a:lnSpc>
              <a:spcBef>
                <a:spcPct val="0"/>
              </a:spcBef>
              <a:spcAft>
                <a:spcPct val="0"/>
              </a:spcAft>
            </a:pPr>
            <a:endParaRPr lang="en-US" sz="4599" b="1" i="0" baseline="0" dirty="0">
              <a:latin typeface="Lato" panose="020F0502020204030203" pitchFamily="34" charset="0"/>
              <a:ea typeface="+mj-ea"/>
              <a:cs typeface="+mj-cs"/>
              <a:sym typeface="Lato" panose="020F0502020204030203" pitchFamily="34" charset="0"/>
            </a:endParaRPr>
          </a:p>
        </p:txBody>
      </p:sp>
      <p:sp>
        <p:nvSpPr>
          <p:cNvPr id="10" name="Rechteck 9">
            <a:extLst>
              <a:ext uri="{FF2B5EF4-FFF2-40B4-BE49-F238E27FC236}">
                <a16:creationId xmlns:a16="http://schemas.microsoft.com/office/drawing/2014/main" id="{0FFF1F1E-A313-45B8-99A7-907C3ED5944C}"/>
              </a:ext>
            </a:extLst>
          </p:cNvPr>
          <p:cNvSpPr/>
          <p:nvPr userDrawn="1"/>
        </p:nvSpPr>
        <p:spPr bwMode="gray">
          <a:xfrm>
            <a:off x="0" y="0"/>
            <a:ext cx="12192000" cy="6858000"/>
          </a:xfrm>
          <a:prstGeom prst="rect">
            <a:avLst/>
          </a:prstGeom>
          <a:gradFill flip="none" rotWithShape="1">
            <a:gsLst>
              <a:gs pos="0">
                <a:schemeClr val="bg2"/>
              </a:gs>
              <a:gs pos="100000">
                <a:schemeClr val="bg2">
                  <a:lumMod val="7500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dirty="0"/>
          </a:p>
        </p:txBody>
      </p:sp>
      <p:sp>
        <p:nvSpPr>
          <p:cNvPr id="2" name="Titel 1"/>
          <p:cNvSpPr>
            <a:spLocks noGrp="1"/>
          </p:cNvSpPr>
          <p:nvPr>
            <p:ph type="title" hasCustomPrompt="1"/>
          </p:nvPr>
        </p:nvSpPr>
        <p:spPr bwMode="gray">
          <a:xfrm>
            <a:off x="3683732" y="2600908"/>
            <a:ext cx="6228619" cy="1728000"/>
          </a:xfrm>
        </p:spPr>
        <p:txBody>
          <a:bodyPr anchor="t"/>
          <a:lstStyle>
            <a:lvl1pPr marL="685577" indent="-685577" algn="l">
              <a:buClr>
                <a:schemeClr val="tx2"/>
              </a:buClr>
              <a:buFont typeface="Wingdings 3" panose="05040102010807070707" pitchFamily="18" charset="2"/>
              <a:buChar char=""/>
              <a:defRPr sz="4599">
                <a:solidFill>
                  <a:schemeClr val="bg1"/>
                </a:solidFill>
              </a:defRPr>
            </a:lvl1pPr>
          </a:lstStyle>
          <a:p>
            <a:r>
              <a:rPr lang="en-US" dirty="0"/>
              <a:t>Thank you.</a:t>
            </a:r>
          </a:p>
        </p:txBody>
      </p:sp>
      <p:sp>
        <p:nvSpPr>
          <p:cNvPr id="4" name="Datumsplatzhalter 3"/>
          <p:cNvSpPr>
            <a:spLocks noGrp="1"/>
          </p:cNvSpPr>
          <p:nvPr>
            <p:ph type="dt" sz="half" idx="10"/>
          </p:nvPr>
        </p:nvSpPr>
        <p:spPr bwMode="gray">
          <a:xfrm>
            <a:off x="659464" y="6525360"/>
            <a:ext cx="612000" cy="144000"/>
          </a:xfrm>
          <a:prstGeom prst="rect">
            <a:avLst/>
          </a:prstGeom>
        </p:spPr>
        <p:txBody>
          <a:bodyPr/>
          <a:lstStyle>
            <a:lvl1pPr>
              <a:defRPr>
                <a:solidFill>
                  <a:schemeClr val="bg1"/>
                </a:solidFill>
              </a:defRPr>
            </a:lvl1pPr>
          </a:lstStyle>
          <a:p>
            <a:fld id="{D956EFA7-82A5-4287-AE9F-5DFAE80AD2C7}" type="datetime1">
              <a:rPr lang="en-GB" smtClean="0"/>
              <a:t>26/06/2020</a:t>
            </a:fld>
            <a:endParaRPr lang="en-US" dirty="0"/>
          </a:p>
        </p:txBody>
      </p:sp>
      <p:sp>
        <p:nvSpPr>
          <p:cNvPr id="5" name="Fußzeilenplatzhalter 4"/>
          <p:cNvSpPr>
            <a:spLocks noGrp="1"/>
          </p:cNvSpPr>
          <p:nvPr>
            <p:ph type="ftr" sz="quarter" idx="11"/>
          </p:nvPr>
        </p:nvSpPr>
        <p:spPr bwMode="gray">
          <a:xfrm>
            <a:off x="3012356" y="6525360"/>
            <a:ext cx="4932349" cy="144000"/>
          </a:xfrm>
          <a:prstGeom prst="rect">
            <a:avLst/>
          </a:prstGeom>
        </p:spPr>
        <p:txBody>
          <a:bodyPr/>
          <a:lstStyle>
            <a:lvl1pPr>
              <a:buClr>
                <a:schemeClr val="bg1"/>
              </a:buClr>
              <a:defRPr>
                <a:solidFill>
                  <a:schemeClr val="bg1"/>
                </a:solidFill>
              </a:defRPr>
            </a:lvl1pPr>
          </a:lstStyle>
          <a:p>
            <a:r>
              <a:rPr lang="en-US" dirty="0"/>
              <a:t>Introducing the GfK ecosystem &amp; gfknewron </a:t>
            </a:r>
          </a:p>
        </p:txBody>
      </p:sp>
      <p:sp>
        <p:nvSpPr>
          <p:cNvPr id="8" name="Rechteck 7">
            <a:extLst>
              <a:ext uri="{FF2B5EF4-FFF2-40B4-BE49-F238E27FC236}">
                <a16:creationId xmlns:a16="http://schemas.microsoft.com/office/drawing/2014/main" id="{5FF2A560-10F7-4D82-9AF4-C758E726E7BF}"/>
              </a:ext>
            </a:extLst>
          </p:cNvPr>
          <p:cNvSpPr/>
          <p:nvPr userDrawn="1"/>
        </p:nvSpPr>
        <p:spPr bwMode="gray">
          <a:xfrm>
            <a:off x="334965" y="6525360"/>
            <a:ext cx="288428" cy="144000"/>
          </a:xfrm>
          <a:prstGeom prst="rect">
            <a:avLst/>
          </a:prstGeom>
        </p:spPr>
        <p:txBody>
          <a:bodyPr vert="horz" lIns="0" tIns="0" rIns="0" bIns="0" rtlCol="0" anchor="ctr"/>
          <a:lstStyle/>
          <a:p>
            <a:pPr lvl="0"/>
            <a:r>
              <a:rPr lang="en-US" sz="800" noProof="0" dirty="0">
                <a:solidFill>
                  <a:schemeClr val="bg1"/>
                </a:solidFill>
              </a:rPr>
              <a:t>© GfK</a:t>
            </a:r>
            <a:endParaRPr lang="en-US" sz="800" dirty="0">
              <a:solidFill>
                <a:schemeClr val="bg1"/>
              </a:solidFill>
            </a:endParaRPr>
          </a:p>
        </p:txBody>
      </p:sp>
      <p:grpSp>
        <p:nvGrpSpPr>
          <p:cNvPr id="12" name="Gruppieren 11">
            <a:extLst>
              <a:ext uri="{FF2B5EF4-FFF2-40B4-BE49-F238E27FC236}">
                <a16:creationId xmlns:a16="http://schemas.microsoft.com/office/drawing/2014/main" id="{716EC135-7463-48B2-AB5B-9870D4237239}"/>
              </a:ext>
            </a:extLst>
          </p:cNvPr>
          <p:cNvGrpSpPr/>
          <p:nvPr userDrawn="1"/>
        </p:nvGrpSpPr>
        <p:grpSpPr bwMode="gray">
          <a:xfrm>
            <a:off x="6463978" y="5051844"/>
            <a:ext cx="5861372" cy="2219191"/>
            <a:chOff x="6463977" y="5085184"/>
            <a:chExt cx="5861372" cy="2219191"/>
          </a:xfrm>
        </p:grpSpPr>
        <p:sp>
          <p:nvSpPr>
            <p:cNvPr id="13" name="Freeform 47">
              <a:extLst>
                <a:ext uri="{FF2B5EF4-FFF2-40B4-BE49-F238E27FC236}">
                  <a16:creationId xmlns:a16="http://schemas.microsoft.com/office/drawing/2014/main" id="{1F3EDD4E-DAD7-41A0-82F5-1F3370C0C534}"/>
                </a:ext>
              </a:extLst>
            </p:cNvPr>
            <p:cNvSpPr>
              <a:spLocks/>
            </p:cNvSpPr>
            <p:nvPr userDrawn="1"/>
          </p:nvSpPr>
          <p:spPr bwMode="gray">
            <a:xfrm flipH="1">
              <a:off x="6841584" y="6853623"/>
              <a:ext cx="299141" cy="304434"/>
            </a:xfrm>
            <a:custGeom>
              <a:avLst/>
              <a:gdLst>
                <a:gd name="T0" fmla="*/ 0 w 113"/>
                <a:gd name="T1" fmla="*/ 115 h 115"/>
                <a:gd name="T2" fmla="*/ 0 w 113"/>
                <a:gd name="T3" fmla="*/ 0 h 115"/>
                <a:gd name="T4" fmla="*/ 113 w 113"/>
                <a:gd name="T5" fmla="*/ 56 h 115"/>
                <a:gd name="T6" fmla="*/ 0 w 113"/>
                <a:gd name="T7" fmla="*/ 115 h 115"/>
              </a:gdLst>
              <a:ahLst/>
              <a:cxnLst>
                <a:cxn ang="0">
                  <a:pos x="T0" y="T1"/>
                </a:cxn>
                <a:cxn ang="0">
                  <a:pos x="T2" y="T3"/>
                </a:cxn>
                <a:cxn ang="0">
                  <a:pos x="T4" y="T5"/>
                </a:cxn>
                <a:cxn ang="0">
                  <a:pos x="T6" y="T7"/>
                </a:cxn>
              </a:cxnLst>
              <a:rect l="0" t="0" r="r" b="b"/>
              <a:pathLst>
                <a:path w="113" h="115">
                  <a:moveTo>
                    <a:pt x="0" y="115"/>
                  </a:moveTo>
                  <a:lnTo>
                    <a:pt x="0" y="0"/>
                  </a:lnTo>
                  <a:lnTo>
                    <a:pt x="113" y="56"/>
                  </a:lnTo>
                  <a:lnTo>
                    <a:pt x="0" y="115"/>
                  </a:lnTo>
                  <a:close/>
                </a:path>
              </a:pathLst>
            </a:custGeom>
            <a:solidFill>
              <a:srgbClr val="ED8B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p>
          </p:txBody>
        </p:sp>
        <p:sp>
          <p:nvSpPr>
            <p:cNvPr id="14" name="Freeform 52">
              <a:extLst>
                <a:ext uri="{FF2B5EF4-FFF2-40B4-BE49-F238E27FC236}">
                  <a16:creationId xmlns:a16="http://schemas.microsoft.com/office/drawing/2014/main" id="{7B3895AE-AA2B-4F9A-9EF0-EEC5196DC401}"/>
                </a:ext>
              </a:extLst>
            </p:cNvPr>
            <p:cNvSpPr>
              <a:spLocks/>
            </p:cNvSpPr>
            <p:nvPr userDrawn="1"/>
          </p:nvSpPr>
          <p:spPr bwMode="gray">
            <a:xfrm flipH="1">
              <a:off x="8406295" y="6382162"/>
              <a:ext cx="275909" cy="278329"/>
            </a:xfrm>
            <a:custGeom>
              <a:avLst/>
              <a:gdLst>
                <a:gd name="T0" fmla="*/ 0 w 114"/>
                <a:gd name="T1" fmla="*/ 115 h 115"/>
                <a:gd name="T2" fmla="*/ 0 w 114"/>
                <a:gd name="T3" fmla="*/ 0 h 115"/>
                <a:gd name="T4" fmla="*/ 114 w 114"/>
                <a:gd name="T5" fmla="*/ 57 h 115"/>
                <a:gd name="T6" fmla="*/ 0 w 114"/>
                <a:gd name="T7" fmla="*/ 115 h 115"/>
              </a:gdLst>
              <a:ahLst/>
              <a:cxnLst>
                <a:cxn ang="0">
                  <a:pos x="T0" y="T1"/>
                </a:cxn>
                <a:cxn ang="0">
                  <a:pos x="T2" y="T3"/>
                </a:cxn>
                <a:cxn ang="0">
                  <a:pos x="T4" y="T5"/>
                </a:cxn>
                <a:cxn ang="0">
                  <a:pos x="T6" y="T7"/>
                </a:cxn>
              </a:cxnLst>
              <a:rect l="0" t="0" r="r" b="b"/>
              <a:pathLst>
                <a:path w="114" h="115">
                  <a:moveTo>
                    <a:pt x="0" y="115"/>
                  </a:moveTo>
                  <a:lnTo>
                    <a:pt x="0" y="0"/>
                  </a:lnTo>
                  <a:lnTo>
                    <a:pt x="114" y="57"/>
                  </a:lnTo>
                  <a:lnTo>
                    <a:pt x="0" y="115"/>
                  </a:lnTo>
                  <a:close/>
                </a:path>
              </a:pathLst>
            </a:custGeom>
            <a:solidFill>
              <a:srgbClr val="E86A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p>
          </p:txBody>
        </p:sp>
        <p:sp>
          <p:nvSpPr>
            <p:cNvPr id="15" name="Freeform 66">
              <a:extLst>
                <a:ext uri="{FF2B5EF4-FFF2-40B4-BE49-F238E27FC236}">
                  <a16:creationId xmlns:a16="http://schemas.microsoft.com/office/drawing/2014/main" id="{C4C2EAB8-2468-4924-962D-7B9C1F07AACA}"/>
                </a:ext>
              </a:extLst>
            </p:cNvPr>
            <p:cNvSpPr>
              <a:spLocks/>
            </p:cNvSpPr>
            <p:nvPr userDrawn="1"/>
          </p:nvSpPr>
          <p:spPr bwMode="gray">
            <a:xfrm>
              <a:off x="6463977" y="6794434"/>
              <a:ext cx="194591" cy="196299"/>
            </a:xfrm>
            <a:custGeom>
              <a:avLst/>
              <a:gdLst>
                <a:gd name="T0" fmla="*/ 0 w 114"/>
                <a:gd name="T1" fmla="*/ 115 h 115"/>
                <a:gd name="T2" fmla="*/ 0 w 114"/>
                <a:gd name="T3" fmla="*/ 0 h 115"/>
                <a:gd name="T4" fmla="*/ 114 w 114"/>
                <a:gd name="T5" fmla="*/ 56 h 115"/>
                <a:gd name="T6" fmla="*/ 0 w 114"/>
                <a:gd name="T7" fmla="*/ 115 h 115"/>
              </a:gdLst>
              <a:ahLst/>
              <a:cxnLst>
                <a:cxn ang="0">
                  <a:pos x="T0" y="T1"/>
                </a:cxn>
                <a:cxn ang="0">
                  <a:pos x="T2" y="T3"/>
                </a:cxn>
                <a:cxn ang="0">
                  <a:pos x="T4" y="T5"/>
                </a:cxn>
                <a:cxn ang="0">
                  <a:pos x="T6" y="T7"/>
                </a:cxn>
              </a:cxnLst>
              <a:rect l="0" t="0" r="r" b="b"/>
              <a:pathLst>
                <a:path w="114" h="115">
                  <a:moveTo>
                    <a:pt x="0" y="115"/>
                  </a:moveTo>
                  <a:lnTo>
                    <a:pt x="0" y="0"/>
                  </a:lnTo>
                  <a:lnTo>
                    <a:pt x="114" y="56"/>
                  </a:lnTo>
                  <a:lnTo>
                    <a:pt x="0" y="115"/>
                  </a:lnTo>
                  <a:close/>
                </a:path>
              </a:pathLst>
            </a:custGeom>
            <a:solidFill>
              <a:srgbClr val="F5BD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p>
          </p:txBody>
        </p:sp>
        <p:sp>
          <p:nvSpPr>
            <p:cNvPr id="16" name="Freeform 17">
              <a:extLst>
                <a:ext uri="{FF2B5EF4-FFF2-40B4-BE49-F238E27FC236}">
                  <a16:creationId xmlns:a16="http://schemas.microsoft.com/office/drawing/2014/main" id="{E2B824E6-AEE1-465B-BE0B-CF1E15CDFA4F}"/>
                </a:ext>
              </a:extLst>
            </p:cNvPr>
            <p:cNvSpPr>
              <a:spLocks/>
            </p:cNvSpPr>
            <p:nvPr userDrawn="1"/>
          </p:nvSpPr>
          <p:spPr bwMode="gray">
            <a:xfrm flipH="1">
              <a:off x="6837529" y="6673385"/>
              <a:ext cx="309822" cy="329403"/>
            </a:xfrm>
            <a:custGeom>
              <a:avLst/>
              <a:gdLst>
                <a:gd name="T0" fmla="*/ 113 w 113"/>
                <a:gd name="T1" fmla="*/ 0 h 113"/>
                <a:gd name="T2" fmla="*/ 113 w 113"/>
                <a:gd name="T3" fmla="*/ 113 h 113"/>
                <a:gd name="T4" fmla="*/ 0 w 113"/>
                <a:gd name="T5" fmla="*/ 56 h 113"/>
                <a:gd name="T6" fmla="*/ 113 w 113"/>
                <a:gd name="T7" fmla="*/ 0 h 113"/>
              </a:gdLst>
              <a:ahLst/>
              <a:cxnLst>
                <a:cxn ang="0">
                  <a:pos x="T0" y="T1"/>
                </a:cxn>
                <a:cxn ang="0">
                  <a:pos x="T2" y="T3"/>
                </a:cxn>
                <a:cxn ang="0">
                  <a:pos x="T4" y="T5"/>
                </a:cxn>
                <a:cxn ang="0">
                  <a:pos x="T6" y="T7"/>
                </a:cxn>
              </a:cxnLst>
              <a:rect l="0" t="0" r="r" b="b"/>
              <a:pathLst>
                <a:path w="113" h="113">
                  <a:moveTo>
                    <a:pt x="113" y="0"/>
                  </a:moveTo>
                  <a:lnTo>
                    <a:pt x="113" y="113"/>
                  </a:lnTo>
                  <a:lnTo>
                    <a:pt x="0" y="56"/>
                  </a:lnTo>
                  <a:lnTo>
                    <a:pt x="113" y="0"/>
                  </a:lnTo>
                  <a:close/>
                </a:path>
              </a:pathLst>
            </a:custGeom>
            <a:solidFill>
              <a:srgbClr val="FCEE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p>
          </p:txBody>
        </p:sp>
        <p:sp>
          <p:nvSpPr>
            <p:cNvPr id="17" name="Freeform 47">
              <a:extLst>
                <a:ext uri="{FF2B5EF4-FFF2-40B4-BE49-F238E27FC236}">
                  <a16:creationId xmlns:a16="http://schemas.microsoft.com/office/drawing/2014/main" id="{45FAE52D-97F7-45C8-BD33-C50A0CA58D4B}"/>
                </a:ext>
              </a:extLst>
            </p:cNvPr>
            <p:cNvSpPr>
              <a:spLocks/>
            </p:cNvSpPr>
            <p:nvPr userDrawn="1"/>
          </p:nvSpPr>
          <p:spPr bwMode="gray">
            <a:xfrm>
              <a:off x="7141399" y="6853623"/>
              <a:ext cx="299141" cy="304434"/>
            </a:xfrm>
            <a:custGeom>
              <a:avLst/>
              <a:gdLst>
                <a:gd name="T0" fmla="*/ 0 w 113"/>
                <a:gd name="T1" fmla="*/ 115 h 115"/>
                <a:gd name="T2" fmla="*/ 0 w 113"/>
                <a:gd name="T3" fmla="*/ 0 h 115"/>
                <a:gd name="T4" fmla="*/ 113 w 113"/>
                <a:gd name="T5" fmla="*/ 56 h 115"/>
                <a:gd name="T6" fmla="*/ 0 w 113"/>
                <a:gd name="T7" fmla="*/ 115 h 115"/>
              </a:gdLst>
              <a:ahLst/>
              <a:cxnLst>
                <a:cxn ang="0">
                  <a:pos x="T0" y="T1"/>
                </a:cxn>
                <a:cxn ang="0">
                  <a:pos x="T2" y="T3"/>
                </a:cxn>
                <a:cxn ang="0">
                  <a:pos x="T4" y="T5"/>
                </a:cxn>
                <a:cxn ang="0">
                  <a:pos x="T6" y="T7"/>
                </a:cxn>
              </a:cxnLst>
              <a:rect l="0" t="0" r="r" b="b"/>
              <a:pathLst>
                <a:path w="113" h="115">
                  <a:moveTo>
                    <a:pt x="0" y="115"/>
                  </a:moveTo>
                  <a:lnTo>
                    <a:pt x="0" y="0"/>
                  </a:lnTo>
                  <a:lnTo>
                    <a:pt x="113" y="56"/>
                  </a:lnTo>
                  <a:lnTo>
                    <a:pt x="0" y="115"/>
                  </a:lnTo>
                  <a:close/>
                </a:path>
              </a:pathLst>
            </a:custGeom>
            <a:solidFill>
              <a:srgbClr val="FCEE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sz="1799" dirty="0"/>
            </a:p>
          </p:txBody>
        </p:sp>
        <p:sp>
          <p:nvSpPr>
            <p:cNvPr id="18" name="Freeform 47">
              <a:extLst>
                <a:ext uri="{FF2B5EF4-FFF2-40B4-BE49-F238E27FC236}">
                  <a16:creationId xmlns:a16="http://schemas.microsoft.com/office/drawing/2014/main" id="{CFD46B6C-19C4-41BB-B455-749EF62E371F}"/>
                </a:ext>
              </a:extLst>
            </p:cNvPr>
            <p:cNvSpPr>
              <a:spLocks/>
            </p:cNvSpPr>
            <p:nvPr userDrawn="1"/>
          </p:nvSpPr>
          <p:spPr bwMode="gray">
            <a:xfrm flipH="1">
              <a:off x="7153652" y="6704359"/>
              <a:ext cx="299141" cy="304434"/>
            </a:xfrm>
            <a:custGeom>
              <a:avLst/>
              <a:gdLst>
                <a:gd name="T0" fmla="*/ 0 w 113"/>
                <a:gd name="T1" fmla="*/ 115 h 115"/>
                <a:gd name="T2" fmla="*/ 0 w 113"/>
                <a:gd name="T3" fmla="*/ 0 h 115"/>
                <a:gd name="T4" fmla="*/ 113 w 113"/>
                <a:gd name="T5" fmla="*/ 56 h 115"/>
                <a:gd name="T6" fmla="*/ 0 w 113"/>
                <a:gd name="T7" fmla="*/ 115 h 115"/>
              </a:gdLst>
              <a:ahLst/>
              <a:cxnLst>
                <a:cxn ang="0">
                  <a:pos x="T0" y="T1"/>
                </a:cxn>
                <a:cxn ang="0">
                  <a:pos x="T2" y="T3"/>
                </a:cxn>
                <a:cxn ang="0">
                  <a:pos x="T4" y="T5"/>
                </a:cxn>
                <a:cxn ang="0">
                  <a:pos x="T6" y="T7"/>
                </a:cxn>
              </a:cxnLst>
              <a:rect l="0" t="0" r="r" b="b"/>
              <a:pathLst>
                <a:path w="113" h="115">
                  <a:moveTo>
                    <a:pt x="0" y="115"/>
                  </a:moveTo>
                  <a:lnTo>
                    <a:pt x="0" y="0"/>
                  </a:lnTo>
                  <a:lnTo>
                    <a:pt x="113" y="56"/>
                  </a:lnTo>
                  <a:lnTo>
                    <a:pt x="0" y="115"/>
                  </a:lnTo>
                  <a:close/>
                </a:path>
              </a:pathLst>
            </a:custGeom>
            <a:solidFill>
              <a:srgbClr val="ED8B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p>
          </p:txBody>
        </p:sp>
        <p:sp>
          <p:nvSpPr>
            <p:cNvPr id="19" name="Freeform 66">
              <a:extLst>
                <a:ext uri="{FF2B5EF4-FFF2-40B4-BE49-F238E27FC236}">
                  <a16:creationId xmlns:a16="http://schemas.microsoft.com/office/drawing/2014/main" id="{FD28B85F-C9CE-4CD1-B280-42125B566012}"/>
                </a:ext>
              </a:extLst>
            </p:cNvPr>
            <p:cNvSpPr>
              <a:spLocks/>
            </p:cNvSpPr>
            <p:nvPr userDrawn="1"/>
          </p:nvSpPr>
          <p:spPr bwMode="gray">
            <a:xfrm>
              <a:off x="7499732" y="6784143"/>
              <a:ext cx="515709" cy="520232"/>
            </a:xfrm>
            <a:custGeom>
              <a:avLst/>
              <a:gdLst>
                <a:gd name="T0" fmla="*/ 0 w 114"/>
                <a:gd name="T1" fmla="*/ 115 h 115"/>
                <a:gd name="T2" fmla="*/ 0 w 114"/>
                <a:gd name="T3" fmla="*/ 0 h 115"/>
                <a:gd name="T4" fmla="*/ 114 w 114"/>
                <a:gd name="T5" fmla="*/ 56 h 115"/>
                <a:gd name="T6" fmla="*/ 0 w 114"/>
                <a:gd name="T7" fmla="*/ 115 h 115"/>
              </a:gdLst>
              <a:ahLst/>
              <a:cxnLst>
                <a:cxn ang="0">
                  <a:pos x="T0" y="T1"/>
                </a:cxn>
                <a:cxn ang="0">
                  <a:pos x="T2" y="T3"/>
                </a:cxn>
                <a:cxn ang="0">
                  <a:pos x="T4" y="T5"/>
                </a:cxn>
                <a:cxn ang="0">
                  <a:pos x="T6" y="T7"/>
                </a:cxn>
              </a:cxnLst>
              <a:rect l="0" t="0" r="r" b="b"/>
              <a:pathLst>
                <a:path w="114" h="115">
                  <a:moveTo>
                    <a:pt x="0" y="115"/>
                  </a:moveTo>
                  <a:lnTo>
                    <a:pt x="0" y="0"/>
                  </a:lnTo>
                  <a:lnTo>
                    <a:pt x="114" y="56"/>
                  </a:lnTo>
                  <a:lnTo>
                    <a:pt x="0" y="115"/>
                  </a:lnTo>
                  <a:close/>
                </a:path>
              </a:pathLst>
            </a:custGeom>
            <a:solidFill>
              <a:srgbClr val="F5BD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p>
          </p:txBody>
        </p:sp>
        <p:sp>
          <p:nvSpPr>
            <p:cNvPr id="20" name="Freeform 17">
              <a:extLst>
                <a:ext uri="{FF2B5EF4-FFF2-40B4-BE49-F238E27FC236}">
                  <a16:creationId xmlns:a16="http://schemas.microsoft.com/office/drawing/2014/main" id="{6E7CF1F1-55C6-45C9-A4C3-92FE46D0D2DB}"/>
                </a:ext>
              </a:extLst>
            </p:cNvPr>
            <p:cNvSpPr>
              <a:spLocks/>
            </p:cNvSpPr>
            <p:nvPr userDrawn="1"/>
          </p:nvSpPr>
          <p:spPr bwMode="gray">
            <a:xfrm>
              <a:off x="7603716" y="6801641"/>
              <a:ext cx="178107" cy="189363"/>
            </a:xfrm>
            <a:custGeom>
              <a:avLst/>
              <a:gdLst>
                <a:gd name="T0" fmla="*/ 113 w 113"/>
                <a:gd name="T1" fmla="*/ 0 h 113"/>
                <a:gd name="T2" fmla="*/ 113 w 113"/>
                <a:gd name="T3" fmla="*/ 113 h 113"/>
                <a:gd name="T4" fmla="*/ 0 w 113"/>
                <a:gd name="T5" fmla="*/ 56 h 113"/>
                <a:gd name="T6" fmla="*/ 113 w 113"/>
                <a:gd name="T7" fmla="*/ 0 h 113"/>
              </a:gdLst>
              <a:ahLst/>
              <a:cxnLst>
                <a:cxn ang="0">
                  <a:pos x="T0" y="T1"/>
                </a:cxn>
                <a:cxn ang="0">
                  <a:pos x="T2" y="T3"/>
                </a:cxn>
                <a:cxn ang="0">
                  <a:pos x="T4" y="T5"/>
                </a:cxn>
                <a:cxn ang="0">
                  <a:pos x="T6" y="T7"/>
                </a:cxn>
              </a:cxnLst>
              <a:rect l="0" t="0" r="r" b="b"/>
              <a:pathLst>
                <a:path w="113" h="113">
                  <a:moveTo>
                    <a:pt x="113" y="0"/>
                  </a:moveTo>
                  <a:lnTo>
                    <a:pt x="113" y="113"/>
                  </a:lnTo>
                  <a:lnTo>
                    <a:pt x="0" y="56"/>
                  </a:lnTo>
                  <a:lnTo>
                    <a:pt x="113" y="0"/>
                  </a:lnTo>
                  <a:close/>
                </a:path>
              </a:pathLst>
            </a:custGeom>
            <a:solidFill>
              <a:srgbClr val="F8D6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sz="1799" dirty="0"/>
            </a:p>
          </p:txBody>
        </p:sp>
        <p:sp>
          <p:nvSpPr>
            <p:cNvPr id="21" name="Freeform 47">
              <a:extLst>
                <a:ext uri="{FF2B5EF4-FFF2-40B4-BE49-F238E27FC236}">
                  <a16:creationId xmlns:a16="http://schemas.microsoft.com/office/drawing/2014/main" id="{90675E58-5010-4926-AD16-C2D5289D0F01}"/>
                </a:ext>
              </a:extLst>
            </p:cNvPr>
            <p:cNvSpPr>
              <a:spLocks/>
            </p:cNvSpPr>
            <p:nvPr userDrawn="1"/>
          </p:nvSpPr>
          <p:spPr bwMode="gray">
            <a:xfrm flipH="1">
              <a:off x="7045517" y="6674798"/>
              <a:ext cx="150933" cy="153604"/>
            </a:xfrm>
            <a:custGeom>
              <a:avLst/>
              <a:gdLst>
                <a:gd name="T0" fmla="*/ 0 w 113"/>
                <a:gd name="T1" fmla="*/ 115 h 115"/>
                <a:gd name="T2" fmla="*/ 0 w 113"/>
                <a:gd name="T3" fmla="*/ 0 h 115"/>
                <a:gd name="T4" fmla="*/ 113 w 113"/>
                <a:gd name="T5" fmla="*/ 56 h 115"/>
                <a:gd name="T6" fmla="*/ 0 w 113"/>
                <a:gd name="T7" fmla="*/ 115 h 115"/>
              </a:gdLst>
              <a:ahLst/>
              <a:cxnLst>
                <a:cxn ang="0">
                  <a:pos x="T0" y="T1"/>
                </a:cxn>
                <a:cxn ang="0">
                  <a:pos x="T2" y="T3"/>
                </a:cxn>
                <a:cxn ang="0">
                  <a:pos x="T4" y="T5"/>
                </a:cxn>
                <a:cxn ang="0">
                  <a:pos x="T6" y="T7"/>
                </a:cxn>
              </a:cxnLst>
              <a:rect l="0" t="0" r="r" b="b"/>
              <a:pathLst>
                <a:path w="113" h="115">
                  <a:moveTo>
                    <a:pt x="0" y="115"/>
                  </a:moveTo>
                  <a:lnTo>
                    <a:pt x="0" y="0"/>
                  </a:lnTo>
                  <a:lnTo>
                    <a:pt x="113" y="56"/>
                  </a:lnTo>
                  <a:lnTo>
                    <a:pt x="0" y="115"/>
                  </a:lnTo>
                  <a:close/>
                </a:path>
              </a:pathLst>
            </a:custGeom>
            <a:solidFill>
              <a:srgbClr val="ED8B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p>
          </p:txBody>
        </p:sp>
        <p:sp>
          <p:nvSpPr>
            <p:cNvPr id="22" name="Freeform 66">
              <a:extLst>
                <a:ext uri="{FF2B5EF4-FFF2-40B4-BE49-F238E27FC236}">
                  <a16:creationId xmlns:a16="http://schemas.microsoft.com/office/drawing/2014/main" id="{D6F9BB3D-3154-4972-9C37-BD9FA2CD4C6C}"/>
                </a:ext>
              </a:extLst>
            </p:cNvPr>
            <p:cNvSpPr>
              <a:spLocks/>
            </p:cNvSpPr>
            <p:nvPr userDrawn="1"/>
          </p:nvSpPr>
          <p:spPr bwMode="gray">
            <a:xfrm>
              <a:off x="7151689" y="6600268"/>
              <a:ext cx="194591" cy="196299"/>
            </a:xfrm>
            <a:custGeom>
              <a:avLst/>
              <a:gdLst>
                <a:gd name="T0" fmla="*/ 0 w 114"/>
                <a:gd name="T1" fmla="*/ 115 h 115"/>
                <a:gd name="T2" fmla="*/ 0 w 114"/>
                <a:gd name="T3" fmla="*/ 0 h 115"/>
                <a:gd name="T4" fmla="*/ 114 w 114"/>
                <a:gd name="T5" fmla="*/ 56 h 115"/>
                <a:gd name="T6" fmla="*/ 0 w 114"/>
                <a:gd name="T7" fmla="*/ 115 h 115"/>
              </a:gdLst>
              <a:ahLst/>
              <a:cxnLst>
                <a:cxn ang="0">
                  <a:pos x="T0" y="T1"/>
                </a:cxn>
                <a:cxn ang="0">
                  <a:pos x="T2" y="T3"/>
                </a:cxn>
                <a:cxn ang="0">
                  <a:pos x="T4" y="T5"/>
                </a:cxn>
                <a:cxn ang="0">
                  <a:pos x="T6" y="T7"/>
                </a:cxn>
              </a:cxnLst>
              <a:rect l="0" t="0" r="r" b="b"/>
              <a:pathLst>
                <a:path w="114" h="115">
                  <a:moveTo>
                    <a:pt x="0" y="115"/>
                  </a:moveTo>
                  <a:lnTo>
                    <a:pt x="0" y="0"/>
                  </a:lnTo>
                  <a:lnTo>
                    <a:pt x="114" y="56"/>
                  </a:lnTo>
                  <a:lnTo>
                    <a:pt x="0" y="115"/>
                  </a:lnTo>
                  <a:close/>
                </a:path>
              </a:pathLst>
            </a:custGeom>
            <a:solidFill>
              <a:srgbClr val="F5BD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p>
          </p:txBody>
        </p:sp>
        <p:sp>
          <p:nvSpPr>
            <p:cNvPr id="23" name="Freeform 66">
              <a:extLst>
                <a:ext uri="{FF2B5EF4-FFF2-40B4-BE49-F238E27FC236}">
                  <a16:creationId xmlns:a16="http://schemas.microsoft.com/office/drawing/2014/main" id="{6F533E71-F3E2-4CD8-9748-13BE48E6A98E}"/>
                </a:ext>
              </a:extLst>
            </p:cNvPr>
            <p:cNvSpPr>
              <a:spLocks/>
            </p:cNvSpPr>
            <p:nvPr userDrawn="1"/>
          </p:nvSpPr>
          <p:spPr bwMode="gray">
            <a:xfrm flipH="1">
              <a:off x="7815274" y="6704352"/>
              <a:ext cx="231588" cy="233621"/>
            </a:xfrm>
            <a:custGeom>
              <a:avLst/>
              <a:gdLst>
                <a:gd name="T0" fmla="*/ 0 w 114"/>
                <a:gd name="T1" fmla="*/ 115 h 115"/>
                <a:gd name="T2" fmla="*/ 0 w 114"/>
                <a:gd name="T3" fmla="*/ 0 h 115"/>
                <a:gd name="T4" fmla="*/ 114 w 114"/>
                <a:gd name="T5" fmla="*/ 56 h 115"/>
                <a:gd name="T6" fmla="*/ 0 w 114"/>
                <a:gd name="T7" fmla="*/ 115 h 115"/>
              </a:gdLst>
              <a:ahLst/>
              <a:cxnLst>
                <a:cxn ang="0">
                  <a:pos x="T0" y="T1"/>
                </a:cxn>
                <a:cxn ang="0">
                  <a:pos x="T2" y="T3"/>
                </a:cxn>
                <a:cxn ang="0">
                  <a:pos x="T4" y="T5"/>
                </a:cxn>
                <a:cxn ang="0">
                  <a:pos x="T6" y="T7"/>
                </a:cxn>
              </a:cxnLst>
              <a:rect l="0" t="0" r="r" b="b"/>
              <a:pathLst>
                <a:path w="114" h="115">
                  <a:moveTo>
                    <a:pt x="0" y="115"/>
                  </a:moveTo>
                  <a:lnTo>
                    <a:pt x="0" y="0"/>
                  </a:lnTo>
                  <a:lnTo>
                    <a:pt x="114" y="56"/>
                  </a:lnTo>
                  <a:lnTo>
                    <a:pt x="0" y="115"/>
                  </a:lnTo>
                  <a:close/>
                </a:path>
              </a:pathLst>
            </a:custGeom>
            <a:solidFill>
              <a:srgbClr val="F5BD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p>
          </p:txBody>
        </p:sp>
        <p:sp>
          <p:nvSpPr>
            <p:cNvPr id="24" name="Freeform 47">
              <a:extLst>
                <a:ext uri="{FF2B5EF4-FFF2-40B4-BE49-F238E27FC236}">
                  <a16:creationId xmlns:a16="http://schemas.microsoft.com/office/drawing/2014/main" id="{AF4918F5-C61C-4E6D-BCBE-6766A96D0140}"/>
                </a:ext>
              </a:extLst>
            </p:cNvPr>
            <p:cNvSpPr>
              <a:spLocks/>
            </p:cNvSpPr>
            <p:nvPr userDrawn="1"/>
          </p:nvSpPr>
          <p:spPr bwMode="gray">
            <a:xfrm>
              <a:off x="8285531" y="6566879"/>
              <a:ext cx="299141" cy="304434"/>
            </a:xfrm>
            <a:custGeom>
              <a:avLst/>
              <a:gdLst>
                <a:gd name="T0" fmla="*/ 0 w 113"/>
                <a:gd name="T1" fmla="*/ 115 h 115"/>
                <a:gd name="T2" fmla="*/ 0 w 113"/>
                <a:gd name="T3" fmla="*/ 0 h 115"/>
                <a:gd name="T4" fmla="*/ 113 w 113"/>
                <a:gd name="T5" fmla="*/ 56 h 115"/>
                <a:gd name="T6" fmla="*/ 0 w 113"/>
                <a:gd name="T7" fmla="*/ 115 h 115"/>
              </a:gdLst>
              <a:ahLst/>
              <a:cxnLst>
                <a:cxn ang="0">
                  <a:pos x="T0" y="T1"/>
                </a:cxn>
                <a:cxn ang="0">
                  <a:pos x="T2" y="T3"/>
                </a:cxn>
                <a:cxn ang="0">
                  <a:pos x="T4" y="T5"/>
                </a:cxn>
                <a:cxn ang="0">
                  <a:pos x="T6" y="T7"/>
                </a:cxn>
              </a:cxnLst>
              <a:rect l="0" t="0" r="r" b="b"/>
              <a:pathLst>
                <a:path w="113" h="115">
                  <a:moveTo>
                    <a:pt x="0" y="115"/>
                  </a:moveTo>
                  <a:lnTo>
                    <a:pt x="0" y="0"/>
                  </a:lnTo>
                  <a:lnTo>
                    <a:pt x="113" y="56"/>
                  </a:lnTo>
                  <a:lnTo>
                    <a:pt x="0" y="115"/>
                  </a:lnTo>
                  <a:close/>
                </a:path>
              </a:pathLst>
            </a:custGeom>
            <a:solidFill>
              <a:srgbClr val="ED8B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p>
          </p:txBody>
        </p:sp>
        <p:sp>
          <p:nvSpPr>
            <p:cNvPr id="25" name="Freeform 66">
              <a:extLst>
                <a:ext uri="{FF2B5EF4-FFF2-40B4-BE49-F238E27FC236}">
                  <a16:creationId xmlns:a16="http://schemas.microsoft.com/office/drawing/2014/main" id="{8704ACEA-B233-4C06-89B1-B5EF8A0856A4}"/>
                </a:ext>
              </a:extLst>
            </p:cNvPr>
            <p:cNvSpPr>
              <a:spLocks/>
            </p:cNvSpPr>
            <p:nvPr userDrawn="1"/>
          </p:nvSpPr>
          <p:spPr bwMode="gray">
            <a:xfrm flipH="1">
              <a:off x="8064539" y="6634126"/>
              <a:ext cx="338197" cy="341164"/>
            </a:xfrm>
            <a:custGeom>
              <a:avLst/>
              <a:gdLst>
                <a:gd name="T0" fmla="*/ 0 w 114"/>
                <a:gd name="T1" fmla="*/ 115 h 115"/>
                <a:gd name="T2" fmla="*/ 0 w 114"/>
                <a:gd name="T3" fmla="*/ 0 h 115"/>
                <a:gd name="T4" fmla="*/ 114 w 114"/>
                <a:gd name="T5" fmla="*/ 56 h 115"/>
                <a:gd name="T6" fmla="*/ 0 w 114"/>
                <a:gd name="T7" fmla="*/ 115 h 115"/>
              </a:gdLst>
              <a:ahLst/>
              <a:cxnLst>
                <a:cxn ang="0">
                  <a:pos x="T0" y="T1"/>
                </a:cxn>
                <a:cxn ang="0">
                  <a:pos x="T2" y="T3"/>
                </a:cxn>
                <a:cxn ang="0">
                  <a:pos x="T4" y="T5"/>
                </a:cxn>
                <a:cxn ang="0">
                  <a:pos x="T6" y="T7"/>
                </a:cxn>
              </a:cxnLst>
              <a:rect l="0" t="0" r="r" b="b"/>
              <a:pathLst>
                <a:path w="114" h="115">
                  <a:moveTo>
                    <a:pt x="0" y="115"/>
                  </a:moveTo>
                  <a:lnTo>
                    <a:pt x="0" y="0"/>
                  </a:lnTo>
                  <a:lnTo>
                    <a:pt x="114" y="56"/>
                  </a:lnTo>
                  <a:lnTo>
                    <a:pt x="0" y="115"/>
                  </a:lnTo>
                  <a:close/>
                </a:path>
              </a:pathLst>
            </a:custGeom>
            <a:solidFill>
              <a:srgbClr val="F5BD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p>
          </p:txBody>
        </p:sp>
        <p:sp>
          <p:nvSpPr>
            <p:cNvPr id="26" name="Freeform 66">
              <a:extLst>
                <a:ext uri="{FF2B5EF4-FFF2-40B4-BE49-F238E27FC236}">
                  <a16:creationId xmlns:a16="http://schemas.microsoft.com/office/drawing/2014/main" id="{50FE66D4-E31C-48D1-A427-AA5FC7A13389}"/>
                </a:ext>
              </a:extLst>
            </p:cNvPr>
            <p:cNvSpPr>
              <a:spLocks/>
            </p:cNvSpPr>
            <p:nvPr userDrawn="1"/>
          </p:nvSpPr>
          <p:spPr bwMode="gray">
            <a:xfrm flipH="1">
              <a:off x="8460245" y="6704352"/>
              <a:ext cx="231588" cy="233621"/>
            </a:xfrm>
            <a:custGeom>
              <a:avLst/>
              <a:gdLst>
                <a:gd name="T0" fmla="*/ 0 w 114"/>
                <a:gd name="T1" fmla="*/ 115 h 115"/>
                <a:gd name="T2" fmla="*/ 0 w 114"/>
                <a:gd name="T3" fmla="*/ 0 h 115"/>
                <a:gd name="T4" fmla="*/ 114 w 114"/>
                <a:gd name="T5" fmla="*/ 56 h 115"/>
                <a:gd name="T6" fmla="*/ 0 w 114"/>
                <a:gd name="T7" fmla="*/ 115 h 115"/>
              </a:gdLst>
              <a:ahLst/>
              <a:cxnLst>
                <a:cxn ang="0">
                  <a:pos x="T0" y="T1"/>
                </a:cxn>
                <a:cxn ang="0">
                  <a:pos x="T2" y="T3"/>
                </a:cxn>
                <a:cxn ang="0">
                  <a:pos x="T4" y="T5"/>
                </a:cxn>
                <a:cxn ang="0">
                  <a:pos x="T6" y="T7"/>
                </a:cxn>
              </a:cxnLst>
              <a:rect l="0" t="0" r="r" b="b"/>
              <a:pathLst>
                <a:path w="114" h="115">
                  <a:moveTo>
                    <a:pt x="0" y="115"/>
                  </a:moveTo>
                  <a:lnTo>
                    <a:pt x="0" y="0"/>
                  </a:lnTo>
                  <a:lnTo>
                    <a:pt x="114" y="56"/>
                  </a:lnTo>
                  <a:lnTo>
                    <a:pt x="0" y="115"/>
                  </a:lnTo>
                  <a:close/>
                </a:path>
              </a:pathLst>
            </a:custGeom>
            <a:solidFill>
              <a:srgbClr val="F5BD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p>
          </p:txBody>
        </p:sp>
        <p:sp>
          <p:nvSpPr>
            <p:cNvPr id="27" name="Freeform 15">
              <a:extLst>
                <a:ext uri="{FF2B5EF4-FFF2-40B4-BE49-F238E27FC236}">
                  <a16:creationId xmlns:a16="http://schemas.microsoft.com/office/drawing/2014/main" id="{15398C18-A48F-4E72-97E5-13039B771446}"/>
                </a:ext>
              </a:extLst>
            </p:cNvPr>
            <p:cNvSpPr>
              <a:spLocks/>
            </p:cNvSpPr>
            <p:nvPr userDrawn="1"/>
          </p:nvSpPr>
          <p:spPr bwMode="gray">
            <a:xfrm>
              <a:off x="8486141" y="6652991"/>
              <a:ext cx="304434" cy="304434"/>
            </a:xfrm>
            <a:custGeom>
              <a:avLst/>
              <a:gdLst>
                <a:gd name="T0" fmla="*/ 0 w 115"/>
                <a:gd name="T1" fmla="*/ 115 h 115"/>
                <a:gd name="T2" fmla="*/ 0 w 115"/>
                <a:gd name="T3" fmla="*/ 0 h 115"/>
                <a:gd name="T4" fmla="*/ 115 w 115"/>
                <a:gd name="T5" fmla="*/ 59 h 115"/>
                <a:gd name="T6" fmla="*/ 0 w 115"/>
                <a:gd name="T7" fmla="*/ 115 h 115"/>
              </a:gdLst>
              <a:ahLst/>
              <a:cxnLst>
                <a:cxn ang="0">
                  <a:pos x="T0" y="T1"/>
                </a:cxn>
                <a:cxn ang="0">
                  <a:pos x="T2" y="T3"/>
                </a:cxn>
                <a:cxn ang="0">
                  <a:pos x="T4" y="T5"/>
                </a:cxn>
                <a:cxn ang="0">
                  <a:pos x="T6" y="T7"/>
                </a:cxn>
              </a:cxnLst>
              <a:rect l="0" t="0" r="r" b="b"/>
              <a:pathLst>
                <a:path w="115" h="115">
                  <a:moveTo>
                    <a:pt x="0" y="115"/>
                  </a:moveTo>
                  <a:lnTo>
                    <a:pt x="0" y="0"/>
                  </a:lnTo>
                  <a:lnTo>
                    <a:pt x="115" y="59"/>
                  </a:lnTo>
                  <a:lnTo>
                    <a:pt x="0" y="115"/>
                  </a:lnTo>
                  <a:close/>
                </a:path>
              </a:pathLst>
            </a:custGeom>
            <a:solidFill>
              <a:srgbClr val="FCEE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p>
          </p:txBody>
        </p:sp>
        <p:sp>
          <p:nvSpPr>
            <p:cNvPr id="28" name="Freeform 17">
              <a:extLst>
                <a:ext uri="{FF2B5EF4-FFF2-40B4-BE49-F238E27FC236}">
                  <a16:creationId xmlns:a16="http://schemas.microsoft.com/office/drawing/2014/main" id="{B6377C6A-0905-47E3-822B-B54174185A9C}"/>
                </a:ext>
              </a:extLst>
            </p:cNvPr>
            <p:cNvSpPr>
              <a:spLocks/>
            </p:cNvSpPr>
            <p:nvPr userDrawn="1"/>
          </p:nvSpPr>
          <p:spPr bwMode="gray">
            <a:xfrm flipH="1">
              <a:off x="8222376" y="6346342"/>
              <a:ext cx="238891" cy="253989"/>
            </a:xfrm>
            <a:custGeom>
              <a:avLst/>
              <a:gdLst>
                <a:gd name="T0" fmla="*/ 113 w 113"/>
                <a:gd name="T1" fmla="*/ 0 h 113"/>
                <a:gd name="T2" fmla="*/ 113 w 113"/>
                <a:gd name="T3" fmla="*/ 113 h 113"/>
                <a:gd name="T4" fmla="*/ 0 w 113"/>
                <a:gd name="T5" fmla="*/ 56 h 113"/>
                <a:gd name="T6" fmla="*/ 113 w 113"/>
                <a:gd name="T7" fmla="*/ 0 h 113"/>
              </a:gdLst>
              <a:ahLst/>
              <a:cxnLst>
                <a:cxn ang="0">
                  <a:pos x="T0" y="T1"/>
                </a:cxn>
                <a:cxn ang="0">
                  <a:pos x="T2" y="T3"/>
                </a:cxn>
                <a:cxn ang="0">
                  <a:pos x="T4" y="T5"/>
                </a:cxn>
                <a:cxn ang="0">
                  <a:pos x="T6" y="T7"/>
                </a:cxn>
              </a:cxnLst>
              <a:rect l="0" t="0" r="r" b="b"/>
              <a:pathLst>
                <a:path w="113" h="113">
                  <a:moveTo>
                    <a:pt x="113" y="0"/>
                  </a:moveTo>
                  <a:lnTo>
                    <a:pt x="113" y="113"/>
                  </a:lnTo>
                  <a:lnTo>
                    <a:pt x="0" y="56"/>
                  </a:lnTo>
                  <a:lnTo>
                    <a:pt x="113" y="0"/>
                  </a:lnTo>
                  <a:close/>
                </a:path>
              </a:pathLst>
            </a:custGeom>
            <a:solidFill>
              <a:srgbClr val="F8D6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sz="1799" dirty="0"/>
            </a:p>
          </p:txBody>
        </p:sp>
        <p:sp>
          <p:nvSpPr>
            <p:cNvPr id="29" name="Freeform 66">
              <a:extLst>
                <a:ext uri="{FF2B5EF4-FFF2-40B4-BE49-F238E27FC236}">
                  <a16:creationId xmlns:a16="http://schemas.microsoft.com/office/drawing/2014/main" id="{A5576D4B-1419-4095-8FA5-A70A0AC9CFDC}"/>
                </a:ext>
              </a:extLst>
            </p:cNvPr>
            <p:cNvSpPr>
              <a:spLocks/>
            </p:cNvSpPr>
            <p:nvPr userDrawn="1"/>
          </p:nvSpPr>
          <p:spPr bwMode="gray">
            <a:xfrm>
              <a:off x="8924608" y="6293875"/>
              <a:ext cx="231588" cy="233621"/>
            </a:xfrm>
            <a:custGeom>
              <a:avLst/>
              <a:gdLst>
                <a:gd name="T0" fmla="*/ 0 w 114"/>
                <a:gd name="T1" fmla="*/ 115 h 115"/>
                <a:gd name="T2" fmla="*/ 0 w 114"/>
                <a:gd name="T3" fmla="*/ 0 h 115"/>
                <a:gd name="T4" fmla="*/ 114 w 114"/>
                <a:gd name="T5" fmla="*/ 56 h 115"/>
                <a:gd name="T6" fmla="*/ 0 w 114"/>
                <a:gd name="T7" fmla="*/ 115 h 115"/>
              </a:gdLst>
              <a:ahLst/>
              <a:cxnLst>
                <a:cxn ang="0">
                  <a:pos x="T0" y="T1"/>
                </a:cxn>
                <a:cxn ang="0">
                  <a:pos x="T2" y="T3"/>
                </a:cxn>
                <a:cxn ang="0">
                  <a:pos x="T4" y="T5"/>
                </a:cxn>
                <a:cxn ang="0">
                  <a:pos x="T6" y="T7"/>
                </a:cxn>
              </a:cxnLst>
              <a:rect l="0" t="0" r="r" b="b"/>
              <a:pathLst>
                <a:path w="114" h="115">
                  <a:moveTo>
                    <a:pt x="0" y="115"/>
                  </a:moveTo>
                  <a:lnTo>
                    <a:pt x="0" y="0"/>
                  </a:lnTo>
                  <a:lnTo>
                    <a:pt x="114" y="56"/>
                  </a:lnTo>
                  <a:lnTo>
                    <a:pt x="0" y="115"/>
                  </a:lnTo>
                  <a:close/>
                </a:path>
              </a:pathLst>
            </a:custGeom>
            <a:solidFill>
              <a:srgbClr val="ED8B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sz="1799" dirty="0"/>
            </a:p>
          </p:txBody>
        </p:sp>
        <p:sp>
          <p:nvSpPr>
            <p:cNvPr id="30" name="Freeform 66">
              <a:extLst>
                <a:ext uri="{FF2B5EF4-FFF2-40B4-BE49-F238E27FC236}">
                  <a16:creationId xmlns:a16="http://schemas.microsoft.com/office/drawing/2014/main" id="{53FF688B-2721-472C-BF22-7B7D930FA447}"/>
                </a:ext>
              </a:extLst>
            </p:cNvPr>
            <p:cNvSpPr>
              <a:spLocks/>
            </p:cNvSpPr>
            <p:nvPr userDrawn="1"/>
          </p:nvSpPr>
          <p:spPr bwMode="gray">
            <a:xfrm>
              <a:off x="9162253" y="6403860"/>
              <a:ext cx="231588" cy="233621"/>
            </a:xfrm>
            <a:custGeom>
              <a:avLst/>
              <a:gdLst>
                <a:gd name="T0" fmla="*/ 0 w 114"/>
                <a:gd name="T1" fmla="*/ 115 h 115"/>
                <a:gd name="T2" fmla="*/ 0 w 114"/>
                <a:gd name="T3" fmla="*/ 0 h 115"/>
                <a:gd name="T4" fmla="*/ 114 w 114"/>
                <a:gd name="T5" fmla="*/ 56 h 115"/>
                <a:gd name="T6" fmla="*/ 0 w 114"/>
                <a:gd name="T7" fmla="*/ 115 h 115"/>
              </a:gdLst>
              <a:ahLst/>
              <a:cxnLst>
                <a:cxn ang="0">
                  <a:pos x="T0" y="T1"/>
                </a:cxn>
                <a:cxn ang="0">
                  <a:pos x="T2" y="T3"/>
                </a:cxn>
                <a:cxn ang="0">
                  <a:pos x="T4" y="T5"/>
                </a:cxn>
                <a:cxn ang="0">
                  <a:pos x="T6" y="T7"/>
                </a:cxn>
              </a:cxnLst>
              <a:rect l="0" t="0" r="r" b="b"/>
              <a:pathLst>
                <a:path w="114" h="115">
                  <a:moveTo>
                    <a:pt x="0" y="115"/>
                  </a:moveTo>
                  <a:lnTo>
                    <a:pt x="0" y="0"/>
                  </a:lnTo>
                  <a:lnTo>
                    <a:pt x="114" y="56"/>
                  </a:lnTo>
                  <a:lnTo>
                    <a:pt x="0" y="115"/>
                  </a:lnTo>
                  <a:close/>
                </a:path>
              </a:pathLst>
            </a:custGeom>
            <a:solidFill>
              <a:srgbClr val="F5BD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p>
          </p:txBody>
        </p:sp>
        <p:sp>
          <p:nvSpPr>
            <p:cNvPr id="31" name="Freeform 66">
              <a:extLst>
                <a:ext uri="{FF2B5EF4-FFF2-40B4-BE49-F238E27FC236}">
                  <a16:creationId xmlns:a16="http://schemas.microsoft.com/office/drawing/2014/main" id="{55F65AC8-5776-4FD6-BFD8-0123750B0DCC}"/>
                </a:ext>
              </a:extLst>
            </p:cNvPr>
            <p:cNvSpPr>
              <a:spLocks/>
            </p:cNvSpPr>
            <p:nvPr userDrawn="1"/>
          </p:nvSpPr>
          <p:spPr bwMode="gray">
            <a:xfrm flipH="1">
              <a:off x="9146540" y="6777020"/>
              <a:ext cx="231588" cy="233621"/>
            </a:xfrm>
            <a:custGeom>
              <a:avLst/>
              <a:gdLst>
                <a:gd name="T0" fmla="*/ 0 w 114"/>
                <a:gd name="T1" fmla="*/ 115 h 115"/>
                <a:gd name="T2" fmla="*/ 0 w 114"/>
                <a:gd name="T3" fmla="*/ 0 h 115"/>
                <a:gd name="T4" fmla="*/ 114 w 114"/>
                <a:gd name="T5" fmla="*/ 56 h 115"/>
                <a:gd name="T6" fmla="*/ 0 w 114"/>
                <a:gd name="T7" fmla="*/ 115 h 115"/>
              </a:gdLst>
              <a:ahLst/>
              <a:cxnLst>
                <a:cxn ang="0">
                  <a:pos x="T0" y="T1"/>
                </a:cxn>
                <a:cxn ang="0">
                  <a:pos x="T2" y="T3"/>
                </a:cxn>
                <a:cxn ang="0">
                  <a:pos x="T4" y="T5"/>
                </a:cxn>
                <a:cxn ang="0">
                  <a:pos x="T6" y="T7"/>
                </a:cxn>
              </a:cxnLst>
              <a:rect l="0" t="0" r="r" b="b"/>
              <a:pathLst>
                <a:path w="114" h="115">
                  <a:moveTo>
                    <a:pt x="0" y="115"/>
                  </a:moveTo>
                  <a:lnTo>
                    <a:pt x="0" y="0"/>
                  </a:lnTo>
                  <a:lnTo>
                    <a:pt x="114" y="56"/>
                  </a:lnTo>
                  <a:lnTo>
                    <a:pt x="0" y="115"/>
                  </a:lnTo>
                  <a:close/>
                </a:path>
              </a:pathLst>
            </a:custGeom>
            <a:solidFill>
              <a:srgbClr val="F5BD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p>
          </p:txBody>
        </p:sp>
        <p:sp>
          <p:nvSpPr>
            <p:cNvPr id="32" name="Freeform 66">
              <a:extLst>
                <a:ext uri="{FF2B5EF4-FFF2-40B4-BE49-F238E27FC236}">
                  <a16:creationId xmlns:a16="http://schemas.microsoft.com/office/drawing/2014/main" id="{9C9FC6D5-D87C-43A1-9D50-E45E1459345A}"/>
                </a:ext>
              </a:extLst>
            </p:cNvPr>
            <p:cNvSpPr>
              <a:spLocks/>
            </p:cNvSpPr>
            <p:nvPr userDrawn="1"/>
          </p:nvSpPr>
          <p:spPr bwMode="gray">
            <a:xfrm flipH="1">
              <a:off x="11321754" y="6691057"/>
              <a:ext cx="178172" cy="179736"/>
            </a:xfrm>
            <a:custGeom>
              <a:avLst/>
              <a:gdLst>
                <a:gd name="T0" fmla="*/ 0 w 114"/>
                <a:gd name="T1" fmla="*/ 115 h 115"/>
                <a:gd name="T2" fmla="*/ 0 w 114"/>
                <a:gd name="T3" fmla="*/ 0 h 115"/>
                <a:gd name="T4" fmla="*/ 114 w 114"/>
                <a:gd name="T5" fmla="*/ 56 h 115"/>
                <a:gd name="T6" fmla="*/ 0 w 114"/>
                <a:gd name="T7" fmla="*/ 115 h 115"/>
              </a:gdLst>
              <a:ahLst/>
              <a:cxnLst>
                <a:cxn ang="0">
                  <a:pos x="T0" y="T1"/>
                </a:cxn>
                <a:cxn ang="0">
                  <a:pos x="T2" y="T3"/>
                </a:cxn>
                <a:cxn ang="0">
                  <a:pos x="T4" y="T5"/>
                </a:cxn>
                <a:cxn ang="0">
                  <a:pos x="T6" y="T7"/>
                </a:cxn>
              </a:cxnLst>
              <a:rect l="0" t="0" r="r" b="b"/>
              <a:pathLst>
                <a:path w="114" h="115">
                  <a:moveTo>
                    <a:pt x="0" y="115"/>
                  </a:moveTo>
                  <a:lnTo>
                    <a:pt x="0" y="0"/>
                  </a:lnTo>
                  <a:lnTo>
                    <a:pt x="114" y="56"/>
                  </a:lnTo>
                  <a:lnTo>
                    <a:pt x="0" y="115"/>
                  </a:lnTo>
                  <a:close/>
                </a:path>
              </a:pathLst>
            </a:custGeom>
            <a:solidFill>
              <a:srgbClr val="F5BD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p>
          </p:txBody>
        </p:sp>
        <p:sp>
          <p:nvSpPr>
            <p:cNvPr id="33" name="Freeform 66">
              <a:extLst>
                <a:ext uri="{FF2B5EF4-FFF2-40B4-BE49-F238E27FC236}">
                  <a16:creationId xmlns:a16="http://schemas.microsoft.com/office/drawing/2014/main" id="{BF32C2EC-954F-4AC1-9E7D-52900563C8E3}"/>
                </a:ext>
              </a:extLst>
            </p:cNvPr>
            <p:cNvSpPr>
              <a:spLocks/>
            </p:cNvSpPr>
            <p:nvPr userDrawn="1"/>
          </p:nvSpPr>
          <p:spPr bwMode="gray">
            <a:xfrm>
              <a:off x="10668315" y="5924447"/>
              <a:ext cx="260988" cy="263279"/>
            </a:xfrm>
            <a:custGeom>
              <a:avLst/>
              <a:gdLst>
                <a:gd name="T0" fmla="*/ 0 w 114"/>
                <a:gd name="T1" fmla="*/ 115 h 115"/>
                <a:gd name="T2" fmla="*/ 0 w 114"/>
                <a:gd name="T3" fmla="*/ 0 h 115"/>
                <a:gd name="T4" fmla="*/ 114 w 114"/>
                <a:gd name="T5" fmla="*/ 56 h 115"/>
                <a:gd name="T6" fmla="*/ 0 w 114"/>
                <a:gd name="T7" fmla="*/ 115 h 115"/>
              </a:gdLst>
              <a:ahLst/>
              <a:cxnLst>
                <a:cxn ang="0">
                  <a:pos x="T0" y="T1"/>
                </a:cxn>
                <a:cxn ang="0">
                  <a:pos x="T2" y="T3"/>
                </a:cxn>
                <a:cxn ang="0">
                  <a:pos x="T4" y="T5"/>
                </a:cxn>
                <a:cxn ang="0">
                  <a:pos x="T6" y="T7"/>
                </a:cxn>
              </a:cxnLst>
              <a:rect l="0" t="0" r="r" b="b"/>
              <a:pathLst>
                <a:path w="114" h="115">
                  <a:moveTo>
                    <a:pt x="0" y="115"/>
                  </a:moveTo>
                  <a:lnTo>
                    <a:pt x="0" y="0"/>
                  </a:lnTo>
                  <a:lnTo>
                    <a:pt x="114" y="56"/>
                  </a:lnTo>
                  <a:lnTo>
                    <a:pt x="0" y="115"/>
                  </a:lnTo>
                  <a:close/>
                </a:path>
              </a:pathLst>
            </a:custGeom>
            <a:solidFill>
              <a:srgbClr val="F5BD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p>
          </p:txBody>
        </p:sp>
        <p:sp>
          <p:nvSpPr>
            <p:cNvPr id="34" name="Freeform 66">
              <a:extLst>
                <a:ext uri="{FF2B5EF4-FFF2-40B4-BE49-F238E27FC236}">
                  <a16:creationId xmlns:a16="http://schemas.microsoft.com/office/drawing/2014/main" id="{46E73DA1-E583-42F9-B2D4-CA0B24B799C0}"/>
                </a:ext>
              </a:extLst>
            </p:cNvPr>
            <p:cNvSpPr>
              <a:spLocks/>
            </p:cNvSpPr>
            <p:nvPr userDrawn="1"/>
          </p:nvSpPr>
          <p:spPr bwMode="gray">
            <a:xfrm>
              <a:off x="10094663" y="6505988"/>
              <a:ext cx="169559" cy="171047"/>
            </a:xfrm>
            <a:custGeom>
              <a:avLst/>
              <a:gdLst>
                <a:gd name="T0" fmla="*/ 0 w 114"/>
                <a:gd name="T1" fmla="*/ 115 h 115"/>
                <a:gd name="T2" fmla="*/ 0 w 114"/>
                <a:gd name="T3" fmla="*/ 0 h 115"/>
                <a:gd name="T4" fmla="*/ 114 w 114"/>
                <a:gd name="T5" fmla="*/ 56 h 115"/>
                <a:gd name="T6" fmla="*/ 0 w 114"/>
                <a:gd name="T7" fmla="*/ 115 h 115"/>
              </a:gdLst>
              <a:ahLst/>
              <a:cxnLst>
                <a:cxn ang="0">
                  <a:pos x="T0" y="T1"/>
                </a:cxn>
                <a:cxn ang="0">
                  <a:pos x="T2" y="T3"/>
                </a:cxn>
                <a:cxn ang="0">
                  <a:pos x="T4" y="T5"/>
                </a:cxn>
                <a:cxn ang="0">
                  <a:pos x="T6" y="T7"/>
                </a:cxn>
              </a:cxnLst>
              <a:rect l="0" t="0" r="r" b="b"/>
              <a:pathLst>
                <a:path w="114" h="115">
                  <a:moveTo>
                    <a:pt x="0" y="115"/>
                  </a:moveTo>
                  <a:lnTo>
                    <a:pt x="0" y="0"/>
                  </a:lnTo>
                  <a:lnTo>
                    <a:pt x="114" y="56"/>
                  </a:lnTo>
                  <a:lnTo>
                    <a:pt x="0" y="115"/>
                  </a:lnTo>
                  <a:close/>
                </a:path>
              </a:pathLst>
            </a:custGeom>
            <a:solidFill>
              <a:srgbClr val="FCEE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sz="1799" dirty="0"/>
            </a:p>
          </p:txBody>
        </p:sp>
        <p:sp>
          <p:nvSpPr>
            <p:cNvPr id="35" name="Freeform 66">
              <a:extLst>
                <a:ext uri="{FF2B5EF4-FFF2-40B4-BE49-F238E27FC236}">
                  <a16:creationId xmlns:a16="http://schemas.microsoft.com/office/drawing/2014/main" id="{BFFEF4CA-2AAD-493F-B904-DC4BC216DB5F}"/>
                </a:ext>
              </a:extLst>
            </p:cNvPr>
            <p:cNvSpPr>
              <a:spLocks/>
            </p:cNvSpPr>
            <p:nvPr userDrawn="1"/>
          </p:nvSpPr>
          <p:spPr bwMode="gray">
            <a:xfrm flipH="1">
              <a:off x="10082879" y="6382257"/>
              <a:ext cx="169559" cy="171047"/>
            </a:xfrm>
            <a:custGeom>
              <a:avLst/>
              <a:gdLst>
                <a:gd name="T0" fmla="*/ 0 w 114"/>
                <a:gd name="T1" fmla="*/ 115 h 115"/>
                <a:gd name="T2" fmla="*/ 0 w 114"/>
                <a:gd name="T3" fmla="*/ 0 h 115"/>
                <a:gd name="T4" fmla="*/ 114 w 114"/>
                <a:gd name="T5" fmla="*/ 56 h 115"/>
                <a:gd name="T6" fmla="*/ 0 w 114"/>
                <a:gd name="T7" fmla="*/ 115 h 115"/>
              </a:gdLst>
              <a:ahLst/>
              <a:cxnLst>
                <a:cxn ang="0">
                  <a:pos x="T0" y="T1"/>
                </a:cxn>
                <a:cxn ang="0">
                  <a:pos x="T2" y="T3"/>
                </a:cxn>
                <a:cxn ang="0">
                  <a:pos x="T4" y="T5"/>
                </a:cxn>
                <a:cxn ang="0">
                  <a:pos x="T6" y="T7"/>
                </a:cxn>
              </a:cxnLst>
              <a:rect l="0" t="0" r="r" b="b"/>
              <a:pathLst>
                <a:path w="114" h="115">
                  <a:moveTo>
                    <a:pt x="0" y="115"/>
                  </a:moveTo>
                  <a:lnTo>
                    <a:pt x="0" y="0"/>
                  </a:lnTo>
                  <a:lnTo>
                    <a:pt x="114" y="56"/>
                  </a:lnTo>
                  <a:lnTo>
                    <a:pt x="0" y="115"/>
                  </a:lnTo>
                  <a:close/>
                </a:path>
              </a:pathLst>
            </a:custGeom>
            <a:solidFill>
              <a:srgbClr val="F5BD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p>
          </p:txBody>
        </p:sp>
        <p:sp>
          <p:nvSpPr>
            <p:cNvPr id="36" name="Freeform 66">
              <a:extLst>
                <a:ext uri="{FF2B5EF4-FFF2-40B4-BE49-F238E27FC236}">
                  <a16:creationId xmlns:a16="http://schemas.microsoft.com/office/drawing/2014/main" id="{9350A371-27CC-4AAF-804F-BA88FD5AF189}"/>
                </a:ext>
              </a:extLst>
            </p:cNvPr>
            <p:cNvSpPr>
              <a:spLocks/>
            </p:cNvSpPr>
            <p:nvPr userDrawn="1"/>
          </p:nvSpPr>
          <p:spPr bwMode="gray">
            <a:xfrm flipH="1">
              <a:off x="10782718" y="6612509"/>
              <a:ext cx="447547" cy="451475"/>
            </a:xfrm>
            <a:custGeom>
              <a:avLst/>
              <a:gdLst>
                <a:gd name="T0" fmla="*/ 0 w 114"/>
                <a:gd name="T1" fmla="*/ 115 h 115"/>
                <a:gd name="T2" fmla="*/ 0 w 114"/>
                <a:gd name="T3" fmla="*/ 0 h 115"/>
                <a:gd name="T4" fmla="*/ 114 w 114"/>
                <a:gd name="T5" fmla="*/ 56 h 115"/>
                <a:gd name="T6" fmla="*/ 0 w 114"/>
                <a:gd name="T7" fmla="*/ 115 h 115"/>
              </a:gdLst>
              <a:ahLst/>
              <a:cxnLst>
                <a:cxn ang="0">
                  <a:pos x="T0" y="T1"/>
                </a:cxn>
                <a:cxn ang="0">
                  <a:pos x="T2" y="T3"/>
                </a:cxn>
                <a:cxn ang="0">
                  <a:pos x="T4" y="T5"/>
                </a:cxn>
                <a:cxn ang="0">
                  <a:pos x="T6" y="T7"/>
                </a:cxn>
              </a:cxnLst>
              <a:rect l="0" t="0" r="r" b="b"/>
              <a:pathLst>
                <a:path w="114" h="115">
                  <a:moveTo>
                    <a:pt x="0" y="115"/>
                  </a:moveTo>
                  <a:lnTo>
                    <a:pt x="0" y="0"/>
                  </a:lnTo>
                  <a:lnTo>
                    <a:pt x="114" y="56"/>
                  </a:lnTo>
                  <a:lnTo>
                    <a:pt x="0" y="115"/>
                  </a:lnTo>
                  <a:close/>
                </a:path>
              </a:pathLst>
            </a:custGeom>
            <a:solidFill>
              <a:srgbClr val="F5BD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p>
          </p:txBody>
        </p:sp>
        <p:sp>
          <p:nvSpPr>
            <p:cNvPr id="37" name="Freeform 66">
              <a:extLst>
                <a:ext uri="{FF2B5EF4-FFF2-40B4-BE49-F238E27FC236}">
                  <a16:creationId xmlns:a16="http://schemas.microsoft.com/office/drawing/2014/main" id="{5CFC75B9-ED16-4800-ACC9-9007AFB40EB3}"/>
                </a:ext>
              </a:extLst>
            </p:cNvPr>
            <p:cNvSpPr>
              <a:spLocks/>
            </p:cNvSpPr>
            <p:nvPr userDrawn="1"/>
          </p:nvSpPr>
          <p:spPr bwMode="gray">
            <a:xfrm flipH="1">
              <a:off x="10898103" y="5615793"/>
              <a:ext cx="260988" cy="263279"/>
            </a:xfrm>
            <a:custGeom>
              <a:avLst/>
              <a:gdLst>
                <a:gd name="T0" fmla="*/ 0 w 114"/>
                <a:gd name="T1" fmla="*/ 115 h 115"/>
                <a:gd name="T2" fmla="*/ 0 w 114"/>
                <a:gd name="T3" fmla="*/ 0 h 115"/>
                <a:gd name="T4" fmla="*/ 114 w 114"/>
                <a:gd name="T5" fmla="*/ 56 h 115"/>
                <a:gd name="T6" fmla="*/ 0 w 114"/>
                <a:gd name="T7" fmla="*/ 115 h 115"/>
              </a:gdLst>
              <a:ahLst/>
              <a:cxnLst>
                <a:cxn ang="0">
                  <a:pos x="T0" y="T1"/>
                </a:cxn>
                <a:cxn ang="0">
                  <a:pos x="T2" y="T3"/>
                </a:cxn>
                <a:cxn ang="0">
                  <a:pos x="T4" y="T5"/>
                </a:cxn>
                <a:cxn ang="0">
                  <a:pos x="T6" y="T7"/>
                </a:cxn>
              </a:cxnLst>
              <a:rect l="0" t="0" r="r" b="b"/>
              <a:pathLst>
                <a:path w="114" h="115">
                  <a:moveTo>
                    <a:pt x="0" y="115"/>
                  </a:moveTo>
                  <a:lnTo>
                    <a:pt x="0" y="0"/>
                  </a:lnTo>
                  <a:lnTo>
                    <a:pt x="114" y="56"/>
                  </a:lnTo>
                  <a:lnTo>
                    <a:pt x="0" y="115"/>
                  </a:lnTo>
                  <a:close/>
                </a:path>
              </a:pathLst>
            </a:custGeom>
            <a:solidFill>
              <a:srgbClr val="F5BD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p>
          </p:txBody>
        </p:sp>
        <p:sp>
          <p:nvSpPr>
            <p:cNvPr id="38" name="Freeform 15">
              <a:extLst>
                <a:ext uri="{FF2B5EF4-FFF2-40B4-BE49-F238E27FC236}">
                  <a16:creationId xmlns:a16="http://schemas.microsoft.com/office/drawing/2014/main" id="{0456CCBE-0AFD-45F1-8FF7-CC891968F85A}"/>
                </a:ext>
              </a:extLst>
            </p:cNvPr>
            <p:cNvSpPr>
              <a:spLocks/>
            </p:cNvSpPr>
            <p:nvPr userDrawn="1"/>
          </p:nvSpPr>
          <p:spPr bwMode="gray">
            <a:xfrm flipH="1">
              <a:off x="8919574" y="6163114"/>
              <a:ext cx="245044" cy="245044"/>
            </a:xfrm>
            <a:custGeom>
              <a:avLst/>
              <a:gdLst>
                <a:gd name="T0" fmla="*/ 0 w 115"/>
                <a:gd name="T1" fmla="*/ 115 h 115"/>
                <a:gd name="T2" fmla="*/ 0 w 115"/>
                <a:gd name="T3" fmla="*/ 0 h 115"/>
                <a:gd name="T4" fmla="*/ 115 w 115"/>
                <a:gd name="T5" fmla="*/ 59 h 115"/>
                <a:gd name="T6" fmla="*/ 0 w 115"/>
                <a:gd name="T7" fmla="*/ 115 h 115"/>
              </a:gdLst>
              <a:ahLst/>
              <a:cxnLst>
                <a:cxn ang="0">
                  <a:pos x="T0" y="T1"/>
                </a:cxn>
                <a:cxn ang="0">
                  <a:pos x="T2" y="T3"/>
                </a:cxn>
                <a:cxn ang="0">
                  <a:pos x="T4" y="T5"/>
                </a:cxn>
                <a:cxn ang="0">
                  <a:pos x="T6" y="T7"/>
                </a:cxn>
              </a:cxnLst>
              <a:rect l="0" t="0" r="r" b="b"/>
              <a:pathLst>
                <a:path w="115" h="115">
                  <a:moveTo>
                    <a:pt x="0" y="115"/>
                  </a:moveTo>
                  <a:lnTo>
                    <a:pt x="0" y="0"/>
                  </a:lnTo>
                  <a:lnTo>
                    <a:pt x="115" y="59"/>
                  </a:lnTo>
                  <a:lnTo>
                    <a:pt x="0" y="115"/>
                  </a:lnTo>
                  <a:close/>
                </a:path>
              </a:pathLst>
            </a:custGeom>
            <a:solidFill>
              <a:srgbClr val="FCEE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p>
          </p:txBody>
        </p:sp>
        <p:sp>
          <p:nvSpPr>
            <p:cNvPr id="39" name="Freeform 15">
              <a:extLst>
                <a:ext uri="{FF2B5EF4-FFF2-40B4-BE49-F238E27FC236}">
                  <a16:creationId xmlns:a16="http://schemas.microsoft.com/office/drawing/2014/main" id="{48BFD825-9819-41F0-B7FE-F3241061A7D6}"/>
                </a:ext>
              </a:extLst>
            </p:cNvPr>
            <p:cNvSpPr>
              <a:spLocks/>
            </p:cNvSpPr>
            <p:nvPr userDrawn="1"/>
          </p:nvSpPr>
          <p:spPr bwMode="gray">
            <a:xfrm flipH="1">
              <a:off x="8913683" y="6655159"/>
              <a:ext cx="245044" cy="245044"/>
            </a:xfrm>
            <a:custGeom>
              <a:avLst/>
              <a:gdLst>
                <a:gd name="T0" fmla="*/ 0 w 115"/>
                <a:gd name="T1" fmla="*/ 115 h 115"/>
                <a:gd name="T2" fmla="*/ 0 w 115"/>
                <a:gd name="T3" fmla="*/ 0 h 115"/>
                <a:gd name="T4" fmla="*/ 115 w 115"/>
                <a:gd name="T5" fmla="*/ 59 h 115"/>
                <a:gd name="T6" fmla="*/ 0 w 115"/>
                <a:gd name="T7" fmla="*/ 115 h 115"/>
              </a:gdLst>
              <a:ahLst/>
              <a:cxnLst>
                <a:cxn ang="0">
                  <a:pos x="T0" y="T1"/>
                </a:cxn>
                <a:cxn ang="0">
                  <a:pos x="T2" y="T3"/>
                </a:cxn>
                <a:cxn ang="0">
                  <a:pos x="T4" y="T5"/>
                </a:cxn>
                <a:cxn ang="0">
                  <a:pos x="T6" y="T7"/>
                </a:cxn>
              </a:cxnLst>
              <a:rect l="0" t="0" r="r" b="b"/>
              <a:pathLst>
                <a:path w="115" h="115">
                  <a:moveTo>
                    <a:pt x="0" y="115"/>
                  </a:moveTo>
                  <a:lnTo>
                    <a:pt x="0" y="0"/>
                  </a:lnTo>
                  <a:lnTo>
                    <a:pt x="115" y="59"/>
                  </a:lnTo>
                  <a:lnTo>
                    <a:pt x="0" y="115"/>
                  </a:lnTo>
                  <a:close/>
                </a:path>
              </a:pathLst>
            </a:custGeom>
            <a:solidFill>
              <a:srgbClr val="FCEE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p>
          </p:txBody>
        </p:sp>
        <p:sp>
          <p:nvSpPr>
            <p:cNvPr id="40" name="Freeform 66">
              <a:extLst>
                <a:ext uri="{FF2B5EF4-FFF2-40B4-BE49-F238E27FC236}">
                  <a16:creationId xmlns:a16="http://schemas.microsoft.com/office/drawing/2014/main" id="{7A028EB2-8F1D-42D3-9ABD-2793ADC59C81}"/>
                </a:ext>
              </a:extLst>
            </p:cNvPr>
            <p:cNvSpPr>
              <a:spLocks/>
            </p:cNvSpPr>
            <p:nvPr userDrawn="1"/>
          </p:nvSpPr>
          <p:spPr bwMode="gray">
            <a:xfrm>
              <a:off x="8924608" y="6520399"/>
              <a:ext cx="231588" cy="233621"/>
            </a:xfrm>
            <a:custGeom>
              <a:avLst/>
              <a:gdLst>
                <a:gd name="T0" fmla="*/ 0 w 114"/>
                <a:gd name="T1" fmla="*/ 115 h 115"/>
                <a:gd name="T2" fmla="*/ 0 w 114"/>
                <a:gd name="T3" fmla="*/ 0 h 115"/>
                <a:gd name="T4" fmla="*/ 114 w 114"/>
                <a:gd name="T5" fmla="*/ 56 h 115"/>
                <a:gd name="T6" fmla="*/ 0 w 114"/>
                <a:gd name="T7" fmla="*/ 115 h 115"/>
              </a:gdLst>
              <a:ahLst/>
              <a:cxnLst>
                <a:cxn ang="0">
                  <a:pos x="T0" y="T1"/>
                </a:cxn>
                <a:cxn ang="0">
                  <a:pos x="T2" y="T3"/>
                </a:cxn>
                <a:cxn ang="0">
                  <a:pos x="T4" y="T5"/>
                </a:cxn>
                <a:cxn ang="0">
                  <a:pos x="T6" y="T7"/>
                </a:cxn>
              </a:cxnLst>
              <a:rect l="0" t="0" r="r" b="b"/>
              <a:pathLst>
                <a:path w="114" h="115">
                  <a:moveTo>
                    <a:pt x="0" y="115"/>
                  </a:moveTo>
                  <a:lnTo>
                    <a:pt x="0" y="0"/>
                  </a:lnTo>
                  <a:lnTo>
                    <a:pt x="114" y="56"/>
                  </a:lnTo>
                  <a:lnTo>
                    <a:pt x="0" y="115"/>
                  </a:lnTo>
                  <a:close/>
                </a:path>
              </a:pathLst>
            </a:custGeom>
            <a:solidFill>
              <a:srgbClr val="E86A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sz="1799" dirty="0"/>
            </a:p>
          </p:txBody>
        </p:sp>
        <p:sp>
          <p:nvSpPr>
            <p:cNvPr id="41" name="Freeform 17">
              <a:extLst>
                <a:ext uri="{FF2B5EF4-FFF2-40B4-BE49-F238E27FC236}">
                  <a16:creationId xmlns:a16="http://schemas.microsoft.com/office/drawing/2014/main" id="{B4EBE3B8-6B26-49D2-BDC5-1450CDEB327A}"/>
                </a:ext>
              </a:extLst>
            </p:cNvPr>
            <p:cNvSpPr>
              <a:spLocks/>
            </p:cNvSpPr>
            <p:nvPr userDrawn="1"/>
          </p:nvSpPr>
          <p:spPr bwMode="gray">
            <a:xfrm flipH="1">
              <a:off x="8807791" y="6438650"/>
              <a:ext cx="238891" cy="253989"/>
            </a:xfrm>
            <a:custGeom>
              <a:avLst/>
              <a:gdLst>
                <a:gd name="T0" fmla="*/ 113 w 113"/>
                <a:gd name="T1" fmla="*/ 0 h 113"/>
                <a:gd name="T2" fmla="*/ 113 w 113"/>
                <a:gd name="T3" fmla="*/ 113 h 113"/>
                <a:gd name="T4" fmla="*/ 0 w 113"/>
                <a:gd name="T5" fmla="*/ 56 h 113"/>
                <a:gd name="T6" fmla="*/ 113 w 113"/>
                <a:gd name="T7" fmla="*/ 0 h 113"/>
              </a:gdLst>
              <a:ahLst/>
              <a:cxnLst>
                <a:cxn ang="0">
                  <a:pos x="T0" y="T1"/>
                </a:cxn>
                <a:cxn ang="0">
                  <a:pos x="T2" y="T3"/>
                </a:cxn>
                <a:cxn ang="0">
                  <a:pos x="T4" y="T5"/>
                </a:cxn>
                <a:cxn ang="0">
                  <a:pos x="T6" y="T7"/>
                </a:cxn>
              </a:cxnLst>
              <a:rect l="0" t="0" r="r" b="b"/>
              <a:pathLst>
                <a:path w="113" h="113">
                  <a:moveTo>
                    <a:pt x="113" y="0"/>
                  </a:moveTo>
                  <a:lnTo>
                    <a:pt x="113" y="113"/>
                  </a:lnTo>
                  <a:lnTo>
                    <a:pt x="0" y="56"/>
                  </a:lnTo>
                  <a:lnTo>
                    <a:pt x="113" y="0"/>
                  </a:lnTo>
                  <a:close/>
                </a:path>
              </a:pathLst>
            </a:custGeom>
            <a:solidFill>
              <a:srgbClr val="F8D6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sz="1799" dirty="0"/>
            </a:p>
          </p:txBody>
        </p:sp>
        <p:sp>
          <p:nvSpPr>
            <p:cNvPr id="42" name="Freeform 66">
              <a:extLst>
                <a:ext uri="{FF2B5EF4-FFF2-40B4-BE49-F238E27FC236}">
                  <a16:creationId xmlns:a16="http://schemas.microsoft.com/office/drawing/2014/main" id="{CD8C5FAC-512A-4B2E-9C40-A68246A53322}"/>
                </a:ext>
              </a:extLst>
            </p:cNvPr>
            <p:cNvSpPr>
              <a:spLocks/>
            </p:cNvSpPr>
            <p:nvPr userDrawn="1"/>
          </p:nvSpPr>
          <p:spPr bwMode="gray">
            <a:xfrm>
              <a:off x="9442859" y="6314216"/>
              <a:ext cx="611214" cy="616577"/>
            </a:xfrm>
            <a:custGeom>
              <a:avLst/>
              <a:gdLst>
                <a:gd name="T0" fmla="*/ 0 w 114"/>
                <a:gd name="T1" fmla="*/ 115 h 115"/>
                <a:gd name="T2" fmla="*/ 0 w 114"/>
                <a:gd name="T3" fmla="*/ 0 h 115"/>
                <a:gd name="T4" fmla="*/ 114 w 114"/>
                <a:gd name="T5" fmla="*/ 56 h 115"/>
                <a:gd name="T6" fmla="*/ 0 w 114"/>
                <a:gd name="T7" fmla="*/ 115 h 115"/>
              </a:gdLst>
              <a:ahLst/>
              <a:cxnLst>
                <a:cxn ang="0">
                  <a:pos x="T0" y="T1"/>
                </a:cxn>
                <a:cxn ang="0">
                  <a:pos x="T2" y="T3"/>
                </a:cxn>
                <a:cxn ang="0">
                  <a:pos x="T4" y="T5"/>
                </a:cxn>
                <a:cxn ang="0">
                  <a:pos x="T6" y="T7"/>
                </a:cxn>
              </a:cxnLst>
              <a:rect l="0" t="0" r="r" b="b"/>
              <a:pathLst>
                <a:path w="114" h="115">
                  <a:moveTo>
                    <a:pt x="0" y="115"/>
                  </a:moveTo>
                  <a:lnTo>
                    <a:pt x="0" y="0"/>
                  </a:lnTo>
                  <a:lnTo>
                    <a:pt x="114" y="56"/>
                  </a:lnTo>
                  <a:lnTo>
                    <a:pt x="0" y="115"/>
                  </a:lnTo>
                  <a:close/>
                </a:path>
              </a:pathLst>
            </a:custGeom>
            <a:solidFill>
              <a:srgbClr val="ED8B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sz="1799" dirty="0"/>
            </a:p>
          </p:txBody>
        </p:sp>
        <p:sp>
          <p:nvSpPr>
            <p:cNvPr id="43" name="Freeform 66">
              <a:extLst>
                <a:ext uri="{FF2B5EF4-FFF2-40B4-BE49-F238E27FC236}">
                  <a16:creationId xmlns:a16="http://schemas.microsoft.com/office/drawing/2014/main" id="{A9DDCE69-BA00-415A-9DC5-AC2B3948C716}"/>
                </a:ext>
              </a:extLst>
            </p:cNvPr>
            <p:cNvSpPr>
              <a:spLocks/>
            </p:cNvSpPr>
            <p:nvPr userDrawn="1"/>
          </p:nvSpPr>
          <p:spPr bwMode="gray">
            <a:xfrm>
              <a:off x="9692205" y="6621864"/>
              <a:ext cx="231588" cy="233621"/>
            </a:xfrm>
            <a:custGeom>
              <a:avLst/>
              <a:gdLst>
                <a:gd name="T0" fmla="*/ 0 w 114"/>
                <a:gd name="T1" fmla="*/ 115 h 115"/>
                <a:gd name="T2" fmla="*/ 0 w 114"/>
                <a:gd name="T3" fmla="*/ 0 h 115"/>
                <a:gd name="T4" fmla="*/ 114 w 114"/>
                <a:gd name="T5" fmla="*/ 56 h 115"/>
                <a:gd name="T6" fmla="*/ 0 w 114"/>
                <a:gd name="T7" fmla="*/ 115 h 115"/>
              </a:gdLst>
              <a:ahLst/>
              <a:cxnLst>
                <a:cxn ang="0">
                  <a:pos x="T0" y="T1"/>
                </a:cxn>
                <a:cxn ang="0">
                  <a:pos x="T2" y="T3"/>
                </a:cxn>
                <a:cxn ang="0">
                  <a:pos x="T4" y="T5"/>
                </a:cxn>
                <a:cxn ang="0">
                  <a:pos x="T6" y="T7"/>
                </a:cxn>
              </a:cxnLst>
              <a:rect l="0" t="0" r="r" b="b"/>
              <a:pathLst>
                <a:path w="114" h="115">
                  <a:moveTo>
                    <a:pt x="0" y="115"/>
                  </a:moveTo>
                  <a:lnTo>
                    <a:pt x="0" y="0"/>
                  </a:lnTo>
                  <a:lnTo>
                    <a:pt x="114" y="56"/>
                  </a:lnTo>
                  <a:lnTo>
                    <a:pt x="0" y="115"/>
                  </a:lnTo>
                  <a:close/>
                </a:path>
              </a:pathLst>
            </a:custGeom>
            <a:solidFill>
              <a:srgbClr val="F5BD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p>
          </p:txBody>
        </p:sp>
        <p:sp>
          <p:nvSpPr>
            <p:cNvPr id="44" name="Freeform 66">
              <a:extLst>
                <a:ext uri="{FF2B5EF4-FFF2-40B4-BE49-F238E27FC236}">
                  <a16:creationId xmlns:a16="http://schemas.microsoft.com/office/drawing/2014/main" id="{51DA1E36-43F9-4A19-AD1C-BE46C9765351}"/>
                </a:ext>
              </a:extLst>
            </p:cNvPr>
            <p:cNvSpPr>
              <a:spLocks/>
            </p:cNvSpPr>
            <p:nvPr userDrawn="1"/>
          </p:nvSpPr>
          <p:spPr bwMode="gray">
            <a:xfrm>
              <a:off x="9850819" y="6767863"/>
              <a:ext cx="248426" cy="250606"/>
            </a:xfrm>
            <a:custGeom>
              <a:avLst/>
              <a:gdLst>
                <a:gd name="T0" fmla="*/ 0 w 114"/>
                <a:gd name="T1" fmla="*/ 115 h 115"/>
                <a:gd name="T2" fmla="*/ 0 w 114"/>
                <a:gd name="T3" fmla="*/ 0 h 115"/>
                <a:gd name="T4" fmla="*/ 114 w 114"/>
                <a:gd name="T5" fmla="*/ 56 h 115"/>
                <a:gd name="T6" fmla="*/ 0 w 114"/>
                <a:gd name="T7" fmla="*/ 115 h 115"/>
              </a:gdLst>
              <a:ahLst/>
              <a:cxnLst>
                <a:cxn ang="0">
                  <a:pos x="T0" y="T1"/>
                </a:cxn>
                <a:cxn ang="0">
                  <a:pos x="T2" y="T3"/>
                </a:cxn>
                <a:cxn ang="0">
                  <a:pos x="T4" y="T5"/>
                </a:cxn>
                <a:cxn ang="0">
                  <a:pos x="T6" y="T7"/>
                </a:cxn>
              </a:cxnLst>
              <a:rect l="0" t="0" r="r" b="b"/>
              <a:pathLst>
                <a:path w="114" h="115">
                  <a:moveTo>
                    <a:pt x="0" y="115"/>
                  </a:moveTo>
                  <a:lnTo>
                    <a:pt x="0" y="0"/>
                  </a:lnTo>
                  <a:lnTo>
                    <a:pt x="114" y="56"/>
                  </a:lnTo>
                  <a:lnTo>
                    <a:pt x="0" y="115"/>
                  </a:lnTo>
                  <a:close/>
                </a:path>
              </a:pathLst>
            </a:custGeom>
            <a:solidFill>
              <a:srgbClr val="E86A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sz="1799" dirty="0"/>
            </a:p>
          </p:txBody>
        </p:sp>
        <p:sp>
          <p:nvSpPr>
            <p:cNvPr id="45" name="Freeform 66">
              <a:extLst>
                <a:ext uri="{FF2B5EF4-FFF2-40B4-BE49-F238E27FC236}">
                  <a16:creationId xmlns:a16="http://schemas.microsoft.com/office/drawing/2014/main" id="{CB474EAD-5449-41E6-BD89-E224A56971E6}"/>
                </a:ext>
              </a:extLst>
            </p:cNvPr>
            <p:cNvSpPr>
              <a:spLocks/>
            </p:cNvSpPr>
            <p:nvPr userDrawn="1"/>
          </p:nvSpPr>
          <p:spPr bwMode="gray">
            <a:xfrm flipH="1">
              <a:off x="10138359" y="6727662"/>
              <a:ext cx="330118" cy="333015"/>
            </a:xfrm>
            <a:custGeom>
              <a:avLst/>
              <a:gdLst>
                <a:gd name="T0" fmla="*/ 0 w 114"/>
                <a:gd name="T1" fmla="*/ 115 h 115"/>
                <a:gd name="T2" fmla="*/ 0 w 114"/>
                <a:gd name="T3" fmla="*/ 0 h 115"/>
                <a:gd name="T4" fmla="*/ 114 w 114"/>
                <a:gd name="T5" fmla="*/ 56 h 115"/>
                <a:gd name="T6" fmla="*/ 0 w 114"/>
                <a:gd name="T7" fmla="*/ 115 h 115"/>
              </a:gdLst>
              <a:ahLst/>
              <a:cxnLst>
                <a:cxn ang="0">
                  <a:pos x="T0" y="T1"/>
                </a:cxn>
                <a:cxn ang="0">
                  <a:pos x="T2" y="T3"/>
                </a:cxn>
                <a:cxn ang="0">
                  <a:pos x="T4" y="T5"/>
                </a:cxn>
                <a:cxn ang="0">
                  <a:pos x="T6" y="T7"/>
                </a:cxn>
              </a:cxnLst>
              <a:rect l="0" t="0" r="r" b="b"/>
              <a:pathLst>
                <a:path w="114" h="115">
                  <a:moveTo>
                    <a:pt x="0" y="115"/>
                  </a:moveTo>
                  <a:lnTo>
                    <a:pt x="0" y="0"/>
                  </a:lnTo>
                  <a:lnTo>
                    <a:pt x="114" y="56"/>
                  </a:lnTo>
                  <a:lnTo>
                    <a:pt x="0" y="115"/>
                  </a:lnTo>
                  <a:close/>
                </a:path>
              </a:pathLst>
            </a:custGeom>
            <a:solidFill>
              <a:srgbClr val="ED8B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sz="1799" dirty="0"/>
            </a:p>
          </p:txBody>
        </p:sp>
        <p:sp>
          <p:nvSpPr>
            <p:cNvPr id="46" name="Freeform 66">
              <a:extLst>
                <a:ext uri="{FF2B5EF4-FFF2-40B4-BE49-F238E27FC236}">
                  <a16:creationId xmlns:a16="http://schemas.microsoft.com/office/drawing/2014/main" id="{8166F95C-CC44-4F2C-8AA8-7F37167C6361}"/>
                </a:ext>
              </a:extLst>
            </p:cNvPr>
            <p:cNvSpPr>
              <a:spLocks/>
            </p:cNvSpPr>
            <p:nvPr userDrawn="1"/>
          </p:nvSpPr>
          <p:spPr bwMode="gray">
            <a:xfrm flipH="1">
              <a:off x="10358324" y="6411951"/>
              <a:ext cx="330121" cy="333019"/>
            </a:xfrm>
            <a:custGeom>
              <a:avLst/>
              <a:gdLst>
                <a:gd name="T0" fmla="*/ 0 w 114"/>
                <a:gd name="T1" fmla="*/ 115 h 115"/>
                <a:gd name="T2" fmla="*/ 0 w 114"/>
                <a:gd name="T3" fmla="*/ 0 h 115"/>
                <a:gd name="T4" fmla="*/ 114 w 114"/>
                <a:gd name="T5" fmla="*/ 56 h 115"/>
                <a:gd name="T6" fmla="*/ 0 w 114"/>
                <a:gd name="T7" fmla="*/ 115 h 115"/>
              </a:gdLst>
              <a:ahLst/>
              <a:cxnLst>
                <a:cxn ang="0">
                  <a:pos x="T0" y="T1"/>
                </a:cxn>
                <a:cxn ang="0">
                  <a:pos x="T2" y="T3"/>
                </a:cxn>
                <a:cxn ang="0">
                  <a:pos x="T4" y="T5"/>
                </a:cxn>
                <a:cxn ang="0">
                  <a:pos x="T6" y="T7"/>
                </a:cxn>
              </a:cxnLst>
              <a:rect l="0" t="0" r="r" b="b"/>
              <a:pathLst>
                <a:path w="114" h="115">
                  <a:moveTo>
                    <a:pt x="0" y="115"/>
                  </a:moveTo>
                  <a:lnTo>
                    <a:pt x="0" y="0"/>
                  </a:lnTo>
                  <a:lnTo>
                    <a:pt x="114" y="56"/>
                  </a:lnTo>
                  <a:lnTo>
                    <a:pt x="0" y="115"/>
                  </a:lnTo>
                  <a:close/>
                </a:path>
              </a:pathLst>
            </a:custGeom>
            <a:solidFill>
              <a:srgbClr val="ED8B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sz="1799" dirty="0"/>
            </a:p>
          </p:txBody>
        </p:sp>
        <p:sp>
          <p:nvSpPr>
            <p:cNvPr id="47" name="Freeform 66">
              <a:extLst>
                <a:ext uri="{FF2B5EF4-FFF2-40B4-BE49-F238E27FC236}">
                  <a16:creationId xmlns:a16="http://schemas.microsoft.com/office/drawing/2014/main" id="{721620AF-2FA0-4018-A471-74B1AB4FF377}"/>
                </a:ext>
              </a:extLst>
            </p:cNvPr>
            <p:cNvSpPr>
              <a:spLocks/>
            </p:cNvSpPr>
            <p:nvPr userDrawn="1"/>
          </p:nvSpPr>
          <p:spPr bwMode="gray">
            <a:xfrm flipH="1">
              <a:off x="10773507" y="6609167"/>
              <a:ext cx="456390" cy="460394"/>
            </a:xfrm>
            <a:custGeom>
              <a:avLst/>
              <a:gdLst>
                <a:gd name="T0" fmla="*/ 0 w 114"/>
                <a:gd name="T1" fmla="*/ 115 h 115"/>
                <a:gd name="T2" fmla="*/ 0 w 114"/>
                <a:gd name="T3" fmla="*/ 0 h 115"/>
                <a:gd name="T4" fmla="*/ 114 w 114"/>
                <a:gd name="T5" fmla="*/ 56 h 115"/>
                <a:gd name="T6" fmla="*/ 0 w 114"/>
                <a:gd name="T7" fmla="*/ 115 h 115"/>
              </a:gdLst>
              <a:ahLst/>
              <a:cxnLst>
                <a:cxn ang="0">
                  <a:pos x="T0" y="T1"/>
                </a:cxn>
                <a:cxn ang="0">
                  <a:pos x="T2" y="T3"/>
                </a:cxn>
                <a:cxn ang="0">
                  <a:pos x="T4" y="T5"/>
                </a:cxn>
                <a:cxn ang="0">
                  <a:pos x="T6" y="T7"/>
                </a:cxn>
              </a:cxnLst>
              <a:rect l="0" t="0" r="r" b="b"/>
              <a:pathLst>
                <a:path w="114" h="115">
                  <a:moveTo>
                    <a:pt x="0" y="115"/>
                  </a:moveTo>
                  <a:lnTo>
                    <a:pt x="0" y="0"/>
                  </a:lnTo>
                  <a:lnTo>
                    <a:pt x="114" y="56"/>
                  </a:lnTo>
                  <a:lnTo>
                    <a:pt x="0" y="115"/>
                  </a:lnTo>
                  <a:close/>
                </a:path>
              </a:pathLst>
            </a:custGeom>
            <a:solidFill>
              <a:srgbClr val="F5BD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sz="1799" dirty="0"/>
            </a:p>
          </p:txBody>
        </p:sp>
        <p:sp>
          <p:nvSpPr>
            <p:cNvPr id="48" name="Freeform 66">
              <a:extLst>
                <a:ext uri="{FF2B5EF4-FFF2-40B4-BE49-F238E27FC236}">
                  <a16:creationId xmlns:a16="http://schemas.microsoft.com/office/drawing/2014/main" id="{9177C2C7-24C3-4F64-93F3-4915D54F236A}"/>
                </a:ext>
              </a:extLst>
            </p:cNvPr>
            <p:cNvSpPr>
              <a:spLocks/>
            </p:cNvSpPr>
            <p:nvPr userDrawn="1"/>
          </p:nvSpPr>
          <p:spPr bwMode="gray">
            <a:xfrm>
              <a:off x="11295751" y="6556758"/>
              <a:ext cx="178295" cy="179858"/>
            </a:xfrm>
            <a:custGeom>
              <a:avLst/>
              <a:gdLst>
                <a:gd name="T0" fmla="*/ 0 w 114"/>
                <a:gd name="T1" fmla="*/ 115 h 115"/>
                <a:gd name="T2" fmla="*/ 0 w 114"/>
                <a:gd name="T3" fmla="*/ 0 h 115"/>
                <a:gd name="T4" fmla="*/ 114 w 114"/>
                <a:gd name="T5" fmla="*/ 56 h 115"/>
                <a:gd name="T6" fmla="*/ 0 w 114"/>
                <a:gd name="T7" fmla="*/ 115 h 115"/>
              </a:gdLst>
              <a:ahLst/>
              <a:cxnLst>
                <a:cxn ang="0">
                  <a:pos x="T0" y="T1"/>
                </a:cxn>
                <a:cxn ang="0">
                  <a:pos x="T2" y="T3"/>
                </a:cxn>
                <a:cxn ang="0">
                  <a:pos x="T4" y="T5"/>
                </a:cxn>
                <a:cxn ang="0">
                  <a:pos x="T6" y="T7"/>
                </a:cxn>
              </a:cxnLst>
              <a:rect l="0" t="0" r="r" b="b"/>
              <a:pathLst>
                <a:path w="114" h="115">
                  <a:moveTo>
                    <a:pt x="0" y="115"/>
                  </a:moveTo>
                  <a:lnTo>
                    <a:pt x="0" y="0"/>
                  </a:lnTo>
                  <a:lnTo>
                    <a:pt x="114" y="56"/>
                  </a:lnTo>
                  <a:lnTo>
                    <a:pt x="0" y="115"/>
                  </a:lnTo>
                  <a:close/>
                </a:path>
              </a:pathLst>
            </a:custGeom>
            <a:solidFill>
              <a:srgbClr val="ED8B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sz="1799" dirty="0"/>
            </a:p>
          </p:txBody>
        </p:sp>
        <p:sp>
          <p:nvSpPr>
            <p:cNvPr id="49" name="Freeform 66">
              <a:extLst>
                <a:ext uri="{FF2B5EF4-FFF2-40B4-BE49-F238E27FC236}">
                  <a16:creationId xmlns:a16="http://schemas.microsoft.com/office/drawing/2014/main" id="{19F44D70-6B39-43DB-B666-AB2976B88A96}"/>
                </a:ext>
              </a:extLst>
            </p:cNvPr>
            <p:cNvSpPr>
              <a:spLocks/>
            </p:cNvSpPr>
            <p:nvPr userDrawn="1"/>
          </p:nvSpPr>
          <p:spPr bwMode="gray">
            <a:xfrm>
              <a:off x="11829326" y="6484090"/>
              <a:ext cx="178295" cy="179858"/>
            </a:xfrm>
            <a:custGeom>
              <a:avLst/>
              <a:gdLst>
                <a:gd name="T0" fmla="*/ 0 w 114"/>
                <a:gd name="T1" fmla="*/ 115 h 115"/>
                <a:gd name="T2" fmla="*/ 0 w 114"/>
                <a:gd name="T3" fmla="*/ 0 h 115"/>
                <a:gd name="T4" fmla="*/ 114 w 114"/>
                <a:gd name="T5" fmla="*/ 56 h 115"/>
                <a:gd name="T6" fmla="*/ 0 w 114"/>
                <a:gd name="T7" fmla="*/ 115 h 115"/>
              </a:gdLst>
              <a:ahLst/>
              <a:cxnLst>
                <a:cxn ang="0">
                  <a:pos x="T0" y="T1"/>
                </a:cxn>
                <a:cxn ang="0">
                  <a:pos x="T2" y="T3"/>
                </a:cxn>
                <a:cxn ang="0">
                  <a:pos x="T4" y="T5"/>
                </a:cxn>
                <a:cxn ang="0">
                  <a:pos x="T6" y="T7"/>
                </a:cxn>
              </a:cxnLst>
              <a:rect l="0" t="0" r="r" b="b"/>
              <a:pathLst>
                <a:path w="114" h="115">
                  <a:moveTo>
                    <a:pt x="0" y="115"/>
                  </a:moveTo>
                  <a:lnTo>
                    <a:pt x="0" y="0"/>
                  </a:lnTo>
                  <a:lnTo>
                    <a:pt x="114" y="56"/>
                  </a:lnTo>
                  <a:lnTo>
                    <a:pt x="0" y="115"/>
                  </a:lnTo>
                  <a:close/>
                </a:path>
              </a:pathLst>
            </a:custGeom>
            <a:solidFill>
              <a:srgbClr val="ED8B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sz="1799" dirty="0"/>
            </a:p>
          </p:txBody>
        </p:sp>
        <p:sp>
          <p:nvSpPr>
            <p:cNvPr id="50" name="Freeform 66">
              <a:extLst>
                <a:ext uri="{FF2B5EF4-FFF2-40B4-BE49-F238E27FC236}">
                  <a16:creationId xmlns:a16="http://schemas.microsoft.com/office/drawing/2014/main" id="{76E7E436-2DA6-4B29-A585-700338D99843}"/>
                </a:ext>
              </a:extLst>
            </p:cNvPr>
            <p:cNvSpPr>
              <a:spLocks/>
            </p:cNvSpPr>
            <p:nvPr userDrawn="1"/>
          </p:nvSpPr>
          <p:spPr bwMode="gray">
            <a:xfrm>
              <a:off x="12033582" y="6142353"/>
              <a:ext cx="178295" cy="179858"/>
            </a:xfrm>
            <a:custGeom>
              <a:avLst/>
              <a:gdLst>
                <a:gd name="T0" fmla="*/ 0 w 114"/>
                <a:gd name="T1" fmla="*/ 115 h 115"/>
                <a:gd name="T2" fmla="*/ 0 w 114"/>
                <a:gd name="T3" fmla="*/ 0 h 115"/>
                <a:gd name="T4" fmla="*/ 114 w 114"/>
                <a:gd name="T5" fmla="*/ 56 h 115"/>
                <a:gd name="T6" fmla="*/ 0 w 114"/>
                <a:gd name="T7" fmla="*/ 115 h 115"/>
              </a:gdLst>
              <a:ahLst/>
              <a:cxnLst>
                <a:cxn ang="0">
                  <a:pos x="T0" y="T1"/>
                </a:cxn>
                <a:cxn ang="0">
                  <a:pos x="T2" y="T3"/>
                </a:cxn>
                <a:cxn ang="0">
                  <a:pos x="T4" y="T5"/>
                </a:cxn>
                <a:cxn ang="0">
                  <a:pos x="T6" y="T7"/>
                </a:cxn>
              </a:cxnLst>
              <a:rect l="0" t="0" r="r" b="b"/>
              <a:pathLst>
                <a:path w="114" h="115">
                  <a:moveTo>
                    <a:pt x="0" y="115"/>
                  </a:moveTo>
                  <a:lnTo>
                    <a:pt x="0" y="0"/>
                  </a:lnTo>
                  <a:lnTo>
                    <a:pt x="114" y="56"/>
                  </a:lnTo>
                  <a:lnTo>
                    <a:pt x="0" y="115"/>
                  </a:lnTo>
                  <a:close/>
                </a:path>
              </a:pathLst>
            </a:custGeom>
            <a:solidFill>
              <a:srgbClr val="ED8B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sz="1799" dirty="0"/>
            </a:p>
          </p:txBody>
        </p:sp>
        <p:sp>
          <p:nvSpPr>
            <p:cNvPr id="51" name="Freeform 66">
              <a:extLst>
                <a:ext uri="{FF2B5EF4-FFF2-40B4-BE49-F238E27FC236}">
                  <a16:creationId xmlns:a16="http://schemas.microsoft.com/office/drawing/2014/main" id="{61C4C5D9-3101-4294-B337-BDC9C2392000}"/>
                </a:ext>
              </a:extLst>
            </p:cNvPr>
            <p:cNvSpPr>
              <a:spLocks/>
            </p:cNvSpPr>
            <p:nvPr userDrawn="1"/>
          </p:nvSpPr>
          <p:spPr bwMode="gray">
            <a:xfrm flipH="1">
              <a:off x="11854859" y="6132532"/>
              <a:ext cx="178295" cy="179858"/>
            </a:xfrm>
            <a:custGeom>
              <a:avLst/>
              <a:gdLst>
                <a:gd name="T0" fmla="*/ 0 w 114"/>
                <a:gd name="T1" fmla="*/ 115 h 115"/>
                <a:gd name="T2" fmla="*/ 0 w 114"/>
                <a:gd name="T3" fmla="*/ 0 h 115"/>
                <a:gd name="T4" fmla="*/ 114 w 114"/>
                <a:gd name="T5" fmla="*/ 56 h 115"/>
                <a:gd name="T6" fmla="*/ 0 w 114"/>
                <a:gd name="T7" fmla="*/ 115 h 115"/>
              </a:gdLst>
              <a:ahLst/>
              <a:cxnLst>
                <a:cxn ang="0">
                  <a:pos x="T0" y="T1"/>
                </a:cxn>
                <a:cxn ang="0">
                  <a:pos x="T2" y="T3"/>
                </a:cxn>
                <a:cxn ang="0">
                  <a:pos x="T4" y="T5"/>
                </a:cxn>
                <a:cxn ang="0">
                  <a:pos x="T6" y="T7"/>
                </a:cxn>
              </a:cxnLst>
              <a:rect l="0" t="0" r="r" b="b"/>
              <a:pathLst>
                <a:path w="114" h="115">
                  <a:moveTo>
                    <a:pt x="0" y="115"/>
                  </a:moveTo>
                  <a:lnTo>
                    <a:pt x="0" y="0"/>
                  </a:lnTo>
                  <a:lnTo>
                    <a:pt x="114" y="56"/>
                  </a:lnTo>
                  <a:lnTo>
                    <a:pt x="0" y="115"/>
                  </a:lnTo>
                  <a:close/>
                </a:path>
              </a:pathLst>
            </a:custGeom>
            <a:solidFill>
              <a:srgbClr val="ED8B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sz="1799" dirty="0"/>
            </a:p>
          </p:txBody>
        </p:sp>
        <p:sp>
          <p:nvSpPr>
            <p:cNvPr id="52" name="Freeform 66">
              <a:extLst>
                <a:ext uri="{FF2B5EF4-FFF2-40B4-BE49-F238E27FC236}">
                  <a16:creationId xmlns:a16="http://schemas.microsoft.com/office/drawing/2014/main" id="{D98CB454-F14B-4A94-91B6-18493303AE41}"/>
                </a:ext>
              </a:extLst>
            </p:cNvPr>
            <p:cNvSpPr>
              <a:spLocks/>
            </p:cNvSpPr>
            <p:nvPr userDrawn="1"/>
          </p:nvSpPr>
          <p:spPr bwMode="gray">
            <a:xfrm>
              <a:off x="11845039" y="5981305"/>
              <a:ext cx="178295" cy="179858"/>
            </a:xfrm>
            <a:custGeom>
              <a:avLst/>
              <a:gdLst>
                <a:gd name="T0" fmla="*/ 0 w 114"/>
                <a:gd name="T1" fmla="*/ 115 h 115"/>
                <a:gd name="T2" fmla="*/ 0 w 114"/>
                <a:gd name="T3" fmla="*/ 0 h 115"/>
                <a:gd name="T4" fmla="*/ 114 w 114"/>
                <a:gd name="T5" fmla="*/ 56 h 115"/>
                <a:gd name="T6" fmla="*/ 0 w 114"/>
                <a:gd name="T7" fmla="*/ 115 h 115"/>
              </a:gdLst>
              <a:ahLst/>
              <a:cxnLst>
                <a:cxn ang="0">
                  <a:pos x="T0" y="T1"/>
                </a:cxn>
                <a:cxn ang="0">
                  <a:pos x="T2" y="T3"/>
                </a:cxn>
                <a:cxn ang="0">
                  <a:pos x="T4" y="T5"/>
                </a:cxn>
                <a:cxn ang="0">
                  <a:pos x="T6" y="T7"/>
                </a:cxn>
              </a:cxnLst>
              <a:rect l="0" t="0" r="r" b="b"/>
              <a:pathLst>
                <a:path w="114" h="115">
                  <a:moveTo>
                    <a:pt x="0" y="115"/>
                  </a:moveTo>
                  <a:lnTo>
                    <a:pt x="0" y="0"/>
                  </a:lnTo>
                  <a:lnTo>
                    <a:pt x="114" y="56"/>
                  </a:lnTo>
                  <a:lnTo>
                    <a:pt x="0" y="115"/>
                  </a:lnTo>
                  <a:close/>
                </a:path>
              </a:pathLst>
            </a:custGeom>
            <a:solidFill>
              <a:srgbClr val="ED8B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sz="1799" dirty="0"/>
            </a:p>
          </p:txBody>
        </p:sp>
        <p:sp>
          <p:nvSpPr>
            <p:cNvPr id="53" name="Freeform 66">
              <a:extLst>
                <a:ext uri="{FF2B5EF4-FFF2-40B4-BE49-F238E27FC236}">
                  <a16:creationId xmlns:a16="http://schemas.microsoft.com/office/drawing/2014/main" id="{1B85ACD4-F8DA-46E7-AFF3-1E2B2DE2C053}"/>
                </a:ext>
              </a:extLst>
            </p:cNvPr>
            <p:cNvSpPr>
              <a:spLocks/>
            </p:cNvSpPr>
            <p:nvPr userDrawn="1"/>
          </p:nvSpPr>
          <p:spPr bwMode="gray">
            <a:xfrm flipH="1">
              <a:off x="11461116" y="5205524"/>
              <a:ext cx="178295" cy="179858"/>
            </a:xfrm>
            <a:custGeom>
              <a:avLst/>
              <a:gdLst>
                <a:gd name="T0" fmla="*/ 0 w 114"/>
                <a:gd name="T1" fmla="*/ 115 h 115"/>
                <a:gd name="T2" fmla="*/ 0 w 114"/>
                <a:gd name="T3" fmla="*/ 0 h 115"/>
                <a:gd name="T4" fmla="*/ 114 w 114"/>
                <a:gd name="T5" fmla="*/ 56 h 115"/>
                <a:gd name="T6" fmla="*/ 0 w 114"/>
                <a:gd name="T7" fmla="*/ 115 h 115"/>
              </a:gdLst>
              <a:ahLst/>
              <a:cxnLst>
                <a:cxn ang="0">
                  <a:pos x="T0" y="T1"/>
                </a:cxn>
                <a:cxn ang="0">
                  <a:pos x="T2" y="T3"/>
                </a:cxn>
                <a:cxn ang="0">
                  <a:pos x="T4" y="T5"/>
                </a:cxn>
                <a:cxn ang="0">
                  <a:pos x="T6" y="T7"/>
                </a:cxn>
              </a:cxnLst>
              <a:rect l="0" t="0" r="r" b="b"/>
              <a:pathLst>
                <a:path w="114" h="115">
                  <a:moveTo>
                    <a:pt x="0" y="115"/>
                  </a:moveTo>
                  <a:lnTo>
                    <a:pt x="0" y="0"/>
                  </a:lnTo>
                  <a:lnTo>
                    <a:pt x="114" y="56"/>
                  </a:lnTo>
                  <a:lnTo>
                    <a:pt x="0" y="115"/>
                  </a:lnTo>
                  <a:close/>
                </a:path>
              </a:pathLst>
            </a:custGeom>
            <a:solidFill>
              <a:srgbClr val="ED8B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sz="1799" dirty="0"/>
            </a:p>
          </p:txBody>
        </p:sp>
        <p:sp>
          <p:nvSpPr>
            <p:cNvPr id="54" name="Freeform 66">
              <a:extLst>
                <a:ext uri="{FF2B5EF4-FFF2-40B4-BE49-F238E27FC236}">
                  <a16:creationId xmlns:a16="http://schemas.microsoft.com/office/drawing/2014/main" id="{B179FBF1-0330-41DD-9322-4EAAFB4F314C}"/>
                </a:ext>
              </a:extLst>
            </p:cNvPr>
            <p:cNvSpPr>
              <a:spLocks/>
            </p:cNvSpPr>
            <p:nvPr userDrawn="1"/>
          </p:nvSpPr>
          <p:spPr bwMode="gray">
            <a:xfrm flipH="1">
              <a:off x="11845815" y="5895089"/>
              <a:ext cx="173979" cy="175506"/>
            </a:xfrm>
            <a:custGeom>
              <a:avLst/>
              <a:gdLst>
                <a:gd name="T0" fmla="*/ 0 w 114"/>
                <a:gd name="T1" fmla="*/ 115 h 115"/>
                <a:gd name="T2" fmla="*/ 0 w 114"/>
                <a:gd name="T3" fmla="*/ 0 h 115"/>
                <a:gd name="T4" fmla="*/ 114 w 114"/>
                <a:gd name="T5" fmla="*/ 56 h 115"/>
                <a:gd name="T6" fmla="*/ 0 w 114"/>
                <a:gd name="T7" fmla="*/ 115 h 115"/>
              </a:gdLst>
              <a:ahLst/>
              <a:cxnLst>
                <a:cxn ang="0">
                  <a:pos x="T0" y="T1"/>
                </a:cxn>
                <a:cxn ang="0">
                  <a:pos x="T2" y="T3"/>
                </a:cxn>
                <a:cxn ang="0">
                  <a:pos x="T4" y="T5"/>
                </a:cxn>
                <a:cxn ang="0">
                  <a:pos x="T6" y="T7"/>
                </a:cxn>
              </a:cxnLst>
              <a:rect l="0" t="0" r="r" b="b"/>
              <a:pathLst>
                <a:path w="114" h="115">
                  <a:moveTo>
                    <a:pt x="0" y="115"/>
                  </a:moveTo>
                  <a:lnTo>
                    <a:pt x="0" y="0"/>
                  </a:lnTo>
                  <a:lnTo>
                    <a:pt x="114" y="56"/>
                  </a:lnTo>
                  <a:lnTo>
                    <a:pt x="0" y="115"/>
                  </a:lnTo>
                  <a:close/>
                </a:path>
              </a:pathLst>
            </a:custGeom>
            <a:solidFill>
              <a:srgbClr val="E86A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sz="1799" dirty="0"/>
            </a:p>
          </p:txBody>
        </p:sp>
        <p:sp>
          <p:nvSpPr>
            <p:cNvPr id="55" name="Freeform 66">
              <a:extLst>
                <a:ext uri="{FF2B5EF4-FFF2-40B4-BE49-F238E27FC236}">
                  <a16:creationId xmlns:a16="http://schemas.microsoft.com/office/drawing/2014/main" id="{C64ADEB2-8CDC-43DB-B143-7E8BA1826225}"/>
                </a:ext>
              </a:extLst>
            </p:cNvPr>
            <p:cNvSpPr>
              <a:spLocks/>
            </p:cNvSpPr>
            <p:nvPr userDrawn="1"/>
          </p:nvSpPr>
          <p:spPr bwMode="gray">
            <a:xfrm flipH="1">
              <a:off x="11288039" y="5885268"/>
              <a:ext cx="173979" cy="175506"/>
            </a:xfrm>
            <a:custGeom>
              <a:avLst/>
              <a:gdLst>
                <a:gd name="T0" fmla="*/ 0 w 114"/>
                <a:gd name="T1" fmla="*/ 115 h 115"/>
                <a:gd name="T2" fmla="*/ 0 w 114"/>
                <a:gd name="T3" fmla="*/ 0 h 115"/>
                <a:gd name="T4" fmla="*/ 114 w 114"/>
                <a:gd name="T5" fmla="*/ 56 h 115"/>
                <a:gd name="T6" fmla="*/ 0 w 114"/>
                <a:gd name="T7" fmla="*/ 115 h 115"/>
              </a:gdLst>
              <a:ahLst/>
              <a:cxnLst>
                <a:cxn ang="0">
                  <a:pos x="T0" y="T1"/>
                </a:cxn>
                <a:cxn ang="0">
                  <a:pos x="T2" y="T3"/>
                </a:cxn>
                <a:cxn ang="0">
                  <a:pos x="T4" y="T5"/>
                </a:cxn>
                <a:cxn ang="0">
                  <a:pos x="T6" y="T7"/>
                </a:cxn>
              </a:cxnLst>
              <a:rect l="0" t="0" r="r" b="b"/>
              <a:pathLst>
                <a:path w="114" h="115">
                  <a:moveTo>
                    <a:pt x="0" y="115"/>
                  </a:moveTo>
                  <a:lnTo>
                    <a:pt x="0" y="0"/>
                  </a:lnTo>
                  <a:lnTo>
                    <a:pt x="114" y="56"/>
                  </a:lnTo>
                  <a:lnTo>
                    <a:pt x="0" y="115"/>
                  </a:lnTo>
                  <a:close/>
                </a:path>
              </a:pathLst>
            </a:custGeom>
            <a:solidFill>
              <a:srgbClr val="E86A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sz="1799" dirty="0"/>
            </a:p>
          </p:txBody>
        </p:sp>
        <p:sp>
          <p:nvSpPr>
            <p:cNvPr id="56" name="Freeform 66">
              <a:extLst>
                <a:ext uri="{FF2B5EF4-FFF2-40B4-BE49-F238E27FC236}">
                  <a16:creationId xmlns:a16="http://schemas.microsoft.com/office/drawing/2014/main" id="{A3ABAB73-3CF7-4931-85A3-0F63E0BD106B}"/>
                </a:ext>
              </a:extLst>
            </p:cNvPr>
            <p:cNvSpPr>
              <a:spLocks/>
            </p:cNvSpPr>
            <p:nvPr userDrawn="1"/>
          </p:nvSpPr>
          <p:spPr bwMode="gray">
            <a:xfrm flipH="1">
              <a:off x="11847779" y="6333061"/>
              <a:ext cx="173979" cy="175506"/>
            </a:xfrm>
            <a:custGeom>
              <a:avLst/>
              <a:gdLst>
                <a:gd name="T0" fmla="*/ 0 w 114"/>
                <a:gd name="T1" fmla="*/ 115 h 115"/>
                <a:gd name="T2" fmla="*/ 0 w 114"/>
                <a:gd name="T3" fmla="*/ 0 h 115"/>
                <a:gd name="T4" fmla="*/ 114 w 114"/>
                <a:gd name="T5" fmla="*/ 56 h 115"/>
                <a:gd name="T6" fmla="*/ 0 w 114"/>
                <a:gd name="T7" fmla="*/ 115 h 115"/>
              </a:gdLst>
              <a:ahLst/>
              <a:cxnLst>
                <a:cxn ang="0">
                  <a:pos x="T0" y="T1"/>
                </a:cxn>
                <a:cxn ang="0">
                  <a:pos x="T2" y="T3"/>
                </a:cxn>
                <a:cxn ang="0">
                  <a:pos x="T4" y="T5"/>
                </a:cxn>
                <a:cxn ang="0">
                  <a:pos x="T6" y="T7"/>
                </a:cxn>
              </a:cxnLst>
              <a:rect l="0" t="0" r="r" b="b"/>
              <a:pathLst>
                <a:path w="114" h="115">
                  <a:moveTo>
                    <a:pt x="0" y="115"/>
                  </a:moveTo>
                  <a:lnTo>
                    <a:pt x="0" y="0"/>
                  </a:lnTo>
                  <a:lnTo>
                    <a:pt x="114" y="56"/>
                  </a:lnTo>
                  <a:lnTo>
                    <a:pt x="0" y="115"/>
                  </a:lnTo>
                  <a:close/>
                </a:path>
              </a:pathLst>
            </a:custGeom>
            <a:solidFill>
              <a:srgbClr val="E86A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sz="1799" dirty="0"/>
            </a:p>
          </p:txBody>
        </p:sp>
        <p:sp>
          <p:nvSpPr>
            <p:cNvPr id="57" name="Freeform 66">
              <a:extLst>
                <a:ext uri="{FF2B5EF4-FFF2-40B4-BE49-F238E27FC236}">
                  <a16:creationId xmlns:a16="http://schemas.microsoft.com/office/drawing/2014/main" id="{3CA9B3A2-4A9F-4CE6-8583-E665F5C3ED2A}"/>
                </a:ext>
              </a:extLst>
            </p:cNvPr>
            <p:cNvSpPr>
              <a:spLocks/>
            </p:cNvSpPr>
            <p:nvPr userDrawn="1"/>
          </p:nvSpPr>
          <p:spPr bwMode="gray">
            <a:xfrm>
              <a:off x="12024539" y="6340917"/>
              <a:ext cx="173979" cy="175506"/>
            </a:xfrm>
            <a:custGeom>
              <a:avLst/>
              <a:gdLst>
                <a:gd name="T0" fmla="*/ 0 w 114"/>
                <a:gd name="T1" fmla="*/ 115 h 115"/>
                <a:gd name="T2" fmla="*/ 0 w 114"/>
                <a:gd name="T3" fmla="*/ 0 h 115"/>
                <a:gd name="T4" fmla="*/ 114 w 114"/>
                <a:gd name="T5" fmla="*/ 56 h 115"/>
                <a:gd name="T6" fmla="*/ 0 w 114"/>
                <a:gd name="T7" fmla="*/ 115 h 115"/>
              </a:gdLst>
              <a:ahLst/>
              <a:cxnLst>
                <a:cxn ang="0">
                  <a:pos x="T0" y="T1"/>
                </a:cxn>
                <a:cxn ang="0">
                  <a:pos x="T2" y="T3"/>
                </a:cxn>
                <a:cxn ang="0">
                  <a:pos x="T4" y="T5"/>
                </a:cxn>
                <a:cxn ang="0">
                  <a:pos x="T6" y="T7"/>
                </a:cxn>
              </a:cxnLst>
              <a:rect l="0" t="0" r="r" b="b"/>
              <a:pathLst>
                <a:path w="114" h="115">
                  <a:moveTo>
                    <a:pt x="0" y="115"/>
                  </a:moveTo>
                  <a:lnTo>
                    <a:pt x="0" y="0"/>
                  </a:lnTo>
                  <a:lnTo>
                    <a:pt x="114" y="56"/>
                  </a:lnTo>
                  <a:lnTo>
                    <a:pt x="0" y="115"/>
                  </a:lnTo>
                  <a:close/>
                </a:path>
              </a:pathLst>
            </a:custGeom>
            <a:solidFill>
              <a:srgbClr val="E86A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sz="1799" dirty="0"/>
            </a:p>
          </p:txBody>
        </p:sp>
        <p:sp>
          <p:nvSpPr>
            <p:cNvPr id="58" name="Freeform 66">
              <a:extLst>
                <a:ext uri="{FF2B5EF4-FFF2-40B4-BE49-F238E27FC236}">
                  <a16:creationId xmlns:a16="http://schemas.microsoft.com/office/drawing/2014/main" id="{C081E5D2-101C-481A-847B-1797321ED2E8}"/>
                </a:ext>
              </a:extLst>
            </p:cNvPr>
            <p:cNvSpPr>
              <a:spLocks/>
            </p:cNvSpPr>
            <p:nvPr userDrawn="1"/>
          </p:nvSpPr>
          <p:spPr bwMode="gray">
            <a:xfrm>
              <a:off x="10895259" y="5985884"/>
              <a:ext cx="483688" cy="487932"/>
            </a:xfrm>
            <a:custGeom>
              <a:avLst/>
              <a:gdLst>
                <a:gd name="T0" fmla="*/ 0 w 114"/>
                <a:gd name="T1" fmla="*/ 115 h 115"/>
                <a:gd name="T2" fmla="*/ 0 w 114"/>
                <a:gd name="T3" fmla="*/ 0 h 115"/>
                <a:gd name="T4" fmla="*/ 114 w 114"/>
                <a:gd name="T5" fmla="*/ 56 h 115"/>
                <a:gd name="T6" fmla="*/ 0 w 114"/>
                <a:gd name="T7" fmla="*/ 115 h 115"/>
              </a:gdLst>
              <a:ahLst/>
              <a:cxnLst>
                <a:cxn ang="0">
                  <a:pos x="T0" y="T1"/>
                </a:cxn>
                <a:cxn ang="0">
                  <a:pos x="T2" y="T3"/>
                </a:cxn>
                <a:cxn ang="0">
                  <a:pos x="T4" y="T5"/>
                </a:cxn>
                <a:cxn ang="0">
                  <a:pos x="T6" y="T7"/>
                </a:cxn>
              </a:cxnLst>
              <a:rect l="0" t="0" r="r" b="b"/>
              <a:pathLst>
                <a:path w="114" h="115">
                  <a:moveTo>
                    <a:pt x="0" y="115"/>
                  </a:moveTo>
                  <a:lnTo>
                    <a:pt x="0" y="0"/>
                  </a:lnTo>
                  <a:lnTo>
                    <a:pt x="114" y="56"/>
                  </a:lnTo>
                  <a:lnTo>
                    <a:pt x="0" y="115"/>
                  </a:lnTo>
                  <a:close/>
                </a:path>
              </a:pathLst>
            </a:custGeom>
            <a:solidFill>
              <a:srgbClr val="F8D6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sz="1799" dirty="0"/>
            </a:p>
          </p:txBody>
        </p:sp>
        <p:sp>
          <p:nvSpPr>
            <p:cNvPr id="59" name="Freeform 66">
              <a:extLst>
                <a:ext uri="{FF2B5EF4-FFF2-40B4-BE49-F238E27FC236}">
                  <a16:creationId xmlns:a16="http://schemas.microsoft.com/office/drawing/2014/main" id="{588E8019-EB94-44F9-8370-64F80F9D2E9F}"/>
                </a:ext>
              </a:extLst>
            </p:cNvPr>
            <p:cNvSpPr>
              <a:spLocks/>
            </p:cNvSpPr>
            <p:nvPr userDrawn="1"/>
          </p:nvSpPr>
          <p:spPr bwMode="gray">
            <a:xfrm flipH="1">
              <a:off x="10945239" y="5970172"/>
              <a:ext cx="260988" cy="263279"/>
            </a:xfrm>
            <a:custGeom>
              <a:avLst/>
              <a:gdLst>
                <a:gd name="T0" fmla="*/ 0 w 114"/>
                <a:gd name="T1" fmla="*/ 115 h 115"/>
                <a:gd name="T2" fmla="*/ 0 w 114"/>
                <a:gd name="T3" fmla="*/ 0 h 115"/>
                <a:gd name="T4" fmla="*/ 114 w 114"/>
                <a:gd name="T5" fmla="*/ 56 h 115"/>
                <a:gd name="T6" fmla="*/ 0 w 114"/>
                <a:gd name="T7" fmla="*/ 115 h 115"/>
              </a:gdLst>
              <a:ahLst/>
              <a:cxnLst>
                <a:cxn ang="0">
                  <a:pos x="T0" y="T1"/>
                </a:cxn>
                <a:cxn ang="0">
                  <a:pos x="T2" y="T3"/>
                </a:cxn>
                <a:cxn ang="0">
                  <a:pos x="T4" y="T5"/>
                </a:cxn>
                <a:cxn ang="0">
                  <a:pos x="T6" y="T7"/>
                </a:cxn>
              </a:cxnLst>
              <a:rect l="0" t="0" r="r" b="b"/>
              <a:pathLst>
                <a:path w="114" h="115">
                  <a:moveTo>
                    <a:pt x="0" y="115"/>
                  </a:moveTo>
                  <a:lnTo>
                    <a:pt x="0" y="0"/>
                  </a:lnTo>
                  <a:lnTo>
                    <a:pt x="114" y="56"/>
                  </a:lnTo>
                  <a:lnTo>
                    <a:pt x="0" y="115"/>
                  </a:lnTo>
                  <a:close/>
                </a:path>
              </a:pathLst>
            </a:custGeom>
            <a:solidFill>
              <a:srgbClr val="FCEE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sz="1799" dirty="0"/>
            </a:p>
          </p:txBody>
        </p:sp>
        <p:sp>
          <p:nvSpPr>
            <p:cNvPr id="60" name="Freeform 66">
              <a:extLst>
                <a:ext uri="{FF2B5EF4-FFF2-40B4-BE49-F238E27FC236}">
                  <a16:creationId xmlns:a16="http://schemas.microsoft.com/office/drawing/2014/main" id="{781602A0-5605-4502-B0E1-1A127A7EF88E}"/>
                </a:ext>
              </a:extLst>
            </p:cNvPr>
            <p:cNvSpPr>
              <a:spLocks/>
            </p:cNvSpPr>
            <p:nvPr userDrawn="1"/>
          </p:nvSpPr>
          <p:spPr bwMode="gray">
            <a:xfrm>
              <a:off x="11279569" y="6068004"/>
              <a:ext cx="167534" cy="196319"/>
            </a:xfrm>
            <a:custGeom>
              <a:avLst/>
              <a:gdLst>
                <a:gd name="T0" fmla="*/ 0 w 114"/>
                <a:gd name="T1" fmla="*/ 115 h 115"/>
                <a:gd name="T2" fmla="*/ 0 w 114"/>
                <a:gd name="T3" fmla="*/ 0 h 115"/>
                <a:gd name="T4" fmla="*/ 114 w 114"/>
                <a:gd name="T5" fmla="*/ 56 h 115"/>
                <a:gd name="T6" fmla="*/ 0 w 114"/>
                <a:gd name="T7" fmla="*/ 115 h 115"/>
              </a:gdLst>
              <a:ahLst/>
              <a:cxnLst>
                <a:cxn ang="0">
                  <a:pos x="T0" y="T1"/>
                </a:cxn>
                <a:cxn ang="0">
                  <a:pos x="T2" y="T3"/>
                </a:cxn>
                <a:cxn ang="0">
                  <a:pos x="T4" y="T5"/>
                </a:cxn>
                <a:cxn ang="0">
                  <a:pos x="T6" y="T7"/>
                </a:cxn>
              </a:cxnLst>
              <a:rect l="0" t="0" r="r" b="b"/>
              <a:pathLst>
                <a:path w="114" h="115">
                  <a:moveTo>
                    <a:pt x="0" y="115"/>
                  </a:moveTo>
                  <a:lnTo>
                    <a:pt x="0" y="0"/>
                  </a:lnTo>
                  <a:lnTo>
                    <a:pt x="114" y="56"/>
                  </a:lnTo>
                  <a:lnTo>
                    <a:pt x="0" y="115"/>
                  </a:lnTo>
                  <a:close/>
                </a:path>
              </a:pathLst>
            </a:custGeom>
            <a:solidFill>
              <a:srgbClr val="F5BD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sz="1799" dirty="0"/>
            </a:p>
          </p:txBody>
        </p:sp>
        <p:sp>
          <p:nvSpPr>
            <p:cNvPr id="61" name="Freeform 66">
              <a:extLst>
                <a:ext uri="{FF2B5EF4-FFF2-40B4-BE49-F238E27FC236}">
                  <a16:creationId xmlns:a16="http://schemas.microsoft.com/office/drawing/2014/main" id="{A0DC4AE3-C627-4528-86AE-FE9D162FC644}"/>
                </a:ext>
              </a:extLst>
            </p:cNvPr>
            <p:cNvSpPr>
              <a:spLocks/>
            </p:cNvSpPr>
            <p:nvPr userDrawn="1"/>
          </p:nvSpPr>
          <p:spPr bwMode="gray">
            <a:xfrm flipH="1">
              <a:off x="10496176" y="6317349"/>
              <a:ext cx="606910" cy="612237"/>
            </a:xfrm>
            <a:custGeom>
              <a:avLst/>
              <a:gdLst>
                <a:gd name="T0" fmla="*/ 0 w 114"/>
                <a:gd name="T1" fmla="*/ 115 h 115"/>
                <a:gd name="T2" fmla="*/ 0 w 114"/>
                <a:gd name="T3" fmla="*/ 0 h 115"/>
                <a:gd name="T4" fmla="*/ 114 w 114"/>
                <a:gd name="T5" fmla="*/ 56 h 115"/>
                <a:gd name="T6" fmla="*/ 0 w 114"/>
                <a:gd name="T7" fmla="*/ 115 h 115"/>
              </a:gdLst>
              <a:ahLst/>
              <a:cxnLst>
                <a:cxn ang="0">
                  <a:pos x="T0" y="T1"/>
                </a:cxn>
                <a:cxn ang="0">
                  <a:pos x="T2" y="T3"/>
                </a:cxn>
                <a:cxn ang="0">
                  <a:pos x="T4" y="T5"/>
                </a:cxn>
                <a:cxn ang="0">
                  <a:pos x="T6" y="T7"/>
                </a:cxn>
              </a:cxnLst>
              <a:rect l="0" t="0" r="r" b="b"/>
              <a:pathLst>
                <a:path w="114" h="115">
                  <a:moveTo>
                    <a:pt x="0" y="115"/>
                  </a:moveTo>
                  <a:lnTo>
                    <a:pt x="0" y="0"/>
                  </a:lnTo>
                  <a:lnTo>
                    <a:pt x="114" y="56"/>
                  </a:lnTo>
                  <a:lnTo>
                    <a:pt x="0" y="115"/>
                  </a:lnTo>
                  <a:close/>
                </a:path>
              </a:pathLst>
            </a:custGeom>
            <a:solidFill>
              <a:srgbClr val="ED8B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sz="1799" dirty="0"/>
            </a:p>
          </p:txBody>
        </p:sp>
        <p:sp>
          <p:nvSpPr>
            <p:cNvPr id="62" name="Freeform 66">
              <a:extLst>
                <a:ext uri="{FF2B5EF4-FFF2-40B4-BE49-F238E27FC236}">
                  <a16:creationId xmlns:a16="http://schemas.microsoft.com/office/drawing/2014/main" id="{D522E902-E10B-4876-BDDB-2722CD87C2B5}"/>
                </a:ext>
              </a:extLst>
            </p:cNvPr>
            <p:cNvSpPr>
              <a:spLocks/>
            </p:cNvSpPr>
            <p:nvPr userDrawn="1"/>
          </p:nvSpPr>
          <p:spPr bwMode="gray">
            <a:xfrm flipH="1">
              <a:off x="10366181" y="6547138"/>
              <a:ext cx="165143" cy="166592"/>
            </a:xfrm>
            <a:custGeom>
              <a:avLst/>
              <a:gdLst>
                <a:gd name="T0" fmla="*/ 0 w 114"/>
                <a:gd name="T1" fmla="*/ 115 h 115"/>
                <a:gd name="T2" fmla="*/ 0 w 114"/>
                <a:gd name="T3" fmla="*/ 0 h 115"/>
                <a:gd name="T4" fmla="*/ 114 w 114"/>
                <a:gd name="T5" fmla="*/ 56 h 115"/>
                <a:gd name="T6" fmla="*/ 0 w 114"/>
                <a:gd name="T7" fmla="*/ 115 h 115"/>
              </a:gdLst>
              <a:ahLst/>
              <a:cxnLst>
                <a:cxn ang="0">
                  <a:pos x="T0" y="T1"/>
                </a:cxn>
                <a:cxn ang="0">
                  <a:pos x="T2" y="T3"/>
                </a:cxn>
                <a:cxn ang="0">
                  <a:pos x="T4" y="T5"/>
                </a:cxn>
                <a:cxn ang="0">
                  <a:pos x="T6" y="T7"/>
                </a:cxn>
              </a:cxnLst>
              <a:rect l="0" t="0" r="r" b="b"/>
              <a:pathLst>
                <a:path w="114" h="115">
                  <a:moveTo>
                    <a:pt x="0" y="115"/>
                  </a:moveTo>
                  <a:lnTo>
                    <a:pt x="0" y="0"/>
                  </a:lnTo>
                  <a:lnTo>
                    <a:pt x="114" y="56"/>
                  </a:lnTo>
                  <a:lnTo>
                    <a:pt x="0" y="115"/>
                  </a:lnTo>
                  <a:close/>
                </a:path>
              </a:pathLst>
            </a:custGeom>
            <a:solidFill>
              <a:srgbClr val="F5BD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sz="1799" dirty="0"/>
            </a:p>
          </p:txBody>
        </p:sp>
        <p:sp>
          <p:nvSpPr>
            <p:cNvPr id="63" name="Freeform 66">
              <a:extLst>
                <a:ext uri="{FF2B5EF4-FFF2-40B4-BE49-F238E27FC236}">
                  <a16:creationId xmlns:a16="http://schemas.microsoft.com/office/drawing/2014/main" id="{8E825EA5-9449-4B7B-8236-C933B19DCFE0}"/>
                </a:ext>
              </a:extLst>
            </p:cNvPr>
            <p:cNvSpPr>
              <a:spLocks/>
            </p:cNvSpPr>
            <p:nvPr userDrawn="1"/>
          </p:nvSpPr>
          <p:spPr bwMode="gray">
            <a:xfrm>
              <a:off x="11238530" y="5247112"/>
              <a:ext cx="260988" cy="263279"/>
            </a:xfrm>
            <a:custGeom>
              <a:avLst/>
              <a:gdLst>
                <a:gd name="T0" fmla="*/ 0 w 114"/>
                <a:gd name="T1" fmla="*/ 115 h 115"/>
                <a:gd name="T2" fmla="*/ 0 w 114"/>
                <a:gd name="T3" fmla="*/ 0 h 115"/>
                <a:gd name="T4" fmla="*/ 114 w 114"/>
                <a:gd name="T5" fmla="*/ 56 h 115"/>
                <a:gd name="T6" fmla="*/ 0 w 114"/>
                <a:gd name="T7" fmla="*/ 115 h 115"/>
              </a:gdLst>
              <a:ahLst/>
              <a:cxnLst>
                <a:cxn ang="0">
                  <a:pos x="T0" y="T1"/>
                </a:cxn>
                <a:cxn ang="0">
                  <a:pos x="T2" y="T3"/>
                </a:cxn>
                <a:cxn ang="0">
                  <a:pos x="T4" y="T5"/>
                </a:cxn>
                <a:cxn ang="0">
                  <a:pos x="T6" y="T7"/>
                </a:cxn>
              </a:cxnLst>
              <a:rect l="0" t="0" r="r" b="b"/>
              <a:pathLst>
                <a:path w="114" h="115">
                  <a:moveTo>
                    <a:pt x="0" y="115"/>
                  </a:moveTo>
                  <a:lnTo>
                    <a:pt x="0" y="0"/>
                  </a:lnTo>
                  <a:lnTo>
                    <a:pt x="114" y="56"/>
                  </a:lnTo>
                  <a:lnTo>
                    <a:pt x="0" y="115"/>
                  </a:lnTo>
                  <a:close/>
                </a:path>
              </a:pathLst>
            </a:custGeom>
            <a:solidFill>
              <a:srgbClr val="F5BD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p>
          </p:txBody>
        </p:sp>
        <p:sp>
          <p:nvSpPr>
            <p:cNvPr id="64" name="Freeform 66">
              <a:extLst>
                <a:ext uri="{FF2B5EF4-FFF2-40B4-BE49-F238E27FC236}">
                  <a16:creationId xmlns:a16="http://schemas.microsoft.com/office/drawing/2014/main" id="{FE566F5A-0D5A-469E-977E-49924F832BE5}"/>
                </a:ext>
              </a:extLst>
            </p:cNvPr>
            <p:cNvSpPr>
              <a:spLocks/>
            </p:cNvSpPr>
            <p:nvPr userDrawn="1"/>
          </p:nvSpPr>
          <p:spPr bwMode="gray">
            <a:xfrm>
              <a:off x="11136402" y="5331748"/>
              <a:ext cx="164158" cy="165599"/>
            </a:xfrm>
            <a:custGeom>
              <a:avLst/>
              <a:gdLst>
                <a:gd name="T0" fmla="*/ 0 w 114"/>
                <a:gd name="T1" fmla="*/ 115 h 115"/>
                <a:gd name="T2" fmla="*/ 0 w 114"/>
                <a:gd name="T3" fmla="*/ 0 h 115"/>
                <a:gd name="T4" fmla="*/ 114 w 114"/>
                <a:gd name="T5" fmla="*/ 56 h 115"/>
                <a:gd name="T6" fmla="*/ 0 w 114"/>
                <a:gd name="T7" fmla="*/ 115 h 115"/>
              </a:gdLst>
              <a:ahLst/>
              <a:cxnLst>
                <a:cxn ang="0">
                  <a:pos x="T0" y="T1"/>
                </a:cxn>
                <a:cxn ang="0">
                  <a:pos x="T2" y="T3"/>
                </a:cxn>
                <a:cxn ang="0">
                  <a:pos x="T4" y="T5"/>
                </a:cxn>
                <a:cxn ang="0">
                  <a:pos x="T6" y="T7"/>
                </a:cxn>
              </a:cxnLst>
              <a:rect l="0" t="0" r="r" b="b"/>
              <a:pathLst>
                <a:path w="114" h="115">
                  <a:moveTo>
                    <a:pt x="0" y="115"/>
                  </a:moveTo>
                  <a:lnTo>
                    <a:pt x="0" y="0"/>
                  </a:lnTo>
                  <a:lnTo>
                    <a:pt x="114" y="56"/>
                  </a:lnTo>
                  <a:lnTo>
                    <a:pt x="0" y="115"/>
                  </a:lnTo>
                  <a:close/>
                </a:path>
              </a:pathLst>
            </a:custGeom>
            <a:solidFill>
              <a:srgbClr val="FCEE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sz="1799" dirty="0"/>
            </a:p>
          </p:txBody>
        </p:sp>
        <p:sp>
          <p:nvSpPr>
            <p:cNvPr id="65" name="Freeform 66">
              <a:extLst>
                <a:ext uri="{FF2B5EF4-FFF2-40B4-BE49-F238E27FC236}">
                  <a16:creationId xmlns:a16="http://schemas.microsoft.com/office/drawing/2014/main" id="{A5D4E4F2-4755-46B3-8635-4B8A522B588A}"/>
                </a:ext>
              </a:extLst>
            </p:cNvPr>
            <p:cNvSpPr>
              <a:spLocks/>
            </p:cNvSpPr>
            <p:nvPr userDrawn="1"/>
          </p:nvSpPr>
          <p:spPr bwMode="gray">
            <a:xfrm>
              <a:off x="11841110" y="5085184"/>
              <a:ext cx="233921" cy="235974"/>
            </a:xfrm>
            <a:custGeom>
              <a:avLst/>
              <a:gdLst>
                <a:gd name="T0" fmla="*/ 0 w 114"/>
                <a:gd name="T1" fmla="*/ 115 h 115"/>
                <a:gd name="T2" fmla="*/ 0 w 114"/>
                <a:gd name="T3" fmla="*/ 0 h 115"/>
                <a:gd name="T4" fmla="*/ 114 w 114"/>
                <a:gd name="T5" fmla="*/ 56 h 115"/>
                <a:gd name="T6" fmla="*/ 0 w 114"/>
                <a:gd name="T7" fmla="*/ 115 h 115"/>
              </a:gdLst>
              <a:ahLst/>
              <a:cxnLst>
                <a:cxn ang="0">
                  <a:pos x="T0" y="T1"/>
                </a:cxn>
                <a:cxn ang="0">
                  <a:pos x="T2" y="T3"/>
                </a:cxn>
                <a:cxn ang="0">
                  <a:pos x="T4" y="T5"/>
                </a:cxn>
                <a:cxn ang="0">
                  <a:pos x="T6" y="T7"/>
                </a:cxn>
              </a:cxnLst>
              <a:rect l="0" t="0" r="r" b="b"/>
              <a:pathLst>
                <a:path w="114" h="115">
                  <a:moveTo>
                    <a:pt x="0" y="115"/>
                  </a:moveTo>
                  <a:lnTo>
                    <a:pt x="0" y="0"/>
                  </a:lnTo>
                  <a:lnTo>
                    <a:pt x="114" y="56"/>
                  </a:lnTo>
                  <a:lnTo>
                    <a:pt x="0" y="115"/>
                  </a:lnTo>
                  <a:close/>
                </a:path>
              </a:pathLst>
            </a:custGeom>
            <a:solidFill>
              <a:srgbClr val="F8D6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sz="1799" dirty="0"/>
            </a:p>
          </p:txBody>
        </p:sp>
        <p:sp>
          <p:nvSpPr>
            <p:cNvPr id="66" name="Freeform 66">
              <a:extLst>
                <a:ext uri="{FF2B5EF4-FFF2-40B4-BE49-F238E27FC236}">
                  <a16:creationId xmlns:a16="http://schemas.microsoft.com/office/drawing/2014/main" id="{03E00ACE-942B-4F2B-9254-B644E3C03193}"/>
                </a:ext>
              </a:extLst>
            </p:cNvPr>
            <p:cNvSpPr>
              <a:spLocks/>
            </p:cNvSpPr>
            <p:nvPr userDrawn="1"/>
          </p:nvSpPr>
          <p:spPr bwMode="gray">
            <a:xfrm flipH="1">
              <a:off x="11675662" y="5503844"/>
              <a:ext cx="493007" cy="497331"/>
            </a:xfrm>
            <a:custGeom>
              <a:avLst/>
              <a:gdLst>
                <a:gd name="T0" fmla="*/ 0 w 114"/>
                <a:gd name="T1" fmla="*/ 115 h 115"/>
                <a:gd name="T2" fmla="*/ 0 w 114"/>
                <a:gd name="T3" fmla="*/ 0 h 115"/>
                <a:gd name="T4" fmla="*/ 114 w 114"/>
                <a:gd name="T5" fmla="*/ 56 h 115"/>
                <a:gd name="T6" fmla="*/ 0 w 114"/>
                <a:gd name="T7" fmla="*/ 115 h 115"/>
              </a:gdLst>
              <a:ahLst/>
              <a:cxnLst>
                <a:cxn ang="0">
                  <a:pos x="T0" y="T1"/>
                </a:cxn>
                <a:cxn ang="0">
                  <a:pos x="T2" y="T3"/>
                </a:cxn>
                <a:cxn ang="0">
                  <a:pos x="T4" y="T5"/>
                </a:cxn>
                <a:cxn ang="0">
                  <a:pos x="T6" y="T7"/>
                </a:cxn>
              </a:cxnLst>
              <a:rect l="0" t="0" r="r" b="b"/>
              <a:pathLst>
                <a:path w="114" h="115">
                  <a:moveTo>
                    <a:pt x="0" y="115"/>
                  </a:moveTo>
                  <a:lnTo>
                    <a:pt x="0" y="0"/>
                  </a:lnTo>
                  <a:lnTo>
                    <a:pt x="114" y="56"/>
                  </a:lnTo>
                  <a:lnTo>
                    <a:pt x="0" y="115"/>
                  </a:lnTo>
                  <a:close/>
                </a:path>
              </a:pathLst>
            </a:custGeom>
            <a:solidFill>
              <a:srgbClr val="ED8B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sz="1799" dirty="0"/>
            </a:p>
          </p:txBody>
        </p:sp>
        <p:sp>
          <p:nvSpPr>
            <p:cNvPr id="67" name="Freeform 66">
              <a:extLst>
                <a:ext uri="{FF2B5EF4-FFF2-40B4-BE49-F238E27FC236}">
                  <a16:creationId xmlns:a16="http://schemas.microsoft.com/office/drawing/2014/main" id="{24366F35-7CF8-49D8-8530-48852E59374B}"/>
                </a:ext>
              </a:extLst>
            </p:cNvPr>
            <p:cNvSpPr>
              <a:spLocks/>
            </p:cNvSpPr>
            <p:nvPr userDrawn="1"/>
          </p:nvSpPr>
          <p:spPr bwMode="gray">
            <a:xfrm flipH="1">
              <a:off x="11432311" y="5633469"/>
              <a:ext cx="260988" cy="263279"/>
            </a:xfrm>
            <a:custGeom>
              <a:avLst/>
              <a:gdLst>
                <a:gd name="T0" fmla="*/ 0 w 114"/>
                <a:gd name="T1" fmla="*/ 115 h 115"/>
                <a:gd name="T2" fmla="*/ 0 w 114"/>
                <a:gd name="T3" fmla="*/ 0 h 115"/>
                <a:gd name="T4" fmla="*/ 114 w 114"/>
                <a:gd name="T5" fmla="*/ 56 h 115"/>
                <a:gd name="T6" fmla="*/ 0 w 114"/>
                <a:gd name="T7" fmla="*/ 115 h 115"/>
              </a:gdLst>
              <a:ahLst/>
              <a:cxnLst>
                <a:cxn ang="0">
                  <a:pos x="T0" y="T1"/>
                </a:cxn>
                <a:cxn ang="0">
                  <a:pos x="T2" y="T3"/>
                </a:cxn>
                <a:cxn ang="0">
                  <a:pos x="T4" y="T5"/>
                </a:cxn>
                <a:cxn ang="0">
                  <a:pos x="T6" y="T7"/>
                </a:cxn>
              </a:cxnLst>
              <a:rect l="0" t="0" r="r" b="b"/>
              <a:pathLst>
                <a:path w="114" h="115">
                  <a:moveTo>
                    <a:pt x="0" y="115"/>
                  </a:moveTo>
                  <a:lnTo>
                    <a:pt x="0" y="0"/>
                  </a:lnTo>
                  <a:lnTo>
                    <a:pt x="114" y="56"/>
                  </a:lnTo>
                  <a:lnTo>
                    <a:pt x="0" y="115"/>
                  </a:lnTo>
                  <a:close/>
                </a:path>
              </a:pathLst>
            </a:custGeom>
            <a:solidFill>
              <a:srgbClr val="F5BD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p>
          </p:txBody>
        </p:sp>
        <p:sp>
          <p:nvSpPr>
            <p:cNvPr id="68" name="Freeform 66">
              <a:extLst>
                <a:ext uri="{FF2B5EF4-FFF2-40B4-BE49-F238E27FC236}">
                  <a16:creationId xmlns:a16="http://schemas.microsoft.com/office/drawing/2014/main" id="{234BFC8F-38C0-4CEF-AB98-72A130E89354}"/>
                </a:ext>
              </a:extLst>
            </p:cNvPr>
            <p:cNvSpPr>
              <a:spLocks/>
            </p:cNvSpPr>
            <p:nvPr userDrawn="1"/>
          </p:nvSpPr>
          <p:spPr bwMode="gray">
            <a:xfrm flipH="1">
              <a:off x="11811362" y="5346725"/>
              <a:ext cx="454177" cy="458163"/>
            </a:xfrm>
            <a:custGeom>
              <a:avLst/>
              <a:gdLst>
                <a:gd name="T0" fmla="*/ 0 w 114"/>
                <a:gd name="T1" fmla="*/ 115 h 115"/>
                <a:gd name="T2" fmla="*/ 0 w 114"/>
                <a:gd name="T3" fmla="*/ 0 h 115"/>
                <a:gd name="T4" fmla="*/ 114 w 114"/>
                <a:gd name="T5" fmla="*/ 56 h 115"/>
                <a:gd name="T6" fmla="*/ 0 w 114"/>
                <a:gd name="T7" fmla="*/ 115 h 115"/>
              </a:gdLst>
              <a:ahLst/>
              <a:cxnLst>
                <a:cxn ang="0">
                  <a:pos x="T0" y="T1"/>
                </a:cxn>
                <a:cxn ang="0">
                  <a:pos x="T2" y="T3"/>
                </a:cxn>
                <a:cxn ang="0">
                  <a:pos x="T4" y="T5"/>
                </a:cxn>
                <a:cxn ang="0">
                  <a:pos x="T6" y="T7"/>
                </a:cxn>
              </a:cxnLst>
              <a:rect l="0" t="0" r="r" b="b"/>
              <a:pathLst>
                <a:path w="114" h="115">
                  <a:moveTo>
                    <a:pt x="0" y="115"/>
                  </a:moveTo>
                  <a:lnTo>
                    <a:pt x="0" y="0"/>
                  </a:lnTo>
                  <a:lnTo>
                    <a:pt x="114" y="56"/>
                  </a:lnTo>
                  <a:lnTo>
                    <a:pt x="0" y="115"/>
                  </a:lnTo>
                  <a:close/>
                </a:path>
              </a:pathLst>
            </a:custGeom>
            <a:solidFill>
              <a:srgbClr val="F5BD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p>
          </p:txBody>
        </p:sp>
        <p:sp>
          <p:nvSpPr>
            <p:cNvPr id="69" name="Freeform 66">
              <a:extLst>
                <a:ext uri="{FF2B5EF4-FFF2-40B4-BE49-F238E27FC236}">
                  <a16:creationId xmlns:a16="http://schemas.microsoft.com/office/drawing/2014/main" id="{EEACACC2-5ECC-48A2-9C11-27384E995C6B}"/>
                </a:ext>
              </a:extLst>
            </p:cNvPr>
            <p:cNvSpPr>
              <a:spLocks/>
            </p:cNvSpPr>
            <p:nvPr userDrawn="1"/>
          </p:nvSpPr>
          <p:spPr bwMode="gray">
            <a:xfrm>
              <a:off x="12041439" y="5883104"/>
              <a:ext cx="178295" cy="179858"/>
            </a:xfrm>
            <a:custGeom>
              <a:avLst/>
              <a:gdLst>
                <a:gd name="T0" fmla="*/ 0 w 114"/>
                <a:gd name="T1" fmla="*/ 115 h 115"/>
                <a:gd name="T2" fmla="*/ 0 w 114"/>
                <a:gd name="T3" fmla="*/ 0 h 115"/>
                <a:gd name="T4" fmla="*/ 114 w 114"/>
                <a:gd name="T5" fmla="*/ 56 h 115"/>
                <a:gd name="T6" fmla="*/ 0 w 114"/>
                <a:gd name="T7" fmla="*/ 115 h 115"/>
              </a:gdLst>
              <a:ahLst/>
              <a:cxnLst>
                <a:cxn ang="0">
                  <a:pos x="T0" y="T1"/>
                </a:cxn>
                <a:cxn ang="0">
                  <a:pos x="T2" y="T3"/>
                </a:cxn>
                <a:cxn ang="0">
                  <a:pos x="T4" y="T5"/>
                </a:cxn>
                <a:cxn ang="0">
                  <a:pos x="T6" y="T7"/>
                </a:cxn>
              </a:cxnLst>
              <a:rect l="0" t="0" r="r" b="b"/>
              <a:pathLst>
                <a:path w="114" h="115">
                  <a:moveTo>
                    <a:pt x="0" y="115"/>
                  </a:moveTo>
                  <a:lnTo>
                    <a:pt x="0" y="0"/>
                  </a:lnTo>
                  <a:lnTo>
                    <a:pt x="114" y="56"/>
                  </a:lnTo>
                  <a:lnTo>
                    <a:pt x="0" y="115"/>
                  </a:lnTo>
                  <a:close/>
                </a:path>
              </a:pathLst>
            </a:custGeom>
            <a:solidFill>
              <a:srgbClr val="ED8B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sz="1799" dirty="0"/>
            </a:p>
          </p:txBody>
        </p:sp>
        <p:sp>
          <p:nvSpPr>
            <p:cNvPr id="70" name="Freeform 66">
              <a:extLst>
                <a:ext uri="{FF2B5EF4-FFF2-40B4-BE49-F238E27FC236}">
                  <a16:creationId xmlns:a16="http://schemas.microsoft.com/office/drawing/2014/main" id="{6857C917-AC61-4A7D-A15B-900E30643F06}"/>
                </a:ext>
              </a:extLst>
            </p:cNvPr>
            <p:cNvSpPr>
              <a:spLocks/>
            </p:cNvSpPr>
            <p:nvPr userDrawn="1"/>
          </p:nvSpPr>
          <p:spPr bwMode="gray">
            <a:xfrm flipH="1">
              <a:off x="12044262" y="5796688"/>
              <a:ext cx="178295" cy="179858"/>
            </a:xfrm>
            <a:custGeom>
              <a:avLst/>
              <a:gdLst>
                <a:gd name="T0" fmla="*/ 0 w 114"/>
                <a:gd name="T1" fmla="*/ 115 h 115"/>
                <a:gd name="T2" fmla="*/ 0 w 114"/>
                <a:gd name="T3" fmla="*/ 0 h 115"/>
                <a:gd name="T4" fmla="*/ 114 w 114"/>
                <a:gd name="T5" fmla="*/ 56 h 115"/>
                <a:gd name="T6" fmla="*/ 0 w 114"/>
                <a:gd name="T7" fmla="*/ 115 h 115"/>
              </a:gdLst>
              <a:ahLst/>
              <a:cxnLst>
                <a:cxn ang="0">
                  <a:pos x="T0" y="T1"/>
                </a:cxn>
                <a:cxn ang="0">
                  <a:pos x="T2" y="T3"/>
                </a:cxn>
                <a:cxn ang="0">
                  <a:pos x="T4" y="T5"/>
                </a:cxn>
                <a:cxn ang="0">
                  <a:pos x="T6" y="T7"/>
                </a:cxn>
              </a:cxnLst>
              <a:rect l="0" t="0" r="r" b="b"/>
              <a:pathLst>
                <a:path w="114" h="115">
                  <a:moveTo>
                    <a:pt x="0" y="115"/>
                  </a:moveTo>
                  <a:lnTo>
                    <a:pt x="0" y="0"/>
                  </a:lnTo>
                  <a:lnTo>
                    <a:pt x="114" y="56"/>
                  </a:lnTo>
                  <a:lnTo>
                    <a:pt x="0" y="115"/>
                  </a:lnTo>
                  <a:close/>
                </a:path>
              </a:pathLst>
            </a:custGeom>
            <a:solidFill>
              <a:srgbClr val="ED8B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sz="1799" dirty="0"/>
            </a:p>
          </p:txBody>
        </p:sp>
        <p:sp>
          <p:nvSpPr>
            <p:cNvPr id="71" name="Freeform 66">
              <a:extLst>
                <a:ext uri="{FF2B5EF4-FFF2-40B4-BE49-F238E27FC236}">
                  <a16:creationId xmlns:a16="http://schemas.microsoft.com/office/drawing/2014/main" id="{AADD23B7-238B-4B6B-95B1-47C9F4500E1A}"/>
                </a:ext>
              </a:extLst>
            </p:cNvPr>
            <p:cNvSpPr>
              <a:spLocks/>
            </p:cNvSpPr>
            <p:nvPr userDrawn="1"/>
          </p:nvSpPr>
          <p:spPr bwMode="gray">
            <a:xfrm flipH="1">
              <a:off x="11362671" y="5543532"/>
              <a:ext cx="173979" cy="175506"/>
            </a:xfrm>
            <a:custGeom>
              <a:avLst/>
              <a:gdLst>
                <a:gd name="T0" fmla="*/ 0 w 114"/>
                <a:gd name="T1" fmla="*/ 115 h 115"/>
                <a:gd name="T2" fmla="*/ 0 w 114"/>
                <a:gd name="T3" fmla="*/ 0 h 115"/>
                <a:gd name="T4" fmla="*/ 114 w 114"/>
                <a:gd name="T5" fmla="*/ 56 h 115"/>
                <a:gd name="T6" fmla="*/ 0 w 114"/>
                <a:gd name="T7" fmla="*/ 115 h 115"/>
              </a:gdLst>
              <a:ahLst/>
              <a:cxnLst>
                <a:cxn ang="0">
                  <a:pos x="T0" y="T1"/>
                </a:cxn>
                <a:cxn ang="0">
                  <a:pos x="T2" y="T3"/>
                </a:cxn>
                <a:cxn ang="0">
                  <a:pos x="T4" y="T5"/>
                </a:cxn>
                <a:cxn ang="0">
                  <a:pos x="T6" y="T7"/>
                </a:cxn>
              </a:cxnLst>
              <a:rect l="0" t="0" r="r" b="b"/>
              <a:pathLst>
                <a:path w="114" h="115">
                  <a:moveTo>
                    <a:pt x="0" y="115"/>
                  </a:moveTo>
                  <a:lnTo>
                    <a:pt x="0" y="0"/>
                  </a:lnTo>
                  <a:lnTo>
                    <a:pt x="114" y="56"/>
                  </a:lnTo>
                  <a:lnTo>
                    <a:pt x="0" y="115"/>
                  </a:lnTo>
                  <a:close/>
                </a:path>
              </a:pathLst>
            </a:custGeom>
            <a:solidFill>
              <a:srgbClr val="E86A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sz="1799" dirty="0"/>
            </a:p>
          </p:txBody>
        </p:sp>
        <p:sp>
          <p:nvSpPr>
            <p:cNvPr id="72" name="Freeform 66">
              <a:extLst>
                <a:ext uri="{FF2B5EF4-FFF2-40B4-BE49-F238E27FC236}">
                  <a16:creationId xmlns:a16="http://schemas.microsoft.com/office/drawing/2014/main" id="{4D6AC48E-0E84-4AA7-B309-39FCDDC8EEBD}"/>
                </a:ext>
              </a:extLst>
            </p:cNvPr>
            <p:cNvSpPr>
              <a:spLocks/>
            </p:cNvSpPr>
            <p:nvPr userDrawn="1"/>
          </p:nvSpPr>
          <p:spPr bwMode="gray">
            <a:xfrm flipH="1">
              <a:off x="11566874" y="6764451"/>
              <a:ext cx="207663" cy="209485"/>
            </a:xfrm>
            <a:custGeom>
              <a:avLst/>
              <a:gdLst>
                <a:gd name="T0" fmla="*/ 0 w 114"/>
                <a:gd name="T1" fmla="*/ 115 h 115"/>
                <a:gd name="T2" fmla="*/ 0 w 114"/>
                <a:gd name="T3" fmla="*/ 0 h 115"/>
                <a:gd name="T4" fmla="*/ 114 w 114"/>
                <a:gd name="T5" fmla="*/ 56 h 115"/>
                <a:gd name="T6" fmla="*/ 0 w 114"/>
                <a:gd name="T7" fmla="*/ 115 h 115"/>
              </a:gdLst>
              <a:ahLst/>
              <a:cxnLst>
                <a:cxn ang="0">
                  <a:pos x="T0" y="T1"/>
                </a:cxn>
                <a:cxn ang="0">
                  <a:pos x="T2" y="T3"/>
                </a:cxn>
                <a:cxn ang="0">
                  <a:pos x="T4" y="T5"/>
                </a:cxn>
                <a:cxn ang="0">
                  <a:pos x="T6" y="T7"/>
                </a:cxn>
              </a:cxnLst>
              <a:rect l="0" t="0" r="r" b="b"/>
              <a:pathLst>
                <a:path w="114" h="115">
                  <a:moveTo>
                    <a:pt x="0" y="115"/>
                  </a:moveTo>
                  <a:lnTo>
                    <a:pt x="0" y="0"/>
                  </a:lnTo>
                  <a:lnTo>
                    <a:pt x="114" y="56"/>
                  </a:lnTo>
                  <a:lnTo>
                    <a:pt x="0" y="115"/>
                  </a:lnTo>
                  <a:close/>
                </a:path>
              </a:pathLst>
            </a:custGeom>
            <a:solidFill>
              <a:srgbClr val="FCEE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sz="1799" dirty="0"/>
            </a:p>
          </p:txBody>
        </p:sp>
        <p:sp>
          <p:nvSpPr>
            <p:cNvPr id="73" name="Freeform 66">
              <a:extLst>
                <a:ext uri="{FF2B5EF4-FFF2-40B4-BE49-F238E27FC236}">
                  <a16:creationId xmlns:a16="http://schemas.microsoft.com/office/drawing/2014/main" id="{E5B7CE33-C550-47EA-9824-79CE532AAED3}"/>
                </a:ext>
              </a:extLst>
            </p:cNvPr>
            <p:cNvSpPr>
              <a:spLocks/>
            </p:cNvSpPr>
            <p:nvPr userDrawn="1"/>
          </p:nvSpPr>
          <p:spPr bwMode="gray">
            <a:xfrm>
              <a:off x="11562947" y="6630853"/>
              <a:ext cx="207663" cy="209485"/>
            </a:xfrm>
            <a:custGeom>
              <a:avLst/>
              <a:gdLst>
                <a:gd name="T0" fmla="*/ 0 w 114"/>
                <a:gd name="T1" fmla="*/ 115 h 115"/>
                <a:gd name="T2" fmla="*/ 0 w 114"/>
                <a:gd name="T3" fmla="*/ 0 h 115"/>
                <a:gd name="T4" fmla="*/ 114 w 114"/>
                <a:gd name="T5" fmla="*/ 56 h 115"/>
                <a:gd name="T6" fmla="*/ 0 w 114"/>
                <a:gd name="T7" fmla="*/ 115 h 115"/>
              </a:gdLst>
              <a:ahLst/>
              <a:cxnLst>
                <a:cxn ang="0">
                  <a:pos x="T0" y="T1"/>
                </a:cxn>
                <a:cxn ang="0">
                  <a:pos x="T2" y="T3"/>
                </a:cxn>
                <a:cxn ang="0">
                  <a:pos x="T4" y="T5"/>
                </a:cxn>
                <a:cxn ang="0">
                  <a:pos x="T6" y="T7"/>
                </a:cxn>
              </a:cxnLst>
              <a:rect l="0" t="0" r="r" b="b"/>
              <a:pathLst>
                <a:path w="114" h="115">
                  <a:moveTo>
                    <a:pt x="0" y="115"/>
                  </a:moveTo>
                  <a:lnTo>
                    <a:pt x="0" y="0"/>
                  </a:lnTo>
                  <a:lnTo>
                    <a:pt x="114" y="56"/>
                  </a:lnTo>
                  <a:lnTo>
                    <a:pt x="0" y="115"/>
                  </a:lnTo>
                  <a:close/>
                </a:path>
              </a:pathLst>
            </a:custGeom>
            <a:solidFill>
              <a:srgbClr val="F8D6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sz="1799" dirty="0"/>
            </a:p>
          </p:txBody>
        </p:sp>
        <p:sp>
          <p:nvSpPr>
            <p:cNvPr id="74" name="Freeform 66">
              <a:extLst>
                <a:ext uri="{FF2B5EF4-FFF2-40B4-BE49-F238E27FC236}">
                  <a16:creationId xmlns:a16="http://schemas.microsoft.com/office/drawing/2014/main" id="{CE808DB3-1312-49F4-8D71-5A4A0A7950B2}"/>
                </a:ext>
              </a:extLst>
            </p:cNvPr>
            <p:cNvSpPr>
              <a:spLocks/>
            </p:cNvSpPr>
            <p:nvPr userDrawn="1"/>
          </p:nvSpPr>
          <p:spPr bwMode="gray">
            <a:xfrm flipH="1">
              <a:off x="11445486" y="6405545"/>
              <a:ext cx="178172" cy="179736"/>
            </a:xfrm>
            <a:custGeom>
              <a:avLst/>
              <a:gdLst>
                <a:gd name="T0" fmla="*/ 0 w 114"/>
                <a:gd name="T1" fmla="*/ 115 h 115"/>
                <a:gd name="T2" fmla="*/ 0 w 114"/>
                <a:gd name="T3" fmla="*/ 0 h 115"/>
                <a:gd name="T4" fmla="*/ 114 w 114"/>
                <a:gd name="T5" fmla="*/ 56 h 115"/>
                <a:gd name="T6" fmla="*/ 0 w 114"/>
                <a:gd name="T7" fmla="*/ 115 h 115"/>
              </a:gdLst>
              <a:ahLst/>
              <a:cxnLst>
                <a:cxn ang="0">
                  <a:pos x="T0" y="T1"/>
                </a:cxn>
                <a:cxn ang="0">
                  <a:pos x="T2" y="T3"/>
                </a:cxn>
                <a:cxn ang="0">
                  <a:pos x="T4" y="T5"/>
                </a:cxn>
                <a:cxn ang="0">
                  <a:pos x="T6" y="T7"/>
                </a:cxn>
              </a:cxnLst>
              <a:rect l="0" t="0" r="r" b="b"/>
              <a:pathLst>
                <a:path w="114" h="115">
                  <a:moveTo>
                    <a:pt x="0" y="115"/>
                  </a:moveTo>
                  <a:lnTo>
                    <a:pt x="0" y="0"/>
                  </a:lnTo>
                  <a:lnTo>
                    <a:pt x="114" y="56"/>
                  </a:lnTo>
                  <a:lnTo>
                    <a:pt x="0" y="115"/>
                  </a:lnTo>
                  <a:close/>
                </a:path>
              </a:pathLst>
            </a:custGeom>
            <a:solidFill>
              <a:srgbClr val="F5BD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p>
          </p:txBody>
        </p:sp>
        <p:sp>
          <p:nvSpPr>
            <p:cNvPr id="75" name="Freeform 66">
              <a:extLst>
                <a:ext uri="{FF2B5EF4-FFF2-40B4-BE49-F238E27FC236}">
                  <a16:creationId xmlns:a16="http://schemas.microsoft.com/office/drawing/2014/main" id="{724B5F69-6EFF-47F4-BB91-AE71BB9590B5}"/>
                </a:ext>
              </a:extLst>
            </p:cNvPr>
            <p:cNvSpPr>
              <a:spLocks/>
            </p:cNvSpPr>
            <p:nvPr userDrawn="1"/>
          </p:nvSpPr>
          <p:spPr bwMode="gray">
            <a:xfrm>
              <a:off x="11481309" y="6040049"/>
              <a:ext cx="476537" cy="480719"/>
            </a:xfrm>
            <a:custGeom>
              <a:avLst/>
              <a:gdLst>
                <a:gd name="T0" fmla="*/ 0 w 114"/>
                <a:gd name="T1" fmla="*/ 115 h 115"/>
                <a:gd name="T2" fmla="*/ 0 w 114"/>
                <a:gd name="T3" fmla="*/ 0 h 115"/>
                <a:gd name="T4" fmla="*/ 114 w 114"/>
                <a:gd name="T5" fmla="*/ 56 h 115"/>
                <a:gd name="T6" fmla="*/ 0 w 114"/>
                <a:gd name="T7" fmla="*/ 115 h 115"/>
              </a:gdLst>
              <a:ahLst/>
              <a:cxnLst>
                <a:cxn ang="0">
                  <a:pos x="T0" y="T1"/>
                </a:cxn>
                <a:cxn ang="0">
                  <a:pos x="T2" y="T3"/>
                </a:cxn>
                <a:cxn ang="0">
                  <a:pos x="T4" y="T5"/>
                </a:cxn>
                <a:cxn ang="0">
                  <a:pos x="T6" y="T7"/>
                </a:cxn>
              </a:cxnLst>
              <a:rect l="0" t="0" r="r" b="b"/>
              <a:pathLst>
                <a:path w="114" h="115">
                  <a:moveTo>
                    <a:pt x="0" y="115"/>
                  </a:moveTo>
                  <a:lnTo>
                    <a:pt x="0" y="0"/>
                  </a:lnTo>
                  <a:lnTo>
                    <a:pt x="114" y="56"/>
                  </a:lnTo>
                  <a:lnTo>
                    <a:pt x="0" y="115"/>
                  </a:lnTo>
                  <a:close/>
                </a:path>
              </a:pathLst>
            </a:custGeom>
            <a:solidFill>
              <a:srgbClr val="FCEE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sz="1799" dirty="0"/>
            </a:p>
          </p:txBody>
        </p:sp>
        <p:sp>
          <p:nvSpPr>
            <p:cNvPr id="76" name="Freeform 66">
              <a:extLst>
                <a:ext uri="{FF2B5EF4-FFF2-40B4-BE49-F238E27FC236}">
                  <a16:creationId xmlns:a16="http://schemas.microsoft.com/office/drawing/2014/main" id="{6E2930D8-5DAD-4AE0-A4D5-4355BD2F34CE}"/>
                </a:ext>
              </a:extLst>
            </p:cNvPr>
            <p:cNvSpPr>
              <a:spLocks/>
            </p:cNvSpPr>
            <p:nvPr userDrawn="1"/>
          </p:nvSpPr>
          <p:spPr bwMode="gray">
            <a:xfrm>
              <a:off x="11512734" y="6143945"/>
              <a:ext cx="167534" cy="196319"/>
            </a:xfrm>
            <a:custGeom>
              <a:avLst/>
              <a:gdLst>
                <a:gd name="T0" fmla="*/ 0 w 114"/>
                <a:gd name="T1" fmla="*/ 115 h 115"/>
                <a:gd name="T2" fmla="*/ 0 w 114"/>
                <a:gd name="T3" fmla="*/ 0 h 115"/>
                <a:gd name="T4" fmla="*/ 114 w 114"/>
                <a:gd name="T5" fmla="*/ 56 h 115"/>
                <a:gd name="T6" fmla="*/ 0 w 114"/>
                <a:gd name="T7" fmla="*/ 115 h 115"/>
              </a:gdLst>
              <a:ahLst/>
              <a:cxnLst>
                <a:cxn ang="0">
                  <a:pos x="T0" y="T1"/>
                </a:cxn>
                <a:cxn ang="0">
                  <a:pos x="T2" y="T3"/>
                </a:cxn>
                <a:cxn ang="0">
                  <a:pos x="T4" y="T5"/>
                </a:cxn>
                <a:cxn ang="0">
                  <a:pos x="T6" y="T7"/>
                </a:cxn>
              </a:cxnLst>
              <a:rect l="0" t="0" r="r" b="b"/>
              <a:pathLst>
                <a:path w="114" h="115">
                  <a:moveTo>
                    <a:pt x="0" y="115"/>
                  </a:moveTo>
                  <a:lnTo>
                    <a:pt x="0" y="0"/>
                  </a:lnTo>
                  <a:lnTo>
                    <a:pt x="114" y="56"/>
                  </a:lnTo>
                  <a:lnTo>
                    <a:pt x="0" y="115"/>
                  </a:lnTo>
                  <a:close/>
                </a:path>
              </a:pathLst>
            </a:custGeom>
            <a:solidFill>
              <a:srgbClr val="F5BD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sz="1799" dirty="0"/>
            </a:p>
          </p:txBody>
        </p:sp>
        <p:sp>
          <p:nvSpPr>
            <p:cNvPr id="77" name="Freeform 66">
              <a:extLst>
                <a:ext uri="{FF2B5EF4-FFF2-40B4-BE49-F238E27FC236}">
                  <a16:creationId xmlns:a16="http://schemas.microsoft.com/office/drawing/2014/main" id="{9E9510A5-D2E8-498C-A740-83801BF323B8}"/>
                </a:ext>
              </a:extLst>
            </p:cNvPr>
            <p:cNvSpPr>
              <a:spLocks/>
            </p:cNvSpPr>
            <p:nvPr userDrawn="1"/>
          </p:nvSpPr>
          <p:spPr bwMode="gray">
            <a:xfrm>
              <a:off x="11570344" y="6040876"/>
              <a:ext cx="205927" cy="207734"/>
            </a:xfrm>
            <a:custGeom>
              <a:avLst/>
              <a:gdLst>
                <a:gd name="T0" fmla="*/ 0 w 114"/>
                <a:gd name="T1" fmla="*/ 115 h 115"/>
                <a:gd name="T2" fmla="*/ 0 w 114"/>
                <a:gd name="T3" fmla="*/ 0 h 115"/>
                <a:gd name="T4" fmla="*/ 114 w 114"/>
                <a:gd name="T5" fmla="*/ 56 h 115"/>
                <a:gd name="T6" fmla="*/ 0 w 114"/>
                <a:gd name="T7" fmla="*/ 115 h 115"/>
              </a:gdLst>
              <a:ahLst/>
              <a:cxnLst>
                <a:cxn ang="0">
                  <a:pos x="T0" y="T1"/>
                </a:cxn>
                <a:cxn ang="0">
                  <a:pos x="T2" y="T3"/>
                </a:cxn>
                <a:cxn ang="0">
                  <a:pos x="T4" y="T5"/>
                </a:cxn>
                <a:cxn ang="0">
                  <a:pos x="T6" y="T7"/>
                </a:cxn>
              </a:cxnLst>
              <a:rect l="0" t="0" r="r" b="b"/>
              <a:pathLst>
                <a:path w="114" h="115">
                  <a:moveTo>
                    <a:pt x="0" y="115"/>
                  </a:moveTo>
                  <a:lnTo>
                    <a:pt x="0" y="0"/>
                  </a:lnTo>
                  <a:lnTo>
                    <a:pt x="114" y="56"/>
                  </a:lnTo>
                  <a:lnTo>
                    <a:pt x="0" y="115"/>
                  </a:lnTo>
                  <a:close/>
                </a:path>
              </a:pathLst>
            </a:custGeom>
            <a:solidFill>
              <a:srgbClr val="ED8B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sz="1799" dirty="0"/>
            </a:p>
          </p:txBody>
        </p:sp>
        <p:sp>
          <p:nvSpPr>
            <p:cNvPr id="78" name="Freeform 66">
              <a:extLst>
                <a:ext uri="{FF2B5EF4-FFF2-40B4-BE49-F238E27FC236}">
                  <a16:creationId xmlns:a16="http://schemas.microsoft.com/office/drawing/2014/main" id="{1C23B5B9-496F-41A5-AAA5-4CD13686CC50}"/>
                </a:ext>
              </a:extLst>
            </p:cNvPr>
            <p:cNvSpPr>
              <a:spLocks/>
            </p:cNvSpPr>
            <p:nvPr userDrawn="1"/>
          </p:nvSpPr>
          <p:spPr bwMode="gray">
            <a:xfrm flipH="1">
              <a:off x="12046088" y="6254798"/>
              <a:ext cx="152674" cy="154013"/>
            </a:xfrm>
            <a:custGeom>
              <a:avLst/>
              <a:gdLst>
                <a:gd name="T0" fmla="*/ 0 w 114"/>
                <a:gd name="T1" fmla="*/ 115 h 115"/>
                <a:gd name="T2" fmla="*/ 0 w 114"/>
                <a:gd name="T3" fmla="*/ 0 h 115"/>
                <a:gd name="T4" fmla="*/ 114 w 114"/>
                <a:gd name="T5" fmla="*/ 56 h 115"/>
                <a:gd name="T6" fmla="*/ 0 w 114"/>
                <a:gd name="T7" fmla="*/ 115 h 115"/>
              </a:gdLst>
              <a:ahLst/>
              <a:cxnLst>
                <a:cxn ang="0">
                  <a:pos x="T0" y="T1"/>
                </a:cxn>
                <a:cxn ang="0">
                  <a:pos x="T2" y="T3"/>
                </a:cxn>
                <a:cxn ang="0">
                  <a:pos x="T4" y="T5"/>
                </a:cxn>
                <a:cxn ang="0">
                  <a:pos x="T6" y="T7"/>
                </a:cxn>
              </a:cxnLst>
              <a:rect l="0" t="0" r="r" b="b"/>
              <a:pathLst>
                <a:path w="114" h="115">
                  <a:moveTo>
                    <a:pt x="0" y="115"/>
                  </a:moveTo>
                  <a:lnTo>
                    <a:pt x="0" y="0"/>
                  </a:lnTo>
                  <a:lnTo>
                    <a:pt x="114" y="56"/>
                  </a:lnTo>
                  <a:lnTo>
                    <a:pt x="0" y="115"/>
                  </a:lnTo>
                  <a:close/>
                </a:path>
              </a:pathLst>
            </a:custGeom>
            <a:solidFill>
              <a:srgbClr val="FCEE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sz="1799" dirty="0"/>
            </a:p>
          </p:txBody>
        </p:sp>
        <p:sp>
          <p:nvSpPr>
            <p:cNvPr id="79" name="Freeform 66">
              <a:extLst>
                <a:ext uri="{FF2B5EF4-FFF2-40B4-BE49-F238E27FC236}">
                  <a16:creationId xmlns:a16="http://schemas.microsoft.com/office/drawing/2014/main" id="{1777B57D-6706-4E60-B750-6B0880E9927D}"/>
                </a:ext>
              </a:extLst>
            </p:cNvPr>
            <p:cNvSpPr>
              <a:spLocks/>
            </p:cNvSpPr>
            <p:nvPr userDrawn="1"/>
          </p:nvSpPr>
          <p:spPr bwMode="gray">
            <a:xfrm>
              <a:off x="11765701" y="5932205"/>
              <a:ext cx="178295" cy="179858"/>
            </a:xfrm>
            <a:custGeom>
              <a:avLst/>
              <a:gdLst>
                <a:gd name="T0" fmla="*/ 0 w 114"/>
                <a:gd name="T1" fmla="*/ 115 h 115"/>
                <a:gd name="T2" fmla="*/ 0 w 114"/>
                <a:gd name="T3" fmla="*/ 0 h 115"/>
                <a:gd name="T4" fmla="*/ 114 w 114"/>
                <a:gd name="T5" fmla="*/ 56 h 115"/>
                <a:gd name="T6" fmla="*/ 0 w 114"/>
                <a:gd name="T7" fmla="*/ 115 h 115"/>
              </a:gdLst>
              <a:ahLst/>
              <a:cxnLst>
                <a:cxn ang="0">
                  <a:pos x="T0" y="T1"/>
                </a:cxn>
                <a:cxn ang="0">
                  <a:pos x="T2" y="T3"/>
                </a:cxn>
                <a:cxn ang="0">
                  <a:pos x="T4" y="T5"/>
                </a:cxn>
                <a:cxn ang="0">
                  <a:pos x="T6" y="T7"/>
                </a:cxn>
              </a:cxnLst>
              <a:rect l="0" t="0" r="r" b="b"/>
              <a:pathLst>
                <a:path w="114" h="115">
                  <a:moveTo>
                    <a:pt x="0" y="115"/>
                  </a:moveTo>
                  <a:lnTo>
                    <a:pt x="0" y="0"/>
                  </a:lnTo>
                  <a:lnTo>
                    <a:pt x="114" y="56"/>
                  </a:lnTo>
                  <a:lnTo>
                    <a:pt x="0" y="115"/>
                  </a:lnTo>
                  <a:close/>
                </a:path>
              </a:pathLst>
            </a:custGeom>
            <a:solidFill>
              <a:srgbClr val="F5BD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sz="1799" dirty="0"/>
            </a:p>
          </p:txBody>
        </p:sp>
        <p:sp>
          <p:nvSpPr>
            <p:cNvPr id="80" name="Freeform 66">
              <a:extLst>
                <a:ext uri="{FF2B5EF4-FFF2-40B4-BE49-F238E27FC236}">
                  <a16:creationId xmlns:a16="http://schemas.microsoft.com/office/drawing/2014/main" id="{D2ABDB85-28C6-4218-BF4C-78CB790F18DC}"/>
                </a:ext>
              </a:extLst>
            </p:cNvPr>
            <p:cNvSpPr>
              <a:spLocks/>
            </p:cNvSpPr>
            <p:nvPr userDrawn="1"/>
          </p:nvSpPr>
          <p:spPr bwMode="gray">
            <a:xfrm flipH="1">
              <a:off x="11766477" y="5845989"/>
              <a:ext cx="173979" cy="175506"/>
            </a:xfrm>
            <a:custGeom>
              <a:avLst/>
              <a:gdLst>
                <a:gd name="T0" fmla="*/ 0 w 114"/>
                <a:gd name="T1" fmla="*/ 115 h 115"/>
                <a:gd name="T2" fmla="*/ 0 w 114"/>
                <a:gd name="T3" fmla="*/ 0 h 115"/>
                <a:gd name="T4" fmla="*/ 114 w 114"/>
                <a:gd name="T5" fmla="*/ 56 h 115"/>
                <a:gd name="T6" fmla="*/ 0 w 114"/>
                <a:gd name="T7" fmla="*/ 115 h 115"/>
              </a:gdLst>
              <a:ahLst/>
              <a:cxnLst>
                <a:cxn ang="0">
                  <a:pos x="T0" y="T1"/>
                </a:cxn>
                <a:cxn ang="0">
                  <a:pos x="T2" y="T3"/>
                </a:cxn>
                <a:cxn ang="0">
                  <a:pos x="T4" y="T5"/>
                </a:cxn>
                <a:cxn ang="0">
                  <a:pos x="T6" y="T7"/>
                </a:cxn>
              </a:cxnLst>
              <a:rect l="0" t="0" r="r" b="b"/>
              <a:pathLst>
                <a:path w="114" h="115">
                  <a:moveTo>
                    <a:pt x="0" y="115"/>
                  </a:moveTo>
                  <a:lnTo>
                    <a:pt x="0" y="0"/>
                  </a:lnTo>
                  <a:lnTo>
                    <a:pt x="114" y="56"/>
                  </a:lnTo>
                  <a:lnTo>
                    <a:pt x="0" y="115"/>
                  </a:lnTo>
                  <a:close/>
                </a:path>
              </a:pathLst>
            </a:custGeom>
            <a:solidFill>
              <a:srgbClr val="F8D6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sz="1799" dirty="0"/>
            </a:p>
          </p:txBody>
        </p:sp>
        <p:sp>
          <p:nvSpPr>
            <p:cNvPr id="81" name="Freeform 66">
              <a:extLst>
                <a:ext uri="{FF2B5EF4-FFF2-40B4-BE49-F238E27FC236}">
                  <a16:creationId xmlns:a16="http://schemas.microsoft.com/office/drawing/2014/main" id="{C6D44299-DBF9-4F68-9AB5-D6D41C01BDCE}"/>
                </a:ext>
              </a:extLst>
            </p:cNvPr>
            <p:cNvSpPr>
              <a:spLocks/>
            </p:cNvSpPr>
            <p:nvPr userDrawn="1"/>
          </p:nvSpPr>
          <p:spPr bwMode="gray">
            <a:xfrm flipH="1">
              <a:off x="12025931" y="5984389"/>
              <a:ext cx="213832" cy="215708"/>
            </a:xfrm>
            <a:custGeom>
              <a:avLst/>
              <a:gdLst>
                <a:gd name="T0" fmla="*/ 0 w 114"/>
                <a:gd name="T1" fmla="*/ 115 h 115"/>
                <a:gd name="T2" fmla="*/ 0 w 114"/>
                <a:gd name="T3" fmla="*/ 0 h 115"/>
                <a:gd name="T4" fmla="*/ 114 w 114"/>
                <a:gd name="T5" fmla="*/ 56 h 115"/>
                <a:gd name="T6" fmla="*/ 0 w 114"/>
                <a:gd name="T7" fmla="*/ 115 h 115"/>
              </a:gdLst>
              <a:ahLst/>
              <a:cxnLst>
                <a:cxn ang="0">
                  <a:pos x="T0" y="T1"/>
                </a:cxn>
                <a:cxn ang="0">
                  <a:pos x="T2" y="T3"/>
                </a:cxn>
                <a:cxn ang="0">
                  <a:pos x="T4" y="T5"/>
                </a:cxn>
                <a:cxn ang="0">
                  <a:pos x="T6" y="T7"/>
                </a:cxn>
              </a:cxnLst>
              <a:rect l="0" t="0" r="r" b="b"/>
              <a:pathLst>
                <a:path w="114" h="115">
                  <a:moveTo>
                    <a:pt x="0" y="115"/>
                  </a:moveTo>
                  <a:lnTo>
                    <a:pt x="0" y="0"/>
                  </a:lnTo>
                  <a:lnTo>
                    <a:pt x="114" y="56"/>
                  </a:lnTo>
                  <a:lnTo>
                    <a:pt x="0" y="115"/>
                  </a:lnTo>
                  <a:close/>
                </a:path>
              </a:pathLst>
            </a:custGeom>
            <a:solidFill>
              <a:srgbClr val="E86A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sz="1799" dirty="0"/>
            </a:p>
          </p:txBody>
        </p:sp>
        <p:sp>
          <p:nvSpPr>
            <p:cNvPr id="82" name="Freeform 66">
              <a:extLst>
                <a:ext uri="{FF2B5EF4-FFF2-40B4-BE49-F238E27FC236}">
                  <a16:creationId xmlns:a16="http://schemas.microsoft.com/office/drawing/2014/main" id="{CEA269BC-4CF5-40F7-9BEA-B099E629B9B3}"/>
                </a:ext>
              </a:extLst>
            </p:cNvPr>
            <p:cNvSpPr>
              <a:spLocks/>
            </p:cNvSpPr>
            <p:nvPr userDrawn="1"/>
          </p:nvSpPr>
          <p:spPr bwMode="gray">
            <a:xfrm>
              <a:off x="12130207" y="5993371"/>
              <a:ext cx="167534" cy="196319"/>
            </a:xfrm>
            <a:custGeom>
              <a:avLst/>
              <a:gdLst>
                <a:gd name="T0" fmla="*/ 0 w 114"/>
                <a:gd name="T1" fmla="*/ 115 h 115"/>
                <a:gd name="T2" fmla="*/ 0 w 114"/>
                <a:gd name="T3" fmla="*/ 0 h 115"/>
                <a:gd name="T4" fmla="*/ 114 w 114"/>
                <a:gd name="T5" fmla="*/ 56 h 115"/>
                <a:gd name="T6" fmla="*/ 0 w 114"/>
                <a:gd name="T7" fmla="*/ 115 h 115"/>
              </a:gdLst>
              <a:ahLst/>
              <a:cxnLst>
                <a:cxn ang="0">
                  <a:pos x="T0" y="T1"/>
                </a:cxn>
                <a:cxn ang="0">
                  <a:pos x="T2" y="T3"/>
                </a:cxn>
                <a:cxn ang="0">
                  <a:pos x="T4" y="T5"/>
                </a:cxn>
                <a:cxn ang="0">
                  <a:pos x="T6" y="T7"/>
                </a:cxn>
              </a:cxnLst>
              <a:rect l="0" t="0" r="r" b="b"/>
              <a:pathLst>
                <a:path w="114" h="115">
                  <a:moveTo>
                    <a:pt x="0" y="115"/>
                  </a:moveTo>
                  <a:lnTo>
                    <a:pt x="0" y="0"/>
                  </a:lnTo>
                  <a:lnTo>
                    <a:pt x="114" y="56"/>
                  </a:lnTo>
                  <a:lnTo>
                    <a:pt x="0" y="115"/>
                  </a:lnTo>
                  <a:close/>
                </a:path>
              </a:pathLst>
            </a:custGeom>
            <a:solidFill>
              <a:srgbClr val="F5BD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sz="1799" dirty="0"/>
            </a:p>
          </p:txBody>
        </p:sp>
        <p:sp>
          <p:nvSpPr>
            <p:cNvPr id="83" name="Freeform 66">
              <a:extLst>
                <a:ext uri="{FF2B5EF4-FFF2-40B4-BE49-F238E27FC236}">
                  <a16:creationId xmlns:a16="http://schemas.microsoft.com/office/drawing/2014/main" id="{1DC9B690-90F9-4D30-9686-C8FB052CCFE4}"/>
                </a:ext>
              </a:extLst>
            </p:cNvPr>
            <p:cNvSpPr>
              <a:spLocks/>
            </p:cNvSpPr>
            <p:nvPr userDrawn="1"/>
          </p:nvSpPr>
          <p:spPr bwMode="gray">
            <a:xfrm flipH="1">
              <a:off x="11814440" y="6521155"/>
              <a:ext cx="510909" cy="515393"/>
            </a:xfrm>
            <a:custGeom>
              <a:avLst/>
              <a:gdLst>
                <a:gd name="T0" fmla="*/ 0 w 114"/>
                <a:gd name="T1" fmla="*/ 115 h 115"/>
                <a:gd name="T2" fmla="*/ 0 w 114"/>
                <a:gd name="T3" fmla="*/ 0 h 115"/>
                <a:gd name="T4" fmla="*/ 114 w 114"/>
                <a:gd name="T5" fmla="*/ 56 h 115"/>
                <a:gd name="T6" fmla="*/ 0 w 114"/>
                <a:gd name="T7" fmla="*/ 115 h 115"/>
              </a:gdLst>
              <a:ahLst/>
              <a:cxnLst>
                <a:cxn ang="0">
                  <a:pos x="T0" y="T1"/>
                </a:cxn>
                <a:cxn ang="0">
                  <a:pos x="T2" y="T3"/>
                </a:cxn>
                <a:cxn ang="0">
                  <a:pos x="T4" y="T5"/>
                </a:cxn>
                <a:cxn ang="0">
                  <a:pos x="T6" y="T7"/>
                </a:cxn>
              </a:cxnLst>
              <a:rect l="0" t="0" r="r" b="b"/>
              <a:pathLst>
                <a:path w="114" h="115">
                  <a:moveTo>
                    <a:pt x="0" y="115"/>
                  </a:moveTo>
                  <a:lnTo>
                    <a:pt x="0" y="0"/>
                  </a:lnTo>
                  <a:lnTo>
                    <a:pt x="114" y="56"/>
                  </a:lnTo>
                  <a:lnTo>
                    <a:pt x="0" y="115"/>
                  </a:lnTo>
                  <a:close/>
                </a:path>
              </a:pathLst>
            </a:custGeom>
            <a:solidFill>
              <a:srgbClr val="E86A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sz="1799" dirty="0"/>
            </a:p>
          </p:txBody>
        </p:sp>
      </p:grpSp>
    </p:spTree>
    <p:extLst>
      <p:ext uri="{BB962C8B-B14F-4D97-AF65-F5344CB8AC3E}">
        <p14:creationId xmlns:p14="http://schemas.microsoft.com/office/powerpoint/2010/main" val="2736609190"/>
      </p:ext>
    </p:extLst>
  </p:cSld>
  <p:clrMapOvr>
    <a:masterClrMapping/>
  </p:clrMapOvr>
  <p:extLst>
    <p:ext uri="{DCECCB84-F9BA-43D5-87BE-67443E8EF086}">
      <p15:sldGuideLst xmlns:p15="http://schemas.microsoft.com/office/powerpoint/2012/main"/>
    </p:ext>
  </p:extLst>
</p:sldLayout>
</file>

<file path=ppt/slideLayouts/slideLayout216.xml><?xml version="1.0" encoding="utf-8"?>
<p:sldLayout xmlns:a="http://schemas.openxmlformats.org/drawingml/2006/main" xmlns:r="http://schemas.openxmlformats.org/officeDocument/2006/relationships" xmlns:p="http://schemas.openxmlformats.org/presentationml/2006/main" showMasterSp="0">
  <p:cSld name="Title with picture">
    <p:spTree>
      <p:nvGrpSpPr>
        <p:cNvPr id="1" name=""/>
        <p:cNvGrpSpPr/>
        <p:nvPr/>
      </p:nvGrpSpPr>
      <p:grpSpPr>
        <a:xfrm>
          <a:off x="0" y="0"/>
          <a:ext cx="0" cy="0"/>
          <a:chOff x="0" y="0"/>
          <a:chExt cx="0" cy="0"/>
        </a:xfrm>
      </p:grpSpPr>
      <p:sp>
        <p:nvSpPr>
          <p:cNvPr id="12" name="Picture Placeholder 11"/>
          <p:cNvSpPr>
            <a:spLocks noGrp="1"/>
          </p:cNvSpPr>
          <p:nvPr>
            <p:ph type="pic" sz="quarter" idx="13" hasCustomPrompt="1"/>
          </p:nvPr>
        </p:nvSpPr>
        <p:spPr>
          <a:xfrm>
            <a:off x="3376226" y="0"/>
            <a:ext cx="8815775" cy="6858000"/>
          </a:xfrm>
          <a:custGeom>
            <a:avLst/>
            <a:gdLst>
              <a:gd name="connsiteX0" fmla="*/ 331042 w 8815774"/>
              <a:gd name="connsiteY0" fmla="*/ 0 h 6858000"/>
              <a:gd name="connsiteX1" fmla="*/ 8815774 w 8815774"/>
              <a:gd name="connsiteY1" fmla="*/ 0 h 6858000"/>
              <a:gd name="connsiteX2" fmla="*/ 8815774 w 8815774"/>
              <a:gd name="connsiteY2" fmla="*/ 6858000 h 6858000"/>
              <a:gd name="connsiteX3" fmla="*/ 0 w 8815774"/>
              <a:gd name="connsiteY3" fmla="*/ 6858000 h 6858000"/>
              <a:gd name="connsiteX4" fmla="*/ 1580491 w 8815774"/>
              <a:gd name="connsiteY4" fmla="*/ 4163677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15774" h="6858000">
                <a:moveTo>
                  <a:pt x="331042" y="0"/>
                </a:moveTo>
                <a:lnTo>
                  <a:pt x="8815774" y="0"/>
                </a:lnTo>
                <a:lnTo>
                  <a:pt x="8815774" y="6858000"/>
                </a:lnTo>
                <a:lnTo>
                  <a:pt x="0" y="6858000"/>
                </a:lnTo>
                <a:lnTo>
                  <a:pt x="1580491" y="4163677"/>
                </a:lnTo>
                <a:close/>
              </a:path>
            </a:pathLst>
          </a:custGeom>
          <a:solidFill>
            <a:srgbClr val="D9DADB"/>
          </a:solidFill>
        </p:spPr>
        <p:txBody>
          <a:bodyPr wrap="square">
            <a:noAutofit/>
          </a:bodyPr>
          <a:lstStyle>
            <a:lvl1pPr marL="0" indent="0" algn="ctr">
              <a:buNone/>
              <a:defRPr/>
            </a:lvl1pPr>
          </a:lstStyle>
          <a:p>
            <a:r>
              <a:rPr lang="en-US" dirty="0"/>
              <a:t>Insert picture</a:t>
            </a:r>
          </a:p>
        </p:txBody>
      </p:sp>
      <p:grpSp>
        <p:nvGrpSpPr>
          <p:cNvPr id="14" name="logo">
            <a:extLst>
              <a:ext uri="{FF2B5EF4-FFF2-40B4-BE49-F238E27FC236}">
                <a16:creationId xmlns:a16="http://schemas.microsoft.com/office/drawing/2014/main" id="{18C26D95-70F8-8A4D-9F18-DCCB92522AF8}"/>
              </a:ext>
            </a:extLst>
          </p:cNvPr>
          <p:cNvGrpSpPr/>
          <p:nvPr/>
        </p:nvGrpSpPr>
        <p:grpSpPr bwMode="gray">
          <a:xfrm>
            <a:off x="417365" y="407485"/>
            <a:ext cx="1518585" cy="646507"/>
            <a:chOff x="334963" y="296652"/>
            <a:chExt cx="1268411" cy="540000"/>
          </a:xfrm>
        </p:grpSpPr>
        <p:sp>
          <p:nvSpPr>
            <p:cNvPr id="17" name="Freeform 6">
              <a:extLst>
                <a:ext uri="{FF2B5EF4-FFF2-40B4-BE49-F238E27FC236}">
                  <a16:creationId xmlns:a16="http://schemas.microsoft.com/office/drawing/2014/main" id="{08737AD0-E375-E445-97E6-CD2E2DF60620}"/>
                </a:ext>
              </a:extLst>
            </p:cNvPr>
            <p:cNvSpPr>
              <a:spLocks noEditPoints="1"/>
            </p:cNvSpPr>
            <p:nvPr/>
          </p:nvSpPr>
          <p:spPr bwMode="gray">
            <a:xfrm>
              <a:off x="982662" y="360462"/>
              <a:ext cx="620712" cy="431800"/>
            </a:xfrm>
            <a:custGeom>
              <a:avLst/>
              <a:gdLst>
                <a:gd name="T0" fmla="*/ 19 w 1809"/>
                <a:gd name="T1" fmla="*/ 97 h 1253"/>
                <a:gd name="T2" fmla="*/ 165 w 1809"/>
                <a:gd name="T3" fmla="*/ 41 h 1253"/>
                <a:gd name="T4" fmla="*/ 211 w 1809"/>
                <a:gd name="T5" fmla="*/ 224 h 1253"/>
                <a:gd name="T6" fmla="*/ 248 w 1809"/>
                <a:gd name="T7" fmla="*/ 155 h 1253"/>
                <a:gd name="T8" fmla="*/ 931 w 1809"/>
                <a:gd name="T9" fmla="*/ 995 h 1253"/>
                <a:gd name="T10" fmla="*/ 858 w 1809"/>
                <a:gd name="T11" fmla="*/ 1115 h 1253"/>
                <a:gd name="T12" fmla="*/ 749 w 1809"/>
                <a:gd name="T13" fmla="*/ 1117 h 1253"/>
                <a:gd name="T14" fmla="*/ 681 w 1809"/>
                <a:gd name="T15" fmla="*/ 1055 h 1253"/>
                <a:gd name="T16" fmla="*/ 800 w 1809"/>
                <a:gd name="T17" fmla="*/ 1054 h 1253"/>
                <a:gd name="T18" fmla="*/ 884 w 1809"/>
                <a:gd name="T19" fmla="*/ 1181 h 1253"/>
                <a:gd name="T20" fmla="*/ 118 w 1809"/>
                <a:gd name="T21" fmla="*/ 1086 h 1253"/>
                <a:gd name="T22" fmla="*/ 147 w 1809"/>
                <a:gd name="T23" fmla="*/ 1026 h 1253"/>
                <a:gd name="T24" fmla="*/ 102 w 1809"/>
                <a:gd name="T25" fmla="*/ 1026 h 1253"/>
                <a:gd name="T26" fmla="*/ 639 w 1809"/>
                <a:gd name="T27" fmla="*/ 84 h 1253"/>
                <a:gd name="T28" fmla="*/ 763 w 1809"/>
                <a:gd name="T29" fmla="*/ 145 h 1253"/>
                <a:gd name="T30" fmla="*/ 863 w 1809"/>
                <a:gd name="T31" fmla="*/ 221 h 1253"/>
                <a:gd name="T32" fmla="*/ 834 w 1809"/>
                <a:gd name="T33" fmla="*/ 208 h 1253"/>
                <a:gd name="T34" fmla="*/ 719 w 1809"/>
                <a:gd name="T35" fmla="*/ 182 h 1253"/>
                <a:gd name="T36" fmla="*/ 507 w 1809"/>
                <a:gd name="T37" fmla="*/ 711 h 1253"/>
                <a:gd name="T38" fmla="*/ 614 w 1809"/>
                <a:gd name="T39" fmla="*/ 706 h 1253"/>
                <a:gd name="T40" fmla="*/ 736 w 1809"/>
                <a:gd name="T41" fmla="*/ 730 h 1253"/>
                <a:gd name="T42" fmla="*/ 607 w 1809"/>
                <a:gd name="T43" fmla="*/ 539 h 1253"/>
                <a:gd name="T44" fmla="*/ 1505 w 1809"/>
                <a:gd name="T45" fmla="*/ 1136 h 1253"/>
                <a:gd name="T46" fmla="*/ 1613 w 1809"/>
                <a:gd name="T47" fmla="*/ 1002 h 1253"/>
                <a:gd name="T48" fmla="*/ 1472 w 1809"/>
                <a:gd name="T49" fmla="*/ 1164 h 1253"/>
                <a:gd name="T50" fmla="*/ 1525 w 1809"/>
                <a:gd name="T51" fmla="*/ 1142 h 1253"/>
                <a:gd name="T52" fmla="*/ 1556 w 1809"/>
                <a:gd name="T53" fmla="*/ 1172 h 1253"/>
                <a:gd name="T54" fmla="*/ 1387 w 1809"/>
                <a:gd name="T55" fmla="*/ 910 h 1253"/>
                <a:gd name="T56" fmla="*/ 1261 w 1809"/>
                <a:gd name="T57" fmla="*/ 1157 h 1253"/>
                <a:gd name="T58" fmla="*/ 1413 w 1809"/>
                <a:gd name="T59" fmla="*/ 934 h 1253"/>
                <a:gd name="T60" fmla="*/ 1378 w 1809"/>
                <a:gd name="T61" fmla="*/ 1052 h 1253"/>
                <a:gd name="T62" fmla="*/ 488 w 1809"/>
                <a:gd name="T63" fmla="*/ 85 h 1253"/>
                <a:gd name="T64" fmla="*/ 509 w 1809"/>
                <a:gd name="T65" fmla="*/ 112 h 1253"/>
                <a:gd name="T66" fmla="*/ 548 w 1809"/>
                <a:gd name="T67" fmla="*/ 1187 h 1253"/>
                <a:gd name="T68" fmla="*/ 472 w 1809"/>
                <a:gd name="T69" fmla="*/ 1122 h 1253"/>
                <a:gd name="T70" fmla="*/ 558 w 1809"/>
                <a:gd name="T71" fmla="*/ 1157 h 1253"/>
                <a:gd name="T72" fmla="*/ 287 w 1809"/>
                <a:gd name="T73" fmla="*/ 654 h 1253"/>
                <a:gd name="T74" fmla="*/ 416 w 1809"/>
                <a:gd name="T75" fmla="*/ 684 h 1253"/>
                <a:gd name="T76" fmla="*/ 1106 w 1809"/>
                <a:gd name="T77" fmla="*/ 147 h 1253"/>
                <a:gd name="T78" fmla="*/ 1229 w 1809"/>
                <a:gd name="T79" fmla="*/ 258 h 1253"/>
                <a:gd name="T80" fmla="*/ 1106 w 1809"/>
                <a:gd name="T81" fmla="*/ 96 h 1253"/>
                <a:gd name="T82" fmla="*/ 1219 w 1809"/>
                <a:gd name="T83" fmla="*/ 1077 h 1253"/>
                <a:gd name="T84" fmla="*/ 1214 w 1809"/>
                <a:gd name="T85" fmla="*/ 1157 h 1253"/>
                <a:gd name="T86" fmla="*/ 1150 w 1809"/>
                <a:gd name="T87" fmla="*/ 1092 h 1253"/>
                <a:gd name="T88" fmla="*/ 1139 w 1809"/>
                <a:gd name="T89" fmla="*/ 1070 h 1253"/>
                <a:gd name="T90" fmla="*/ 1659 w 1809"/>
                <a:gd name="T91" fmla="*/ 1031 h 1253"/>
                <a:gd name="T92" fmla="*/ 1714 w 1809"/>
                <a:gd name="T93" fmla="*/ 1155 h 1253"/>
                <a:gd name="T94" fmla="*/ 1760 w 1809"/>
                <a:gd name="T95" fmla="*/ 1030 h 1253"/>
                <a:gd name="T96" fmla="*/ 111 w 1809"/>
                <a:gd name="T97" fmla="*/ 569 h 1253"/>
                <a:gd name="T98" fmla="*/ 109 w 1809"/>
                <a:gd name="T99" fmla="*/ 460 h 1253"/>
                <a:gd name="T100" fmla="*/ 32 w 1809"/>
                <a:gd name="T101" fmla="*/ 704 h 1253"/>
                <a:gd name="T102" fmla="*/ 310 w 1809"/>
                <a:gd name="T103" fmla="*/ 1058 h 1253"/>
                <a:gd name="T104" fmla="*/ 431 w 1809"/>
                <a:gd name="T105" fmla="*/ 1044 h 1253"/>
                <a:gd name="T106" fmla="*/ 278 w 1809"/>
                <a:gd name="T107" fmla="*/ 1165 h 1253"/>
                <a:gd name="T108" fmla="*/ 261 w 1809"/>
                <a:gd name="T109" fmla="*/ 540 h 1253"/>
                <a:gd name="T110" fmla="*/ 150 w 1809"/>
                <a:gd name="T111" fmla="*/ 635 h 1253"/>
                <a:gd name="T112" fmla="*/ 994 w 1809"/>
                <a:gd name="T113" fmla="*/ 1185 h 1253"/>
                <a:gd name="T114" fmla="*/ 331 w 1809"/>
                <a:gd name="T115" fmla="*/ 176 h 1253"/>
                <a:gd name="T116" fmla="*/ 333 w 1809"/>
                <a:gd name="T117" fmla="*/ 109 h 1253"/>
                <a:gd name="T118" fmla="*/ 946 w 1809"/>
                <a:gd name="T119" fmla="*/ 234 h 1253"/>
                <a:gd name="T120" fmla="*/ 1022 w 1809"/>
                <a:gd name="T121" fmla="*/ 113 h 1253"/>
                <a:gd name="T122" fmla="*/ 949 w 1809"/>
                <a:gd name="T123" fmla="*/ 65 h 1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09" h="1253">
                  <a:moveTo>
                    <a:pt x="248" y="198"/>
                  </a:moveTo>
                  <a:cubicBezTo>
                    <a:pt x="248" y="211"/>
                    <a:pt x="248" y="224"/>
                    <a:pt x="249" y="237"/>
                  </a:cubicBezTo>
                  <a:cubicBezTo>
                    <a:pt x="249" y="245"/>
                    <a:pt x="246" y="249"/>
                    <a:pt x="240" y="253"/>
                  </a:cubicBezTo>
                  <a:cubicBezTo>
                    <a:pt x="231" y="260"/>
                    <a:pt x="220" y="264"/>
                    <a:pt x="209" y="268"/>
                  </a:cubicBezTo>
                  <a:cubicBezTo>
                    <a:pt x="179" y="279"/>
                    <a:pt x="148" y="280"/>
                    <a:pt x="118" y="275"/>
                  </a:cubicBezTo>
                  <a:cubicBezTo>
                    <a:pt x="86" y="269"/>
                    <a:pt x="58" y="252"/>
                    <a:pt x="39" y="224"/>
                  </a:cubicBezTo>
                  <a:cubicBezTo>
                    <a:pt x="24" y="203"/>
                    <a:pt x="18" y="180"/>
                    <a:pt x="15" y="155"/>
                  </a:cubicBezTo>
                  <a:cubicBezTo>
                    <a:pt x="11" y="135"/>
                    <a:pt x="15" y="115"/>
                    <a:pt x="19" y="97"/>
                  </a:cubicBezTo>
                  <a:cubicBezTo>
                    <a:pt x="26" y="68"/>
                    <a:pt x="42" y="44"/>
                    <a:pt x="68" y="27"/>
                  </a:cubicBezTo>
                  <a:cubicBezTo>
                    <a:pt x="87" y="14"/>
                    <a:pt x="109" y="6"/>
                    <a:pt x="133" y="5"/>
                  </a:cubicBezTo>
                  <a:cubicBezTo>
                    <a:pt x="149" y="4"/>
                    <a:pt x="165" y="5"/>
                    <a:pt x="181" y="6"/>
                  </a:cubicBezTo>
                  <a:cubicBezTo>
                    <a:pt x="204" y="8"/>
                    <a:pt x="225" y="20"/>
                    <a:pt x="243" y="35"/>
                  </a:cubicBezTo>
                  <a:cubicBezTo>
                    <a:pt x="246" y="37"/>
                    <a:pt x="246" y="40"/>
                    <a:pt x="244" y="43"/>
                  </a:cubicBezTo>
                  <a:cubicBezTo>
                    <a:pt x="242" y="47"/>
                    <a:pt x="239" y="52"/>
                    <a:pt x="236" y="55"/>
                  </a:cubicBezTo>
                  <a:cubicBezTo>
                    <a:pt x="226" y="65"/>
                    <a:pt x="224" y="65"/>
                    <a:pt x="206" y="54"/>
                  </a:cubicBezTo>
                  <a:cubicBezTo>
                    <a:pt x="193" y="46"/>
                    <a:pt x="180" y="40"/>
                    <a:pt x="165" y="41"/>
                  </a:cubicBezTo>
                  <a:cubicBezTo>
                    <a:pt x="151" y="41"/>
                    <a:pt x="137" y="39"/>
                    <a:pt x="124" y="42"/>
                  </a:cubicBezTo>
                  <a:cubicBezTo>
                    <a:pt x="104" y="46"/>
                    <a:pt x="87" y="57"/>
                    <a:pt x="75" y="74"/>
                  </a:cubicBezTo>
                  <a:cubicBezTo>
                    <a:pt x="56" y="99"/>
                    <a:pt x="51" y="129"/>
                    <a:pt x="55" y="159"/>
                  </a:cubicBezTo>
                  <a:cubicBezTo>
                    <a:pt x="60" y="189"/>
                    <a:pt x="73" y="214"/>
                    <a:pt x="98" y="230"/>
                  </a:cubicBezTo>
                  <a:cubicBezTo>
                    <a:pt x="109" y="237"/>
                    <a:pt x="121" y="242"/>
                    <a:pt x="135" y="241"/>
                  </a:cubicBezTo>
                  <a:cubicBezTo>
                    <a:pt x="146" y="241"/>
                    <a:pt x="158" y="241"/>
                    <a:pt x="169" y="241"/>
                  </a:cubicBezTo>
                  <a:cubicBezTo>
                    <a:pt x="182" y="242"/>
                    <a:pt x="193" y="235"/>
                    <a:pt x="205" y="232"/>
                  </a:cubicBezTo>
                  <a:cubicBezTo>
                    <a:pt x="210" y="231"/>
                    <a:pt x="211" y="227"/>
                    <a:pt x="211" y="224"/>
                  </a:cubicBezTo>
                  <a:cubicBezTo>
                    <a:pt x="211" y="210"/>
                    <a:pt x="211" y="196"/>
                    <a:pt x="211" y="183"/>
                  </a:cubicBezTo>
                  <a:cubicBezTo>
                    <a:pt x="211" y="177"/>
                    <a:pt x="207" y="175"/>
                    <a:pt x="202" y="175"/>
                  </a:cubicBezTo>
                  <a:cubicBezTo>
                    <a:pt x="193" y="175"/>
                    <a:pt x="184" y="175"/>
                    <a:pt x="175" y="175"/>
                  </a:cubicBezTo>
                  <a:cubicBezTo>
                    <a:pt x="171" y="175"/>
                    <a:pt x="168" y="174"/>
                    <a:pt x="166" y="171"/>
                  </a:cubicBezTo>
                  <a:cubicBezTo>
                    <a:pt x="163" y="163"/>
                    <a:pt x="164" y="154"/>
                    <a:pt x="166" y="146"/>
                  </a:cubicBezTo>
                  <a:cubicBezTo>
                    <a:pt x="167" y="142"/>
                    <a:pt x="171" y="142"/>
                    <a:pt x="175" y="142"/>
                  </a:cubicBezTo>
                  <a:cubicBezTo>
                    <a:pt x="196" y="142"/>
                    <a:pt x="217" y="142"/>
                    <a:pt x="238" y="142"/>
                  </a:cubicBezTo>
                  <a:cubicBezTo>
                    <a:pt x="247" y="142"/>
                    <a:pt x="248" y="148"/>
                    <a:pt x="248" y="155"/>
                  </a:cubicBezTo>
                  <a:cubicBezTo>
                    <a:pt x="249" y="169"/>
                    <a:pt x="248" y="183"/>
                    <a:pt x="248" y="198"/>
                  </a:cubicBezTo>
                  <a:close/>
                  <a:moveTo>
                    <a:pt x="884" y="1181"/>
                  </a:moveTo>
                  <a:cubicBezTo>
                    <a:pt x="889" y="1167"/>
                    <a:pt x="894" y="1152"/>
                    <a:pt x="898" y="1137"/>
                  </a:cubicBezTo>
                  <a:cubicBezTo>
                    <a:pt x="901" y="1127"/>
                    <a:pt x="905" y="1116"/>
                    <a:pt x="908" y="1106"/>
                  </a:cubicBezTo>
                  <a:cubicBezTo>
                    <a:pt x="911" y="1098"/>
                    <a:pt x="912" y="1089"/>
                    <a:pt x="916" y="1081"/>
                  </a:cubicBezTo>
                  <a:cubicBezTo>
                    <a:pt x="921" y="1072"/>
                    <a:pt x="923" y="1060"/>
                    <a:pt x="927" y="1050"/>
                  </a:cubicBezTo>
                  <a:cubicBezTo>
                    <a:pt x="932" y="1037"/>
                    <a:pt x="934" y="1023"/>
                    <a:pt x="940" y="1010"/>
                  </a:cubicBezTo>
                  <a:cubicBezTo>
                    <a:pt x="945" y="1001"/>
                    <a:pt x="941" y="995"/>
                    <a:pt x="931" y="995"/>
                  </a:cubicBezTo>
                  <a:cubicBezTo>
                    <a:pt x="927" y="995"/>
                    <a:pt x="922" y="995"/>
                    <a:pt x="918" y="995"/>
                  </a:cubicBezTo>
                  <a:cubicBezTo>
                    <a:pt x="913" y="995"/>
                    <a:pt x="908" y="997"/>
                    <a:pt x="907" y="1001"/>
                  </a:cubicBezTo>
                  <a:cubicBezTo>
                    <a:pt x="904" y="1008"/>
                    <a:pt x="900" y="1015"/>
                    <a:pt x="899" y="1023"/>
                  </a:cubicBezTo>
                  <a:cubicBezTo>
                    <a:pt x="897" y="1034"/>
                    <a:pt x="893" y="1045"/>
                    <a:pt x="889" y="1055"/>
                  </a:cubicBezTo>
                  <a:cubicBezTo>
                    <a:pt x="887" y="1064"/>
                    <a:pt x="885" y="1072"/>
                    <a:pt x="882" y="1080"/>
                  </a:cubicBezTo>
                  <a:cubicBezTo>
                    <a:pt x="878" y="1091"/>
                    <a:pt x="874" y="1103"/>
                    <a:pt x="871" y="1115"/>
                  </a:cubicBezTo>
                  <a:cubicBezTo>
                    <a:pt x="870" y="1118"/>
                    <a:pt x="871" y="1124"/>
                    <a:pt x="866" y="1124"/>
                  </a:cubicBezTo>
                  <a:cubicBezTo>
                    <a:pt x="861" y="1125"/>
                    <a:pt x="859" y="1120"/>
                    <a:pt x="858" y="1115"/>
                  </a:cubicBezTo>
                  <a:cubicBezTo>
                    <a:pt x="856" y="1110"/>
                    <a:pt x="856" y="1104"/>
                    <a:pt x="854" y="1099"/>
                  </a:cubicBezTo>
                  <a:cubicBezTo>
                    <a:pt x="848" y="1080"/>
                    <a:pt x="841" y="1062"/>
                    <a:pt x="835" y="1044"/>
                  </a:cubicBezTo>
                  <a:cubicBezTo>
                    <a:pt x="831" y="1030"/>
                    <a:pt x="828" y="1016"/>
                    <a:pt x="822" y="1003"/>
                  </a:cubicBezTo>
                  <a:cubicBezTo>
                    <a:pt x="819" y="997"/>
                    <a:pt x="814" y="994"/>
                    <a:pt x="808" y="994"/>
                  </a:cubicBezTo>
                  <a:cubicBezTo>
                    <a:pt x="799" y="993"/>
                    <a:pt x="791" y="993"/>
                    <a:pt x="787" y="1001"/>
                  </a:cubicBezTo>
                  <a:cubicBezTo>
                    <a:pt x="783" y="1008"/>
                    <a:pt x="780" y="1015"/>
                    <a:pt x="779" y="1022"/>
                  </a:cubicBezTo>
                  <a:cubicBezTo>
                    <a:pt x="778" y="1034"/>
                    <a:pt x="772" y="1044"/>
                    <a:pt x="769" y="1055"/>
                  </a:cubicBezTo>
                  <a:cubicBezTo>
                    <a:pt x="762" y="1076"/>
                    <a:pt x="754" y="1096"/>
                    <a:pt x="749" y="1117"/>
                  </a:cubicBezTo>
                  <a:cubicBezTo>
                    <a:pt x="748" y="1120"/>
                    <a:pt x="747" y="1124"/>
                    <a:pt x="742" y="1124"/>
                  </a:cubicBezTo>
                  <a:cubicBezTo>
                    <a:pt x="737" y="1124"/>
                    <a:pt x="737" y="1120"/>
                    <a:pt x="736" y="1116"/>
                  </a:cubicBezTo>
                  <a:cubicBezTo>
                    <a:pt x="734" y="1104"/>
                    <a:pt x="730" y="1092"/>
                    <a:pt x="726" y="1080"/>
                  </a:cubicBezTo>
                  <a:cubicBezTo>
                    <a:pt x="720" y="1061"/>
                    <a:pt x="714" y="1040"/>
                    <a:pt x="708" y="1020"/>
                  </a:cubicBezTo>
                  <a:cubicBezTo>
                    <a:pt x="703" y="1000"/>
                    <a:pt x="698" y="994"/>
                    <a:pt x="676" y="995"/>
                  </a:cubicBezTo>
                  <a:cubicBezTo>
                    <a:pt x="665" y="996"/>
                    <a:pt x="661" y="1001"/>
                    <a:pt x="667" y="1011"/>
                  </a:cubicBezTo>
                  <a:cubicBezTo>
                    <a:pt x="669" y="1016"/>
                    <a:pt x="670" y="1021"/>
                    <a:pt x="672" y="1025"/>
                  </a:cubicBezTo>
                  <a:cubicBezTo>
                    <a:pt x="675" y="1035"/>
                    <a:pt x="678" y="1046"/>
                    <a:pt x="681" y="1055"/>
                  </a:cubicBezTo>
                  <a:cubicBezTo>
                    <a:pt x="685" y="1068"/>
                    <a:pt x="689" y="1080"/>
                    <a:pt x="693" y="1092"/>
                  </a:cubicBezTo>
                  <a:cubicBezTo>
                    <a:pt x="697" y="1103"/>
                    <a:pt x="699" y="1113"/>
                    <a:pt x="703" y="1124"/>
                  </a:cubicBezTo>
                  <a:cubicBezTo>
                    <a:pt x="707" y="1136"/>
                    <a:pt x="711" y="1147"/>
                    <a:pt x="715" y="1160"/>
                  </a:cubicBezTo>
                  <a:cubicBezTo>
                    <a:pt x="717" y="1168"/>
                    <a:pt x="720" y="1176"/>
                    <a:pt x="724" y="1183"/>
                  </a:cubicBezTo>
                  <a:cubicBezTo>
                    <a:pt x="728" y="1189"/>
                    <a:pt x="752" y="1185"/>
                    <a:pt x="757" y="1180"/>
                  </a:cubicBezTo>
                  <a:cubicBezTo>
                    <a:pt x="764" y="1173"/>
                    <a:pt x="762" y="1163"/>
                    <a:pt x="766" y="1156"/>
                  </a:cubicBezTo>
                  <a:cubicBezTo>
                    <a:pt x="774" y="1140"/>
                    <a:pt x="778" y="1122"/>
                    <a:pt x="784" y="1105"/>
                  </a:cubicBezTo>
                  <a:cubicBezTo>
                    <a:pt x="789" y="1088"/>
                    <a:pt x="796" y="1072"/>
                    <a:pt x="800" y="1054"/>
                  </a:cubicBezTo>
                  <a:cubicBezTo>
                    <a:pt x="800" y="1053"/>
                    <a:pt x="801" y="1050"/>
                    <a:pt x="803" y="1050"/>
                  </a:cubicBezTo>
                  <a:cubicBezTo>
                    <a:pt x="806" y="1050"/>
                    <a:pt x="806" y="1052"/>
                    <a:pt x="807" y="1055"/>
                  </a:cubicBezTo>
                  <a:cubicBezTo>
                    <a:pt x="807" y="1060"/>
                    <a:pt x="810" y="1066"/>
                    <a:pt x="811" y="1071"/>
                  </a:cubicBezTo>
                  <a:cubicBezTo>
                    <a:pt x="814" y="1081"/>
                    <a:pt x="818" y="1090"/>
                    <a:pt x="821" y="1099"/>
                  </a:cubicBezTo>
                  <a:cubicBezTo>
                    <a:pt x="824" y="1110"/>
                    <a:pt x="827" y="1120"/>
                    <a:pt x="831" y="1131"/>
                  </a:cubicBezTo>
                  <a:cubicBezTo>
                    <a:pt x="834" y="1142"/>
                    <a:pt x="839" y="1153"/>
                    <a:pt x="842" y="1164"/>
                  </a:cubicBezTo>
                  <a:cubicBezTo>
                    <a:pt x="846" y="1179"/>
                    <a:pt x="850" y="1188"/>
                    <a:pt x="869" y="1185"/>
                  </a:cubicBezTo>
                  <a:cubicBezTo>
                    <a:pt x="873" y="1184"/>
                    <a:pt x="881" y="1189"/>
                    <a:pt x="884" y="1181"/>
                  </a:cubicBezTo>
                  <a:close/>
                  <a:moveTo>
                    <a:pt x="33" y="1051"/>
                  </a:moveTo>
                  <a:cubicBezTo>
                    <a:pt x="33" y="1087"/>
                    <a:pt x="33" y="1124"/>
                    <a:pt x="33" y="1160"/>
                  </a:cubicBezTo>
                  <a:cubicBezTo>
                    <a:pt x="33" y="1188"/>
                    <a:pt x="29" y="1184"/>
                    <a:pt x="58" y="1185"/>
                  </a:cubicBezTo>
                  <a:cubicBezTo>
                    <a:pt x="72" y="1185"/>
                    <a:pt x="73" y="1184"/>
                    <a:pt x="73" y="1170"/>
                  </a:cubicBezTo>
                  <a:cubicBezTo>
                    <a:pt x="73" y="1138"/>
                    <a:pt x="73" y="1107"/>
                    <a:pt x="73" y="1076"/>
                  </a:cubicBezTo>
                  <a:cubicBezTo>
                    <a:pt x="73" y="1071"/>
                    <a:pt x="72" y="1067"/>
                    <a:pt x="78" y="1065"/>
                  </a:cubicBezTo>
                  <a:cubicBezTo>
                    <a:pt x="91" y="1062"/>
                    <a:pt x="102" y="1067"/>
                    <a:pt x="110" y="1076"/>
                  </a:cubicBezTo>
                  <a:cubicBezTo>
                    <a:pt x="112" y="1080"/>
                    <a:pt x="115" y="1083"/>
                    <a:pt x="118" y="1086"/>
                  </a:cubicBezTo>
                  <a:cubicBezTo>
                    <a:pt x="132" y="1103"/>
                    <a:pt x="146" y="1119"/>
                    <a:pt x="161" y="1136"/>
                  </a:cubicBezTo>
                  <a:cubicBezTo>
                    <a:pt x="173" y="1150"/>
                    <a:pt x="186" y="1165"/>
                    <a:pt x="198" y="1179"/>
                  </a:cubicBezTo>
                  <a:cubicBezTo>
                    <a:pt x="207" y="1188"/>
                    <a:pt x="218" y="1184"/>
                    <a:pt x="228" y="1185"/>
                  </a:cubicBezTo>
                  <a:cubicBezTo>
                    <a:pt x="233" y="1185"/>
                    <a:pt x="241" y="1188"/>
                    <a:pt x="244" y="1182"/>
                  </a:cubicBezTo>
                  <a:cubicBezTo>
                    <a:pt x="246" y="1178"/>
                    <a:pt x="239" y="1173"/>
                    <a:pt x="235" y="1169"/>
                  </a:cubicBezTo>
                  <a:cubicBezTo>
                    <a:pt x="206" y="1133"/>
                    <a:pt x="176" y="1098"/>
                    <a:pt x="146" y="1062"/>
                  </a:cubicBezTo>
                  <a:cubicBezTo>
                    <a:pt x="141" y="1056"/>
                    <a:pt x="131" y="1052"/>
                    <a:pt x="132" y="1044"/>
                  </a:cubicBezTo>
                  <a:cubicBezTo>
                    <a:pt x="132" y="1036"/>
                    <a:pt x="142" y="1032"/>
                    <a:pt x="147" y="1026"/>
                  </a:cubicBezTo>
                  <a:cubicBezTo>
                    <a:pt x="164" y="1006"/>
                    <a:pt x="182" y="988"/>
                    <a:pt x="198" y="968"/>
                  </a:cubicBezTo>
                  <a:cubicBezTo>
                    <a:pt x="209" y="954"/>
                    <a:pt x="221" y="942"/>
                    <a:pt x="234" y="929"/>
                  </a:cubicBezTo>
                  <a:cubicBezTo>
                    <a:pt x="236" y="926"/>
                    <a:pt x="238" y="923"/>
                    <a:pt x="237" y="920"/>
                  </a:cubicBezTo>
                  <a:cubicBezTo>
                    <a:pt x="235" y="915"/>
                    <a:pt x="231" y="917"/>
                    <a:pt x="228" y="917"/>
                  </a:cubicBezTo>
                  <a:cubicBezTo>
                    <a:pt x="224" y="918"/>
                    <a:pt x="221" y="918"/>
                    <a:pt x="217" y="918"/>
                  </a:cubicBezTo>
                  <a:cubicBezTo>
                    <a:pt x="204" y="917"/>
                    <a:pt x="193" y="922"/>
                    <a:pt x="185" y="931"/>
                  </a:cubicBezTo>
                  <a:cubicBezTo>
                    <a:pt x="172" y="946"/>
                    <a:pt x="158" y="961"/>
                    <a:pt x="145" y="977"/>
                  </a:cubicBezTo>
                  <a:cubicBezTo>
                    <a:pt x="131" y="993"/>
                    <a:pt x="117" y="1010"/>
                    <a:pt x="102" y="1026"/>
                  </a:cubicBezTo>
                  <a:cubicBezTo>
                    <a:pt x="96" y="1032"/>
                    <a:pt x="87" y="1037"/>
                    <a:pt x="78" y="1034"/>
                  </a:cubicBezTo>
                  <a:cubicBezTo>
                    <a:pt x="70" y="1030"/>
                    <a:pt x="73" y="1021"/>
                    <a:pt x="73" y="1015"/>
                  </a:cubicBezTo>
                  <a:cubicBezTo>
                    <a:pt x="73" y="991"/>
                    <a:pt x="73" y="967"/>
                    <a:pt x="73" y="944"/>
                  </a:cubicBezTo>
                  <a:cubicBezTo>
                    <a:pt x="73" y="916"/>
                    <a:pt x="75" y="917"/>
                    <a:pt x="46" y="918"/>
                  </a:cubicBezTo>
                  <a:cubicBezTo>
                    <a:pt x="33" y="918"/>
                    <a:pt x="33" y="918"/>
                    <a:pt x="33" y="931"/>
                  </a:cubicBezTo>
                  <a:cubicBezTo>
                    <a:pt x="33" y="971"/>
                    <a:pt x="33" y="1011"/>
                    <a:pt x="33" y="1051"/>
                  </a:cubicBezTo>
                  <a:cubicBezTo>
                    <a:pt x="33" y="1051"/>
                    <a:pt x="33" y="1051"/>
                    <a:pt x="33" y="1051"/>
                  </a:cubicBezTo>
                  <a:close/>
                  <a:moveTo>
                    <a:pt x="639" y="84"/>
                  </a:moveTo>
                  <a:cubicBezTo>
                    <a:pt x="627" y="84"/>
                    <a:pt x="626" y="84"/>
                    <a:pt x="629" y="95"/>
                  </a:cubicBezTo>
                  <a:cubicBezTo>
                    <a:pt x="634" y="113"/>
                    <a:pt x="640" y="131"/>
                    <a:pt x="646" y="148"/>
                  </a:cubicBezTo>
                  <a:cubicBezTo>
                    <a:pt x="652" y="166"/>
                    <a:pt x="658" y="185"/>
                    <a:pt x="664" y="203"/>
                  </a:cubicBezTo>
                  <a:cubicBezTo>
                    <a:pt x="671" y="223"/>
                    <a:pt x="676" y="244"/>
                    <a:pt x="684" y="264"/>
                  </a:cubicBezTo>
                  <a:cubicBezTo>
                    <a:pt x="688" y="274"/>
                    <a:pt x="694" y="274"/>
                    <a:pt x="702" y="274"/>
                  </a:cubicBezTo>
                  <a:cubicBezTo>
                    <a:pt x="711" y="274"/>
                    <a:pt x="719" y="272"/>
                    <a:pt x="723" y="263"/>
                  </a:cubicBezTo>
                  <a:cubicBezTo>
                    <a:pt x="733" y="236"/>
                    <a:pt x="741" y="208"/>
                    <a:pt x="750" y="181"/>
                  </a:cubicBezTo>
                  <a:cubicBezTo>
                    <a:pt x="754" y="169"/>
                    <a:pt x="757" y="156"/>
                    <a:pt x="763" y="145"/>
                  </a:cubicBezTo>
                  <a:cubicBezTo>
                    <a:pt x="764" y="143"/>
                    <a:pt x="764" y="140"/>
                    <a:pt x="767" y="140"/>
                  </a:cubicBezTo>
                  <a:cubicBezTo>
                    <a:pt x="770" y="140"/>
                    <a:pt x="770" y="143"/>
                    <a:pt x="771" y="145"/>
                  </a:cubicBezTo>
                  <a:cubicBezTo>
                    <a:pt x="771" y="156"/>
                    <a:pt x="777" y="165"/>
                    <a:pt x="780" y="175"/>
                  </a:cubicBezTo>
                  <a:cubicBezTo>
                    <a:pt x="782" y="184"/>
                    <a:pt x="785" y="193"/>
                    <a:pt x="788" y="201"/>
                  </a:cubicBezTo>
                  <a:cubicBezTo>
                    <a:pt x="794" y="219"/>
                    <a:pt x="801" y="237"/>
                    <a:pt x="806" y="255"/>
                  </a:cubicBezTo>
                  <a:cubicBezTo>
                    <a:pt x="811" y="272"/>
                    <a:pt x="825" y="280"/>
                    <a:pt x="842" y="273"/>
                  </a:cubicBezTo>
                  <a:cubicBezTo>
                    <a:pt x="845" y="271"/>
                    <a:pt x="847" y="269"/>
                    <a:pt x="848" y="266"/>
                  </a:cubicBezTo>
                  <a:cubicBezTo>
                    <a:pt x="853" y="251"/>
                    <a:pt x="859" y="236"/>
                    <a:pt x="863" y="221"/>
                  </a:cubicBezTo>
                  <a:cubicBezTo>
                    <a:pt x="867" y="202"/>
                    <a:pt x="875" y="185"/>
                    <a:pt x="880" y="166"/>
                  </a:cubicBezTo>
                  <a:cubicBezTo>
                    <a:pt x="886" y="144"/>
                    <a:pt x="895" y="123"/>
                    <a:pt x="900" y="101"/>
                  </a:cubicBezTo>
                  <a:cubicBezTo>
                    <a:pt x="901" y="96"/>
                    <a:pt x="909" y="91"/>
                    <a:pt x="904" y="86"/>
                  </a:cubicBezTo>
                  <a:cubicBezTo>
                    <a:pt x="900" y="81"/>
                    <a:pt x="892" y="84"/>
                    <a:pt x="886" y="84"/>
                  </a:cubicBezTo>
                  <a:cubicBezTo>
                    <a:pt x="885" y="84"/>
                    <a:pt x="883" y="84"/>
                    <a:pt x="881" y="84"/>
                  </a:cubicBezTo>
                  <a:cubicBezTo>
                    <a:pt x="875" y="84"/>
                    <a:pt x="872" y="86"/>
                    <a:pt x="869" y="91"/>
                  </a:cubicBezTo>
                  <a:cubicBezTo>
                    <a:pt x="860" y="110"/>
                    <a:pt x="856" y="131"/>
                    <a:pt x="850" y="151"/>
                  </a:cubicBezTo>
                  <a:cubicBezTo>
                    <a:pt x="844" y="170"/>
                    <a:pt x="836" y="188"/>
                    <a:pt x="834" y="208"/>
                  </a:cubicBezTo>
                  <a:cubicBezTo>
                    <a:pt x="833" y="211"/>
                    <a:pt x="831" y="214"/>
                    <a:pt x="827" y="214"/>
                  </a:cubicBezTo>
                  <a:cubicBezTo>
                    <a:pt x="823" y="214"/>
                    <a:pt x="822" y="210"/>
                    <a:pt x="822" y="207"/>
                  </a:cubicBezTo>
                  <a:cubicBezTo>
                    <a:pt x="817" y="188"/>
                    <a:pt x="811" y="170"/>
                    <a:pt x="805" y="152"/>
                  </a:cubicBezTo>
                  <a:cubicBezTo>
                    <a:pt x="799" y="133"/>
                    <a:pt x="794" y="114"/>
                    <a:pt x="786" y="96"/>
                  </a:cubicBezTo>
                  <a:cubicBezTo>
                    <a:pt x="783" y="87"/>
                    <a:pt x="779" y="84"/>
                    <a:pt x="770" y="84"/>
                  </a:cubicBezTo>
                  <a:cubicBezTo>
                    <a:pt x="761" y="84"/>
                    <a:pt x="752" y="82"/>
                    <a:pt x="748" y="94"/>
                  </a:cubicBezTo>
                  <a:cubicBezTo>
                    <a:pt x="744" y="109"/>
                    <a:pt x="738" y="123"/>
                    <a:pt x="734" y="138"/>
                  </a:cubicBezTo>
                  <a:cubicBezTo>
                    <a:pt x="729" y="153"/>
                    <a:pt x="724" y="167"/>
                    <a:pt x="719" y="182"/>
                  </a:cubicBezTo>
                  <a:cubicBezTo>
                    <a:pt x="716" y="192"/>
                    <a:pt x="715" y="203"/>
                    <a:pt x="708" y="212"/>
                  </a:cubicBezTo>
                  <a:cubicBezTo>
                    <a:pt x="707" y="214"/>
                    <a:pt x="707" y="217"/>
                    <a:pt x="704" y="217"/>
                  </a:cubicBezTo>
                  <a:cubicBezTo>
                    <a:pt x="701" y="217"/>
                    <a:pt x="701" y="213"/>
                    <a:pt x="700" y="211"/>
                  </a:cubicBezTo>
                  <a:cubicBezTo>
                    <a:pt x="699" y="198"/>
                    <a:pt x="694" y="186"/>
                    <a:pt x="690" y="174"/>
                  </a:cubicBezTo>
                  <a:cubicBezTo>
                    <a:pt x="684" y="153"/>
                    <a:pt x="677" y="131"/>
                    <a:pt x="672" y="110"/>
                  </a:cubicBezTo>
                  <a:cubicBezTo>
                    <a:pt x="667" y="88"/>
                    <a:pt x="663" y="84"/>
                    <a:pt x="645" y="84"/>
                  </a:cubicBezTo>
                  <a:cubicBezTo>
                    <a:pt x="643" y="84"/>
                    <a:pt x="641" y="84"/>
                    <a:pt x="639" y="84"/>
                  </a:cubicBezTo>
                  <a:close/>
                  <a:moveTo>
                    <a:pt x="507" y="711"/>
                  </a:moveTo>
                  <a:cubicBezTo>
                    <a:pt x="507" y="730"/>
                    <a:pt x="507" y="730"/>
                    <a:pt x="526" y="730"/>
                  </a:cubicBezTo>
                  <a:cubicBezTo>
                    <a:pt x="539" y="730"/>
                    <a:pt x="541" y="729"/>
                    <a:pt x="541" y="715"/>
                  </a:cubicBezTo>
                  <a:cubicBezTo>
                    <a:pt x="541" y="677"/>
                    <a:pt x="541" y="638"/>
                    <a:pt x="540" y="600"/>
                  </a:cubicBezTo>
                  <a:cubicBezTo>
                    <a:pt x="540" y="593"/>
                    <a:pt x="543" y="587"/>
                    <a:pt x="548" y="582"/>
                  </a:cubicBezTo>
                  <a:cubicBezTo>
                    <a:pt x="553" y="576"/>
                    <a:pt x="559" y="573"/>
                    <a:pt x="564" y="569"/>
                  </a:cubicBezTo>
                  <a:cubicBezTo>
                    <a:pt x="574" y="564"/>
                    <a:pt x="594" y="566"/>
                    <a:pt x="602" y="574"/>
                  </a:cubicBezTo>
                  <a:cubicBezTo>
                    <a:pt x="611" y="582"/>
                    <a:pt x="614" y="592"/>
                    <a:pt x="614" y="604"/>
                  </a:cubicBezTo>
                  <a:cubicBezTo>
                    <a:pt x="614" y="638"/>
                    <a:pt x="614" y="672"/>
                    <a:pt x="614" y="706"/>
                  </a:cubicBezTo>
                  <a:cubicBezTo>
                    <a:pt x="614" y="730"/>
                    <a:pt x="614" y="730"/>
                    <a:pt x="638" y="730"/>
                  </a:cubicBezTo>
                  <a:cubicBezTo>
                    <a:pt x="650" y="730"/>
                    <a:pt x="650" y="730"/>
                    <a:pt x="650" y="717"/>
                  </a:cubicBezTo>
                  <a:cubicBezTo>
                    <a:pt x="650" y="684"/>
                    <a:pt x="650" y="650"/>
                    <a:pt x="650" y="617"/>
                  </a:cubicBezTo>
                  <a:cubicBezTo>
                    <a:pt x="650" y="606"/>
                    <a:pt x="651" y="597"/>
                    <a:pt x="657" y="586"/>
                  </a:cubicBezTo>
                  <a:cubicBezTo>
                    <a:pt x="667" y="565"/>
                    <a:pt x="703" y="560"/>
                    <a:pt x="716" y="579"/>
                  </a:cubicBezTo>
                  <a:cubicBezTo>
                    <a:pt x="723" y="588"/>
                    <a:pt x="724" y="598"/>
                    <a:pt x="724" y="609"/>
                  </a:cubicBezTo>
                  <a:cubicBezTo>
                    <a:pt x="724" y="645"/>
                    <a:pt x="724" y="682"/>
                    <a:pt x="724" y="718"/>
                  </a:cubicBezTo>
                  <a:cubicBezTo>
                    <a:pt x="724" y="727"/>
                    <a:pt x="727" y="731"/>
                    <a:pt x="736" y="730"/>
                  </a:cubicBezTo>
                  <a:cubicBezTo>
                    <a:pt x="738" y="730"/>
                    <a:pt x="741" y="730"/>
                    <a:pt x="743" y="730"/>
                  </a:cubicBezTo>
                  <a:cubicBezTo>
                    <a:pt x="758" y="730"/>
                    <a:pt x="759" y="729"/>
                    <a:pt x="759" y="715"/>
                  </a:cubicBezTo>
                  <a:cubicBezTo>
                    <a:pt x="759" y="677"/>
                    <a:pt x="758" y="639"/>
                    <a:pt x="759" y="601"/>
                  </a:cubicBezTo>
                  <a:cubicBezTo>
                    <a:pt x="759" y="571"/>
                    <a:pt x="742" y="540"/>
                    <a:pt x="704" y="538"/>
                  </a:cubicBezTo>
                  <a:cubicBezTo>
                    <a:pt x="681" y="536"/>
                    <a:pt x="661" y="542"/>
                    <a:pt x="646" y="560"/>
                  </a:cubicBezTo>
                  <a:cubicBezTo>
                    <a:pt x="638" y="569"/>
                    <a:pt x="638" y="569"/>
                    <a:pt x="631" y="559"/>
                  </a:cubicBezTo>
                  <a:cubicBezTo>
                    <a:pt x="630" y="558"/>
                    <a:pt x="630" y="557"/>
                    <a:pt x="629" y="556"/>
                  </a:cubicBezTo>
                  <a:cubicBezTo>
                    <a:pt x="623" y="548"/>
                    <a:pt x="616" y="541"/>
                    <a:pt x="607" y="539"/>
                  </a:cubicBezTo>
                  <a:cubicBezTo>
                    <a:pt x="584" y="534"/>
                    <a:pt x="563" y="539"/>
                    <a:pt x="545" y="555"/>
                  </a:cubicBezTo>
                  <a:cubicBezTo>
                    <a:pt x="540" y="559"/>
                    <a:pt x="537" y="561"/>
                    <a:pt x="537" y="552"/>
                  </a:cubicBezTo>
                  <a:cubicBezTo>
                    <a:pt x="536" y="543"/>
                    <a:pt x="526" y="538"/>
                    <a:pt x="515" y="539"/>
                  </a:cubicBezTo>
                  <a:cubicBezTo>
                    <a:pt x="506" y="540"/>
                    <a:pt x="507" y="546"/>
                    <a:pt x="507" y="552"/>
                  </a:cubicBezTo>
                  <a:cubicBezTo>
                    <a:pt x="507" y="580"/>
                    <a:pt x="507" y="607"/>
                    <a:pt x="507" y="634"/>
                  </a:cubicBezTo>
                  <a:cubicBezTo>
                    <a:pt x="507" y="660"/>
                    <a:pt x="507" y="685"/>
                    <a:pt x="507" y="711"/>
                  </a:cubicBezTo>
                  <a:close/>
                  <a:moveTo>
                    <a:pt x="1525" y="1142"/>
                  </a:moveTo>
                  <a:cubicBezTo>
                    <a:pt x="1517" y="1143"/>
                    <a:pt x="1511" y="1141"/>
                    <a:pt x="1505" y="1136"/>
                  </a:cubicBezTo>
                  <a:cubicBezTo>
                    <a:pt x="1501" y="1133"/>
                    <a:pt x="1495" y="1130"/>
                    <a:pt x="1498" y="1124"/>
                  </a:cubicBezTo>
                  <a:cubicBezTo>
                    <a:pt x="1500" y="1118"/>
                    <a:pt x="1504" y="1114"/>
                    <a:pt x="1512" y="1114"/>
                  </a:cubicBezTo>
                  <a:cubicBezTo>
                    <a:pt x="1521" y="1115"/>
                    <a:pt x="1530" y="1114"/>
                    <a:pt x="1538" y="1115"/>
                  </a:cubicBezTo>
                  <a:cubicBezTo>
                    <a:pt x="1573" y="1117"/>
                    <a:pt x="1610" y="1084"/>
                    <a:pt x="1602" y="1044"/>
                  </a:cubicBezTo>
                  <a:cubicBezTo>
                    <a:pt x="1600" y="1035"/>
                    <a:pt x="1599" y="1028"/>
                    <a:pt x="1611" y="1027"/>
                  </a:cubicBezTo>
                  <a:cubicBezTo>
                    <a:pt x="1614" y="1027"/>
                    <a:pt x="1617" y="1024"/>
                    <a:pt x="1619" y="1023"/>
                  </a:cubicBezTo>
                  <a:cubicBezTo>
                    <a:pt x="1626" y="1019"/>
                    <a:pt x="1624" y="1013"/>
                    <a:pt x="1623" y="1008"/>
                  </a:cubicBezTo>
                  <a:cubicBezTo>
                    <a:pt x="1623" y="1002"/>
                    <a:pt x="1618" y="1003"/>
                    <a:pt x="1613" y="1002"/>
                  </a:cubicBezTo>
                  <a:cubicBezTo>
                    <a:pt x="1598" y="1002"/>
                    <a:pt x="1582" y="1004"/>
                    <a:pt x="1567" y="1000"/>
                  </a:cubicBezTo>
                  <a:cubicBezTo>
                    <a:pt x="1560" y="999"/>
                    <a:pt x="1554" y="993"/>
                    <a:pt x="1546" y="993"/>
                  </a:cubicBezTo>
                  <a:cubicBezTo>
                    <a:pt x="1536" y="994"/>
                    <a:pt x="1525" y="992"/>
                    <a:pt x="1515" y="993"/>
                  </a:cubicBezTo>
                  <a:cubicBezTo>
                    <a:pt x="1490" y="997"/>
                    <a:pt x="1469" y="1010"/>
                    <a:pt x="1462" y="1034"/>
                  </a:cubicBezTo>
                  <a:cubicBezTo>
                    <a:pt x="1455" y="1056"/>
                    <a:pt x="1457" y="1079"/>
                    <a:pt x="1476" y="1096"/>
                  </a:cubicBezTo>
                  <a:cubicBezTo>
                    <a:pt x="1483" y="1103"/>
                    <a:pt x="1483" y="1107"/>
                    <a:pt x="1476" y="1113"/>
                  </a:cubicBezTo>
                  <a:cubicBezTo>
                    <a:pt x="1462" y="1126"/>
                    <a:pt x="1462" y="1142"/>
                    <a:pt x="1473" y="1157"/>
                  </a:cubicBezTo>
                  <a:cubicBezTo>
                    <a:pt x="1476" y="1160"/>
                    <a:pt x="1476" y="1162"/>
                    <a:pt x="1472" y="1164"/>
                  </a:cubicBezTo>
                  <a:cubicBezTo>
                    <a:pt x="1470" y="1166"/>
                    <a:pt x="1468" y="1168"/>
                    <a:pt x="1466" y="1170"/>
                  </a:cubicBezTo>
                  <a:cubicBezTo>
                    <a:pt x="1449" y="1183"/>
                    <a:pt x="1444" y="1201"/>
                    <a:pt x="1454" y="1218"/>
                  </a:cubicBezTo>
                  <a:cubicBezTo>
                    <a:pt x="1464" y="1235"/>
                    <a:pt x="1479" y="1246"/>
                    <a:pt x="1499" y="1249"/>
                  </a:cubicBezTo>
                  <a:cubicBezTo>
                    <a:pt x="1517" y="1252"/>
                    <a:pt x="1535" y="1253"/>
                    <a:pt x="1553" y="1250"/>
                  </a:cubicBezTo>
                  <a:cubicBezTo>
                    <a:pt x="1584" y="1245"/>
                    <a:pt x="1607" y="1232"/>
                    <a:pt x="1619" y="1200"/>
                  </a:cubicBezTo>
                  <a:cubicBezTo>
                    <a:pt x="1627" y="1180"/>
                    <a:pt x="1611" y="1155"/>
                    <a:pt x="1593" y="1148"/>
                  </a:cubicBezTo>
                  <a:cubicBezTo>
                    <a:pt x="1578" y="1142"/>
                    <a:pt x="1563" y="1143"/>
                    <a:pt x="1549" y="1142"/>
                  </a:cubicBezTo>
                  <a:cubicBezTo>
                    <a:pt x="1540" y="1142"/>
                    <a:pt x="1532" y="1142"/>
                    <a:pt x="1525" y="1142"/>
                  </a:cubicBezTo>
                  <a:close/>
                  <a:moveTo>
                    <a:pt x="1556" y="1172"/>
                  </a:moveTo>
                  <a:cubicBezTo>
                    <a:pt x="1566" y="1172"/>
                    <a:pt x="1576" y="1176"/>
                    <a:pt x="1583" y="1183"/>
                  </a:cubicBezTo>
                  <a:cubicBezTo>
                    <a:pt x="1589" y="1190"/>
                    <a:pt x="1589" y="1198"/>
                    <a:pt x="1583" y="1205"/>
                  </a:cubicBezTo>
                  <a:cubicBezTo>
                    <a:pt x="1575" y="1215"/>
                    <a:pt x="1565" y="1220"/>
                    <a:pt x="1553" y="1223"/>
                  </a:cubicBezTo>
                  <a:cubicBezTo>
                    <a:pt x="1534" y="1228"/>
                    <a:pt x="1516" y="1225"/>
                    <a:pt x="1499" y="1219"/>
                  </a:cubicBezTo>
                  <a:cubicBezTo>
                    <a:pt x="1486" y="1214"/>
                    <a:pt x="1479" y="1203"/>
                    <a:pt x="1482" y="1193"/>
                  </a:cubicBezTo>
                  <a:cubicBezTo>
                    <a:pt x="1485" y="1182"/>
                    <a:pt x="1496" y="1168"/>
                    <a:pt x="1514" y="1171"/>
                  </a:cubicBezTo>
                  <a:cubicBezTo>
                    <a:pt x="1526" y="1173"/>
                    <a:pt x="1541" y="1171"/>
                    <a:pt x="1556" y="1172"/>
                  </a:cubicBezTo>
                  <a:close/>
                  <a:moveTo>
                    <a:pt x="1531" y="1019"/>
                  </a:moveTo>
                  <a:cubicBezTo>
                    <a:pt x="1553" y="1017"/>
                    <a:pt x="1570" y="1033"/>
                    <a:pt x="1570" y="1052"/>
                  </a:cubicBezTo>
                  <a:cubicBezTo>
                    <a:pt x="1570" y="1075"/>
                    <a:pt x="1554" y="1093"/>
                    <a:pt x="1532" y="1091"/>
                  </a:cubicBezTo>
                  <a:cubicBezTo>
                    <a:pt x="1508" y="1089"/>
                    <a:pt x="1494" y="1082"/>
                    <a:pt x="1493" y="1053"/>
                  </a:cubicBezTo>
                  <a:cubicBezTo>
                    <a:pt x="1494" y="1029"/>
                    <a:pt x="1508" y="1020"/>
                    <a:pt x="1531" y="1019"/>
                  </a:cubicBezTo>
                  <a:close/>
                  <a:moveTo>
                    <a:pt x="1413" y="934"/>
                  </a:moveTo>
                  <a:cubicBezTo>
                    <a:pt x="1413" y="909"/>
                    <a:pt x="1413" y="909"/>
                    <a:pt x="1389" y="910"/>
                  </a:cubicBezTo>
                  <a:cubicBezTo>
                    <a:pt x="1388" y="910"/>
                    <a:pt x="1387" y="910"/>
                    <a:pt x="1387" y="910"/>
                  </a:cubicBezTo>
                  <a:cubicBezTo>
                    <a:pt x="1379" y="910"/>
                    <a:pt x="1376" y="915"/>
                    <a:pt x="1376" y="921"/>
                  </a:cubicBezTo>
                  <a:cubicBezTo>
                    <a:pt x="1376" y="939"/>
                    <a:pt x="1377" y="956"/>
                    <a:pt x="1377" y="974"/>
                  </a:cubicBezTo>
                  <a:cubicBezTo>
                    <a:pt x="1377" y="983"/>
                    <a:pt x="1377" y="991"/>
                    <a:pt x="1377" y="1000"/>
                  </a:cubicBezTo>
                  <a:cubicBezTo>
                    <a:pt x="1377" y="1005"/>
                    <a:pt x="1374" y="1009"/>
                    <a:pt x="1369" y="1005"/>
                  </a:cubicBezTo>
                  <a:cubicBezTo>
                    <a:pt x="1352" y="990"/>
                    <a:pt x="1332" y="993"/>
                    <a:pt x="1312" y="993"/>
                  </a:cubicBezTo>
                  <a:cubicBezTo>
                    <a:pt x="1303" y="994"/>
                    <a:pt x="1294" y="998"/>
                    <a:pt x="1287" y="1003"/>
                  </a:cubicBezTo>
                  <a:cubicBezTo>
                    <a:pt x="1265" y="1017"/>
                    <a:pt x="1252" y="1039"/>
                    <a:pt x="1248" y="1065"/>
                  </a:cubicBezTo>
                  <a:cubicBezTo>
                    <a:pt x="1244" y="1096"/>
                    <a:pt x="1244" y="1128"/>
                    <a:pt x="1261" y="1157"/>
                  </a:cubicBezTo>
                  <a:cubicBezTo>
                    <a:pt x="1270" y="1170"/>
                    <a:pt x="1281" y="1181"/>
                    <a:pt x="1296" y="1185"/>
                  </a:cubicBezTo>
                  <a:cubicBezTo>
                    <a:pt x="1323" y="1191"/>
                    <a:pt x="1349" y="1188"/>
                    <a:pt x="1370" y="1167"/>
                  </a:cubicBezTo>
                  <a:cubicBezTo>
                    <a:pt x="1372" y="1165"/>
                    <a:pt x="1375" y="1162"/>
                    <a:pt x="1379" y="1163"/>
                  </a:cubicBezTo>
                  <a:cubicBezTo>
                    <a:pt x="1382" y="1165"/>
                    <a:pt x="1381" y="1169"/>
                    <a:pt x="1381" y="1172"/>
                  </a:cubicBezTo>
                  <a:cubicBezTo>
                    <a:pt x="1383" y="1181"/>
                    <a:pt x="1390" y="1186"/>
                    <a:pt x="1403" y="1186"/>
                  </a:cubicBezTo>
                  <a:cubicBezTo>
                    <a:pt x="1413" y="1185"/>
                    <a:pt x="1413" y="1178"/>
                    <a:pt x="1413" y="1172"/>
                  </a:cubicBezTo>
                  <a:cubicBezTo>
                    <a:pt x="1413" y="1131"/>
                    <a:pt x="1413" y="1090"/>
                    <a:pt x="1413" y="1049"/>
                  </a:cubicBezTo>
                  <a:cubicBezTo>
                    <a:pt x="1413" y="1010"/>
                    <a:pt x="1413" y="972"/>
                    <a:pt x="1413" y="934"/>
                  </a:cubicBezTo>
                  <a:close/>
                  <a:moveTo>
                    <a:pt x="1378" y="1113"/>
                  </a:moveTo>
                  <a:cubicBezTo>
                    <a:pt x="1378" y="1136"/>
                    <a:pt x="1360" y="1155"/>
                    <a:pt x="1337" y="1157"/>
                  </a:cubicBezTo>
                  <a:cubicBezTo>
                    <a:pt x="1319" y="1159"/>
                    <a:pt x="1304" y="1154"/>
                    <a:pt x="1294" y="1139"/>
                  </a:cubicBezTo>
                  <a:cubicBezTo>
                    <a:pt x="1286" y="1128"/>
                    <a:pt x="1283" y="1116"/>
                    <a:pt x="1283" y="1102"/>
                  </a:cubicBezTo>
                  <a:cubicBezTo>
                    <a:pt x="1282" y="1085"/>
                    <a:pt x="1282" y="1067"/>
                    <a:pt x="1290" y="1051"/>
                  </a:cubicBezTo>
                  <a:cubicBezTo>
                    <a:pt x="1297" y="1036"/>
                    <a:pt x="1308" y="1024"/>
                    <a:pt x="1325" y="1022"/>
                  </a:cubicBezTo>
                  <a:cubicBezTo>
                    <a:pt x="1342" y="1020"/>
                    <a:pt x="1358" y="1021"/>
                    <a:pt x="1371" y="1035"/>
                  </a:cubicBezTo>
                  <a:cubicBezTo>
                    <a:pt x="1376" y="1041"/>
                    <a:pt x="1378" y="1046"/>
                    <a:pt x="1378" y="1052"/>
                  </a:cubicBezTo>
                  <a:cubicBezTo>
                    <a:pt x="1378" y="1064"/>
                    <a:pt x="1378" y="1075"/>
                    <a:pt x="1378" y="1086"/>
                  </a:cubicBezTo>
                  <a:cubicBezTo>
                    <a:pt x="1378" y="1086"/>
                    <a:pt x="1378" y="1086"/>
                    <a:pt x="1378" y="1086"/>
                  </a:cubicBezTo>
                  <a:cubicBezTo>
                    <a:pt x="1378" y="1095"/>
                    <a:pt x="1378" y="1104"/>
                    <a:pt x="1378" y="1113"/>
                  </a:cubicBezTo>
                  <a:close/>
                  <a:moveTo>
                    <a:pt x="578" y="259"/>
                  </a:moveTo>
                  <a:cubicBezTo>
                    <a:pt x="603" y="241"/>
                    <a:pt x="611" y="213"/>
                    <a:pt x="614" y="183"/>
                  </a:cubicBezTo>
                  <a:cubicBezTo>
                    <a:pt x="615" y="171"/>
                    <a:pt x="610" y="159"/>
                    <a:pt x="609" y="147"/>
                  </a:cubicBezTo>
                  <a:cubicBezTo>
                    <a:pt x="608" y="137"/>
                    <a:pt x="603" y="129"/>
                    <a:pt x="599" y="121"/>
                  </a:cubicBezTo>
                  <a:cubicBezTo>
                    <a:pt x="579" y="87"/>
                    <a:pt x="527" y="70"/>
                    <a:pt x="488" y="85"/>
                  </a:cubicBezTo>
                  <a:cubicBezTo>
                    <a:pt x="453" y="99"/>
                    <a:pt x="436" y="127"/>
                    <a:pt x="431" y="163"/>
                  </a:cubicBezTo>
                  <a:cubicBezTo>
                    <a:pt x="429" y="180"/>
                    <a:pt x="430" y="196"/>
                    <a:pt x="436" y="213"/>
                  </a:cubicBezTo>
                  <a:cubicBezTo>
                    <a:pt x="439" y="222"/>
                    <a:pt x="442" y="232"/>
                    <a:pt x="447" y="239"/>
                  </a:cubicBezTo>
                  <a:cubicBezTo>
                    <a:pt x="465" y="265"/>
                    <a:pt x="491" y="277"/>
                    <a:pt x="525" y="276"/>
                  </a:cubicBezTo>
                  <a:cubicBezTo>
                    <a:pt x="543" y="278"/>
                    <a:pt x="562" y="271"/>
                    <a:pt x="578" y="259"/>
                  </a:cubicBezTo>
                  <a:close/>
                  <a:moveTo>
                    <a:pt x="471" y="205"/>
                  </a:moveTo>
                  <a:cubicBezTo>
                    <a:pt x="466" y="185"/>
                    <a:pt x="468" y="167"/>
                    <a:pt x="472" y="147"/>
                  </a:cubicBezTo>
                  <a:cubicBezTo>
                    <a:pt x="477" y="130"/>
                    <a:pt x="493" y="116"/>
                    <a:pt x="509" y="112"/>
                  </a:cubicBezTo>
                  <a:cubicBezTo>
                    <a:pt x="525" y="108"/>
                    <a:pt x="539" y="110"/>
                    <a:pt x="553" y="119"/>
                  </a:cubicBezTo>
                  <a:cubicBezTo>
                    <a:pt x="563" y="125"/>
                    <a:pt x="568" y="135"/>
                    <a:pt x="571" y="146"/>
                  </a:cubicBezTo>
                  <a:cubicBezTo>
                    <a:pt x="577" y="167"/>
                    <a:pt x="578" y="189"/>
                    <a:pt x="571" y="211"/>
                  </a:cubicBezTo>
                  <a:cubicBezTo>
                    <a:pt x="565" y="231"/>
                    <a:pt x="549" y="249"/>
                    <a:pt x="521" y="247"/>
                  </a:cubicBezTo>
                  <a:cubicBezTo>
                    <a:pt x="496" y="247"/>
                    <a:pt x="478" y="230"/>
                    <a:pt x="471" y="205"/>
                  </a:cubicBezTo>
                  <a:close/>
                  <a:moveTo>
                    <a:pt x="472" y="1122"/>
                  </a:moveTo>
                  <a:cubicBezTo>
                    <a:pt x="475" y="1136"/>
                    <a:pt x="481" y="1148"/>
                    <a:pt x="491" y="1158"/>
                  </a:cubicBezTo>
                  <a:cubicBezTo>
                    <a:pt x="506" y="1176"/>
                    <a:pt x="524" y="1185"/>
                    <a:pt x="548" y="1187"/>
                  </a:cubicBezTo>
                  <a:cubicBezTo>
                    <a:pt x="568" y="1188"/>
                    <a:pt x="587" y="1187"/>
                    <a:pt x="605" y="1177"/>
                  </a:cubicBezTo>
                  <a:cubicBezTo>
                    <a:pt x="632" y="1162"/>
                    <a:pt x="644" y="1136"/>
                    <a:pt x="649" y="1107"/>
                  </a:cubicBezTo>
                  <a:cubicBezTo>
                    <a:pt x="652" y="1089"/>
                    <a:pt x="649" y="1072"/>
                    <a:pt x="644" y="1054"/>
                  </a:cubicBezTo>
                  <a:cubicBezTo>
                    <a:pt x="638" y="1034"/>
                    <a:pt x="627" y="1019"/>
                    <a:pt x="610" y="1007"/>
                  </a:cubicBezTo>
                  <a:cubicBezTo>
                    <a:pt x="589" y="992"/>
                    <a:pt x="566" y="991"/>
                    <a:pt x="541" y="994"/>
                  </a:cubicBezTo>
                  <a:cubicBezTo>
                    <a:pt x="526" y="995"/>
                    <a:pt x="512" y="1002"/>
                    <a:pt x="500" y="1012"/>
                  </a:cubicBezTo>
                  <a:cubicBezTo>
                    <a:pt x="476" y="1032"/>
                    <a:pt x="469" y="1060"/>
                    <a:pt x="466" y="1095"/>
                  </a:cubicBezTo>
                  <a:cubicBezTo>
                    <a:pt x="465" y="1101"/>
                    <a:pt x="470" y="1111"/>
                    <a:pt x="472" y="1122"/>
                  </a:cubicBezTo>
                  <a:close/>
                  <a:moveTo>
                    <a:pt x="508" y="1113"/>
                  </a:moveTo>
                  <a:cubicBezTo>
                    <a:pt x="505" y="1095"/>
                    <a:pt x="506" y="1078"/>
                    <a:pt x="508" y="1061"/>
                  </a:cubicBezTo>
                  <a:cubicBezTo>
                    <a:pt x="511" y="1042"/>
                    <a:pt x="538" y="1021"/>
                    <a:pt x="554" y="1022"/>
                  </a:cubicBezTo>
                  <a:cubicBezTo>
                    <a:pt x="570" y="1022"/>
                    <a:pt x="586" y="1024"/>
                    <a:pt x="596" y="1037"/>
                  </a:cubicBezTo>
                  <a:cubicBezTo>
                    <a:pt x="602" y="1044"/>
                    <a:pt x="607" y="1052"/>
                    <a:pt x="608" y="1061"/>
                  </a:cubicBezTo>
                  <a:cubicBezTo>
                    <a:pt x="608" y="1064"/>
                    <a:pt x="609" y="1067"/>
                    <a:pt x="610" y="1070"/>
                  </a:cubicBezTo>
                  <a:cubicBezTo>
                    <a:pt x="618" y="1089"/>
                    <a:pt x="612" y="1107"/>
                    <a:pt x="607" y="1125"/>
                  </a:cubicBezTo>
                  <a:cubicBezTo>
                    <a:pt x="601" y="1143"/>
                    <a:pt x="588" y="1160"/>
                    <a:pt x="558" y="1157"/>
                  </a:cubicBezTo>
                  <a:cubicBezTo>
                    <a:pt x="530" y="1157"/>
                    <a:pt x="512" y="1141"/>
                    <a:pt x="508" y="1113"/>
                  </a:cubicBezTo>
                  <a:close/>
                  <a:moveTo>
                    <a:pt x="430" y="716"/>
                  </a:moveTo>
                  <a:cubicBezTo>
                    <a:pt x="450" y="703"/>
                    <a:pt x="459" y="683"/>
                    <a:pt x="464" y="661"/>
                  </a:cubicBezTo>
                  <a:cubicBezTo>
                    <a:pt x="468" y="648"/>
                    <a:pt x="467" y="635"/>
                    <a:pt x="466" y="621"/>
                  </a:cubicBezTo>
                  <a:cubicBezTo>
                    <a:pt x="463" y="592"/>
                    <a:pt x="453" y="567"/>
                    <a:pt x="427" y="550"/>
                  </a:cubicBezTo>
                  <a:cubicBezTo>
                    <a:pt x="401" y="534"/>
                    <a:pt x="372" y="532"/>
                    <a:pt x="345" y="541"/>
                  </a:cubicBezTo>
                  <a:cubicBezTo>
                    <a:pt x="310" y="552"/>
                    <a:pt x="291" y="580"/>
                    <a:pt x="287" y="617"/>
                  </a:cubicBezTo>
                  <a:cubicBezTo>
                    <a:pt x="286" y="629"/>
                    <a:pt x="286" y="641"/>
                    <a:pt x="287" y="654"/>
                  </a:cubicBezTo>
                  <a:cubicBezTo>
                    <a:pt x="289" y="671"/>
                    <a:pt x="295" y="686"/>
                    <a:pt x="306" y="700"/>
                  </a:cubicBezTo>
                  <a:cubicBezTo>
                    <a:pt x="324" y="722"/>
                    <a:pt x="348" y="733"/>
                    <a:pt x="378" y="731"/>
                  </a:cubicBezTo>
                  <a:cubicBezTo>
                    <a:pt x="396" y="733"/>
                    <a:pt x="414" y="727"/>
                    <a:pt x="430" y="716"/>
                  </a:cubicBezTo>
                  <a:close/>
                  <a:moveTo>
                    <a:pt x="331" y="592"/>
                  </a:moveTo>
                  <a:cubicBezTo>
                    <a:pt x="339" y="580"/>
                    <a:pt x="349" y="569"/>
                    <a:pt x="365" y="567"/>
                  </a:cubicBezTo>
                  <a:cubicBezTo>
                    <a:pt x="387" y="564"/>
                    <a:pt x="406" y="568"/>
                    <a:pt x="419" y="588"/>
                  </a:cubicBezTo>
                  <a:cubicBezTo>
                    <a:pt x="423" y="595"/>
                    <a:pt x="426" y="603"/>
                    <a:pt x="427" y="610"/>
                  </a:cubicBezTo>
                  <a:cubicBezTo>
                    <a:pt x="433" y="635"/>
                    <a:pt x="431" y="661"/>
                    <a:pt x="416" y="684"/>
                  </a:cubicBezTo>
                  <a:cubicBezTo>
                    <a:pt x="403" y="706"/>
                    <a:pt x="362" y="708"/>
                    <a:pt x="345" y="692"/>
                  </a:cubicBezTo>
                  <a:cubicBezTo>
                    <a:pt x="329" y="678"/>
                    <a:pt x="323" y="661"/>
                    <a:pt x="323" y="631"/>
                  </a:cubicBezTo>
                  <a:cubicBezTo>
                    <a:pt x="323" y="619"/>
                    <a:pt x="323" y="605"/>
                    <a:pt x="331" y="592"/>
                  </a:cubicBezTo>
                  <a:close/>
                  <a:moveTo>
                    <a:pt x="1073" y="259"/>
                  </a:moveTo>
                  <a:cubicBezTo>
                    <a:pt x="1073" y="269"/>
                    <a:pt x="1075" y="272"/>
                    <a:pt x="1086" y="272"/>
                  </a:cubicBezTo>
                  <a:cubicBezTo>
                    <a:pt x="1088" y="272"/>
                    <a:pt x="1090" y="272"/>
                    <a:pt x="1092" y="272"/>
                  </a:cubicBezTo>
                  <a:cubicBezTo>
                    <a:pt x="1105" y="272"/>
                    <a:pt x="1106" y="271"/>
                    <a:pt x="1106" y="258"/>
                  </a:cubicBezTo>
                  <a:cubicBezTo>
                    <a:pt x="1106" y="221"/>
                    <a:pt x="1106" y="184"/>
                    <a:pt x="1106" y="147"/>
                  </a:cubicBezTo>
                  <a:cubicBezTo>
                    <a:pt x="1106" y="143"/>
                    <a:pt x="1106" y="140"/>
                    <a:pt x="1107" y="137"/>
                  </a:cubicBezTo>
                  <a:cubicBezTo>
                    <a:pt x="1117" y="117"/>
                    <a:pt x="1157" y="104"/>
                    <a:pt x="1177" y="114"/>
                  </a:cubicBezTo>
                  <a:cubicBezTo>
                    <a:pt x="1179" y="115"/>
                    <a:pt x="1180" y="117"/>
                    <a:pt x="1182" y="118"/>
                  </a:cubicBezTo>
                  <a:cubicBezTo>
                    <a:pt x="1194" y="131"/>
                    <a:pt x="1196" y="147"/>
                    <a:pt x="1196" y="163"/>
                  </a:cubicBezTo>
                  <a:cubicBezTo>
                    <a:pt x="1197" y="195"/>
                    <a:pt x="1196" y="226"/>
                    <a:pt x="1196" y="258"/>
                  </a:cubicBezTo>
                  <a:cubicBezTo>
                    <a:pt x="1196" y="271"/>
                    <a:pt x="1197" y="272"/>
                    <a:pt x="1210" y="272"/>
                  </a:cubicBezTo>
                  <a:cubicBezTo>
                    <a:pt x="1212" y="272"/>
                    <a:pt x="1213" y="272"/>
                    <a:pt x="1215" y="272"/>
                  </a:cubicBezTo>
                  <a:cubicBezTo>
                    <a:pt x="1227" y="272"/>
                    <a:pt x="1229" y="270"/>
                    <a:pt x="1229" y="258"/>
                  </a:cubicBezTo>
                  <a:cubicBezTo>
                    <a:pt x="1229" y="222"/>
                    <a:pt x="1229" y="187"/>
                    <a:pt x="1229" y="151"/>
                  </a:cubicBezTo>
                  <a:cubicBezTo>
                    <a:pt x="1229" y="142"/>
                    <a:pt x="1228" y="132"/>
                    <a:pt x="1225" y="123"/>
                  </a:cubicBezTo>
                  <a:cubicBezTo>
                    <a:pt x="1219" y="105"/>
                    <a:pt x="1208" y="91"/>
                    <a:pt x="1189" y="85"/>
                  </a:cubicBezTo>
                  <a:cubicBezTo>
                    <a:pt x="1173" y="80"/>
                    <a:pt x="1156" y="84"/>
                    <a:pt x="1139" y="84"/>
                  </a:cubicBezTo>
                  <a:cubicBezTo>
                    <a:pt x="1137" y="84"/>
                    <a:pt x="1136" y="86"/>
                    <a:pt x="1134" y="87"/>
                  </a:cubicBezTo>
                  <a:cubicBezTo>
                    <a:pt x="1128" y="91"/>
                    <a:pt x="1121" y="96"/>
                    <a:pt x="1115" y="100"/>
                  </a:cubicBezTo>
                  <a:cubicBezTo>
                    <a:pt x="1113" y="102"/>
                    <a:pt x="1111" y="105"/>
                    <a:pt x="1108" y="103"/>
                  </a:cubicBezTo>
                  <a:cubicBezTo>
                    <a:pt x="1105" y="102"/>
                    <a:pt x="1106" y="98"/>
                    <a:pt x="1106" y="96"/>
                  </a:cubicBezTo>
                  <a:cubicBezTo>
                    <a:pt x="1106" y="69"/>
                    <a:pt x="1106" y="43"/>
                    <a:pt x="1106" y="17"/>
                  </a:cubicBezTo>
                  <a:cubicBezTo>
                    <a:pt x="1106" y="0"/>
                    <a:pt x="1106" y="0"/>
                    <a:pt x="1089" y="0"/>
                  </a:cubicBezTo>
                  <a:cubicBezTo>
                    <a:pt x="1074" y="0"/>
                    <a:pt x="1073" y="1"/>
                    <a:pt x="1073" y="16"/>
                  </a:cubicBezTo>
                  <a:cubicBezTo>
                    <a:pt x="1073" y="56"/>
                    <a:pt x="1073" y="96"/>
                    <a:pt x="1073" y="136"/>
                  </a:cubicBezTo>
                  <a:cubicBezTo>
                    <a:pt x="1073" y="177"/>
                    <a:pt x="1073" y="218"/>
                    <a:pt x="1073" y="259"/>
                  </a:cubicBezTo>
                  <a:close/>
                  <a:moveTo>
                    <a:pt x="1150" y="1092"/>
                  </a:moveTo>
                  <a:cubicBezTo>
                    <a:pt x="1168" y="1092"/>
                    <a:pt x="1186" y="1092"/>
                    <a:pt x="1204" y="1092"/>
                  </a:cubicBezTo>
                  <a:cubicBezTo>
                    <a:pt x="1215" y="1092"/>
                    <a:pt x="1218" y="1087"/>
                    <a:pt x="1219" y="1077"/>
                  </a:cubicBezTo>
                  <a:cubicBezTo>
                    <a:pt x="1220" y="1062"/>
                    <a:pt x="1216" y="1049"/>
                    <a:pt x="1210" y="1036"/>
                  </a:cubicBezTo>
                  <a:cubicBezTo>
                    <a:pt x="1204" y="1020"/>
                    <a:pt x="1193" y="1008"/>
                    <a:pt x="1177" y="1001"/>
                  </a:cubicBezTo>
                  <a:cubicBezTo>
                    <a:pt x="1155" y="992"/>
                    <a:pt x="1133" y="991"/>
                    <a:pt x="1109" y="999"/>
                  </a:cubicBezTo>
                  <a:cubicBezTo>
                    <a:pt x="1079" y="1010"/>
                    <a:pt x="1062" y="1031"/>
                    <a:pt x="1056" y="1061"/>
                  </a:cubicBezTo>
                  <a:cubicBezTo>
                    <a:pt x="1051" y="1090"/>
                    <a:pt x="1052" y="1120"/>
                    <a:pt x="1069" y="1148"/>
                  </a:cubicBezTo>
                  <a:cubicBezTo>
                    <a:pt x="1081" y="1169"/>
                    <a:pt x="1100" y="1180"/>
                    <a:pt x="1122" y="1185"/>
                  </a:cubicBezTo>
                  <a:cubicBezTo>
                    <a:pt x="1149" y="1190"/>
                    <a:pt x="1176" y="1186"/>
                    <a:pt x="1200" y="1171"/>
                  </a:cubicBezTo>
                  <a:cubicBezTo>
                    <a:pt x="1206" y="1168"/>
                    <a:pt x="1213" y="1165"/>
                    <a:pt x="1214" y="1157"/>
                  </a:cubicBezTo>
                  <a:cubicBezTo>
                    <a:pt x="1215" y="1147"/>
                    <a:pt x="1202" y="1139"/>
                    <a:pt x="1193" y="1144"/>
                  </a:cubicBezTo>
                  <a:cubicBezTo>
                    <a:pt x="1187" y="1147"/>
                    <a:pt x="1180" y="1150"/>
                    <a:pt x="1174" y="1153"/>
                  </a:cubicBezTo>
                  <a:cubicBezTo>
                    <a:pt x="1158" y="1161"/>
                    <a:pt x="1140" y="1161"/>
                    <a:pt x="1124" y="1155"/>
                  </a:cubicBezTo>
                  <a:cubicBezTo>
                    <a:pt x="1112" y="1151"/>
                    <a:pt x="1102" y="1142"/>
                    <a:pt x="1096" y="1129"/>
                  </a:cubicBezTo>
                  <a:cubicBezTo>
                    <a:pt x="1092" y="1121"/>
                    <a:pt x="1091" y="1112"/>
                    <a:pt x="1089" y="1104"/>
                  </a:cubicBezTo>
                  <a:cubicBezTo>
                    <a:pt x="1087" y="1093"/>
                    <a:pt x="1087" y="1092"/>
                    <a:pt x="1099" y="1092"/>
                  </a:cubicBezTo>
                  <a:cubicBezTo>
                    <a:pt x="1116" y="1092"/>
                    <a:pt x="1133" y="1092"/>
                    <a:pt x="1150" y="1092"/>
                  </a:cubicBezTo>
                  <a:cubicBezTo>
                    <a:pt x="1150" y="1092"/>
                    <a:pt x="1150" y="1092"/>
                    <a:pt x="1150" y="1092"/>
                  </a:cubicBezTo>
                  <a:close/>
                  <a:moveTo>
                    <a:pt x="1099" y="1070"/>
                  </a:moveTo>
                  <a:cubicBezTo>
                    <a:pt x="1092" y="1071"/>
                    <a:pt x="1089" y="1067"/>
                    <a:pt x="1091" y="1060"/>
                  </a:cubicBezTo>
                  <a:cubicBezTo>
                    <a:pt x="1094" y="1045"/>
                    <a:pt x="1108" y="1023"/>
                    <a:pt x="1128" y="1022"/>
                  </a:cubicBezTo>
                  <a:cubicBezTo>
                    <a:pt x="1142" y="1021"/>
                    <a:pt x="1156" y="1018"/>
                    <a:pt x="1168" y="1029"/>
                  </a:cubicBezTo>
                  <a:cubicBezTo>
                    <a:pt x="1181" y="1038"/>
                    <a:pt x="1185" y="1051"/>
                    <a:pt x="1187" y="1066"/>
                  </a:cubicBezTo>
                  <a:cubicBezTo>
                    <a:pt x="1188" y="1071"/>
                    <a:pt x="1183" y="1070"/>
                    <a:pt x="1180" y="1070"/>
                  </a:cubicBezTo>
                  <a:cubicBezTo>
                    <a:pt x="1166" y="1070"/>
                    <a:pt x="1153" y="1070"/>
                    <a:pt x="1139" y="1070"/>
                  </a:cubicBezTo>
                  <a:cubicBezTo>
                    <a:pt x="1139" y="1070"/>
                    <a:pt x="1139" y="1070"/>
                    <a:pt x="1139" y="1070"/>
                  </a:cubicBezTo>
                  <a:cubicBezTo>
                    <a:pt x="1126" y="1070"/>
                    <a:pt x="1113" y="1070"/>
                    <a:pt x="1099" y="1070"/>
                  </a:cubicBezTo>
                  <a:close/>
                  <a:moveTo>
                    <a:pt x="1741" y="1092"/>
                  </a:moveTo>
                  <a:cubicBezTo>
                    <a:pt x="1759" y="1092"/>
                    <a:pt x="1776" y="1092"/>
                    <a:pt x="1793" y="1092"/>
                  </a:cubicBezTo>
                  <a:cubicBezTo>
                    <a:pt x="1806" y="1092"/>
                    <a:pt x="1808" y="1089"/>
                    <a:pt x="1808" y="1076"/>
                  </a:cubicBezTo>
                  <a:cubicBezTo>
                    <a:pt x="1809" y="1063"/>
                    <a:pt x="1807" y="1051"/>
                    <a:pt x="1802" y="1038"/>
                  </a:cubicBezTo>
                  <a:cubicBezTo>
                    <a:pt x="1794" y="1021"/>
                    <a:pt x="1782" y="1008"/>
                    <a:pt x="1764" y="1000"/>
                  </a:cubicBezTo>
                  <a:cubicBezTo>
                    <a:pt x="1742" y="991"/>
                    <a:pt x="1720" y="991"/>
                    <a:pt x="1698" y="1000"/>
                  </a:cubicBezTo>
                  <a:cubicBezTo>
                    <a:pt x="1681" y="1006"/>
                    <a:pt x="1668" y="1016"/>
                    <a:pt x="1659" y="1031"/>
                  </a:cubicBezTo>
                  <a:cubicBezTo>
                    <a:pt x="1646" y="1050"/>
                    <a:pt x="1643" y="1071"/>
                    <a:pt x="1644" y="1094"/>
                  </a:cubicBezTo>
                  <a:cubicBezTo>
                    <a:pt x="1644" y="1110"/>
                    <a:pt x="1647" y="1127"/>
                    <a:pt x="1655" y="1141"/>
                  </a:cubicBezTo>
                  <a:cubicBezTo>
                    <a:pt x="1669" y="1168"/>
                    <a:pt x="1691" y="1183"/>
                    <a:pt x="1722" y="1186"/>
                  </a:cubicBezTo>
                  <a:cubicBezTo>
                    <a:pt x="1750" y="1188"/>
                    <a:pt x="1775" y="1183"/>
                    <a:pt x="1798" y="1165"/>
                  </a:cubicBezTo>
                  <a:cubicBezTo>
                    <a:pt x="1803" y="1161"/>
                    <a:pt x="1806" y="1157"/>
                    <a:pt x="1802" y="1151"/>
                  </a:cubicBezTo>
                  <a:cubicBezTo>
                    <a:pt x="1798" y="1144"/>
                    <a:pt x="1791" y="1140"/>
                    <a:pt x="1783" y="1144"/>
                  </a:cubicBezTo>
                  <a:cubicBezTo>
                    <a:pt x="1778" y="1147"/>
                    <a:pt x="1771" y="1149"/>
                    <a:pt x="1766" y="1152"/>
                  </a:cubicBezTo>
                  <a:cubicBezTo>
                    <a:pt x="1749" y="1161"/>
                    <a:pt x="1730" y="1162"/>
                    <a:pt x="1714" y="1155"/>
                  </a:cubicBezTo>
                  <a:cubicBezTo>
                    <a:pt x="1692" y="1145"/>
                    <a:pt x="1680" y="1127"/>
                    <a:pt x="1679" y="1102"/>
                  </a:cubicBezTo>
                  <a:cubicBezTo>
                    <a:pt x="1678" y="1095"/>
                    <a:pt x="1681" y="1092"/>
                    <a:pt x="1689" y="1092"/>
                  </a:cubicBezTo>
                  <a:cubicBezTo>
                    <a:pt x="1706" y="1092"/>
                    <a:pt x="1724" y="1092"/>
                    <a:pt x="1741" y="1092"/>
                  </a:cubicBezTo>
                  <a:cubicBezTo>
                    <a:pt x="1741" y="1092"/>
                    <a:pt x="1741" y="1092"/>
                    <a:pt x="1741" y="1092"/>
                  </a:cubicBezTo>
                  <a:close/>
                  <a:moveTo>
                    <a:pt x="1690" y="1070"/>
                  </a:moveTo>
                  <a:cubicBezTo>
                    <a:pt x="1683" y="1071"/>
                    <a:pt x="1680" y="1068"/>
                    <a:pt x="1681" y="1062"/>
                  </a:cubicBezTo>
                  <a:cubicBezTo>
                    <a:pt x="1683" y="1048"/>
                    <a:pt x="1697" y="1024"/>
                    <a:pt x="1716" y="1022"/>
                  </a:cubicBezTo>
                  <a:cubicBezTo>
                    <a:pt x="1731" y="1020"/>
                    <a:pt x="1747" y="1018"/>
                    <a:pt x="1760" y="1030"/>
                  </a:cubicBezTo>
                  <a:cubicBezTo>
                    <a:pt x="1771" y="1038"/>
                    <a:pt x="1775" y="1050"/>
                    <a:pt x="1778" y="1062"/>
                  </a:cubicBezTo>
                  <a:cubicBezTo>
                    <a:pt x="1780" y="1068"/>
                    <a:pt x="1775" y="1070"/>
                    <a:pt x="1769" y="1070"/>
                  </a:cubicBezTo>
                  <a:cubicBezTo>
                    <a:pt x="1756" y="1070"/>
                    <a:pt x="1742" y="1070"/>
                    <a:pt x="1729" y="1070"/>
                  </a:cubicBezTo>
                  <a:cubicBezTo>
                    <a:pt x="1729" y="1070"/>
                    <a:pt x="1729" y="1070"/>
                    <a:pt x="1729" y="1070"/>
                  </a:cubicBezTo>
                  <a:cubicBezTo>
                    <a:pt x="1716" y="1070"/>
                    <a:pt x="1703" y="1070"/>
                    <a:pt x="1690" y="1070"/>
                  </a:cubicBezTo>
                  <a:close/>
                  <a:moveTo>
                    <a:pt x="68" y="581"/>
                  </a:moveTo>
                  <a:cubicBezTo>
                    <a:pt x="68" y="573"/>
                    <a:pt x="70" y="568"/>
                    <a:pt x="80" y="569"/>
                  </a:cubicBezTo>
                  <a:cubicBezTo>
                    <a:pt x="90" y="570"/>
                    <a:pt x="101" y="570"/>
                    <a:pt x="111" y="569"/>
                  </a:cubicBezTo>
                  <a:cubicBezTo>
                    <a:pt x="120" y="569"/>
                    <a:pt x="120" y="563"/>
                    <a:pt x="120" y="556"/>
                  </a:cubicBezTo>
                  <a:cubicBezTo>
                    <a:pt x="120" y="549"/>
                    <a:pt x="119" y="544"/>
                    <a:pt x="111" y="544"/>
                  </a:cubicBezTo>
                  <a:cubicBezTo>
                    <a:pt x="104" y="544"/>
                    <a:pt x="97" y="544"/>
                    <a:pt x="91" y="544"/>
                  </a:cubicBezTo>
                  <a:cubicBezTo>
                    <a:pt x="66" y="544"/>
                    <a:pt x="65" y="543"/>
                    <a:pt x="68" y="518"/>
                  </a:cubicBezTo>
                  <a:cubicBezTo>
                    <a:pt x="69" y="504"/>
                    <a:pt x="83" y="487"/>
                    <a:pt x="99" y="489"/>
                  </a:cubicBezTo>
                  <a:cubicBezTo>
                    <a:pt x="103" y="489"/>
                    <a:pt x="107" y="489"/>
                    <a:pt x="110" y="488"/>
                  </a:cubicBezTo>
                  <a:cubicBezTo>
                    <a:pt x="118" y="487"/>
                    <a:pt x="123" y="479"/>
                    <a:pt x="123" y="471"/>
                  </a:cubicBezTo>
                  <a:cubicBezTo>
                    <a:pt x="123" y="461"/>
                    <a:pt x="116" y="462"/>
                    <a:pt x="109" y="460"/>
                  </a:cubicBezTo>
                  <a:cubicBezTo>
                    <a:pt x="100" y="458"/>
                    <a:pt x="92" y="460"/>
                    <a:pt x="84" y="460"/>
                  </a:cubicBezTo>
                  <a:cubicBezTo>
                    <a:pt x="68" y="461"/>
                    <a:pt x="56" y="469"/>
                    <a:pt x="47" y="480"/>
                  </a:cubicBezTo>
                  <a:cubicBezTo>
                    <a:pt x="34" y="493"/>
                    <a:pt x="32" y="511"/>
                    <a:pt x="32" y="529"/>
                  </a:cubicBezTo>
                  <a:cubicBezTo>
                    <a:pt x="32" y="544"/>
                    <a:pt x="32" y="544"/>
                    <a:pt x="17" y="544"/>
                  </a:cubicBezTo>
                  <a:cubicBezTo>
                    <a:pt x="4" y="543"/>
                    <a:pt x="0" y="548"/>
                    <a:pt x="4" y="561"/>
                  </a:cubicBezTo>
                  <a:cubicBezTo>
                    <a:pt x="6" y="569"/>
                    <a:pt x="13" y="568"/>
                    <a:pt x="19" y="569"/>
                  </a:cubicBezTo>
                  <a:cubicBezTo>
                    <a:pt x="32" y="571"/>
                    <a:pt x="32" y="571"/>
                    <a:pt x="32" y="584"/>
                  </a:cubicBezTo>
                  <a:cubicBezTo>
                    <a:pt x="32" y="624"/>
                    <a:pt x="32" y="664"/>
                    <a:pt x="32" y="704"/>
                  </a:cubicBezTo>
                  <a:cubicBezTo>
                    <a:pt x="32" y="731"/>
                    <a:pt x="32" y="730"/>
                    <a:pt x="57" y="731"/>
                  </a:cubicBezTo>
                  <a:cubicBezTo>
                    <a:pt x="66" y="731"/>
                    <a:pt x="68" y="727"/>
                    <a:pt x="68" y="720"/>
                  </a:cubicBezTo>
                  <a:cubicBezTo>
                    <a:pt x="68" y="697"/>
                    <a:pt x="68" y="674"/>
                    <a:pt x="68" y="651"/>
                  </a:cubicBezTo>
                  <a:cubicBezTo>
                    <a:pt x="68" y="628"/>
                    <a:pt x="68" y="605"/>
                    <a:pt x="68" y="581"/>
                  </a:cubicBezTo>
                  <a:close/>
                  <a:moveTo>
                    <a:pt x="278" y="1165"/>
                  </a:moveTo>
                  <a:cubicBezTo>
                    <a:pt x="278" y="1183"/>
                    <a:pt x="278" y="1183"/>
                    <a:pt x="296" y="1184"/>
                  </a:cubicBezTo>
                  <a:cubicBezTo>
                    <a:pt x="310" y="1184"/>
                    <a:pt x="310" y="1184"/>
                    <a:pt x="310" y="1169"/>
                  </a:cubicBezTo>
                  <a:cubicBezTo>
                    <a:pt x="310" y="1132"/>
                    <a:pt x="310" y="1095"/>
                    <a:pt x="310" y="1058"/>
                  </a:cubicBezTo>
                  <a:cubicBezTo>
                    <a:pt x="310" y="1052"/>
                    <a:pt x="312" y="1047"/>
                    <a:pt x="316" y="1042"/>
                  </a:cubicBezTo>
                  <a:cubicBezTo>
                    <a:pt x="324" y="1033"/>
                    <a:pt x="334" y="1027"/>
                    <a:pt x="345" y="1024"/>
                  </a:cubicBezTo>
                  <a:cubicBezTo>
                    <a:pt x="357" y="1020"/>
                    <a:pt x="371" y="1018"/>
                    <a:pt x="383" y="1028"/>
                  </a:cubicBezTo>
                  <a:cubicBezTo>
                    <a:pt x="397" y="1039"/>
                    <a:pt x="401" y="1054"/>
                    <a:pt x="401" y="1071"/>
                  </a:cubicBezTo>
                  <a:cubicBezTo>
                    <a:pt x="401" y="1102"/>
                    <a:pt x="401" y="1132"/>
                    <a:pt x="401" y="1163"/>
                  </a:cubicBezTo>
                  <a:cubicBezTo>
                    <a:pt x="401" y="1183"/>
                    <a:pt x="401" y="1182"/>
                    <a:pt x="420" y="1184"/>
                  </a:cubicBezTo>
                  <a:cubicBezTo>
                    <a:pt x="429" y="1185"/>
                    <a:pt x="433" y="1181"/>
                    <a:pt x="433" y="1173"/>
                  </a:cubicBezTo>
                  <a:cubicBezTo>
                    <a:pt x="432" y="1130"/>
                    <a:pt x="435" y="1087"/>
                    <a:pt x="431" y="1044"/>
                  </a:cubicBezTo>
                  <a:cubicBezTo>
                    <a:pt x="427" y="1014"/>
                    <a:pt x="404" y="996"/>
                    <a:pt x="376" y="994"/>
                  </a:cubicBezTo>
                  <a:cubicBezTo>
                    <a:pt x="353" y="992"/>
                    <a:pt x="333" y="1000"/>
                    <a:pt x="317" y="1017"/>
                  </a:cubicBezTo>
                  <a:cubicBezTo>
                    <a:pt x="312" y="1021"/>
                    <a:pt x="311" y="1019"/>
                    <a:pt x="309" y="1015"/>
                  </a:cubicBezTo>
                  <a:cubicBezTo>
                    <a:pt x="309" y="1013"/>
                    <a:pt x="308" y="1011"/>
                    <a:pt x="308" y="1008"/>
                  </a:cubicBezTo>
                  <a:cubicBezTo>
                    <a:pt x="306" y="1001"/>
                    <a:pt x="298" y="997"/>
                    <a:pt x="287" y="998"/>
                  </a:cubicBezTo>
                  <a:cubicBezTo>
                    <a:pt x="279" y="999"/>
                    <a:pt x="278" y="1004"/>
                    <a:pt x="278" y="1011"/>
                  </a:cubicBezTo>
                  <a:cubicBezTo>
                    <a:pt x="278" y="1037"/>
                    <a:pt x="278" y="1064"/>
                    <a:pt x="278" y="1091"/>
                  </a:cubicBezTo>
                  <a:cubicBezTo>
                    <a:pt x="278" y="1115"/>
                    <a:pt x="278" y="1140"/>
                    <a:pt x="278" y="1165"/>
                  </a:cubicBezTo>
                  <a:close/>
                  <a:moveTo>
                    <a:pt x="150" y="705"/>
                  </a:moveTo>
                  <a:cubicBezTo>
                    <a:pt x="150" y="734"/>
                    <a:pt x="145" y="730"/>
                    <a:pt x="176" y="731"/>
                  </a:cubicBezTo>
                  <a:cubicBezTo>
                    <a:pt x="185" y="731"/>
                    <a:pt x="187" y="727"/>
                    <a:pt x="187" y="719"/>
                  </a:cubicBezTo>
                  <a:cubicBezTo>
                    <a:pt x="187" y="685"/>
                    <a:pt x="187" y="651"/>
                    <a:pt x="187" y="618"/>
                  </a:cubicBezTo>
                  <a:cubicBezTo>
                    <a:pt x="187" y="597"/>
                    <a:pt x="204" y="578"/>
                    <a:pt x="225" y="574"/>
                  </a:cubicBezTo>
                  <a:cubicBezTo>
                    <a:pt x="232" y="572"/>
                    <a:pt x="240" y="574"/>
                    <a:pt x="247" y="575"/>
                  </a:cubicBezTo>
                  <a:cubicBezTo>
                    <a:pt x="257" y="576"/>
                    <a:pt x="261" y="572"/>
                    <a:pt x="265" y="564"/>
                  </a:cubicBezTo>
                  <a:cubicBezTo>
                    <a:pt x="269" y="556"/>
                    <a:pt x="267" y="542"/>
                    <a:pt x="261" y="540"/>
                  </a:cubicBezTo>
                  <a:cubicBezTo>
                    <a:pt x="253" y="538"/>
                    <a:pt x="244" y="534"/>
                    <a:pt x="237" y="536"/>
                  </a:cubicBezTo>
                  <a:cubicBezTo>
                    <a:pt x="228" y="537"/>
                    <a:pt x="217" y="537"/>
                    <a:pt x="209" y="544"/>
                  </a:cubicBezTo>
                  <a:cubicBezTo>
                    <a:pt x="204" y="549"/>
                    <a:pt x="198" y="553"/>
                    <a:pt x="194" y="558"/>
                  </a:cubicBezTo>
                  <a:cubicBezTo>
                    <a:pt x="192" y="561"/>
                    <a:pt x="189" y="563"/>
                    <a:pt x="185" y="562"/>
                  </a:cubicBezTo>
                  <a:cubicBezTo>
                    <a:pt x="182" y="561"/>
                    <a:pt x="182" y="558"/>
                    <a:pt x="182" y="556"/>
                  </a:cubicBezTo>
                  <a:cubicBezTo>
                    <a:pt x="180" y="539"/>
                    <a:pt x="179" y="539"/>
                    <a:pt x="162" y="539"/>
                  </a:cubicBezTo>
                  <a:cubicBezTo>
                    <a:pt x="151" y="539"/>
                    <a:pt x="150" y="540"/>
                    <a:pt x="150" y="551"/>
                  </a:cubicBezTo>
                  <a:cubicBezTo>
                    <a:pt x="150" y="579"/>
                    <a:pt x="150" y="607"/>
                    <a:pt x="150" y="635"/>
                  </a:cubicBezTo>
                  <a:cubicBezTo>
                    <a:pt x="150" y="658"/>
                    <a:pt x="149" y="682"/>
                    <a:pt x="150" y="705"/>
                  </a:cubicBezTo>
                  <a:close/>
                  <a:moveTo>
                    <a:pt x="1011" y="1049"/>
                  </a:moveTo>
                  <a:cubicBezTo>
                    <a:pt x="1011" y="1008"/>
                    <a:pt x="1011" y="966"/>
                    <a:pt x="1011" y="924"/>
                  </a:cubicBezTo>
                  <a:cubicBezTo>
                    <a:pt x="1011" y="913"/>
                    <a:pt x="1008" y="910"/>
                    <a:pt x="997" y="910"/>
                  </a:cubicBezTo>
                  <a:cubicBezTo>
                    <a:pt x="995" y="910"/>
                    <a:pt x="992" y="910"/>
                    <a:pt x="990" y="910"/>
                  </a:cubicBezTo>
                  <a:cubicBezTo>
                    <a:pt x="976" y="910"/>
                    <a:pt x="975" y="911"/>
                    <a:pt x="975" y="926"/>
                  </a:cubicBezTo>
                  <a:cubicBezTo>
                    <a:pt x="975" y="1006"/>
                    <a:pt x="975" y="1085"/>
                    <a:pt x="975" y="1165"/>
                  </a:cubicBezTo>
                  <a:cubicBezTo>
                    <a:pt x="975" y="1185"/>
                    <a:pt x="975" y="1185"/>
                    <a:pt x="994" y="1185"/>
                  </a:cubicBezTo>
                  <a:cubicBezTo>
                    <a:pt x="1009" y="1185"/>
                    <a:pt x="1011" y="1184"/>
                    <a:pt x="1011" y="1169"/>
                  </a:cubicBezTo>
                  <a:cubicBezTo>
                    <a:pt x="1011" y="1129"/>
                    <a:pt x="1011" y="1089"/>
                    <a:pt x="1011" y="1049"/>
                  </a:cubicBezTo>
                  <a:cubicBezTo>
                    <a:pt x="1011" y="1049"/>
                    <a:pt x="1011" y="1049"/>
                    <a:pt x="1011" y="1049"/>
                  </a:cubicBezTo>
                  <a:close/>
                  <a:moveTo>
                    <a:pt x="296" y="176"/>
                  </a:moveTo>
                  <a:cubicBezTo>
                    <a:pt x="296" y="201"/>
                    <a:pt x="296" y="226"/>
                    <a:pt x="296" y="251"/>
                  </a:cubicBezTo>
                  <a:cubicBezTo>
                    <a:pt x="295" y="276"/>
                    <a:pt x="296" y="274"/>
                    <a:pt x="318" y="274"/>
                  </a:cubicBezTo>
                  <a:cubicBezTo>
                    <a:pt x="330" y="274"/>
                    <a:pt x="331" y="274"/>
                    <a:pt x="331" y="260"/>
                  </a:cubicBezTo>
                  <a:cubicBezTo>
                    <a:pt x="331" y="232"/>
                    <a:pt x="331" y="204"/>
                    <a:pt x="331" y="176"/>
                  </a:cubicBezTo>
                  <a:cubicBezTo>
                    <a:pt x="331" y="165"/>
                    <a:pt x="331" y="155"/>
                    <a:pt x="337" y="145"/>
                  </a:cubicBezTo>
                  <a:cubicBezTo>
                    <a:pt x="349" y="123"/>
                    <a:pt x="359" y="117"/>
                    <a:pt x="377" y="118"/>
                  </a:cubicBezTo>
                  <a:cubicBezTo>
                    <a:pt x="383" y="118"/>
                    <a:pt x="389" y="119"/>
                    <a:pt x="395" y="120"/>
                  </a:cubicBezTo>
                  <a:cubicBezTo>
                    <a:pt x="401" y="120"/>
                    <a:pt x="407" y="118"/>
                    <a:pt x="408" y="112"/>
                  </a:cubicBezTo>
                  <a:cubicBezTo>
                    <a:pt x="409" y="103"/>
                    <a:pt x="415" y="93"/>
                    <a:pt x="407" y="85"/>
                  </a:cubicBezTo>
                  <a:cubicBezTo>
                    <a:pt x="406" y="84"/>
                    <a:pt x="404" y="84"/>
                    <a:pt x="402" y="84"/>
                  </a:cubicBezTo>
                  <a:cubicBezTo>
                    <a:pt x="376" y="78"/>
                    <a:pt x="353" y="82"/>
                    <a:pt x="337" y="106"/>
                  </a:cubicBezTo>
                  <a:cubicBezTo>
                    <a:pt x="336" y="108"/>
                    <a:pt x="335" y="110"/>
                    <a:pt x="333" y="109"/>
                  </a:cubicBezTo>
                  <a:cubicBezTo>
                    <a:pt x="331" y="109"/>
                    <a:pt x="330" y="107"/>
                    <a:pt x="330" y="105"/>
                  </a:cubicBezTo>
                  <a:cubicBezTo>
                    <a:pt x="329" y="101"/>
                    <a:pt x="329" y="97"/>
                    <a:pt x="328" y="94"/>
                  </a:cubicBezTo>
                  <a:cubicBezTo>
                    <a:pt x="325" y="85"/>
                    <a:pt x="318" y="82"/>
                    <a:pt x="303" y="84"/>
                  </a:cubicBezTo>
                  <a:cubicBezTo>
                    <a:pt x="297" y="84"/>
                    <a:pt x="295" y="86"/>
                    <a:pt x="295" y="92"/>
                  </a:cubicBezTo>
                  <a:cubicBezTo>
                    <a:pt x="296" y="120"/>
                    <a:pt x="295" y="148"/>
                    <a:pt x="295" y="176"/>
                  </a:cubicBezTo>
                  <a:cubicBezTo>
                    <a:pt x="296" y="176"/>
                    <a:pt x="296" y="176"/>
                    <a:pt x="296" y="176"/>
                  </a:cubicBezTo>
                  <a:close/>
                  <a:moveTo>
                    <a:pt x="946" y="179"/>
                  </a:moveTo>
                  <a:cubicBezTo>
                    <a:pt x="946" y="197"/>
                    <a:pt x="946" y="215"/>
                    <a:pt x="946" y="234"/>
                  </a:cubicBezTo>
                  <a:cubicBezTo>
                    <a:pt x="946" y="248"/>
                    <a:pt x="951" y="260"/>
                    <a:pt x="963" y="268"/>
                  </a:cubicBezTo>
                  <a:cubicBezTo>
                    <a:pt x="982" y="280"/>
                    <a:pt x="1011" y="277"/>
                    <a:pt x="1029" y="264"/>
                  </a:cubicBezTo>
                  <a:cubicBezTo>
                    <a:pt x="1036" y="259"/>
                    <a:pt x="1036" y="254"/>
                    <a:pt x="1032" y="248"/>
                  </a:cubicBezTo>
                  <a:cubicBezTo>
                    <a:pt x="1026" y="239"/>
                    <a:pt x="1020" y="238"/>
                    <a:pt x="1013" y="242"/>
                  </a:cubicBezTo>
                  <a:cubicBezTo>
                    <a:pt x="996" y="252"/>
                    <a:pt x="978" y="243"/>
                    <a:pt x="978" y="223"/>
                  </a:cubicBezTo>
                  <a:cubicBezTo>
                    <a:pt x="978" y="190"/>
                    <a:pt x="978" y="157"/>
                    <a:pt x="978" y="123"/>
                  </a:cubicBezTo>
                  <a:cubicBezTo>
                    <a:pt x="978" y="116"/>
                    <a:pt x="981" y="113"/>
                    <a:pt x="988" y="113"/>
                  </a:cubicBezTo>
                  <a:cubicBezTo>
                    <a:pt x="999" y="114"/>
                    <a:pt x="1011" y="113"/>
                    <a:pt x="1022" y="113"/>
                  </a:cubicBezTo>
                  <a:cubicBezTo>
                    <a:pt x="1028" y="113"/>
                    <a:pt x="1033" y="112"/>
                    <a:pt x="1033" y="104"/>
                  </a:cubicBezTo>
                  <a:cubicBezTo>
                    <a:pt x="1033" y="96"/>
                    <a:pt x="1032" y="90"/>
                    <a:pt x="1022" y="90"/>
                  </a:cubicBezTo>
                  <a:cubicBezTo>
                    <a:pt x="1011" y="90"/>
                    <a:pt x="1001" y="90"/>
                    <a:pt x="990" y="90"/>
                  </a:cubicBezTo>
                  <a:cubicBezTo>
                    <a:pt x="981" y="91"/>
                    <a:pt x="977" y="88"/>
                    <a:pt x="978" y="78"/>
                  </a:cubicBezTo>
                  <a:cubicBezTo>
                    <a:pt x="978" y="64"/>
                    <a:pt x="978" y="49"/>
                    <a:pt x="978" y="35"/>
                  </a:cubicBezTo>
                  <a:cubicBezTo>
                    <a:pt x="978" y="30"/>
                    <a:pt x="978" y="25"/>
                    <a:pt x="971" y="24"/>
                  </a:cubicBezTo>
                  <a:cubicBezTo>
                    <a:pt x="964" y="24"/>
                    <a:pt x="956" y="24"/>
                    <a:pt x="955" y="32"/>
                  </a:cubicBezTo>
                  <a:cubicBezTo>
                    <a:pt x="952" y="43"/>
                    <a:pt x="949" y="54"/>
                    <a:pt x="949" y="65"/>
                  </a:cubicBezTo>
                  <a:cubicBezTo>
                    <a:pt x="948" y="88"/>
                    <a:pt x="947" y="88"/>
                    <a:pt x="924" y="91"/>
                  </a:cubicBezTo>
                  <a:cubicBezTo>
                    <a:pt x="919" y="92"/>
                    <a:pt x="914" y="92"/>
                    <a:pt x="914" y="99"/>
                  </a:cubicBezTo>
                  <a:cubicBezTo>
                    <a:pt x="915" y="107"/>
                    <a:pt x="917" y="113"/>
                    <a:pt x="926" y="113"/>
                  </a:cubicBezTo>
                  <a:cubicBezTo>
                    <a:pt x="929" y="114"/>
                    <a:pt x="932" y="113"/>
                    <a:pt x="935" y="113"/>
                  </a:cubicBezTo>
                  <a:cubicBezTo>
                    <a:pt x="943" y="113"/>
                    <a:pt x="946" y="116"/>
                    <a:pt x="946" y="124"/>
                  </a:cubicBezTo>
                  <a:cubicBezTo>
                    <a:pt x="946" y="142"/>
                    <a:pt x="946" y="161"/>
                    <a:pt x="946" y="179"/>
                  </a:cubicBezTo>
                  <a:cubicBezTo>
                    <a:pt x="946" y="179"/>
                    <a:pt x="946" y="179"/>
                    <a:pt x="946" y="179"/>
                  </a:cubicBezTo>
                  <a:close/>
                </a:path>
              </a:pathLst>
            </a:custGeom>
            <a:solidFill>
              <a:srgbClr val="4C505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0" dirty="0"/>
            </a:p>
          </p:txBody>
        </p:sp>
        <p:grpSp>
          <p:nvGrpSpPr>
            <p:cNvPr id="18" name="Group 4">
              <a:extLst>
                <a:ext uri="{FF2B5EF4-FFF2-40B4-BE49-F238E27FC236}">
                  <a16:creationId xmlns:a16="http://schemas.microsoft.com/office/drawing/2014/main" id="{57BD2C4C-DC67-B843-B26C-309622FC75F7}"/>
                </a:ext>
              </a:extLst>
            </p:cNvPr>
            <p:cNvGrpSpPr>
              <a:grpSpLocks noChangeAspect="1"/>
            </p:cNvGrpSpPr>
            <p:nvPr/>
          </p:nvGrpSpPr>
          <p:grpSpPr bwMode="gray">
            <a:xfrm>
              <a:off x="334963" y="296652"/>
              <a:ext cx="538094" cy="540000"/>
              <a:chOff x="2711" y="1027"/>
              <a:chExt cx="2258" cy="2266"/>
            </a:xfrm>
          </p:grpSpPr>
          <p:sp>
            <p:nvSpPr>
              <p:cNvPr id="19" name="AutoShape 3">
                <a:extLst>
                  <a:ext uri="{FF2B5EF4-FFF2-40B4-BE49-F238E27FC236}">
                    <a16:creationId xmlns:a16="http://schemas.microsoft.com/office/drawing/2014/main" id="{FE1DC41B-291E-574C-9F2C-874E70A40758}"/>
                  </a:ext>
                </a:extLst>
              </p:cNvPr>
              <p:cNvSpPr>
                <a:spLocks noChangeAspect="1" noChangeArrowheads="1" noTextEdit="1"/>
              </p:cNvSpPr>
              <p:nvPr/>
            </p:nvSpPr>
            <p:spPr bwMode="gray">
              <a:xfrm>
                <a:off x="2711" y="1027"/>
                <a:ext cx="2258" cy="22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sz="1350" dirty="0"/>
              </a:p>
            </p:txBody>
          </p:sp>
          <p:sp>
            <p:nvSpPr>
              <p:cNvPr id="20" name="Freeform 5">
                <a:extLst>
                  <a:ext uri="{FF2B5EF4-FFF2-40B4-BE49-F238E27FC236}">
                    <a16:creationId xmlns:a16="http://schemas.microsoft.com/office/drawing/2014/main" id="{D4B633C8-F761-C54B-9BD2-EB59D49A2DBC}"/>
                  </a:ext>
                </a:extLst>
              </p:cNvPr>
              <p:cNvSpPr>
                <a:spLocks/>
              </p:cNvSpPr>
              <p:nvPr/>
            </p:nvSpPr>
            <p:spPr bwMode="gray">
              <a:xfrm>
                <a:off x="2709" y="1029"/>
                <a:ext cx="2260" cy="2262"/>
              </a:xfrm>
              <a:custGeom>
                <a:avLst/>
                <a:gdLst>
                  <a:gd name="T0" fmla="*/ 2260 w 2260"/>
                  <a:gd name="T1" fmla="*/ 0 h 2262"/>
                  <a:gd name="T2" fmla="*/ 1612 w 2260"/>
                  <a:gd name="T3" fmla="*/ 649 h 2262"/>
                  <a:gd name="T4" fmla="*/ 1612 w 2260"/>
                  <a:gd name="T5" fmla="*/ 649 h 2262"/>
                  <a:gd name="T6" fmla="*/ 2035 w 2260"/>
                  <a:gd name="T7" fmla="*/ 0 h 2262"/>
                  <a:gd name="T8" fmla="*/ 0 w 2260"/>
                  <a:gd name="T9" fmla="*/ 0 h 2262"/>
                  <a:gd name="T10" fmla="*/ 0 w 2260"/>
                  <a:gd name="T11" fmla="*/ 2262 h 2262"/>
                  <a:gd name="T12" fmla="*/ 2260 w 2260"/>
                  <a:gd name="T13" fmla="*/ 2262 h 2262"/>
                  <a:gd name="T14" fmla="*/ 2260 w 2260"/>
                  <a:gd name="T15" fmla="*/ 0 h 2262"/>
                  <a:gd name="T16" fmla="*/ 2260 w 2260"/>
                  <a:gd name="T17" fmla="*/ 0 h 2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0" h="2262">
                    <a:moveTo>
                      <a:pt x="2260" y="0"/>
                    </a:moveTo>
                    <a:lnTo>
                      <a:pt x="1612" y="649"/>
                    </a:lnTo>
                    <a:lnTo>
                      <a:pt x="1612" y="649"/>
                    </a:lnTo>
                    <a:lnTo>
                      <a:pt x="2035" y="0"/>
                    </a:lnTo>
                    <a:lnTo>
                      <a:pt x="0" y="0"/>
                    </a:lnTo>
                    <a:lnTo>
                      <a:pt x="0" y="2262"/>
                    </a:lnTo>
                    <a:lnTo>
                      <a:pt x="2260" y="2262"/>
                    </a:lnTo>
                    <a:lnTo>
                      <a:pt x="2260" y="0"/>
                    </a:lnTo>
                    <a:lnTo>
                      <a:pt x="2260" y="0"/>
                    </a:lnTo>
                    <a:close/>
                  </a:path>
                </a:pathLst>
              </a:custGeom>
              <a:solidFill>
                <a:srgbClr val="E55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0" dirty="0"/>
              </a:p>
            </p:txBody>
          </p:sp>
          <p:sp>
            <p:nvSpPr>
              <p:cNvPr id="21" name="Freeform 6">
                <a:extLst>
                  <a:ext uri="{FF2B5EF4-FFF2-40B4-BE49-F238E27FC236}">
                    <a16:creationId xmlns:a16="http://schemas.microsoft.com/office/drawing/2014/main" id="{B16BAAE4-1A41-C843-9754-490F7A1E1270}"/>
                  </a:ext>
                </a:extLst>
              </p:cNvPr>
              <p:cNvSpPr>
                <a:spLocks noEditPoints="1"/>
              </p:cNvSpPr>
              <p:nvPr/>
            </p:nvSpPr>
            <p:spPr bwMode="gray">
              <a:xfrm>
                <a:off x="3623" y="1696"/>
                <a:ext cx="1167" cy="922"/>
              </a:xfrm>
              <a:custGeom>
                <a:avLst/>
                <a:gdLst>
                  <a:gd name="T0" fmla="*/ 411 w 580"/>
                  <a:gd name="T1" fmla="*/ 213 h 458"/>
                  <a:gd name="T2" fmla="*/ 570 w 580"/>
                  <a:gd name="T3" fmla="*/ 37 h 458"/>
                  <a:gd name="T4" fmla="*/ 580 w 580"/>
                  <a:gd name="T5" fmla="*/ 20 h 458"/>
                  <a:gd name="T6" fmla="*/ 545 w 580"/>
                  <a:gd name="T7" fmla="*/ 0 h 458"/>
                  <a:gd name="T8" fmla="*/ 519 w 580"/>
                  <a:gd name="T9" fmla="*/ 16 h 458"/>
                  <a:gd name="T10" fmla="*/ 344 w 580"/>
                  <a:gd name="T11" fmla="*/ 210 h 458"/>
                  <a:gd name="T12" fmla="*/ 334 w 580"/>
                  <a:gd name="T13" fmla="*/ 229 h 458"/>
                  <a:gd name="T14" fmla="*/ 344 w 580"/>
                  <a:gd name="T15" fmla="*/ 248 h 458"/>
                  <a:gd name="T16" fmla="*/ 519 w 580"/>
                  <a:gd name="T17" fmla="*/ 442 h 458"/>
                  <a:gd name="T18" fmla="*/ 545 w 580"/>
                  <a:gd name="T19" fmla="*/ 458 h 458"/>
                  <a:gd name="T20" fmla="*/ 580 w 580"/>
                  <a:gd name="T21" fmla="*/ 438 h 458"/>
                  <a:gd name="T22" fmla="*/ 570 w 580"/>
                  <a:gd name="T23" fmla="*/ 421 h 458"/>
                  <a:gd name="T24" fmla="*/ 411 w 580"/>
                  <a:gd name="T25" fmla="*/ 245 h 458"/>
                  <a:gd name="T26" fmla="*/ 399 w 580"/>
                  <a:gd name="T27" fmla="*/ 229 h 458"/>
                  <a:gd name="T28" fmla="*/ 411 w 580"/>
                  <a:gd name="T29" fmla="*/ 213 h 458"/>
                  <a:gd name="T30" fmla="*/ 252 w 580"/>
                  <a:gd name="T31" fmla="*/ 439 h 458"/>
                  <a:gd name="T32" fmla="*/ 281 w 580"/>
                  <a:gd name="T33" fmla="*/ 454 h 458"/>
                  <a:gd name="T34" fmla="*/ 309 w 580"/>
                  <a:gd name="T35" fmla="*/ 439 h 458"/>
                  <a:gd name="T36" fmla="*/ 309 w 580"/>
                  <a:gd name="T37" fmla="*/ 19 h 458"/>
                  <a:gd name="T38" fmla="*/ 281 w 580"/>
                  <a:gd name="T39" fmla="*/ 4 h 458"/>
                  <a:gd name="T40" fmla="*/ 252 w 580"/>
                  <a:gd name="T41" fmla="*/ 19 h 458"/>
                  <a:gd name="T42" fmla="*/ 252 w 580"/>
                  <a:gd name="T43" fmla="*/ 439 h 458"/>
                  <a:gd name="T44" fmla="*/ 0 w 580"/>
                  <a:gd name="T45" fmla="*/ 439 h 458"/>
                  <a:gd name="T46" fmla="*/ 28 w 580"/>
                  <a:gd name="T47" fmla="*/ 454 h 458"/>
                  <a:gd name="T48" fmla="*/ 56 w 580"/>
                  <a:gd name="T49" fmla="*/ 439 h 458"/>
                  <a:gd name="T50" fmla="*/ 56 w 580"/>
                  <a:gd name="T51" fmla="*/ 157 h 458"/>
                  <a:gd name="T52" fmla="*/ 165 w 580"/>
                  <a:gd name="T53" fmla="*/ 53 h 458"/>
                  <a:gd name="T54" fmla="*/ 180 w 580"/>
                  <a:gd name="T55" fmla="*/ 53 h 458"/>
                  <a:gd name="T56" fmla="*/ 196 w 580"/>
                  <a:gd name="T57" fmla="*/ 27 h 458"/>
                  <a:gd name="T58" fmla="*/ 154 w 580"/>
                  <a:gd name="T59" fmla="*/ 4 h 458"/>
                  <a:gd name="T60" fmla="*/ 0 w 580"/>
                  <a:gd name="T61" fmla="*/ 152 h 458"/>
                  <a:gd name="T62" fmla="*/ 0 w 580"/>
                  <a:gd name="T63" fmla="*/ 439 h 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80" h="458">
                    <a:moveTo>
                      <a:pt x="411" y="213"/>
                    </a:moveTo>
                    <a:cubicBezTo>
                      <a:pt x="570" y="37"/>
                      <a:pt x="570" y="37"/>
                      <a:pt x="570" y="37"/>
                    </a:cubicBezTo>
                    <a:cubicBezTo>
                      <a:pt x="576" y="30"/>
                      <a:pt x="580" y="25"/>
                      <a:pt x="580" y="20"/>
                    </a:cubicBezTo>
                    <a:cubicBezTo>
                      <a:pt x="580" y="10"/>
                      <a:pt x="559" y="0"/>
                      <a:pt x="545" y="0"/>
                    </a:cubicBezTo>
                    <a:cubicBezTo>
                      <a:pt x="535" y="0"/>
                      <a:pt x="526" y="8"/>
                      <a:pt x="519" y="16"/>
                    </a:cubicBezTo>
                    <a:cubicBezTo>
                      <a:pt x="344" y="210"/>
                      <a:pt x="344" y="210"/>
                      <a:pt x="344" y="210"/>
                    </a:cubicBezTo>
                    <a:cubicBezTo>
                      <a:pt x="336" y="219"/>
                      <a:pt x="334" y="224"/>
                      <a:pt x="334" y="229"/>
                    </a:cubicBezTo>
                    <a:cubicBezTo>
                      <a:pt x="334" y="234"/>
                      <a:pt x="336" y="239"/>
                      <a:pt x="344" y="248"/>
                    </a:cubicBezTo>
                    <a:cubicBezTo>
                      <a:pt x="519" y="442"/>
                      <a:pt x="519" y="442"/>
                      <a:pt x="519" y="442"/>
                    </a:cubicBezTo>
                    <a:cubicBezTo>
                      <a:pt x="526" y="450"/>
                      <a:pt x="535" y="458"/>
                      <a:pt x="545" y="458"/>
                    </a:cubicBezTo>
                    <a:cubicBezTo>
                      <a:pt x="559" y="458"/>
                      <a:pt x="580" y="448"/>
                      <a:pt x="580" y="438"/>
                    </a:cubicBezTo>
                    <a:cubicBezTo>
                      <a:pt x="580" y="433"/>
                      <a:pt x="576" y="428"/>
                      <a:pt x="570" y="421"/>
                    </a:cubicBezTo>
                    <a:cubicBezTo>
                      <a:pt x="411" y="245"/>
                      <a:pt x="411" y="245"/>
                      <a:pt x="411" y="245"/>
                    </a:cubicBezTo>
                    <a:cubicBezTo>
                      <a:pt x="403" y="236"/>
                      <a:pt x="399" y="232"/>
                      <a:pt x="399" y="229"/>
                    </a:cubicBezTo>
                    <a:cubicBezTo>
                      <a:pt x="399" y="226"/>
                      <a:pt x="403" y="222"/>
                      <a:pt x="411" y="213"/>
                    </a:cubicBezTo>
                    <a:moveTo>
                      <a:pt x="252" y="439"/>
                    </a:moveTo>
                    <a:cubicBezTo>
                      <a:pt x="252" y="449"/>
                      <a:pt x="261" y="454"/>
                      <a:pt x="281" y="454"/>
                    </a:cubicBezTo>
                    <a:cubicBezTo>
                      <a:pt x="300" y="454"/>
                      <a:pt x="309" y="449"/>
                      <a:pt x="309" y="439"/>
                    </a:cubicBezTo>
                    <a:cubicBezTo>
                      <a:pt x="309" y="19"/>
                      <a:pt x="309" y="19"/>
                      <a:pt x="309" y="19"/>
                    </a:cubicBezTo>
                    <a:cubicBezTo>
                      <a:pt x="309" y="9"/>
                      <a:pt x="300" y="4"/>
                      <a:pt x="281" y="4"/>
                    </a:cubicBezTo>
                    <a:cubicBezTo>
                      <a:pt x="261" y="4"/>
                      <a:pt x="252" y="9"/>
                      <a:pt x="252" y="19"/>
                    </a:cubicBezTo>
                    <a:lnTo>
                      <a:pt x="252" y="439"/>
                    </a:lnTo>
                    <a:close/>
                    <a:moveTo>
                      <a:pt x="0" y="439"/>
                    </a:moveTo>
                    <a:cubicBezTo>
                      <a:pt x="0" y="449"/>
                      <a:pt x="8" y="454"/>
                      <a:pt x="28" y="454"/>
                    </a:cubicBezTo>
                    <a:cubicBezTo>
                      <a:pt x="48" y="454"/>
                      <a:pt x="56" y="449"/>
                      <a:pt x="56" y="439"/>
                    </a:cubicBezTo>
                    <a:cubicBezTo>
                      <a:pt x="56" y="157"/>
                      <a:pt x="56" y="157"/>
                      <a:pt x="56" y="157"/>
                    </a:cubicBezTo>
                    <a:cubicBezTo>
                      <a:pt x="56" y="83"/>
                      <a:pt x="85" y="53"/>
                      <a:pt x="165" y="53"/>
                    </a:cubicBezTo>
                    <a:cubicBezTo>
                      <a:pt x="180" y="53"/>
                      <a:pt x="180" y="53"/>
                      <a:pt x="180" y="53"/>
                    </a:cubicBezTo>
                    <a:cubicBezTo>
                      <a:pt x="192" y="53"/>
                      <a:pt x="196" y="43"/>
                      <a:pt x="196" y="27"/>
                    </a:cubicBezTo>
                    <a:cubicBezTo>
                      <a:pt x="196" y="8"/>
                      <a:pt x="185" y="4"/>
                      <a:pt x="154" y="4"/>
                    </a:cubicBezTo>
                    <a:cubicBezTo>
                      <a:pt x="64" y="4"/>
                      <a:pt x="0" y="43"/>
                      <a:pt x="0" y="152"/>
                    </a:cubicBezTo>
                    <a:lnTo>
                      <a:pt x="0" y="43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0" dirty="0"/>
              </a:p>
            </p:txBody>
          </p:sp>
          <p:sp>
            <p:nvSpPr>
              <p:cNvPr id="22" name="Freeform 7">
                <a:extLst>
                  <a:ext uri="{FF2B5EF4-FFF2-40B4-BE49-F238E27FC236}">
                    <a16:creationId xmlns:a16="http://schemas.microsoft.com/office/drawing/2014/main" id="{2F32DCBD-8628-F245-85CD-97686A20ECFD}"/>
                  </a:ext>
                </a:extLst>
              </p:cNvPr>
              <p:cNvSpPr>
                <a:spLocks/>
              </p:cNvSpPr>
              <p:nvPr/>
            </p:nvSpPr>
            <p:spPr bwMode="gray">
              <a:xfrm>
                <a:off x="2880" y="1704"/>
                <a:ext cx="618" cy="916"/>
              </a:xfrm>
              <a:custGeom>
                <a:avLst/>
                <a:gdLst>
                  <a:gd name="T0" fmla="*/ 307 w 307"/>
                  <a:gd name="T1" fmla="*/ 405 h 455"/>
                  <a:gd name="T2" fmla="*/ 307 w 307"/>
                  <a:gd name="T3" fmla="*/ 244 h 455"/>
                  <a:gd name="T4" fmla="*/ 279 w 307"/>
                  <a:gd name="T5" fmla="*/ 229 h 455"/>
                  <a:gd name="T6" fmla="*/ 250 w 307"/>
                  <a:gd name="T7" fmla="*/ 244 h 455"/>
                  <a:gd name="T8" fmla="*/ 250 w 307"/>
                  <a:gd name="T9" fmla="*/ 378 h 455"/>
                  <a:gd name="T10" fmla="*/ 199 w 307"/>
                  <a:gd name="T11" fmla="*/ 408 h 455"/>
                  <a:gd name="T12" fmla="*/ 61 w 307"/>
                  <a:gd name="T13" fmla="*/ 231 h 455"/>
                  <a:gd name="T14" fmla="*/ 238 w 307"/>
                  <a:gd name="T15" fmla="*/ 49 h 455"/>
                  <a:gd name="T16" fmla="*/ 270 w 307"/>
                  <a:gd name="T17" fmla="*/ 49 h 455"/>
                  <a:gd name="T18" fmla="*/ 286 w 307"/>
                  <a:gd name="T19" fmla="*/ 23 h 455"/>
                  <a:gd name="T20" fmla="*/ 244 w 307"/>
                  <a:gd name="T21" fmla="*/ 0 h 455"/>
                  <a:gd name="T22" fmla="*/ 231 w 307"/>
                  <a:gd name="T23" fmla="*/ 0 h 455"/>
                  <a:gd name="T24" fmla="*/ 0 w 307"/>
                  <a:gd name="T25" fmla="*/ 232 h 455"/>
                  <a:gd name="T26" fmla="*/ 198 w 307"/>
                  <a:gd name="T27" fmla="*/ 455 h 455"/>
                  <a:gd name="T28" fmla="*/ 307 w 307"/>
                  <a:gd name="T29" fmla="*/ 405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7" h="455">
                    <a:moveTo>
                      <a:pt x="307" y="405"/>
                    </a:moveTo>
                    <a:cubicBezTo>
                      <a:pt x="307" y="244"/>
                      <a:pt x="307" y="244"/>
                      <a:pt x="307" y="244"/>
                    </a:cubicBezTo>
                    <a:cubicBezTo>
                      <a:pt x="307" y="234"/>
                      <a:pt x="298" y="229"/>
                      <a:pt x="279" y="229"/>
                    </a:cubicBezTo>
                    <a:cubicBezTo>
                      <a:pt x="259" y="229"/>
                      <a:pt x="250" y="234"/>
                      <a:pt x="250" y="244"/>
                    </a:cubicBezTo>
                    <a:cubicBezTo>
                      <a:pt x="250" y="378"/>
                      <a:pt x="250" y="378"/>
                      <a:pt x="250" y="378"/>
                    </a:cubicBezTo>
                    <a:cubicBezTo>
                      <a:pt x="250" y="399"/>
                      <a:pt x="241" y="408"/>
                      <a:pt x="199" y="408"/>
                    </a:cubicBezTo>
                    <a:cubicBezTo>
                      <a:pt x="114" y="408"/>
                      <a:pt x="61" y="342"/>
                      <a:pt x="61" y="231"/>
                    </a:cubicBezTo>
                    <a:cubicBezTo>
                      <a:pt x="61" y="115"/>
                      <a:pt x="126" y="49"/>
                      <a:pt x="238" y="49"/>
                    </a:cubicBezTo>
                    <a:cubicBezTo>
                      <a:pt x="270" y="49"/>
                      <a:pt x="270" y="49"/>
                      <a:pt x="270" y="49"/>
                    </a:cubicBezTo>
                    <a:cubicBezTo>
                      <a:pt x="282" y="49"/>
                      <a:pt x="286" y="39"/>
                      <a:pt x="286" y="23"/>
                    </a:cubicBezTo>
                    <a:cubicBezTo>
                      <a:pt x="286" y="4"/>
                      <a:pt x="275" y="0"/>
                      <a:pt x="244" y="0"/>
                    </a:cubicBezTo>
                    <a:cubicBezTo>
                      <a:pt x="231" y="0"/>
                      <a:pt x="231" y="0"/>
                      <a:pt x="231" y="0"/>
                    </a:cubicBezTo>
                    <a:cubicBezTo>
                      <a:pt x="101" y="0"/>
                      <a:pt x="0" y="71"/>
                      <a:pt x="0" y="232"/>
                    </a:cubicBezTo>
                    <a:cubicBezTo>
                      <a:pt x="0" y="386"/>
                      <a:pt x="88" y="455"/>
                      <a:pt x="198" y="455"/>
                    </a:cubicBezTo>
                    <a:cubicBezTo>
                      <a:pt x="286" y="455"/>
                      <a:pt x="307" y="430"/>
                      <a:pt x="307" y="40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0" dirty="0"/>
              </a:p>
            </p:txBody>
          </p:sp>
          <p:sp>
            <p:nvSpPr>
              <p:cNvPr id="23" name="Oval 8">
                <a:extLst>
                  <a:ext uri="{FF2B5EF4-FFF2-40B4-BE49-F238E27FC236}">
                    <a16:creationId xmlns:a16="http://schemas.microsoft.com/office/drawing/2014/main" id="{60D97C11-1A3B-5449-A48D-98A3E79B3810}"/>
                  </a:ext>
                </a:extLst>
              </p:cNvPr>
              <p:cNvSpPr>
                <a:spLocks noChangeArrowheads="1"/>
              </p:cNvSpPr>
              <p:nvPr/>
            </p:nvSpPr>
            <p:spPr bwMode="gray">
              <a:xfrm>
                <a:off x="3778" y="2099"/>
                <a:ext cx="122" cy="12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0" dirty="0"/>
              </a:p>
            </p:txBody>
          </p:sp>
          <p:sp>
            <p:nvSpPr>
              <p:cNvPr id="24" name="Freeform 9">
                <a:extLst>
                  <a:ext uri="{FF2B5EF4-FFF2-40B4-BE49-F238E27FC236}">
                    <a16:creationId xmlns:a16="http://schemas.microsoft.com/office/drawing/2014/main" id="{5856770D-B8F0-244E-A05D-AED190086F10}"/>
                  </a:ext>
                </a:extLst>
              </p:cNvPr>
              <p:cNvSpPr>
                <a:spLocks noEditPoints="1"/>
              </p:cNvSpPr>
              <p:nvPr/>
            </p:nvSpPr>
            <p:spPr bwMode="gray">
              <a:xfrm>
                <a:off x="3623" y="1696"/>
                <a:ext cx="1167" cy="922"/>
              </a:xfrm>
              <a:custGeom>
                <a:avLst/>
                <a:gdLst>
                  <a:gd name="T0" fmla="*/ 411 w 580"/>
                  <a:gd name="T1" fmla="*/ 213 h 458"/>
                  <a:gd name="T2" fmla="*/ 570 w 580"/>
                  <a:gd name="T3" fmla="*/ 37 h 458"/>
                  <a:gd name="T4" fmla="*/ 580 w 580"/>
                  <a:gd name="T5" fmla="*/ 20 h 458"/>
                  <a:gd name="T6" fmla="*/ 545 w 580"/>
                  <a:gd name="T7" fmla="*/ 0 h 458"/>
                  <a:gd name="T8" fmla="*/ 519 w 580"/>
                  <a:gd name="T9" fmla="*/ 16 h 458"/>
                  <a:gd name="T10" fmla="*/ 344 w 580"/>
                  <a:gd name="T11" fmla="*/ 210 h 458"/>
                  <a:gd name="T12" fmla="*/ 334 w 580"/>
                  <a:gd name="T13" fmla="*/ 229 h 458"/>
                  <a:gd name="T14" fmla="*/ 344 w 580"/>
                  <a:gd name="T15" fmla="*/ 248 h 458"/>
                  <a:gd name="T16" fmla="*/ 519 w 580"/>
                  <a:gd name="T17" fmla="*/ 442 h 458"/>
                  <a:gd name="T18" fmla="*/ 545 w 580"/>
                  <a:gd name="T19" fmla="*/ 458 h 458"/>
                  <a:gd name="T20" fmla="*/ 580 w 580"/>
                  <a:gd name="T21" fmla="*/ 438 h 458"/>
                  <a:gd name="T22" fmla="*/ 570 w 580"/>
                  <a:gd name="T23" fmla="*/ 421 h 458"/>
                  <a:gd name="T24" fmla="*/ 411 w 580"/>
                  <a:gd name="T25" fmla="*/ 245 h 458"/>
                  <a:gd name="T26" fmla="*/ 399 w 580"/>
                  <a:gd name="T27" fmla="*/ 229 h 458"/>
                  <a:gd name="T28" fmla="*/ 411 w 580"/>
                  <a:gd name="T29" fmla="*/ 213 h 458"/>
                  <a:gd name="T30" fmla="*/ 252 w 580"/>
                  <a:gd name="T31" fmla="*/ 439 h 458"/>
                  <a:gd name="T32" fmla="*/ 281 w 580"/>
                  <a:gd name="T33" fmla="*/ 454 h 458"/>
                  <a:gd name="T34" fmla="*/ 309 w 580"/>
                  <a:gd name="T35" fmla="*/ 439 h 458"/>
                  <a:gd name="T36" fmla="*/ 309 w 580"/>
                  <a:gd name="T37" fmla="*/ 19 h 458"/>
                  <a:gd name="T38" fmla="*/ 281 w 580"/>
                  <a:gd name="T39" fmla="*/ 4 h 458"/>
                  <a:gd name="T40" fmla="*/ 252 w 580"/>
                  <a:gd name="T41" fmla="*/ 19 h 458"/>
                  <a:gd name="T42" fmla="*/ 252 w 580"/>
                  <a:gd name="T43" fmla="*/ 439 h 458"/>
                  <a:gd name="T44" fmla="*/ 0 w 580"/>
                  <a:gd name="T45" fmla="*/ 439 h 458"/>
                  <a:gd name="T46" fmla="*/ 28 w 580"/>
                  <a:gd name="T47" fmla="*/ 454 h 458"/>
                  <a:gd name="T48" fmla="*/ 56 w 580"/>
                  <a:gd name="T49" fmla="*/ 439 h 458"/>
                  <a:gd name="T50" fmla="*/ 56 w 580"/>
                  <a:gd name="T51" fmla="*/ 157 h 458"/>
                  <a:gd name="T52" fmla="*/ 165 w 580"/>
                  <a:gd name="T53" fmla="*/ 53 h 458"/>
                  <a:gd name="T54" fmla="*/ 180 w 580"/>
                  <a:gd name="T55" fmla="*/ 53 h 458"/>
                  <a:gd name="T56" fmla="*/ 196 w 580"/>
                  <a:gd name="T57" fmla="*/ 27 h 458"/>
                  <a:gd name="T58" fmla="*/ 154 w 580"/>
                  <a:gd name="T59" fmla="*/ 4 h 458"/>
                  <a:gd name="T60" fmla="*/ 0 w 580"/>
                  <a:gd name="T61" fmla="*/ 152 h 458"/>
                  <a:gd name="T62" fmla="*/ 0 w 580"/>
                  <a:gd name="T63" fmla="*/ 439 h 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80" h="458">
                    <a:moveTo>
                      <a:pt x="411" y="213"/>
                    </a:moveTo>
                    <a:cubicBezTo>
                      <a:pt x="570" y="37"/>
                      <a:pt x="570" y="37"/>
                      <a:pt x="570" y="37"/>
                    </a:cubicBezTo>
                    <a:cubicBezTo>
                      <a:pt x="576" y="30"/>
                      <a:pt x="580" y="25"/>
                      <a:pt x="580" y="20"/>
                    </a:cubicBezTo>
                    <a:cubicBezTo>
                      <a:pt x="580" y="10"/>
                      <a:pt x="559" y="0"/>
                      <a:pt x="545" y="0"/>
                    </a:cubicBezTo>
                    <a:cubicBezTo>
                      <a:pt x="535" y="0"/>
                      <a:pt x="526" y="8"/>
                      <a:pt x="519" y="16"/>
                    </a:cubicBezTo>
                    <a:cubicBezTo>
                      <a:pt x="344" y="210"/>
                      <a:pt x="344" y="210"/>
                      <a:pt x="344" y="210"/>
                    </a:cubicBezTo>
                    <a:cubicBezTo>
                      <a:pt x="336" y="219"/>
                      <a:pt x="334" y="224"/>
                      <a:pt x="334" y="229"/>
                    </a:cubicBezTo>
                    <a:cubicBezTo>
                      <a:pt x="334" y="234"/>
                      <a:pt x="336" y="239"/>
                      <a:pt x="344" y="248"/>
                    </a:cubicBezTo>
                    <a:cubicBezTo>
                      <a:pt x="519" y="442"/>
                      <a:pt x="519" y="442"/>
                      <a:pt x="519" y="442"/>
                    </a:cubicBezTo>
                    <a:cubicBezTo>
                      <a:pt x="526" y="450"/>
                      <a:pt x="535" y="458"/>
                      <a:pt x="545" y="458"/>
                    </a:cubicBezTo>
                    <a:cubicBezTo>
                      <a:pt x="559" y="458"/>
                      <a:pt x="580" y="448"/>
                      <a:pt x="580" y="438"/>
                    </a:cubicBezTo>
                    <a:cubicBezTo>
                      <a:pt x="580" y="433"/>
                      <a:pt x="576" y="428"/>
                      <a:pt x="570" y="421"/>
                    </a:cubicBezTo>
                    <a:cubicBezTo>
                      <a:pt x="411" y="245"/>
                      <a:pt x="411" y="245"/>
                      <a:pt x="411" y="245"/>
                    </a:cubicBezTo>
                    <a:cubicBezTo>
                      <a:pt x="403" y="236"/>
                      <a:pt x="399" y="232"/>
                      <a:pt x="399" y="229"/>
                    </a:cubicBezTo>
                    <a:cubicBezTo>
                      <a:pt x="399" y="226"/>
                      <a:pt x="403" y="222"/>
                      <a:pt x="411" y="213"/>
                    </a:cubicBezTo>
                    <a:moveTo>
                      <a:pt x="252" y="439"/>
                    </a:moveTo>
                    <a:cubicBezTo>
                      <a:pt x="252" y="449"/>
                      <a:pt x="261" y="454"/>
                      <a:pt x="281" y="454"/>
                    </a:cubicBezTo>
                    <a:cubicBezTo>
                      <a:pt x="300" y="454"/>
                      <a:pt x="309" y="449"/>
                      <a:pt x="309" y="439"/>
                    </a:cubicBezTo>
                    <a:cubicBezTo>
                      <a:pt x="309" y="19"/>
                      <a:pt x="309" y="19"/>
                      <a:pt x="309" y="19"/>
                    </a:cubicBezTo>
                    <a:cubicBezTo>
                      <a:pt x="309" y="9"/>
                      <a:pt x="300" y="4"/>
                      <a:pt x="281" y="4"/>
                    </a:cubicBezTo>
                    <a:cubicBezTo>
                      <a:pt x="261" y="4"/>
                      <a:pt x="252" y="9"/>
                      <a:pt x="252" y="19"/>
                    </a:cubicBezTo>
                    <a:lnTo>
                      <a:pt x="252" y="439"/>
                    </a:lnTo>
                    <a:close/>
                    <a:moveTo>
                      <a:pt x="0" y="439"/>
                    </a:moveTo>
                    <a:cubicBezTo>
                      <a:pt x="0" y="449"/>
                      <a:pt x="8" y="454"/>
                      <a:pt x="28" y="454"/>
                    </a:cubicBezTo>
                    <a:cubicBezTo>
                      <a:pt x="48" y="454"/>
                      <a:pt x="56" y="449"/>
                      <a:pt x="56" y="439"/>
                    </a:cubicBezTo>
                    <a:cubicBezTo>
                      <a:pt x="56" y="157"/>
                      <a:pt x="56" y="157"/>
                      <a:pt x="56" y="157"/>
                    </a:cubicBezTo>
                    <a:cubicBezTo>
                      <a:pt x="56" y="83"/>
                      <a:pt x="85" y="53"/>
                      <a:pt x="165" y="53"/>
                    </a:cubicBezTo>
                    <a:cubicBezTo>
                      <a:pt x="180" y="53"/>
                      <a:pt x="180" y="53"/>
                      <a:pt x="180" y="53"/>
                    </a:cubicBezTo>
                    <a:cubicBezTo>
                      <a:pt x="192" y="53"/>
                      <a:pt x="196" y="43"/>
                      <a:pt x="196" y="27"/>
                    </a:cubicBezTo>
                    <a:cubicBezTo>
                      <a:pt x="196" y="8"/>
                      <a:pt x="185" y="4"/>
                      <a:pt x="154" y="4"/>
                    </a:cubicBezTo>
                    <a:cubicBezTo>
                      <a:pt x="64" y="4"/>
                      <a:pt x="0" y="43"/>
                      <a:pt x="0" y="152"/>
                    </a:cubicBezTo>
                    <a:lnTo>
                      <a:pt x="0" y="43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0" dirty="0"/>
              </a:p>
            </p:txBody>
          </p:sp>
          <p:sp>
            <p:nvSpPr>
              <p:cNvPr id="25" name="Freeform 10">
                <a:extLst>
                  <a:ext uri="{FF2B5EF4-FFF2-40B4-BE49-F238E27FC236}">
                    <a16:creationId xmlns:a16="http://schemas.microsoft.com/office/drawing/2014/main" id="{2B91B16B-BC11-E547-8FAC-B9B8D18EA449}"/>
                  </a:ext>
                </a:extLst>
              </p:cNvPr>
              <p:cNvSpPr>
                <a:spLocks/>
              </p:cNvSpPr>
              <p:nvPr/>
            </p:nvSpPr>
            <p:spPr bwMode="gray">
              <a:xfrm>
                <a:off x="2880" y="1704"/>
                <a:ext cx="618" cy="916"/>
              </a:xfrm>
              <a:custGeom>
                <a:avLst/>
                <a:gdLst>
                  <a:gd name="T0" fmla="*/ 307 w 307"/>
                  <a:gd name="T1" fmla="*/ 405 h 455"/>
                  <a:gd name="T2" fmla="*/ 307 w 307"/>
                  <a:gd name="T3" fmla="*/ 244 h 455"/>
                  <a:gd name="T4" fmla="*/ 279 w 307"/>
                  <a:gd name="T5" fmla="*/ 229 h 455"/>
                  <a:gd name="T6" fmla="*/ 250 w 307"/>
                  <a:gd name="T7" fmla="*/ 244 h 455"/>
                  <a:gd name="T8" fmla="*/ 250 w 307"/>
                  <a:gd name="T9" fmla="*/ 378 h 455"/>
                  <a:gd name="T10" fmla="*/ 199 w 307"/>
                  <a:gd name="T11" fmla="*/ 408 h 455"/>
                  <a:gd name="T12" fmla="*/ 61 w 307"/>
                  <a:gd name="T13" fmla="*/ 231 h 455"/>
                  <a:gd name="T14" fmla="*/ 238 w 307"/>
                  <a:gd name="T15" fmla="*/ 49 h 455"/>
                  <a:gd name="T16" fmla="*/ 270 w 307"/>
                  <a:gd name="T17" fmla="*/ 49 h 455"/>
                  <a:gd name="T18" fmla="*/ 286 w 307"/>
                  <a:gd name="T19" fmla="*/ 23 h 455"/>
                  <a:gd name="T20" fmla="*/ 244 w 307"/>
                  <a:gd name="T21" fmla="*/ 0 h 455"/>
                  <a:gd name="T22" fmla="*/ 231 w 307"/>
                  <a:gd name="T23" fmla="*/ 0 h 455"/>
                  <a:gd name="T24" fmla="*/ 0 w 307"/>
                  <a:gd name="T25" fmla="*/ 232 h 455"/>
                  <a:gd name="T26" fmla="*/ 198 w 307"/>
                  <a:gd name="T27" fmla="*/ 455 h 455"/>
                  <a:gd name="T28" fmla="*/ 307 w 307"/>
                  <a:gd name="T29" fmla="*/ 405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7" h="455">
                    <a:moveTo>
                      <a:pt x="307" y="405"/>
                    </a:moveTo>
                    <a:cubicBezTo>
                      <a:pt x="307" y="244"/>
                      <a:pt x="307" y="244"/>
                      <a:pt x="307" y="244"/>
                    </a:cubicBezTo>
                    <a:cubicBezTo>
                      <a:pt x="307" y="234"/>
                      <a:pt x="298" y="229"/>
                      <a:pt x="279" y="229"/>
                    </a:cubicBezTo>
                    <a:cubicBezTo>
                      <a:pt x="259" y="229"/>
                      <a:pt x="250" y="234"/>
                      <a:pt x="250" y="244"/>
                    </a:cubicBezTo>
                    <a:cubicBezTo>
                      <a:pt x="250" y="378"/>
                      <a:pt x="250" y="378"/>
                      <a:pt x="250" y="378"/>
                    </a:cubicBezTo>
                    <a:cubicBezTo>
                      <a:pt x="250" y="399"/>
                      <a:pt x="241" y="408"/>
                      <a:pt x="199" y="408"/>
                    </a:cubicBezTo>
                    <a:cubicBezTo>
                      <a:pt x="114" y="408"/>
                      <a:pt x="61" y="342"/>
                      <a:pt x="61" y="231"/>
                    </a:cubicBezTo>
                    <a:cubicBezTo>
                      <a:pt x="61" y="115"/>
                      <a:pt x="126" y="49"/>
                      <a:pt x="238" y="49"/>
                    </a:cubicBezTo>
                    <a:cubicBezTo>
                      <a:pt x="270" y="49"/>
                      <a:pt x="270" y="49"/>
                      <a:pt x="270" y="49"/>
                    </a:cubicBezTo>
                    <a:cubicBezTo>
                      <a:pt x="282" y="49"/>
                      <a:pt x="286" y="39"/>
                      <a:pt x="286" y="23"/>
                    </a:cubicBezTo>
                    <a:cubicBezTo>
                      <a:pt x="286" y="4"/>
                      <a:pt x="275" y="0"/>
                      <a:pt x="244" y="0"/>
                    </a:cubicBezTo>
                    <a:cubicBezTo>
                      <a:pt x="231" y="0"/>
                      <a:pt x="231" y="0"/>
                      <a:pt x="231" y="0"/>
                    </a:cubicBezTo>
                    <a:cubicBezTo>
                      <a:pt x="101" y="0"/>
                      <a:pt x="0" y="71"/>
                      <a:pt x="0" y="232"/>
                    </a:cubicBezTo>
                    <a:cubicBezTo>
                      <a:pt x="0" y="386"/>
                      <a:pt x="88" y="455"/>
                      <a:pt x="198" y="455"/>
                    </a:cubicBezTo>
                    <a:cubicBezTo>
                      <a:pt x="286" y="455"/>
                      <a:pt x="307" y="430"/>
                      <a:pt x="307" y="40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0" dirty="0"/>
              </a:p>
            </p:txBody>
          </p:sp>
          <p:sp>
            <p:nvSpPr>
              <p:cNvPr id="26" name="Oval 11">
                <a:extLst>
                  <a:ext uri="{FF2B5EF4-FFF2-40B4-BE49-F238E27FC236}">
                    <a16:creationId xmlns:a16="http://schemas.microsoft.com/office/drawing/2014/main" id="{14F8C3C8-4888-7646-B9B4-64EB46A1DA23}"/>
                  </a:ext>
                </a:extLst>
              </p:cNvPr>
              <p:cNvSpPr>
                <a:spLocks noChangeArrowheads="1"/>
              </p:cNvSpPr>
              <p:nvPr/>
            </p:nvSpPr>
            <p:spPr bwMode="gray">
              <a:xfrm>
                <a:off x="3778" y="2099"/>
                <a:ext cx="122" cy="12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0" dirty="0"/>
              </a:p>
            </p:txBody>
          </p:sp>
          <p:sp>
            <p:nvSpPr>
              <p:cNvPr id="27" name="Freeform 12">
                <a:extLst>
                  <a:ext uri="{FF2B5EF4-FFF2-40B4-BE49-F238E27FC236}">
                    <a16:creationId xmlns:a16="http://schemas.microsoft.com/office/drawing/2014/main" id="{D79D01D1-4E3E-F34B-97D7-2D387E68746E}"/>
                  </a:ext>
                </a:extLst>
              </p:cNvPr>
              <p:cNvSpPr>
                <a:spLocks/>
              </p:cNvSpPr>
              <p:nvPr/>
            </p:nvSpPr>
            <p:spPr bwMode="gray">
              <a:xfrm>
                <a:off x="4321" y="1029"/>
                <a:ext cx="648" cy="649"/>
              </a:xfrm>
              <a:custGeom>
                <a:avLst/>
                <a:gdLst>
                  <a:gd name="T0" fmla="*/ 0 w 648"/>
                  <a:gd name="T1" fmla="*/ 649 h 649"/>
                  <a:gd name="T2" fmla="*/ 2 w 648"/>
                  <a:gd name="T3" fmla="*/ 649 h 649"/>
                  <a:gd name="T4" fmla="*/ 648 w 648"/>
                  <a:gd name="T5" fmla="*/ 0 h 649"/>
                  <a:gd name="T6" fmla="*/ 423 w 648"/>
                  <a:gd name="T7" fmla="*/ 0 h 649"/>
                  <a:gd name="T8" fmla="*/ 0 w 648"/>
                  <a:gd name="T9" fmla="*/ 649 h 649"/>
                </a:gdLst>
                <a:ahLst/>
                <a:cxnLst>
                  <a:cxn ang="0">
                    <a:pos x="T0" y="T1"/>
                  </a:cxn>
                  <a:cxn ang="0">
                    <a:pos x="T2" y="T3"/>
                  </a:cxn>
                  <a:cxn ang="0">
                    <a:pos x="T4" y="T5"/>
                  </a:cxn>
                  <a:cxn ang="0">
                    <a:pos x="T6" y="T7"/>
                  </a:cxn>
                  <a:cxn ang="0">
                    <a:pos x="T8" y="T9"/>
                  </a:cxn>
                </a:cxnLst>
                <a:rect l="0" t="0" r="r" b="b"/>
                <a:pathLst>
                  <a:path w="648" h="649">
                    <a:moveTo>
                      <a:pt x="0" y="649"/>
                    </a:moveTo>
                    <a:lnTo>
                      <a:pt x="2" y="649"/>
                    </a:lnTo>
                    <a:lnTo>
                      <a:pt x="648" y="0"/>
                    </a:lnTo>
                    <a:lnTo>
                      <a:pt x="423" y="0"/>
                    </a:lnTo>
                    <a:lnTo>
                      <a:pt x="0" y="64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0" dirty="0"/>
              </a:p>
            </p:txBody>
          </p:sp>
          <p:sp>
            <p:nvSpPr>
              <p:cNvPr id="28" name="Freeform 13">
                <a:extLst>
                  <a:ext uri="{FF2B5EF4-FFF2-40B4-BE49-F238E27FC236}">
                    <a16:creationId xmlns:a16="http://schemas.microsoft.com/office/drawing/2014/main" id="{46549898-6C52-B147-A8F6-A73FDBE6163B}"/>
                  </a:ext>
                </a:extLst>
              </p:cNvPr>
              <p:cNvSpPr>
                <a:spLocks/>
              </p:cNvSpPr>
              <p:nvPr/>
            </p:nvSpPr>
            <p:spPr bwMode="gray">
              <a:xfrm>
                <a:off x="4321" y="1029"/>
                <a:ext cx="648" cy="649"/>
              </a:xfrm>
              <a:custGeom>
                <a:avLst/>
                <a:gdLst>
                  <a:gd name="T0" fmla="*/ 0 w 648"/>
                  <a:gd name="T1" fmla="*/ 649 h 649"/>
                  <a:gd name="T2" fmla="*/ 2 w 648"/>
                  <a:gd name="T3" fmla="*/ 649 h 649"/>
                  <a:gd name="T4" fmla="*/ 648 w 648"/>
                  <a:gd name="T5" fmla="*/ 0 h 649"/>
                  <a:gd name="T6" fmla="*/ 423 w 648"/>
                  <a:gd name="T7" fmla="*/ 0 h 649"/>
                  <a:gd name="T8" fmla="*/ 0 w 648"/>
                  <a:gd name="T9" fmla="*/ 649 h 649"/>
                </a:gdLst>
                <a:ahLst/>
                <a:cxnLst>
                  <a:cxn ang="0">
                    <a:pos x="T0" y="T1"/>
                  </a:cxn>
                  <a:cxn ang="0">
                    <a:pos x="T2" y="T3"/>
                  </a:cxn>
                  <a:cxn ang="0">
                    <a:pos x="T4" y="T5"/>
                  </a:cxn>
                  <a:cxn ang="0">
                    <a:pos x="T6" y="T7"/>
                  </a:cxn>
                  <a:cxn ang="0">
                    <a:pos x="T8" y="T9"/>
                  </a:cxn>
                </a:cxnLst>
                <a:rect l="0" t="0" r="r" b="b"/>
                <a:pathLst>
                  <a:path w="648" h="649">
                    <a:moveTo>
                      <a:pt x="0" y="649"/>
                    </a:moveTo>
                    <a:lnTo>
                      <a:pt x="2" y="649"/>
                    </a:lnTo>
                    <a:lnTo>
                      <a:pt x="648" y="0"/>
                    </a:lnTo>
                    <a:lnTo>
                      <a:pt x="423" y="0"/>
                    </a:lnTo>
                    <a:lnTo>
                      <a:pt x="0" y="64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0" dirty="0"/>
              </a:p>
            </p:txBody>
          </p:sp>
        </p:grpSp>
      </p:grpSp>
      <p:sp>
        <p:nvSpPr>
          <p:cNvPr id="7" name="Date Placeholder 6"/>
          <p:cNvSpPr>
            <a:spLocks noGrp="1"/>
          </p:cNvSpPr>
          <p:nvPr>
            <p:ph type="dt" sz="half" idx="10"/>
          </p:nvPr>
        </p:nvSpPr>
        <p:spPr>
          <a:xfrm>
            <a:off x="0" y="0"/>
            <a:ext cx="0" cy="0"/>
          </a:xfrm>
          <a:prstGeom prst="rect">
            <a:avLst/>
          </a:prstGeom>
        </p:spPr>
        <p:txBody>
          <a:bodyPr/>
          <a:lstStyle>
            <a:lvl1pPr>
              <a:defRPr sz="133">
                <a:noFill/>
              </a:defRPr>
            </a:lvl1pPr>
          </a:lstStyle>
          <a:p>
            <a:fld id="{D6D08F88-38D2-4786-82D6-89211B05083D}" type="datetime5">
              <a:rPr lang="en-US" smtClean="0"/>
              <a:t>26-Jun-20</a:t>
            </a:fld>
            <a:endParaRPr lang="en-US" dirty="0"/>
          </a:p>
        </p:txBody>
      </p:sp>
      <p:sp>
        <p:nvSpPr>
          <p:cNvPr id="8" name="Footer Placeholder 7"/>
          <p:cNvSpPr>
            <a:spLocks noGrp="1"/>
          </p:cNvSpPr>
          <p:nvPr>
            <p:ph type="ftr" sz="quarter" idx="11"/>
          </p:nvPr>
        </p:nvSpPr>
        <p:spPr>
          <a:xfrm>
            <a:off x="0" y="0"/>
            <a:ext cx="0" cy="0"/>
          </a:xfrm>
          <a:prstGeom prst="rect">
            <a:avLst/>
          </a:prstGeom>
        </p:spPr>
        <p:txBody>
          <a:bodyPr/>
          <a:lstStyle>
            <a:lvl1pPr marL="0" indent="0">
              <a:buNone/>
              <a:defRPr sz="133">
                <a:noFill/>
              </a:defRPr>
            </a:lvl1pPr>
          </a:lstStyle>
          <a:p>
            <a:r>
              <a:rPr lang="en-US"/>
              <a:t>Title of presentation (Insert / Header &amp; Footer / Apply to All)</a:t>
            </a:r>
            <a:endParaRPr lang="en-US" dirty="0"/>
          </a:p>
        </p:txBody>
      </p:sp>
      <p:sp>
        <p:nvSpPr>
          <p:cNvPr id="9" name="Slide Number Placeholder 8"/>
          <p:cNvSpPr>
            <a:spLocks noGrp="1"/>
          </p:cNvSpPr>
          <p:nvPr>
            <p:ph type="sldNum" sz="quarter" idx="12"/>
          </p:nvPr>
        </p:nvSpPr>
        <p:spPr>
          <a:xfrm>
            <a:off x="0" y="0"/>
            <a:ext cx="0" cy="0"/>
          </a:xfrm>
          <a:prstGeom prst="rect">
            <a:avLst/>
          </a:prstGeom>
        </p:spPr>
        <p:txBody>
          <a:bodyPr/>
          <a:lstStyle>
            <a:lvl1pPr>
              <a:defRPr sz="133">
                <a:noFill/>
              </a:defRPr>
            </a:lvl1pPr>
          </a:lstStyle>
          <a:p>
            <a:fld id="{8E3B25F7-8D1F-44B5-B485-EE3C438CFD7B}" type="slidenum">
              <a:rPr lang="en-US" smtClean="0"/>
              <a:pPr/>
              <a:t>‹#›</a:t>
            </a:fld>
            <a:endParaRPr lang="en-US"/>
          </a:p>
        </p:txBody>
      </p:sp>
      <p:sp>
        <p:nvSpPr>
          <p:cNvPr id="2" name="Title 1"/>
          <p:cNvSpPr>
            <a:spLocks noGrp="1"/>
          </p:cNvSpPr>
          <p:nvPr>
            <p:ph type="ctrTitle" hasCustomPrompt="1"/>
          </p:nvPr>
        </p:nvSpPr>
        <p:spPr>
          <a:xfrm>
            <a:off x="417600" y="1628775"/>
            <a:ext cx="3816000" cy="2236264"/>
          </a:xfrm>
        </p:spPr>
        <p:txBody>
          <a:bodyPr anchor="b"/>
          <a:lstStyle>
            <a:lvl1pPr algn="l">
              <a:defRPr sz="3599"/>
            </a:lvl1pPr>
          </a:lstStyle>
          <a:p>
            <a:r>
              <a:rPr lang="en-US" dirty="0"/>
              <a:t>Click to add presentation title</a:t>
            </a:r>
          </a:p>
        </p:txBody>
      </p:sp>
      <p:sp>
        <p:nvSpPr>
          <p:cNvPr id="3" name="Subtitle 2"/>
          <p:cNvSpPr>
            <a:spLocks noGrp="1"/>
          </p:cNvSpPr>
          <p:nvPr>
            <p:ph type="subTitle" idx="1" hasCustomPrompt="1"/>
          </p:nvPr>
        </p:nvSpPr>
        <p:spPr>
          <a:xfrm>
            <a:off x="417600" y="4094163"/>
            <a:ext cx="3816000" cy="1080000"/>
          </a:xfrm>
        </p:spPr>
        <p:txBody>
          <a:bodyPr/>
          <a:lstStyle>
            <a:lvl1pPr marL="0" indent="0" algn="l">
              <a:spcBef>
                <a:spcPts val="0"/>
              </a:spcBef>
              <a:buNone/>
              <a:defRPr sz="1799" b="1"/>
            </a:lvl1pPr>
            <a:lvl2pPr marL="457051" indent="0" algn="ctr">
              <a:buNone/>
              <a:defRPr sz="1999"/>
            </a:lvl2pPr>
            <a:lvl3pPr marL="914103" indent="0" algn="ctr">
              <a:buNone/>
              <a:defRPr sz="1799"/>
            </a:lvl3pPr>
            <a:lvl4pPr marL="1371154" indent="0" algn="ctr">
              <a:buNone/>
              <a:defRPr sz="1599"/>
            </a:lvl4pPr>
            <a:lvl5pPr marL="1828206" indent="0" algn="ctr">
              <a:buNone/>
              <a:defRPr sz="1599"/>
            </a:lvl5pPr>
            <a:lvl6pPr marL="2285257" indent="0" algn="ctr">
              <a:buNone/>
              <a:defRPr sz="1599"/>
            </a:lvl6pPr>
            <a:lvl7pPr marL="2742308" indent="0" algn="ctr">
              <a:buNone/>
              <a:defRPr sz="1599"/>
            </a:lvl7pPr>
            <a:lvl8pPr marL="3199360" indent="0" algn="ctr">
              <a:buNone/>
              <a:defRPr sz="1599"/>
            </a:lvl8pPr>
            <a:lvl9pPr marL="3656411" indent="0" algn="ctr">
              <a:buNone/>
              <a:defRPr sz="1599"/>
            </a:lvl9pPr>
          </a:lstStyle>
          <a:p>
            <a:r>
              <a:rPr lang="en-US" dirty="0"/>
              <a:t>Click to add subtitle</a:t>
            </a:r>
          </a:p>
        </p:txBody>
      </p:sp>
      <p:sp>
        <p:nvSpPr>
          <p:cNvPr id="31" name="Text Placeholder 30"/>
          <p:cNvSpPr>
            <a:spLocks noGrp="1"/>
          </p:cNvSpPr>
          <p:nvPr>
            <p:ph type="body" sz="quarter" idx="14" hasCustomPrompt="1"/>
          </p:nvPr>
        </p:nvSpPr>
        <p:spPr>
          <a:xfrm>
            <a:off x="417600" y="5393268"/>
            <a:ext cx="3816000" cy="296333"/>
          </a:xfrm>
        </p:spPr>
        <p:txBody>
          <a:bodyPr wrap="none"/>
          <a:lstStyle>
            <a:lvl1pPr marL="0" indent="0">
              <a:spcBef>
                <a:spcPts val="0"/>
              </a:spcBef>
              <a:buNone/>
              <a:defRPr sz="1200"/>
            </a:lvl1pPr>
            <a:lvl2pPr marL="0" indent="0">
              <a:buNone/>
              <a:defRPr sz="1200"/>
            </a:lvl2pPr>
            <a:lvl3pPr marL="0" indent="0">
              <a:buNone/>
              <a:defRPr sz="1200"/>
            </a:lvl3pPr>
            <a:lvl4pPr marL="0">
              <a:buNone/>
              <a:defRPr sz="1200"/>
            </a:lvl4pPr>
            <a:lvl5pPr marL="0" indent="0">
              <a:buNone/>
              <a:defRPr sz="1200"/>
            </a:lvl5pPr>
          </a:lstStyle>
          <a:p>
            <a:pPr lvl="0"/>
            <a:r>
              <a:rPr lang="en-US" dirty="0"/>
              <a:t>Name</a:t>
            </a:r>
          </a:p>
        </p:txBody>
      </p:sp>
      <p:sp>
        <p:nvSpPr>
          <p:cNvPr id="34" name="Text Placeholder 30"/>
          <p:cNvSpPr>
            <a:spLocks noGrp="1"/>
          </p:cNvSpPr>
          <p:nvPr>
            <p:ph type="body" sz="quarter" idx="15" hasCustomPrompt="1"/>
          </p:nvPr>
        </p:nvSpPr>
        <p:spPr>
          <a:xfrm>
            <a:off x="417600" y="5691445"/>
            <a:ext cx="3816000" cy="296333"/>
          </a:xfrm>
        </p:spPr>
        <p:txBody>
          <a:bodyPr wrap="none"/>
          <a:lstStyle>
            <a:lvl1pPr marL="0" indent="0">
              <a:spcBef>
                <a:spcPts val="0"/>
              </a:spcBef>
              <a:buNone/>
              <a:defRPr sz="1200"/>
            </a:lvl1pPr>
            <a:lvl2pPr marL="0" indent="0">
              <a:buNone/>
              <a:defRPr sz="1200"/>
            </a:lvl2pPr>
            <a:lvl3pPr marL="0" indent="0">
              <a:buNone/>
              <a:defRPr sz="1200"/>
            </a:lvl3pPr>
            <a:lvl4pPr marL="0">
              <a:buNone/>
              <a:defRPr sz="1200"/>
            </a:lvl4pPr>
            <a:lvl5pPr marL="0" indent="0">
              <a:buNone/>
              <a:defRPr sz="1200"/>
            </a:lvl5pPr>
          </a:lstStyle>
          <a:p>
            <a:pPr lvl="0"/>
            <a:r>
              <a:rPr lang="en-US" dirty="0"/>
              <a:t>Department</a:t>
            </a:r>
          </a:p>
        </p:txBody>
      </p:sp>
    </p:spTree>
    <p:extLst>
      <p:ext uri="{BB962C8B-B14F-4D97-AF65-F5344CB8AC3E}">
        <p14:creationId xmlns:p14="http://schemas.microsoft.com/office/powerpoint/2010/main" val="1204982397"/>
      </p:ext>
    </p:extLst>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showMasterSp="0" preserve="1">
  <p:cSld name="Title 1">
    <p:spTree>
      <p:nvGrpSpPr>
        <p:cNvPr id="1" name=""/>
        <p:cNvGrpSpPr/>
        <p:nvPr/>
      </p:nvGrpSpPr>
      <p:grpSpPr>
        <a:xfrm>
          <a:off x="0" y="0"/>
          <a:ext cx="0" cy="0"/>
          <a:chOff x="0" y="0"/>
          <a:chExt cx="0" cy="0"/>
        </a:xfrm>
      </p:grpSpPr>
      <p:pic>
        <p:nvPicPr>
          <p:cNvPr id="12" name="Рисунок 11" descr="Изображение выглядит как вода, внешний, едет, океан&#10;&#10;Автоматически созданное описание">
            <a:extLst>
              <a:ext uri="{FF2B5EF4-FFF2-40B4-BE49-F238E27FC236}">
                <a16:creationId xmlns:a16="http://schemas.microsoft.com/office/drawing/2014/main" id="{5E9875A3-711A-46F2-A8B1-CF8A7560EB27}"/>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3053753" y="0"/>
            <a:ext cx="9138249" cy="6858000"/>
          </a:xfrm>
          <a:prstGeom prst="rect">
            <a:avLst/>
          </a:prstGeom>
        </p:spPr>
      </p:pic>
      <p:sp>
        <p:nvSpPr>
          <p:cNvPr id="29" name="shpPicture"/>
          <p:cNvSpPr/>
          <p:nvPr/>
        </p:nvSpPr>
        <p:spPr>
          <a:xfrm>
            <a:off x="1" y="0"/>
            <a:ext cx="4956719" cy="6858000"/>
          </a:xfrm>
          <a:custGeom>
            <a:avLst/>
            <a:gdLst>
              <a:gd name="connsiteX0" fmla="*/ 0 w 4956718"/>
              <a:gd name="connsiteY0" fmla="*/ 0 h 6858000"/>
              <a:gd name="connsiteX1" fmla="*/ 3707268 w 4956718"/>
              <a:gd name="connsiteY1" fmla="*/ 0 h 6858000"/>
              <a:gd name="connsiteX2" fmla="*/ 4956718 w 4956718"/>
              <a:gd name="connsiteY2" fmla="*/ 4163677 h 6858000"/>
              <a:gd name="connsiteX3" fmla="*/ 3376226 w 4956718"/>
              <a:gd name="connsiteY3" fmla="*/ 6858000 h 6858000"/>
              <a:gd name="connsiteX4" fmla="*/ 0 w 4956718"/>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56718" h="6858000">
                <a:moveTo>
                  <a:pt x="0" y="0"/>
                </a:moveTo>
                <a:lnTo>
                  <a:pt x="3707268" y="0"/>
                </a:lnTo>
                <a:lnTo>
                  <a:pt x="4956718" y="4163677"/>
                </a:lnTo>
                <a:lnTo>
                  <a:pt x="3376226"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125000"/>
              </a:lnSpc>
            </a:pPr>
            <a:endParaRPr lang="en-US" sz="1599" dirty="0"/>
          </a:p>
        </p:txBody>
      </p:sp>
      <p:grpSp>
        <p:nvGrpSpPr>
          <p:cNvPr id="14" name="logo">
            <a:extLst>
              <a:ext uri="{FF2B5EF4-FFF2-40B4-BE49-F238E27FC236}">
                <a16:creationId xmlns:a16="http://schemas.microsoft.com/office/drawing/2014/main" id="{18C26D95-70F8-8A4D-9F18-DCCB92522AF8}"/>
              </a:ext>
            </a:extLst>
          </p:cNvPr>
          <p:cNvGrpSpPr/>
          <p:nvPr/>
        </p:nvGrpSpPr>
        <p:grpSpPr bwMode="gray">
          <a:xfrm>
            <a:off x="417365" y="407485"/>
            <a:ext cx="1518585" cy="646507"/>
            <a:chOff x="334963" y="296652"/>
            <a:chExt cx="1268411" cy="540000"/>
          </a:xfrm>
        </p:grpSpPr>
        <p:sp>
          <p:nvSpPr>
            <p:cNvPr id="17" name="Freeform 6">
              <a:extLst>
                <a:ext uri="{FF2B5EF4-FFF2-40B4-BE49-F238E27FC236}">
                  <a16:creationId xmlns:a16="http://schemas.microsoft.com/office/drawing/2014/main" id="{08737AD0-E375-E445-97E6-CD2E2DF60620}"/>
                </a:ext>
              </a:extLst>
            </p:cNvPr>
            <p:cNvSpPr>
              <a:spLocks noEditPoints="1"/>
            </p:cNvSpPr>
            <p:nvPr/>
          </p:nvSpPr>
          <p:spPr bwMode="gray">
            <a:xfrm>
              <a:off x="982662" y="360462"/>
              <a:ext cx="620712" cy="431800"/>
            </a:xfrm>
            <a:custGeom>
              <a:avLst/>
              <a:gdLst>
                <a:gd name="T0" fmla="*/ 19 w 1809"/>
                <a:gd name="T1" fmla="*/ 97 h 1253"/>
                <a:gd name="T2" fmla="*/ 165 w 1809"/>
                <a:gd name="T3" fmla="*/ 41 h 1253"/>
                <a:gd name="T4" fmla="*/ 211 w 1809"/>
                <a:gd name="T5" fmla="*/ 224 h 1253"/>
                <a:gd name="T6" fmla="*/ 248 w 1809"/>
                <a:gd name="T7" fmla="*/ 155 h 1253"/>
                <a:gd name="T8" fmla="*/ 931 w 1809"/>
                <a:gd name="T9" fmla="*/ 995 h 1253"/>
                <a:gd name="T10" fmla="*/ 858 w 1809"/>
                <a:gd name="T11" fmla="*/ 1115 h 1253"/>
                <a:gd name="T12" fmla="*/ 749 w 1809"/>
                <a:gd name="T13" fmla="*/ 1117 h 1253"/>
                <a:gd name="T14" fmla="*/ 681 w 1809"/>
                <a:gd name="T15" fmla="*/ 1055 h 1253"/>
                <a:gd name="T16" fmla="*/ 800 w 1809"/>
                <a:gd name="T17" fmla="*/ 1054 h 1253"/>
                <a:gd name="T18" fmla="*/ 884 w 1809"/>
                <a:gd name="T19" fmla="*/ 1181 h 1253"/>
                <a:gd name="T20" fmla="*/ 118 w 1809"/>
                <a:gd name="T21" fmla="*/ 1086 h 1253"/>
                <a:gd name="T22" fmla="*/ 147 w 1809"/>
                <a:gd name="T23" fmla="*/ 1026 h 1253"/>
                <a:gd name="T24" fmla="*/ 102 w 1809"/>
                <a:gd name="T25" fmla="*/ 1026 h 1253"/>
                <a:gd name="T26" fmla="*/ 639 w 1809"/>
                <a:gd name="T27" fmla="*/ 84 h 1253"/>
                <a:gd name="T28" fmla="*/ 763 w 1809"/>
                <a:gd name="T29" fmla="*/ 145 h 1253"/>
                <a:gd name="T30" fmla="*/ 863 w 1809"/>
                <a:gd name="T31" fmla="*/ 221 h 1253"/>
                <a:gd name="T32" fmla="*/ 834 w 1809"/>
                <a:gd name="T33" fmla="*/ 208 h 1253"/>
                <a:gd name="T34" fmla="*/ 719 w 1809"/>
                <a:gd name="T35" fmla="*/ 182 h 1253"/>
                <a:gd name="T36" fmla="*/ 507 w 1809"/>
                <a:gd name="T37" fmla="*/ 711 h 1253"/>
                <a:gd name="T38" fmla="*/ 614 w 1809"/>
                <a:gd name="T39" fmla="*/ 706 h 1253"/>
                <a:gd name="T40" fmla="*/ 736 w 1809"/>
                <a:gd name="T41" fmla="*/ 730 h 1253"/>
                <a:gd name="T42" fmla="*/ 607 w 1809"/>
                <a:gd name="T43" fmla="*/ 539 h 1253"/>
                <a:gd name="T44" fmla="*/ 1505 w 1809"/>
                <a:gd name="T45" fmla="*/ 1136 h 1253"/>
                <a:gd name="T46" fmla="*/ 1613 w 1809"/>
                <a:gd name="T47" fmla="*/ 1002 h 1253"/>
                <a:gd name="T48" fmla="*/ 1472 w 1809"/>
                <a:gd name="T49" fmla="*/ 1164 h 1253"/>
                <a:gd name="T50" fmla="*/ 1525 w 1809"/>
                <a:gd name="T51" fmla="*/ 1142 h 1253"/>
                <a:gd name="T52" fmla="*/ 1556 w 1809"/>
                <a:gd name="T53" fmla="*/ 1172 h 1253"/>
                <a:gd name="T54" fmla="*/ 1387 w 1809"/>
                <a:gd name="T55" fmla="*/ 910 h 1253"/>
                <a:gd name="T56" fmla="*/ 1261 w 1809"/>
                <a:gd name="T57" fmla="*/ 1157 h 1253"/>
                <a:gd name="T58" fmla="*/ 1413 w 1809"/>
                <a:gd name="T59" fmla="*/ 934 h 1253"/>
                <a:gd name="T60" fmla="*/ 1378 w 1809"/>
                <a:gd name="T61" fmla="*/ 1052 h 1253"/>
                <a:gd name="T62" fmla="*/ 488 w 1809"/>
                <a:gd name="T63" fmla="*/ 85 h 1253"/>
                <a:gd name="T64" fmla="*/ 509 w 1809"/>
                <a:gd name="T65" fmla="*/ 112 h 1253"/>
                <a:gd name="T66" fmla="*/ 548 w 1809"/>
                <a:gd name="T67" fmla="*/ 1187 h 1253"/>
                <a:gd name="T68" fmla="*/ 472 w 1809"/>
                <a:gd name="T69" fmla="*/ 1122 h 1253"/>
                <a:gd name="T70" fmla="*/ 558 w 1809"/>
                <a:gd name="T71" fmla="*/ 1157 h 1253"/>
                <a:gd name="T72" fmla="*/ 287 w 1809"/>
                <a:gd name="T73" fmla="*/ 654 h 1253"/>
                <a:gd name="T74" fmla="*/ 416 w 1809"/>
                <a:gd name="T75" fmla="*/ 684 h 1253"/>
                <a:gd name="T76" fmla="*/ 1106 w 1809"/>
                <a:gd name="T77" fmla="*/ 147 h 1253"/>
                <a:gd name="T78" fmla="*/ 1229 w 1809"/>
                <a:gd name="T79" fmla="*/ 258 h 1253"/>
                <a:gd name="T80" fmla="*/ 1106 w 1809"/>
                <a:gd name="T81" fmla="*/ 96 h 1253"/>
                <a:gd name="T82" fmla="*/ 1219 w 1809"/>
                <a:gd name="T83" fmla="*/ 1077 h 1253"/>
                <a:gd name="T84" fmla="*/ 1214 w 1809"/>
                <a:gd name="T85" fmla="*/ 1157 h 1253"/>
                <a:gd name="T86" fmla="*/ 1150 w 1809"/>
                <a:gd name="T87" fmla="*/ 1092 h 1253"/>
                <a:gd name="T88" fmla="*/ 1139 w 1809"/>
                <a:gd name="T89" fmla="*/ 1070 h 1253"/>
                <a:gd name="T90" fmla="*/ 1659 w 1809"/>
                <a:gd name="T91" fmla="*/ 1031 h 1253"/>
                <a:gd name="T92" fmla="*/ 1714 w 1809"/>
                <a:gd name="T93" fmla="*/ 1155 h 1253"/>
                <a:gd name="T94" fmla="*/ 1760 w 1809"/>
                <a:gd name="T95" fmla="*/ 1030 h 1253"/>
                <a:gd name="T96" fmla="*/ 111 w 1809"/>
                <a:gd name="T97" fmla="*/ 569 h 1253"/>
                <a:gd name="T98" fmla="*/ 109 w 1809"/>
                <a:gd name="T99" fmla="*/ 460 h 1253"/>
                <a:gd name="T100" fmla="*/ 32 w 1809"/>
                <a:gd name="T101" fmla="*/ 704 h 1253"/>
                <a:gd name="T102" fmla="*/ 310 w 1809"/>
                <a:gd name="T103" fmla="*/ 1058 h 1253"/>
                <a:gd name="T104" fmla="*/ 431 w 1809"/>
                <a:gd name="T105" fmla="*/ 1044 h 1253"/>
                <a:gd name="T106" fmla="*/ 278 w 1809"/>
                <a:gd name="T107" fmla="*/ 1165 h 1253"/>
                <a:gd name="T108" fmla="*/ 261 w 1809"/>
                <a:gd name="T109" fmla="*/ 540 h 1253"/>
                <a:gd name="T110" fmla="*/ 150 w 1809"/>
                <a:gd name="T111" fmla="*/ 635 h 1253"/>
                <a:gd name="T112" fmla="*/ 994 w 1809"/>
                <a:gd name="T113" fmla="*/ 1185 h 1253"/>
                <a:gd name="T114" fmla="*/ 331 w 1809"/>
                <a:gd name="T115" fmla="*/ 176 h 1253"/>
                <a:gd name="T116" fmla="*/ 333 w 1809"/>
                <a:gd name="T117" fmla="*/ 109 h 1253"/>
                <a:gd name="T118" fmla="*/ 946 w 1809"/>
                <a:gd name="T119" fmla="*/ 234 h 1253"/>
                <a:gd name="T120" fmla="*/ 1022 w 1809"/>
                <a:gd name="T121" fmla="*/ 113 h 1253"/>
                <a:gd name="T122" fmla="*/ 949 w 1809"/>
                <a:gd name="T123" fmla="*/ 65 h 1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09" h="1253">
                  <a:moveTo>
                    <a:pt x="248" y="198"/>
                  </a:moveTo>
                  <a:cubicBezTo>
                    <a:pt x="248" y="211"/>
                    <a:pt x="248" y="224"/>
                    <a:pt x="249" y="237"/>
                  </a:cubicBezTo>
                  <a:cubicBezTo>
                    <a:pt x="249" y="245"/>
                    <a:pt x="246" y="249"/>
                    <a:pt x="240" y="253"/>
                  </a:cubicBezTo>
                  <a:cubicBezTo>
                    <a:pt x="231" y="260"/>
                    <a:pt x="220" y="264"/>
                    <a:pt x="209" y="268"/>
                  </a:cubicBezTo>
                  <a:cubicBezTo>
                    <a:pt x="179" y="279"/>
                    <a:pt x="148" y="280"/>
                    <a:pt x="118" y="275"/>
                  </a:cubicBezTo>
                  <a:cubicBezTo>
                    <a:pt x="86" y="269"/>
                    <a:pt x="58" y="252"/>
                    <a:pt x="39" y="224"/>
                  </a:cubicBezTo>
                  <a:cubicBezTo>
                    <a:pt x="24" y="203"/>
                    <a:pt x="18" y="180"/>
                    <a:pt x="15" y="155"/>
                  </a:cubicBezTo>
                  <a:cubicBezTo>
                    <a:pt x="11" y="135"/>
                    <a:pt x="15" y="115"/>
                    <a:pt x="19" y="97"/>
                  </a:cubicBezTo>
                  <a:cubicBezTo>
                    <a:pt x="26" y="68"/>
                    <a:pt x="42" y="44"/>
                    <a:pt x="68" y="27"/>
                  </a:cubicBezTo>
                  <a:cubicBezTo>
                    <a:pt x="87" y="14"/>
                    <a:pt x="109" y="6"/>
                    <a:pt x="133" y="5"/>
                  </a:cubicBezTo>
                  <a:cubicBezTo>
                    <a:pt x="149" y="4"/>
                    <a:pt x="165" y="5"/>
                    <a:pt x="181" y="6"/>
                  </a:cubicBezTo>
                  <a:cubicBezTo>
                    <a:pt x="204" y="8"/>
                    <a:pt x="225" y="20"/>
                    <a:pt x="243" y="35"/>
                  </a:cubicBezTo>
                  <a:cubicBezTo>
                    <a:pt x="246" y="37"/>
                    <a:pt x="246" y="40"/>
                    <a:pt x="244" y="43"/>
                  </a:cubicBezTo>
                  <a:cubicBezTo>
                    <a:pt x="242" y="47"/>
                    <a:pt x="239" y="52"/>
                    <a:pt x="236" y="55"/>
                  </a:cubicBezTo>
                  <a:cubicBezTo>
                    <a:pt x="226" y="65"/>
                    <a:pt x="224" y="65"/>
                    <a:pt x="206" y="54"/>
                  </a:cubicBezTo>
                  <a:cubicBezTo>
                    <a:pt x="193" y="46"/>
                    <a:pt x="180" y="40"/>
                    <a:pt x="165" y="41"/>
                  </a:cubicBezTo>
                  <a:cubicBezTo>
                    <a:pt x="151" y="41"/>
                    <a:pt x="137" y="39"/>
                    <a:pt x="124" y="42"/>
                  </a:cubicBezTo>
                  <a:cubicBezTo>
                    <a:pt x="104" y="46"/>
                    <a:pt x="87" y="57"/>
                    <a:pt x="75" y="74"/>
                  </a:cubicBezTo>
                  <a:cubicBezTo>
                    <a:pt x="56" y="99"/>
                    <a:pt x="51" y="129"/>
                    <a:pt x="55" y="159"/>
                  </a:cubicBezTo>
                  <a:cubicBezTo>
                    <a:pt x="60" y="189"/>
                    <a:pt x="73" y="214"/>
                    <a:pt x="98" y="230"/>
                  </a:cubicBezTo>
                  <a:cubicBezTo>
                    <a:pt x="109" y="237"/>
                    <a:pt x="121" y="242"/>
                    <a:pt x="135" y="241"/>
                  </a:cubicBezTo>
                  <a:cubicBezTo>
                    <a:pt x="146" y="241"/>
                    <a:pt x="158" y="241"/>
                    <a:pt x="169" y="241"/>
                  </a:cubicBezTo>
                  <a:cubicBezTo>
                    <a:pt x="182" y="242"/>
                    <a:pt x="193" y="235"/>
                    <a:pt x="205" y="232"/>
                  </a:cubicBezTo>
                  <a:cubicBezTo>
                    <a:pt x="210" y="231"/>
                    <a:pt x="211" y="227"/>
                    <a:pt x="211" y="224"/>
                  </a:cubicBezTo>
                  <a:cubicBezTo>
                    <a:pt x="211" y="210"/>
                    <a:pt x="211" y="196"/>
                    <a:pt x="211" y="183"/>
                  </a:cubicBezTo>
                  <a:cubicBezTo>
                    <a:pt x="211" y="177"/>
                    <a:pt x="207" y="175"/>
                    <a:pt x="202" y="175"/>
                  </a:cubicBezTo>
                  <a:cubicBezTo>
                    <a:pt x="193" y="175"/>
                    <a:pt x="184" y="175"/>
                    <a:pt x="175" y="175"/>
                  </a:cubicBezTo>
                  <a:cubicBezTo>
                    <a:pt x="171" y="175"/>
                    <a:pt x="168" y="174"/>
                    <a:pt x="166" y="171"/>
                  </a:cubicBezTo>
                  <a:cubicBezTo>
                    <a:pt x="163" y="163"/>
                    <a:pt x="164" y="154"/>
                    <a:pt x="166" y="146"/>
                  </a:cubicBezTo>
                  <a:cubicBezTo>
                    <a:pt x="167" y="142"/>
                    <a:pt x="171" y="142"/>
                    <a:pt x="175" y="142"/>
                  </a:cubicBezTo>
                  <a:cubicBezTo>
                    <a:pt x="196" y="142"/>
                    <a:pt x="217" y="142"/>
                    <a:pt x="238" y="142"/>
                  </a:cubicBezTo>
                  <a:cubicBezTo>
                    <a:pt x="247" y="142"/>
                    <a:pt x="248" y="148"/>
                    <a:pt x="248" y="155"/>
                  </a:cubicBezTo>
                  <a:cubicBezTo>
                    <a:pt x="249" y="169"/>
                    <a:pt x="248" y="183"/>
                    <a:pt x="248" y="198"/>
                  </a:cubicBezTo>
                  <a:close/>
                  <a:moveTo>
                    <a:pt x="884" y="1181"/>
                  </a:moveTo>
                  <a:cubicBezTo>
                    <a:pt x="889" y="1167"/>
                    <a:pt x="894" y="1152"/>
                    <a:pt x="898" y="1137"/>
                  </a:cubicBezTo>
                  <a:cubicBezTo>
                    <a:pt x="901" y="1127"/>
                    <a:pt x="905" y="1116"/>
                    <a:pt x="908" y="1106"/>
                  </a:cubicBezTo>
                  <a:cubicBezTo>
                    <a:pt x="911" y="1098"/>
                    <a:pt x="912" y="1089"/>
                    <a:pt x="916" y="1081"/>
                  </a:cubicBezTo>
                  <a:cubicBezTo>
                    <a:pt x="921" y="1072"/>
                    <a:pt x="923" y="1060"/>
                    <a:pt x="927" y="1050"/>
                  </a:cubicBezTo>
                  <a:cubicBezTo>
                    <a:pt x="932" y="1037"/>
                    <a:pt x="934" y="1023"/>
                    <a:pt x="940" y="1010"/>
                  </a:cubicBezTo>
                  <a:cubicBezTo>
                    <a:pt x="945" y="1001"/>
                    <a:pt x="941" y="995"/>
                    <a:pt x="931" y="995"/>
                  </a:cubicBezTo>
                  <a:cubicBezTo>
                    <a:pt x="927" y="995"/>
                    <a:pt x="922" y="995"/>
                    <a:pt x="918" y="995"/>
                  </a:cubicBezTo>
                  <a:cubicBezTo>
                    <a:pt x="913" y="995"/>
                    <a:pt x="908" y="997"/>
                    <a:pt x="907" y="1001"/>
                  </a:cubicBezTo>
                  <a:cubicBezTo>
                    <a:pt x="904" y="1008"/>
                    <a:pt x="900" y="1015"/>
                    <a:pt x="899" y="1023"/>
                  </a:cubicBezTo>
                  <a:cubicBezTo>
                    <a:pt x="897" y="1034"/>
                    <a:pt x="893" y="1045"/>
                    <a:pt x="889" y="1055"/>
                  </a:cubicBezTo>
                  <a:cubicBezTo>
                    <a:pt x="887" y="1064"/>
                    <a:pt x="885" y="1072"/>
                    <a:pt x="882" y="1080"/>
                  </a:cubicBezTo>
                  <a:cubicBezTo>
                    <a:pt x="878" y="1091"/>
                    <a:pt x="874" y="1103"/>
                    <a:pt x="871" y="1115"/>
                  </a:cubicBezTo>
                  <a:cubicBezTo>
                    <a:pt x="870" y="1118"/>
                    <a:pt x="871" y="1124"/>
                    <a:pt x="866" y="1124"/>
                  </a:cubicBezTo>
                  <a:cubicBezTo>
                    <a:pt x="861" y="1125"/>
                    <a:pt x="859" y="1120"/>
                    <a:pt x="858" y="1115"/>
                  </a:cubicBezTo>
                  <a:cubicBezTo>
                    <a:pt x="856" y="1110"/>
                    <a:pt x="856" y="1104"/>
                    <a:pt x="854" y="1099"/>
                  </a:cubicBezTo>
                  <a:cubicBezTo>
                    <a:pt x="848" y="1080"/>
                    <a:pt x="841" y="1062"/>
                    <a:pt x="835" y="1044"/>
                  </a:cubicBezTo>
                  <a:cubicBezTo>
                    <a:pt x="831" y="1030"/>
                    <a:pt x="828" y="1016"/>
                    <a:pt x="822" y="1003"/>
                  </a:cubicBezTo>
                  <a:cubicBezTo>
                    <a:pt x="819" y="997"/>
                    <a:pt x="814" y="994"/>
                    <a:pt x="808" y="994"/>
                  </a:cubicBezTo>
                  <a:cubicBezTo>
                    <a:pt x="799" y="993"/>
                    <a:pt x="791" y="993"/>
                    <a:pt x="787" y="1001"/>
                  </a:cubicBezTo>
                  <a:cubicBezTo>
                    <a:pt x="783" y="1008"/>
                    <a:pt x="780" y="1015"/>
                    <a:pt x="779" y="1022"/>
                  </a:cubicBezTo>
                  <a:cubicBezTo>
                    <a:pt x="778" y="1034"/>
                    <a:pt x="772" y="1044"/>
                    <a:pt x="769" y="1055"/>
                  </a:cubicBezTo>
                  <a:cubicBezTo>
                    <a:pt x="762" y="1076"/>
                    <a:pt x="754" y="1096"/>
                    <a:pt x="749" y="1117"/>
                  </a:cubicBezTo>
                  <a:cubicBezTo>
                    <a:pt x="748" y="1120"/>
                    <a:pt x="747" y="1124"/>
                    <a:pt x="742" y="1124"/>
                  </a:cubicBezTo>
                  <a:cubicBezTo>
                    <a:pt x="737" y="1124"/>
                    <a:pt x="737" y="1120"/>
                    <a:pt x="736" y="1116"/>
                  </a:cubicBezTo>
                  <a:cubicBezTo>
                    <a:pt x="734" y="1104"/>
                    <a:pt x="730" y="1092"/>
                    <a:pt x="726" y="1080"/>
                  </a:cubicBezTo>
                  <a:cubicBezTo>
                    <a:pt x="720" y="1061"/>
                    <a:pt x="714" y="1040"/>
                    <a:pt x="708" y="1020"/>
                  </a:cubicBezTo>
                  <a:cubicBezTo>
                    <a:pt x="703" y="1000"/>
                    <a:pt x="698" y="994"/>
                    <a:pt x="676" y="995"/>
                  </a:cubicBezTo>
                  <a:cubicBezTo>
                    <a:pt x="665" y="996"/>
                    <a:pt x="661" y="1001"/>
                    <a:pt x="667" y="1011"/>
                  </a:cubicBezTo>
                  <a:cubicBezTo>
                    <a:pt x="669" y="1016"/>
                    <a:pt x="670" y="1021"/>
                    <a:pt x="672" y="1025"/>
                  </a:cubicBezTo>
                  <a:cubicBezTo>
                    <a:pt x="675" y="1035"/>
                    <a:pt x="678" y="1046"/>
                    <a:pt x="681" y="1055"/>
                  </a:cubicBezTo>
                  <a:cubicBezTo>
                    <a:pt x="685" y="1068"/>
                    <a:pt x="689" y="1080"/>
                    <a:pt x="693" y="1092"/>
                  </a:cubicBezTo>
                  <a:cubicBezTo>
                    <a:pt x="697" y="1103"/>
                    <a:pt x="699" y="1113"/>
                    <a:pt x="703" y="1124"/>
                  </a:cubicBezTo>
                  <a:cubicBezTo>
                    <a:pt x="707" y="1136"/>
                    <a:pt x="711" y="1147"/>
                    <a:pt x="715" y="1160"/>
                  </a:cubicBezTo>
                  <a:cubicBezTo>
                    <a:pt x="717" y="1168"/>
                    <a:pt x="720" y="1176"/>
                    <a:pt x="724" y="1183"/>
                  </a:cubicBezTo>
                  <a:cubicBezTo>
                    <a:pt x="728" y="1189"/>
                    <a:pt x="752" y="1185"/>
                    <a:pt x="757" y="1180"/>
                  </a:cubicBezTo>
                  <a:cubicBezTo>
                    <a:pt x="764" y="1173"/>
                    <a:pt x="762" y="1163"/>
                    <a:pt x="766" y="1156"/>
                  </a:cubicBezTo>
                  <a:cubicBezTo>
                    <a:pt x="774" y="1140"/>
                    <a:pt x="778" y="1122"/>
                    <a:pt x="784" y="1105"/>
                  </a:cubicBezTo>
                  <a:cubicBezTo>
                    <a:pt x="789" y="1088"/>
                    <a:pt x="796" y="1072"/>
                    <a:pt x="800" y="1054"/>
                  </a:cubicBezTo>
                  <a:cubicBezTo>
                    <a:pt x="800" y="1053"/>
                    <a:pt x="801" y="1050"/>
                    <a:pt x="803" y="1050"/>
                  </a:cubicBezTo>
                  <a:cubicBezTo>
                    <a:pt x="806" y="1050"/>
                    <a:pt x="806" y="1052"/>
                    <a:pt x="807" y="1055"/>
                  </a:cubicBezTo>
                  <a:cubicBezTo>
                    <a:pt x="807" y="1060"/>
                    <a:pt x="810" y="1066"/>
                    <a:pt x="811" y="1071"/>
                  </a:cubicBezTo>
                  <a:cubicBezTo>
                    <a:pt x="814" y="1081"/>
                    <a:pt x="818" y="1090"/>
                    <a:pt x="821" y="1099"/>
                  </a:cubicBezTo>
                  <a:cubicBezTo>
                    <a:pt x="824" y="1110"/>
                    <a:pt x="827" y="1120"/>
                    <a:pt x="831" y="1131"/>
                  </a:cubicBezTo>
                  <a:cubicBezTo>
                    <a:pt x="834" y="1142"/>
                    <a:pt x="839" y="1153"/>
                    <a:pt x="842" y="1164"/>
                  </a:cubicBezTo>
                  <a:cubicBezTo>
                    <a:pt x="846" y="1179"/>
                    <a:pt x="850" y="1188"/>
                    <a:pt x="869" y="1185"/>
                  </a:cubicBezTo>
                  <a:cubicBezTo>
                    <a:pt x="873" y="1184"/>
                    <a:pt x="881" y="1189"/>
                    <a:pt x="884" y="1181"/>
                  </a:cubicBezTo>
                  <a:close/>
                  <a:moveTo>
                    <a:pt x="33" y="1051"/>
                  </a:moveTo>
                  <a:cubicBezTo>
                    <a:pt x="33" y="1087"/>
                    <a:pt x="33" y="1124"/>
                    <a:pt x="33" y="1160"/>
                  </a:cubicBezTo>
                  <a:cubicBezTo>
                    <a:pt x="33" y="1188"/>
                    <a:pt x="29" y="1184"/>
                    <a:pt x="58" y="1185"/>
                  </a:cubicBezTo>
                  <a:cubicBezTo>
                    <a:pt x="72" y="1185"/>
                    <a:pt x="73" y="1184"/>
                    <a:pt x="73" y="1170"/>
                  </a:cubicBezTo>
                  <a:cubicBezTo>
                    <a:pt x="73" y="1138"/>
                    <a:pt x="73" y="1107"/>
                    <a:pt x="73" y="1076"/>
                  </a:cubicBezTo>
                  <a:cubicBezTo>
                    <a:pt x="73" y="1071"/>
                    <a:pt x="72" y="1067"/>
                    <a:pt x="78" y="1065"/>
                  </a:cubicBezTo>
                  <a:cubicBezTo>
                    <a:pt x="91" y="1062"/>
                    <a:pt x="102" y="1067"/>
                    <a:pt x="110" y="1076"/>
                  </a:cubicBezTo>
                  <a:cubicBezTo>
                    <a:pt x="112" y="1080"/>
                    <a:pt x="115" y="1083"/>
                    <a:pt x="118" y="1086"/>
                  </a:cubicBezTo>
                  <a:cubicBezTo>
                    <a:pt x="132" y="1103"/>
                    <a:pt x="146" y="1119"/>
                    <a:pt x="161" y="1136"/>
                  </a:cubicBezTo>
                  <a:cubicBezTo>
                    <a:pt x="173" y="1150"/>
                    <a:pt x="186" y="1165"/>
                    <a:pt x="198" y="1179"/>
                  </a:cubicBezTo>
                  <a:cubicBezTo>
                    <a:pt x="207" y="1188"/>
                    <a:pt x="218" y="1184"/>
                    <a:pt x="228" y="1185"/>
                  </a:cubicBezTo>
                  <a:cubicBezTo>
                    <a:pt x="233" y="1185"/>
                    <a:pt x="241" y="1188"/>
                    <a:pt x="244" y="1182"/>
                  </a:cubicBezTo>
                  <a:cubicBezTo>
                    <a:pt x="246" y="1178"/>
                    <a:pt x="239" y="1173"/>
                    <a:pt x="235" y="1169"/>
                  </a:cubicBezTo>
                  <a:cubicBezTo>
                    <a:pt x="206" y="1133"/>
                    <a:pt x="176" y="1098"/>
                    <a:pt x="146" y="1062"/>
                  </a:cubicBezTo>
                  <a:cubicBezTo>
                    <a:pt x="141" y="1056"/>
                    <a:pt x="131" y="1052"/>
                    <a:pt x="132" y="1044"/>
                  </a:cubicBezTo>
                  <a:cubicBezTo>
                    <a:pt x="132" y="1036"/>
                    <a:pt x="142" y="1032"/>
                    <a:pt x="147" y="1026"/>
                  </a:cubicBezTo>
                  <a:cubicBezTo>
                    <a:pt x="164" y="1006"/>
                    <a:pt x="182" y="988"/>
                    <a:pt x="198" y="968"/>
                  </a:cubicBezTo>
                  <a:cubicBezTo>
                    <a:pt x="209" y="954"/>
                    <a:pt x="221" y="942"/>
                    <a:pt x="234" y="929"/>
                  </a:cubicBezTo>
                  <a:cubicBezTo>
                    <a:pt x="236" y="926"/>
                    <a:pt x="238" y="923"/>
                    <a:pt x="237" y="920"/>
                  </a:cubicBezTo>
                  <a:cubicBezTo>
                    <a:pt x="235" y="915"/>
                    <a:pt x="231" y="917"/>
                    <a:pt x="228" y="917"/>
                  </a:cubicBezTo>
                  <a:cubicBezTo>
                    <a:pt x="224" y="918"/>
                    <a:pt x="221" y="918"/>
                    <a:pt x="217" y="918"/>
                  </a:cubicBezTo>
                  <a:cubicBezTo>
                    <a:pt x="204" y="917"/>
                    <a:pt x="193" y="922"/>
                    <a:pt x="185" y="931"/>
                  </a:cubicBezTo>
                  <a:cubicBezTo>
                    <a:pt x="172" y="946"/>
                    <a:pt x="158" y="961"/>
                    <a:pt x="145" y="977"/>
                  </a:cubicBezTo>
                  <a:cubicBezTo>
                    <a:pt x="131" y="993"/>
                    <a:pt x="117" y="1010"/>
                    <a:pt x="102" y="1026"/>
                  </a:cubicBezTo>
                  <a:cubicBezTo>
                    <a:pt x="96" y="1032"/>
                    <a:pt x="87" y="1037"/>
                    <a:pt x="78" y="1034"/>
                  </a:cubicBezTo>
                  <a:cubicBezTo>
                    <a:pt x="70" y="1030"/>
                    <a:pt x="73" y="1021"/>
                    <a:pt x="73" y="1015"/>
                  </a:cubicBezTo>
                  <a:cubicBezTo>
                    <a:pt x="73" y="991"/>
                    <a:pt x="73" y="967"/>
                    <a:pt x="73" y="944"/>
                  </a:cubicBezTo>
                  <a:cubicBezTo>
                    <a:pt x="73" y="916"/>
                    <a:pt x="75" y="917"/>
                    <a:pt x="46" y="918"/>
                  </a:cubicBezTo>
                  <a:cubicBezTo>
                    <a:pt x="33" y="918"/>
                    <a:pt x="33" y="918"/>
                    <a:pt x="33" y="931"/>
                  </a:cubicBezTo>
                  <a:cubicBezTo>
                    <a:pt x="33" y="971"/>
                    <a:pt x="33" y="1011"/>
                    <a:pt x="33" y="1051"/>
                  </a:cubicBezTo>
                  <a:cubicBezTo>
                    <a:pt x="33" y="1051"/>
                    <a:pt x="33" y="1051"/>
                    <a:pt x="33" y="1051"/>
                  </a:cubicBezTo>
                  <a:close/>
                  <a:moveTo>
                    <a:pt x="639" y="84"/>
                  </a:moveTo>
                  <a:cubicBezTo>
                    <a:pt x="627" y="84"/>
                    <a:pt x="626" y="84"/>
                    <a:pt x="629" y="95"/>
                  </a:cubicBezTo>
                  <a:cubicBezTo>
                    <a:pt x="634" y="113"/>
                    <a:pt x="640" y="131"/>
                    <a:pt x="646" y="148"/>
                  </a:cubicBezTo>
                  <a:cubicBezTo>
                    <a:pt x="652" y="166"/>
                    <a:pt x="658" y="185"/>
                    <a:pt x="664" y="203"/>
                  </a:cubicBezTo>
                  <a:cubicBezTo>
                    <a:pt x="671" y="223"/>
                    <a:pt x="676" y="244"/>
                    <a:pt x="684" y="264"/>
                  </a:cubicBezTo>
                  <a:cubicBezTo>
                    <a:pt x="688" y="274"/>
                    <a:pt x="694" y="274"/>
                    <a:pt x="702" y="274"/>
                  </a:cubicBezTo>
                  <a:cubicBezTo>
                    <a:pt x="711" y="274"/>
                    <a:pt x="719" y="272"/>
                    <a:pt x="723" y="263"/>
                  </a:cubicBezTo>
                  <a:cubicBezTo>
                    <a:pt x="733" y="236"/>
                    <a:pt x="741" y="208"/>
                    <a:pt x="750" y="181"/>
                  </a:cubicBezTo>
                  <a:cubicBezTo>
                    <a:pt x="754" y="169"/>
                    <a:pt x="757" y="156"/>
                    <a:pt x="763" y="145"/>
                  </a:cubicBezTo>
                  <a:cubicBezTo>
                    <a:pt x="764" y="143"/>
                    <a:pt x="764" y="140"/>
                    <a:pt x="767" y="140"/>
                  </a:cubicBezTo>
                  <a:cubicBezTo>
                    <a:pt x="770" y="140"/>
                    <a:pt x="770" y="143"/>
                    <a:pt x="771" y="145"/>
                  </a:cubicBezTo>
                  <a:cubicBezTo>
                    <a:pt x="771" y="156"/>
                    <a:pt x="777" y="165"/>
                    <a:pt x="780" y="175"/>
                  </a:cubicBezTo>
                  <a:cubicBezTo>
                    <a:pt x="782" y="184"/>
                    <a:pt x="785" y="193"/>
                    <a:pt x="788" y="201"/>
                  </a:cubicBezTo>
                  <a:cubicBezTo>
                    <a:pt x="794" y="219"/>
                    <a:pt x="801" y="237"/>
                    <a:pt x="806" y="255"/>
                  </a:cubicBezTo>
                  <a:cubicBezTo>
                    <a:pt x="811" y="272"/>
                    <a:pt x="825" y="280"/>
                    <a:pt x="842" y="273"/>
                  </a:cubicBezTo>
                  <a:cubicBezTo>
                    <a:pt x="845" y="271"/>
                    <a:pt x="847" y="269"/>
                    <a:pt x="848" y="266"/>
                  </a:cubicBezTo>
                  <a:cubicBezTo>
                    <a:pt x="853" y="251"/>
                    <a:pt x="859" y="236"/>
                    <a:pt x="863" y="221"/>
                  </a:cubicBezTo>
                  <a:cubicBezTo>
                    <a:pt x="867" y="202"/>
                    <a:pt x="875" y="185"/>
                    <a:pt x="880" y="166"/>
                  </a:cubicBezTo>
                  <a:cubicBezTo>
                    <a:pt x="886" y="144"/>
                    <a:pt x="895" y="123"/>
                    <a:pt x="900" y="101"/>
                  </a:cubicBezTo>
                  <a:cubicBezTo>
                    <a:pt x="901" y="96"/>
                    <a:pt x="909" y="91"/>
                    <a:pt x="904" y="86"/>
                  </a:cubicBezTo>
                  <a:cubicBezTo>
                    <a:pt x="900" y="81"/>
                    <a:pt x="892" y="84"/>
                    <a:pt x="886" y="84"/>
                  </a:cubicBezTo>
                  <a:cubicBezTo>
                    <a:pt x="885" y="84"/>
                    <a:pt x="883" y="84"/>
                    <a:pt x="881" y="84"/>
                  </a:cubicBezTo>
                  <a:cubicBezTo>
                    <a:pt x="875" y="84"/>
                    <a:pt x="872" y="86"/>
                    <a:pt x="869" y="91"/>
                  </a:cubicBezTo>
                  <a:cubicBezTo>
                    <a:pt x="860" y="110"/>
                    <a:pt x="856" y="131"/>
                    <a:pt x="850" y="151"/>
                  </a:cubicBezTo>
                  <a:cubicBezTo>
                    <a:pt x="844" y="170"/>
                    <a:pt x="836" y="188"/>
                    <a:pt x="834" y="208"/>
                  </a:cubicBezTo>
                  <a:cubicBezTo>
                    <a:pt x="833" y="211"/>
                    <a:pt x="831" y="214"/>
                    <a:pt x="827" y="214"/>
                  </a:cubicBezTo>
                  <a:cubicBezTo>
                    <a:pt x="823" y="214"/>
                    <a:pt x="822" y="210"/>
                    <a:pt x="822" y="207"/>
                  </a:cubicBezTo>
                  <a:cubicBezTo>
                    <a:pt x="817" y="188"/>
                    <a:pt x="811" y="170"/>
                    <a:pt x="805" y="152"/>
                  </a:cubicBezTo>
                  <a:cubicBezTo>
                    <a:pt x="799" y="133"/>
                    <a:pt x="794" y="114"/>
                    <a:pt x="786" y="96"/>
                  </a:cubicBezTo>
                  <a:cubicBezTo>
                    <a:pt x="783" y="87"/>
                    <a:pt x="779" y="84"/>
                    <a:pt x="770" y="84"/>
                  </a:cubicBezTo>
                  <a:cubicBezTo>
                    <a:pt x="761" y="84"/>
                    <a:pt x="752" y="82"/>
                    <a:pt x="748" y="94"/>
                  </a:cubicBezTo>
                  <a:cubicBezTo>
                    <a:pt x="744" y="109"/>
                    <a:pt x="738" y="123"/>
                    <a:pt x="734" y="138"/>
                  </a:cubicBezTo>
                  <a:cubicBezTo>
                    <a:pt x="729" y="153"/>
                    <a:pt x="724" y="167"/>
                    <a:pt x="719" y="182"/>
                  </a:cubicBezTo>
                  <a:cubicBezTo>
                    <a:pt x="716" y="192"/>
                    <a:pt x="715" y="203"/>
                    <a:pt x="708" y="212"/>
                  </a:cubicBezTo>
                  <a:cubicBezTo>
                    <a:pt x="707" y="214"/>
                    <a:pt x="707" y="217"/>
                    <a:pt x="704" y="217"/>
                  </a:cubicBezTo>
                  <a:cubicBezTo>
                    <a:pt x="701" y="217"/>
                    <a:pt x="701" y="213"/>
                    <a:pt x="700" y="211"/>
                  </a:cubicBezTo>
                  <a:cubicBezTo>
                    <a:pt x="699" y="198"/>
                    <a:pt x="694" y="186"/>
                    <a:pt x="690" y="174"/>
                  </a:cubicBezTo>
                  <a:cubicBezTo>
                    <a:pt x="684" y="153"/>
                    <a:pt x="677" y="131"/>
                    <a:pt x="672" y="110"/>
                  </a:cubicBezTo>
                  <a:cubicBezTo>
                    <a:pt x="667" y="88"/>
                    <a:pt x="663" y="84"/>
                    <a:pt x="645" y="84"/>
                  </a:cubicBezTo>
                  <a:cubicBezTo>
                    <a:pt x="643" y="84"/>
                    <a:pt x="641" y="84"/>
                    <a:pt x="639" y="84"/>
                  </a:cubicBezTo>
                  <a:close/>
                  <a:moveTo>
                    <a:pt x="507" y="711"/>
                  </a:moveTo>
                  <a:cubicBezTo>
                    <a:pt x="507" y="730"/>
                    <a:pt x="507" y="730"/>
                    <a:pt x="526" y="730"/>
                  </a:cubicBezTo>
                  <a:cubicBezTo>
                    <a:pt x="539" y="730"/>
                    <a:pt x="541" y="729"/>
                    <a:pt x="541" y="715"/>
                  </a:cubicBezTo>
                  <a:cubicBezTo>
                    <a:pt x="541" y="677"/>
                    <a:pt x="541" y="638"/>
                    <a:pt x="540" y="600"/>
                  </a:cubicBezTo>
                  <a:cubicBezTo>
                    <a:pt x="540" y="593"/>
                    <a:pt x="543" y="587"/>
                    <a:pt x="548" y="582"/>
                  </a:cubicBezTo>
                  <a:cubicBezTo>
                    <a:pt x="553" y="576"/>
                    <a:pt x="559" y="573"/>
                    <a:pt x="564" y="569"/>
                  </a:cubicBezTo>
                  <a:cubicBezTo>
                    <a:pt x="574" y="564"/>
                    <a:pt x="594" y="566"/>
                    <a:pt x="602" y="574"/>
                  </a:cubicBezTo>
                  <a:cubicBezTo>
                    <a:pt x="611" y="582"/>
                    <a:pt x="614" y="592"/>
                    <a:pt x="614" y="604"/>
                  </a:cubicBezTo>
                  <a:cubicBezTo>
                    <a:pt x="614" y="638"/>
                    <a:pt x="614" y="672"/>
                    <a:pt x="614" y="706"/>
                  </a:cubicBezTo>
                  <a:cubicBezTo>
                    <a:pt x="614" y="730"/>
                    <a:pt x="614" y="730"/>
                    <a:pt x="638" y="730"/>
                  </a:cubicBezTo>
                  <a:cubicBezTo>
                    <a:pt x="650" y="730"/>
                    <a:pt x="650" y="730"/>
                    <a:pt x="650" y="717"/>
                  </a:cubicBezTo>
                  <a:cubicBezTo>
                    <a:pt x="650" y="684"/>
                    <a:pt x="650" y="650"/>
                    <a:pt x="650" y="617"/>
                  </a:cubicBezTo>
                  <a:cubicBezTo>
                    <a:pt x="650" y="606"/>
                    <a:pt x="651" y="597"/>
                    <a:pt x="657" y="586"/>
                  </a:cubicBezTo>
                  <a:cubicBezTo>
                    <a:pt x="667" y="565"/>
                    <a:pt x="703" y="560"/>
                    <a:pt x="716" y="579"/>
                  </a:cubicBezTo>
                  <a:cubicBezTo>
                    <a:pt x="723" y="588"/>
                    <a:pt x="724" y="598"/>
                    <a:pt x="724" y="609"/>
                  </a:cubicBezTo>
                  <a:cubicBezTo>
                    <a:pt x="724" y="645"/>
                    <a:pt x="724" y="682"/>
                    <a:pt x="724" y="718"/>
                  </a:cubicBezTo>
                  <a:cubicBezTo>
                    <a:pt x="724" y="727"/>
                    <a:pt x="727" y="731"/>
                    <a:pt x="736" y="730"/>
                  </a:cubicBezTo>
                  <a:cubicBezTo>
                    <a:pt x="738" y="730"/>
                    <a:pt x="741" y="730"/>
                    <a:pt x="743" y="730"/>
                  </a:cubicBezTo>
                  <a:cubicBezTo>
                    <a:pt x="758" y="730"/>
                    <a:pt x="759" y="729"/>
                    <a:pt x="759" y="715"/>
                  </a:cubicBezTo>
                  <a:cubicBezTo>
                    <a:pt x="759" y="677"/>
                    <a:pt x="758" y="639"/>
                    <a:pt x="759" y="601"/>
                  </a:cubicBezTo>
                  <a:cubicBezTo>
                    <a:pt x="759" y="571"/>
                    <a:pt x="742" y="540"/>
                    <a:pt x="704" y="538"/>
                  </a:cubicBezTo>
                  <a:cubicBezTo>
                    <a:pt x="681" y="536"/>
                    <a:pt x="661" y="542"/>
                    <a:pt x="646" y="560"/>
                  </a:cubicBezTo>
                  <a:cubicBezTo>
                    <a:pt x="638" y="569"/>
                    <a:pt x="638" y="569"/>
                    <a:pt x="631" y="559"/>
                  </a:cubicBezTo>
                  <a:cubicBezTo>
                    <a:pt x="630" y="558"/>
                    <a:pt x="630" y="557"/>
                    <a:pt x="629" y="556"/>
                  </a:cubicBezTo>
                  <a:cubicBezTo>
                    <a:pt x="623" y="548"/>
                    <a:pt x="616" y="541"/>
                    <a:pt x="607" y="539"/>
                  </a:cubicBezTo>
                  <a:cubicBezTo>
                    <a:pt x="584" y="534"/>
                    <a:pt x="563" y="539"/>
                    <a:pt x="545" y="555"/>
                  </a:cubicBezTo>
                  <a:cubicBezTo>
                    <a:pt x="540" y="559"/>
                    <a:pt x="537" y="561"/>
                    <a:pt x="537" y="552"/>
                  </a:cubicBezTo>
                  <a:cubicBezTo>
                    <a:pt x="536" y="543"/>
                    <a:pt x="526" y="538"/>
                    <a:pt x="515" y="539"/>
                  </a:cubicBezTo>
                  <a:cubicBezTo>
                    <a:pt x="506" y="540"/>
                    <a:pt x="507" y="546"/>
                    <a:pt x="507" y="552"/>
                  </a:cubicBezTo>
                  <a:cubicBezTo>
                    <a:pt x="507" y="580"/>
                    <a:pt x="507" y="607"/>
                    <a:pt x="507" y="634"/>
                  </a:cubicBezTo>
                  <a:cubicBezTo>
                    <a:pt x="507" y="660"/>
                    <a:pt x="507" y="685"/>
                    <a:pt x="507" y="711"/>
                  </a:cubicBezTo>
                  <a:close/>
                  <a:moveTo>
                    <a:pt x="1525" y="1142"/>
                  </a:moveTo>
                  <a:cubicBezTo>
                    <a:pt x="1517" y="1143"/>
                    <a:pt x="1511" y="1141"/>
                    <a:pt x="1505" y="1136"/>
                  </a:cubicBezTo>
                  <a:cubicBezTo>
                    <a:pt x="1501" y="1133"/>
                    <a:pt x="1495" y="1130"/>
                    <a:pt x="1498" y="1124"/>
                  </a:cubicBezTo>
                  <a:cubicBezTo>
                    <a:pt x="1500" y="1118"/>
                    <a:pt x="1504" y="1114"/>
                    <a:pt x="1512" y="1114"/>
                  </a:cubicBezTo>
                  <a:cubicBezTo>
                    <a:pt x="1521" y="1115"/>
                    <a:pt x="1530" y="1114"/>
                    <a:pt x="1538" y="1115"/>
                  </a:cubicBezTo>
                  <a:cubicBezTo>
                    <a:pt x="1573" y="1117"/>
                    <a:pt x="1610" y="1084"/>
                    <a:pt x="1602" y="1044"/>
                  </a:cubicBezTo>
                  <a:cubicBezTo>
                    <a:pt x="1600" y="1035"/>
                    <a:pt x="1599" y="1028"/>
                    <a:pt x="1611" y="1027"/>
                  </a:cubicBezTo>
                  <a:cubicBezTo>
                    <a:pt x="1614" y="1027"/>
                    <a:pt x="1617" y="1024"/>
                    <a:pt x="1619" y="1023"/>
                  </a:cubicBezTo>
                  <a:cubicBezTo>
                    <a:pt x="1626" y="1019"/>
                    <a:pt x="1624" y="1013"/>
                    <a:pt x="1623" y="1008"/>
                  </a:cubicBezTo>
                  <a:cubicBezTo>
                    <a:pt x="1623" y="1002"/>
                    <a:pt x="1618" y="1003"/>
                    <a:pt x="1613" y="1002"/>
                  </a:cubicBezTo>
                  <a:cubicBezTo>
                    <a:pt x="1598" y="1002"/>
                    <a:pt x="1582" y="1004"/>
                    <a:pt x="1567" y="1000"/>
                  </a:cubicBezTo>
                  <a:cubicBezTo>
                    <a:pt x="1560" y="999"/>
                    <a:pt x="1554" y="993"/>
                    <a:pt x="1546" y="993"/>
                  </a:cubicBezTo>
                  <a:cubicBezTo>
                    <a:pt x="1536" y="994"/>
                    <a:pt x="1525" y="992"/>
                    <a:pt x="1515" y="993"/>
                  </a:cubicBezTo>
                  <a:cubicBezTo>
                    <a:pt x="1490" y="997"/>
                    <a:pt x="1469" y="1010"/>
                    <a:pt x="1462" y="1034"/>
                  </a:cubicBezTo>
                  <a:cubicBezTo>
                    <a:pt x="1455" y="1056"/>
                    <a:pt x="1457" y="1079"/>
                    <a:pt x="1476" y="1096"/>
                  </a:cubicBezTo>
                  <a:cubicBezTo>
                    <a:pt x="1483" y="1103"/>
                    <a:pt x="1483" y="1107"/>
                    <a:pt x="1476" y="1113"/>
                  </a:cubicBezTo>
                  <a:cubicBezTo>
                    <a:pt x="1462" y="1126"/>
                    <a:pt x="1462" y="1142"/>
                    <a:pt x="1473" y="1157"/>
                  </a:cubicBezTo>
                  <a:cubicBezTo>
                    <a:pt x="1476" y="1160"/>
                    <a:pt x="1476" y="1162"/>
                    <a:pt x="1472" y="1164"/>
                  </a:cubicBezTo>
                  <a:cubicBezTo>
                    <a:pt x="1470" y="1166"/>
                    <a:pt x="1468" y="1168"/>
                    <a:pt x="1466" y="1170"/>
                  </a:cubicBezTo>
                  <a:cubicBezTo>
                    <a:pt x="1449" y="1183"/>
                    <a:pt x="1444" y="1201"/>
                    <a:pt x="1454" y="1218"/>
                  </a:cubicBezTo>
                  <a:cubicBezTo>
                    <a:pt x="1464" y="1235"/>
                    <a:pt x="1479" y="1246"/>
                    <a:pt x="1499" y="1249"/>
                  </a:cubicBezTo>
                  <a:cubicBezTo>
                    <a:pt x="1517" y="1252"/>
                    <a:pt x="1535" y="1253"/>
                    <a:pt x="1553" y="1250"/>
                  </a:cubicBezTo>
                  <a:cubicBezTo>
                    <a:pt x="1584" y="1245"/>
                    <a:pt x="1607" y="1232"/>
                    <a:pt x="1619" y="1200"/>
                  </a:cubicBezTo>
                  <a:cubicBezTo>
                    <a:pt x="1627" y="1180"/>
                    <a:pt x="1611" y="1155"/>
                    <a:pt x="1593" y="1148"/>
                  </a:cubicBezTo>
                  <a:cubicBezTo>
                    <a:pt x="1578" y="1142"/>
                    <a:pt x="1563" y="1143"/>
                    <a:pt x="1549" y="1142"/>
                  </a:cubicBezTo>
                  <a:cubicBezTo>
                    <a:pt x="1540" y="1142"/>
                    <a:pt x="1532" y="1142"/>
                    <a:pt x="1525" y="1142"/>
                  </a:cubicBezTo>
                  <a:close/>
                  <a:moveTo>
                    <a:pt x="1556" y="1172"/>
                  </a:moveTo>
                  <a:cubicBezTo>
                    <a:pt x="1566" y="1172"/>
                    <a:pt x="1576" y="1176"/>
                    <a:pt x="1583" y="1183"/>
                  </a:cubicBezTo>
                  <a:cubicBezTo>
                    <a:pt x="1589" y="1190"/>
                    <a:pt x="1589" y="1198"/>
                    <a:pt x="1583" y="1205"/>
                  </a:cubicBezTo>
                  <a:cubicBezTo>
                    <a:pt x="1575" y="1215"/>
                    <a:pt x="1565" y="1220"/>
                    <a:pt x="1553" y="1223"/>
                  </a:cubicBezTo>
                  <a:cubicBezTo>
                    <a:pt x="1534" y="1228"/>
                    <a:pt x="1516" y="1225"/>
                    <a:pt x="1499" y="1219"/>
                  </a:cubicBezTo>
                  <a:cubicBezTo>
                    <a:pt x="1486" y="1214"/>
                    <a:pt x="1479" y="1203"/>
                    <a:pt x="1482" y="1193"/>
                  </a:cubicBezTo>
                  <a:cubicBezTo>
                    <a:pt x="1485" y="1182"/>
                    <a:pt x="1496" y="1168"/>
                    <a:pt x="1514" y="1171"/>
                  </a:cubicBezTo>
                  <a:cubicBezTo>
                    <a:pt x="1526" y="1173"/>
                    <a:pt x="1541" y="1171"/>
                    <a:pt x="1556" y="1172"/>
                  </a:cubicBezTo>
                  <a:close/>
                  <a:moveTo>
                    <a:pt x="1531" y="1019"/>
                  </a:moveTo>
                  <a:cubicBezTo>
                    <a:pt x="1553" y="1017"/>
                    <a:pt x="1570" y="1033"/>
                    <a:pt x="1570" y="1052"/>
                  </a:cubicBezTo>
                  <a:cubicBezTo>
                    <a:pt x="1570" y="1075"/>
                    <a:pt x="1554" y="1093"/>
                    <a:pt x="1532" y="1091"/>
                  </a:cubicBezTo>
                  <a:cubicBezTo>
                    <a:pt x="1508" y="1089"/>
                    <a:pt x="1494" y="1082"/>
                    <a:pt x="1493" y="1053"/>
                  </a:cubicBezTo>
                  <a:cubicBezTo>
                    <a:pt x="1494" y="1029"/>
                    <a:pt x="1508" y="1020"/>
                    <a:pt x="1531" y="1019"/>
                  </a:cubicBezTo>
                  <a:close/>
                  <a:moveTo>
                    <a:pt x="1413" y="934"/>
                  </a:moveTo>
                  <a:cubicBezTo>
                    <a:pt x="1413" y="909"/>
                    <a:pt x="1413" y="909"/>
                    <a:pt x="1389" y="910"/>
                  </a:cubicBezTo>
                  <a:cubicBezTo>
                    <a:pt x="1388" y="910"/>
                    <a:pt x="1387" y="910"/>
                    <a:pt x="1387" y="910"/>
                  </a:cubicBezTo>
                  <a:cubicBezTo>
                    <a:pt x="1379" y="910"/>
                    <a:pt x="1376" y="915"/>
                    <a:pt x="1376" y="921"/>
                  </a:cubicBezTo>
                  <a:cubicBezTo>
                    <a:pt x="1376" y="939"/>
                    <a:pt x="1377" y="956"/>
                    <a:pt x="1377" y="974"/>
                  </a:cubicBezTo>
                  <a:cubicBezTo>
                    <a:pt x="1377" y="983"/>
                    <a:pt x="1377" y="991"/>
                    <a:pt x="1377" y="1000"/>
                  </a:cubicBezTo>
                  <a:cubicBezTo>
                    <a:pt x="1377" y="1005"/>
                    <a:pt x="1374" y="1009"/>
                    <a:pt x="1369" y="1005"/>
                  </a:cubicBezTo>
                  <a:cubicBezTo>
                    <a:pt x="1352" y="990"/>
                    <a:pt x="1332" y="993"/>
                    <a:pt x="1312" y="993"/>
                  </a:cubicBezTo>
                  <a:cubicBezTo>
                    <a:pt x="1303" y="994"/>
                    <a:pt x="1294" y="998"/>
                    <a:pt x="1287" y="1003"/>
                  </a:cubicBezTo>
                  <a:cubicBezTo>
                    <a:pt x="1265" y="1017"/>
                    <a:pt x="1252" y="1039"/>
                    <a:pt x="1248" y="1065"/>
                  </a:cubicBezTo>
                  <a:cubicBezTo>
                    <a:pt x="1244" y="1096"/>
                    <a:pt x="1244" y="1128"/>
                    <a:pt x="1261" y="1157"/>
                  </a:cubicBezTo>
                  <a:cubicBezTo>
                    <a:pt x="1270" y="1170"/>
                    <a:pt x="1281" y="1181"/>
                    <a:pt x="1296" y="1185"/>
                  </a:cubicBezTo>
                  <a:cubicBezTo>
                    <a:pt x="1323" y="1191"/>
                    <a:pt x="1349" y="1188"/>
                    <a:pt x="1370" y="1167"/>
                  </a:cubicBezTo>
                  <a:cubicBezTo>
                    <a:pt x="1372" y="1165"/>
                    <a:pt x="1375" y="1162"/>
                    <a:pt x="1379" y="1163"/>
                  </a:cubicBezTo>
                  <a:cubicBezTo>
                    <a:pt x="1382" y="1165"/>
                    <a:pt x="1381" y="1169"/>
                    <a:pt x="1381" y="1172"/>
                  </a:cubicBezTo>
                  <a:cubicBezTo>
                    <a:pt x="1383" y="1181"/>
                    <a:pt x="1390" y="1186"/>
                    <a:pt x="1403" y="1186"/>
                  </a:cubicBezTo>
                  <a:cubicBezTo>
                    <a:pt x="1413" y="1185"/>
                    <a:pt x="1413" y="1178"/>
                    <a:pt x="1413" y="1172"/>
                  </a:cubicBezTo>
                  <a:cubicBezTo>
                    <a:pt x="1413" y="1131"/>
                    <a:pt x="1413" y="1090"/>
                    <a:pt x="1413" y="1049"/>
                  </a:cubicBezTo>
                  <a:cubicBezTo>
                    <a:pt x="1413" y="1010"/>
                    <a:pt x="1413" y="972"/>
                    <a:pt x="1413" y="934"/>
                  </a:cubicBezTo>
                  <a:close/>
                  <a:moveTo>
                    <a:pt x="1378" y="1113"/>
                  </a:moveTo>
                  <a:cubicBezTo>
                    <a:pt x="1378" y="1136"/>
                    <a:pt x="1360" y="1155"/>
                    <a:pt x="1337" y="1157"/>
                  </a:cubicBezTo>
                  <a:cubicBezTo>
                    <a:pt x="1319" y="1159"/>
                    <a:pt x="1304" y="1154"/>
                    <a:pt x="1294" y="1139"/>
                  </a:cubicBezTo>
                  <a:cubicBezTo>
                    <a:pt x="1286" y="1128"/>
                    <a:pt x="1283" y="1116"/>
                    <a:pt x="1283" y="1102"/>
                  </a:cubicBezTo>
                  <a:cubicBezTo>
                    <a:pt x="1282" y="1085"/>
                    <a:pt x="1282" y="1067"/>
                    <a:pt x="1290" y="1051"/>
                  </a:cubicBezTo>
                  <a:cubicBezTo>
                    <a:pt x="1297" y="1036"/>
                    <a:pt x="1308" y="1024"/>
                    <a:pt x="1325" y="1022"/>
                  </a:cubicBezTo>
                  <a:cubicBezTo>
                    <a:pt x="1342" y="1020"/>
                    <a:pt x="1358" y="1021"/>
                    <a:pt x="1371" y="1035"/>
                  </a:cubicBezTo>
                  <a:cubicBezTo>
                    <a:pt x="1376" y="1041"/>
                    <a:pt x="1378" y="1046"/>
                    <a:pt x="1378" y="1052"/>
                  </a:cubicBezTo>
                  <a:cubicBezTo>
                    <a:pt x="1378" y="1064"/>
                    <a:pt x="1378" y="1075"/>
                    <a:pt x="1378" y="1086"/>
                  </a:cubicBezTo>
                  <a:cubicBezTo>
                    <a:pt x="1378" y="1086"/>
                    <a:pt x="1378" y="1086"/>
                    <a:pt x="1378" y="1086"/>
                  </a:cubicBezTo>
                  <a:cubicBezTo>
                    <a:pt x="1378" y="1095"/>
                    <a:pt x="1378" y="1104"/>
                    <a:pt x="1378" y="1113"/>
                  </a:cubicBezTo>
                  <a:close/>
                  <a:moveTo>
                    <a:pt x="578" y="259"/>
                  </a:moveTo>
                  <a:cubicBezTo>
                    <a:pt x="603" y="241"/>
                    <a:pt x="611" y="213"/>
                    <a:pt x="614" y="183"/>
                  </a:cubicBezTo>
                  <a:cubicBezTo>
                    <a:pt x="615" y="171"/>
                    <a:pt x="610" y="159"/>
                    <a:pt x="609" y="147"/>
                  </a:cubicBezTo>
                  <a:cubicBezTo>
                    <a:pt x="608" y="137"/>
                    <a:pt x="603" y="129"/>
                    <a:pt x="599" y="121"/>
                  </a:cubicBezTo>
                  <a:cubicBezTo>
                    <a:pt x="579" y="87"/>
                    <a:pt x="527" y="70"/>
                    <a:pt x="488" y="85"/>
                  </a:cubicBezTo>
                  <a:cubicBezTo>
                    <a:pt x="453" y="99"/>
                    <a:pt x="436" y="127"/>
                    <a:pt x="431" y="163"/>
                  </a:cubicBezTo>
                  <a:cubicBezTo>
                    <a:pt x="429" y="180"/>
                    <a:pt x="430" y="196"/>
                    <a:pt x="436" y="213"/>
                  </a:cubicBezTo>
                  <a:cubicBezTo>
                    <a:pt x="439" y="222"/>
                    <a:pt x="442" y="232"/>
                    <a:pt x="447" y="239"/>
                  </a:cubicBezTo>
                  <a:cubicBezTo>
                    <a:pt x="465" y="265"/>
                    <a:pt x="491" y="277"/>
                    <a:pt x="525" y="276"/>
                  </a:cubicBezTo>
                  <a:cubicBezTo>
                    <a:pt x="543" y="278"/>
                    <a:pt x="562" y="271"/>
                    <a:pt x="578" y="259"/>
                  </a:cubicBezTo>
                  <a:close/>
                  <a:moveTo>
                    <a:pt x="471" y="205"/>
                  </a:moveTo>
                  <a:cubicBezTo>
                    <a:pt x="466" y="185"/>
                    <a:pt x="468" y="167"/>
                    <a:pt x="472" y="147"/>
                  </a:cubicBezTo>
                  <a:cubicBezTo>
                    <a:pt x="477" y="130"/>
                    <a:pt x="493" y="116"/>
                    <a:pt x="509" y="112"/>
                  </a:cubicBezTo>
                  <a:cubicBezTo>
                    <a:pt x="525" y="108"/>
                    <a:pt x="539" y="110"/>
                    <a:pt x="553" y="119"/>
                  </a:cubicBezTo>
                  <a:cubicBezTo>
                    <a:pt x="563" y="125"/>
                    <a:pt x="568" y="135"/>
                    <a:pt x="571" y="146"/>
                  </a:cubicBezTo>
                  <a:cubicBezTo>
                    <a:pt x="577" y="167"/>
                    <a:pt x="578" y="189"/>
                    <a:pt x="571" y="211"/>
                  </a:cubicBezTo>
                  <a:cubicBezTo>
                    <a:pt x="565" y="231"/>
                    <a:pt x="549" y="249"/>
                    <a:pt x="521" y="247"/>
                  </a:cubicBezTo>
                  <a:cubicBezTo>
                    <a:pt x="496" y="247"/>
                    <a:pt x="478" y="230"/>
                    <a:pt x="471" y="205"/>
                  </a:cubicBezTo>
                  <a:close/>
                  <a:moveTo>
                    <a:pt x="472" y="1122"/>
                  </a:moveTo>
                  <a:cubicBezTo>
                    <a:pt x="475" y="1136"/>
                    <a:pt x="481" y="1148"/>
                    <a:pt x="491" y="1158"/>
                  </a:cubicBezTo>
                  <a:cubicBezTo>
                    <a:pt x="506" y="1176"/>
                    <a:pt x="524" y="1185"/>
                    <a:pt x="548" y="1187"/>
                  </a:cubicBezTo>
                  <a:cubicBezTo>
                    <a:pt x="568" y="1188"/>
                    <a:pt x="587" y="1187"/>
                    <a:pt x="605" y="1177"/>
                  </a:cubicBezTo>
                  <a:cubicBezTo>
                    <a:pt x="632" y="1162"/>
                    <a:pt x="644" y="1136"/>
                    <a:pt x="649" y="1107"/>
                  </a:cubicBezTo>
                  <a:cubicBezTo>
                    <a:pt x="652" y="1089"/>
                    <a:pt x="649" y="1072"/>
                    <a:pt x="644" y="1054"/>
                  </a:cubicBezTo>
                  <a:cubicBezTo>
                    <a:pt x="638" y="1034"/>
                    <a:pt x="627" y="1019"/>
                    <a:pt x="610" y="1007"/>
                  </a:cubicBezTo>
                  <a:cubicBezTo>
                    <a:pt x="589" y="992"/>
                    <a:pt x="566" y="991"/>
                    <a:pt x="541" y="994"/>
                  </a:cubicBezTo>
                  <a:cubicBezTo>
                    <a:pt x="526" y="995"/>
                    <a:pt x="512" y="1002"/>
                    <a:pt x="500" y="1012"/>
                  </a:cubicBezTo>
                  <a:cubicBezTo>
                    <a:pt x="476" y="1032"/>
                    <a:pt x="469" y="1060"/>
                    <a:pt x="466" y="1095"/>
                  </a:cubicBezTo>
                  <a:cubicBezTo>
                    <a:pt x="465" y="1101"/>
                    <a:pt x="470" y="1111"/>
                    <a:pt x="472" y="1122"/>
                  </a:cubicBezTo>
                  <a:close/>
                  <a:moveTo>
                    <a:pt x="508" y="1113"/>
                  </a:moveTo>
                  <a:cubicBezTo>
                    <a:pt x="505" y="1095"/>
                    <a:pt x="506" y="1078"/>
                    <a:pt x="508" y="1061"/>
                  </a:cubicBezTo>
                  <a:cubicBezTo>
                    <a:pt x="511" y="1042"/>
                    <a:pt x="538" y="1021"/>
                    <a:pt x="554" y="1022"/>
                  </a:cubicBezTo>
                  <a:cubicBezTo>
                    <a:pt x="570" y="1022"/>
                    <a:pt x="586" y="1024"/>
                    <a:pt x="596" y="1037"/>
                  </a:cubicBezTo>
                  <a:cubicBezTo>
                    <a:pt x="602" y="1044"/>
                    <a:pt x="607" y="1052"/>
                    <a:pt x="608" y="1061"/>
                  </a:cubicBezTo>
                  <a:cubicBezTo>
                    <a:pt x="608" y="1064"/>
                    <a:pt x="609" y="1067"/>
                    <a:pt x="610" y="1070"/>
                  </a:cubicBezTo>
                  <a:cubicBezTo>
                    <a:pt x="618" y="1089"/>
                    <a:pt x="612" y="1107"/>
                    <a:pt x="607" y="1125"/>
                  </a:cubicBezTo>
                  <a:cubicBezTo>
                    <a:pt x="601" y="1143"/>
                    <a:pt x="588" y="1160"/>
                    <a:pt x="558" y="1157"/>
                  </a:cubicBezTo>
                  <a:cubicBezTo>
                    <a:pt x="530" y="1157"/>
                    <a:pt x="512" y="1141"/>
                    <a:pt x="508" y="1113"/>
                  </a:cubicBezTo>
                  <a:close/>
                  <a:moveTo>
                    <a:pt x="430" y="716"/>
                  </a:moveTo>
                  <a:cubicBezTo>
                    <a:pt x="450" y="703"/>
                    <a:pt x="459" y="683"/>
                    <a:pt x="464" y="661"/>
                  </a:cubicBezTo>
                  <a:cubicBezTo>
                    <a:pt x="468" y="648"/>
                    <a:pt x="467" y="635"/>
                    <a:pt x="466" y="621"/>
                  </a:cubicBezTo>
                  <a:cubicBezTo>
                    <a:pt x="463" y="592"/>
                    <a:pt x="453" y="567"/>
                    <a:pt x="427" y="550"/>
                  </a:cubicBezTo>
                  <a:cubicBezTo>
                    <a:pt x="401" y="534"/>
                    <a:pt x="372" y="532"/>
                    <a:pt x="345" y="541"/>
                  </a:cubicBezTo>
                  <a:cubicBezTo>
                    <a:pt x="310" y="552"/>
                    <a:pt x="291" y="580"/>
                    <a:pt x="287" y="617"/>
                  </a:cubicBezTo>
                  <a:cubicBezTo>
                    <a:pt x="286" y="629"/>
                    <a:pt x="286" y="641"/>
                    <a:pt x="287" y="654"/>
                  </a:cubicBezTo>
                  <a:cubicBezTo>
                    <a:pt x="289" y="671"/>
                    <a:pt x="295" y="686"/>
                    <a:pt x="306" y="700"/>
                  </a:cubicBezTo>
                  <a:cubicBezTo>
                    <a:pt x="324" y="722"/>
                    <a:pt x="348" y="733"/>
                    <a:pt x="378" y="731"/>
                  </a:cubicBezTo>
                  <a:cubicBezTo>
                    <a:pt x="396" y="733"/>
                    <a:pt x="414" y="727"/>
                    <a:pt x="430" y="716"/>
                  </a:cubicBezTo>
                  <a:close/>
                  <a:moveTo>
                    <a:pt x="331" y="592"/>
                  </a:moveTo>
                  <a:cubicBezTo>
                    <a:pt x="339" y="580"/>
                    <a:pt x="349" y="569"/>
                    <a:pt x="365" y="567"/>
                  </a:cubicBezTo>
                  <a:cubicBezTo>
                    <a:pt x="387" y="564"/>
                    <a:pt x="406" y="568"/>
                    <a:pt x="419" y="588"/>
                  </a:cubicBezTo>
                  <a:cubicBezTo>
                    <a:pt x="423" y="595"/>
                    <a:pt x="426" y="603"/>
                    <a:pt x="427" y="610"/>
                  </a:cubicBezTo>
                  <a:cubicBezTo>
                    <a:pt x="433" y="635"/>
                    <a:pt x="431" y="661"/>
                    <a:pt x="416" y="684"/>
                  </a:cubicBezTo>
                  <a:cubicBezTo>
                    <a:pt x="403" y="706"/>
                    <a:pt x="362" y="708"/>
                    <a:pt x="345" y="692"/>
                  </a:cubicBezTo>
                  <a:cubicBezTo>
                    <a:pt x="329" y="678"/>
                    <a:pt x="323" y="661"/>
                    <a:pt x="323" y="631"/>
                  </a:cubicBezTo>
                  <a:cubicBezTo>
                    <a:pt x="323" y="619"/>
                    <a:pt x="323" y="605"/>
                    <a:pt x="331" y="592"/>
                  </a:cubicBezTo>
                  <a:close/>
                  <a:moveTo>
                    <a:pt x="1073" y="259"/>
                  </a:moveTo>
                  <a:cubicBezTo>
                    <a:pt x="1073" y="269"/>
                    <a:pt x="1075" y="272"/>
                    <a:pt x="1086" y="272"/>
                  </a:cubicBezTo>
                  <a:cubicBezTo>
                    <a:pt x="1088" y="272"/>
                    <a:pt x="1090" y="272"/>
                    <a:pt x="1092" y="272"/>
                  </a:cubicBezTo>
                  <a:cubicBezTo>
                    <a:pt x="1105" y="272"/>
                    <a:pt x="1106" y="271"/>
                    <a:pt x="1106" y="258"/>
                  </a:cubicBezTo>
                  <a:cubicBezTo>
                    <a:pt x="1106" y="221"/>
                    <a:pt x="1106" y="184"/>
                    <a:pt x="1106" y="147"/>
                  </a:cubicBezTo>
                  <a:cubicBezTo>
                    <a:pt x="1106" y="143"/>
                    <a:pt x="1106" y="140"/>
                    <a:pt x="1107" y="137"/>
                  </a:cubicBezTo>
                  <a:cubicBezTo>
                    <a:pt x="1117" y="117"/>
                    <a:pt x="1157" y="104"/>
                    <a:pt x="1177" y="114"/>
                  </a:cubicBezTo>
                  <a:cubicBezTo>
                    <a:pt x="1179" y="115"/>
                    <a:pt x="1180" y="117"/>
                    <a:pt x="1182" y="118"/>
                  </a:cubicBezTo>
                  <a:cubicBezTo>
                    <a:pt x="1194" y="131"/>
                    <a:pt x="1196" y="147"/>
                    <a:pt x="1196" y="163"/>
                  </a:cubicBezTo>
                  <a:cubicBezTo>
                    <a:pt x="1197" y="195"/>
                    <a:pt x="1196" y="226"/>
                    <a:pt x="1196" y="258"/>
                  </a:cubicBezTo>
                  <a:cubicBezTo>
                    <a:pt x="1196" y="271"/>
                    <a:pt x="1197" y="272"/>
                    <a:pt x="1210" y="272"/>
                  </a:cubicBezTo>
                  <a:cubicBezTo>
                    <a:pt x="1212" y="272"/>
                    <a:pt x="1213" y="272"/>
                    <a:pt x="1215" y="272"/>
                  </a:cubicBezTo>
                  <a:cubicBezTo>
                    <a:pt x="1227" y="272"/>
                    <a:pt x="1229" y="270"/>
                    <a:pt x="1229" y="258"/>
                  </a:cubicBezTo>
                  <a:cubicBezTo>
                    <a:pt x="1229" y="222"/>
                    <a:pt x="1229" y="187"/>
                    <a:pt x="1229" y="151"/>
                  </a:cubicBezTo>
                  <a:cubicBezTo>
                    <a:pt x="1229" y="142"/>
                    <a:pt x="1228" y="132"/>
                    <a:pt x="1225" y="123"/>
                  </a:cubicBezTo>
                  <a:cubicBezTo>
                    <a:pt x="1219" y="105"/>
                    <a:pt x="1208" y="91"/>
                    <a:pt x="1189" y="85"/>
                  </a:cubicBezTo>
                  <a:cubicBezTo>
                    <a:pt x="1173" y="80"/>
                    <a:pt x="1156" y="84"/>
                    <a:pt x="1139" y="84"/>
                  </a:cubicBezTo>
                  <a:cubicBezTo>
                    <a:pt x="1137" y="84"/>
                    <a:pt x="1136" y="86"/>
                    <a:pt x="1134" y="87"/>
                  </a:cubicBezTo>
                  <a:cubicBezTo>
                    <a:pt x="1128" y="91"/>
                    <a:pt x="1121" y="96"/>
                    <a:pt x="1115" y="100"/>
                  </a:cubicBezTo>
                  <a:cubicBezTo>
                    <a:pt x="1113" y="102"/>
                    <a:pt x="1111" y="105"/>
                    <a:pt x="1108" y="103"/>
                  </a:cubicBezTo>
                  <a:cubicBezTo>
                    <a:pt x="1105" y="102"/>
                    <a:pt x="1106" y="98"/>
                    <a:pt x="1106" y="96"/>
                  </a:cubicBezTo>
                  <a:cubicBezTo>
                    <a:pt x="1106" y="69"/>
                    <a:pt x="1106" y="43"/>
                    <a:pt x="1106" y="17"/>
                  </a:cubicBezTo>
                  <a:cubicBezTo>
                    <a:pt x="1106" y="0"/>
                    <a:pt x="1106" y="0"/>
                    <a:pt x="1089" y="0"/>
                  </a:cubicBezTo>
                  <a:cubicBezTo>
                    <a:pt x="1074" y="0"/>
                    <a:pt x="1073" y="1"/>
                    <a:pt x="1073" y="16"/>
                  </a:cubicBezTo>
                  <a:cubicBezTo>
                    <a:pt x="1073" y="56"/>
                    <a:pt x="1073" y="96"/>
                    <a:pt x="1073" y="136"/>
                  </a:cubicBezTo>
                  <a:cubicBezTo>
                    <a:pt x="1073" y="177"/>
                    <a:pt x="1073" y="218"/>
                    <a:pt x="1073" y="259"/>
                  </a:cubicBezTo>
                  <a:close/>
                  <a:moveTo>
                    <a:pt x="1150" y="1092"/>
                  </a:moveTo>
                  <a:cubicBezTo>
                    <a:pt x="1168" y="1092"/>
                    <a:pt x="1186" y="1092"/>
                    <a:pt x="1204" y="1092"/>
                  </a:cubicBezTo>
                  <a:cubicBezTo>
                    <a:pt x="1215" y="1092"/>
                    <a:pt x="1218" y="1087"/>
                    <a:pt x="1219" y="1077"/>
                  </a:cubicBezTo>
                  <a:cubicBezTo>
                    <a:pt x="1220" y="1062"/>
                    <a:pt x="1216" y="1049"/>
                    <a:pt x="1210" y="1036"/>
                  </a:cubicBezTo>
                  <a:cubicBezTo>
                    <a:pt x="1204" y="1020"/>
                    <a:pt x="1193" y="1008"/>
                    <a:pt x="1177" y="1001"/>
                  </a:cubicBezTo>
                  <a:cubicBezTo>
                    <a:pt x="1155" y="992"/>
                    <a:pt x="1133" y="991"/>
                    <a:pt x="1109" y="999"/>
                  </a:cubicBezTo>
                  <a:cubicBezTo>
                    <a:pt x="1079" y="1010"/>
                    <a:pt x="1062" y="1031"/>
                    <a:pt x="1056" y="1061"/>
                  </a:cubicBezTo>
                  <a:cubicBezTo>
                    <a:pt x="1051" y="1090"/>
                    <a:pt x="1052" y="1120"/>
                    <a:pt x="1069" y="1148"/>
                  </a:cubicBezTo>
                  <a:cubicBezTo>
                    <a:pt x="1081" y="1169"/>
                    <a:pt x="1100" y="1180"/>
                    <a:pt x="1122" y="1185"/>
                  </a:cubicBezTo>
                  <a:cubicBezTo>
                    <a:pt x="1149" y="1190"/>
                    <a:pt x="1176" y="1186"/>
                    <a:pt x="1200" y="1171"/>
                  </a:cubicBezTo>
                  <a:cubicBezTo>
                    <a:pt x="1206" y="1168"/>
                    <a:pt x="1213" y="1165"/>
                    <a:pt x="1214" y="1157"/>
                  </a:cubicBezTo>
                  <a:cubicBezTo>
                    <a:pt x="1215" y="1147"/>
                    <a:pt x="1202" y="1139"/>
                    <a:pt x="1193" y="1144"/>
                  </a:cubicBezTo>
                  <a:cubicBezTo>
                    <a:pt x="1187" y="1147"/>
                    <a:pt x="1180" y="1150"/>
                    <a:pt x="1174" y="1153"/>
                  </a:cubicBezTo>
                  <a:cubicBezTo>
                    <a:pt x="1158" y="1161"/>
                    <a:pt x="1140" y="1161"/>
                    <a:pt x="1124" y="1155"/>
                  </a:cubicBezTo>
                  <a:cubicBezTo>
                    <a:pt x="1112" y="1151"/>
                    <a:pt x="1102" y="1142"/>
                    <a:pt x="1096" y="1129"/>
                  </a:cubicBezTo>
                  <a:cubicBezTo>
                    <a:pt x="1092" y="1121"/>
                    <a:pt x="1091" y="1112"/>
                    <a:pt x="1089" y="1104"/>
                  </a:cubicBezTo>
                  <a:cubicBezTo>
                    <a:pt x="1087" y="1093"/>
                    <a:pt x="1087" y="1092"/>
                    <a:pt x="1099" y="1092"/>
                  </a:cubicBezTo>
                  <a:cubicBezTo>
                    <a:pt x="1116" y="1092"/>
                    <a:pt x="1133" y="1092"/>
                    <a:pt x="1150" y="1092"/>
                  </a:cubicBezTo>
                  <a:cubicBezTo>
                    <a:pt x="1150" y="1092"/>
                    <a:pt x="1150" y="1092"/>
                    <a:pt x="1150" y="1092"/>
                  </a:cubicBezTo>
                  <a:close/>
                  <a:moveTo>
                    <a:pt x="1099" y="1070"/>
                  </a:moveTo>
                  <a:cubicBezTo>
                    <a:pt x="1092" y="1071"/>
                    <a:pt x="1089" y="1067"/>
                    <a:pt x="1091" y="1060"/>
                  </a:cubicBezTo>
                  <a:cubicBezTo>
                    <a:pt x="1094" y="1045"/>
                    <a:pt x="1108" y="1023"/>
                    <a:pt x="1128" y="1022"/>
                  </a:cubicBezTo>
                  <a:cubicBezTo>
                    <a:pt x="1142" y="1021"/>
                    <a:pt x="1156" y="1018"/>
                    <a:pt x="1168" y="1029"/>
                  </a:cubicBezTo>
                  <a:cubicBezTo>
                    <a:pt x="1181" y="1038"/>
                    <a:pt x="1185" y="1051"/>
                    <a:pt x="1187" y="1066"/>
                  </a:cubicBezTo>
                  <a:cubicBezTo>
                    <a:pt x="1188" y="1071"/>
                    <a:pt x="1183" y="1070"/>
                    <a:pt x="1180" y="1070"/>
                  </a:cubicBezTo>
                  <a:cubicBezTo>
                    <a:pt x="1166" y="1070"/>
                    <a:pt x="1153" y="1070"/>
                    <a:pt x="1139" y="1070"/>
                  </a:cubicBezTo>
                  <a:cubicBezTo>
                    <a:pt x="1139" y="1070"/>
                    <a:pt x="1139" y="1070"/>
                    <a:pt x="1139" y="1070"/>
                  </a:cubicBezTo>
                  <a:cubicBezTo>
                    <a:pt x="1126" y="1070"/>
                    <a:pt x="1113" y="1070"/>
                    <a:pt x="1099" y="1070"/>
                  </a:cubicBezTo>
                  <a:close/>
                  <a:moveTo>
                    <a:pt x="1741" y="1092"/>
                  </a:moveTo>
                  <a:cubicBezTo>
                    <a:pt x="1759" y="1092"/>
                    <a:pt x="1776" y="1092"/>
                    <a:pt x="1793" y="1092"/>
                  </a:cubicBezTo>
                  <a:cubicBezTo>
                    <a:pt x="1806" y="1092"/>
                    <a:pt x="1808" y="1089"/>
                    <a:pt x="1808" y="1076"/>
                  </a:cubicBezTo>
                  <a:cubicBezTo>
                    <a:pt x="1809" y="1063"/>
                    <a:pt x="1807" y="1051"/>
                    <a:pt x="1802" y="1038"/>
                  </a:cubicBezTo>
                  <a:cubicBezTo>
                    <a:pt x="1794" y="1021"/>
                    <a:pt x="1782" y="1008"/>
                    <a:pt x="1764" y="1000"/>
                  </a:cubicBezTo>
                  <a:cubicBezTo>
                    <a:pt x="1742" y="991"/>
                    <a:pt x="1720" y="991"/>
                    <a:pt x="1698" y="1000"/>
                  </a:cubicBezTo>
                  <a:cubicBezTo>
                    <a:pt x="1681" y="1006"/>
                    <a:pt x="1668" y="1016"/>
                    <a:pt x="1659" y="1031"/>
                  </a:cubicBezTo>
                  <a:cubicBezTo>
                    <a:pt x="1646" y="1050"/>
                    <a:pt x="1643" y="1071"/>
                    <a:pt x="1644" y="1094"/>
                  </a:cubicBezTo>
                  <a:cubicBezTo>
                    <a:pt x="1644" y="1110"/>
                    <a:pt x="1647" y="1127"/>
                    <a:pt x="1655" y="1141"/>
                  </a:cubicBezTo>
                  <a:cubicBezTo>
                    <a:pt x="1669" y="1168"/>
                    <a:pt x="1691" y="1183"/>
                    <a:pt x="1722" y="1186"/>
                  </a:cubicBezTo>
                  <a:cubicBezTo>
                    <a:pt x="1750" y="1188"/>
                    <a:pt x="1775" y="1183"/>
                    <a:pt x="1798" y="1165"/>
                  </a:cubicBezTo>
                  <a:cubicBezTo>
                    <a:pt x="1803" y="1161"/>
                    <a:pt x="1806" y="1157"/>
                    <a:pt x="1802" y="1151"/>
                  </a:cubicBezTo>
                  <a:cubicBezTo>
                    <a:pt x="1798" y="1144"/>
                    <a:pt x="1791" y="1140"/>
                    <a:pt x="1783" y="1144"/>
                  </a:cubicBezTo>
                  <a:cubicBezTo>
                    <a:pt x="1778" y="1147"/>
                    <a:pt x="1771" y="1149"/>
                    <a:pt x="1766" y="1152"/>
                  </a:cubicBezTo>
                  <a:cubicBezTo>
                    <a:pt x="1749" y="1161"/>
                    <a:pt x="1730" y="1162"/>
                    <a:pt x="1714" y="1155"/>
                  </a:cubicBezTo>
                  <a:cubicBezTo>
                    <a:pt x="1692" y="1145"/>
                    <a:pt x="1680" y="1127"/>
                    <a:pt x="1679" y="1102"/>
                  </a:cubicBezTo>
                  <a:cubicBezTo>
                    <a:pt x="1678" y="1095"/>
                    <a:pt x="1681" y="1092"/>
                    <a:pt x="1689" y="1092"/>
                  </a:cubicBezTo>
                  <a:cubicBezTo>
                    <a:pt x="1706" y="1092"/>
                    <a:pt x="1724" y="1092"/>
                    <a:pt x="1741" y="1092"/>
                  </a:cubicBezTo>
                  <a:cubicBezTo>
                    <a:pt x="1741" y="1092"/>
                    <a:pt x="1741" y="1092"/>
                    <a:pt x="1741" y="1092"/>
                  </a:cubicBezTo>
                  <a:close/>
                  <a:moveTo>
                    <a:pt x="1690" y="1070"/>
                  </a:moveTo>
                  <a:cubicBezTo>
                    <a:pt x="1683" y="1071"/>
                    <a:pt x="1680" y="1068"/>
                    <a:pt x="1681" y="1062"/>
                  </a:cubicBezTo>
                  <a:cubicBezTo>
                    <a:pt x="1683" y="1048"/>
                    <a:pt x="1697" y="1024"/>
                    <a:pt x="1716" y="1022"/>
                  </a:cubicBezTo>
                  <a:cubicBezTo>
                    <a:pt x="1731" y="1020"/>
                    <a:pt x="1747" y="1018"/>
                    <a:pt x="1760" y="1030"/>
                  </a:cubicBezTo>
                  <a:cubicBezTo>
                    <a:pt x="1771" y="1038"/>
                    <a:pt x="1775" y="1050"/>
                    <a:pt x="1778" y="1062"/>
                  </a:cubicBezTo>
                  <a:cubicBezTo>
                    <a:pt x="1780" y="1068"/>
                    <a:pt x="1775" y="1070"/>
                    <a:pt x="1769" y="1070"/>
                  </a:cubicBezTo>
                  <a:cubicBezTo>
                    <a:pt x="1756" y="1070"/>
                    <a:pt x="1742" y="1070"/>
                    <a:pt x="1729" y="1070"/>
                  </a:cubicBezTo>
                  <a:cubicBezTo>
                    <a:pt x="1729" y="1070"/>
                    <a:pt x="1729" y="1070"/>
                    <a:pt x="1729" y="1070"/>
                  </a:cubicBezTo>
                  <a:cubicBezTo>
                    <a:pt x="1716" y="1070"/>
                    <a:pt x="1703" y="1070"/>
                    <a:pt x="1690" y="1070"/>
                  </a:cubicBezTo>
                  <a:close/>
                  <a:moveTo>
                    <a:pt x="68" y="581"/>
                  </a:moveTo>
                  <a:cubicBezTo>
                    <a:pt x="68" y="573"/>
                    <a:pt x="70" y="568"/>
                    <a:pt x="80" y="569"/>
                  </a:cubicBezTo>
                  <a:cubicBezTo>
                    <a:pt x="90" y="570"/>
                    <a:pt x="101" y="570"/>
                    <a:pt x="111" y="569"/>
                  </a:cubicBezTo>
                  <a:cubicBezTo>
                    <a:pt x="120" y="569"/>
                    <a:pt x="120" y="563"/>
                    <a:pt x="120" y="556"/>
                  </a:cubicBezTo>
                  <a:cubicBezTo>
                    <a:pt x="120" y="549"/>
                    <a:pt x="119" y="544"/>
                    <a:pt x="111" y="544"/>
                  </a:cubicBezTo>
                  <a:cubicBezTo>
                    <a:pt x="104" y="544"/>
                    <a:pt x="97" y="544"/>
                    <a:pt x="91" y="544"/>
                  </a:cubicBezTo>
                  <a:cubicBezTo>
                    <a:pt x="66" y="544"/>
                    <a:pt x="65" y="543"/>
                    <a:pt x="68" y="518"/>
                  </a:cubicBezTo>
                  <a:cubicBezTo>
                    <a:pt x="69" y="504"/>
                    <a:pt x="83" y="487"/>
                    <a:pt x="99" y="489"/>
                  </a:cubicBezTo>
                  <a:cubicBezTo>
                    <a:pt x="103" y="489"/>
                    <a:pt x="107" y="489"/>
                    <a:pt x="110" y="488"/>
                  </a:cubicBezTo>
                  <a:cubicBezTo>
                    <a:pt x="118" y="487"/>
                    <a:pt x="123" y="479"/>
                    <a:pt x="123" y="471"/>
                  </a:cubicBezTo>
                  <a:cubicBezTo>
                    <a:pt x="123" y="461"/>
                    <a:pt x="116" y="462"/>
                    <a:pt x="109" y="460"/>
                  </a:cubicBezTo>
                  <a:cubicBezTo>
                    <a:pt x="100" y="458"/>
                    <a:pt x="92" y="460"/>
                    <a:pt x="84" y="460"/>
                  </a:cubicBezTo>
                  <a:cubicBezTo>
                    <a:pt x="68" y="461"/>
                    <a:pt x="56" y="469"/>
                    <a:pt x="47" y="480"/>
                  </a:cubicBezTo>
                  <a:cubicBezTo>
                    <a:pt x="34" y="493"/>
                    <a:pt x="32" y="511"/>
                    <a:pt x="32" y="529"/>
                  </a:cubicBezTo>
                  <a:cubicBezTo>
                    <a:pt x="32" y="544"/>
                    <a:pt x="32" y="544"/>
                    <a:pt x="17" y="544"/>
                  </a:cubicBezTo>
                  <a:cubicBezTo>
                    <a:pt x="4" y="543"/>
                    <a:pt x="0" y="548"/>
                    <a:pt x="4" y="561"/>
                  </a:cubicBezTo>
                  <a:cubicBezTo>
                    <a:pt x="6" y="569"/>
                    <a:pt x="13" y="568"/>
                    <a:pt x="19" y="569"/>
                  </a:cubicBezTo>
                  <a:cubicBezTo>
                    <a:pt x="32" y="571"/>
                    <a:pt x="32" y="571"/>
                    <a:pt x="32" y="584"/>
                  </a:cubicBezTo>
                  <a:cubicBezTo>
                    <a:pt x="32" y="624"/>
                    <a:pt x="32" y="664"/>
                    <a:pt x="32" y="704"/>
                  </a:cubicBezTo>
                  <a:cubicBezTo>
                    <a:pt x="32" y="731"/>
                    <a:pt x="32" y="730"/>
                    <a:pt x="57" y="731"/>
                  </a:cubicBezTo>
                  <a:cubicBezTo>
                    <a:pt x="66" y="731"/>
                    <a:pt x="68" y="727"/>
                    <a:pt x="68" y="720"/>
                  </a:cubicBezTo>
                  <a:cubicBezTo>
                    <a:pt x="68" y="697"/>
                    <a:pt x="68" y="674"/>
                    <a:pt x="68" y="651"/>
                  </a:cubicBezTo>
                  <a:cubicBezTo>
                    <a:pt x="68" y="628"/>
                    <a:pt x="68" y="605"/>
                    <a:pt x="68" y="581"/>
                  </a:cubicBezTo>
                  <a:close/>
                  <a:moveTo>
                    <a:pt x="278" y="1165"/>
                  </a:moveTo>
                  <a:cubicBezTo>
                    <a:pt x="278" y="1183"/>
                    <a:pt x="278" y="1183"/>
                    <a:pt x="296" y="1184"/>
                  </a:cubicBezTo>
                  <a:cubicBezTo>
                    <a:pt x="310" y="1184"/>
                    <a:pt x="310" y="1184"/>
                    <a:pt x="310" y="1169"/>
                  </a:cubicBezTo>
                  <a:cubicBezTo>
                    <a:pt x="310" y="1132"/>
                    <a:pt x="310" y="1095"/>
                    <a:pt x="310" y="1058"/>
                  </a:cubicBezTo>
                  <a:cubicBezTo>
                    <a:pt x="310" y="1052"/>
                    <a:pt x="312" y="1047"/>
                    <a:pt x="316" y="1042"/>
                  </a:cubicBezTo>
                  <a:cubicBezTo>
                    <a:pt x="324" y="1033"/>
                    <a:pt x="334" y="1027"/>
                    <a:pt x="345" y="1024"/>
                  </a:cubicBezTo>
                  <a:cubicBezTo>
                    <a:pt x="357" y="1020"/>
                    <a:pt x="371" y="1018"/>
                    <a:pt x="383" y="1028"/>
                  </a:cubicBezTo>
                  <a:cubicBezTo>
                    <a:pt x="397" y="1039"/>
                    <a:pt x="401" y="1054"/>
                    <a:pt x="401" y="1071"/>
                  </a:cubicBezTo>
                  <a:cubicBezTo>
                    <a:pt x="401" y="1102"/>
                    <a:pt x="401" y="1132"/>
                    <a:pt x="401" y="1163"/>
                  </a:cubicBezTo>
                  <a:cubicBezTo>
                    <a:pt x="401" y="1183"/>
                    <a:pt x="401" y="1182"/>
                    <a:pt x="420" y="1184"/>
                  </a:cubicBezTo>
                  <a:cubicBezTo>
                    <a:pt x="429" y="1185"/>
                    <a:pt x="433" y="1181"/>
                    <a:pt x="433" y="1173"/>
                  </a:cubicBezTo>
                  <a:cubicBezTo>
                    <a:pt x="432" y="1130"/>
                    <a:pt x="435" y="1087"/>
                    <a:pt x="431" y="1044"/>
                  </a:cubicBezTo>
                  <a:cubicBezTo>
                    <a:pt x="427" y="1014"/>
                    <a:pt x="404" y="996"/>
                    <a:pt x="376" y="994"/>
                  </a:cubicBezTo>
                  <a:cubicBezTo>
                    <a:pt x="353" y="992"/>
                    <a:pt x="333" y="1000"/>
                    <a:pt x="317" y="1017"/>
                  </a:cubicBezTo>
                  <a:cubicBezTo>
                    <a:pt x="312" y="1021"/>
                    <a:pt x="311" y="1019"/>
                    <a:pt x="309" y="1015"/>
                  </a:cubicBezTo>
                  <a:cubicBezTo>
                    <a:pt x="309" y="1013"/>
                    <a:pt x="308" y="1011"/>
                    <a:pt x="308" y="1008"/>
                  </a:cubicBezTo>
                  <a:cubicBezTo>
                    <a:pt x="306" y="1001"/>
                    <a:pt x="298" y="997"/>
                    <a:pt x="287" y="998"/>
                  </a:cubicBezTo>
                  <a:cubicBezTo>
                    <a:pt x="279" y="999"/>
                    <a:pt x="278" y="1004"/>
                    <a:pt x="278" y="1011"/>
                  </a:cubicBezTo>
                  <a:cubicBezTo>
                    <a:pt x="278" y="1037"/>
                    <a:pt x="278" y="1064"/>
                    <a:pt x="278" y="1091"/>
                  </a:cubicBezTo>
                  <a:cubicBezTo>
                    <a:pt x="278" y="1115"/>
                    <a:pt x="278" y="1140"/>
                    <a:pt x="278" y="1165"/>
                  </a:cubicBezTo>
                  <a:close/>
                  <a:moveTo>
                    <a:pt x="150" y="705"/>
                  </a:moveTo>
                  <a:cubicBezTo>
                    <a:pt x="150" y="734"/>
                    <a:pt x="145" y="730"/>
                    <a:pt x="176" y="731"/>
                  </a:cubicBezTo>
                  <a:cubicBezTo>
                    <a:pt x="185" y="731"/>
                    <a:pt x="187" y="727"/>
                    <a:pt x="187" y="719"/>
                  </a:cubicBezTo>
                  <a:cubicBezTo>
                    <a:pt x="187" y="685"/>
                    <a:pt x="187" y="651"/>
                    <a:pt x="187" y="618"/>
                  </a:cubicBezTo>
                  <a:cubicBezTo>
                    <a:pt x="187" y="597"/>
                    <a:pt x="204" y="578"/>
                    <a:pt x="225" y="574"/>
                  </a:cubicBezTo>
                  <a:cubicBezTo>
                    <a:pt x="232" y="572"/>
                    <a:pt x="240" y="574"/>
                    <a:pt x="247" y="575"/>
                  </a:cubicBezTo>
                  <a:cubicBezTo>
                    <a:pt x="257" y="576"/>
                    <a:pt x="261" y="572"/>
                    <a:pt x="265" y="564"/>
                  </a:cubicBezTo>
                  <a:cubicBezTo>
                    <a:pt x="269" y="556"/>
                    <a:pt x="267" y="542"/>
                    <a:pt x="261" y="540"/>
                  </a:cubicBezTo>
                  <a:cubicBezTo>
                    <a:pt x="253" y="538"/>
                    <a:pt x="244" y="534"/>
                    <a:pt x="237" y="536"/>
                  </a:cubicBezTo>
                  <a:cubicBezTo>
                    <a:pt x="228" y="537"/>
                    <a:pt x="217" y="537"/>
                    <a:pt x="209" y="544"/>
                  </a:cubicBezTo>
                  <a:cubicBezTo>
                    <a:pt x="204" y="549"/>
                    <a:pt x="198" y="553"/>
                    <a:pt x="194" y="558"/>
                  </a:cubicBezTo>
                  <a:cubicBezTo>
                    <a:pt x="192" y="561"/>
                    <a:pt x="189" y="563"/>
                    <a:pt x="185" y="562"/>
                  </a:cubicBezTo>
                  <a:cubicBezTo>
                    <a:pt x="182" y="561"/>
                    <a:pt x="182" y="558"/>
                    <a:pt x="182" y="556"/>
                  </a:cubicBezTo>
                  <a:cubicBezTo>
                    <a:pt x="180" y="539"/>
                    <a:pt x="179" y="539"/>
                    <a:pt x="162" y="539"/>
                  </a:cubicBezTo>
                  <a:cubicBezTo>
                    <a:pt x="151" y="539"/>
                    <a:pt x="150" y="540"/>
                    <a:pt x="150" y="551"/>
                  </a:cubicBezTo>
                  <a:cubicBezTo>
                    <a:pt x="150" y="579"/>
                    <a:pt x="150" y="607"/>
                    <a:pt x="150" y="635"/>
                  </a:cubicBezTo>
                  <a:cubicBezTo>
                    <a:pt x="150" y="658"/>
                    <a:pt x="149" y="682"/>
                    <a:pt x="150" y="705"/>
                  </a:cubicBezTo>
                  <a:close/>
                  <a:moveTo>
                    <a:pt x="1011" y="1049"/>
                  </a:moveTo>
                  <a:cubicBezTo>
                    <a:pt x="1011" y="1008"/>
                    <a:pt x="1011" y="966"/>
                    <a:pt x="1011" y="924"/>
                  </a:cubicBezTo>
                  <a:cubicBezTo>
                    <a:pt x="1011" y="913"/>
                    <a:pt x="1008" y="910"/>
                    <a:pt x="997" y="910"/>
                  </a:cubicBezTo>
                  <a:cubicBezTo>
                    <a:pt x="995" y="910"/>
                    <a:pt x="992" y="910"/>
                    <a:pt x="990" y="910"/>
                  </a:cubicBezTo>
                  <a:cubicBezTo>
                    <a:pt x="976" y="910"/>
                    <a:pt x="975" y="911"/>
                    <a:pt x="975" y="926"/>
                  </a:cubicBezTo>
                  <a:cubicBezTo>
                    <a:pt x="975" y="1006"/>
                    <a:pt x="975" y="1085"/>
                    <a:pt x="975" y="1165"/>
                  </a:cubicBezTo>
                  <a:cubicBezTo>
                    <a:pt x="975" y="1185"/>
                    <a:pt x="975" y="1185"/>
                    <a:pt x="994" y="1185"/>
                  </a:cubicBezTo>
                  <a:cubicBezTo>
                    <a:pt x="1009" y="1185"/>
                    <a:pt x="1011" y="1184"/>
                    <a:pt x="1011" y="1169"/>
                  </a:cubicBezTo>
                  <a:cubicBezTo>
                    <a:pt x="1011" y="1129"/>
                    <a:pt x="1011" y="1089"/>
                    <a:pt x="1011" y="1049"/>
                  </a:cubicBezTo>
                  <a:cubicBezTo>
                    <a:pt x="1011" y="1049"/>
                    <a:pt x="1011" y="1049"/>
                    <a:pt x="1011" y="1049"/>
                  </a:cubicBezTo>
                  <a:close/>
                  <a:moveTo>
                    <a:pt x="296" y="176"/>
                  </a:moveTo>
                  <a:cubicBezTo>
                    <a:pt x="296" y="201"/>
                    <a:pt x="296" y="226"/>
                    <a:pt x="296" y="251"/>
                  </a:cubicBezTo>
                  <a:cubicBezTo>
                    <a:pt x="295" y="276"/>
                    <a:pt x="296" y="274"/>
                    <a:pt x="318" y="274"/>
                  </a:cubicBezTo>
                  <a:cubicBezTo>
                    <a:pt x="330" y="274"/>
                    <a:pt x="331" y="274"/>
                    <a:pt x="331" y="260"/>
                  </a:cubicBezTo>
                  <a:cubicBezTo>
                    <a:pt x="331" y="232"/>
                    <a:pt x="331" y="204"/>
                    <a:pt x="331" y="176"/>
                  </a:cubicBezTo>
                  <a:cubicBezTo>
                    <a:pt x="331" y="165"/>
                    <a:pt x="331" y="155"/>
                    <a:pt x="337" y="145"/>
                  </a:cubicBezTo>
                  <a:cubicBezTo>
                    <a:pt x="349" y="123"/>
                    <a:pt x="359" y="117"/>
                    <a:pt x="377" y="118"/>
                  </a:cubicBezTo>
                  <a:cubicBezTo>
                    <a:pt x="383" y="118"/>
                    <a:pt x="389" y="119"/>
                    <a:pt x="395" y="120"/>
                  </a:cubicBezTo>
                  <a:cubicBezTo>
                    <a:pt x="401" y="120"/>
                    <a:pt x="407" y="118"/>
                    <a:pt x="408" y="112"/>
                  </a:cubicBezTo>
                  <a:cubicBezTo>
                    <a:pt x="409" y="103"/>
                    <a:pt x="415" y="93"/>
                    <a:pt x="407" y="85"/>
                  </a:cubicBezTo>
                  <a:cubicBezTo>
                    <a:pt x="406" y="84"/>
                    <a:pt x="404" y="84"/>
                    <a:pt x="402" y="84"/>
                  </a:cubicBezTo>
                  <a:cubicBezTo>
                    <a:pt x="376" y="78"/>
                    <a:pt x="353" y="82"/>
                    <a:pt x="337" y="106"/>
                  </a:cubicBezTo>
                  <a:cubicBezTo>
                    <a:pt x="336" y="108"/>
                    <a:pt x="335" y="110"/>
                    <a:pt x="333" y="109"/>
                  </a:cubicBezTo>
                  <a:cubicBezTo>
                    <a:pt x="331" y="109"/>
                    <a:pt x="330" y="107"/>
                    <a:pt x="330" y="105"/>
                  </a:cubicBezTo>
                  <a:cubicBezTo>
                    <a:pt x="329" y="101"/>
                    <a:pt x="329" y="97"/>
                    <a:pt x="328" y="94"/>
                  </a:cubicBezTo>
                  <a:cubicBezTo>
                    <a:pt x="325" y="85"/>
                    <a:pt x="318" y="82"/>
                    <a:pt x="303" y="84"/>
                  </a:cubicBezTo>
                  <a:cubicBezTo>
                    <a:pt x="297" y="84"/>
                    <a:pt x="295" y="86"/>
                    <a:pt x="295" y="92"/>
                  </a:cubicBezTo>
                  <a:cubicBezTo>
                    <a:pt x="296" y="120"/>
                    <a:pt x="295" y="148"/>
                    <a:pt x="295" y="176"/>
                  </a:cubicBezTo>
                  <a:cubicBezTo>
                    <a:pt x="296" y="176"/>
                    <a:pt x="296" y="176"/>
                    <a:pt x="296" y="176"/>
                  </a:cubicBezTo>
                  <a:close/>
                  <a:moveTo>
                    <a:pt x="946" y="179"/>
                  </a:moveTo>
                  <a:cubicBezTo>
                    <a:pt x="946" y="197"/>
                    <a:pt x="946" y="215"/>
                    <a:pt x="946" y="234"/>
                  </a:cubicBezTo>
                  <a:cubicBezTo>
                    <a:pt x="946" y="248"/>
                    <a:pt x="951" y="260"/>
                    <a:pt x="963" y="268"/>
                  </a:cubicBezTo>
                  <a:cubicBezTo>
                    <a:pt x="982" y="280"/>
                    <a:pt x="1011" y="277"/>
                    <a:pt x="1029" y="264"/>
                  </a:cubicBezTo>
                  <a:cubicBezTo>
                    <a:pt x="1036" y="259"/>
                    <a:pt x="1036" y="254"/>
                    <a:pt x="1032" y="248"/>
                  </a:cubicBezTo>
                  <a:cubicBezTo>
                    <a:pt x="1026" y="239"/>
                    <a:pt x="1020" y="238"/>
                    <a:pt x="1013" y="242"/>
                  </a:cubicBezTo>
                  <a:cubicBezTo>
                    <a:pt x="996" y="252"/>
                    <a:pt x="978" y="243"/>
                    <a:pt x="978" y="223"/>
                  </a:cubicBezTo>
                  <a:cubicBezTo>
                    <a:pt x="978" y="190"/>
                    <a:pt x="978" y="157"/>
                    <a:pt x="978" y="123"/>
                  </a:cubicBezTo>
                  <a:cubicBezTo>
                    <a:pt x="978" y="116"/>
                    <a:pt x="981" y="113"/>
                    <a:pt x="988" y="113"/>
                  </a:cubicBezTo>
                  <a:cubicBezTo>
                    <a:pt x="999" y="114"/>
                    <a:pt x="1011" y="113"/>
                    <a:pt x="1022" y="113"/>
                  </a:cubicBezTo>
                  <a:cubicBezTo>
                    <a:pt x="1028" y="113"/>
                    <a:pt x="1033" y="112"/>
                    <a:pt x="1033" y="104"/>
                  </a:cubicBezTo>
                  <a:cubicBezTo>
                    <a:pt x="1033" y="96"/>
                    <a:pt x="1032" y="90"/>
                    <a:pt x="1022" y="90"/>
                  </a:cubicBezTo>
                  <a:cubicBezTo>
                    <a:pt x="1011" y="90"/>
                    <a:pt x="1001" y="90"/>
                    <a:pt x="990" y="90"/>
                  </a:cubicBezTo>
                  <a:cubicBezTo>
                    <a:pt x="981" y="91"/>
                    <a:pt x="977" y="88"/>
                    <a:pt x="978" y="78"/>
                  </a:cubicBezTo>
                  <a:cubicBezTo>
                    <a:pt x="978" y="64"/>
                    <a:pt x="978" y="49"/>
                    <a:pt x="978" y="35"/>
                  </a:cubicBezTo>
                  <a:cubicBezTo>
                    <a:pt x="978" y="30"/>
                    <a:pt x="978" y="25"/>
                    <a:pt x="971" y="24"/>
                  </a:cubicBezTo>
                  <a:cubicBezTo>
                    <a:pt x="964" y="24"/>
                    <a:pt x="956" y="24"/>
                    <a:pt x="955" y="32"/>
                  </a:cubicBezTo>
                  <a:cubicBezTo>
                    <a:pt x="952" y="43"/>
                    <a:pt x="949" y="54"/>
                    <a:pt x="949" y="65"/>
                  </a:cubicBezTo>
                  <a:cubicBezTo>
                    <a:pt x="948" y="88"/>
                    <a:pt x="947" y="88"/>
                    <a:pt x="924" y="91"/>
                  </a:cubicBezTo>
                  <a:cubicBezTo>
                    <a:pt x="919" y="92"/>
                    <a:pt x="914" y="92"/>
                    <a:pt x="914" y="99"/>
                  </a:cubicBezTo>
                  <a:cubicBezTo>
                    <a:pt x="915" y="107"/>
                    <a:pt x="917" y="113"/>
                    <a:pt x="926" y="113"/>
                  </a:cubicBezTo>
                  <a:cubicBezTo>
                    <a:pt x="929" y="114"/>
                    <a:pt x="932" y="113"/>
                    <a:pt x="935" y="113"/>
                  </a:cubicBezTo>
                  <a:cubicBezTo>
                    <a:pt x="943" y="113"/>
                    <a:pt x="946" y="116"/>
                    <a:pt x="946" y="124"/>
                  </a:cubicBezTo>
                  <a:cubicBezTo>
                    <a:pt x="946" y="142"/>
                    <a:pt x="946" y="161"/>
                    <a:pt x="946" y="179"/>
                  </a:cubicBezTo>
                  <a:cubicBezTo>
                    <a:pt x="946" y="179"/>
                    <a:pt x="946" y="179"/>
                    <a:pt x="946" y="179"/>
                  </a:cubicBezTo>
                  <a:close/>
                </a:path>
              </a:pathLst>
            </a:custGeom>
            <a:solidFill>
              <a:srgbClr val="4C505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0" dirty="0"/>
            </a:p>
          </p:txBody>
        </p:sp>
        <p:grpSp>
          <p:nvGrpSpPr>
            <p:cNvPr id="18" name="Group 4">
              <a:extLst>
                <a:ext uri="{FF2B5EF4-FFF2-40B4-BE49-F238E27FC236}">
                  <a16:creationId xmlns:a16="http://schemas.microsoft.com/office/drawing/2014/main" id="{57BD2C4C-DC67-B843-B26C-309622FC75F7}"/>
                </a:ext>
              </a:extLst>
            </p:cNvPr>
            <p:cNvGrpSpPr>
              <a:grpSpLocks noChangeAspect="1"/>
            </p:cNvGrpSpPr>
            <p:nvPr/>
          </p:nvGrpSpPr>
          <p:grpSpPr bwMode="gray">
            <a:xfrm>
              <a:off x="334963" y="296652"/>
              <a:ext cx="538094" cy="540000"/>
              <a:chOff x="2711" y="1027"/>
              <a:chExt cx="2258" cy="2266"/>
            </a:xfrm>
          </p:grpSpPr>
          <p:sp>
            <p:nvSpPr>
              <p:cNvPr id="19" name="AutoShape 3">
                <a:extLst>
                  <a:ext uri="{FF2B5EF4-FFF2-40B4-BE49-F238E27FC236}">
                    <a16:creationId xmlns:a16="http://schemas.microsoft.com/office/drawing/2014/main" id="{FE1DC41B-291E-574C-9F2C-874E70A40758}"/>
                  </a:ext>
                </a:extLst>
              </p:cNvPr>
              <p:cNvSpPr>
                <a:spLocks noChangeAspect="1" noChangeArrowheads="1" noTextEdit="1"/>
              </p:cNvSpPr>
              <p:nvPr/>
            </p:nvSpPr>
            <p:spPr bwMode="gray">
              <a:xfrm>
                <a:off x="2711" y="1027"/>
                <a:ext cx="2258" cy="22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sz="1350" dirty="0"/>
              </a:p>
            </p:txBody>
          </p:sp>
          <p:sp>
            <p:nvSpPr>
              <p:cNvPr id="20" name="Freeform 5">
                <a:extLst>
                  <a:ext uri="{FF2B5EF4-FFF2-40B4-BE49-F238E27FC236}">
                    <a16:creationId xmlns:a16="http://schemas.microsoft.com/office/drawing/2014/main" id="{D4B633C8-F761-C54B-9BD2-EB59D49A2DBC}"/>
                  </a:ext>
                </a:extLst>
              </p:cNvPr>
              <p:cNvSpPr>
                <a:spLocks/>
              </p:cNvSpPr>
              <p:nvPr/>
            </p:nvSpPr>
            <p:spPr bwMode="gray">
              <a:xfrm>
                <a:off x="2709" y="1029"/>
                <a:ext cx="2260" cy="2262"/>
              </a:xfrm>
              <a:custGeom>
                <a:avLst/>
                <a:gdLst>
                  <a:gd name="T0" fmla="*/ 2260 w 2260"/>
                  <a:gd name="T1" fmla="*/ 0 h 2262"/>
                  <a:gd name="T2" fmla="*/ 1612 w 2260"/>
                  <a:gd name="T3" fmla="*/ 649 h 2262"/>
                  <a:gd name="T4" fmla="*/ 1612 w 2260"/>
                  <a:gd name="T5" fmla="*/ 649 h 2262"/>
                  <a:gd name="T6" fmla="*/ 2035 w 2260"/>
                  <a:gd name="T7" fmla="*/ 0 h 2262"/>
                  <a:gd name="T8" fmla="*/ 0 w 2260"/>
                  <a:gd name="T9" fmla="*/ 0 h 2262"/>
                  <a:gd name="T10" fmla="*/ 0 w 2260"/>
                  <a:gd name="T11" fmla="*/ 2262 h 2262"/>
                  <a:gd name="T12" fmla="*/ 2260 w 2260"/>
                  <a:gd name="T13" fmla="*/ 2262 h 2262"/>
                  <a:gd name="T14" fmla="*/ 2260 w 2260"/>
                  <a:gd name="T15" fmla="*/ 0 h 2262"/>
                  <a:gd name="T16" fmla="*/ 2260 w 2260"/>
                  <a:gd name="T17" fmla="*/ 0 h 2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0" h="2262">
                    <a:moveTo>
                      <a:pt x="2260" y="0"/>
                    </a:moveTo>
                    <a:lnTo>
                      <a:pt x="1612" y="649"/>
                    </a:lnTo>
                    <a:lnTo>
                      <a:pt x="1612" y="649"/>
                    </a:lnTo>
                    <a:lnTo>
                      <a:pt x="2035" y="0"/>
                    </a:lnTo>
                    <a:lnTo>
                      <a:pt x="0" y="0"/>
                    </a:lnTo>
                    <a:lnTo>
                      <a:pt x="0" y="2262"/>
                    </a:lnTo>
                    <a:lnTo>
                      <a:pt x="2260" y="2262"/>
                    </a:lnTo>
                    <a:lnTo>
                      <a:pt x="2260" y="0"/>
                    </a:lnTo>
                    <a:lnTo>
                      <a:pt x="2260" y="0"/>
                    </a:lnTo>
                    <a:close/>
                  </a:path>
                </a:pathLst>
              </a:custGeom>
              <a:solidFill>
                <a:srgbClr val="E55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0" dirty="0"/>
              </a:p>
            </p:txBody>
          </p:sp>
          <p:sp>
            <p:nvSpPr>
              <p:cNvPr id="21" name="Freeform 6">
                <a:extLst>
                  <a:ext uri="{FF2B5EF4-FFF2-40B4-BE49-F238E27FC236}">
                    <a16:creationId xmlns:a16="http://schemas.microsoft.com/office/drawing/2014/main" id="{B16BAAE4-1A41-C843-9754-490F7A1E1270}"/>
                  </a:ext>
                </a:extLst>
              </p:cNvPr>
              <p:cNvSpPr>
                <a:spLocks noEditPoints="1"/>
              </p:cNvSpPr>
              <p:nvPr/>
            </p:nvSpPr>
            <p:spPr bwMode="gray">
              <a:xfrm>
                <a:off x="3623" y="1696"/>
                <a:ext cx="1167" cy="922"/>
              </a:xfrm>
              <a:custGeom>
                <a:avLst/>
                <a:gdLst>
                  <a:gd name="T0" fmla="*/ 411 w 580"/>
                  <a:gd name="T1" fmla="*/ 213 h 458"/>
                  <a:gd name="T2" fmla="*/ 570 w 580"/>
                  <a:gd name="T3" fmla="*/ 37 h 458"/>
                  <a:gd name="T4" fmla="*/ 580 w 580"/>
                  <a:gd name="T5" fmla="*/ 20 h 458"/>
                  <a:gd name="T6" fmla="*/ 545 w 580"/>
                  <a:gd name="T7" fmla="*/ 0 h 458"/>
                  <a:gd name="T8" fmla="*/ 519 w 580"/>
                  <a:gd name="T9" fmla="*/ 16 h 458"/>
                  <a:gd name="T10" fmla="*/ 344 w 580"/>
                  <a:gd name="T11" fmla="*/ 210 h 458"/>
                  <a:gd name="T12" fmla="*/ 334 w 580"/>
                  <a:gd name="T13" fmla="*/ 229 h 458"/>
                  <a:gd name="T14" fmla="*/ 344 w 580"/>
                  <a:gd name="T15" fmla="*/ 248 h 458"/>
                  <a:gd name="T16" fmla="*/ 519 w 580"/>
                  <a:gd name="T17" fmla="*/ 442 h 458"/>
                  <a:gd name="T18" fmla="*/ 545 w 580"/>
                  <a:gd name="T19" fmla="*/ 458 h 458"/>
                  <a:gd name="T20" fmla="*/ 580 w 580"/>
                  <a:gd name="T21" fmla="*/ 438 h 458"/>
                  <a:gd name="T22" fmla="*/ 570 w 580"/>
                  <a:gd name="T23" fmla="*/ 421 h 458"/>
                  <a:gd name="T24" fmla="*/ 411 w 580"/>
                  <a:gd name="T25" fmla="*/ 245 h 458"/>
                  <a:gd name="T26" fmla="*/ 399 w 580"/>
                  <a:gd name="T27" fmla="*/ 229 h 458"/>
                  <a:gd name="T28" fmla="*/ 411 w 580"/>
                  <a:gd name="T29" fmla="*/ 213 h 458"/>
                  <a:gd name="T30" fmla="*/ 252 w 580"/>
                  <a:gd name="T31" fmla="*/ 439 h 458"/>
                  <a:gd name="T32" fmla="*/ 281 w 580"/>
                  <a:gd name="T33" fmla="*/ 454 h 458"/>
                  <a:gd name="T34" fmla="*/ 309 w 580"/>
                  <a:gd name="T35" fmla="*/ 439 h 458"/>
                  <a:gd name="T36" fmla="*/ 309 w 580"/>
                  <a:gd name="T37" fmla="*/ 19 h 458"/>
                  <a:gd name="T38" fmla="*/ 281 w 580"/>
                  <a:gd name="T39" fmla="*/ 4 h 458"/>
                  <a:gd name="T40" fmla="*/ 252 w 580"/>
                  <a:gd name="T41" fmla="*/ 19 h 458"/>
                  <a:gd name="T42" fmla="*/ 252 w 580"/>
                  <a:gd name="T43" fmla="*/ 439 h 458"/>
                  <a:gd name="T44" fmla="*/ 0 w 580"/>
                  <a:gd name="T45" fmla="*/ 439 h 458"/>
                  <a:gd name="T46" fmla="*/ 28 w 580"/>
                  <a:gd name="T47" fmla="*/ 454 h 458"/>
                  <a:gd name="T48" fmla="*/ 56 w 580"/>
                  <a:gd name="T49" fmla="*/ 439 h 458"/>
                  <a:gd name="T50" fmla="*/ 56 w 580"/>
                  <a:gd name="T51" fmla="*/ 157 h 458"/>
                  <a:gd name="T52" fmla="*/ 165 w 580"/>
                  <a:gd name="T53" fmla="*/ 53 h 458"/>
                  <a:gd name="T54" fmla="*/ 180 w 580"/>
                  <a:gd name="T55" fmla="*/ 53 h 458"/>
                  <a:gd name="T56" fmla="*/ 196 w 580"/>
                  <a:gd name="T57" fmla="*/ 27 h 458"/>
                  <a:gd name="T58" fmla="*/ 154 w 580"/>
                  <a:gd name="T59" fmla="*/ 4 h 458"/>
                  <a:gd name="T60" fmla="*/ 0 w 580"/>
                  <a:gd name="T61" fmla="*/ 152 h 458"/>
                  <a:gd name="T62" fmla="*/ 0 w 580"/>
                  <a:gd name="T63" fmla="*/ 439 h 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80" h="458">
                    <a:moveTo>
                      <a:pt x="411" y="213"/>
                    </a:moveTo>
                    <a:cubicBezTo>
                      <a:pt x="570" y="37"/>
                      <a:pt x="570" y="37"/>
                      <a:pt x="570" y="37"/>
                    </a:cubicBezTo>
                    <a:cubicBezTo>
                      <a:pt x="576" y="30"/>
                      <a:pt x="580" y="25"/>
                      <a:pt x="580" y="20"/>
                    </a:cubicBezTo>
                    <a:cubicBezTo>
                      <a:pt x="580" y="10"/>
                      <a:pt x="559" y="0"/>
                      <a:pt x="545" y="0"/>
                    </a:cubicBezTo>
                    <a:cubicBezTo>
                      <a:pt x="535" y="0"/>
                      <a:pt x="526" y="8"/>
                      <a:pt x="519" y="16"/>
                    </a:cubicBezTo>
                    <a:cubicBezTo>
                      <a:pt x="344" y="210"/>
                      <a:pt x="344" y="210"/>
                      <a:pt x="344" y="210"/>
                    </a:cubicBezTo>
                    <a:cubicBezTo>
                      <a:pt x="336" y="219"/>
                      <a:pt x="334" y="224"/>
                      <a:pt x="334" y="229"/>
                    </a:cubicBezTo>
                    <a:cubicBezTo>
                      <a:pt x="334" y="234"/>
                      <a:pt x="336" y="239"/>
                      <a:pt x="344" y="248"/>
                    </a:cubicBezTo>
                    <a:cubicBezTo>
                      <a:pt x="519" y="442"/>
                      <a:pt x="519" y="442"/>
                      <a:pt x="519" y="442"/>
                    </a:cubicBezTo>
                    <a:cubicBezTo>
                      <a:pt x="526" y="450"/>
                      <a:pt x="535" y="458"/>
                      <a:pt x="545" y="458"/>
                    </a:cubicBezTo>
                    <a:cubicBezTo>
                      <a:pt x="559" y="458"/>
                      <a:pt x="580" y="448"/>
                      <a:pt x="580" y="438"/>
                    </a:cubicBezTo>
                    <a:cubicBezTo>
                      <a:pt x="580" y="433"/>
                      <a:pt x="576" y="428"/>
                      <a:pt x="570" y="421"/>
                    </a:cubicBezTo>
                    <a:cubicBezTo>
                      <a:pt x="411" y="245"/>
                      <a:pt x="411" y="245"/>
                      <a:pt x="411" y="245"/>
                    </a:cubicBezTo>
                    <a:cubicBezTo>
                      <a:pt x="403" y="236"/>
                      <a:pt x="399" y="232"/>
                      <a:pt x="399" y="229"/>
                    </a:cubicBezTo>
                    <a:cubicBezTo>
                      <a:pt x="399" y="226"/>
                      <a:pt x="403" y="222"/>
                      <a:pt x="411" y="213"/>
                    </a:cubicBezTo>
                    <a:moveTo>
                      <a:pt x="252" y="439"/>
                    </a:moveTo>
                    <a:cubicBezTo>
                      <a:pt x="252" y="449"/>
                      <a:pt x="261" y="454"/>
                      <a:pt x="281" y="454"/>
                    </a:cubicBezTo>
                    <a:cubicBezTo>
                      <a:pt x="300" y="454"/>
                      <a:pt x="309" y="449"/>
                      <a:pt x="309" y="439"/>
                    </a:cubicBezTo>
                    <a:cubicBezTo>
                      <a:pt x="309" y="19"/>
                      <a:pt x="309" y="19"/>
                      <a:pt x="309" y="19"/>
                    </a:cubicBezTo>
                    <a:cubicBezTo>
                      <a:pt x="309" y="9"/>
                      <a:pt x="300" y="4"/>
                      <a:pt x="281" y="4"/>
                    </a:cubicBezTo>
                    <a:cubicBezTo>
                      <a:pt x="261" y="4"/>
                      <a:pt x="252" y="9"/>
                      <a:pt x="252" y="19"/>
                    </a:cubicBezTo>
                    <a:lnTo>
                      <a:pt x="252" y="439"/>
                    </a:lnTo>
                    <a:close/>
                    <a:moveTo>
                      <a:pt x="0" y="439"/>
                    </a:moveTo>
                    <a:cubicBezTo>
                      <a:pt x="0" y="449"/>
                      <a:pt x="8" y="454"/>
                      <a:pt x="28" y="454"/>
                    </a:cubicBezTo>
                    <a:cubicBezTo>
                      <a:pt x="48" y="454"/>
                      <a:pt x="56" y="449"/>
                      <a:pt x="56" y="439"/>
                    </a:cubicBezTo>
                    <a:cubicBezTo>
                      <a:pt x="56" y="157"/>
                      <a:pt x="56" y="157"/>
                      <a:pt x="56" y="157"/>
                    </a:cubicBezTo>
                    <a:cubicBezTo>
                      <a:pt x="56" y="83"/>
                      <a:pt x="85" y="53"/>
                      <a:pt x="165" y="53"/>
                    </a:cubicBezTo>
                    <a:cubicBezTo>
                      <a:pt x="180" y="53"/>
                      <a:pt x="180" y="53"/>
                      <a:pt x="180" y="53"/>
                    </a:cubicBezTo>
                    <a:cubicBezTo>
                      <a:pt x="192" y="53"/>
                      <a:pt x="196" y="43"/>
                      <a:pt x="196" y="27"/>
                    </a:cubicBezTo>
                    <a:cubicBezTo>
                      <a:pt x="196" y="8"/>
                      <a:pt x="185" y="4"/>
                      <a:pt x="154" y="4"/>
                    </a:cubicBezTo>
                    <a:cubicBezTo>
                      <a:pt x="64" y="4"/>
                      <a:pt x="0" y="43"/>
                      <a:pt x="0" y="152"/>
                    </a:cubicBezTo>
                    <a:lnTo>
                      <a:pt x="0" y="43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0" dirty="0"/>
              </a:p>
            </p:txBody>
          </p:sp>
          <p:sp>
            <p:nvSpPr>
              <p:cNvPr id="22" name="Freeform 7">
                <a:extLst>
                  <a:ext uri="{FF2B5EF4-FFF2-40B4-BE49-F238E27FC236}">
                    <a16:creationId xmlns:a16="http://schemas.microsoft.com/office/drawing/2014/main" id="{2F32DCBD-8628-F245-85CD-97686A20ECFD}"/>
                  </a:ext>
                </a:extLst>
              </p:cNvPr>
              <p:cNvSpPr>
                <a:spLocks/>
              </p:cNvSpPr>
              <p:nvPr/>
            </p:nvSpPr>
            <p:spPr bwMode="gray">
              <a:xfrm>
                <a:off x="2880" y="1704"/>
                <a:ext cx="618" cy="916"/>
              </a:xfrm>
              <a:custGeom>
                <a:avLst/>
                <a:gdLst>
                  <a:gd name="T0" fmla="*/ 307 w 307"/>
                  <a:gd name="T1" fmla="*/ 405 h 455"/>
                  <a:gd name="T2" fmla="*/ 307 w 307"/>
                  <a:gd name="T3" fmla="*/ 244 h 455"/>
                  <a:gd name="T4" fmla="*/ 279 w 307"/>
                  <a:gd name="T5" fmla="*/ 229 h 455"/>
                  <a:gd name="T6" fmla="*/ 250 w 307"/>
                  <a:gd name="T7" fmla="*/ 244 h 455"/>
                  <a:gd name="T8" fmla="*/ 250 w 307"/>
                  <a:gd name="T9" fmla="*/ 378 h 455"/>
                  <a:gd name="T10" fmla="*/ 199 w 307"/>
                  <a:gd name="T11" fmla="*/ 408 h 455"/>
                  <a:gd name="T12" fmla="*/ 61 w 307"/>
                  <a:gd name="T13" fmla="*/ 231 h 455"/>
                  <a:gd name="T14" fmla="*/ 238 w 307"/>
                  <a:gd name="T15" fmla="*/ 49 h 455"/>
                  <a:gd name="T16" fmla="*/ 270 w 307"/>
                  <a:gd name="T17" fmla="*/ 49 h 455"/>
                  <a:gd name="T18" fmla="*/ 286 w 307"/>
                  <a:gd name="T19" fmla="*/ 23 h 455"/>
                  <a:gd name="T20" fmla="*/ 244 w 307"/>
                  <a:gd name="T21" fmla="*/ 0 h 455"/>
                  <a:gd name="T22" fmla="*/ 231 w 307"/>
                  <a:gd name="T23" fmla="*/ 0 h 455"/>
                  <a:gd name="T24" fmla="*/ 0 w 307"/>
                  <a:gd name="T25" fmla="*/ 232 h 455"/>
                  <a:gd name="T26" fmla="*/ 198 w 307"/>
                  <a:gd name="T27" fmla="*/ 455 h 455"/>
                  <a:gd name="T28" fmla="*/ 307 w 307"/>
                  <a:gd name="T29" fmla="*/ 405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7" h="455">
                    <a:moveTo>
                      <a:pt x="307" y="405"/>
                    </a:moveTo>
                    <a:cubicBezTo>
                      <a:pt x="307" y="244"/>
                      <a:pt x="307" y="244"/>
                      <a:pt x="307" y="244"/>
                    </a:cubicBezTo>
                    <a:cubicBezTo>
                      <a:pt x="307" y="234"/>
                      <a:pt x="298" y="229"/>
                      <a:pt x="279" y="229"/>
                    </a:cubicBezTo>
                    <a:cubicBezTo>
                      <a:pt x="259" y="229"/>
                      <a:pt x="250" y="234"/>
                      <a:pt x="250" y="244"/>
                    </a:cubicBezTo>
                    <a:cubicBezTo>
                      <a:pt x="250" y="378"/>
                      <a:pt x="250" y="378"/>
                      <a:pt x="250" y="378"/>
                    </a:cubicBezTo>
                    <a:cubicBezTo>
                      <a:pt x="250" y="399"/>
                      <a:pt x="241" y="408"/>
                      <a:pt x="199" y="408"/>
                    </a:cubicBezTo>
                    <a:cubicBezTo>
                      <a:pt x="114" y="408"/>
                      <a:pt x="61" y="342"/>
                      <a:pt x="61" y="231"/>
                    </a:cubicBezTo>
                    <a:cubicBezTo>
                      <a:pt x="61" y="115"/>
                      <a:pt x="126" y="49"/>
                      <a:pt x="238" y="49"/>
                    </a:cubicBezTo>
                    <a:cubicBezTo>
                      <a:pt x="270" y="49"/>
                      <a:pt x="270" y="49"/>
                      <a:pt x="270" y="49"/>
                    </a:cubicBezTo>
                    <a:cubicBezTo>
                      <a:pt x="282" y="49"/>
                      <a:pt x="286" y="39"/>
                      <a:pt x="286" y="23"/>
                    </a:cubicBezTo>
                    <a:cubicBezTo>
                      <a:pt x="286" y="4"/>
                      <a:pt x="275" y="0"/>
                      <a:pt x="244" y="0"/>
                    </a:cubicBezTo>
                    <a:cubicBezTo>
                      <a:pt x="231" y="0"/>
                      <a:pt x="231" y="0"/>
                      <a:pt x="231" y="0"/>
                    </a:cubicBezTo>
                    <a:cubicBezTo>
                      <a:pt x="101" y="0"/>
                      <a:pt x="0" y="71"/>
                      <a:pt x="0" y="232"/>
                    </a:cubicBezTo>
                    <a:cubicBezTo>
                      <a:pt x="0" y="386"/>
                      <a:pt x="88" y="455"/>
                      <a:pt x="198" y="455"/>
                    </a:cubicBezTo>
                    <a:cubicBezTo>
                      <a:pt x="286" y="455"/>
                      <a:pt x="307" y="430"/>
                      <a:pt x="307" y="40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0" dirty="0"/>
              </a:p>
            </p:txBody>
          </p:sp>
          <p:sp>
            <p:nvSpPr>
              <p:cNvPr id="23" name="Oval 8">
                <a:extLst>
                  <a:ext uri="{FF2B5EF4-FFF2-40B4-BE49-F238E27FC236}">
                    <a16:creationId xmlns:a16="http://schemas.microsoft.com/office/drawing/2014/main" id="{60D97C11-1A3B-5449-A48D-98A3E79B3810}"/>
                  </a:ext>
                </a:extLst>
              </p:cNvPr>
              <p:cNvSpPr>
                <a:spLocks noChangeArrowheads="1"/>
              </p:cNvSpPr>
              <p:nvPr/>
            </p:nvSpPr>
            <p:spPr bwMode="gray">
              <a:xfrm>
                <a:off x="3778" y="2099"/>
                <a:ext cx="122" cy="12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0" dirty="0"/>
              </a:p>
            </p:txBody>
          </p:sp>
          <p:sp>
            <p:nvSpPr>
              <p:cNvPr id="24" name="Freeform 9">
                <a:extLst>
                  <a:ext uri="{FF2B5EF4-FFF2-40B4-BE49-F238E27FC236}">
                    <a16:creationId xmlns:a16="http://schemas.microsoft.com/office/drawing/2014/main" id="{5856770D-B8F0-244E-A05D-AED190086F10}"/>
                  </a:ext>
                </a:extLst>
              </p:cNvPr>
              <p:cNvSpPr>
                <a:spLocks noEditPoints="1"/>
              </p:cNvSpPr>
              <p:nvPr/>
            </p:nvSpPr>
            <p:spPr bwMode="gray">
              <a:xfrm>
                <a:off x="3623" y="1696"/>
                <a:ext cx="1167" cy="922"/>
              </a:xfrm>
              <a:custGeom>
                <a:avLst/>
                <a:gdLst>
                  <a:gd name="T0" fmla="*/ 411 w 580"/>
                  <a:gd name="T1" fmla="*/ 213 h 458"/>
                  <a:gd name="T2" fmla="*/ 570 w 580"/>
                  <a:gd name="T3" fmla="*/ 37 h 458"/>
                  <a:gd name="T4" fmla="*/ 580 w 580"/>
                  <a:gd name="T5" fmla="*/ 20 h 458"/>
                  <a:gd name="T6" fmla="*/ 545 w 580"/>
                  <a:gd name="T7" fmla="*/ 0 h 458"/>
                  <a:gd name="T8" fmla="*/ 519 w 580"/>
                  <a:gd name="T9" fmla="*/ 16 h 458"/>
                  <a:gd name="T10" fmla="*/ 344 w 580"/>
                  <a:gd name="T11" fmla="*/ 210 h 458"/>
                  <a:gd name="T12" fmla="*/ 334 w 580"/>
                  <a:gd name="T13" fmla="*/ 229 h 458"/>
                  <a:gd name="T14" fmla="*/ 344 w 580"/>
                  <a:gd name="T15" fmla="*/ 248 h 458"/>
                  <a:gd name="T16" fmla="*/ 519 w 580"/>
                  <a:gd name="T17" fmla="*/ 442 h 458"/>
                  <a:gd name="T18" fmla="*/ 545 w 580"/>
                  <a:gd name="T19" fmla="*/ 458 h 458"/>
                  <a:gd name="T20" fmla="*/ 580 w 580"/>
                  <a:gd name="T21" fmla="*/ 438 h 458"/>
                  <a:gd name="T22" fmla="*/ 570 w 580"/>
                  <a:gd name="T23" fmla="*/ 421 h 458"/>
                  <a:gd name="T24" fmla="*/ 411 w 580"/>
                  <a:gd name="T25" fmla="*/ 245 h 458"/>
                  <a:gd name="T26" fmla="*/ 399 w 580"/>
                  <a:gd name="T27" fmla="*/ 229 h 458"/>
                  <a:gd name="T28" fmla="*/ 411 w 580"/>
                  <a:gd name="T29" fmla="*/ 213 h 458"/>
                  <a:gd name="T30" fmla="*/ 252 w 580"/>
                  <a:gd name="T31" fmla="*/ 439 h 458"/>
                  <a:gd name="T32" fmla="*/ 281 w 580"/>
                  <a:gd name="T33" fmla="*/ 454 h 458"/>
                  <a:gd name="T34" fmla="*/ 309 w 580"/>
                  <a:gd name="T35" fmla="*/ 439 h 458"/>
                  <a:gd name="T36" fmla="*/ 309 w 580"/>
                  <a:gd name="T37" fmla="*/ 19 h 458"/>
                  <a:gd name="T38" fmla="*/ 281 w 580"/>
                  <a:gd name="T39" fmla="*/ 4 h 458"/>
                  <a:gd name="T40" fmla="*/ 252 w 580"/>
                  <a:gd name="T41" fmla="*/ 19 h 458"/>
                  <a:gd name="T42" fmla="*/ 252 w 580"/>
                  <a:gd name="T43" fmla="*/ 439 h 458"/>
                  <a:gd name="T44" fmla="*/ 0 w 580"/>
                  <a:gd name="T45" fmla="*/ 439 h 458"/>
                  <a:gd name="T46" fmla="*/ 28 w 580"/>
                  <a:gd name="T47" fmla="*/ 454 h 458"/>
                  <a:gd name="T48" fmla="*/ 56 w 580"/>
                  <a:gd name="T49" fmla="*/ 439 h 458"/>
                  <a:gd name="T50" fmla="*/ 56 w 580"/>
                  <a:gd name="T51" fmla="*/ 157 h 458"/>
                  <a:gd name="T52" fmla="*/ 165 w 580"/>
                  <a:gd name="T53" fmla="*/ 53 h 458"/>
                  <a:gd name="T54" fmla="*/ 180 w 580"/>
                  <a:gd name="T55" fmla="*/ 53 h 458"/>
                  <a:gd name="T56" fmla="*/ 196 w 580"/>
                  <a:gd name="T57" fmla="*/ 27 h 458"/>
                  <a:gd name="T58" fmla="*/ 154 w 580"/>
                  <a:gd name="T59" fmla="*/ 4 h 458"/>
                  <a:gd name="T60" fmla="*/ 0 w 580"/>
                  <a:gd name="T61" fmla="*/ 152 h 458"/>
                  <a:gd name="T62" fmla="*/ 0 w 580"/>
                  <a:gd name="T63" fmla="*/ 439 h 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80" h="458">
                    <a:moveTo>
                      <a:pt x="411" y="213"/>
                    </a:moveTo>
                    <a:cubicBezTo>
                      <a:pt x="570" y="37"/>
                      <a:pt x="570" y="37"/>
                      <a:pt x="570" y="37"/>
                    </a:cubicBezTo>
                    <a:cubicBezTo>
                      <a:pt x="576" y="30"/>
                      <a:pt x="580" y="25"/>
                      <a:pt x="580" y="20"/>
                    </a:cubicBezTo>
                    <a:cubicBezTo>
                      <a:pt x="580" y="10"/>
                      <a:pt x="559" y="0"/>
                      <a:pt x="545" y="0"/>
                    </a:cubicBezTo>
                    <a:cubicBezTo>
                      <a:pt x="535" y="0"/>
                      <a:pt x="526" y="8"/>
                      <a:pt x="519" y="16"/>
                    </a:cubicBezTo>
                    <a:cubicBezTo>
                      <a:pt x="344" y="210"/>
                      <a:pt x="344" y="210"/>
                      <a:pt x="344" y="210"/>
                    </a:cubicBezTo>
                    <a:cubicBezTo>
                      <a:pt x="336" y="219"/>
                      <a:pt x="334" y="224"/>
                      <a:pt x="334" y="229"/>
                    </a:cubicBezTo>
                    <a:cubicBezTo>
                      <a:pt x="334" y="234"/>
                      <a:pt x="336" y="239"/>
                      <a:pt x="344" y="248"/>
                    </a:cubicBezTo>
                    <a:cubicBezTo>
                      <a:pt x="519" y="442"/>
                      <a:pt x="519" y="442"/>
                      <a:pt x="519" y="442"/>
                    </a:cubicBezTo>
                    <a:cubicBezTo>
                      <a:pt x="526" y="450"/>
                      <a:pt x="535" y="458"/>
                      <a:pt x="545" y="458"/>
                    </a:cubicBezTo>
                    <a:cubicBezTo>
                      <a:pt x="559" y="458"/>
                      <a:pt x="580" y="448"/>
                      <a:pt x="580" y="438"/>
                    </a:cubicBezTo>
                    <a:cubicBezTo>
                      <a:pt x="580" y="433"/>
                      <a:pt x="576" y="428"/>
                      <a:pt x="570" y="421"/>
                    </a:cubicBezTo>
                    <a:cubicBezTo>
                      <a:pt x="411" y="245"/>
                      <a:pt x="411" y="245"/>
                      <a:pt x="411" y="245"/>
                    </a:cubicBezTo>
                    <a:cubicBezTo>
                      <a:pt x="403" y="236"/>
                      <a:pt x="399" y="232"/>
                      <a:pt x="399" y="229"/>
                    </a:cubicBezTo>
                    <a:cubicBezTo>
                      <a:pt x="399" y="226"/>
                      <a:pt x="403" y="222"/>
                      <a:pt x="411" y="213"/>
                    </a:cubicBezTo>
                    <a:moveTo>
                      <a:pt x="252" y="439"/>
                    </a:moveTo>
                    <a:cubicBezTo>
                      <a:pt x="252" y="449"/>
                      <a:pt x="261" y="454"/>
                      <a:pt x="281" y="454"/>
                    </a:cubicBezTo>
                    <a:cubicBezTo>
                      <a:pt x="300" y="454"/>
                      <a:pt x="309" y="449"/>
                      <a:pt x="309" y="439"/>
                    </a:cubicBezTo>
                    <a:cubicBezTo>
                      <a:pt x="309" y="19"/>
                      <a:pt x="309" y="19"/>
                      <a:pt x="309" y="19"/>
                    </a:cubicBezTo>
                    <a:cubicBezTo>
                      <a:pt x="309" y="9"/>
                      <a:pt x="300" y="4"/>
                      <a:pt x="281" y="4"/>
                    </a:cubicBezTo>
                    <a:cubicBezTo>
                      <a:pt x="261" y="4"/>
                      <a:pt x="252" y="9"/>
                      <a:pt x="252" y="19"/>
                    </a:cubicBezTo>
                    <a:lnTo>
                      <a:pt x="252" y="439"/>
                    </a:lnTo>
                    <a:close/>
                    <a:moveTo>
                      <a:pt x="0" y="439"/>
                    </a:moveTo>
                    <a:cubicBezTo>
                      <a:pt x="0" y="449"/>
                      <a:pt x="8" y="454"/>
                      <a:pt x="28" y="454"/>
                    </a:cubicBezTo>
                    <a:cubicBezTo>
                      <a:pt x="48" y="454"/>
                      <a:pt x="56" y="449"/>
                      <a:pt x="56" y="439"/>
                    </a:cubicBezTo>
                    <a:cubicBezTo>
                      <a:pt x="56" y="157"/>
                      <a:pt x="56" y="157"/>
                      <a:pt x="56" y="157"/>
                    </a:cubicBezTo>
                    <a:cubicBezTo>
                      <a:pt x="56" y="83"/>
                      <a:pt x="85" y="53"/>
                      <a:pt x="165" y="53"/>
                    </a:cubicBezTo>
                    <a:cubicBezTo>
                      <a:pt x="180" y="53"/>
                      <a:pt x="180" y="53"/>
                      <a:pt x="180" y="53"/>
                    </a:cubicBezTo>
                    <a:cubicBezTo>
                      <a:pt x="192" y="53"/>
                      <a:pt x="196" y="43"/>
                      <a:pt x="196" y="27"/>
                    </a:cubicBezTo>
                    <a:cubicBezTo>
                      <a:pt x="196" y="8"/>
                      <a:pt x="185" y="4"/>
                      <a:pt x="154" y="4"/>
                    </a:cubicBezTo>
                    <a:cubicBezTo>
                      <a:pt x="64" y="4"/>
                      <a:pt x="0" y="43"/>
                      <a:pt x="0" y="152"/>
                    </a:cubicBezTo>
                    <a:lnTo>
                      <a:pt x="0" y="43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0" dirty="0"/>
              </a:p>
            </p:txBody>
          </p:sp>
          <p:sp>
            <p:nvSpPr>
              <p:cNvPr id="25" name="Freeform 10">
                <a:extLst>
                  <a:ext uri="{FF2B5EF4-FFF2-40B4-BE49-F238E27FC236}">
                    <a16:creationId xmlns:a16="http://schemas.microsoft.com/office/drawing/2014/main" id="{2B91B16B-BC11-E547-8FAC-B9B8D18EA449}"/>
                  </a:ext>
                </a:extLst>
              </p:cNvPr>
              <p:cNvSpPr>
                <a:spLocks/>
              </p:cNvSpPr>
              <p:nvPr/>
            </p:nvSpPr>
            <p:spPr bwMode="gray">
              <a:xfrm>
                <a:off x="2880" y="1704"/>
                <a:ext cx="618" cy="916"/>
              </a:xfrm>
              <a:custGeom>
                <a:avLst/>
                <a:gdLst>
                  <a:gd name="T0" fmla="*/ 307 w 307"/>
                  <a:gd name="T1" fmla="*/ 405 h 455"/>
                  <a:gd name="T2" fmla="*/ 307 w 307"/>
                  <a:gd name="T3" fmla="*/ 244 h 455"/>
                  <a:gd name="T4" fmla="*/ 279 w 307"/>
                  <a:gd name="T5" fmla="*/ 229 h 455"/>
                  <a:gd name="T6" fmla="*/ 250 w 307"/>
                  <a:gd name="T7" fmla="*/ 244 h 455"/>
                  <a:gd name="T8" fmla="*/ 250 w 307"/>
                  <a:gd name="T9" fmla="*/ 378 h 455"/>
                  <a:gd name="T10" fmla="*/ 199 w 307"/>
                  <a:gd name="T11" fmla="*/ 408 h 455"/>
                  <a:gd name="T12" fmla="*/ 61 w 307"/>
                  <a:gd name="T13" fmla="*/ 231 h 455"/>
                  <a:gd name="T14" fmla="*/ 238 w 307"/>
                  <a:gd name="T15" fmla="*/ 49 h 455"/>
                  <a:gd name="T16" fmla="*/ 270 w 307"/>
                  <a:gd name="T17" fmla="*/ 49 h 455"/>
                  <a:gd name="T18" fmla="*/ 286 w 307"/>
                  <a:gd name="T19" fmla="*/ 23 h 455"/>
                  <a:gd name="T20" fmla="*/ 244 w 307"/>
                  <a:gd name="T21" fmla="*/ 0 h 455"/>
                  <a:gd name="T22" fmla="*/ 231 w 307"/>
                  <a:gd name="T23" fmla="*/ 0 h 455"/>
                  <a:gd name="T24" fmla="*/ 0 w 307"/>
                  <a:gd name="T25" fmla="*/ 232 h 455"/>
                  <a:gd name="T26" fmla="*/ 198 w 307"/>
                  <a:gd name="T27" fmla="*/ 455 h 455"/>
                  <a:gd name="T28" fmla="*/ 307 w 307"/>
                  <a:gd name="T29" fmla="*/ 405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7" h="455">
                    <a:moveTo>
                      <a:pt x="307" y="405"/>
                    </a:moveTo>
                    <a:cubicBezTo>
                      <a:pt x="307" y="244"/>
                      <a:pt x="307" y="244"/>
                      <a:pt x="307" y="244"/>
                    </a:cubicBezTo>
                    <a:cubicBezTo>
                      <a:pt x="307" y="234"/>
                      <a:pt x="298" y="229"/>
                      <a:pt x="279" y="229"/>
                    </a:cubicBezTo>
                    <a:cubicBezTo>
                      <a:pt x="259" y="229"/>
                      <a:pt x="250" y="234"/>
                      <a:pt x="250" y="244"/>
                    </a:cubicBezTo>
                    <a:cubicBezTo>
                      <a:pt x="250" y="378"/>
                      <a:pt x="250" y="378"/>
                      <a:pt x="250" y="378"/>
                    </a:cubicBezTo>
                    <a:cubicBezTo>
                      <a:pt x="250" y="399"/>
                      <a:pt x="241" y="408"/>
                      <a:pt x="199" y="408"/>
                    </a:cubicBezTo>
                    <a:cubicBezTo>
                      <a:pt x="114" y="408"/>
                      <a:pt x="61" y="342"/>
                      <a:pt x="61" y="231"/>
                    </a:cubicBezTo>
                    <a:cubicBezTo>
                      <a:pt x="61" y="115"/>
                      <a:pt x="126" y="49"/>
                      <a:pt x="238" y="49"/>
                    </a:cubicBezTo>
                    <a:cubicBezTo>
                      <a:pt x="270" y="49"/>
                      <a:pt x="270" y="49"/>
                      <a:pt x="270" y="49"/>
                    </a:cubicBezTo>
                    <a:cubicBezTo>
                      <a:pt x="282" y="49"/>
                      <a:pt x="286" y="39"/>
                      <a:pt x="286" y="23"/>
                    </a:cubicBezTo>
                    <a:cubicBezTo>
                      <a:pt x="286" y="4"/>
                      <a:pt x="275" y="0"/>
                      <a:pt x="244" y="0"/>
                    </a:cubicBezTo>
                    <a:cubicBezTo>
                      <a:pt x="231" y="0"/>
                      <a:pt x="231" y="0"/>
                      <a:pt x="231" y="0"/>
                    </a:cubicBezTo>
                    <a:cubicBezTo>
                      <a:pt x="101" y="0"/>
                      <a:pt x="0" y="71"/>
                      <a:pt x="0" y="232"/>
                    </a:cubicBezTo>
                    <a:cubicBezTo>
                      <a:pt x="0" y="386"/>
                      <a:pt x="88" y="455"/>
                      <a:pt x="198" y="455"/>
                    </a:cubicBezTo>
                    <a:cubicBezTo>
                      <a:pt x="286" y="455"/>
                      <a:pt x="307" y="430"/>
                      <a:pt x="307" y="40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0" dirty="0"/>
              </a:p>
            </p:txBody>
          </p:sp>
          <p:sp>
            <p:nvSpPr>
              <p:cNvPr id="26" name="Oval 11">
                <a:extLst>
                  <a:ext uri="{FF2B5EF4-FFF2-40B4-BE49-F238E27FC236}">
                    <a16:creationId xmlns:a16="http://schemas.microsoft.com/office/drawing/2014/main" id="{14F8C3C8-4888-7646-B9B4-64EB46A1DA23}"/>
                  </a:ext>
                </a:extLst>
              </p:cNvPr>
              <p:cNvSpPr>
                <a:spLocks noChangeArrowheads="1"/>
              </p:cNvSpPr>
              <p:nvPr/>
            </p:nvSpPr>
            <p:spPr bwMode="gray">
              <a:xfrm>
                <a:off x="3778" y="2099"/>
                <a:ext cx="122" cy="12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0" dirty="0"/>
              </a:p>
            </p:txBody>
          </p:sp>
          <p:sp>
            <p:nvSpPr>
              <p:cNvPr id="27" name="Freeform 12">
                <a:extLst>
                  <a:ext uri="{FF2B5EF4-FFF2-40B4-BE49-F238E27FC236}">
                    <a16:creationId xmlns:a16="http://schemas.microsoft.com/office/drawing/2014/main" id="{D79D01D1-4E3E-F34B-97D7-2D387E68746E}"/>
                  </a:ext>
                </a:extLst>
              </p:cNvPr>
              <p:cNvSpPr>
                <a:spLocks/>
              </p:cNvSpPr>
              <p:nvPr/>
            </p:nvSpPr>
            <p:spPr bwMode="gray">
              <a:xfrm>
                <a:off x="4321" y="1029"/>
                <a:ext cx="648" cy="649"/>
              </a:xfrm>
              <a:custGeom>
                <a:avLst/>
                <a:gdLst>
                  <a:gd name="T0" fmla="*/ 0 w 648"/>
                  <a:gd name="T1" fmla="*/ 649 h 649"/>
                  <a:gd name="T2" fmla="*/ 2 w 648"/>
                  <a:gd name="T3" fmla="*/ 649 h 649"/>
                  <a:gd name="T4" fmla="*/ 648 w 648"/>
                  <a:gd name="T5" fmla="*/ 0 h 649"/>
                  <a:gd name="T6" fmla="*/ 423 w 648"/>
                  <a:gd name="T7" fmla="*/ 0 h 649"/>
                  <a:gd name="T8" fmla="*/ 0 w 648"/>
                  <a:gd name="T9" fmla="*/ 649 h 649"/>
                </a:gdLst>
                <a:ahLst/>
                <a:cxnLst>
                  <a:cxn ang="0">
                    <a:pos x="T0" y="T1"/>
                  </a:cxn>
                  <a:cxn ang="0">
                    <a:pos x="T2" y="T3"/>
                  </a:cxn>
                  <a:cxn ang="0">
                    <a:pos x="T4" y="T5"/>
                  </a:cxn>
                  <a:cxn ang="0">
                    <a:pos x="T6" y="T7"/>
                  </a:cxn>
                  <a:cxn ang="0">
                    <a:pos x="T8" y="T9"/>
                  </a:cxn>
                </a:cxnLst>
                <a:rect l="0" t="0" r="r" b="b"/>
                <a:pathLst>
                  <a:path w="648" h="649">
                    <a:moveTo>
                      <a:pt x="0" y="649"/>
                    </a:moveTo>
                    <a:lnTo>
                      <a:pt x="2" y="649"/>
                    </a:lnTo>
                    <a:lnTo>
                      <a:pt x="648" y="0"/>
                    </a:lnTo>
                    <a:lnTo>
                      <a:pt x="423" y="0"/>
                    </a:lnTo>
                    <a:lnTo>
                      <a:pt x="0" y="64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0" dirty="0"/>
              </a:p>
            </p:txBody>
          </p:sp>
          <p:sp>
            <p:nvSpPr>
              <p:cNvPr id="28" name="Freeform 13">
                <a:extLst>
                  <a:ext uri="{FF2B5EF4-FFF2-40B4-BE49-F238E27FC236}">
                    <a16:creationId xmlns:a16="http://schemas.microsoft.com/office/drawing/2014/main" id="{46549898-6C52-B147-A8F6-A73FDBE6163B}"/>
                  </a:ext>
                </a:extLst>
              </p:cNvPr>
              <p:cNvSpPr>
                <a:spLocks/>
              </p:cNvSpPr>
              <p:nvPr/>
            </p:nvSpPr>
            <p:spPr bwMode="gray">
              <a:xfrm>
                <a:off x="4321" y="1029"/>
                <a:ext cx="648" cy="649"/>
              </a:xfrm>
              <a:custGeom>
                <a:avLst/>
                <a:gdLst>
                  <a:gd name="T0" fmla="*/ 0 w 648"/>
                  <a:gd name="T1" fmla="*/ 649 h 649"/>
                  <a:gd name="T2" fmla="*/ 2 w 648"/>
                  <a:gd name="T3" fmla="*/ 649 h 649"/>
                  <a:gd name="T4" fmla="*/ 648 w 648"/>
                  <a:gd name="T5" fmla="*/ 0 h 649"/>
                  <a:gd name="T6" fmla="*/ 423 w 648"/>
                  <a:gd name="T7" fmla="*/ 0 h 649"/>
                  <a:gd name="T8" fmla="*/ 0 w 648"/>
                  <a:gd name="T9" fmla="*/ 649 h 649"/>
                </a:gdLst>
                <a:ahLst/>
                <a:cxnLst>
                  <a:cxn ang="0">
                    <a:pos x="T0" y="T1"/>
                  </a:cxn>
                  <a:cxn ang="0">
                    <a:pos x="T2" y="T3"/>
                  </a:cxn>
                  <a:cxn ang="0">
                    <a:pos x="T4" y="T5"/>
                  </a:cxn>
                  <a:cxn ang="0">
                    <a:pos x="T6" y="T7"/>
                  </a:cxn>
                  <a:cxn ang="0">
                    <a:pos x="T8" y="T9"/>
                  </a:cxn>
                </a:cxnLst>
                <a:rect l="0" t="0" r="r" b="b"/>
                <a:pathLst>
                  <a:path w="648" h="649">
                    <a:moveTo>
                      <a:pt x="0" y="649"/>
                    </a:moveTo>
                    <a:lnTo>
                      <a:pt x="2" y="649"/>
                    </a:lnTo>
                    <a:lnTo>
                      <a:pt x="648" y="0"/>
                    </a:lnTo>
                    <a:lnTo>
                      <a:pt x="423" y="0"/>
                    </a:lnTo>
                    <a:lnTo>
                      <a:pt x="0" y="64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0" dirty="0"/>
              </a:p>
            </p:txBody>
          </p:sp>
        </p:grpSp>
      </p:grpSp>
      <p:sp>
        <p:nvSpPr>
          <p:cNvPr id="7" name="Date Placeholder 6"/>
          <p:cNvSpPr>
            <a:spLocks noGrp="1"/>
          </p:cNvSpPr>
          <p:nvPr>
            <p:ph type="dt" sz="half" idx="10"/>
          </p:nvPr>
        </p:nvSpPr>
        <p:spPr>
          <a:xfrm>
            <a:off x="0" y="0"/>
            <a:ext cx="0" cy="0"/>
          </a:xfrm>
          <a:prstGeom prst="rect">
            <a:avLst/>
          </a:prstGeom>
        </p:spPr>
        <p:txBody>
          <a:bodyPr/>
          <a:lstStyle>
            <a:lvl1pPr>
              <a:defRPr sz="133">
                <a:noFill/>
              </a:defRPr>
            </a:lvl1pPr>
          </a:lstStyle>
          <a:p>
            <a:fld id="{3EA3BA3C-82AC-45BA-9659-DD8E28BB5C16}" type="datetime5">
              <a:rPr lang="en-US" smtClean="0"/>
              <a:t>26-Jun-20</a:t>
            </a:fld>
            <a:endParaRPr lang="en-US" dirty="0"/>
          </a:p>
        </p:txBody>
      </p:sp>
      <p:sp>
        <p:nvSpPr>
          <p:cNvPr id="8" name="Footer Placeholder 7"/>
          <p:cNvSpPr>
            <a:spLocks noGrp="1"/>
          </p:cNvSpPr>
          <p:nvPr>
            <p:ph type="ftr" sz="quarter" idx="11"/>
          </p:nvPr>
        </p:nvSpPr>
        <p:spPr>
          <a:xfrm>
            <a:off x="0" y="0"/>
            <a:ext cx="0" cy="0"/>
          </a:xfrm>
          <a:prstGeom prst="rect">
            <a:avLst/>
          </a:prstGeom>
        </p:spPr>
        <p:txBody>
          <a:bodyPr/>
          <a:lstStyle>
            <a:lvl1pPr marL="0" indent="0">
              <a:buNone/>
              <a:defRPr sz="133">
                <a:noFill/>
              </a:defRPr>
            </a:lvl1pPr>
          </a:lstStyle>
          <a:p>
            <a:r>
              <a:rPr lang="en-US"/>
              <a:t>Title of presentation (Insert / Header &amp; Footer / Apply to All)</a:t>
            </a:r>
            <a:endParaRPr lang="en-US" dirty="0"/>
          </a:p>
        </p:txBody>
      </p:sp>
      <p:sp>
        <p:nvSpPr>
          <p:cNvPr id="9" name="Slide Number Placeholder 8"/>
          <p:cNvSpPr>
            <a:spLocks noGrp="1"/>
          </p:cNvSpPr>
          <p:nvPr>
            <p:ph type="sldNum" sz="quarter" idx="12"/>
          </p:nvPr>
        </p:nvSpPr>
        <p:spPr>
          <a:xfrm>
            <a:off x="0" y="0"/>
            <a:ext cx="0" cy="0"/>
          </a:xfrm>
          <a:prstGeom prst="rect">
            <a:avLst/>
          </a:prstGeom>
        </p:spPr>
        <p:txBody>
          <a:bodyPr/>
          <a:lstStyle>
            <a:lvl1pPr>
              <a:defRPr sz="133">
                <a:noFill/>
              </a:defRPr>
            </a:lvl1pPr>
          </a:lstStyle>
          <a:p>
            <a:fld id="{8E3B25F7-8D1F-44B5-B485-EE3C438CFD7B}" type="slidenum">
              <a:rPr lang="en-US" smtClean="0"/>
              <a:pPr/>
              <a:t>‹#›</a:t>
            </a:fld>
            <a:endParaRPr lang="en-US"/>
          </a:p>
        </p:txBody>
      </p:sp>
      <p:sp>
        <p:nvSpPr>
          <p:cNvPr id="2" name="Title 1"/>
          <p:cNvSpPr>
            <a:spLocks noGrp="1"/>
          </p:cNvSpPr>
          <p:nvPr>
            <p:ph type="ctrTitle" hasCustomPrompt="1"/>
          </p:nvPr>
        </p:nvSpPr>
        <p:spPr>
          <a:xfrm>
            <a:off x="417600" y="1628775"/>
            <a:ext cx="3816000" cy="2236264"/>
          </a:xfrm>
        </p:spPr>
        <p:txBody>
          <a:bodyPr anchor="b"/>
          <a:lstStyle>
            <a:lvl1pPr algn="l">
              <a:defRPr sz="3599" baseline="0"/>
            </a:lvl1pPr>
          </a:lstStyle>
          <a:p>
            <a:r>
              <a:rPr lang="en-US" dirty="0"/>
              <a:t>Click to add presentation title</a:t>
            </a:r>
          </a:p>
        </p:txBody>
      </p:sp>
      <p:sp>
        <p:nvSpPr>
          <p:cNvPr id="3" name="Subtitle 2"/>
          <p:cNvSpPr>
            <a:spLocks noGrp="1"/>
          </p:cNvSpPr>
          <p:nvPr>
            <p:ph type="subTitle" idx="1" hasCustomPrompt="1"/>
          </p:nvPr>
        </p:nvSpPr>
        <p:spPr>
          <a:xfrm>
            <a:off x="417600" y="4094163"/>
            <a:ext cx="3816000" cy="1080000"/>
          </a:xfrm>
        </p:spPr>
        <p:txBody>
          <a:bodyPr/>
          <a:lstStyle>
            <a:lvl1pPr marL="0" indent="0" algn="l">
              <a:spcBef>
                <a:spcPts val="0"/>
              </a:spcBef>
              <a:buNone/>
              <a:defRPr sz="1799" b="1"/>
            </a:lvl1pPr>
            <a:lvl2pPr marL="457051" indent="0" algn="ctr">
              <a:buNone/>
              <a:defRPr sz="1999"/>
            </a:lvl2pPr>
            <a:lvl3pPr marL="914103" indent="0" algn="ctr">
              <a:buNone/>
              <a:defRPr sz="1799"/>
            </a:lvl3pPr>
            <a:lvl4pPr marL="1371154" indent="0" algn="ctr">
              <a:buNone/>
              <a:defRPr sz="1599"/>
            </a:lvl4pPr>
            <a:lvl5pPr marL="1828206" indent="0" algn="ctr">
              <a:buNone/>
              <a:defRPr sz="1599"/>
            </a:lvl5pPr>
            <a:lvl6pPr marL="2285257" indent="0" algn="ctr">
              <a:buNone/>
              <a:defRPr sz="1599"/>
            </a:lvl6pPr>
            <a:lvl7pPr marL="2742308" indent="0" algn="ctr">
              <a:buNone/>
              <a:defRPr sz="1599"/>
            </a:lvl7pPr>
            <a:lvl8pPr marL="3199360" indent="0" algn="ctr">
              <a:buNone/>
              <a:defRPr sz="1599"/>
            </a:lvl8pPr>
            <a:lvl9pPr marL="3656411" indent="0" algn="ctr">
              <a:buNone/>
              <a:defRPr sz="1599"/>
            </a:lvl9pPr>
          </a:lstStyle>
          <a:p>
            <a:r>
              <a:rPr lang="en-US" dirty="0"/>
              <a:t>Click to add subtitle</a:t>
            </a:r>
          </a:p>
        </p:txBody>
      </p:sp>
      <p:sp>
        <p:nvSpPr>
          <p:cNvPr id="31" name="Text Placeholder 30"/>
          <p:cNvSpPr>
            <a:spLocks noGrp="1"/>
          </p:cNvSpPr>
          <p:nvPr>
            <p:ph type="body" sz="quarter" idx="14" hasCustomPrompt="1"/>
          </p:nvPr>
        </p:nvSpPr>
        <p:spPr>
          <a:xfrm>
            <a:off x="417600" y="5393268"/>
            <a:ext cx="3816000" cy="296333"/>
          </a:xfrm>
        </p:spPr>
        <p:txBody>
          <a:bodyPr wrap="none"/>
          <a:lstStyle>
            <a:lvl1pPr marL="0" indent="0">
              <a:spcBef>
                <a:spcPts val="0"/>
              </a:spcBef>
              <a:buNone/>
              <a:defRPr sz="1200"/>
            </a:lvl1pPr>
            <a:lvl2pPr marL="0" indent="0">
              <a:buNone/>
              <a:defRPr sz="1200"/>
            </a:lvl2pPr>
            <a:lvl3pPr marL="0" indent="0">
              <a:buNone/>
              <a:defRPr sz="1200"/>
            </a:lvl3pPr>
            <a:lvl4pPr marL="0">
              <a:buNone/>
              <a:defRPr sz="1200"/>
            </a:lvl4pPr>
            <a:lvl5pPr marL="0" indent="0">
              <a:buNone/>
              <a:defRPr sz="1200"/>
            </a:lvl5pPr>
          </a:lstStyle>
          <a:p>
            <a:pPr lvl="0"/>
            <a:r>
              <a:rPr lang="en-US" dirty="0"/>
              <a:t>Name</a:t>
            </a:r>
          </a:p>
        </p:txBody>
      </p:sp>
      <p:sp>
        <p:nvSpPr>
          <p:cNvPr id="34" name="Text Placeholder 30"/>
          <p:cNvSpPr>
            <a:spLocks noGrp="1"/>
          </p:cNvSpPr>
          <p:nvPr>
            <p:ph type="body" sz="quarter" idx="15" hasCustomPrompt="1"/>
          </p:nvPr>
        </p:nvSpPr>
        <p:spPr>
          <a:xfrm>
            <a:off x="417600" y="5691445"/>
            <a:ext cx="3816000" cy="296333"/>
          </a:xfrm>
        </p:spPr>
        <p:txBody>
          <a:bodyPr wrap="none"/>
          <a:lstStyle>
            <a:lvl1pPr marL="0" indent="0">
              <a:spcBef>
                <a:spcPts val="0"/>
              </a:spcBef>
              <a:buNone/>
              <a:defRPr sz="1200"/>
            </a:lvl1pPr>
            <a:lvl2pPr marL="0" indent="0">
              <a:buNone/>
              <a:defRPr sz="1200"/>
            </a:lvl2pPr>
            <a:lvl3pPr marL="0" indent="0">
              <a:buNone/>
              <a:defRPr sz="1200"/>
            </a:lvl3pPr>
            <a:lvl4pPr marL="0">
              <a:buNone/>
              <a:defRPr sz="1200"/>
            </a:lvl4pPr>
            <a:lvl5pPr marL="0" indent="0">
              <a:buNone/>
              <a:defRPr sz="1200"/>
            </a:lvl5pPr>
          </a:lstStyle>
          <a:p>
            <a:pPr lvl="0"/>
            <a:r>
              <a:rPr lang="en-US" dirty="0"/>
              <a:t>Department</a:t>
            </a:r>
          </a:p>
        </p:txBody>
      </p:sp>
    </p:spTree>
    <p:extLst>
      <p:ext uri="{BB962C8B-B14F-4D97-AF65-F5344CB8AC3E}">
        <p14:creationId xmlns:p14="http://schemas.microsoft.com/office/powerpoint/2010/main" val="3009949415"/>
      </p:ext>
    </p:extLst>
  </p:cSld>
  <p:clrMapOvr>
    <a:masterClrMapping/>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showMasterSp="0" preserve="1">
  <p:cSld name="Title 2">
    <p:spTree>
      <p:nvGrpSpPr>
        <p:cNvPr id="1" name=""/>
        <p:cNvGrpSpPr/>
        <p:nvPr/>
      </p:nvGrpSpPr>
      <p:grpSpPr>
        <a:xfrm>
          <a:off x="0" y="0"/>
          <a:ext cx="0" cy="0"/>
          <a:chOff x="0" y="0"/>
          <a:chExt cx="0" cy="0"/>
        </a:xfrm>
      </p:grpSpPr>
      <p:pic>
        <p:nvPicPr>
          <p:cNvPr id="29" name="picture">
            <a:extLst>
              <a:ext uri="{FF2B5EF4-FFF2-40B4-BE49-F238E27FC236}">
                <a16:creationId xmlns:a16="http://schemas.microsoft.com/office/drawing/2014/main" id="{8BF907F5-A9CD-2740-AF54-6BACB62334AE}"/>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2620213" y="-8807"/>
            <a:ext cx="9697299" cy="6866807"/>
          </a:xfrm>
          <a:prstGeom prst="rect">
            <a:avLst/>
          </a:prstGeom>
        </p:spPr>
      </p:pic>
      <p:sp>
        <p:nvSpPr>
          <p:cNvPr id="32" name="shpPicture"/>
          <p:cNvSpPr/>
          <p:nvPr/>
        </p:nvSpPr>
        <p:spPr>
          <a:xfrm>
            <a:off x="2" y="0"/>
            <a:ext cx="4112145" cy="6858000"/>
          </a:xfrm>
          <a:custGeom>
            <a:avLst/>
            <a:gdLst>
              <a:gd name="connsiteX0" fmla="*/ 0 w 4112145"/>
              <a:gd name="connsiteY0" fmla="*/ 0 h 6858000"/>
              <a:gd name="connsiteX1" fmla="*/ 2588964 w 4112145"/>
              <a:gd name="connsiteY1" fmla="*/ 0 h 6858000"/>
              <a:gd name="connsiteX2" fmla="*/ 4112145 w 4112145"/>
              <a:gd name="connsiteY2" fmla="*/ 3083531 h 6858000"/>
              <a:gd name="connsiteX3" fmla="*/ 2697661 w 4112145"/>
              <a:gd name="connsiteY3" fmla="*/ 6858000 h 6858000"/>
              <a:gd name="connsiteX4" fmla="*/ 0 w 4112145"/>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12145" h="6858000">
                <a:moveTo>
                  <a:pt x="0" y="0"/>
                </a:moveTo>
                <a:lnTo>
                  <a:pt x="2588964" y="0"/>
                </a:lnTo>
                <a:lnTo>
                  <a:pt x="4112145" y="3083531"/>
                </a:lnTo>
                <a:lnTo>
                  <a:pt x="2697661"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1978" tIns="35989" rIns="71978" bIns="35989" rtlCol="0" anchor="ctr"/>
          <a:lstStyle/>
          <a:p>
            <a:pPr algn="ctr">
              <a:lnSpc>
                <a:spcPct val="125000"/>
              </a:lnSpc>
            </a:pPr>
            <a:endParaRPr lang="en-US" sz="1599" dirty="0"/>
          </a:p>
        </p:txBody>
      </p:sp>
      <p:grpSp>
        <p:nvGrpSpPr>
          <p:cNvPr id="14" name="logo">
            <a:extLst>
              <a:ext uri="{FF2B5EF4-FFF2-40B4-BE49-F238E27FC236}">
                <a16:creationId xmlns:a16="http://schemas.microsoft.com/office/drawing/2014/main" id="{18C26D95-70F8-8A4D-9F18-DCCB92522AF8}"/>
              </a:ext>
            </a:extLst>
          </p:cNvPr>
          <p:cNvGrpSpPr/>
          <p:nvPr/>
        </p:nvGrpSpPr>
        <p:grpSpPr bwMode="gray">
          <a:xfrm>
            <a:off x="417365" y="407485"/>
            <a:ext cx="1518585" cy="646507"/>
            <a:chOff x="334963" y="296652"/>
            <a:chExt cx="1268411" cy="540000"/>
          </a:xfrm>
        </p:grpSpPr>
        <p:sp>
          <p:nvSpPr>
            <p:cNvPr id="17" name="Freeform 6">
              <a:extLst>
                <a:ext uri="{FF2B5EF4-FFF2-40B4-BE49-F238E27FC236}">
                  <a16:creationId xmlns:a16="http://schemas.microsoft.com/office/drawing/2014/main" id="{08737AD0-E375-E445-97E6-CD2E2DF60620}"/>
                </a:ext>
              </a:extLst>
            </p:cNvPr>
            <p:cNvSpPr>
              <a:spLocks noEditPoints="1"/>
            </p:cNvSpPr>
            <p:nvPr/>
          </p:nvSpPr>
          <p:spPr bwMode="gray">
            <a:xfrm>
              <a:off x="982662" y="360462"/>
              <a:ext cx="620712" cy="431800"/>
            </a:xfrm>
            <a:custGeom>
              <a:avLst/>
              <a:gdLst>
                <a:gd name="T0" fmla="*/ 19 w 1809"/>
                <a:gd name="T1" fmla="*/ 97 h 1253"/>
                <a:gd name="T2" fmla="*/ 165 w 1809"/>
                <a:gd name="T3" fmla="*/ 41 h 1253"/>
                <a:gd name="T4" fmla="*/ 211 w 1809"/>
                <a:gd name="T5" fmla="*/ 224 h 1253"/>
                <a:gd name="T6" fmla="*/ 248 w 1809"/>
                <a:gd name="T7" fmla="*/ 155 h 1253"/>
                <a:gd name="T8" fmla="*/ 931 w 1809"/>
                <a:gd name="T9" fmla="*/ 995 h 1253"/>
                <a:gd name="T10" fmla="*/ 858 w 1809"/>
                <a:gd name="T11" fmla="*/ 1115 h 1253"/>
                <a:gd name="T12" fmla="*/ 749 w 1809"/>
                <a:gd name="T13" fmla="*/ 1117 h 1253"/>
                <a:gd name="T14" fmla="*/ 681 w 1809"/>
                <a:gd name="T15" fmla="*/ 1055 h 1253"/>
                <a:gd name="T16" fmla="*/ 800 w 1809"/>
                <a:gd name="T17" fmla="*/ 1054 h 1253"/>
                <a:gd name="T18" fmla="*/ 884 w 1809"/>
                <a:gd name="T19" fmla="*/ 1181 h 1253"/>
                <a:gd name="T20" fmla="*/ 118 w 1809"/>
                <a:gd name="T21" fmla="*/ 1086 h 1253"/>
                <a:gd name="T22" fmla="*/ 147 w 1809"/>
                <a:gd name="T23" fmla="*/ 1026 h 1253"/>
                <a:gd name="T24" fmla="*/ 102 w 1809"/>
                <a:gd name="T25" fmla="*/ 1026 h 1253"/>
                <a:gd name="T26" fmla="*/ 639 w 1809"/>
                <a:gd name="T27" fmla="*/ 84 h 1253"/>
                <a:gd name="T28" fmla="*/ 763 w 1809"/>
                <a:gd name="T29" fmla="*/ 145 h 1253"/>
                <a:gd name="T30" fmla="*/ 863 w 1809"/>
                <a:gd name="T31" fmla="*/ 221 h 1253"/>
                <a:gd name="T32" fmla="*/ 834 w 1809"/>
                <a:gd name="T33" fmla="*/ 208 h 1253"/>
                <a:gd name="T34" fmla="*/ 719 w 1809"/>
                <a:gd name="T35" fmla="*/ 182 h 1253"/>
                <a:gd name="T36" fmla="*/ 507 w 1809"/>
                <a:gd name="T37" fmla="*/ 711 h 1253"/>
                <a:gd name="T38" fmla="*/ 614 w 1809"/>
                <a:gd name="T39" fmla="*/ 706 h 1253"/>
                <a:gd name="T40" fmla="*/ 736 w 1809"/>
                <a:gd name="T41" fmla="*/ 730 h 1253"/>
                <a:gd name="T42" fmla="*/ 607 w 1809"/>
                <a:gd name="T43" fmla="*/ 539 h 1253"/>
                <a:gd name="T44" fmla="*/ 1505 w 1809"/>
                <a:gd name="T45" fmla="*/ 1136 h 1253"/>
                <a:gd name="T46" fmla="*/ 1613 w 1809"/>
                <a:gd name="T47" fmla="*/ 1002 h 1253"/>
                <a:gd name="T48" fmla="*/ 1472 w 1809"/>
                <a:gd name="T49" fmla="*/ 1164 h 1253"/>
                <a:gd name="T50" fmla="*/ 1525 w 1809"/>
                <a:gd name="T51" fmla="*/ 1142 h 1253"/>
                <a:gd name="T52" fmla="*/ 1556 w 1809"/>
                <a:gd name="T53" fmla="*/ 1172 h 1253"/>
                <a:gd name="T54" fmla="*/ 1387 w 1809"/>
                <a:gd name="T55" fmla="*/ 910 h 1253"/>
                <a:gd name="T56" fmla="*/ 1261 w 1809"/>
                <a:gd name="T57" fmla="*/ 1157 h 1253"/>
                <a:gd name="T58" fmla="*/ 1413 w 1809"/>
                <a:gd name="T59" fmla="*/ 934 h 1253"/>
                <a:gd name="T60" fmla="*/ 1378 w 1809"/>
                <a:gd name="T61" fmla="*/ 1052 h 1253"/>
                <a:gd name="T62" fmla="*/ 488 w 1809"/>
                <a:gd name="T63" fmla="*/ 85 h 1253"/>
                <a:gd name="T64" fmla="*/ 509 w 1809"/>
                <a:gd name="T65" fmla="*/ 112 h 1253"/>
                <a:gd name="T66" fmla="*/ 548 w 1809"/>
                <a:gd name="T67" fmla="*/ 1187 h 1253"/>
                <a:gd name="T68" fmla="*/ 472 w 1809"/>
                <a:gd name="T69" fmla="*/ 1122 h 1253"/>
                <a:gd name="T70" fmla="*/ 558 w 1809"/>
                <a:gd name="T71" fmla="*/ 1157 h 1253"/>
                <a:gd name="T72" fmla="*/ 287 w 1809"/>
                <a:gd name="T73" fmla="*/ 654 h 1253"/>
                <a:gd name="T74" fmla="*/ 416 w 1809"/>
                <a:gd name="T75" fmla="*/ 684 h 1253"/>
                <a:gd name="T76" fmla="*/ 1106 w 1809"/>
                <a:gd name="T77" fmla="*/ 147 h 1253"/>
                <a:gd name="T78" fmla="*/ 1229 w 1809"/>
                <a:gd name="T79" fmla="*/ 258 h 1253"/>
                <a:gd name="T80" fmla="*/ 1106 w 1809"/>
                <a:gd name="T81" fmla="*/ 96 h 1253"/>
                <a:gd name="T82" fmla="*/ 1219 w 1809"/>
                <a:gd name="T83" fmla="*/ 1077 h 1253"/>
                <a:gd name="T84" fmla="*/ 1214 w 1809"/>
                <a:gd name="T85" fmla="*/ 1157 h 1253"/>
                <a:gd name="T86" fmla="*/ 1150 w 1809"/>
                <a:gd name="T87" fmla="*/ 1092 h 1253"/>
                <a:gd name="T88" fmla="*/ 1139 w 1809"/>
                <a:gd name="T89" fmla="*/ 1070 h 1253"/>
                <a:gd name="T90" fmla="*/ 1659 w 1809"/>
                <a:gd name="T91" fmla="*/ 1031 h 1253"/>
                <a:gd name="T92" fmla="*/ 1714 w 1809"/>
                <a:gd name="T93" fmla="*/ 1155 h 1253"/>
                <a:gd name="T94" fmla="*/ 1760 w 1809"/>
                <a:gd name="T95" fmla="*/ 1030 h 1253"/>
                <a:gd name="T96" fmla="*/ 111 w 1809"/>
                <a:gd name="T97" fmla="*/ 569 h 1253"/>
                <a:gd name="T98" fmla="*/ 109 w 1809"/>
                <a:gd name="T99" fmla="*/ 460 h 1253"/>
                <a:gd name="T100" fmla="*/ 32 w 1809"/>
                <a:gd name="T101" fmla="*/ 704 h 1253"/>
                <a:gd name="T102" fmla="*/ 310 w 1809"/>
                <a:gd name="T103" fmla="*/ 1058 h 1253"/>
                <a:gd name="T104" fmla="*/ 431 w 1809"/>
                <a:gd name="T105" fmla="*/ 1044 h 1253"/>
                <a:gd name="T106" fmla="*/ 278 w 1809"/>
                <a:gd name="T107" fmla="*/ 1165 h 1253"/>
                <a:gd name="T108" fmla="*/ 261 w 1809"/>
                <a:gd name="T109" fmla="*/ 540 h 1253"/>
                <a:gd name="T110" fmla="*/ 150 w 1809"/>
                <a:gd name="T111" fmla="*/ 635 h 1253"/>
                <a:gd name="T112" fmla="*/ 994 w 1809"/>
                <a:gd name="T113" fmla="*/ 1185 h 1253"/>
                <a:gd name="T114" fmla="*/ 331 w 1809"/>
                <a:gd name="T115" fmla="*/ 176 h 1253"/>
                <a:gd name="T116" fmla="*/ 333 w 1809"/>
                <a:gd name="T117" fmla="*/ 109 h 1253"/>
                <a:gd name="T118" fmla="*/ 946 w 1809"/>
                <a:gd name="T119" fmla="*/ 234 h 1253"/>
                <a:gd name="T120" fmla="*/ 1022 w 1809"/>
                <a:gd name="T121" fmla="*/ 113 h 1253"/>
                <a:gd name="T122" fmla="*/ 949 w 1809"/>
                <a:gd name="T123" fmla="*/ 65 h 1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09" h="1253">
                  <a:moveTo>
                    <a:pt x="248" y="198"/>
                  </a:moveTo>
                  <a:cubicBezTo>
                    <a:pt x="248" y="211"/>
                    <a:pt x="248" y="224"/>
                    <a:pt x="249" y="237"/>
                  </a:cubicBezTo>
                  <a:cubicBezTo>
                    <a:pt x="249" y="245"/>
                    <a:pt x="246" y="249"/>
                    <a:pt x="240" y="253"/>
                  </a:cubicBezTo>
                  <a:cubicBezTo>
                    <a:pt x="231" y="260"/>
                    <a:pt x="220" y="264"/>
                    <a:pt x="209" y="268"/>
                  </a:cubicBezTo>
                  <a:cubicBezTo>
                    <a:pt x="179" y="279"/>
                    <a:pt x="148" y="280"/>
                    <a:pt x="118" y="275"/>
                  </a:cubicBezTo>
                  <a:cubicBezTo>
                    <a:pt x="86" y="269"/>
                    <a:pt x="58" y="252"/>
                    <a:pt x="39" y="224"/>
                  </a:cubicBezTo>
                  <a:cubicBezTo>
                    <a:pt x="24" y="203"/>
                    <a:pt x="18" y="180"/>
                    <a:pt x="15" y="155"/>
                  </a:cubicBezTo>
                  <a:cubicBezTo>
                    <a:pt x="11" y="135"/>
                    <a:pt x="15" y="115"/>
                    <a:pt x="19" y="97"/>
                  </a:cubicBezTo>
                  <a:cubicBezTo>
                    <a:pt x="26" y="68"/>
                    <a:pt x="42" y="44"/>
                    <a:pt x="68" y="27"/>
                  </a:cubicBezTo>
                  <a:cubicBezTo>
                    <a:pt x="87" y="14"/>
                    <a:pt x="109" y="6"/>
                    <a:pt x="133" y="5"/>
                  </a:cubicBezTo>
                  <a:cubicBezTo>
                    <a:pt x="149" y="4"/>
                    <a:pt x="165" y="5"/>
                    <a:pt x="181" y="6"/>
                  </a:cubicBezTo>
                  <a:cubicBezTo>
                    <a:pt x="204" y="8"/>
                    <a:pt x="225" y="20"/>
                    <a:pt x="243" y="35"/>
                  </a:cubicBezTo>
                  <a:cubicBezTo>
                    <a:pt x="246" y="37"/>
                    <a:pt x="246" y="40"/>
                    <a:pt x="244" y="43"/>
                  </a:cubicBezTo>
                  <a:cubicBezTo>
                    <a:pt x="242" y="47"/>
                    <a:pt x="239" y="52"/>
                    <a:pt x="236" y="55"/>
                  </a:cubicBezTo>
                  <a:cubicBezTo>
                    <a:pt x="226" y="65"/>
                    <a:pt x="224" y="65"/>
                    <a:pt x="206" y="54"/>
                  </a:cubicBezTo>
                  <a:cubicBezTo>
                    <a:pt x="193" y="46"/>
                    <a:pt x="180" y="40"/>
                    <a:pt x="165" y="41"/>
                  </a:cubicBezTo>
                  <a:cubicBezTo>
                    <a:pt x="151" y="41"/>
                    <a:pt x="137" y="39"/>
                    <a:pt x="124" y="42"/>
                  </a:cubicBezTo>
                  <a:cubicBezTo>
                    <a:pt x="104" y="46"/>
                    <a:pt x="87" y="57"/>
                    <a:pt x="75" y="74"/>
                  </a:cubicBezTo>
                  <a:cubicBezTo>
                    <a:pt x="56" y="99"/>
                    <a:pt x="51" y="129"/>
                    <a:pt x="55" y="159"/>
                  </a:cubicBezTo>
                  <a:cubicBezTo>
                    <a:pt x="60" y="189"/>
                    <a:pt x="73" y="214"/>
                    <a:pt x="98" y="230"/>
                  </a:cubicBezTo>
                  <a:cubicBezTo>
                    <a:pt x="109" y="237"/>
                    <a:pt x="121" y="242"/>
                    <a:pt x="135" y="241"/>
                  </a:cubicBezTo>
                  <a:cubicBezTo>
                    <a:pt x="146" y="241"/>
                    <a:pt x="158" y="241"/>
                    <a:pt x="169" y="241"/>
                  </a:cubicBezTo>
                  <a:cubicBezTo>
                    <a:pt x="182" y="242"/>
                    <a:pt x="193" y="235"/>
                    <a:pt x="205" y="232"/>
                  </a:cubicBezTo>
                  <a:cubicBezTo>
                    <a:pt x="210" y="231"/>
                    <a:pt x="211" y="227"/>
                    <a:pt x="211" y="224"/>
                  </a:cubicBezTo>
                  <a:cubicBezTo>
                    <a:pt x="211" y="210"/>
                    <a:pt x="211" y="196"/>
                    <a:pt x="211" y="183"/>
                  </a:cubicBezTo>
                  <a:cubicBezTo>
                    <a:pt x="211" y="177"/>
                    <a:pt x="207" y="175"/>
                    <a:pt x="202" y="175"/>
                  </a:cubicBezTo>
                  <a:cubicBezTo>
                    <a:pt x="193" y="175"/>
                    <a:pt x="184" y="175"/>
                    <a:pt x="175" y="175"/>
                  </a:cubicBezTo>
                  <a:cubicBezTo>
                    <a:pt x="171" y="175"/>
                    <a:pt x="168" y="174"/>
                    <a:pt x="166" y="171"/>
                  </a:cubicBezTo>
                  <a:cubicBezTo>
                    <a:pt x="163" y="163"/>
                    <a:pt x="164" y="154"/>
                    <a:pt x="166" y="146"/>
                  </a:cubicBezTo>
                  <a:cubicBezTo>
                    <a:pt x="167" y="142"/>
                    <a:pt x="171" y="142"/>
                    <a:pt x="175" y="142"/>
                  </a:cubicBezTo>
                  <a:cubicBezTo>
                    <a:pt x="196" y="142"/>
                    <a:pt x="217" y="142"/>
                    <a:pt x="238" y="142"/>
                  </a:cubicBezTo>
                  <a:cubicBezTo>
                    <a:pt x="247" y="142"/>
                    <a:pt x="248" y="148"/>
                    <a:pt x="248" y="155"/>
                  </a:cubicBezTo>
                  <a:cubicBezTo>
                    <a:pt x="249" y="169"/>
                    <a:pt x="248" y="183"/>
                    <a:pt x="248" y="198"/>
                  </a:cubicBezTo>
                  <a:close/>
                  <a:moveTo>
                    <a:pt x="884" y="1181"/>
                  </a:moveTo>
                  <a:cubicBezTo>
                    <a:pt x="889" y="1167"/>
                    <a:pt x="894" y="1152"/>
                    <a:pt x="898" y="1137"/>
                  </a:cubicBezTo>
                  <a:cubicBezTo>
                    <a:pt x="901" y="1127"/>
                    <a:pt x="905" y="1116"/>
                    <a:pt x="908" y="1106"/>
                  </a:cubicBezTo>
                  <a:cubicBezTo>
                    <a:pt x="911" y="1098"/>
                    <a:pt x="912" y="1089"/>
                    <a:pt x="916" y="1081"/>
                  </a:cubicBezTo>
                  <a:cubicBezTo>
                    <a:pt x="921" y="1072"/>
                    <a:pt x="923" y="1060"/>
                    <a:pt x="927" y="1050"/>
                  </a:cubicBezTo>
                  <a:cubicBezTo>
                    <a:pt x="932" y="1037"/>
                    <a:pt x="934" y="1023"/>
                    <a:pt x="940" y="1010"/>
                  </a:cubicBezTo>
                  <a:cubicBezTo>
                    <a:pt x="945" y="1001"/>
                    <a:pt x="941" y="995"/>
                    <a:pt x="931" y="995"/>
                  </a:cubicBezTo>
                  <a:cubicBezTo>
                    <a:pt x="927" y="995"/>
                    <a:pt x="922" y="995"/>
                    <a:pt x="918" y="995"/>
                  </a:cubicBezTo>
                  <a:cubicBezTo>
                    <a:pt x="913" y="995"/>
                    <a:pt x="908" y="997"/>
                    <a:pt x="907" y="1001"/>
                  </a:cubicBezTo>
                  <a:cubicBezTo>
                    <a:pt x="904" y="1008"/>
                    <a:pt x="900" y="1015"/>
                    <a:pt x="899" y="1023"/>
                  </a:cubicBezTo>
                  <a:cubicBezTo>
                    <a:pt x="897" y="1034"/>
                    <a:pt x="893" y="1045"/>
                    <a:pt x="889" y="1055"/>
                  </a:cubicBezTo>
                  <a:cubicBezTo>
                    <a:pt x="887" y="1064"/>
                    <a:pt x="885" y="1072"/>
                    <a:pt x="882" y="1080"/>
                  </a:cubicBezTo>
                  <a:cubicBezTo>
                    <a:pt x="878" y="1091"/>
                    <a:pt x="874" y="1103"/>
                    <a:pt x="871" y="1115"/>
                  </a:cubicBezTo>
                  <a:cubicBezTo>
                    <a:pt x="870" y="1118"/>
                    <a:pt x="871" y="1124"/>
                    <a:pt x="866" y="1124"/>
                  </a:cubicBezTo>
                  <a:cubicBezTo>
                    <a:pt x="861" y="1125"/>
                    <a:pt x="859" y="1120"/>
                    <a:pt x="858" y="1115"/>
                  </a:cubicBezTo>
                  <a:cubicBezTo>
                    <a:pt x="856" y="1110"/>
                    <a:pt x="856" y="1104"/>
                    <a:pt x="854" y="1099"/>
                  </a:cubicBezTo>
                  <a:cubicBezTo>
                    <a:pt x="848" y="1080"/>
                    <a:pt x="841" y="1062"/>
                    <a:pt x="835" y="1044"/>
                  </a:cubicBezTo>
                  <a:cubicBezTo>
                    <a:pt x="831" y="1030"/>
                    <a:pt x="828" y="1016"/>
                    <a:pt x="822" y="1003"/>
                  </a:cubicBezTo>
                  <a:cubicBezTo>
                    <a:pt x="819" y="997"/>
                    <a:pt x="814" y="994"/>
                    <a:pt x="808" y="994"/>
                  </a:cubicBezTo>
                  <a:cubicBezTo>
                    <a:pt x="799" y="993"/>
                    <a:pt x="791" y="993"/>
                    <a:pt x="787" y="1001"/>
                  </a:cubicBezTo>
                  <a:cubicBezTo>
                    <a:pt x="783" y="1008"/>
                    <a:pt x="780" y="1015"/>
                    <a:pt x="779" y="1022"/>
                  </a:cubicBezTo>
                  <a:cubicBezTo>
                    <a:pt x="778" y="1034"/>
                    <a:pt x="772" y="1044"/>
                    <a:pt x="769" y="1055"/>
                  </a:cubicBezTo>
                  <a:cubicBezTo>
                    <a:pt x="762" y="1076"/>
                    <a:pt x="754" y="1096"/>
                    <a:pt x="749" y="1117"/>
                  </a:cubicBezTo>
                  <a:cubicBezTo>
                    <a:pt x="748" y="1120"/>
                    <a:pt x="747" y="1124"/>
                    <a:pt x="742" y="1124"/>
                  </a:cubicBezTo>
                  <a:cubicBezTo>
                    <a:pt x="737" y="1124"/>
                    <a:pt x="737" y="1120"/>
                    <a:pt x="736" y="1116"/>
                  </a:cubicBezTo>
                  <a:cubicBezTo>
                    <a:pt x="734" y="1104"/>
                    <a:pt x="730" y="1092"/>
                    <a:pt x="726" y="1080"/>
                  </a:cubicBezTo>
                  <a:cubicBezTo>
                    <a:pt x="720" y="1061"/>
                    <a:pt x="714" y="1040"/>
                    <a:pt x="708" y="1020"/>
                  </a:cubicBezTo>
                  <a:cubicBezTo>
                    <a:pt x="703" y="1000"/>
                    <a:pt x="698" y="994"/>
                    <a:pt x="676" y="995"/>
                  </a:cubicBezTo>
                  <a:cubicBezTo>
                    <a:pt x="665" y="996"/>
                    <a:pt x="661" y="1001"/>
                    <a:pt x="667" y="1011"/>
                  </a:cubicBezTo>
                  <a:cubicBezTo>
                    <a:pt x="669" y="1016"/>
                    <a:pt x="670" y="1021"/>
                    <a:pt x="672" y="1025"/>
                  </a:cubicBezTo>
                  <a:cubicBezTo>
                    <a:pt x="675" y="1035"/>
                    <a:pt x="678" y="1046"/>
                    <a:pt x="681" y="1055"/>
                  </a:cubicBezTo>
                  <a:cubicBezTo>
                    <a:pt x="685" y="1068"/>
                    <a:pt x="689" y="1080"/>
                    <a:pt x="693" y="1092"/>
                  </a:cubicBezTo>
                  <a:cubicBezTo>
                    <a:pt x="697" y="1103"/>
                    <a:pt x="699" y="1113"/>
                    <a:pt x="703" y="1124"/>
                  </a:cubicBezTo>
                  <a:cubicBezTo>
                    <a:pt x="707" y="1136"/>
                    <a:pt x="711" y="1147"/>
                    <a:pt x="715" y="1160"/>
                  </a:cubicBezTo>
                  <a:cubicBezTo>
                    <a:pt x="717" y="1168"/>
                    <a:pt x="720" y="1176"/>
                    <a:pt x="724" y="1183"/>
                  </a:cubicBezTo>
                  <a:cubicBezTo>
                    <a:pt x="728" y="1189"/>
                    <a:pt x="752" y="1185"/>
                    <a:pt x="757" y="1180"/>
                  </a:cubicBezTo>
                  <a:cubicBezTo>
                    <a:pt x="764" y="1173"/>
                    <a:pt x="762" y="1163"/>
                    <a:pt x="766" y="1156"/>
                  </a:cubicBezTo>
                  <a:cubicBezTo>
                    <a:pt x="774" y="1140"/>
                    <a:pt x="778" y="1122"/>
                    <a:pt x="784" y="1105"/>
                  </a:cubicBezTo>
                  <a:cubicBezTo>
                    <a:pt x="789" y="1088"/>
                    <a:pt x="796" y="1072"/>
                    <a:pt x="800" y="1054"/>
                  </a:cubicBezTo>
                  <a:cubicBezTo>
                    <a:pt x="800" y="1053"/>
                    <a:pt x="801" y="1050"/>
                    <a:pt x="803" y="1050"/>
                  </a:cubicBezTo>
                  <a:cubicBezTo>
                    <a:pt x="806" y="1050"/>
                    <a:pt x="806" y="1052"/>
                    <a:pt x="807" y="1055"/>
                  </a:cubicBezTo>
                  <a:cubicBezTo>
                    <a:pt x="807" y="1060"/>
                    <a:pt x="810" y="1066"/>
                    <a:pt x="811" y="1071"/>
                  </a:cubicBezTo>
                  <a:cubicBezTo>
                    <a:pt x="814" y="1081"/>
                    <a:pt x="818" y="1090"/>
                    <a:pt x="821" y="1099"/>
                  </a:cubicBezTo>
                  <a:cubicBezTo>
                    <a:pt x="824" y="1110"/>
                    <a:pt x="827" y="1120"/>
                    <a:pt x="831" y="1131"/>
                  </a:cubicBezTo>
                  <a:cubicBezTo>
                    <a:pt x="834" y="1142"/>
                    <a:pt x="839" y="1153"/>
                    <a:pt x="842" y="1164"/>
                  </a:cubicBezTo>
                  <a:cubicBezTo>
                    <a:pt x="846" y="1179"/>
                    <a:pt x="850" y="1188"/>
                    <a:pt x="869" y="1185"/>
                  </a:cubicBezTo>
                  <a:cubicBezTo>
                    <a:pt x="873" y="1184"/>
                    <a:pt x="881" y="1189"/>
                    <a:pt x="884" y="1181"/>
                  </a:cubicBezTo>
                  <a:close/>
                  <a:moveTo>
                    <a:pt x="33" y="1051"/>
                  </a:moveTo>
                  <a:cubicBezTo>
                    <a:pt x="33" y="1087"/>
                    <a:pt x="33" y="1124"/>
                    <a:pt x="33" y="1160"/>
                  </a:cubicBezTo>
                  <a:cubicBezTo>
                    <a:pt x="33" y="1188"/>
                    <a:pt x="29" y="1184"/>
                    <a:pt x="58" y="1185"/>
                  </a:cubicBezTo>
                  <a:cubicBezTo>
                    <a:pt x="72" y="1185"/>
                    <a:pt x="73" y="1184"/>
                    <a:pt x="73" y="1170"/>
                  </a:cubicBezTo>
                  <a:cubicBezTo>
                    <a:pt x="73" y="1138"/>
                    <a:pt x="73" y="1107"/>
                    <a:pt x="73" y="1076"/>
                  </a:cubicBezTo>
                  <a:cubicBezTo>
                    <a:pt x="73" y="1071"/>
                    <a:pt x="72" y="1067"/>
                    <a:pt x="78" y="1065"/>
                  </a:cubicBezTo>
                  <a:cubicBezTo>
                    <a:pt x="91" y="1062"/>
                    <a:pt x="102" y="1067"/>
                    <a:pt x="110" y="1076"/>
                  </a:cubicBezTo>
                  <a:cubicBezTo>
                    <a:pt x="112" y="1080"/>
                    <a:pt x="115" y="1083"/>
                    <a:pt x="118" y="1086"/>
                  </a:cubicBezTo>
                  <a:cubicBezTo>
                    <a:pt x="132" y="1103"/>
                    <a:pt x="146" y="1119"/>
                    <a:pt x="161" y="1136"/>
                  </a:cubicBezTo>
                  <a:cubicBezTo>
                    <a:pt x="173" y="1150"/>
                    <a:pt x="186" y="1165"/>
                    <a:pt x="198" y="1179"/>
                  </a:cubicBezTo>
                  <a:cubicBezTo>
                    <a:pt x="207" y="1188"/>
                    <a:pt x="218" y="1184"/>
                    <a:pt x="228" y="1185"/>
                  </a:cubicBezTo>
                  <a:cubicBezTo>
                    <a:pt x="233" y="1185"/>
                    <a:pt x="241" y="1188"/>
                    <a:pt x="244" y="1182"/>
                  </a:cubicBezTo>
                  <a:cubicBezTo>
                    <a:pt x="246" y="1178"/>
                    <a:pt x="239" y="1173"/>
                    <a:pt x="235" y="1169"/>
                  </a:cubicBezTo>
                  <a:cubicBezTo>
                    <a:pt x="206" y="1133"/>
                    <a:pt x="176" y="1098"/>
                    <a:pt x="146" y="1062"/>
                  </a:cubicBezTo>
                  <a:cubicBezTo>
                    <a:pt x="141" y="1056"/>
                    <a:pt x="131" y="1052"/>
                    <a:pt x="132" y="1044"/>
                  </a:cubicBezTo>
                  <a:cubicBezTo>
                    <a:pt x="132" y="1036"/>
                    <a:pt x="142" y="1032"/>
                    <a:pt x="147" y="1026"/>
                  </a:cubicBezTo>
                  <a:cubicBezTo>
                    <a:pt x="164" y="1006"/>
                    <a:pt x="182" y="988"/>
                    <a:pt x="198" y="968"/>
                  </a:cubicBezTo>
                  <a:cubicBezTo>
                    <a:pt x="209" y="954"/>
                    <a:pt x="221" y="942"/>
                    <a:pt x="234" y="929"/>
                  </a:cubicBezTo>
                  <a:cubicBezTo>
                    <a:pt x="236" y="926"/>
                    <a:pt x="238" y="923"/>
                    <a:pt x="237" y="920"/>
                  </a:cubicBezTo>
                  <a:cubicBezTo>
                    <a:pt x="235" y="915"/>
                    <a:pt x="231" y="917"/>
                    <a:pt x="228" y="917"/>
                  </a:cubicBezTo>
                  <a:cubicBezTo>
                    <a:pt x="224" y="918"/>
                    <a:pt x="221" y="918"/>
                    <a:pt x="217" y="918"/>
                  </a:cubicBezTo>
                  <a:cubicBezTo>
                    <a:pt x="204" y="917"/>
                    <a:pt x="193" y="922"/>
                    <a:pt x="185" y="931"/>
                  </a:cubicBezTo>
                  <a:cubicBezTo>
                    <a:pt x="172" y="946"/>
                    <a:pt x="158" y="961"/>
                    <a:pt x="145" y="977"/>
                  </a:cubicBezTo>
                  <a:cubicBezTo>
                    <a:pt x="131" y="993"/>
                    <a:pt x="117" y="1010"/>
                    <a:pt x="102" y="1026"/>
                  </a:cubicBezTo>
                  <a:cubicBezTo>
                    <a:pt x="96" y="1032"/>
                    <a:pt x="87" y="1037"/>
                    <a:pt x="78" y="1034"/>
                  </a:cubicBezTo>
                  <a:cubicBezTo>
                    <a:pt x="70" y="1030"/>
                    <a:pt x="73" y="1021"/>
                    <a:pt x="73" y="1015"/>
                  </a:cubicBezTo>
                  <a:cubicBezTo>
                    <a:pt x="73" y="991"/>
                    <a:pt x="73" y="967"/>
                    <a:pt x="73" y="944"/>
                  </a:cubicBezTo>
                  <a:cubicBezTo>
                    <a:pt x="73" y="916"/>
                    <a:pt x="75" y="917"/>
                    <a:pt x="46" y="918"/>
                  </a:cubicBezTo>
                  <a:cubicBezTo>
                    <a:pt x="33" y="918"/>
                    <a:pt x="33" y="918"/>
                    <a:pt x="33" y="931"/>
                  </a:cubicBezTo>
                  <a:cubicBezTo>
                    <a:pt x="33" y="971"/>
                    <a:pt x="33" y="1011"/>
                    <a:pt x="33" y="1051"/>
                  </a:cubicBezTo>
                  <a:cubicBezTo>
                    <a:pt x="33" y="1051"/>
                    <a:pt x="33" y="1051"/>
                    <a:pt x="33" y="1051"/>
                  </a:cubicBezTo>
                  <a:close/>
                  <a:moveTo>
                    <a:pt x="639" y="84"/>
                  </a:moveTo>
                  <a:cubicBezTo>
                    <a:pt x="627" y="84"/>
                    <a:pt x="626" y="84"/>
                    <a:pt x="629" y="95"/>
                  </a:cubicBezTo>
                  <a:cubicBezTo>
                    <a:pt x="634" y="113"/>
                    <a:pt x="640" y="131"/>
                    <a:pt x="646" y="148"/>
                  </a:cubicBezTo>
                  <a:cubicBezTo>
                    <a:pt x="652" y="166"/>
                    <a:pt x="658" y="185"/>
                    <a:pt x="664" y="203"/>
                  </a:cubicBezTo>
                  <a:cubicBezTo>
                    <a:pt x="671" y="223"/>
                    <a:pt x="676" y="244"/>
                    <a:pt x="684" y="264"/>
                  </a:cubicBezTo>
                  <a:cubicBezTo>
                    <a:pt x="688" y="274"/>
                    <a:pt x="694" y="274"/>
                    <a:pt x="702" y="274"/>
                  </a:cubicBezTo>
                  <a:cubicBezTo>
                    <a:pt x="711" y="274"/>
                    <a:pt x="719" y="272"/>
                    <a:pt x="723" y="263"/>
                  </a:cubicBezTo>
                  <a:cubicBezTo>
                    <a:pt x="733" y="236"/>
                    <a:pt x="741" y="208"/>
                    <a:pt x="750" y="181"/>
                  </a:cubicBezTo>
                  <a:cubicBezTo>
                    <a:pt x="754" y="169"/>
                    <a:pt x="757" y="156"/>
                    <a:pt x="763" y="145"/>
                  </a:cubicBezTo>
                  <a:cubicBezTo>
                    <a:pt x="764" y="143"/>
                    <a:pt x="764" y="140"/>
                    <a:pt x="767" y="140"/>
                  </a:cubicBezTo>
                  <a:cubicBezTo>
                    <a:pt x="770" y="140"/>
                    <a:pt x="770" y="143"/>
                    <a:pt x="771" y="145"/>
                  </a:cubicBezTo>
                  <a:cubicBezTo>
                    <a:pt x="771" y="156"/>
                    <a:pt x="777" y="165"/>
                    <a:pt x="780" y="175"/>
                  </a:cubicBezTo>
                  <a:cubicBezTo>
                    <a:pt x="782" y="184"/>
                    <a:pt x="785" y="193"/>
                    <a:pt x="788" y="201"/>
                  </a:cubicBezTo>
                  <a:cubicBezTo>
                    <a:pt x="794" y="219"/>
                    <a:pt x="801" y="237"/>
                    <a:pt x="806" y="255"/>
                  </a:cubicBezTo>
                  <a:cubicBezTo>
                    <a:pt x="811" y="272"/>
                    <a:pt x="825" y="280"/>
                    <a:pt x="842" y="273"/>
                  </a:cubicBezTo>
                  <a:cubicBezTo>
                    <a:pt x="845" y="271"/>
                    <a:pt x="847" y="269"/>
                    <a:pt x="848" y="266"/>
                  </a:cubicBezTo>
                  <a:cubicBezTo>
                    <a:pt x="853" y="251"/>
                    <a:pt x="859" y="236"/>
                    <a:pt x="863" y="221"/>
                  </a:cubicBezTo>
                  <a:cubicBezTo>
                    <a:pt x="867" y="202"/>
                    <a:pt x="875" y="185"/>
                    <a:pt x="880" y="166"/>
                  </a:cubicBezTo>
                  <a:cubicBezTo>
                    <a:pt x="886" y="144"/>
                    <a:pt x="895" y="123"/>
                    <a:pt x="900" y="101"/>
                  </a:cubicBezTo>
                  <a:cubicBezTo>
                    <a:pt x="901" y="96"/>
                    <a:pt x="909" y="91"/>
                    <a:pt x="904" y="86"/>
                  </a:cubicBezTo>
                  <a:cubicBezTo>
                    <a:pt x="900" y="81"/>
                    <a:pt x="892" y="84"/>
                    <a:pt x="886" y="84"/>
                  </a:cubicBezTo>
                  <a:cubicBezTo>
                    <a:pt x="885" y="84"/>
                    <a:pt x="883" y="84"/>
                    <a:pt x="881" y="84"/>
                  </a:cubicBezTo>
                  <a:cubicBezTo>
                    <a:pt x="875" y="84"/>
                    <a:pt x="872" y="86"/>
                    <a:pt x="869" y="91"/>
                  </a:cubicBezTo>
                  <a:cubicBezTo>
                    <a:pt x="860" y="110"/>
                    <a:pt x="856" y="131"/>
                    <a:pt x="850" y="151"/>
                  </a:cubicBezTo>
                  <a:cubicBezTo>
                    <a:pt x="844" y="170"/>
                    <a:pt x="836" y="188"/>
                    <a:pt x="834" y="208"/>
                  </a:cubicBezTo>
                  <a:cubicBezTo>
                    <a:pt x="833" y="211"/>
                    <a:pt x="831" y="214"/>
                    <a:pt x="827" y="214"/>
                  </a:cubicBezTo>
                  <a:cubicBezTo>
                    <a:pt x="823" y="214"/>
                    <a:pt x="822" y="210"/>
                    <a:pt x="822" y="207"/>
                  </a:cubicBezTo>
                  <a:cubicBezTo>
                    <a:pt x="817" y="188"/>
                    <a:pt x="811" y="170"/>
                    <a:pt x="805" y="152"/>
                  </a:cubicBezTo>
                  <a:cubicBezTo>
                    <a:pt x="799" y="133"/>
                    <a:pt x="794" y="114"/>
                    <a:pt x="786" y="96"/>
                  </a:cubicBezTo>
                  <a:cubicBezTo>
                    <a:pt x="783" y="87"/>
                    <a:pt x="779" y="84"/>
                    <a:pt x="770" y="84"/>
                  </a:cubicBezTo>
                  <a:cubicBezTo>
                    <a:pt x="761" y="84"/>
                    <a:pt x="752" y="82"/>
                    <a:pt x="748" y="94"/>
                  </a:cubicBezTo>
                  <a:cubicBezTo>
                    <a:pt x="744" y="109"/>
                    <a:pt x="738" y="123"/>
                    <a:pt x="734" y="138"/>
                  </a:cubicBezTo>
                  <a:cubicBezTo>
                    <a:pt x="729" y="153"/>
                    <a:pt x="724" y="167"/>
                    <a:pt x="719" y="182"/>
                  </a:cubicBezTo>
                  <a:cubicBezTo>
                    <a:pt x="716" y="192"/>
                    <a:pt x="715" y="203"/>
                    <a:pt x="708" y="212"/>
                  </a:cubicBezTo>
                  <a:cubicBezTo>
                    <a:pt x="707" y="214"/>
                    <a:pt x="707" y="217"/>
                    <a:pt x="704" y="217"/>
                  </a:cubicBezTo>
                  <a:cubicBezTo>
                    <a:pt x="701" y="217"/>
                    <a:pt x="701" y="213"/>
                    <a:pt x="700" y="211"/>
                  </a:cubicBezTo>
                  <a:cubicBezTo>
                    <a:pt x="699" y="198"/>
                    <a:pt x="694" y="186"/>
                    <a:pt x="690" y="174"/>
                  </a:cubicBezTo>
                  <a:cubicBezTo>
                    <a:pt x="684" y="153"/>
                    <a:pt x="677" y="131"/>
                    <a:pt x="672" y="110"/>
                  </a:cubicBezTo>
                  <a:cubicBezTo>
                    <a:pt x="667" y="88"/>
                    <a:pt x="663" y="84"/>
                    <a:pt x="645" y="84"/>
                  </a:cubicBezTo>
                  <a:cubicBezTo>
                    <a:pt x="643" y="84"/>
                    <a:pt x="641" y="84"/>
                    <a:pt x="639" y="84"/>
                  </a:cubicBezTo>
                  <a:close/>
                  <a:moveTo>
                    <a:pt x="507" y="711"/>
                  </a:moveTo>
                  <a:cubicBezTo>
                    <a:pt x="507" y="730"/>
                    <a:pt x="507" y="730"/>
                    <a:pt x="526" y="730"/>
                  </a:cubicBezTo>
                  <a:cubicBezTo>
                    <a:pt x="539" y="730"/>
                    <a:pt x="541" y="729"/>
                    <a:pt x="541" y="715"/>
                  </a:cubicBezTo>
                  <a:cubicBezTo>
                    <a:pt x="541" y="677"/>
                    <a:pt x="541" y="638"/>
                    <a:pt x="540" y="600"/>
                  </a:cubicBezTo>
                  <a:cubicBezTo>
                    <a:pt x="540" y="593"/>
                    <a:pt x="543" y="587"/>
                    <a:pt x="548" y="582"/>
                  </a:cubicBezTo>
                  <a:cubicBezTo>
                    <a:pt x="553" y="576"/>
                    <a:pt x="559" y="573"/>
                    <a:pt x="564" y="569"/>
                  </a:cubicBezTo>
                  <a:cubicBezTo>
                    <a:pt x="574" y="564"/>
                    <a:pt x="594" y="566"/>
                    <a:pt x="602" y="574"/>
                  </a:cubicBezTo>
                  <a:cubicBezTo>
                    <a:pt x="611" y="582"/>
                    <a:pt x="614" y="592"/>
                    <a:pt x="614" y="604"/>
                  </a:cubicBezTo>
                  <a:cubicBezTo>
                    <a:pt x="614" y="638"/>
                    <a:pt x="614" y="672"/>
                    <a:pt x="614" y="706"/>
                  </a:cubicBezTo>
                  <a:cubicBezTo>
                    <a:pt x="614" y="730"/>
                    <a:pt x="614" y="730"/>
                    <a:pt x="638" y="730"/>
                  </a:cubicBezTo>
                  <a:cubicBezTo>
                    <a:pt x="650" y="730"/>
                    <a:pt x="650" y="730"/>
                    <a:pt x="650" y="717"/>
                  </a:cubicBezTo>
                  <a:cubicBezTo>
                    <a:pt x="650" y="684"/>
                    <a:pt x="650" y="650"/>
                    <a:pt x="650" y="617"/>
                  </a:cubicBezTo>
                  <a:cubicBezTo>
                    <a:pt x="650" y="606"/>
                    <a:pt x="651" y="597"/>
                    <a:pt x="657" y="586"/>
                  </a:cubicBezTo>
                  <a:cubicBezTo>
                    <a:pt x="667" y="565"/>
                    <a:pt x="703" y="560"/>
                    <a:pt x="716" y="579"/>
                  </a:cubicBezTo>
                  <a:cubicBezTo>
                    <a:pt x="723" y="588"/>
                    <a:pt x="724" y="598"/>
                    <a:pt x="724" y="609"/>
                  </a:cubicBezTo>
                  <a:cubicBezTo>
                    <a:pt x="724" y="645"/>
                    <a:pt x="724" y="682"/>
                    <a:pt x="724" y="718"/>
                  </a:cubicBezTo>
                  <a:cubicBezTo>
                    <a:pt x="724" y="727"/>
                    <a:pt x="727" y="731"/>
                    <a:pt x="736" y="730"/>
                  </a:cubicBezTo>
                  <a:cubicBezTo>
                    <a:pt x="738" y="730"/>
                    <a:pt x="741" y="730"/>
                    <a:pt x="743" y="730"/>
                  </a:cubicBezTo>
                  <a:cubicBezTo>
                    <a:pt x="758" y="730"/>
                    <a:pt x="759" y="729"/>
                    <a:pt x="759" y="715"/>
                  </a:cubicBezTo>
                  <a:cubicBezTo>
                    <a:pt x="759" y="677"/>
                    <a:pt x="758" y="639"/>
                    <a:pt x="759" y="601"/>
                  </a:cubicBezTo>
                  <a:cubicBezTo>
                    <a:pt x="759" y="571"/>
                    <a:pt x="742" y="540"/>
                    <a:pt x="704" y="538"/>
                  </a:cubicBezTo>
                  <a:cubicBezTo>
                    <a:pt x="681" y="536"/>
                    <a:pt x="661" y="542"/>
                    <a:pt x="646" y="560"/>
                  </a:cubicBezTo>
                  <a:cubicBezTo>
                    <a:pt x="638" y="569"/>
                    <a:pt x="638" y="569"/>
                    <a:pt x="631" y="559"/>
                  </a:cubicBezTo>
                  <a:cubicBezTo>
                    <a:pt x="630" y="558"/>
                    <a:pt x="630" y="557"/>
                    <a:pt x="629" y="556"/>
                  </a:cubicBezTo>
                  <a:cubicBezTo>
                    <a:pt x="623" y="548"/>
                    <a:pt x="616" y="541"/>
                    <a:pt x="607" y="539"/>
                  </a:cubicBezTo>
                  <a:cubicBezTo>
                    <a:pt x="584" y="534"/>
                    <a:pt x="563" y="539"/>
                    <a:pt x="545" y="555"/>
                  </a:cubicBezTo>
                  <a:cubicBezTo>
                    <a:pt x="540" y="559"/>
                    <a:pt x="537" y="561"/>
                    <a:pt x="537" y="552"/>
                  </a:cubicBezTo>
                  <a:cubicBezTo>
                    <a:pt x="536" y="543"/>
                    <a:pt x="526" y="538"/>
                    <a:pt x="515" y="539"/>
                  </a:cubicBezTo>
                  <a:cubicBezTo>
                    <a:pt x="506" y="540"/>
                    <a:pt x="507" y="546"/>
                    <a:pt x="507" y="552"/>
                  </a:cubicBezTo>
                  <a:cubicBezTo>
                    <a:pt x="507" y="580"/>
                    <a:pt x="507" y="607"/>
                    <a:pt x="507" y="634"/>
                  </a:cubicBezTo>
                  <a:cubicBezTo>
                    <a:pt x="507" y="660"/>
                    <a:pt x="507" y="685"/>
                    <a:pt x="507" y="711"/>
                  </a:cubicBezTo>
                  <a:close/>
                  <a:moveTo>
                    <a:pt x="1525" y="1142"/>
                  </a:moveTo>
                  <a:cubicBezTo>
                    <a:pt x="1517" y="1143"/>
                    <a:pt x="1511" y="1141"/>
                    <a:pt x="1505" y="1136"/>
                  </a:cubicBezTo>
                  <a:cubicBezTo>
                    <a:pt x="1501" y="1133"/>
                    <a:pt x="1495" y="1130"/>
                    <a:pt x="1498" y="1124"/>
                  </a:cubicBezTo>
                  <a:cubicBezTo>
                    <a:pt x="1500" y="1118"/>
                    <a:pt x="1504" y="1114"/>
                    <a:pt x="1512" y="1114"/>
                  </a:cubicBezTo>
                  <a:cubicBezTo>
                    <a:pt x="1521" y="1115"/>
                    <a:pt x="1530" y="1114"/>
                    <a:pt x="1538" y="1115"/>
                  </a:cubicBezTo>
                  <a:cubicBezTo>
                    <a:pt x="1573" y="1117"/>
                    <a:pt x="1610" y="1084"/>
                    <a:pt x="1602" y="1044"/>
                  </a:cubicBezTo>
                  <a:cubicBezTo>
                    <a:pt x="1600" y="1035"/>
                    <a:pt x="1599" y="1028"/>
                    <a:pt x="1611" y="1027"/>
                  </a:cubicBezTo>
                  <a:cubicBezTo>
                    <a:pt x="1614" y="1027"/>
                    <a:pt x="1617" y="1024"/>
                    <a:pt x="1619" y="1023"/>
                  </a:cubicBezTo>
                  <a:cubicBezTo>
                    <a:pt x="1626" y="1019"/>
                    <a:pt x="1624" y="1013"/>
                    <a:pt x="1623" y="1008"/>
                  </a:cubicBezTo>
                  <a:cubicBezTo>
                    <a:pt x="1623" y="1002"/>
                    <a:pt x="1618" y="1003"/>
                    <a:pt x="1613" y="1002"/>
                  </a:cubicBezTo>
                  <a:cubicBezTo>
                    <a:pt x="1598" y="1002"/>
                    <a:pt x="1582" y="1004"/>
                    <a:pt x="1567" y="1000"/>
                  </a:cubicBezTo>
                  <a:cubicBezTo>
                    <a:pt x="1560" y="999"/>
                    <a:pt x="1554" y="993"/>
                    <a:pt x="1546" y="993"/>
                  </a:cubicBezTo>
                  <a:cubicBezTo>
                    <a:pt x="1536" y="994"/>
                    <a:pt x="1525" y="992"/>
                    <a:pt x="1515" y="993"/>
                  </a:cubicBezTo>
                  <a:cubicBezTo>
                    <a:pt x="1490" y="997"/>
                    <a:pt x="1469" y="1010"/>
                    <a:pt x="1462" y="1034"/>
                  </a:cubicBezTo>
                  <a:cubicBezTo>
                    <a:pt x="1455" y="1056"/>
                    <a:pt x="1457" y="1079"/>
                    <a:pt x="1476" y="1096"/>
                  </a:cubicBezTo>
                  <a:cubicBezTo>
                    <a:pt x="1483" y="1103"/>
                    <a:pt x="1483" y="1107"/>
                    <a:pt x="1476" y="1113"/>
                  </a:cubicBezTo>
                  <a:cubicBezTo>
                    <a:pt x="1462" y="1126"/>
                    <a:pt x="1462" y="1142"/>
                    <a:pt x="1473" y="1157"/>
                  </a:cubicBezTo>
                  <a:cubicBezTo>
                    <a:pt x="1476" y="1160"/>
                    <a:pt x="1476" y="1162"/>
                    <a:pt x="1472" y="1164"/>
                  </a:cubicBezTo>
                  <a:cubicBezTo>
                    <a:pt x="1470" y="1166"/>
                    <a:pt x="1468" y="1168"/>
                    <a:pt x="1466" y="1170"/>
                  </a:cubicBezTo>
                  <a:cubicBezTo>
                    <a:pt x="1449" y="1183"/>
                    <a:pt x="1444" y="1201"/>
                    <a:pt x="1454" y="1218"/>
                  </a:cubicBezTo>
                  <a:cubicBezTo>
                    <a:pt x="1464" y="1235"/>
                    <a:pt x="1479" y="1246"/>
                    <a:pt x="1499" y="1249"/>
                  </a:cubicBezTo>
                  <a:cubicBezTo>
                    <a:pt x="1517" y="1252"/>
                    <a:pt x="1535" y="1253"/>
                    <a:pt x="1553" y="1250"/>
                  </a:cubicBezTo>
                  <a:cubicBezTo>
                    <a:pt x="1584" y="1245"/>
                    <a:pt x="1607" y="1232"/>
                    <a:pt x="1619" y="1200"/>
                  </a:cubicBezTo>
                  <a:cubicBezTo>
                    <a:pt x="1627" y="1180"/>
                    <a:pt x="1611" y="1155"/>
                    <a:pt x="1593" y="1148"/>
                  </a:cubicBezTo>
                  <a:cubicBezTo>
                    <a:pt x="1578" y="1142"/>
                    <a:pt x="1563" y="1143"/>
                    <a:pt x="1549" y="1142"/>
                  </a:cubicBezTo>
                  <a:cubicBezTo>
                    <a:pt x="1540" y="1142"/>
                    <a:pt x="1532" y="1142"/>
                    <a:pt x="1525" y="1142"/>
                  </a:cubicBezTo>
                  <a:close/>
                  <a:moveTo>
                    <a:pt x="1556" y="1172"/>
                  </a:moveTo>
                  <a:cubicBezTo>
                    <a:pt x="1566" y="1172"/>
                    <a:pt x="1576" y="1176"/>
                    <a:pt x="1583" y="1183"/>
                  </a:cubicBezTo>
                  <a:cubicBezTo>
                    <a:pt x="1589" y="1190"/>
                    <a:pt x="1589" y="1198"/>
                    <a:pt x="1583" y="1205"/>
                  </a:cubicBezTo>
                  <a:cubicBezTo>
                    <a:pt x="1575" y="1215"/>
                    <a:pt x="1565" y="1220"/>
                    <a:pt x="1553" y="1223"/>
                  </a:cubicBezTo>
                  <a:cubicBezTo>
                    <a:pt x="1534" y="1228"/>
                    <a:pt x="1516" y="1225"/>
                    <a:pt x="1499" y="1219"/>
                  </a:cubicBezTo>
                  <a:cubicBezTo>
                    <a:pt x="1486" y="1214"/>
                    <a:pt x="1479" y="1203"/>
                    <a:pt x="1482" y="1193"/>
                  </a:cubicBezTo>
                  <a:cubicBezTo>
                    <a:pt x="1485" y="1182"/>
                    <a:pt x="1496" y="1168"/>
                    <a:pt x="1514" y="1171"/>
                  </a:cubicBezTo>
                  <a:cubicBezTo>
                    <a:pt x="1526" y="1173"/>
                    <a:pt x="1541" y="1171"/>
                    <a:pt x="1556" y="1172"/>
                  </a:cubicBezTo>
                  <a:close/>
                  <a:moveTo>
                    <a:pt x="1531" y="1019"/>
                  </a:moveTo>
                  <a:cubicBezTo>
                    <a:pt x="1553" y="1017"/>
                    <a:pt x="1570" y="1033"/>
                    <a:pt x="1570" y="1052"/>
                  </a:cubicBezTo>
                  <a:cubicBezTo>
                    <a:pt x="1570" y="1075"/>
                    <a:pt x="1554" y="1093"/>
                    <a:pt x="1532" y="1091"/>
                  </a:cubicBezTo>
                  <a:cubicBezTo>
                    <a:pt x="1508" y="1089"/>
                    <a:pt x="1494" y="1082"/>
                    <a:pt x="1493" y="1053"/>
                  </a:cubicBezTo>
                  <a:cubicBezTo>
                    <a:pt x="1494" y="1029"/>
                    <a:pt x="1508" y="1020"/>
                    <a:pt x="1531" y="1019"/>
                  </a:cubicBezTo>
                  <a:close/>
                  <a:moveTo>
                    <a:pt x="1413" y="934"/>
                  </a:moveTo>
                  <a:cubicBezTo>
                    <a:pt x="1413" y="909"/>
                    <a:pt x="1413" y="909"/>
                    <a:pt x="1389" y="910"/>
                  </a:cubicBezTo>
                  <a:cubicBezTo>
                    <a:pt x="1388" y="910"/>
                    <a:pt x="1387" y="910"/>
                    <a:pt x="1387" y="910"/>
                  </a:cubicBezTo>
                  <a:cubicBezTo>
                    <a:pt x="1379" y="910"/>
                    <a:pt x="1376" y="915"/>
                    <a:pt x="1376" y="921"/>
                  </a:cubicBezTo>
                  <a:cubicBezTo>
                    <a:pt x="1376" y="939"/>
                    <a:pt x="1377" y="956"/>
                    <a:pt x="1377" y="974"/>
                  </a:cubicBezTo>
                  <a:cubicBezTo>
                    <a:pt x="1377" y="983"/>
                    <a:pt x="1377" y="991"/>
                    <a:pt x="1377" y="1000"/>
                  </a:cubicBezTo>
                  <a:cubicBezTo>
                    <a:pt x="1377" y="1005"/>
                    <a:pt x="1374" y="1009"/>
                    <a:pt x="1369" y="1005"/>
                  </a:cubicBezTo>
                  <a:cubicBezTo>
                    <a:pt x="1352" y="990"/>
                    <a:pt x="1332" y="993"/>
                    <a:pt x="1312" y="993"/>
                  </a:cubicBezTo>
                  <a:cubicBezTo>
                    <a:pt x="1303" y="994"/>
                    <a:pt x="1294" y="998"/>
                    <a:pt x="1287" y="1003"/>
                  </a:cubicBezTo>
                  <a:cubicBezTo>
                    <a:pt x="1265" y="1017"/>
                    <a:pt x="1252" y="1039"/>
                    <a:pt x="1248" y="1065"/>
                  </a:cubicBezTo>
                  <a:cubicBezTo>
                    <a:pt x="1244" y="1096"/>
                    <a:pt x="1244" y="1128"/>
                    <a:pt x="1261" y="1157"/>
                  </a:cubicBezTo>
                  <a:cubicBezTo>
                    <a:pt x="1270" y="1170"/>
                    <a:pt x="1281" y="1181"/>
                    <a:pt x="1296" y="1185"/>
                  </a:cubicBezTo>
                  <a:cubicBezTo>
                    <a:pt x="1323" y="1191"/>
                    <a:pt x="1349" y="1188"/>
                    <a:pt x="1370" y="1167"/>
                  </a:cubicBezTo>
                  <a:cubicBezTo>
                    <a:pt x="1372" y="1165"/>
                    <a:pt x="1375" y="1162"/>
                    <a:pt x="1379" y="1163"/>
                  </a:cubicBezTo>
                  <a:cubicBezTo>
                    <a:pt x="1382" y="1165"/>
                    <a:pt x="1381" y="1169"/>
                    <a:pt x="1381" y="1172"/>
                  </a:cubicBezTo>
                  <a:cubicBezTo>
                    <a:pt x="1383" y="1181"/>
                    <a:pt x="1390" y="1186"/>
                    <a:pt x="1403" y="1186"/>
                  </a:cubicBezTo>
                  <a:cubicBezTo>
                    <a:pt x="1413" y="1185"/>
                    <a:pt x="1413" y="1178"/>
                    <a:pt x="1413" y="1172"/>
                  </a:cubicBezTo>
                  <a:cubicBezTo>
                    <a:pt x="1413" y="1131"/>
                    <a:pt x="1413" y="1090"/>
                    <a:pt x="1413" y="1049"/>
                  </a:cubicBezTo>
                  <a:cubicBezTo>
                    <a:pt x="1413" y="1010"/>
                    <a:pt x="1413" y="972"/>
                    <a:pt x="1413" y="934"/>
                  </a:cubicBezTo>
                  <a:close/>
                  <a:moveTo>
                    <a:pt x="1378" y="1113"/>
                  </a:moveTo>
                  <a:cubicBezTo>
                    <a:pt x="1378" y="1136"/>
                    <a:pt x="1360" y="1155"/>
                    <a:pt x="1337" y="1157"/>
                  </a:cubicBezTo>
                  <a:cubicBezTo>
                    <a:pt x="1319" y="1159"/>
                    <a:pt x="1304" y="1154"/>
                    <a:pt x="1294" y="1139"/>
                  </a:cubicBezTo>
                  <a:cubicBezTo>
                    <a:pt x="1286" y="1128"/>
                    <a:pt x="1283" y="1116"/>
                    <a:pt x="1283" y="1102"/>
                  </a:cubicBezTo>
                  <a:cubicBezTo>
                    <a:pt x="1282" y="1085"/>
                    <a:pt x="1282" y="1067"/>
                    <a:pt x="1290" y="1051"/>
                  </a:cubicBezTo>
                  <a:cubicBezTo>
                    <a:pt x="1297" y="1036"/>
                    <a:pt x="1308" y="1024"/>
                    <a:pt x="1325" y="1022"/>
                  </a:cubicBezTo>
                  <a:cubicBezTo>
                    <a:pt x="1342" y="1020"/>
                    <a:pt x="1358" y="1021"/>
                    <a:pt x="1371" y="1035"/>
                  </a:cubicBezTo>
                  <a:cubicBezTo>
                    <a:pt x="1376" y="1041"/>
                    <a:pt x="1378" y="1046"/>
                    <a:pt x="1378" y="1052"/>
                  </a:cubicBezTo>
                  <a:cubicBezTo>
                    <a:pt x="1378" y="1064"/>
                    <a:pt x="1378" y="1075"/>
                    <a:pt x="1378" y="1086"/>
                  </a:cubicBezTo>
                  <a:cubicBezTo>
                    <a:pt x="1378" y="1086"/>
                    <a:pt x="1378" y="1086"/>
                    <a:pt x="1378" y="1086"/>
                  </a:cubicBezTo>
                  <a:cubicBezTo>
                    <a:pt x="1378" y="1095"/>
                    <a:pt x="1378" y="1104"/>
                    <a:pt x="1378" y="1113"/>
                  </a:cubicBezTo>
                  <a:close/>
                  <a:moveTo>
                    <a:pt x="578" y="259"/>
                  </a:moveTo>
                  <a:cubicBezTo>
                    <a:pt x="603" y="241"/>
                    <a:pt x="611" y="213"/>
                    <a:pt x="614" y="183"/>
                  </a:cubicBezTo>
                  <a:cubicBezTo>
                    <a:pt x="615" y="171"/>
                    <a:pt x="610" y="159"/>
                    <a:pt x="609" y="147"/>
                  </a:cubicBezTo>
                  <a:cubicBezTo>
                    <a:pt x="608" y="137"/>
                    <a:pt x="603" y="129"/>
                    <a:pt x="599" y="121"/>
                  </a:cubicBezTo>
                  <a:cubicBezTo>
                    <a:pt x="579" y="87"/>
                    <a:pt x="527" y="70"/>
                    <a:pt x="488" y="85"/>
                  </a:cubicBezTo>
                  <a:cubicBezTo>
                    <a:pt x="453" y="99"/>
                    <a:pt x="436" y="127"/>
                    <a:pt x="431" y="163"/>
                  </a:cubicBezTo>
                  <a:cubicBezTo>
                    <a:pt x="429" y="180"/>
                    <a:pt x="430" y="196"/>
                    <a:pt x="436" y="213"/>
                  </a:cubicBezTo>
                  <a:cubicBezTo>
                    <a:pt x="439" y="222"/>
                    <a:pt x="442" y="232"/>
                    <a:pt x="447" y="239"/>
                  </a:cubicBezTo>
                  <a:cubicBezTo>
                    <a:pt x="465" y="265"/>
                    <a:pt x="491" y="277"/>
                    <a:pt x="525" y="276"/>
                  </a:cubicBezTo>
                  <a:cubicBezTo>
                    <a:pt x="543" y="278"/>
                    <a:pt x="562" y="271"/>
                    <a:pt x="578" y="259"/>
                  </a:cubicBezTo>
                  <a:close/>
                  <a:moveTo>
                    <a:pt x="471" y="205"/>
                  </a:moveTo>
                  <a:cubicBezTo>
                    <a:pt x="466" y="185"/>
                    <a:pt x="468" y="167"/>
                    <a:pt x="472" y="147"/>
                  </a:cubicBezTo>
                  <a:cubicBezTo>
                    <a:pt x="477" y="130"/>
                    <a:pt x="493" y="116"/>
                    <a:pt x="509" y="112"/>
                  </a:cubicBezTo>
                  <a:cubicBezTo>
                    <a:pt x="525" y="108"/>
                    <a:pt x="539" y="110"/>
                    <a:pt x="553" y="119"/>
                  </a:cubicBezTo>
                  <a:cubicBezTo>
                    <a:pt x="563" y="125"/>
                    <a:pt x="568" y="135"/>
                    <a:pt x="571" y="146"/>
                  </a:cubicBezTo>
                  <a:cubicBezTo>
                    <a:pt x="577" y="167"/>
                    <a:pt x="578" y="189"/>
                    <a:pt x="571" y="211"/>
                  </a:cubicBezTo>
                  <a:cubicBezTo>
                    <a:pt x="565" y="231"/>
                    <a:pt x="549" y="249"/>
                    <a:pt x="521" y="247"/>
                  </a:cubicBezTo>
                  <a:cubicBezTo>
                    <a:pt x="496" y="247"/>
                    <a:pt x="478" y="230"/>
                    <a:pt x="471" y="205"/>
                  </a:cubicBezTo>
                  <a:close/>
                  <a:moveTo>
                    <a:pt x="472" y="1122"/>
                  </a:moveTo>
                  <a:cubicBezTo>
                    <a:pt x="475" y="1136"/>
                    <a:pt x="481" y="1148"/>
                    <a:pt x="491" y="1158"/>
                  </a:cubicBezTo>
                  <a:cubicBezTo>
                    <a:pt x="506" y="1176"/>
                    <a:pt x="524" y="1185"/>
                    <a:pt x="548" y="1187"/>
                  </a:cubicBezTo>
                  <a:cubicBezTo>
                    <a:pt x="568" y="1188"/>
                    <a:pt x="587" y="1187"/>
                    <a:pt x="605" y="1177"/>
                  </a:cubicBezTo>
                  <a:cubicBezTo>
                    <a:pt x="632" y="1162"/>
                    <a:pt x="644" y="1136"/>
                    <a:pt x="649" y="1107"/>
                  </a:cubicBezTo>
                  <a:cubicBezTo>
                    <a:pt x="652" y="1089"/>
                    <a:pt x="649" y="1072"/>
                    <a:pt x="644" y="1054"/>
                  </a:cubicBezTo>
                  <a:cubicBezTo>
                    <a:pt x="638" y="1034"/>
                    <a:pt x="627" y="1019"/>
                    <a:pt x="610" y="1007"/>
                  </a:cubicBezTo>
                  <a:cubicBezTo>
                    <a:pt x="589" y="992"/>
                    <a:pt x="566" y="991"/>
                    <a:pt x="541" y="994"/>
                  </a:cubicBezTo>
                  <a:cubicBezTo>
                    <a:pt x="526" y="995"/>
                    <a:pt x="512" y="1002"/>
                    <a:pt x="500" y="1012"/>
                  </a:cubicBezTo>
                  <a:cubicBezTo>
                    <a:pt x="476" y="1032"/>
                    <a:pt x="469" y="1060"/>
                    <a:pt x="466" y="1095"/>
                  </a:cubicBezTo>
                  <a:cubicBezTo>
                    <a:pt x="465" y="1101"/>
                    <a:pt x="470" y="1111"/>
                    <a:pt x="472" y="1122"/>
                  </a:cubicBezTo>
                  <a:close/>
                  <a:moveTo>
                    <a:pt x="508" y="1113"/>
                  </a:moveTo>
                  <a:cubicBezTo>
                    <a:pt x="505" y="1095"/>
                    <a:pt x="506" y="1078"/>
                    <a:pt x="508" y="1061"/>
                  </a:cubicBezTo>
                  <a:cubicBezTo>
                    <a:pt x="511" y="1042"/>
                    <a:pt x="538" y="1021"/>
                    <a:pt x="554" y="1022"/>
                  </a:cubicBezTo>
                  <a:cubicBezTo>
                    <a:pt x="570" y="1022"/>
                    <a:pt x="586" y="1024"/>
                    <a:pt x="596" y="1037"/>
                  </a:cubicBezTo>
                  <a:cubicBezTo>
                    <a:pt x="602" y="1044"/>
                    <a:pt x="607" y="1052"/>
                    <a:pt x="608" y="1061"/>
                  </a:cubicBezTo>
                  <a:cubicBezTo>
                    <a:pt x="608" y="1064"/>
                    <a:pt x="609" y="1067"/>
                    <a:pt x="610" y="1070"/>
                  </a:cubicBezTo>
                  <a:cubicBezTo>
                    <a:pt x="618" y="1089"/>
                    <a:pt x="612" y="1107"/>
                    <a:pt x="607" y="1125"/>
                  </a:cubicBezTo>
                  <a:cubicBezTo>
                    <a:pt x="601" y="1143"/>
                    <a:pt x="588" y="1160"/>
                    <a:pt x="558" y="1157"/>
                  </a:cubicBezTo>
                  <a:cubicBezTo>
                    <a:pt x="530" y="1157"/>
                    <a:pt x="512" y="1141"/>
                    <a:pt x="508" y="1113"/>
                  </a:cubicBezTo>
                  <a:close/>
                  <a:moveTo>
                    <a:pt x="430" y="716"/>
                  </a:moveTo>
                  <a:cubicBezTo>
                    <a:pt x="450" y="703"/>
                    <a:pt x="459" y="683"/>
                    <a:pt x="464" y="661"/>
                  </a:cubicBezTo>
                  <a:cubicBezTo>
                    <a:pt x="468" y="648"/>
                    <a:pt x="467" y="635"/>
                    <a:pt x="466" y="621"/>
                  </a:cubicBezTo>
                  <a:cubicBezTo>
                    <a:pt x="463" y="592"/>
                    <a:pt x="453" y="567"/>
                    <a:pt x="427" y="550"/>
                  </a:cubicBezTo>
                  <a:cubicBezTo>
                    <a:pt x="401" y="534"/>
                    <a:pt x="372" y="532"/>
                    <a:pt x="345" y="541"/>
                  </a:cubicBezTo>
                  <a:cubicBezTo>
                    <a:pt x="310" y="552"/>
                    <a:pt x="291" y="580"/>
                    <a:pt x="287" y="617"/>
                  </a:cubicBezTo>
                  <a:cubicBezTo>
                    <a:pt x="286" y="629"/>
                    <a:pt x="286" y="641"/>
                    <a:pt x="287" y="654"/>
                  </a:cubicBezTo>
                  <a:cubicBezTo>
                    <a:pt x="289" y="671"/>
                    <a:pt x="295" y="686"/>
                    <a:pt x="306" y="700"/>
                  </a:cubicBezTo>
                  <a:cubicBezTo>
                    <a:pt x="324" y="722"/>
                    <a:pt x="348" y="733"/>
                    <a:pt x="378" y="731"/>
                  </a:cubicBezTo>
                  <a:cubicBezTo>
                    <a:pt x="396" y="733"/>
                    <a:pt x="414" y="727"/>
                    <a:pt x="430" y="716"/>
                  </a:cubicBezTo>
                  <a:close/>
                  <a:moveTo>
                    <a:pt x="331" y="592"/>
                  </a:moveTo>
                  <a:cubicBezTo>
                    <a:pt x="339" y="580"/>
                    <a:pt x="349" y="569"/>
                    <a:pt x="365" y="567"/>
                  </a:cubicBezTo>
                  <a:cubicBezTo>
                    <a:pt x="387" y="564"/>
                    <a:pt x="406" y="568"/>
                    <a:pt x="419" y="588"/>
                  </a:cubicBezTo>
                  <a:cubicBezTo>
                    <a:pt x="423" y="595"/>
                    <a:pt x="426" y="603"/>
                    <a:pt x="427" y="610"/>
                  </a:cubicBezTo>
                  <a:cubicBezTo>
                    <a:pt x="433" y="635"/>
                    <a:pt x="431" y="661"/>
                    <a:pt x="416" y="684"/>
                  </a:cubicBezTo>
                  <a:cubicBezTo>
                    <a:pt x="403" y="706"/>
                    <a:pt x="362" y="708"/>
                    <a:pt x="345" y="692"/>
                  </a:cubicBezTo>
                  <a:cubicBezTo>
                    <a:pt x="329" y="678"/>
                    <a:pt x="323" y="661"/>
                    <a:pt x="323" y="631"/>
                  </a:cubicBezTo>
                  <a:cubicBezTo>
                    <a:pt x="323" y="619"/>
                    <a:pt x="323" y="605"/>
                    <a:pt x="331" y="592"/>
                  </a:cubicBezTo>
                  <a:close/>
                  <a:moveTo>
                    <a:pt x="1073" y="259"/>
                  </a:moveTo>
                  <a:cubicBezTo>
                    <a:pt x="1073" y="269"/>
                    <a:pt x="1075" y="272"/>
                    <a:pt x="1086" y="272"/>
                  </a:cubicBezTo>
                  <a:cubicBezTo>
                    <a:pt x="1088" y="272"/>
                    <a:pt x="1090" y="272"/>
                    <a:pt x="1092" y="272"/>
                  </a:cubicBezTo>
                  <a:cubicBezTo>
                    <a:pt x="1105" y="272"/>
                    <a:pt x="1106" y="271"/>
                    <a:pt x="1106" y="258"/>
                  </a:cubicBezTo>
                  <a:cubicBezTo>
                    <a:pt x="1106" y="221"/>
                    <a:pt x="1106" y="184"/>
                    <a:pt x="1106" y="147"/>
                  </a:cubicBezTo>
                  <a:cubicBezTo>
                    <a:pt x="1106" y="143"/>
                    <a:pt x="1106" y="140"/>
                    <a:pt x="1107" y="137"/>
                  </a:cubicBezTo>
                  <a:cubicBezTo>
                    <a:pt x="1117" y="117"/>
                    <a:pt x="1157" y="104"/>
                    <a:pt x="1177" y="114"/>
                  </a:cubicBezTo>
                  <a:cubicBezTo>
                    <a:pt x="1179" y="115"/>
                    <a:pt x="1180" y="117"/>
                    <a:pt x="1182" y="118"/>
                  </a:cubicBezTo>
                  <a:cubicBezTo>
                    <a:pt x="1194" y="131"/>
                    <a:pt x="1196" y="147"/>
                    <a:pt x="1196" y="163"/>
                  </a:cubicBezTo>
                  <a:cubicBezTo>
                    <a:pt x="1197" y="195"/>
                    <a:pt x="1196" y="226"/>
                    <a:pt x="1196" y="258"/>
                  </a:cubicBezTo>
                  <a:cubicBezTo>
                    <a:pt x="1196" y="271"/>
                    <a:pt x="1197" y="272"/>
                    <a:pt x="1210" y="272"/>
                  </a:cubicBezTo>
                  <a:cubicBezTo>
                    <a:pt x="1212" y="272"/>
                    <a:pt x="1213" y="272"/>
                    <a:pt x="1215" y="272"/>
                  </a:cubicBezTo>
                  <a:cubicBezTo>
                    <a:pt x="1227" y="272"/>
                    <a:pt x="1229" y="270"/>
                    <a:pt x="1229" y="258"/>
                  </a:cubicBezTo>
                  <a:cubicBezTo>
                    <a:pt x="1229" y="222"/>
                    <a:pt x="1229" y="187"/>
                    <a:pt x="1229" y="151"/>
                  </a:cubicBezTo>
                  <a:cubicBezTo>
                    <a:pt x="1229" y="142"/>
                    <a:pt x="1228" y="132"/>
                    <a:pt x="1225" y="123"/>
                  </a:cubicBezTo>
                  <a:cubicBezTo>
                    <a:pt x="1219" y="105"/>
                    <a:pt x="1208" y="91"/>
                    <a:pt x="1189" y="85"/>
                  </a:cubicBezTo>
                  <a:cubicBezTo>
                    <a:pt x="1173" y="80"/>
                    <a:pt x="1156" y="84"/>
                    <a:pt x="1139" y="84"/>
                  </a:cubicBezTo>
                  <a:cubicBezTo>
                    <a:pt x="1137" y="84"/>
                    <a:pt x="1136" y="86"/>
                    <a:pt x="1134" y="87"/>
                  </a:cubicBezTo>
                  <a:cubicBezTo>
                    <a:pt x="1128" y="91"/>
                    <a:pt x="1121" y="96"/>
                    <a:pt x="1115" y="100"/>
                  </a:cubicBezTo>
                  <a:cubicBezTo>
                    <a:pt x="1113" y="102"/>
                    <a:pt x="1111" y="105"/>
                    <a:pt x="1108" y="103"/>
                  </a:cubicBezTo>
                  <a:cubicBezTo>
                    <a:pt x="1105" y="102"/>
                    <a:pt x="1106" y="98"/>
                    <a:pt x="1106" y="96"/>
                  </a:cubicBezTo>
                  <a:cubicBezTo>
                    <a:pt x="1106" y="69"/>
                    <a:pt x="1106" y="43"/>
                    <a:pt x="1106" y="17"/>
                  </a:cubicBezTo>
                  <a:cubicBezTo>
                    <a:pt x="1106" y="0"/>
                    <a:pt x="1106" y="0"/>
                    <a:pt x="1089" y="0"/>
                  </a:cubicBezTo>
                  <a:cubicBezTo>
                    <a:pt x="1074" y="0"/>
                    <a:pt x="1073" y="1"/>
                    <a:pt x="1073" y="16"/>
                  </a:cubicBezTo>
                  <a:cubicBezTo>
                    <a:pt x="1073" y="56"/>
                    <a:pt x="1073" y="96"/>
                    <a:pt x="1073" y="136"/>
                  </a:cubicBezTo>
                  <a:cubicBezTo>
                    <a:pt x="1073" y="177"/>
                    <a:pt x="1073" y="218"/>
                    <a:pt x="1073" y="259"/>
                  </a:cubicBezTo>
                  <a:close/>
                  <a:moveTo>
                    <a:pt x="1150" y="1092"/>
                  </a:moveTo>
                  <a:cubicBezTo>
                    <a:pt x="1168" y="1092"/>
                    <a:pt x="1186" y="1092"/>
                    <a:pt x="1204" y="1092"/>
                  </a:cubicBezTo>
                  <a:cubicBezTo>
                    <a:pt x="1215" y="1092"/>
                    <a:pt x="1218" y="1087"/>
                    <a:pt x="1219" y="1077"/>
                  </a:cubicBezTo>
                  <a:cubicBezTo>
                    <a:pt x="1220" y="1062"/>
                    <a:pt x="1216" y="1049"/>
                    <a:pt x="1210" y="1036"/>
                  </a:cubicBezTo>
                  <a:cubicBezTo>
                    <a:pt x="1204" y="1020"/>
                    <a:pt x="1193" y="1008"/>
                    <a:pt x="1177" y="1001"/>
                  </a:cubicBezTo>
                  <a:cubicBezTo>
                    <a:pt x="1155" y="992"/>
                    <a:pt x="1133" y="991"/>
                    <a:pt x="1109" y="999"/>
                  </a:cubicBezTo>
                  <a:cubicBezTo>
                    <a:pt x="1079" y="1010"/>
                    <a:pt x="1062" y="1031"/>
                    <a:pt x="1056" y="1061"/>
                  </a:cubicBezTo>
                  <a:cubicBezTo>
                    <a:pt x="1051" y="1090"/>
                    <a:pt x="1052" y="1120"/>
                    <a:pt x="1069" y="1148"/>
                  </a:cubicBezTo>
                  <a:cubicBezTo>
                    <a:pt x="1081" y="1169"/>
                    <a:pt x="1100" y="1180"/>
                    <a:pt x="1122" y="1185"/>
                  </a:cubicBezTo>
                  <a:cubicBezTo>
                    <a:pt x="1149" y="1190"/>
                    <a:pt x="1176" y="1186"/>
                    <a:pt x="1200" y="1171"/>
                  </a:cubicBezTo>
                  <a:cubicBezTo>
                    <a:pt x="1206" y="1168"/>
                    <a:pt x="1213" y="1165"/>
                    <a:pt x="1214" y="1157"/>
                  </a:cubicBezTo>
                  <a:cubicBezTo>
                    <a:pt x="1215" y="1147"/>
                    <a:pt x="1202" y="1139"/>
                    <a:pt x="1193" y="1144"/>
                  </a:cubicBezTo>
                  <a:cubicBezTo>
                    <a:pt x="1187" y="1147"/>
                    <a:pt x="1180" y="1150"/>
                    <a:pt x="1174" y="1153"/>
                  </a:cubicBezTo>
                  <a:cubicBezTo>
                    <a:pt x="1158" y="1161"/>
                    <a:pt x="1140" y="1161"/>
                    <a:pt x="1124" y="1155"/>
                  </a:cubicBezTo>
                  <a:cubicBezTo>
                    <a:pt x="1112" y="1151"/>
                    <a:pt x="1102" y="1142"/>
                    <a:pt x="1096" y="1129"/>
                  </a:cubicBezTo>
                  <a:cubicBezTo>
                    <a:pt x="1092" y="1121"/>
                    <a:pt x="1091" y="1112"/>
                    <a:pt x="1089" y="1104"/>
                  </a:cubicBezTo>
                  <a:cubicBezTo>
                    <a:pt x="1087" y="1093"/>
                    <a:pt x="1087" y="1092"/>
                    <a:pt x="1099" y="1092"/>
                  </a:cubicBezTo>
                  <a:cubicBezTo>
                    <a:pt x="1116" y="1092"/>
                    <a:pt x="1133" y="1092"/>
                    <a:pt x="1150" y="1092"/>
                  </a:cubicBezTo>
                  <a:cubicBezTo>
                    <a:pt x="1150" y="1092"/>
                    <a:pt x="1150" y="1092"/>
                    <a:pt x="1150" y="1092"/>
                  </a:cubicBezTo>
                  <a:close/>
                  <a:moveTo>
                    <a:pt x="1099" y="1070"/>
                  </a:moveTo>
                  <a:cubicBezTo>
                    <a:pt x="1092" y="1071"/>
                    <a:pt x="1089" y="1067"/>
                    <a:pt x="1091" y="1060"/>
                  </a:cubicBezTo>
                  <a:cubicBezTo>
                    <a:pt x="1094" y="1045"/>
                    <a:pt x="1108" y="1023"/>
                    <a:pt x="1128" y="1022"/>
                  </a:cubicBezTo>
                  <a:cubicBezTo>
                    <a:pt x="1142" y="1021"/>
                    <a:pt x="1156" y="1018"/>
                    <a:pt x="1168" y="1029"/>
                  </a:cubicBezTo>
                  <a:cubicBezTo>
                    <a:pt x="1181" y="1038"/>
                    <a:pt x="1185" y="1051"/>
                    <a:pt x="1187" y="1066"/>
                  </a:cubicBezTo>
                  <a:cubicBezTo>
                    <a:pt x="1188" y="1071"/>
                    <a:pt x="1183" y="1070"/>
                    <a:pt x="1180" y="1070"/>
                  </a:cubicBezTo>
                  <a:cubicBezTo>
                    <a:pt x="1166" y="1070"/>
                    <a:pt x="1153" y="1070"/>
                    <a:pt x="1139" y="1070"/>
                  </a:cubicBezTo>
                  <a:cubicBezTo>
                    <a:pt x="1139" y="1070"/>
                    <a:pt x="1139" y="1070"/>
                    <a:pt x="1139" y="1070"/>
                  </a:cubicBezTo>
                  <a:cubicBezTo>
                    <a:pt x="1126" y="1070"/>
                    <a:pt x="1113" y="1070"/>
                    <a:pt x="1099" y="1070"/>
                  </a:cubicBezTo>
                  <a:close/>
                  <a:moveTo>
                    <a:pt x="1741" y="1092"/>
                  </a:moveTo>
                  <a:cubicBezTo>
                    <a:pt x="1759" y="1092"/>
                    <a:pt x="1776" y="1092"/>
                    <a:pt x="1793" y="1092"/>
                  </a:cubicBezTo>
                  <a:cubicBezTo>
                    <a:pt x="1806" y="1092"/>
                    <a:pt x="1808" y="1089"/>
                    <a:pt x="1808" y="1076"/>
                  </a:cubicBezTo>
                  <a:cubicBezTo>
                    <a:pt x="1809" y="1063"/>
                    <a:pt x="1807" y="1051"/>
                    <a:pt x="1802" y="1038"/>
                  </a:cubicBezTo>
                  <a:cubicBezTo>
                    <a:pt x="1794" y="1021"/>
                    <a:pt x="1782" y="1008"/>
                    <a:pt x="1764" y="1000"/>
                  </a:cubicBezTo>
                  <a:cubicBezTo>
                    <a:pt x="1742" y="991"/>
                    <a:pt x="1720" y="991"/>
                    <a:pt x="1698" y="1000"/>
                  </a:cubicBezTo>
                  <a:cubicBezTo>
                    <a:pt x="1681" y="1006"/>
                    <a:pt x="1668" y="1016"/>
                    <a:pt x="1659" y="1031"/>
                  </a:cubicBezTo>
                  <a:cubicBezTo>
                    <a:pt x="1646" y="1050"/>
                    <a:pt x="1643" y="1071"/>
                    <a:pt x="1644" y="1094"/>
                  </a:cubicBezTo>
                  <a:cubicBezTo>
                    <a:pt x="1644" y="1110"/>
                    <a:pt x="1647" y="1127"/>
                    <a:pt x="1655" y="1141"/>
                  </a:cubicBezTo>
                  <a:cubicBezTo>
                    <a:pt x="1669" y="1168"/>
                    <a:pt x="1691" y="1183"/>
                    <a:pt x="1722" y="1186"/>
                  </a:cubicBezTo>
                  <a:cubicBezTo>
                    <a:pt x="1750" y="1188"/>
                    <a:pt x="1775" y="1183"/>
                    <a:pt x="1798" y="1165"/>
                  </a:cubicBezTo>
                  <a:cubicBezTo>
                    <a:pt x="1803" y="1161"/>
                    <a:pt x="1806" y="1157"/>
                    <a:pt x="1802" y="1151"/>
                  </a:cubicBezTo>
                  <a:cubicBezTo>
                    <a:pt x="1798" y="1144"/>
                    <a:pt x="1791" y="1140"/>
                    <a:pt x="1783" y="1144"/>
                  </a:cubicBezTo>
                  <a:cubicBezTo>
                    <a:pt x="1778" y="1147"/>
                    <a:pt x="1771" y="1149"/>
                    <a:pt x="1766" y="1152"/>
                  </a:cubicBezTo>
                  <a:cubicBezTo>
                    <a:pt x="1749" y="1161"/>
                    <a:pt x="1730" y="1162"/>
                    <a:pt x="1714" y="1155"/>
                  </a:cubicBezTo>
                  <a:cubicBezTo>
                    <a:pt x="1692" y="1145"/>
                    <a:pt x="1680" y="1127"/>
                    <a:pt x="1679" y="1102"/>
                  </a:cubicBezTo>
                  <a:cubicBezTo>
                    <a:pt x="1678" y="1095"/>
                    <a:pt x="1681" y="1092"/>
                    <a:pt x="1689" y="1092"/>
                  </a:cubicBezTo>
                  <a:cubicBezTo>
                    <a:pt x="1706" y="1092"/>
                    <a:pt x="1724" y="1092"/>
                    <a:pt x="1741" y="1092"/>
                  </a:cubicBezTo>
                  <a:cubicBezTo>
                    <a:pt x="1741" y="1092"/>
                    <a:pt x="1741" y="1092"/>
                    <a:pt x="1741" y="1092"/>
                  </a:cubicBezTo>
                  <a:close/>
                  <a:moveTo>
                    <a:pt x="1690" y="1070"/>
                  </a:moveTo>
                  <a:cubicBezTo>
                    <a:pt x="1683" y="1071"/>
                    <a:pt x="1680" y="1068"/>
                    <a:pt x="1681" y="1062"/>
                  </a:cubicBezTo>
                  <a:cubicBezTo>
                    <a:pt x="1683" y="1048"/>
                    <a:pt x="1697" y="1024"/>
                    <a:pt x="1716" y="1022"/>
                  </a:cubicBezTo>
                  <a:cubicBezTo>
                    <a:pt x="1731" y="1020"/>
                    <a:pt x="1747" y="1018"/>
                    <a:pt x="1760" y="1030"/>
                  </a:cubicBezTo>
                  <a:cubicBezTo>
                    <a:pt x="1771" y="1038"/>
                    <a:pt x="1775" y="1050"/>
                    <a:pt x="1778" y="1062"/>
                  </a:cubicBezTo>
                  <a:cubicBezTo>
                    <a:pt x="1780" y="1068"/>
                    <a:pt x="1775" y="1070"/>
                    <a:pt x="1769" y="1070"/>
                  </a:cubicBezTo>
                  <a:cubicBezTo>
                    <a:pt x="1756" y="1070"/>
                    <a:pt x="1742" y="1070"/>
                    <a:pt x="1729" y="1070"/>
                  </a:cubicBezTo>
                  <a:cubicBezTo>
                    <a:pt x="1729" y="1070"/>
                    <a:pt x="1729" y="1070"/>
                    <a:pt x="1729" y="1070"/>
                  </a:cubicBezTo>
                  <a:cubicBezTo>
                    <a:pt x="1716" y="1070"/>
                    <a:pt x="1703" y="1070"/>
                    <a:pt x="1690" y="1070"/>
                  </a:cubicBezTo>
                  <a:close/>
                  <a:moveTo>
                    <a:pt x="68" y="581"/>
                  </a:moveTo>
                  <a:cubicBezTo>
                    <a:pt x="68" y="573"/>
                    <a:pt x="70" y="568"/>
                    <a:pt x="80" y="569"/>
                  </a:cubicBezTo>
                  <a:cubicBezTo>
                    <a:pt x="90" y="570"/>
                    <a:pt x="101" y="570"/>
                    <a:pt x="111" y="569"/>
                  </a:cubicBezTo>
                  <a:cubicBezTo>
                    <a:pt x="120" y="569"/>
                    <a:pt x="120" y="563"/>
                    <a:pt x="120" y="556"/>
                  </a:cubicBezTo>
                  <a:cubicBezTo>
                    <a:pt x="120" y="549"/>
                    <a:pt x="119" y="544"/>
                    <a:pt x="111" y="544"/>
                  </a:cubicBezTo>
                  <a:cubicBezTo>
                    <a:pt x="104" y="544"/>
                    <a:pt x="97" y="544"/>
                    <a:pt x="91" y="544"/>
                  </a:cubicBezTo>
                  <a:cubicBezTo>
                    <a:pt x="66" y="544"/>
                    <a:pt x="65" y="543"/>
                    <a:pt x="68" y="518"/>
                  </a:cubicBezTo>
                  <a:cubicBezTo>
                    <a:pt x="69" y="504"/>
                    <a:pt x="83" y="487"/>
                    <a:pt x="99" y="489"/>
                  </a:cubicBezTo>
                  <a:cubicBezTo>
                    <a:pt x="103" y="489"/>
                    <a:pt x="107" y="489"/>
                    <a:pt x="110" y="488"/>
                  </a:cubicBezTo>
                  <a:cubicBezTo>
                    <a:pt x="118" y="487"/>
                    <a:pt x="123" y="479"/>
                    <a:pt x="123" y="471"/>
                  </a:cubicBezTo>
                  <a:cubicBezTo>
                    <a:pt x="123" y="461"/>
                    <a:pt x="116" y="462"/>
                    <a:pt x="109" y="460"/>
                  </a:cubicBezTo>
                  <a:cubicBezTo>
                    <a:pt x="100" y="458"/>
                    <a:pt x="92" y="460"/>
                    <a:pt x="84" y="460"/>
                  </a:cubicBezTo>
                  <a:cubicBezTo>
                    <a:pt x="68" y="461"/>
                    <a:pt x="56" y="469"/>
                    <a:pt x="47" y="480"/>
                  </a:cubicBezTo>
                  <a:cubicBezTo>
                    <a:pt x="34" y="493"/>
                    <a:pt x="32" y="511"/>
                    <a:pt x="32" y="529"/>
                  </a:cubicBezTo>
                  <a:cubicBezTo>
                    <a:pt x="32" y="544"/>
                    <a:pt x="32" y="544"/>
                    <a:pt x="17" y="544"/>
                  </a:cubicBezTo>
                  <a:cubicBezTo>
                    <a:pt x="4" y="543"/>
                    <a:pt x="0" y="548"/>
                    <a:pt x="4" y="561"/>
                  </a:cubicBezTo>
                  <a:cubicBezTo>
                    <a:pt x="6" y="569"/>
                    <a:pt x="13" y="568"/>
                    <a:pt x="19" y="569"/>
                  </a:cubicBezTo>
                  <a:cubicBezTo>
                    <a:pt x="32" y="571"/>
                    <a:pt x="32" y="571"/>
                    <a:pt x="32" y="584"/>
                  </a:cubicBezTo>
                  <a:cubicBezTo>
                    <a:pt x="32" y="624"/>
                    <a:pt x="32" y="664"/>
                    <a:pt x="32" y="704"/>
                  </a:cubicBezTo>
                  <a:cubicBezTo>
                    <a:pt x="32" y="731"/>
                    <a:pt x="32" y="730"/>
                    <a:pt x="57" y="731"/>
                  </a:cubicBezTo>
                  <a:cubicBezTo>
                    <a:pt x="66" y="731"/>
                    <a:pt x="68" y="727"/>
                    <a:pt x="68" y="720"/>
                  </a:cubicBezTo>
                  <a:cubicBezTo>
                    <a:pt x="68" y="697"/>
                    <a:pt x="68" y="674"/>
                    <a:pt x="68" y="651"/>
                  </a:cubicBezTo>
                  <a:cubicBezTo>
                    <a:pt x="68" y="628"/>
                    <a:pt x="68" y="605"/>
                    <a:pt x="68" y="581"/>
                  </a:cubicBezTo>
                  <a:close/>
                  <a:moveTo>
                    <a:pt x="278" y="1165"/>
                  </a:moveTo>
                  <a:cubicBezTo>
                    <a:pt x="278" y="1183"/>
                    <a:pt x="278" y="1183"/>
                    <a:pt x="296" y="1184"/>
                  </a:cubicBezTo>
                  <a:cubicBezTo>
                    <a:pt x="310" y="1184"/>
                    <a:pt x="310" y="1184"/>
                    <a:pt x="310" y="1169"/>
                  </a:cubicBezTo>
                  <a:cubicBezTo>
                    <a:pt x="310" y="1132"/>
                    <a:pt x="310" y="1095"/>
                    <a:pt x="310" y="1058"/>
                  </a:cubicBezTo>
                  <a:cubicBezTo>
                    <a:pt x="310" y="1052"/>
                    <a:pt x="312" y="1047"/>
                    <a:pt x="316" y="1042"/>
                  </a:cubicBezTo>
                  <a:cubicBezTo>
                    <a:pt x="324" y="1033"/>
                    <a:pt x="334" y="1027"/>
                    <a:pt x="345" y="1024"/>
                  </a:cubicBezTo>
                  <a:cubicBezTo>
                    <a:pt x="357" y="1020"/>
                    <a:pt x="371" y="1018"/>
                    <a:pt x="383" y="1028"/>
                  </a:cubicBezTo>
                  <a:cubicBezTo>
                    <a:pt x="397" y="1039"/>
                    <a:pt x="401" y="1054"/>
                    <a:pt x="401" y="1071"/>
                  </a:cubicBezTo>
                  <a:cubicBezTo>
                    <a:pt x="401" y="1102"/>
                    <a:pt x="401" y="1132"/>
                    <a:pt x="401" y="1163"/>
                  </a:cubicBezTo>
                  <a:cubicBezTo>
                    <a:pt x="401" y="1183"/>
                    <a:pt x="401" y="1182"/>
                    <a:pt x="420" y="1184"/>
                  </a:cubicBezTo>
                  <a:cubicBezTo>
                    <a:pt x="429" y="1185"/>
                    <a:pt x="433" y="1181"/>
                    <a:pt x="433" y="1173"/>
                  </a:cubicBezTo>
                  <a:cubicBezTo>
                    <a:pt x="432" y="1130"/>
                    <a:pt x="435" y="1087"/>
                    <a:pt x="431" y="1044"/>
                  </a:cubicBezTo>
                  <a:cubicBezTo>
                    <a:pt x="427" y="1014"/>
                    <a:pt x="404" y="996"/>
                    <a:pt x="376" y="994"/>
                  </a:cubicBezTo>
                  <a:cubicBezTo>
                    <a:pt x="353" y="992"/>
                    <a:pt x="333" y="1000"/>
                    <a:pt x="317" y="1017"/>
                  </a:cubicBezTo>
                  <a:cubicBezTo>
                    <a:pt x="312" y="1021"/>
                    <a:pt x="311" y="1019"/>
                    <a:pt x="309" y="1015"/>
                  </a:cubicBezTo>
                  <a:cubicBezTo>
                    <a:pt x="309" y="1013"/>
                    <a:pt x="308" y="1011"/>
                    <a:pt x="308" y="1008"/>
                  </a:cubicBezTo>
                  <a:cubicBezTo>
                    <a:pt x="306" y="1001"/>
                    <a:pt x="298" y="997"/>
                    <a:pt x="287" y="998"/>
                  </a:cubicBezTo>
                  <a:cubicBezTo>
                    <a:pt x="279" y="999"/>
                    <a:pt x="278" y="1004"/>
                    <a:pt x="278" y="1011"/>
                  </a:cubicBezTo>
                  <a:cubicBezTo>
                    <a:pt x="278" y="1037"/>
                    <a:pt x="278" y="1064"/>
                    <a:pt x="278" y="1091"/>
                  </a:cubicBezTo>
                  <a:cubicBezTo>
                    <a:pt x="278" y="1115"/>
                    <a:pt x="278" y="1140"/>
                    <a:pt x="278" y="1165"/>
                  </a:cubicBezTo>
                  <a:close/>
                  <a:moveTo>
                    <a:pt x="150" y="705"/>
                  </a:moveTo>
                  <a:cubicBezTo>
                    <a:pt x="150" y="734"/>
                    <a:pt x="145" y="730"/>
                    <a:pt x="176" y="731"/>
                  </a:cubicBezTo>
                  <a:cubicBezTo>
                    <a:pt x="185" y="731"/>
                    <a:pt x="187" y="727"/>
                    <a:pt x="187" y="719"/>
                  </a:cubicBezTo>
                  <a:cubicBezTo>
                    <a:pt x="187" y="685"/>
                    <a:pt x="187" y="651"/>
                    <a:pt x="187" y="618"/>
                  </a:cubicBezTo>
                  <a:cubicBezTo>
                    <a:pt x="187" y="597"/>
                    <a:pt x="204" y="578"/>
                    <a:pt x="225" y="574"/>
                  </a:cubicBezTo>
                  <a:cubicBezTo>
                    <a:pt x="232" y="572"/>
                    <a:pt x="240" y="574"/>
                    <a:pt x="247" y="575"/>
                  </a:cubicBezTo>
                  <a:cubicBezTo>
                    <a:pt x="257" y="576"/>
                    <a:pt x="261" y="572"/>
                    <a:pt x="265" y="564"/>
                  </a:cubicBezTo>
                  <a:cubicBezTo>
                    <a:pt x="269" y="556"/>
                    <a:pt x="267" y="542"/>
                    <a:pt x="261" y="540"/>
                  </a:cubicBezTo>
                  <a:cubicBezTo>
                    <a:pt x="253" y="538"/>
                    <a:pt x="244" y="534"/>
                    <a:pt x="237" y="536"/>
                  </a:cubicBezTo>
                  <a:cubicBezTo>
                    <a:pt x="228" y="537"/>
                    <a:pt x="217" y="537"/>
                    <a:pt x="209" y="544"/>
                  </a:cubicBezTo>
                  <a:cubicBezTo>
                    <a:pt x="204" y="549"/>
                    <a:pt x="198" y="553"/>
                    <a:pt x="194" y="558"/>
                  </a:cubicBezTo>
                  <a:cubicBezTo>
                    <a:pt x="192" y="561"/>
                    <a:pt x="189" y="563"/>
                    <a:pt x="185" y="562"/>
                  </a:cubicBezTo>
                  <a:cubicBezTo>
                    <a:pt x="182" y="561"/>
                    <a:pt x="182" y="558"/>
                    <a:pt x="182" y="556"/>
                  </a:cubicBezTo>
                  <a:cubicBezTo>
                    <a:pt x="180" y="539"/>
                    <a:pt x="179" y="539"/>
                    <a:pt x="162" y="539"/>
                  </a:cubicBezTo>
                  <a:cubicBezTo>
                    <a:pt x="151" y="539"/>
                    <a:pt x="150" y="540"/>
                    <a:pt x="150" y="551"/>
                  </a:cubicBezTo>
                  <a:cubicBezTo>
                    <a:pt x="150" y="579"/>
                    <a:pt x="150" y="607"/>
                    <a:pt x="150" y="635"/>
                  </a:cubicBezTo>
                  <a:cubicBezTo>
                    <a:pt x="150" y="658"/>
                    <a:pt x="149" y="682"/>
                    <a:pt x="150" y="705"/>
                  </a:cubicBezTo>
                  <a:close/>
                  <a:moveTo>
                    <a:pt x="1011" y="1049"/>
                  </a:moveTo>
                  <a:cubicBezTo>
                    <a:pt x="1011" y="1008"/>
                    <a:pt x="1011" y="966"/>
                    <a:pt x="1011" y="924"/>
                  </a:cubicBezTo>
                  <a:cubicBezTo>
                    <a:pt x="1011" y="913"/>
                    <a:pt x="1008" y="910"/>
                    <a:pt x="997" y="910"/>
                  </a:cubicBezTo>
                  <a:cubicBezTo>
                    <a:pt x="995" y="910"/>
                    <a:pt x="992" y="910"/>
                    <a:pt x="990" y="910"/>
                  </a:cubicBezTo>
                  <a:cubicBezTo>
                    <a:pt x="976" y="910"/>
                    <a:pt x="975" y="911"/>
                    <a:pt x="975" y="926"/>
                  </a:cubicBezTo>
                  <a:cubicBezTo>
                    <a:pt x="975" y="1006"/>
                    <a:pt x="975" y="1085"/>
                    <a:pt x="975" y="1165"/>
                  </a:cubicBezTo>
                  <a:cubicBezTo>
                    <a:pt x="975" y="1185"/>
                    <a:pt x="975" y="1185"/>
                    <a:pt x="994" y="1185"/>
                  </a:cubicBezTo>
                  <a:cubicBezTo>
                    <a:pt x="1009" y="1185"/>
                    <a:pt x="1011" y="1184"/>
                    <a:pt x="1011" y="1169"/>
                  </a:cubicBezTo>
                  <a:cubicBezTo>
                    <a:pt x="1011" y="1129"/>
                    <a:pt x="1011" y="1089"/>
                    <a:pt x="1011" y="1049"/>
                  </a:cubicBezTo>
                  <a:cubicBezTo>
                    <a:pt x="1011" y="1049"/>
                    <a:pt x="1011" y="1049"/>
                    <a:pt x="1011" y="1049"/>
                  </a:cubicBezTo>
                  <a:close/>
                  <a:moveTo>
                    <a:pt x="296" y="176"/>
                  </a:moveTo>
                  <a:cubicBezTo>
                    <a:pt x="296" y="201"/>
                    <a:pt x="296" y="226"/>
                    <a:pt x="296" y="251"/>
                  </a:cubicBezTo>
                  <a:cubicBezTo>
                    <a:pt x="295" y="276"/>
                    <a:pt x="296" y="274"/>
                    <a:pt x="318" y="274"/>
                  </a:cubicBezTo>
                  <a:cubicBezTo>
                    <a:pt x="330" y="274"/>
                    <a:pt x="331" y="274"/>
                    <a:pt x="331" y="260"/>
                  </a:cubicBezTo>
                  <a:cubicBezTo>
                    <a:pt x="331" y="232"/>
                    <a:pt x="331" y="204"/>
                    <a:pt x="331" y="176"/>
                  </a:cubicBezTo>
                  <a:cubicBezTo>
                    <a:pt x="331" y="165"/>
                    <a:pt x="331" y="155"/>
                    <a:pt x="337" y="145"/>
                  </a:cubicBezTo>
                  <a:cubicBezTo>
                    <a:pt x="349" y="123"/>
                    <a:pt x="359" y="117"/>
                    <a:pt x="377" y="118"/>
                  </a:cubicBezTo>
                  <a:cubicBezTo>
                    <a:pt x="383" y="118"/>
                    <a:pt x="389" y="119"/>
                    <a:pt x="395" y="120"/>
                  </a:cubicBezTo>
                  <a:cubicBezTo>
                    <a:pt x="401" y="120"/>
                    <a:pt x="407" y="118"/>
                    <a:pt x="408" y="112"/>
                  </a:cubicBezTo>
                  <a:cubicBezTo>
                    <a:pt x="409" y="103"/>
                    <a:pt x="415" y="93"/>
                    <a:pt x="407" y="85"/>
                  </a:cubicBezTo>
                  <a:cubicBezTo>
                    <a:pt x="406" y="84"/>
                    <a:pt x="404" y="84"/>
                    <a:pt x="402" y="84"/>
                  </a:cubicBezTo>
                  <a:cubicBezTo>
                    <a:pt x="376" y="78"/>
                    <a:pt x="353" y="82"/>
                    <a:pt x="337" y="106"/>
                  </a:cubicBezTo>
                  <a:cubicBezTo>
                    <a:pt x="336" y="108"/>
                    <a:pt x="335" y="110"/>
                    <a:pt x="333" y="109"/>
                  </a:cubicBezTo>
                  <a:cubicBezTo>
                    <a:pt x="331" y="109"/>
                    <a:pt x="330" y="107"/>
                    <a:pt x="330" y="105"/>
                  </a:cubicBezTo>
                  <a:cubicBezTo>
                    <a:pt x="329" y="101"/>
                    <a:pt x="329" y="97"/>
                    <a:pt x="328" y="94"/>
                  </a:cubicBezTo>
                  <a:cubicBezTo>
                    <a:pt x="325" y="85"/>
                    <a:pt x="318" y="82"/>
                    <a:pt x="303" y="84"/>
                  </a:cubicBezTo>
                  <a:cubicBezTo>
                    <a:pt x="297" y="84"/>
                    <a:pt x="295" y="86"/>
                    <a:pt x="295" y="92"/>
                  </a:cubicBezTo>
                  <a:cubicBezTo>
                    <a:pt x="296" y="120"/>
                    <a:pt x="295" y="148"/>
                    <a:pt x="295" y="176"/>
                  </a:cubicBezTo>
                  <a:cubicBezTo>
                    <a:pt x="296" y="176"/>
                    <a:pt x="296" y="176"/>
                    <a:pt x="296" y="176"/>
                  </a:cubicBezTo>
                  <a:close/>
                  <a:moveTo>
                    <a:pt x="946" y="179"/>
                  </a:moveTo>
                  <a:cubicBezTo>
                    <a:pt x="946" y="197"/>
                    <a:pt x="946" y="215"/>
                    <a:pt x="946" y="234"/>
                  </a:cubicBezTo>
                  <a:cubicBezTo>
                    <a:pt x="946" y="248"/>
                    <a:pt x="951" y="260"/>
                    <a:pt x="963" y="268"/>
                  </a:cubicBezTo>
                  <a:cubicBezTo>
                    <a:pt x="982" y="280"/>
                    <a:pt x="1011" y="277"/>
                    <a:pt x="1029" y="264"/>
                  </a:cubicBezTo>
                  <a:cubicBezTo>
                    <a:pt x="1036" y="259"/>
                    <a:pt x="1036" y="254"/>
                    <a:pt x="1032" y="248"/>
                  </a:cubicBezTo>
                  <a:cubicBezTo>
                    <a:pt x="1026" y="239"/>
                    <a:pt x="1020" y="238"/>
                    <a:pt x="1013" y="242"/>
                  </a:cubicBezTo>
                  <a:cubicBezTo>
                    <a:pt x="996" y="252"/>
                    <a:pt x="978" y="243"/>
                    <a:pt x="978" y="223"/>
                  </a:cubicBezTo>
                  <a:cubicBezTo>
                    <a:pt x="978" y="190"/>
                    <a:pt x="978" y="157"/>
                    <a:pt x="978" y="123"/>
                  </a:cubicBezTo>
                  <a:cubicBezTo>
                    <a:pt x="978" y="116"/>
                    <a:pt x="981" y="113"/>
                    <a:pt x="988" y="113"/>
                  </a:cubicBezTo>
                  <a:cubicBezTo>
                    <a:pt x="999" y="114"/>
                    <a:pt x="1011" y="113"/>
                    <a:pt x="1022" y="113"/>
                  </a:cubicBezTo>
                  <a:cubicBezTo>
                    <a:pt x="1028" y="113"/>
                    <a:pt x="1033" y="112"/>
                    <a:pt x="1033" y="104"/>
                  </a:cubicBezTo>
                  <a:cubicBezTo>
                    <a:pt x="1033" y="96"/>
                    <a:pt x="1032" y="90"/>
                    <a:pt x="1022" y="90"/>
                  </a:cubicBezTo>
                  <a:cubicBezTo>
                    <a:pt x="1011" y="90"/>
                    <a:pt x="1001" y="90"/>
                    <a:pt x="990" y="90"/>
                  </a:cubicBezTo>
                  <a:cubicBezTo>
                    <a:pt x="981" y="91"/>
                    <a:pt x="977" y="88"/>
                    <a:pt x="978" y="78"/>
                  </a:cubicBezTo>
                  <a:cubicBezTo>
                    <a:pt x="978" y="64"/>
                    <a:pt x="978" y="49"/>
                    <a:pt x="978" y="35"/>
                  </a:cubicBezTo>
                  <a:cubicBezTo>
                    <a:pt x="978" y="30"/>
                    <a:pt x="978" y="25"/>
                    <a:pt x="971" y="24"/>
                  </a:cubicBezTo>
                  <a:cubicBezTo>
                    <a:pt x="964" y="24"/>
                    <a:pt x="956" y="24"/>
                    <a:pt x="955" y="32"/>
                  </a:cubicBezTo>
                  <a:cubicBezTo>
                    <a:pt x="952" y="43"/>
                    <a:pt x="949" y="54"/>
                    <a:pt x="949" y="65"/>
                  </a:cubicBezTo>
                  <a:cubicBezTo>
                    <a:pt x="948" y="88"/>
                    <a:pt x="947" y="88"/>
                    <a:pt x="924" y="91"/>
                  </a:cubicBezTo>
                  <a:cubicBezTo>
                    <a:pt x="919" y="92"/>
                    <a:pt x="914" y="92"/>
                    <a:pt x="914" y="99"/>
                  </a:cubicBezTo>
                  <a:cubicBezTo>
                    <a:pt x="915" y="107"/>
                    <a:pt x="917" y="113"/>
                    <a:pt x="926" y="113"/>
                  </a:cubicBezTo>
                  <a:cubicBezTo>
                    <a:pt x="929" y="114"/>
                    <a:pt x="932" y="113"/>
                    <a:pt x="935" y="113"/>
                  </a:cubicBezTo>
                  <a:cubicBezTo>
                    <a:pt x="943" y="113"/>
                    <a:pt x="946" y="116"/>
                    <a:pt x="946" y="124"/>
                  </a:cubicBezTo>
                  <a:cubicBezTo>
                    <a:pt x="946" y="142"/>
                    <a:pt x="946" y="161"/>
                    <a:pt x="946" y="179"/>
                  </a:cubicBezTo>
                  <a:cubicBezTo>
                    <a:pt x="946" y="179"/>
                    <a:pt x="946" y="179"/>
                    <a:pt x="946" y="179"/>
                  </a:cubicBezTo>
                  <a:close/>
                </a:path>
              </a:pathLst>
            </a:custGeom>
            <a:solidFill>
              <a:srgbClr val="4C505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0" dirty="0"/>
            </a:p>
          </p:txBody>
        </p:sp>
        <p:grpSp>
          <p:nvGrpSpPr>
            <p:cNvPr id="18" name="Group 4">
              <a:extLst>
                <a:ext uri="{FF2B5EF4-FFF2-40B4-BE49-F238E27FC236}">
                  <a16:creationId xmlns:a16="http://schemas.microsoft.com/office/drawing/2014/main" id="{57BD2C4C-DC67-B843-B26C-309622FC75F7}"/>
                </a:ext>
              </a:extLst>
            </p:cNvPr>
            <p:cNvGrpSpPr>
              <a:grpSpLocks noChangeAspect="1"/>
            </p:cNvGrpSpPr>
            <p:nvPr/>
          </p:nvGrpSpPr>
          <p:grpSpPr bwMode="gray">
            <a:xfrm>
              <a:off x="334963" y="296652"/>
              <a:ext cx="538094" cy="540000"/>
              <a:chOff x="2711" y="1027"/>
              <a:chExt cx="2258" cy="2266"/>
            </a:xfrm>
          </p:grpSpPr>
          <p:sp>
            <p:nvSpPr>
              <p:cNvPr id="19" name="AutoShape 3">
                <a:extLst>
                  <a:ext uri="{FF2B5EF4-FFF2-40B4-BE49-F238E27FC236}">
                    <a16:creationId xmlns:a16="http://schemas.microsoft.com/office/drawing/2014/main" id="{FE1DC41B-291E-574C-9F2C-874E70A40758}"/>
                  </a:ext>
                </a:extLst>
              </p:cNvPr>
              <p:cNvSpPr>
                <a:spLocks noChangeAspect="1" noChangeArrowheads="1" noTextEdit="1"/>
              </p:cNvSpPr>
              <p:nvPr/>
            </p:nvSpPr>
            <p:spPr bwMode="gray">
              <a:xfrm>
                <a:off x="2711" y="1027"/>
                <a:ext cx="2258" cy="22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sz="1350" dirty="0"/>
              </a:p>
            </p:txBody>
          </p:sp>
          <p:sp>
            <p:nvSpPr>
              <p:cNvPr id="20" name="Freeform 5">
                <a:extLst>
                  <a:ext uri="{FF2B5EF4-FFF2-40B4-BE49-F238E27FC236}">
                    <a16:creationId xmlns:a16="http://schemas.microsoft.com/office/drawing/2014/main" id="{D4B633C8-F761-C54B-9BD2-EB59D49A2DBC}"/>
                  </a:ext>
                </a:extLst>
              </p:cNvPr>
              <p:cNvSpPr>
                <a:spLocks/>
              </p:cNvSpPr>
              <p:nvPr/>
            </p:nvSpPr>
            <p:spPr bwMode="gray">
              <a:xfrm>
                <a:off x="2709" y="1029"/>
                <a:ext cx="2260" cy="2262"/>
              </a:xfrm>
              <a:custGeom>
                <a:avLst/>
                <a:gdLst>
                  <a:gd name="T0" fmla="*/ 2260 w 2260"/>
                  <a:gd name="T1" fmla="*/ 0 h 2262"/>
                  <a:gd name="T2" fmla="*/ 1612 w 2260"/>
                  <a:gd name="T3" fmla="*/ 649 h 2262"/>
                  <a:gd name="T4" fmla="*/ 1612 w 2260"/>
                  <a:gd name="T5" fmla="*/ 649 h 2262"/>
                  <a:gd name="T6" fmla="*/ 2035 w 2260"/>
                  <a:gd name="T7" fmla="*/ 0 h 2262"/>
                  <a:gd name="T8" fmla="*/ 0 w 2260"/>
                  <a:gd name="T9" fmla="*/ 0 h 2262"/>
                  <a:gd name="T10" fmla="*/ 0 w 2260"/>
                  <a:gd name="T11" fmla="*/ 2262 h 2262"/>
                  <a:gd name="T12" fmla="*/ 2260 w 2260"/>
                  <a:gd name="T13" fmla="*/ 2262 h 2262"/>
                  <a:gd name="T14" fmla="*/ 2260 w 2260"/>
                  <a:gd name="T15" fmla="*/ 0 h 2262"/>
                  <a:gd name="T16" fmla="*/ 2260 w 2260"/>
                  <a:gd name="T17" fmla="*/ 0 h 2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0" h="2262">
                    <a:moveTo>
                      <a:pt x="2260" y="0"/>
                    </a:moveTo>
                    <a:lnTo>
                      <a:pt x="1612" y="649"/>
                    </a:lnTo>
                    <a:lnTo>
                      <a:pt x="1612" y="649"/>
                    </a:lnTo>
                    <a:lnTo>
                      <a:pt x="2035" y="0"/>
                    </a:lnTo>
                    <a:lnTo>
                      <a:pt x="0" y="0"/>
                    </a:lnTo>
                    <a:lnTo>
                      <a:pt x="0" y="2262"/>
                    </a:lnTo>
                    <a:lnTo>
                      <a:pt x="2260" y="2262"/>
                    </a:lnTo>
                    <a:lnTo>
                      <a:pt x="2260" y="0"/>
                    </a:lnTo>
                    <a:lnTo>
                      <a:pt x="2260" y="0"/>
                    </a:lnTo>
                    <a:close/>
                  </a:path>
                </a:pathLst>
              </a:custGeom>
              <a:solidFill>
                <a:srgbClr val="E55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0" dirty="0"/>
              </a:p>
            </p:txBody>
          </p:sp>
          <p:sp>
            <p:nvSpPr>
              <p:cNvPr id="21" name="Freeform 6">
                <a:extLst>
                  <a:ext uri="{FF2B5EF4-FFF2-40B4-BE49-F238E27FC236}">
                    <a16:creationId xmlns:a16="http://schemas.microsoft.com/office/drawing/2014/main" id="{B16BAAE4-1A41-C843-9754-490F7A1E1270}"/>
                  </a:ext>
                </a:extLst>
              </p:cNvPr>
              <p:cNvSpPr>
                <a:spLocks noEditPoints="1"/>
              </p:cNvSpPr>
              <p:nvPr/>
            </p:nvSpPr>
            <p:spPr bwMode="gray">
              <a:xfrm>
                <a:off x="3623" y="1696"/>
                <a:ext cx="1167" cy="922"/>
              </a:xfrm>
              <a:custGeom>
                <a:avLst/>
                <a:gdLst>
                  <a:gd name="T0" fmla="*/ 411 w 580"/>
                  <a:gd name="T1" fmla="*/ 213 h 458"/>
                  <a:gd name="T2" fmla="*/ 570 w 580"/>
                  <a:gd name="T3" fmla="*/ 37 h 458"/>
                  <a:gd name="T4" fmla="*/ 580 w 580"/>
                  <a:gd name="T5" fmla="*/ 20 h 458"/>
                  <a:gd name="T6" fmla="*/ 545 w 580"/>
                  <a:gd name="T7" fmla="*/ 0 h 458"/>
                  <a:gd name="T8" fmla="*/ 519 w 580"/>
                  <a:gd name="T9" fmla="*/ 16 h 458"/>
                  <a:gd name="T10" fmla="*/ 344 w 580"/>
                  <a:gd name="T11" fmla="*/ 210 h 458"/>
                  <a:gd name="T12" fmla="*/ 334 w 580"/>
                  <a:gd name="T13" fmla="*/ 229 h 458"/>
                  <a:gd name="T14" fmla="*/ 344 w 580"/>
                  <a:gd name="T15" fmla="*/ 248 h 458"/>
                  <a:gd name="T16" fmla="*/ 519 w 580"/>
                  <a:gd name="T17" fmla="*/ 442 h 458"/>
                  <a:gd name="T18" fmla="*/ 545 w 580"/>
                  <a:gd name="T19" fmla="*/ 458 h 458"/>
                  <a:gd name="T20" fmla="*/ 580 w 580"/>
                  <a:gd name="T21" fmla="*/ 438 h 458"/>
                  <a:gd name="T22" fmla="*/ 570 w 580"/>
                  <a:gd name="T23" fmla="*/ 421 h 458"/>
                  <a:gd name="T24" fmla="*/ 411 w 580"/>
                  <a:gd name="T25" fmla="*/ 245 h 458"/>
                  <a:gd name="T26" fmla="*/ 399 w 580"/>
                  <a:gd name="T27" fmla="*/ 229 h 458"/>
                  <a:gd name="T28" fmla="*/ 411 w 580"/>
                  <a:gd name="T29" fmla="*/ 213 h 458"/>
                  <a:gd name="T30" fmla="*/ 252 w 580"/>
                  <a:gd name="T31" fmla="*/ 439 h 458"/>
                  <a:gd name="T32" fmla="*/ 281 w 580"/>
                  <a:gd name="T33" fmla="*/ 454 h 458"/>
                  <a:gd name="T34" fmla="*/ 309 w 580"/>
                  <a:gd name="T35" fmla="*/ 439 h 458"/>
                  <a:gd name="T36" fmla="*/ 309 w 580"/>
                  <a:gd name="T37" fmla="*/ 19 h 458"/>
                  <a:gd name="T38" fmla="*/ 281 w 580"/>
                  <a:gd name="T39" fmla="*/ 4 h 458"/>
                  <a:gd name="T40" fmla="*/ 252 w 580"/>
                  <a:gd name="T41" fmla="*/ 19 h 458"/>
                  <a:gd name="T42" fmla="*/ 252 w 580"/>
                  <a:gd name="T43" fmla="*/ 439 h 458"/>
                  <a:gd name="T44" fmla="*/ 0 w 580"/>
                  <a:gd name="T45" fmla="*/ 439 h 458"/>
                  <a:gd name="T46" fmla="*/ 28 w 580"/>
                  <a:gd name="T47" fmla="*/ 454 h 458"/>
                  <a:gd name="T48" fmla="*/ 56 w 580"/>
                  <a:gd name="T49" fmla="*/ 439 h 458"/>
                  <a:gd name="T50" fmla="*/ 56 w 580"/>
                  <a:gd name="T51" fmla="*/ 157 h 458"/>
                  <a:gd name="T52" fmla="*/ 165 w 580"/>
                  <a:gd name="T53" fmla="*/ 53 h 458"/>
                  <a:gd name="T54" fmla="*/ 180 w 580"/>
                  <a:gd name="T55" fmla="*/ 53 h 458"/>
                  <a:gd name="T56" fmla="*/ 196 w 580"/>
                  <a:gd name="T57" fmla="*/ 27 h 458"/>
                  <a:gd name="T58" fmla="*/ 154 w 580"/>
                  <a:gd name="T59" fmla="*/ 4 h 458"/>
                  <a:gd name="T60" fmla="*/ 0 w 580"/>
                  <a:gd name="T61" fmla="*/ 152 h 458"/>
                  <a:gd name="T62" fmla="*/ 0 w 580"/>
                  <a:gd name="T63" fmla="*/ 439 h 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80" h="458">
                    <a:moveTo>
                      <a:pt x="411" y="213"/>
                    </a:moveTo>
                    <a:cubicBezTo>
                      <a:pt x="570" y="37"/>
                      <a:pt x="570" y="37"/>
                      <a:pt x="570" y="37"/>
                    </a:cubicBezTo>
                    <a:cubicBezTo>
                      <a:pt x="576" y="30"/>
                      <a:pt x="580" y="25"/>
                      <a:pt x="580" y="20"/>
                    </a:cubicBezTo>
                    <a:cubicBezTo>
                      <a:pt x="580" y="10"/>
                      <a:pt x="559" y="0"/>
                      <a:pt x="545" y="0"/>
                    </a:cubicBezTo>
                    <a:cubicBezTo>
                      <a:pt x="535" y="0"/>
                      <a:pt x="526" y="8"/>
                      <a:pt x="519" y="16"/>
                    </a:cubicBezTo>
                    <a:cubicBezTo>
                      <a:pt x="344" y="210"/>
                      <a:pt x="344" y="210"/>
                      <a:pt x="344" y="210"/>
                    </a:cubicBezTo>
                    <a:cubicBezTo>
                      <a:pt x="336" y="219"/>
                      <a:pt x="334" y="224"/>
                      <a:pt x="334" y="229"/>
                    </a:cubicBezTo>
                    <a:cubicBezTo>
                      <a:pt x="334" y="234"/>
                      <a:pt x="336" y="239"/>
                      <a:pt x="344" y="248"/>
                    </a:cubicBezTo>
                    <a:cubicBezTo>
                      <a:pt x="519" y="442"/>
                      <a:pt x="519" y="442"/>
                      <a:pt x="519" y="442"/>
                    </a:cubicBezTo>
                    <a:cubicBezTo>
                      <a:pt x="526" y="450"/>
                      <a:pt x="535" y="458"/>
                      <a:pt x="545" y="458"/>
                    </a:cubicBezTo>
                    <a:cubicBezTo>
                      <a:pt x="559" y="458"/>
                      <a:pt x="580" y="448"/>
                      <a:pt x="580" y="438"/>
                    </a:cubicBezTo>
                    <a:cubicBezTo>
                      <a:pt x="580" y="433"/>
                      <a:pt x="576" y="428"/>
                      <a:pt x="570" y="421"/>
                    </a:cubicBezTo>
                    <a:cubicBezTo>
                      <a:pt x="411" y="245"/>
                      <a:pt x="411" y="245"/>
                      <a:pt x="411" y="245"/>
                    </a:cubicBezTo>
                    <a:cubicBezTo>
                      <a:pt x="403" y="236"/>
                      <a:pt x="399" y="232"/>
                      <a:pt x="399" y="229"/>
                    </a:cubicBezTo>
                    <a:cubicBezTo>
                      <a:pt x="399" y="226"/>
                      <a:pt x="403" y="222"/>
                      <a:pt x="411" y="213"/>
                    </a:cubicBezTo>
                    <a:moveTo>
                      <a:pt x="252" y="439"/>
                    </a:moveTo>
                    <a:cubicBezTo>
                      <a:pt x="252" y="449"/>
                      <a:pt x="261" y="454"/>
                      <a:pt x="281" y="454"/>
                    </a:cubicBezTo>
                    <a:cubicBezTo>
                      <a:pt x="300" y="454"/>
                      <a:pt x="309" y="449"/>
                      <a:pt x="309" y="439"/>
                    </a:cubicBezTo>
                    <a:cubicBezTo>
                      <a:pt x="309" y="19"/>
                      <a:pt x="309" y="19"/>
                      <a:pt x="309" y="19"/>
                    </a:cubicBezTo>
                    <a:cubicBezTo>
                      <a:pt x="309" y="9"/>
                      <a:pt x="300" y="4"/>
                      <a:pt x="281" y="4"/>
                    </a:cubicBezTo>
                    <a:cubicBezTo>
                      <a:pt x="261" y="4"/>
                      <a:pt x="252" y="9"/>
                      <a:pt x="252" y="19"/>
                    </a:cubicBezTo>
                    <a:lnTo>
                      <a:pt x="252" y="439"/>
                    </a:lnTo>
                    <a:close/>
                    <a:moveTo>
                      <a:pt x="0" y="439"/>
                    </a:moveTo>
                    <a:cubicBezTo>
                      <a:pt x="0" y="449"/>
                      <a:pt x="8" y="454"/>
                      <a:pt x="28" y="454"/>
                    </a:cubicBezTo>
                    <a:cubicBezTo>
                      <a:pt x="48" y="454"/>
                      <a:pt x="56" y="449"/>
                      <a:pt x="56" y="439"/>
                    </a:cubicBezTo>
                    <a:cubicBezTo>
                      <a:pt x="56" y="157"/>
                      <a:pt x="56" y="157"/>
                      <a:pt x="56" y="157"/>
                    </a:cubicBezTo>
                    <a:cubicBezTo>
                      <a:pt x="56" y="83"/>
                      <a:pt x="85" y="53"/>
                      <a:pt x="165" y="53"/>
                    </a:cubicBezTo>
                    <a:cubicBezTo>
                      <a:pt x="180" y="53"/>
                      <a:pt x="180" y="53"/>
                      <a:pt x="180" y="53"/>
                    </a:cubicBezTo>
                    <a:cubicBezTo>
                      <a:pt x="192" y="53"/>
                      <a:pt x="196" y="43"/>
                      <a:pt x="196" y="27"/>
                    </a:cubicBezTo>
                    <a:cubicBezTo>
                      <a:pt x="196" y="8"/>
                      <a:pt x="185" y="4"/>
                      <a:pt x="154" y="4"/>
                    </a:cubicBezTo>
                    <a:cubicBezTo>
                      <a:pt x="64" y="4"/>
                      <a:pt x="0" y="43"/>
                      <a:pt x="0" y="152"/>
                    </a:cubicBezTo>
                    <a:lnTo>
                      <a:pt x="0" y="43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0" dirty="0"/>
              </a:p>
            </p:txBody>
          </p:sp>
          <p:sp>
            <p:nvSpPr>
              <p:cNvPr id="22" name="Freeform 7">
                <a:extLst>
                  <a:ext uri="{FF2B5EF4-FFF2-40B4-BE49-F238E27FC236}">
                    <a16:creationId xmlns:a16="http://schemas.microsoft.com/office/drawing/2014/main" id="{2F32DCBD-8628-F245-85CD-97686A20ECFD}"/>
                  </a:ext>
                </a:extLst>
              </p:cNvPr>
              <p:cNvSpPr>
                <a:spLocks/>
              </p:cNvSpPr>
              <p:nvPr/>
            </p:nvSpPr>
            <p:spPr bwMode="gray">
              <a:xfrm>
                <a:off x="2880" y="1704"/>
                <a:ext cx="618" cy="916"/>
              </a:xfrm>
              <a:custGeom>
                <a:avLst/>
                <a:gdLst>
                  <a:gd name="T0" fmla="*/ 307 w 307"/>
                  <a:gd name="T1" fmla="*/ 405 h 455"/>
                  <a:gd name="T2" fmla="*/ 307 w 307"/>
                  <a:gd name="T3" fmla="*/ 244 h 455"/>
                  <a:gd name="T4" fmla="*/ 279 w 307"/>
                  <a:gd name="T5" fmla="*/ 229 h 455"/>
                  <a:gd name="T6" fmla="*/ 250 w 307"/>
                  <a:gd name="T7" fmla="*/ 244 h 455"/>
                  <a:gd name="T8" fmla="*/ 250 w 307"/>
                  <a:gd name="T9" fmla="*/ 378 h 455"/>
                  <a:gd name="T10" fmla="*/ 199 w 307"/>
                  <a:gd name="T11" fmla="*/ 408 h 455"/>
                  <a:gd name="T12" fmla="*/ 61 w 307"/>
                  <a:gd name="T13" fmla="*/ 231 h 455"/>
                  <a:gd name="T14" fmla="*/ 238 w 307"/>
                  <a:gd name="T15" fmla="*/ 49 h 455"/>
                  <a:gd name="T16" fmla="*/ 270 w 307"/>
                  <a:gd name="T17" fmla="*/ 49 h 455"/>
                  <a:gd name="T18" fmla="*/ 286 w 307"/>
                  <a:gd name="T19" fmla="*/ 23 h 455"/>
                  <a:gd name="T20" fmla="*/ 244 w 307"/>
                  <a:gd name="T21" fmla="*/ 0 h 455"/>
                  <a:gd name="T22" fmla="*/ 231 w 307"/>
                  <a:gd name="T23" fmla="*/ 0 h 455"/>
                  <a:gd name="T24" fmla="*/ 0 w 307"/>
                  <a:gd name="T25" fmla="*/ 232 h 455"/>
                  <a:gd name="T26" fmla="*/ 198 w 307"/>
                  <a:gd name="T27" fmla="*/ 455 h 455"/>
                  <a:gd name="T28" fmla="*/ 307 w 307"/>
                  <a:gd name="T29" fmla="*/ 405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7" h="455">
                    <a:moveTo>
                      <a:pt x="307" y="405"/>
                    </a:moveTo>
                    <a:cubicBezTo>
                      <a:pt x="307" y="244"/>
                      <a:pt x="307" y="244"/>
                      <a:pt x="307" y="244"/>
                    </a:cubicBezTo>
                    <a:cubicBezTo>
                      <a:pt x="307" y="234"/>
                      <a:pt x="298" y="229"/>
                      <a:pt x="279" y="229"/>
                    </a:cubicBezTo>
                    <a:cubicBezTo>
                      <a:pt x="259" y="229"/>
                      <a:pt x="250" y="234"/>
                      <a:pt x="250" y="244"/>
                    </a:cubicBezTo>
                    <a:cubicBezTo>
                      <a:pt x="250" y="378"/>
                      <a:pt x="250" y="378"/>
                      <a:pt x="250" y="378"/>
                    </a:cubicBezTo>
                    <a:cubicBezTo>
                      <a:pt x="250" y="399"/>
                      <a:pt x="241" y="408"/>
                      <a:pt x="199" y="408"/>
                    </a:cubicBezTo>
                    <a:cubicBezTo>
                      <a:pt x="114" y="408"/>
                      <a:pt x="61" y="342"/>
                      <a:pt x="61" y="231"/>
                    </a:cubicBezTo>
                    <a:cubicBezTo>
                      <a:pt x="61" y="115"/>
                      <a:pt x="126" y="49"/>
                      <a:pt x="238" y="49"/>
                    </a:cubicBezTo>
                    <a:cubicBezTo>
                      <a:pt x="270" y="49"/>
                      <a:pt x="270" y="49"/>
                      <a:pt x="270" y="49"/>
                    </a:cubicBezTo>
                    <a:cubicBezTo>
                      <a:pt x="282" y="49"/>
                      <a:pt x="286" y="39"/>
                      <a:pt x="286" y="23"/>
                    </a:cubicBezTo>
                    <a:cubicBezTo>
                      <a:pt x="286" y="4"/>
                      <a:pt x="275" y="0"/>
                      <a:pt x="244" y="0"/>
                    </a:cubicBezTo>
                    <a:cubicBezTo>
                      <a:pt x="231" y="0"/>
                      <a:pt x="231" y="0"/>
                      <a:pt x="231" y="0"/>
                    </a:cubicBezTo>
                    <a:cubicBezTo>
                      <a:pt x="101" y="0"/>
                      <a:pt x="0" y="71"/>
                      <a:pt x="0" y="232"/>
                    </a:cubicBezTo>
                    <a:cubicBezTo>
                      <a:pt x="0" y="386"/>
                      <a:pt x="88" y="455"/>
                      <a:pt x="198" y="455"/>
                    </a:cubicBezTo>
                    <a:cubicBezTo>
                      <a:pt x="286" y="455"/>
                      <a:pt x="307" y="430"/>
                      <a:pt x="307" y="40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0" dirty="0"/>
              </a:p>
            </p:txBody>
          </p:sp>
          <p:sp>
            <p:nvSpPr>
              <p:cNvPr id="23" name="Oval 8">
                <a:extLst>
                  <a:ext uri="{FF2B5EF4-FFF2-40B4-BE49-F238E27FC236}">
                    <a16:creationId xmlns:a16="http://schemas.microsoft.com/office/drawing/2014/main" id="{60D97C11-1A3B-5449-A48D-98A3E79B3810}"/>
                  </a:ext>
                </a:extLst>
              </p:cNvPr>
              <p:cNvSpPr>
                <a:spLocks noChangeArrowheads="1"/>
              </p:cNvSpPr>
              <p:nvPr/>
            </p:nvSpPr>
            <p:spPr bwMode="gray">
              <a:xfrm>
                <a:off x="3778" y="2099"/>
                <a:ext cx="122" cy="12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0" dirty="0"/>
              </a:p>
            </p:txBody>
          </p:sp>
          <p:sp>
            <p:nvSpPr>
              <p:cNvPr id="24" name="Freeform 9">
                <a:extLst>
                  <a:ext uri="{FF2B5EF4-FFF2-40B4-BE49-F238E27FC236}">
                    <a16:creationId xmlns:a16="http://schemas.microsoft.com/office/drawing/2014/main" id="{5856770D-B8F0-244E-A05D-AED190086F10}"/>
                  </a:ext>
                </a:extLst>
              </p:cNvPr>
              <p:cNvSpPr>
                <a:spLocks noEditPoints="1"/>
              </p:cNvSpPr>
              <p:nvPr/>
            </p:nvSpPr>
            <p:spPr bwMode="gray">
              <a:xfrm>
                <a:off x="3623" y="1696"/>
                <a:ext cx="1167" cy="922"/>
              </a:xfrm>
              <a:custGeom>
                <a:avLst/>
                <a:gdLst>
                  <a:gd name="T0" fmla="*/ 411 w 580"/>
                  <a:gd name="T1" fmla="*/ 213 h 458"/>
                  <a:gd name="T2" fmla="*/ 570 w 580"/>
                  <a:gd name="T3" fmla="*/ 37 h 458"/>
                  <a:gd name="T4" fmla="*/ 580 w 580"/>
                  <a:gd name="T5" fmla="*/ 20 h 458"/>
                  <a:gd name="T6" fmla="*/ 545 w 580"/>
                  <a:gd name="T7" fmla="*/ 0 h 458"/>
                  <a:gd name="T8" fmla="*/ 519 w 580"/>
                  <a:gd name="T9" fmla="*/ 16 h 458"/>
                  <a:gd name="T10" fmla="*/ 344 w 580"/>
                  <a:gd name="T11" fmla="*/ 210 h 458"/>
                  <a:gd name="T12" fmla="*/ 334 w 580"/>
                  <a:gd name="T13" fmla="*/ 229 h 458"/>
                  <a:gd name="T14" fmla="*/ 344 w 580"/>
                  <a:gd name="T15" fmla="*/ 248 h 458"/>
                  <a:gd name="T16" fmla="*/ 519 w 580"/>
                  <a:gd name="T17" fmla="*/ 442 h 458"/>
                  <a:gd name="T18" fmla="*/ 545 w 580"/>
                  <a:gd name="T19" fmla="*/ 458 h 458"/>
                  <a:gd name="T20" fmla="*/ 580 w 580"/>
                  <a:gd name="T21" fmla="*/ 438 h 458"/>
                  <a:gd name="T22" fmla="*/ 570 w 580"/>
                  <a:gd name="T23" fmla="*/ 421 h 458"/>
                  <a:gd name="T24" fmla="*/ 411 w 580"/>
                  <a:gd name="T25" fmla="*/ 245 h 458"/>
                  <a:gd name="T26" fmla="*/ 399 w 580"/>
                  <a:gd name="T27" fmla="*/ 229 h 458"/>
                  <a:gd name="T28" fmla="*/ 411 w 580"/>
                  <a:gd name="T29" fmla="*/ 213 h 458"/>
                  <a:gd name="T30" fmla="*/ 252 w 580"/>
                  <a:gd name="T31" fmla="*/ 439 h 458"/>
                  <a:gd name="T32" fmla="*/ 281 w 580"/>
                  <a:gd name="T33" fmla="*/ 454 h 458"/>
                  <a:gd name="T34" fmla="*/ 309 w 580"/>
                  <a:gd name="T35" fmla="*/ 439 h 458"/>
                  <a:gd name="T36" fmla="*/ 309 w 580"/>
                  <a:gd name="T37" fmla="*/ 19 h 458"/>
                  <a:gd name="T38" fmla="*/ 281 w 580"/>
                  <a:gd name="T39" fmla="*/ 4 h 458"/>
                  <a:gd name="T40" fmla="*/ 252 w 580"/>
                  <a:gd name="T41" fmla="*/ 19 h 458"/>
                  <a:gd name="T42" fmla="*/ 252 w 580"/>
                  <a:gd name="T43" fmla="*/ 439 h 458"/>
                  <a:gd name="T44" fmla="*/ 0 w 580"/>
                  <a:gd name="T45" fmla="*/ 439 h 458"/>
                  <a:gd name="T46" fmla="*/ 28 w 580"/>
                  <a:gd name="T47" fmla="*/ 454 h 458"/>
                  <a:gd name="T48" fmla="*/ 56 w 580"/>
                  <a:gd name="T49" fmla="*/ 439 h 458"/>
                  <a:gd name="T50" fmla="*/ 56 w 580"/>
                  <a:gd name="T51" fmla="*/ 157 h 458"/>
                  <a:gd name="T52" fmla="*/ 165 w 580"/>
                  <a:gd name="T53" fmla="*/ 53 h 458"/>
                  <a:gd name="T54" fmla="*/ 180 w 580"/>
                  <a:gd name="T55" fmla="*/ 53 h 458"/>
                  <a:gd name="T56" fmla="*/ 196 w 580"/>
                  <a:gd name="T57" fmla="*/ 27 h 458"/>
                  <a:gd name="T58" fmla="*/ 154 w 580"/>
                  <a:gd name="T59" fmla="*/ 4 h 458"/>
                  <a:gd name="T60" fmla="*/ 0 w 580"/>
                  <a:gd name="T61" fmla="*/ 152 h 458"/>
                  <a:gd name="T62" fmla="*/ 0 w 580"/>
                  <a:gd name="T63" fmla="*/ 439 h 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80" h="458">
                    <a:moveTo>
                      <a:pt x="411" y="213"/>
                    </a:moveTo>
                    <a:cubicBezTo>
                      <a:pt x="570" y="37"/>
                      <a:pt x="570" y="37"/>
                      <a:pt x="570" y="37"/>
                    </a:cubicBezTo>
                    <a:cubicBezTo>
                      <a:pt x="576" y="30"/>
                      <a:pt x="580" y="25"/>
                      <a:pt x="580" y="20"/>
                    </a:cubicBezTo>
                    <a:cubicBezTo>
                      <a:pt x="580" y="10"/>
                      <a:pt x="559" y="0"/>
                      <a:pt x="545" y="0"/>
                    </a:cubicBezTo>
                    <a:cubicBezTo>
                      <a:pt x="535" y="0"/>
                      <a:pt x="526" y="8"/>
                      <a:pt x="519" y="16"/>
                    </a:cubicBezTo>
                    <a:cubicBezTo>
                      <a:pt x="344" y="210"/>
                      <a:pt x="344" y="210"/>
                      <a:pt x="344" y="210"/>
                    </a:cubicBezTo>
                    <a:cubicBezTo>
                      <a:pt x="336" y="219"/>
                      <a:pt x="334" y="224"/>
                      <a:pt x="334" y="229"/>
                    </a:cubicBezTo>
                    <a:cubicBezTo>
                      <a:pt x="334" y="234"/>
                      <a:pt x="336" y="239"/>
                      <a:pt x="344" y="248"/>
                    </a:cubicBezTo>
                    <a:cubicBezTo>
                      <a:pt x="519" y="442"/>
                      <a:pt x="519" y="442"/>
                      <a:pt x="519" y="442"/>
                    </a:cubicBezTo>
                    <a:cubicBezTo>
                      <a:pt x="526" y="450"/>
                      <a:pt x="535" y="458"/>
                      <a:pt x="545" y="458"/>
                    </a:cubicBezTo>
                    <a:cubicBezTo>
                      <a:pt x="559" y="458"/>
                      <a:pt x="580" y="448"/>
                      <a:pt x="580" y="438"/>
                    </a:cubicBezTo>
                    <a:cubicBezTo>
                      <a:pt x="580" y="433"/>
                      <a:pt x="576" y="428"/>
                      <a:pt x="570" y="421"/>
                    </a:cubicBezTo>
                    <a:cubicBezTo>
                      <a:pt x="411" y="245"/>
                      <a:pt x="411" y="245"/>
                      <a:pt x="411" y="245"/>
                    </a:cubicBezTo>
                    <a:cubicBezTo>
                      <a:pt x="403" y="236"/>
                      <a:pt x="399" y="232"/>
                      <a:pt x="399" y="229"/>
                    </a:cubicBezTo>
                    <a:cubicBezTo>
                      <a:pt x="399" y="226"/>
                      <a:pt x="403" y="222"/>
                      <a:pt x="411" y="213"/>
                    </a:cubicBezTo>
                    <a:moveTo>
                      <a:pt x="252" y="439"/>
                    </a:moveTo>
                    <a:cubicBezTo>
                      <a:pt x="252" y="449"/>
                      <a:pt x="261" y="454"/>
                      <a:pt x="281" y="454"/>
                    </a:cubicBezTo>
                    <a:cubicBezTo>
                      <a:pt x="300" y="454"/>
                      <a:pt x="309" y="449"/>
                      <a:pt x="309" y="439"/>
                    </a:cubicBezTo>
                    <a:cubicBezTo>
                      <a:pt x="309" y="19"/>
                      <a:pt x="309" y="19"/>
                      <a:pt x="309" y="19"/>
                    </a:cubicBezTo>
                    <a:cubicBezTo>
                      <a:pt x="309" y="9"/>
                      <a:pt x="300" y="4"/>
                      <a:pt x="281" y="4"/>
                    </a:cubicBezTo>
                    <a:cubicBezTo>
                      <a:pt x="261" y="4"/>
                      <a:pt x="252" y="9"/>
                      <a:pt x="252" y="19"/>
                    </a:cubicBezTo>
                    <a:lnTo>
                      <a:pt x="252" y="439"/>
                    </a:lnTo>
                    <a:close/>
                    <a:moveTo>
                      <a:pt x="0" y="439"/>
                    </a:moveTo>
                    <a:cubicBezTo>
                      <a:pt x="0" y="449"/>
                      <a:pt x="8" y="454"/>
                      <a:pt x="28" y="454"/>
                    </a:cubicBezTo>
                    <a:cubicBezTo>
                      <a:pt x="48" y="454"/>
                      <a:pt x="56" y="449"/>
                      <a:pt x="56" y="439"/>
                    </a:cubicBezTo>
                    <a:cubicBezTo>
                      <a:pt x="56" y="157"/>
                      <a:pt x="56" y="157"/>
                      <a:pt x="56" y="157"/>
                    </a:cubicBezTo>
                    <a:cubicBezTo>
                      <a:pt x="56" y="83"/>
                      <a:pt x="85" y="53"/>
                      <a:pt x="165" y="53"/>
                    </a:cubicBezTo>
                    <a:cubicBezTo>
                      <a:pt x="180" y="53"/>
                      <a:pt x="180" y="53"/>
                      <a:pt x="180" y="53"/>
                    </a:cubicBezTo>
                    <a:cubicBezTo>
                      <a:pt x="192" y="53"/>
                      <a:pt x="196" y="43"/>
                      <a:pt x="196" y="27"/>
                    </a:cubicBezTo>
                    <a:cubicBezTo>
                      <a:pt x="196" y="8"/>
                      <a:pt x="185" y="4"/>
                      <a:pt x="154" y="4"/>
                    </a:cubicBezTo>
                    <a:cubicBezTo>
                      <a:pt x="64" y="4"/>
                      <a:pt x="0" y="43"/>
                      <a:pt x="0" y="152"/>
                    </a:cubicBezTo>
                    <a:lnTo>
                      <a:pt x="0" y="43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0" dirty="0"/>
              </a:p>
            </p:txBody>
          </p:sp>
          <p:sp>
            <p:nvSpPr>
              <p:cNvPr id="25" name="Freeform 10">
                <a:extLst>
                  <a:ext uri="{FF2B5EF4-FFF2-40B4-BE49-F238E27FC236}">
                    <a16:creationId xmlns:a16="http://schemas.microsoft.com/office/drawing/2014/main" id="{2B91B16B-BC11-E547-8FAC-B9B8D18EA449}"/>
                  </a:ext>
                </a:extLst>
              </p:cNvPr>
              <p:cNvSpPr>
                <a:spLocks/>
              </p:cNvSpPr>
              <p:nvPr/>
            </p:nvSpPr>
            <p:spPr bwMode="gray">
              <a:xfrm>
                <a:off x="2880" y="1704"/>
                <a:ext cx="618" cy="916"/>
              </a:xfrm>
              <a:custGeom>
                <a:avLst/>
                <a:gdLst>
                  <a:gd name="T0" fmla="*/ 307 w 307"/>
                  <a:gd name="T1" fmla="*/ 405 h 455"/>
                  <a:gd name="T2" fmla="*/ 307 w 307"/>
                  <a:gd name="T3" fmla="*/ 244 h 455"/>
                  <a:gd name="T4" fmla="*/ 279 w 307"/>
                  <a:gd name="T5" fmla="*/ 229 h 455"/>
                  <a:gd name="T6" fmla="*/ 250 w 307"/>
                  <a:gd name="T7" fmla="*/ 244 h 455"/>
                  <a:gd name="T8" fmla="*/ 250 w 307"/>
                  <a:gd name="T9" fmla="*/ 378 h 455"/>
                  <a:gd name="T10" fmla="*/ 199 w 307"/>
                  <a:gd name="T11" fmla="*/ 408 h 455"/>
                  <a:gd name="T12" fmla="*/ 61 w 307"/>
                  <a:gd name="T13" fmla="*/ 231 h 455"/>
                  <a:gd name="T14" fmla="*/ 238 w 307"/>
                  <a:gd name="T15" fmla="*/ 49 h 455"/>
                  <a:gd name="T16" fmla="*/ 270 w 307"/>
                  <a:gd name="T17" fmla="*/ 49 h 455"/>
                  <a:gd name="T18" fmla="*/ 286 w 307"/>
                  <a:gd name="T19" fmla="*/ 23 h 455"/>
                  <a:gd name="T20" fmla="*/ 244 w 307"/>
                  <a:gd name="T21" fmla="*/ 0 h 455"/>
                  <a:gd name="T22" fmla="*/ 231 w 307"/>
                  <a:gd name="T23" fmla="*/ 0 h 455"/>
                  <a:gd name="T24" fmla="*/ 0 w 307"/>
                  <a:gd name="T25" fmla="*/ 232 h 455"/>
                  <a:gd name="T26" fmla="*/ 198 w 307"/>
                  <a:gd name="T27" fmla="*/ 455 h 455"/>
                  <a:gd name="T28" fmla="*/ 307 w 307"/>
                  <a:gd name="T29" fmla="*/ 405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7" h="455">
                    <a:moveTo>
                      <a:pt x="307" y="405"/>
                    </a:moveTo>
                    <a:cubicBezTo>
                      <a:pt x="307" y="244"/>
                      <a:pt x="307" y="244"/>
                      <a:pt x="307" y="244"/>
                    </a:cubicBezTo>
                    <a:cubicBezTo>
                      <a:pt x="307" y="234"/>
                      <a:pt x="298" y="229"/>
                      <a:pt x="279" y="229"/>
                    </a:cubicBezTo>
                    <a:cubicBezTo>
                      <a:pt x="259" y="229"/>
                      <a:pt x="250" y="234"/>
                      <a:pt x="250" y="244"/>
                    </a:cubicBezTo>
                    <a:cubicBezTo>
                      <a:pt x="250" y="378"/>
                      <a:pt x="250" y="378"/>
                      <a:pt x="250" y="378"/>
                    </a:cubicBezTo>
                    <a:cubicBezTo>
                      <a:pt x="250" y="399"/>
                      <a:pt x="241" y="408"/>
                      <a:pt x="199" y="408"/>
                    </a:cubicBezTo>
                    <a:cubicBezTo>
                      <a:pt x="114" y="408"/>
                      <a:pt x="61" y="342"/>
                      <a:pt x="61" y="231"/>
                    </a:cubicBezTo>
                    <a:cubicBezTo>
                      <a:pt x="61" y="115"/>
                      <a:pt x="126" y="49"/>
                      <a:pt x="238" y="49"/>
                    </a:cubicBezTo>
                    <a:cubicBezTo>
                      <a:pt x="270" y="49"/>
                      <a:pt x="270" y="49"/>
                      <a:pt x="270" y="49"/>
                    </a:cubicBezTo>
                    <a:cubicBezTo>
                      <a:pt x="282" y="49"/>
                      <a:pt x="286" y="39"/>
                      <a:pt x="286" y="23"/>
                    </a:cubicBezTo>
                    <a:cubicBezTo>
                      <a:pt x="286" y="4"/>
                      <a:pt x="275" y="0"/>
                      <a:pt x="244" y="0"/>
                    </a:cubicBezTo>
                    <a:cubicBezTo>
                      <a:pt x="231" y="0"/>
                      <a:pt x="231" y="0"/>
                      <a:pt x="231" y="0"/>
                    </a:cubicBezTo>
                    <a:cubicBezTo>
                      <a:pt x="101" y="0"/>
                      <a:pt x="0" y="71"/>
                      <a:pt x="0" y="232"/>
                    </a:cubicBezTo>
                    <a:cubicBezTo>
                      <a:pt x="0" y="386"/>
                      <a:pt x="88" y="455"/>
                      <a:pt x="198" y="455"/>
                    </a:cubicBezTo>
                    <a:cubicBezTo>
                      <a:pt x="286" y="455"/>
                      <a:pt x="307" y="430"/>
                      <a:pt x="307" y="40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0" dirty="0"/>
              </a:p>
            </p:txBody>
          </p:sp>
          <p:sp>
            <p:nvSpPr>
              <p:cNvPr id="26" name="Oval 11">
                <a:extLst>
                  <a:ext uri="{FF2B5EF4-FFF2-40B4-BE49-F238E27FC236}">
                    <a16:creationId xmlns:a16="http://schemas.microsoft.com/office/drawing/2014/main" id="{14F8C3C8-4888-7646-B9B4-64EB46A1DA23}"/>
                  </a:ext>
                </a:extLst>
              </p:cNvPr>
              <p:cNvSpPr>
                <a:spLocks noChangeArrowheads="1"/>
              </p:cNvSpPr>
              <p:nvPr/>
            </p:nvSpPr>
            <p:spPr bwMode="gray">
              <a:xfrm>
                <a:off x="3778" y="2099"/>
                <a:ext cx="122" cy="12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0" dirty="0"/>
              </a:p>
            </p:txBody>
          </p:sp>
          <p:sp>
            <p:nvSpPr>
              <p:cNvPr id="27" name="Freeform 12">
                <a:extLst>
                  <a:ext uri="{FF2B5EF4-FFF2-40B4-BE49-F238E27FC236}">
                    <a16:creationId xmlns:a16="http://schemas.microsoft.com/office/drawing/2014/main" id="{D79D01D1-4E3E-F34B-97D7-2D387E68746E}"/>
                  </a:ext>
                </a:extLst>
              </p:cNvPr>
              <p:cNvSpPr>
                <a:spLocks/>
              </p:cNvSpPr>
              <p:nvPr/>
            </p:nvSpPr>
            <p:spPr bwMode="gray">
              <a:xfrm>
                <a:off x="4321" y="1029"/>
                <a:ext cx="648" cy="649"/>
              </a:xfrm>
              <a:custGeom>
                <a:avLst/>
                <a:gdLst>
                  <a:gd name="T0" fmla="*/ 0 w 648"/>
                  <a:gd name="T1" fmla="*/ 649 h 649"/>
                  <a:gd name="T2" fmla="*/ 2 w 648"/>
                  <a:gd name="T3" fmla="*/ 649 h 649"/>
                  <a:gd name="T4" fmla="*/ 648 w 648"/>
                  <a:gd name="T5" fmla="*/ 0 h 649"/>
                  <a:gd name="T6" fmla="*/ 423 w 648"/>
                  <a:gd name="T7" fmla="*/ 0 h 649"/>
                  <a:gd name="T8" fmla="*/ 0 w 648"/>
                  <a:gd name="T9" fmla="*/ 649 h 649"/>
                </a:gdLst>
                <a:ahLst/>
                <a:cxnLst>
                  <a:cxn ang="0">
                    <a:pos x="T0" y="T1"/>
                  </a:cxn>
                  <a:cxn ang="0">
                    <a:pos x="T2" y="T3"/>
                  </a:cxn>
                  <a:cxn ang="0">
                    <a:pos x="T4" y="T5"/>
                  </a:cxn>
                  <a:cxn ang="0">
                    <a:pos x="T6" y="T7"/>
                  </a:cxn>
                  <a:cxn ang="0">
                    <a:pos x="T8" y="T9"/>
                  </a:cxn>
                </a:cxnLst>
                <a:rect l="0" t="0" r="r" b="b"/>
                <a:pathLst>
                  <a:path w="648" h="649">
                    <a:moveTo>
                      <a:pt x="0" y="649"/>
                    </a:moveTo>
                    <a:lnTo>
                      <a:pt x="2" y="649"/>
                    </a:lnTo>
                    <a:lnTo>
                      <a:pt x="648" y="0"/>
                    </a:lnTo>
                    <a:lnTo>
                      <a:pt x="423" y="0"/>
                    </a:lnTo>
                    <a:lnTo>
                      <a:pt x="0" y="64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0" dirty="0"/>
              </a:p>
            </p:txBody>
          </p:sp>
          <p:sp>
            <p:nvSpPr>
              <p:cNvPr id="28" name="Freeform 13">
                <a:extLst>
                  <a:ext uri="{FF2B5EF4-FFF2-40B4-BE49-F238E27FC236}">
                    <a16:creationId xmlns:a16="http://schemas.microsoft.com/office/drawing/2014/main" id="{46549898-6C52-B147-A8F6-A73FDBE6163B}"/>
                  </a:ext>
                </a:extLst>
              </p:cNvPr>
              <p:cNvSpPr>
                <a:spLocks/>
              </p:cNvSpPr>
              <p:nvPr/>
            </p:nvSpPr>
            <p:spPr bwMode="gray">
              <a:xfrm>
                <a:off x="4321" y="1029"/>
                <a:ext cx="648" cy="649"/>
              </a:xfrm>
              <a:custGeom>
                <a:avLst/>
                <a:gdLst>
                  <a:gd name="T0" fmla="*/ 0 w 648"/>
                  <a:gd name="T1" fmla="*/ 649 h 649"/>
                  <a:gd name="T2" fmla="*/ 2 w 648"/>
                  <a:gd name="T3" fmla="*/ 649 h 649"/>
                  <a:gd name="T4" fmla="*/ 648 w 648"/>
                  <a:gd name="T5" fmla="*/ 0 h 649"/>
                  <a:gd name="T6" fmla="*/ 423 w 648"/>
                  <a:gd name="T7" fmla="*/ 0 h 649"/>
                  <a:gd name="T8" fmla="*/ 0 w 648"/>
                  <a:gd name="T9" fmla="*/ 649 h 649"/>
                </a:gdLst>
                <a:ahLst/>
                <a:cxnLst>
                  <a:cxn ang="0">
                    <a:pos x="T0" y="T1"/>
                  </a:cxn>
                  <a:cxn ang="0">
                    <a:pos x="T2" y="T3"/>
                  </a:cxn>
                  <a:cxn ang="0">
                    <a:pos x="T4" y="T5"/>
                  </a:cxn>
                  <a:cxn ang="0">
                    <a:pos x="T6" y="T7"/>
                  </a:cxn>
                  <a:cxn ang="0">
                    <a:pos x="T8" y="T9"/>
                  </a:cxn>
                </a:cxnLst>
                <a:rect l="0" t="0" r="r" b="b"/>
                <a:pathLst>
                  <a:path w="648" h="649">
                    <a:moveTo>
                      <a:pt x="0" y="649"/>
                    </a:moveTo>
                    <a:lnTo>
                      <a:pt x="2" y="649"/>
                    </a:lnTo>
                    <a:lnTo>
                      <a:pt x="648" y="0"/>
                    </a:lnTo>
                    <a:lnTo>
                      <a:pt x="423" y="0"/>
                    </a:lnTo>
                    <a:lnTo>
                      <a:pt x="0" y="64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0" dirty="0"/>
              </a:p>
            </p:txBody>
          </p:sp>
        </p:grpSp>
      </p:grpSp>
      <p:sp>
        <p:nvSpPr>
          <p:cNvPr id="7" name="Date Placeholder 6"/>
          <p:cNvSpPr>
            <a:spLocks noGrp="1"/>
          </p:cNvSpPr>
          <p:nvPr>
            <p:ph type="dt" sz="half" idx="10"/>
          </p:nvPr>
        </p:nvSpPr>
        <p:spPr>
          <a:xfrm>
            <a:off x="0" y="0"/>
            <a:ext cx="0" cy="0"/>
          </a:xfrm>
          <a:prstGeom prst="rect">
            <a:avLst/>
          </a:prstGeom>
        </p:spPr>
        <p:txBody>
          <a:bodyPr/>
          <a:lstStyle>
            <a:lvl1pPr>
              <a:defRPr sz="133">
                <a:noFill/>
              </a:defRPr>
            </a:lvl1pPr>
          </a:lstStyle>
          <a:p>
            <a:fld id="{7630F4D0-4FCA-495D-93CB-4308FDD6CACA}" type="datetime5">
              <a:rPr lang="en-US" smtClean="0"/>
              <a:t>26-Jun-20</a:t>
            </a:fld>
            <a:endParaRPr lang="en-US" dirty="0"/>
          </a:p>
        </p:txBody>
      </p:sp>
      <p:sp>
        <p:nvSpPr>
          <p:cNvPr id="8" name="Footer Placeholder 7"/>
          <p:cNvSpPr>
            <a:spLocks noGrp="1"/>
          </p:cNvSpPr>
          <p:nvPr>
            <p:ph type="ftr" sz="quarter" idx="11"/>
          </p:nvPr>
        </p:nvSpPr>
        <p:spPr>
          <a:xfrm>
            <a:off x="0" y="0"/>
            <a:ext cx="0" cy="0"/>
          </a:xfrm>
          <a:prstGeom prst="rect">
            <a:avLst/>
          </a:prstGeom>
        </p:spPr>
        <p:txBody>
          <a:bodyPr/>
          <a:lstStyle>
            <a:lvl1pPr marL="0" indent="0">
              <a:buNone/>
              <a:defRPr sz="133">
                <a:noFill/>
              </a:defRPr>
            </a:lvl1pPr>
          </a:lstStyle>
          <a:p>
            <a:r>
              <a:rPr lang="en-US"/>
              <a:t>Title of presentation (Insert / Header &amp; Footer / Apply to All)</a:t>
            </a:r>
            <a:endParaRPr lang="en-US" dirty="0"/>
          </a:p>
        </p:txBody>
      </p:sp>
      <p:sp>
        <p:nvSpPr>
          <p:cNvPr id="9" name="Slide Number Placeholder 8"/>
          <p:cNvSpPr>
            <a:spLocks noGrp="1"/>
          </p:cNvSpPr>
          <p:nvPr>
            <p:ph type="sldNum" sz="quarter" idx="12"/>
          </p:nvPr>
        </p:nvSpPr>
        <p:spPr>
          <a:xfrm>
            <a:off x="0" y="0"/>
            <a:ext cx="0" cy="0"/>
          </a:xfrm>
          <a:prstGeom prst="rect">
            <a:avLst/>
          </a:prstGeom>
        </p:spPr>
        <p:txBody>
          <a:bodyPr/>
          <a:lstStyle>
            <a:lvl1pPr>
              <a:defRPr sz="133">
                <a:noFill/>
              </a:defRPr>
            </a:lvl1pPr>
          </a:lstStyle>
          <a:p>
            <a:fld id="{8E3B25F7-8D1F-44B5-B485-EE3C438CFD7B}" type="slidenum">
              <a:rPr lang="en-US" smtClean="0"/>
              <a:pPr/>
              <a:t>‹#›</a:t>
            </a:fld>
            <a:endParaRPr lang="en-US"/>
          </a:p>
        </p:txBody>
      </p:sp>
      <p:sp>
        <p:nvSpPr>
          <p:cNvPr id="2" name="Title 1"/>
          <p:cNvSpPr>
            <a:spLocks noGrp="1"/>
          </p:cNvSpPr>
          <p:nvPr>
            <p:ph type="ctrTitle" hasCustomPrompt="1"/>
          </p:nvPr>
        </p:nvSpPr>
        <p:spPr>
          <a:xfrm>
            <a:off x="4524590" y="1628775"/>
            <a:ext cx="5707663" cy="2236264"/>
          </a:xfrm>
        </p:spPr>
        <p:txBody>
          <a:bodyPr anchor="b"/>
          <a:lstStyle>
            <a:lvl1pPr algn="l">
              <a:defRPr sz="3599" baseline="0"/>
            </a:lvl1pPr>
          </a:lstStyle>
          <a:p>
            <a:r>
              <a:rPr lang="en-US" dirty="0"/>
              <a:t>Click to add a longer presentation title</a:t>
            </a:r>
          </a:p>
        </p:txBody>
      </p:sp>
      <p:sp>
        <p:nvSpPr>
          <p:cNvPr id="3" name="Subtitle 2"/>
          <p:cNvSpPr>
            <a:spLocks noGrp="1"/>
          </p:cNvSpPr>
          <p:nvPr>
            <p:ph type="subTitle" idx="1" hasCustomPrompt="1"/>
          </p:nvPr>
        </p:nvSpPr>
        <p:spPr>
          <a:xfrm>
            <a:off x="4524590" y="4094163"/>
            <a:ext cx="5707663" cy="1080000"/>
          </a:xfrm>
        </p:spPr>
        <p:txBody>
          <a:bodyPr/>
          <a:lstStyle>
            <a:lvl1pPr marL="0" indent="0" algn="l">
              <a:spcBef>
                <a:spcPts val="0"/>
              </a:spcBef>
              <a:buNone/>
              <a:defRPr sz="1799" b="1"/>
            </a:lvl1pPr>
            <a:lvl2pPr marL="457051" indent="0" algn="ctr">
              <a:buNone/>
              <a:defRPr sz="1999"/>
            </a:lvl2pPr>
            <a:lvl3pPr marL="914103" indent="0" algn="ctr">
              <a:buNone/>
              <a:defRPr sz="1799"/>
            </a:lvl3pPr>
            <a:lvl4pPr marL="1371154" indent="0" algn="ctr">
              <a:buNone/>
              <a:defRPr sz="1599"/>
            </a:lvl4pPr>
            <a:lvl5pPr marL="1828206" indent="0" algn="ctr">
              <a:buNone/>
              <a:defRPr sz="1599"/>
            </a:lvl5pPr>
            <a:lvl6pPr marL="2285257" indent="0" algn="ctr">
              <a:buNone/>
              <a:defRPr sz="1599"/>
            </a:lvl6pPr>
            <a:lvl7pPr marL="2742308" indent="0" algn="ctr">
              <a:buNone/>
              <a:defRPr sz="1599"/>
            </a:lvl7pPr>
            <a:lvl8pPr marL="3199360" indent="0" algn="ctr">
              <a:buNone/>
              <a:defRPr sz="1599"/>
            </a:lvl8pPr>
            <a:lvl9pPr marL="3656411" indent="0" algn="ctr">
              <a:buNone/>
              <a:defRPr sz="1599"/>
            </a:lvl9pPr>
          </a:lstStyle>
          <a:p>
            <a:r>
              <a:rPr lang="en-US" dirty="0"/>
              <a:t>Click to add subtitle</a:t>
            </a:r>
          </a:p>
        </p:txBody>
      </p:sp>
      <p:sp>
        <p:nvSpPr>
          <p:cNvPr id="31" name="Text Placeholder 30"/>
          <p:cNvSpPr>
            <a:spLocks noGrp="1"/>
          </p:cNvSpPr>
          <p:nvPr>
            <p:ph type="body" sz="quarter" idx="14" hasCustomPrompt="1"/>
          </p:nvPr>
        </p:nvSpPr>
        <p:spPr>
          <a:xfrm>
            <a:off x="417600" y="5393268"/>
            <a:ext cx="2494933" cy="296333"/>
          </a:xfrm>
        </p:spPr>
        <p:txBody>
          <a:bodyPr wrap="none"/>
          <a:lstStyle>
            <a:lvl1pPr marL="0" indent="0">
              <a:spcBef>
                <a:spcPts val="0"/>
              </a:spcBef>
              <a:buNone/>
              <a:defRPr sz="1200"/>
            </a:lvl1pPr>
            <a:lvl2pPr marL="0" indent="0">
              <a:buNone/>
              <a:defRPr sz="1200"/>
            </a:lvl2pPr>
            <a:lvl3pPr marL="0" indent="0">
              <a:buNone/>
              <a:defRPr sz="1200"/>
            </a:lvl3pPr>
            <a:lvl4pPr marL="0">
              <a:buNone/>
              <a:defRPr sz="1200"/>
            </a:lvl4pPr>
            <a:lvl5pPr marL="0" indent="0">
              <a:buNone/>
              <a:defRPr sz="1200"/>
            </a:lvl5pPr>
          </a:lstStyle>
          <a:p>
            <a:pPr lvl="0"/>
            <a:r>
              <a:rPr lang="en-US" dirty="0"/>
              <a:t>Name</a:t>
            </a:r>
          </a:p>
        </p:txBody>
      </p:sp>
      <p:sp>
        <p:nvSpPr>
          <p:cNvPr id="34" name="Text Placeholder 30"/>
          <p:cNvSpPr>
            <a:spLocks noGrp="1"/>
          </p:cNvSpPr>
          <p:nvPr>
            <p:ph type="body" sz="quarter" idx="15" hasCustomPrompt="1"/>
          </p:nvPr>
        </p:nvSpPr>
        <p:spPr>
          <a:xfrm>
            <a:off x="417600" y="5691445"/>
            <a:ext cx="2494933" cy="296333"/>
          </a:xfrm>
        </p:spPr>
        <p:txBody>
          <a:bodyPr wrap="none"/>
          <a:lstStyle>
            <a:lvl1pPr marL="0" indent="0">
              <a:spcBef>
                <a:spcPts val="0"/>
              </a:spcBef>
              <a:buNone/>
              <a:defRPr sz="1200"/>
            </a:lvl1pPr>
            <a:lvl2pPr marL="0" indent="0">
              <a:buNone/>
              <a:defRPr sz="1200"/>
            </a:lvl2pPr>
            <a:lvl3pPr marL="0" indent="0">
              <a:buNone/>
              <a:defRPr sz="1200"/>
            </a:lvl3pPr>
            <a:lvl4pPr marL="0">
              <a:buNone/>
              <a:defRPr sz="1200"/>
            </a:lvl4pPr>
            <a:lvl5pPr marL="0" indent="0">
              <a:buNone/>
              <a:defRPr sz="1200"/>
            </a:lvl5pPr>
          </a:lstStyle>
          <a:p>
            <a:pPr lvl="0"/>
            <a:r>
              <a:rPr lang="en-US" dirty="0"/>
              <a:t>Department</a:t>
            </a:r>
          </a:p>
        </p:txBody>
      </p:sp>
    </p:spTree>
    <p:extLst>
      <p:ext uri="{BB962C8B-B14F-4D97-AF65-F5344CB8AC3E}">
        <p14:creationId xmlns:p14="http://schemas.microsoft.com/office/powerpoint/2010/main" val="927546146"/>
      </p:ext>
    </p:extLst>
  </p:cSld>
  <p:clrMapOvr>
    <a:masterClrMapping/>
  </p:clrMapOvr>
</p:sldLayout>
</file>

<file path=ppt/slideLayouts/slideLayout219.xml><?xml version="1.0" encoding="utf-8"?>
<p:sldLayout xmlns:a="http://schemas.openxmlformats.org/drawingml/2006/main" xmlns:r="http://schemas.openxmlformats.org/officeDocument/2006/relationships" xmlns:p="http://schemas.openxmlformats.org/presentationml/2006/main" showMasterSp="0" preserve="1">
  <p:cSld name="Title with picture">
    <p:spTree>
      <p:nvGrpSpPr>
        <p:cNvPr id="1" name=""/>
        <p:cNvGrpSpPr/>
        <p:nvPr/>
      </p:nvGrpSpPr>
      <p:grpSpPr>
        <a:xfrm>
          <a:off x="0" y="0"/>
          <a:ext cx="0" cy="0"/>
          <a:chOff x="0" y="0"/>
          <a:chExt cx="0" cy="0"/>
        </a:xfrm>
      </p:grpSpPr>
      <p:sp>
        <p:nvSpPr>
          <p:cNvPr id="12" name="Picture Placeholder 11"/>
          <p:cNvSpPr>
            <a:spLocks noGrp="1"/>
          </p:cNvSpPr>
          <p:nvPr>
            <p:ph type="pic" sz="quarter" idx="13" hasCustomPrompt="1"/>
          </p:nvPr>
        </p:nvSpPr>
        <p:spPr>
          <a:xfrm>
            <a:off x="3376226" y="0"/>
            <a:ext cx="8815775" cy="6858000"/>
          </a:xfrm>
          <a:custGeom>
            <a:avLst/>
            <a:gdLst>
              <a:gd name="connsiteX0" fmla="*/ 331042 w 8815774"/>
              <a:gd name="connsiteY0" fmla="*/ 0 h 6858000"/>
              <a:gd name="connsiteX1" fmla="*/ 8815774 w 8815774"/>
              <a:gd name="connsiteY1" fmla="*/ 0 h 6858000"/>
              <a:gd name="connsiteX2" fmla="*/ 8815774 w 8815774"/>
              <a:gd name="connsiteY2" fmla="*/ 6858000 h 6858000"/>
              <a:gd name="connsiteX3" fmla="*/ 0 w 8815774"/>
              <a:gd name="connsiteY3" fmla="*/ 6858000 h 6858000"/>
              <a:gd name="connsiteX4" fmla="*/ 1580491 w 8815774"/>
              <a:gd name="connsiteY4" fmla="*/ 4163677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15774" h="6858000">
                <a:moveTo>
                  <a:pt x="331042" y="0"/>
                </a:moveTo>
                <a:lnTo>
                  <a:pt x="8815774" y="0"/>
                </a:lnTo>
                <a:lnTo>
                  <a:pt x="8815774" y="6858000"/>
                </a:lnTo>
                <a:lnTo>
                  <a:pt x="0" y="6858000"/>
                </a:lnTo>
                <a:lnTo>
                  <a:pt x="1580491" y="4163677"/>
                </a:lnTo>
                <a:close/>
              </a:path>
            </a:pathLst>
          </a:custGeom>
          <a:solidFill>
            <a:srgbClr val="D9DADB"/>
          </a:solidFill>
        </p:spPr>
        <p:txBody>
          <a:bodyPr wrap="square">
            <a:noAutofit/>
          </a:bodyPr>
          <a:lstStyle>
            <a:lvl1pPr marL="0" indent="0" algn="ctr">
              <a:buNone/>
              <a:defRPr/>
            </a:lvl1pPr>
          </a:lstStyle>
          <a:p>
            <a:r>
              <a:rPr lang="en-US" dirty="0"/>
              <a:t>Insert picture</a:t>
            </a:r>
          </a:p>
        </p:txBody>
      </p:sp>
      <p:grpSp>
        <p:nvGrpSpPr>
          <p:cNvPr id="14" name="logo">
            <a:extLst>
              <a:ext uri="{FF2B5EF4-FFF2-40B4-BE49-F238E27FC236}">
                <a16:creationId xmlns:a16="http://schemas.microsoft.com/office/drawing/2014/main" id="{18C26D95-70F8-8A4D-9F18-DCCB92522AF8}"/>
              </a:ext>
            </a:extLst>
          </p:cNvPr>
          <p:cNvGrpSpPr/>
          <p:nvPr/>
        </p:nvGrpSpPr>
        <p:grpSpPr bwMode="gray">
          <a:xfrm>
            <a:off x="417365" y="407485"/>
            <a:ext cx="1518585" cy="646507"/>
            <a:chOff x="334963" y="296652"/>
            <a:chExt cx="1268411" cy="540000"/>
          </a:xfrm>
        </p:grpSpPr>
        <p:sp>
          <p:nvSpPr>
            <p:cNvPr id="17" name="Freeform 6">
              <a:extLst>
                <a:ext uri="{FF2B5EF4-FFF2-40B4-BE49-F238E27FC236}">
                  <a16:creationId xmlns:a16="http://schemas.microsoft.com/office/drawing/2014/main" id="{08737AD0-E375-E445-97E6-CD2E2DF60620}"/>
                </a:ext>
              </a:extLst>
            </p:cNvPr>
            <p:cNvSpPr>
              <a:spLocks noEditPoints="1"/>
            </p:cNvSpPr>
            <p:nvPr/>
          </p:nvSpPr>
          <p:spPr bwMode="gray">
            <a:xfrm>
              <a:off x="982662" y="360462"/>
              <a:ext cx="620712" cy="431800"/>
            </a:xfrm>
            <a:custGeom>
              <a:avLst/>
              <a:gdLst>
                <a:gd name="T0" fmla="*/ 19 w 1809"/>
                <a:gd name="T1" fmla="*/ 97 h 1253"/>
                <a:gd name="T2" fmla="*/ 165 w 1809"/>
                <a:gd name="T3" fmla="*/ 41 h 1253"/>
                <a:gd name="T4" fmla="*/ 211 w 1809"/>
                <a:gd name="T5" fmla="*/ 224 h 1253"/>
                <a:gd name="T6" fmla="*/ 248 w 1809"/>
                <a:gd name="T7" fmla="*/ 155 h 1253"/>
                <a:gd name="T8" fmla="*/ 931 w 1809"/>
                <a:gd name="T9" fmla="*/ 995 h 1253"/>
                <a:gd name="T10" fmla="*/ 858 w 1809"/>
                <a:gd name="T11" fmla="*/ 1115 h 1253"/>
                <a:gd name="T12" fmla="*/ 749 w 1809"/>
                <a:gd name="T13" fmla="*/ 1117 h 1253"/>
                <a:gd name="T14" fmla="*/ 681 w 1809"/>
                <a:gd name="T15" fmla="*/ 1055 h 1253"/>
                <a:gd name="T16" fmla="*/ 800 w 1809"/>
                <a:gd name="T17" fmla="*/ 1054 h 1253"/>
                <a:gd name="T18" fmla="*/ 884 w 1809"/>
                <a:gd name="T19" fmla="*/ 1181 h 1253"/>
                <a:gd name="T20" fmla="*/ 118 w 1809"/>
                <a:gd name="T21" fmla="*/ 1086 h 1253"/>
                <a:gd name="T22" fmla="*/ 147 w 1809"/>
                <a:gd name="T23" fmla="*/ 1026 h 1253"/>
                <a:gd name="T24" fmla="*/ 102 w 1809"/>
                <a:gd name="T25" fmla="*/ 1026 h 1253"/>
                <a:gd name="T26" fmla="*/ 639 w 1809"/>
                <a:gd name="T27" fmla="*/ 84 h 1253"/>
                <a:gd name="T28" fmla="*/ 763 w 1809"/>
                <a:gd name="T29" fmla="*/ 145 h 1253"/>
                <a:gd name="T30" fmla="*/ 863 w 1809"/>
                <a:gd name="T31" fmla="*/ 221 h 1253"/>
                <a:gd name="T32" fmla="*/ 834 w 1809"/>
                <a:gd name="T33" fmla="*/ 208 h 1253"/>
                <a:gd name="T34" fmla="*/ 719 w 1809"/>
                <a:gd name="T35" fmla="*/ 182 h 1253"/>
                <a:gd name="T36" fmla="*/ 507 w 1809"/>
                <a:gd name="T37" fmla="*/ 711 h 1253"/>
                <a:gd name="T38" fmla="*/ 614 w 1809"/>
                <a:gd name="T39" fmla="*/ 706 h 1253"/>
                <a:gd name="T40" fmla="*/ 736 w 1809"/>
                <a:gd name="T41" fmla="*/ 730 h 1253"/>
                <a:gd name="T42" fmla="*/ 607 w 1809"/>
                <a:gd name="T43" fmla="*/ 539 h 1253"/>
                <a:gd name="T44" fmla="*/ 1505 w 1809"/>
                <a:gd name="T45" fmla="*/ 1136 h 1253"/>
                <a:gd name="T46" fmla="*/ 1613 w 1809"/>
                <a:gd name="T47" fmla="*/ 1002 h 1253"/>
                <a:gd name="T48" fmla="*/ 1472 w 1809"/>
                <a:gd name="T49" fmla="*/ 1164 h 1253"/>
                <a:gd name="T50" fmla="*/ 1525 w 1809"/>
                <a:gd name="T51" fmla="*/ 1142 h 1253"/>
                <a:gd name="T52" fmla="*/ 1556 w 1809"/>
                <a:gd name="T53" fmla="*/ 1172 h 1253"/>
                <a:gd name="T54" fmla="*/ 1387 w 1809"/>
                <a:gd name="T55" fmla="*/ 910 h 1253"/>
                <a:gd name="T56" fmla="*/ 1261 w 1809"/>
                <a:gd name="T57" fmla="*/ 1157 h 1253"/>
                <a:gd name="T58" fmla="*/ 1413 w 1809"/>
                <a:gd name="T59" fmla="*/ 934 h 1253"/>
                <a:gd name="T60" fmla="*/ 1378 w 1809"/>
                <a:gd name="T61" fmla="*/ 1052 h 1253"/>
                <a:gd name="T62" fmla="*/ 488 w 1809"/>
                <a:gd name="T63" fmla="*/ 85 h 1253"/>
                <a:gd name="T64" fmla="*/ 509 w 1809"/>
                <a:gd name="T65" fmla="*/ 112 h 1253"/>
                <a:gd name="T66" fmla="*/ 548 w 1809"/>
                <a:gd name="T67" fmla="*/ 1187 h 1253"/>
                <a:gd name="T68" fmla="*/ 472 w 1809"/>
                <a:gd name="T69" fmla="*/ 1122 h 1253"/>
                <a:gd name="T70" fmla="*/ 558 w 1809"/>
                <a:gd name="T71" fmla="*/ 1157 h 1253"/>
                <a:gd name="T72" fmla="*/ 287 w 1809"/>
                <a:gd name="T73" fmla="*/ 654 h 1253"/>
                <a:gd name="T74" fmla="*/ 416 w 1809"/>
                <a:gd name="T75" fmla="*/ 684 h 1253"/>
                <a:gd name="T76" fmla="*/ 1106 w 1809"/>
                <a:gd name="T77" fmla="*/ 147 h 1253"/>
                <a:gd name="T78" fmla="*/ 1229 w 1809"/>
                <a:gd name="T79" fmla="*/ 258 h 1253"/>
                <a:gd name="T80" fmla="*/ 1106 w 1809"/>
                <a:gd name="T81" fmla="*/ 96 h 1253"/>
                <a:gd name="T82" fmla="*/ 1219 w 1809"/>
                <a:gd name="T83" fmla="*/ 1077 h 1253"/>
                <a:gd name="T84" fmla="*/ 1214 w 1809"/>
                <a:gd name="T85" fmla="*/ 1157 h 1253"/>
                <a:gd name="T86" fmla="*/ 1150 w 1809"/>
                <a:gd name="T87" fmla="*/ 1092 h 1253"/>
                <a:gd name="T88" fmla="*/ 1139 w 1809"/>
                <a:gd name="T89" fmla="*/ 1070 h 1253"/>
                <a:gd name="T90" fmla="*/ 1659 w 1809"/>
                <a:gd name="T91" fmla="*/ 1031 h 1253"/>
                <a:gd name="T92" fmla="*/ 1714 w 1809"/>
                <a:gd name="T93" fmla="*/ 1155 h 1253"/>
                <a:gd name="T94" fmla="*/ 1760 w 1809"/>
                <a:gd name="T95" fmla="*/ 1030 h 1253"/>
                <a:gd name="T96" fmla="*/ 111 w 1809"/>
                <a:gd name="T97" fmla="*/ 569 h 1253"/>
                <a:gd name="T98" fmla="*/ 109 w 1809"/>
                <a:gd name="T99" fmla="*/ 460 h 1253"/>
                <a:gd name="T100" fmla="*/ 32 w 1809"/>
                <a:gd name="T101" fmla="*/ 704 h 1253"/>
                <a:gd name="T102" fmla="*/ 310 w 1809"/>
                <a:gd name="T103" fmla="*/ 1058 h 1253"/>
                <a:gd name="T104" fmla="*/ 431 w 1809"/>
                <a:gd name="T105" fmla="*/ 1044 h 1253"/>
                <a:gd name="T106" fmla="*/ 278 w 1809"/>
                <a:gd name="T107" fmla="*/ 1165 h 1253"/>
                <a:gd name="T108" fmla="*/ 261 w 1809"/>
                <a:gd name="T109" fmla="*/ 540 h 1253"/>
                <a:gd name="T110" fmla="*/ 150 w 1809"/>
                <a:gd name="T111" fmla="*/ 635 h 1253"/>
                <a:gd name="T112" fmla="*/ 994 w 1809"/>
                <a:gd name="T113" fmla="*/ 1185 h 1253"/>
                <a:gd name="T114" fmla="*/ 331 w 1809"/>
                <a:gd name="T115" fmla="*/ 176 h 1253"/>
                <a:gd name="T116" fmla="*/ 333 w 1809"/>
                <a:gd name="T117" fmla="*/ 109 h 1253"/>
                <a:gd name="T118" fmla="*/ 946 w 1809"/>
                <a:gd name="T119" fmla="*/ 234 h 1253"/>
                <a:gd name="T120" fmla="*/ 1022 w 1809"/>
                <a:gd name="T121" fmla="*/ 113 h 1253"/>
                <a:gd name="T122" fmla="*/ 949 w 1809"/>
                <a:gd name="T123" fmla="*/ 65 h 1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09" h="1253">
                  <a:moveTo>
                    <a:pt x="248" y="198"/>
                  </a:moveTo>
                  <a:cubicBezTo>
                    <a:pt x="248" y="211"/>
                    <a:pt x="248" y="224"/>
                    <a:pt x="249" y="237"/>
                  </a:cubicBezTo>
                  <a:cubicBezTo>
                    <a:pt x="249" y="245"/>
                    <a:pt x="246" y="249"/>
                    <a:pt x="240" y="253"/>
                  </a:cubicBezTo>
                  <a:cubicBezTo>
                    <a:pt x="231" y="260"/>
                    <a:pt x="220" y="264"/>
                    <a:pt x="209" y="268"/>
                  </a:cubicBezTo>
                  <a:cubicBezTo>
                    <a:pt x="179" y="279"/>
                    <a:pt x="148" y="280"/>
                    <a:pt x="118" y="275"/>
                  </a:cubicBezTo>
                  <a:cubicBezTo>
                    <a:pt x="86" y="269"/>
                    <a:pt x="58" y="252"/>
                    <a:pt x="39" y="224"/>
                  </a:cubicBezTo>
                  <a:cubicBezTo>
                    <a:pt x="24" y="203"/>
                    <a:pt x="18" y="180"/>
                    <a:pt x="15" y="155"/>
                  </a:cubicBezTo>
                  <a:cubicBezTo>
                    <a:pt x="11" y="135"/>
                    <a:pt x="15" y="115"/>
                    <a:pt x="19" y="97"/>
                  </a:cubicBezTo>
                  <a:cubicBezTo>
                    <a:pt x="26" y="68"/>
                    <a:pt x="42" y="44"/>
                    <a:pt x="68" y="27"/>
                  </a:cubicBezTo>
                  <a:cubicBezTo>
                    <a:pt x="87" y="14"/>
                    <a:pt x="109" y="6"/>
                    <a:pt x="133" y="5"/>
                  </a:cubicBezTo>
                  <a:cubicBezTo>
                    <a:pt x="149" y="4"/>
                    <a:pt x="165" y="5"/>
                    <a:pt x="181" y="6"/>
                  </a:cubicBezTo>
                  <a:cubicBezTo>
                    <a:pt x="204" y="8"/>
                    <a:pt x="225" y="20"/>
                    <a:pt x="243" y="35"/>
                  </a:cubicBezTo>
                  <a:cubicBezTo>
                    <a:pt x="246" y="37"/>
                    <a:pt x="246" y="40"/>
                    <a:pt x="244" y="43"/>
                  </a:cubicBezTo>
                  <a:cubicBezTo>
                    <a:pt x="242" y="47"/>
                    <a:pt x="239" y="52"/>
                    <a:pt x="236" y="55"/>
                  </a:cubicBezTo>
                  <a:cubicBezTo>
                    <a:pt x="226" y="65"/>
                    <a:pt x="224" y="65"/>
                    <a:pt x="206" y="54"/>
                  </a:cubicBezTo>
                  <a:cubicBezTo>
                    <a:pt x="193" y="46"/>
                    <a:pt x="180" y="40"/>
                    <a:pt x="165" y="41"/>
                  </a:cubicBezTo>
                  <a:cubicBezTo>
                    <a:pt x="151" y="41"/>
                    <a:pt x="137" y="39"/>
                    <a:pt x="124" y="42"/>
                  </a:cubicBezTo>
                  <a:cubicBezTo>
                    <a:pt x="104" y="46"/>
                    <a:pt x="87" y="57"/>
                    <a:pt x="75" y="74"/>
                  </a:cubicBezTo>
                  <a:cubicBezTo>
                    <a:pt x="56" y="99"/>
                    <a:pt x="51" y="129"/>
                    <a:pt x="55" y="159"/>
                  </a:cubicBezTo>
                  <a:cubicBezTo>
                    <a:pt x="60" y="189"/>
                    <a:pt x="73" y="214"/>
                    <a:pt x="98" y="230"/>
                  </a:cubicBezTo>
                  <a:cubicBezTo>
                    <a:pt x="109" y="237"/>
                    <a:pt x="121" y="242"/>
                    <a:pt x="135" y="241"/>
                  </a:cubicBezTo>
                  <a:cubicBezTo>
                    <a:pt x="146" y="241"/>
                    <a:pt x="158" y="241"/>
                    <a:pt x="169" y="241"/>
                  </a:cubicBezTo>
                  <a:cubicBezTo>
                    <a:pt x="182" y="242"/>
                    <a:pt x="193" y="235"/>
                    <a:pt x="205" y="232"/>
                  </a:cubicBezTo>
                  <a:cubicBezTo>
                    <a:pt x="210" y="231"/>
                    <a:pt x="211" y="227"/>
                    <a:pt x="211" y="224"/>
                  </a:cubicBezTo>
                  <a:cubicBezTo>
                    <a:pt x="211" y="210"/>
                    <a:pt x="211" y="196"/>
                    <a:pt x="211" y="183"/>
                  </a:cubicBezTo>
                  <a:cubicBezTo>
                    <a:pt x="211" y="177"/>
                    <a:pt x="207" y="175"/>
                    <a:pt x="202" y="175"/>
                  </a:cubicBezTo>
                  <a:cubicBezTo>
                    <a:pt x="193" y="175"/>
                    <a:pt x="184" y="175"/>
                    <a:pt x="175" y="175"/>
                  </a:cubicBezTo>
                  <a:cubicBezTo>
                    <a:pt x="171" y="175"/>
                    <a:pt x="168" y="174"/>
                    <a:pt x="166" y="171"/>
                  </a:cubicBezTo>
                  <a:cubicBezTo>
                    <a:pt x="163" y="163"/>
                    <a:pt x="164" y="154"/>
                    <a:pt x="166" y="146"/>
                  </a:cubicBezTo>
                  <a:cubicBezTo>
                    <a:pt x="167" y="142"/>
                    <a:pt x="171" y="142"/>
                    <a:pt x="175" y="142"/>
                  </a:cubicBezTo>
                  <a:cubicBezTo>
                    <a:pt x="196" y="142"/>
                    <a:pt x="217" y="142"/>
                    <a:pt x="238" y="142"/>
                  </a:cubicBezTo>
                  <a:cubicBezTo>
                    <a:pt x="247" y="142"/>
                    <a:pt x="248" y="148"/>
                    <a:pt x="248" y="155"/>
                  </a:cubicBezTo>
                  <a:cubicBezTo>
                    <a:pt x="249" y="169"/>
                    <a:pt x="248" y="183"/>
                    <a:pt x="248" y="198"/>
                  </a:cubicBezTo>
                  <a:close/>
                  <a:moveTo>
                    <a:pt x="884" y="1181"/>
                  </a:moveTo>
                  <a:cubicBezTo>
                    <a:pt x="889" y="1167"/>
                    <a:pt x="894" y="1152"/>
                    <a:pt x="898" y="1137"/>
                  </a:cubicBezTo>
                  <a:cubicBezTo>
                    <a:pt x="901" y="1127"/>
                    <a:pt x="905" y="1116"/>
                    <a:pt x="908" y="1106"/>
                  </a:cubicBezTo>
                  <a:cubicBezTo>
                    <a:pt x="911" y="1098"/>
                    <a:pt x="912" y="1089"/>
                    <a:pt x="916" y="1081"/>
                  </a:cubicBezTo>
                  <a:cubicBezTo>
                    <a:pt x="921" y="1072"/>
                    <a:pt x="923" y="1060"/>
                    <a:pt x="927" y="1050"/>
                  </a:cubicBezTo>
                  <a:cubicBezTo>
                    <a:pt x="932" y="1037"/>
                    <a:pt x="934" y="1023"/>
                    <a:pt x="940" y="1010"/>
                  </a:cubicBezTo>
                  <a:cubicBezTo>
                    <a:pt x="945" y="1001"/>
                    <a:pt x="941" y="995"/>
                    <a:pt x="931" y="995"/>
                  </a:cubicBezTo>
                  <a:cubicBezTo>
                    <a:pt x="927" y="995"/>
                    <a:pt x="922" y="995"/>
                    <a:pt x="918" y="995"/>
                  </a:cubicBezTo>
                  <a:cubicBezTo>
                    <a:pt x="913" y="995"/>
                    <a:pt x="908" y="997"/>
                    <a:pt x="907" y="1001"/>
                  </a:cubicBezTo>
                  <a:cubicBezTo>
                    <a:pt x="904" y="1008"/>
                    <a:pt x="900" y="1015"/>
                    <a:pt x="899" y="1023"/>
                  </a:cubicBezTo>
                  <a:cubicBezTo>
                    <a:pt x="897" y="1034"/>
                    <a:pt x="893" y="1045"/>
                    <a:pt x="889" y="1055"/>
                  </a:cubicBezTo>
                  <a:cubicBezTo>
                    <a:pt x="887" y="1064"/>
                    <a:pt x="885" y="1072"/>
                    <a:pt x="882" y="1080"/>
                  </a:cubicBezTo>
                  <a:cubicBezTo>
                    <a:pt x="878" y="1091"/>
                    <a:pt x="874" y="1103"/>
                    <a:pt x="871" y="1115"/>
                  </a:cubicBezTo>
                  <a:cubicBezTo>
                    <a:pt x="870" y="1118"/>
                    <a:pt x="871" y="1124"/>
                    <a:pt x="866" y="1124"/>
                  </a:cubicBezTo>
                  <a:cubicBezTo>
                    <a:pt x="861" y="1125"/>
                    <a:pt x="859" y="1120"/>
                    <a:pt x="858" y="1115"/>
                  </a:cubicBezTo>
                  <a:cubicBezTo>
                    <a:pt x="856" y="1110"/>
                    <a:pt x="856" y="1104"/>
                    <a:pt x="854" y="1099"/>
                  </a:cubicBezTo>
                  <a:cubicBezTo>
                    <a:pt x="848" y="1080"/>
                    <a:pt x="841" y="1062"/>
                    <a:pt x="835" y="1044"/>
                  </a:cubicBezTo>
                  <a:cubicBezTo>
                    <a:pt x="831" y="1030"/>
                    <a:pt x="828" y="1016"/>
                    <a:pt x="822" y="1003"/>
                  </a:cubicBezTo>
                  <a:cubicBezTo>
                    <a:pt x="819" y="997"/>
                    <a:pt x="814" y="994"/>
                    <a:pt x="808" y="994"/>
                  </a:cubicBezTo>
                  <a:cubicBezTo>
                    <a:pt x="799" y="993"/>
                    <a:pt x="791" y="993"/>
                    <a:pt x="787" y="1001"/>
                  </a:cubicBezTo>
                  <a:cubicBezTo>
                    <a:pt x="783" y="1008"/>
                    <a:pt x="780" y="1015"/>
                    <a:pt x="779" y="1022"/>
                  </a:cubicBezTo>
                  <a:cubicBezTo>
                    <a:pt x="778" y="1034"/>
                    <a:pt x="772" y="1044"/>
                    <a:pt x="769" y="1055"/>
                  </a:cubicBezTo>
                  <a:cubicBezTo>
                    <a:pt x="762" y="1076"/>
                    <a:pt x="754" y="1096"/>
                    <a:pt x="749" y="1117"/>
                  </a:cubicBezTo>
                  <a:cubicBezTo>
                    <a:pt x="748" y="1120"/>
                    <a:pt x="747" y="1124"/>
                    <a:pt x="742" y="1124"/>
                  </a:cubicBezTo>
                  <a:cubicBezTo>
                    <a:pt x="737" y="1124"/>
                    <a:pt x="737" y="1120"/>
                    <a:pt x="736" y="1116"/>
                  </a:cubicBezTo>
                  <a:cubicBezTo>
                    <a:pt x="734" y="1104"/>
                    <a:pt x="730" y="1092"/>
                    <a:pt x="726" y="1080"/>
                  </a:cubicBezTo>
                  <a:cubicBezTo>
                    <a:pt x="720" y="1061"/>
                    <a:pt x="714" y="1040"/>
                    <a:pt x="708" y="1020"/>
                  </a:cubicBezTo>
                  <a:cubicBezTo>
                    <a:pt x="703" y="1000"/>
                    <a:pt x="698" y="994"/>
                    <a:pt x="676" y="995"/>
                  </a:cubicBezTo>
                  <a:cubicBezTo>
                    <a:pt x="665" y="996"/>
                    <a:pt x="661" y="1001"/>
                    <a:pt x="667" y="1011"/>
                  </a:cubicBezTo>
                  <a:cubicBezTo>
                    <a:pt x="669" y="1016"/>
                    <a:pt x="670" y="1021"/>
                    <a:pt x="672" y="1025"/>
                  </a:cubicBezTo>
                  <a:cubicBezTo>
                    <a:pt x="675" y="1035"/>
                    <a:pt x="678" y="1046"/>
                    <a:pt x="681" y="1055"/>
                  </a:cubicBezTo>
                  <a:cubicBezTo>
                    <a:pt x="685" y="1068"/>
                    <a:pt x="689" y="1080"/>
                    <a:pt x="693" y="1092"/>
                  </a:cubicBezTo>
                  <a:cubicBezTo>
                    <a:pt x="697" y="1103"/>
                    <a:pt x="699" y="1113"/>
                    <a:pt x="703" y="1124"/>
                  </a:cubicBezTo>
                  <a:cubicBezTo>
                    <a:pt x="707" y="1136"/>
                    <a:pt x="711" y="1147"/>
                    <a:pt x="715" y="1160"/>
                  </a:cubicBezTo>
                  <a:cubicBezTo>
                    <a:pt x="717" y="1168"/>
                    <a:pt x="720" y="1176"/>
                    <a:pt x="724" y="1183"/>
                  </a:cubicBezTo>
                  <a:cubicBezTo>
                    <a:pt x="728" y="1189"/>
                    <a:pt x="752" y="1185"/>
                    <a:pt x="757" y="1180"/>
                  </a:cubicBezTo>
                  <a:cubicBezTo>
                    <a:pt x="764" y="1173"/>
                    <a:pt x="762" y="1163"/>
                    <a:pt x="766" y="1156"/>
                  </a:cubicBezTo>
                  <a:cubicBezTo>
                    <a:pt x="774" y="1140"/>
                    <a:pt x="778" y="1122"/>
                    <a:pt x="784" y="1105"/>
                  </a:cubicBezTo>
                  <a:cubicBezTo>
                    <a:pt x="789" y="1088"/>
                    <a:pt x="796" y="1072"/>
                    <a:pt x="800" y="1054"/>
                  </a:cubicBezTo>
                  <a:cubicBezTo>
                    <a:pt x="800" y="1053"/>
                    <a:pt x="801" y="1050"/>
                    <a:pt x="803" y="1050"/>
                  </a:cubicBezTo>
                  <a:cubicBezTo>
                    <a:pt x="806" y="1050"/>
                    <a:pt x="806" y="1052"/>
                    <a:pt x="807" y="1055"/>
                  </a:cubicBezTo>
                  <a:cubicBezTo>
                    <a:pt x="807" y="1060"/>
                    <a:pt x="810" y="1066"/>
                    <a:pt x="811" y="1071"/>
                  </a:cubicBezTo>
                  <a:cubicBezTo>
                    <a:pt x="814" y="1081"/>
                    <a:pt x="818" y="1090"/>
                    <a:pt x="821" y="1099"/>
                  </a:cubicBezTo>
                  <a:cubicBezTo>
                    <a:pt x="824" y="1110"/>
                    <a:pt x="827" y="1120"/>
                    <a:pt x="831" y="1131"/>
                  </a:cubicBezTo>
                  <a:cubicBezTo>
                    <a:pt x="834" y="1142"/>
                    <a:pt x="839" y="1153"/>
                    <a:pt x="842" y="1164"/>
                  </a:cubicBezTo>
                  <a:cubicBezTo>
                    <a:pt x="846" y="1179"/>
                    <a:pt x="850" y="1188"/>
                    <a:pt x="869" y="1185"/>
                  </a:cubicBezTo>
                  <a:cubicBezTo>
                    <a:pt x="873" y="1184"/>
                    <a:pt x="881" y="1189"/>
                    <a:pt x="884" y="1181"/>
                  </a:cubicBezTo>
                  <a:close/>
                  <a:moveTo>
                    <a:pt x="33" y="1051"/>
                  </a:moveTo>
                  <a:cubicBezTo>
                    <a:pt x="33" y="1087"/>
                    <a:pt x="33" y="1124"/>
                    <a:pt x="33" y="1160"/>
                  </a:cubicBezTo>
                  <a:cubicBezTo>
                    <a:pt x="33" y="1188"/>
                    <a:pt x="29" y="1184"/>
                    <a:pt x="58" y="1185"/>
                  </a:cubicBezTo>
                  <a:cubicBezTo>
                    <a:pt x="72" y="1185"/>
                    <a:pt x="73" y="1184"/>
                    <a:pt x="73" y="1170"/>
                  </a:cubicBezTo>
                  <a:cubicBezTo>
                    <a:pt x="73" y="1138"/>
                    <a:pt x="73" y="1107"/>
                    <a:pt x="73" y="1076"/>
                  </a:cubicBezTo>
                  <a:cubicBezTo>
                    <a:pt x="73" y="1071"/>
                    <a:pt x="72" y="1067"/>
                    <a:pt x="78" y="1065"/>
                  </a:cubicBezTo>
                  <a:cubicBezTo>
                    <a:pt x="91" y="1062"/>
                    <a:pt x="102" y="1067"/>
                    <a:pt x="110" y="1076"/>
                  </a:cubicBezTo>
                  <a:cubicBezTo>
                    <a:pt x="112" y="1080"/>
                    <a:pt x="115" y="1083"/>
                    <a:pt x="118" y="1086"/>
                  </a:cubicBezTo>
                  <a:cubicBezTo>
                    <a:pt x="132" y="1103"/>
                    <a:pt x="146" y="1119"/>
                    <a:pt x="161" y="1136"/>
                  </a:cubicBezTo>
                  <a:cubicBezTo>
                    <a:pt x="173" y="1150"/>
                    <a:pt x="186" y="1165"/>
                    <a:pt x="198" y="1179"/>
                  </a:cubicBezTo>
                  <a:cubicBezTo>
                    <a:pt x="207" y="1188"/>
                    <a:pt x="218" y="1184"/>
                    <a:pt x="228" y="1185"/>
                  </a:cubicBezTo>
                  <a:cubicBezTo>
                    <a:pt x="233" y="1185"/>
                    <a:pt x="241" y="1188"/>
                    <a:pt x="244" y="1182"/>
                  </a:cubicBezTo>
                  <a:cubicBezTo>
                    <a:pt x="246" y="1178"/>
                    <a:pt x="239" y="1173"/>
                    <a:pt x="235" y="1169"/>
                  </a:cubicBezTo>
                  <a:cubicBezTo>
                    <a:pt x="206" y="1133"/>
                    <a:pt x="176" y="1098"/>
                    <a:pt x="146" y="1062"/>
                  </a:cubicBezTo>
                  <a:cubicBezTo>
                    <a:pt x="141" y="1056"/>
                    <a:pt x="131" y="1052"/>
                    <a:pt x="132" y="1044"/>
                  </a:cubicBezTo>
                  <a:cubicBezTo>
                    <a:pt x="132" y="1036"/>
                    <a:pt x="142" y="1032"/>
                    <a:pt x="147" y="1026"/>
                  </a:cubicBezTo>
                  <a:cubicBezTo>
                    <a:pt x="164" y="1006"/>
                    <a:pt x="182" y="988"/>
                    <a:pt x="198" y="968"/>
                  </a:cubicBezTo>
                  <a:cubicBezTo>
                    <a:pt x="209" y="954"/>
                    <a:pt x="221" y="942"/>
                    <a:pt x="234" y="929"/>
                  </a:cubicBezTo>
                  <a:cubicBezTo>
                    <a:pt x="236" y="926"/>
                    <a:pt x="238" y="923"/>
                    <a:pt x="237" y="920"/>
                  </a:cubicBezTo>
                  <a:cubicBezTo>
                    <a:pt x="235" y="915"/>
                    <a:pt x="231" y="917"/>
                    <a:pt x="228" y="917"/>
                  </a:cubicBezTo>
                  <a:cubicBezTo>
                    <a:pt x="224" y="918"/>
                    <a:pt x="221" y="918"/>
                    <a:pt x="217" y="918"/>
                  </a:cubicBezTo>
                  <a:cubicBezTo>
                    <a:pt x="204" y="917"/>
                    <a:pt x="193" y="922"/>
                    <a:pt x="185" y="931"/>
                  </a:cubicBezTo>
                  <a:cubicBezTo>
                    <a:pt x="172" y="946"/>
                    <a:pt x="158" y="961"/>
                    <a:pt x="145" y="977"/>
                  </a:cubicBezTo>
                  <a:cubicBezTo>
                    <a:pt x="131" y="993"/>
                    <a:pt x="117" y="1010"/>
                    <a:pt x="102" y="1026"/>
                  </a:cubicBezTo>
                  <a:cubicBezTo>
                    <a:pt x="96" y="1032"/>
                    <a:pt x="87" y="1037"/>
                    <a:pt x="78" y="1034"/>
                  </a:cubicBezTo>
                  <a:cubicBezTo>
                    <a:pt x="70" y="1030"/>
                    <a:pt x="73" y="1021"/>
                    <a:pt x="73" y="1015"/>
                  </a:cubicBezTo>
                  <a:cubicBezTo>
                    <a:pt x="73" y="991"/>
                    <a:pt x="73" y="967"/>
                    <a:pt x="73" y="944"/>
                  </a:cubicBezTo>
                  <a:cubicBezTo>
                    <a:pt x="73" y="916"/>
                    <a:pt x="75" y="917"/>
                    <a:pt x="46" y="918"/>
                  </a:cubicBezTo>
                  <a:cubicBezTo>
                    <a:pt x="33" y="918"/>
                    <a:pt x="33" y="918"/>
                    <a:pt x="33" y="931"/>
                  </a:cubicBezTo>
                  <a:cubicBezTo>
                    <a:pt x="33" y="971"/>
                    <a:pt x="33" y="1011"/>
                    <a:pt x="33" y="1051"/>
                  </a:cubicBezTo>
                  <a:cubicBezTo>
                    <a:pt x="33" y="1051"/>
                    <a:pt x="33" y="1051"/>
                    <a:pt x="33" y="1051"/>
                  </a:cubicBezTo>
                  <a:close/>
                  <a:moveTo>
                    <a:pt x="639" y="84"/>
                  </a:moveTo>
                  <a:cubicBezTo>
                    <a:pt x="627" y="84"/>
                    <a:pt x="626" y="84"/>
                    <a:pt x="629" y="95"/>
                  </a:cubicBezTo>
                  <a:cubicBezTo>
                    <a:pt x="634" y="113"/>
                    <a:pt x="640" y="131"/>
                    <a:pt x="646" y="148"/>
                  </a:cubicBezTo>
                  <a:cubicBezTo>
                    <a:pt x="652" y="166"/>
                    <a:pt x="658" y="185"/>
                    <a:pt x="664" y="203"/>
                  </a:cubicBezTo>
                  <a:cubicBezTo>
                    <a:pt x="671" y="223"/>
                    <a:pt x="676" y="244"/>
                    <a:pt x="684" y="264"/>
                  </a:cubicBezTo>
                  <a:cubicBezTo>
                    <a:pt x="688" y="274"/>
                    <a:pt x="694" y="274"/>
                    <a:pt x="702" y="274"/>
                  </a:cubicBezTo>
                  <a:cubicBezTo>
                    <a:pt x="711" y="274"/>
                    <a:pt x="719" y="272"/>
                    <a:pt x="723" y="263"/>
                  </a:cubicBezTo>
                  <a:cubicBezTo>
                    <a:pt x="733" y="236"/>
                    <a:pt x="741" y="208"/>
                    <a:pt x="750" y="181"/>
                  </a:cubicBezTo>
                  <a:cubicBezTo>
                    <a:pt x="754" y="169"/>
                    <a:pt x="757" y="156"/>
                    <a:pt x="763" y="145"/>
                  </a:cubicBezTo>
                  <a:cubicBezTo>
                    <a:pt x="764" y="143"/>
                    <a:pt x="764" y="140"/>
                    <a:pt x="767" y="140"/>
                  </a:cubicBezTo>
                  <a:cubicBezTo>
                    <a:pt x="770" y="140"/>
                    <a:pt x="770" y="143"/>
                    <a:pt x="771" y="145"/>
                  </a:cubicBezTo>
                  <a:cubicBezTo>
                    <a:pt x="771" y="156"/>
                    <a:pt x="777" y="165"/>
                    <a:pt x="780" y="175"/>
                  </a:cubicBezTo>
                  <a:cubicBezTo>
                    <a:pt x="782" y="184"/>
                    <a:pt x="785" y="193"/>
                    <a:pt x="788" y="201"/>
                  </a:cubicBezTo>
                  <a:cubicBezTo>
                    <a:pt x="794" y="219"/>
                    <a:pt x="801" y="237"/>
                    <a:pt x="806" y="255"/>
                  </a:cubicBezTo>
                  <a:cubicBezTo>
                    <a:pt x="811" y="272"/>
                    <a:pt x="825" y="280"/>
                    <a:pt x="842" y="273"/>
                  </a:cubicBezTo>
                  <a:cubicBezTo>
                    <a:pt x="845" y="271"/>
                    <a:pt x="847" y="269"/>
                    <a:pt x="848" y="266"/>
                  </a:cubicBezTo>
                  <a:cubicBezTo>
                    <a:pt x="853" y="251"/>
                    <a:pt x="859" y="236"/>
                    <a:pt x="863" y="221"/>
                  </a:cubicBezTo>
                  <a:cubicBezTo>
                    <a:pt x="867" y="202"/>
                    <a:pt x="875" y="185"/>
                    <a:pt x="880" y="166"/>
                  </a:cubicBezTo>
                  <a:cubicBezTo>
                    <a:pt x="886" y="144"/>
                    <a:pt x="895" y="123"/>
                    <a:pt x="900" y="101"/>
                  </a:cubicBezTo>
                  <a:cubicBezTo>
                    <a:pt x="901" y="96"/>
                    <a:pt x="909" y="91"/>
                    <a:pt x="904" y="86"/>
                  </a:cubicBezTo>
                  <a:cubicBezTo>
                    <a:pt x="900" y="81"/>
                    <a:pt x="892" y="84"/>
                    <a:pt x="886" y="84"/>
                  </a:cubicBezTo>
                  <a:cubicBezTo>
                    <a:pt x="885" y="84"/>
                    <a:pt x="883" y="84"/>
                    <a:pt x="881" y="84"/>
                  </a:cubicBezTo>
                  <a:cubicBezTo>
                    <a:pt x="875" y="84"/>
                    <a:pt x="872" y="86"/>
                    <a:pt x="869" y="91"/>
                  </a:cubicBezTo>
                  <a:cubicBezTo>
                    <a:pt x="860" y="110"/>
                    <a:pt x="856" y="131"/>
                    <a:pt x="850" y="151"/>
                  </a:cubicBezTo>
                  <a:cubicBezTo>
                    <a:pt x="844" y="170"/>
                    <a:pt x="836" y="188"/>
                    <a:pt x="834" y="208"/>
                  </a:cubicBezTo>
                  <a:cubicBezTo>
                    <a:pt x="833" y="211"/>
                    <a:pt x="831" y="214"/>
                    <a:pt x="827" y="214"/>
                  </a:cubicBezTo>
                  <a:cubicBezTo>
                    <a:pt x="823" y="214"/>
                    <a:pt x="822" y="210"/>
                    <a:pt x="822" y="207"/>
                  </a:cubicBezTo>
                  <a:cubicBezTo>
                    <a:pt x="817" y="188"/>
                    <a:pt x="811" y="170"/>
                    <a:pt x="805" y="152"/>
                  </a:cubicBezTo>
                  <a:cubicBezTo>
                    <a:pt x="799" y="133"/>
                    <a:pt x="794" y="114"/>
                    <a:pt x="786" y="96"/>
                  </a:cubicBezTo>
                  <a:cubicBezTo>
                    <a:pt x="783" y="87"/>
                    <a:pt x="779" y="84"/>
                    <a:pt x="770" y="84"/>
                  </a:cubicBezTo>
                  <a:cubicBezTo>
                    <a:pt x="761" y="84"/>
                    <a:pt x="752" y="82"/>
                    <a:pt x="748" y="94"/>
                  </a:cubicBezTo>
                  <a:cubicBezTo>
                    <a:pt x="744" y="109"/>
                    <a:pt x="738" y="123"/>
                    <a:pt x="734" y="138"/>
                  </a:cubicBezTo>
                  <a:cubicBezTo>
                    <a:pt x="729" y="153"/>
                    <a:pt x="724" y="167"/>
                    <a:pt x="719" y="182"/>
                  </a:cubicBezTo>
                  <a:cubicBezTo>
                    <a:pt x="716" y="192"/>
                    <a:pt x="715" y="203"/>
                    <a:pt x="708" y="212"/>
                  </a:cubicBezTo>
                  <a:cubicBezTo>
                    <a:pt x="707" y="214"/>
                    <a:pt x="707" y="217"/>
                    <a:pt x="704" y="217"/>
                  </a:cubicBezTo>
                  <a:cubicBezTo>
                    <a:pt x="701" y="217"/>
                    <a:pt x="701" y="213"/>
                    <a:pt x="700" y="211"/>
                  </a:cubicBezTo>
                  <a:cubicBezTo>
                    <a:pt x="699" y="198"/>
                    <a:pt x="694" y="186"/>
                    <a:pt x="690" y="174"/>
                  </a:cubicBezTo>
                  <a:cubicBezTo>
                    <a:pt x="684" y="153"/>
                    <a:pt x="677" y="131"/>
                    <a:pt x="672" y="110"/>
                  </a:cubicBezTo>
                  <a:cubicBezTo>
                    <a:pt x="667" y="88"/>
                    <a:pt x="663" y="84"/>
                    <a:pt x="645" y="84"/>
                  </a:cubicBezTo>
                  <a:cubicBezTo>
                    <a:pt x="643" y="84"/>
                    <a:pt x="641" y="84"/>
                    <a:pt x="639" y="84"/>
                  </a:cubicBezTo>
                  <a:close/>
                  <a:moveTo>
                    <a:pt x="507" y="711"/>
                  </a:moveTo>
                  <a:cubicBezTo>
                    <a:pt x="507" y="730"/>
                    <a:pt x="507" y="730"/>
                    <a:pt x="526" y="730"/>
                  </a:cubicBezTo>
                  <a:cubicBezTo>
                    <a:pt x="539" y="730"/>
                    <a:pt x="541" y="729"/>
                    <a:pt x="541" y="715"/>
                  </a:cubicBezTo>
                  <a:cubicBezTo>
                    <a:pt x="541" y="677"/>
                    <a:pt x="541" y="638"/>
                    <a:pt x="540" y="600"/>
                  </a:cubicBezTo>
                  <a:cubicBezTo>
                    <a:pt x="540" y="593"/>
                    <a:pt x="543" y="587"/>
                    <a:pt x="548" y="582"/>
                  </a:cubicBezTo>
                  <a:cubicBezTo>
                    <a:pt x="553" y="576"/>
                    <a:pt x="559" y="573"/>
                    <a:pt x="564" y="569"/>
                  </a:cubicBezTo>
                  <a:cubicBezTo>
                    <a:pt x="574" y="564"/>
                    <a:pt x="594" y="566"/>
                    <a:pt x="602" y="574"/>
                  </a:cubicBezTo>
                  <a:cubicBezTo>
                    <a:pt x="611" y="582"/>
                    <a:pt x="614" y="592"/>
                    <a:pt x="614" y="604"/>
                  </a:cubicBezTo>
                  <a:cubicBezTo>
                    <a:pt x="614" y="638"/>
                    <a:pt x="614" y="672"/>
                    <a:pt x="614" y="706"/>
                  </a:cubicBezTo>
                  <a:cubicBezTo>
                    <a:pt x="614" y="730"/>
                    <a:pt x="614" y="730"/>
                    <a:pt x="638" y="730"/>
                  </a:cubicBezTo>
                  <a:cubicBezTo>
                    <a:pt x="650" y="730"/>
                    <a:pt x="650" y="730"/>
                    <a:pt x="650" y="717"/>
                  </a:cubicBezTo>
                  <a:cubicBezTo>
                    <a:pt x="650" y="684"/>
                    <a:pt x="650" y="650"/>
                    <a:pt x="650" y="617"/>
                  </a:cubicBezTo>
                  <a:cubicBezTo>
                    <a:pt x="650" y="606"/>
                    <a:pt x="651" y="597"/>
                    <a:pt x="657" y="586"/>
                  </a:cubicBezTo>
                  <a:cubicBezTo>
                    <a:pt x="667" y="565"/>
                    <a:pt x="703" y="560"/>
                    <a:pt x="716" y="579"/>
                  </a:cubicBezTo>
                  <a:cubicBezTo>
                    <a:pt x="723" y="588"/>
                    <a:pt x="724" y="598"/>
                    <a:pt x="724" y="609"/>
                  </a:cubicBezTo>
                  <a:cubicBezTo>
                    <a:pt x="724" y="645"/>
                    <a:pt x="724" y="682"/>
                    <a:pt x="724" y="718"/>
                  </a:cubicBezTo>
                  <a:cubicBezTo>
                    <a:pt x="724" y="727"/>
                    <a:pt x="727" y="731"/>
                    <a:pt x="736" y="730"/>
                  </a:cubicBezTo>
                  <a:cubicBezTo>
                    <a:pt x="738" y="730"/>
                    <a:pt x="741" y="730"/>
                    <a:pt x="743" y="730"/>
                  </a:cubicBezTo>
                  <a:cubicBezTo>
                    <a:pt x="758" y="730"/>
                    <a:pt x="759" y="729"/>
                    <a:pt x="759" y="715"/>
                  </a:cubicBezTo>
                  <a:cubicBezTo>
                    <a:pt x="759" y="677"/>
                    <a:pt x="758" y="639"/>
                    <a:pt x="759" y="601"/>
                  </a:cubicBezTo>
                  <a:cubicBezTo>
                    <a:pt x="759" y="571"/>
                    <a:pt x="742" y="540"/>
                    <a:pt x="704" y="538"/>
                  </a:cubicBezTo>
                  <a:cubicBezTo>
                    <a:pt x="681" y="536"/>
                    <a:pt x="661" y="542"/>
                    <a:pt x="646" y="560"/>
                  </a:cubicBezTo>
                  <a:cubicBezTo>
                    <a:pt x="638" y="569"/>
                    <a:pt x="638" y="569"/>
                    <a:pt x="631" y="559"/>
                  </a:cubicBezTo>
                  <a:cubicBezTo>
                    <a:pt x="630" y="558"/>
                    <a:pt x="630" y="557"/>
                    <a:pt x="629" y="556"/>
                  </a:cubicBezTo>
                  <a:cubicBezTo>
                    <a:pt x="623" y="548"/>
                    <a:pt x="616" y="541"/>
                    <a:pt x="607" y="539"/>
                  </a:cubicBezTo>
                  <a:cubicBezTo>
                    <a:pt x="584" y="534"/>
                    <a:pt x="563" y="539"/>
                    <a:pt x="545" y="555"/>
                  </a:cubicBezTo>
                  <a:cubicBezTo>
                    <a:pt x="540" y="559"/>
                    <a:pt x="537" y="561"/>
                    <a:pt x="537" y="552"/>
                  </a:cubicBezTo>
                  <a:cubicBezTo>
                    <a:pt x="536" y="543"/>
                    <a:pt x="526" y="538"/>
                    <a:pt x="515" y="539"/>
                  </a:cubicBezTo>
                  <a:cubicBezTo>
                    <a:pt x="506" y="540"/>
                    <a:pt x="507" y="546"/>
                    <a:pt x="507" y="552"/>
                  </a:cubicBezTo>
                  <a:cubicBezTo>
                    <a:pt x="507" y="580"/>
                    <a:pt x="507" y="607"/>
                    <a:pt x="507" y="634"/>
                  </a:cubicBezTo>
                  <a:cubicBezTo>
                    <a:pt x="507" y="660"/>
                    <a:pt x="507" y="685"/>
                    <a:pt x="507" y="711"/>
                  </a:cubicBezTo>
                  <a:close/>
                  <a:moveTo>
                    <a:pt x="1525" y="1142"/>
                  </a:moveTo>
                  <a:cubicBezTo>
                    <a:pt x="1517" y="1143"/>
                    <a:pt x="1511" y="1141"/>
                    <a:pt x="1505" y="1136"/>
                  </a:cubicBezTo>
                  <a:cubicBezTo>
                    <a:pt x="1501" y="1133"/>
                    <a:pt x="1495" y="1130"/>
                    <a:pt x="1498" y="1124"/>
                  </a:cubicBezTo>
                  <a:cubicBezTo>
                    <a:pt x="1500" y="1118"/>
                    <a:pt x="1504" y="1114"/>
                    <a:pt x="1512" y="1114"/>
                  </a:cubicBezTo>
                  <a:cubicBezTo>
                    <a:pt x="1521" y="1115"/>
                    <a:pt x="1530" y="1114"/>
                    <a:pt x="1538" y="1115"/>
                  </a:cubicBezTo>
                  <a:cubicBezTo>
                    <a:pt x="1573" y="1117"/>
                    <a:pt x="1610" y="1084"/>
                    <a:pt x="1602" y="1044"/>
                  </a:cubicBezTo>
                  <a:cubicBezTo>
                    <a:pt x="1600" y="1035"/>
                    <a:pt x="1599" y="1028"/>
                    <a:pt x="1611" y="1027"/>
                  </a:cubicBezTo>
                  <a:cubicBezTo>
                    <a:pt x="1614" y="1027"/>
                    <a:pt x="1617" y="1024"/>
                    <a:pt x="1619" y="1023"/>
                  </a:cubicBezTo>
                  <a:cubicBezTo>
                    <a:pt x="1626" y="1019"/>
                    <a:pt x="1624" y="1013"/>
                    <a:pt x="1623" y="1008"/>
                  </a:cubicBezTo>
                  <a:cubicBezTo>
                    <a:pt x="1623" y="1002"/>
                    <a:pt x="1618" y="1003"/>
                    <a:pt x="1613" y="1002"/>
                  </a:cubicBezTo>
                  <a:cubicBezTo>
                    <a:pt x="1598" y="1002"/>
                    <a:pt x="1582" y="1004"/>
                    <a:pt x="1567" y="1000"/>
                  </a:cubicBezTo>
                  <a:cubicBezTo>
                    <a:pt x="1560" y="999"/>
                    <a:pt x="1554" y="993"/>
                    <a:pt x="1546" y="993"/>
                  </a:cubicBezTo>
                  <a:cubicBezTo>
                    <a:pt x="1536" y="994"/>
                    <a:pt x="1525" y="992"/>
                    <a:pt x="1515" y="993"/>
                  </a:cubicBezTo>
                  <a:cubicBezTo>
                    <a:pt x="1490" y="997"/>
                    <a:pt x="1469" y="1010"/>
                    <a:pt x="1462" y="1034"/>
                  </a:cubicBezTo>
                  <a:cubicBezTo>
                    <a:pt x="1455" y="1056"/>
                    <a:pt x="1457" y="1079"/>
                    <a:pt x="1476" y="1096"/>
                  </a:cubicBezTo>
                  <a:cubicBezTo>
                    <a:pt x="1483" y="1103"/>
                    <a:pt x="1483" y="1107"/>
                    <a:pt x="1476" y="1113"/>
                  </a:cubicBezTo>
                  <a:cubicBezTo>
                    <a:pt x="1462" y="1126"/>
                    <a:pt x="1462" y="1142"/>
                    <a:pt x="1473" y="1157"/>
                  </a:cubicBezTo>
                  <a:cubicBezTo>
                    <a:pt x="1476" y="1160"/>
                    <a:pt x="1476" y="1162"/>
                    <a:pt x="1472" y="1164"/>
                  </a:cubicBezTo>
                  <a:cubicBezTo>
                    <a:pt x="1470" y="1166"/>
                    <a:pt x="1468" y="1168"/>
                    <a:pt x="1466" y="1170"/>
                  </a:cubicBezTo>
                  <a:cubicBezTo>
                    <a:pt x="1449" y="1183"/>
                    <a:pt x="1444" y="1201"/>
                    <a:pt x="1454" y="1218"/>
                  </a:cubicBezTo>
                  <a:cubicBezTo>
                    <a:pt x="1464" y="1235"/>
                    <a:pt x="1479" y="1246"/>
                    <a:pt x="1499" y="1249"/>
                  </a:cubicBezTo>
                  <a:cubicBezTo>
                    <a:pt x="1517" y="1252"/>
                    <a:pt x="1535" y="1253"/>
                    <a:pt x="1553" y="1250"/>
                  </a:cubicBezTo>
                  <a:cubicBezTo>
                    <a:pt x="1584" y="1245"/>
                    <a:pt x="1607" y="1232"/>
                    <a:pt x="1619" y="1200"/>
                  </a:cubicBezTo>
                  <a:cubicBezTo>
                    <a:pt x="1627" y="1180"/>
                    <a:pt x="1611" y="1155"/>
                    <a:pt x="1593" y="1148"/>
                  </a:cubicBezTo>
                  <a:cubicBezTo>
                    <a:pt x="1578" y="1142"/>
                    <a:pt x="1563" y="1143"/>
                    <a:pt x="1549" y="1142"/>
                  </a:cubicBezTo>
                  <a:cubicBezTo>
                    <a:pt x="1540" y="1142"/>
                    <a:pt x="1532" y="1142"/>
                    <a:pt x="1525" y="1142"/>
                  </a:cubicBezTo>
                  <a:close/>
                  <a:moveTo>
                    <a:pt x="1556" y="1172"/>
                  </a:moveTo>
                  <a:cubicBezTo>
                    <a:pt x="1566" y="1172"/>
                    <a:pt x="1576" y="1176"/>
                    <a:pt x="1583" y="1183"/>
                  </a:cubicBezTo>
                  <a:cubicBezTo>
                    <a:pt x="1589" y="1190"/>
                    <a:pt x="1589" y="1198"/>
                    <a:pt x="1583" y="1205"/>
                  </a:cubicBezTo>
                  <a:cubicBezTo>
                    <a:pt x="1575" y="1215"/>
                    <a:pt x="1565" y="1220"/>
                    <a:pt x="1553" y="1223"/>
                  </a:cubicBezTo>
                  <a:cubicBezTo>
                    <a:pt x="1534" y="1228"/>
                    <a:pt x="1516" y="1225"/>
                    <a:pt x="1499" y="1219"/>
                  </a:cubicBezTo>
                  <a:cubicBezTo>
                    <a:pt x="1486" y="1214"/>
                    <a:pt x="1479" y="1203"/>
                    <a:pt x="1482" y="1193"/>
                  </a:cubicBezTo>
                  <a:cubicBezTo>
                    <a:pt x="1485" y="1182"/>
                    <a:pt x="1496" y="1168"/>
                    <a:pt x="1514" y="1171"/>
                  </a:cubicBezTo>
                  <a:cubicBezTo>
                    <a:pt x="1526" y="1173"/>
                    <a:pt x="1541" y="1171"/>
                    <a:pt x="1556" y="1172"/>
                  </a:cubicBezTo>
                  <a:close/>
                  <a:moveTo>
                    <a:pt x="1531" y="1019"/>
                  </a:moveTo>
                  <a:cubicBezTo>
                    <a:pt x="1553" y="1017"/>
                    <a:pt x="1570" y="1033"/>
                    <a:pt x="1570" y="1052"/>
                  </a:cubicBezTo>
                  <a:cubicBezTo>
                    <a:pt x="1570" y="1075"/>
                    <a:pt x="1554" y="1093"/>
                    <a:pt x="1532" y="1091"/>
                  </a:cubicBezTo>
                  <a:cubicBezTo>
                    <a:pt x="1508" y="1089"/>
                    <a:pt x="1494" y="1082"/>
                    <a:pt x="1493" y="1053"/>
                  </a:cubicBezTo>
                  <a:cubicBezTo>
                    <a:pt x="1494" y="1029"/>
                    <a:pt x="1508" y="1020"/>
                    <a:pt x="1531" y="1019"/>
                  </a:cubicBezTo>
                  <a:close/>
                  <a:moveTo>
                    <a:pt x="1413" y="934"/>
                  </a:moveTo>
                  <a:cubicBezTo>
                    <a:pt x="1413" y="909"/>
                    <a:pt x="1413" y="909"/>
                    <a:pt x="1389" y="910"/>
                  </a:cubicBezTo>
                  <a:cubicBezTo>
                    <a:pt x="1388" y="910"/>
                    <a:pt x="1387" y="910"/>
                    <a:pt x="1387" y="910"/>
                  </a:cubicBezTo>
                  <a:cubicBezTo>
                    <a:pt x="1379" y="910"/>
                    <a:pt x="1376" y="915"/>
                    <a:pt x="1376" y="921"/>
                  </a:cubicBezTo>
                  <a:cubicBezTo>
                    <a:pt x="1376" y="939"/>
                    <a:pt x="1377" y="956"/>
                    <a:pt x="1377" y="974"/>
                  </a:cubicBezTo>
                  <a:cubicBezTo>
                    <a:pt x="1377" y="983"/>
                    <a:pt x="1377" y="991"/>
                    <a:pt x="1377" y="1000"/>
                  </a:cubicBezTo>
                  <a:cubicBezTo>
                    <a:pt x="1377" y="1005"/>
                    <a:pt x="1374" y="1009"/>
                    <a:pt x="1369" y="1005"/>
                  </a:cubicBezTo>
                  <a:cubicBezTo>
                    <a:pt x="1352" y="990"/>
                    <a:pt x="1332" y="993"/>
                    <a:pt x="1312" y="993"/>
                  </a:cubicBezTo>
                  <a:cubicBezTo>
                    <a:pt x="1303" y="994"/>
                    <a:pt x="1294" y="998"/>
                    <a:pt x="1287" y="1003"/>
                  </a:cubicBezTo>
                  <a:cubicBezTo>
                    <a:pt x="1265" y="1017"/>
                    <a:pt x="1252" y="1039"/>
                    <a:pt x="1248" y="1065"/>
                  </a:cubicBezTo>
                  <a:cubicBezTo>
                    <a:pt x="1244" y="1096"/>
                    <a:pt x="1244" y="1128"/>
                    <a:pt x="1261" y="1157"/>
                  </a:cubicBezTo>
                  <a:cubicBezTo>
                    <a:pt x="1270" y="1170"/>
                    <a:pt x="1281" y="1181"/>
                    <a:pt x="1296" y="1185"/>
                  </a:cubicBezTo>
                  <a:cubicBezTo>
                    <a:pt x="1323" y="1191"/>
                    <a:pt x="1349" y="1188"/>
                    <a:pt x="1370" y="1167"/>
                  </a:cubicBezTo>
                  <a:cubicBezTo>
                    <a:pt x="1372" y="1165"/>
                    <a:pt x="1375" y="1162"/>
                    <a:pt x="1379" y="1163"/>
                  </a:cubicBezTo>
                  <a:cubicBezTo>
                    <a:pt x="1382" y="1165"/>
                    <a:pt x="1381" y="1169"/>
                    <a:pt x="1381" y="1172"/>
                  </a:cubicBezTo>
                  <a:cubicBezTo>
                    <a:pt x="1383" y="1181"/>
                    <a:pt x="1390" y="1186"/>
                    <a:pt x="1403" y="1186"/>
                  </a:cubicBezTo>
                  <a:cubicBezTo>
                    <a:pt x="1413" y="1185"/>
                    <a:pt x="1413" y="1178"/>
                    <a:pt x="1413" y="1172"/>
                  </a:cubicBezTo>
                  <a:cubicBezTo>
                    <a:pt x="1413" y="1131"/>
                    <a:pt x="1413" y="1090"/>
                    <a:pt x="1413" y="1049"/>
                  </a:cubicBezTo>
                  <a:cubicBezTo>
                    <a:pt x="1413" y="1010"/>
                    <a:pt x="1413" y="972"/>
                    <a:pt x="1413" y="934"/>
                  </a:cubicBezTo>
                  <a:close/>
                  <a:moveTo>
                    <a:pt x="1378" y="1113"/>
                  </a:moveTo>
                  <a:cubicBezTo>
                    <a:pt x="1378" y="1136"/>
                    <a:pt x="1360" y="1155"/>
                    <a:pt x="1337" y="1157"/>
                  </a:cubicBezTo>
                  <a:cubicBezTo>
                    <a:pt x="1319" y="1159"/>
                    <a:pt x="1304" y="1154"/>
                    <a:pt x="1294" y="1139"/>
                  </a:cubicBezTo>
                  <a:cubicBezTo>
                    <a:pt x="1286" y="1128"/>
                    <a:pt x="1283" y="1116"/>
                    <a:pt x="1283" y="1102"/>
                  </a:cubicBezTo>
                  <a:cubicBezTo>
                    <a:pt x="1282" y="1085"/>
                    <a:pt x="1282" y="1067"/>
                    <a:pt x="1290" y="1051"/>
                  </a:cubicBezTo>
                  <a:cubicBezTo>
                    <a:pt x="1297" y="1036"/>
                    <a:pt x="1308" y="1024"/>
                    <a:pt x="1325" y="1022"/>
                  </a:cubicBezTo>
                  <a:cubicBezTo>
                    <a:pt x="1342" y="1020"/>
                    <a:pt x="1358" y="1021"/>
                    <a:pt x="1371" y="1035"/>
                  </a:cubicBezTo>
                  <a:cubicBezTo>
                    <a:pt x="1376" y="1041"/>
                    <a:pt x="1378" y="1046"/>
                    <a:pt x="1378" y="1052"/>
                  </a:cubicBezTo>
                  <a:cubicBezTo>
                    <a:pt x="1378" y="1064"/>
                    <a:pt x="1378" y="1075"/>
                    <a:pt x="1378" y="1086"/>
                  </a:cubicBezTo>
                  <a:cubicBezTo>
                    <a:pt x="1378" y="1086"/>
                    <a:pt x="1378" y="1086"/>
                    <a:pt x="1378" y="1086"/>
                  </a:cubicBezTo>
                  <a:cubicBezTo>
                    <a:pt x="1378" y="1095"/>
                    <a:pt x="1378" y="1104"/>
                    <a:pt x="1378" y="1113"/>
                  </a:cubicBezTo>
                  <a:close/>
                  <a:moveTo>
                    <a:pt x="578" y="259"/>
                  </a:moveTo>
                  <a:cubicBezTo>
                    <a:pt x="603" y="241"/>
                    <a:pt x="611" y="213"/>
                    <a:pt x="614" y="183"/>
                  </a:cubicBezTo>
                  <a:cubicBezTo>
                    <a:pt x="615" y="171"/>
                    <a:pt x="610" y="159"/>
                    <a:pt x="609" y="147"/>
                  </a:cubicBezTo>
                  <a:cubicBezTo>
                    <a:pt x="608" y="137"/>
                    <a:pt x="603" y="129"/>
                    <a:pt x="599" y="121"/>
                  </a:cubicBezTo>
                  <a:cubicBezTo>
                    <a:pt x="579" y="87"/>
                    <a:pt x="527" y="70"/>
                    <a:pt x="488" y="85"/>
                  </a:cubicBezTo>
                  <a:cubicBezTo>
                    <a:pt x="453" y="99"/>
                    <a:pt x="436" y="127"/>
                    <a:pt x="431" y="163"/>
                  </a:cubicBezTo>
                  <a:cubicBezTo>
                    <a:pt x="429" y="180"/>
                    <a:pt x="430" y="196"/>
                    <a:pt x="436" y="213"/>
                  </a:cubicBezTo>
                  <a:cubicBezTo>
                    <a:pt x="439" y="222"/>
                    <a:pt x="442" y="232"/>
                    <a:pt x="447" y="239"/>
                  </a:cubicBezTo>
                  <a:cubicBezTo>
                    <a:pt x="465" y="265"/>
                    <a:pt x="491" y="277"/>
                    <a:pt x="525" y="276"/>
                  </a:cubicBezTo>
                  <a:cubicBezTo>
                    <a:pt x="543" y="278"/>
                    <a:pt x="562" y="271"/>
                    <a:pt x="578" y="259"/>
                  </a:cubicBezTo>
                  <a:close/>
                  <a:moveTo>
                    <a:pt x="471" y="205"/>
                  </a:moveTo>
                  <a:cubicBezTo>
                    <a:pt x="466" y="185"/>
                    <a:pt x="468" y="167"/>
                    <a:pt x="472" y="147"/>
                  </a:cubicBezTo>
                  <a:cubicBezTo>
                    <a:pt x="477" y="130"/>
                    <a:pt x="493" y="116"/>
                    <a:pt x="509" y="112"/>
                  </a:cubicBezTo>
                  <a:cubicBezTo>
                    <a:pt x="525" y="108"/>
                    <a:pt x="539" y="110"/>
                    <a:pt x="553" y="119"/>
                  </a:cubicBezTo>
                  <a:cubicBezTo>
                    <a:pt x="563" y="125"/>
                    <a:pt x="568" y="135"/>
                    <a:pt x="571" y="146"/>
                  </a:cubicBezTo>
                  <a:cubicBezTo>
                    <a:pt x="577" y="167"/>
                    <a:pt x="578" y="189"/>
                    <a:pt x="571" y="211"/>
                  </a:cubicBezTo>
                  <a:cubicBezTo>
                    <a:pt x="565" y="231"/>
                    <a:pt x="549" y="249"/>
                    <a:pt x="521" y="247"/>
                  </a:cubicBezTo>
                  <a:cubicBezTo>
                    <a:pt x="496" y="247"/>
                    <a:pt x="478" y="230"/>
                    <a:pt x="471" y="205"/>
                  </a:cubicBezTo>
                  <a:close/>
                  <a:moveTo>
                    <a:pt x="472" y="1122"/>
                  </a:moveTo>
                  <a:cubicBezTo>
                    <a:pt x="475" y="1136"/>
                    <a:pt x="481" y="1148"/>
                    <a:pt x="491" y="1158"/>
                  </a:cubicBezTo>
                  <a:cubicBezTo>
                    <a:pt x="506" y="1176"/>
                    <a:pt x="524" y="1185"/>
                    <a:pt x="548" y="1187"/>
                  </a:cubicBezTo>
                  <a:cubicBezTo>
                    <a:pt x="568" y="1188"/>
                    <a:pt x="587" y="1187"/>
                    <a:pt x="605" y="1177"/>
                  </a:cubicBezTo>
                  <a:cubicBezTo>
                    <a:pt x="632" y="1162"/>
                    <a:pt x="644" y="1136"/>
                    <a:pt x="649" y="1107"/>
                  </a:cubicBezTo>
                  <a:cubicBezTo>
                    <a:pt x="652" y="1089"/>
                    <a:pt x="649" y="1072"/>
                    <a:pt x="644" y="1054"/>
                  </a:cubicBezTo>
                  <a:cubicBezTo>
                    <a:pt x="638" y="1034"/>
                    <a:pt x="627" y="1019"/>
                    <a:pt x="610" y="1007"/>
                  </a:cubicBezTo>
                  <a:cubicBezTo>
                    <a:pt x="589" y="992"/>
                    <a:pt x="566" y="991"/>
                    <a:pt x="541" y="994"/>
                  </a:cubicBezTo>
                  <a:cubicBezTo>
                    <a:pt x="526" y="995"/>
                    <a:pt x="512" y="1002"/>
                    <a:pt x="500" y="1012"/>
                  </a:cubicBezTo>
                  <a:cubicBezTo>
                    <a:pt x="476" y="1032"/>
                    <a:pt x="469" y="1060"/>
                    <a:pt x="466" y="1095"/>
                  </a:cubicBezTo>
                  <a:cubicBezTo>
                    <a:pt x="465" y="1101"/>
                    <a:pt x="470" y="1111"/>
                    <a:pt x="472" y="1122"/>
                  </a:cubicBezTo>
                  <a:close/>
                  <a:moveTo>
                    <a:pt x="508" y="1113"/>
                  </a:moveTo>
                  <a:cubicBezTo>
                    <a:pt x="505" y="1095"/>
                    <a:pt x="506" y="1078"/>
                    <a:pt x="508" y="1061"/>
                  </a:cubicBezTo>
                  <a:cubicBezTo>
                    <a:pt x="511" y="1042"/>
                    <a:pt x="538" y="1021"/>
                    <a:pt x="554" y="1022"/>
                  </a:cubicBezTo>
                  <a:cubicBezTo>
                    <a:pt x="570" y="1022"/>
                    <a:pt x="586" y="1024"/>
                    <a:pt x="596" y="1037"/>
                  </a:cubicBezTo>
                  <a:cubicBezTo>
                    <a:pt x="602" y="1044"/>
                    <a:pt x="607" y="1052"/>
                    <a:pt x="608" y="1061"/>
                  </a:cubicBezTo>
                  <a:cubicBezTo>
                    <a:pt x="608" y="1064"/>
                    <a:pt x="609" y="1067"/>
                    <a:pt x="610" y="1070"/>
                  </a:cubicBezTo>
                  <a:cubicBezTo>
                    <a:pt x="618" y="1089"/>
                    <a:pt x="612" y="1107"/>
                    <a:pt x="607" y="1125"/>
                  </a:cubicBezTo>
                  <a:cubicBezTo>
                    <a:pt x="601" y="1143"/>
                    <a:pt x="588" y="1160"/>
                    <a:pt x="558" y="1157"/>
                  </a:cubicBezTo>
                  <a:cubicBezTo>
                    <a:pt x="530" y="1157"/>
                    <a:pt x="512" y="1141"/>
                    <a:pt x="508" y="1113"/>
                  </a:cubicBezTo>
                  <a:close/>
                  <a:moveTo>
                    <a:pt x="430" y="716"/>
                  </a:moveTo>
                  <a:cubicBezTo>
                    <a:pt x="450" y="703"/>
                    <a:pt x="459" y="683"/>
                    <a:pt x="464" y="661"/>
                  </a:cubicBezTo>
                  <a:cubicBezTo>
                    <a:pt x="468" y="648"/>
                    <a:pt x="467" y="635"/>
                    <a:pt x="466" y="621"/>
                  </a:cubicBezTo>
                  <a:cubicBezTo>
                    <a:pt x="463" y="592"/>
                    <a:pt x="453" y="567"/>
                    <a:pt x="427" y="550"/>
                  </a:cubicBezTo>
                  <a:cubicBezTo>
                    <a:pt x="401" y="534"/>
                    <a:pt x="372" y="532"/>
                    <a:pt x="345" y="541"/>
                  </a:cubicBezTo>
                  <a:cubicBezTo>
                    <a:pt x="310" y="552"/>
                    <a:pt x="291" y="580"/>
                    <a:pt x="287" y="617"/>
                  </a:cubicBezTo>
                  <a:cubicBezTo>
                    <a:pt x="286" y="629"/>
                    <a:pt x="286" y="641"/>
                    <a:pt x="287" y="654"/>
                  </a:cubicBezTo>
                  <a:cubicBezTo>
                    <a:pt x="289" y="671"/>
                    <a:pt x="295" y="686"/>
                    <a:pt x="306" y="700"/>
                  </a:cubicBezTo>
                  <a:cubicBezTo>
                    <a:pt x="324" y="722"/>
                    <a:pt x="348" y="733"/>
                    <a:pt x="378" y="731"/>
                  </a:cubicBezTo>
                  <a:cubicBezTo>
                    <a:pt x="396" y="733"/>
                    <a:pt x="414" y="727"/>
                    <a:pt x="430" y="716"/>
                  </a:cubicBezTo>
                  <a:close/>
                  <a:moveTo>
                    <a:pt x="331" y="592"/>
                  </a:moveTo>
                  <a:cubicBezTo>
                    <a:pt x="339" y="580"/>
                    <a:pt x="349" y="569"/>
                    <a:pt x="365" y="567"/>
                  </a:cubicBezTo>
                  <a:cubicBezTo>
                    <a:pt x="387" y="564"/>
                    <a:pt x="406" y="568"/>
                    <a:pt x="419" y="588"/>
                  </a:cubicBezTo>
                  <a:cubicBezTo>
                    <a:pt x="423" y="595"/>
                    <a:pt x="426" y="603"/>
                    <a:pt x="427" y="610"/>
                  </a:cubicBezTo>
                  <a:cubicBezTo>
                    <a:pt x="433" y="635"/>
                    <a:pt x="431" y="661"/>
                    <a:pt x="416" y="684"/>
                  </a:cubicBezTo>
                  <a:cubicBezTo>
                    <a:pt x="403" y="706"/>
                    <a:pt x="362" y="708"/>
                    <a:pt x="345" y="692"/>
                  </a:cubicBezTo>
                  <a:cubicBezTo>
                    <a:pt x="329" y="678"/>
                    <a:pt x="323" y="661"/>
                    <a:pt x="323" y="631"/>
                  </a:cubicBezTo>
                  <a:cubicBezTo>
                    <a:pt x="323" y="619"/>
                    <a:pt x="323" y="605"/>
                    <a:pt x="331" y="592"/>
                  </a:cubicBezTo>
                  <a:close/>
                  <a:moveTo>
                    <a:pt x="1073" y="259"/>
                  </a:moveTo>
                  <a:cubicBezTo>
                    <a:pt x="1073" y="269"/>
                    <a:pt x="1075" y="272"/>
                    <a:pt x="1086" y="272"/>
                  </a:cubicBezTo>
                  <a:cubicBezTo>
                    <a:pt x="1088" y="272"/>
                    <a:pt x="1090" y="272"/>
                    <a:pt x="1092" y="272"/>
                  </a:cubicBezTo>
                  <a:cubicBezTo>
                    <a:pt x="1105" y="272"/>
                    <a:pt x="1106" y="271"/>
                    <a:pt x="1106" y="258"/>
                  </a:cubicBezTo>
                  <a:cubicBezTo>
                    <a:pt x="1106" y="221"/>
                    <a:pt x="1106" y="184"/>
                    <a:pt x="1106" y="147"/>
                  </a:cubicBezTo>
                  <a:cubicBezTo>
                    <a:pt x="1106" y="143"/>
                    <a:pt x="1106" y="140"/>
                    <a:pt x="1107" y="137"/>
                  </a:cubicBezTo>
                  <a:cubicBezTo>
                    <a:pt x="1117" y="117"/>
                    <a:pt x="1157" y="104"/>
                    <a:pt x="1177" y="114"/>
                  </a:cubicBezTo>
                  <a:cubicBezTo>
                    <a:pt x="1179" y="115"/>
                    <a:pt x="1180" y="117"/>
                    <a:pt x="1182" y="118"/>
                  </a:cubicBezTo>
                  <a:cubicBezTo>
                    <a:pt x="1194" y="131"/>
                    <a:pt x="1196" y="147"/>
                    <a:pt x="1196" y="163"/>
                  </a:cubicBezTo>
                  <a:cubicBezTo>
                    <a:pt x="1197" y="195"/>
                    <a:pt x="1196" y="226"/>
                    <a:pt x="1196" y="258"/>
                  </a:cubicBezTo>
                  <a:cubicBezTo>
                    <a:pt x="1196" y="271"/>
                    <a:pt x="1197" y="272"/>
                    <a:pt x="1210" y="272"/>
                  </a:cubicBezTo>
                  <a:cubicBezTo>
                    <a:pt x="1212" y="272"/>
                    <a:pt x="1213" y="272"/>
                    <a:pt x="1215" y="272"/>
                  </a:cubicBezTo>
                  <a:cubicBezTo>
                    <a:pt x="1227" y="272"/>
                    <a:pt x="1229" y="270"/>
                    <a:pt x="1229" y="258"/>
                  </a:cubicBezTo>
                  <a:cubicBezTo>
                    <a:pt x="1229" y="222"/>
                    <a:pt x="1229" y="187"/>
                    <a:pt x="1229" y="151"/>
                  </a:cubicBezTo>
                  <a:cubicBezTo>
                    <a:pt x="1229" y="142"/>
                    <a:pt x="1228" y="132"/>
                    <a:pt x="1225" y="123"/>
                  </a:cubicBezTo>
                  <a:cubicBezTo>
                    <a:pt x="1219" y="105"/>
                    <a:pt x="1208" y="91"/>
                    <a:pt x="1189" y="85"/>
                  </a:cubicBezTo>
                  <a:cubicBezTo>
                    <a:pt x="1173" y="80"/>
                    <a:pt x="1156" y="84"/>
                    <a:pt x="1139" y="84"/>
                  </a:cubicBezTo>
                  <a:cubicBezTo>
                    <a:pt x="1137" y="84"/>
                    <a:pt x="1136" y="86"/>
                    <a:pt x="1134" y="87"/>
                  </a:cubicBezTo>
                  <a:cubicBezTo>
                    <a:pt x="1128" y="91"/>
                    <a:pt x="1121" y="96"/>
                    <a:pt x="1115" y="100"/>
                  </a:cubicBezTo>
                  <a:cubicBezTo>
                    <a:pt x="1113" y="102"/>
                    <a:pt x="1111" y="105"/>
                    <a:pt x="1108" y="103"/>
                  </a:cubicBezTo>
                  <a:cubicBezTo>
                    <a:pt x="1105" y="102"/>
                    <a:pt x="1106" y="98"/>
                    <a:pt x="1106" y="96"/>
                  </a:cubicBezTo>
                  <a:cubicBezTo>
                    <a:pt x="1106" y="69"/>
                    <a:pt x="1106" y="43"/>
                    <a:pt x="1106" y="17"/>
                  </a:cubicBezTo>
                  <a:cubicBezTo>
                    <a:pt x="1106" y="0"/>
                    <a:pt x="1106" y="0"/>
                    <a:pt x="1089" y="0"/>
                  </a:cubicBezTo>
                  <a:cubicBezTo>
                    <a:pt x="1074" y="0"/>
                    <a:pt x="1073" y="1"/>
                    <a:pt x="1073" y="16"/>
                  </a:cubicBezTo>
                  <a:cubicBezTo>
                    <a:pt x="1073" y="56"/>
                    <a:pt x="1073" y="96"/>
                    <a:pt x="1073" y="136"/>
                  </a:cubicBezTo>
                  <a:cubicBezTo>
                    <a:pt x="1073" y="177"/>
                    <a:pt x="1073" y="218"/>
                    <a:pt x="1073" y="259"/>
                  </a:cubicBezTo>
                  <a:close/>
                  <a:moveTo>
                    <a:pt x="1150" y="1092"/>
                  </a:moveTo>
                  <a:cubicBezTo>
                    <a:pt x="1168" y="1092"/>
                    <a:pt x="1186" y="1092"/>
                    <a:pt x="1204" y="1092"/>
                  </a:cubicBezTo>
                  <a:cubicBezTo>
                    <a:pt x="1215" y="1092"/>
                    <a:pt x="1218" y="1087"/>
                    <a:pt x="1219" y="1077"/>
                  </a:cubicBezTo>
                  <a:cubicBezTo>
                    <a:pt x="1220" y="1062"/>
                    <a:pt x="1216" y="1049"/>
                    <a:pt x="1210" y="1036"/>
                  </a:cubicBezTo>
                  <a:cubicBezTo>
                    <a:pt x="1204" y="1020"/>
                    <a:pt x="1193" y="1008"/>
                    <a:pt x="1177" y="1001"/>
                  </a:cubicBezTo>
                  <a:cubicBezTo>
                    <a:pt x="1155" y="992"/>
                    <a:pt x="1133" y="991"/>
                    <a:pt x="1109" y="999"/>
                  </a:cubicBezTo>
                  <a:cubicBezTo>
                    <a:pt x="1079" y="1010"/>
                    <a:pt x="1062" y="1031"/>
                    <a:pt x="1056" y="1061"/>
                  </a:cubicBezTo>
                  <a:cubicBezTo>
                    <a:pt x="1051" y="1090"/>
                    <a:pt x="1052" y="1120"/>
                    <a:pt x="1069" y="1148"/>
                  </a:cubicBezTo>
                  <a:cubicBezTo>
                    <a:pt x="1081" y="1169"/>
                    <a:pt x="1100" y="1180"/>
                    <a:pt x="1122" y="1185"/>
                  </a:cubicBezTo>
                  <a:cubicBezTo>
                    <a:pt x="1149" y="1190"/>
                    <a:pt x="1176" y="1186"/>
                    <a:pt x="1200" y="1171"/>
                  </a:cubicBezTo>
                  <a:cubicBezTo>
                    <a:pt x="1206" y="1168"/>
                    <a:pt x="1213" y="1165"/>
                    <a:pt x="1214" y="1157"/>
                  </a:cubicBezTo>
                  <a:cubicBezTo>
                    <a:pt x="1215" y="1147"/>
                    <a:pt x="1202" y="1139"/>
                    <a:pt x="1193" y="1144"/>
                  </a:cubicBezTo>
                  <a:cubicBezTo>
                    <a:pt x="1187" y="1147"/>
                    <a:pt x="1180" y="1150"/>
                    <a:pt x="1174" y="1153"/>
                  </a:cubicBezTo>
                  <a:cubicBezTo>
                    <a:pt x="1158" y="1161"/>
                    <a:pt x="1140" y="1161"/>
                    <a:pt x="1124" y="1155"/>
                  </a:cubicBezTo>
                  <a:cubicBezTo>
                    <a:pt x="1112" y="1151"/>
                    <a:pt x="1102" y="1142"/>
                    <a:pt x="1096" y="1129"/>
                  </a:cubicBezTo>
                  <a:cubicBezTo>
                    <a:pt x="1092" y="1121"/>
                    <a:pt x="1091" y="1112"/>
                    <a:pt x="1089" y="1104"/>
                  </a:cubicBezTo>
                  <a:cubicBezTo>
                    <a:pt x="1087" y="1093"/>
                    <a:pt x="1087" y="1092"/>
                    <a:pt x="1099" y="1092"/>
                  </a:cubicBezTo>
                  <a:cubicBezTo>
                    <a:pt x="1116" y="1092"/>
                    <a:pt x="1133" y="1092"/>
                    <a:pt x="1150" y="1092"/>
                  </a:cubicBezTo>
                  <a:cubicBezTo>
                    <a:pt x="1150" y="1092"/>
                    <a:pt x="1150" y="1092"/>
                    <a:pt x="1150" y="1092"/>
                  </a:cubicBezTo>
                  <a:close/>
                  <a:moveTo>
                    <a:pt x="1099" y="1070"/>
                  </a:moveTo>
                  <a:cubicBezTo>
                    <a:pt x="1092" y="1071"/>
                    <a:pt x="1089" y="1067"/>
                    <a:pt x="1091" y="1060"/>
                  </a:cubicBezTo>
                  <a:cubicBezTo>
                    <a:pt x="1094" y="1045"/>
                    <a:pt x="1108" y="1023"/>
                    <a:pt x="1128" y="1022"/>
                  </a:cubicBezTo>
                  <a:cubicBezTo>
                    <a:pt x="1142" y="1021"/>
                    <a:pt x="1156" y="1018"/>
                    <a:pt x="1168" y="1029"/>
                  </a:cubicBezTo>
                  <a:cubicBezTo>
                    <a:pt x="1181" y="1038"/>
                    <a:pt x="1185" y="1051"/>
                    <a:pt x="1187" y="1066"/>
                  </a:cubicBezTo>
                  <a:cubicBezTo>
                    <a:pt x="1188" y="1071"/>
                    <a:pt x="1183" y="1070"/>
                    <a:pt x="1180" y="1070"/>
                  </a:cubicBezTo>
                  <a:cubicBezTo>
                    <a:pt x="1166" y="1070"/>
                    <a:pt x="1153" y="1070"/>
                    <a:pt x="1139" y="1070"/>
                  </a:cubicBezTo>
                  <a:cubicBezTo>
                    <a:pt x="1139" y="1070"/>
                    <a:pt x="1139" y="1070"/>
                    <a:pt x="1139" y="1070"/>
                  </a:cubicBezTo>
                  <a:cubicBezTo>
                    <a:pt x="1126" y="1070"/>
                    <a:pt x="1113" y="1070"/>
                    <a:pt x="1099" y="1070"/>
                  </a:cubicBezTo>
                  <a:close/>
                  <a:moveTo>
                    <a:pt x="1741" y="1092"/>
                  </a:moveTo>
                  <a:cubicBezTo>
                    <a:pt x="1759" y="1092"/>
                    <a:pt x="1776" y="1092"/>
                    <a:pt x="1793" y="1092"/>
                  </a:cubicBezTo>
                  <a:cubicBezTo>
                    <a:pt x="1806" y="1092"/>
                    <a:pt x="1808" y="1089"/>
                    <a:pt x="1808" y="1076"/>
                  </a:cubicBezTo>
                  <a:cubicBezTo>
                    <a:pt x="1809" y="1063"/>
                    <a:pt x="1807" y="1051"/>
                    <a:pt x="1802" y="1038"/>
                  </a:cubicBezTo>
                  <a:cubicBezTo>
                    <a:pt x="1794" y="1021"/>
                    <a:pt x="1782" y="1008"/>
                    <a:pt x="1764" y="1000"/>
                  </a:cubicBezTo>
                  <a:cubicBezTo>
                    <a:pt x="1742" y="991"/>
                    <a:pt x="1720" y="991"/>
                    <a:pt x="1698" y="1000"/>
                  </a:cubicBezTo>
                  <a:cubicBezTo>
                    <a:pt x="1681" y="1006"/>
                    <a:pt x="1668" y="1016"/>
                    <a:pt x="1659" y="1031"/>
                  </a:cubicBezTo>
                  <a:cubicBezTo>
                    <a:pt x="1646" y="1050"/>
                    <a:pt x="1643" y="1071"/>
                    <a:pt x="1644" y="1094"/>
                  </a:cubicBezTo>
                  <a:cubicBezTo>
                    <a:pt x="1644" y="1110"/>
                    <a:pt x="1647" y="1127"/>
                    <a:pt x="1655" y="1141"/>
                  </a:cubicBezTo>
                  <a:cubicBezTo>
                    <a:pt x="1669" y="1168"/>
                    <a:pt x="1691" y="1183"/>
                    <a:pt x="1722" y="1186"/>
                  </a:cubicBezTo>
                  <a:cubicBezTo>
                    <a:pt x="1750" y="1188"/>
                    <a:pt x="1775" y="1183"/>
                    <a:pt x="1798" y="1165"/>
                  </a:cubicBezTo>
                  <a:cubicBezTo>
                    <a:pt x="1803" y="1161"/>
                    <a:pt x="1806" y="1157"/>
                    <a:pt x="1802" y="1151"/>
                  </a:cubicBezTo>
                  <a:cubicBezTo>
                    <a:pt x="1798" y="1144"/>
                    <a:pt x="1791" y="1140"/>
                    <a:pt x="1783" y="1144"/>
                  </a:cubicBezTo>
                  <a:cubicBezTo>
                    <a:pt x="1778" y="1147"/>
                    <a:pt x="1771" y="1149"/>
                    <a:pt x="1766" y="1152"/>
                  </a:cubicBezTo>
                  <a:cubicBezTo>
                    <a:pt x="1749" y="1161"/>
                    <a:pt x="1730" y="1162"/>
                    <a:pt x="1714" y="1155"/>
                  </a:cubicBezTo>
                  <a:cubicBezTo>
                    <a:pt x="1692" y="1145"/>
                    <a:pt x="1680" y="1127"/>
                    <a:pt x="1679" y="1102"/>
                  </a:cubicBezTo>
                  <a:cubicBezTo>
                    <a:pt x="1678" y="1095"/>
                    <a:pt x="1681" y="1092"/>
                    <a:pt x="1689" y="1092"/>
                  </a:cubicBezTo>
                  <a:cubicBezTo>
                    <a:pt x="1706" y="1092"/>
                    <a:pt x="1724" y="1092"/>
                    <a:pt x="1741" y="1092"/>
                  </a:cubicBezTo>
                  <a:cubicBezTo>
                    <a:pt x="1741" y="1092"/>
                    <a:pt x="1741" y="1092"/>
                    <a:pt x="1741" y="1092"/>
                  </a:cubicBezTo>
                  <a:close/>
                  <a:moveTo>
                    <a:pt x="1690" y="1070"/>
                  </a:moveTo>
                  <a:cubicBezTo>
                    <a:pt x="1683" y="1071"/>
                    <a:pt x="1680" y="1068"/>
                    <a:pt x="1681" y="1062"/>
                  </a:cubicBezTo>
                  <a:cubicBezTo>
                    <a:pt x="1683" y="1048"/>
                    <a:pt x="1697" y="1024"/>
                    <a:pt x="1716" y="1022"/>
                  </a:cubicBezTo>
                  <a:cubicBezTo>
                    <a:pt x="1731" y="1020"/>
                    <a:pt x="1747" y="1018"/>
                    <a:pt x="1760" y="1030"/>
                  </a:cubicBezTo>
                  <a:cubicBezTo>
                    <a:pt x="1771" y="1038"/>
                    <a:pt x="1775" y="1050"/>
                    <a:pt x="1778" y="1062"/>
                  </a:cubicBezTo>
                  <a:cubicBezTo>
                    <a:pt x="1780" y="1068"/>
                    <a:pt x="1775" y="1070"/>
                    <a:pt x="1769" y="1070"/>
                  </a:cubicBezTo>
                  <a:cubicBezTo>
                    <a:pt x="1756" y="1070"/>
                    <a:pt x="1742" y="1070"/>
                    <a:pt x="1729" y="1070"/>
                  </a:cubicBezTo>
                  <a:cubicBezTo>
                    <a:pt x="1729" y="1070"/>
                    <a:pt x="1729" y="1070"/>
                    <a:pt x="1729" y="1070"/>
                  </a:cubicBezTo>
                  <a:cubicBezTo>
                    <a:pt x="1716" y="1070"/>
                    <a:pt x="1703" y="1070"/>
                    <a:pt x="1690" y="1070"/>
                  </a:cubicBezTo>
                  <a:close/>
                  <a:moveTo>
                    <a:pt x="68" y="581"/>
                  </a:moveTo>
                  <a:cubicBezTo>
                    <a:pt x="68" y="573"/>
                    <a:pt x="70" y="568"/>
                    <a:pt x="80" y="569"/>
                  </a:cubicBezTo>
                  <a:cubicBezTo>
                    <a:pt x="90" y="570"/>
                    <a:pt x="101" y="570"/>
                    <a:pt x="111" y="569"/>
                  </a:cubicBezTo>
                  <a:cubicBezTo>
                    <a:pt x="120" y="569"/>
                    <a:pt x="120" y="563"/>
                    <a:pt x="120" y="556"/>
                  </a:cubicBezTo>
                  <a:cubicBezTo>
                    <a:pt x="120" y="549"/>
                    <a:pt x="119" y="544"/>
                    <a:pt x="111" y="544"/>
                  </a:cubicBezTo>
                  <a:cubicBezTo>
                    <a:pt x="104" y="544"/>
                    <a:pt x="97" y="544"/>
                    <a:pt x="91" y="544"/>
                  </a:cubicBezTo>
                  <a:cubicBezTo>
                    <a:pt x="66" y="544"/>
                    <a:pt x="65" y="543"/>
                    <a:pt x="68" y="518"/>
                  </a:cubicBezTo>
                  <a:cubicBezTo>
                    <a:pt x="69" y="504"/>
                    <a:pt x="83" y="487"/>
                    <a:pt x="99" y="489"/>
                  </a:cubicBezTo>
                  <a:cubicBezTo>
                    <a:pt x="103" y="489"/>
                    <a:pt x="107" y="489"/>
                    <a:pt x="110" y="488"/>
                  </a:cubicBezTo>
                  <a:cubicBezTo>
                    <a:pt x="118" y="487"/>
                    <a:pt x="123" y="479"/>
                    <a:pt x="123" y="471"/>
                  </a:cubicBezTo>
                  <a:cubicBezTo>
                    <a:pt x="123" y="461"/>
                    <a:pt x="116" y="462"/>
                    <a:pt x="109" y="460"/>
                  </a:cubicBezTo>
                  <a:cubicBezTo>
                    <a:pt x="100" y="458"/>
                    <a:pt x="92" y="460"/>
                    <a:pt x="84" y="460"/>
                  </a:cubicBezTo>
                  <a:cubicBezTo>
                    <a:pt x="68" y="461"/>
                    <a:pt x="56" y="469"/>
                    <a:pt x="47" y="480"/>
                  </a:cubicBezTo>
                  <a:cubicBezTo>
                    <a:pt x="34" y="493"/>
                    <a:pt x="32" y="511"/>
                    <a:pt x="32" y="529"/>
                  </a:cubicBezTo>
                  <a:cubicBezTo>
                    <a:pt x="32" y="544"/>
                    <a:pt x="32" y="544"/>
                    <a:pt x="17" y="544"/>
                  </a:cubicBezTo>
                  <a:cubicBezTo>
                    <a:pt x="4" y="543"/>
                    <a:pt x="0" y="548"/>
                    <a:pt x="4" y="561"/>
                  </a:cubicBezTo>
                  <a:cubicBezTo>
                    <a:pt x="6" y="569"/>
                    <a:pt x="13" y="568"/>
                    <a:pt x="19" y="569"/>
                  </a:cubicBezTo>
                  <a:cubicBezTo>
                    <a:pt x="32" y="571"/>
                    <a:pt x="32" y="571"/>
                    <a:pt x="32" y="584"/>
                  </a:cubicBezTo>
                  <a:cubicBezTo>
                    <a:pt x="32" y="624"/>
                    <a:pt x="32" y="664"/>
                    <a:pt x="32" y="704"/>
                  </a:cubicBezTo>
                  <a:cubicBezTo>
                    <a:pt x="32" y="731"/>
                    <a:pt x="32" y="730"/>
                    <a:pt x="57" y="731"/>
                  </a:cubicBezTo>
                  <a:cubicBezTo>
                    <a:pt x="66" y="731"/>
                    <a:pt x="68" y="727"/>
                    <a:pt x="68" y="720"/>
                  </a:cubicBezTo>
                  <a:cubicBezTo>
                    <a:pt x="68" y="697"/>
                    <a:pt x="68" y="674"/>
                    <a:pt x="68" y="651"/>
                  </a:cubicBezTo>
                  <a:cubicBezTo>
                    <a:pt x="68" y="628"/>
                    <a:pt x="68" y="605"/>
                    <a:pt x="68" y="581"/>
                  </a:cubicBezTo>
                  <a:close/>
                  <a:moveTo>
                    <a:pt x="278" y="1165"/>
                  </a:moveTo>
                  <a:cubicBezTo>
                    <a:pt x="278" y="1183"/>
                    <a:pt x="278" y="1183"/>
                    <a:pt x="296" y="1184"/>
                  </a:cubicBezTo>
                  <a:cubicBezTo>
                    <a:pt x="310" y="1184"/>
                    <a:pt x="310" y="1184"/>
                    <a:pt x="310" y="1169"/>
                  </a:cubicBezTo>
                  <a:cubicBezTo>
                    <a:pt x="310" y="1132"/>
                    <a:pt x="310" y="1095"/>
                    <a:pt x="310" y="1058"/>
                  </a:cubicBezTo>
                  <a:cubicBezTo>
                    <a:pt x="310" y="1052"/>
                    <a:pt x="312" y="1047"/>
                    <a:pt x="316" y="1042"/>
                  </a:cubicBezTo>
                  <a:cubicBezTo>
                    <a:pt x="324" y="1033"/>
                    <a:pt x="334" y="1027"/>
                    <a:pt x="345" y="1024"/>
                  </a:cubicBezTo>
                  <a:cubicBezTo>
                    <a:pt x="357" y="1020"/>
                    <a:pt x="371" y="1018"/>
                    <a:pt x="383" y="1028"/>
                  </a:cubicBezTo>
                  <a:cubicBezTo>
                    <a:pt x="397" y="1039"/>
                    <a:pt x="401" y="1054"/>
                    <a:pt x="401" y="1071"/>
                  </a:cubicBezTo>
                  <a:cubicBezTo>
                    <a:pt x="401" y="1102"/>
                    <a:pt x="401" y="1132"/>
                    <a:pt x="401" y="1163"/>
                  </a:cubicBezTo>
                  <a:cubicBezTo>
                    <a:pt x="401" y="1183"/>
                    <a:pt x="401" y="1182"/>
                    <a:pt x="420" y="1184"/>
                  </a:cubicBezTo>
                  <a:cubicBezTo>
                    <a:pt x="429" y="1185"/>
                    <a:pt x="433" y="1181"/>
                    <a:pt x="433" y="1173"/>
                  </a:cubicBezTo>
                  <a:cubicBezTo>
                    <a:pt x="432" y="1130"/>
                    <a:pt x="435" y="1087"/>
                    <a:pt x="431" y="1044"/>
                  </a:cubicBezTo>
                  <a:cubicBezTo>
                    <a:pt x="427" y="1014"/>
                    <a:pt x="404" y="996"/>
                    <a:pt x="376" y="994"/>
                  </a:cubicBezTo>
                  <a:cubicBezTo>
                    <a:pt x="353" y="992"/>
                    <a:pt x="333" y="1000"/>
                    <a:pt x="317" y="1017"/>
                  </a:cubicBezTo>
                  <a:cubicBezTo>
                    <a:pt x="312" y="1021"/>
                    <a:pt x="311" y="1019"/>
                    <a:pt x="309" y="1015"/>
                  </a:cubicBezTo>
                  <a:cubicBezTo>
                    <a:pt x="309" y="1013"/>
                    <a:pt x="308" y="1011"/>
                    <a:pt x="308" y="1008"/>
                  </a:cubicBezTo>
                  <a:cubicBezTo>
                    <a:pt x="306" y="1001"/>
                    <a:pt x="298" y="997"/>
                    <a:pt x="287" y="998"/>
                  </a:cubicBezTo>
                  <a:cubicBezTo>
                    <a:pt x="279" y="999"/>
                    <a:pt x="278" y="1004"/>
                    <a:pt x="278" y="1011"/>
                  </a:cubicBezTo>
                  <a:cubicBezTo>
                    <a:pt x="278" y="1037"/>
                    <a:pt x="278" y="1064"/>
                    <a:pt x="278" y="1091"/>
                  </a:cubicBezTo>
                  <a:cubicBezTo>
                    <a:pt x="278" y="1115"/>
                    <a:pt x="278" y="1140"/>
                    <a:pt x="278" y="1165"/>
                  </a:cubicBezTo>
                  <a:close/>
                  <a:moveTo>
                    <a:pt x="150" y="705"/>
                  </a:moveTo>
                  <a:cubicBezTo>
                    <a:pt x="150" y="734"/>
                    <a:pt x="145" y="730"/>
                    <a:pt x="176" y="731"/>
                  </a:cubicBezTo>
                  <a:cubicBezTo>
                    <a:pt x="185" y="731"/>
                    <a:pt x="187" y="727"/>
                    <a:pt x="187" y="719"/>
                  </a:cubicBezTo>
                  <a:cubicBezTo>
                    <a:pt x="187" y="685"/>
                    <a:pt x="187" y="651"/>
                    <a:pt x="187" y="618"/>
                  </a:cubicBezTo>
                  <a:cubicBezTo>
                    <a:pt x="187" y="597"/>
                    <a:pt x="204" y="578"/>
                    <a:pt x="225" y="574"/>
                  </a:cubicBezTo>
                  <a:cubicBezTo>
                    <a:pt x="232" y="572"/>
                    <a:pt x="240" y="574"/>
                    <a:pt x="247" y="575"/>
                  </a:cubicBezTo>
                  <a:cubicBezTo>
                    <a:pt x="257" y="576"/>
                    <a:pt x="261" y="572"/>
                    <a:pt x="265" y="564"/>
                  </a:cubicBezTo>
                  <a:cubicBezTo>
                    <a:pt x="269" y="556"/>
                    <a:pt x="267" y="542"/>
                    <a:pt x="261" y="540"/>
                  </a:cubicBezTo>
                  <a:cubicBezTo>
                    <a:pt x="253" y="538"/>
                    <a:pt x="244" y="534"/>
                    <a:pt x="237" y="536"/>
                  </a:cubicBezTo>
                  <a:cubicBezTo>
                    <a:pt x="228" y="537"/>
                    <a:pt x="217" y="537"/>
                    <a:pt x="209" y="544"/>
                  </a:cubicBezTo>
                  <a:cubicBezTo>
                    <a:pt x="204" y="549"/>
                    <a:pt x="198" y="553"/>
                    <a:pt x="194" y="558"/>
                  </a:cubicBezTo>
                  <a:cubicBezTo>
                    <a:pt x="192" y="561"/>
                    <a:pt x="189" y="563"/>
                    <a:pt x="185" y="562"/>
                  </a:cubicBezTo>
                  <a:cubicBezTo>
                    <a:pt x="182" y="561"/>
                    <a:pt x="182" y="558"/>
                    <a:pt x="182" y="556"/>
                  </a:cubicBezTo>
                  <a:cubicBezTo>
                    <a:pt x="180" y="539"/>
                    <a:pt x="179" y="539"/>
                    <a:pt x="162" y="539"/>
                  </a:cubicBezTo>
                  <a:cubicBezTo>
                    <a:pt x="151" y="539"/>
                    <a:pt x="150" y="540"/>
                    <a:pt x="150" y="551"/>
                  </a:cubicBezTo>
                  <a:cubicBezTo>
                    <a:pt x="150" y="579"/>
                    <a:pt x="150" y="607"/>
                    <a:pt x="150" y="635"/>
                  </a:cubicBezTo>
                  <a:cubicBezTo>
                    <a:pt x="150" y="658"/>
                    <a:pt x="149" y="682"/>
                    <a:pt x="150" y="705"/>
                  </a:cubicBezTo>
                  <a:close/>
                  <a:moveTo>
                    <a:pt x="1011" y="1049"/>
                  </a:moveTo>
                  <a:cubicBezTo>
                    <a:pt x="1011" y="1008"/>
                    <a:pt x="1011" y="966"/>
                    <a:pt x="1011" y="924"/>
                  </a:cubicBezTo>
                  <a:cubicBezTo>
                    <a:pt x="1011" y="913"/>
                    <a:pt x="1008" y="910"/>
                    <a:pt x="997" y="910"/>
                  </a:cubicBezTo>
                  <a:cubicBezTo>
                    <a:pt x="995" y="910"/>
                    <a:pt x="992" y="910"/>
                    <a:pt x="990" y="910"/>
                  </a:cubicBezTo>
                  <a:cubicBezTo>
                    <a:pt x="976" y="910"/>
                    <a:pt x="975" y="911"/>
                    <a:pt x="975" y="926"/>
                  </a:cubicBezTo>
                  <a:cubicBezTo>
                    <a:pt x="975" y="1006"/>
                    <a:pt x="975" y="1085"/>
                    <a:pt x="975" y="1165"/>
                  </a:cubicBezTo>
                  <a:cubicBezTo>
                    <a:pt x="975" y="1185"/>
                    <a:pt x="975" y="1185"/>
                    <a:pt x="994" y="1185"/>
                  </a:cubicBezTo>
                  <a:cubicBezTo>
                    <a:pt x="1009" y="1185"/>
                    <a:pt x="1011" y="1184"/>
                    <a:pt x="1011" y="1169"/>
                  </a:cubicBezTo>
                  <a:cubicBezTo>
                    <a:pt x="1011" y="1129"/>
                    <a:pt x="1011" y="1089"/>
                    <a:pt x="1011" y="1049"/>
                  </a:cubicBezTo>
                  <a:cubicBezTo>
                    <a:pt x="1011" y="1049"/>
                    <a:pt x="1011" y="1049"/>
                    <a:pt x="1011" y="1049"/>
                  </a:cubicBezTo>
                  <a:close/>
                  <a:moveTo>
                    <a:pt x="296" y="176"/>
                  </a:moveTo>
                  <a:cubicBezTo>
                    <a:pt x="296" y="201"/>
                    <a:pt x="296" y="226"/>
                    <a:pt x="296" y="251"/>
                  </a:cubicBezTo>
                  <a:cubicBezTo>
                    <a:pt x="295" y="276"/>
                    <a:pt x="296" y="274"/>
                    <a:pt x="318" y="274"/>
                  </a:cubicBezTo>
                  <a:cubicBezTo>
                    <a:pt x="330" y="274"/>
                    <a:pt x="331" y="274"/>
                    <a:pt x="331" y="260"/>
                  </a:cubicBezTo>
                  <a:cubicBezTo>
                    <a:pt x="331" y="232"/>
                    <a:pt x="331" y="204"/>
                    <a:pt x="331" y="176"/>
                  </a:cubicBezTo>
                  <a:cubicBezTo>
                    <a:pt x="331" y="165"/>
                    <a:pt x="331" y="155"/>
                    <a:pt x="337" y="145"/>
                  </a:cubicBezTo>
                  <a:cubicBezTo>
                    <a:pt x="349" y="123"/>
                    <a:pt x="359" y="117"/>
                    <a:pt x="377" y="118"/>
                  </a:cubicBezTo>
                  <a:cubicBezTo>
                    <a:pt x="383" y="118"/>
                    <a:pt x="389" y="119"/>
                    <a:pt x="395" y="120"/>
                  </a:cubicBezTo>
                  <a:cubicBezTo>
                    <a:pt x="401" y="120"/>
                    <a:pt x="407" y="118"/>
                    <a:pt x="408" y="112"/>
                  </a:cubicBezTo>
                  <a:cubicBezTo>
                    <a:pt x="409" y="103"/>
                    <a:pt x="415" y="93"/>
                    <a:pt x="407" y="85"/>
                  </a:cubicBezTo>
                  <a:cubicBezTo>
                    <a:pt x="406" y="84"/>
                    <a:pt x="404" y="84"/>
                    <a:pt x="402" y="84"/>
                  </a:cubicBezTo>
                  <a:cubicBezTo>
                    <a:pt x="376" y="78"/>
                    <a:pt x="353" y="82"/>
                    <a:pt x="337" y="106"/>
                  </a:cubicBezTo>
                  <a:cubicBezTo>
                    <a:pt x="336" y="108"/>
                    <a:pt x="335" y="110"/>
                    <a:pt x="333" y="109"/>
                  </a:cubicBezTo>
                  <a:cubicBezTo>
                    <a:pt x="331" y="109"/>
                    <a:pt x="330" y="107"/>
                    <a:pt x="330" y="105"/>
                  </a:cubicBezTo>
                  <a:cubicBezTo>
                    <a:pt x="329" y="101"/>
                    <a:pt x="329" y="97"/>
                    <a:pt x="328" y="94"/>
                  </a:cubicBezTo>
                  <a:cubicBezTo>
                    <a:pt x="325" y="85"/>
                    <a:pt x="318" y="82"/>
                    <a:pt x="303" y="84"/>
                  </a:cubicBezTo>
                  <a:cubicBezTo>
                    <a:pt x="297" y="84"/>
                    <a:pt x="295" y="86"/>
                    <a:pt x="295" y="92"/>
                  </a:cubicBezTo>
                  <a:cubicBezTo>
                    <a:pt x="296" y="120"/>
                    <a:pt x="295" y="148"/>
                    <a:pt x="295" y="176"/>
                  </a:cubicBezTo>
                  <a:cubicBezTo>
                    <a:pt x="296" y="176"/>
                    <a:pt x="296" y="176"/>
                    <a:pt x="296" y="176"/>
                  </a:cubicBezTo>
                  <a:close/>
                  <a:moveTo>
                    <a:pt x="946" y="179"/>
                  </a:moveTo>
                  <a:cubicBezTo>
                    <a:pt x="946" y="197"/>
                    <a:pt x="946" y="215"/>
                    <a:pt x="946" y="234"/>
                  </a:cubicBezTo>
                  <a:cubicBezTo>
                    <a:pt x="946" y="248"/>
                    <a:pt x="951" y="260"/>
                    <a:pt x="963" y="268"/>
                  </a:cubicBezTo>
                  <a:cubicBezTo>
                    <a:pt x="982" y="280"/>
                    <a:pt x="1011" y="277"/>
                    <a:pt x="1029" y="264"/>
                  </a:cubicBezTo>
                  <a:cubicBezTo>
                    <a:pt x="1036" y="259"/>
                    <a:pt x="1036" y="254"/>
                    <a:pt x="1032" y="248"/>
                  </a:cubicBezTo>
                  <a:cubicBezTo>
                    <a:pt x="1026" y="239"/>
                    <a:pt x="1020" y="238"/>
                    <a:pt x="1013" y="242"/>
                  </a:cubicBezTo>
                  <a:cubicBezTo>
                    <a:pt x="996" y="252"/>
                    <a:pt x="978" y="243"/>
                    <a:pt x="978" y="223"/>
                  </a:cubicBezTo>
                  <a:cubicBezTo>
                    <a:pt x="978" y="190"/>
                    <a:pt x="978" y="157"/>
                    <a:pt x="978" y="123"/>
                  </a:cubicBezTo>
                  <a:cubicBezTo>
                    <a:pt x="978" y="116"/>
                    <a:pt x="981" y="113"/>
                    <a:pt x="988" y="113"/>
                  </a:cubicBezTo>
                  <a:cubicBezTo>
                    <a:pt x="999" y="114"/>
                    <a:pt x="1011" y="113"/>
                    <a:pt x="1022" y="113"/>
                  </a:cubicBezTo>
                  <a:cubicBezTo>
                    <a:pt x="1028" y="113"/>
                    <a:pt x="1033" y="112"/>
                    <a:pt x="1033" y="104"/>
                  </a:cubicBezTo>
                  <a:cubicBezTo>
                    <a:pt x="1033" y="96"/>
                    <a:pt x="1032" y="90"/>
                    <a:pt x="1022" y="90"/>
                  </a:cubicBezTo>
                  <a:cubicBezTo>
                    <a:pt x="1011" y="90"/>
                    <a:pt x="1001" y="90"/>
                    <a:pt x="990" y="90"/>
                  </a:cubicBezTo>
                  <a:cubicBezTo>
                    <a:pt x="981" y="91"/>
                    <a:pt x="977" y="88"/>
                    <a:pt x="978" y="78"/>
                  </a:cubicBezTo>
                  <a:cubicBezTo>
                    <a:pt x="978" y="64"/>
                    <a:pt x="978" y="49"/>
                    <a:pt x="978" y="35"/>
                  </a:cubicBezTo>
                  <a:cubicBezTo>
                    <a:pt x="978" y="30"/>
                    <a:pt x="978" y="25"/>
                    <a:pt x="971" y="24"/>
                  </a:cubicBezTo>
                  <a:cubicBezTo>
                    <a:pt x="964" y="24"/>
                    <a:pt x="956" y="24"/>
                    <a:pt x="955" y="32"/>
                  </a:cubicBezTo>
                  <a:cubicBezTo>
                    <a:pt x="952" y="43"/>
                    <a:pt x="949" y="54"/>
                    <a:pt x="949" y="65"/>
                  </a:cubicBezTo>
                  <a:cubicBezTo>
                    <a:pt x="948" y="88"/>
                    <a:pt x="947" y="88"/>
                    <a:pt x="924" y="91"/>
                  </a:cubicBezTo>
                  <a:cubicBezTo>
                    <a:pt x="919" y="92"/>
                    <a:pt x="914" y="92"/>
                    <a:pt x="914" y="99"/>
                  </a:cubicBezTo>
                  <a:cubicBezTo>
                    <a:pt x="915" y="107"/>
                    <a:pt x="917" y="113"/>
                    <a:pt x="926" y="113"/>
                  </a:cubicBezTo>
                  <a:cubicBezTo>
                    <a:pt x="929" y="114"/>
                    <a:pt x="932" y="113"/>
                    <a:pt x="935" y="113"/>
                  </a:cubicBezTo>
                  <a:cubicBezTo>
                    <a:pt x="943" y="113"/>
                    <a:pt x="946" y="116"/>
                    <a:pt x="946" y="124"/>
                  </a:cubicBezTo>
                  <a:cubicBezTo>
                    <a:pt x="946" y="142"/>
                    <a:pt x="946" y="161"/>
                    <a:pt x="946" y="179"/>
                  </a:cubicBezTo>
                  <a:cubicBezTo>
                    <a:pt x="946" y="179"/>
                    <a:pt x="946" y="179"/>
                    <a:pt x="946" y="179"/>
                  </a:cubicBezTo>
                  <a:close/>
                </a:path>
              </a:pathLst>
            </a:custGeom>
            <a:solidFill>
              <a:srgbClr val="4C505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0" dirty="0"/>
            </a:p>
          </p:txBody>
        </p:sp>
        <p:grpSp>
          <p:nvGrpSpPr>
            <p:cNvPr id="18" name="Group 4">
              <a:extLst>
                <a:ext uri="{FF2B5EF4-FFF2-40B4-BE49-F238E27FC236}">
                  <a16:creationId xmlns:a16="http://schemas.microsoft.com/office/drawing/2014/main" id="{57BD2C4C-DC67-B843-B26C-309622FC75F7}"/>
                </a:ext>
              </a:extLst>
            </p:cNvPr>
            <p:cNvGrpSpPr>
              <a:grpSpLocks noChangeAspect="1"/>
            </p:cNvGrpSpPr>
            <p:nvPr/>
          </p:nvGrpSpPr>
          <p:grpSpPr bwMode="gray">
            <a:xfrm>
              <a:off x="334963" y="296652"/>
              <a:ext cx="538094" cy="540000"/>
              <a:chOff x="2711" y="1027"/>
              <a:chExt cx="2258" cy="2266"/>
            </a:xfrm>
          </p:grpSpPr>
          <p:sp>
            <p:nvSpPr>
              <p:cNvPr id="19" name="AutoShape 3">
                <a:extLst>
                  <a:ext uri="{FF2B5EF4-FFF2-40B4-BE49-F238E27FC236}">
                    <a16:creationId xmlns:a16="http://schemas.microsoft.com/office/drawing/2014/main" id="{FE1DC41B-291E-574C-9F2C-874E70A40758}"/>
                  </a:ext>
                </a:extLst>
              </p:cNvPr>
              <p:cNvSpPr>
                <a:spLocks noChangeAspect="1" noChangeArrowheads="1" noTextEdit="1"/>
              </p:cNvSpPr>
              <p:nvPr/>
            </p:nvSpPr>
            <p:spPr bwMode="gray">
              <a:xfrm>
                <a:off x="2711" y="1027"/>
                <a:ext cx="2258" cy="22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sz="1350" dirty="0"/>
              </a:p>
            </p:txBody>
          </p:sp>
          <p:sp>
            <p:nvSpPr>
              <p:cNvPr id="20" name="Freeform 5">
                <a:extLst>
                  <a:ext uri="{FF2B5EF4-FFF2-40B4-BE49-F238E27FC236}">
                    <a16:creationId xmlns:a16="http://schemas.microsoft.com/office/drawing/2014/main" id="{D4B633C8-F761-C54B-9BD2-EB59D49A2DBC}"/>
                  </a:ext>
                </a:extLst>
              </p:cNvPr>
              <p:cNvSpPr>
                <a:spLocks/>
              </p:cNvSpPr>
              <p:nvPr/>
            </p:nvSpPr>
            <p:spPr bwMode="gray">
              <a:xfrm>
                <a:off x="2709" y="1029"/>
                <a:ext cx="2260" cy="2262"/>
              </a:xfrm>
              <a:custGeom>
                <a:avLst/>
                <a:gdLst>
                  <a:gd name="T0" fmla="*/ 2260 w 2260"/>
                  <a:gd name="T1" fmla="*/ 0 h 2262"/>
                  <a:gd name="T2" fmla="*/ 1612 w 2260"/>
                  <a:gd name="T3" fmla="*/ 649 h 2262"/>
                  <a:gd name="T4" fmla="*/ 1612 w 2260"/>
                  <a:gd name="T5" fmla="*/ 649 h 2262"/>
                  <a:gd name="T6" fmla="*/ 2035 w 2260"/>
                  <a:gd name="T7" fmla="*/ 0 h 2262"/>
                  <a:gd name="T8" fmla="*/ 0 w 2260"/>
                  <a:gd name="T9" fmla="*/ 0 h 2262"/>
                  <a:gd name="T10" fmla="*/ 0 w 2260"/>
                  <a:gd name="T11" fmla="*/ 2262 h 2262"/>
                  <a:gd name="T12" fmla="*/ 2260 w 2260"/>
                  <a:gd name="T13" fmla="*/ 2262 h 2262"/>
                  <a:gd name="T14" fmla="*/ 2260 w 2260"/>
                  <a:gd name="T15" fmla="*/ 0 h 2262"/>
                  <a:gd name="T16" fmla="*/ 2260 w 2260"/>
                  <a:gd name="T17" fmla="*/ 0 h 2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0" h="2262">
                    <a:moveTo>
                      <a:pt x="2260" y="0"/>
                    </a:moveTo>
                    <a:lnTo>
                      <a:pt x="1612" y="649"/>
                    </a:lnTo>
                    <a:lnTo>
                      <a:pt x="1612" y="649"/>
                    </a:lnTo>
                    <a:lnTo>
                      <a:pt x="2035" y="0"/>
                    </a:lnTo>
                    <a:lnTo>
                      <a:pt x="0" y="0"/>
                    </a:lnTo>
                    <a:lnTo>
                      <a:pt x="0" y="2262"/>
                    </a:lnTo>
                    <a:lnTo>
                      <a:pt x="2260" y="2262"/>
                    </a:lnTo>
                    <a:lnTo>
                      <a:pt x="2260" y="0"/>
                    </a:lnTo>
                    <a:lnTo>
                      <a:pt x="2260" y="0"/>
                    </a:lnTo>
                    <a:close/>
                  </a:path>
                </a:pathLst>
              </a:custGeom>
              <a:solidFill>
                <a:srgbClr val="E55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0" dirty="0"/>
              </a:p>
            </p:txBody>
          </p:sp>
          <p:sp>
            <p:nvSpPr>
              <p:cNvPr id="21" name="Freeform 6">
                <a:extLst>
                  <a:ext uri="{FF2B5EF4-FFF2-40B4-BE49-F238E27FC236}">
                    <a16:creationId xmlns:a16="http://schemas.microsoft.com/office/drawing/2014/main" id="{B16BAAE4-1A41-C843-9754-490F7A1E1270}"/>
                  </a:ext>
                </a:extLst>
              </p:cNvPr>
              <p:cNvSpPr>
                <a:spLocks noEditPoints="1"/>
              </p:cNvSpPr>
              <p:nvPr/>
            </p:nvSpPr>
            <p:spPr bwMode="gray">
              <a:xfrm>
                <a:off x="3623" y="1696"/>
                <a:ext cx="1167" cy="922"/>
              </a:xfrm>
              <a:custGeom>
                <a:avLst/>
                <a:gdLst>
                  <a:gd name="T0" fmla="*/ 411 w 580"/>
                  <a:gd name="T1" fmla="*/ 213 h 458"/>
                  <a:gd name="T2" fmla="*/ 570 w 580"/>
                  <a:gd name="T3" fmla="*/ 37 h 458"/>
                  <a:gd name="T4" fmla="*/ 580 w 580"/>
                  <a:gd name="T5" fmla="*/ 20 h 458"/>
                  <a:gd name="T6" fmla="*/ 545 w 580"/>
                  <a:gd name="T7" fmla="*/ 0 h 458"/>
                  <a:gd name="T8" fmla="*/ 519 w 580"/>
                  <a:gd name="T9" fmla="*/ 16 h 458"/>
                  <a:gd name="T10" fmla="*/ 344 w 580"/>
                  <a:gd name="T11" fmla="*/ 210 h 458"/>
                  <a:gd name="T12" fmla="*/ 334 w 580"/>
                  <a:gd name="T13" fmla="*/ 229 h 458"/>
                  <a:gd name="T14" fmla="*/ 344 w 580"/>
                  <a:gd name="T15" fmla="*/ 248 h 458"/>
                  <a:gd name="T16" fmla="*/ 519 w 580"/>
                  <a:gd name="T17" fmla="*/ 442 h 458"/>
                  <a:gd name="T18" fmla="*/ 545 w 580"/>
                  <a:gd name="T19" fmla="*/ 458 h 458"/>
                  <a:gd name="T20" fmla="*/ 580 w 580"/>
                  <a:gd name="T21" fmla="*/ 438 h 458"/>
                  <a:gd name="T22" fmla="*/ 570 w 580"/>
                  <a:gd name="T23" fmla="*/ 421 h 458"/>
                  <a:gd name="T24" fmla="*/ 411 w 580"/>
                  <a:gd name="T25" fmla="*/ 245 h 458"/>
                  <a:gd name="T26" fmla="*/ 399 w 580"/>
                  <a:gd name="T27" fmla="*/ 229 h 458"/>
                  <a:gd name="T28" fmla="*/ 411 w 580"/>
                  <a:gd name="T29" fmla="*/ 213 h 458"/>
                  <a:gd name="T30" fmla="*/ 252 w 580"/>
                  <a:gd name="T31" fmla="*/ 439 h 458"/>
                  <a:gd name="T32" fmla="*/ 281 w 580"/>
                  <a:gd name="T33" fmla="*/ 454 h 458"/>
                  <a:gd name="T34" fmla="*/ 309 w 580"/>
                  <a:gd name="T35" fmla="*/ 439 h 458"/>
                  <a:gd name="T36" fmla="*/ 309 w 580"/>
                  <a:gd name="T37" fmla="*/ 19 h 458"/>
                  <a:gd name="T38" fmla="*/ 281 w 580"/>
                  <a:gd name="T39" fmla="*/ 4 h 458"/>
                  <a:gd name="T40" fmla="*/ 252 w 580"/>
                  <a:gd name="T41" fmla="*/ 19 h 458"/>
                  <a:gd name="T42" fmla="*/ 252 w 580"/>
                  <a:gd name="T43" fmla="*/ 439 h 458"/>
                  <a:gd name="T44" fmla="*/ 0 w 580"/>
                  <a:gd name="T45" fmla="*/ 439 h 458"/>
                  <a:gd name="T46" fmla="*/ 28 w 580"/>
                  <a:gd name="T47" fmla="*/ 454 h 458"/>
                  <a:gd name="T48" fmla="*/ 56 w 580"/>
                  <a:gd name="T49" fmla="*/ 439 h 458"/>
                  <a:gd name="T50" fmla="*/ 56 w 580"/>
                  <a:gd name="T51" fmla="*/ 157 h 458"/>
                  <a:gd name="T52" fmla="*/ 165 w 580"/>
                  <a:gd name="T53" fmla="*/ 53 h 458"/>
                  <a:gd name="T54" fmla="*/ 180 w 580"/>
                  <a:gd name="T55" fmla="*/ 53 h 458"/>
                  <a:gd name="T56" fmla="*/ 196 w 580"/>
                  <a:gd name="T57" fmla="*/ 27 h 458"/>
                  <a:gd name="T58" fmla="*/ 154 w 580"/>
                  <a:gd name="T59" fmla="*/ 4 h 458"/>
                  <a:gd name="T60" fmla="*/ 0 w 580"/>
                  <a:gd name="T61" fmla="*/ 152 h 458"/>
                  <a:gd name="T62" fmla="*/ 0 w 580"/>
                  <a:gd name="T63" fmla="*/ 439 h 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80" h="458">
                    <a:moveTo>
                      <a:pt x="411" y="213"/>
                    </a:moveTo>
                    <a:cubicBezTo>
                      <a:pt x="570" y="37"/>
                      <a:pt x="570" y="37"/>
                      <a:pt x="570" y="37"/>
                    </a:cubicBezTo>
                    <a:cubicBezTo>
                      <a:pt x="576" y="30"/>
                      <a:pt x="580" y="25"/>
                      <a:pt x="580" y="20"/>
                    </a:cubicBezTo>
                    <a:cubicBezTo>
                      <a:pt x="580" y="10"/>
                      <a:pt x="559" y="0"/>
                      <a:pt x="545" y="0"/>
                    </a:cubicBezTo>
                    <a:cubicBezTo>
                      <a:pt x="535" y="0"/>
                      <a:pt x="526" y="8"/>
                      <a:pt x="519" y="16"/>
                    </a:cubicBezTo>
                    <a:cubicBezTo>
                      <a:pt x="344" y="210"/>
                      <a:pt x="344" y="210"/>
                      <a:pt x="344" y="210"/>
                    </a:cubicBezTo>
                    <a:cubicBezTo>
                      <a:pt x="336" y="219"/>
                      <a:pt x="334" y="224"/>
                      <a:pt x="334" y="229"/>
                    </a:cubicBezTo>
                    <a:cubicBezTo>
                      <a:pt x="334" y="234"/>
                      <a:pt x="336" y="239"/>
                      <a:pt x="344" y="248"/>
                    </a:cubicBezTo>
                    <a:cubicBezTo>
                      <a:pt x="519" y="442"/>
                      <a:pt x="519" y="442"/>
                      <a:pt x="519" y="442"/>
                    </a:cubicBezTo>
                    <a:cubicBezTo>
                      <a:pt x="526" y="450"/>
                      <a:pt x="535" y="458"/>
                      <a:pt x="545" y="458"/>
                    </a:cubicBezTo>
                    <a:cubicBezTo>
                      <a:pt x="559" y="458"/>
                      <a:pt x="580" y="448"/>
                      <a:pt x="580" y="438"/>
                    </a:cubicBezTo>
                    <a:cubicBezTo>
                      <a:pt x="580" y="433"/>
                      <a:pt x="576" y="428"/>
                      <a:pt x="570" y="421"/>
                    </a:cubicBezTo>
                    <a:cubicBezTo>
                      <a:pt x="411" y="245"/>
                      <a:pt x="411" y="245"/>
                      <a:pt x="411" y="245"/>
                    </a:cubicBezTo>
                    <a:cubicBezTo>
                      <a:pt x="403" y="236"/>
                      <a:pt x="399" y="232"/>
                      <a:pt x="399" y="229"/>
                    </a:cubicBezTo>
                    <a:cubicBezTo>
                      <a:pt x="399" y="226"/>
                      <a:pt x="403" y="222"/>
                      <a:pt x="411" y="213"/>
                    </a:cubicBezTo>
                    <a:moveTo>
                      <a:pt x="252" y="439"/>
                    </a:moveTo>
                    <a:cubicBezTo>
                      <a:pt x="252" y="449"/>
                      <a:pt x="261" y="454"/>
                      <a:pt x="281" y="454"/>
                    </a:cubicBezTo>
                    <a:cubicBezTo>
                      <a:pt x="300" y="454"/>
                      <a:pt x="309" y="449"/>
                      <a:pt x="309" y="439"/>
                    </a:cubicBezTo>
                    <a:cubicBezTo>
                      <a:pt x="309" y="19"/>
                      <a:pt x="309" y="19"/>
                      <a:pt x="309" y="19"/>
                    </a:cubicBezTo>
                    <a:cubicBezTo>
                      <a:pt x="309" y="9"/>
                      <a:pt x="300" y="4"/>
                      <a:pt x="281" y="4"/>
                    </a:cubicBezTo>
                    <a:cubicBezTo>
                      <a:pt x="261" y="4"/>
                      <a:pt x="252" y="9"/>
                      <a:pt x="252" y="19"/>
                    </a:cubicBezTo>
                    <a:lnTo>
                      <a:pt x="252" y="439"/>
                    </a:lnTo>
                    <a:close/>
                    <a:moveTo>
                      <a:pt x="0" y="439"/>
                    </a:moveTo>
                    <a:cubicBezTo>
                      <a:pt x="0" y="449"/>
                      <a:pt x="8" y="454"/>
                      <a:pt x="28" y="454"/>
                    </a:cubicBezTo>
                    <a:cubicBezTo>
                      <a:pt x="48" y="454"/>
                      <a:pt x="56" y="449"/>
                      <a:pt x="56" y="439"/>
                    </a:cubicBezTo>
                    <a:cubicBezTo>
                      <a:pt x="56" y="157"/>
                      <a:pt x="56" y="157"/>
                      <a:pt x="56" y="157"/>
                    </a:cubicBezTo>
                    <a:cubicBezTo>
                      <a:pt x="56" y="83"/>
                      <a:pt x="85" y="53"/>
                      <a:pt x="165" y="53"/>
                    </a:cubicBezTo>
                    <a:cubicBezTo>
                      <a:pt x="180" y="53"/>
                      <a:pt x="180" y="53"/>
                      <a:pt x="180" y="53"/>
                    </a:cubicBezTo>
                    <a:cubicBezTo>
                      <a:pt x="192" y="53"/>
                      <a:pt x="196" y="43"/>
                      <a:pt x="196" y="27"/>
                    </a:cubicBezTo>
                    <a:cubicBezTo>
                      <a:pt x="196" y="8"/>
                      <a:pt x="185" y="4"/>
                      <a:pt x="154" y="4"/>
                    </a:cubicBezTo>
                    <a:cubicBezTo>
                      <a:pt x="64" y="4"/>
                      <a:pt x="0" y="43"/>
                      <a:pt x="0" y="152"/>
                    </a:cubicBezTo>
                    <a:lnTo>
                      <a:pt x="0" y="43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0" dirty="0"/>
              </a:p>
            </p:txBody>
          </p:sp>
          <p:sp>
            <p:nvSpPr>
              <p:cNvPr id="22" name="Freeform 7">
                <a:extLst>
                  <a:ext uri="{FF2B5EF4-FFF2-40B4-BE49-F238E27FC236}">
                    <a16:creationId xmlns:a16="http://schemas.microsoft.com/office/drawing/2014/main" id="{2F32DCBD-8628-F245-85CD-97686A20ECFD}"/>
                  </a:ext>
                </a:extLst>
              </p:cNvPr>
              <p:cNvSpPr>
                <a:spLocks/>
              </p:cNvSpPr>
              <p:nvPr/>
            </p:nvSpPr>
            <p:spPr bwMode="gray">
              <a:xfrm>
                <a:off x="2880" y="1704"/>
                <a:ext cx="618" cy="916"/>
              </a:xfrm>
              <a:custGeom>
                <a:avLst/>
                <a:gdLst>
                  <a:gd name="T0" fmla="*/ 307 w 307"/>
                  <a:gd name="T1" fmla="*/ 405 h 455"/>
                  <a:gd name="T2" fmla="*/ 307 w 307"/>
                  <a:gd name="T3" fmla="*/ 244 h 455"/>
                  <a:gd name="T4" fmla="*/ 279 w 307"/>
                  <a:gd name="T5" fmla="*/ 229 h 455"/>
                  <a:gd name="T6" fmla="*/ 250 w 307"/>
                  <a:gd name="T7" fmla="*/ 244 h 455"/>
                  <a:gd name="T8" fmla="*/ 250 w 307"/>
                  <a:gd name="T9" fmla="*/ 378 h 455"/>
                  <a:gd name="T10" fmla="*/ 199 w 307"/>
                  <a:gd name="T11" fmla="*/ 408 h 455"/>
                  <a:gd name="T12" fmla="*/ 61 w 307"/>
                  <a:gd name="T13" fmla="*/ 231 h 455"/>
                  <a:gd name="T14" fmla="*/ 238 w 307"/>
                  <a:gd name="T15" fmla="*/ 49 h 455"/>
                  <a:gd name="T16" fmla="*/ 270 w 307"/>
                  <a:gd name="T17" fmla="*/ 49 h 455"/>
                  <a:gd name="T18" fmla="*/ 286 w 307"/>
                  <a:gd name="T19" fmla="*/ 23 h 455"/>
                  <a:gd name="T20" fmla="*/ 244 w 307"/>
                  <a:gd name="T21" fmla="*/ 0 h 455"/>
                  <a:gd name="T22" fmla="*/ 231 w 307"/>
                  <a:gd name="T23" fmla="*/ 0 h 455"/>
                  <a:gd name="T24" fmla="*/ 0 w 307"/>
                  <a:gd name="T25" fmla="*/ 232 h 455"/>
                  <a:gd name="T26" fmla="*/ 198 w 307"/>
                  <a:gd name="T27" fmla="*/ 455 h 455"/>
                  <a:gd name="T28" fmla="*/ 307 w 307"/>
                  <a:gd name="T29" fmla="*/ 405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7" h="455">
                    <a:moveTo>
                      <a:pt x="307" y="405"/>
                    </a:moveTo>
                    <a:cubicBezTo>
                      <a:pt x="307" y="244"/>
                      <a:pt x="307" y="244"/>
                      <a:pt x="307" y="244"/>
                    </a:cubicBezTo>
                    <a:cubicBezTo>
                      <a:pt x="307" y="234"/>
                      <a:pt x="298" y="229"/>
                      <a:pt x="279" y="229"/>
                    </a:cubicBezTo>
                    <a:cubicBezTo>
                      <a:pt x="259" y="229"/>
                      <a:pt x="250" y="234"/>
                      <a:pt x="250" y="244"/>
                    </a:cubicBezTo>
                    <a:cubicBezTo>
                      <a:pt x="250" y="378"/>
                      <a:pt x="250" y="378"/>
                      <a:pt x="250" y="378"/>
                    </a:cubicBezTo>
                    <a:cubicBezTo>
                      <a:pt x="250" y="399"/>
                      <a:pt x="241" y="408"/>
                      <a:pt x="199" y="408"/>
                    </a:cubicBezTo>
                    <a:cubicBezTo>
                      <a:pt x="114" y="408"/>
                      <a:pt x="61" y="342"/>
                      <a:pt x="61" y="231"/>
                    </a:cubicBezTo>
                    <a:cubicBezTo>
                      <a:pt x="61" y="115"/>
                      <a:pt x="126" y="49"/>
                      <a:pt x="238" y="49"/>
                    </a:cubicBezTo>
                    <a:cubicBezTo>
                      <a:pt x="270" y="49"/>
                      <a:pt x="270" y="49"/>
                      <a:pt x="270" y="49"/>
                    </a:cubicBezTo>
                    <a:cubicBezTo>
                      <a:pt x="282" y="49"/>
                      <a:pt x="286" y="39"/>
                      <a:pt x="286" y="23"/>
                    </a:cubicBezTo>
                    <a:cubicBezTo>
                      <a:pt x="286" y="4"/>
                      <a:pt x="275" y="0"/>
                      <a:pt x="244" y="0"/>
                    </a:cubicBezTo>
                    <a:cubicBezTo>
                      <a:pt x="231" y="0"/>
                      <a:pt x="231" y="0"/>
                      <a:pt x="231" y="0"/>
                    </a:cubicBezTo>
                    <a:cubicBezTo>
                      <a:pt x="101" y="0"/>
                      <a:pt x="0" y="71"/>
                      <a:pt x="0" y="232"/>
                    </a:cubicBezTo>
                    <a:cubicBezTo>
                      <a:pt x="0" y="386"/>
                      <a:pt x="88" y="455"/>
                      <a:pt x="198" y="455"/>
                    </a:cubicBezTo>
                    <a:cubicBezTo>
                      <a:pt x="286" y="455"/>
                      <a:pt x="307" y="430"/>
                      <a:pt x="307" y="40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0" dirty="0"/>
              </a:p>
            </p:txBody>
          </p:sp>
          <p:sp>
            <p:nvSpPr>
              <p:cNvPr id="23" name="Oval 8">
                <a:extLst>
                  <a:ext uri="{FF2B5EF4-FFF2-40B4-BE49-F238E27FC236}">
                    <a16:creationId xmlns:a16="http://schemas.microsoft.com/office/drawing/2014/main" id="{60D97C11-1A3B-5449-A48D-98A3E79B3810}"/>
                  </a:ext>
                </a:extLst>
              </p:cNvPr>
              <p:cNvSpPr>
                <a:spLocks noChangeArrowheads="1"/>
              </p:cNvSpPr>
              <p:nvPr/>
            </p:nvSpPr>
            <p:spPr bwMode="gray">
              <a:xfrm>
                <a:off x="3778" y="2099"/>
                <a:ext cx="122" cy="12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0" dirty="0"/>
              </a:p>
            </p:txBody>
          </p:sp>
          <p:sp>
            <p:nvSpPr>
              <p:cNvPr id="24" name="Freeform 9">
                <a:extLst>
                  <a:ext uri="{FF2B5EF4-FFF2-40B4-BE49-F238E27FC236}">
                    <a16:creationId xmlns:a16="http://schemas.microsoft.com/office/drawing/2014/main" id="{5856770D-B8F0-244E-A05D-AED190086F10}"/>
                  </a:ext>
                </a:extLst>
              </p:cNvPr>
              <p:cNvSpPr>
                <a:spLocks noEditPoints="1"/>
              </p:cNvSpPr>
              <p:nvPr/>
            </p:nvSpPr>
            <p:spPr bwMode="gray">
              <a:xfrm>
                <a:off x="3623" y="1696"/>
                <a:ext cx="1167" cy="922"/>
              </a:xfrm>
              <a:custGeom>
                <a:avLst/>
                <a:gdLst>
                  <a:gd name="T0" fmla="*/ 411 w 580"/>
                  <a:gd name="T1" fmla="*/ 213 h 458"/>
                  <a:gd name="T2" fmla="*/ 570 w 580"/>
                  <a:gd name="T3" fmla="*/ 37 h 458"/>
                  <a:gd name="T4" fmla="*/ 580 w 580"/>
                  <a:gd name="T5" fmla="*/ 20 h 458"/>
                  <a:gd name="T6" fmla="*/ 545 w 580"/>
                  <a:gd name="T7" fmla="*/ 0 h 458"/>
                  <a:gd name="T8" fmla="*/ 519 w 580"/>
                  <a:gd name="T9" fmla="*/ 16 h 458"/>
                  <a:gd name="T10" fmla="*/ 344 w 580"/>
                  <a:gd name="T11" fmla="*/ 210 h 458"/>
                  <a:gd name="T12" fmla="*/ 334 w 580"/>
                  <a:gd name="T13" fmla="*/ 229 h 458"/>
                  <a:gd name="T14" fmla="*/ 344 w 580"/>
                  <a:gd name="T15" fmla="*/ 248 h 458"/>
                  <a:gd name="T16" fmla="*/ 519 w 580"/>
                  <a:gd name="T17" fmla="*/ 442 h 458"/>
                  <a:gd name="T18" fmla="*/ 545 w 580"/>
                  <a:gd name="T19" fmla="*/ 458 h 458"/>
                  <a:gd name="T20" fmla="*/ 580 w 580"/>
                  <a:gd name="T21" fmla="*/ 438 h 458"/>
                  <a:gd name="T22" fmla="*/ 570 w 580"/>
                  <a:gd name="T23" fmla="*/ 421 h 458"/>
                  <a:gd name="T24" fmla="*/ 411 w 580"/>
                  <a:gd name="T25" fmla="*/ 245 h 458"/>
                  <a:gd name="T26" fmla="*/ 399 w 580"/>
                  <a:gd name="T27" fmla="*/ 229 h 458"/>
                  <a:gd name="T28" fmla="*/ 411 w 580"/>
                  <a:gd name="T29" fmla="*/ 213 h 458"/>
                  <a:gd name="T30" fmla="*/ 252 w 580"/>
                  <a:gd name="T31" fmla="*/ 439 h 458"/>
                  <a:gd name="T32" fmla="*/ 281 w 580"/>
                  <a:gd name="T33" fmla="*/ 454 h 458"/>
                  <a:gd name="T34" fmla="*/ 309 w 580"/>
                  <a:gd name="T35" fmla="*/ 439 h 458"/>
                  <a:gd name="T36" fmla="*/ 309 w 580"/>
                  <a:gd name="T37" fmla="*/ 19 h 458"/>
                  <a:gd name="T38" fmla="*/ 281 w 580"/>
                  <a:gd name="T39" fmla="*/ 4 h 458"/>
                  <a:gd name="T40" fmla="*/ 252 w 580"/>
                  <a:gd name="T41" fmla="*/ 19 h 458"/>
                  <a:gd name="T42" fmla="*/ 252 w 580"/>
                  <a:gd name="T43" fmla="*/ 439 h 458"/>
                  <a:gd name="T44" fmla="*/ 0 w 580"/>
                  <a:gd name="T45" fmla="*/ 439 h 458"/>
                  <a:gd name="T46" fmla="*/ 28 w 580"/>
                  <a:gd name="T47" fmla="*/ 454 h 458"/>
                  <a:gd name="T48" fmla="*/ 56 w 580"/>
                  <a:gd name="T49" fmla="*/ 439 h 458"/>
                  <a:gd name="T50" fmla="*/ 56 w 580"/>
                  <a:gd name="T51" fmla="*/ 157 h 458"/>
                  <a:gd name="T52" fmla="*/ 165 w 580"/>
                  <a:gd name="T53" fmla="*/ 53 h 458"/>
                  <a:gd name="T54" fmla="*/ 180 w 580"/>
                  <a:gd name="T55" fmla="*/ 53 h 458"/>
                  <a:gd name="T56" fmla="*/ 196 w 580"/>
                  <a:gd name="T57" fmla="*/ 27 h 458"/>
                  <a:gd name="T58" fmla="*/ 154 w 580"/>
                  <a:gd name="T59" fmla="*/ 4 h 458"/>
                  <a:gd name="T60" fmla="*/ 0 w 580"/>
                  <a:gd name="T61" fmla="*/ 152 h 458"/>
                  <a:gd name="T62" fmla="*/ 0 w 580"/>
                  <a:gd name="T63" fmla="*/ 439 h 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80" h="458">
                    <a:moveTo>
                      <a:pt x="411" y="213"/>
                    </a:moveTo>
                    <a:cubicBezTo>
                      <a:pt x="570" y="37"/>
                      <a:pt x="570" y="37"/>
                      <a:pt x="570" y="37"/>
                    </a:cubicBezTo>
                    <a:cubicBezTo>
                      <a:pt x="576" y="30"/>
                      <a:pt x="580" y="25"/>
                      <a:pt x="580" y="20"/>
                    </a:cubicBezTo>
                    <a:cubicBezTo>
                      <a:pt x="580" y="10"/>
                      <a:pt x="559" y="0"/>
                      <a:pt x="545" y="0"/>
                    </a:cubicBezTo>
                    <a:cubicBezTo>
                      <a:pt x="535" y="0"/>
                      <a:pt x="526" y="8"/>
                      <a:pt x="519" y="16"/>
                    </a:cubicBezTo>
                    <a:cubicBezTo>
                      <a:pt x="344" y="210"/>
                      <a:pt x="344" y="210"/>
                      <a:pt x="344" y="210"/>
                    </a:cubicBezTo>
                    <a:cubicBezTo>
                      <a:pt x="336" y="219"/>
                      <a:pt x="334" y="224"/>
                      <a:pt x="334" y="229"/>
                    </a:cubicBezTo>
                    <a:cubicBezTo>
                      <a:pt x="334" y="234"/>
                      <a:pt x="336" y="239"/>
                      <a:pt x="344" y="248"/>
                    </a:cubicBezTo>
                    <a:cubicBezTo>
                      <a:pt x="519" y="442"/>
                      <a:pt x="519" y="442"/>
                      <a:pt x="519" y="442"/>
                    </a:cubicBezTo>
                    <a:cubicBezTo>
                      <a:pt x="526" y="450"/>
                      <a:pt x="535" y="458"/>
                      <a:pt x="545" y="458"/>
                    </a:cubicBezTo>
                    <a:cubicBezTo>
                      <a:pt x="559" y="458"/>
                      <a:pt x="580" y="448"/>
                      <a:pt x="580" y="438"/>
                    </a:cubicBezTo>
                    <a:cubicBezTo>
                      <a:pt x="580" y="433"/>
                      <a:pt x="576" y="428"/>
                      <a:pt x="570" y="421"/>
                    </a:cubicBezTo>
                    <a:cubicBezTo>
                      <a:pt x="411" y="245"/>
                      <a:pt x="411" y="245"/>
                      <a:pt x="411" y="245"/>
                    </a:cubicBezTo>
                    <a:cubicBezTo>
                      <a:pt x="403" y="236"/>
                      <a:pt x="399" y="232"/>
                      <a:pt x="399" y="229"/>
                    </a:cubicBezTo>
                    <a:cubicBezTo>
                      <a:pt x="399" y="226"/>
                      <a:pt x="403" y="222"/>
                      <a:pt x="411" y="213"/>
                    </a:cubicBezTo>
                    <a:moveTo>
                      <a:pt x="252" y="439"/>
                    </a:moveTo>
                    <a:cubicBezTo>
                      <a:pt x="252" y="449"/>
                      <a:pt x="261" y="454"/>
                      <a:pt x="281" y="454"/>
                    </a:cubicBezTo>
                    <a:cubicBezTo>
                      <a:pt x="300" y="454"/>
                      <a:pt x="309" y="449"/>
                      <a:pt x="309" y="439"/>
                    </a:cubicBezTo>
                    <a:cubicBezTo>
                      <a:pt x="309" y="19"/>
                      <a:pt x="309" y="19"/>
                      <a:pt x="309" y="19"/>
                    </a:cubicBezTo>
                    <a:cubicBezTo>
                      <a:pt x="309" y="9"/>
                      <a:pt x="300" y="4"/>
                      <a:pt x="281" y="4"/>
                    </a:cubicBezTo>
                    <a:cubicBezTo>
                      <a:pt x="261" y="4"/>
                      <a:pt x="252" y="9"/>
                      <a:pt x="252" y="19"/>
                    </a:cubicBezTo>
                    <a:lnTo>
                      <a:pt x="252" y="439"/>
                    </a:lnTo>
                    <a:close/>
                    <a:moveTo>
                      <a:pt x="0" y="439"/>
                    </a:moveTo>
                    <a:cubicBezTo>
                      <a:pt x="0" y="449"/>
                      <a:pt x="8" y="454"/>
                      <a:pt x="28" y="454"/>
                    </a:cubicBezTo>
                    <a:cubicBezTo>
                      <a:pt x="48" y="454"/>
                      <a:pt x="56" y="449"/>
                      <a:pt x="56" y="439"/>
                    </a:cubicBezTo>
                    <a:cubicBezTo>
                      <a:pt x="56" y="157"/>
                      <a:pt x="56" y="157"/>
                      <a:pt x="56" y="157"/>
                    </a:cubicBezTo>
                    <a:cubicBezTo>
                      <a:pt x="56" y="83"/>
                      <a:pt x="85" y="53"/>
                      <a:pt x="165" y="53"/>
                    </a:cubicBezTo>
                    <a:cubicBezTo>
                      <a:pt x="180" y="53"/>
                      <a:pt x="180" y="53"/>
                      <a:pt x="180" y="53"/>
                    </a:cubicBezTo>
                    <a:cubicBezTo>
                      <a:pt x="192" y="53"/>
                      <a:pt x="196" y="43"/>
                      <a:pt x="196" y="27"/>
                    </a:cubicBezTo>
                    <a:cubicBezTo>
                      <a:pt x="196" y="8"/>
                      <a:pt x="185" y="4"/>
                      <a:pt x="154" y="4"/>
                    </a:cubicBezTo>
                    <a:cubicBezTo>
                      <a:pt x="64" y="4"/>
                      <a:pt x="0" y="43"/>
                      <a:pt x="0" y="152"/>
                    </a:cubicBezTo>
                    <a:lnTo>
                      <a:pt x="0" y="43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0" dirty="0"/>
              </a:p>
            </p:txBody>
          </p:sp>
          <p:sp>
            <p:nvSpPr>
              <p:cNvPr id="25" name="Freeform 10">
                <a:extLst>
                  <a:ext uri="{FF2B5EF4-FFF2-40B4-BE49-F238E27FC236}">
                    <a16:creationId xmlns:a16="http://schemas.microsoft.com/office/drawing/2014/main" id="{2B91B16B-BC11-E547-8FAC-B9B8D18EA449}"/>
                  </a:ext>
                </a:extLst>
              </p:cNvPr>
              <p:cNvSpPr>
                <a:spLocks/>
              </p:cNvSpPr>
              <p:nvPr/>
            </p:nvSpPr>
            <p:spPr bwMode="gray">
              <a:xfrm>
                <a:off x="2880" y="1704"/>
                <a:ext cx="618" cy="916"/>
              </a:xfrm>
              <a:custGeom>
                <a:avLst/>
                <a:gdLst>
                  <a:gd name="T0" fmla="*/ 307 w 307"/>
                  <a:gd name="T1" fmla="*/ 405 h 455"/>
                  <a:gd name="T2" fmla="*/ 307 w 307"/>
                  <a:gd name="T3" fmla="*/ 244 h 455"/>
                  <a:gd name="T4" fmla="*/ 279 w 307"/>
                  <a:gd name="T5" fmla="*/ 229 h 455"/>
                  <a:gd name="T6" fmla="*/ 250 w 307"/>
                  <a:gd name="T7" fmla="*/ 244 h 455"/>
                  <a:gd name="T8" fmla="*/ 250 w 307"/>
                  <a:gd name="T9" fmla="*/ 378 h 455"/>
                  <a:gd name="T10" fmla="*/ 199 w 307"/>
                  <a:gd name="T11" fmla="*/ 408 h 455"/>
                  <a:gd name="T12" fmla="*/ 61 w 307"/>
                  <a:gd name="T13" fmla="*/ 231 h 455"/>
                  <a:gd name="T14" fmla="*/ 238 w 307"/>
                  <a:gd name="T15" fmla="*/ 49 h 455"/>
                  <a:gd name="T16" fmla="*/ 270 w 307"/>
                  <a:gd name="T17" fmla="*/ 49 h 455"/>
                  <a:gd name="T18" fmla="*/ 286 w 307"/>
                  <a:gd name="T19" fmla="*/ 23 h 455"/>
                  <a:gd name="T20" fmla="*/ 244 w 307"/>
                  <a:gd name="T21" fmla="*/ 0 h 455"/>
                  <a:gd name="T22" fmla="*/ 231 w 307"/>
                  <a:gd name="T23" fmla="*/ 0 h 455"/>
                  <a:gd name="T24" fmla="*/ 0 w 307"/>
                  <a:gd name="T25" fmla="*/ 232 h 455"/>
                  <a:gd name="T26" fmla="*/ 198 w 307"/>
                  <a:gd name="T27" fmla="*/ 455 h 455"/>
                  <a:gd name="T28" fmla="*/ 307 w 307"/>
                  <a:gd name="T29" fmla="*/ 405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7" h="455">
                    <a:moveTo>
                      <a:pt x="307" y="405"/>
                    </a:moveTo>
                    <a:cubicBezTo>
                      <a:pt x="307" y="244"/>
                      <a:pt x="307" y="244"/>
                      <a:pt x="307" y="244"/>
                    </a:cubicBezTo>
                    <a:cubicBezTo>
                      <a:pt x="307" y="234"/>
                      <a:pt x="298" y="229"/>
                      <a:pt x="279" y="229"/>
                    </a:cubicBezTo>
                    <a:cubicBezTo>
                      <a:pt x="259" y="229"/>
                      <a:pt x="250" y="234"/>
                      <a:pt x="250" y="244"/>
                    </a:cubicBezTo>
                    <a:cubicBezTo>
                      <a:pt x="250" y="378"/>
                      <a:pt x="250" y="378"/>
                      <a:pt x="250" y="378"/>
                    </a:cubicBezTo>
                    <a:cubicBezTo>
                      <a:pt x="250" y="399"/>
                      <a:pt x="241" y="408"/>
                      <a:pt x="199" y="408"/>
                    </a:cubicBezTo>
                    <a:cubicBezTo>
                      <a:pt x="114" y="408"/>
                      <a:pt x="61" y="342"/>
                      <a:pt x="61" y="231"/>
                    </a:cubicBezTo>
                    <a:cubicBezTo>
                      <a:pt x="61" y="115"/>
                      <a:pt x="126" y="49"/>
                      <a:pt x="238" y="49"/>
                    </a:cubicBezTo>
                    <a:cubicBezTo>
                      <a:pt x="270" y="49"/>
                      <a:pt x="270" y="49"/>
                      <a:pt x="270" y="49"/>
                    </a:cubicBezTo>
                    <a:cubicBezTo>
                      <a:pt x="282" y="49"/>
                      <a:pt x="286" y="39"/>
                      <a:pt x="286" y="23"/>
                    </a:cubicBezTo>
                    <a:cubicBezTo>
                      <a:pt x="286" y="4"/>
                      <a:pt x="275" y="0"/>
                      <a:pt x="244" y="0"/>
                    </a:cubicBezTo>
                    <a:cubicBezTo>
                      <a:pt x="231" y="0"/>
                      <a:pt x="231" y="0"/>
                      <a:pt x="231" y="0"/>
                    </a:cubicBezTo>
                    <a:cubicBezTo>
                      <a:pt x="101" y="0"/>
                      <a:pt x="0" y="71"/>
                      <a:pt x="0" y="232"/>
                    </a:cubicBezTo>
                    <a:cubicBezTo>
                      <a:pt x="0" y="386"/>
                      <a:pt x="88" y="455"/>
                      <a:pt x="198" y="455"/>
                    </a:cubicBezTo>
                    <a:cubicBezTo>
                      <a:pt x="286" y="455"/>
                      <a:pt x="307" y="430"/>
                      <a:pt x="307" y="40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0" dirty="0"/>
              </a:p>
            </p:txBody>
          </p:sp>
          <p:sp>
            <p:nvSpPr>
              <p:cNvPr id="26" name="Oval 11">
                <a:extLst>
                  <a:ext uri="{FF2B5EF4-FFF2-40B4-BE49-F238E27FC236}">
                    <a16:creationId xmlns:a16="http://schemas.microsoft.com/office/drawing/2014/main" id="{14F8C3C8-4888-7646-B9B4-64EB46A1DA23}"/>
                  </a:ext>
                </a:extLst>
              </p:cNvPr>
              <p:cNvSpPr>
                <a:spLocks noChangeArrowheads="1"/>
              </p:cNvSpPr>
              <p:nvPr/>
            </p:nvSpPr>
            <p:spPr bwMode="gray">
              <a:xfrm>
                <a:off x="3778" y="2099"/>
                <a:ext cx="122" cy="12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0" dirty="0"/>
              </a:p>
            </p:txBody>
          </p:sp>
          <p:sp>
            <p:nvSpPr>
              <p:cNvPr id="27" name="Freeform 12">
                <a:extLst>
                  <a:ext uri="{FF2B5EF4-FFF2-40B4-BE49-F238E27FC236}">
                    <a16:creationId xmlns:a16="http://schemas.microsoft.com/office/drawing/2014/main" id="{D79D01D1-4E3E-F34B-97D7-2D387E68746E}"/>
                  </a:ext>
                </a:extLst>
              </p:cNvPr>
              <p:cNvSpPr>
                <a:spLocks/>
              </p:cNvSpPr>
              <p:nvPr/>
            </p:nvSpPr>
            <p:spPr bwMode="gray">
              <a:xfrm>
                <a:off x="4321" y="1029"/>
                <a:ext cx="648" cy="649"/>
              </a:xfrm>
              <a:custGeom>
                <a:avLst/>
                <a:gdLst>
                  <a:gd name="T0" fmla="*/ 0 w 648"/>
                  <a:gd name="T1" fmla="*/ 649 h 649"/>
                  <a:gd name="T2" fmla="*/ 2 w 648"/>
                  <a:gd name="T3" fmla="*/ 649 h 649"/>
                  <a:gd name="T4" fmla="*/ 648 w 648"/>
                  <a:gd name="T5" fmla="*/ 0 h 649"/>
                  <a:gd name="T6" fmla="*/ 423 w 648"/>
                  <a:gd name="T7" fmla="*/ 0 h 649"/>
                  <a:gd name="T8" fmla="*/ 0 w 648"/>
                  <a:gd name="T9" fmla="*/ 649 h 649"/>
                </a:gdLst>
                <a:ahLst/>
                <a:cxnLst>
                  <a:cxn ang="0">
                    <a:pos x="T0" y="T1"/>
                  </a:cxn>
                  <a:cxn ang="0">
                    <a:pos x="T2" y="T3"/>
                  </a:cxn>
                  <a:cxn ang="0">
                    <a:pos x="T4" y="T5"/>
                  </a:cxn>
                  <a:cxn ang="0">
                    <a:pos x="T6" y="T7"/>
                  </a:cxn>
                  <a:cxn ang="0">
                    <a:pos x="T8" y="T9"/>
                  </a:cxn>
                </a:cxnLst>
                <a:rect l="0" t="0" r="r" b="b"/>
                <a:pathLst>
                  <a:path w="648" h="649">
                    <a:moveTo>
                      <a:pt x="0" y="649"/>
                    </a:moveTo>
                    <a:lnTo>
                      <a:pt x="2" y="649"/>
                    </a:lnTo>
                    <a:lnTo>
                      <a:pt x="648" y="0"/>
                    </a:lnTo>
                    <a:lnTo>
                      <a:pt x="423" y="0"/>
                    </a:lnTo>
                    <a:lnTo>
                      <a:pt x="0" y="64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0" dirty="0"/>
              </a:p>
            </p:txBody>
          </p:sp>
          <p:sp>
            <p:nvSpPr>
              <p:cNvPr id="28" name="Freeform 13">
                <a:extLst>
                  <a:ext uri="{FF2B5EF4-FFF2-40B4-BE49-F238E27FC236}">
                    <a16:creationId xmlns:a16="http://schemas.microsoft.com/office/drawing/2014/main" id="{46549898-6C52-B147-A8F6-A73FDBE6163B}"/>
                  </a:ext>
                </a:extLst>
              </p:cNvPr>
              <p:cNvSpPr>
                <a:spLocks/>
              </p:cNvSpPr>
              <p:nvPr/>
            </p:nvSpPr>
            <p:spPr bwMode="gray">
              <a:xfrm>
                <a:off x="4321" y="1029"/>
                <a:ext cx="648" cy="649"/>
              </a:xfrm>
              <a:custGeom>
                <a:avLst/>
                <a:gdLst>
                  <a:gd name="T0" fmla="*/ 0 w 648"/>
                  <a:gd name="T1" fmla="*/ 649 h 649"/>
                  <a:gd name="T2" fmla="*/ 2 w 648"/>
                  <a:gd name="T3" fmla="*/ 649 h 649"/>
                  <a:gd name="T4" fmla="*/ 648 w 648"/>
                  <a:gd name="T5" fmla="*/ 0 h 649"/>
                  <a:gd name="T6" fmla="*/ 423 w 648"/>
                  <a:gd name="T7" fmla="*/ 0 h 649"/>
                  <a:gd name="T8" fmla="*/ 0 w 648"/>
                  <a:gd name="T9" fmla="*/ 649 h 649"/>
                </a:gdLst>
                <a:ahLst/>
                <a:cxnLst>
                  <a:cxn ang="0">
                    <a:pos x="T0" y="T1"/>
                  </a:cxn>
                  <a:cxn ang="0">
                    <a:pos x="T2" y="T3"/>
                  </a:cxn>
                  <a:cxn ang="0">
                    <a:pos x="T4" y="T5"/>
                  </a:cxn>
                  <a:cxn ang="0">
                    <a:pos x="T6" y="T7"/>
                  </a:cxn>
                  <a:cxn ang="0">
                    <a:pos x="T8" y="T9"/>
                  </a:cxn>
                </a:cxnLst>
                <a:rect l="0" t="0" r="r" b="b"/>
                <a:pathLst>
                  <a:path w="648" h="649">
                    <a:moveTo>
                      <a:pt x="0" y="649"/>
                    </a:moveTo>
                    <a:lnTo>
                      <a:pt x="2" y="649"/>
                    </a:lnTo>
                    <a:lnTo>
                      <a:pt x="648" y="0"/>
                    </a:lnTo>
                    <a:lnTo>
                      <a:pt x="423" y="0"/>
                    </a:lnTo>
                    <a:lnTo>
                      <a:pt x="0" y="64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0" dirty="0"/>
              </a:p>
            </p:txBody>
          </p:sp>
        </p:grpSp>
      </p:grpSp>
      <p:sp>
        <p:nvSpPr>
          <p:cNvPr id="7" name="Date Placeholder 6"/>
          <p:cNvSpPr>
            <a:spLocks noGrp="1"/>
          </p:cNvSpPr>
          <p:nvPr>
            <p:ph type="dt" sz="half" idx="10"/>
          </p:nvPr>
        </p:nvSpPr>
        <p:spPr>
          <a:xfrm>
            <a:off x="0" y="0"/>
            <a:ext cx="0" cy="0"/>
          </a:xfrm>
          <a:prstGeom prst="rect">
            <a:avLst/>
          </a:prstGeom>
        </p:spPr>
        <p:txBody>
          <a:bodyPr/>
          <a:lstStyle>
            <a:lvl1pPr>
              <a:defRPr sz="133">
                <a:noFill/>
              </a:defRPr>
            </a:lvl1pPr>
          </a:lstStyle>
          <a:p>
            <a:fld id="{D6D08F88-38D2-4786-82D6-89211B05083D}" type="datetime5">
              <a:rPr lang="en-US" smtClean="0"/>
              <a:t>26-Jun-20</a:t>
            </a:fld>
            <a:endParaRPr lang="en-US" dirty="0"/>
          </a:p>
        </p:txBody>
      </p:sp>
      <p:sp>
        <p:nvSpPr>
          <p:cNvPr id="8" name="Footer Placeholder 7"/>
          <p:cNvSpPr>
            <a:spLocks noGrp="1"/>
          </p:cNvSpPr>
          <p:nvPr>
            <p:ph type="ftr" sz="quarter" idx="11"/>
          </p:nvPr>
        </p:nvSpPr>
        <p:spPr>
          <a:xfrm>
            <a:off x="0" y="0"/>
            <a:ext cx="0" cy="0"/>
          </a:xfrm>
          <a:prstGeom prst="rect">
            <a:avLst/>
          </a:prstGeom>
        </p:spPr>
        <p:txBody>
          <a:bodyPr/>
          <a:lstStyle>
            <a:lvl1pPr marL="0" indent="0">
              <a:buNone/>
              <a:defRPr sz="133">
                <a:noFill/>
              </a:defRPr>
            </a:lvl1pPr>
          </a:lstStyle>
          <a:p>
            <a:r>
              <a:rPr lang="en-US"/>
              <a:t>Title of presentation (Insert / Header &amp; Footer / Apply to All)</a:t>
            </a:r>
            <a:endParaRPr lang="en-US" dirty="0"/>
          </a:p>
        </p:txBody>
      </p:sp>
      <p:sp>
        <p:nvSpPr>
          <p:cNvPr id="9" name="Slide Number Placeholder 8"/>
          <p:cNvSpPr>
            <a:spLocks noGrp="1"/>
          </p:cNvSpPr>
          <p:nvPr>
            <p:ph type="sldNum" sz="quarter" idx="12"/>
          </p:nvPr>
        </p:nvSpPr>
        <p:spPr>
          <a:xfrm>
            <a:off x="0" y="0"/>
            <a:ext cx="0" cy="0"/>
          </a:xfrm>
          <a:prstGeom prst="rect">
            <a:avLst/>
          </a:prstGeom>
        </p:spPr>
        <p:txBody>
          <a:bodyPr/>
          <a:lstStyle>
            <a:lvl1pPr>
              <a:defRPr sz="133">
                <a:noFill/>
              </a:defRPr>
            </a:lvl1pPr>
          </a:lstStyle>
          <a:p>
            <a:fld id="{8E3B25F7-8D1F-44B5-B485-EE3C438CFD7B}" type="slidenum">
              <a:rPr lang="en-US" smtClean="0"/>
              <a:pPr/>
              <a:t>‹#›</a:t>
            </a:fld>
            <a:endParaRPr lang="en-US"/>
          </a:p>
        </p:txBody>
      </p:sp>
      <p:sp>
        <p:nvSpPr>
          <p:cNvPr id="2" name="Title 1"/>
          <p:cNvSpPr>
            <a:spLocks noGrp="1"/>
          </p:cNvSpPr>
          <p:nvPr>
            <p:ph type="ctrTitle" hasCustomPrompt="1"/>
          </p:nvPr>
        </p:nvSpPr>
        <p:spPr>
          <a:xfrm>
            <a:off x="417600" y="1628775"/>
            <a:ext cx="3816000" cy="2236264"/>
          </a:xfrm>
        </p:spPr>
        <p:txBody>
          <a:bodyPr anchor="b"/>
          <a:lstStyle>
            <a:lvl1pPr algn="l">
              <a:defRPr sz="3599"/>
            </a:lvl1pPr>
          </a:lstStyle>
          <a:p>
            <a:r>
              <a:rPr lang="en-US" dirty="0"/>
              <a:t>Click to add presentation title</a:t>
            </a:r>
          </a:p>
        </p:txBody>
      </p:sp>
      <p:sp>
        <p:nvSpPr>
          <p:cNvPr id="3" name="Subtitle 2"/>
          <p:cNvSpPr>
            <a:spLocks noGrp="1"/>
          </p:cNvSpPr>
          <p:nvPr>
            <p:ph type="subTitle" idx="1" hasCustomPrompt="1"/>
          </p:nvPr>
        </p:nvSpPr>
        <p:spPr>
          <a:xfrm>
            <a:off x="417600" y="4094163"/>
            <a:ext cx="3816000" cy="1080000"/>
          </a:xfrm>
        </p:spPr>
        <p:txBody>
          <a:bodyPr/>
          <a:lstStyle>
            <a:lvl1pPr marL="0" indent="0" algn="l">
              <a:spcBef>
                <a:spcPts val="0"/>
              </a:spcBef>
              <a:buNone/>
              <a:defRPr sz="1799" b="1"/>
            </a:lvl1pPr>
            <a:lvl2pPr marL="457051" indent="0" algn="ctr">
              <a:buNone/>
              <a:defRPr sz="1999"/>
            </a:lvl2pPr>
            <a:lvl3pPr marL="914103" indent="0" algn="ctr">
              <a:buNone/>
              <a:defRPr sz="1799"/>
            </a:lvl3pPr>
            <a:lvl4pPr marL="1371154" indent="0" algn="ctr">
              <a:buNone/>
              <a:defRPr sz="1599"/>
            </a:lvl4pPr>
            <a:lvl5pPr marL="1828206" indent="0" algn="ctr">
              <a:buNone/>
              <a:defRPr sz="1599"/>
            </a:lvl5pPr>
            <a:lvl6pPr marL="2285257" indent="0" algn="ctr">
              <a:buNone/>
              <a:defRPr sz="1599"/>
            </a:lvl6pPr>
            <a:lvl7pPr marL="2742308" indent="0" algn="ctr">
              <a:buNone/>
              <a:defRPr sz="1599"/>
            </a:lvl7pPr>
            <a:lvl8pPr marL="3199360" indent="0" algn="ctr">
              <a:buNone/>
              <a:defRPr sz="1599"/>
            </a:lvl8pPr>
            <a:lvl9pPr marL="3656411" indent="0" algn="ctr">
              <a:buNone/>
              <a:defRPr sz="1599"/>
            </a:lvl9pPr>
          </a:lstStyle>
          <a:p>
            <a:r>
              <a:rPr lang="en-US" dirty="0"/>
              <a:t>Click to add subtitle</a:t>
            </a:r>
          </a:p>
        </p:txBody>
      </p:sp>
      <p:sp>
        <p:nvSpPr>
          <p:cNvPr id="31" name="Text Placeholder 30"/>
          <p:cNvSpPr>
            <a:spLocks noGrp="1"/>
          </p:cNvSpPr>
          <p:nvPr>
            <p:ph type="body" sz="quarter" idx="14" hasCustomPrompt="1"/>
          </p:nvPr>
        </p:nvSpPr>
        <p:spPr>
          <a:xfrm>
            <a:off x="417600" y="5393268"/>
            <a:ext cx="3816000" cy="296333"/>
          </a:xfrm>
        </p:spPr>
        <p:txBody>
          <a:bodyPr wrap="none"/>
          <a:lstStyle>
            <a:lvl1pPr marL="0" indent="0">
              <a:spcBef>
                <a:spcPts val="0"/>
              </a:spcBef>
              <a:buNone/>
              <a:defRPr sz="1200"/>
            </a:lvl1pPr>
            <a:lvl2pPr marL="0" indent="0">
              <a:buNone/>
              <a:defRPr sz="1200"/>
            </a:lvl2pPr>
            <a:lvl3pPr marL="0" indent="0">
              <a:buNone/>
              <a:defRPr sz="1200"/>
            </a:lvl3pPr>
            <a:lvl4pPr marL="0">
              <a:buNone/>
              <a:defRPr sz="1200"/>
            </a:lvl4pPr>
            <a:lvl5pPr marL="0" indent="0">
              <a:buNone/>
              <a:defRPr sz="1200"/>
            </a:lvl5pPr>
          </a:lstStyle>
          <a:p>
            <a:pPr lvl="0"/>
            <a:r>
              <a:rPr lang="en-US" dirty="0"/>
              <a:t>Name</a:t>
            </a:r>
          </a:p>
        </p:txBody>
      </p:sp>
      <p:sp>
        <p:nvSpPr>
          <p:cNvPr id="34" name="Text Placeholder 30"/>
          <p:cNvSpPr>
            <a:spLocks noGrp="1"/>
          </p:cNvSpPr>
          <p:nvPr>
            <p:ph type="body" sz="quarter" idx="15" hasCustomPrompt="1"/>
          </p:nvPr>
        </p:nvSpPr>
        <p:spPr>
          <a:xfrm>
            <a:off x="417600" y="5691445"/>
            <a:ext cx="3816000" cy="296333"/>
          </a:xfrm>
        </p:spPr>
        <p:txBody>
          <a:bodyPr wrap="none"/>
          <a:lstStyle>
            <a:lvl1pPr marL="0" indent="0">
              <a:spcBef>
                <a:spcPts val="0"/>
              </a:spcBef>
              <a:buNone/>
              <a:defRPr sz="1200"/>
            </a:lvl1pPr>
            <a:lvl2pPr marL="0" indent="0">
              <a:buNone/>
              <a:defRPr sz="1200"/>
            </a:lvl2pPr>
            <a:lvl3pPr marL="0" indent="0">
              <a:buNone/>
              <a:defRPr sz="1200"/>
            </a:lvl3pPr>
            <a:lvl4pPr marL="0">
              <a:buNone/>
              <a:defRPr sz="1200"/>
            </a:lvl4pPr>
            <a:lvl5pPr marL="0" indent="0">
              <a:buNone/>
              <a:defRPr sz="1200"/>
            </a:lvl5pPr>
          </a:lstStyle>
          <a:p>
            <a:pPr lvl="0"/>
            <a:r>
              <a:rPr lang="en-US" dirty="0"/>
              <a:t>Department</a:t>
            </a:r>
          </a:p>
        </p:txBody>
      </p:sp>
    </p:spTree>
    <p:extLst>
      <p:ext uri="{BB962C8B-B14F-4D97-AF65-F5344CB8AC3E}">
        <p14:creationId xmlns:p14="http://schemas.microsoft.com/office/powerpoint/2010/main" val="322214305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1_Titelfolie">
    <p:spTree>
      <p:nvGrpSpPr>
        <p:cNvPr id="1" name=""/>
        <p:cNvGrpSpPr/>
        <p:nvPr/>
      </p:nvGrpSpPr>
      <p:grpSpPr>
        <a:xfrm>
          <a:off x="0" y="0"/>
          <a:ext cx="0" cy="0"/>
          <a:chOff x="0" y="0"/>
          <a:chExt cx="0" cy="0"/>
        </a:xfrm>
      </p:grpSpPr>
      <p:sp>
        <p:nvSpPr>
          <p:cNvPr id="2" name="Title 1"/>
          <p:cNvSpPr>
            <a:spLocks noGrp="1"/>
          </p:cNvSpPr>
          <p:nvPr>
            <p:ph type="ctrTitle" hasCustomPrompt="1"/>
          </p:nvPr>
        </p:nvSpPr>
        <p:spPr bwMode="gray">
          <a:xfrm>
            <a:off x="431810" y="2372783"/>
            <a:ext cx="11328401" cy="1344257"/>
          </a:xfrm>
          <a:prstGeom prst="rect">
            <a:avLst/>
          </a:prstGeom>
        </p:spPr>
        <p:txBody>
          <a:bodyPr anchor="b"/>
          <a:lstStyle>
            <a:lvl1pPr>
              <a:defRPr sz="4797" b="0" cap="none" baseline="0">
                <a:solidFill>
                  <a:schemeClr val="tx2"/>
                </a:solidFill>
                <a:latin typeface="Arial" pitchFamily="34" charset="0"/>
              </a:defRPr>
            </a:lvl1pPr>
          </a:lstStyle>
          <a:p>
            <a:r>
              <a:rPr lang="en-US"/>
              <a:t>Click to add title of presentation</a:t>
            </a:r>
          </a:p>
        </p:txBody>
      </p:sp>
      <p:sp>
        <p:nvSpPr>
          <p:cNvPr id="3" name="Subtitle 2"/>
          <p:cNvSpPr>
            <a:spLocks noGrp="1"/>
          </p:cNvSpPr>
          <p:nvPr>
            <p:ph type="subTitle" idx="1" hasCustomPrompt="1"/>
          </p:nvPr>
        </p:nvSpPr>
        <p:spPr bwMode="gray">
          <a:xfrm>
            <a:off x="431800" y="3813083"/>
            <a:ext cx="11328403" cy="1535765"/>
          </a:xfrm>
          <a:prstGeom prst="rect">
            <a:avLst/>
          </a:prstGeom>
        </p:spPr>
        <p:txBody>
          <a:bodyPr/>
          <a:lstStyle>
            <a:lvl1pPr marL="0" indent="0" algn="l">
              <a:spcBef>
                <a:spcPts val="800"/>
              </a:spcBef>
              <a:spcAft>
                <a:spcPts val="0"/>
              </a:spcAft>
              <a:buNone/>
              <a:defRPr sz="2666" baseline="0">
                <a:solidFill>
                  <a:schemeClr val="tx2"/>
                </a:solidFill>
              </a:defRPr>
            </a:lvl1pPr>
            <a:lvl2pPr marL="0" indent="0" algn="l">
              <a:spcBef>
                <a:spcPts val="800"/>
              </a:spcBef>
              <a:spcAft>
                <a:spcPts val="0"/>
              </a:spcAft>
              <a:buNone/>
              <a:defRPr sz="2666">
                <a:solidFill>
                  <a:schemeClr val="tx2"/>
                </a:solidFill>
              </a:defRPr>
            </a:lvl2pPr>
            <a:lvl3pPr marL="0" indent="0" algn="l">
              <a:spcBef>
                <a:spcPts val="800"/>
              </a:spcBef>
              <a:spcAft>
                <a:spcPts val="0"/>
              </a:spcAft>
              <a:buNone/>
              <a:defRPr sz="2666">
                <a:solidFill>
                  <a:schemeClr val="tx2"/>
                </a:solidFill>
              </a:defRPr>
            </a:lvl3pPr>
            <a:lvl4pPr marL="0" indent="0" algn="l">
              <a:spcBef>
                <a:spcPts val="800"/>
              </a:spcBef>
              <a:spcAft>
                <a:spcPts val="0"/>
              </a:spcAft>
              <a:buNone/>
              <a:defRPr sz="2666">
                <a:solidFill>
                  <a:schemeClr val="tx2"/>
                </a:solidFill>
              </a:defRPr>
            </a:lvl4pPr>
            <a:lvl5pPr marL="0" indent="0" algn="l">
              <a:spcBef>
                <a:spcPts val="800"/>
              </a:spcBef>
              <a:spcAft>
                <a:spcPts val="0"/>
              </a:spcAft>
              <a:buNone/>
              <a:defRPr sz="2666">
                <a:solidFill>
                  <a:schemeClr val="tx2"/>
                </a:solidFill>
              </a:defRPr>
            </a:lvl5pPr>
            <a:lvl6pPr marL="0" indent="0" algn="l">
              <a:spcBef>
                <a:spcPts val="800"/>
              </a:spcBef>
              <a:spcAft>
                <a:spcPts val="0"/>
              </a:spcAft>
              <a:buNone/>
              <a:defRPr sz="2666">
                <a:solidFill>
                  <a:schemeClr val="tx2"/>
                </a:solidFill>
              </a:defRPr>
            </a:lvl6pPr>
            <a:lvl7pPr marL="0" indent="0" algn="l">
              <a:spcBef>
                <a:spcPts val="800"/>
              </a:spcBef>
              <a:spcAft>
                <a:spcPts val="0"/>
              </a:spcAft>
              <a:buNone/>
              <a:defRPr sz="2666">
                <a:solidFill>
                  <a:schemeClr val="tx2"/>
                </a:solidFill>
              </a:defRPr>
            </a:lvl7pPr>
            <a:lvl8pPr marL="0" indent="0" algn="l">
              <a:spcAft>
                <a:spcPts val="0"/>
              </a:spcAft>
              <a:buNone/>
              <a:defRPr sz="2666">
                <a:solidFill>
                  <a:schemeClr val="tx2"/>
                </a:solidFill>
              </a:defRPr>
            </a:lvl8pPr>
            <a:lvl9pPr marL="0" indent="0" algn="l">
              <a:spcBef>
                <a:spcPts val="800"/>
              </a:spcBef>
              <a:spcAft>
                <a:spcPts val="0"/>
              </a:spcAft>
              <a:buNone/>
              <a:defRPr sz="2666">
                <a:solidFill>
                  <a:schemeClr val="tx2"/>
                </a:solidFill>
              </a:defRPr>
            </a:lvl9pPr>
          </a:lstStyle>
          <a:p>
            <a:pPr lvl="0"/>
            <a:r>
              <a:rPr lang="en-US" noProof="0"/>
              <a:t>Click to add subtitle of presentation</a:t>
            </a:r>
          </a:p>
        </p:txBody>
      </p:sp>
      <p:sp>
        <p:nvSpPr>
          <p:cNvPr id="4" name="Rechteck 3"/>
          <p:cNvSpPr/>
          <p:nvPr userDrawn="1"/>
        </p:nvSpPr>
        <p:spPr bwMode="gray">
          <a:xfrm>
            <a:off x="0" y="6570172"/>
            <a:ext cx="12192000" cy="28783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845" tIns="60923" rIns="121845" bIns="60923" numCol="1" spcCol="0" rtlCol="0" fromWordArt="0" anchor="ctr" anchorCtr="0" forceAA="0" compatLnSpc="1">
            <a:prstTxWarp prst="textNoShape">
              <a:avLst/>
            </a:prstTxWarp>
            <a:noAutofit/>
          </a:bodyPr>
          <a:lstStyle/>
          <a:p>
            <a:pPr algn="ctr">
              <a:buFont typeface="Courier New" pitchFamily="49" charset="0"/>
              <a:buNone/>
            </a:pPr>
            <a:endParaRPr lang="en-US" sz="2133">
              <a:solidFill>
                <a:srgbClr val="000000"/>
              </a:solidFill>
            </a:endParaRPr>
          </a:p>
        </p:txBody>
      </p:sp>
      <p:sp>
        <p:nvSpPr>
          <p:cNvPr id="6" name="Text Placeholder 10"/>
          <p:cNvSpPr>
            <a:spLocks noGrp="1"/>
          </p:cNvSpPr>
          <p:nvPr>
            <p:ph type="body" sz="quarter" idx="10" hasCustomPrompt="1"/>
          </p:nvPr>
        </p:nvSpPr>
        <p:spPr bwMode="gray">
          <a:xfrm>
            <a:off x="431800" y="6117415"/>
            <a:ext cx="11328400" cy="288000"/>
          </a:xfrm>
          <a:prstGeom prst="rect">
            <a:avLst/>
          </a:prstGeom>
        </p:spPr>
        <p:txBody>
          <a:bodyPr tIns="0" anchor="b" anchorCtr="0"/>
          <a:lstStyle>
            <a:lvl1pPr marL="0" indent="0">
              <a:lnSpc>
                <a:spcPct val="100000"/>
              </a:lnSpc>
              <a:spcBef>
                <a:spcPts val="0"/>
              </a:spcBef>
              <a:spcAft>
                <a:spcPts val="0"/>
              </a:spcAft>
              <a:buFontTx/>
              <a:buNone/>
              <a:defRPr sz="1598">
                <a:solidFill>
                  <a:schemeClr val="tx2"/>
                </a:solidFill>
              </a:defRPr>
            </a:lvl1pPr>
            <a:lvl2pPr marL="0" indent="0">
              <a:lnSpc>
                <a:spcPct val="100000"/>
              </a:lnSpc>
              <a:spcBef>
                <a:spcPts val="0"/>
              </a:spcBef>
              <a:spcAft>
                <a:spcPts val="0"/>
              </a:spcAft>
              <a:buFontTx/>
              <a:buNone/>
              <a:defRPr sz="1598">
                <a:solidFill>
                  <a:schemeClr val="tx2"/>
                </a:solidFill>
              </a:defRPr>
            </a:lvl2pPr>
            <a:lvl3pPr marL="0" indent="0">
              <a:lnSpc>
                <a:spcPct val="100000"/>
              </a:lnSpc>
              <a:spcBef>
                <a:spcPts val="0"/>
              </a:spcBef>
              <a:spcAft>
                <a:spcPts val="0"/>
              </a:spcAft>
              <a:buFontTx/>
              <a:buNone/>
              <a:defRPr sz="1598">
                <a:solidFill>
                  <a:schemeClr val="tx2"/>
                </a:solidFill>
              </a:defRPr>
            </a:lvl3pPr>
            <a:lvl4pPr marL="0" indent="0">
              <a:lnSpc>
                <a:spcPct val="100000"/>
              </a:lnSpc>
              <a:spcBef>
                <a:spcPts val="0"/>
              </a:spcBef>
              <a:spcAft>
                <a:spcPts val="0"/>
              </a:spcAft>
              <a:buFontTx/>
              <a:buNone/>
              <a:defRPr sz="1598">
                <a:solidFill>
                  <a:schemeClr val="tx2"/>
                </a:solidFill>
              </a:defRPr>
            </a:lvl4pPr>
            <a:lvl5pPr marL="0" indent="0">
              <a:lnSpc>
                <a:spcPct val="100000"/>
              </a:lnSpc>
              <a:spcBef>
                <a:spcPts val="0"/>
              </a:spcBef>
              <a:spcAft>
                <a:spcPts val="0"/>
              </a:spcAft>
              <a:buFontTx/>
              <a:buNone/>
              <a:defRPr sz="1598">
                <a:solidFill>
                  <a:schemeClr val="tx2"/>
                </a:solidFill>
              </a:defRPr>
            </a:lvl5pPr>
            <a:lvl6pPr marL="0" indent="0">
              <a:lnSpc>
                <a:spcPct val="100000"/>
              </a:lnSpc>
              <a:spcBef>
                <a:spcPts val="0"/>
              </a:spcBef>
              <a:spcAft>
                <a:spcPts val="0"/>
              </a:spcAft>
              <a:buFontTx/>
              <a:buNone/>
              <a:defRPr sz="1598">
                <a:solidFill>
                  <a:schemeClr val="tx2"/>
                </a:solidFill>
              </a:defRPr>
            </a:lvl6pPr>
            <a:lvl7pPr marL="0" indent="0">
              <a:lnSpc>
                <a:spcPct val="100000"/>
              </a:lnSpc>
              <a:spcBef>
                <a:spcPts val="0"/>
              </a:spcBef>
              <a:spcAft>
                <a:spcPts val="0"/>
              </a:spcAft>
              <a:buFontTx/>
              <a:buNone/>
              <a:defRPr sz="1598">
                <a:solidFill>
                  <a:schemeClr val="tx2"/>
                </a:solidFill>
              </a:defRPr>
            </a:lvl7pPr>
            <a:lvl8pPr marL="0" indent="0">
              <a:lnSpc>
                <a:spcPct val="100000"/>
              </a:lnSpc>
              <a:spcBef>
                <a:spcPts val="0"/>
              </a:spcBef>
              <a:spcAft>
                <a:spcPts val="0"/>
              </a:spcAft>
              <a:buFontTx/>
              <a:buNone/>
              <a:defRPr sz="1598">
                <a:solidFill>
                  <a:schemeClr val="bg1"/>
                </a:solidFill>
              </a:defRPr>
            </a:lvl8pPr>
            <a:lvl9pPr marL="0" indent="0">
              <a:lnSpc>
                <a:spcPct val="100000"/>
              </a:lnSpc>
              <a:spcBef>
                <a:spcPts val="0"/>
              </a:spcBef>
              <a:spcAft>
                <a:spcPts val="0"/>
              </a:spcAft>
              <a:buFontTx/>
              <a:buNone/>
              <a:defRPr sz="1598">
                <a:solidFill>
                  <a:schemeClr val="tx2"/>
                </a:solidFill>
              </a:defRPr>
            </a:lvl9pPr>
          </a:lstStyle>
          <a:p>
            <a:pPr lvl="0"/>
            <a:r>
              <a:rPr lang="en-US" noProof="0"/>
              <a:t>Click to add additional text, e.g. author, location, date</a:t>
            </a:r>
          </a:p>
        </p:txBody>
      </p:sp>
    </p:spTree>
    <p:extLst>
      <p:ext uri="{BB962C8B-B14F-4D97-AF65-F5344CB8AC3E}">
        <p14:creationId xmlns:p14="http://schemas.microsoft.com/office/powerpoint/2010/main" val="846558866"/>
      </p:ext>
    </p:extLst>
  </p:cSld>
  <p:clrMapOvr>
    <a:masterClrMapping/>
  </p:clrMapOvr>
</p:sldLayout>
</file>

<file path=ppt/slideLayouts/slideLayout220.xml><?xml version="1.0" encoding="utf-8"?>
<p:sldLayout xmlns:a="http://schemas.openxmlformats.org/drawingml/2006/main" xmlns:r="http://schemas.openxmlformats.org/officeDocument/2006/relationships" xmlns:p="http://schemas.openxmlformats.org/presentationml/2006/main" showMasterSp="0" preserve="1" userDrawn="1">
  <p:cSld name="2_Title with picture">
    <p:spTree>
      <p:nvGrpSpPr>
        <p:cNvPr id="1" name=""/>
        <p:cNvGrpSpPr/>
        <p:nvPr/>
      </p:nvGrpSpPr>
      <p:grpSpPr>
        <a:xfrm>
          <a:off x="0" y="0"/>
          <a:ext cx="0" cy="0"/>
          <a:chOff x="0" y="0"/>
          <a:chExt cx="0" cy="0"/>
        </a:xfrm>
      </p:grpSpPr>
      <p:sp>
        <p:nvSpPr>
          <p:cNvPr id="12" name="Picture Placeholder 11"/>
          <p:cNvSpPr>
            <a:spLocks noGrp="1"/>
          </p:cNvSpPr>
          <p:nvPr>
            <p:ph type="pic" sz="quarter" idx="13" hasCustomPrompt="1"/>
          </p:nvPr>
        </p:nvSpPr>
        <p:spPr>
          <a:xfrm>
            <a:off x="3376226" y="0"/>
            <a:ext cx="8815775" cy="6858000"/>
          </a:xfrm>
          <a:custGeom>
            <a:avLst/>
            <a:gdLst>
              <a:gd name="connsiteX0" fmla="*/ 331042 w 8815774"/>
              <a:gd name="connsiteY0" fmla="*/ 0 h 6858000"/>
              <a:gd name="connsiteX1" fmla="*/ 8815774 w 8815774"/>
              <a:gd name="connsiteY1" fmla="*/ 0 h 6858000"/>
              <a:gd name="connsiteX2" fmla="*/ 8815774 w 8815774"/>
              <a:gd name="connsiteY2" fmla="*/ 6858000 h 6858000"/>
              <a:gd name="connsiteX3" fmla="*/ 0 w 8815774"/>
              <a:gd name="connsiteY3" fmla="*/ 6858000 h 6858000"/>
              <a:gd name="connsiteX4" fmla="*/ 1580491 w 8815774"/>
              <a:gd name="connsiteY4" fmla="*/ 4163677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15774" h="6858000">
                <a:moveTo>
                  <a:pt x="331042" y="0"/>
                </a:moveTo>
                <a:lnTo>
                  <a:pt x="8815774" y="0"/>
                </a:lnTo>
                <a:lnTo>
                  <a:pt x="8815774" y="6858000"/>
                </a:lnTo>
                <a:lnTo>
                  <a:pt x="0" y="6858000"/>
                </a:lnTo>
                <a:lnTo>
                  <a:pt x="1580491" y="4163677"/>
                </a:lnTo>
                <a:close/>
              </a:path>
            </a:pathLst>
          </a:custGeom>
          <a:solidFill>
            <a:srgbClr val="D9DADB"/>
          </a:solidFill>
        </p:spPr>
        <p:txBody>
          <a:bodyPr wrap="square">
            <a:noAutofit/>
          </a:bodyPr>
          <a:lstStyle>
            <a:lvl1pPr marL="0" indent="0" algn="ctr">
              <a:buNone/>
              <a:defRPr/>
            </a:lvl1pPr>
          </a:lstStyle>
          <a:p>
            <a:r>
              <a:rPr lang="en-US" dirty="0"/>
              <a:t>Insert picture</a:t>
            </a:r>
          </a:p>
        </p:txBody>
      </p:sp>
      <p:sp>
        <p:nvSpPr>
          <p:cNvPr id="7" name="Date Placeholder 6"/>
          <p:cNvSpPr>
            <a:spLocks noGrp="1"/>
          </p:cNvSpPr>
          <p:nvPr>
            <p:ph type="dt" sz="half" idx="10"/>
          </p:nvPr>
        </p:nvSpPr>
        <p:spPr>
          <a:xfrm>
            <a:off x="0" y="0"/>
            <a:ext cx="0" cy="0"/>
          </a:xfrm>
          <a:prstGeom prst="rect">
            <a:avLst/>
          </a:prstGeom>
        </p:spPr>
        <p:txBody>
          <a:bodyPr/>
          <a:lstStyle>
            <a:lvl1pPr>
              <a:defRPr sz="133">
                <a:noFill/>
              </a:defRPr>
            </a:lvl1pPr>
          </a:lstStyle>
          <a:p>
            <a:fld id="{D6D08F88-38D2-4786-82D6-89211B05083D}" type="datetime5">
              <a:rPr lang="en-US" smtClean="0"/>
              <a:t>26-Jun-20</a:t>
            </a:fld>
            <a:endParaRPr lang="en-US" dirty="0"/>
          </a:p>
        </p:txBody>
      </p:sp>
      <p:sp>
        <p:nvSpPr>
          <p:cNvPr id="8" name="Footer Placeholder 7"/>
          <p:cNvSpPr>
            <a:spLocks noGrp="1"/>
          </p:cNvSpPr>
          <p:nvPr>
            <p:ph type="ftr" sz="quarter" idx="11"/>
          </p:nvPr>
        </p:nvSpPr>
        <p:spPr>
          <a:xfrm>
            <a:off x="0" y="0"/>
            <a:ext cx="0" cy="0"/>
          </a:xfrm>
          <a:prstGeom prst="rect">
            <a:avLst/>
          </a:prstGeom>
        </p:spPr>
        <p:txBody>
          <a:bodyPr/>
          <a:lstStyle>
            <a:lvl1pPr marL="0" indent="0">
              <a:buNone/>
              <a:defRPr sz="133">
                <a:noFill/>
              </a:defRPr>
            </a:lvl1pPr>
          </a:lstStyle>
          <a:p>
            <a:r>
              <a:rPr lang="en-US"/>
              <a:t>Title of presentation (Insert / Header &amp; Footer / Apply to All)</a:t>
            </a:r>
            <a:endParaRPr lang="en-US" dirty="0"/>
          </a:p>
        </p:txBody>
      </p:sp>
      <p:sp>
        <p:nvSpPr>
          <p:cNvPr id="9" name="Slide Number Placeholder 8"/>
          <p:cNvSpPr>
            <a:spLocks noGrp="1"/>
          </p:cNvSpPr>
          <p:nvPr>
            <p:ph type="sldNum" sz="quarter" idx="12"/>
          </p:nvPr>
        </p:nvSpPr>
        <p:spPr>
          <a:xfrm>
            <a:off x="0" y="0"/>
            <a:ext cx="0" cy="0"/>
          </a:xfrm>
          <a:prstGeom prst="rect">
            <a:avLst/>
          </a:prstGeom>
        </p:spPr>
        <p:txBody>
          <a:bodyPr/>
          <a:lstStyle>
            <a:lvl1pPr>
              <a:defRPr sz="133">
                <a:noFill/>
              </a:defRPr>
            </a:lvl1pPr>
          </a:lstStyle>
          <a:p>
            <a:fld id="{8E3B25F7-8D1F-44B5-B485-EE3C438CFD7B}" type="slidenum">
              <a:rPr lang="en-US" smtClean="0"/>
              <a:pPr/>
              <a:t>‹#›</a:t>
            </a:fld>
            <a:endParaRPr lang="en-US"/>
          </a:p>
        </p:txBody>
      </p:sp>
      <p:sp>
        <p:nvSpPr>
          <p:cNvPr id="30" name="Footer Placeholder 21">
            <a:extLst>
              <a:ext uri="{FF2B5EF4-FFF2-40B4-BE49-F238E27FC236}">
                <a16:creationId xmlns:a16="http://schemas.microsoft.com/office/drawing/2014/main" id="{F43A1A69-4D4C-472C-A5BB-307EE539C85E}"/>
              </a:ext>
            </a:extLst>
          </p:cNvPr>
          <p:cNvSpPr txBox="1">
            <a:spLocks/>
          </p:cNvSpPr>
          <p:nvPr userDrawn="1"/>
        </p:nvSpPr>
        <p:spPr>
          <a:xfrm>
            <a:off x="1076400" y="6461673"/>
            <a:ext cx="8162717" cy="133789"/>
          </a:xfrm>
          <a:prstGeom prst="rect">
            <a:avLst/>
          </a:prstGeom>
        </p:spPr>
        <p:txBody>
          <a:bodyPr vert="horz" lIns="0" tIns="0" rIns="0" bIns="0" rtlCol="0" anchor="b" anchorCtr="0"/>
          <a:lstStyle>
            <a:defPPr>
              <a:defRPr lang="en-US"/>
            </a:defPPr>
            <a:lvl1pPr marL="144000" indent="-144000" algn="l" defTabSz="914400" rtl="0" eaLnBrk="1" latinLnBrk="0" hangingPunct="1">
              <a:buClr>
                <a:schemeClr val="tx2"/>
              </a:buClr>
              <a:buFont typeface="Wingdings" panose="05000000000000000000" pitchFamily="2" charset="2"/>
              <a:buChar char="§"/>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103" rtl="0" eaLnBrk="1" fontAlgn="auto" latinLnBrk="0" hangingPunct="1">
              <a:lnSpc>
                <a:spcPct val="100000"/>
              </a:lnSpc>
              <a:spcBef>
                <a:spcPts val="0"/>
              </a:spcBef>
              <a:spcAft>
                <a:spcPts val="0"/>
              </a:spcAft>
              <a:buClr>
                <a:schemeClr val="tx2"/>
              </a:buClr>
              <a:buSzTx/>
              <a:buFont typeface="Wingdings" panose="05000000000000000000" pitchFamily="2" charset="2"/>
              <a:buNone/>
              <a:tabLst/>
              <a:defRPr/>
            </a:pPr>
            <a:r>
              <a:rPr lang="en-US" sz="800" dirty="0"/>
              <a:t>Source: </a:t>
            </a:r>
            <a:r>
              <a:rPr lang="en-US" sz="800" dirty="0" err="1"/>
              <a:t>Rosstat</a:t>
            </a:r>
            <a:r>
              <a:rPr lang="en-US" sz="800" dirty="0"/>
              <a:t>:</a:t>
            </a:r>
          </a:p>
        </p:txBody>
      </p:sp>
      <p:sp>
        <p:nvSpPr>
          <p:cNvPr id="32" name="Slide Number Placeholder 22">
            <a:extLst>
              <a:ext uri="{FF2B5EF4-FFF2-40B4-BE49-F238E27FC236}">
                <a16:creationId xmlns:a16="http://schemas.microsoft.com/office/drawing/2014/main" id="{A84A7FA9-6A7E-4ED3-965D-2E05224C6706}"/>
              </a:ext>
            </a:extLst>
          </p:cNvPr>
          <p:cNvSpPr txBox="1">
            <a:spLocks/>
          </p:cNvSpPr>
          <p:nvPr userDrawn="1"/>
        </p:nvSpPr>
        <p:spPr>
          <a:xfrm>
            <a:off x="11186669" y="6461673"/>
            <a:ext cx="648000" cy="133789"/>
          </a:xfrm>
          <a:prstGeom prst="rect">
            <a:avLst/>
          </a:prstGeom>
        </p:spPr>
        <p:txBody>
          <a:bodyPr vert="horz" lIns="0" tIns="0" rIns="0" bIns="0" rtlCol="0" anchor="b" anchorCtr="0"/>
          <a:lstStyle>
            <a:defPPr>
              <a:defRPr lang="en-US"/>
            </a:defPPr>
            <a:lvl1pPr marL="0" algn="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F3E29E4-0979-4FCA-B4C5-5FC6044C982A}" type="slidenum">
              <a:rPr lang="en-US" sz="800" smtClean="0"/>
              <a:pPr/>
              <a:t>‹#›</a:t>
            </a:fld>
            <a:endParaRPr lang="en-US" sz="800"/>
          </a:p>
        </p:txBody>
      </p:sp>
      <p:sp>
        <p:nvSpPr>
          <p:cNvPr id="33" name="Title 1">
            <a:extLst>
              <a:ext uri="{FF2B5EF4-FFF2-40B4-BE49-F238E27FC236}">
                <a16:creationId xmlns:a16="http://schemas.microsoft.com/office/drawing/2014/main" id="{6BB3BB16-9BDA-4C7A-9A98-FD8478F6DF35}"/>
              </a:ext>
            </a:extLst>
          </p:cNvPr>
          <p:cNvSpPr>
            <a:spLocks noGrp="1"/>
          </p:cNvSpPr>
          <p:nvPr>
            <p:ph type="title" hasCustomPrompt="1"/>
          </p:nvPr>
        </p:nvSpPr>
        <p:spPr>
          <a:xfrm>
            <a:off x="1075062" y="288921"/>
            <a:ext cx="7910159" cy="648000"/>
          </a:xfrm>
        </p:spPr>
        <p:txBody>
          <a:bodyPr/>
          <a:lstStyle>
            <a:lvl1pPr>
              <a:defRPr/>
            </a:lvl1pPr>
          </a:lstStyle>
          <a:p>
            <a:r>
              <a:rPr lang="en-US" dirty="0"/>
              <a:t>Click to add slide title</a:t>
            </a:r>
          </a:p>
        </p:txBody>
      </p:sp>
      <p:sp>
        <p:nvSpPr>
          <p:cNvPr id="35" name="Subtitle 2">
            <a:extLst>
              <a:ext uri="{FF2B5EF4-FFF2-40B4-BE49-F238E27FC236}">
                <a16:creationId xmlns:a16="http://schemas.microsoft.com/office/drawing/2014/main" id="{9FBB6419-8B20-4561-BAE3-762DECA47174}"/>
              </a:ext>
            </a:extLst>
          </p:cNvPr>
          <p:cNvSpPr>
            <a:spLocks noGrp="1"/>
          </p:cNvSpPr>
          <p:nvPr>
            <p:ph type="subTitle" idx="14" hasCustomPrompt="1"/>
          </p:nvPr>
        </p:nvSpPr>
        <p:spPr>
          <a:xfrm>
            <a:off x="1075062" y="964672"/>
            <a:ext cx="7910159" cy="490042"/>
          </a:xfrm>
        </p:spPr>
        <p:txBody>
          <a:bodyPr wrap="none"/>
          <a:lstStyle>
            <a:lvl1pPr marL="0" indent="0" algn="l">
              <a:spcBef>
                <a:spcPts val="0"/>
              </a:spcBef>
              <a:buNone/>
              <a:defRPr sz="2399"/>
            </a:lvl1pPr>
            <a:lvl2pPr marL="457051" indent="0" algn="ctr">
              <a:buNone/>
              <a:defRPr sz="1999"/>
            </a:lvl2pPr>
            <a:lvl3pPr marL="914103" indent="0" algn="ctr">
              <a:buNone/>
              <a:defRPr sz="1799"/>
            </a:lvl3pPr>
            <a:lvl4pPr marL="1371154" indent="0" algn="ctr">
              <a:buNone/>
              <a:defRPr sz="1599"/>
            </a:lvl4pPr>
            <a:lvl5pPr marL="1828206" indent="0" algn="ctr">
              <a:buNone/>
              <a:defRPr sz="1599"/>
            </a:lvl5pPr>
            <a:lvl6pPr marL="2285257" indent="0" algn="ctr">
              <a:buNone/>
              <a:defRPr sz="1599"/>
            </a:lvl6pPr>
            <a:lvl7pPr marL="2742308" indent="0" algn="ctr">
              <a:buNone/>
              <a:defRPr sz="1599"/>
            </a:lvl7pPr>
            <a:lvl8pPr marL="3199360" indent="0" algn="ctr">
              <a:buNone/>
              <a:defRPr sz="1599"/>
            </a:lvl8pPr>
            <a:lvl9pPr marL="3656411" indent="0" algn="ctr">
              <a:buNone/>
              <a:defRPr sz="1599"/>
            </a:lvl9pPr>
          </a:lstStyle>
          <a:p>
            <a:r>
              <a:rPr lang="en-US" dirty="0"/>
              <a:t>Click to add subtitle</a:t>
            </a:r>
          </a:p>
        </p:txBody>
      </p:sp>
      <p:sp>
        <p:nvSpPr>
          <p:cNvPr id="36" name="Text Placeholder 4">
            <a:extLst>
              <a:ext uri="{FF2B5EF4-FFF2-40B4-BE49-F238E27FC236}">
                <a16:creationId xmlns:a16="http://schemas.microsoft.com/office/drawing/2014/main" id="{DF5D5E93-CC7C-4092-A76F-E40F6A432E68}"/>
              </a:ext>
            </a:extLst>
          </p:cNvPr>
          <p:cNvSpPr>
            <a:spLocks noGrp="1"/>
          </p:cNvSpPr>
          <p:nvPr>
            <p:ph type="body" sz="quarter" idx="17" hasCustomPrompt="1"/>
          </p:nvPr>
        </p:nvSpPr>
        <p:spPr>
          <a:xfrm>
            <a:off x="1075064" y="6307665"/>
            <a:ext cx="8162717" cy="133200"/>
          </a:xfrm>
        </p:spPr>
        <p:txBody>
          <a:bodyPr lIns="0" tIns="0" rIns="0" bIns="0" anchor="b" anchorCtr="0"/>
          <a:lstStyle>
            <a:lvl1pPr marL="0" indent="0" algn="l">
              <a:lnSpc>
                <a:spcPct val="100000"/>
              </a:lnSpc>
              <a:spcBef>
                <a:spcPts val="0"/>
              </a:spcBef>
              <a:buNone/>
              <a:defRPr sz="800" baseline="0"/>
            </a:lvl1pPr>
            <a:lvl2pPr marL="0" indent="0" algn="l">
              <a:lnSpc>
                <a:spcPct val="100000"/>
              </a:lnSpc>
              <a:spcBef>
                <a:spcPts val="0"/>
              </a:spcBef>
              <a:buNone/>
              <a:defRPr sz="800"/>
            </a:lvl2pPr>
            <a:lvl3pPr marL="0" indent="0" algn="l">
              <a:lnSpc>
                <a:spcPct val="100000"/>
              </a:lnSpc>
              <a:spcBef>
                <a:spcPts val="0"/>
              </a:spcBef>
              <a:buNone/>
              <a:defRPr sz="800"/>
            </a:lvl3pPr>
            <a:lvl4pPr marL="0" algn="l">
              <a:lnSpc>
                <a:spcPct val="100000"/>
              </a:lnSpc>
              <a:spcBef>
                <a:spcPts val="0"/>
              </a:spcBef>
              <a:buNone/>
              <a:defRPr sz="800"/>
            </a:lvl4pPr>
            <a:lvl5pPr marL="0" indent="0" algn="l">
              <a:lnSpc>
                <a:spcPct val="100000"/>
              </a:lnSpc>
              <a:spcBef>
                <a:spcPts val="0"/>
              </a:spcBef>
              <a:buNone/>
              <a:defRPr sz="800"/>
            </a:lvl5pPr>
          </a:lstStyle>
          <a:p>
            <a:pPr lvl="0"/>
            <a:r>
              <a:rPr lang="en-US" dirty="0"/>
              <a:t>Source lin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7" name="shp1">
            <a:extLst>
              <a:ext uri="{FF2B5EF4-FFF2-40B4-BE49-F238E27FC236}">
                <a16:creationId xmlns:a16="http://schemas.microsoft.com/office/drawing/2014/main" id="{9FA95122-73C2-426E-B634-AE5BBCE05D33}"/>
              </a:ext>
            </a:extLst>
          </p:cNvPr>
          <p:cNvSpPr/>
          <p:nvPr userDrawn="1"/>
        </p:nvSpPr>
        <p:spPr>
          <a:xfrm>
            <a:off x="192089" y="2"/>
            <a:ext cx="215900" cy="144938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de-DE" sz="1350"/>
          </a:p>
        </p:txBody>
      </p:sp>
      <p:grpSp>
        <p:nvGrpSpPr>
          <p:cNvPr id="38" name="logo">
            <a:extLst>
              <a:ext uri="{FF2B5EF4-FFF2-40B4-BE49-F238E27FC236}">
                <a16:creationId xmlns:a16="http://schemas.microsoft.com/office/drawing/2014/main" id="{509418D1-74B9-47FE-AA67-2E18B56937B9}"/>
              </a:ext>
            </a:extLst>
          </p:cNvPr>
          <p:cNvGrpSpPr>
            <a:grpSpLocks noChangeAspect="1"/>
          </p:cNvGrpSpPr>
          <p:nvPr userDrawn="1"/>
        </p:nvGrpSpPr>
        <p:grpSpPr bwMode="gray">
          <a:xfrm>
            <a:off x="11174020" y="401441"/>
            <a:ext cx="644225" cy="646507"/>
            <a:chOff x="2711" y="1027"/>
            <a:chExt cx="2258" cy="2266"/>
          </a:xfrm>
        </p:grpSpPr>
        <p:sp>
          <p:nvSpPr>
            <p:cNvPr id="39" name="AutoShape 3">
              <a:extLst>
                <a:ext uri="{FF2B5EF4-FFF2-40B4-BE49-F238E27FC236}">
                  <a16:creationId xmlns:a16="http://schemas.microsoft.com/office/drawing/2014/main" id="{68FDF78C-F57F-4F9B-A977-E4E43D32E629}"/>
                </a:ext>
              </a:extLst>
            </p:cNvPr>
            <p:cNvSpPr>
              <a:spLocks noChangeAspect="1" noChangeArrowheads="1" noTextEdit="1"/>
            </p:cNvSpPr>
            <p:nvPr/>
          </p:nvSpPr>
          <p:spPr bwMode="gray">
            <a:xfrm>
              <a:off x="2711" y="1027"/>
              <a:ext cx="2258" cy="22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sz="1350" dirty="0"/>
            </a:p>
          </p:txBody>
        </p:sp>
        <p:sp>
          <p:nvSpPr>
            <p:cNvPr id="40" name="Freeform 5">
              <a:extLst>
                <a:ext uri="{FF2B5EF4-FFF2-40B4-BE49-F238E27FC236}">
                  <a16:creationId xmlns:a16="http://schemas.microsoft.com/office/drawing/2014/main" id="{2C2C98DA-D27B-46E5-B5A4-6D1F892674BA}"/>
                </a:ext>
              </a:extLst>
            </p:cNvPr>
            <p:cNvSpPr>
              <a:spLocks/>
            </p:cNvSpPr>
            <p:nvPr/>
          </p:nvSpPr>
          <p:spPr bwMode="gray">
            <a:xfrm>
              <a:off x="2709" y="1029"/>
              <a:ext cx="2260" cy="2262"/>
            </a:xfrm>
            <a:custGeom>
              <a:avLst/>
              <a:gdLst>
                <a:gd name="T0" fmla="*/ 2260 w 2260"/>
                <a:gd name="T1" fmla="*/ 0 h 2262"/>
                <a:gd name="T2" fmla="*/ 1612 w 2260"/>
                <a:gd name="T3" fmla="*/ 649 h 2262"/>
                <a:gd name="T4" fmla="*/ 1612 w 2260"/>
                <a:gd name="T5" fmla="*/ 649 h 2262"/>
                <a:gd name="T6" fmla="*/ 2035 w 2260"/>
                <a:gd name="T7" fmla="*/ 0 h 2262"/>
                <a:gd name="T8" fmla="*/ 0 w 2260"/>
                <a:gd name="T9" fmla="*/ 0 h 2262"/>
                <a:gd name="T10" fmla="*/ 0 w 2260"/>
                <a:gd name="T11" fmla="*/ 2262 h 2262"/>
                <a:gd name="T12" fmla="*/ 2260 w 2260"/>
                <a:gd name="T13" fmla="*/ 2262 h 2262"/>
                <a:gd name="T14" fmla="*/ 2260 w 2260"/>
                <a:gd name="T15" fmla="*/ 0 h 2262"/>
                <a:gd name="T16" fmla="*/ 2260 w 2260"/>
                <a:gd name="T17" fmla="*/ 0 h 2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0" h="2262">
                  <a:moveTo>
                    <a:pt x="2260" y="0"/>
                  </a:moveTo>
                  <a:lnTo>
                    <a:pt x="1612" y="649"/>
                  </a:lnTo>
                  <a:lnTo>
                    <a:pt x="1612" y="649"/>
                  </a:lnTo>
                  <a:lnTo>
                    <a:pt x="2035" y="0"/>
                  </a:lnTo>
                  <a:lnTo>
                    <a:pt x="0" y="0"/>
                  </a:lnTo>
                  <a:lnTo>
                    <a:pt x="0" y="2262"/>
                  </a:lnTo>
                  <a:lnTo>
                    <a:pt x="2260" y="2262"/>
                  </a:lnTo>
                  <a:lnTo>
                    <a:pt x="2260" y="0"/>
                  </a:lnTo>
                  <a:lnTo>
                    <a:pt x="2260" y="0"/>
                  </a:lnTo>
                  <a:close/>
                </a:path>
              </a:pathLst>
            </a:custGeom>
            <a:solidFill>
              <a:srgbClr val="E55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0" dirty="0"/>
            </a:p>
          </p:txBody>
        </p:sp>
        <p:sp>
          <p:nvSpPr>
            <p:cNvPr id="41" name="Freeform 6">
              <a:extLst>
                <a:ext uri="{FF2B5EF4-FFF2-40B4-BE49-F238E27FC236}">
                  <a16:creationId xmlns:a16="http://schemas.microsoft.com/office/drawing/2014/main" id="{A89F0074-995F-4BF4-B467-8A01C0BD1350}"/>
                </a:ext>
              </a:extLst>
            </p:cNvPr>
            <p:cNvSpPr>
              <a:spLocks noEditPoints="1"/>
            </p:cNvSpPr>
            <p:nvPr/>
          </p:nvSpPr>
          <p:spPr bwMode="gray">
            <a:xfrm>
              <a:off x="3623" y="1696"/>
              <a:ext cx="1167" cy="922"/>
            </a:xfrm>
            <a:custGeom>
              <a:avLst/>
              <a:gdLst>
                <a:gd name="T0" fmla="*/ 411 w 580"/>
                <a:gd name="T1" fmla="*/ 213 h 458"/>
                <a:gd name="T2" fmla="*/ 570 w 580"/>
                <a:gd name="T3" fmla="*/ 37 h 458"/>
                <a:gd name="T4" fmla="*/ 580 w 580"/>
                <a:gd name="T5" fmla="*/ 20 h 458"/>
                <a:gd name="T6" fmla="*/ 545 w 580"/>
                <a:gd name="T7" fmla="*/ 0 h 458"/>
                <a:gd name="T8" fmla="*/ 519 w 580"/>
                <a:gd name="T9" fmla="*/ 16 h 458"/>
                <a:gd name="T10" fmla="*/ 344 w 580"/>
                <a:gd name="T11" fmla="*/ 210 h 458"/>
                <a:gd name="T12" fmla="*/ 334 w 580"/>
                <a:gd name="T13" fmla="*/ 229 h 458"/>
                <a:gd name="T14" fmla="*/ 344 w 580"/>
                <a:gd name="T15" fmla="*/ 248 h 458"/>
                <a:gd name="T16" fmla="*/ 519 w 580"/>
                <a:gd name="T17" fmla="*/ 442 h 458"/>
                <a:gd name="T18" fmla="*/ 545 w 580"/>
                <a:gd name="T19" fmla="*/ 458 h 458"/>
                <a:gd name="T20" fmla="*/ 580 w 580"/>
                <a:gd name="T21" fmla="*/ 438 h 458"/>
                <a:gd name="T22" fmla="*/ 570 w 580"/>
                <a:gd name="T23" fmla="*/ 421 h 458"/>
                <a:gd name="T24" fmla="*/ 411 w 580"/>
                <a:gd name="T25" fmla="*/ 245 h 458"/>
                <a:gd name="T26" fmla="*/ 399 w 580"/>
                <a:gd name="T27" fmla="*/ 229 h 458"/>
                <a:gd name="T28" fmla="*/ 411 w 580"/>
                <a:gd name="T29" fmla="*/ 213 h 458"/>
                <a:gd name="T30" fmla="*/ 252 w 580"/>
                <a:gd name="T31" fmla="*/ 439 h 458"/>
                <a:gd name="T32" fmla="*/ 281 w 580"/>
                <a:gd name="T33" fmla="*/ 454 h 458"/>
                <a:gd name="T34" fmla="*/ 309 w 580"/>
                <a:gd name="T35" fmla="*/ 439 h 458"/>
                <a:gd name="T36" fmla="*/ 309 w 580"/>
                <a:gd name="T37" fmla="*/ 19 h 458"/>
                <a:gd name="T38" fmla="*/ 281 w 580"/>
                <a:gd name="T39" fmla="*/ 4 h 458"/>
                <a:gd name="T40" fmla="*/ 252 w 580"/>
                <a:gd name="T41" fmla="*/ 19 h 458"/>
                <a:gd name="T42" fmla="*/ 252 w 580"/>
                <a:gd name="T43" fmla="*/ 439 h 458"/>
                <a:gd name="T44" fmla="*/ 0 w 580"/>
                <a:gd name="T45" fmla="*/ 439 h 458"/>
                <a:gd name="T46" fmla="*/ 28 w 580"/>
                <a:gd name="T47" fmla="*/ 454 h 458"/>
                <a:gd name="T48" fmla="*/ 56 w 580"/>
                <a:gd name="T49" fmla="*/ 439 h 458"/>
                <a:gd name="T50" fmla="*/ 56 w 580"/>
                <a:gd name="T51" fmla="*/ 157 h 458"/>
                <a:gd name="T52" fmla="*/ 165 w 580"/>
                <a:gd name="T53" fmla="*/ 53 h 458"/>
                <a:gd name="T54" fmla="*/ 180 w 580"/>
                <a:gd name="T55" fmla="*/ 53 h 458"/>
                <a:gd name="T56" fmla="*/ 196 w 580"/>
                <a:gd name="T57" fmla="*/ 27 h 458"/>
                <a:gd name="T58" fmla="*/ 154 w 580"/>
                <a:gd name="T59" fmla="*/ 4 h 458"/>
                <a:gd name="T60" fmla="*/ 0 w 580"/>
                <a:gd name="T61" fmla="*/ 152 h 458"/>
                <a:gd name="T62" fmla="*/ 0 w 580"/>
                <a:gd name="T63" fmla="*/ 439 h 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80" h="458">
                  <a:moveTo>
                    <a:pt x="411" y="213"/>
                  </a:moveTo>
                  <a:cubicBezTo>
                    <a:pt x="570" y="37"/>
                    <a:pt x="570" y="37"/>
                    <a:pt x="570" y="37"/>
                  </a:cubicBezTo>
                  <a:cubicBezTo>
                    <a:pt x="576" y="30"/>
                    <a:pt x="580" y="25"/>
                    <a:pt x="580" y="20"/>
                  </a:cubicBezTo>
                  <a:cubicBezTo>
                    <a:pt x="580" y="10"/>
                    <a:pt x="559" y="0"/>
                    <a:pt x="545" y="0"/>
                  </a:cubicBezTo>
                  <a:cubicBezTo>
                    <a:pt x="535" y="0"/>
                    <a:pt x="526" y="8"/>
                    <a:pt x="519" y="16"/>
                  </a:cubicBezTo>
                  <a:cubicBezTo>
                    <a:pt x="344" y="210"/>
                    <a:pt x="344" y="210"/>
                    <a:pt x="344" y="210"/>
                  </a:cubicBezTo>
                  <a:cubicBezTo>
                    <a:pt x="336" y="219"/>
                    <a:pt x="334" y="224"/>
                    <a:pt x="334" y="229"/>
                  </a:cubicBezTo>
                  <a:cubicBezTo>
                    <a:pt x="334" y="234"/>
                    <a:pt x="336" y="239"/>
                    <a:pt x="344" y="248"/>
                  </a:cubicBezTo>
                  <a:cubicBezTo>
                    <a:pt x="519" y="442"/>
                    <a:pt x="519" y="442"/>
                    <a:pt x="519" y="442"/>
                  </a:cubicBezTo>
                  <a:cubicBezTo>
                    <a:pt x="526" y="450"/>
                    <a:pt x="535" y="458"/>
                    <a:pt x="545" y="458"/>
                  </a:cubicBezTo>
                  <a:cubicBezTo>
                    <a:pt x="559" y="458"/>
                    <a:pt x="580" y="448"/>
                    <a:pt x="580" y="438"/>
                  </a:cubicBezTo>
                  <a:cubicBezTo>
                    <a:pt x="580" y="433"/>
                    <a:pt x="576" y="428"/>
                    <a:pt x="570" y="421"/>
                  </a:cubicBezTo>
                  <a:cubicBezTo>
                    <a:pt x="411" y="245"/>
                    <a:pt x="411" y="245"/>
                    <a:pt x="411" y="245"/>
                  </a:cubicBezTo>
                  <a:cubicBezTo>
                    <a:pt x="403" y="236"/>
                    <a:pt x="399" y="232"/>
                    <a:pt x="399" y="229"/>
                  </a:cubicBezTo>
                  <a:cubicBezTo>
                    <a:pt x="399" y="226"/>
                    <a:pt x="403" y="222"/>
                    <a:pt x="411" y="213"/>
                  </a:cubicBezTo>
                  <a:moveTo>
                    <a:pt x="252" y="439"/>
                  </a:moveTo>
                  <a:cubicBezTo>
                    <a:pt x="252" y="449"/>
                    <a:pt x="261" y="454"/>
                    <a:pt x="281" y="454"/>
                  </a:cubicBezTo>
                  <a:cubicBezTo>
                    <a:pt x="300" y="454"/>
                    <a:pt x="309" y="449"/>
                    <a:pt x="309" y="439"/>
                  </a:cubicBezTo>
                  <a:cubicBezTo>
                    <a:pt x="309" y="19"/>
                    <a:pt x="309" y="19"/>
                    <a:pt x="309" y="19"/>
                  </a:cubicBezTo>
                  <a:cubicBezTo>
                    <a:pt x="309" y="9"/>
                    <a:pt x="300" y="4"/>
                    <a:pt x="281" y="4"/>
                  </a:cubicBezTo>
                  <a:cubicBezTo>
                    <a:pt x="261" y="4"/>
                    <a:pt x="252" y="9"/>
                    <a:pt x="252" y="19"/>
                  </a:cubicBezTo>
                  <a:lnTo>
                    <a:pt x="252" y="439"/>
                  </a:lnTo>
                  <a:close/>
                  <a:moveTo>
                    <a:pt x="0" y="439"/>
                  </a:moveTo>
                  <a:cubicBezTo>
                    <a:pt x="0" y="449"/>
                    <a:pt x="8" y="454"/>
                    <a:pt x="28" y="454"/>
                  </a:cubicBezTo>
                  <a:cubicBezTo>
                    <a:pt x="48" y="454"/>
                    <a:pt x="56" y="449"/>
                    <a:pt x="56" y="439"/>
                  </a:cubicBezTo>
                  <a:cubicBezTo>
                    <a:pt x="56" y="157"/>
                    <a:pt x="56" y="157"/>
                    <a:pt x="56" y="157"/>
                  </a:cubicBezTo>
                  <a:cubicBezTo>
                    <a:pt x="56" y="83"/>
                    <a:pt x="85" y="53"/>
                    <a:pt x="165" y="53"/>
                  </a:cubicBezTo>
                  <a:cubicBezTo>
                    <a:pt x="180" y="53"/>
                    <a:pt x="180" y="53"/>
                    <a:pt x="180" y="53"/>
                  </a:cubicBezTo>
                  <a:cubicBezTo>
                    <a:pt x="192" y="53"/>
                    <a:pt x="196" y="43"/>
                    <a:pt x="196" y="27"/>
                  </a:cubicBezTo>
                  <a:cubicBezTo>
                    <a:pt x="196" y="8"/>
                    <a:pt x="185" y="4"/>
                    <a:pt x="154" y="4"/>
                  </a:cubicBezTo>
                  <a:cubicBezTo>
                    <a:pt x="64" y="4"/>
                    <a:pt x="0" y="43"/>
                    <a:pt x="0" y="152"/>
                  </a:cubicBezTo>
                  <a:lnTo>
                    <a:pt x="0" y="43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0" dirty="0"/>
            </a:p>
          </p:txBody>
        </p:sp>
        <p:sp>
          <p:nvSpPr>
            <p:cNvPr id="42" name="Freeform 7">
              <a:extLst>
                <a:ext uri="{FF2B5EF4-FFF2-40B4-BE49-F238E27FC236}">
                  <a16:creationId xmlns:a16="http://schemas.microsoft.com/office/drawing/2014/main" id="{6164C78E-BD2B-49BF-8C0D-FD607237EB0A}"/>
                </a:ext>
              </a:extLst>
            </p:cNvPr>
            <p:cNvSpPr>
              <a:spLocks/>
            </p:cNvSpPr>
            <p:nvPr/>
          </p:nvSpPr>
          <p:spPr bwMode="gray">
            <a:xfrm>
              <a:off x="2880" y="1704"/>
              <a:ext cx="618" cy="916"/>
            </a:xfrm>
            <a:custGeom>
              <a:avLst/>
              <a:gdLst>
                <a:gd name="T0" fmla="*/ 307 w 307"/>
                <a:gd name="T1" fmla="*/ 405 h 455"/>
                <a:gd name="T2" fmla="*/ 307 w 307"/>
                <a:gd name="T3" fmla="*/ 244 h 455"/>
                <a:gd name="T4" fmla="*/ 279 w 307"/>
                <a:gd name="T5" fmla="*/ 229 h 455"/>
                <a:gd name="T6" fmla="*/ 250 w 307"/>
                <a:gd name="T7" fmla="*/ 244 h 455"/>
                <a:gd name="T8" fmla="*/ 250 w 307"/>
                <a:gd name="T9" fmla="*/ 378 h 455"/>
                <a:gd name="T10" fmla="*/ 199 w 307"/>
                <a:gd name="T11" fmla="*/ 408 h 455"/>
                <a:gd name="T12" fmla="*/ 61 w 307"/>
                <a:gd name="T13" fmla="*/ 231 h 455"/>
                <a:gd name="T14" fmla="*/ 238 w 307"/>
                <a:gd name="T15" fmla="*/ 49 h 455"/>
                <a:gd name="T16" fmla="*/ 270 w 307"/>
                <a:gd name="T17" fmla="*/ 49 h 455"/>
                <a:gd name="T18" fmla="*/ 286 w 307"/>
                <a:gd name="T19" fmla="*/ 23 h 455"/>
                <a:gd name="T20" fmla="*/ 244 w 307"/>
                <a:gd name="T21" fmla="*/ 0 h 455"/>
                <a:gd name="T22" fmla="*/ 231 w 307"/>
                <a:gd name="T23" fmla="*/ 0 h 455"/>
                <a:gd name="T24" fmla="*/ 0 w 307"/>
                <a:gd name="T25" fmla="*/ 232 h 455"/>
                <a:gd name="T26" fmla="*/ 198 w 307"/>
                <a:gd name="T27" fmla="*/ 455 h 455"/>
                <a:gd name="T28" fmla="*/ 307 w 307"/>
                <a:gd name="T29" fmla="*/ 405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7" h="455">
                  <a:moveTo>
                    <a:pt x="307" y="405"/>
                  </a:moveTo>
                  <a:cubicBezTo>
                    <a:pt x="307" y="244"/>
                    <a:pt x="307" y="244"/>
                    <a:pt x="307" y="244"/>
                  </a:cubicBezTo>
                  <a:cubicBezTo>
                    <a:pt x="307" y="234"/>
                    <a:pt x="298" y="229"/>
                    <a:pt x="279" y="229"/>
                  </a:cubicBezTo>
                  <a:cubicBezTo>
                    <a:pt x="259" y="229"/>
                    <a:pt x="250" y="234"/>
                    <a:pt x="250" y="244"/>
                  </a:cubicBezTo>
                  <a:cubicBezTo>
                    <a:pt x="250" y="378"/>
                    <a:pt x="250" y="378"/>
                    <a:pt x="250" y="378"/>
                  </a:cubicBezTo>
                  <a:cubicBezTo>
                    <a:pt x="250" y="399"/>
                    <a:pt x="241" y="408"/>
                    <a:pt x="199" y="408"/>
                  </a:cubicBezTo>
                  <a:cubicBezTo>
                    <a:pt x="114" y="408"/>
                    <a:pt x="61" y="342"/>
                    <a:pt x="61" y="231"/>
                  </a:cubicBezTo>
                  <a:cubicBezTo>
                    <a:pt x="61" y="115"/>
                    <a:pt x="126" y="49"/>
                    <a:pt x="238" y="49"/>
                  </a:cubicBezTo>
                  <a:cubicBezTo>
                    <a:pt x="270" y="49"/>
                    <a:pt x="270" y="49"/>
                    <a:pt x="270" y="49"/>
                  </a:cubicBezTo>
                  <a:cubicBezTo>
                    <a:pt x="282" y="49"/>
                    <a:pt x="286" y="39"/>
                    <a:pt x="286" y="23"/>
                  </a:cubicBezTo>
                  <a:cubicBezTo>
                    <a:pt x="286" y="4"/>
                    <a:pt x="275" y="0"/>
                    <a:pt x="244" y="0"/>
                  </a:cubicBezTo>
                  <a:cubicBezTo>
                    <a:pt x="231" y="0"/>
                    <a:pt x="231" y="0"/>
                    <a:pt x="231" y="0"/>
                  </a:cubicBezTo>
                  <a:cubicBezTo>
                    <a:pt x="101" y="0"/>
                    <a:pt x="0" y="71"/>
                    <a:pt x="0" y="232"/>
                  </a:cubicBezTo>
                  <a:cubicBezTo>
                    <a:pt x="0" y="386"/>
                    <a:pt x="88" y="455"/>
                    <a:pt x="198" y="455"/>
                  </a:cubicBezTo>
                  <a:cubicBezTo>
                    <a:pt x="286" y="455"/>
                    <a:pt x="307" y="430"/>
                    <a:pt x="307" y="40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0" dirty="0"/>
            </a:p>
          </p:txBody>
        </p:sp>
        <p:sp>
          <p:nvSpPr>
            <p:cNvPr id="43" name="Oval 8">
              <a:extLst>
                <a:ext uri="{FF2B5EF4-FFF2-40B4-BE49-F238E27FC236}">
                  <a16:creationId xmlns:a16="http://schemas.microsoft.com/office/drawing/2014/main" id="{2002A743-C4D0-4F81-8EF4-182C564F5405}"/>
                </a:ext>
              </a:extLst>
            </p:cNvPr>
            <p:cNvSpPr>
              <a:spLocks noChangeArrowheads="1"/>
            </p:cNvSpPr>
            <p:nvPr/>
          </p:nvSpPr>
          <p:spPr bwMode="gray">
            <a:xfrm>
              <a:off x="3778" y="2099"/>
              <a:ext cx="122" cy="12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0" dirty="0"/>
            </a:p>
          </p:txBody>
        </p:sp>
        <p:sp>
          <p:nvSpPr>
            <p:cNvPr id="44" name="Freeform 9">
              <a:extLst>
                <a:ext uri="{FF2B5EF4-FFF2-40B4-BE49-F238E27FC236}">
                  <a16:creationId xmlns:a16="http://schemas.microsoft.com/office/drawing/2014/main" id="{C36113A2-A352-4E15-A8DD-A4708864B4DD}"/>
                </a:ext>
              </a:extLst>
            </p:cNvPr>
            <p:cNvSpPr>
              <a:spLocks noEditPoints="1"/>
            </p:cNvSpPr>
            <p:nvPr/>
          </p:nvSpPr>
          <p:spPr bwMode="gray">
            <a:xfrm>
              <a:off x="3623" y="1696"/>
              <a:ext cx="1167" cy="922"/>
            </a:xfrm>
            <a:custGeom>
              <a:avLst/>
              <a:gdLst>
                <a:gd name="T0" fmla="*/ 411 w 580"/>
                <a:gd name="T1" fmla="*/ 213 h 458"/>
                <a:gd name="T2" fmla="*/ 570 w 580"/>
                <a:gd name="T3" fmla="*/ 37 h 458"/>
                <a:gd name="T4" fmla="*/ 580 w 580"/>
                <a:gd name="T5" fmla="*/ 20 h 458"/>
                <a:gd name="T6" fmla="*/ 545 w 580"/>
                <a:gd name="T7" fmla="*/ 0 h 458"/>
                <a:gd name="T8" fmla="*/ 519 w 580"/>
                <a:gd name="T9" fmla="*/ 16 h 458"/>
                <a:gd name="T10" fmla="*/ 344 w 580"/>
                <a:gd name="T11" fmla="*/ 210 h 458"/>
                <a:gd name="T12" fmla="*/ 334 w 580"/>
                <a:gd name="T13" fmla="*/ 229 h 458"/>
                <a:gd name="T14" fmla="*/ 344 w 580"/>
                <a:gd name="T15" fmla="*/ 248 h 458"/>
                <a:gd name="T16" fmla="*/ 519 w 580"/>
                <a:gd name="T17" fmla="*/ 442 h 458"/>
                <a:gd name="T18" fmla="*/ 545 w 580"/>
                <a:gd name="T19" fmla="*/ 458 h 458"/>
                <a:gd name="T20" fmla="*/ 580 w 580"/>
                <a:gd name="T21" fmla="*/ 438 h 458"/>
                <a:gd name="T22" fmla="*/ 570 w 580"/>
                <a:gd name="T23" fmla="*/ 421 h 458"/>
                <a:gd name="T24" fmla="*/ 411 w 580"/>
                <a:gd name="T25" fmla="*/ 245 h 458"/>
                <a:gd name="T26" fmla="*/ 399 w 580"/>
                <a:gd name="T27" fmla="*/ 229 h 458"/>
                <a:gd name="T28" fmla="*/ 411 w 580"/>
                <a:gd name="T29" fmla="*/ 213 h 458"/>
                <a:gd name="T30" fmla="*/ 252 w 580"/>
                <a:gd name="T31" fmla="*/ 439 h 458"/>
                <a:gd name="T32" fmla="*/ 281 w 580"/>
                <a:gd name="T33" fmla="*/ 454 h 458"/>
                <a:gd name="T34" fmla="*/ 309 w 580"/>
                <a:gd name="T35" fmla="*/ 439 h 458"/>
                <a:gd name="T36" fmla="*/ 309 w 580"/>
                <a:gd name="T37" fmla="*/ 19 h 458"/>
                <a:gd name="T38" fmla="*/ 281 w 580"/>
                <a:gd name="T39" fmla="*/ 4 h 458"/>
                <a:gd name="T40" fmla="*/ 252 w 580"/>
                <a:gd name="T41" fmla="*/ 19 h 458"/>
                <a:gd name="T42" fmla="*/ 252 w 580"/>
                <a:gd name="T43" fmla="*/ 439 h 458"/>
                <a:gd name="T44" fmla="*/ 0 w 580"/>
                <a:gd name="T45" fmla="*/ 439 h 458"/>
                <a:gd name="T46" fmla="*/ 28 w 580"/>
                <a:gd name="T47" fmla="*/ 454 h 458"/>
                <a:gd name="T48" fmla="*/ 56 w 580"/>
                <a:gd name="T49" fmla="*/ 439 h 458"/>
                <a:gd name="T50" fmla="*/ 56 w 580"/>
                <a:gd name="T51" fmla="*/ 157 h 458"/>
                <a:gd name="T52" fmla="*/ 165 w 580"/>
                <a:gd name="T53" fmla="*/ 53 h 458"/>
                <a:gd name="T54" fmla="*/ 180 w 580"/>
                <a:gd name="T55" fmla="*/ 53 h 458"/>
                <a:gd name="T56" fmla="*/ 196 w 580"/>
                <a:gd name="T57" fmla="*/ 27 h 458"/>
                <a:gd name="T58" fmla="*/ 154 w 580"/>
                <a:gd name="T59" fmla="*/ 4 h 458"/>
                <a:gd name="T60" fmla="*/ 0 w 580"/>
                <a:gd name="T61" fmla="*/ 152 h 458"/>
                <a:gd name="T62" fmla="*/ 0 w 580"/>
                <a:gd name="T63" fmla="*/ 439 h 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80" h="458">
                  <a:moveTo>
                    <a:pt x="411" y="213"/>
                  </a:moveTo>
                  <a:cubicBezTo>
                    <a:pt x="570" y="37"/>
                    <a:pt x="570" y="37"/>
                    <a:pt x="570" y="37"/>
                  </a:cubicBezTo>
                  <a:cubicBezTo>
                    <a:pt x="576" y="30"/>
                    <a:pt x="580" y="25"/>
                    <a:pt x="580" y="20"/>
                  </a:cubicBezTo>
                  <a:cubicBezTo>
                    <a:pt x="580" y="10"/>
                    <a:pt x="559" y="0"/>
                    <a:pt x="545" y="0"/>
                  </a:cubicBezTo>
                  <a:cubicBezTo>
                    <a:pt x="535" y="0"/>
                    <a:pt x="526" y="8"/>
                    <a:pt x="519" y="16"/>
                  </a:cubicBezTo>
                  <a:cubicBezTo>
                    <a:pt x="344" y="210"/>
                    <a:pt x="344" y="210"/>
                    <a:pt x="344" y="210"/>
                  </a:cubicBezTo>
                  <a:cubicBezTo>
                    <a:pt x="336" y="219"/>
                    <a:pt x="334" y="224"/>
                    <a:pt x="334" y="229"/>
                  </a:cubicBezTo>
                  <a:cubicBezTo>
                    <a:pt x="334" y="234"/>
                    <a:pt x="336" y="239"/>
                    <a:pt x="344" y="248"/>
                  </a:cubicBezTo>
                  <a:cubicBezTo>
                    <a:pt x="519" y="442"/>
                    <a:pt x="519" y="442"/>
                    <a:pt x="519" y="442"/>
                  </a:cubicBezTo>
                  <a:cubicBezTo>
                    <a:pt x="526" y="450"/>
                    <a:pt x="535" y="458"/>
                    <a:pt x="545" y="458"/>
                  </a:cubicBezTo>
                  <a:cubicBezTo>
                    <a:pt x="559" y="458"/>
                    <a:pt x="580" y="448"/>
                    <a:pt x="580" y="438"/>
                  </a:cubicBezTo>
                  <a:cubicBezTo>
                    <a:pt x="580" y="433"/>
                    <a:pt x="576" y="428"/>
                    <a:pt x="570" y="421"/>
                  </a:cubicBezTo>
                  <a:cubicBezTo>
                    <a:pt x="411" y="245"/>
                    <a:pt x="411" y="245"/>
                    <a:pt x="411" y="245"/>
                  </a:cubicBezTo>
                  <a:cubicBezTo>
                    <a:pt x="403" y="236"/>
                    <a:pt x="399" y="232"/>
                    <a:pt x="399" y="229"/>
                  </a:cubicBezTo>
                  <a:cubicBezTo>
                    <a:pt x="399" y="226"/>
                    <a:pt x="403" y="222"/>
                    <a:pt x="411" y="213"/>
                  </a:cubicBezTo>
                  <a:moveTo>
                    <a:pt x="252" y="439"/>
                  </a:moveTo>
                  <a:cubicBezTo>
                    <a:pt x="252" y="449"/>
                    <a:pt x="261" y="454"/>
                    <a:pt x="281" y="454"/>
                  </a:cubicBezTo>
                  <a:cubicBezTo>
                    <a:pt x="300" y="454"/>
                    <a:pt x="309" y="449"/>
                    <a:pt x="309" y="439"/>
                  </a:cubicBezTo>
                  <a:cubicBezTo>
                    <a:pt x="309" y="19"/>
                    <a:pt x="309" y="19"/>
                    <a:pt x="309" y="19"/>
                  </a:cubicBezTo>
                  <a:cubicBezTo>
                    <a:pt x="309" y="9"/>
                    <a:pt x="300" y="4"/>
                    <a:pt x="281" y="4"/>
                  </a:cubicBezTo>
                  <a:cubicBezTo>
                    <a:pt x="261" y="4"/>
                    <a:pt x="252" y="9"/>
                    <a:pt x="252" y="19"/>
                  </a:cubicBezTo>
                  <a:lnTo>
                    <a:pt x="252" y="439"/>
                  </a:lnTo>
                  <a:close/>
                  <a:moveTo>
                    <a:pt x="0" y="439"/>
                  </a:moveTo>
                  <a:cubicBezTo>
                    <a:pt x="0" y="449"/>
                    <a:pt x="8" y="454"/>
                    <a:pt x="28" y="454"/>
                  </a:cubicBezTo>
                  <a:cubicBezTo>
                    <a:pt x="48" y="454"/>
                    <a:pt x="56" y="449"/>
                    <a:pt x="56" y="439"/>
                  </a:cubicBezTo>
                  <a:cubicBezTo>
                    <a:pt x="56" y="157"/>
                    <a:pt x="56" y="157"/>
                    <a:pt x="56" y="157"/>
                  </a:cubicBezTo>
                  <a:cubicBezTo>
                    <a:pt x="56" y="83"/>
                    <a:pt x="85" y="53"/>
                    <a:pt x="165" y="53"/>
                  </a:cubicBezTo>
                  <a:cubicBezTo>
                    <a:pt x="180" y="53"/>
                    <a:pt x="180" y="53"/>
                    <a:pt x="180" y="53"/>
                  </a:cubicBezTo>
                  <a:cubicBezTo>
                    <a:pt x="192" y="53"/>
                    <a:pt x="196" y="43"/>
                    <a:pt x="196" y="27"/>
                  </a:cubicBezTo>
                  <a:cubicBezTo>
                    <a:pt x="196" y="8"/>
                    <a:pt x="185" y="4"/>
                    <a:pt x="154" y="4"/>
                  </a:cubicBezTo>
                  <a:cubicBezTo>
                    <a:pt x="64" y="4"/>
                    <a:pt x="0" y="43"/>
                    <a:pt x="0" y="152"/>
                  </a:cubicBezTo>
                  <a:lnTo>
                    <a:pt x="0" y="43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0" dirty="0"/>
            </a:p>
          </p:txBody>
        </p:sp>
        <p:sp>
          <p:nvSpPr>
            <p:cNvPr id="45" name="Freeform 10">
              <a:extLst>
                <a:ext uri="{FF2B5EF4-FFF2-40B4-BE49-F238E27FC236}">
                  <a16:creationId xmlns:a16="http://schemas.microsoft.com/office/drawing/2014/main" id="{101234C3-3931-45EE-839A-CC9D91FA78C3}"/>
                </a:ext>
              </a:extLst>
            </p:cNvPr>
            <p:cNvSpPr>
              <a:spLocks/>
            </p:cNvSpPr>
            <p:nvPr/>
          </p:nvSpPr>
          <p:spPr bwMode="gray">
            <a:xfrm>
              <a:off x="2880" y="1704"/>
              <a:ext cx="618" cy="916"/>
            </a:xfrm>
            <a:custGeom>
              <a:avLst/>
              <a:gdLst>
                <a:gd name="T0" fmla="*/ 307 w 307"/>
                <a:gd name="T1" fmla="*/ 405 h 455"/>
                <a:gd name="T2" fmla="*/ 307 w 307"/>
                <a:gd name="T3" fmla="*/ 244 h 455"/>
                <a:gd name="T4" fmla="*/ 279 w 307"/>
                <a:gd name="T5" fmla="*/ 229 h 455"/>
                <a:gd name="T6" fmla="*/ 250 w 307"/>
                <a:gd name="T7" fmla="*/ 244 h 455"/>
                <a:gd name="T8" fmla="*/ 250 w 307"/>
                <a:gd name="T9" fmla="*/ 378 h 455"/>
                <a:gd name="T10" fmla="*/ 199 w 307"/>
                <a:gd name="T11" fmla="*/ 408 h 455"/>
                <a:gd name="T12" fmla="*/ 61 w 307"/>
                <a:gd name="T13" fmla="*/ 231 h 455"/>
                <a:gd name="T14" fmla="*/ 238 w 307"/>
                <a:gd name="T15" fmla="*/ 49 h 455"/>
                <a:gd name="T16" fmla="*/ 270 w 307"/>
                <a:gd name="T17" fmla="*/ 49 h 455"/>
                <a:gd name="T18" fmla="*/ 286 w 307"/>
                <a:gd name="T19" fmla="*/ 23 h 455"/>
                <a:gd name="T20" fmla="*/ 244 w 307"/>
                <a:gd name="T21" fmla="*/ 0 h 455"/>
                <a:gd name="T22" fmla="*/ 231 w 307"/>
                <a:gd name="T23" fmla="*/ 0 h 455"/>
                <a:gd name="T24" fmla="*/ 0 w 307"/>
                <a:gd name="T25" fmla="*/ 232 h 455"/>
                <a:gd name="T26" fmla="*/ 198 w 307"/>
                <a:gd name="T27" fmla="*/ 455 h 455"/>
                <a:gd name="T28" fmla="*/ 307 w 307"/>
                <a:gd name="T29" fmla="*/ 405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7" h="455">
                  <a:moveTo>
                    <a:pt x="307" y="405"/>
                  </a:moveTo>
                  <a:cubicBezTo>
                    <a:pt x="307" y="244"/>
                    <a:pt x="307" y="244"/>
                    <a:pt x="307" y="244"/>
                  </a:cubicBezTo>
                  <a:cubicBezTo>
                    <a:pt x="307" y="234"/>
                    <a:pt x="298" y="229"/>
                    <a:pt x="279" y="229"/>
                  </a:cubicBezTo>
                  <a:cubicBezTo>
                    <a:pt x="259" y="229"/>
                    <a:pt x="250" y="234"/>
                    <a:pt x="250" y="244"/>
                  </a:cubicBezTo>
                  <a:cubicBezTo>
                    <a:pt x="250" y="378"/>
                    <a:pt x="250" y="378"/>
                    <a:pt x="250" y="378"/>
                  </a:cubicBezTo>
                  <a:cubicBezTo>
                    <a:pt x="250" y="399"/>
                    <a:pt x="241" y="408"/>
                    <a:pt x="199" y="408"/>
                  </a:cubicBezTo>
                  <a:cubicBezTo>
                    <a:pt x="114" y="408"/>
                    <a:pt x="61" y="342"/>
                    <a:pt x="61" y="231"/>
                  </a:cubicBezTo>
                  <a:cubicBezTo>
                    <a:pt x="61" y="115"/>
                    <a:pt x="126" y="49"/>
                    <a:pt x="238" y="49"/>
                  </a:cubicBezTo>
                  <a:cubicBezTo>
                    <a:pt x="270" y="49"/>
                    <a:pt x="270" y="49"/>
                    <a:pt x="270" y="49"/>
                  </a:cubicBezTo>
                  <a:cubicBezTo>
                    <a:pt x="282" y="49"/>
                    <a:pt x="286" y="39"/>
                    <a:pt x="286" y="23"/>
                  </a:cubicBezTo>
                  <a:cubicBezTo>
                    <a:pt x="286" y="4"/>
                    <a:pt x="275" y="0"/>
                    <a:pt x="244" y="0"/>
                  </a:cubicBezTo>
                  <a:cubicBezTo>
                    <a:pt x="231" y="0"/>
                    <a:pt x="231" y="0"/>
                    <a:pt x="231" y="0"/>
                  </a:cubicBezTo>
                  <a:cubicBezTo>
                    <a:pt x="101" y="0"/>
                    <a:pt x="0" y="71"/>
                    <a:pt x="0" y="232"/>
                  </a:cubicBezTo>
                  <a:cubicBezTo>
                    <a:pt x="0" y="386"/>
                    <a:pt x="88" y="455"/>
                    <a:pt x="198" y="455"/>
                  </a:cubicBezTo>
                  <a:cubicBezTo>
                    <a:pt x="286" y="455"/>
                    <a:pt x="307" y="430"/>
                    <a:pt x="307" y="40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0" dirty="0"/>
            </a:p>
          </p:txBody>
        </p:sp>
        <p:sp>
          <p:nvSpPr>
            <p:cNvPr id="46" name="Oval 11">
              <a:extLst>
                <a:ext uri="{FF2B5EF4-FFF2-40B4-BE49-F238E27FC236}">
                  <a16:creationId xmlns:a16="http://schemas.microsoft.com/office/drawing/2014/main" id="{680B1E87-6C01-4FCA-82DC-0ED51B37DE9D}"/>
                </a:ext>
              </a:extLst>
            </p:cNvPr>
            <p:cNvSpPr>
              <a:spLocks noChangeArrowheads="1"/>
            </p:cNvSpPr>
            <p:nvPr/>
          </p:nvSpPr>
          <p:spPr bwMode="gray">
            <a:xfrm>
              <a:off x="3778" y="2099"/>
              <a:ext cx="122" cy="12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0" dirty="0"/>
            </a:p>
          </p:txBody>
        </p:sp>
        <p:sp>
          <p:nvSpPr>
            <p:cNvPr id="47" name="Freeform 12">
              <a:extLst>
                <a:ext uri="{FF2B5EF4-FFF2-40B4-BE49-F238E27FC236}">
                  <a16:creationId xmlns:a16="http://schemas.microsoft.com/office/drawing/2014/main" id="{996D2E35-1EA5-48EC-82BA-3DBE38FA5FBF}"/>
                </a:ext>
              </a:extLst>
            </p:cNvPr>
            <p:cNvSpPr>
              <a:spLocks/>
            </p:cNvSpPr>
            <p:nvPr/>
          </p:nvSpPr>
          <p:spPr bwMode="gray">
            <a:xfrm>
              <a:off x="4321" y="1029"/>
              <a:ext cx="648" cy="649"/>
            </a:xfrm>
            <a:custGeom>
              <a:avLst/>
              <a:gdLst>
                <a:gd name="T0" fmla="*/ 0 w 648"/>
                <a:gd name="T1" fmla="*/ 649 h 649"/>
                <a:gd name="T2" fmla="*/ 2 w 648"/>
                <a:gd name="T3" fmla="*/ 649 h 649"/>
                <a:gd name="T4" fmla="*/ 648 w 648"/>
                <a:gd name="T5" fmla="*/ 0 h 649"/>
                <a:gd name="T6" fmla="*/ 423 w 648"/>
                <a:gd name="T7" fmla="*/ 0 h 649"/>
                <a:gd name="T8" fmla="*/ 0 w 648"/>
                <a:gd name="T9" fmla="*/ 649 h 649"/>
              </a:gdLst>
              <a:ahLst/>
              <a:cxnLst>
                <a:cxn ang="0">
                  <a:pos x="T0" y="T1"/>
                </a:cxn>
                <a:cxn ang="0">
                  <a:pos x="T2" y="T3"/>
                </a:cxn>
                <a:cxn ang="0">
                  <a:pos x="T4" y="T5"/>
                </a:cxn>
                <a:cxn ang="0">
                  <a:pos x="T6" y="T7"/>
                </a:cxn>
                <a:cxn ang="0">
                  <a:pos x="T8" y="T9"/>
                </a:cxn>
              </a:cxnLst>
              <a:rect l="0" t="0" r="r" b="b"/>
              <a:pathLst>
                <a:path w="648" h="649">
                  <a:moveTo>
                    <a:pt x="0" y="649"/>
                  </a:moveTo>
                  <a:lnTo>
                    <a:pt x="2" y="649"/>
                  </a:lnTo>
                  <a:lnTo>
                    <a:pt x="648" y="0"/>
                  </a:lnTo>
                  <a:lnTo>
                    <a:pt x="423" y="0"/>
                  </a:lnTo>
                  <a:lnTo>
                    <a:pt x="0" y="64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0" dirty="0"/>
            </a:p>
          </p:txBody>
        </p:sp>
        <p:sp>
          <p:nvSpPr>
            <p:cNvPr id="48" name="Freeform 13">
              <a:extLst>
                <a:ext uri="{FF2B5EF4-FFF2-40B4-BE49-F238E27FC236}">
                  <a16:creationId xmlns:a16="http://schemas.microsoft.com/office/drawing/2014/main" id="{E3C2ECCA-B929-49EA-89EF-66E0E22E4BF9}"/>
                </a:ext>
              </a:extLst>
            </p:cNvPr>
            <p:cNvSpPr>
              <a:spLocks/>
            </p:cNvSpPr>
            <p:nvPr/>
          </p:nvSpPr>
          <p:spPr bwMode="gray">
            <a:xfrm>
              <a:off x="4321" y="1029"/>
              <a:ext cx="648" cy="649"/>
            </a:xfrm>
            <a:custGeom>
              <a:avLst/>
              <a:gdLst>
                <a:gd name="T0" fmla="*/ 0 w 648"/>
                <a:gd name="T1" fmla="*/ 649 h 649"/>
                <a:gd name="T2" fmla="*/ 2 w 648"/>
                <a:gd name="T3" fmla="*/ 649 h 649"/>
                <a:gd name="T4" fmla="*/ 648 w 648"/>
                <a:gd name="T5" fmla="*/ 0 h 649"/>
                <a:gd name="T6" fmla="*/ 423 w 648"/>
                <a:gd name="T7" fmla="*/ 0 h 649"/>
                <a:gd name="T8" fmla="*/ 0 w 648"/>
                <a:gd name="T9" fmla="*/ 649 h 649"/>
              </a:gdLst>
              <a:ahLst/>
              <a:cxnLst>
                <a:cxn ang="0">
                  <a:pos x="T0" y="T1"/>
                </a:cxn>
                <a:cxn ang="0">
                  <a:pos x="T2" y="T3"/>
                </a:cxn>
                <a:cxn ang="0">
                  <a:pos x="T4" y="T5"/>
                </a:cxn>
                <a:cxn ang="0">
                  <a:pos x="T6" y="T7"/>
                </a:cxn>
                <a:cxn ang="0">
                  <a:pos x="T8" y="T9"/>
                </a:cxn>
              </a:cxnLst>
              <a:rect l="0" t="0" r="r" b="b"/>
              <a:pathLst>
                <a:path w="648" h="649">
                  <a:moveTo>
                    <a:pt x="0" y="649"/>
                  </a:moveTo>
                  <a:lnTo>
                    <a:pt x="2" y="649"/>
                  </a:lnTo>
                  <a:lnTo>
                    <a:pt x="648" y="0"/>
                  </a:lnTo>
                  <a:lnTo>
                    <a:pt x="423" y="0"/>
                  </a:lnTo>
                  <a:lnTo>
                    <a:pt x="0" y="64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0" dirty="0"/>
            </a:p>
          </p:txBody>
        </p:sp>
      </p:grpSp>
    </p:spTree>
    <p:extLst>
      <p:ext uri="{BB962C8B-B14F-4D97-AF65-F5344CB8AC3E}">
        <p14:creationId xmlns:p14="http://schemas.microsoft.com/office/powerpoint/2010/main" val="1668555910"/>
      </p:ext>
    </p:extLst>
  </p:cSld>
  <p:clrMapOvr>
    <a:masterClrMapping/>
  </p:clrMapOvr>
</p:sldLayout>
</file>

<file path=ppt/slideLayouts/slideLayout221.xml><?xml version="1.0" encoding="utf-8"?>
<p:sldLayout xmlns:a="http://schemas.openxmlformats.org/drawingml/2006/main" xmlns:r="http://schemas.openxmlformats.org/officeDocument/2006/relationships" xmlns:p="http://schemas.openxmlformats.org/presentationml/2006/main" showMasterSp="0" preserve="1" userDrawn="1">
  <p:cSld name="1_Title with picture">
    <p:spTree>
      <p:nvGrpSpPr>
        <p:cNvPr id="1" name=""/>
        <p:cNvGrpSpPr/>
        <p:nvPr/>
      </p:nvGrpSpPr>
      <p:grpSpPr>
        <a:xfrm>
          <a:off x="0" y="0"/>
          <a:ext cx="0" cy="0"/>
          <a:chOff x="0" y="0"/>
          <a:chExt cx="0" cy="0"/>
        </a:xfrm>
      </p:grpSpPr>
      <p:sp>
        <p:nvSpPr>
          <p:cNvPr id="12" name="Picture Placeholder 11"/>
          <p:cNvSpPr>
            <a:spLocks noGrp="1"/>
          </p:cNvSpPr>
          <p:nvPr>
            <p:ph type="pic" sz="quarter" idx="13" hasCustomPrompt="1"/>
          </p:nvPr>
        </p:nvSpPr>
        <p:spPr>
          <a:xfrm>
            <a:off x="7829549" y="0"/>
            <a:ext cx="4362451" cy="6858000"/>
          </a:xfrm>
          <a:custGeom>
            <a:avLst/>
            <a:gdLst>
              <a:gd name="connsiteX0" fmla="*/ 331042 w 8815774"/>
              <a:gd name="connsiteY0" fmla="*/ 0 h 6858000"/>
              <a:gd name="connsiteX1" fmla="*/ 8815774 w 8815774"/>
              <a:gd name="connsiteY1" fmla="*/ 0 h 6858000"/>
              <a:gd name="connsiteX2" fmla="*/ 8815774 w 8815774"/>
              <a:gd name="connsiteY2" fmla="*/ 6858000 h 6858000"/>
              <a:gd name="connsiteX3" fmla="*/ 0 w 8815774"/>
              <a:gd name="connsiteY3" fmla="*/ 6858000 h 6858000"/>
              <a:gd name="connsiteX4" fmla="*/ 1580491 w 8815774"/>
              <a:gd name="connsiteY4" fmla="*/ 4163677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15774" h="6858000">
                <a:moveTo>
                  <a:pt x="331042" y="0"/>
                </a:moveTo>
                <a:lnTo>
                  <a:pt x="8815774" y="0"/>
                </a:lnTo>
                <a:lnTo>
                  <a:pt x="8815774" y="6858000"/>
                </a:lnTo>
                <a:lnTo>
                  <a:pt x="0" y="6858000"/>
                </a:lnTo>
                <a:lnTo>
                  <a:pt x="1580491" y="4163677"/>
                </a:lnTo>
                <a:close/>
              </a:path>
            </a:pathLst>
          </a:custGeom>
          <a:solidFill>
            <a:srgbClr val="D9DADB"/>
          </a:solidFill>
        </p:spPr>
        <p:txBody>
          <a:bodyPr wrap="square">
            <a:noAutofit/>
          </a:bodyPr>
          <a:lstStyle>
            <a:lvl1pPr marL="0" indent="0" algn="ctr">
              <a:buNone/>
              <a:defRPr/>
            </a:lvl1pPr>
          </a:lstStyle>
          <a:p>
            <a:r>
              <a:rPr lang="en-US" dirty="0"/>
              <a:t>Insert picture</a:t>
            </a:r>
          </a:p>
        </p:txBody>
      </p:sp>
      <p:sp>
        <p:nvSpPr>
          <p:cNvPr id="7" name="Date Placeholder 6"/>
          <p:cNvSpPr>
            <a:spLocks noGrp="1"/>
          </p:cNvSpPr>
          <p:nvPr>
            <p:ph type="dt" sz="half" idx="10"/>
          </p:nvPr>
        </p:nvSpPr>
        <p:spPr>
          <a:xfrm>
            <a:off x="0" y="0"/>
            <a:ext cx="0" cy="0"/>
          </a:xfrm>
          <a:prstGeom prst="rect">
            <a:avLst/>
          </a:prstGeom>
        </p:spPr>
        <p:txBody>
          <a:bodyPr/>
          <a:lstStyle>
            <a:lvl1pPr>
              <a:defRPr sz="133">
                <a:noFill/>
              </a:defRPr>
            </a:lvl1pPr>
          </a:lstStyle>
          <a:p>
            <a:fld id="{D6D08F88-38D2-4786-82D6-89211B05083D}" type="datetime5">
              <a:rPr lang="en-US" smtClean="0"/>
              <a:t>26-Jun-20</a:t>
            </a:fld>
            <a:endParaRPr lang="en-US" dirty="0"/>
          </a:p>
        </p:txBody>
      </p:sp>
      <p:sp>
        <p:nvSpPr>
          <p:cNvPr id="8" name="Footer Placeholder 7"/>
          <p:cNvSpPr>
            <a:spLocks noGrp="1"/>
          </p:cNvSpPr>
          <p:nvPr>
            <p:ph type="ftr" sz="quarter" idx="11"/>
          </p:nvPr>
        </p:nvSpPr>
        <p:spPr>
          <a:xfrm>
            <a:off x="0" y="0"/>
            <a:ext cx="0" cy="0"/>
          </a:xfrm>
          <a:prstGeom prst="rect">
            <a:avLst/>
          </a:prstGeom>
        </p:spPr>
        <p:txBody>
          <a:bodyPr/>
          <a:lstStyle>
            <a:lvl1pPr marL="0" indent="0">
              <a:buNone/>
              <a:defRPr sz="133">
                <a:noFill/>
              </a:defRPr>
            </a:lvl1pPr>
          </a:lstStyle>
          <a:p>
            <a:r>
              <a:rPr lang="en-US"/>
              <a:t>Title of presentation (Insert / Header &amp; Footer / Apply to All)</a:t>
            </a:r>
            <a:endParaRPr lang="en-US" dirty="0"/>
          </a:p>
        </p:txBody>
      </p:sp>
      <p:sp>
        <p:nvSpPr>
          <p:cNvPr id="9" name="Slide Number Placeholder 8"/>
          <p:cNvSpPr>
            <a:spLocks noGrp="1"/>
          </p:cNvSpPr>
          <p:nvPr>
            <p:ph type="sldNum" sz="quarter" idx="12"/>
          </p:nvPr>
        </p:nvSpPr>
        <p:spPr>
          <a:xfrm>
            <a:off x="0" y="0"/>
            <a:ext cx="0" cy="0"/>
          </a:xfrm>
          <a:prstGeom prst="rect">
            <a:avLst/>
          </a:prstGeom>
        </p:spPr>
        <p:txBody>
          <a:bodyPr/>
          <a:lstStyle>
            <a:lvl1pPr>
              <a:defRPr sz="133">
                <a:noFill/>
              </a:defRPr>
            </a:lvl1pPr>
          </a:lstStyle>
          <a:p>
            <a:fld id="{8E3B25F7-8D1F-44B5-B485-EE3C438CFD7B}" type="slidenum">
              <a:rPr lang="en-US" smtClean="0"/>
              <a:pPr/>
              <a:t>‹#›</a:t>
            </a:fld>
            <a:endParaRPr lang="en-US"/>
          </a:p>
        </p:txBody>
      </p:sp>
      <p:sp>
        <p:nvSpPr>
          <p:cNvPr id="29" name="Date Placeholder 20">
            <a:extLst>
              <a:ext uri="{FF2B5EF4-FFF2-40B4-BE49-F238E27FC236}">
                <a16:creationId xmlns:a16="http://schemas.microsoft.com/office/drawing/2014/main" id="{7FCE975C-BA43-4059-8FE8-8CC89C1F64D6}"/>
              </a:ext>
            </a:extLst>
          </p:cNvPr>
          <p:cNvSpPr txBox="1">
            <a:spLocks/>
          </p:cNvSpPr>
          <p:nvPr userDrawn="1"/>
        </p:nvSpPr>
        <p:spPr>
          <a:xfrm>
            <a:off x="192088" y="6461673"/>
            <a:ext cx="761512" cy="133789"/>
          </a:xfrm>
          <a:prstGeom prst="rect">
            <a:avLst/>
          </a:prstGeom>
        </p:spPr>
        <p:txBody>
          <a:bodyPr vert="horz" wrap="none" lIns="0" tIns="0" rIns="0" bIns="0" rtlCol="0" anchor="b" anchorCtr="0"/>
          <a:lstStyle>
            <a:defPPr>
              <a:defRPr lang="en-US"/>
            </a:defPPr>
            <a:lvl1pPr marL="0" algn="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7DCAAD07-09FD-49C1-9253-3DC58F499B21}" type="datetime5">
              <a:rPr lang="en-US" sz="800" smtClean="0"/>
              <a:pPr/>
              <a:t>26-Jun-20</a:t>
            </a:fld>
            <a:endParaRPr lang="en-US" sz="800"/>
          </a:p>
        </p:txBody>
      </p:sp>
      <p:sp>
        <p:nvSpPr>
          <p:cNvPr id="30" name="Footer Placeholder 21">
            <a:extLst>
              <a:ext uri="{FF2B5EF4-FFF2-40B4-BE49-F238E27FC236}">
                <a16:creationId xmlns:a16="http://schemas.microsoft.com/office/drawing/2014/main" id="{49D88A06-145B-4538-BD95-AAC6D22B8AD6}"/>
              </a:ext>
            </a:extLst>
          </p:cNvPr>
          <p:cNvSpPr txBox="1">
            <a:spLocks/>
          </p:cNvSpPr>
          <p:nvPr userDrawn="1"/>
        </p:nvSpPr>
        <p:spPr>
          <a:xfrm>
            <a:off x="1076400" y="6461673"/>
            <a:ext cx="8162717" cy="133789"/>
          </a:xfrm>
          <a:prstGeom prst="rect">
            <a:avLst/>
          </a:prstGeom>
        </p:spPr>
        <p:txBody>
          <a:bodyPr vert="horz" lIns="0" tIns="0" rIns="0" bIns="0" rtlCol="0" anchor="b" anchorCtr="0"/>
          <a:lstStyle>
            <a:defPPr>
              <a:defRPr lang="en-US"/>
            </a:defPPr>
            <a:lvl1pPr marL="144000" indent="-144000" algn="l" defTabSz="914400" rtl="0" eaLnBrk="1" latinLnBrk="0" hangingPunct="1">
              <a:buClr>
                <a:schemeClr val="tx2"/>
              </a:buClr>
              <a:buFont typeface="Wingdings" panose="05000000000000000000" pitchFamily="2" charset="2"/>
              <a:buChar char="§"/>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dirty="0"/>
              <a:t>TCG Market</a:t>
            </a:r>
          </a:p>
        </p:txBody>
      </p:sp>
      <p:sp>
        <p:nvSpPr>
          <p:cNvPr id="32" name="Slide Number Placeholder 22">
            <a:extLst>
              <a:ext uri="{FF2B5EF4-FFF2-40B4-BE49-F238E27FC236}">
                <a16:creationId xmlns:a16="http://schemas.microsoft.com/office/drawing/2014/main" id="{3F00F7E1-35FD-496D-92B4-3229E5352EDD}"/>
              </a:ext>
            </a:extLst>
          </p:cNvPr>
          <p:cNvSpPr txBox="1">
            <a:spLocks/>
          </p:cNvSpPr>
          <p:nvPr userDrawn="1"/>
        </p:nvSpPr>
        <p:spPr>
          <a:xfrm>
            <a:off x="11186669" y="6461673"/>
            <a:ext cx="648000" cy="133789"/>
          </a:xfrm>
          <a:prstGeom prst="rect">
            <a:avLst/>
          </a:prstGeom>
        </p:spPr>
        <p:txBody>
          <a:bodyPr vert="horz" lIns="0" tIns="0" rIns="0" bIns="0" rtlCol="0" anchor="b" anchorCtr="0"/>
          <a:lstStyle>
            <a:defPPr>
              <a:defRPr lang="en-US"/>
            </a:defPPr>
            <a:lvl1pPr marL="0" algn="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F3E29E4-0979-4FCA-B4C5-5FC6044C982A}" type="slidenum">
              <a:rPr lang="en-US" sz="800" smtClean="0"/>
              <a:pPr/>
              <a:t>‹#›</a:t>
            </a:fld>
            <a:endParaRPr lang="en-US" sz="800"/>
          </a:p>
        </p:txBody>
      </p:sp>
      <p:sp>
        <p:nvSpPr>
          <p:cNvPr id="33" name="Title 1">
            <a:extLst>
              <a:ext uri="{FF2B5EF4-FFF2-40B4-BE49-F238E27FC236}">
                <a16:creationId xmlns:a16="http://schemas.microsoft.com/office/drawing/2014/main" id="{E2E11798-CED3-4BA1-943E-F2DFDBC0418C}"/>
              </a:ext>
            </a:extLst>
          </p:cNvPr>
          <p:cNvSpPr>
            <a:spLocks noGrp="1"/>
          </p:cNvSpPr>
          <p:nvPr>
            <p:ph type="title" hasCustomPrompt="1"/>
          </p:nvPr>
        </p:nvSpPr>
        <p:spPr>
          <a:xfrm>
            <a:off x="1075062" y="288921"/>
            <a:ext cx="7910159" cy="648000"/>
          </a:xfrm>
        </p:spPr>
        <p:txBody>
          <a:bodyPr/>
          <a:lstStyle>
            <a:lvl1pPr>
              <a:defRPr/>
            </a:lvl1pPr>
          </a:lstStyle>
          <a:p>
            <a:r>
              <a:rPr lang="en-US" dirty="0"/>
              <a:t>Click to add slide title</a:t>
            </a:r>
          </a:p>
        </p:txBody>
      </p:sp>
      <p:sp>
        <p:nvSpPr>
          <p:cNvPr id="35" name="Subtitle 2">
            <a:extLst>
              <a:ext uri="{FF2B5EF4-FFF2-40B4-BE49-F238E27FC236}">
                <a16:creationId xmlns:a16="http://schemas.microsoft.com/office/drawing/2014/main" id="{D0B3DAC6-76CF-4BF2-B54A-D2798FF5C5C7}"/>
              </a:ext>
            </a:extLst>
          </p:cNvPr>
          <p:cNvSpPr>
            <a:spLocks noGrp="1"/>
          </p:cNvSpPr>
          <p:nvPr>
            <p:ph type="subTitle" idx="14" hasCustomPrompt="1"/>
          </p:nvPr>
        </p:nvSpPr>
        <p:spPr>
          <a:xfrm>
            <a:off x="1075062" y="964672"/>
            <a:ext cx="7910159" cy="490042"/>
          </a:xfrm>
        </p:spPr>
        <p:txBody>
          <a:bodyPr wrap="none"/>
          <a:lstStyle>
            <a:lvl1pPr marL="0" indent="0" algn="l">
              <a:spcBef>
                <a:spcPts val="0"/>
              </a:spcBef>
              <a:buNone/>
              <a:defRPr sz="2399"/>
            </a:lvl1pPr>
            <a:lvl2pPr marL="457051" indent="0" algn="ctr">
              <a:buNone/>
              <a:defRPr sz="1999"/>
            </a:lvl2pPr>
            <a:lvl3pPr marL="914103" indent="0" algn="ctr">
              <a:buNone/>
              <a:defRPr sz="1799"/>
            </a:lvl3pPr>
            <a:lvl4pPr marL="1371154" indent="0" algn="ctr">
              <a:buNone/>
              <a:defRPr sz="1599"/>
            </a:lvl4pPr>
            <a:lvl5pPr marL="1828206" indent="0" algn="ctr">
              <a:buNone/>
              <a:defRPr sz="1599"/>
            </a:lvl5pPr>
            <a:lvl6pPr marL="2285257" indent="0" algn="ctr">
              <a:buNone/>
              <a:defRPr sz="1599"/>
            </a:lvl6pPr>
            <a:lvl7pPr marL="2742308" indent="0" algn="ctr">
              <a:buNone/>
              <a:defRPr sz="1599"/>
            </a:lvl7pPr>
            <a:lvl8pPr marL="3199360" indent="0" algn="ctr">
              <a:buNone/>
              <a:defRPr sz="1599"/>
            </a:lvl8pPr>
            <a:lvl9pPr marL="3656411" indent="0" algn="ctr">
              <a:buNone/>
              <a:defRPr sz="1599"/>
            </a:lvl9pPr>
          </a:lstStyle>
          <a:p>
            <a:r>
              <a:rPr lang="en-US" dirty="0"/>
              <a:t>Click to add subtitle</a:t>
            </a:r>
          </a:p>
        </p:txBody>
      </p:sp>
      <p:sp>
        <p:nvSpPr>
          <p:cNvPr id="36" name="Text Placeholder 4">
            <a:extLst>
              <a:ext uri="{FF2B5EF4-FFF2-40B4-BE49-F238E27FC236}">
                <a16:creationId xmlns:a16="http://schemas.microsoft.com/office/drawing/2014/main" id="{DC6AE256-6982-4211-8A38-F80FFE83B266}"/>
              </a:ext>
            </a:extLst>
          </p:cNvPr>
          <p:cNvSpPr>
            <a:spLocks noGrp="1"/>
          </p:cNvSpPr>
          <p:nvPr>
            <p:ph type="body" sz="quarter" idx="17" hasCustomPrompt="1"/>
          </p:nvPr>
        </p:nvSpPr>
        <p:spPr>
          <a:xfrm>
            <a:off x="1075064" y="6307665"/>
            <a:ext cx="8162717" cy="133200"/>
          </a:xfrm>
        </p:spPr>
        <p:txBody>
          <a:bodyPr lIns="0" tIns="0" rIns="0" bIns="0" anchor="b" anchorCtr="0"/>
          <a:lstStyle>
            <a:lvl1pPr marL="0" indent="0" algn="l">
              <a:lnSpc>
                <a:spcPct val="100000"/>
              </a:lnSpc>
              <a:spcBef>
                <a:spcPts val="0"/>
              </a:spcBef>
              <a:buNone/>
              <a:defRPr sz="800" baseline="0"/>
            </a:lvl1pPr>
            <a:lvl2pPr marL="0" indent="0" algn="l">
              <a:lnSpc>
                <a:spcPct val="100000"/>
              </a:lnSpc>
              <a:spcBef>
                <a:spcPts val="0"/>
              </a:spcBef>
              <a:buNone/>
              <a:defRPr sz="800"/>
            </a:lvl2pPr>
            <a:lvl3pPr marL="0" indent="0" algn="l">
              <a:lnSpc>
                <a:spcPct val="100000"/>
              </a:lnSpc>
              <a:spcBef>
                <a:spcPts val="0"/>
              </a:spcBef>
              <a:buNone/>
              <a:defRPr sz="800"/>
            </a:lvl3pPr>
            <a:lvl4pPr marL="0" algn="l">
              <a:lnSpc>
                <a:spcPct val="100000"/>
              </a:lnSpc>
              <a:spcBef>
                <a:spcPts val="0"/>
              </a:spcBef>
              <a:buNone/>
              <a:defRPr sz="800"/>
            </a:lvl4pPr>
            <a:lvl5pPr marL="0" indent="0" algn="l">
              <a:lnSpc>
                <a:spcPct val="100000"/>
              </a:lnSpc>
              <a:spcBef>
                <a:spcPts val="0"/>
              </a:spcBef>
              <a:buNone/>
              <a:defRPr sz="800"/>
            </a:lvl5pPr>
          </a:lstStyle>
          <a:p>
            <a:pPr lvl="0"/>
            <a:r>
              <a:rPr lang="en-US" dirty="0"/>
              <a:t>Source lin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8" name="shp1">
            <a:extLst>
              <a:ext uri="{FF2B5EF4-FFF2-40B4-BE49-F238E27FC236}">
                <a16:creationId xmlns:a16="http://schemas.microsoft.com/office/drawing/2014/main" id="{4F787973-AD9B-451F-BACF-10D19C75F0E8}"/>
              </a:ext>
            </a:extLst>
          </p:cNvPr>
          <p:cNvSpPr/>
          <p:nvPr userDrawn="1"/>
        </p:nvSpPr>
        <p:spPr>
          <a:xfrm>
            <a:off x="192089" y="2"/>
            <a:ext cx="215900" cy="144938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de-DE" sz="1350"/>
          </a:p>
        </p:txBody>
      </p:sp>
    </p:spTree>
    <p:extLst>
      <p:ext uri="{BB962C8B-B14F-4D97-AF65-F5344CB8AC3E}">
        <p14:creationId xmlns:p14="http://schemas.microsoft.com/office/powerpoint/2010/main" val="3758825788"/>
      </p:ext>
    </p:extLst>
  </p:cSld>
  <p:clrMapOvr>
    <a:masterClrMapping/>
  </p:clrMapOvr>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p:cSld name="Divider 1">
    <p:spTree>
      <p:nvGrpSpPr>
        <p:cNvPr id="1" name=""/>
        <p:cNvGrpSpPr/>
        <p:nvPr/>
      </p:nvGrpSpPr>
      <p:grpSpPr>
        <a:xfrm>
          <a:off x="0" y="0"/>
          <a:ext cx="0" cy="0"/>
          <a:chOff x="0" y="0"/>
          <a:chExt cx="0" cy="0"/>
        </a:xfrm>
      </p:grpSpPr>
      <p:sp>
        <p:nvSpPr>
          <p:cNvPr id="12" name="Picture Placeholder 11"/>
          <p:cNvSpPr>
            <a:spLocks noGrp="1"/>
          </p:cNvSpPr>
          <p:nvPr>
            <p:ph type="pic" sz="quarter" idx="17" hasCustomPrompt="1"/>
          </p:nvPr>
        </p:nvSpPr>
        <p:spPr>
          <a:xfrm>
            <a:off x="-1" y="0"/>
            <a:ext cx="8822479" cy="6858000"/>
          </a:xfrm>
          <a:custGeom>
            <a:avLst/>
            <a:gdLst>
              <a:gd name="connsiteX0" fmla="*/ 0 w 8822478"/>
              <a:gd name="connsiteY0" fmla="*/ 0 h 6858000"/>
              <a:gd name="connsiteX1" fmla="*/ 8477306 w 8822478"/>
              <a:gd name="connsiteY1" fmla="*/ 0 h 6858000"/>
              <a:gd name="connsiteX2" fmla="*/ 6998505 w 8822478"/>
              <a:gd name="connsiteY2" fmla="*/ 3834029 h 6858000"/>
              <a:gd name="connsiteX3" fmla="*/ 8822478 w 8822478"/>
              <a:gd name="connsiteY3" fmla="*/ 6858000 h 6858000"/>
              <a:gd name="connsiteX4" fmla="*/ 0 w 8822478"/>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22478" h="6858000">
                <a:moveTo>
                  <a:pt x="0" y="0"/>
                </a:moveTo>
                <a:lnTo>
                  <a:pt x="8477306" y="0"/>
                </a:lnTo>
                <a:lnTo>
                  <a:pt x="6998505" y="3834029"/>
                </a:lnTo>
                <a:lnTo>
                  <a:pt x="8822478" y="6858000"/>
                </a:lnTo>
                <a:lnTo>
                  <a:pt x="0" y="6858000"/>
                </a:lnTo>
                <a:close/>
              </a:path>
            </a:pathLst>
          </a:custGeom>
          <a:solidFill>
            <a:srgbClr val="D9DADB"/>
          </a:solidFill>
        </p:spPr>
        <p:txBody>
          <a:bodyPr wrap="square">
            <a:noAutofit/>
          </a:bodyPr>
          <a:lstStyle>
            <a:lvl1pPr marL="0" indent="0">
              <a:buNone/>
              <a:defRPr/>
            </a:lvl1pPr>
          </a:lstStyle>
          <a:p>
            <a:r>
              <a:rPr lang="en-US" dirty="0"/>
              <a:t>Insert picture</a:t>
            </a:r>
          </a:p>
        </p:txBody>
      </p:sp>
      <p:sp>
        <p:nvSpPr>
          <p:cNvPr id="21" name="Date Placeholder 20"/>
          <p:cNvSpPr>
            <a:spLocks noGrp="1"/>
          </p:cNvSpPr>
          <p:nvPr>
            <p:ph type="dt" sz="half" idx="14"/>
          </p:nvPr>
        </p:nvSpPr>
        <p:spPr>
          <a:xfrm>
            <a:off x="192088" y="6461673"/>
            <a:ext cx="761512" cy="133789"/>
          </a:xfrm>
          <a:prstGeom prst="rect">
            <a:avLst/>
          </a:prstGeom>
        </p:spPr>
        <p:txBody>
          <a:bodyPr/>
          <a:lstStyle>
            <a:lvl1pPr>
              <a:defRPr>
                <a:solidFill>
                  <a:schemeClr val="bg1"/>
                </a:solidFill>
              </a:defRPr>
            </a:lvl1pPr>
          </a:lstStyle>
          <a:p>
            <a:fld id="{4A274CF1-226C-4201-826C-EA56EA2B3C12}" type="datetime5">
              <a:rPr lang="en-US" smtClean="0"/>
              <a:t>26-Jun-20</a:t>
            </a:fld>
            <a:endParaRPr lang="en-US"/>
          </a:p>
        </p:txBody>
      </p:sp>
      <p:sp>
        <p:nvSpPr>
          <p:cNvPr id="22" name="Footer Placeholder 21"/>
          <p:cNvSpPr>
            <a:spLocks noGrp="1"/>
          </p:cNvSpPr>
          <p:nvPr>
            <p:ph type="ftr" sz="quarter" idx="15"/>
          </p:nvPr>
        </p:nvSpPr>
        <p:spPr>
          <a:xfrm>
            <a:off x="1076400" y="6461673"/>
            <a:ext cx="8162717" cy="133789"/>
          </a:xfrm>
          <a:prstGeom prst="rect">
            <a:avLst/>
          </a:prstGeom>
        </p:spPr>
        <p:txBody>
          <a:bodyPr/>
          <a:lstStyle>
            <a:lvl1pPr>
              <a:defRPr>
                <a:solidFill>
                  <a:schemeClr val="bg1"/>
                </a:solidFill>
              </a:defRPr>
            </a:lvl1pPr>
          </a:lstStyle>
          <a:p>
            <a:r>
              <a:rPr lang="en-US"/>
              <a:t>Title of presentation (Insert / Header &amp; Footer / Apply to All)</a:t>
            </a:r>
            <a:endParaRPr lang="en-US" dirty="0"/>
          </a:p>
        </p:txBody>
      </p:sp>
      <p:sp>
        <p:nvSpPr>
          <p:cNvPr id="23" name="Slide Number Placeholder 22"/>
          <p:cNvSpPr>
            <a:spLocks noGrp="1"/>
          </p:cNvSpPr>
          <p:nvPr>
            <p:ph type="sldNum" sz="quarter" idx="16"/>
          </p:nvPr>
        </p:nvSpPr>
        <p:spPr/>
        <p:txBody>
          <a:bodyPr/>
          <a:lstStyle>
            <a:lvl1pPr>
              <a:defRPr>
                <a:solidFill>
                  <a:schemeClr val="tx1"/>
                </a:solidFill>
              </a:defRPr>
            </a:lvl1pPr>
          </a:lstStyle>
          <a:p>
            <a:fld id="{5F3E29E4-0979-4FCA-B4C5-5FC6044C982A}" type="slidenum">
              <a:rPr lang="en-US" smtClean="0"/>
              <a:pPr/>
              <a:t>‹#›</a:t>
            </a:fld>
            <a:endParaRPr lang="en-US"/>
          </a:p>
        </p:txBody>
      </p:sp>
      <p:sp>
        <p:nvSpPr>
          <p:cNvPr id="2" name="Title 1"/>
          <p:cNvSpPr>
            <a:spLocks noGrp="1"/>
          </p:cNvSpPr>
          <p:nvPr>
            <p:ph type="title" hasCustomPrompt="1"/>
          </p:nvPr>
        </p:nvSpPr>
        <p:spPr>
          <a:xfrm>
            <a:off x="7737533" y="2908629"/>
            <a:ext cx="4082992" cy="2103640"/>
          </a:xfrm>
        </p:spPr>
        <p:txBody>
          <a:bodyPr/>
          <a:lstStyle>
            <a:lvl1pPr>
              <a:defRPr>
                <a:solidFill>
                  <a:schemeClr val="tx1"/>
                </a:solidFill>
              </a:defRPr>
            </a:lvl1pPr>
          </a:lstStyle>
          <a:p>
            <a:r>
              <a:rPr lang="en-US" dirty="0"/>
              <a:t>Click to add section title</a:t>
            </a:r>
          </a:p>
        </p:txBody>
      </p:sp>
    </p:spTree>
    <p:extLst>
      <p:ext uri="{BB962C8B-B14F-4D97-AF65-F5344CB8AC3E}">
        <p14:creationId xmlns:p14="http://schemas.microsoft.com/office/powerpoint/2010/main" val="38678764"/>
      </p:ext>
    </p:extLst>
  </p:cSld>
  <p:clrMapOvr>
    <a:masterClrMapping/>
  </p:clrMapOvr>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p:cSld name="Divider 2">
    <p:spTree>
      <p:nvGrpSpPr>
        <p:cNvPr id="1" name=""/>
        <p:cNvGrpSpPr/>
        <p:nvPr/>
      </p:nvGrpSpPr>
      <p:grpSpPr>
        <a:xfrm>
          <a:off x="0" y="0"/>
          <a:ext cx="0" cy="0"/>
          <a:chOff x="0" y="0"/>
          <a:chExt cx="0" cy="0"/>
        </a:xfrm>
      </p:grpSpPr>
      <p:sp>
        <p:nvSpPr>
          <p:cNvPr id="4" name="shp2"/>
          <p:cNvSpPr/>
          <p:nvPr/>
        </p:nvSpPr>
        <p:spPr>
          <a:xfrm>
            <a:off x="0" y="0"/>
            <a:ext cx="121932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799"/>
          </a:p>
        </p:txBody>
      </p:sp>
      <p:sp>
        <p:nvSpPr>
          <p:cNvPr id="21" name="Date Placeholder 20"/>
          <p:cNvSpPr>
            <a:spLocks noGrp="1"/>
          </p:cNvSpPr>
          <p:nvPr>
            <p:ph type="dt" sz="half" idx="14"/>
          </p:nvPr>
        </p:nvSpPr>
        <p:spPr bwMode="ltGray">
          <a:xfrm>
            <a:off x="192088" y="6461673"/>
            <a:ext cx="761512" cy="133789"/>
          </a:xfrm>
          <a:prstGeom prst="rect">
            <a:avLst/>
          </a:prstGeom>
        </p:spPr>
        <p:txBody>
          <a:bodyPr/>
          <a:lstStyle>
            <a:lvl1pPr>
              <a:defRPr>
                <a:solidFill>
                  <a:schemeClr val="bg1"/>
                </a:solidFill>
              </a:defRPr>
            </a:lvl1pPr>
          </a:lstStyle>
          <a:p>
            <a:fld id="{3869822F-F9F4-4987-AC88-332F892BB2CC}" type="datetime5">
              <a:rPr lang="en-US" smtClean="0"/>
              <a:t>26-Jun-20</a:t>
            </a:fld>
            <a:endParaRPr lang="en-US"/>
          </a:p>
        </p:txBody>
      </p:sp>
      <p:sp>
        <p:nvSpPr>
          <p:cNvPr id="22" name="Footer Placeholder 21"/>
          <p:cNvSpPr>
            <a:spLocks noGrp="1"/>
          </p:cNvSpPr>
          <p:nvPr>
            <p:ph type="ftr" sz="quarter" idx="15"/>
          </p:nvPr>
        </p:nvSpPr>
        <p:spPr bwMode="ltGray">
          <a:xfrm>
            <a:off x="1076400" y="6461673"/>
            <a:ext cx="8162717" cy="133789"/>
          </a:xfrm>
          <a:prstGeom prst="rect">
            <a:avLst/>
          </a:prstGeom>
        </p:spPr>
        <p:txBody>
          <a:bodyPr/>
          <a:lstStyle>
            <a:lvl1pPr>
              <a:defRPr>
                <a:solidFill>
                  <a:schemeClr val="bg1"/>
                </a:solidFill>
              </a:defRPr>
            </a:lvl1pPr>
          </a:lstStyle>
          <a:p>
            <a:r>
              <a:rPr lang="en-US"/>
              <a:t>Title of presentation (Insert / Header &amp; Footer / Apply to All)</a:t>
            </a:r>
            <a:endParaRPr lang="en-US" dirty="0"/>
          </a:p>
        </p:txBody>
      </p:sp>
      <p:sp>
        <p:nvSpPr>
          <p:cNvPr id="23" name="Slide Number Placeholder 22"/>
          <p:cNvSpPr>
            <a:spLocks noGrp="1"/>
          </p:cNvSpPr>
          <p:nvPr>
            <p:ph type="sldNum" sz="quarter" idx="16"/>
          </p:nvPr>
        </p:nvSpPr>
        <p:spPr bwMode="ltGray"/>
        <p:txBody>
          <a:bodyPr/>
          <a:lstStyle>
            <a:lvl1pPr>
              <a:defRPr>
                <a:solidFill>
                  <a:schemeClr val="bg1"/>
                </a:solidFill>
              </a:defRPr>
            </a:lvl1pPr>
          </a:lstStyle>
          <a:p>
            <a:fld id="{5F3E29E4-0979-4FCA-B4C5-5FC6044C982A}" type="slidenum">
              <a:rPr lang="en-US" smtClean="0"/>
              <a:pPr/>
              <a:t>‹#›</a:t>
            </a:fld>
            <a:endParaRPr lang="en-US"/>
          </a:p>
        </p:txBody>
      </p:sp>
      <p:sp>
        <p:nvSpPr>
          <p:cNvPr id="8" name="copyright"/>
          <p:cNvSpPr txBox="1"/>
          <p:nvPr/>
        </p:nvSpPr>
        <p:spPr>
          <a:xfrm>
            <a:off x="10672210" y="6237289"/>
            <a:ext cx="500617" cy="358173"/>
          </a:xfrm>
          <a:prstGeom prst="rect">
            <a:avLst/>
          </a:prstGeom>
          <a:noFill/>
        </p:spPr>
        <p:txBody>
          <a:bodyPr wrap="none" lIns="0" tIns="0" rIns="0" bIns="0" rtlCol="0" anchor="b" anchorCtr="0">
            <a:noAutofit/>
          </a:bodyPr>
          <a:lstStyle/>
          <a:p>
            <a:pPr marL="0" indent="0" algn="r">
              <a:lnSpc>
                <a:spcPct val="125000"/>
              </a:lnSpc>
              <a:buClr>
                <a:schemeClr val="tx2"/>
              </a:buClr>
              <a:buFont typeface="Wingdings" panose="05000000000000000000" pitchFamily="2" charset="2"/>
              <a:buNone/>
            </a:pPr>
            <a:r>
              <a:rPr lang="en-US" sz="800" dirty="0">
                <a:solidFill>
                  <a:schemeClr val="bg1"/>
                </a:solidFill>
              </a:rPr>
              <a:t>© GfK</a:t>
            </a:r>
          </a:p>
        </p:txBody>
      </p:sp>
      <p:sp>
        <p:nvSpPr>
          <p:cNvPr id="2" name="Title 1"/>
          <p:cNvSpPr>
            <a:spLocks noGrp="1"/>
          </p:cNvSpPr>
          <p:nvPr>
            <p:ph type="title" hasCustomPrompt="1"/>
          </p:nvPr>
        </p:nvSpPr>
        <p:spPr bwMode="ltGray">
          <a:xfrm>
            <a:off x="1075063" y="1519553"/>
            <a:ext cx="10097763" cy="2273172"/>
          </a:xfrm>
        </p:spPr>
        <p:txBody>
          <a:bodyPr/>
          <a:lstStyle>
            <a:lvl1pPr>
              <a:defRPr>
                <a:solidFill>
                  <a:schemeClr val="bg1"/>
                </a:solidFill>
              </a:defRPr>
            </a:lvl1pPr>
          </a:lstStyle>
          <a:p>
            <a:r>
              <a:rPr lang="en-US" dirty="0"/>
              <a:t>Click to add section title</a:t>
            </a:r>
          </a:p>
        </p:txBody>
      </p:sp>
      <p:grpSp>
        <p:nvGrpSpPr>
          <p:cNvPr id="9" name="logo">
            <a:extLst>
              <a:ext uri="{FF2B5EF4-FFF2-40B4-BE49-F238E27FC236}">
                <a16:creationId xmlns:a16="http://schemas.microsoft.com/office/drawing/2014/main" id="{57BD2C4C-DC67-B843-B26C-309622FC75F7}"/>
              </a:ext>
            </a:extLst>
          </p:cNvPr>
          <p:cNvGrpSpPr>
            <a:grpSpLocks noChangeAspect="1"/>
          </p:cNvGrpSpPr>
          <p:nvPr/>
        </p:nvGrpSpPr>
        <p:grpSpPr bwMode="gray">
          <a:xfrm>
            <a:off x="11174020" y="401441"/>
            <a:ext cx="644225" cy="646507"/>
            <a:chOff x="2711" y="1027"/>
            <a:chExt cx="2258" cy="2266"/>
          </a:xfrm>
        </p:grpSpPr>
        <p:sp>
          <p:nvSpPr>
            <p:cNvPr id="11" name="AutoShape 3">
              <a:extLst>
                <a:ext uri="{FF2B5EF4-FFF2-40B4-BE49-F238E27FC236}">
                  <a16:creationId xmlns:a16="http://schemas.microsoft.com/office/drawing/2014/main" id="{FE1DC41B-291E-574C-9F2C-874E70A40758}"/>
                </a:ext>
              </a:extLst>
            </p:cNvPr>
            <p:cNvSpPr>
              <a:spLocks noChangeAspect="1" noChangeArrowheads="1" noTextEdit="1"/>
            </p:cNvSpPr>
            <p:nvPr/>
          </p:nvSpPr>
          <p:spPr bwMode="gray">
            <a:xfrm>
              <a:off x="2711" y="1027"/>
              <a:ext cx="2258" cy="22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sz="1350" dirty="0"/>
            </a:p>
          </p:txBody>
        </p:sp>
        <p:sp>
          <p:nvSpPr>
            <p:cNvPr id="12" name="Freeform 5">
              <a:extLst>
                <a:ext uri="{FF2B5EF4-FFF2-40B4-BE49-F238E27FC236}">
                  <a16:creationId xmlns:a16="http://schemas.microsoft.com/office/drawing/2014/main" id="{D4B633C8-F761-C54B-9BD2-EB59D49A2DBC}"/>
                </a:ext>
              </a:extLst>
            </p:cNvPr>
            <p:cNvSpPr>
              <a:spLocks/>
            </p:cNvSpPr>
            <p:nvPr/>
          </p:nvSpPr>
          <p:spPr bwMode="gray">
            <a:xfrm>
              <a:off x="2709" y="1029"/>
              <a:ext cx="2260" cy="2262"/>
            </a:xfrm>
            <a:custGeom>
              <a:avLst/>
              <a:gdLst>
                <a:gd name="T0" fmla="*/ 2260 w 2260"/>
                <a:gd name="T1" fmla="*/ 0 h 2262"/>
                <a:gd name="T2" fmla="*/ 1612 w 2260"/>
                <a:gd name="T3" fmla="*/ 649 h 2262"/>
                <a:gd name="T4" fmla="*/ 1612 w 2260"/>
                <a:gd name="T5" fmla="*/ 649 h 2262"/>
                <a:gd name="T6" fmla="*/ 2035 w 2260"/>
                <a:gd name="T7" fmla="*/ 0 h 2262"/>
                <a:gd name="T8" fmla="*/ 0 w 2260"/>
                <a:gd name="T9" fmla="*/ 0 h 2262"/>
                <a:gd name="T10" fmla="*/ 0 w 2260"/>
                <a:gd name="T11" fmla="*/ 2262 h 2262"/>
                <a:gd name="T12" fmla="*/ 2260 w 2260"/>
                <a:gd name="T13" fmla="*/ 2262 h 2262"/>
                <a:gd name="T14" fmla="*/ 2260 w 2260"/>
                <a:gd name="T15" fmla="*/ 0 h 2262"/>
                <a:gd name="T16" fmla="*/ 2260 w 2260"/>
                <a:gd name="T17" fmla="*/ 0 h 2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0" h="2262">
                  <a:moveTo>
                    <a:pt x="2260" y="0"/>
                  </a:moveTo>
                  <a:lnTo>
                    <a:pt x="1612" y="649"/>
                  </a:lnTo>
                  <a:lnTo>
                    <a:pt x="1612" y="649"/>
                  </a:lnTo>
                  <a:lnTo>
                    <a:pt x="2035" y="0"/>
                  </a:lnTo>
                  <a:lnTo>
                    <a:pt x="0" y="0"/>
                  </a:lnTo>
                  <a:lnTo>
                    <a:pt x="0" y="2262"/>
                  </a:lnTo>
                  <a:lnTo>
                    <a:pt x="2260" y="2262"/>
                  </a:lnTo>
                  <a:lnTo>
                    <a:pt x="2260" y="0"/>
                  </a:lnTo>
                  <a:lnTo>
                    <a:pt x="2260" y="0"/>
                  </a:lnTo>
                  <a:close/>
                </a:path>
              </a:pathLst>
            </a:custGeom>
            <a:solidFill>
              <a:srgbClr val="E55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0" dirty="0"/>
            </a:p>
          </p:txBody>
        </p:sp>
        <p:sp>
          <p:nvSpPr>
            <p:cNvPr id="13" name="Freeform 6">
              <a:extLst>
                <a:ext uri="{FF2B5EF4-FFF2-40B4-BE49-F238E27FC236}">
                  <a16:creationId xmlns:a16="http://schemas.microsoft.com/office/drawing/2014/main" id="{B16BAAE4-1A41-C843-9754-490F7A1E1270}"/>
                </a:ext>
              </a:extLst>
            </p:cNvPr>
            <p:cNvSpPr>
              <a:spLocks noEditPoints="1"/>
            </p:cNvSpPr>
            <p:nvPr/>
          </p:nvSpPr>
          <p:spPr bwMode="gray">
            <a:xfrm>
              <a:off x="3623" y="1696"/>
              <a:ext cx="1167" cy="922"/>
            </a:xfrm>
            <a:custGeom>
              <a:avLst/>
              <a:gdLst>
                <a:gd name="T0" fmla="*/ 411 w 580"/>
                <a:gd name="T1" fmla="*/ 213 h 458"/>
                <a:gd name="T2" fmla="*/ 570 w 580"/>
                <a:gd name="T3" fmla="*/ 37 h 458"/>
                <a:gd name="T4" fmla="*/ 580 w 580"/>
                <a:gd name="T5" fmla="*/ 20 h 458"/>
                <a:gd name="T6" fmla="*/ 545 w 580"/>
                <a:gd name="T7" fmla="*/ 0 h 458"/>
                <a:gd name="T8" fmla="*/ 519 w 580"/>
                <a:gd name="T9" fmla="*/ 16 h 458"/>
                <a:gd name="T10" fmla="*/ 344 w 580"/>
                <a:gd name="T11" fmla="*/ 210 h 458"/>
                <a:gd name="T12" fmla="*/ 334 w 580"/>
                <a:gd name="T13" fmla="*/ 229 h 458"/>
                <a:gd name="T14" fmla="*/ 344 w 580"/>
                <a:gd name="T15" fmla="*/ 248 h 458"/>
                <a:gd name="T16" fmla="*/ 519 w 580"/>
                <a:gd name="T17" fmla="*/ 442 h 458"/>
                <a:gd name="T18" fmla="*/ 545 w 580"/>
                <a:gd name="T19" fmla="*/ 458 h 458"/>
                <a:gd name="T20" fmla="*/ 580 w 580"/>
                <a:gd name="T21" fmla="*/ 438 h 458"/>
                <a:gd name="T22" fmla="*/ 570 w 580"/>
                <a:gd name="T23" fmla="*/ 421 h 458"/>
                <a:gd name="T24" fmla="*/ 411 w 580"/>
                <a:gd name="T25" fmla="*/ 245 h 458"/>
                <a:gd name="T26" fmla="*/ 399 w 580"/>
                <a:gd name="T27" fmla="*/ 229 h 458"/>
                <a:gd name="T28" fmla="*/ 411 w 580"/>
                <a:gd name="T29" fmla="*/ 213 h 458"/>
                <a:gd name="T30" fmla="*/ 252 w 580"/>
                <a:gd name="T31" fmla="*/ 439 h 458"/>
                <a:gd name="T32" fmla="*/ 281 w 580"/>
                <a:gd name="T33" fmla="*/ 454 h 458"/>
                <a:gd name="T34" fmla="*/ 309 w 580"/>
                <a:gd name="T35" fmla="*/ 439 h 458"/>
                <a:gd name="T36" fmla="*/ 309 w 580"/>
                <a:gd name="T37" fmla="*/ 19 h 458"/>
                <a:gd name="T38" fmla="*/ 281 w 580"/>
                <a:gd name="T39" fmla="*/ 4 h 458"/>
                <a:gd name="T40" fmla="*/ 252 w 580"/>
                <a:gd name="T41" fmla="*/ 19 h 458"/>
                <a:gd name="T42" fmla="*/ 252 w 580"/>
                <a:gd name="T43" fmla="*/ 439 h 458"/>
                <a:gd name="T44" fmla="*/ 0 w 580"/>
                <a:gd name="T45" fmla="*/ 439 h 458"/>
                <a:gd name="T46" fmla="*/ 28 w 580"/>
                <a:gd name="T47" fmla="*/ 454 h 458"/>
                <a:gd name="T48" fmla="*/ 56 w 580"/>
                <a:gd name="T49" fmla="*/ 439 h 458"/>
                <a:gd name="T50" fmla="*/ 56 w 580"/>
                <a:gd name="T51" fmla="*/ 157 h 458"/>
                <a:gd name="T52" fmla="*/ 165 w 580"/>
                <a:gd name="T53" fmla="*/ 53 h 458"/>
                <a:gd name="T54" fmla="*/ 180 w 580"/>
                <a:gd name="T55" fmla="*/ 53 h 458"/>
                <a:gd name="T56" fmla="*/ 196 w 580"/>
                <a:gd name="T57" fmla="*/ 27 h 458"/>
                <a:gd name="T58" fmla="*/ 154 w 580"/>
                <a:gd name="T59" fmla="*/ 4 h 458"/>
                <a:gd name="T60" fmla="*/ 0 w 580"/>
                <a:gd name="T61" fmla="*/ 152 h 458"/>
                <a:gd name="T62" fmla="*/ 0 w 580"/>
                <a:gd name="T63" fmla="*/ 439 h 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80" h="458">
                  <a:moveTo>
                    <a:pt x="411" y="213"/>
                  </a:moveTo>
                  <a:cubicBezTo>
                    <a:pt x="570" y="37"/>
                    <a:pt x="570" y="37"/>
                    <a:pt x="570" y="37"/>
                  </a:cubicBezTo>
                  <a:cubicBezTo>
                    <a:pt x="576" y="30"/>
                    <a:pt x="580" y="25"/>
                    <a:pt x="580" y="20"/>
                  </a:cubicBezTo>
                  <a:cubicBezTo>
                    <a:pt x="580" y="10"/>
                    <a:pt x="559" y="0"/>
                    <a:pt x="545" y="0"/>
                  </a:cubicBezTo>
                  <a:cubicBezTo>
                    <a:pt x="535" y="0"/>
                    <a:pt x="526" y="8"/>
                    <a:pt x="519" y="16"/>
                  </a:cubicBezTo>
                  <a:cubicBezTo>
                    <a:pt x="344" y="210"/>
                    <a:pt x="344" y="210"/>
                    <a:pt x="344" y="210"/>
                  </a:cubicBezTo>
                  <a:cubicBezTo>
                    <a:pt x="336" y="219"/>
                    <a:pt x="334" y="224"/>
                    <a:pt x="334" y="229"/>
                  </a:cubicBezTo>
                  <a:cubicBezTo>
                    <a:pt x="334" y="234"/>
                    <a:pt x="336" y="239"/>
                    <a:pt x="344" y="248"/>
                  </a:cubicBezTo>
                  <a:cubicBezTo>
                    <a:pt x="519" y="442"/>
                    <a:pt x="519" y="442"/>
                    <a:pt x="519" y="442"/>
                  </a:cubicBezTo>
                  <a:cubicBezTo>
                    <a:pt x="526" y="450"/>
                    <a:pt x="535" y="458"/>
                    <a:pt x="545" y="458"/>
                  </a:cubicBezTo>
                  <a:cubicBezTo>
                    <a:pt x="559" y="458"/>
                    <a:pt x="580" y="448"/>
                    <a:pt x="580" y="438"/>
                  </a:cubicBezTo>
                  <a:cubicBezTo>
                    <a:pt x="580" y="433"/>
                    <a:pt x="576" y="428"/>
                    <a:pt x="570" y="421"/>
                  </a:cubicBezTo>
                  <a:cubicBezTo>
                    <a:pt x="411" y="245"/>
                    <a:pt x="411" y="245"/>
                    <a:pt x="411" y="245"/>
                  </a:cubicBezTo>
                  <a:cubicBezTo>
                    <a:pt x="403" y="236"/>
                    <a:pt x="399" y="232"/>
                    <a:pt x="399" y="229"/>
                  </a:cubicBezTo>
                  <a:cubicBezTo>
                    <a:pt x="399" y="226"/>
                    <a:pt x="403" y="222"/>
                    <a:pt x="411" y="213"/>
                  </a:cubicBezTo>
                  <a:moveTo>
                    <a:pt x="252" y="439"/>
                  </a:moveTo>
                  <a:cubicBezTo>
                    <a:pt x="252" y="449"/>
                    <a:pt x="261" y="454"/>
                    <a:pt x="281" y="454"/>
                  </a:cubicBezTo>
                  <a:cubicBezTo>
                    <a:pt x="300" y="454"/>
                    <a:pt x="309" y="449"/>
                    <a:pt x="309" y="439"/>
                  </a:cubicBezTo>
                  <a:cubicBezTo>
                    <a:pt x="309" y="19"/>
                    <a:pt x="309" y="19"/>
                    <a:pt x="309" y="19"/>
                  </a:cubicBezTo>
                  <a:cubicBezTo>
                    <a:pt x="309" y="9"/>
                    <a:pt x="300" y="4"/>
                    <a:pt x="281" y="4"/>
                  </a:cubicBezTo>
                  <a:cubicBezTo>
                    <a:pt x="261" y="4"/>
                    <a:pt x="252" y="9"/>
                    <a:pt x="252" y="19"/>
                  </a:cubicBezTo>
                  <a:lnTo>
                    <a:pt x="252" y="439"/>
                  </a:lnTo>
                  <a:close/>
                  <a:moveTo>
                    <a:pt x="0" y="439"/>
                  </a:moveTo>
                  <a:cubicBezTo>
                    <a:pt x="0" y="449"/>
                    <a:pt x="8" y="454"/>
                    <a:pt x="28" y="454"/>
                  </a:cubicBezTo>
                  <a:cubicBezTo>
                    <a:pt x="48" y="454"/>
                    <a:pt x="56" y="449"/>
                    <a:pt x="56" y="439"/>
                  </a:cubicBezTo>
                  <a:cubicBezTo>
                    <a:pt x="56" y="157"/>
                    <a:pt x="56" y="157"/>
                    <a:pt x="56" y="157"/>
                  </a:cubicBezTo>
                  <a:cubicBezTo>
                    <a:pt x="56" y="83"/>
                    <a:pt x="85" y="53"/>
                    <a:pt x="165" y="53"/>
                  </a:cubicBezTo>
                  <a:cubicBezTo>
                    <a:pt x="180" y="53"/>
                    <a:pt x="180" y="53"/>
                    <a:pt x="180" y="53"/>
                  </a:cubicBezTo>
                  <a:cubicBezTo>
                    <a:pt x="192" y="53"/>
                    <a:pt x="196" y="43"/>
                    <a:pt x="196" y="27"/>
                  </a:cubicBezTo>
                  <a:cubicBezTo>
                    <a:pt x="196" y="8"/>
                    <a:pt x="185" y="4"/>
                    <a:pt x="154" y="4"/>
                  </a:cubicBezTo>
                  <a:cubicBezTo>
                    <a:pt x="64" y="4"/>
                    <a:pt x="0" y="43"/>
                    <a:pt x="0" y="152"/>
                  </a:cubicBezTo>
                  <a:lnTo>
                    <a:pt x="0" y="43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0" dirty="0"/>
            </a:p>
          </p:txBody>
        </p:sp>
        <p:sp>
          <p:nvSpPr>
            <p:cNvPr id="14" name="Freeform 7">
              <a:extLst>
                <a:ext uri="{FF2B5EF4-FFF2-40B4-BE49-F238E27FC236}">
                  <a16:creationId xmlns:a16="http://schemas.microsoft.com/office/drawing/2014/main" id="{2F32DCBD-8628-F245-85CD-97686A20ECFD}"/>
                </a:ext>
              </a:extLst>
            </p:cNvPr>
            <p:cNvSpPr>
              <a:spLocks/>
            </p:cNvSpPr>
            <p:nvPr/>
          </p:nvSpPr>
          <p:spPr bwMode="gray">
            <a:xfrm>
              <a:off x="2880" y="1704"/>
              <a:ext cx="618" cy="916"/>
            </a:xfrm>
            <a:custGeom>
              <a:avLst/>
              <a:gdLst>
                <a:gd name="T0" fmla="*/ 307 w 307"/>
                <a:gd name="T1" fmla="*/ 405 h 455"/>
                <a:gd name="T2" fmla="*/ 307 w 307"/>
                <a:gd name="T3" fmla="*/ 244 h 455"/>
                <a:gd name="T4" fmla="*/ 279 w 307"/>
                <a:gd name="T5" fmla="*/ 229 h 455"/>
                <a:gd name="T6" fmla="*/ 250 w 307"/>
                <a:gd name="T7" fmla="*/ 244 h 455"/>
                <a:gd name="T8" fmla="*/ 250 w 307"/>
                <a:gd name="T9" fmla="*/ 378 h 455"/>
                <a:gd name="T10" fmla="*/ 199 w 307"/>
                <a:gd name="T11" fmla="*/ 408 h 455"/>
                <a:gd name="T12" fmla="*/ 61 w 307"/>
                <a:gd name="T13" fmla="*/ 231 h 455"/>
                <a:gd name="T14" fmla="*/ 238 w 307"/>
                <a:gd name="T15" fmla="*/ 49 h 455"/>
                <a:gd name="T16" fmla="*/ 270 w 307"/>
                <a:gd name="T17" fmla="*/ 49 h 455"/>
                <a:gd name="T18" fmla="*/ 286 w 307"/>
                <a:gd name="T19" fmla="*/ 23 h 455"/>
                <a:gd name="T20" fmla="*/ 244 w 307"/>
                <a:gd name="T21" fmla="*/ 0 h 455"/>
                <a:gd name="T22" fmla="*/ 231 w 307"/>
                <a:gd name="T23" fmla="*/ 0 h 455"/>
                <a:gd name="T24" fmla="*/ 0 w 307"/>
                <a:gd name="T25" fmla="*/ 232 h 455"/>
                <a:gd name="T26" fmla="*/ 198 w 307"/>
                <a:gd name="T27" fmla="*/ 455 h 455"/>
                <a:gd name="T28" fmla="*/ 307 w 307"/>
                <a:gd name="T29" fmla="*/ 405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7" h="455">
                  <a:moveTo>
                    <a:pt x="307" y="405"/>
                  </a:moveTo>
                  <a:cubicBezTo>
                    <a:pt x="307" y="244"/>
                    <a:pt x="307" y="244"/>
                    <a:pt x="307" y="244"/>
                  </a:cubicBezTo>
                  <a:cubicBezTo>
                    <a:pt x="307" y="234"/>
                    <a:pt x="298" y="229"/>
                    <a:pt x="279" y="229"/>
                  </a:cubicBezTo>
                  <a:cubicBezTo>
                    <a:pt x="259" y="229"/>
                    <a:pt x="250" y="234"/>
                    <a:pt x="250" y="244"/>
                  </a:cubicBezTo>
                  <a:cubicBezTo>
                    <a:pt x="250" y="378"/>
                    <a:pt x="250" y="378"/>
                    <a:pt x="250" y="378"/>
                  </a:cubicBezTo>
                  <a:cubicBezTo>
                    <a:pt x="250" y="399"/>
                    <a:pt x="241" y="408"/>
                    <a:pt x="199" y="408"/>
                  </a:cubicBezTo>
                  <a:cubicBezTo>
                    <a:pt x="114" y="408"/>
                    <a:pt x="61" y="342"/>
                    <a:pt x="61" y="231"/>
                  </a:cubicBezTo>
                  <a:cubicBezTo>
                    <a:pt x="61" y="115"/>
                    <a:pt x="126" y="49"/>
                    <a:pt x="238" y="49"/>
                  </a:cubicBezTo>
                  <a:cubicBezTo>
                    <a:pt x="270" y="49"/>
                    <a:pt x="270" y="49"/>
                    <a:pt x="270" y="49"/>
                  </a:cubicBezTo>
                  <a:cubicBezTo>
                    <a:pt x="282" y="49"/>
                    <a:pt x="286" y="39"/>
                    <a:pt x="286" y="23"/>
                  </a:cubicBezTo>
                  <a:cubicBezTo>
                    <a:pt x="286" y="4"/>
                    <a:pt x="275" y="0"/>
                    <a:pt x="244" y="0"/>
                  </a:cubicBezTo>
                  <a:cubicBezTo>
                    <a:pt x="231" y="0"/>
                    <a:pt x="231" y="0"/>
                    <a:pt x="231" y="0"/>
                  </a:cubicBezTo>
                  <a:cubicBezTo>
                    <a:pt x="101" y="0"/>
                    <a:pt x="0" y="71"/>
                    <a:pt x="0" y="232"/>
                  </a:cubicBezTo>
                  <a:cubicBezTo>
                    <a:pt x="0" y="386"/>
                    <a:pt x="88" y="455"/>
                    <a:pt x="198" y="455"/>
                  </a:cubicBezTo>
                  <a:cubicBezTo>
                    <a:pt x="286" y="455"/>
                    <a:pt x="307" y="430"/>
                    <a:pt x="307" y="40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0" dirty="0"/>
            </a:p>
          </p:txBody>
        </p:sp>
        <p:sp>
          <p:nvSpPr>
            <p:cNvPr id="15" name="Oval 8">
              <a:extLst>
                <a:ext uri="{FF2B5EF4-FFF2-40B4-BE49-F238E27FC236}">
                  <a16:creationId xmlns:a16="http://schemas.microsoft.com/office/drawing/2014/main" id="{60D97C11-1A3B-5449-A48D-98A3E79B3810}"/>
                </a:ext>
              </a:extLst>
            </p:cNvPr>
            <p:cNvSpPr>
              <a:spLocks noChangeArrowheads="1"/>
            </p:cNvSpPr>
            <p:nvPr/>
          </p:nvSpPr>
          <p:spPr bwMode="gray">
            <a:xfrm>
              <a:off x="3778" y="2099"/>
              <a:ext cx="122" cy="12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0" dirty="0"/>
            </a:p>
          </p:txBody>
        </p:sp>
        <p:sp>
          <p:nvSpPr>
            <p:cNvPr id="16" name="Freeform 9">
              <a:extLst>
                <a:ext uri="{FF2B5EF4-FFF2-40B4-BE49-F238E27FC236}">
                  <a16:creationId xmlns:a16="http://schemas.microsoft.com/office/drawing/2014/main" id="{5856770D-B8F0-244E-A05D-AED190086F10}"/>
                </a:ext>
              </a:extLst>
            </p:cNvPr>
            <p:cNvSpPr>
              <a:spLocks noEditPoints="1"/>
            </p:cNvSpPr>
            <p:nvPr/>
          </p:nvSpPr>
          <p:spPr bwMode="gray">
            <a:xfrm>
              <a:off x="3623" y="1696"/>
              <a:ext cx="1167" cy="922"/>
            </a:xfrm>
            <a:custGeom>
              <a:avLst/>
              <a:gdLst>
                <a:gd name="T0" fmla="*/ 411 w 580"/>
                <a:gd name="T1" fmla="*/ 213 h 458"/>
                <a:gd name="T2" fmla="*/ 570 w 580"/>
                <a:gd name="T3" fmla="*/ 37 h 458"/>
                <a:gd name="T4" fmla="*/ 580 w 580"/>
                <a:gd name="T5" fmla="*/ 20 h 458"/>
                <a:gd name="T6" fmla="*/ 545 w 580"/>
                <a:gd name="T7" fmla="*/ 0 h 458"/>
                <a:gd name="T8" fmla="*/ 519 w 580"/>
                <a:gd name="T9" fmla="*/ 16 h 458"/>
                <a:gd name="T10" fmla="*/ 344 w 580"/>
                <a:gd name="T11" fmla="*/ 210 h 458"/>
                <a:gd name="T12" fmla="*/ 334 w 580"/>
                <a:gd name="T13" fmla="*/ 229 h 458"/>
                <a:gd name="T14" fmla="*/ 344 w 580"/>
                <a:gd name="T15" fmla="*/ 248 h 458"/>
                <a:gd name="T16" fmla="*/ 519 w 580"/>
                <a:gd name="T17" fmla="*/ 442 h 458"/>
                <a:gd name="T18" fmla="*/ 545 w 580"/>
                <a:gd name="T19" fmla="*/ 458 h 458"/>
                <a:gd name="T20" fmla="*/ 580 w 580"/>
                <a:gd name="T21" fmla="*/ 438 h 458"/>
                <a:gd name="T22" fmla="*/ 570 w 580"/>
                <a:gd name="T23" fmla="*/ 421 h 458"/>
                <a:gd name="T24" fmla="*/ 411 w 580"/>
                <a:gd name="T25" fmla="*/ 245 h 458"/>
                <a:gd name="T26" fmla="*/ 399 w 580"/>
                <a:gd name="T27" fmla="*/ 229 h 458"/>
                <a:gd name="T28" fmla="*/ 411 w 580"/>
                <a:gd name="T29" fmla="*/ 213 h 458"/>
                <a:gd name="T30" fmla="*/ 252 w 580"/>
                <a:gd name="T31" fmla="*/ 439 h 458"/>
                <a:gd name="T32" fmla="*/ 281 w 580"/>
                <a:gd name="T33" fmla="*/ 454 h 458"/>
                <a:gd name="T34" fmla="*/ 309 w 580"/>
                <a:gd name="T35" fmla="*/ 439 h 458"/>
                <a:gd name="T36" fmla="*/ 309 w 580"/>
                <a:gd name="T37" fmla="*/ 19 h 458"/>
                <a:gd name="T38" fmla="*/ 281 w 580"/>
                <a:gd name="T39" fmla="*/ 4 h 458"/>
                <a:gd name="T40" fmla="*/ 252 w 580"/>
                <a:gd name="T41" fmla="*/ 19 h 458"/>
                <a:gd name="T42" fmla="*/ 252 w 580"/>
                <a:gd name="T43" fmla="*/ 439 h 458"/>
                <a:gd name="T44" fmla="*/ 0 w 580"/>
                <a:gd name="T45" fmla="*/ 439 h 458"/>
                <a:gd name="T46" fmla="*/ 28 w 580"/>
                <a:gd name="T47" fmla="*/ 454 h 458"/>
                <a:gd name="T48" fmla="*/ 56 w 580"/>
                <a:gd name="T49" fmla="*/ 439 h 458"/>
                <a:gd name="T50" fmla="*/ 56 w 580"/>
                <a:gd name="T51" fmla="*/ 157 h 458"/>
                <a:gd name="T52" fmla="*/ 165 w 580"/>
                <a:gd name="T53" fmla="*/ 53 h 458"/>
                <a:gd name="T54" fmla="*/ 180 w 580"/>
                <a:gd name="T55" fmla="*/ 53 h 458"/>
                <a:gd name="T56" fmla="*/ 196 w 580"/>
                <a:gd name="T57" fmla="*/ 27 h 458"/>
                <a:gd name="T58" fmla="*/ 154 w 580"/>
                <a:gd name="T59" fmla="*/ 4 h 458"/>
                <a:gd name="T60" fmla="*/ 0 w 580"/>
                <a:gd name="T61" fmla="*/ 152 h 458"/>
                <a:gd name="T62" fmla="*/ 0 w 580"/>
                <a:gd name="T63" fmla="*/ 439 h 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80" h="458">
                  <a:moveTo>
                    <a:pt x="411" y="213"/>
                  </a:moveTo>
                  <a:cubicBezTo>
                    <a:pt x="570" y="37"/>
                    <a:pt x="570" y="37"/>
                    <a:pt x="570" y="37"/>
                  </a:cubicBezTo>
                  <a:cubicBezTo>
                    <a:pt x="576" y="30"/>
                    <a:pt x="580" y="25"/>
                    <a:pt x="580" y="20"/>
                  </a:cubicBezTo>
                  <a:cubicBezTo>
                    <a:pt x="580" y="10"/>
                    <a:pt x="559" y="0"/>
                    <a:pt x="545" y="0"/>
                  </a:cubicBezTo>
                  <a:cubicBezTo>
                    <a:pt x="535" y="0"/>
                    <a:pt x="526" y="8"/>
                    <a:pt x="519" y="16"/>
                  </a:cubicBezTo>
                  <a:cubicBezTo>
                    <a:pt x="344" y="210"/>
                    <a:pt x="344" y="210"/>
                    <a:pt x="344" y="210"/>
                  </a:cubicBezTo>
                  <a:cubicBezTo>
                    <a:pt x="336" y="219"/>
                    <a:pt x="334" y="224"/>
                    <a:pt x="334" y="229"/>
                  </a:cubicBezTo>
                  <a:cubicBezTo>
                    <a:pt x="334" y="234"/>
                    <a:pt x="336" y="239"/>
                    <a:pt x="344" y="248"/>
                  </a:cubicBezTo>
                  <a:cubicBezTo>
                    <a:pt x="519" y="442"/>
                    <a:pt x="519" y="442"/>
                    <a:pt x="519" y="442"/>
                  </a:cubicBezTo>
                  <a:cubicBezTo>
                    <a:pt x="526" y="450"/>
                    <a:pt x="535" y="458"/>
                    <a:pt x="545" y="458"/>
                  </a:cubicBezTo>
                  <a:cubicBezTo>
                    <a:pt x="559" y="458"/>
                    <a:pt x="580" y="448"/>
                    <a:pt x="580" y="438"/>
                  </a:cubicBezTo>
                  <a:cubicBezTo>
                    <a:pt x="580" y="433"/>
                    <a:pt x="576" y="428"/>
                    <a:pt x="570" y="421"/>
                  </a:cubicBezTo>
                  <a:cubicBezTo>
                    <a:pt x="411" y="245"/>
                    <a:pt x="411" y="245"/>
                    <a:pt x="411" y="245"/>
                  </a:cubicBezTo>
                  <a:cubicBezTo>
                    <a:pt x="403" y="236"/>
                    <a:pt x="399" y="232"/>
                    <a:pt x="399" y="229"/>
                  </a:cubicBezTo>
                  <a:cubicBezTo>
                    <a:pt x="399" y="226"/>
                    <a:pt x="403" y="222"/>
                    <a:pt x="411" y="213"/>
                  </a:cubicBezTo>
                  <a:moveTo>
                    <a:pt x="252" y="439"/>
                  </a:moveTo>
                  <a:cubicBezTo>
                    <a:pt x="252" y="449"/>
                    <a:pt x="261" y="454"/>
                    <a:pt x="281" y="454"/>
                  </a:cubicBezTo>
                  <a:cubicBezTo>
                    <a:pt x="300" y="454"/>
                    <a:pt x="309" y="449"/>
                    <a:pt x="309" y="439"/>
                  </a:cubicBezTo>
                  <a:cubicBezTo>
                    <a:pt x="309" y="19"/>
                    <a:pt x="309" y="19"/>
                    <a:pt x="309" y="19"/>
                  </a:cubicBezTo>
                  <a:cubicBezTo>
                    <a:pt x="309" y="9"/>
                    <a:pt x="300" y="4"/>
                    <a:pt x="281" y="4"/>
                  </a:cubicBezTo>
                  <a:cubicBezTo>
                    <a:pt x="261" y="4"/>
                    <a:pt x="252" y="9"/>
                    <a:pt x="252" y="19"/>
                  </a:cubicBezTo>
                  <a:lnTo>
                    <a:pt x="252" y="439"/>
                  </a:lnTo>
                  <a:close/>
                  <a:moveTo>
                    <a:pt x="0" y="439"/>
                  </a:moveTo>
                  <a:cubicBezTo>
                    <a:pt x="0" y="449"/>
                    <a:pt x="8" y="454"/>
                    <a:pt x="28" y="454"/>
                  </a:cubicBezTo>
                  <a:cubicBezTo>
                    <a:pt x="48" y="454"/>
                    <a:pt x="56" y="449"/>
                    <a:pt x="56" y="439"/>
                  </a:cubicBezTo>
                  <a:cubicBezTo>
                    <a:pt x="56" y="157"/>
                    <a:pt x="56" y="157"/>
                    <a:pt x="56" y="157"/>
                  </a:cubicBezTo>
                  <a:cubicBezTo>
                    <a:pt x="56" y="83"/>
                    <a:pt x="85" y="53"/>
                    <a:pt x="165" y="53"/>
                  </a:cubicBezTo>
                  <a:cubicBezTo>
                    <a:pt x="180" y="53"/>
                    <a:pt x="180" y="53"/>
                    <a:pt x="180" y="53"/>
                  </a:cubicBezTo>
                  <a:cubicBezTo>
                    <a:pt x="192" y="53"/>
                    <a:pt x="196" y="43"/>
                    <a:pt x="196" y="27"/>
                  </a:cubicBezTo>
                  <a:cubicBezTo>
                    <a:pt x="196" y="8"/>
                    <a:pt x="185" y="4"/>
                    <a:pt x="154" y="4"/>
                  </a:cubicBezTo>
                  <a:cubicBezTo>
                    <a:pt x="64" y="4"/>
                    <a:pt x="0" y="43"/>
                    <a:pt x="0" y="152"/>
                  </a:cubicBezTo>
                  <a:lnTo>
                    <a:pt x="0" y="43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0" dirty="0"/>
            </a:p>
          </p:txBody>
        </p:sp>
        <p:sp>
          <p:nvSpPr>
            <p:cNvPr id="17" name="Freeform 10">
              <a:extLst>
                <a:ext uri="{FF2B5EF4-FFF2-40B4-BE49-F238E27FC236}">
                  <a16:creationId xmlns:a16="http://schemas.microsoft.com/office/drawing/2014/main" id="{2B91B16B-BC11-E547-8FAC-B9B8D18EA449}"/>
                </a:ext>
              </a:extLst>
            </p:cNvPr>
            <p:cNvSpPr>
              <a:spLocks/>
            </p:cNvSpPr>
            <p:nvPr/>
          </p:nvSpPr>
          <p:spPr bwMode="gray">
            <a:xfrm>
              <a:off x="2880" y="1704"/>
              <a:ext cx="618" cy="916"/>
            </a:xfrm>
            <a:custGeom>
              <a:avLst/>
              <a:gdLst>
                <a:gd name="T0" fmla="*/ 307 w 307"/>
                <a:gd name="T1" fmla="*/ 405 h 455"/>
                <a:gd name="T2" fmla="*/ 307 w 307"/>
                <a:gd name="T3" fmla="*/ 244 h 455"/>
                <a:gd name="T4" fmla="*/ 279 w 307"/>
                <a:gd name="T5" fmla="*/ 229 h 455"/>
                <a:gd name="T6" fmla="*/ 250 w 307"/>
                <a:gd name="T7" fmla="*/ 244 h 455"/>
                <a:gd name="T8" fmla="*/ 250 w 307"/>
                <a:gd name="T9" fmla="*/ 378 h 455"/>
                <a:gd name="T10" fmla="*/ 199 w 307"/>
                <a:gd name="T11" fmla="*/ 408 h 455"/>
                <a:gd name="T12" fmla="*/ 61 w 307"/>
                <a:gd name="T13" fmla="*/ 231 h 455"/>
                <a:gd name="T14" fmla="*/ 238 w 307"/>
                <a:gd name="T15" fmla="*/ 49 h 455"/>
                <a:gd name="T16" fmla="*/ 270 w 307"/>
                <a:gd name="T17" fmla="*/ 49 h 455"/>
                <a:gd name="T18" fmla="*/ 286 w 307"/>
                <a:gd name="T19" fmla="*/ 23 h 455"/>
                <a:gd name="T20" fmla="*/ 244 w 307"/>
                <a:gd name="T21" fmla="*/ 0 h 455"/>
                <a:gd name="T22" fmla="*/ 231 w 307"/>
                <a:gd name="T23" fmla="*/ 0 h 455"/>
                <a:gd name="T24" fmla="*/ 0 w 307"/>
                <a:gd name="T25" fmla="*/ 232 h 455"/>
                <a:gd name="T26" fmla="*/ 198 w 307"/>
                <a:gd name="T27" fmla="*/ 455 h 455"/>
                <a:gd name="T28" fmla="*/ 307 w 307"/>
                <a:gd name="T29" fmla="*/ 405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7" h="455">
                  <a:moveTo>
                    <a:pt x="307" y="405"/>
                  </a:moveTo>
                  <a:cubicBezTo>
                    <a:pt x="307" y="244"/>
                    <a:pt x="307" y="244"/>
                    <a:pt x="307" y="244"/>
                  </a:cubicBezTo>
                  <a:cubicBezTo>
                    <a:pt x="307" y="234"/>
                    <a:pt x="298" y="229"/>
                    <a:pt x="279" y="229"/>
                  </a:cubicBezTo>
                  <a:cubicBezTo>
                    <a:pt x="259" y="229"/>
                    <a:pt x="250" y="234"/>
                    <a:pt x="250" y="244"/>
                  </a:cubicBezTo>
                  <a:cubicBezTo>
                    <a:pt x="250" y="378"/>
                    <a:pt x="250" y="378"/>
                    <a:pt x="250" y="378"/>
                  </a:cubicBezTo>
                  <a:cubicBezTo>
                    <a:pt x="250" y="399"/>
                    <a:pt x="241" y="408"/>
                    <a:pt x="199" y="408"/>
                  </a:cubicBezTo>
                  <a:cubicBezTo>
                    <a:pt x="114" y="408"/>
                    <a:pt x="61" y="342"/>
                    <a:pt x="61" y="231"/>
                  </a:cubicBezTo>
                  <a:cubicBezTo>
                    <a:pt x="61" y="115"/>
                    <a:pt x="126" y="49"/>
                    <a:pt x="238" y="49"/>
                  </a:cubicBezTo>
                  <a:cubicBezTo>
                    <a:pt x="270" y="49"/>
                    <a:pt x="270" y="49"/>
                    <a:pt x="270" y="49"/>
                  </a:cubicBezTo>
                  <a:cubicBezTo>
                    <a:pt x="282" y="49"/>
                    <a:pt x="286" y="39"/>
                    <a:pt x="286" y="23"/>
                  </a:cubicBezTo>
                  <a:cubicBezTo>
                    <a:pt x="286" y="4"/>
                    <a:pt x="275" y="0"/>
                    <a:pt x="244" y="0"/>
                  </a:cubicBezTo>
                  <a:cubicBezTo>
                    <a:pt x="231" y="0"/>
                    <a:pt x="231" y="0"/>
                    <a:pt x="231" y="0"/>
                  </a:cubicBezTo>
                  <a:cubicBezTo>
                    <a:pt x="101" y="0"/>
                    <a:pt x="0" y="71"/>
                    <a:pt x="0" y="232"/>
                  </a:cubicBezTo>
                  <a:cubicBezTo>
                    <a:pt x="0" y="386"/>
                    <a:pt x="88" y="455"/>
                    <a:pt x="198" y="455"/>
                  </a:cubicBezTo>
                  <a:cubicBezTo>
                    <a:pt x="286" y="455"/>
                    <a:pt x="307" y="430"/>
                    <a:pt x="307" y="40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0" dirty="0"/>
            </a:p>
          </p:txBody>
        </p:sp>
        <p:sp>
          <p:nvSpPr>
            <p:cNvPr id="18" name="Oval 11">
              <a:extLst>
                <a:ext uri="{FF2B5EF4-FFF2-40B4-BE49-F238E27FC236}">
                  <a16:creationId xmlns:a16="http://schemas.microsoft.com/office/drawing/2014/main" id="{14F8C3C8-4888-7646-B9B4-64EB46A1DA23}"/>
                </a:ext>
              </a:extLst>
            </p:cNvPr>
            <p:cNvSpPr>
              <a:spLocks noChangeArrowheads="1"/>
            </p:cNvSpPr>
            <p:nvPr/>
          </p:nvSpPr>
          <p:spPr bwMode="gray">
            <a:xfrm>
              <a:off x="3778" y="2099"/>
              <a:ext cx="122" cy="12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0" dirty="0"/>
            </a:p>
          </p:txBody>
        </p:sp>
        <p:sp>
          <p:nvSpPr>
            <p:cNvPr id="19" name="Freeform 12">
              <a:extLst>
                <a:ext uri="{FF2B5EF4-FFF2-40B4-BE49-F238E27FC236}">
                  <a16:creationId xmlns:a16="http://schemas.microsoft.com/office/drawing/2014/main" id="{D79D01D1-4E3E-F34B-97D7-2D387E68746E}"/>
                </a:ext>
              </a:extLst>
            </p:cNvPr>
            <p:cNvSpPr>
              <a:spLocks/>
            </p:cNvSpPr>
            <p:nvPr/>
          </p:nvSpPr>
          <p:spPr bwMode="gray">
            <a:xfrm>
              <a:off x="4321" y="1029"/>
              <a:ext cx="648" cy="649"/>
            </a:xfrm>
            <a:custGeom>
              <a:avLst/>
              <a:gdLst>
                <a:gd name="T0" fmla="*/ 0 w 648"/>
                <a:gd name="T1" fmla="*/ 649 h 649"/>
                <a:gd name="T2" fmla="*/ 2 w 648"/>
                <a:gd name="T3" fmla="*/ 649 h 649"/>
                <a:gd name="T4" fmla="*/ 648 w 648"/>
                <a:gd name="T5" fmla="*/ 0 h 649"/>
                <a:gd name="T6" fmla="*/ 423 w 648"/>
                <a:gd name="T7" fmla="*/ 0 h 649"/>
                <a:gd name="T8" fmla="*/ 0 w 648"/>
                <a:gd name="T9" fmla="*/ 649 h 649"/>
              </a:gdLst>
              <a:ahLst/>
              <a:cxnLst>
                <a:cxn ang="0">
                  <a:pos x="T0" y="T1"/>
                </a:cxn>
                <a:cxn ang="0">
                  <a:pos x="T2" y="T3"/>
                </a:cxn>
                <a:cxn ang="0">
                  <a:pos x="T4" y="T5"/>
                </a:cxn>
                <a:cxn ang="0">
                  <a:pos x="T6" y="T7"/>
                </a:cxn>
                <a:cxn ang="0">
                  <a:pos x="T8" y="T9"/>
                </a:cxn>
              </a:cxnLst>
              <a:rect l="0" t="0" r="r" b="b"/>
              <a:pathLst>
                <a:path w="648" h="649">
                  <a:moveTo>
                    <a:pt x="0" y="649"/>
                  </a:moveTo>
                  <a:lnTo>
                    <a:pt x="2" y="649"/>
                  </a:lnTo>
                  <a:lnTo>
                    <a:pt x="648" y="0"/>
                  </a:lnTo>
                  <a:lnTo>
                    <a:pt x="423" y="0"/>
                  </a:lnTo>
                  <a:lnTo>
                    <a:pt x="0" y="64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0" dirty="0"/>
            </a:p>
          </p:txBody>
        </p:sp>
        <p:sp>
          <p:nvSpPr>
            <p:cNvPr id="20" name="Freeform 13">
              <a:extLst>
                <a:ext uri="{FF2B5EF4-FFF2-40B4-BE49-F238E27FC236}">
                  <a16:creationId xmlns:a16="http://schemas.microsoft.com/office/drawing/2014/main" id="{46549898-6C52-B147-A8F6-A73FDBE6163B}"/>
                </a:ext>
              </a:extLst>
            </p:cNvPr>
            <p:cNvSpPr>
              <a:spLocks/>
            </p:cNvSpPr>
            <p:nvPr/>
          </p:nvSpPr>
          <p:spPr bwMode="gray">
            <a:xfrm>
              <a:off x="4321" y="1029"/>
              <a:ext cx="648" cy="649"/>
            </a:xfrm>
            <a:custGeom>
              <a:avLst/>
              <a:gdLst>
                <a:gd name="T0" fmla="*/ 0 w 648"/>
                <a:gd name="T1" fmla="*/ 649 h 649"/>
                <a:gd name="T2" fmla="*/ 2 w 648"/>
                <a:gd name="T3" fmla="*/ 649 h 649"/>
                <a:gd name="T4" fmla="*/ 648 w 648"/>
                <a:gd name="T5" fmla="*/ 0 h 649"/>
                <a:gd name="T6" fmla="*/ 423 w 648"/>
                <a:gd name="T7" fmla="*/ 0 h 649"/>
                <a:gd name="T8" fmla="*/ 0 w 648"/>
                <a:gd name="T9" fmla="*/ 649 h 649"/>
              </a:gdLst>
              <a:ahLst/>
              <a:cxnLst>
                <a:cxn ang="0">
                  <a:pos x="T0" y="T1"/>
                </a:cxn>
                <a:cxn ang="0">
                  <a:pos x="T2" y="T3"/>
                </a:cxn>
                <a:cxn ang="0">
                  <a:pos x="T4" y="T5"/>
                </a:cxn>
                <a:cxn ang="0">
                  <a:pos x="T6" y="T7"/>
                </a:cxn>
                <a:cxn ang="0">
                  <a:pos x="T8" y="T9"/>
                </a:cxn>
              </a:cxnLst>
              <a:rect l="0" t="0" r="r" b="b"/>
              <a:pathLst>
                <a:path w="648" h="649">
                  <a:moveTo>
                    <a:pt x="0" y="649"/>
                  </a:moveTo>
                  <a:lnTo>
                    <a:pt x="2" y="649"/>
                  </a:lnTo>
                  <a:lnTo>
                    <a:pt x="648" y="0"/>
                  </a:lnTo>
                  <a:lnTo>
                    <a:pt x="423" y="0"/>
                  </a:lnTo>
                  <a:lnTo>
                    <a:pt x="0" y="64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0" dirty="0"/>
            </a:p>
          </p:txBody>
        </p:sp>
      </p:grpSp>
    </p:spTree>
    <p:extLst>
      <p:ext uri="{BB962C8B-B14F-4D97-AF65-F5344CB8AC3E}">
        <p14:creationId xmlns:p14="http://schemas.microsoft.com/office/powerpoint/2010/main" val="19147172"/>
      </p:ext>
    </p:extLst>
  </p:cSld>
  <p:clrMapOvr>
    <a:masterClrMapping/>
  </p:clrMapOvr>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p:cSld name="Headline only">
    <p:spTree>
      <p:nvGrpSpPr>
        <p:cNvPr id="1" name=""/>
        <p:cNvGrpSpPr/>
        <p:nvPr/>
      </p:nvGrpSpPr>
      <p:grpSpPr>
        <a:xfrm>
          <a:off x="0" y="0"/>
          <a:ext cx="0" cy="0"/>
          <a:chOff x="0" y="0"/>
          <a:chExt cx="0" cy="0"/>
        </a:xfrm>
      </p:grpSpPr>
      <p:sp>
        <p:nvSpPr>
          <p:cNvPr id="21" name="Date Placeholder 20"/>
          <p:cNvSpPr>
            <a:spLocks noGrp="1"/>
          </p:cNvSpPr>
          <p:nvPr>
            <p:ph type="dt" sz="half" idx="14"/>
          </p:nvPr>
        </p:nvSpPr>
        <p:spPr>
          <a:xfrm>
            <a:off x="192088" y="6461673"/>
            <a:ext cx="761512" cy="133789"/>
          </a:xfrm>
          <a:prstGeom prst="rect">
            <a:avLst/>
          </a:prstGeom>
        </p:spPr>
        <p:txBody>
          <a:bodyPr/>
          <a:lstStyle/>
          <a:p>
            <a:fld id="{7DCAAD07-09FD-49C1-9253-3DC58F499B21}" type="datetime5">
              <a:rPr lang="en-US" smtClean="0"/>
              <a:t>26-Jun-20</a:t>
            </a:fld>
            <a:endParaRPr lang="en-US"/>
          </a:p>
        </p:txBody>
      </p:sp>
      <p:sp>
        <p:nvSpPr>
          <p:cNvPr id="22" name="Footer Placeholder 21"/>
          <p:cNvSpPr>
            <a:spLocks noGrp="1"/>
          </p:cNvSpPr>
          <p:nvPr>
            <p:ph type="ftr" sz="quarter" idx="15"/>
          </p:nvPr>
        </p:nvSpPr>
        <p:spPr>
          <a:xfrm>
            <a:off x="1076400" y="6461673"/>
            <a:ext cx="8162717" cy="133789"/>
          </a:xfrm>
          <a:prstGeom prst="rect">
            <a:avLst/>
          </a:prstGeom>
        </p:spPr>
        <p:txBody>
          <a:bodyPr/>
          <a:lstStyle>
            <a:lvl1pPr>
              <a:defRPr/>
            </a:lvl1pPr>
          </a:lstStyle>
          <a:p>
            <a:r>
              <a:rPr lang="en-US" dirty="0"/>
              <a:t>TCG Market</a:t>
            </a:r>
          </a:p>
        </p:txBody>
      </p:sp>
      <p:sp>
        <p:nvSpPr>
          <p:cNvPr id="23" name="Slide Number Placeholder 22"/>
          <p:cNvSpPr>
            <a:spLocks noGrp="1"/>
          </p:cNvSpPr>
          <p:nvPr>
            <p:ph type="sldNum" sz="quarter" idx="16"/>
          </p:nvPr>
        </p:nvSpPr>
        <p:spPr/>
        <p:txBody>
          <a:bodyPr/>
          <a:lstStyle/>
          <a:p>
            <a:fld id="{5F3E29E4-0979-4FCA-B4C5-5FC6044C982A}" type="slidenum">
              <a:rPr lang="en-US" smtClean="0"/>
              <a:t>‹#›</a:t>
            </a:fld>
            <a:endParaRPr lang="en-US"/>
          </a:p>
        </p:txBody>
      </p:sp>
      <p:sp>
        <p:nvSpPr>
          <p:cNvPr id="2" name="Title 1"/>
          <p:cNvSpPr>
            <a:spLocks noGrp="1"/>
          </p:cNvSpPr>
          <p:nvPr>
            <p:ph type="title" hasCustomPrompt="1"/>
          </p:nvPr>
        </p:nvSpPr>
        <p:spPr/>
        <p:txBody>
          <a:bodyPr/>
          <a:lstStyle>
            <a:lvl1pPr>
              <a:defRPr/>
            </a:lvl1pPr>
          </a:lstStyle>
          <a:p>
            <a:r>
              <a:rPr lang="en-US" dirty="0"/>
              <a:t>Click to add slide title</a:t>
            </a:r>
          </a:p>
        </p:txBody>
      </p:sp>
      <p:sp>
        <p:nvSpPr>
          <p:cNvPr id="7" name="Subtitle 2"/>
          <p:cNvSpPr>
            <a:spLocks noGrp="1"/>
          </p:cNvSpPr>
          <p:nvPr>
            <p:ph type="subTitle" idx="13" hasCustomPrompt="1"/>
          </p:nvPr>
        </p:nvSpPr>
        <p:spPr>
          <a:xfrm>
            <a:off x="1075062" y="964672"/>
            <a:ext cx="7910159" cy="490042"/>
          </a:xfrm>
        </p:spPr>
        <p:txBody>
          <a:bodyPr wrap="none"/>
          <a:lstStyle>
            <a:lvl1pPr marL="0" indent="0" algn="l">
              <a:spcBef>
                <a:spcPts val="0"/>
              </a:spcBef>
              <a:buNone/>
              <a:defRPr sz="2399"/>
            </a:lvl1pPr>
            <a:lvl2pPr marL="457051" indent="0" algn="ctr">
              <a:buNone/>
              <a:defRPr sz="1999"/>
            </a:lvl2pPr>
            <a:lvl3pPr marL="914103" indent="0" algn="ctr">
              <a:buNone/>
              <a:defRPr sz="1799"/>
            </a:lvl3pPr>
            <a:lvl4pPr marL="1371154" indent="0" algn="ctr">
              <a:buNone/>
              <a:defRPr sz="1599"/>
            </a:lvl4pPr>
            <a:lvl5pPr marL="1828206" indent="0" algn="ctr">
              <a:buNone/>
              <a:defRPr sz="1599"/>
            </a:lvl5pPr>
            <a:lvl6pPr marL="2285257" indent="0" algn="ctr">
              <a:buNone/>
              <a:defRPr sz="1599"/>
            </a:lvl6pPr>
            <a:lvl7pPr marL="2742308" indent="0" algn="ctr">
              <a:buNone/>
              <a:defRPr sz="1599"/>
            </a:lvl7pPr>
            <a:lvl8pPr marL="3199360" indent="0" algn="ctr">
              <a:buNone/>
              <a:defRPr sz="1599"/>
            </a:lvl8pPr>
            <a:lvl9pPr marL="3656411" indent="0" algn="ctr">
              <a:buNone/>
              <a:defRPr sz="1599"/>
            </a:lvl9pPr>
          </a:lstStyle>
          <a:p>
            <a:r>
              <a:rPr lang="en-US" dirty="0"/>
              <a:t>Click to add subtitle</a:t>
            </a:r>
          </a:p>
        </p:txBody>
      </p:sp>
      <p:sp>
        <p:nvSpPr>
          <p:cNvPr id="9" name="Text Placeholder 4"/>
          <p:cNvSpPr>
            <a:spLocks noGrp="1"/>
          </p:cNvSpPr>
          <p:nvPr>
            <p:ph type="body" sz="quarter" idx="17" hasCustomPrompt="1"/>
          </p:nvPr>
        </p:nvSpPr>
        <p:spPr>
          <a:xfrm>
            <a:off x="1075064" y="6307665"/>
            <a:ext cx="8162717" cy="133200"/>
          </a:xfrm>
        </p:spPr>
        <p:txBody>
          <a:bodyPr lIns="0" tIns="0" rIns="0" bIns="0" anchor="b" anchorCtr="0"/>
          <a:lstStyle>
            <a:lvl1pPr marL="0" indent="0" algn="l">
              <a:lnSpc>
                <a:spcPct val="100000"/>
              </a:lnSpc>
              <a:spcBef>
                <a:spcPts val="0"/>
              </a:spcBef>
              <a:buNone/>
              <a:defRPr sz="800" baseline="0"/>
            </a:lvl1pPr>
            <a:lvl2pPr marL="0" indent="0" algn="l">
              <a:lnSpc>
                <a:spcPct val="100000"/>
              </a:lnSpc>
              <a:spcBef>
                <a:spcPts val="0"/>
              </a:spcBef>
              <a:buNone/>
              <a:defRPr sz="800"/>
            </a:lvl2pPr>
            <a:lvl3pPr marL="0" indent="0" algn="l">
              <a:lnSpc>
                <a:spcPct val="100000"/>
              </a:lnSpc>
              <a:spcBef>
                <a:spcPts val="0"/>
              </a:spcBef>
              <a:buNone/>
              <a:defRPr sz="800"/>
            </a:lvl3pPr>
            <a:lvl4pPr marL="0" algn="l">
              <a:lnSpc>
                <a:spcPct val="100000"/>
              </a:lnSpc>
              <a:spcBef>
                <a:spcPts val="0"/>
              </a:spcBef>
              <a:buNone/>
              <a:defRPr sz="800"/>
            </a:lvl4pPr>
            <a:lvl5pPr marL="0" indent="0" algn="l">
              <a:lnSpc>
                <a:spcPct val="100000"/>
              </a:lnSpc>
              <a:spcBef>
                <a:spcPts val="0"/>
              </a:spcBef>
              <a:buNone/>
              <a:defRPr sz="800"/>
            </a:lvl5pPr>
          </a:lstStyle>
          <a:p>
            <a:pPr lvl="0"/>
            <a:r>
              <a:rPr lang="en-US" dirty="0"/>
              <a:t>Source line</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876017918"/>
      </p:ext>
    </p:extLst>
  </p:cSld>
  <p:clrMapOvr>
    <a:masterClrMapping/>
  </p:clrMapOvr>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p:cSld name="One content">
    <p:spTree>
      <p:nvGrpSpPr>
        <p:cNvPr id="1" name=""/>
        <p:cNvGrpSpPr/>
        <p:nvPr/>
      </p:nvGrpSpPr>
      <p:grpSpPr>
        <a:xfrm>
          <a:off x="0" y="0"/>
          <a:ext cx="0" cy="0"/>
          <a:chOff x="0" y="0"/>
          <a:chExt cx="0" cy="0"/>
        </a:xfrm>
      </p:grpSpPr>
      <p:sp>
        <p:nvSpPr>
          <p:cNvPr id="21" name="Date Placeholder 20"/>
          <p:cNvSpPr>
            <a:spLocks noGrp="1"/>
          </p:cNvSpPr>
          <p:nvPr>
            <p:ph type="dt" sz="half" idx="14"/>
          </p:nvPr>
        </p:nvSpPr>
        <p:spPr>
          <a:xfrm>
            <a:off x="192088" y="6461673"/>
            <a:ext cx="761512" cy="133789"/>
          </a:xfrm>
          <a:prstGeom prst="rect">
            <a:avLst/>
          </a:prstGeom>
        </p:spPr>
        <p:txBody>
          <a:bodyPr/>
          <a:lstStyle/>
          <a:p>
            <a:fld id="{4CC19292-71B2-4BF0-8023-C669B9188137}" type="datetime5">
              <a:rPr lang="en-US" smtClean="0"/>
              <a:t>26-Jun-20</a:t>
            </a:fld>
            <a:endParaRPr lang="en-US" dirty="0"/>
          </a:p>
        </p:txBody>
      </p:sp>
      <p:sp>
        <p:nvSpPr>
          <p:cNvPr id="22" name="Footer Placeholder 21"/>
          <p:cNvSpPr>
            <a:spLocks noGrp="1"/>
          </p:cNvSpPr>
          <p:nvPr>
            <p:ph type="ftr" sz="quarter" idx="15"/>
          </p:nvPr>
        </p:nvSpPr>
        <p:spPr>
          <a:xfrm>
            <a:off x="1076400" y="6461673"/>
            <a:ext cx="8162717" cy="133789"/>
          </a:xfrm>
          <a:prstGeom prst="rect">
            <a:avLst/>
          </a:prstGeom>
        </p:spPr>
        <p:txBody>
          <a:bodyPr/>
          <a:lstStyle>
            <a:lvl1pPr>
              <a:defRPr/>
            </a:lvl1pPr>
          </a:lstStyle>
          <a:p>
            <a:r>
              <a:rPr lang="en-US" dirty="0"/>
              <a:t>TCG Market</a:t>
            </a:r>
          </a:p>
        </p:txBody>
      </p:sp>
      <p:sp>
        <p:nvSpPr>
          <p:cNvPr id="23" name="Slide Number Placeholder 22"/>
          <p:cNvSpPr>
            <a:spLocks noGrp="1"/>
          </p:cNvSpPr>
          <p:nvPr>
            <p:ph type="sldNum" sz="quarter" idx="16"/>
          </p:nvPr>
        </p:nvSpPr>
        <p:spPr/>
        <p:txBody>
          <a:bodyPr/>
          <a:lstStyle/>
          <a:p>
            <a:fld id="{5F3E29E4-0979-4FCA-B4C5-5FC6044C982A}" type="slidenum">
              <a:rPr lang="en-US" smtClean="0"/>
              <a:t>‹#›</a:t>
            </a:fld>
            <a:endParaRPr lang="en-US"/>
          </a:p>
        </p:txBody>
      </p:sp>
      <p:sp>
        <p:nvSpPr>
          <p:cNvPr id="2" name="Title 1"/>
          <p:cNvSpPr>
            <a:spLocks noGrp="1"/>
          </p:cNvSpPr>
          <p:nvPr>
            <p:ph type="title" hasCustomPrompt="1"/>
          </p:nvPr>
        </p:nvSpPr>
        <p:spPr/>
        <p:txBody>
          <a:bodyPr/>
          <a:lstStyle>
            <a:lvl1pPr>
              <a:defRPr/>
            </a:lvl1pPr>
          </a:lstStyle>
          <a:p>
            <a:r>
              <a:rPr lang="en-US" dirty="0"/>
              <a:t>Click to add slide title</a:t>
            </a:r>
          </a:p>
        </p:txBody>
      </p:sp>
      <p:sp>
        <p:nvSpPr>
          <p:cNvPr id="7" name="Subtitle 2"/>
          <p:cNvSpPr>
            <a:spLocks noGrp="1"/>
          </p:cNvSpPr>
          <p:nvPr>
            <p:ph type="subTitle" idx="13" hasCustomPrompt="1"/>
          </p:nvPr>
        </p:nvSpPr>
        <p:spPr>
          <a:xfrm>
            <a:off x="1075062" y="964672"/>
            <a:ext cx="7910159" cy="490042"/>
          </a:xfrm>
        </p:spPr>
        <p:txBody>
          <a:bodyPr wrap="none"/>
          <a:lstStyle>
            <a:lvl1pPr marL="0" indent="0" algn="l">
              <a:spcBef>
                <a:spcPts val="0"/>
              </a:spcBef>
              <a:buNone/>
              <a:defRPr sz="2399" baseline="0"/>
            </a:lvl1pPr>
            <a:lvl2pPr marL="457051" indent="0" algn="ctr">
              <a:buNone/>
              <a:defRPr sz="1999"/>
            </a:lvl2pPr>
            <a:lvl3pPr marL="914103" indent="0" algn="ctr">
              <a:buNone/>
              <a:defRPr sz="1799"/>
            </a:lvl3pPr>
            <a:lvl4pPr marL="1371154" indent="0" algn="ctr">
              <a:buNone/>
              <a:defRPr sz="1599"/>
            </a:lvl4pPr>
            <a:lvl5pPr marL="1828206" indent="0" algn="ctr">
              <a:buNone/>
              <a:defRPr sz="1599"/>
            </a:lvl5pPr>
            <a:lvl6pPr marL="2285257" indent="0" algn="ctr">
              <a:buNone/>
              <a:defRPr sz="1599"/>
            </a:lvl6pPr>
            <a:lvl7pPr marL="2742308" indent="0" algn="ctr">
              <a:buNone/>
              <a:defRPr sz="1599"/>
            </a:lvl7pPr>
            <a:lvl8pPr marL="3199360" indent="0" algn="ctr">
              <a:buNone/>
              <a:defRPr sz="1599"/>
            </a:lvl8pPr>
            <a:lvl9pPr marL="3656411" indent="0" algn="ctr">
              <a:buNone/>
              <a:defRPr sz="1599"/>
            </a:lvl9pPr>
          </a:lstStyle>
          <a:p>
            <a:r>
              <a:rPr lang="en-US" dirty="0"/>
              <a:t>Click to add subtitle</a:t>
            </a:r>
          </a:p>
        </p:txBody>
      </p:sp>
      <p:sp>
        <p:nvSpPr>
          <p:cNvPr id="3" name="Content Placeholder 2"/>
          <p:cNvSpPr>
            <a:spLocks noGrp="1"/>
          </p:cNvSpPr>
          <p:nvPr>
            <p:ph idx="1" hasCustomPrompt="1"/>
          </p:nvPr>
        </p:nvSpPr>
        <p:spPr/>
        <p:txBody>
          <a:bodyPr/>
          <a:lstStyle>
            <a:lvl1pPr>
              <a:defRPr baseline="0"/>
            </a:lvl1pPr>
          </a:lstStyle>
          <a:p>
            <a:pPr lvl="0"/>
            <a:r>
              <a:rPr lang="en-US" dirty="0"/>
              <a:t>Click to add text or conten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p:cNvSpPr>
            <a:spLocks noGrp="1"/>
          </p:cNvSpPr>
          <p:nvPr>
            <p:ph type="body" sz="quarter" idx="17" hasCustomPrompt="1"/>
          </p:nvPr>
        </p:nvSpPr>
        <p:spPr>
          <a:xfrm>
            <a:off x="1075064" y="6307665"/>
            <a:ext cx="8162717" cy="133200"/>
          </a:xfrm>
        </p:spPr>
        <p:txBody>
          <a:bodyPr lIns="0" tIns="0" rIns="0" bIns="0" anchor="b" anchorCtr="0"/>
          <a:lstStyle>
            <a:lvl1pPr marL="0" indent="0" algn="l">
              <a:lnSpc>
                <a:spcPct val="100000"/>
              </a:lnSpc>
              <a:spcBef>
                <a:spcPts val="0"/>
              </a:spcBef>
              <a:buNone/>
              <a:defRPr sz="800" baseline="0"/>
            </a:lvl1pPr>
            <a:lvl2pPr marL="0" indent="0" algn="l">
              <a:lnSpc>
                <a:spcPct val="100000"/>
              </a:lnSpc>
              <a:spcBef>
                <a:spcPts val="0"/>
              </a:spcBef>
              <a:buNone/>
              <a:defRPr sz="800"/>
            </a:lvl2pPr>
            <a:lvl3pPr marL="0" indent="0" algn="l">
              <a:lnSpc>
                <a:spcPct val="100000"/>
              </a:lnSpc>
              <a:spcBef>
                <a:spcPts val="0"/>
              </a:spcBef>
              <a:buNone/>
              <a:defRPr sz="800"/>
            </a:lvl3pPr>
            <a:lvl4pPr marL="0" algn="l">
              <a:lnSpc>
                <a:spcPct val="100000"/>
              </a:lnSpc>
              <a:spcBef>
                <a:spcPts val="0"/>
              </a:spcBef>
              <a:buNone/>
              <a:defRPr sz="800"/>
            </a:lvl4pPr>
            <a:lvl5pPr marL="0" indent="0" algn="l">
              <a:lnSpc>
                <a:spcPct val="100000"/>
              </a:lnSpc>
              <a:spcBef>
                <a:spcPts val="0"/>
              </a:spcBef>
              <a:buNone/>
              <a:defRPr sz="800"/>
            </a:lvl5pPr>
          </a:lstStyle>
          <a:p>
            <a:pPr lvl="0"/>
            <a:r>
              <a:rPr lang="en-US" dirty="0"/>
              <a:t>Source line</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54270075"/>
      </p:ext>
    </p:extLst>
  </p:cSld>
  <p:clrMapOvr>
    <a:masterClrMapping/>
  </p:clrMapOvr>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p:cSld name="Content and picture">
    <p:spTree>
      <p:nvGrpSpPr>
        <p:cNvPr id="1" name=""/>
        <p:cNvGrpSpPr/>
        <p:nvPr/>
      </p:nvGrpSpPr>
      <p:grpSpPr>
        <a:xfrm>
          <a:off x="0" y="0"/>
          <a:ext cx="0" cy="0"/>
          <a:chOff x="0" y="0"/>
          <a:chExt cx="0" cy="0"/>
        </a:xfrm>
      </p:grpSpPr>
      <p:sp>
        <p:nvSpPr>
          <p:cNvPr id="21" name="Date Placeholder 20"/>
          <p:cNvSpPr>
            <a:spLocks noGrp="1"/>
          </p:cNvSpPr>
          <p:nvPr>
            <p:ph type="dt" sz="half" idx="14"/>
          </p:nvPr>
        </p:nvSpPr>
        <p:spPr>
          <a:xfrm>
            <a:off x="192088" y="6461673"/>
            <a:ext cx="761512" cy="133789"/>
          </a:xfrm>
          <a:prstGeom prst="rect">
            <a:avLst/>
          </a:prstGeom>
        </p:spPr>
        <p:txBody>
          <a:bodyPr/>
          <a:lstStyle/>
          <a:p>
            <a:fld id="{97AF90B7-6970-4C8C-AA59-7302F717A183}" type="datetime5">
              <a:rPr lang="en-US" smtClean="0"/>
              <a:t>26-Jun-20</a:t>
            </a:fld>
            <a:endParaRPr lang="en-US"/>
          </a:p>
        </p:txBody>
      </p:sp>
      <p:sp>
        <p:nvSpPr>
          <p:cNvPr id="22" name="Footer Placeholder 21"/>
          <p:cNvSpPr>
            <a:spLocks noGrp="1"/>
          </p:cNvSpPr>
          <p:nvPr>
            <p:ph type="ftr" sz="quarter" idx="15"/>
          </p:nvPr>
        </p:nvSpPr>
        <p:spPr>
          <a:xfrm>
            <a:off x="1076400" y="6461673"/>
            <a:ext cx="8162717" cy="133789"/>
          </a:xfrm>
          <a:prstGeom prst="rect">
            <a:avLst/>
          </a:prstGeom>
        </p:spPr>
        <p:txBody>
          <a:bodyPr/>
          <a:lstStyle>
            <a:lvl1pPr>
              <a:defRPr/>
            </a:lvl1pPr>
          </a:lstStyle>
          <a:p>
            <a:r>
              <a:rPr lang="en-US" dirty="0"/>
              <a:t>TCG Market</a:t>
            </a:r>
          </a:p>
        </p:txBody>
      </p:sp>
      <p:sp>
        <p:nvSpPr>
          <p:cNvPr id="23" name="Slide Number Placeholder 22"/>
          <p:cNvSpPr>
            <a:spLocks noGrp="1"/>
          </p:cNvSpPr>
          <p:nvPr>
            <p:ph type="sldNum" sz="quarter" idx="16"/>
          </p:nvPr>
        </p:nvSpPr>
        <p:spPr/>
        <p:txBody>
          <a:bodyPr/>
          <a:lstStyle/>
          <a:p>
            <a:fld id="{5F3E29E4-0979-4FCA-B4C5-5FC6044C982A}" type="slidenum">
              <a:rPr lang="en-US" smtClean="0"/>
              <a:t>‹#›</a:t>
            </a:fld>
            <a:endParaRPr lang="en-US"/>
          </a:p>
        </p:txBody>
      </p:sp>
      <p:sp>
        <p:nvSpPr>
          <p:cNvPr id="2" name="Title 1"/>
          <p:cNvSpPr>
            <a:spLocks noGrp="1"/>
          </p:cNvSpPr>
          <p:nvPr>
            <p:ph type="title" hasCustomPrompt="1"/>
          </p:nvPr>
        </p:nvSpPr>
        <p:spPr/>
        <p:txBody>
          <a:bodyPr/>
          <a:lstStyle>
            <a:lvl1pPr>
              <a:defRPr/>
            </a:lvl1pPr>
          </a:lstStyle>
          <a:p>
            <a:r>
              <a:rPr lang="en-US" dirty="0"/>
              <a:t>Click to add slide title</a:t>
            </a:r>
          </a:p>
        </p:txBody>
      </p:sp>
      <p:sp>
        <p:nvSpPr>
          <p:cNvPr id="7" name="Subtitle 2"/>
          <p:cNvSpPr>
            <a:spLocks noGrp="1"/>
          </p:cNvSpPr>
          <p:nvPr>
            <p:ph type="subTitle" idx="13" hasCustomPrompt="1"/>
          </p:nvPr>
        </p:nvSpPr>
        <p:spPr>
          <a:xfrm>
            <a:off x="1075062" y="964672"/>
            <a:ext cx="7910159" cy="490042"/>
          </a:xfrm>
        </p:spPr>
        <p:txBody>
          <a:bodyPr wrap="none"/>
          <a:lstStyle>
            <a:lvl1pPr marL="0" indent="0" algn="l">
              <a:spcBef>
                <a:spcPts val="0"/>
              </a:spcBef>
              <a:buNone/>
              <a:defRPr sz="2399"/>
            </a:lvl1pPr>
            <a:lvl2pPr marL="457051" indent="0" algn="ctr">
              <a:buNone/>
              <a:defRPr sz="1999"/>
            </a:lvl2pPr>
            <a:lvl3pPr marL="914103" indent="0" algn="ctr">
              <a:buNone/>
              <a:defRPr sz="1799"/>
            </a:lvl3pPr>
            <a:lvl4pPr marL="1371154" indent="0" algn="ctr">
              <a:buNone/>
              <a:defRPr sz="1599"/>
            </a:lvl4pPr>
            <a:lvl5pPr marL="1828206" indent="0" algn="ctr">
              <a:buNone/>
              <a:defRPr sz="1599"/>
            </a:lvl5pPr>
            <a:lvl6pPr marL="2285257" indent="0" algn="ctr">
              <a:buNone/>
              <a:defRPr sz="1599"/>
            </a:lvl6pPr>
            <a:lvl7pPr marL="2742308" indent="0" algn="ctr">
              <a:buNone/>
              <a:defRPr sz="1599"/>
            </a:lvl7pPr>
            <a:lvl8pPr marL="3199360" indent="0" algn="ctr">
              <a:buNone/>
              <a:defRPr sz="1599"/>
            </a:lvl8pPr>
            <a:lvl9pPr marL="3656411" indent="0" algn="ctr">
              <a:buNone/>
              <a:defRPr sz="1599"/>
            </a:lvl9pPr>
          </a:lstStyle>
          <a:p>
            <a:r>
              <a:rPr lang="en-US" dirty="0"/>
              <a:t>Click to add subtitle</a:t>
            </a:r>
          </a:p>
        </p:txBody>
      </p:sp>
      <p:sp>
        <p:nvSpPr>
          <p:cNvPr id="3" name="Content Placeholder 2"/>
          <p:cNvSpPr>
            <a:spLocks noGrp="1"/>
          </p:cNvSpPr>
          <p:nvPr>
            <p:ph idx="1" hasCustomPrompt="1"/>
          </p:nvPr>
        </p:nvSpPr>
        <p:spPr>
          <a:xfrm>
            <a:off x="1075063" y="1629618"/>
            <a:ext cx="5220000" cy="4139357"/>
          </a:xfrm>
        </p:spPr>
        <p:txBody>
          <a:bodyPr/>
          <a:lstStyle>
            <a:lvl1pPr>
              <a:defRPr/>
            </a:lvl1pPr>
          </a:lstStyle>
          <a:p>
            <a:pPr lvl="0"/>
            <a:r>
              <a:rPr lang="en-US" dirty="0"/>
              <a:t>Click to add text or conten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Picture Placeholder 4"/>
          <p:cNvSpPr>
            <a:spLocks noGrp="1"/>
          </p:cNvSpPr>
          <p:nvPr>
            <p:ph type="pic" sz="quarter" idx="17" hasCustomPrompt="1"/>
          </p:nvPr>
        </p:nvSpPr>
        <p:spPr>
          <a:xfrm>
            <a:off x="6600525" y="1637783"/>
            <a:ext cx="5220000" cy="4599507"/>
          </a:xfrm>
          <a:solidFill>
            <a:srgbClr val="D9DADB"/>
          </a:solidFill>
        </p:spPr>
        <p:txBody>
          <a:bodyPr/>
          <a:lstStyle>
            <a:lvl1pPr marL="0" indent="0">
              <a:buNone/>
              <a:defRPr/>
            </a:lvl1pPr>
          </a:lstStyle>
          <a:p>
            <a:r>
              <a:rPr lang="en-US" dirty="0"/>
              <a:t>Insert picture</a:t>
            </a:r>
          </a:p>
        </p:txBody>
      </p:sp>
      <p:sp>
        <p:nvSpPr>
          <p:cNvPr id="10" name="Text Placeholder 4"/>
          <p:cNvSpPr>
            <a:spLocks noGrp="1"/>
          </p:cNvSpPr>
          <p:nvPr>
            <p:ph type="body" sz="quarter" idx="18" hasCustomPrompt="1"/>
          </p:nvPr>
        </p:nvSpPr>
        <p:spPr>
          <a:xfrm>
            <a:off x="1075064" y="6307665"/>
            <a:ext cx="8162717" cy="133200"/>
          </a:xfrm>
        </p:spPr>
        <p:txBody>
          <a:bodyPr lIns="0" tIns="0" rIns="0" bIns="0" anchor="b" anchorCtr="0"/>
          <a:lstStyle>
            <a:lvl1pPr marL="0" indent="0" algn="l">
              <a:lnSpc>
                <a:spcPct val="100000"/>
              </a:lnSpc>
              <a:spcBef>
                <a:spcPts val="0"/>
              </a:spcBef>
              <a:buNone/>
              <a:defRPr sz="800" baseline="0"/>
            </a:lvl1pPr>
            <a:lvl2pPr marL="0" indent="0" algn="l">
              <a:lnSpc>
                <a:spcPct val="100000"/>
              </a:lnSpc>
              <a:spcBef>
                <a:spcPts val="0"/>
              </a:spcBef>
              <a:buNone/>
              <a:defRPr sz="800"/>
            </a:lvl2pPr>
            <a:lvl3pPr marL="0" indent="0" algn="l">
              <a:lnSpc>
                <a:spcPct val="100000"/>
              </a:lnSpc>
              <a:spcBef>
                <a:spcPts val="0"/>
              </a:spcBef>
              <a:buNone/>
              <a:defRPr sz="800"/>
            </a:lvl3pPr>
            <a:lvl4pPr marL="0" algn="l">
              <a:lnSpc>
                <a:spcPct val="100000"/>
              </a:lnSpc>
              <a:spcBef>
                <a:spcPts val="0"/>
              </a:spcBef>
              <a:buNone/>
              <a:defRPr sz="800"/>
            </a:lvl4pPr>
            <a:lvl5pPr marL="0" indent="0" algn="l">
              <a:lnSpc>
                <a:spcPct val="100000"/>
              </a:lnSpc>
              <a:spcBef>
                <a:spcPts val="0"/>
              </a:spcBef>
              <a:buNone/>
              <a:defRPr sz="800"/>
            </a:lvl5pPr>
          </a:lstStyle>
          <a:p>
            <a:pPr lvl="0"/>
            <a:r>
              <a:rPr lang="en-US" dirty="0"/>
              <a:t>Source line</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747773792"/>
      </p:ext>
    </p:extLst>
  </p:cSld>
  <p:clrMapOvr>
    <a:masterClrMapping/>
  </p:clrMapOvr>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p:cSld name="Content with full picture">
    <p:spTree>
      <p:nvGrpSpPr>
        <p:cNvPr id="1" name=""/>
        <p:cNvGrpSpPr/>
        <p:nvPr/>
      </p:nvGrpSpPr>
      <p:grpSpPr>
        <a:xfrm>
          <a:off x="0" y="0"/>
          <a:ext cx="0" cy="0"/>
          <a:chOff x="0" y="0"/>
          <a:chExt cx="0" cy="0"/>
        </a:xfrm>
      </p:grpSpPr>
      <p:sp>
        <p:nvSpPr>
          <p:cNvPr id="12" name="Picture Placeholder 11"/>
          <p:cNvSpPr>
            <a:spLocks noGrp="1"/>
          </p:cNvSpPr>
          <p:nvPr>
            <p:ph type="pic" sz="quarter" idx="17" hasCustomPrompt="1"/>
          </p:nvPr>
        </p:nvSpPr>
        <p:spPr>
          <a:xfrm>
            <a:off x="0" y="0"/>
            <a:ext cx="12193200" cy="6858000"/>
          </a:xfrm>
          <a:prstGeom prst="rect">
            <a:avLst/>
          </a:prstGeom>
          <a:solidFill>
            <a:srgbClr val="D9DADB"/>
          </a:solidFill>
        </p:spPr>
        <p:txBody>
          <a:bodyPr wrap="square">
            <a:noAutofit/>
          </a:bodyPr>
          <a:lstStyle>
            <a:lvl1pPr marL="0" indent="0">
              <a:buNone/>
              <a:defRPr/>
            </a:lvl1pPr>
          </a:lstStyle>
          <a:p>
            <a:r>
              <a:rPr lang="en-US" dirty="0"/>
              <a:t>Insert picture</a:t>
            </a:r>
          </a:p>
        </p:txBody>
      </p:sp>
      <p:sp>
        <p:nvSpPr>
          <p:cNvPr id="9" name="copyright"/>
          <p:cNvSpPr txBox="1"/>
          <p:nvPr/>
        </p:nvSpPr>
        <p:spPr>
          <a:xfrm>
            <a:off x="10672210" y="6237289"/>
            <a:ext cx="500617" cy="358173"/>
          </a:xfrm>
          <a:prstGeom prst="rect">
            <a:avLst/>
          </a:prstGeom>
          <a:noFill/>
        </p:spPr>
        <p:txBody>
          <a:bodyPr wrap="none" lIns="0" tIns="0" rIns="0" bIns="0" rtlCol="0" anchor="b" anchorCtr="0">
            <a:noAutofit/>
          </a:bodyPr>
          <a:lstStyle/>
          <a:p>
            <a:pPr marL="0" indent="0" algn="r">
              <a:lnSpc>
                <a:spcPct val="125000"/>
              </a:lnSpc>
              <a:buClr>
                <a:schemeClr val="tx2"/>
              </a:buClr>
              <a:buFont typeface="Wingdings" panose="05000000000000000000" pitchFamily="2" charset="2"/>
              <a:buNone/>
            </a:pPr>
            <a:r>
              <a:rPr lang="en-US" sz="800" dirty="0">
                <a:solidFill>
                  <a:schemeClr val="bg1"/>
                </a:solidFill>
              </a:rPr>
              <a:t>© GfK</a:t>
            </a:r>
          </a:p>
        </p:txBody>
      </p:sp>
      <p:sp>
        <p:nvSpPr>
          <p:cNvPr id="21" name="Date Placeholder 20"/>
          <p:cNvSpPr>
            <a:spLocks noGrp="1"/>
          </p:cNvSpPr>
          <p:nvPr>
            <p:ph type="dt" sz="half" idx="14"/>
          </p:nvPr>
        </p:nvSpPr>
        <p:spPr>
          <a:xfrm>
            <a:off x="192088" y="6461673"/>
            <a:ext cx="761512" cy="133789"/>
          </a:xfrm>
          <a:prstGeom prst="rect">
            <a:avLst/>
          </a:prstGeom>
        </p:spPr>
        <p:txBody>
          <a:bodyPr/>
          <a:lstStyle>
            <a:lvl1pPr>
              <a:defRPr>
                <a:solidFill>
                  <a:schemeClr val="bg1"/>
                </a:solidFill>
              </a:defRPr>
            </a:lvl1pPr>
          </a:lstStyle>
          <a:p>
            <a:fld id="{50FDD96B-8754-4910-8CA2-9F882EDC331D}" type="datetime5">
              <a:rPr lang="en-US" smtClean="0"/>
              <a:t>26-Jun-20</a:t>
            </a:fld>
            <a:endParaRPr lang="en-US"/>
          </a:p>
        </p:txBody>
      </p:sp>
      <p:sp>
        <p:nvSpPr>
          <p:cNvPr id="22" name="Footer Placeholder 21"/>
          <p:cNvSpPr>
            <a:spLocks noGrp="1"/>
          </p:cNvSpPr>
          <p:nvPr>
            <p:ph type="ftr" sz="quarter" idx="15"/>
          </p:nvPr>
        </p:nvSpPr>
        <p:spPr>
          <a:xfrm>
            <a:off x="1076400" y="6461673"/>
            <a:ext cx="8162717" cy="133789"/>
          </a:xfrm>
          <a:prstGeom prst="rect">
            <a:avLst/>
          </a:prstGeom>
        </p:spPr>
        <p:txBody>
          <a:bodyPr/>
          <a:lstStyle>
            <a:lvl1pPr>
              <a:defRPr>
                <a:solidFill>
                  <a:schemeClr val="bg1"/>
                </a:solidFill>
              </a:defRPr>
            </a:lvl1pPr>
          </a:lstStyle>
          <a:p>
            <a:r>
              <a:rPr lang="en-US"/>
              <a:t>Title of presentation (Insert / Header &amp; Footer / Apply to All)</a:t>
            </a:r>
            <a:endParaRPr lang="en-US" dirty="0"/>
          </a:p>
        </p:txBody>
      </p:sp>
      <p:sp>
        <p:nvSpPr>
          <p:cNvPr id="23" name="Slide Number Placeholder 22"/>
          <p:cNvSpPr>
            <a:spLocks noGrp="1"/>
          </p:cNvSpPr>
          <p:nvPr>
            <p:ph type="sldNum" sz="quarter" idx="16"/>
          </p:nvPr>
        </p:nvSpPr>
        <p:spPr/>
        <p:txBody>
          <a:bodyPr/>
          <a:lstStyle>
            <a:lvl1pPr>
              <a:defRPr>
                <a:solidFill>
                  <a:schemeClr val="bg1"/>
                </a:solidFill>
              </a:defRPr>
            </a:lvl1pPr>
          </a:lstStyle>
          <a:p>
            <a:fld id="{5F3E29E4-0979-4FCA-B4C5-5FC6044C982A}" type="slidenum">
              <a:rPr lang="en-US" smtClean="0"/>
              <a:pPr/>
              <a:t>‹#›</a:t>
            </a:fld>
            <a:endParaRPr lang="en-US"/>
          </a:p>
        </p:txBody>
      </p:sp>
      <p:sp>
        <p:nvSpPr>
          <p:cNvPr id="2" name="Title 1"/>
          <p:cNvSpPr>
            <a:spLocks noGrp="1"/>
          </p:cNvSpPr>
          <p:nvPr>
            <p:ph type="title" hasCustomPrompt="1"/>
          </p:nvPr>
        </p:nvSpPr>
        <p:spPr>
          <a:xfrm>
            <a:off x="6543675" y="1519553"/>
            <a:ext cx="4629151" cy="4249423"/>
          </a:xfrm>
        </p:spPr>
        <p:txBody>
          <a:bodyPr/>
          <a:lstStyle>
            <a:lvl1pPr>
              <a:defRPr>
                <a:solidFill>
                  <a:schemeClr val="bg1"/>
                </a:solidFill>
              </a:defRPr>
            </a:lvl1pPr>
          </a:lstStyle>
          <a:p>
            <a:r>
              <a:rPr lang="en-US" dirty="0"/>
              <a:t>Click to add text</a:t>
            </a:r>
          </a:p>
        </p:txBody>
      </p:sp>
      <p:sp>
        <p:nvSpPr>
          <p:cNvPr id="8" name="Text Placeholder 4"/>
          <p:cNvSpPr>
            <a:spLocks noGrp="1"/>
          </p:cNvSpPr>
          <p:nvPr>
            <p:ph type="body" sz="quarter" idx="18" hasCustomPrompt="1"/>
          </p:nvPr>
        </p:nvSpPr>
        <p:spPr>
          <a:xfrm>
            <a:off x="1075064" y="6307665"/>
            <a:ext cx="8162717" cy="133200"/>
          </a:xfrm>
        </p:spPr>
        <p:txBody>
          <a:bodyPr lIns="0" tIns="0" rIns="0" bIns="0" anchor="b" anchorCtr="0"/>
          <a:lstStyle>
            <a:lvl1pPr marL="0" indent="0" algn="l">
              <a:lnSpc>
                <a:spcPct val="100000"/>
              </a:lnSpc>
              <a:spcBef>
                <a:spcPts val="0"/>
              </a:spcBef>
              <a:buNone/>
              <a:defRPr sz="800" baseline="0">
                <a:solidFill>
                  <a:schemeClr val="bg1"/>
                </a:solidFill>
              </a:defRPr>
            </a:lvl1pPr>
            <a:lvl2pPr marL="0" indent="0" algn="l">
              <a:lnSpc>
                <a:spcPct val="100000"/>
              </a:lnSpc>
              <a:spcBef>
                <a:spcPts val="0"/>
              </a:spcBef>
              <a:buNone/>
              <a:defRPr sz="800">
                <a:solidFill>
                  <a:schemeClr val="bg1"/>
                </a:solidFill>
              </a:defRPr>
            </a:lvl2pPr>
            <a:lvl3pPr marL="0" indent="0" algn="l">
              <a:lnSpc>
                <a:spcPct val="100000"/>
              </a:lnSpc>
              <a:spcBef>
                <a:spcPts val="0"/>
              </a:spcBef>
              <a:buNone/>
              <a:defRPr sz="800">
                <a:solidFill>
                  <a:schemeClr val="bg1"/>
                </a:solidFill>
              </a:defRPr>
            </a:lvl3pPr>
            <a:lvl4pPr marL="0" algn="l">
              <a:lnSpc>
                <a:spcPct val="100000"/>
              </a:lnSpc>
              <a:spcBef>
                <a:spcPts val="0"/>
              </a:spcBef>
              <a:buNone/>
              <a:defRPr sz="800">
                <a:solidFill>
                  <a:schemeClr val="bg1"/>
                </a:solidFill>
              </a:defRPr>
            </a:lvl4pPr>
            <a:lvl5pPr marL="0" indent="0" algn="l">
              <a:lnSpc>
                <a:spcPct val="100000"/>
              </a:lnSpc>
              <a:spcBef>
                <a:spcPts val="0"/>
              </a:spcBef>
              <a:buNone/>
              <a:defRPr sz="800">
                <a:solidFill>
                  <a:schemeClr val="bg1"/>
                </a:solidFill>
              </a:defRPr>
            </a:lvl5pPr>
          </a:lstStyle>
          <a:p>
            <a:pPr lvl="0"/>
            <a:r>
              <a:rPr lang="en-US" dirty="0"/>
              <a:t>Source line</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775180298"/>
      </p:ext>
    </p:extLst>
  </p:cSld>
  <p:clrMapOvr>
    <a:masterClrMapping/>
  </p:clrMapOvr>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p:cSld name="Two pictures">
    <p:spTree>
      <p:nvGrpSpPr>
        <p:cNvPr id="1" name=""/>
        <p:cNvGrpSpPr/>
        <p:nvPr/>
      </p:nvGrpSpPr>
      <p:grpSpPr>
        <a:xfrm>
          <a:off x="0" y="0"/>
          <a:ext cx="0" cy="0"/>
          <a:chOff x="0" y="0"/>
          <a:chExt cx="0" cy="0"/>
        </a:xfrm>
      </p:grpSpPr>
      <p:sp>
        <p:nvSpPr>
          <p:cNvPr id="21" name="Date Placeholder 20"/>
          <p:cNvSpPr>
            <a:spLocks noGrp="1"/>
          </p:cNvSpPr>
          <p:nvPr>
            <p:ph type="dt" sz="half" idx="14"/>
          </p:nvPr>
        </p:nvSpPr>
        <p:spPr>
          <a:xfrm>
            <a:off x="192088" y="6461673"/>
            <a:ext cx="761512" cy="133789"/>
          </a:xfrm>
          <a:prstGeom prst="rect">
            <a:avLst/>
          </a:prstGeom>
        </p:spPr>
        <p:txBody>
          <a:bodyPr/>
          <a:lstStyle/>
          <a:p>
            <a:fld id="{0C2FFEBC-2BB8-4026-95F3-22D358B37101}" type="datetime5">
              <a:rPr lang="en-US" smtClean="0"/>
              <a:t>26-Jun-20</a:t>
            </a:fld>
            <a:endParaRPr lang="en-US"/>
          </a:p>
        </p:txBody>
      </p:sp>
      <p:sp>
        <p:nvSpPr>
          <p:cNvPr id="22" name="Footer Placeholder 21"/>
          <p:cNvSpPr>
            <a:spLocks noGrp="1"/>
          </p:cNvSpPr>
          <p:nvPr>
            <p:ph type="ftr" sz="quarter" idx="15"/>
          </p:nvPr>
        </p:nvSpPr>
        <p:spPr>
          <a:xfrm>
            <a:off x="1076400" y="6461673"/>
            <a:ext cx="8162717" cy="133789"/>
          </a:xfrm>
          <a:prstGeom prst="rect">
            <a:avLst/>
          </a:prstGeom>
        </p:spPr>
        <p:txBody>
          <a:bodyPr/>
          <a:lstStyle>
            <a:lvl1pPr>
              <a:defRPr/>
            </a:lvl1pPr>
          </a:lstStyle>
          <a:p>
            <a:r>
              <a:rPr lang="en-US" dirty="0"/>
              <a:t>TCG Market</a:t>
            </a:r>
          </a:p>
        </p:txBody>
      </p:sp>
      <p:sp>
        <p:nvSpPr>
          <p:cNvPr id="23" name="Slide Number Placeholder 22"/>
          <p:cNvSpPr>
            <a:spLocks noGrp="1"/>
          </p:cNvSpPr>
          <p:nvPr>
            <p:ph type="sldNum" sz="quarter" idx="16"/>
          </p:nvPr>
        </p:nvSpPr>
        <p:spPr/>
        <p:txBody>
          <a:bodyPr/>
          <a:lstStyle/>
          <a:p>
            <a:fld id="{5F3E29E4-0979-4FCA-B4C5-5FC6044C982A}" type="slidenum">
              <a:rPr lang="en-US" smtClean="0"/>
              <a:t>‹#›</a:t>
            </a:fld>
            <a:endParaRPr lang="en-US"/>
          </a:p>
        </p:txBody>
      </p:sp>
      <p:sp>
        <p:nvSpPr>
          <p:cNvPr id="2" name="Title 1"/>
          <p:cNvSpPr>
            <a:spLocks noGrp="1"/>
          </p:cNvSpPr>
          <p:nvPr>
            <p:ph type="title" hasCustomPrompt="1"/>
          </p:nvPr>
        </p:nvSpPr>
        <p:spPr/>
        <p:txBody>
          <a:bodyPr/>
          <a:lstStyle>
            <a:lvl1pPr>
              <a:defRPr/>
            </a:lvl1pPr>
          </a:lstStyle>
          <a:p>
            <a:r>
              <a:rPr lang="en-US" dirty="0"/>
              <a:t>Click to add slide title</a:t>
            </a:r>
          </a:p>
        </p:txBody>
      </p:sp>
      <p:sp>
        <p:nvSpPr>
          <p:cNvPr id="7" name="Subtitle 2"/>
          <p:cNvSpPr>
            <a:spLocks noGrp="1"/>
          </p:cNvSpPr>
          <p:nvPr>
            <p:ph type="subTitle" idx="13" hasCustomPrompt="1"/>
          </p:nvPr>
        </p:nvSpPr>
        <p:spPr>
          <a:xfrm>
            <a:off x="1075062" y="964672"/>
            <a:ext cx="7910159" cy="490042"/>
          </a:xfrm>
        </p:spPr>
        <p:txBody>
          <a:bodyPr wrap="none"/>
          <a:lstStyle>
            <a:lvl1pPr marL="0" indent="0" algn="l">
              <a:spcBef>
                <a:spcPts val="0"/>
              </a:spcBef>
              <a:buNone/>
              <a:defRPr sz="2399"/>
            </a:lvl1pPr>
            <a:lvl2pPr marL="457051" indent="0" algn="ctr">
              <a:buNone/>
              <a:defRPr sz="1999"/>
            </a:lvl2pPr>
            <a:lvl3pPr marL="914103" indent="0" algn="ctr">
              <a:buNone/>
              <a:defRPr sz="1799"/>
            </a:lvl3pPr>
            <a:lvl4pPr marL="1371154" indent="0" algn="ctr">
              <a:buNone/>
              <a:defRPr sz="1599"/>
            </a:lvl4pPr>
            <a:lvl5pPr marL="1828206" indent="0" algn="ctr">
              <a:buNone/>
              <a:defRPr sz="1599"/>
            </a:lvl5pPr>
            <a:lvl6pPr marL="2285257" indent="0" algn="ctr">
              <a:buNone/>
              <a:defRPr sz="1599"/>
            </a:lvl6pPr>
            <a:lvl7pPr marL="2742308" indent="0" algn="ctr">
              <a:buNone/>
              <a:defRPr sz="1599"/>
            </a:lvl7pPr>
            <a:lvl8pPr marL="3199360" indent="0" algn="ctr">
              <a:buNone/>
              <a:defRPr sz="1599"/>
            </a:lvl8pPr>
            <a:lvl9pPr marL="3656411" indent="0" algn="ctr">
              <a:buNone/>
              <a:defRPr sz="1599"/>
            </a:lvl9pPr>
          </a:lstStyle>
          <a:p>
            <a:r>
              <a:rPr lang="en-US" dirty="0"/>
              <a:t>Click to add subtitle</a:t>
            </a:r>
          </a:p>
        </p:txBody>
      </p:sp>
      <p:sp>
        <p:nvSpPr>
          <p:cNvPr id="5" name="Picture Placeholder 4"/>
          <p:cNvSpPr>
            <a:spLocks noGrp="1"/>
          </p:cNvSpPr>
          <p:nvPr>
            <p:ph type="pic" sz="quarter" idx="17" hasCustomPrompt="1"/>
          </p:nvPr>
        </p:nvSpPr>
        <p:spPr>
          <a:xfrm>
            <a:off x="1075063" y="1637783"/>
            <a:ext cx="5220000" cy="4599507"/>
          </a:xfrm>
          <a:solidFill>
            <a:srgbClr val="D9DADB"/>
          </a:solidFill>
        </p:spPr>
        <p:txBody>
          <a:bodyPr/>
          <a:lstStyle>
            <a:lvl1pPr marL="0" indent="0">
              <a:buNone/>
              <a:defRPr/>
            </a:lvl1pPr>
          </a:lstStyle>
          <a:p>
            <a:r>
              <a:rPr lang="en-US" dirty="0"/>
              <a:t>Insert picture</a:t>
            </a:r>
          </a:p>
        </p:txBody>
      </p:sp>
      <p:sp>
        <p:nvSpPr>
          <p:cNvPr id="9" name="Picture Placeholder 4"/>
          <p:cNvSpPr>
            <a:spLocks noGrp="1"/>
          </p:cNvSpPr>
          <p:nvPr>
            <p:ph type="pic" sz="quarter" idx="18" hasCustomPrompt="1"/>
          </p:nvPr>
        </p:nvSpPr>
        <p:spPr>
          <a:xfrm>
            <a:off x="6600525" y="1637783"/>
            <a:ext cx="5220000" cy="4599507"/>
          </a:xfrm>
          <a:solidFill>
            <a:srgbClr val="D9DADB"/>
          </a:solidFill>
        </p:spPr>
        <p:txBody>
          <a:bodyPr/>
          <a:lstStyle>
            <a:lvl1pPr marL="0" indent="0">
              <a:buNone/>
              <a:defRPr/>
            </a:lvl1pPr>
          </a:lstStyle>
          <a:p>
            <a:r>
              <a:rPr lang="en-US" dirty="0"/>
              <a:t>Insert picture</a:t>
            </a:r>
          </a:p>
        </p:txBody>
      </p:sp>
      <p:sp>
        <p:nvSpPr>
          <p:cNvPr id="11" name="Text Placeholder 4"/>
          <p:cNvSpPr>
            <a:spLocks noGrp="1"/>
          </p:cNvSpPr>
          <p:nvPr>
            <p:ph type="body" sz="quarter" idx="19" hasCustomPrompt="1"/>
          </p:nvPr>
        </p:nvSpPr>
        <p:spPr>
          <a:xfrm>
            <a:off x="1075064" y="6307665"/>
            <a:ext cx="8162717" cy="133200"/>
          </a:xfrm>
        </p:spPr>
        <p:txBody>
          <a:bodyPr lIns="0" tIns="0" rIns="0" bIns="0" anchor="b" anchorCtr="0"/>
          <a:lstStyle>
            <a:lvl1pPr marL="0" indent="0" algn="l">
              <a:lnSpc>
                <a:spcPct val="100000"/>
              </a:lnSpc>
              <a:spcBef>
                <a:spcPts val="0"/>
              </a:spcBef>
              <a:buNone/>
              <a:defRPr sz="800" baseline="0"/>
            </a:lvl1pPr>
            <a:lvl2pPr marL="0" indent="0" algn="l">
              <a:lnSpc>
                <a:spcPct val="100000"/>
              </a:lnSpc>
              <a:spcBef>
                <a:spcPts val="0"/>
              </a:spcBef>
              <a:buNone/>
              <a:defRPr sz="800"/>
            </a:lvl2pPr>
            <a:lvl3pPr marL="0" indent="0" algn="l">
              <a:lnSpc>
                <a:spcPct val="100000"/>
              </a:lnSpc>
              <a:spcBef>
                <a:spcPts val="0"/>
              </a:spcBef>
              <a:buNone/>
              <a:defRPr sz="800"/>
            </a:lvl3pPr>
            <a:lvl4pPr marL="0" algn="l">
              <a:lnSpc>
                <a:spcPct val="100000"/>
              </a:lnSpc>
              <a:spcBef>
                <a:spcPts val="0"/>
              </a:spcBef>
              <a:buNone/>
              <a:defRPr sz="800"/>
            </a:lvl4pPr>
            <a:lvl5pPr marL="0" indent="0" algn="l">
              <a:lnSpc>
                <a:spcPct val="100000"/>
              </a:lnSpc>
              <a:spcBef>
                <a:spcPts val="0"/>
              </a:spcBef>
              <a:buNone/>
              <a:defRPr sz="800"/>
            </a:lvl5pPr>
          </a:lstStyle>
          <a:p>
            <a:pPr lvl="0"/>
            <a:r>
              <a:rPr lang="en-US" dirty="0"/>
              <a:t>Source line</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200467265"/>
      </p:ext>
    </p:extLst>
  </p:cSld>
  <p:clrMapOvr>
    <a:masterClrMapping/>
  </p:clrMapOvr>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p:cSld name="Two contents">
    <p:spTree>
      <p:nvGrpSpPr>
        <p:cNvPr id="1" name=""/>
        <p:cNvGrpSpPr/>
        <p:nvPr/>
      </p:nvGrpSpPr>
      <p:grpSpPr>
        <a:xfrm>
          <a:off x="0" y="0"/>
          <a:ext cx="0" cy="0"/>
          <a:chOff x="0" y="0"/>
          <a:chExt cx="0" cy="0"/>
        </a:xfrm>
      </p:grpSpPr>
      <p:sp>
        <p:nvSpPr>
          <p:cNvPr id="21" name="Date Placeholder 20"/>
          <p:cNvSpPr>
            <a:spLocks noGrp="1"/>
          </p:cNvSpPr>
          <p:nvPr>
            <p:ph type="dt" sz="half" idx="14"/>
          </p:nvPr>
        </p:nvSpPr>
        <p:spPr>
          <a:xfrm>
            <a:off x="192088" y="6461673"/>
            <a:ext cx="761512" cy="133789"/>
          </a:xfrm>
          <a:prstGeom prst="rect">
            <a:avLst/>
          </a:prstGeom>
        </p:spPr>
        <p:txBody>
          <a:bodyPr/>
          <a:lstStyle/>
          <a:p>
            <a:fld id="{9D45F382-CD09-4611-8552-1549F9F12240}" type="datetime5">
              <a:rPr lang="en-US" smtClean="0"/>
              <a:t>26-Jun-20</a:t>
            </a:fld>
            <a:endParaRPr lang="en-US"/>
          </a:p>
        </p:txBody>
      </p:sp>
      <p:sp>
        <p:nvSpPr>
          <p:cNvPr id="22" name="Footer Placeholder 21"/>
          <p:cNvSpPr>
            <a:spLocks noGrp="1"/>
          </p:cNvSpPr>
          <p:nvPr>
            <p:ph type="ftr" sz="quarter" idx="15"/>
          </p:nvPr>
        </p:nvSpPr>
        <p:spPr>
          <a:xfrm>
            <a:off x="1076400" y="6461673"/>
            <a:ext cx="8162717" cy="133789"/>
          </a:xfrm>
          <a:prstGeom prst="rect">
            <a:avLst/>
          </a:prstGeom>
        </p:spPr>
        <p:txBody>
          <a:bodyPr/>
          <a:lstStyle>
            <a:lvl1pPr>
              <a:defRPr/>
            </a:lvl1pPr>
          </a:lstStyle>
          <a:p>
            <a:r>
              <a:rPr lang="en-US" dirty="0"/>
              <a:t>TCG Market</a:t>
            </a:r>
          </a:p>
        </p:txBody>
      </p:sp>
      <p:sp>
        <p:nvSpPr>
          <p:cNvPr id="23" name="Slide Number Placeholder 22"/>
          <p:cNvSpPr>
            <a:spLocks noGrp="1"/>
          </p:cNvSpPr>
          <p:nvPr>
            <p:ph type="sldNum" sz="quarter" idx="16"/>
          </p:nvPr>
        </p:nvSpPr>
        <p:spPr/>
        <p:txBody>
          <a:bodyPr/>
          <a:lstStyle/>
          <a:p>
            <a:fld id="{5F3E29E4-0979-4FCA-B4C5-5FC6044C982A}" type="slidenum">
              <a:rPr lang="en-US" smtClean="0"/>
              <a:t>‹#›</a:t>
            </a:fld>
            <a:endParaRPr lang="en-US"/>
          </a:p>
        </p:txBody>
      </p:sp>
      <p:sp>
        <p:nvSpPr>
          <p:cNvPr id="2" name="Title 1"/>
          <p:cNvSpPr>
            <a:spLocks noGrp="1"/>
          </p:cNvSpPr>
          <p:nvPr>
            <p:ph type="title" hasCustomPrompt="1"/>
          </p:nvPr>
        </p:nvSpPr>
        <p:spPr/>
        <p:txBody>
          <a:bodyPr/>
          <a:lstStyle>
            <a:lvl1pPr>
              <a:defRPr/>
            </a:lvl1pPr>
          </a:lstStyle>
          <a:p>
            <a:r>
              <a:rPr lang="en-US" dirty="0"/>
              <a:t>Click to add slide title</a:t>
            </a:r>
          </a:p>
        </p:txBody>
      </p:sp>
      <p:sp>
        <p:nvSpPr>
          <p:cNvPr id="7" name="Subtitle 2"/>
          <p:cNvSpPr>
            <a:spLocks noGrp="1"/>
          </p:cNvSpPr>
          <p:nvPr>
            <p:ph type="subTitle" idx="13" hasCustomPrompt="1"/>
          </p:nvPr>
        </p:nvSpPr>
        <p:spPr>
          <a:xfrm>
            <a:off x="1075062" y="964672"/>
            <a:ext cx="7910159" cy="490042"/>
          </a:xfrm>
        </p:spPr>
        <p:txBody>
          <a:bodyPr wrap="none"/>
          <a:lstStyle>
            <a:lvl1pPr marL="0" indent="0" algn="l">
              <a:spcBef>
                <a:spcPts val="0"/>
              </a:spcBef>
              <a:buNone/>
              <a:defRPr sz="2399"/>
            </a:lvl1pPr>
            <a:lvl2pPr marL="457051" indent="0" algn="ctr">
              <a:buNone/>
              <a:defRPr sz="1999"/>
            </a:lvl2pPr>
            <a:lvl3pPr marL="914103" indent="0" algn="ctr">
              <a:buNone/>
              <a:defRPr sz="1799"/>
            </a:lvl3pPr>
            <a:lvl4pPr marL="1371154" indent="0" algn="ctr">
              <a:buNone/>
              <a:defRPr sz="1599"/>
            </a:lvl4pPr>
            <a:lvl5pPr marL="1828206" indent="0" algn="ctr">
              <a:buNone/>
              <a:defRPr sz="1599"/>
            </a:lvl5pPr>
            <a:lvl6pPr marL="2285257" indent="0" algn="ctr">
              <a:buNone/>
              <a:defRPr sz="1599"/>
            </a:lvl6pPr>
            <a:lvl7pPr marL="2742308" indent="0" algn="ctr">
              <a:buNone/>
              <a:defRPr sz="1599"/>
            </a:lvl7pPr>
            <a:lvl8pPr marL="3199360" indent="0" algn="ctr">
              <a:buNone/>
              <a:defRPr sz="1599"/>
            </a:lvl8pPr>
            <a:lvl9pPr marL="3656411" indent="0" algn="ctr">
              <a:buNone/>
              <a:defRPr sz="1599"/>
            </a:lvl9pPr>
          </a:lstStyle>
          <a:p>
            <a:r>
              <a:rPr lang="en-US" dirty="0"/>
              <a:t>Click to add subtitle</a:t>
            </a:r>
          </a:p>
        </p:txBody>
      </p:sp>
      <p:sp>
        <p:nvSpPr>
          <p:cNvPr id="3" name="Content Placeholder 2"/>
          <p:cNvSpPr>
            <a:spLocks noGrp="1"/>
          </p:cNvSpPr>
          <p:nvPr>
            <p:ph idx="1" hasCustomPrompt="1"/>
          </p:nvPr>
        </p:nvSpPr>
        <p:spPr>
          <a:xfrm>
            <a:off x="1075063" y="1629618"/>
            <a:ext cx="5220000" cy="4139357"/>
          </a:xfrm>
        </p:spPr>
        <p:txBody>
          <a:bodyPr/>
          <a:lstStyle>
            <a:lvl1pPr>
              <a:defRPr/>
            </a:lvl1pPr>
          </a:lstStyle>
          <a:p>
            <a:pPr lvl="0"/>
            <a:r>
              <a:rPr lang="en-US" dirty="0"/>
              <a:t>Click to add text or conten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Content Placeholder 2"/>
          <p:cNvSpPr>
            <a:spLocks noGrp="1"/>
          </p:cNvSpPr>
          <p:nvPr>
            <p:ph idx="17" hasCustomPrompt="1"/>
          </p:nvPr>
        </p:nvSpPr>
        <p:spPr>
          <a:xfrm>
            <a:off x="6600525" y="1629618"/>
            <a:ext cx="5220000" cy="4139357"/>
          </a:xfrm>
        </p:spPr>
        <p:txBody>
          <a:bodyPr/>
          <a:lstStyle>
            <a:lvl1pPr>
              <a:defRPr/>
            </a:lvl1pPr>
          </a:lstStyle>
          <a:p>
            <a:pPr lvl="0"/>
            <a:r>
              <a:rPr lang="en-US" dirty="0"/>
              <a:t>Click to add text or conten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4"/>
          <p:cNvSpPr>
            <a:spLocks noGrp="1"/>
          </p:cNvSpPr>
          <p:nvPr>
            <p:ph type="body" sz="quarter" idx="18" hasCustomPrompt="1"/>
          </p:nvPr>
        </p:nvSpPr>
        <p:spPr>
          <a:xfrm>
            <a:off x="1075064" y="6307665"/>
            <a:ext cx="8162717" cy="133200"/>
          </a:xfrm>
        </p:spPr>
        <p:txBody>
          <a:bodyPr lIns="0" tIns="0" rIns="0" bIns="0" anchor="b" anchorCtr="0"/>
          <a:lstStyle>
            <a:lvl1pPr marL="0" indent="0" algn="l">
              <a:lnSpc>
                <a:spcPct val="100000"/>
              </a:lnSpc>
              <a:spcBef>
                <a:spcPts val="0"/>
              </a:spcBef>
              <a:buNone/>
              <a:defRPr sz="800" baseline="0"/>
            </a:lvl1pPr>
            <a:lvl2pPr marL="0" indent="0" algn="l">
              <a:lnSpc>
                <a:spcPct val="100000"/>
              </a:lnSpc>
              <a:spcBef>
                <a:spcPts val="0"/>
              </a:spcBef>
              <a:buNone/>
              <a:defRPr sz="800"/>
            </a:lvl2pPr>
            <a:lvl3pPr marL="0" indent="0" algn="l">
              <a:lnSpc>
                <a:spcPct val="100000"/>
              </a:lnSpc>
              <a:spcBef>
                <a:spcPts val="0"/>
              </a:spcBef>
              <a:buNone/>
              <a:defRPr sz="800"/>
            </a:lvl3pPr>
            <a:lvl4pPr marL="0" algn="l">
              <a:lnSpc>
                <a:spcPct val="100000"/>
              </a:lnSpc>
              <a:spcBef>
                <a:spcPts val="0"/>
              </a:spcBef>
              <a:buNone/>
              <a:defRPr sz="800"/>
            </a:lvl4pPr>
            <a:lvl5pPr marL="0" indent="0" algn="l">
              <a:lnSpc>
                <a:spcPct val="100000"/>
              </a:lnSpc>
              <a:spcBef>
                <a:spcPts val="0"/>
              </a:spcBef>
              <a:buNone/>
              <a:defRPr sz="800"/>
            </a:lvl5pPr>
          </a:lstStyle>
          <a:p>
            <a:pPr lvl="0"/>
            <a:r>
              <a:rPr lang="en-US" dirty="0"/>
              <a:t>Source line</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38192040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nchor="ctr"/>
          <a:lstStyle>
            <a:lvl1pPr>
              <a:defRPr sz="4264"/>
            </a:lvl1pPr>
          </a:lstStyle>
          <a:p>
            <a:r>
              <a:rPr lang="en-US"/>
              <a:t>Click to add text</a:t>
            </a:r>
          </a:p>
        </p:txBody>
      </p:sp>
    </p:spTree>
    <p:extLst>
      <p:ext uri="{BB962C8B-B14F-4D97-AF65-F5344CB8AC3E}">
        <p14:creationId xmlns:p14="http://schemas.microsoft.com/office/powerpoint/2010/main" val="1582932861"/>
      </p:ext>
    </p:extLst>
  </p:cSld>
  <p:clrMapOvr>
    <a:masterClrMapping/>
  </p:clrMapOvr>
  <p:transition spd="slow">
    <p:fade thruBlk="1"/>
  </p:transition>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p:cSld name="Three contents">
    <p:spTree>
      <p:nvGrpSpPr>
        <p:cNvPr id="1" name=""/>
        <p:cNvGrpSpPr/>
        <p:nvPr/>
      </p:nvGrpSpPr>
      <p:grpSpPr>
        <a:xfrm>
          <a:off x="0" y="0"/>
          <a:ext cx="0" cy="0"/>
          <a:chOff x="0" y="0"/>
          <a:chExt cx="0" cy="0"/>
        </a:xfrm>
      </p:grpSpPr>
      <p:sp>
        <p:nvSpPr>
          <p:cNvPr id="21" name="Date Placeholder 20"/>
          <p:cNvSpPr>
            <a:spLocks noGrp="1"/>
          </p:cNvSpPr>
          <p:nvPr>
            <p:ph type="dt" sz="half" idx="14"/>
          </p:nvPr>
        </p:nvSpPr>
        <p:spPr>
          <a:xfrm>
            <a:off x="192088" y="6461673"/>
            <a:ext cx="761512" cy="133789"/>
          </a:xfrm>
          <a:prstGeom prst="rect">
            <a:avLst/>
          </a:prstGeom>
        </p:spPr>
        <p:txBody>
          <a:bodyPr/>
          <a:lstStyle/>
          <a:p>
            <a:fld id="{E67FA33E-39D1-4C68-AC07-495881E0A93B}" type="datetime5">
              <a:rPr lang="en-US" smtClean="0"/>
              <a:t>26-Jun-20</a:t>
            </a:fld>
            <a:endParaRPr lang="en-US"/>
          </a:p>
        </p:txBody>
      </p:sp>
      <p:sp>
        <p:nvSpPr>
          <p:cNvPr id="22" name="Footer Placeholder 21"/>
          <p:cNvSpPr>
            <a:spLocks noGrp="1"/>
          </p:cNvSpPr>
          <p:nvPr>
            <p:ph type="ftr" sz="quarter" idx="15"/>
          </p:nvPr>
        </p:nvSpPr>
        <p:spPr>
          <a:xfrm>
            <a:off x="1076400" y="6461673"/>
            <a:ext cx="8162717" cy="133789"/>
          </a:xfrm>
          <a:prstGeom prst="rect">
            <a:avLst/>
          </a:prstGeom>
        </p:spPr>
        <p:txBody>
          <a:bodyPr/>
          <a:lstStyle>
            <a:lvl1pPr>
              <a:defRPr/>
            </a:lvl1pPr>
          </a:lstStyle>
          <a:p>
            <a:r>
              <a:rPr lang="en-US" dirty="0"/>
              <a:t>TCG Market</a:t>
            </a:r>
          </a:p>
        </p:txBody>
      </p:sp>
      <p:sp>
        <p:nvSpPr>
          <p:cNvPr id="23" name="Slide Number Placeholder 22"/>
          <p:cNvSpPr>
            <a:spLocks noGrp="1"/>
          </p:cNvSpPr>
          <p:nvPr>
            <p:ph type="sldNum" sz="quarter" idx="16"/>
          </p:nvPr>
        </p:nvSpPr>
        <p:spPr/>
        <p:txBody>
          <a:bodyPr/>
          <a:lstStyle/>
          <a:p>
            <a:fld id="{5F3E29E4-0979-4FCA-B4C5-5FC6044C982A}" type="slidenum">
              <a:rPr lang="en-US" smtClean="0"/>
              <a:t>‹#›</a:t>
            </a:fld>
            <a:endParaRPr lang="en-US"/>
          </a:p>
        </p:txBody>
      </p:sp>
      <p:sp>
        <p:nvSpPr>
          <p:cNvPr id="2" name="Title 1"/>
          <p:cNvSpPr>
            <a:spLocks noGrp="1"/>
          </p:cNvSpPr>
          <p:nvPr>
            <p:ph type="title" hasCustomPrompt="1"/>
          </p:nvPr>
        </p:nvSpPr>
        <p:spPr/>
        <p:txBody>
          <a:bodyPr/>
          <a:lstStyle>
            <a:lvl1pPr>
              <a:defRPr/>
            </a:lvl1pPr>
          </a:lstStyle>
          <a:p>
            <a:r>
              <a:rPr lang="en-US" dirty="0"/>
              <a:t>Click to add slide title</a:t>
            </a:r>
          </a:p>
        </p:txBody>
      </p:sp>
      <p:sp>
        <p:nvSpPr>
          <p:cNvPr id="7" name="Subtitle 2"/>
          <p:cNvSpPr>
            <a:spLocks noGrp="1"/>
          </p:cNvSpPr>
          <p:nvPr>
            <p:ph type="subTitle" idx="13" hasCustomPrompt="1"/>
          </p:nvPr>
        </p:nvSpPr>
        <p:spPr>
          <a:xfrm>
            <a:off x="1075062" y="964672"/>
            <a:ext cx="7910159" cy="490042"/>
          </a:xfrm>
        </p:spPr>
        <p:txBody>
          <a:bodyPr wrap="none"/>
          <a:lstStyle>
            <a:lvl1pPr marL="0" indent="0" algn="l">
              <a:spcBef>
                <a:spcPts val="0"/>
              </a:spcBef>
              <a:buNone/>
              <a:defRPr sz="2399"/>
            </a:lvl1pPr>
            <a:lvl2pPr marL="457051" indent="0" algn="ctr">
              <a:buNone/>
              <a:defRPr sz="1999"/>
            </a:lvl2pPr>
            <a:lvl3pPr marL="914103" indent="0" algn="ctr">
              <a:buNone/>
              <a:defRPr sz="1799"/>
            </a:lvl3pPr>
            <a:lvl4pPr marL="1371154" indent="0" algn="ctr">
              <a:buNone/>
              <a:defRPr sz="1599"/>
            </a:lvl4pPr>
            <a:lvl5pPr marL="1828206" indent="0" algn="ctr">
              <a:buNone/>
              <a:defRPr sz="1599"/>
            </a:lvl5pPr>
            <a:lvl6pPr marL="2285257" indent="0" algn="ctr">
              <a:buNone/>
              <a:defRPr sz="1599"/>
            </a:lvl6pPr>
            <a:lvl7pPr marL="2742308" indent="0" algn="ctr">
              <a:buNone/>
              <a:defRPr sz="1599"/>
            </a:lvl7pPr>
            <a:lvl8pPr marL="3199360" indent="0" algn="ctr">
              <a:buNone/>
              <a:defRPr sz="1599"/>
            </a:lvl8pPr>
            <a:lvl9pPr marL="3656411" indent="0" algn="ctr">
              <a:buNone/>
              <a:defRPr sz="1599"/>
            </a:lvl9pPr>
          </a:lstStyle>
          <a:p>
            <a:r>
              <a:rPr lang="en-US" dirty="0"/>
              <a:t>Click to add subtitle</a:t>
            </a:r>
          </a:p>
        </p:txBody>
      </p:sp>
      <p:sp>
        <p:nvSpPr>
          <p:cNvPr id="3" name="Content Placeholder 2"/>
          <p:cNvSpPr>
            <a:spLocks noGrp="1"/>
          </p:cNvSpPr>
          <p:nvPr>
            <p:ph idx="1" hasCustomPrompt="1"/>
          </p:nvPr>
        </p:nvSpPr>
        <p:spPr>
          <a:xfrm>
            <a:off x="1075061" y="1629618"/>
            <a:ext cx="3384000" cy="4139357"/>
          </a:xfrm>
        </p:spPr>
        <p:txBody>
          <a:bodyPr/>
          <a:lstStyle>
            <a:lvl1pPr>
              <a:defRPr/>
            </a:lvl1pPr>
          </a:lstStyle>
          <a:p>
            <a:pPr lvl="0"/>
            <a:r>
              <a:rPr lang="en-US" dirty="0"/>
              <a:t>Click to add text or conten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Content Placeholder 2"/>
          <p:cNvSpPr>
            <a:spLocks noGrp="1"/>
          </p:cNvSpPr>
          <p:nvPr>
            <p:ph idx="17" hasCustomPrompt="1"/>
          </p:nvPr>
        </p:nvSpPr>
        <p:spPr>
          <a:xfrm>
            <a:off x="4755793" y="1629618"/>
            <a:ext cx="3384000" cy="4139357"/>
          </a:xfrm>
        </p:spPr>
        <p:txBody>
          <a:bodyPr/>
          <a:lstStyle>
            <a:lvl1pPr>
              <a:defRPr/>
            </a:lvl1pPr>
          </a:lstStyle>
          <a:p>
            <a:pPr lvl="0"/>
            <a:r>
              <a:rPr lang="en-US" dirty="0"/>
              <a:t>Click to add text or conten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Content Placeholder 2"/>
          <p:cNvSpPr>
            <a:spLocks noGrp="1"/>
          </p:cNvSpPr>
          <p:nvPr>
            <p:ph idx="18" hasCustomPrompt="1"/>
          </p:nvPr>
        </p:nvSpPr>
        <p:spPr>
          <a:xfrm>
            <a:off x="8436525" y="1629618"/>
            <a:ext cx="3384000" cy="4139357"/>
          </a:xfrm>
        </p:spPr>
        <p:txBody>
          <a:bodyPr/>
          <a:lstStyle>
            <a:lvl1pPr>
              <a:defRPr/>
            </a:lvl1pPr>
          </a:lstStyle>
          <a:p>
            <a:pPr lvl="0"/>
            <a:r>
              <a:rPr lang="en-US" dirty="0"/>
              <a:t>Click to add text or conten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4"/>
          <p:cNvSpPr>
            <a:spLocks noGrp="1"/>
          </p:cNvSpPr>
          <p:nvPr>
            <p:ph type="body" sz="quarter" idx="19" hasCustomPrompt="1"/>
          </p:nvPr>
        </p:nvSpPr>
        <p:spPr>
          <a:xfrm>
            <a:off x="1075064" y="6307665"/>
            <a:ext cx="8162717" cy="133200"/>
          </a:xfrm>
        </p:spPr>
        <p:txBody>
          <a:bodyPr lIns="0" tIns="0" rIns="0" bIns="0" anchor="b" anchorCtr="0"/>
          <a:lstStyle>
            <a:lvl1pPr marL="0" indent="0" algn="l">
              <a:lnSpc>
                <a:spcPct val="100000"/>
              </a:lnSpc>
              <a:spcBef>
                <a:spcPts val="0"/>
              </a:spcBef>
              <a:buNone/>
              <a:defRPr sz="800" baseline="0"/>
            </a:lvl1pPr>
            <a:lvl2pPr marL="0" indent="0" algn="l">
              <a:lnSpc>
                <a:spcPct val="100000"/>
              </a:lnSpc>
              <a:spcBef>
                <a:spcPts val="0"/>
              </a:spcBef>
              <a:buNone/>
              <a:defRPr sz="800"/>
            </a:lvl2pPr>
            <a:lvl3pPr marL="0" indent="0" algn="l">
              <a:lnSpc>
                <a:spcPct val="100000"/>
              </a:lnSpc>
              <a:spcBef>
                <a:spcPts val="0"/>
              </a:spcBef>
              <a:buNone/>
              <a:defRPr sz="800"/>
            </a:lvl3pPr>
            <a:lvl4pPr marL="0" algn="l">
              <a:lnSpc>
                <a:spcPct val="100000"/>
              </a:lnSpc>
              <a:spcBef>
                <a:spcPts val="0"/>
              </a:spcBef>
              <a:buNone/>
              <a:defRPr sz="800"/>
            </a:lvl4pPr>
            <a:lvl5pPr marL="0" indent="0" algn="l">
              <a:lnSpc>
                <a:spcPct val="100000"/>
              </a:lnSpc>
              <a:spcBef>
                <a:spcPts val="0"/>
              </a:spcBef>
              <a:buNone/>
              <a:defRPr sz="800"/>
            </a:lvl5pPr>
          </a:lstStyle>
          <a:p>
            <a:pPr lvl="0"/>
            <a:r>
              <a:rPr lang="en-US" dirty="0"/>
              <a:t>Source line</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570722241"/>
      </p:ext>
    </p:extLst>
  </p:cSld>
  <p:clrMapOvr>
    <a:masterClrMapping/>
  </p:clrMapOvr>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p:cSld name="Four contents 1">
    <p:spTree>
      <p:nvGrpSpPr>
        <p:cNvPr id="1" name=""/>
        <p:cNvGrpSpPr/>
        <p:nvPr/>
      </p:nvGrpSpPr>
      <p:grpSpPr>
        <a:xfrm>
          <a:off x="0" y="0"/>
          <a:ext cx="0" cy="0"/>
          <a:chOff x="0" y="0"/>
          <a:chExt cx="0" cy="0"/>
        </a:xfrm>
      </p:grpSpPr>
      <p:sp>
        <p:nvSpPr>
          <p:cNvPr id="21" name="Date Placeholder 20"/>
          <p:cNvSpPr>
            <a:spLocks noGrp="1"/>
          </p:cNvSpPr>
          <p:nvPr>
            <p:ph type="dt" sz="half" idx="14"/>
          </p:nvPr>
        </p:nvSpPr>
        <p:spPr>
          <a:xfrm>
            <a:off x="192088" y="6461673"/>
            <a:ext cx="761512" cy="133789"/>
          </a:xfrm>
          <a:prstGeom prst="rect">
            <a:avLst/>
          </a:prstGeom>
        </p:spPr>
        <p:txBody>
          <a:bodyPr/>
          <a:lstStyle/>
          <a:p>
            <a:fld id="{C2672A55-7139-4AA9-8041-42818C956C2C}" type="datetime5">
              <a:rPr lang="en-US" smtClean="0"/>
              <a:t>26-Jun-20</a:t>
            </a:fld>
            <a:endParaRPr lang="en-US"/>
          </a:p>
        </p:txBody>
      </p:sp>
      <p:sp>
        <p:nvSpPr>
          <p:cNvPr id="22" name="Footer Placeholder 21"/>
          <p:cNvSpPr>
            <a:spLocks noGrp="1"/>
          </p:cNvSpPr>
          <p:nvPr>
            <p:ph type="ftr" sz="quarter" idx="15"/>
          </p:nvPr>
        </p:nvSpPr>
        <p:spPr>
          <a:xfrm>
            <a:off x="1076400" y="6461673"/>
            <a:ext cx="8162717" cy="133789"/>
          </a:xfrm>
          <a:prstGeom prst="rect">
            <a:avLst/>
          </a:prstGeom>
        </p:spPr>
        <p:txBody>
          <a:bodyPr/>
          <a:lstStyle>
            <a:lvl1pPr>
              <a:defRPr/>
            </a:lvl1pPr>
          </a:lstStyle>
          <a:p>
            <a:r>
              <a:rPr lang="en-US" dirty="0"/>
              <a:t>TCG Market</a:t>
            </a:r>
          </a:p>
        </p:txBody>
      </p:sp>
      <p:sp>
        <p:nvSpPr>
          <p:cNvPr id="23" name="Slide Number Placeholder 22"/>
          <p:cNvSpPr>
            <a:spLocks noGrp="1"/>
          </p:cNvSpPr>
          <p:nvPr>
            <p:ph type="sldNum" sz="quarter" idx="16"/>
          </p:nvPr>
        </p:nvSpPr>
        <p:spPr/>
        <p:txBody>
          <a:bodyPr/>
          <a:lstStyle/>
          <a:p>
            <a:fld id="{5F3E29E4-0979-4FCA-B4C5-5FC6044C982A}" type="slidenum">
              <a:rPr lang="en-US" smtClean="0"/>
              <a:t>‹#›</a:t>
            </a:fld>
            <a:endParaRPr lang="en-US"/>
          </a:p>
        </p:txBody>
      </p:sp>
      <p:sp>
        <p:nvSpPr>
          <p:cNvPr id="2" name="Title 1"/>
          <p:cNvSpPr>
            <a:spLocks noGrp="1"/>
          </p:cNvSpPr>
          <p:nvPr>
            <p:ph type="title" hasCustomPrompt="1"/>
          </p:nvPr>
        </p:nvSpPr>
        <p:spPr/>
        <p:txBody>
          <a:bodyPr/>
          <a:lstStyle>
            <a:lvl1pPr>
              <a:defRPr/>
            </a:lvl1pPr>
          </a:lstStyle>
          <a:p>
            <a:r>
              <a:rPr lang="en-US" dirty="0"/>
              <a:t>Click to add slide title</a:t>
            </a:r>
          </a:p>
        </p:txBody>
      </p:sp>
      <p:sp>
        <p:nvSpPr>
          <p:cNvPr id="7" name="Subtitle 2"/>
          <p:cNvSpPr>
            <a:spLocks noGrp="1"/>
          </p:cNvSpPr>
          <p:nvPr>
            <p:ph type="subTitle" idx="13" hasCustomPrompt="1"/>
          </p:nvPr>
        </p:nvSpPr>
        <p:spPr>
          <a:xfrm>
            <a:off x="1075062" y="964672"/>
            <a:ext cx="7910159" cy="490042"/>
          </a:xfrm>
        </p:spPr>
        <p:txBody>
          <a:bodyPr wrap="none"/>
          <a:lstStyle>
            <a:lvl1pPr marL="0" indent="0" algn="l">
              <a:spcBef>
                <a:spcPts val="0"/>
              </a:spcBef>
              <a:buNone/>
              <a:defRPr sz="2399" baseline="0"/>
            </a:lvl1pPr>
            <a:lvl2pPr marL="457051" indent="0" algn="ctr">
              <a:buNone/>
              <a:defRPr sz="1999"/>
            </a:lvl2pPr>
            <a:lvl3pPr marL="914103" indent="0" algn="ctr">
              <a:buNone/>
              <a:defRPr sz="1799"/>
            </a:lvl3pPr>
            <a:lvl4pPr marL="1371154" indent="0" algn="ctr">
              <a:buNone/>
              <a:defRPr sz="1599"/>
            </a:lvl4pPr>
            <a:lvl5pPr marL="1828206" indent="0" algn="ctr">
              <a:buNone/>
              <a:defRPr sz="1599"/>
            </a:lvl5pPr>
            <a:lvl6pPr marL="2285257" indent="0" algn="ctr">
              <a:buNone/>
              <a:defRPr sz="1599"/>
            </a:lvl6pPr>
            <a:lvl7pPr marL="2742308" indent="0" algn="ctr">
              <a:buNone/>
              <a:defRPr sz="1599"/>
            </a:lvl7pPr>
            <a:lvl8pPr marL="3199360" indent="0" algn="ctr">
              <a:buNone/>
              <a:defRPr sz="1599"/>
            </a:lvl8pPr>
            <a:lvl9pPr marL="3656411" indent="0" algn="ctr">
              <a:buNone/>
              <a:defRPr sz="1599"/>
            </a:lvl9pPr>
          </a:lstStyle>
          <a:p>
            <a:r>
              <a:rPr lang="en-US" dirty="0"/>
              <a:t>Click to add subtitle</a:t>
            </a:r>
          </a:p>
        </p:txBody>
      </p:sp>
      <p:sp>
        <p:nvSpPr>
          <p:cNvPr id="3" name="Content Placeholder 2"/>
          <p:cNvSpPr>
            <a:spLocks noGrp="1"/>
          </p:cNvSpPr>
          <p:nvPr>
            <p:ph idx="1" hasCustomPrompt="1"/>
          </p:nvPr>
        </p:nvSpPr>
        <p:spPr>
          <a:xfrm>
            <a:off x="192088" y="1629618"/>
            <a:ext cx="2682000" cy="4139357"/>
          </a:xfrm>
        </p:spPr>
        <p:txBody>
          <a:bodyPr/>
          <a:lstStyle>
            <a:lvl1pPr>
              <a:defRPr/>
            </a:lvl1pPr>
          </a:lstStyle>
          <a:p>
            <a:pPr lvl="0"/>
            <a:r>
              <a:rPr lang="en-US" dirty="0"/>
              <a:t>Click to add text or conten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Content Placeholder 2"/>
          <p:cNvSpPr>
            <a:spLocks noGrp="1"/>
          </p:cNvSpPr>
          <p:nvPr>
            <p:ph idx="17" hasCustomPrompt="1"/>
          </p:nvPr>
        </p:nvSpPr>
        <p:spPr>
          <a:xfrm>
            <a:off x="3174235" y="1629618"/>
            <a:ext cx="2682000" cy="4139357"/>
          </a:xfrm>
        </p:spPr>
        <p:txBody>
          <a:bodyPr/>
          <a:lstStyle>
            <a:lvl1pPr>
              <a:defRPr/>
            </a:lvl1pPr>
          </a:lstStyle>
          <a:p>
            <a:pPr lvl="0"/>
            <a:r>
              <a:rPr lang="en-US" dirty="0"/>
              <a:t>Click to add text or conten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Content Placeholder 2"/>
          <p:cNvSpPr>
            <a:spLocks noGrp="1"/>
          </p:cNvSpPr>
          <p:nvPr>
            <p:ph idx="18" hasCustomPrompt="1"/>
          </p:nvPr>
        </p:nvSpPr>
        <p:spPr>
          <a:xfrm>
            <a:off x="6156380" y="1629618"/>
            <a:ext cx="2682000" cy="4139357"/>
          </a:xfrm>
        </p:spPr>
        <p:txBody>
          <a:bodyPr/>
          <a:lstStyle>
            <a:lvl1pPr>
              <a:defRPr/>
            </a:lvl1pPr>
          </a:lstStyle>
          <a:p>
            <a:pPr lvl="0"/>
            <a:r>
              <a:rPr lang="en-US" dirty="0"/>
              <a:t>Click to add text or conten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Content Placeholder 2"/>
          <p:cNvSpPr>
            <a:spLocks noGrp="1"/>
          </p:cNvSpPr>
          <p:nvPr>
            <p:ph idx="19" hasCustomPrompt="1"/>
          </p:nvPr>
        </p:nvSpPr>
        <p:spPr>
          <a:xfrm>
            <a:off x="9138525" y="1629618"/>
            <a:ext cx="2682000" cy="4139357"/>
          </a:xfrm>
        </p:spPr>
        <p:txBody>
          <a:bodyPr/>
          <a:lstStyle>
            <a:lvl1pPr>
              <a:defRPr/>
            </a:lvl1pPr>
          </a:lstStyle>
          <a:p>
            <a:pPr lvl="0"/>
            <a:r>
              <a:rPr lang="en-US" dirty="0"/>
              <a:t>Click to add text or conten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4"/>
          <p:cNvSpPr>
            <a:spLocks noGrp="1"/>
          </p:cNvSpPr>
          <p:nvPr>
            <p:ph type="body" sz="quarter" idx="20" hasCustomPrompt="1"/>
          </p:nvPr>
        </p:nvSpPr>
        <p:spPr>
          <a:xfrm>
            <a:off x="1075064" y="6307665"/>
            <a:ext cx="8162717" cy="133200"/>
          </a:xfrm>
        </p:spPr>
        <p:txBody>
          <a:bodyPr lIns="0" tIns="0" rIns="0" bIns="0" anchor="b" anchorCtr="0"/>
          <a:lstStyle>
            <a:lvl1pPr marL="0" indent="0" algn="l">
              <a:lnSpc>
                <a:spcPct val="100000"/>
              </a:lnSpc>
              <a:spcBef>
                <a:spcPts val="0"/>
              </a:spcBef>
              <a:buNone/>
              <a:defRPr sz="800" baseline="0"/>
            </a:lvl1pPr>
            <a:lvl2pPr marL="0" indent="0" algn="l">
              <a:lnSpc>
                <a:spcPct val="100000"/>
              </a:lnSpc>
              <a:spcBef>
                <a:spcPts val="0"/>
              </a:spcBef>
              <a:buNone/>
              <a:defRPr sz="800"/>
            </a:lvl2pPr>
            <a:lvl3pPr marL="0" indent="0" algn="l">
              <a:lnSpc>
                <a:spcPct val="100000"/>
              </a:lnSpc>
              <a:spcBef>
                <a:spcPts val="0"/>
              </a:spcBef>
              <a:buNone/>
              <a:defRPr sz="800"/>
            </a:lvl3pPr>
            <a:lvl4pPr marL="0" algn="l">
              <a:lnSpc>
                <a:spcPct val="100000"/>
              </a:lnSpc>
              <a:spcBef>
                <a:spcPts val="0"/>
              </a:spcBef>
              <a:buNone/>
              <a:defRPr sz="800"/>
            </a:lvl4pPr>
            <a:lvl5pPr marL="0" indent="0" algn="l">
              <a:lnSpc>
                <a:spcPct val="100000"/>
              </a:lnSpc>
              <a:spcBef>
                <a:spcPts val="0"/>
              </a:spcBef>
              <a:buNone/>
              <a:defRPr sz="800"/>
            </a:lvl5pPr>
          </a:lstStyle>
          <a:p>
            <a:pPr lvl="0"/>
            <a:r>
              <a:rPr lang="en-US" dirty="0"/>
              <a:t>Source line</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495773319"/>
      </p:ext>
    </p:extLst>
  </p:cSld>
  <p:clrMapOvr>
    <a:masterClrMapping/>
  </p:clrMapOvr>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p:cSld name="Four contents 2">
    <p:spTree>
      <p:nvGrpSpPr>
        <p:cNvPr id="1" name=""/>
        <p:cNvGrpSpPr/>
        <p:nvPr/>
      </p:nvGrpSpPr>
      <p:grpSpPr>
        <a:xfrm>
          <a:off x="0" y="0"/>
          <a:ext cx="0" cy="0"/>
          <a:chOff x="0" y="0"/>
          <a:chExt cx="0" cy="0"/>
        </a:xfrm>
      </p:grpSpPr>
      <p:sp>
        <p:nvSpPr>
          <p:cNvPr id="21" name="Date Placeholder 20"/>
          <p:cNvSpPr>
            <a:spLocks noGrp="1"/>
          </p:cNvSpPr>
          <p:nvPr>
            <p:ph type="dt" sz="half" idx="14"/>
          </p:nvPr>
        </p:nvSpPr>
        <p:spPr>
          <a:xfrm>
            <a:off x="192088" y="6461673"/>
            <a:ext cx="761512" cy="133789"/>
          </a:xfrm>
          <a:prstGeom prst="rect">
            <a:avLst/>
          </a:prstGeom>
        </p:spPr>
        <p:txBody>
          <a:bodyPr/>
          <a:lstStyle/>
          <a:p>
            <a:fld id="{C1A94770-6330-463A-BD32-DB4363F98C83}" type="datetime5">
              <a:rPr lang="en-US" smtClean="0"/>
              <a:t>26-Jun-20</a:t>
            </a:fld>
            <a:endParaRPr lang="en-US"/>
          </a:p>
        </p:txBody>
      </p:sp>
      <p:sp>
        <p:nvSpPr>
          <p:cNvPr id="22" name="Footer Placeholder 21"/>
          <p:cNvSpPr>
            <a:spLocks noGrp="1"/>
          </p:cNvSpPr>
          <p:nvPr>
            <p:ph type="ftr" sz="quarter" idx="15"/>
          </p:nvPr>
        </p:nvSpPr>
        <p:spPr>
          <a:xfrm>
            <a:off x="1076400" y="6461673"/>
            <a:ext cx="8162717" cy="133789"/>
          </a:xfrm>
          <a:prstGeom prst="rect">
            <a:avLst/>
          </a:prstGeom>
        </p:spPr>
        <p:txBody>
          <a:bodyPr/>
          <a:lstStyle>
            <a:lvl1pPr>
              <a:defRPr/>
            </a:lvl1pPr>
          </a:lstStyle>
          <a:p>
            <a:r>
              <a:rPr lang="en-US" dirty="0"/>
              <a:t>TCG Market</a:t>
            </a:r>
          </a:p>
        </p:txBody>
      </p:sp>
      <p:sp>
        <p:nvSpPr>
          <p:cNvPr id="23" name="Slide Number Placeholder 22"/>
          <p:cNvSpPr>
            <a:spLocks noGrp="1"/>
          </p:cNvSpPr>
          <p:nvPr>
            <p:ph type="sldNum" sz="quarter" idx="16"/>
          </p:nvPr>
        </p:nvSpPr>
        <p:spPr/>
        <p:txBody>
          <a:bodyPr/>
          <a:lstStyle/>
          <a:p>
            <a:fld id="{5F3E29E4-0979-4FCA-B4C5-5FC6044C982A}" type="slidenum">
              <a:rPr lang="en-US" smtClean="0"/>
              <a:t>‹#›</a:t>
            </a:fld>
            <a:endParaRPr lang="en-US"/>
          </a:p>
        </p:txBody>
      </p:sp>
      <p:sp>
        <p:nvSpPr>
          <p:cNvPr id="2" name="Title 1"/>
          <p:cNvSpPr>
            <a:spLocks noGrp="1"/>
          </p:cNvSpPr>
          <p:nvPr>
            <p:ph type="title" hasCustomPrompt="1"/>
          </p:nvPr>
        </p:nvSpPr>
        <p:spPr/>
        <p:txBody>
          <a:bodyPr/>
          <a:lstStyle>
            <a:lvl1pPr>
              <a:defRPr/>
            </a:lvl1pPr>
          </a:lstStyle>
          <a:p>
            <a:r>
              <a:rPr lang="en-US" dirty="0"/>
              <a:t>Click to add slide title</a:t>
            </a:r>
          </a:p>
        </p:txBody>
      </p:sp>
      <p:sp>
        <p:nvSpPr>
          <p:cNvPr id="7" name="Subtitle 2"/>
          <p:cNvSpPr>
            <a:spLocks noGrp="1"/>
          </p:cNvSpPr>
          <p:nvPr>
            <p:ph type="subTitle" idx="13" hasCustomPrompt="1"/>
          </p:nvPr>
        </p:nvSpPr>
        <p:spPr>
          <a:xfrm>
            <a:off x="1075062" y="964672"/>
            <a:ext cx="7910159" cy="490042"/>
          </a:xfrm>
        </p:spPr>
        <p:txBody>
          <a:bodyPr wrap="none"/>
          <a:lstStyle>
            <a:lvl1pPr marL="0" indent="0" algn="l">
              <a:spcBef>
                <a:spcPts val="0"/>
              </a:spcBef>
              <a:buNone/>
              <a:defRPr sz="2399"/>
            </a:lvl1pPr>
            <a:lvl2pPr marL="457051" indent="0" algn="ctr">
              <a:buNone/>
              <a:defRPr sz="1999"/>
            </a:lvl2pPr>
            <a:lvl3pPr marL="914103" indent="0" algn="ctr">
              <a:buNone/>
              <a:defRPr sz="1799"/>
            </a:lvl3pPr>
            <a:lvl4pPr marL="1371154" indent="0" algn="ctr">
              <a:buNone/>
              <a:defRPr sz="1599"/>
            </a:lvl4pPr>
            <a:lvl5pPr marL="1828206" indent="0" algn="ctr">
              <a:buNone/>
              <a:defRPr sz="1599"/>
            </a:lvl5pPr>
            <a:lvl6pPr marL="2285257" indent="0" algn="ctr">
              <a:buNone/>
              <a:defRPr sz="1599"/>
            </a:lvl6pPr>
            <a:lvl7pPr marL="2742308" indent="0" algn="ctr">
              <a:buNone/>
              <a:defRPr sz="1599"/>
            </a:lvl7pPr>
            <a:lvl8pPr marL="3199360" indent="0" algn="ctr">
              <a:buNone/>
              <a:defRPr sz="1599"/>
            </a:lvl8pPr>
            <a:lvl9pPr marL="3656411" indent="0" algn="ctr">
              <a:buNone/>
              <a:defRPr sz="1599"/>
            </a:lvl9pPr>
          </a:lstStyle>
          <a:p>
            <a:r>
              <a:rPr lang="en-US" dirty="0"/>
              <a:t>Click to add subtitle</a:t>
            </a:r>
          </a:p>
        </p:txBody>
      </p:sp>
      <p:sp>
        <p:nvSpPr>
          <p:cNvPr id="3" name="Content Placeholder 2"/>
          <p:cNvSpPr>
            <a:spLocks noGrp="1"/>
          </p:cNvSpPr>
          <p:nvPr>
            <p:ph idx="1" hasCustomPrompt="1"/>
          </p:nvPr>
        </p:nvSpPr>
        <p:spPr>
          <a:xfrm>
            <a:off x="192088" y="1629617"/>
            <a:ext cx="6102975" cy="2160000"/>
          </a:xfrm>
        </p:spPr>
        <p:txBody>
          <a:bodyPr/>
          <a:lstStyle>
            <a:lvl1pPr>
              <a:defRPr/>
            </a:lvl1pPr>
          </a:lstStyle>
          <a:p>
            <a:pPr lvl="0"/>
            <a:r>
              <a:rPr lang="en-US" dirty="0"/>
              <a:t>Click to add text or conten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Content Placeholder 2"/>
          <p:cNvSpPr>
            <a:spLocks noGrp="1"/>
          </p:cNvSpPr>
          <p:nvPr>
            <p:ph idx="17" hasCustomPrompt="1"/>
          </p:nvPr>
        </p:nvSpPr>
        <p:spPr>
          <a:xfrm>
            <a:off x="6600525" y="1629617"/>
            <a:ext cx="5234144" cy="2160000"/>
          </a:xfrm>
        </p:spPr>
        <p:txBody>
          <a:bodyPr/>
          <a:lstStyle>
            <a:lvl1pPr>
              <a:defRPr/>
            </a:lvl1pPr>
          </a:lstStyle>
          <a:p>
            <a:pPr lvl="0"/>
            <a:r>
              <a:rPr lang="en-US" dirty="0"/>
              <a:t>Click to add text or conten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Content Placeholder 2"/>
          <p:cNvSpPr>
            <a:spLocks noGrp="1"/>
          </p:cNvSpPr>
          <p:nvPr>
            <p:ph idx="18" hasCustomPrompt="1"/>
          </p:nvPr>
        </p:nvSpPr>
        <p:spPr>
          <a:xfrm>
            <a:off x="192088" y="4077289"/>
            <a:ext cx="6102975" cy="2160000"/>
          </a:xfrm>
        </p:spPr>
        <p:txBody>
          <a:bodyPr/>
          <a:lstStyle>
            <a:lvl1pPr>
              <a:defRPr/>
            </a:lvl1pPr>
          </a:lstStyle>
          <a:p>
            <a:pPr lvl="0"/>
            <a:r>
              <a:rPr lang="en-US" dirty="0"/>
              <a:t>Click to add text or conten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Content Placeholder 2"/>
          <p:cNvSpPr>
            <a:spLocks noGrp="1"/>
          </p:cNvSpPr>
          <p:nvPr>
            <p:ph idx="19" hasCustomPrompt="1"/>
          </p:nvPr>
        </p:nvSpPr>
        <p:spPr>
          <a:xfrm>
            <a:off x="6600525" y="4077289"/>
            <a:ext cx="5234144" cy="2160000"/>
          </a:xfrm>
        </p:spPr>
        <p:txBody>
          <a:bodyPr/>
          <a:lstStyle>
            <a:lvl1pPr>
              <a:defRPr/>
            </a:lvl1pPr>
          </a:lstStyle>
          <a:p>
            <a:pPr lvl="0"/>
            <a:r>
              <a:rPr lang="en-US" dirty="0"/>
              <a:t>Click to add text or conten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4"/>
          <p:cNvSpPr>
            <a:spLocks noGrp="1"/>
          </p:cNvSpPr>
          <p:nvPr>
            <p:ph type="body" sz="quarter" idx="20" hasCustomPrompt="1"/>
          </p:nvPr>
        </p:nvSpPr>
        <p:spPr>
          <a:xfrm>
            <a:off x="1075064" y="6307665"/>
            <a:ext cx="8162717" cy="133200"/>
          </a:xfrm>
        </p:spPr>
        <p:txBody>
          <a:bodyPr lIns="0" tIns="0" rIns="0" bIns="0" anchor="b" anchorCtr="0"/>
          <a:lstStyle>
            <a:lvl1pPr marL="0" indent="0" algn="l">
              <a:lnSpc>
                <a:spcPct val="100000"/>
              </a:lnSpc>
              <a:spcBef>
                <a:spcPts val="0"/>
              </a:spcBef>
              <a:buNone/>
              <a:defRPr sz="800" baseline="0"/>
            </a:lvl1pPr>
            <a:lvl2pPr marL="0" indent="0" algn="l">
              <a:lnSpc>
                <a:spcPct val="100000"/>
              </a:lnSpc>
              <a:spcBef>
                <a:spcPts val="0"/>
              </a:spcBef>
              <a:buNone/>
              <a:defRPr sz="800"/>
            </a:lvl2pPr>
            <a:lvl3pPr marL="0" indent="0" algn="l">
              <a:lnSpc>
                <a:spcPct val="100000"/>
              </a:lnSpc>
              <a:spcBef>
                <a:spcPts val="0"/>
              </a:spcBef>
              <a:buNone/>
              <a:defRPr sz="800"/>
            </a:lvl3pPr>
            <a:lvl4pPr marL="0" algn="l">
              <a:lnSpc>
                <a:spcPct val="100000"/>
              </a:lnSpc>
              <a:spcBef>
                <a:spcPts val="0"/>
              </a:spcBef>
              <a:buNone/>
              <a:defRPr sz="800"/>
            </a:lvl4pPr>
            <a:lvl5pPr marL="0" indent="0" algn="l">
              <a:lnSpc>
                <a:spcPct val="100000"/>
              </a:lnSpc>
              <a:spcBef>
                <a:spcPts val="0"/>
              </a:spcBef>
              <a:buNone/>
              <a:defRPr sz="800"/>
            </a:lvl5pPr>
          </a:lstStyle>
          <a:p>
            <a:pPr lvl="0"/>
            <a:r>
              <a:rPr lang="en-US" dirty="0"/>
              <a:t>Source line</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724248950"/>
      </p:ext>
    </p:extLst>
  </p:cSld>
  <p:clrMapOvr>
    <a:masterClrMapping/>
  </p:clrMapOvr>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p:cSld name="Large charts and tables">
    <p:spTree>
      <p:nvGrpSpPr>
        <p:cNvPr id="1" name=""/>
        <p:cNvGrpSpPr/>
        <p:nvPr/>
      </p:nvGrpSpPr>
      <p:grpSpPr>
        <a:xfrm>
          <a:off x="0" y="0"/>
          <a:ext cx="0" cy="0"/>
          <a:chOff x="0" y="0"/>
          <a:chExt cx="0" cy="0"/>
        </a:xfrm>
      </p:grpSpPr>
      <p:sp>
        <p:nvSpPr>
          <p:cNvPr id="21" name="Date Placeholder 20"/>
          <p:cNvSpPr>
            <a:spLocks noGrp="1"/>
          </p:cNvSpPr>
          <p:nvPr>
            <p:ph type="dt" sz="half" idx="14"/>
          </p:nvPr>
        </p:nvSpPr>
        <p:spPr>
          <a:xfrm>
            <a:off x="192088" y="6461673"/>
            <a:ext cx="761512" cy="133789"/>
          </a:xfrm>
          <a:prstGeom prst="rect">
            <a:avLst/>
          </a:prstGeom>
        </p:spPr>
        <p:txBody>
          <a:bodyPr/>
          <a:lstStyle/>
          <a:p>
            <a:fld id="{C8265AAA-10E5-49CF-B48E-DC443F79F14E}" type="datetime5">
              <a:rPr lang="en-US" smtClean="0"/>
              <a:t>26-Jun-20</a:t>
            </a:fld>
            <a:endParaRPr lang="en-US"/>
          </a:p>
        </p:txBody>
      </p:sp>
      <p:sp>
        <p:nvSpPr>
          <p:cNvPr id="22" name="Footer Placeholder 21"/>
          <p:cNvSpPr>
            <a:spLocks noGrp="1"/>
          </p:cNvSpPr>
          <p:nvPr>
            <p:ph type="ftr" sz="quarter" idx="15"/>
          </p:nvPr>
        </p:nvSpPr>
        <p:spPr>
          <a:xfrm>
            <a:off x="1076400" y="6461673"/>
            <a:ext cx="8162717" cy="133789"/>
          </a:xfrm>
          <a:prstGeom prst="rect">
            <a:avLst/>
          </a:prstGeom>
        </p:spPr>
        <p:txBody>
          <a:bodyPr/>
          <a:lstStyle>
            <a:lvl1pPr>
              <a:defRPr/>
            </a:lvl1pPr>
          </a:lstStyle>
          <a:p>
            <a:r>
              <a:rPr lang="en-US" dirty="0"/>
              <a:t>TCG Market</a:t>
            </a:r>
          </a:p>
        </p:txBody>
      </p:sp>
      <p:sp>
        <p:nvSpPr>
          <p:cNvPr id="23" name="Slide Number Placeholder 22"/>
          <p:cNvSpPr>
            <a:spLocks noGrp="1"/>
          </p:cNvSpPr>
          <p:nvPr>
            <p:ph type="sldNum" sz="quarter" idx="16"/>
          </p:nvPr>
        </p:nvSpPr>
        <p:spPr/>
        <p:txBody>
          <a:bodyPr/>
          <a:lstStyle/>
          <a:p>
            <a:fld id="{5F3E29E4-0979-4FCA-B4C5-5FC6044C982A}" type="slidenum">
              <a:rPr lang="en-US" smtClean="0"/>
              <a:t>‹#›</a:t>
            </a:fld>
            <a:endParaRPr lang="en-US"/>
          </a:p>
        </p:txBody>
      </p:sp>
      <p:sp>
        <p:nvSpPr>
          <p:cNvPr id="2" name="Title 1"/>
          <p:cNvSpPr>
            <a:spLocks noGrp="1"/>
          </p:cNvSpPr>
          <p:nvPr>
            <p:ph type="title" hasCustomPrompt="1"/>
          </p:nvPr>
        </p:nvSpPr>
        <p:spPr/>
        <p:txBody>
          <a:bodyPr/>
          <a:lstStyle>
            <a:lvl1pPr>
              <a:defRPr/>
            </a:lvl1pPr>
          </a:lstStyle>
          <a:p>
            <a:r>
              <a:rPr lang="en-US" dirty="0"/>
              <a:t>Click to add slide title</a:t>
            </a:r>
          </a:p>
        </p:txBody>
      </p:sp>
      <p:sp>
        <p:nvSpPr>
          <p:cNvPr id="7" name="Subtitle 2"/>
          <p:cNvSpPr>
            <a:spLocks noGrp="1"/>
          </p:cNvSpPr>
          <p:nvPr>
            <p:ph type="subTitle" idx="13" hasCustomPrompt="1"/>
          </p:nvPr>
        </p:nvSpPr>
        <p:spPr>
          <a:xfrm>
            <a:off x="1075062" y="964672"/>
            <a:ext cx="7910159" cy="490042"/>
          </a:xfrm>
        </p:spPr>
        <p:txBody>
          <a:bodyPr wrap="none"/>
          <a:lstStyle>
            <a:lvl1pPr marL="0" indent="0" algn="l">
              <a:spcBef>
                <a:spcPts val="0"/>
              </a:spcBef>
              <a:buNone/>
              <a:defRPr sz="2399"/>
            </a:lvl1pPr>
            <a:lvl2pPr marL="457051" indent="0" algn="ctr">
              <a:buNone/>
              <a:defRPr sz="1999"/>
            </a:lvl2pPr>
            <a:lvl3pPr marL="914103" indent="0" algn="ctr">
              <a:buNone/>
              <a:defRPr sz="1799"/>
            </a:lvl3pPr>
            <a:lvl4pPr marL="1371154" indent="0" algn="ctr">
              <a:buNone/>
              <a:defRPr sz="1599"/>
            </a:lvl4pPr>
            <a:lvl5pPr marL="1828206" indent="0" algn="ctr">
              <a:buNone/>
              <a:defRPr sz="1599"/>
            </a:lvl5pPr>
            <a:lvl6pPr marL="2285257" indent="0" algn="ctr">
              <a:buNone/>
              <a:defRPr sz="1599"/>
            </a:lvl6pPr>
            <a:lvl7pPr marL="2742308" indent="0" algn="ctr">
              <a:buNone/>
              <a:defRPr sz="1599"/>
            </a:lvl7pPr>
            <a:lvl8pPr marL="3199360" indent="0" algn="ctr">
              <a:buNone/>
              <a:defRPr sz="1599"/>
            </a:lvl8pPr>
            <a:lvl9pPr marL="3656411" indent="0" algn="ctr">
              <a:buNone/>
              <a:defRPr sz="1599"/>
            </a:lvl9pPr>
          </a:lstStyle>
          <a:p>
            <a:r>
              <a:rPr lang="en-US" dirty="0"/>
              <a:t>Click to add subtitle</a:t>
            </a:r>
          </a:p>
        </p:txBody>
      </p:sp>
      <p:sp>
        <p:nvSpPr>
          <p:cNvPr id="3" name="Content Placeholder 2"/>
          <p:cNvSpPr>
            <a:spLocks noGrp="1"/>
          </p:cNvSpPr>
          <p:nvPr>
            <p:ph idx="1" hasCustomPrompt="1"/>
          </p:nvPr>
        </p:nvSpPr>
        <p:spPr>
          <a:xfrm>
            <a:off x="192088" y="1629617"/>
            <a:ext cx="11642581" cy="4599507"/>
          </a:xfrm>
        </p:spPr>
        <p:txBody>
          <a:bodyPr anchor="t"/>
          <a:lstStyle>
            <a:lvl1pPr marL="0" indent="0" algn="ctr">
              <a:spcBef>
                <a:spcPts val="1000"/>
              </a:spcBef>
              <a:buNone/>
              <a:defRPr sz="2799" baseline="0"/>
            </a:lvl1pPr>
            <a:lvl2pPr marL="0" indent="0">
              <a:spcBef>
                <a:spcPts val="1000"/>
              </a:spcBef>
              <a:buNone/>
              <a:defRPr sz="2799"/>
            </a:lvl2pPr>
            <a:lvl3pPr marL="0" indent="0">
              <a:spcBef>
                <a:spcPts val="1000"/>
              </a:spcBef>
              <a:buNone/>
              <a:defRPr sz="2799"/>
            </a:lvl3pPr>
            <a:lvl4pPr>
              <a:spcBef>
                <a:spcPts val="1000"/>
              </a:spcBef>
              <a:buNone/>
              <a:defRPr sz="2799"/>
            </a:lvl4pPr>
            <a:lvl5pPr marL="0" indent="0">
              <a:spcBef>
                <a:spcPts val="1000"/>
              </a:spcBef>
              <a:buNone/>
              <a:defRPr sz="2799"/>
            </a:lvl5pPr>
          </a:lstStyle>
          <a:p>
            <a:pPr lvl="0"/>
            <a:r>
              <a:rPr lang="en-US" dirty="0"/>
              <a:t>Use this layout for large charts and tables only. Please, do not use with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4"/>
          <p:cNvSpPr>
            <a:spLocks noGrp="1"/>
          </p:cNvSpPr>
          <p:nvPr>
            <p:ph type="body" sz="quarter" idx="17" hasCustomPrompt="1"/>
          </p:nvPr>
        </p:nvSpPr>
        <p:spPr>
          <a:xfrm>
            <a:off x="1075064" y="6307665"/>
            <a:ext cx="8162717" cy="133200"/>
          </a:xfrm>
        </p:spPr>
        <p:txBody>
          <a:bodyPr lIns="0" tIns="0" rIns="0" bIns="0" anchor="b" anchorCtr="0"/>
          <a:lstStyle>
            <a:lvl1pPr marL="0" indent="0" algn="l">
              <a:lnSpc>
                <a:spcPct val="100000"/>
              </a:lnSpc>
              <a:spcBef>
                <a:spcPts val="0"/>
              </a:spcBef>
              <a:buNone/>
              <a:defRPr sz="800" baseline="0"/>
            </a:lvl1pPr>
            <a:lvl2pPr marL="0" indent="0" algn="l">
              <a:lnSpc>
                <a:spcPct val="100000"/>
              </a:lnSpc>
              <a:spcBef>
                <a:spcPts val="0"/>
              </a:spcBef>
              <a:buNone/>
              <a:defRPr sz="800"/>
            </a:lvl2pPr>
            <a:lvl3pPr marL="0" indent="0" algn="l">
              <a:lnSpc>
                <a:spcPct val="100000"/>
              </a:lnSpc>
              <a:spcBef>
                <a:spcPts val="0"/>
              </a:spcBef>
              <a:buNone/>
              <a:defRPr sz="800"/>
            </a:lvl3pPr>
            <a:lvl4pPr marL="0" algn="l">
              <a:lnSpc>
                <a:spcPct val="100000"/>
              </a:lnSpc>
              <a:spcBef>
                <a:spcPts val="0"/>
              </a:spcBef>
              <a:buNone/>
              <a:defRPr sz="800"/>
            </a:lvl4pPr>
            <a:lvl5pPr marL="0" indent="0" algn="l">
              <a:lnSpc>
                <a:spcPct val="100000"/>
              </a:lnSpc>
              <a:spcBef>
                <a:spcPts val="0"/>
              </a:spcBef>
              <a:buNone/>
              <a:defRPr sz="800"/>
            </a:lvl5pPr>
          </a:lstStyle>
          <a:p>
            <a:pPr lvl="0"/>
            <a:r>
              <a:rPr lang="en-US" dirty="0"/>
              <a:t>Source line</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852575238"/>
      </p:ext>
    </p:extLst>
  </p:cSld>
  <p:clrMapOvr>
    <a:masterClrMapping/>
  </p:clrMapOvr>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p:cSld name="Chart with description">
    <p:spTree>
      <p:nvGrpSpPr>
        <p:cNvPr id="1" name=""/>
        <p:cNvGrpSpPr/>
        <p:nvPr/>
      </p:nvGrpSpPr>
      <p:grpSpPr>
        <a:xfrm>
          <a:off x="0" y="0"/>
          <a:ext cx="0" cy="0"/>
          <a:chOff x="0" y="0"/>
          <a:chExt cx="0" cy="0"/>
        </a:xfrm>
      </p:grpSpPr>
      <p:sp>
        <p:nvSpPr>
          <p:cNvPr id="21" name="Date Placeholder 20"/>
          <p:cNvSpPr>
            <a:spLocks noGrp="1"/>
          </p:cNvSpPr>
          <p:nvPr>
            <p:ph type="dt" sz="half" idx="14"/>
          </p:nvPr>
        </p:nvSpPr>
        <p:spPr>
          <a:xfrm>
            <a:off x="192088" y="6461673"/>
            <a:ext cx="761512" cy="133789"/>
          </a:xfrm>
          <a:prstGeom prst="rect">
            <a:avLst/>
          </a:prstGeom>
        </p:spPr>
        <p:txBody>
          <a:bodyPr/>
          <a:lstStyle/>
          <a:p>
            <a:fld id="{7E0CC7EF-9DF0-4DDD-B873-4143C4455B77}" type="datetime5">
              <a:rPr lang="en-US" smtClean="0"/>
              <a:t>26-Jun-20</a:t>
            </a:fld>
            <a:endParaRPr lang="en-US"/>
          </a:p>
        </p:txBody>
      </p:sp>
      <p:sp>
        <p:nvSpPr>
          <p:cNvPr id="22" name="Footer Placeholder 21"/>
          <p:cNvSpPr>
            <a:spLocks noGrp="1"/>
          </p:cNvSpPr>
          <p:nvPr>
            <p:ph type="ftr" sz="quarter" idx="15"/>
          </p:nvPr>
        </p:nvSpPr>
        <p:spPr>
          <a:xfrm>
            <a:off x="1076400" y="6461673"/>
            <a:ext cx="8162717" cy="133789"/>
          </a:xfrm>
          <a:prstGeom prst="rect">
            <a:avLst/>
          </a:prstGeom>
        </p:spPr>
        <p:txBody>
          <a:bodyPr/>
          <a:lstStyle>
            <a:lvl1pPr>
              <a:defRPr/>
            </a:lvl1pPr>
          </a:lstStyle>
          <a:p>
            <a:r>
              <a:rPr lang="en-US" dirty="0"/>
              <a:t>TCG Market</a:t>
            </a:r>
          </a:p>
        </p:txBody>
      </p:sp>
      <p:sp>
        <p:nvSpPr>
          <p:cNvPr id="23" name="Slide Number Placeholder 22"/>
          <p:cNvSpPr>
            <a:spLocks noGrp="1"/>
          </p:cNvSpPr>
          <p:nvPr>
            <p:ph type="sldNum" sz="quarter" idx="16"/>
          </p:nvPr>
        </p:nvSpPr>
        <p:spPr/>
        <p:txBody>
          <a:bodyPr/>
          <a:lstStyle/>
          <a:p>
            <a:fld id="{5F3E29E4-0979-4FCA-B4C5-5FC6044C982A}" type="slidenum">
              <a:rPr lang="en-US" smtClean="0"/>
              <a:t>‹#›</a:t>
            </a:fld>
            <a:endParaRPr lang="en-US"/>
          </a:p>
        </p:txBody>
      </p:sp>
      <p:sp>
        <p:nvSpPr>
          <p:cNvPr id="2" name="Title 1"/>
          <p:cNvSpPr>
            <a:spLocks noGrp="1"/>
          </p:cNvSpPr>
          <p:nvPr>
            <p:ph type="title" hasCustomPrompt="1"/>
          </p:nvPr>
        </p:nvSpPr>
        <p:spPr/>
        <p:txBody>
          <a:bodyPr/>
          <a:lstStyle>
            <a:lvl1pPr>
              <a:defRPr/>
            </a:lvl1pPr>
          </a:lstStyle>
          <a:p>
            <a:r>
              <a:rPr lang="en-US" dirty="0"/>
              <a:t>Click to add slide title</a:t>
            </a:r>
          </a:p>
        </p:txBody>
      </p:sp>
      <p:sp>
        <p:nvSpPr>
          <p:cNvPr id="7" name="Subtitle 2"/>
          <p:cNvSpPr>
            <a:spLocks noGrp="1"/>
          </p:cNvSpPr>
          <p:nvPr>
            <p:ph type="subTitle" idx="13" hasCustomPrompt="1"/>
          </p:nvPr>
        </p:nvSpPr>
        <p:spPr>
          <a:xfrm>
            <a:off x="1075062" y="964672"/>
            <a:ext cx="7910159" cy="490042"/>
          </a:xfrm>
        </p:spPr>
        <p:txBody>
          <a:bodyPr wrap="none"/>
          <a:lstStyle>
            <a:lvl1pPr marL="0" indent="0" algn="l">
              <a:spcBef>
                <a:spcPts val="0"/>
              </a:spcBef>
              <a:buNone/>
              <a:defRPr sz="2399"/>
            </a:lvl1pPr>
            <a:lvl2pPr marL="457051" indent="0" algn="ctr">
              <a:buNone/>
              <a:defRPr sz="1999"/>
            </a:lvl2pPr>
            <a:lvl3pPr marL="914103" indent="0" algn="ctr">
              <a:buNone/>
              <a:defRPr sz="1799"/>
            </a:lvl3pPr>
            <a:lvl4pPr marL="1371154" indent="0" algn="ctr">
              <a:buNone/>
              <a:defRPr sz="1599"/>
            </a:lvl4pPr>
            <a:lvl5pPr marL="1828206" indent="0" algn="ctr">
              <a:buNone/>
              <a:defRPr sz="1599"/>
            </a:lvl5pPr>
            <a:lvl6pPr marL="2285257" indent="0" algn="ctr">
              <a:buNone/>
              <a:defRPr sz="1599"/>
            </a:lvl6pPr>
            <a:lvl7pPr marL="2742308" indent="0" algn="ctr">
              <a:buNone/>
              <a:defRPr sz="1599"/>
            </a:lvl7pPr>
            <a:lvl8pPr marL="3199360" indent="0" algn="ctr">
              <a:buNone/>
              <a:defRPr sz="1599"/>
            </a:lvl8pPr>
            <a:lvl9pPr marL="3656411" indent="0" algn="ctr">
              <a:buNone/>
              <a:defRPr sz="1599"/>
            </a:lvl9pPr>
          </a:lstStyle>
          <a:p>
            <a:r>
              <a:rPr lang="en-US" dirty="0"/>
              <a:t>Click to add subtitle</a:t>
            </a:r>
          </a:p>
        </p:txBody>
      </p:sp>
      <p:sp>
        <p:nvSpPr>
          <p:cNvPr id="4" name="Chart Placeholder 3"/>
          <p:cNvSpPr>
            <a:spLocks noGrp="1"/>
          </p:cNvSpPr>
          <p:nvPr>
            <p:ph type="chart" sz="quarter" idx="17" hasCustomPrompt="1"/>
          </p:nvPr>
        </p:nvSpPr>
        <p:spPr>
          <a:xfrm>
            <a:off x="192089" y="1629617"/>
            <a:ext cx="5903913" cy="4599507"/>
          </a:xfrm>
        </p:spPr>
        <p:txBody>
          <a:bodyPr/>
          <a:lstStyle>
            <a:lvl1pPr>
              <a:defRPr/>
            </a:lvl1pPr>
          </a:lstStyle>
          <a:p>
            <a:r>
              <a:rPr lang="en-US" dirty="0"/>
              <a:t>Click to add chart</a:t>
            </a:r>
          </a:p>
        </p:txBody>
      </p:sp>
      <p:sp>
        <p:nvSpPr>
          <p:cNvPr id="6" name="Text Placeholder 5"/>
          <p:cNvSpPr>
            <a:spLocks noGrp="1"/>
          </p:cNvSpPr>
          <p:nvPr>
            <p:ph type="body" sz="quarter" idx="18" hasCustomPrompt="1"/>
          </p:nvPr>
        </p:nvSpPr>
        <p:spPr>
          <a:xfrm>
            <a:off x="6206067" y="3393020"/>
            <a:ext cx="5628603" cy="2023840"/>
          </a:xfrm>
          <a:solidFill>
            <a:srgbClr val="D9DADB"/>
          </a:solidFill>
        </p:spPr>
        <p:txBody>
          <a:bodyPr lIns="108000" tIns="108000" rIns="108000" bIns="108000"/>
          <a:lstStyle>
            <a:lvl1pPr>
              <a:defRPr sz="1599"/>
            </a:lvl1pPr>
            <a:lvl2pPr>
              <a:defRPr sz="1599"/>
            </a:lvl2pPr>
            <a:lvl3pPr>
              <a:defRPr sz="1599"/>
            </a:lvl3pPr>
            <a:lvl4pPr>
              <a:defRPr sz="1599"/>
            </a:lvl4pPr>
            <a:lvl5pPr>
              <a:defRPr sz="1599"/>
            </a:lvl5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 Placeholder 4"/>
          <p:cNvSpPr>
            <a:spLocks noGrp="1"/>
          </p:cNvSpPr>
          <p:nvPr>
            <p:ph type="body" sz="quarter" idx="19" hasCustomPrompt="1"/>
          </p:nvPr>
        </p:nvSpPr>
        <p:spPr>
          <a:xfrm>
            <a:off x="1075064" y="6307665"/>
            <a:ext cx="8162717" cy="133200"/>
          </a:xfrm>
        </p:spPr>
        <p:txBody>
          <a:bodyPr lIns="0" tIns="0" rIns="0" bIns="0" anchor="b" anchorCtr="0"/>
          <a:lstStyle>
            <a:lvl1pPr marL="0" indent="0" algn="l">
              <a:lnSpc>
                <a:spcPct val="100000"/>
              </a:lnSpc>
              <a:spcBef>
                <a:spcPts val="0"/>
              </a:spcBef>
              <a:buNone/>
              <a:defRPr sz="800" baseline="0"/>
            </a:lvl1pPr>
            <a:lvl2pPr marL="0" indent="0" algn="l">
              <a:lnSpc>
                <a:spcPct val="100000"/>
              </a:lnSpc>
              <a:spcBef>
                <a:spcPts val="0"/>
              </a:spcBef>
              <a:buNone/>
              <a:defRPr sz="800"/>
            </a:lvl2pPr>
            <a:lvl3pPr marL="0" indent="0" algn="l">
              <a:lnSpc>
                <a:spcPct val="100000"/>
              </a:lnSpc>
              <a:spcBef>
                <a:spcPts val="0"/>
              </a:spcBef>
              <a:buNone/>
              <a:defRPr sz="800"/>
            </a:lvl3pPr>
            <a:lvl4pPr marL="0" algn="l">
              <a:lnSpc>
                <a:spcPct val="100000"/>
              </a:lnSpc>
              <a:spcBef>
                <a:spcPts val="0"/>
              </a:spcBef>
              <a:buNone/>
              <a:defRPr sz="800"/>
            </a:lvl4pPr>
            <a:lvl5pPr marL="0" indent="0" algn="l">
              <a:lnSpc>
                <a:spcPct val="100000"/>
              </a:lnSpc>
              <a:spcBef>
                <a:spcPts val="0"/>
              </a:spcBef>
              <a:buNone/>
              <a:defRPr sz="800"/>
            </a:lvl5pPr>
          </a:lstStyle>
          <a:p>
            <a:pPr lvl="0"/>
            <a:r>
              <a:rPr lang="en-US" dirty="0"/>
              <a:t>Source line</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507667739"/>
      </p:ext>
    </p:extLst>
  </p:cSld>
  <p:clrMapOvr>
    <a:masterClrMapping/>
  </p:clrMapOvr>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p:cSld name="Notebook">
    <p:spTree>
      <p:nvGrpSpPr>
        <p:cNvPr id="1" name=""/>
        <p:cNvGrpSpPr/>
        <p:nvPr/>
      </p:nvGrpSpPr>
      <p:grpSpPr>
        <a:xfrm>
          <a:off x="0" y="0"/>
          <a:ext cx="0" cy="0"/>
          <a:chOff x="0" y="0"/>
          <a:chExt cx="0" cy="0"/>
        </a:xfrm>
      </p:grpSpPr>
      <p:pic>
        <p:nvPicPr>
          <p:cNvPr id="13" name="Notebook">
            <a:extLst>
              <a:ext uri="{FF2B5EF4-FFF2-40B4-BE49-F238E27FC236}">
                <a16:creationId xmlns:a16="http://schemas.microsoft.com/office/drawing/2014/main" id="{6DEE1461-64EC-7246-8FA6-71C6BF497627}"/>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3651351" y="1267198"/>
            <a:ext cx="8528460" cy="5161713"/>
          </a:xfrm>
          <a:prstGeom prst="rect">
            <a:avLst/>
          </a:prstGeom>
        </p:spPr>
      </p:pic>
      <p:sp>
        <p:nvSpPr>
          <p:cNvPr id="21" name="Date Placeholder 20"/>
          <p:cNvSpPr>
            <a:spLocks noGrp="1"/>
          </p:cNvSpPr>
          <p:nvPr>
            <p:ph type="dt" sz="half" idx="14"/>
          </p:nvPr>
        </p:nvSpPr>
        <p:spPr>
          <a:xfrm>
            <a:off x="192088" y="6461673"/>
            <a:ext cx="761512" cy="133789"/>
          </a:xfrm>
          <a:prstGeom prst="rect">
            <a:avLst/>
          </a:prstGeom>
        </p:spPr>
        <p:txBody>
          <a:bodyPr/>
          <a:lstStyle/>
          <a:p>
            <a:fld id="{DC5CC4D7-5797-439F-A8BE-F20DB0B4B50C}" type="datetime5">
              <a:rPr lang="en-US" smtClean="0"/>
              <a:t>26-Jun-20</a:t>
            </a:fld>
            <a:endParaRPr lang="en-US"/>
          </a:p>
        </p:txBody>
      </p:sp>
      <p:sp>
        <p:nvSpPr>
          <p:cNvPr id="22" name="Footer Placeholder 21"/>
          <p:cNvSpPr>
            <a:spLocks noGrp="1"/>
          </p:cNvSpPr>
          <p:nvPr>
            <p:ph type="ftr" sz="quarter" idx="15"/>
          </p:nvPr>
        </p:nvSpPr>
        <p:spPr>
          <a:xfrm>
            <a:off x="1076400" y="6461673"/>
            <a:ext cx="8162717" cy="133789"/>
          </a:xfrm>
          <a:prstGeom prst="rect">
            <a:avLst/>
          </a:prstGeom>
        </p:spPr>
        <p:txBody>
          <a:bodyPr/>
          <a:lstStyle/>
          <a:p>
            <a:r>
              <a:rPr lang="en-US"/>
              <a:t>Title of presentation (Insert / Header &amp; Footer / Apply to All)</a:t>
            </a:r>
            <a:endParaRPr lang="en-US" dirty="0"/>
          </a:p>
        </p:txBody>
      </p:sp>
      <p:sp>
        <p:nvSpPr>
          <p:cNvPr id="23" name="Slide Number Placeholder 22"/>
          <p:cNvSpPr>
            <a:spLocks noGrp="1"/>
          </p:cNvSpPr>
          <p:nvPr>
            <p:ph type="sldNum" sz="quarter" idx="16"/>
          </p:nvPr>
        </p:nvSpPr>
        <p:spPr/>
        <p:txBody>
          <a:bodyPr/>
          <a:lstStyle/>
          <a:p>
            <a:fld id="{5F3E29E4-0979-4FCA-B4C5-5FC6044C982A}" type="slidenum">
              <a:rPr lang="en-US" smtClean="0"/>
              <a:t>‹#›</a:t>
            </a:fld>
            <a:endParaRPr lang="en-US"/>
          </a:p>
        </p:txBody>
      </p:sp>
      <p:sp>
        <p:nvSpPr>
          <p:cNvPr id="2" name="Title 1"/>
          <p:cNvSpPr>
            <a:spLocks noGrp="1"/>
          </p:cNvSpPr>
          <p:nvPr>
            <p:ph type="title" hasCustomPrompt="1"/>
          </p:nvPr>
        </p:nvSpPr>
        <p:spPr/>
        <p:txBody>
          <a:bodyPr/>
          <a:lstStyle>
            <a:lvl1pPr>
              <a:defRPr/>
            </a:lvl1pPr>
          </a:lstStyle>
          <a:p>
            <a:r>
              <a:rPr lang="en-US" dirty="0"/>
              <a:t>Click to add slide title</a:t>
            </a:r>
          </a:p>
        </p:txBody>
      </p:sp>
      <p:sp>
        <p:nvSpPr>
          <p:cNvPr id="7" name="Subtitle 2"/>
          <p:cNvSpPr>
            <a:spLocks noGrp="1"/>
          </p:cNvSpPr>
          <p:nvPr>
            <p:ph type="subTitle" idx="13" hasCustomPrompt="1"/>
          </p:nvPr>
        </p:nvSpPr>
        <p:spPr>
          <a:xfrm>
            <a:off x="1075062" y="964672"/>
            <a:ext cx="7910159" cy="490042"/>
          </a:xfrm>
        </p:spPr>
        <p:txBody>
          <a:bodyPr wrap="none"/>
          <a:lstStyle>
            <a:lvl1pPr marL="0" indent="0" algn="l">
              <a:spcBef>
                <a:spcPts val="0"/>
              </a:spcBef>
              <a:buNone/>
              <a:defRPr sz="2399"/>
            </a:lvl1pPr>
            <a:lvl2pPr marL="457051" indent="0" algn="ctr">
              <a:buNone/>
              <a:defRPr sz="1999"/>
            </a:lvl2pPr>
            <a:lvl3pPr marL="914103" indent="0" algn="ctr">
              <a:buNone/>
              <a:defRPr sz="1799"/>
            </a:lvl3pPr>
            <a:lvl4pPr marL="1371154" indent="0" algn="ctr">
              <a:buNone/>
              <a:defRPr sz="1599"/>
            </a:lvl4pPr>
            <a:lvl5pPr marL="1828206" indent="0" algn="ctr">
              <a:buNone/>
              <a:defRPr sz="1599"/>
            </a:lvl5pPr>
            <a:lvl6pPr marL="2285257" indent="0" algn="ctr">
              <a:buNone/>
              <a:defRPr sz="1599"/>
            </a:lvl6pPr>
            <a:lvl7pPr marL="2742308" indent="0" algn="ctr">
              <a:buNone/>
              <a:defRPr sz="1599"/>
            </a:lvl7pPr>
            <a:lvl8pPr marL="3199360" indent="0" algn="ctr">
              <a:buNone/>
              <a:defRPr sz="1599"/>
            </a:lvl8pPr>
            <a:lvl9pPr marL="3656411" indent="0" algn="ctr">
              <a:buNone/>
              <a:defRPr sz="1599"/>
            </a:lvl9pPr>
          </a:lstStyle>
          <a:p>
            <a:r>
              <a:rPr lang="en-US" dirty="0"/>
              <a:t>Click to add subtitle</a:t>
            </a:r>
          </a:p>
        </p:txBody>
      </p:sp>
      <p:sp>
        <p:nvSpPr>
          <p:cNvPr id="3" name="Content Placeholder 2"/>
          <p:cNvSpPr>
            <a:spLocks noGrp="1"/>
          </p:cNvSpPr>
          <p:nvPr>
            <p:ph idx="1" hasCustomPrompt="1"/>
          </p:nvPr>
        </p:nvSpPr>
        <p:spPr>
          <a:xfrm>
            <a:off x="1075063" y="1852624"/>
            <a:ext cx="3287388" cy="3658714"/>
          </a:xfrm>
        </p:spPr>
        <p:txBody>
          <a:bodyPr anchor="ctr"/>
          <a:lstStyle>
            <a:lvl1pPr>
              <a:defRPr sz="1599"/>
            </a:lvl1pPr>
            <a:lvl2pPr>
              <a:defRPr sz="1599"/>
            </a:lvl2pPr>
            <a:lvl3pPr>
              <a:defRPr sz="1599"/>
            </a:lvl3pPr>
            <a:lvl4pPr>
              <a:defRPr sz="1599"/>
            </a:lvl4pPr>
            <a:lvl5pPr>
              <a:defRPr sz="1599"/>
            </a:lvl5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Picture Placeholder 4"/>
          <p:cNvSpPr>
            <a:spLocks noGrp="1"/>
          </p:cNvSpPr>
          <p:nvPr>
            <p:ph type="pic" sz="quarter" idx="17" hasCustomPrompt="1"/>
          </p:nvPr>
        </p:nvSpPr>
        <p:spPr>
          <a:xfrm>
            <a:off x="4904507" y="1821610"/>
            <a:ext cx="6001200" cy="3664801"/>
          </a:xfrm>
          <a:solidFill>
            <a:srgbClr val="D9DADB"/>
          </a:solidFill>
        </p:spPr>
        <p:txBody>
          <a:bodyPr/>
          <a:lstStyle>
            <a:lvl1pPr marL="0" indent="0">
              <a:buNone/>
              <a:defRPr/>
            </a:lvl1pPr>
          </a:lstStyle>
          <a:p>
            <a:r>
              <a:rPr lang="en-US" dirty="0"/>
              <a:t>Insert picture</a:t>
            </a:r>
          </a:p>
        </p:txBody>
      </p:sp>
      <p:sp>
        <p:nvSpPr>
          <p:cNvPr id="11" name="Text Placeholder 4"/>
          <p:cNvSpPr>
            <a:spLocks noGrp="1"/>
          </p:cNvSpPr>
          <p:nvPr>
            <p:ph type="body" sz="quarter" idx="18" hasCustomPrompt="1"/>
          </p:nvPr>
        </p:nvSpPr>
        <p:spPr>
          <a:xfrm>
            <a:off x="1075064" y="6307665"/>
            <a:ext cx="8162717" cy="133200"/>
          </a:xfrm>
        </p:spPr>
        <p:txBody>
          <a:bodyPr lIns="0" tIns="0" rIns="0" bIns="0" anchor="b" anchorCtr="0"/>
          <a:lstStyle>
            <a:lvl1pPr marL="0" indent="0" algn="l">
              <a:lnSpc>
                <a:spcPct val="100000"/>
              </a:lnSpc>
              <a:spcBef>
                <a:spcPts val="0"/>
              </a:spcBef>
              <a:buNone/>
              <a:defRPr sz="800" baseline="0"/>
            </a:lvl1pPr>
            <a:lvl2pPr marL="0" indent="0" algn="l">
              <a:lnSpc>
                <a:spcPct val="100000"/>
              </a:lnSpc>
              <a:spcBef>
                <a:spcPts val="0"/>
              </a:spcBef>
              <a:buNone/>
              <a:defRPr sz="800"/>
            </a:lvl2pPr>
            <a:lvl3pPr marL="0" indent="0" algn="l">
              <a:lnSpc>
                <a:spcPct val="100000"/>
              </a:lnSpc>
              <a:spcBef>
                <a:spcPts val="0"/>
              </a:spcBef>
              <a:buNone/>
              <a:defRPr sz="800"/>
            </a:lvl3pPr>
            <a:lvl4pPr marL="0" algn="l">
              <a:lnSpc>
                <a:spcPct val="100000"/>
              </a:lnSpc>
              <a:spcBef>
                <a:spcPts val="0"/>
              </a:spcBef>
              <a:buNone/>
              <a:defRPr sz="800"/>
            </a:lvl4pPr>
            <a:lvl5pPr marL="0" indent="0" algn="l">
              <a:lnSpc>
                <a:spcPct val="100000"/>
              </a:lnSpc>
              <a:spcBef>
                <a:spcPts val="0"/>
              </a:spcBef>
              <a:buNone/>
              <a:defRPr sz="800"/>
            </a:lvl5pPr>
          </a:lstStyle>
          <a:p>
            <a:pPr lvl="0"/>
            <a:r>
              <a:rPr lang="en-US" dirty="0"/>
              <a:t>Source line</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759846964"/>
      </p:ext>
    </p:extLst>
  </p:cSld>
  <p:clrMapOvr>
    <a:masterClrMapping/>
  </p:clrMapOvr>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p:cSld name="Tablet">
    <p:spTree>
      <p:nvGrpSpPr>
        <p:cNvPr id="1" name=""/>
        <p:cNvGrpSpPr/>
        <p:nvPr/>
      </p:nvGrpSpPr>
      <p:grpSpPr>
        <a:xfrm>
          <a:off x="0" y="0"/>
          <a:ext cx="0" cy="0"/>
          <a:chOff x="0" y="0"/>
          <a:chExt cx="0" cy="0"/>
        </a:xfrm>
      </p:grpSpPr>
      <p:pic>
        <p:nvPicPr>
          <p:cNvPr id="12" name="Grafik 3">
            <a:extLst>
              <a:ext uri="{FF2B5EF4-FFF2-40B4-BE49-F238E27FC236}">
                <a16:creationId xmlns:a16="http://schemas.microsoft.com/office/drawing/2014/main" id="{1D97A272-8DE5-144D-9076-0F435EC79171}"/>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4422451" y="1441281"/>
            <a:ext cx="6858000" cy="5323584"/>
          </a:xfrm>
          <a:prstGeom prst="rect">
            <a:avLst/>
          </a:prstGeom>
        </p:spPr>
      </p:pic>
      <p:sp>
        <p:nvSpPr>
          <p:cNvPr id="21" name="Date Placeholder 20"/>
          <p:cNvSpPr>
            <a:spLocks noGrp="1"/>
          </p:cNvSpPr>
          <p:nvPr>
            <p:ph type="dt" sz="half" idx="14"/>
          </p:nvPr>
        </p:nvSpPr>
        <p:spPr>
          <a:xfrm>
            <a:off x="192088" y="6461673"/>
            <a:ext cx="761512" cy="133789"/>
          </a:xfrm>
          <a:prstGeom prst="rect">
            <a:avLst/>
          </a:prstGeom>
        </p:spPr>
        <p:txBody>
          <a:bodyPr/>
          <a:lstStyle/>
          <a:p>
            <a:fld id="{22BF40EB-4E4B-4735-9535-C7494D4B38E6}" type="datetime5">
              <a:rPr lang="en-US" smtClean="0"/>
              <a:t>26-Jun-20</a:t>
            </a:fld>
            <a:endParaRPr lang="en-US"/>
          </a:p>
        </p:txBody>
      </p:sp>
      <p:sp>
        <p:nvSpPr>
          <p:cNvPr id="22" name="Footer Placeholder 21"/>
          <p:cNvSpPr>
            <a:spLocks noGrp="1"/>
          </p:cNvSpPr>
          <p:nvPr>
            <p:ph type="ftr" sz="quarter" idx="15"/>
          </p:nvPr>
        </p:nvSpPr>
        <p:spPr>
          <a:xfrm>
            <a:off x="1076400" y="6461673"/>
            <a:ext cx="8162717" cy="133789"/>
          </a:xfrm>
          <a:prstGeom prst="rect">
            <a:avLst/>
          </a:prstGeom>
        </p:spPr>
        <p:txBody>
          <a:bodyPr/>
          <a:lstStyle>
            <a:lvl1pPr>
              <a:defRPr/>
            </a:lvl1pPr>
          </a:lstStyle>
          <a:p>
            <a:r>
              <a:rPr lang="en-US" dirty="0"/>
              <a:t>TCG Market</a:t>
            </a:r>
          </a:p>
        </p:txBody>
      </p:sp>
      <p:sp>
        <p:nvSpPr>
          <p:cNvPr id="23" name="Slide Number Placeholder 22"/>
          <p:cNvSpPr>
            <a:spLocks noGrp="1"/>
          </p:cNvSpPr>
          <p:nvPr>
            <p:ph type="sldNum" sz="quarter" idx="16"/>
          </p:nvPr>
        </p:nvSpPr>
        <p:spPr/>
        <p:txBody>
          <a:bodyPr/>
          <a:lstStyle/>
          <a:p>
            <a:fld id="{5F3E29E4-0979-4FCA-B4C5-5FC6044C982A}" type="slidenum">
              <a:rPr lang="en-US" smtClean="0"/>
              <a:t>‹#›</a:t>
            </a:fld>
            <a:endParaRPr lang="en-US"/>
          </a:p>
        </p:txBody>
      </p:sp>
      <p:sp>
        <p:nvSpPr>
          <p:cNvPr id="2" name="Title 1"/>
          <p:cNvSpPr>
            <a:spLocks noGrp="1"/>
          </p:cNvSpPr>
          <p:nvPr>
            <p:ph type="title" hasCustomPrompt="1"/>
          </p:nvPr>
        </p:nvSpPr>
        <p:spPr/>
        <p:txBody>
          <a:bodyPr/>
          <a:lstStyle>
            <a:lvl1pPr>
              <a:defRPr/>
            </a:lvl1pPr>
          </a:lstStyle>
          <a:p>
            <a:r>
              <a:rPr lang="en-US" dirty="0"/>
              <a:t>Click to add slide title</a:t>
            </a:r>
          </a:p>
        </p:txBody>
      </p:sp>
      <p:sp>
        <p:nvSpPr>
          <p:cNvPr id="7" name="Subtitle 2"/>
          <p:cNvSpPr>
            <a:spLocks noGrp="1"/>
          </p:cNvSpPr>
          <p:nvPr>
            <p:ph type="subTitle" idx="13" hasCustomPrompt="1"/>
          </p:nvPr>
        </p:nvSpPr>
        <p:spPr>
          <a:xfrm>
            <a:off x="1075062" y="964672"/>
            <a:ext cx="7910159" cy="490042"/>
          </a:xfrm>
        </p:spPr>
        <p:txBody>
          <a:bodyPr wrap="none"/>
          <a:lstStyle>
            <a:lvl1pPr marL="0" indent="0" algn="l">
              <a:spcBef>
                <a:spcPts val="0"/>
              </a:spcBef>
              <a:buNone/>
              <a:defRPr sz="2399"/>
            </a:lvl1pPr>
            <a:lvl2pPr marL="457051" indent="0" algn="ctr">
              <a:buNone/>
              <a:defRPr sz="1999"/>
            </a:lvl2pPr>
            <a:lvl3pPr marL="914103" indent="0" algn="ctr">
              <a:buNone/>
              <a:defRPr sz="1799"/>
            </a:lvl3pPr>
            <a:lvl4pPr marL="1371154" indent="0" algn="ctr">
              <a:buNone/>
              <a:defRPr sz="1599"/>
            </a:lvl4pPr>
            <a:lvl5pPr marL="1828206" indent="0" algn="ctr">
              <a:buNone/>
              <a:defRPr sz="1599"/>
            </a:lvl5pPr>
            <a:lvl6pPr marL="2285257" indent="0" algn="ctr">
              <a:buNone/>
              <a:defRPr sz="1599"/>
            </a:lvl6pPr>
            <a:lvl7pPr marL="2742308" indent="0" algn="ctr">
              <a:buNone/>
              <a:defRPr sz="1599"/>
            </a:lvl7pPr>
            <a:lvl8pPr marL="3199360" indent="0" algn="ctr">
              <a:buNone/>
              <a:defRPr sz="1599"/>
            </a:lvl8pPr>
            <a:lvl9pPr marL="3656411" indent="0" algn="ctr">
              <a:buNone/>
              <a:defRPr sz="1599"/>
            </a:lvl9pPr>
          </a:lstStyle>
          <a:p>
            <a:r>
              <a:rPr lang="en-US" dirty="0"/>
              <a:t>Click to add subtitle</a:t>
            </a:r>
          </a:p>
        </p:txBody>
      </p:sp>
      <p:sp>
        <p:nvSpPr>
          <p:cNvPr id="3" name="Content Placeholder 2"/>
          <p:cNvSpPr>
            <a:spLocks noGrp="1"/>
          </p:cNvSpPr>
          <p:nvPr>
            <p:ph idx="1" hasCustomPrompt="1"/>
          </p:nvPr>
        </p:nvSpPr>
        <p:spPr>
          <a:xfrm>
            <a:off x="1075063" y="1852624"/>
            <a:ext cx="3287388" cy="3658714"/>
          </a:xfrm>
        </p:spPr>
        <p:txBody>
          <a:bodyPr anchor="ctr"/>
          <a:lstStyle>
            <a:lvl1pPr>
              <a:defRPr sz="1599"/>
            </a:lvl1pPr>
            <a:lvl2pPr>
              <a:defRPr sz="1599"/>
            </a:lvl2pPr>
            <a:lvl3pPr>
              <a:defRPr sz="1599"/>
            </a:lvl3pPr>
            <a:lvl4pPr>
              <a:defRPr sz="1599"/>
            </a:lvl4pPr>
            <a:lvl5pPr>
              <a:defRPr sz="1599"/>
            </a:lvl5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Picture Placeholder 4"/>
          <p:cNvSpPr>
            <a:spLocks noGrp="1"/>
          </p:cNvSpPr>
          <p:nvPr>
            <p:ph type="pic" sz="quarter" idx="17" hasCustomPrompt="1"/>
          </p:nvPr>
        </p:nvSpPr>
        <p:spPr>
          <a:xfrm>
            <a:off x="5135561" y="2010934"/>
            <a:ext cx="5491064" cy="3428280"/>
          </a:xfrm>
          <a:solidFill>
            <a:srgbClr val="D9DADB"/>
          </a:solidFill>
        </p:spPr>
        <p:txBody>
          <a:bodyPr/>
          <a:lstStyle>
            <a:lvl1pPr marL="0" indent="0">
              <a:buNone/>
              <a:defRPr/>
            </a:lvl1pPr>
          </a:lstStyle>
          <a:p>
            <a:r>
              <a:rPr lang="en-US" dirty="0"/>
              <a:t>Insert picture</a:t>
            </a:r>
          </a:p>
        </p:txBody>
      </p:sp>
      <p:sp>
        <p:nvSpPr>
          <p:cNvPr id="11" name="Text Placeholder 4"/>
          <p:cNvSpPr>
            <a:spLocks noGrp="1"/>
          </p:cNvSpPr>
          <p:nvPr>
            <p:ph type="body" sz="quarter" idx="18" hasCustomPrompt="1"/>
          </p:nvPr>
        </p:nvSpPr>
        <p:spPr>
          <a:xfrm>
            <a:off x="1075064" y="6307665"/>
            <a:ext cx="8162717" cy="133200"/>
          </a:xfrm>
        </p:spPr>
        <p:txBody>
          <a:bodyPr lIns="0" tIns="0" rIns="0" bIns="0" anchor="b" anchorCtr="0"/>
          <a:lstStyle>
            <a:lvl1pPr marL="0" indent="0" algn="l">
              <a:lnSpc>
                <a:spcPct val="100000"/>
              </a:lnSpc>
              <a:spcBef>
                <a:spcPts val="0"/>
              </a:spcBef>
              <a:buNone/>
              <a:defRPr sz="800" baseline="0"/>
            </a:lvl1pPr>
            <a:lvl2pPr marL="0" indent="0" algn="l">
              <a:lnSpc>
                <a:spcPct val="100000"/>
              </a:lnSpc>
              <a:spcBef>
                <a:spcPts val="0"/>
              </a:spcBef>
              <a:buNone/>
              <a:defRPr sz="800"/>
            </a:lvl2pPr>
            <a:lvl3pPr marL="0" indent="0" algn="l">
              <a:lnSpc>
                <a:spcPct val="100000"/>
              </a:lnSpc>
              <a:spcBef>
                <a:spcPts val="0"/>
              </a:spcBef>
              <a:buNone/>
              <a:defRPr sz="800"/>
            </a:lvl3pPr>
            <a:lvl4pPr marL="0" algn="l">
              <a:lnSpc>
                <a:spcPct val="100000"/>
              </a:lnSpc>
              <a:spcBef>
                <a:spcPts val="0"/>
              </a:spcBef>
              <a:buNone/>
              <a:defRPr sz="800"/>
            </a:lvl4pPr>
            <a:lvl5pPr marL="0" indent="0" algn="l">
              <a:lnSpc>
                <a:spcPct val="100000"/>
              </a:lnSpc>
              <a:spcBef>
                <a:spcPts val="0"/>
              </a:spcBef>
              <a:buNone/>
              <a:defRPr sz="800"/>
            </a:lvl5pPr>
          </a:lstStyle>
          <a:p>
            <a:pPr lvl="0"/>
            <a:r>
              <a:rPr lang="en-US" dirty="0"/>
              <a:t>Source line</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865713845"/>
      </p:ext>
    </p:extLst>
  </p:cSld>
  <p:clrMapOvr>
    <a:masterClrMapping/>
  </p:clrMapOvr>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p:cSld name="Smartphone">
    <p:spTree>
      <p:nvGrpSpPr>
        <p:cNvPr id="1" name=""/>
        <p:cNvGrpSpPr/>
        <p:nvPr/>
      </p:nvGrpSpPr>
      <p:grpSpPr>
        <a:xfrm>
          <a:off x="0" y="0"/>
          <a:ext cx="0" cy="0"/>
          <a:chOff x="0" y="0"/>
          <a:chExt cx="0" cy="0"/>
        </a:xfrm>
      </p:grpSpPr>
      <p:pic>
        <p:nvPicPr>
          <p:cNvPr id="10" name="Grafik 2">
            <a:extLst>
              <a:ext uri="{FF2B5EF4-FFF2-40B4-BE49-F238E27FC236}">
                <a16:creationId xmlns:a16="http://schemas.microsoft.com/office/drawing/2014/main" id="{6421FD8A-F5D4-E041-A727-98ABA693B1A7}"/>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5472449" y="1362517"/>
            <a:ext cx="4953000" cy="4865134"/>
          </a:xfrm>
          <a:prstGeom prst="rect">
            <a:avLst/>
          </a:prstGeom>
          <a:effectLst>
            <a:reflection blurRad="6350" stA="48000" endPos="6000" dir="5400000" sy="-100000" algn="bl" rotWithShape="0"/>
          </a:effectLst>
        </p:spPr>
      </p:pic>
      <p:sp>
        <p:nvSpPr>
          <p:cNvPr id="21" name="Date Placeholder 20"/>
          <p:cNvSpPr>
            <a:spLocks noGrp="1"/>
          </p:cNvSpPr>
          <p:nvPr>
            <p:ph type="dt" sz="half" idx="14"/>
          </p:nvPr>
        </p:nvSpPr>
        <p:spPr>
          <a:xfrm>
            <a:off x="192088" y="6461673"/>
            <a:ext cx="761512" cy="133789"/>
          </a:xfrm>
          <a:prstGeom prst="rect">
            <a:avLst/>
          </a:prstGeom>
        </p:spPr>
        <p:txBody>
          <a:bodyPr/>
          <a:lstStyle/>
          <a:p>
            <a:fld id="{3A57DC1E-3194-45CD-A5C4-CC4893251E0F}" type="datetime5">
              <a:rPr lang="en-US" smtClean="0"/>
              <a:t>26-Jun-20</a:t>
            </a:fld>
            <a:endParaRPr lang="en-US"/>
          </a:p>
        </p:txBody>
      </p:sp>
      <p:sp>
        <p:nvSpPr>
          <p:cNvPr id="22" name="Footer Placeholder 21"/>
          <p:cNvSpPr>
            <a:spLocks noGrp="1"/>
          </p:cNvSpPr>
          <p:nvPr>
            <p:ph type="ftr" sz="quarter" idx="15"/>
          </p:nvPr>
        </p:nvSpPr>
        <p:spPr>
          <a:xfrm>
            <a:off x="1076400" y="6461673"/>
            <a:ext cx="8162717" cy="133789"/>
          </a:xfrm>
          <a:prstGeom prst="rect">
            <a:avLst/>
          </a:prstGeom>
        </p:spPr>
        <p:txBody>
          <a:bodyPr/>
          <a:lstStyle>
            <a:lvl1pPr>
              <a:defRPr/>
            </a:lvl1pPr>
          </a:lstStyle>
          <a:p>
            <a:r>
              <a:rPr lang="en-US" dirty="0"/>
              <a:t>TCG Market</a:t>
            </a:r>
          </a:p>
        </p:txBody>
      </p:sp>
      <p:sp>
        <p:nvSpPr>
          <p:cNvPr id="23" name="Slide Number Placeholder 22"/>
          <p:cNvSpPr>
            <a:spLocks noGrp="1"/>
          </p:cNvSpPr>
          <p:nvPr>
            <p:ph type="sldNum" sz="quarter" idx="16"/>
          </p:nvPr>
        </p:nvSpPr>
        <p:spPr/>
        <p:txBody>
          <a:bodyPr/>
          <a:lstStyle/>
          <a:p>
            <a:fld id="{5F3E29E4-0979-4FCA-B4C5-5FC6044C982A}" type="slidenum">
              <a:rPr lang="en-US" smtClean="0"/>
              <a:t>‹#›</a:t>
            </a:fld>
            <a:endParaRPr lang="en-US"/>
          </a:p>
        </p:txBody>
      </p:sp>
      <p:sp>
        <p:nvSpPr>
          <p:cNvPr id="2" name="Title 1"/>
          <p:cNvSpPr>
            <a:spLocks noGrp="1"/>
          </p:cNvSpPr>
          <p:nvPr>
            <p:ph type="title" hasCustomPrompt="1"/>
          </p:nvPr>
        </p:nvSpPr>
        <p:spPr/>
        <p:txBody>
          <a:bodyPr/>
          <a:lstStyle>
            <a:lvl1pPr>
              <a:defRPr/>
            </a:lvl1pPr>
          </a:lstStyle>
          <a:p>
            <a:r>
              <a:rPr lang="en-US" dirty="0"/>
              <a:t>Click to add slide title</a:t>
            </a:r>
          </a:p>
        </p:txBody>
      </p:sp>
      <p:sp>
        <p:nvSpPr>
          <p:cNvPr id="7" name="Subtitle 2"/>
          <p:cNvSpPr>
            <a:spLocks noGrp="1"/>
          </p:cNvSpPr>
          <p:nvPr>
            <p:ph type="subTitle" idx="13" hasCustomPrompt="1"/>
          </p:nvPr>
        </p:nvSpPr>
        <p:spPr>
          <a:xfrm>
            <a:off x="1075062" y="964672"/>
            <a:ext cx="7910159" cy="490042"/>
          </a:xfrm>
        </p:spPr>
        <p:txBody>
          <a:bodyPr wrap="none"/>
          <a:lstStyle>
            <a:lvl1pPr marL="0" indent="0" algn="l">
              <a:spcBef>
                <a:spcPts val="0"/>
              </a:spcBef>
              <a:buNone/>
              <a:defRPr sz="2399"/>
            </a:lvl1pPr>
            <a:lvl2pPr marL="457051" indent="0" algn="ctr">
              <a:buNone/>
              <a:defRPr sz="1999"/>
            </a:lvl2pPr>
            <a:lvl3pPr marL="914103" indent="0" algn="ctr">
              <a:buNone/>
              <a:defRPr sz="1799"/>
            </a:lvl3pPr>
            <a:lvl4pPr marL="1371154" indent="0" algn="ctr">
              <a:buNone/>
              <a:defRPr sz="1599"/>
            </a:lvl4pPr>
            <a:lvl5pPr marL="1828206" indent="0" algn="ctr">
              <a:buNone/>
              <a:defRPr sz="1599"/>
            </a:lvl5pPr>
            <a:lvl6pPr marL="2285257" indent="0" algn="ctr">
              <a:buNone/>
              <a:defRPr sz="1599"/>
            </a:lvl6pPr>
            <a:lvl7pPr marL="2742308" indent="0" algn="ctr">
              <a:buNone/>
              <a:defRPr sz="1599"/>
            </a:lvl7pPr>
            <a:lvl8pPr marL="3199360" indent="0" algn="ctr">
              <a:buNone/>
              <a:defRPr sz="1599"/>
            </a:lvl8pPr>
            <a:lvl9pPr marL="3656411" indent="0" algn="ctr">
              <a:buNone/>
              <a:defRPr sz="1599"/>
            </a:lvl9pPr>
          </a:lstStyle>
          <a:p>
            <a:r>
              <a:rPr lang="en-US" dirty="0"/>
              <a:t>Click to add subtitle</a:t>
            </a:r>
          </a:p>
        </p:txBody>
      </p:sp>
      <p:sp>
        <p:nvSpPr>
          <p:cNvPr id="3" name="Content Placeholder 2"/>
          <p:cNvSpPr>
            <a:spLocks noGrp="1"/>
          </p:cNvSpPr>
          <p:nvPr>
            <p:ph idx="1" hasCustomPrompt="1"/>
          </p:nvPr>
        </p:nvSpPr>
        <p:spPr>
          <a:xfrm>
            <a:off x="1075062" y="1852624"/>
            <a:ext cx="5241071" cy="3658714"/>
          </a:xfrm>
        </p:spPr>
        <p:txBody>
          <a:bodyPr anchor="ctr"/>
          <a:lstStyle>
            <a:lvl1pPr>
              <a:defRPr sz="1599"/>
            </a:lvl1pPr>
            <a:lvl2pPr>
              <a:defRPr sz="1599"/>
            </a:lvl2pPr>
            <a:lvl3pPr>
              <a:defRPr sz="1599"/>
            </a:lvl3pPr>
            <a:lvl4pPr>
              <a:defRPr sz="1599"/>
            </a:lvl4pPr>
            <a:lvl5pPr>
              <a:defRPr sz="1599"/>
            </a:lvl5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Picture Placeholder 4"/>
          <p:cNvSpPr>
            <a:spLocks noGrp="1"/>
          </p:cNvSpPr>
          <p:nvPr>
            <p:ph type="pic" sz="quarter" idx="17" hasCustomPrompt="1"/>
          </p:nvPr>
        </p:nvSpPr>
        <p:spPr>
          <a:xfrm>
            <a:off x="6923531" y="1784822"/>
            <a:ext cx="2006655" cy="4104000"/>
          </a:xfrm>
          <a:solidFill>
            <a:srgbClr val="D9DADB"/>
          </a:solidFill>
        </p:spPr>
        <p:txBody>
          <a:bodyPr/>
          <a:lstStyle>
            <a:lvl1pPr marL="0" indent="0">
              <a:buNone/>
              <a:defRPr/>
            </a:lvl1pPr>
          </a:lstStyle>
          <a:p>
            <a:r>
              <a:rPr lang="en-US" dirty="0"/>
              <a:t>Insert picture</a:t>
            </a:r>
          </a:p>
        </p:txBody>
      </p:sp>
      <p:sp>
        <p:nvSpPr>
          <p:cNvPr id="12" name="Text Placeholder 4"/>
          <p:cNvSpPr>
            <a:spLocks noGrp="1"/>
          </p:cNvSpPr>
          <p:nvPr>
            <p:ph type="body" sz="quarter" idx="18" hasCustomPrompt="1"/>
          </p:nvPr>
        </p:nvSpPr>
        <p:spPr>
          <a:xfrm>
            <a:off x="1075064" y="6307665"/>
            <a:ext cx="8162717" cy="133200"/>
          </a:xfrm>
        </p:spPr>
        <p:txBody>
          <a:bodyPr lIns="0" tIns="0" rIns="0" bIns="0" anchor="b" anchorCtr="0"/>
          <a:lstStyle>
            <a:lvl1pPr marL="0" indent="0" algn="l">
              <a:lnSpc>
                <a:spcPct val="100000"/>
              </a:lnSpc>
              <a:spcBef>
                <a:spcPts val="0"/>
              </a:spcBef>
              <a:buNone/>
              <a:defRPr sz="800" baseline="0"/>
            </a:lvl1pPr>
            <a:lvl2pPr marL="0" indent="0" algn="l">
              <a:lnSpc>
                <a:spcPct val="100000"/>
              </a:lnSpc>
              <a:spcBef>
                <a:spcPts val="0"/>
              </a:spcBef>
              <a:buNone/>
              <a:defRPr sz="800"/>
            </a:lvl2pPr>
            <a:lvl3pPr marL="0" indent="0" algn="l">
              <a:lnSpc>
                <a:spcPct val="100000"/>
              </a:lnSpc>
              <a:spcBef>
                <a:spcPts val="0"/>
              </a:spcBef>
              <a:buNone/>
              <a:defRPr sz="800"/>
            </a:lvl3pPr>
            <a:lvl4pPr marL="0" algn="l">
              <a:lnSpc>
                <a:spcPct val="100000"/>
              </a:lnSpc>
              <a:spcBef>
                <a:spcPts val="0"/>
              </a:spcBef>
              <a:buNone/>
              <a:defRPr sz="800"/>
            </a:lvl4pPr>
            <a:lvl5pPr marL="0" indent="0" algn="l">
              <a:lnSpc>
                <a:spcPct val="100000"/>
              </a:lnSpc>
              <a:spcBef>
                <a:spcPts val="0"/>
              </a:spcBef>
              <a:buNone/>
              <a:defRPr sz="800"/>
            </a:lvl5pPr>
          </a:lstStyle>
          <a:p>
            <a:pPr lvl="0"/>
            <a:r>
              <a:rPr lang="en-US" dirty="0"/>
              <a:t>Source line</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575076421"/>
      </p:ext>
    </p:extLst>
  </p:cSld>
  <p:clrMapOvr>
    <a:masterClrMapping/>
  </p:clrMapOvr>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p:cSld name="One contact">
    <p:spTree>
      <p:nvGrpSpPr>
        <p:cNvPr id="1" name=""/>
        <p:cNvGrpSpPr/>
        <p:nvPr/>
      </p:nvGrpSpPr>
      <p:grpSpPr>
        <a:xfrm>
          <a:off x="0" y="0"/>
          <a:ext cx="0" cy="0"/>
          <a:chOff x="0" y="0"/>
          <a:chExt cx="0" cy="0"/>
        </a:xfrm>
      </p:grpSpPr>
      <p:sp>
        <p:nvSpPr>
          <p:cNvPr id="4" name="Picture Placeholder 3"/>
          <p:cNvSpPr>
            <a:spLocks noGrp="1"/>
          </p:cNvSpPr>
          <p:nvPr>
            <p:ph type="pic" sz="quarter" idx="17" hasCustomPrompt="1"/>
          </p:nvPr>
        </p:nvSpPr>
        <p:spPr>
          <a:xfrm>
            <a:off x="1056218" y="1833657"/>
            <a:ext cx="3203503" cy="3935318"/>
          </a:xfrm>
          <a:solidFill>
            <a:srgbClr val="D9DADB"/>
          </a:solidFill>
        </p:spPr>
        <p:txBody>
          <a:bodyPr/>
          <a:lstStyle>
            <a:lvl1pPr marL="0" indent="0">
              <a:buNone/>
              <a:defRPr sz="1400"/>
            </a:lvl1pPr>
          </a:lstStyle>
          <a:p>
            <a:r>
              <a:rPr lang="en-US" dirty="0"/>
              <a:t>Insert picture</a:t>
            </a:r>
          </a:p>
        </p:txBody>
      </p:sp>
      <p:sp>
        <p:nvSpPr>
          <p:cNvPr id="21" name="Date Placeholder 20"/>
          <p:cNvSpPr>
            <a:spLocks noGrp="1"/>
          </p:cNvSpPr>
          <p:nvPr>
            <p:ph type="dt" sz="half" idx="14"/>
          </p:nvPr>
        </p:nvSpPr>
        <p:spPr>
          <a:xfrm>
            <a:off x="192088" y="6461673"/>
            <a:ext cx="761512" cy="133789"/>
          </a:xfrm>
          <a:prstGeom prst="rect">
            <a:avLst/>
          </a:prstGeom>
        </p:spPr>
        <p:txBody>
          <a:bodyPr/>
          <a:lstStyle/>
          <a:p>
            <a:fld id="{59171ED9-6851-4525-A763-2524710A57F8}" type="datetime5">
              <a:rPr lang="en-US" smtClean="0"/>
              <a:t>26-Jun-20</a:t>
            </a:fld>
            <a:endParaRPr lang="en-US"/>
          </a:p>
        </p:txBody>
      </p:sp>
      <p:sp>
        <p:nvSpPr>
          <p:cNvPr id="22" name="Footer Placeholder 21"/>
          <p:cNvSpPr>
            <a:spLocks noGrp="1"/>
          </p:cNvSpPr>
          <p:nvPr>
            <p:ph type="ftr" sz="quarter" idx="15"/>
          </p:nvPr>
        </p:nvSpPr>
        <p:spPr>
          <a:xfrm>
            <a:off x="1076400" y="6461673"/>
            <a:ext cx="8162717" cy="133789"/>
          </a:xfrm>
          <a:prstGeom prst="rect">
            <a:avLst/>
          </a:prstGeom>
        </p:spPr>
        <p:txBody>
          <a:bodyPr/>
          <a:lstStyle>
            <a:lvl1pPr>
              <a:defRPr/>
            </a:lvl1pPr>
          </a:lstStyle>
          <a:p>
            <a:r>
              <a:rPr lang="en-US" dirty="0"/>
              <a:t>TCG Market</a:t>
            </a:r>
          </a:p>
        </p:txBody>
      </p:sp>
      <p:sp>
        <p:nvSpPr>
          <p:cNvPr id="23" name="Slide Number Placeholder 22"/>
          <p:cNvSpPr>
            <a:spLocks noGrp="1"/>
          </p:cNvSpPr>
          <p:nvPr>
            <p:ph type="sldNum" sz="quarter" idx="16"/>
          </p:nvPr>
        </p:nvSpPr>
        <p:spPr/>
        <p:txBody>
          <a:bodyPr/>
          <a:lstStyle/>
          <a:p>
            <a:fld id="{5F3E29E4-0979-4FCA-B4C5-5FC6044C982A}" type="slidenum">
              <a:rPr lang="en-US" smtClean="0"/>
              <a:t>‹#›</a:t>
            </a:fld>
            <a:endParaRPr lang="en-US"/>
          </a:p>
        </p:txBody>
      </p:sp>
      <p:sp>
        <p:nvSpPr>
          <p:cNvPr id="2" name="Title 1"/>
          <p:cNvSpPr>
            <a:spLocks noGrp="1"/>
          </p:cNvSpPr>
          <p:nvPr>
            <p:ph type="title" hasCustomPrompt="1"/>
          </p:nvPr>
        </p:nvSpPr>
        <p:spPr/>
        <p:txBody>
          <a:bodyPr/>
          <a:lstStyle>
            <a:lvl1pPr>
              <a:defRPr/>
            </a:lvl1pPr>
          </a:lstStyle>
          <a:p>
            <a:r>
              <a:rPr lang="en-US" dirty="0"/>
              <a:t>Click to add contact title</a:t>
            </a:r>
          </a:p>
        </p:txBody>
      </p:sp>
      <p:sp>
        <p:nvSpPr>
          <p:cNvPr id="7" name="Subtitle 2"/>
          <p:cNvSpPr>
            <a:spLocks noGrp="1"/>
          </p:cNvSpPr>
          <p:nvPr>
            <p:ph type="subTitle" idx="13" hasCustomPrompt="1"/>
          </p:nvPr>
        </p:nvSpPr>
        <p:spPr>
          <a:xfrm>
            <a:off x="1075062" y="964672"/>
            <a:ext cx="7910159" cy="490042"/>
          </a:xfrm>
        </p:spPr>
        <p:txBody>
          <a:bodyPr wrap="none"/>
          <a:lstStyle>
            <a:lvl1pPr marL="0" indent="0" algn="l">
              <a:spcBef>
                <a:spcPts val="0"/>
              </a:spcBef>
              <a:buNone/>
              <a:defRPr sz="2399"/>
            </a:lvl1pPr>
            <a:lvl2pPr marL="457051" indent="0" algn="ctr">
              <a:buNone/>
              <a:defRPr sz="1999"/>
            </a:lvl2pPr>
            <a:lvl3pPr marL="914103" indent="0" algn="ctr">
              <a:buNone/>
              <a:defRPr sz="1799"/>
            </a:lvl3pPr>
            <a:lvl4pPr marL="1371154" indent="0" algn="ctr">
              <a:buNone/>
              <a:defRPr sz="1599"/>
            </a:lvl4pPr>
            <a:lvl5pPr marL="1828206" indent="0" algn="ctr">
              <a:buNone/>
              <a:defRPr sz="1599"/>
            </a:lvl5pPr>
            <a:lvl6pPr marL="2285257" indent="0" algn="ctr">
              <a:buNone/>
              <a:defRPr sz="1599"/>
            </a:lvl6pPr>
            <a:lvl7pPr marL="2742308" indent="0" algn="ctr">
              <a:buNone/>
              <a:defRPr sz="1599"/>
            </a:lvl7pPr>
            <a:lvl8pPr marL="3199360" indent="0" algn="ctr">
              <a:buNone/>
              <a:defRPr sz="1599"/>
            </a:lvl8pPr>
            <a:lvl9pPr marL="3656411" indent="0" algn="ctr">
              <a:buNone/>
              <a:defRPr sz="1599"/>
            </a:lvl9pPr>
          </a:lstStyle>
          <a:p>
            <a:r>
              <a:rPr lang="en-US" dirty="0"/>
              <a:t>Click to add subtitle</a:t>
            </a:r>
          </a:p>
        </p:txBody>
      </p:sp>
      <p:grpSp>
        <p:nvGrpSpPr>
          <p:cNvPr id="8" name="Gruppieren 80">
            <a:extLst>
              <a:ext uri="{FF2B5EF4-FFF2-40B4-BE49-F238E27FC236}">
                <a16:creationId xmlns:a16="http://schemas.microsoft.com/office/drawing/2014/main" id="{6B969E7B-9C39-4443-9B02-74C1E7C5CCAC}"/>
              </a:ext>
            </a:extLst>
          </p:cNvPr>
          <p:cNvGrpSpPr/>
          <p:nvPr/>
        </p:nvGrpSpPr>
        <p:grpSpPr>
          <a:xfrm>
            <a:off x="4451002" y="2884200"/>
            <a:ext cx="171180" cy="171180"/>
            <a:chOff x="3392092" y="1841122"/>
            <a:chExt cx="646508" cy="646508"/>
          </a:xfrm>
        </p:grpSpPr>
        <p:sp>
          <p:nvSpPr>
            <p:cNvPr id="9" name="Rechteck 14">
              <a:extLst>
                <a:ext uri="{FF2B5EF4-FFF2-40B4-BE49-F238E27FC236}">
                  <a16:creationId xmlns:a16="http://schemas.microsoft.com/office/drawing/2014/main" id="{D78F58EA-5525-8D43-8295-FEA52ECF6BFA}"/>
                </a:ext>
              </a:extLst>
            </p:cNvPr>
            <p:cNvSpPr>
              <a:spLocks noChangeAspect="1"/>
            </p:cNvSpPr>
            <p:nvPr/>
          </p:nvSpPr>
          <p:spPr bwMode="gray">
            <a:xfrm>
              <a:off x="3392092" y="1841122"/>
              <a:ext cx="646508" cy="646508"/>
            </a:xfrm>
            <a:prstGeom prst="rect">
              <a:avLst/>
            </a:prstGeom>
            <a:solidFill>
              <a:srgbClr val="E55A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pPr>
              <a:endParaRPr lang="en-US" sz="1000" dirty="0">
                <a:solidFill>
                  <a:schemeClr val="tx1"/>
                </a:solidFill>
                <a:latin typeface="Arial" pitchFamily="34" charset="0"/>
                <a:cs typeface="Arial" pitchFamily="34" charset="0"/>
              </a:endParaRPr>
            </a:p>
          </p:txBody>
        </p:sp>
        <p:sp>
          <p:nvSpPr>
            <p:cNvPr id="10" name="Freeform 67">
              <a:extLst>
                <a:ext uri="{FF2B5EF4-FFF2-40B4-BE49-F238E27FC236}">
                  <a16:creationId xmlns:a16="http://schemas.microsoft.com/office/drawing/2014/main" id="{D01A6292-2776-4945-B828-483D79DC4908}"/>
                </a:ext>
              </a:extLst>
            </p:cNvPr>
            <p:cNvSpPr>
              <a:spLocks noChangeAspect="1"/>
            </p:cNvSpPr>
            <p:nvPr/>
          </p:nvSpPr>
          <p:spPr bwMode="auto">
            <a:xfrm>
              <a:off x="3546638" y="1970424"/>
              <a:ext cx="337415" cy="387905"/>
            </a:xfrm>
            <a:custGeom>
              <a:avLst/>
              <a:gdLst>
                <a:gd name="T0" fmla="*/ 573 w 1624"/>
                <a:gd name="T1" fmla="*/ 1257 h 1867"/>
                <a:gd name="T2" fmla="*/ 662 w 1624"/>
                <a:gd name="T3" fmla="*/ 1288 h 1867"/>
                <a:gd name="T4" fmla="*/ 938 w 1624"/>
                <a:gd name="T5" fmla="*/ 1051 h 1867"/>
                <a:gd name="T6" fmla="*/ 1106 w 1624"/>
                <a:gd name="T7" fmla="*/ 731 h 1867"/>
                <a:gd name="T8" fmla="*/ 1059 w 1624"/>
                <a:gd name="T9" fmla="*/ 645 h 1867"/>
                <a:gd name="T10" fmla="*/ 1001 w 1624"/>
                <a:gd name="T11" fmla="*/ 613 h 1867"/>
                <a:gd name="T12" fmla="*/ 924 w 1624"/>
                <a:gd name="T13" fmla="*/ 432 h 1867"/>
                <a:gd name="T14" fmla="*/ 1114 w 1624"/>
                <a:gd name="T15" fmla="*/ 81 h 1867"/>
                <a:gd name="T16" fmla="*/ 1287 w 1624"/>
                <a:gd name="T17" fmla="*/ 35 h 1867"/>
                <a:gd name="T18" fmla="*/ 1350 w 1624"/>
                <a:gd name="T19" fmla="*/ 69 h 1867"/>
                <a:gd name="T20" fmla="*/ 1527 w 1624"/>
                <a:gd name="T21" fmla="*/ 235 h 1867"/>
                <a:gd name="T22" fmla="*/ 1583 w 1624"/>
                <a:gd name="T23" fmla="*/ 555 h 1867"/>
                <a:gd name="T24" fmla="*/ 1172 w 1624"/>
                <a:gd name="T25" fmla="*/ 1253 h 1867"/>
                <a:gd name="T26" fmla="*/ 586 w 1624"/>
                <a:gd name="T27" fmla="*/ 1803 h 1867"/>
                <a:gd name="T28" fmla="*/ 269 w 1624"/>
                <a:gd name="T29" fmla="*/ 1807 h 1867"/>
                <a:gd name="T30" fmla="*/ 33 w 1624"/>
                <a:gd name="T31" fmla="*/ 1602 h 1867"/>
                <a:gd name="T32" fmla="*/ 2 w 1624"/>
                <a:gd name="T33" fmla="*/ 1508 h 1867"/>
                <a:gd name="T34" fmla="*/ 45 w 1624"/>
                <a:gd name="T35" fmla="*/ 1421 h 1867"/>
                <a:gd name="T36" fmla="*/ 346 w 1624"/>
                <a:gd name="T37" fmla="*/ 1158 h 1867"/>
                <a:gd name="T38" fmla="*/ 448 w 1624"/>
                <a:gd name="T39" fmla="*/ 1145 h 1867"/>
                <a:gd name="T40" fmla="*/ 573 w 1624"/>
                <a:gd name="T41" fmla="*/ 1257 h 18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24" h="1867">
                  <a:moveTo>
                    <a:pt x="573" y="1257"/>
                  </a:moveTo>
                  <a:cubicBezTo>
                    <a:pt x="592" y="1282"/>
                    <a:pt x="630" y="1303"/>
                    <a:pt x="662" y="1288"/>
                  </a:cubicBezTo>
                  <a:cubicBezTo>
                    <a:pt x="753" y="1245"/>
                    <a:pt x="854" y="1156"/>
                    <a:pt x="938" y="1051"/>
                  </a:cubicBezTo>
                  <a:cubicBezTo>
                    <a:pt x="1020" y="948"/>
                    <a:pt x="1084" y="831"/>
                    <a:pt x="1106" y="731"/>
                  </a:cubicBezTo>
                  <a:cubicBezTo>
                    <a:pt x="1113" y="696"/>
                    <a:pt x="1089" y="661"/>
                    <a:pt x="1059" y="645"/>
                  </a:cubicBezTo>
                  <a:cubicBezTo>
                    <a:pt x="1001" y="613"/>
                    <a:pt x="1001" y="613"/>
                    <a:pt x="1001" y="613"/>
                  </a:cubicBezTo>
                  <a:cubicBezTo>
                    <a:pt x="942" y="580"/>
                    <a:pt x="888" y="499"/>
                    <a:pt x="924" y="432"/>
                  </a:cubicBezTo>
                  <a:cubicBezTo>
                    <a:pt x="1114" y="81"/>
                    <a:pt x="1114" y="81"/>
                    <a:pt x="1114" y="81"/>
                  </a:cubicBezTo>
                  <a:cubicBezTo>
                    <a:pt x="1150" y="16"/>
                    <a:pt x="1224" y="0"/>
                    <a:pt x="1287" y="35"/>
                  </a:cubicBezTo>
                  <a:cubicBezTo>
                    <a:pt x="1350" y="69"/>
                    <a:pt x="1350" y="69"/>
                    <a:pt x="1350" y="69"/>
                  </a:cubicBezTo>
                  <a:cubicBezTo>
                    <a:pt x="1415" y="105"/>
                    <a:pt x="1479" y="165"/>
                    <a:pt x="1527" y="235"/>
                  </a:cubicBezTo>
                  <a:cubicBezTo>
                    <a:pt x="1593" y="332"/>
                    <a:pt x="1624" y="442"/>
                    <a:pt x="1583" y="555"/>
                  </a:cubicBezTo>
                  <a:cubicBezTo>
                    <a:pt x="1500" y="781"/>
                    <a:pt x="1351" y="1030"/>
                    <a:pt x="1172" y="1253"/>
                  </a:cubicBezTo>
                  <a:cubicBezTo>
                    <a:pt x="994" y="1477"/>
                    <a:pt x="786" y="1676"/>
                    <a:pt x="586" y="1803"/>
                  </a:cubicBezTo>
                  <a:cubicBezTo>
                    <a:pt x="486" y="1867"/>
                    <a:pt x="375" y="1856"/>
                    <a:pt x="269" y="1807"/>
                  </a:cubicBezTo>
                  <a:cubicBezTo>
                    <a:pt x="157" y="1755"/>
                    <a:pt x="106" y="1695"/>
                    <a:pt x="33" y="1602"/>
                  </a:cubicBezTo>
                  <a:cubicBezTo>
                    <a:pt x="11" y="1573"/>
                    <a:pt x="0" y="1540"/>
                    <a:pt x="2" y="1508"/>
                  </a:cubicBezTo>
                  <a:cubicBezTo>
                    <a:pt x="4" y="1475"/>
                    <a:pt x="18" y="1444"/>
                    <a:pt x="45" y="1421"/>
                  </a:cubicBezTo>
                  <a:cubicBezTo>
                    <a:pt x="70" y="1399"/>
                    <a:pt x="346" y="1158"/>
                    <a:pt x="346" y="1158"/>
                  </a:cubicBezTo>
                  <a:cubicBezTo>
                    <a:pt x="376" y="1134"/>
                    <a:pt x="413" y="1133"/>
                    <a:pt x="448" y="1145"/>
                  </a:cubicBezTo>
                  <a:cubicBezTo>
                    <a:pt x="510" y="1166"/>
                    <a:pt x="536" y="1210"/>
                    <a:pt x="573" y="1257"/>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350" dirty="0"/>
            </a:p>
          </p:txBody>
        </p:sp>
      </p:grpSp>
      <p:grpSp>
        <p:nvGrpSpPr>
          <p:cNvPr id="11" name="Group 3">
            <a:extLst>
              <a:ext uri="{FF2B5EF4-FFF2-40B4-BE49-F238E27FC236}">
                <a16:creationId xmlns:a16="http://schemas.microsoft.com/office/drawing/2014/main" id="{DED6A25A-5DE2-1441-8BA2-C68D3B4F9209}"/>
              </a:ext>
            </a:extLst>
          </p:cNvPr>
          <p:cNvGrpSpPr>
            <a:grpSpLocks noChangeAspect="1"/>
          </p:cNvGrpSpPr>
          <p:nvPr>
            <p:custDataLst>
              <p:tags r:id="rId1"/>
            </p:custDataLst>
          </p:nvPr>
        </p:nvGrpSpPr>
        <p:grpSpPr>
          <a:xfrm>
            <a:off x="4451003" y="3169088"/>
            <a:ext cx="171180" cy="171180"/>
            <a:chOff x="328396" y="5313940"/>
            <a:chExt cx="720000" cy="720000"/>
          </a:xfrm>
        </p:grpSpPr>
        <p:sp>
          <p:nvSpPr>
            <p:cNvPr id="12" name="Rectangle 4">
              <a:extLst>
                <a:ext uri="{FF2B5EF4-FFF2-40B4-BE49-F238E27FC236}">
                  <a16:creationId xmlns:a16="http://schemas.microsoft.com/office/drawing/2014/main" id="{5F49E67F-D4FA-9D48-96BC-59AE946ECD15}"/>
                </a:ext>
              </a:extLst>
            </p:cNvPr>
            <p:cNvSpPr/>
            <p:nvPr/>
          </p:nvSpPr>
          <p:spPr bwMode="gray">
            <a:xfrm>
              <a:off x="328396" y="5313940"/>
              <a:ext cx="720000" cy="720000"/>
            </a:xfrm>
            <a:prstGeom prst="rect">
              <a:avLst/>
            </a:prstGeom>
            <a:solidFill>
              <a:srgbClr val="E55A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pPr>
              <a:endParaRPr lang="en-US" sz="1000" dirty="0">
                <a:solidFill>
                  <a:schemeClr val="tx1"/>
                </a:solidFill>
                <a:latin typeface="Arial" pitchFamily="34" charset="0"/>
                <a:cs typeface="Arial" pitchFamily="34" charset="0"/>
              </a:endParaRPr>
            </a:p>
          </p:txBody>
        </p:sp>
        <p:sp>
          <p:nvSpPr>
            <p:cNvPr id="13" name="Freeform 76">
              <a:extLst>
                <a:ext uri="{FF2B5EF4-FFF2-40B4-BE49-F238E27FC236}">
                  <a16:creationId xmlns:a16="http://schemas.microsoft.com/office/drawing/2014/main" id="{187E70E6-AF3F-2549-908E-DF4BA61040AA}"/>
                </a:ext>
              </a:extLst>
            </p:cNvPr>
            <p:cNvSpPr>
              <a:spLocks noChangeAspect="1" noEditPoints="1"/>
            </p:cNvSpPr>
            <p:nvPr/>
          </p:nvSpPr>
          <p:spPr bwMode="auto">
            <a:xfrm>
              <a:off x="456202" y="5509222"/>
              <a:ext cx="504000" cy="329436"/>
            </a:xfrm>
            <a:custGeom>
              <a:avLst/>
              <a:gdLst>
                <a:gd name="T0" fmla="*/ 0 w 2080"/>
                <a:gd name="T1" fmla="*/ 65 h 1360"/>
                <a:gd name="T2" fmla="*/ 0 w 2080"/>
                <a:gd name="T3" fmla="*/ 0 h 1360"/>
                <a:gd name="T4" fmla="*/ 2080 w 2080"/>
                <a:gd name="T5" fmla="*/ 0 h 1360"/>
                <a:gd name="T6" fmla="*/ 2080 w 2080"/>
                <a:gd name="T7" fmla="*/ 65 h 1360"/>
                <a:gd name="T8" fmla="*/ 1089 w 2080"/>
                <a:gd name="T9" fmla="*/ 862 h 1360"/>
                <a:gd name="T10" fmla="*/ 991 w 2080"/>
                <a:gd name="T11" fmla="*/ 862 h 1360"/>
                <a:gd name="T12" fmla="*/ 0 w 2080"/>
                <a:gd name="T13" fmla="*/ 65 h 1360"/>
                <a:gd name="T14" fmla="*/ 1139 w 2080"/>
                <a:gd name="T15" fmla="*/ 924 h 1360"/>
                <a:gd name="T16" fmla="*/ 1282 w 2080"/>
                <a:gd name="T17" fmla="*/ 810 h 1360"/>
                <a:gd name="T18" fmla="*/ 2076 w 2080"/>
                <a:gd name="T19" fmla="*/ 1360 h 1360"/>
                <a:gd name="T20" fmla="*/ 4 w 2080"/>
                <a:gd name="T21" fmla="*/ 1360 h 1360"/>
                <a:gd name="T22" fmla="*/ 798 w 2080"/>
                <a:gd name="T23" fmla="*/ 810 h 1360"/>
                <a:gd name="T24" fmla="*/ 941 w 2080"/>
                <a:gd name="T25" fmla="*/ 924 h 1360"/>
                <a:gd name="T26" fmla="*/ 1139 w 2080"/>
                <a:gd name="T27" fmla="*/ 924 h 1360"/>
                <a:gd name="T28" fmla="*/ 2 w 2080"/>
                <a:gd name="T29" fmla="*/ 137 h 1360"/>
                <a:gd name="T30" fmla="*/ 42 w 2080"/>
                <a:gd name="T31" fmla="*/ 201 h 1360"/>
                <a:gd name="T32" fmla="*/ 734 w 2080"/>
                <a:gd name="T33" fmla="*/ 758 h 1360"/>
                <a:gd name="T34" fmla="*/ 0 w 2080"/>
                <a:gd name="T35" fmla="*/ 1266 h 1360"/>
                <a:gd name="T36" fmla="*/ 0 w 2080"/>
                <a:gd name="T37" fmla="*/ 135 h 1360"/>
                <a:gd name="T38" fmla="*/ 2 w 2080"/>
                <a:gd name="T39" fmla="*/ 137 h 1360"/>
                <a:gd name="T40" fmla="*/ 2080 w 2080"/>
                <a:gd name="T41" fmla="*/ 136 h 1360"/>
                <a:gd name="T42" fmla="*/ 2080 w 2080"/>
                <a:gd name="T43" fmla="*/ 1265 h 1360"/>
                <a:gd name="T44" fmla="*/ 1346 w 2080"/>
                <a:gd name="T45" fmla="*/ 758 h 1360"/>
                <a:gd name="T46" fmla="*/ 2038 w 2080"/>
                <a:gd name="T47" fmla="*/ 201 h 1360"/>
                <a:gd name="T48" fmla="*/ 2080 w 2080"/>
                <a:gd name="T49" fmla="*/ 136 h 1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080" h="1360">
                  <a:moveTo>
                    <a:pt x="0" y="65"/>
                  </a:moveTo>
                  <a:cubicBezTo>
                    <a:pt x="0" y="0"/>
                    <a:pt x="0" y="0"/>
                    <a:pt x="0" y="0"/>
                  </a:cubicBezTo>
                  <a:cubicBezTo>
                    <a:pt x="2080" y="0"/>
                    <a:pt x="2080" y="0"/>
                    <a:pt x="2080" y="0"/>
                  </a:cubicBezTo>
                  <a:cubicBezTo>
                    <a:pt x="2080" y="65"/>
                    <a:pt x="2080" y="65"/>
                    <a:pt x="2080" y="65"/>
                  </a:cubicBezTo>
                  <a:cubicBezTo>
                    <a:pt x="1089" y="862"/>
                    <a:pt x="1089" y="862"/>
                    <a:pt x="1089" y="862"/>
                  </a:cubicBezTo>
                  <a:cubicBezTo>
                    <a:pt x="1060" y="886"/>
                    <a:pt x="1020" y="886"/>
                    <a:pt x="991" y="862"/>
                  </a:cubicBezTo>
                  <a:lnTo>
                    <a:pt x="0" y="65"/>
                  </a:lnTo>
                  <a:close/>
                  <a:moveTo>
                    <a:pt x="1139" y="924"/>
                  </a:moveTo>
                  <a:cubicBezTo>
                    <a:pt x="1282" y="810"/>
                    <a:pt x="1282" y="810"/>
                    <a:pt x="1282" y="810"/>
                  </a:cubicBezTo>
                  <a:cubicBezTo>
                    <a:pt x="2076" y="1360"/>
                    <a:pt x="2076" y="1360"/>
                    <a:pt x="2076" y="1360"/>
                  </a:cubicBezTo>
                  <a:cubicBezTo>
                    <a:pt x="4" y="1360"/>
                    <a:pt x="4" y="1360"/>
                    <a:pt x="4" y="1360"/>
                  </a:cubicBezTo>
                  <a:cubicBezTo>
                    <a:pt x="798" y="810"/>
                    <a:pt x="798" y="810"/>
                    <a:pt x="798" y="810"/>
                  </a:cubicBezTo>
                  <a:cubicBezTo>
                    <a:pt x="941" y="924"/>
                    <a:pt x="941" y="924"/>
                    <a:pt x="941" y="924"/>
                  </a:cubicBezTo>
                  <a:cubicBezTo>
                    <a:pt x="1000" y="972"/>
                    <a:pt x="1080" y="972"/>
                    <a:pt x="1139" y="924"/>
                  </a:cubicBezTo>
                  <a:close/>
                  <a:moveTo>
                    <a:pt x="2" y="137"/>
                  </a:moveTo>
                  <a:cubicBezTo>
                    <a:pt x="8" y="163"/>
                    <a:pt x="22" y="185"/>
                    <a:pt x="42" y="201"/>
                  </a:cubicBezTo>
                  <a:cubicBezTo>
                    <a:pt x="734" y="758"/>
                    <a:pt x="734" y="758"/>
                    <a:pt x="734" y="758"/>
                  </a:cubicBezTo>
                  <a:cubicBezTo>
                    <a:pt x="0" y="1266"/>
                    <a:pt x="0" y="1266"/>
                    <a:pt x="0" y="1266"/>
                  </a:cubicBezTo>
                  <a:cubicBezTo>
                    <a:pt x="0" y="135"/>
                    <a:pt x="0" y="135"/>
                    <a:pt x="0" y="135"/>
                  </a:cubicBezTo>
                  <a:lnTo>
                    <a:pt x="2" y="137"/>
                  </a:lnTo>
                  <a:close/>
                  <a:moveTo>
                    <a:pt x="2080" y="136"/>
                  </a:moveTo>
                  <a:cubicBezTo>
                    <a:pt x="2080" y="1265"/>
                    <a:pt x="2080" y="1265"/>
                    <a:pt x="2080" y="1265"/>
                  </a:cubicBezTo>
                  <a:cubicBezTo>
                    <a:pt x="1346" y="758"/>
                    <a:pt x="1346" y="758"/>
                    <a:pt x="1346" y="758"/>
                  </a:cubicBezTo>
                  <a:cubicBezTo>
                    <a:pt x="2038" y="201"/>
                    <a:pt x="2038" y="201"/>
                    <a:pt x="2038" y="201"/>
                  </a:cubicBezTo>
                  <a:cubicBezTo>
                    <a:pt x="2060" y="182"/>
                    <a:pt x="2072" y="162"/>
                    <a:pt x="2080" y="13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000"/>
            </a:p>
          </p:txBody>
        </p:sp>
      </p:grpSp>
      <p:cxnSp>
        <p:nvCxnSpPr>
          <p:cNvPr id="20" name="Straight Connector 19"/>
          <p:cNvCxnSpPr/>
          <p:nvPr/>
        </p:nvCxnSpPr>
        <p:spPr>
          <a:xfrm>
            <a:off x="4451002" y="3494093"/>
            <a:ext cx="2463191" cy="0"/>
          </a:xfrm>
          <a:prstGeom prst="line">
            <a:avLst/>
          </a:prstGeom>
          <a:ln w="6350">
            <a:solidFill>
              <a:schemeClr val="tx2"/>
            </a:solidFill>
            <a:prstDash val="dash"/>
          </a:ln>
        </p:spPr>
        <p:style>
          <a:lnRef idx="1">
            <a:schemeClr val="accent1"/>
          </a:lnRef>
          <a:fillRef idx="0">
            <a:schemeClr val="accent1"/>
          </a:fillRef>
          <a:effectRef idx="0">
            <a:schemeClr val="accent1"/>
          </a:effectRef>
          <a:fontRef idx="minor">
            <a:schemeClr val="tx1"/>
          </a:fontRef>
        </p:style>
      </p:cxnSp>
      <p:sp>
        <p:nvSpPr>
          <p:cNvPr id="6" name="Text Placeholder 5"/>
          <p:cNvSpPr>
            <a:spLocks noGrp="1"/>
          </p:cNvSpPr>
          <p:nvPr>
            <p:ph type="body" sz="quarter" idx="19" hasCustomPrompt="1"/>
          </p:nvPr>
        </p:nvSpPr>
        <p:spPr>
          <a:xfrm>
            <a:off x="4451002" y="1824401"/>
            <a:ext cx="2463191" cy="192361"/>
          </a:xfrm>
        </p:spPr>
        <p:txBody>
          <a:bodyPr lIns="0" tIns="0" rIns="0" bIns="0" anchor="ctr" anchorCtr="0"/>
          <a:lstStyle>
            <a:lvl1pPr marL="0" indent="0" algn="l">
              <a:lnSpc>
                <a:spcPct val="100000"/>
              </a:lnSpc>
              <a:buNone/>
              <a:defRPr sz="100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Country</a:t>
            </a:r>
          </a:p>
        </p:txBody>
      </p:sp>
      <p:sp>
        <p:nvSpPr>
          <p:cNvPr id="26" name="Text Placeholder 5"/>
          <p:cNvSpPr>
            <a:spLocks noGrp="1"/>
          </p:cNvSpPr>
          <p:nvPr>
            <p:ph type="body" sz="quarter" idx="20" hasCustomPrompt="1"/>
          </p:nvPr>
        </p:nvSpPr>
        <p:spPr>
          <a:xfrm>
            <a:off x="4451002" y="2036217"/>
            <a:ext cx="2463191" cy="266182"/>
          </a:xfrm>
        </p:spPr>
        <p:txBody>
          <a:bodyPr lIns="0" tIns="0" rIns="0" bIns="0" anchor="b" anchorCtr="0"/>
          <a:lstStyle>
            <a:lvl1pPr marL="0" indent="0" algn="l">
              <a:lnSpc>
                <a:spcPct val="100000"/>
              </a:lnSpc>
              <a:buNone/>
              <a:defRPr sz="1400" b="1" baseline="0">
                <a:solidFill>
                  <a:schemeClr val="tx2"/>
                </a:solidFill>
              </a:defRPr>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Name, Surname</a:t>
            </a:r>
          </a:p>
        </p:txBody>
      </p:sp>
      <p:sp>
        <p:nvSpPr>
          <p:cNvPr id="27" name="Text Placeholder 5"/>
          <p:cNvSpPr>
            <a:spLocks noGrp="1"/>
          </p:cNvSpPr>
          <p:nvPr>
            <p:ph type="body" sz="quarter" idx="21" hasCustomPrompt="1"/>
          </p:nvPr>
        </p:nvSpPr>
        <p:spPr>
          <a:xfrm>
            <a:off x="4451002" y="2332792"/>
            <a:ext cx="2463191" cy="192361"/>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Job Position</a:t>
            </a:r>
          </a:p>
        </p:txBody>
      </p:sp>
      <p:sp>
        <p:nvSpPr>
          <p:cNvPr id="28" name="Text Placeholder 5"/>
          <p:cNvSpPr>
            <a:spLocks noGrp="1"/>
          </p:cNvSpPr>
          <p:nvPr>
            <p:ph type="body" sz="quarter" idx="22" hasCustomPrompt="1"/>
          </p:nvPr>
        </p:nvSpPr>
        <p:spPr>
          <a:xfrm>
            <a:off x="4695885" y="2861468"/>
            <a:ext cx="2218307" cy="192361"/>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Phone number</a:t>
            </a:r>
          </a:p>
        </p:txBody>
      </p:sp>
      <p:sp>
        <p:nvSpPr>
          <p:cNvPr id="29" name="Text Placeholder 5"/>
          <p:cNvSpPr>
            <a:spLocks noGrp="1"/>
          </p:cNvSpPr>
          <p:nvPr>
            <p:ph type="body" sz="quarter" idx="23" hasCustomPrompt="1"/>
          </p:nvPr>
        </p:nvSpPr>
        <p:spPr>
          <a:xfrm>
            <a:off x="4695885" y="3144275"/>
            <a:ext cx="2218307" cy="192361"/>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Email address</a:t>
            </a:r>
          </a:p>
        </p:txBody>
      </p:sp>
      <p:sp>
        <p:nvSpPr>
          <p:cNvPr id="35" name="Text Placeholder 34"/>
          <p:cNvSpPr>
            <a:spLocks noGrp="1"/>
          </p:cNvSpPr>
          <p:nvPr>
            <p:ph type="body" sz="quarter" idx="24" hasCustomPrompt="1"/>
          </p:nvPr>
        </p:nvSpPr>
        <p:spPr>
          <a:xfrm>
            <a:off x="4492625" y="3681413"/>
            <a:ext cx="4492595" cy="2087562"/>
          </a:xfrm>
        </p:spPr>
        <p:txBody>
          <a:bodyPr/>
          <a:lstStyle>
            <a:lvl1pPr>
              <a:defRPr sz="1400" baseline="0"/>
            </a:lvl1pPr>
            <a:lvl2pPr>
              <a:defRPr sz="1400"/>
            </a:lvl2pPr>
            <a:lvl3pPr>
              <a:defRPr sz="1400"/>
            </a:lvl3pPr>
            <a:lvl4pPr>
              <a:defRPr sz="1400"/>
            </a:lvl4pPr>
            <a:lvl5pPr>
              <a:defRPr sz="1400"/>
            </a:lvl5pPr>
          </a:lstStyle>
          <a:p>
            <a:pPr lvl="0"/>
            <a:r>
              <a:rPr lang="en-US" dirty="0"/>
              <a:t>Additional information (if needed)</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24968155"/>
      </p:ext>
    </p:extLst>
  </p:cSld>
  <p:clrMapOvr>
    <a:masterClrMapping/>
  </p:clrMapOvr>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p:cSld name="Two contacts">
    <p:spTree>
      <p:nvGrpSpPr>
        <p:cNvPr id="1" name=""/>
        <p:cNvGrpSpPr/>
        <p:nvPr/>
      </p:nvGrpSpPr>
      <p:grpSpPr>
        <a:xfrm>
          <a:off x="0" y="0"/>
          <a:ext cx="0" cy="0"/>
          <a:chOff x="0" y="0"/>
          <a:chExt cx="0" cy="0"/>
        </a:xfrm>
      </p:grpSpPr>
      <p:sp>
        <p:nvSpPr>
          <p:cNvPr id="21" name="Date Placeholder 20"/>
          <p:cNvSpPr>
            <a:spLocks noGrp="1"/>
          </p:cNvSpPr>
          <p:nvPr>
            <p:ph type="dt" sz="half" idx="14"/>
          </p:nvPr>
        </p:nvSpPr>
        <p:spPr>
          <a:xfrm>
            <a:off x="192088" y="6461673"/>
            <a:ext cx="761512" cy="133789"/>
          </a:xfrm>
          <a:prstGeom prst="rect">
            <a:avLst/>
          </a:prstGeom>
        </p:spPr>
        <p:txBody>
          <a:bodyPr/>
          <a:lstStyle/>
          <a:p>
            <a:fld id="{3F4603FF-FCF6-4AE0-9349-4AF38C1FF5B2}" type="datetime5">
              <a:rPr lang="en-US" smtClean="0"/>
              <a:t>26-Jun-20</a:t>
            </a:fld>
            <a:endParaRPr lang="en-US"/>
          </a:p>
        </p:txBody>
      </p:sp>
      <p:sp>
        <p:nvSpPr>
          <p:cNvPr id="22" name="Footer Placeholder 21"/>
          <p:cNvSpPr>
            <a:spLocks noGrp="1"/>
          </p:cNvSpPr>
          <p:nvPr>
            <p:ph type="ftr" sz="quarter" idx="15"/>
          </p:nvPr>
        </p:nvSpPr>
        <p:spPr>
          <a:xfrm>
            <a:off x="1076400" y="6461673"/>
            <a:ext cx="8162717" cy="133789"/>
          </a:xfrm>
          <a:prstGeom prst="rect">
            <a:avLst/>
          </a:prstGeom>
        </p:spPr>
        <p:txBody>
          <a:bodyPr/>
          <a:lstStyle/>
          <a:p>
            <a:r>
              <a:rPr lang="en-US"/>
              <a:t>Title of presentation (Insert / Header &amp; Footer / Apply to All)</a:t>
            </a:r>
            <a:endParaRPr lang="en-US" dirty="0"/>
          </a:p>
        </p:txBody>
      </p:sp>
      <p:sp>
        <p:nvSpPr>
          <p:cNvPr id="23" name="Slide Number Placeholder 22"/>
          <p:cNvSpPr>
            <a:spLocks noGrp="1"/>
          </p:cNvSpPr>
          <p:nvPr>
            <p:ph type="sldNum" sz="quarter" idx="16"/>
          </p:nvPr>
        </p:nvSpPr>
        <p:spPr/>
        <p:txBody>
          <a:bodyPr/>
          <a:lstStyle/>
          <a:p>
            <a:fld id="{5F3E29E4-0979-4FCA-B4C5-5FC6044C982A}" type="slidenum">
              <a:rPr lang="en-US" smtClean="0"/>
              <a:t>‹#›</a:t>
            </a:fld>
            <a:endParaRPr lang="en-US"/>
          </a:p>
        </p:txBody>
      </p:sp>
      <p:sp>
        <p:nvSpPr>
          <p:cNvPr id="2" name="Title 1"/>
          <p:cNvSpPr>
            <a:spLocks noGrp="1"/>
          </p:cNvSpPr>
          <p:nvPr>
            <p:ph type="title" hasCustomPrompt="1"/>
          </p:nvPr>
        </p:nvSpPr>
        <p:spPr/>
        <p:txBody>
          <a:bodyPr/>
          <a:lstStyle>
            <a:lvl1pPr>
              <a:defRPr/>
            </a:lvl1pPr>
          </a:lstStyle>
          <a:p>
            <a:r>
              <a:rPr lang="en-US" dirty="0"/>
              <a:t>Click to add contact title</a:t>
            </a:r>
          </a:p>
        </p:txBody>
      </p:sp>
      <p:sp>
        <p:nvSpPr>
          <p:cNvPr id="7" name="Subtitle 2"/>
          <p:cNvSpPr>
            <a:spLocks noGrp="1"/>
          </p:cNvSpPr>
          <p:nvPr>
            <p:ph type="subTitle" idx="13" hasCustomPrompt="1"/>
          </p:nvPr>
        </p:nvSpPr>
        <p:spPr>
          <a:xfrm>
            <a:off x="1075062" y="964672"/>
            <a:ext cx="7910159" cy="490042"/>
          </a:xfrm>
        </p:spPr>
        <p:txBody>
          <a:bodyPr wrap="none"/>
          <a:lstStyle>
            <a:lvl1pPr marL="0" indent="0" algn="l">
              <a:spcBef>
                <a:spcPts val="0"/>
              </a:spcBef>
              <a:buNone/>
              <a:defRPr sz="2399"/>
            </a:lvl1pPr>
            <a:lvl2pPr marL="457051" indent="0" algn="ctr">
              <a:buNone/>
              <a:defRPr sz="1999"/>
            </a:lvl2pPr>
            <a:lvl3pPr marL="914103" indent="0" algn="ctr">
              <a:buNone/>
              <a:defRPr sz="1799"/>
            </a:lvl3pPr>
            <a:lvl4pPr marL="1371154" indent="0" algn="ctr">
              <a:buNone/>
              <a:defRPr sz="1599"/>
            </a:lvl4pPr>
            <a:lvl5pPr marL="1828206" indent="0" algn="ctr">
              <a:buNone/>
              <a:defRPr sz="1599"/>
            </a:lvl5pPr>
            <a:lvl6pPr marL="2285257" indent="0" algn="ctr">
              <a:buNone/>
              <a:defRPr sz="1599"/>
            </a:lvl6pPr>
            <a:lvl7pPr marL="2742308" indent="0" algn="ctr">
              <a:buNone/>
              <a:defRPr sz="1599"/>
            </a:lvl7pPr>
            <a:lvl8pPr marL="3199360" indent="0" algn="ctr">
              <a:buNone/>
              <a:defRPr sz="1599"/>
            </a:lvl8pPr>
            <a:lvl9pPr marL="3656411" indent="0" algn="ctr">
              <a:buNone/>
              <a:defRPr sz="1599"/>
            </a:lvl9pPr>
          </a:lstStyle>
          <a:p>
            <a:r>
              <a:rPr lang="en-US" dirty="0"/>
              <a:t>Click to add subtitle</a:t>
            </a:r>
          </a:p>
        </p:txBody>
      </p:sp>
      <p:grpSp>
        <p:nvGrpSpPr>
          <p:cNvPr id="8" name="Gruppieren 80">
            <a:extLst>
              <a:ext uri="{FF2B5EF4-FFF2-40B4-BE49-F238E27FC236}">
                <a16:creationId xmlns:a16="http://schemas.microsoft.com/office/drawing/2014/main" id="{6B969E7B-9C39-4443-9B02-74C1E7C5CCAC}"/>
              </a:ext>
            </a:extLst>
          </p:cNvPr>
          <p:cNvGrpSpPr/>
          <p:nvPr/>
        </p:nvGrpSpPr>
        <p:grpSpPr>
          <a:xfrm>
            <a:off x="3770066" y="2868319"/>
            <a:ext cx="171180" cy="171180"/>
            <a:chOff x="3392092" y="1841122"/>
            <a:chExt cx="646508" cy="646508"/>
          </a:xfrm>
        </p:grpSpPr>
        <p:sp>
          <p:nvSpPr>
            <p:cNvPr id="9" name="Rechteck 14">
              <a:extLst>
                <a:ext uri="{FF2B5EF4-FFF2-40B4-BE49-F238E27FC236}">
                  <a16:creationId xmlns:a16="http://schemas.microsoft.com/office/drawing/2014/main" id="{D78F58EA-5525-8D43-8295-FEA52ECF6BFA}"/>
                </a:ext>
              </a:extLst>
            </p:cNvPr>
            <p:cNvSpPr>
              <a:spLocks noChangeAspect="1"/>
            </p:cNvSpPr>
            <p:nvPr/>
          </p:nvSpPr>
          <p:spPr bwMode="gray">
            <a:xfrm>
              <a:off x="3392092" y="1841122"/>
              <a:ext cx="646508" cy="646508"/>
            </a:xfrm>
            <a:prstGeom prst="rect">
              <a:avLst/>
            </a:prstGeom>
            <a:solidFill>
              <a:srgbClr val="E55A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pPr>
              <a:endParaRPr lang="en-US" sz="1000" dirty="0">
                <a:solidFill>
                  <a:schemeClr val="tx1"/>
                </a:solidFill>
                <a:latin typeface="Arial" pitchFamily="34" charset="0"/>
                <a:cs typeface="Arial" pitchFamily="34" charset="0"/>
              </a:endParaRPr>
            </a:p>
          </p:txBody>
        </p:sp>
        <p:sp>
          <p:nvSpPr>
            <p:cNvPr id="10" name="Freeform 67">
              <a:extLst>
                <a:ext uri="{FF2B5EF4-FFF2-40B4-BE49-F238E27FC236}">
                  <a16:creationId xmlns:a16="http://schemas.microsoft.com/office/drawing/2014/main" id="{D01A6292-2776-4945-B828-483D79DC4908}"/>
                </a:ext>
              </a:extLst>
            </p:cNvPr>
            <p:cNvSpPr>
              <a:spLocks noChangeAspect="1"/>
            </p:cNvSpPr>
            <p:nvPr/>
          </p:nvSpPr>
          <p:spPr bwMode="auto">
            <a:xfrm>
              <a:off x="3546638" y="1970424"/>
              <a:ext cx="337415" cy="387905"/>
            </a:xfrm>
            <a:custGeom>
              <a:avLst/>
              <a:gdLst>
                <a:gd name="T0" fmla="*/ 573 w 1624"/>
                <a:gd name="T1" fmla="*/ 1257 h 1867"/>
                <a:gd name="T2" fmla="*/ 662 w 1624"/>
                <a:gd name="T3" fmla="*/ 1288 h 1867"/>
                <a:gd name="T4" fmla="*/ 938 w 1624"/>
                <a:gd name="T5" fmla="*/ 1051 h 1867"/>
                <a:gd name="T6" fmla="*/ 1106 w 1624"/>
                <a:gd name="T7" fmla="*/ 731 h 1867"/>
                <a:gd name="T8" fmla="*/ 1059 w 1624"/>
                <a:gd name="T9" fmla="*/ 645 h 1867"/>
                <a:gd name="T10" fmla="*/ 1001 w 1624"/>
                <a:gd name="T11" fmla="*/ 613 h 1867"/>
                <a:gd name="T12" fmla="*/ 924 w 1624"/>
                <a:gd name="T13" fmla="*/ 432 h 1867"/>
                <a:gd name="T14" fmla="*/ 1114 w 1624"/>
                <a:gd name="T15" fmla="*/ 81 h 1867"/>
                <a:gd name="T16" fmla="*/ 1287 w 1624"/>
                <a:gd name="T17" fmla="*/ 35 h 1867"/>
                <a:gd name="T18" fmla="*/ 1350 w 1624"/>
                <a:gd name="T19" fmla="*/ 69 h 1867"/>
                <a:gd name="T20" fmla="*/ 1527 w 1624"/>
                <a:gd name="T21" fmla="*/ 235 h 1867"/>
                <a:gd name="T22" fmla="*/ 1583 w 1624"/>
                <a:gd name="T23" fmla="*/ 555 h 1867"/>
                <a:gd name="T24" fmla="*/ 1172 w 1624"/>
                <a:gd name="T25" fmla="*/ 1253 h 1867"/>
                <a:gd name="T26" fmla="*/ 586 w 1624"/>
                <a:gd name="T27" fmla="*/ 1803 h 1867"/>
                <a:gd name="T28" fmla="*/ 269 w 1624"/>
                <a:gd name="T29" fmla="*/ 1807 h 1867"/>
                <a:gd name="T30" fmla="*/ 33 w 1624"/>
                <a:gd name="T31" fmla="*/ 1602 h 1867"/>
                <a:gd name="T32" fmla="*/ 2 w 1624"/>
                <a:gd name="T33" fmla="*/ 1508 h 1867"/>
                <a:gd name="T34" fmla="*/ 45 w 1624"/>
                <a:gd name="T35" fmla="*/ 1421 h 1867"/>
                <a:gd name="T36" fmla="*/ 346 w 1624"/>
                <a:gd name="T37" fmla="*/ 1158 h 1867"/>
                <a:gd name="T38" fmla="*/ 448 w 1624"/>
                <a:gd name="T39" fmla="*/ 1145 h 1867"/>
                <a:gd name="T40" fmla="*/ 573 w 1624"/>
                <a:gd name="T41" fmla="*/ 1257 h 18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24" h="1867">
                  <a:moveTo>
                    <a:pt x="573" y="1257"/>
                  </a:moveTo>
                  <a:cubicBezTo>
                    <a:pt x="592" y="1282"/>
                    <a:pt x="630" y="1303"/>
                    <a:pt x="662" y="1288"/>
                  </a:cubicBezTo>
                  <a:cubicBezTo>
                    <a:pt x="753" y="1245"/>
                    <a:pt x="854" y="1156"/>
                    <a:pt x="938" y="1051"/>
                  </a:cubicBezTo>
                  <a:cubicBezTo>
                    <a:pt x="1020" y="948"/>
                    <a:pt x="1084" y="831"/>
                    <a:pt x="1106" y="731"/>
                  </a:cubicBezTo>
                  <a:cubicBezTo>
                    <a:pt x="1113" y="696"/>
                    <a:pt x="1089" y="661"/>
                    <a:pt x="1059" y="645"/>
                  </a:cubicBezTo>
                  <a:cubicBezTo>
                    <a:pt x="1001" y="613"/>
                    <a:pt x="1001" y="613"/>
                    <a:pt x="1001" y="613"/>
                  </a:cubicBezTo>
                  <a:cubicBezTo>
                    <a:pt x="942" y="580"/>
                    <a:pt x="888" y="499"/>
                    <a:pt x="924" y="432"/>
                  </a:cubicBezTo>
                  <a:cubicBezTo>
                    <a:pt x="1114" y="81"/>
                    <a:pt x="1114" y="81"/>
                    <a:pt x="1114" y="81"/>
                  </a:cubicBezTo>
                  <a:cubicBezTo>
                    <a:pt x="1150" y="16"/>
                    <a:pt x="1224" y="0"/>
                    <a:pt x="1287" y="35"/>
                  </a:cubicBezTo>
                  <a:cubicBezTo>
                    <a:pt x="1350" y="69"/>
                    <a:pt x="1350" y="69"/>
                    <a:pt x="1350" y="69"/>
                  </a:cubicBezTo>
                  <a:cubicBezTo>
                    <a:pt x="1415" y="105"/>
                    <a:pt x="1479" y="165"/>
                    <a:pt x="1527" y="235"/>
                  </a:cubicBezTo>
                  <a:cubicBezTo>
                    <a:pt x="1593" y="332"/>
                    <a:pt x="1624" y="442"/>
                    <a:pt x="1583" y="555"/>
                  </a:cubicBezTo>
                  <a:cubicBezTo>
                    <a:pt x="1500" y="781"/>
                    <a:pt x="1351" y="1030"/>
                    <a:pt x="1172" y="1253"/>
                  </a:cubicBezTo>
                  <a:cubicBezTo>
                    <a:pt x="994" y="1477"/>
                    <a:pt x="786" y="1676"/>
                    <a:pt x="586" y="1803"/>
                  </a:cubicBezTo>
                  <a:cubicBezTo>
                    <a:pt x="486" y="1867"/>
                    <a:pt x="375" y="1856"/>
                    <a:pt x="269" y="1807"/>
                  </a:cubicBezTo>
                  <a:cubicBezTo>
                    <a:pt x="157" y="1755"/>
                    <a:pt x="106" y="1695"/>
                    <a:pt x="33" y="1602"/>
                  </a:cubicBezTo>
                  <a:cubicBezTo>
                    <a:pt x="11" y="1573"/>
                    <a:pt x="0" y="1540"/>
                    <a:pt x="2" y="1508"/>
                  </a:cubicBezTo>
                  <a:cubicBezTo>
                    <a:pt x="4" y="1475"/>
                    <a:pt x="18" y="1444"/>
                    <a:pt x="45" y="1421"/>
                  </a:cubicBezTo>
                  <a:cubicBezTo>
                    <a:pt x="70" y="1399"/>
                    <a:pt x="346" y="1158"/>
                    <a:pt x="346" y="1158"/>
                  </a:cubicBezTo>
                  <a:cubicBezTo>
                    <a:pt x="376" y="1134"/>
                    <a:pt x="413" y="1133"/>
                    <a:pt x="448" y="1145"/>
                  </a:cubicBezTo>
                  <a:cubicBezTo>
                    <a:pt x="510" y="1166"/>
                    <a:pt x="536" y="1210"/>
                    <a:pt x="573" y="1257"/>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350" dirty="0"/>
            </a:p>
          </p:txBody>
        </p:sp>
      </p:grpSp>
      <p:grpSp>
        <p:nvGrpSpPr>
          <p:cNvPr id="11" name="Group 3">
            <a:extLst>
              <a:ext uri="{FF2B5EF4-FFF2-40B4-BE49-F238E27FC236}">
                <a16:creationId xmlns:a16="http://schemas.microsoft.com/office/drawing/2014/main" id="{DED6A25A-5DE2-1441-8BA2-C68D3B4F9209}"/>
              </a:ext>
            </a:extLst>
          </p:cNvPr>
          <p:cNvGrpSpPr>
            <a:grpSpLocks noChangeAspect="1"/>
          </p:cNvGrpSpPr>
          <p:nvPr>
            <p:custDataLst>
              <p:tags r:id="rId1"/>
            </p:custDataLst>
          </p:nvPr>
        </p:nvGrpSpPr>
        <p:grpSpPr>
          <a:xfrm>
            <a:off x="3770067" y="3153207"/>
            <a:ext cx="171180" cy="171180"/>
            <a:chOff x="328396" y="5313940"/>
            <a:chExt cx="720000" cy="720000"/>
          </a:xfrm>
        </p:grpSpPr>
        <p:sp>
          <p:nvSpPr>
            <p:cNvPr id="12" name="Rectangle 4">
              <a:extLst>
                <a:ext uri="{FF2B5EF4-FFF2-40B4-BE49-F238E27FC236}">
                  <a16:creationId xmlns:a16="http://schemas.microsoft.com/office/drawing/2014/main" id="{5F49E67F-D4FA-9D48-96BC-59AE946ECD15}"/>
                </a:ext>
              </a:extLst>
            </p:cNvPr>
            <p:cNvSpPr/>
            <p:nvPr/>
          </p:nvSpPr>
          <p:spPr bwMode="gray">
            <a:xfrm>
              <a:off x="328396" y="5313940"/>
              <a:ext cx="720000" cy="720000"/>
            </a:xfrm>
            <a:prstGeom prst="rect">
              <a:avLst/>
            </a:prstGeom>
            <a:solidFill>
              <a:srgbClr val="E55A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pPr>
              <a:endParaRPr lang="en-US" sz="1000" dirty="0">
                <a:solidFill>
                  <a:schemeClr val="tx1"/>
                </a:solidFill>
                <a:latin typeface="Arial" pitchFamily="34" charset="0"/>
                <a:cs typeface="Arial" pitchFamily="34" charset="0"/>
              </a:endParaRPr>
            </a:p>
          </p:txBody>
        </p:sp>
        <p:sp>
          <p:nvSpPr>
            <p:cNvPr id="13" name="Freeform 76">
              <a:extLst>
                <a:ext uri="{FF2B5EF4-FFF2-40B4-BE49-F238E27FC236}">
                  <a16:creationId xmlns:a16="http://schemas.microsoft.com/office/drawing/2014/main" id="{187E70E6-AF3F-2549-908E-DF4BA61040AA}"/>
                </a:ext>
              </a:extLst>
            </p:cNvPr>
            <p:cNvSpPr>
              <a:spLocks noChangeAspect="1" noEditPoints="1"/>
            </p:cNvSpPr>
            <p:nvPr/>
          </p:nvSpPr>
          <p:spPr bwMode="auto">
            <a:xfrm>
              <a:off x="456202" y="5509222"/>
              <a:ext cx="504000" cy="329436"/>
            </a:xfrm>
            <a:custGeom>
              <a:avLst/>
              <a:gdLst>
                <a:gd name="T0" fmla="*/ 0 w 2080"/>
                <a:gd name="T1" fmla="*/ 65 h 1360"/>
                <a:gd name="T2" fmla="*/ 0 w 2080"/>
                <a:gd name="T3" fmla="*/ 0 h 1360"/>
                <a:gd name="T4" fmla="*/ 2080 w 2080"/>
                <a:gd name="T5" fmla="*/ 0 h 1360"/>
                <a:gd name="T6" fmla="*/ 2080 w 2080"/>
                <a:gd name="T7" fmla="*/ 65 h 1360"/>
                <a:gd name="T8" fmla="*/ 1089 w 2080"/>
                <a:gd name="T9" fmla="*/ 862 h 1360"/>
                <a:gd name="T10" fmla="*/ 991 w 2080"/>
                <a:gd name="T11" fmla="*/ 862 h 1360"/>
                <a:gd name="T12" fmla="*/ 0 w 2080"/>
                <a:gd name="T13" fmla="*/ 65 h 1360"/>
                <a:gd name="T14" fmla="*/ 1139 w 2080"/>
                <a:gd name="T15" fmla="*/ 924 h 1360"/>
                <a:gd name="T16" fmla="*/ 1282 w 2080"/>
                <a:gd name="T17" fmla="*/ 810 h 1360"/>
                <a:gd name="T18" fmla="*/ 2076 w 2080"/>
                <a:gd name="T19" fmla="*/ 1360 h 1360"/>
                <a:gd name="T20" fmla="*/ 4 w 2080"/>
                <a:gd name="T21" fmla="*/ 1360 h 1360"/>
                <a:gd name="T22" fmla="*/ 798 w 2080"/>
                <a:gd name="T23" fmla="*/ 810 h 1360"/>
                <a:gd name="T24" fmla="*/ 941 w 2080"/>
                <a:gd name="T25" fmla="*/ 924 h 1360"/>
                <a:gd name="T26" fmla="*/ 1139 w 2080"/>
                <a:gd name="T27" fmla="*/ 924 h 1360"/>
                <a:gd name="T28" fmla="*/ 2 w 2080"/>
                <a:gd name="T29" fmla="*/ 137 h 1360"/>
                <a:gd name="T30" fmla="*/ 42 w 2080"/>
                <a:gd name="T31" fmla="*/ 201 h 1360"/>
                <a:gd name="T32" fmla="*/ 734 w 2080"/>
                <a:gd name="T33" fmla="*/ 758 h 1360"/>
                <a:gd name="T34" fmla="*/ 0 w 2080"/>
                <a:gd name="T35" fmla="*/ 1266 h 1360"/>
                <a:gd name="T36" fmla="*/ 0 w 2080"/>
                <a:gd name="T37" fmla="*/ 135 h 1360"/>
                <a:gd name="T38" fmla="*/ 2 w 2080"/>
                <a:gd name="T39" fmla="*/ 137 h 1360"/>
                <a:gd name="T40" fmla="*/ 2080 w 2080"/>
                <a:gd name="T41" fmla="*/ 136 h 1360"/>
                <a:gd name="T42" fmla="*/ 2080 w 2080"/>
                <a:gd name="T43" fmla="*/ 1265 h 1360"/>
                <a:gd name="T44" fmla="*/ 1346 w 2080"/>
                <a:gd name="T45" fmla="*/ 758 h 1360"/>
                <a:gd name="T46" fmla="*/ 2038 w 2080"/>
                <a:gd name="T47" fmla="*/ 201 h 1360"/>
                <a:gd name="T48" fmla="*/ 2080 w 2080"/>
                <a:gd name="T49" fmla="*/ 136 h 1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080" h="1360">
                  <a:moveTo>
                    <a:pt x="0" y="65"/>
                  </a:moveTo>
                  <a:cubicBezTo>
                    <a:pt x="0" y="0"/>
                    <a:pt x="0" y="0"/>
                    <a:pt x="0" y="0"/>
                  </a:cubicBezTo>
                  <a:cubicBezTo>
                    <a:pt x="2080" y="0"/>
                    <a:pt x="2080" y="0"/>
                    <a:pt x="2080" y="0"/>
                  </a:cubicBezTo>
                  <a:cubicBezTo>
                    <a:pt x="2080" y="65"/>
                    <a:pt x="2080" y="65"/>
                    <a:pt x="2080" y="65"/>
                  </a:cubicBezTo>
                  <a:cubicBezTo>
                    <a:pt x="1089" y="862"/>
                    <a:pt x="1089" y="862"/>
                    <a:pt x="1089" y="862"/>
                  </a:cubicBezTo>
                  <a:cubicBezTo>
                    <a:pt x="1060" y="886"/>
                    <a:pt x="1020" y="886"/>
                    <a:pt x="991" y="862"/>
                  </a:cubicBezTo>
                  <a:lnTo>
                    <a:pt x="0" y="65"/>
                  </a:lnTo>
                  <a:close/>
                  <a:moveTo>
                    <a:pt x="1139" y="924"/>
                  </a:moveTo>
                  <a:cubicBezTo>
                    <a:pt x="1282" y="810"/>
                    <a:pt x="1282" y="810"/>
                    <a:pt x="1282" y="810"/>
                  </a:cubicBezTo>
                  <a:cubicBezTo>
                    <a:pt x="2076" y="1360"/>
                    <a:pt x="2076" y="1360"/>
                    <a:pt x="2076" y="1360"/>
                  </a:cubicBezTo>
                  <a:cubicBezTo>
                    <a:pt x="4" y="1360"/>
                    <a:pt x="4" y="1360"/>
                    <a:pt x="4" y="1360"/>
                  </a:cubicBezTo>
                  <a:cubicBezTo>
                    <a:pt x="798" y="810"/>
                    <a:pt x="798" y="810"/>
                    <a:pt x="798" y="810"/>
                  </a:cubicBezTo>
                  <a:cubicBezTo>
                    <a:pt x="941" y="924"/>
                    <a:pt x="941" y="924"/>
                    <a:pt x="941" y="924"/>
                  </a:cubicBezTo>
                  <a:cubicBezTo>
                    <a:pt x="1000" y="972"/>
                    <a:pt x="1080" y="972"/>
                    <a:pt x="1139" y="924"/>
                  </a:cubicBezTo>
                  <a:close/>
                  <a:moveTo>
                    <a:pt x="2" y="137"/>
                  </a:moveTo>
                  <a:cubicBezTo>
                    <a:pt x="8" y="163"/>
                    <a:pt x="22" y="185"/>
                    <a:pt x="42" y="201"/>
                  </a:cubicBezTo>
                  <a:cubicBezTo>
                    <a:pt x="734" y="758"/>
                    <a:pt x="734" y="758"/>
                    <a:pt x="734" y="758"/>
                  </a:cubicBezTo>
                  <a:cubicBezTo>
                    <a:pt x="0" y="1266"/>
                    <a:pt x="0" y="1266"/>
                    <a:pt x="0" y="1266"/>
                  </a:cubicBezTo>
                  <a:cubicBezTo>
                    <a:pt x="0" y="135"/>
                    <a:pt x="0" y="135"/>
                    <a:pt x="0" y="135"/>
                  </a:cubicBezTo>
                  <a:lnTo>
                    <a:pt x="2" y="137"/>
                  </a:lnTo>
                  <a:close/>
                  <a:moveTo>
                    <a:pt x="2080" y="136"/>
                  </a:moveTo>
                  <a:cubicBezTo>
                    <a:pt x="2080" y="1265"/>
                    <a:pt x="2080" y="1265"/>
                    <a:pt x="2080" y="1265"/>
                  </a:cubicBezTo>
                  <a:cubicBezTo>
                    <a:pt x="1346" y="758"/>
                    <a:pt x="1346" y="758"/>
                    <a:pt x="1346" y="758"/>
                  </a:cubicBezTo>
                  <a:cubicBezTo>
                    <a:pt x="2038" y="201"/>
                    <a:pt x="2038" y="201"/>
                    <a:pt x="2038" y="201"/>
                  </a:cubicBezTo>
                  <a:cubicBezTo>
                    <a:pt x="2060" y="182"/>
                    <a:pt x="2072" y="162"/>
                    <a:pt x="2080" y="13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000"/>
            </a:p>
          </p:txBody>
        </p:sp>
      </p:grpSp>
      <p:grpSp>
        <p:nvGrpSpPr>
          <p:cNvPr id="14" name="Gruppieren 2">
            <a:extLst>
              <a:ext uri="{FF2B5EF4-FFF2-40B4-BE49-F238E27FC236}">
                <a16:creationId xmlns:a16="http://schemas.microsoft.com/office/drawing/2014/main" id="{BE697CE9-EBDE-6B4A-BE70-582D92A8A831}"/>
              </a:ext>
            </a:extLst>
          </p:cNvPr>
          <p:cNvGrpSpPr/>
          <p:nvPr/>
        </p:nvGrpSpPr>
        <p:grpSpPr>
          <a:xfrm>
            <a:off x="8701918" y="2868319"/>
            <a:ext cx="171180" cy="171180"/>
            <a:chOff x="3392092" y="1841122"/>
            <a:chExt cx="646508" cy="646508"/>
          </a:xfrm>
        </p:grpSpPr>
        <p:sp>
          <p:nvSpPr>
            <p:cNvPr id="15" name="Rechteck 14">
              <a:extLst>
                <a:ext uri="{FF2B5EF4-FFF2-40B4-BE49-F238E27FC236}">
                  <a16:creationId xmlns:a16="http://schemas.microsoft.com/office/drawing/2014/main" id="{E142A731-19B7-C34D-9534-9E05108F895F}"/>
                </a:ext>
              </a:extLst>
            </p:cNvPr>
            <p:cNvSpPr>
              <a:spLocks noChangeAspect="1"/>
            </p:cNvSpPr>
            <p:nvPr/>
          </p:nvSpPr>
          <p:spPr bwMode="gray">
            <a:xfrm>
              <a:off x="3392092" y="1841122"/>
              <a:ext cx="646508" cy="646508"/>
            </a:xfrm>
            <a:prstGeom prst="rect">
              <a:avLst/>
            </a:prstGeom>
            <a:solidFill>
              <a:srgbClr val="E55A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pPr>
              <a:endParaRPr lang="en-US" sz="1000" dirty="0">
                <a:solidFill>
                  <a:schemeClr val="tx1"/>
                </a:solidFill>
                <a:latin typeface="Arial" pitchFamily="34" charset="0"/>
                <a:cs typeface="Arial" pitchFamily="34" charset="0"/>
              </a:endParaRPr>
            </a:p>
          </p:txBody>
        </p:sp>
        <p:sp>
          <p:nvSpPr>
            <p:cNvPr id="16" name="Freeform 15">
              <a:extLst>
                <a:ext uri="{FF2B5EF4-FFF2-40B4-BE49-F238E27FC236}">
                  <a16:creationId xmlns:a16="http://schemas.microsoft.com/office/drawing/2014/main" id="{F97E84AE-4AD9-4B44-9AA1-F797FC373809}"/>
                </a:ext>
              </a:extLst>
            </p:cNvPr>
            <p:cNvSpPr>
              <a:spLocks noChangeAspect="1"/>
            </p:cNvSpPr>
            <p:nvPr/>
          </p:nvSpPr>
          <p:spPr bwMode="auto">
            <a:xfrm>
              <a:off x="3546638" y="1970424"/>
              <a:ext cx="337415" cy="387905"/>
            </a:xfrm>
            <a:custGeom>
              <a:avLst/>
              <a:gdLst>
                <a:gd name="T0" fmla="*/ 573 w 1624"/>
                <a:gd name="T1" fmla="*/ 1257 h 1867"/>
                <a:gd name="T2" fmla="*/ 662 w 1624"/>
                <a:gd name="T3" fmla="*/ 1288 h 1867"/>
                <a:gd name="T4" fmla="*/ 938 w 1624"/>
                <a:gd name="T5" fmla="*/ 1051 h 1867"/>
                <a:gd name="T6" fmla="*/ 1106 w 1624"/>
                <a:gd name="T7" fmla="*/ 731 h 1867"/>
                <a:gd name="T8" fmla="*/ 1059 w 1624"/>
                <a:gd name="T9" fmla="*/ 645 h 1867"/>
                <a:gd name="T10" fmla="*/ 1001 w 1624"/>
                <a:gd name="T11" fmla="*/ 613 h 1867"/>
                <a:gd name="T12" fmla="*/ 924 w 1624"/>
                <a:gd name="T13" fmla="*/ 432 h 1867"/>
                <a:gd name="T14" fmla="*/ 1114 w 1624"/>
                <a:gd name="T15" fmla="*/ 81 h 1867"/>
                <a:gd name="T16" fmla="*/ 1287 w 1624"/>
                <a:gd name="T17" fmla="*/ 35 h 1867"/>
                <a:gd name="T18" fmla="*/ 1350 w 1624"/>
                <a:gd name="T19" fmla="*/ 69 h 1867"/>
                <a:gd name="T20" fmla="*/ 1527 w 1624"/>
                <a:gd name="T21" fmla="*/ 235 h 1867"/>
                <a:gd name="T22" fmla="*/ 1583 w 1624"/>
                <a:gd name="T23" fmla="*/ 555 h 1867"/>
                <a:gd name="T24" fmla="*/ 1172 w 1624"/>
                <a:gd name="T25" fmla="*/ 1253 h 1867"/>
                <a:gd name="T26" fmla="*/ 586 w 1624"/>
                <a:gd name="T27" fmla="*/ 1803 h 1867"/>
                <a:gd name="T28" fmla="*/ 269 w 1624"/>
                <a:gd name="T29" fmla="*/ 1807 h 1867"/>
                <a:gd name="T30" fmla="*/ 33 w 1624"/>
                <a:gd name="T31" fmla="*/ 1602 h 1867"/>
                <a:gd name="T32" fmla="*/ 2 w 1624"/>
                <a:gd name="T33" fmla="*/ 1508 h 1867"/>
                <a:gd name="T34" fmla="*/ 45 w 1624"/>
                <a:gd name="T35" fmla="*/ 1421 h 1867"/>
                <a:gd name="T36" fmla="*/ 346 w 1624"/>
                <a:gd name="T37" fmla="*/ 1158 h 1867"/>
                <a:gd name="T38" fmla="*/ 448 w 1624"/>
                <a:gd name="T39" fmla="*/ 1145 h 1867"/>
                <a:gd name="T40" fmla="*/ 573 w 1624"/>
                <a:gd name="T41" fmla="*/ 1257 h 18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24" h="1867">
                  <a:moveTo>
                    <a:pt x="573" y="1257"/>
                  </a:moveTo>
                  <a:cubicBezTo>
                    <a:pt x="592" y="1282"/>
                    <a:pt x="630" y="1303"/>
                    <a:pt x="662" y="1288"/>
                  </a:cubicBezTo>
                  <a:cubicBezTo>
                    <a:pt x="753" y="1245"/>
                    <a:pt x="854" y="1156"/>
                    <a:pt x="938" y="1051"/>
                  </a:cubicBezTo>
                  <a:cubicBezTo>
                    <a:pt x="1020" y="948"/>
                    <a:pt x="1084" y="831"/>
                    <a:pt x="1106" y="731"/>
                  </a:cubicBezTo>
                  <a:cubicBezTo>
                    <a:pt x="1113" y="696"/>
                    <a:pt x="1089" y="661"/>
                    <a:pt x="1059" y="645"/>
                  </a:cubicBezTo>
                  <a:cubicBezTo>
                    <a:pt x="1001" y="613"/>
                    <a:pt x="1001" y="613"/>
                    <a:pt x="1001" y="613"/>
                  </a:cubicBezTo>
                  <a:cubicBezTo>
                    <a:pt x="942" y="580"/>
                    <a:pt x="888" y="499"/>
                    <a:pt x="924" y="432"/>
                  </a:cubicBezTo>
                  <a:cubicBezTo>
                    <a:pt x="1114" y="81"/>
                    <a:pt x="1114" y="81"/>
                    <a:pt x="1114" y="81"/>
                  </a:cubicBezTo>
                  <a:cubicBezTo>
                    <a:pt x="1150" y="16"/>
                    <a:pt x="1224" y="0"/>
                    <a:pt x="1287" y="35"/>
                  </a:cubicBezTo>
                  <a:cubicBezTo>
                    <a:pt x="1350" y="69"/>
                    <a:pt x="1350" y="69"/>
                    <a:pt x="1350" y="69"/>
                  </a:cubicBezTo>
                  <a:cubicBezTo>
                    <a:pt x="1415" y="105"/>
                    <a:pt x="1479" y="165"/>
                    <a:pt x="1527" y="235"/>
                  </a:cubicBezTo>
                  <a:cubicBezTo>
                    <a:pt x="1593" y="332"/>
                    <a:pt x="1624" y="442"/>
                    <a:pt x="1583" y="555"/>
                  </a:cubicBezTo>
                  <a:cubicBezTo>
                    <a:pt x="1500" y="781"/>
                    <a:pt x="1351" y="1030"/>
                    <a:pt x="1172" y="1253"/>
                  </a:cubicBezTo>
                  <a:cubicBezTo>
                    <a:pt x="994" y="1477"/>
                    <a:pt x="786" y="1676"/>
                    <a:pt x="586" y="1803"/>
                  </a:cubicBezTo>
                  <a:cubicBezTo>
                    <a:pt x="486" y="1867"/>
                    <a:pt x="375" y="1856"/>
                    <a:pt x="269" y="1807"/>
                  </a:cubicBezTo>
                  <a:cubicBezTo>
                    <a:pt x="157" y="1755"/>
                    <a:pt x="106" y="1695"/>
                    <a:pt x="33" y="1602"/>
                  </a:cubicBezTo>
                  <a:cubicBezTo>
                    <a:pt x="11" y="1573"/>
                    <a:pt x="0" y="1540"/>
                    <a:pt x="2" y="1508"/>
                  </a:cubicBezTo>
                  <a:cubicBezTo>
                    <a:pt x="4" y="1475"/>
                    <a:pt x="18" y="1444"/>
                    <a:pt x="45" y="1421"/>
                  </a:cubicBezTo>
                  <a:cubicBezTo>
                    <a:pt x="70" y="1399"/>
                    <a:pt x="346" y="1158"/>
                    <a:pt x="346" y="1158"/>
                  </a:cubicBezTo>
                  <a:cubicBezTo>
                    <a:pt x="376" y="1134"/>
                    <a:pt x="413" y="1133"/>
                    <a:pt x="448" y="1145"/>
                  </a:cubicBezTo>
                  <a:cubicBezTo>
                    <a:pt x="510" y="1166"/>
                    <a:pt x="536" y="1210"/>
                    <a:pt x="573" y="1257"/>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350" dirty="0"/>
            </a:p>
          </p:txBody>
        </p:sp>
      </p:grpSp>
      <p:grpSp>
        <p:nvGrpSpPr>
          <p:cNvPr id="17" name="Group 3">
            <a:extLst>
              <a:ext uri="{FF2B5EF4-FFF2-40B4-BE49-F238E27FC236}">
                <a16:creationId xmlns:a16="http://schemas.microsoft.com/office/drawing/2014/main" id="{7104BADD-8CD1-6F4A-B894-869C3BDB3EEB}"/>
              </a:ext>
            </a:extLst>
          </p:cNvPr>
          <p:cNvGrpSpPr>
            <a:grpSpLocks noChangeAspect="1"/>
          </p:cNvGrpSpPr>
          <p:nvPr>
            <p:custDataLst>
              <p:tags r:id="rId2"/>
            </p:custDataLst>
          </p:nvPr>
        </p:nvGrpSpPr>
        <p:grpSpPr>
          <a:xfrm>
            <a:off x="8701919" y="3153207"/>
            <a:ext cx="171180" cy="171180"/>
            <a:chOff x="328396" y="5313940"/>
            <a:chExt cx="720000" cy="720000"/>
          </a:xfrm>
        </p:grpSpPr>
        <p:sp>
          <p:nvSpPr>
            <p:cNvPr id="18" name="Rectangle 4">
              <a:extLst>
                <a:ext uri="{FF2B5EF4-FFF2-40B4-BE49-F238E27FC236}">
                  <a16:creationId xmlns:a16="http://schemas.microsoft.com/office/drawing/2014/main" id="{74BE3D5F-1445-6E40-8B49-72E15568383B}"/>
                </a:ext>
              </a:extLst>
            </p:cNvPr>
            <p:cNvSpPr/>
            <p:nvPr/>
          </p:nvSpPr>
          <p:spPr bwMode="gray">
            <a:xfrm>
              <a:off x="328396" y="5313940"/>
              <a:ext cx="720000" cy="720000"/>
            </a:xfrm>
            <a:prstGeom prst="rect">
              <a:avLst/>
            </a:prstGeom>
            <a:solidFill>
              <a:srgbClr val="E55A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pPr>
              <a:endParaRPr lang="en-US" sz="1000" dirty="0">
                <a:solidFill>
                  <a:schemeClr val="tx1"/>
                </a:solidFill>
                <a:latin typeface="Arial" pitchFamily="34" charset="0"/>
                <a:cs typeface="Arial" pitchFamily="34" charset="0"/>
              </a:endParaRPr>
            </a:p>
          </p:txBody>
        </p:sp>
        <p:sp>
          <p:nvSpPr>
            <p:cNvPr id="19" name="Freeform 76">
              <a:extLst>
                <a:ext uri="{FF2B5EF4-FFF2-40B4-BE49-F238E27FC236}">
                  <a16:creationId xmlns:a16="http://schemas.microsoft.com/office/drawing/2014/main" id="{55DB3C95-7D0C-D141-901E-96D692794D2B}"/>
                </a:ext>
              </a:extLst>
            </p:cNvPr>
            <p:cNvSpPr>
              <a:spLocks noChangeAspect="1" noEditPoints="1"/>
            </p:cNvSpPr>
            <p:nvPr/>
          </p:nvSpPr>
          <p:spPr bwMode="auto">
            <a:xfrm>
              <a:off x="456202" y="5509222"/>
              <a:ext cx="504000" cy="329436"/>
            </a:xfrm>
            <a:custGeom>
              <a:avLst/>
              <a:gdLst>
                <a:gd name="T0" fmla="*/ 0 w 2080"/>
                <a:gd name="T1" fmla="*/ 65 h 1360"/>
                <a:gd name="T2" fmla="*/ 0 w 2080"/>
                <a:gd name="T3" fmla="*/ 0 h 1360"/>
                <a:gd name="T4" fmla="*/ 2080 w 2080"/>
                <a:gd name="T5" fmla="*/ 0 h 1360"/>
                <a:gd name="T6" fmla="*/ 2080 w 2080"/>
                <a:gd name="T7" fmla="*/ 65 h 1360"/>
                <a:gd name="T8" fmla="*/ 1089 w 2080"/>
                <a:gd name="T9" fmla="*/ 862 h 1360"/>
                <a:gd name="T10" fmla="*/ 991 w 2080"/>
                <a:gd name="T11" fmla="*/ 862 h 1360"/>
                <a:gd name="T12" fmla="*/ 0 w 2080"/>
                <a:gd name="T13" fmla="*/ 65 h 1360"/>
                <a:gd name="T14" fmla="*/ 1139 w 2080"/>
                <a:gd name="T15" fmla="*/ 924 h 1360"/>
                <a:gd name="T16" fmla="*/ 1282 w 2080"/>
                <a:gd name="T17" fmla="*/ 810 h 1360"/>
                <a:gd name="T18" fmla="*/ 2076 w 2080"/>
                <a:gd name="T19" fmla="*/ 1360 h 1360"/>
                <a:gd name="T20" fmla="*/ 4 w 2080"/>
                <a:gd name="T21" fmla="*/ 1360 h 1360"/>
                <a:gd name="T22" fmla="*/ 798 w 2080"/>
                <a:gd name="T23" fmla="*/ 810 h 1360"/>
                <a:gd name="T24" fmla="*/ 941 w 2080"/>
                <a:gd name="T25" fmla="*/ 924 h 1360"/>
                <a:gd name="T26" fmla="*/ 1139 w 2080"/>
                <a:gd name="T27" fmla="*/ 924 h 1360"/>
                <a:gd name="T28" fmla="*/ 2 w 2080"/>
                <a:gd name="T29" fmla="*/ 137 h 1360"/>
                <a:gd name="T30" fmla="*/ 42 w 2080"/>
                <a:gd name="T31" fmla="*/ 201 h 1360"/>
                <a:gd name="T32" fmla="*/ 734 w 2080"/>
                <a:gd name="T33" fmla="*/ 758 h 1360"/>
                <a:gd name="T34" fmla="*/ 0 w 2080"/>
                <a:gd name="T35" fmla="*/ 1266 h 1360"/>
                <a:gd name="T36" fmla="*/ 0 w 2080"/>
                <a:gd name="T37" fmla="*/ 135 h 1360"/>
                <a:gd name="T38" fmla="*/ 2 w 2080"/>
                <a:gd name="T39" fmla="*/ 137 h 1360"/>
                <a:gd name="T40" fmla="*/ 2080 w 2080"/>
                <a:gd name="T41" fmla="*/ 136 h 1360"/>
                <a:gd name="T42" fmla="*/ 2080 w 2080"/>
                <a:gd name="T43" fmla="*/ 1265 h 1360"/>
                <a:gd name="T44" fmla="*/ 1346 w 2080"/>
                <a:gd name="T45" fmla="*/ 758 h 1360"/>
                <a:gd name="T46" fmla="*/ 2038 w 2080"/>
                <a:gd name="T47" fmla="*/ 201 h 1360"/>
                <a:gd name="T48" fmla="*/ 2080 w 2080"/>
                <a:gd name="T49" fmla="*/ 136 h 1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080" h="1360">
                  <a:moveTo>
                    <a:pt x="0" y="65"/>
                  </a:moveTo>
                  <a:cubicBezTo>
                    <a:pt x="0" y="0"/>
                    <a:pt x="0" y="0"/>
                    <a:pt x="0" y="0"/>
                  </a:cubicBezTo>
                  <a:cubicBezTo>
                    <a:pt x="2080" y="0"/>
                    <a:pt x="2080" y="0"/>
                    <a:pt x="2080" y="0"/>
                  </a:cubicBezTo>
                  <a:cubicBezTo>
                    <a:pt x="2080" y="65"/>
                    <a:pt x="2080" y="65"/>
                    <a:pt x="2080" y="65"/>
                  </a:cubicBezTo>
                  <a:cubicBezTo>
                    <a:pt x="1089" y="862"/>
                    <a:pt x="1089" y="862"/>
                    <a:pt x="1089" y="862"/>
                  </a:cubicBezTo>
                  <a:cubicBezTo>
                    <a:pt x="1060" y="886"/>
                    <a:pt x="1020" y="886"/>
                    <a:pt x="991" y="862"/>
                  </a:cubicBezTo>
                  <a:lnTo>
                    <a:pt x="0" y="65"/>
                  </a:lnTo>
                  <a:close/>
                  <a:moveTo>
                    <a:pt x="1139" y="924"/>
                  </a:moveTo>
                  <a:cubicBezTo>
                    <a:pt x="1282" y="810"/>
                    <a:pt x="1282" y="810"/>
                    <a:pt x="1282" y="810"/>
                  </a:cubicBezTo>
                  <a:cubicBezTo>
                    <a:pt x="2076" y="1360"/>
                    <a:pt x="2076" y="1360"/>
                    <a:pt x="2076" y="1360"/>
                  </a:cubicBezTo>
                  <a:cubicBezTo>
                    <a:pt x="4" y="1360"/>
                    <a:pt x="4" y="1360"/>
                    <a:pt x="4" y="1360"/>
                  </a:cubicBezTo>
                  <a:cubicBezTo>
                    <a:pt x="798" y="810"/>
                    <a:pt x="798" y="810"/>
                    <a:pt x="798" y="810"/>
                  </a:cubicBezTo>
                  <a:cubicBezTo>
                    <a:pt x="941" y="924"/>
                    <a:pt x="941" y="924"/>
                    <a:pt x="941" y="924"/>
                  </a:cubicBezTo>
                  <a:cubicBezTo>
                    <a:pt x="1000" y="972"/>
                    <a:pt x="1080" y="972"/>
                    <a:pt x="1139" y="924"/>
                  </a:cubicBezTo>
                  <a:close/>
                  <a:moveTo>
                    <a:pt x="2" y="137"/>
                  </a:moveTo>
                  <a:cubicBezTo>
                    <a:pt x="8" y="163"/>
                    <a:pt x="22" y="185"/>
                    <a:pt x="42" y="201"/>
                  </a:cubicBezTo>
                  <a:cubicBezTo>
                    <a:pt x="734" y="758"/>
                    <a:pt x="734" y="758"/>
                    <a:pt x="734" y="758"/>
                  </a:cubicBezTo>
                  <a:cubicBezTo>
                    <a:pt x="0" y="1266"/>
                    <a:pt x="0" y="1266"/>
                    <a:pt x="0" y="1266"/>
                  </a:cubicBezTo>
                  <a:cubicBezTo>
                    <a:pt x="0" y="135"/>
                    <a:pt x="0" y="135"/>
                    <a:pt x="0" y="135"/>
                  </a:cubicBezTo>
                  <a:lnTo>
                    <a:pt x="2" y="137"/>
                  </a:lnTo>
                  <a:close/>
                  <a:moveTo>
                    <a:pt x="2080" y="136"/>
                  </a:moveTo>
                  <a:cubicBezTo>
                    <a:pt x="2080" y="1265"/>
                    <a:pt x="2080" y="1265"/>
                    <a:pt x="2080" y="1265"/>
                  </a:cubicBezTo>
                  <a:cubicBezTo>
                    <a:pt x="1346" y="758"/>
                    <a:pt x="1346" y="758"/>
                    <a:pt x="1346" y="758"/>
                  </a:cubicBezTo>
                  <a:cubicBezTo>
                    <a:pt x="2038" y="201"/>
                    <a:pt x="2038" y="201"/>
                    <a:pt x="2038" y="201"/>
                  </a:cubicBezTo>
                  <a:cubicBezTo>
                    <a:pt x="2060" y="182"/>
                    <a:pt x="2072" y="162"/>
                    <a:pt x="2080" y="13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000"/>
            </a:p>
          </p:txBody>
        </p:sp>
      </p:grpSp>
      <p:cxnSp>
        <p:nvCxnSpPr>
          <p:cNvPr id="20" name="Straight Connector 19"/>
          <p:cNvCxnSpPr/>
          <p:nvPr/>
        </p:nvCxnSpPr>
        <p:spPr>
          <a:xfrm>
            <a:off x="2371725" y="3478213"/>
            <a:ext cx="3888000" cy="0"/>
          </a:xfrm>
          <a:prstGeom prst="line">
            <a:avLst/>
          </a:prstGeom>
          <a:ln w="6350">
            <a:solidFill>
              <a:schemeClr val="tx2"/>
            </a:solidFill>
            <a:prstDash val="dash"/>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p:nvCxnSpPr>
        <p:spPr>
          <a:xfrm>
            <a:off x="7287767" y="3478213"/>
            <a:ext cx="3888000" cy="0"/>
          </a:xfrm>
          <a:prstGeom prst="line">
            <a:avLst/>
          </a:prstGeom>
          <a:ln w="6350">
            <a:solidFill>
              <a:schemeClr val="tx2"/>
            </a:solidFill>
            <a:prstDash val="dash"/>
          </a:ln>
        </p:spPr>
        <p:style>
          <a:lnRef idx="1">
            <a:schemeClr val="accent1"/>
          </a:lnRef>
          <a:fillRef idx="0">
            <a:schemeClr val="accent1"/>
          </a:fillRef>
          <a:effectRef idx="0">
            <a:schemeClr val="accent1"/>
          </a:effectRef>
          <a:fontRef idx="minor">
            <a:schemeClr val="tx1"/>
          </a:fontRef>
        </p:style>
      </p:cxnSp>
      <p:sp>
        <p:nvSpPr>
          <p:cNvPr id="4" name="Picture Placeholder 3"/>
          <p:cNvSpPr>
            <a:spLocks noGrp="1"/>
          </p:cNvSpPr>
          <p:nvPr>
            <p:ph type="pic" sz="quarter" idx="17" hasCustomPrompt="1"/>
          </p:nvPr>
        </p:nvSpPr>
        <p:spPr>
          <a:xfrm>
            <a:off x="2355915" y="1808984"/>
            <a:ext cx="1188677" cy="1547839"/>
          </a:xfrm>
          <a:solidFill>
            <a:srgbClr val="D9DADB"/>
          </a:solidFill>
        </p:spPr>
        <p:txBody>
          <a:bodyPr/>
          <a:lstStyle>
            <a:lvl1pPr marL="0" indent="0">
              <a:buNone/>
              <a:defRPr sz="1400"/>
            </a:lvl1pPr>
          </a:lstStyle>
          <a:p>
            <a:r>
              <a:rPr lang="en-US" dirty="0"/>
              <a:t>Insert picture</a:t>
            </a:r>
          </a:p>
        </p:txBody>
      </p:sp>
      <p:sp>
        <p:nvSpPr>
          <p:cNvPr id="25" name="Picture Placeholder 3"/>
          <p:cNvSpPr>
            <a:spLocks noGrp="1"/>
          </p:cNvSpPr>
          <p:nvPr>
            <p:ph type="pic" sz="quarter" idx="18" hasCustomPrompt="1"/>
          </p:nvPr>
        </p:nvSpPr>
        <p:spPr>
          <a:xfrm>
            <a:off x="7287767" y="1808984"/>
            <a:ext cx="1188677" cy="1547839"/>
          </a:xfrm>
          <a:solidFill>
            <a:srgbClr val="D9DADB"/>
          </a:solidFill>
        </p:spPr>
        <p:txBody>
          <a:bodyPr/>
          <a:lstStyle>
            <a:lvl1pPr marL="0" indent="0">
              <a:buNone/>
              <a:defRPr sz="1400"/>
            </a:lvl1pPr>
          </a:lstStyle>
          <a:p>
            <a:r>
              <a:rPr lang="en-US" dirty="0"/>
              <a:t>Insert picture</a:t>
            </a:r>
          </a:p>
        </p:txBody>
      </p:sp>
      <p:sp>
        <p:nvSpPr>
          <p:cNvPr id="6" name="Text Placeholder 5"/>
          <p:cNvSpPr>
            <a:spLocks noGrp="1"/>
          </p:cNvSpPr>
          <p:nvPr>
            <p:ph type="body" sz="quarter" idx="19" hasCustomPrompt="1"/>
          </p:nvPr>
        </p:nvSpPr>
        <p:spPr>
          <a:xfrm>
            <a:off x="3770066" y="1808521"/>
            <a:ext cx="2463191" cy="192361"/>
          </a:xfrm>
        </p:spPr>
        <p:txBody>
          <a:bodyPr lIns="0" tIns="0" rIns="0" bIns="0" anchor="ctr" anchorCtr="0"/>
          <a:lstStyle>
            <a:lvl1pPr marL="0" indent="0" algn="l">
              <a:lnSpc>
                <a:spcPct val="100000"/>
              </a:lnSpc>
              <a:buNone/>
              <a:defRPr sz="100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Country</a:t>
            </a:r>
          </a:p>
        </p:txBody>
      </p:sp>
      <p:sp>
        <p:nvSpPr>
          <p:cNvPr id="26" name="Text Placeholder 5"/>
          <p:cNvSpPr>
            <a:spLocks noGrp="1"/>
          </p:cNvSpPr>
          <p:nvPr>
            <p:ph type="body" sz="quarter" idx="20" hasCustomPrompt="1"/>
          </p:nvPr>
        </p:nvSpPr>
        <p:spPr>
          <a:xfrm>
            <a:off x="3770066" y="2020337"/>
            <a:ext cx="2463191" cy="266182"/>
          </a:xfrm>
        </p:spPr>
        <p:txBody>
          <a:bodyPr lIns="0" tIns="0" rIns="0" bIns="0" anchor="b" anchorCtr="0"/>
          <a:lstStyle>
            <a:lvl1pPr marL="0" indent="0" algn="l">
              <a:lnSpc>
                <a:spcPct val="100000"/>
              </a:lnSpc>
              <a:buNone/>
              <a:defRPr sz="1400" b="1" baseline="0">
                <a:solidFill>
                  <a:schemeClr val="tx2"/>
                </a:solidFill>
              </a:defRPr>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Name, Surname</a:t>
            </a:r>
          </a:p>
        </p:txBody>
      </p:sp>
      <p:sp>
        <p:nvSpPr>
          <p:cNvPr id="27" name="Text Placeholder 5"/>
          <p:cNvSpPr>
            <a:spLocks noGrp="1"/>
          </p:cNvSpPr>
          <p:nvPr>
            <p:ph type="body" sz="quarter" idx="21" hasCustomPrompt="1"/>
          </p:nvPr>
        </p:nvSpPr>
        <p:spPr>
          <a:xfrm>
            <a:off x="3770066" y="2316912"/>
            <a:ext cx="2463191" cy="192361"/>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Job Position</a:t>
            </a:r>
          </a:p>
        </p:txBody>
      </p:sp>
      <p:sp>
        <p:nvSpPr>
          <p:cNvPr id="28" name="Text Placeholder 5"/>
          <p:cNvSpPr>
            <a:spLocks noGrp="1"/>
          </p:cNvSpPr>
          <p:nvPr>
            <p:ph type="body" sz="quarter" idx="22" hasCustomPrompt="1"/>
          </p:nvPr>
        </p:nvSpPr>
        <p:spPr>
          <a:xfrm>
            <a:off x="4014949" y="2845589"/>
            <a:ext cx="2218307" cy="192361"/>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Phone number</a:t>
            </a:r>
          </a:p>
        </p:txBody>
      </p:sp>
      <p:sp>
        <p:nvSpPr>
          <p:cNvPr id="29" name="Text Placeholder 5"/>
          <p:cNvSpPr>
            <a:spLocks noGrp="1"/>
          </p:cNvSpPr>
          <p:nvPr>
            <p:ph type="body" sz="quarter" idx="23" hasCustomPrompt="1"/>
          </p:nvPr>
        </p:nvSpPr>
        <p:spPr>
          <a:xfrm>
            <a:off x="4014949" y="3128395"/>
            <a:ext cx="2218307" cy="192361"/>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Email address</a:t>
            </a:r>
          </a:p>
        </p:txBody>
      </p:sp>
      <p:sp>
        <p:nvSpPr>
          <p:cNvPr id="30" name="Text Placeholder 5"/>
          <p:cNvSpPr>
            <a:spLocks noGrp="1"/>
          </p:cNvSpPr>
          <p:nvPr>
            <p:ph type="body" sz="quarter" idx="24" hasCustomPrompt="1"/>
          </p:nvPr>
        </p:nvSpPr>
        <p:spPr>
          <a:xfrm>
            <a:off x="8701918" y="1808521"/>
            <a:ext cx="2463191" cy="192361"/>
          </a:xfrm>
        </p:spPr>
        <p:txBody>
          <a:bodyPr lIns="0" tIns="0" rIns="0" bIns="0" anchor="ctr" anchorCtr="0"/>
          <a:lstStyle>
            <a:lvl1pPr marL="0" indent="0" algn="l">
              <a:lnSpc>
                <a:spcPct val="100000"/>
              </a:lnSpc>
              <a:buNone/>
              <a:defRPr sz="100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Country</a:t>
            </a:r>
          </a:p>
        </p:txBody>
      </p:sp>
      <p:sp>
        <p:nvSpPr>
          <p:cNvPr id="31" name="Text Placeholder 5"/>
          <p:cNvSpPr>
            <a:spLocks noGrp="1"/>
          </p:cNvSpPr>
          <p:nvPr>
            <p:ph type="body" sz="quarter" idx="25" hasCustomPrompt="1"/>
          </p:nvPr>
        </p:nvSpPr>
        <p:spPr>
          <a:xfrm>
            <a:off x="8701918" y="2020337"/>
            <a:ext cx="2463191" cy="266182"/>
          </a:xfrm>
        </p:spPr>
        <p:txBody>
          <a:bodyPr lIns="0" tIns="0" rIns="0" bIns="0" anchor="b" anchorCtr="0"/>
          <a:lstStyle>
            <a:lvl1pPr marL="0" indent="0" algn="l">
              <a:lnSpc>
                <a:spcPct val="100000"/>
              </a:lnSpc>
              <a:buNone/>
              <a:defRPr sz="1400" b="1" baseline="0">
                <a:solidFill>
                  <a:schemeClr val="tx2"/>
                </a:solidFill>
              </a:defRPr>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Name, Surname</a:t>
            </a:r>
          </a:p>
        </p:txBody>
      </p:sp>
      <p:sp>
        <p:nvSpPr>
          <p:cNvPr id="32" name="Text Placeholder 5"/>
          <p:cNvSpPr>
            <a:spLocks noGrp="1"/>
          </p:cNvSpPr>
          <p:nvPr>
            <p:ph type="body" sz="quarter" idx="26" hasCustomPrompt="1"/>
          </p:nvPr>
        </p:nvSpPr>
        <p:spPr>
          <a:xfrm>
            <a:off x="8701918" y="2316912"/>
            <a:ext cx="2463191" cy="192361"/>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Job Position</a:t>
            </a:r>
          </a:p>
        </p:txBody>
      </p:sp>
      <p:sp>
        <p:nvSpPr>
          <p:cNvPr id="33" name="Text Placeholder 5"/>
          <p:cNvSpPr>
            <a:spLocks noGrp="1"/>
          </p:cNvSpPr>
          <p:nvPr>
            <p:ph type="body" sz="quarter" idx="27" hasCustomPrompt="1"/>
          </p:nvPr>
        </p:nvSpPr>
        <p:spPr>
          <a:xfrm>
            <a:off x="8946801" y="2845589"/>
            <a:ext cx="2218307" cy="192361"/>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Phone number</a:t>
            </a:r>
          </a:p>
        </p:txBody>
      </p:sp>
      <p:sp>
        <p:nvSpPr>
          <p:cNvPr id="34" name="Text Placeholder 5"/>
          <p:cNvSpPr>
            <a:spLocks noGrp="1"/>
          </p:cNvSpPr>
          <p:nvPr>
            <p:ph type="body" sz="quarter" idx="28" hasCustomPrompt="1"/>
          </p:nvPr>
        </p:nvSpPr>
        <p:spPr>
          <a:xfrm>
            <a:off x="8946801" y="3128395"/>
            <a:ext cx="2218307" cy="192361"/>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Email address</a:t>
            </a:r>
          </a:p>
        </p:txBody>
      </p:sp>
    </p:spTree>
    <p:extLst>
      <p:ext uri="{BB962C8B-B14F-4D97-AF65-F5344CB8AC3E}">
        <p14:creationId xmlns:p14="http://schemas.microsoft.com/office/powerpoint/2010/main" val="96334533"/>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2" name="Title 1"/>
          <p:cNvSpPr>
            <a:spLocks noGrp="1"/>
          </p:cNvSpPr>
          <p:nvPr>
            <p:ph type="ctrTitle" hasCustomPrompt="1"/>
          </p:nvPr>
        </p:nvSpPr>
        <p:spPr bwMode="gray">
          <a:xfrm>
            <a:off x="431800" y="2372784"/>
            <a:ext cx="11328401" cy="1344257"/>
          </a:xfrm>
        </p:spPr>
        <p:txBody>
          <a:bodyPr anchor="b"/>
          <a:lstStyle>
            <a:lvl1pPr>
              <a:defRPr sz="4800" b="0" cap="none" baseline="0">
                <a:solidFill>
                  <a:schemeClr val="tx2"/>
                </a:solidFill>
                <a:latin typeface="Arial" pitchFamily="34" charset="0"/>
              </a:defRPr>
            </a:lvl1pPr>
          </a:lstStyle>
          <a:p>
            <a:r>
              <a:rPr lang="en-US"/>
              <a:t>Click to add title of presentation</a:t>
            </a:r>
          </a:p>
        </p:txBody>
      </p:sp>
      <p:sp>
        <p:nvSpPr>
          <p:cNvPr id="3" name="Subtitle 2"/>
          <p:cNvSpPr>
            <a:spLocks noGrp="1"/>
          </p:cNvSpPr>
          <p:nvPr>
            <p:ph type="subTitle" idx="1" hasCustomPrompt="1"/>
          </p:nvPr>
        </p:nvSpPr>
        <p:spPr bwMode="gray">
          <a:xfrm>
            <a:off x="431799" y="3813054"/>
            <a:ext cx="11328403" cy="1535764"/>
          </a:xfrm>
        </p:spPr>
        <p:txBody>
          <a:bodyPr/>
          <a:lstStyle>
            <a:lvl1pPr marL="0" indent="0" algn="l">
              <a:spcBef>
                <a:spcPts val="800"/>
              </a:spcBef>
              <a:spcAft>
                <a:spcPts val="0"/>
              </a:spcAft>
              <a:buNone/>
              <a:defRPr sz="2667" baseline="0">
                <a:solidFill>
                  <a:schemeClr val="tx2"/>
                </a:solidFill>
              </a:defRPr>
            </a:lvl1pPr>
            <a:lvl2pPr marL="0" indent="0" algn="l">
              <a:spcBef>
                <a:spcPts val="800"/>
              </a:spcBef>
              <a:spcAft>
                <a:spcPts val="0"/>
              </a:spcAft>
              <a:buNone/>
              <a:defRPr sz="2667">
                <a:solidFill>
                  <a:schemeClr val="tx2"/>
                </a:solidFill>
              </a:defRPr>
            </a:lvl2pPr>
            <a:lvl3pPr marL="0" indent="0" algn="l">
              <a:spcBef>
                <a:spcPts val="800"/>
              </a:spcBef>
              <a:spcAft>
                <a:spcPts val="0"/>
              </a:spcAft>
              <a:buNone/>
              <a:defRPr sz="2667">
                <a:solidFill>
                  <a:schemeClr val="tx2"/>
                </a:solidFill>
              </a:defRPr>
            </a:lvl3pPr>
            <a:lvl4pPr marL="0" indent="0" algn="l">
              <a:spcBef>
                <a:spcPts val="800"/>
              </a:spcBef>
              <a:spcAft>
                <a:spcPts val="0"/>
              </a:spcAft>
              <a:buNone/>
              <a:defRPr sz="2667">
                <a:solidFill>
                  <a:schemeClr val="tx2"/>
                </a:solidFill>
              </a:defRPr>
            </a:lvl4pPr>
            <a:lvl5pPr marL="0" indent="0" algn="l">
              <a:spcBef>
                <a:spcPts val="800"/>
              </a:spcBef>
              <a:spcAft>
                <a:spcPts val="0"/>
              </a:spcAft>
              <a:buNone/>
              <a:defRPr sz="2667">
                <a:solidFill>
                  <a:schemeClr val="tx2"/>
                </a:solidFill>
              </a:defRPr>
            </a:lvl5pPr>
            <a:lvl6pPr marL="0" indent="0" algn="l">
              <a:spcBef>
                <a:spcPts val="800"/>
              </a:spcBef>
              <a:spcAft>
                <a:spcPts val="0"/>
              </a:spcAft>
              <a:buNone/>
              <a:defRPr sz="2667">
                <a:solidFill>
                  <a:schemeClr val="tx2"/>
                </a:solidFill>
              </a:defRPr>
            </a:lvl6pPr>
            <a:lvl7pPr marL="0" indent="0" algn="l">
              <a:spcBef>
                <a:spcPts val="800"/>
              </a:spcBef>
              <a:spcAft>
                <a:spcPts val="0"/>
              </a:spcAft>
              <a:buNone/>
              <a:defRPr sz="2667">
                <a:solidFill>
                  <a:schemeClr val="tx2"/>
                </a:solidFill>
              </a:defRPr>
            </a:lvl7pPr>
            <a:lvl8pPr marL="0" indent="0" algn="l">
              <a:spcAft>
                <a:spcPts val="0"/>
              </a:spcAft>
              <a:buNone/>
              <a:defRPr sz="2667">
                <a:solidFill>
                  <a:schemeClr val="tx2"/>
                </a:solidFill>
              </a:defRPr>
            </a:lvl8pPr>
            <a:lvl9pPr marL="0" indent="0" algn="l">
              <a:spcBef>
                <a:spcPts val="800"/>
              </a:spcBef>
              <a:spcAft>
                <a:spcPts val="0"/>
              </a:spcAft>
              <a:buNone/>
              <a:defRPr sz="2667">
                <a:solidFill>
                  <a:schemeClr val="tx2"/>
                </a:solidFill>
              </a:defRPr>
            </a:lvl9pPr>
          </a:lstStyle>
          <a:p>
            <a:pPr lvl="0"/>
            <a:r>
              <a:rPr lang="en-US" noProof="0"/>
              <a:t>Click to add subtitle of presentation</a:t>
            </a:r>
          </a:p>
        </p:txBody>
      </p:sp>
      <p:sp>
        <p:nvSpPr>
          <p:cNvPr id="4" name="Rechteck 3"/>
          <p:cNvSpPr/>
          <p:nvPr userDrawn="1"/>
        </p:nvSpPr>
        <p:spPr bwMode="gray">
          <a:xfrm>
            <a:off x="0" y="6570171"/>
            <a:ext cx="12192000" cy="287829"/>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indent="0" algn="ctr">
              <a:buFont typeface="Courier New" pitchFamily="49" charset="0"/>
              <a:buNone/>
            </a:pPr>
            <a:endParaRPr lang="en-US" sz="2133">
              <a:solidFill>
                <a:schemeClr val="tx1"/>
              </a:solidFill>
              <a:latin typeface="Arial" pitchFamily="34" charset="0"/>
            </a:endParaRPr>
          </a:p>
        </p:txBody>
      </p:sp>
      <p:sp>
        <p:nvSpPr>
          <p:cNvPr id="6" name="Text Placeholder 10"/>
          <p:cNvSpPr>
            <a:spLocks noGrp="1"/>
          </p:cNvSpPr>
          <p:nvPr>
            <p:ph type="body" sz="quarter" idx="10" hasCustomPrompt="1"/>
          </p:nvPr>
        </p:nvSpPr>
        <p:spPr bwMode="gray">
          <a:xfrm>
            <a:off x="431800" y="6117413"/>
            <a:ext cx="11328400" cy="288000"/>
          </a:xfrm>
        </p:spPr>
        <p:txBody>
          <a:bodyPr tIns="0" anchor="b" anchorCtr="0"/>
          <a:lstStyle>
            <a:lvl1pPr marL="0" indent="0">
              <a:lnSpc>
                <a:spcPct val="100000"/>
              </a:lnSpc>
              <a:spcBef>
                <a:spcPts val="0"/>
              </a:spcBef>
              <a:spcAft>
                <a:spcPts val="0"/>
              </a:spcAft>
              <a:buFontTx/>
              <a:buNone/>
              <a:defRPr sz="1600">
                <a:solidFill>
                  <a:schemeClr val="tx2"/>
                </a:solidFill>
              </a:defRPr>
            </a:lvl1pPr>
            <a:lvl2pPr marL="0" indent="0">
              <a:lnSpc>
                <a:spcPct val="100000"/>
              </a:lnSpc>
              <a:spcBef>
                <a:spcPts val="0"/>
              </a:spcBef>
              <a:spcAft>
                <a:spcPts val="0"/>
              </a:spcAft>
              <a:buFontTx/>
              <a:buNone/>
              <a:defRPr sz="1600">
                <a:solidFill>
                  <a:schemeClr val="tx2"/>
                </a:solidFill>
              </a:defRPr>
            </a:lvl2pPr>
            <a:lvl3pPr marL="0" indent="0">
              <a:lnSpc>
                <a:spcPct val="100000"/>
              </a:lnSpc>
              <a:spcBef>
                <a:spcPts val="0"/>
              </a:spcBef>
              <a:spcAft>
                <a:spcPts val="0"/>
              </a:spcAft>
              <a:buFontTx/>
              <a:buNone/>
              <a:defRPr sz="1600">
                <a:solidFill>
                  <a:schemeClr val="tx2"/>
                </a:solidFill>
              </a:defRPr>
            </a:lvl3pPr>
            <a:lvl4pPr marL="0" indent="0">
              <a:lnSpc>
                <a:spcPct val="100000"/>
              </a:lnSpc>
              <a:spcBef>
                <a:spcPts val="0"/>
              </a:spcBef>
              <a:spcAft>
                <a:spcPts val="0"/>
              </a:spcAft>
              <a:buFontTx/>
              <a:buNone/>
              <a:defRPr sz="1600">
                <a:solidFill>
                  <a:schemeClr val="tx2"/>
                </a:solidFill>
              </a:defRPr>
            </a:lvl4pPr>
            <a:lvl5pPr marL="0" indent="0">
              <a:lnSpc>
                <a:spcPct val="100000"/>
              </a:lnSpc>
              <a:spcBef>
                <a:spcPts val="0"/>
              </a:spcBef>
              <a:spcAft>
                <a:spcPts val="0"/>
              </a:spcAft>
              <a:buFontTx/>
              <a:buNone/>
              <a:defRPr sz="1600">
                <a:solidFill>
                  <a:schemeClr val="tx2"/>
                </a:solidFill>
              </a:defRPr>
            </a:lvl5pPr>
            <a:lvl6pPr marL="0" indent="0">
              <a:lnSpc>
                <a:spcPct val="100000"/>
              </a:lnSpc>
              <a:spcBef>
                <a:spcPts val="0"/>
              </a:spcBef>
              <a:spcAft>
                <a:spcPts val="0"/>
              </a:spcAft>
              <a:buFontTx/>
              <a:buNone/>
              <a:defRPr sz="1600">
                <a:solidFill>
                  <a:schemeClr val="tx2"/>
                </a:solidFill>
              </a:defRPr>
            </a:lvl6pPr>
            <a:lvl7pPr marL="0" indent="0">
              <a:lnSpc>
                <a:spcPct val="100000"/>
              </a:lnSpc>
              <a:spcBef>
                <a:spcPts val="0"/>
              </a:spcBef>
              <a:spcAft>
                <a:spcPts val="0"/>
              </a:spcAft>
              <a:buFontTx/>
              <a:buNone/>
              <a:defRPr sz="1600">
                <a:solidFill>
                  <a:schemeClr val="tx2"/>
                </a:solidFill>
              </a:defRPr>
            </a:lvl7pPr>
            <a:lvl8pPr marL="0" indent="0">
              <a:lnSpc>
                <a:spcPct val="100000"/>
              </a:lnSpc>
              <a:spcBef>
                <a:spcPts val="0"/>
              </a:spcBef>
              <a:spcAft>
                <a:spcPts val="0"/>
              </a:spcAft>
              <a:buFontTx/>
              <a:buNone/>
              <a:defRPr sz="1600">
                <a:solidFill>
                  <a:schemeClr val="bg1"/>
                </a:solidFill>
              </a:defRPr>
            </a:lvl8pPr>
            <a:lvl9pPr marL="0" indent="0">
              <a:lnSpc>
                <a:spcPct val="100000"/>
              </a:lnSpc>
              <a:spcBef>
                <a:spcPts val="0"/>
              </a:spcBef>
              <a:spcAft>
                <a:spcPts val="0"/>
              </a:spcAft>
              <a:buFontTx/>
              <a:buNone/>
              <a:defRPr sz="1600">
                <a:solidFill>
                  <a:schemeClr val="tx2"/>
                </a:solidFill>
              </a:defRPr>
            </a:lvl9pPr>
          </a:lstStyle>
          <a:p>
            <a:pPr lvl="0"/>
            <a:r>
              <a:rPr lang="en-US" noProof="0"/>
              <a:t>Click to add additional text, e.g. author, location, date</a:t>
            </a:r>
          </a:p>
        </p:txBody>
      </p:sp>
    </p:spTree>
    <p:extLst>
      <p:ext uri="{BB962C8B-B14F-4D97-AF65-F5344CB8AC3E}">
        <p14:creationId xmlns:p14="http://schemas.microsoft.com/office/powerpoint/2010/main" val="744249949"/>
      </p:ext>
    </p:extLst>
  </p:cSld>
  <p:clrMapOvr>
    <a:masterClrMapping/>
  </p:clrMapOvr>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p:cSld name="Three contacts">
    <p:spTree>
      <p:nvGrpSpPr>
        <p:cNvPr id="1" name=""/>
        <p:cNvGrpSpPr/>
        <p:nvPr/>
      </p:nvGrpSpPr>
      <p:grpSpPr>
        <a:xfrm>
          <a:off x="0" y="0"/>
          <a:ext cx="0" cy="0"/>
          <a:chOff x="0" y="0"/>
          <a:chExt cx="0" cy="0"/>
        </a:xfrm>
      </p:grpSpPr>
      <p:sp>
        <p:nvSpPr>
          <p:cNvPr id="21" name="Date Placeholder 20"/>
          <p:cNvSpPr>
            <a:spLocks noGrp="1"/>
          </p:cNvSpPr>
          <p:nvPr>
            <p:ph type="dt" sz="half" idx="14"/>
          </p:nvPr>
        </p:nvSpPr>
        <p:spPr>
          <a:xfrm>
            <a:off x="192088" y="6461673"/>
            <a:ext cx="761512" cy="133789"/>
          </a:xfrm>
          <a:prstGeom prst="rect">
            <a:avLst/>
          </a:prstGeom>
        </p:spPr>
        <p:txBody>
          <a:bodyPr/>
          <a:lstStyle/>
          <a:p>
            <a:fld id="{6580B400-49DF-489E-B82C-8D138BFCC234}" type="datetime5">
              <a:rPr lang="en-US" smtClean="0"/>
              <a:t>26-Jun-20</a:t>
            </a:fld>
            <a:endParaRPr lang="en-US"/>
          </a:p>
        </p:txBody>
      </p:sp>
      <p:sp>
        <p:nvSpPr>
          <p:cNvPr id="22" name="Footer Placeholder 21"/>
          <p:cNvSpPr>
            <a:spLocks noGrp="1"/>
          </p:cNvSpPr>
          <p:nvPr>
            <p:ph type="ftr" sz="quarter" idx="15"/>
          </p:nvPr>
        </p:nvSpPr>
        <p:spPr>
          <a:xfrm>
            <a:off x="1076400" y="6461673"/>
            <a:ext cx="8162717" cy="133789"/>
          </a:xfrm>
          <a:prstGeom prst="rect">
            <a:avLst/>
          </a:prstGeom>
        </p:spPr>
        <p:txBody>
          <a:bodyPr/>
          <a:lstStyle/>
          <a:p>
            <a:r>
              <a:rPr lang="en-US"/>
              <a:t>Title of presentation (Insert / Header &amp; Footer / Apply to All)</a:t>
            </a:r>
            <a:endParaRPr lang="en-US" dirty="0"/>
          </a:p>
        </p:txBody>
      </p:sp>
      <p:sp>
        <p:nvSpPr>
          <p:cNvPr id="23" name="Slide Number Placeholder 22"/>
          <p:cNvSpPr>
            <a:spLocks noGrp="1"/>
          </p:cNvSpPr>
          <p:nvPr>
            <p:ph type="sldNum" sz="quarter" idx="16"/>
          </p:nvPr>
        </p:nvSpPr>
        <p:spPr/>
        <p:txBody>
          <a:bodyPr/>
          <a:lstStyle/>
          <a:p>
            <a:fld id="{5F3E29E4-0979-4FCA-B4C5-5FC6044C982A}" type="slidenum">
              <a:rPr lang="en-US" smtClean="0"/>
              <a:t>‹#›</a:t>
            </a:fld>
            <a:endParaRPr lang="en-US"/>
          </a:p>
        </p:txBody>
      </p:sp>
      <p:sp>
        <p:nvSpPr>
          <p:cNvPr id="2" name="Title 1"/>
          <p:cNvSpPr>
            <a:spLocks noGrp="1"/>
          </p:cNvSpPr>
          <p:nvPr>
            <p:ph type="title" hasCustomPrompt="1"/>
          </p:nvPr>
        </p:nvSpPr>
        <p:spPr/>
        <p:txBody>
          <a:bodyPr/>
          <a:lstStyle>
            <a:lvl1pPr>
              <a:defRPr/>
            </a:lvl1pPr>
          </a:lstStyle>
          <a:p>
            <a:r>
              <a:rPr lang="en-US" dirty="0"/>
              <a:t>Click to add contact title</a:t>
            </a:r>
          </a:p>
        </p:txBody>
      </p:sp>
      <p:sp>
        <p:nvSpPr>
          <p:cNvPr id="7" name="Subtitle 2"/>
          <p:cNvSpPr>
            <a:spLocks noGrp="1"/>
          </p:cNvSpPr>
          <p:nvPr>
            <p:ph type="subTitle" idx="13" hasCustomPrompt="1"/>
          </p:nvPr>
        </p:nvSpPr>
        <p:spPr>
          <a:xfrm>
            <a:off x="1075062" y="964672"/>
            <a:ext cx="7910159" cy="490042"/>
          </a:xfrm>
        </p:spPr>
        <p:txBody>
          <a:bodyPr wrap="none"/>
          <a:lstStyle>
            <a:lvl1pPr marL="0" indent="0" algn="l">
              <a:spcBef>
                <a:spcPts val="0"/>
              </a:spcBef>
              <a:buNone/>
              <a:defRPr sz="2399"/>
            </a:lvl1pPr>
            <a:lvl2pPr marL="457051" indent="0" algn="ctr">
              <a:buNone/>
              <a:defRPr sz="1999"/>
            </a:lvl2pPr>
            <a:lvl3pPr marL="914103" indent="0" algn="ctr">
              <a:buNone/>
              <a:defRPr sz="1799"/>
            </a:lvl3pPr>
            <a:lvl4pPr marL="1371154" indent="0" algn="ctr">
              <a:buNone/>
              <a:defRPr sz="1599"/>
            </a:lvl4pPr>
            <a:lvl5pPr marL="1828206" indent="0" algn="ctr">
              <a:buNone/>
              <a:defRPr sz="1599"/>
            </a:lvl5pPr>
            <a:lvl6pPr marL="2285257" indent="0" algn="ctr">
              <a:buNone/>
              <a:defRPr sz="1599"/>
            </a:lvl6pPr>
            <a:lvl7pPr marL="2742308" indent="0" algn="ctr">
              <a:buNone/>
              <a:defRPr sz="1599"/>
            </a:lvl7pPr>
            <a:lvl8pPr marL="3199360" indent="0" algn="ctr">
              <a:buNone/>
              <a:defRPr sz="1599"/>
            </a:lvl8pPr>
            <a:lvl9pPr marL="3656411" indent="0" algn="ctr">
              <a:buNone/>
              <a:defRPr sz="1599"/>
            </a:lvl9pPr>
          </a:lstStyle>
          <a:p>
            <a:r>
              <a:rPr lang="en-US" dirty="0"/>
              <a:t>Click to add subtitle</a:t>
            </a:r>
          </a:p>
        </p:txBody>
      </p:sp>
      <p:grpSp>
        <p:nvGrpSpPr>
          <p:cNvPr id="8" name="Gruppieren 80">
            <a:extLst>
              <a:ext uri="{FF2B5EF4-FFF2-40B4-BE49-F238E27FC236}">
                <a16:creationId xmlns:a16="http://schemas.microsoft.com/office/drawing/2014/main" id="{6B969E7B-9C39-4443-9B02-74C1E7C5CCAC}"/>
              </a:ext>
            </a:extLst>
          </p:cNvPr>
          <p:cNvGrpSpPr/>
          <p:nvPr/>
        </p:nvGrpSpPr>
        <p:grpSpPr>
          <a:xfrm>
            <a:off x="3770066" y="2868319"/>
            <a:ext cx="171180" cy="171180"/>
            <a:chOff x="3392092" y="1841122"/>
            <a:chExt cx="646508" cy="646508"/>
          </a:xfrm>
        </p:grpSpPr>
        <p:sp>
          <p:nvSpPr>
            <p:cNvPr id="9" name="Rechteck 14">
              <a:extLst>
                <a:ext uri="{FF2B5EF4-FFF2-40B4-BE49-F238E27FC236}">
                  <a16:creationId xmlns:a16="http://schemas.microsoft.com/office/drawing/2014/main" id="{D78F58EA-5525-8D43-8295-FEA52ECF6BFA}"/>
                </a:ext>
              </a:extLst>
            </p:cNvPr>
            <p:cNvSpPr>
              <a:spLocks noChangeAspect="1"/>
            </p:cNvSpPr>
            <p:nvPr/>
          </p:nvSpPr>
          <p:spPr bwMode="gray">
            <a:xfrm>
              <a:off x="3392092" y="1841122"/>
              <a:ext cx="646508" cy="646508"/>
            </a:xfrm>
            <a:prstGeom prst="rect">
              <a:avLst/>
            </a:prstGeom>
            <a:solidFill>
              <a:srgbClr val="E55A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pPr>
              <a:endParaRPr lang="en-US" sz="1000" dirty="0">
                <a:solidFill>
                  <a:schemeClr val="tx1"/>
                </a:solidFill>
                <a:latin typeface="Arial" pitchFamily="34" charset="0"/>
                <a:cs typeface="Arial" pitchFamily="34" charset="0"/>
              </a:endParaRPr>
            </a:p>
          </p:txBody>
        </p:sp>
        <p:sp>
          <p:nvSpPr>
            <p:cNvPr id="10" name="Freeform 67">
              <a:extLst>
                <a:ext uri="{FF2B5EF4-FFF2-40B4-BE49-F238E27FC236}">
                  <a16:creationId xmlns:a16="http://schemas.microsoft.com/office/drawing/2014/main" id="{D01A6292-2776-4945-B828-483D79DC4908}"/>
                </a:ext>
              </a:extLst>
            </p:cNvPr>
            <p:cNvSpPr>
              <a:spLocks noChangeAspect="1"/>
            </p:cNvSpPr>
            <p:nvPr/>
          </p:nvSpPr>
          <p:spPr bwMode="auto">
            <a:xfrm>
              <a:off x="3546638" y="1970424"/>
              <a:ext cx="337415" cy="387905"/>
            </a:xfrm>
            <a:custGeom>
              <a:avLst/>
              <a:gdLst>
                <a:gd name="T0" fmla="*/ 573 w 1624"/>
                <a:gd name="T1" fmla="*/ 1257 h 1867"/>
                <a:gd name="T2" fmla="*/ 662 w 1624"/>
                <a:gd name="T3" fmla="*/ 1288 h 1867"/>
                <a:gd name="T4" fmla="*/ 938 w 1624"/>
                <a:gd name="T5" fmla="*/ 1051 h 1867"/>
                <a:gd name="T6" fmla="*/ 1106 w 1624"/>
                <a:gd name="T7" fmla="*/ 731 h 1867"/>
                <a:gd name="T8" fmla="*/ 1059 w 1624"/>
                <a:gd name="T9" fmla="*/ 645 h 1867"/>
                <a:gd name="T10" fmla="*/ 1001 w 1624"/>
                <a:gd name="T11" fmla="*/ 613 h 1867"/>
                <a:gd name="T12" fmla="*/ 924 w 1624"/>
                <a:gd name="T13" fmla="*/ 432 h 1867"/>
                <a:gd name="T14" fmla="*/ 1114 w 1624"/>
                <a:gd name="T15" fmla="*/ 81 h 1867"/>
                <a:gd name="T16" fmla="*/ 1287 w 1624"/>
                <a:gd name="T17" fmla="*/ 35 h 1867"/>
                <a:gd name="T18" fmla="*/ 1350 w 1624"/>
                <a:gd name="T19" fmla="*/ 69 h 1867"/>
                <a:gd name="T20" fmla="*/ 1527 w 1624"/>
                <a:gd name="T21" fmla="*/ 235 h 1867"/>
                <a:gd name="T22" fmla="*/ 1583 w 1624"/>
                <a:gd name="T23" fmla="*/ 555 h 1867"/>
                <a:gd name="T24" fmla="*/ 1172 w 1624"/>
                <a:gd name="T25" fmla="*/ 1253 h 1867"/>
                <a:gd name="T26" fmla="*/ 586 w 1624"/>
                <a:gd name="T27" fmla="*/ 1803 h 1867"/>
                <a:gd name="T28" fmla="*/ 269 w 1624"/>
                <a:gd name="T29" fmla="*/ 1807 h 1867"/>
                <a:gd name="T30" fmla="*/ 33 w 1624"/>
                <a:gd name="T31" fmla="*/ 1602 h 1867"/>
                <a:gd name="T32" fmla="*/ 2 w 1624"/>
                <a:gd name="T33" fmla="*/ 1508 h 1867"/>
                <a:gd name="T34" fmla="*/ 45 w 1624"/>
                <a:gd name="T35" fmla="*/ 1421 h 1867"/>
                <a:gd name="T36" fmla="*/ 346 w 1624"/>
                <a:gd name="T37" fmla="*/ 1158 h 1867"/>
                <a:gd name="T38" fmla="*/ 448 w 1624"/>
                <a:gd name="T39" fmla="*/ 1145 h 1867"/>
                <a:gd name="T40" fmla="*/ 573 w 1624"/>
                <a:gd name="T41" fmla="*/ 1257 h 18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24" h="1867">
                  <a:moveTo>
                    <a:pt x="573" y="1257"/>
                  </a:moveTo>
                  <a:cubicBezTo>
                    <a:pt x="592" y="1282"/>
                    <a:pt x="630" y="1303"/>
                    <a:pt x="662" y="1288"/>
                  </a:cubicBezTo>
                  <a:cubicBezTo>
                    <a:pt x="753" y="1245"/>
                    <a:pt x="854" y="1156"/>
                    <a:pt x="938" y="1051"/>
                  </a:cubicBezTo>
                  <a:cubicBezTo>
                    <a:pt x="1020" y="948"/>
                    <a:pt x="1084" y="831"/>
                    <a:pt x="1106" y="731"/>
                  </a:cubicBezTo>
                  <a:cubicBezTo>
                    <a:pt x="1113" y="696"/>
                    <a:pt x="1089" y="661"/>
                    <a:pt x="1059" y="645"/>
                  </a:cubicBezTo>
                  <a:cubicBezTo>
                    <a:pt x="1001" y="613"/>
                    <a:pt x="1001" y="613"/>
                    <a:pt x="1001" y="613"/>
                  </a:cubicBezTo>
                  <a:cubicBezTo>
                    <a:pt x="942" y="580"/>
                    <a:pt x="888" y="499"/>
                    <a:pt x="924" y="432"/>
                  </a:cubicBezTo>
                  <a:cubicBezTo>
                    <a:pt x="1114" y="81"/>
                    <a:pt x="1114" y="81"/>
                    <a:pt x="1114" y="81"/>
                  </a:cubicBezTo>
                  <a:cubicBezTo>
                    <a:pt x="1150" y="16"/>
                    <a:pt x="1224" y="0"/>
                    <a:pt x="1287" y="35"/>
                  </a:cubicBezTo>
                  <a:cubicBezTo>
                    <a:pt x="1350" y="69"/>
                    <a:pt x="1350" y="69"/>
                    <a:pt x="1350" y="69"/>
                  </a:cubicBezTo>
                  <a:cubicBezTo>
                    <a:pt x="1415" y="105"/>
                    <a:pt x="1479" y="165"/>
                    <a:pt x="1527" y="235"/>
                  </a:cubicBezTo>
                  <a:cubicBezTo>
                    <a:pt x="1593" y="332"/>
                    <a:pt x="1624" y="442"/>
                    <a:pt x="1583" y="555"/>
                  </a:cubicBezTo>
                  <a:cubicBezTo>
                    <a:pt x="1500" y="781"/>
                    <a:pt x="1351" y="1030"/>
                    <a:pt x="1172" y="1253"/>
                  </a:cubicBezTo>
                  <a:cubicBezTo>
                    <a:pt x="994" y="1477"/>
                    <a:pt x="786" y="1676"/>
                    <a:pt x="586" y="1803"/>
                  </a:cubicBezTo>
                  <a:cubicBezTo>
                    <a:pt x="486" y="1867"/>
                    <a:pt x="375" y="1856"/>
                    <a:pt x="269" y="1807"/>
                  </a:cubicBezTo>
                  <a:cubicBezTo>
                    <a:pt x="157" y="1755"/>
                    <a:pt x="106" y="1695"/>
                    <a:pt x="33" y="1602"/>
                  </a:cubicBezTo>
                  <a:cubicBezTo>
                    <a:pt x="11" y="1573"/>
                    <a:pt x="0" y="1540"/>
                    <a:pt x="2" y="1508"/>
                  </a:cubicBezTo>
                  <a:cubicBezTo>
                    <a:pt x="4" y="1475"/>
                    <a:pt x="18" y="1444"/>
                    <a:pt x="45" y="1421"/>
                  </a:cubicBezTo>
                  <a:cubicBezTo>
                    <a:pt x="70" y="1399"/>
                    <a:pt x="346" y="1158"/>
                    <a:pt x="346" y="1158"/>
                  </a:cubicBezTo>
                  <a:cubicBezTo>
                    <a:pt x="376" y="1134"/>
                    <a:pt x="413" y="1133"/>
                    <a:pt x="448" y="1145"/>
                  </a:cubicBezTo>
                  <a:cubicBezTo>
                    <a:pt x="510" y="1166"/>
                    <a:pt x="536" y="1210"/>
                    <a:pt x="573" y="1257"/>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350" dirty="0"/>
            </a:p>
          </p:txBody>
        </p:sp>
      </p:grpSp>
      <p:grpSp>
        <p:nvGrpSpPr>
          <p:cNvPr id="11" name="Group 3">
            <a:extLst>
              <a:ext uri="{FF2B5EF4-FFF2-40B4-BE49-F238E27FC236}">
                <a16:creationId xmlns:a16="http://schemas.microsoft.com/office/drawing/2014/main" id="{DED6A25A-5DE2-1441-8BA2-C68D3B4F9209}"/>
              </a:ext>
            </a:extLst>
          </p:cNvPr>
          <p:cNvGrpSpPr>
            <a:grpSpLocks noChangeAspect="1"/>
          </p:cNvGrpSpPr>
          <p:nvPr>
            <p:custDataLst>
              <p:tags r:id="rId1"/>
            </p:custDataLst>
          </p:nvPr>
        </p:nvGrpSpPr>
        <p:grpSpPr>
          <a:xfrm>
            <a:off x="3770067" y="3153207"/>
            <a:ext cx="171180" cy="171180"/>
            <a:chOff x="328396" y="5313940"/>
            <a:chExt cx="720000" cy="720000"/>
          </a:xfrm>
        </p:grpSpPr>
        <p:sp>
          <p:nvSpPr>
            <p:cNvPr id="12" name="Rectangle 4">
              <a:extLst>
                <a:ext uri="{FF2B5EF4-FFF2-40B4-BE49-F238E27FC236}">
                  <a16:creationId xmlns:a16="http://schemas.microsoft.com/office/drawing/2014/main" id="{5F49E67F-D4FA-9D48-96BC-59AE946ECD15}"/>
                </a:ext>
              </a:extLst>
            </p:cNvPr>
            <p:cNvSpPr/>
            <p:nvPr/>
          </p:nvSpPr>
          <p:spPr bwMode="gray">
            <a:xfrm>
              <a:off x="328396" y="5313940"/>
              <a:ext cx="720000" cy="720000"/>
            </a:xfrm>
            <a:prstGeom prst="rect">
              <a:avLst/>
            </a:prstGeom>
            <a:solidFill>
              <a:srgbClr val="E55A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pPr>
              <a:endParaRPr lang="en-US" sz="1000" dirty="0">
                <a:solidFill>
                  <a:schemeClr val="tx1"/>
                </a:solidFill>
                <a:latin typeface="Arial" pitchFamily="34" charset="0"/>
                <a:cs typeface="Arial" pitchFamily="34" charset="0"/>
              </a:endParaRPr>
            </a:p>
          </p:txBody>
        </p:sp>
        <p:sp>
          <p:nvSpPr>
            <p:cNvPr id="13" name="Freeform 76">
              <a:extLst>
                <a:ext uri="{FF2B5EF4-FFF2-40B4-BE49-F238E27FC236}">
                  <a16:creationId xmlns:a16="http://schemas.microsoft.com/office/drawing/2014/main" id="{187E70E6-AF3F-2549-908E-DF4BA61040AA}"/>
                </a:ext>
              </a:extLst>
            </p:cNvPr>
            <p:cNvSpPr>
              <a:spLocks noChangeAspect="1" noEditPoints="1"/>
            </p:cNvSpPr>
            <p:nvPr/>
          </p:nvSpPr>
          <p:spPr bwMode="auto">
            <a:xfrm>
              <a:off x="456202" y="5509222"/>
              <a:ext cx="504000" cy="329436"/>
            </a:xfrm>
            <a:custGeom>
              <a:avLst/>
              <a:gdLst>
                <a:gd name="T0" fmla="*/ 0 w 2080"/>
                <a:gd name="T1" fmla="*/ 65 h 1360"/>
                <a:gd name="T2" fmla="*/ 0 w 2080"/>
                <a:gd name="T3" fmla="*/ 0 h 1360"/>
                <a:gd name="T4" fmla="*/ 2080 w 2080"/>
                <a:gd name="T5" fmla="*/ 0 h 1360"/>
                <a:gd name="T6" fmla="*/ 2080 w 2080"/>
                <a:gd name="T7" fmla="*/ 65 h 1360"/>
                <a:gd name="T8" fmla="*/ 1089 w 2080"/>
                <a:gd name="T9" fmla="*/ 862 h 1360"/>
                <a:gd name="T10" fmla="*/ 991 w 2080"/>
                <a:gd name="T11" fmla="*/ 862 h 1360"/>
                <a:gd name="T12" fmla="*/ 0 w 2080"/>
                <a:gd name="T13" fmla="*/ 65 h 1360"/>
                <a:gd name="T14" fmla="*/ 1139 w 2080"/>
                <a:gd name="T15" fmla="*/ 924 h 1360"/>
                <a:gd name="T16" fmla="*/ 1282 w 2080"/>
                <a:gd name="T17" fmla="*/ 810 h 1360"/>
                <a:gd name="T18" fmla="*/ 2076 w 2080"/>
                <a:gd name="T19" fmla="*/ 1360 h 1360"/>
                <a:gd name="T20" fmla="*/ 4 w 2080"/>
                <a:gd name="T21" fmla="*/ 1360 h 1360"/>
                <a:gd name="T22" fmla="*/ 798 w 2080"/>
                <a:gd name="T23" fmla="*/ 810 h 1360"/>
                <a:gd name="T24" fmla="*/ 941 w 2080"/>
                <a:gd name="T25" fmla="*/ 924 h 1360"/>
                <a:gd name="T26" fmla="*/ 1139 w 2080"/>
                <a:gd name="T27" fmla="*/ 924 h 1360"/>
                <a:gd name="T28" fmla="*/ 2 w 2080"/>
                <a:gd name="T29" fmla="*/ 137 h 1360"/>
                <a:gd name="T30" fmla="*/ 42 w 2080"/>
                <a:gd name="T31" fmla="*/ 201 h 1360"/>
                <a:gd name="T32" fmla="*/ 734 w 2080"/>
                <a:gd name="T33" fmla="*/ 758 h 1360"/>
                <a:gd name="T34" fmla="*/ 0 w 2080"/>
                <a:gd name="T35" fmla="*/ 1266 h 1360"/>
                <a:gd name="T36" fmla="*/ 0 w 2080"/>
                <a:gd name="T37" fmla="*/ 135 h 1360"/>
                <a:gd name="T38" fmla="*/ 2 w 2080"/>
                <a:gd name="T39" fmla="*/ 137 h 1360"/>
                <a:gd name="T40" fmla="*/ 2080 w 2080"/>
                <a:gd name="T41" fmla="*/ 136 h 1360"/>
                <a:gd name="T42" fmla="*/ 2080 w 2080"/>
                <a:gd name="T43" fmla="*/ 1265 h 1360"/>
                <a:gd name="T44" fmla="*/ 1346 w 2080"/>
                <a:gd name="T45" fmla="*/ 758 h 1360"/>
                <a:gd name="T46" fmla="*/ 2038 w 2080"/>
                <a:gd name="T47" fmla="*/ 201 h 1360"/>
                <a:gd name="T48" fmla="*/ 2080 w 2080"/>
                <a:gd name="T49" fmla="*/ 136 h 1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080" h="1360">
                  <a:moveTo>
                    <a:pt x="0" y="65"/>
                  </a:moveTo>
                  <a:cubicBezTo>
                    <a:pt x="0" y="0"/>
                    <a:pt x="0" y="0"/>
                    <a:pt x="0" y="0"/>
                  </a:cubicBezTo>
                  <a:cubicBezTo>
                    <a:pt x="2080" y="0"/>
                    <a:pt x="2080" y="0"/>
                    <a:pt x="2080" y="0"/>
                  </a:cubicBezTo>
                  <a:cubicBezTo>
                    <a:pt x="2080" y="65"/>
                    <a:pt x="2080" y="65"/>
                    <a:pt x="2080" y="65"/>
                  </a:cubicBezTo>
                  <a:cubicBezTo>
                    <a:pt x="1089" y="862"/>
                    <a:pt x="1089" y="862"/>
                    <a:pt x="1089" y="862"/>
                  </a:cubicBezTo>
                  <a:cubicBezTo>
                    <a:pt x="1060" y="886"/>
                    <a:pt x="1020" y="886"/>
                    <a:pt x="991" y="862"/>
                  </a:cubicBezTo>
                  <a:lnTo>
                    <a:pt x="0" y="65"/>
                  </a:lnTo>
                  <a:close/>
                  <a:moveTo>
                    <a:pt x="1139" y="924"/>
                  </a:moveTo>
                  <a:cubicBezTo>
                    <a:pt x="1282" y="810"/>
                    <a:pt x="1282" y="810"/>
                    <a:pt x="1282" y="810"/>
                  </a:cubicBezTo>
                  <a:cubicBezTo>
                    <a:pt x="2076" y="1360"/>
                    <a:pt x="2076" y="1360"/>
                    <a:pt x="2076" y="1360"/>
                  </a:cubicBezTo>
                  <a:cubicBezTo>
                    <a:pt x="4" y="1360"/>
                    <a:pt x="4" y="1360"/>
                    <a:pt x="4" y="1360"/>
                  </a:cubicBezTo>
                  <a:cubicBezTo>
                    <a:pt x="798" y="810"/>
                    <a:pt x="798" y="810"/>
                    <a:pt x="798" y="810"/>
                  </a:cubicBezTo>
                  <a:cubicBezTo>
                    <a:pt x="941" y="924"/>
                    <a:pt x="941" y="924"/>
                    <a:pt x="941" y="924"/>
                  </a:cubicBezTo>
                  <a:cubicBezTo>
                    <a:pt x="1000" y="972"/>
                    <a:pt x="1080" y="972"/>
                    <a:pt x="1139" y="924"/>
                  </a:cubicBezTo>
                  <a:close/>
                  <a:moveTo>
                    <a:pt x="2" y="137"/>
                  </a:moveTo>
                  <a:cubicBezTo>
                    <a:pt x="8" y="163"/>
                    <a:pt x="22" y="185"/>
                    <a:pt x="42" y="201"/>
                  </a:cubicBezTo>
                  <a:cubicBezTo>
                    <a:pt x="734" y="758"/>
                    <a:pt x="734" y="758"/>
                    <a:pt x="734" y="758"/>
                  </a:cubicBezTo>
                  <a:cubicBezTo>
                    <a:pt x="0" y="1266"/>
                    <a:pt x="0" y="1266"/>
                    <a:pt x="0" y="1266"/>
                  </a:cubicBezTo>
                  <a:cubicBezTo>
                    <a:pt x="0" y="135"/>
                    <a:pt x="0" y="135"/>
                    <a:pt x="0" y="135"/>
                  </a:cubicBezTo>
                  <a:lnTo>
                    <a:pt x="2" y="137"/>
                  </a:lnTo>
                  <a:close/>
                  <a:moveTo>
                    <a:pt x="2080" y="136"/>
                  </a:moveTo>
                  <a:cubicBezTo>
                    <a:pt x="2080" y="1265"/>
                    <a:pt x="2080" y="1265"/>
                    <a:pt x="2080" y="1265"/>
                  </a:cubicBezTo>
                  <a:cubicBezTo>
                    <a:pt x="1346" y="758"/>
                    <a:pt x="1346" y="758"/>
                    <a:pt x="1346" y="758"/>
                  </a:cubicBezTo>
                  <a:cubicBezTo>
                    <a:pt x="2038" y="201"/>
                    <a:pt x="2038" y="201"/>
                    <a:pt x="2038" y="201"/>
                  </a:cubicBezTo>
                  <a:cubicBezTo>
                    <a:pt x="2060" y="182"/>
                    <a:pt x="2072" y="162"/>
                    <a:pt x="2080" y="13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000"/>
            </a:p>
          </p:txBody>
        </p:sp>
      </p:grpSp>
      <p:grpSp>
        <p:nvGrpSpPr>
          <p:cNvPr id="14" name="Gruppieren 2">
            <a:extLst>
              <a:ext uri="{FF2B5EF4-FFF2-40B4-BE49-F238E27FC236}">
                <a16:creationId xmlns:a16="http://schemas.microsoft.com/office/drawing/2014/main" id="{BE697CE9-EBDE-6B4A-BE70-582D92A8A831}"/>
              </a:ext>
            </a:extLst>
          </p:cNvPr>
          <p:cNvGrpSpPr/>
          <p:nvPr/>
        </p:nvGrpSpPr>
        <p:grpSpPr>
          <a:xfrm>
            <a:off x="8701918" y="2868319"/>
            <a:ext cx="171180" cy="171180"/>
            <a:chOff x="3392092" y="1841122"/>
            <a:chExt cx="646508" cy="646508"/>
          </a:xfrm>
        </p:grpSpPr>
        <p:sp>
          <p:nvSpPr>
            <p:cNvPr id="15" name="Rechteck 14">
              <a:extLst>
                <a:ext uri="{FF2B5EF4-FFF2-40B4-BE49-F238E27FC236}">
                  <a16:creationId xmlns:a16="http://schemas.microsoft.com/office/drawing/2014/main" id="{E142A731-19B7-C34D-9534-9E05108F895F}"/>
                </a:ext>
              </a:extLst>
            </p:cNvPr>
            <p:cNvSpPr>
              <a:spLocks noChangeAspect="1"/>
            </p:cNvSpPr>
            <p:nvPr/>
          </p:nvSpPr>
          <p:spPr bwMode="gray">
            <a:xfrm>
              <a:off x="3392092" y="1841122"/>
              <a:ext cx="646508" cy="646508"/>
            </a:xfrm>
            <a:prstGeom prst="rect">
              <a:avLst/>
            </a:prstGeom>
            <a:solidFill>
              <a:srgbClr val="E55A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pPr>
              <a:endParaRPr lang="en-US" sz="1000" dirty="0">
                <a:solidFill>
                  <a:schemeClr val="tx1"/>
                </a:solidFill>
                <a:latin typeface="Arial" pitchFamily="34" charset="0"/>
                <a:cs typeface="Arial" pitchFamily="34" charset="0"/>
              </a:endParaRPr>
            </a:p>
          </p:txBody>
        </p:sp>
        <p:sp>
          <p:nvSpPr>
            <p:cNvPr id="16" name="Freeform 15">
              <a:extLst>
                <a:ext uri="{FF2B5EF4-FFF2-40B4-BE49-F238E27FC236}">
                  <a16:creationId xmlns:a16="http://schemas.microsoft.com/office/drawing/2014/main" id="{F97E84AE-4AD9-4B44-9AA1-F797FC373809}"/>
                </a:ext>
              </a:extLst>
            </p:cNvPr>
            <p:cNvSpPr>
              <a:spLocks noChangeAspect="1"/>
            </p:cNvSpPr>
            <p:nvPr/>
          </p:nvSpPr>
          <p:spPr bwMode="auto">
            <a:xfrm>
              <a:off x="3546638" y="1970424"/>
              <a:ext cx="337415" cy="387905"/>
            </a:xfrm>
            <a:custGeom>
              <a:avLst/>
              <a:gdLst>
                <a:gd name="T0" fmla="*/ 573 w 1624"/>
                <a:gd name="T1" fmla="*/ 1257 h 1867"/>
                <a:gd name="T2" fmla="*/ 662 w 1624"/>
                <a:gd name="T3" fmla="*/ 1288 h 1867"/>
                <a:gd name="T4" fmla="*/ 938 w 1624"/>
                <a:gd name="T5" fmla="*/ 1051 h 1867"/>
                <a:gd name="T6" fmla="*/ 1106 w 1624"/>
                <a:gd name="T7" fmla="*/ 731 h 1867"/>
                <a:gd name="T8" fmla="*/ 1059 w 1624"/>
                <a:gd name="T9" fmla="*/ 645 h 1867"/>
                <a:gd name="T10" fmla="*/ 1001 w 1624"/>
                <a:gd name="T11" fmla="*/ 613 h 1867"/>
                <a:gd name="T12" fmla="*/ 924 w 1624"/>
                <a:gd name="T13" fmla="*/ 432 h 1867"/>
                <a:gd name="T14" fmla="*/ 1114 w 1624"/>
                <a:gd name="T15" fmla="*/ 81 h 1867"/>
                <a:gd name="T16" fmla="*/ 1287 w 1624"/>
                <a:gd name="T17" fmla="*/ 35 h 1867"/>
                <a:gd name="T18" fmla="*/ 1350 w 1624"/>
                <a:gd name="T19" fmla="*/ 69 h 1867"/>
                <a:gd name="T20" fmla="*/ 1527 w 1624"/>
                <a:gd name="T21" fmla="*/ 235 h 1867"/>
                <a:gd name="T22" fmla="*/ 1583 w 1624"/>
                <a:gd name="T23" fmla="*/ 555 h 1867"/>
                <a:gd name="T24" fmla="*/ 1172 w 1624"/>
                <a:gd name="T25" fmla="*/ 1253 h 1867"/>
                <a:gd name="T26" fmla="*/ 586 w 1624"/>
                <a:gd name="T27" fmla="*/ 1803 h 1867"/>
                <a:gd name="T28" fmla="*/ 269 w 1624"/>
                <a:gd name="T29" fmla="*/ 1807 h 1867"/>
                <a:gd name="T30" fmla="*/ 33 w 1624"/>
                <a:gd name="T31" fmla="*/ 1602 h 1867"/>
                <a:gd name="T32" fmla="*/ 2 w 1624"/>
                <a:gd name="T33" fmla="*/ 1508 h 1867"/>
                <a:gd name="T34" fmla="*/ 45 w 1624"/>
                <a:gd name="T35" fmla="*/ 1421 h 1867"/>
                <a:gd name="T36" fmla="*/ 346 w 1624"/>
                <a:gd name="T37" fmla="*/ 1158 h 1867"/>
                <a:gd name="T38" fmla="*/ 448 w 1624"/>
                <a:gd name="T39" fmla="*/ 1145 h 1867"/>
                <a:gd name="T40" fmla="*/ 573 w 1624"/>
                <a:gd name="T41" fmla="*/ 1257 h 18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24" h="1867">
                  <a:moveTo>
                    <a:pt x="573" y="1257"/>
                  </a:moveTo>
                  <a:cubicBezTo>
                    <a:pt x="592" y="1282"/>
                    <a:pt x="630" y="1303"/>
                    <a:pt x="662" y="1288"/>
                  </a:cubicBezTo>
                  <a:cubicBezTo>
                    <a:pt x="753" y="1245"/>
                    <a:pt x="854" y="1156"/>
                    <a:pt x="938" y="1051"/>
                  </a:cubicBezTo>
                  <a:cubicBezTo>
                    <a:pt x="1020" y="948"/>
                    <a:pt x="1084" y="831"/>
                    <a:pt x="1106" y="731"/>
                  </a:cubicBezTo>
                  <a:cubicBezTo>
                    <a:pt x="1113" y="696"/>
                    <a:pt x="1089" y="661"/>
                    <a:pt x="1059" y="645"/>
                  </a:cubicBezTo>
                  <a:cubicBezTo>
                    <a:pt x="1001" y="613"/>
                    <a:pt x="1001" y="613"/>
                    <a:pt x="1001" y="613"/>
                  </a:cubicBezTo>
                  <a:cubicBezTo>
                    <a:pt x="942" y="580"/>
                    <a:pt x="888" y="499"/>
                    <a:pt x="924" y="432"/>
                  </a:cubicBezTo>
                  <a:cubicBezTo>
                    <a:pt x="1114" y="81"/>
                    <a:pt x="1114" y="81"/>
                    <a:pt x="1114" y="81"/>
                  </a:cubicBezTo>
                  <a:cubicBezTo>
                    <a:pt x="1150" y="16"/>
                    <a:pt x="1224" y="0"/>
                    <a:pt x="1287" y="35"/>
                  </a:cubicBezTo>
                  <a:cubicBezTo>
                    <a:pt x="1350" y="69"/>
                    <a:pt x="1350" y="69"/>
                    <a:pt x="1350" y="69"/>
                  </a:cubicBezTo>
                  <a:cubicBezTo>
                    <a:pt x="1415" y="105"/>
                    <a:pt x="1479" y="165"/>
                    <a:pt x="1527" y="235"/>
                  </a:cubicBezTo>
                  <a:cubicBezTo>
                    <a:pt x="1593" y="332"/>
                    <a:pt x="1624" y="442"/>
                    <a:pt x="1583" y="555"/>
                  </a:cubicBezTo>
                  <a:cubicBezTo>
                    <a:pt x="1500" y="781"/>
                    <a:pt x="1351" y="1030"/>
                    <a:pt x="1172" y="1253"/>
                  </a:cubicBezTo>
                  <a:cubicBezTo>
                    <a:pt x="994" y="1477"/>
                    <a:pt x="786" y="1676"/>
                    <a:pt x="586" y="1803"/>
                  </a:cubicBezTo>
                  <a:cubicBezTo>
                    <a:pt x="486" y="1867"/>
                    <a:pt x="375" y="1856"/>
                    <a:pt x="269" y="1807"/>
                  </a:cubicBezTo>
                  <a:cubicBezTo>
                    <a:pt x="157" y="1755"/>
                    <a:pt x="106" y="1695"/>
                    <a:pt x="33" y="1602"/>
                  </a:cubicBezTo>
                  <a:cubicBezTo>
                    <a:pt x="11" y="1573"/>
                    <a:pt x="0" y="1540"/>
                    <a:pt x="2" y="1508"/>
                  </a:cubicBezTo>
                  <a:cubicBezTo>
                    <a:pt x="4" y="1475"/>
                    <a:pt x="18" y="1444"/>
                    <a:pt x="45" y="1421"/>
                  </a:cubicBezTo>
                  <a:cubicBezTo>
                    <a:pt x="70" y="1399"/>
                    <a:pt x="346" y="1158"/>
                    <a:pt x="346" y="1158"/>
                  </a:cubicBezTo>
                  <a:cubicBezTo>
                    <a:pt x="376" y="1134"/>
                    <a:pt x="413" y="1133"/>
                    <a:pt x="448" y="1145"/>
                  </a:cubicBezTo>
                  <a:cubicBezTo>
                    <a:pt x="510" y="1166"/>
                    <a:pt x="536" y="1210"/>
                    <a:pt x="573" y="1257"/>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350" dirty="0"/>
            </a:p>
          </p:txBody>
        </p:sp>
      </p:grpSp>
      <p:grpSp>
        <p:nvGrpSpPr>
          <p:cNvPr id="17" name="Group 3">
            <a:extLst>
              <a:ext uri="{FF2B5EF4-FFF2-40B4-BE49-F238E27FC236}">
                <a16:creationId xmlns:a16="http://schemas.microsoft.com/office/drawing/2014/main" id="{7104BADD-8CD1-6F4A-B894-869C3BDB3EEB}"/>
              </a:ext>
            </a:extLst>
          </p:cNvPr>
          <p:cNvGrpSpPr>
            <a:grpSpLocks noChangeAspect="1"/>
          </p:cNvGrpSpPr>
          <p:nvPr>
            <p:custDataLst>
              <p:tags r:id="rId2"/>
            </p:custDataLst>
          </p:nvPr>
        </p:nvGrpSpPr>
        <p:grpSpPr>
          <a:xfrm>
            <a:off x="8701919" y="3153207"/>
            <a:ext cx="171180" cy="171180"/>
            <a:chOff x="328396" y="5313940"/>
            <a:chExt cx="720000" cy="720000"/>
          </a:xfrm>
        </p:grpSpPr>
        <p:sp>
          <p:nvSpPr>
            <p:cNvPr id="18" name="Rectangle 4">
              <a:extLst>
                <a:ext uri="{FF2B5EF4-FFF2-40B4-BE49-F238E27FC236}">
                  <a16:creationId xmlns:a16="http://schemas.microsoft.com/office/drawing/2014/main" id="{74BE3D5F-1445-6E40-8B49-72E15568383B}"/>
                </a:ext>
              </a:extLst>
            </p:cNvPr>
            <p:cNvSpPr/>
            <p:nvPr/>
          </p:nvSpPr>
          <p:spPr bwMode="gray">
            <a:xfrm>
              <a:off x="328396" y="5313940"/>
              <a:ext cx="720000" cy="720000"/>
            </a:xfrm>
            <a:prstGeom prst="rect">
              <a:avLst/>
            </a:prstGeom>
            <a:solidFill>
              <a:srgbClr val="E55A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pPr>
              <a:endParaRPr lang="en-US" sz="1000" dirty="0">
                <a:solidFill>
                  <a:schemeClr val="tx1"/>
                </a:solidFill>
                <a:latin typeface="Arial" pitchFamily="34" charset="0"/>
                <a:cs typeface="Arial" pitchFamily="34" charset="0"/>
              </a:endParaRPr>
            </a:p>
          </p:txBody>
        </p:sp>
        <p:sp>
          <p:nvSpPr>
            <p:cNvPr id="19" name="Freeform 76">
              <a:extLst>
                <a:ext uri="{FF2B5EF4-FFF2-40B4-BE49-F238E27FC236}">
                  <a16:creationId xmlns:a16="http://schemas.microsoft.com/office/drawing/2014/main" id="{55DB3C95-7D0C-D141-901E-96D692794D2B}"/>
                </a:ext>
              </a:extLst>
            </p:cNvPr>
            <p:cNvSpPr>
              <a:spLocks noChangeAspect="1" noEditPoints="1"/>
            </p:cNvSpPr>
            <p:nvPr/>
          </p:nvSpPr>
          <p:spPr bwMode="auto">
            <a:xfrm>
              <a:off x="456202" y="5509222"/>
              <a:ext cx="504000" cy="329436"/>
            </a:xfrm>
            <a:custGeom>
              <a:avLst/>
              <a:gdLst>
                <a:gd name="T0" fmla="*/ 0 w 2080"/>
                <a:gd name="T1" fmla="*/ 65 h 1360"/>
                <a:gd name="T2" fmla="*/ 0 w 2080"/>
                <a:gd name="T3" fmla="*/ 0 h 1360"/>
                <a:gd name="T4" fmla="*/ 2080 w 2080"/>
                <a:gd name="T5" fmla="*/ 0 h 1360"/>
                <a:gd name="T6" fmla="*/ 2080 w 2080"/>
                <a:gd name="T7" fmla="*/ 65 h 1360"/>
                <a:gd name="T8" fmla="*/ 1089 w 2080"/>
                <a:gd name="T9" fmla="*/ 862 h 1360"/>
                <a:gd name="T10" fmla="*/ 991 w 2080"/>
                <a:gd name="T11" fmla="*/ 862 h 1360"/>
                <a:gd name="T12" fmla="*/ 0 w 2080"/>
                <a:gd name="T13" fmla="*/ 65 h 1360"/>
                <a:gd name="T14" fmla="*/ 1139 w 2080"/>
                <a:gd name="T15" fmla="*/ 924 h 1360"/>
                <a:gd name="T16" fmla="*/ 1282 w 2080"/>
                <a:gd name="T17" fmla="*/ 810 h 1360"/>
                <a:gd name="T18" fmla="*/ 2076 w 2080"/>
                <a:gd name="T19" fmla="*/ 1360 h 1360"/>
                <a:gd name="T20" fmla="*/ 4 w 2080"/>
                <a:gd name="T21" fmla="*/ 1360 h 1360"/>
                <a:gd name="T22" fmla="*/ 798 w 2080"/>
                <a:gd name="T23" fmla="*/ 810 h 1360"/>
                <a:gd name="T24" fmla="*/ 941 w 2080"/>
                <a:gd name="T25" fmla="*/ 924 h 1360"/>
                <a:gd name="T26" fmla="*/ 1139 w 2080"/>
                <a:gd name="T27" fmla="*/ 924 h 1360"/>
                <a:gd name="T28" fmla="*/ 2 w 2080"/>
                <a:gd name="T29" fmla="*/ 137 h 1360"/>
                <a:gd name="T30" fmla="*/ 42 w 2080"/>
                <a:gd name="T31" fmla="*/ 201 h 1360"/>
                <a:gd name="T32" fmla="*/ 734 w 2080"/>
                <a:gd name="T33" fmla="*/ 758 h 1360"/>
                <a:gd name="T34" fmla="*/ 0 w 2080"/>
                <a:gd name="T35" fmla="*/ 1266 h 1360"/>
                <a:gd name="T36" fmla="*/ 0 w 2080"/>
                <a:gd name="T37" fmla="*/ 135 h 1360"/>
                <a:gd name="T38" fmla="*/ 2 w 2080"/>
                <a:gd name="T39" fmla="*/ 137 h 1360"/>
                <a:gd name="T40" fmla="*/ 2080 w 2080"/>
                <a:gd name="T41" fmla="*/ 136 h 1360"/>
                <a:gd name="T42" fmla="*/ 2080 w 2080"/>
                <a:gd name="T43" fmla="*/ 1265 h 1360"/>
                <a:gd name="T44" fmla="*/ 1346 w 2080"/>
                <a:gd name="T45" fmla="*/ 758 h 1360"/>
                <a:gd name="T46" fmla="*/ 2038 w 2080"/>
                <a:gd name="T47" fmla="*/ 201 h 1360"/>
                <a:gd name="T48" fmla="*/ 2080 w 2080"/>
                <a:gd name="T49" fmla="*/ 136 h 1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080" h="1360">
                  <a:moveTo>
                    <a:pt x="0" y="65"/>
                  </a:moveTo>
                  <a:cubicBezTo>
                    <a:pt x="0" y="0"/>
                    <a:pt x="0" y="0"/>
                    <a:pt x="0" y="0"/>
                  </a:cubicBezTo>
                  <a:cubicBezTo>
                    <a:pt x="2080" y="0"/>
                    <a:pt x="2080" y="0"/>
                    <a:pt x="2080" y="0"/>
                  </a:cubicBezTo>
                  <a:cubicBezTo>
                    <a:pt x="2080" y="65"/>
                    <a:pt x="2080" y="65"/>
                    <a:pt x="2080" y="65"/>
                  </a:cubicBezTo>
                  <a:cubicBezTo>
                    <a:pt x="1089" y="862"/>
                    <a:pt x="1089" y="862"/>
                    <a:pt x="1089" y="862"/>
                  </a:cubicBezTo>
                  <a:cubicBezTo>
                    <a:pt x="1060" y="886"/>
                    <a:pt x="1020" y="886"/>
                    <a:pt x="991" y="862"/>
                  </a:cubicBezTo>
                  <a:lnTo>
                    <a:pt x="0" y="65"/>
                  </a:lnTo>
                  <a:close/>
                  <a:moveTo>
                    <a:pt x="1139" y="924"/>
                  </a:moveTo>
                  <a:cubicBezTo>
                    <a:pt x="1282" y="810"/>
                    <a:pt x="1282" y="810"/>
                    <a:pt x="1282" y="810"/>
                  </a:cubicBezTo>
                  <a:cubicBezTo>
                    <a:pt x="2076" y="1360"/>
                    <a:pt x="2076" y="1360"/>
                    <a:pt x="2076" y="1360"/>
                  </a:cubicBezTo>
                  <a:cubicBezTo>
                    <a:pt x="4" y="1360"/>
                    <a:pt x="4" y="1360"/>
                    <a:pt x="4" y="1360"/>
                  </a:cubicBezTo>
                  <a:cubicBezTo>
                    <a:pt x="798" y="810"/>
                    <a:pt x="798" y="810"/>
                    <a:pt x="798" y="810"/>
                  </a:cubicBezTo>
                  <a:cubicBezTo>
                    <a:pt x="941" y="924"/>
                    <a:pt x="941" y="924"/>
                    <a:pt x="941" y="924"/>
                  </a:cubicBezTo>
                  <a:cubicBezTo>
                    <a:pt x="1000" y="972"/>
                    <a:pt x="1080" y="972"/>
                    <a:pt x="1139" y="924"/>
                  </a:cubicBezTo>
                  <a:close/>
                  <a:moveTo>
                    <a:pt x="2" y="137"/>
                  </a:moveTo>
                  <a:cubicBezTo>
                    <a:pt x="8" y="163"/>
                    <a:pt x="22" y="185"/>
                    <a:pt x="42" y="201"/>
                  </a:cubicBezTo>
                  <a:cubicBezTo>
                    <a:pt x="734" y="758"/>
                    <a:pt x="734" y="758"/>
                    <a:pt x="734" y="758"/>
                  </a:cubicBezTo>
                  <a:cubicBezTo>
                    <a:pt x="0" y="1266"/>
                    <a:pt x="0" y="1266"/>
                    <a:pt x="0" y="1266"/>
                  </a:cubicBezTo>
                  <a:cubicBezTo>
                    <a:pt x="0" y="135"/>
                    <a:pt x="0" y="135"/>
                    <a:pt x="0" y="135"/>
                  </a:cubicBezTo>
                  <a:lnTo>
                    <a:pt x="2" y="137"/>
                  </a:lnTo>
                  <a:close/>
                  <a:moveTo>
                    <a:pt x="2080" y="136"/>
                  </a:moveTo>
                  <a:cubicBezTo>
                    <a:pt x="2080" y="1265"/>
                    <a:pt x="2080" y="1265"/>
                    <a:pt x="2080" y="1265"/>
                  </a:cubicBezTo>
                  <a:cubicBezTo>
                    <a:pt x="1346" y="758"/>
                    <a:pt x="1346" y="758"/>
                    <a:pt x="1346" y="758"/>
                  </a:cubicBezTo>
                  <a:cubicBezTo>
                    <a:pt x="2038" y="201"/>
                    <a:pt x="2038" y="201"/>
                    <a:pt x="2038" y="201"/>
                  </a:cubicBezTo>
                  <a:cubicBezTo>
                    <a:pt x="2060" y="182"/>
                    <a:pt x="2072" y="162"/>
                    <a:pt x="2080" y="13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000"/>
            </a:p>
          </p:txBody>
        </p:sp>
      </p:grpSp>
      <p:cxnSp>
        <p:nvCxnSpPr>
          <p:cNvPr id="20" name="Straight Connector 19"/>
          <p:cNvCxnSpPr/>
          <p:nvPr/>
        </p:nvCxnSpPr>
        <p:spPr>
          <a:xfrm>
            <a:off x="2371725" y="3478213"/>
            <a:ext cx="3888000" cy="0"/>
          </a:xfrm>
          <a:prstGeom prst="line">
            <a:avLst/>
          </a:prstGeom>
          <a:ln w="6350">
            <a:solidFill>
              <a:schemeClr val="tx2"/>
            </a:solidFill>
            <a:prstDash val="dash"/>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p:nvCxnSpPr>
        <p:spPr>
          <a:xfrm>
            <a:off x="7287767" y="3478213"/>
            <a:ext cx="3888000" cy="0"/>
          </a:xfrm>
          <a:prstGeom prst="line">
            <a:avLst/>
          </a:prstGeom>
          <a:ln w="6350">
            <a:solidFill>
              <a:schemeClr val="tx2"/>
            </a:solidFill>
            <a:prstDash val="dash"/>
          </a:ln>
        </p:spPr>
        <p:style>
          <a:lnRef idx="1">
            <a:schemeClr val="accent1"/>
          </a:lnRef>
          <a:fillRef idx="0">
            <a:schemeClr val="accent1"/>
          </a:fillRef>
          <a:effectRef idx="0">
            <a:schemeClr val="accent1"/>
          </a:effectRef>
          <a:fontRef idx="minor">
            <a:schemeClr val="tx1"/>
          </a:fontRef>
        </p:style>
      </p:cxnSp>
      <p:sp>
        <p:nvSpPr>
          <p:cNvPr id="4" name="Picture Placeholder 3"/>
          <p:cNvSpPr>
            <a:spLocks noGrp="1"/>
          </p:cNvSpPr>
          <p:nvPr>
            <p:ph type="pic" sz="quarter" idx="17" hasCustomPrompt="1"/>
          </p:nvPr>
        </p:nvSpPr>
        <p:spPr>
          <a:xfrm>
            <a:off x="2355915" y="1808984"/>
            <a:ext cx="1188677" cy="1547839"/>
          </a:xfrm>
          <a:solidFill>
            <a:srgbClr val="D9DADB"/>
          </a:solidFill>
        </p:spPr>
        <p:txBody>
          <a:bodyPr/>
          <a:lstStyle>
            <a:lvl1pPr marL="0" indent="0">
              <a:buNone/>
              <a:defRPr sz="1400"/>
            </a:lvl1pPr>
          </a:lstStyle>
          <a:p>
            <a:r>
              <a:rPr lang="en-US" dirty="0"/>
              <a:t>Insert picture</a:t>
            </a:r>
          </a:p>
        </p:txBody>
      </p:sp>
      <p:sp>
        <p:nvSpPr>
          <p:cNvPr id="25" name="Picture Placeholder 3"/>
          <p:cNvSpPr>
            <a:spLocks noGrp="1"/>
          </p:cNvSpPr>
          <p:nvPr>
            <p:ph type="pic" sz="quarter" idx="18" hasCustomPrompt="1"/>
          </p:nvPr>
        </p:nvSpPr>
        <p:spPr>
          <a:xfrm>
            <a:off x="7287767" y="1808984"/>
            <a:ext cx="1188677" cy="1547839"/>
          </a:xfrm>
          <a:solidFill>
            <a:srgbClr val="D9DADB"/>
          </a:solidFill>
        </p:spPr>
        <p:txBody>
          <a:bodyPr/>
          <a:lstStyle>
            <a:lvl1pPr marL="0" indent="0">
              <a:buNone/>
              <a:defRPr sz="1400"/>
            </a:lvl1pPr>
          </a:lstStyle>
          <a:p>
            <a:r>
              <a:rPr lang="en-US" dirty="0"/>
              <a:t>Insert picture</a:t>
            </a:r>
          </a:p>
        </p:txBody>
      </p:sp>
      <p:sp>
        <p:nvSpPr>
          <p:cNvPr id="6" name="Text Placeholder 5"/>
          <p:cNvSpPr>
            <a:spLocks noGrp="1"/>
          </p:cNvSpPr>
          <p:nvPr>
            <p:ph type="body" sz="quarter" idx="19" hasCustomPrompt="1"/>
          </p:nvPr>
        </p:nvSpPr>
        <p:spPr>
          <a:xfrm>
            <a:off x="3770066" y="1808521"/>
            <a:ext cx="2463191" cy="192361"/>
          </a:xfrm>
        </p:spPr>
        <p:txBody>
          <a:bodyPr lIns="0" tIns="0" rIns="0" bIns="0" anchor="ctr" anchorCtr="0"/>
          <a:lstStyle>
            <a:lvl1pPr marL="0" indent="0" algn="l">
              <a:lnSpc>
                <a:spcPct val="100000"/>
              </a:lnSpc>
              <a:buNone/>
              <a:defRPr sz="100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Country</a:t>
            </a:r>
          </a:p>
        </p:txBody>
      </p:sp>
      <p:sp>
        <p:nvSpPr>
          <p:cNvPr id="26" name="Text Placeholder 5"/>
          <p:cNvSpPr>
            <a:spLocks noGrp="1"/>
          </p:cNvSpPr>
          <p:nvPr>
            <p:ph type="body" sz="quarter" idx="20" hasCustomPrompt="1"/>
          </p:nvPr>
        </p:nvSpPr>
        <p:spPr>
          <a:xfrm>
            <a:off x="3770066" y="2020337"/>
            <a:ext cx="2463191" cy="266182"/>
          </a:xfrm>
        </p:spPr>
        <p:txBody>
          <a:bodyPr lIns="0" tIns="0" rIns="0" bIns="0" anchor="b" anchorCtr="0"/>
          <a:lstStyle>
            <a:lvl1pPr marL="0" indent="0" algn="l">
              <a:lnSpc>
                <a:spcPct val="100000"/>
              </a:lnSpc>
              <a:buNone/>
              <a:defRPr sz="1400" b="1" baseline="0">
                <a:solidFill>
                  <a:schemeClr val="tx2"/>
                </a:solidFill>
              </a:defRPr>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Name, Surname</a:t>
            </a:r>
          </a:p>
        </p:txBody>
      </p:sp>
      <p:sp>
        <p:nvSpPr>
          <p:cNvPr id="27" name="Text Placeholder 5"/>
          <p:cNvSpPr>
            <a:spLocks noGrp="1"/>
          </p:cNvSpPr>
          <p:nvPr>
            <p:ph type="body" sz="quarter" idx="21" hasCustomPrompt="1"/>
          </p:nvPr>
        </p:nvSpPr>
        <p:spPr>
          <a:xfrm>
            <a:off x="3770066" y="2316912"/>
            <a:ext cx="2463191" cy="192361"/>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Job Position</a:t>
            </a:r>
          </a:p>
        </p:txBody>
      </p:sp>
      <p:sp>
        <p:nvSpPr>
          <p:cNvPr id="28" name="Text Placeholder 5"/>
          <p:cNvSpPr>
            <a:spLocks noGrp="1"/>
          </p:cNvSpPr>
          <p:nvPr>
            <p:ph type="body" sz="quarter" idx="22" hasCustomPrompt="1"/>
          </p:nvPr>
        </p:nvSpPr>
        <p:spPr>
          <a:xfrm>
            <a:off x="4014949" y="2845589"/>
            <a:ext cx="2218307" cy="192361"/>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Phone number</a:t>
            </a:r>
          </a:p>
        </p:txBody>
      </p:sp>
      <p:sp>
        <p:nvSpPr>
          <p:cNvPr id="29" name="Text Placeholder 5"/>
          <p:cNvSpPr>
            <a:spLocks noGrp="1"/>
          </p:cNvSpPr>
          <p:nvPr>
            <p:ph type="body" sz="quarter" idx="23" hasCustomPrompt="1"/>
          </p:nvPr>
        </p:nvSpPr>
        <p:spPr>
          <a:xfrm>
            <a:off x="4014949" y="3128395"/>
            <a:ext cx="2218307" cy="192361"/>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Email address</a:t>
            </a:r>
          </a:p>
        </p:txBody>
      </p:sp>
      <p:sp>
        <p:nvSpPr>
          <p:cNvPr id="30" name="Text Placeholder 5"/>
          <p:cNvSpPr>
            <a:spLocks noGrp="1"/>
          </p:cNvSpPr>
          <p:nvPr>
            <p:ph type="body" sz="quarter" idx="24" hasCustomPrompt="1"/>
          </p:nvPr>
        </p:nvSpPr>
        <p:spPr>
          <a:xfrm>
            <a:off x="8701918" y="1808521"/>
            <a:ext cx="2463191" cy="192361"/>
          </a:xfrm>
        </p:spPr>
        <p:txBody>
          <a:bodyPr lIns="0" tIns="0" rIns="0" bIns="0" anchor="ctr" anchorCtr="0"/>
          <a:lstStyle>
            <a:lvl1pPr marL="0" indent="0" algn="l">
              <a:lnSpc>
                <a:spcPct val="100000"/>
              </a:lnSpc>
              <a:buNone/>
              <a:defRPr sz="100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Country</a:t>
            </a:r>
          </a:p>
        </p:txBody>
      </p:sp>
      <p:sp>
        <p:nvSpPr>
          <p:cNvPr id="31" name="Text Placeholder 5"/>
          <p:cNvSpPr>
            <a:spLocks noGrp="1"/>
          </p:cNvSpPr>
          <p:nvPr>
            <p:ph type="body" sz="quarter" idx="25" hasCustomPrompt="1"/>
          </p:nvPr>
        </p:nvSpPr>
        <p:spPr>
          <a:xfrm>
            <a:off x="8701918" y="2020337"/>
            <a:ext cx="2463191" cy="266182"/>
          </a:xfrm>
        </p:spPr>
        <p:txBody>
          <a:bodyPr lIns="0" tIns="0" rIns="0" bIns="0" anchor="b" anchorCtr="0"/>
          <a:lstStyle>
            <a:lvl1pPr marL="0" indent="0" algn="l">
              <a:lnSpc>
                <a:spcPct val="100000"/>
              </a:lnSpc>
              <a:buNone/>
              <a:defRPr sz="1400" b="1" baseline="0">
                <a:solidFill>
                  <a:schemeClr val="tx2"/>
                </a:solidFill>
              </a:defRPr>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Name, Surname</a:t>
            </a:r>
          </a:p>
        </p:txBody>
      </p:sp>
      <p:sp>
        <p:nvSpPr>
          <p:cNvPr id="32" name="Text Placeholder 5"/>
          <p:cNvSpPr>
            <a:spLocks noGrp="1"/>
          </p:cNvSpPr>
          <p:nvPr>
            <p:ph type="body" sz="quarter" idx="26" hasCustomPrompt="1"/>
          </p:nvPr>
        </p:nvSpPr>
        <p:spPr>
          <a:xfrm>
            <a:off x="8701918" y="2316912"/>
            <a:ext cx="2463191" cy="192361"/>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Job Position</a:t>
            </a:r>
          </a:p>
        </p:txBody>
      </p:sp>
      <p:sp>
        <p:nvSpPr>
          <p:cNvPr id="33" name="Text Placeholder 5"/>
          <p:cNvSpPr>
            <a:spLocks noGrp="1"/>
          </p:cNvSpPr>
          <p:nvPr>
            <p:ph type="body" sz="quarter" idx="27" hasCustomPrompt="1"/>
          </p:nvPr>
        </p:nvSpPr>
        <p:spPr>
          <a:xfrm>
            <a:off x="8946801" y="2845589"/>
            <a:ext cx="2218307" cy="192361"/>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Phone number</a:t>
            </a:r>
          </a:p>
        </p:txBody>
      </p:sp>
      <p:sp>
        <p:nvSpPr>
          <p:cNvPr id="34" name="Text Placeholder 5"/>
          <p:cNvSpPr>
            <a:spLocks noGrp="1"/>
          </p:cNvSpPr>
          <p:nvPr>
            <p:ph type="body" sz="quarter" idx="28" hasCustomPrompt="1"/>
          </p:nvPr>
        </p:nvSpPr>
        <p:spPr>
          <a:xfrm>
            <a:off x="8946801" y="3128395"/>
            <a:ext cx="2218307" cy="192361"/>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Email address</a:t>
            </a:r>
          </a:p>
        </p:txBody>
      </p:sp>
      <p:grpSp>
        <p:nvGrpSpPr>
          <p:cNvPr id="35" name="Gruppieren 2">
            <a:extLst>
              <a:ext uri="{FF2B5EF4-FFF2-40B4-BE49-F238E27FC236}">
                <a16:creationId xmlns:a16="http://schemas.microsoft.com/office/drawing/2014/main" id="{BE697CE9-EBDE-6B4A-BE70-582D92A8A831}"/>
              </a:ext>
            </a:extLst>
          </p:cNvPr>
          <p:cNvGrpSpPr/>
          <p:nvPr/>
        </p:nvGrpSpPr>
        <p:grpSpPr>
          <a:xfrm>
            <a:off x="3770066" y="5045939"/>
            <a:ext cx="171180" cy="171180"/>
            <a:chOff x="3392092" y="1841122"/>
            <a:chExt cx="646508" cy="646508"/>
          </a:xfrm>
        </p:grpSpPr>
        <p:sp>
          <p:nvSpPr>
            <p:cNvPr id="36" name="Rechteck 14">
              <a:extLst>
                <a:ext uri="{FF2B5EF4-FFF2-40B4-BE49-F238E27FC236}">
                  <a16:creationId xmlns:a16="http://schemas.microsoft.com/office/drawing/2014/main" id="{E142A731-19B7-C34D-9534-9E05108F895F}"/>
                </a:ext>
              </a:extLst>
            </p:cNvPr>
            <p:cNvSpPr>
              <a:spLocks noChangeAspect="1"/>
            </p:cNvSpPr>
            <p:nvPr/>
          </p:nvSpPr>
          <p:spPr bwMode="gray">
            <a:xfrm>
              <a:off x="3392092" y="1841122"/>
              <a:ext cx="646508" cy="646508"/>
            </a:xfrm>
            <a:prstGeom prst="rect">
              <a:avLst/>
            </a:prstGeom>
            <a:solidFill>
              <a:srgbClr val="E55A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pPr>
              <a:endParaRPr lang="en-US" sz="1000" dirty="0">
                <a:solidFill>
                  <a:schemeClr val="tx1"/>
                </a:solidFill>
                <a:latin typeface="Arial" pitchFamily="34" charset="0"/>
                <a:cs typeface="Arial" pitchFamily="34" charset="0"/>
              </a:endParaRPr>
            </a:p>
          </p:txBody>
        </p:sp>
        <p:sp>
          <p:nvSpPr>
            <p:cNvPr id="37" name="Freeform 36">
              <a:extLst>
                <a:ext uri="{FF2B5EF4-FFF2-40B4-BE49-F238E27FC236}">
                  <a16:creationId xmlns:a16="http://schemas.microsoft.com/office/drawing/2014/main" id="{F97E84AE-4AD9-4B44-9AA1-F797FC373809}"/>
                </a:ext>
              </a:extLst>
            </p:cNvPr>
            <p:cNvSpPr>
              <a:spLocks noChangeAspect="1"/>
            </p:cNvSpPr>
            <p:nvPr/>
          </p:nvSpPr>
          <p:spPr bwMode="auto">
            <a:xfrm>
              <a:off x="3546638" y="1970424"/>
              <a:ext cx="337415" cy="387905"/>
            </a:xfrm>
            <a:custGeom>
              <a:avLst/>
              <a:gdLst>
                <a:gd name="T0" fmla="*/ 573 w 1624"/>
                <a:gd name="T1" fmla="*/ 1257 h 1867"/>
                <a:gd name="T2" fmla="*/ 662 w 1624"/>
                <a:gd name="T3" fmla="*/ 1288 h 1867"/>
                <a:gd name="T4" fmla="*/ 938 w 1624"/>
                <a:gd name="T5" fmla="*/ 1051 h 1867"/>
                <a:gd name="T6" fmla="*/ 1106 w 1624"/>
                <a:gd name="T7" fmla="*/ 731 h 1867"/>
                <a:gd name="T8" fmla="*/ 1059 w 1624"/>
                <a:gd name="T9" fmla="*/ 645 h 1867"/>
                <a:gd name="T10" fmla="*/ 1001 w 1624"/>
                <a:gd name="T11" fmla="*/ 613 h 1867"/>
                <a:gd name="T12" fmla="*/ 924 w 1624"/>
                <a:gd name="T13" fmla="*/ 432 h 1867"/>
                <a:gd name="T14" fmla="*/ 1114 w 1624"/>
                <a:gd name="T15" fmla="*/ 81 h 1867"/>
                <a:gd name="T16" fmla="*/ 1287 w 1624"/>
                <a:gd name="T17" fmla="*/ 35 h 1867"/>
                <a:gd name="T18" fmla="*/ 1350 w 1624"/>
                <a:gd name="T19" fmla="*/ 69 h 1867"/>
                <a:gd name="T20" fmla="*/ 1527 w 1624"/>
                <a:gd name="T21" fmla="*/ 235 h 1867"/>
                <a:gd name="T22" fmla="*/ 1583 w 1624"/>
                <a:gd name="T23" fmla="*/ 555 h 1867"/>
                <a:gd name="T24" fmla="*/ 1172 w 1624"/>
                <a:gd name="T25" fmla="*/ 1253 h 1867"/>
                <a:gd name="T26" fmla="*/ 586 w 1624"/>
                <a:gd name="T27" fmla="*/ 1803 h 1867"/>
                <a:gd name="T28" fmla="*/ 269 w 1624"/>
                <a:gd name="T29" fmla="*/ 1807 h 1867"/>
                <a:gd name="T30" fmla="*/ 33 w 1624"/>
                <a:gd name="T31" fmla="*/ 1602 h 1867"/>
                <a:gd name="T32" fmla="*/ 2 w 1624"/>
                <a:gd name="T33" fmla="*/ 1508 h 1867"/>
                <a:gd name="T34" fmla="*/ 45 w 1624"/>
                <a:gd name="T35" fmla="*/ 1421 h 1867"/>
                <a:gd name="T36" fmla="*/ 346 w 1624"/>
                <a:gd name="T37" fmla="*/ 1158 h 1867"/>
                <a:gd name="T38" fmla="*/ 448 w 1624"/>
                <a:gd name="T39" fmla="*/ 1145 h 1867"/>
                <a:gd name="T40" fmla="*/ 573 w 1624"/>
                <a:gd name="T41" fmla="*/ 1257 h 18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24" h="1867">
                  <a:moveTo>
                    <a:pt x="573" y="1257"/>
                  </a:moveTo>
                  <a:cubicBezTo>
                    <a:pt x="592" y="1282"/>
                    <a:pt x="630" y="1303"/>
                    <a:pt x="662" y="1288"/>
                  </a:cubicBezTo>
                  <a:cubicBezTo>
                    <a:pt x="753" y="1245"/>
                    <a:pt x="854" y="1156"/>
                    <a:pt x="938" y="1051"/>
                  </a:cubicBezTo>
                  <a:cubicBezTo>
                    <a:pt x="1020" y="948"/>
                    <a:pt x="1084" y="831"/>
                    <a:pt x="1106" y="731"/>
                  </a:cubicBezTo>
                  <a:cubicBezTo>
                    <a:pt x="1113" y="696"/>
                    <a:pt x="1089" y="661"/>
                    <a:pt x="1059" y="645"/>
                  </a:cubicBezTo>
                  <a:cubicBezTo>
                    <a:pt x="1001" y="613"/>
                    <a:pt x="1001" y="613"/>
                    <a:pt x="1001" y="613"/>
                  </a:cubicBezTo>
                  <a:cubicBezTo>
                    <a:pt x="942" y="580"/>
                    <a:pt x="888" y="499"/>
                    <a:pt x="924" y="432"/>
                  </a:cubicBezTo>
                  <a:cubicBezTo>
                    <a:pt x="1114" y="81"/>
                    <a:pt x="1114" y="81"/>
                    <a:pt x="1114" y="81"/>
                  </a:cubicBezTo>
                  <a:cubicBezTo>
                    <a:pt x="1150" y="16"/>
                    <a:pt x="1224" y="0"/>
                    <a:pt x="1287" y="35"/>
                  </a:cubicBezTo>
                  <a:cubicBezTo>
                    <a:pt x="1350" y="69"/>
                    <a:pt x="1350" y="69"/>
                    <a:pt x="1350" y="69"/>
                  </a:cubicBezTo>
                  <a:cubicBezTo>
                    <a:pt x="1415" y="105"/>
                    <a:pt x="1479" y="165"/>
                    <a:pt x="1527" y="235"/>
                  </a:cubicBezTo>
                  <a:cubicBezTo>
                    <a:pt x="1593" y="332"/>
                    <a:pt x="1624" y="442"/>
                    <a:pt x="1583" y="555"/>
                  </a:cubicBezTo>
                  <a:cubicBezTo>
                    <a:pt x="1500" y="781"/>
                    <a:pt x="1351" y="1030"/>
                    <a:pt x="1172" y="1253"/>
                  </a:cubicBezTo>
                  <a:cubicBezTo>
                    <a:pt x="994" y="1477"/>
                    <a:pt x="786" y="1676"/>
                    <a:pt x="586" y="1803"/>
                  </a:cubicBezTo>
                  <a:cubicBezTo>
                    <a:pt x="486" y="1867"/>
                    <a:pt x="375" y="1856"/>
                    <a:pt x="269" y="1807"/>
                  </a:cubicBezTo>
                  <a:cubicBezTo>
                    <a:pt x="157" y="1755"/>
                    <a:pt x="106" y="1695"/>
                    <a:pt x="33" y="1602"/>
                  </a:cubicBezTo>
                  <a:cubicBezTo>
                    <a:pt x="11" y="1573"/>
                    <a:pt x="0" y="1540"/>
                    <a:pt x="2" y="1508"/>
                  </a:cubicBezTo>
                  <a:cubicBezTo>
                    <a:pt x="4" y="1475"/>
                    <a:pt x="18" y="1444"/>
                    <a:pt x="45" y="1421"/>
                  </a:cubicBezTo>
                  <a:cubicBezTo>
                    <a:pt x="70" y="1399"/>
                    <a:pt x="346" y="1158"/>
                    <a:pt x="346" y="1158"/>
                  </a:cubicBezTo>
                  <a:cubicBezTo>
                    <a:pt x="376" y="1134"/>
                    <a:pt x="413" y="1133"/>
                    <a:pt x="448" y="1145"/>
                  </a:cubicBezTo>
                  <a:cubicBezTo>
                    <a:pt x="510" y="1166"/>
                    <a:pt x="536" y="1210"/>
                    <a:pt x="573" y="1257"/>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350" dirty="0"/>
            </a:p>
          </p:txBody>
        </p:sp>
      </p:grpSp>
      <p:grpSp>
        <p:nvGrpSpPr>
          <p:cNvPr id="38" name="Group 3">
            <a:extLst>
              <a:ext uri="{FF2B5EF4-FFF2-40B4-BE49-F238E27FC236}">
                <a16:creationId xmlns:a16="http://schemas.microsoft.com/office/drawing/2014/main" id="{7104BADD-8CD1-6F4A-B894-869C3BDB3EEB}"/>
              </a:ext>
            </a:extLst>
          </p:cNvPr>
          <p:cNvGrpSpPr>
            <a:grpSpLocks noChangeAspect="1"/>
          </p:cNvGrpSpPr>
          <p:nvPr>
            <p:custDataLst>
              <p:tags r:id="rId3"/>
            </p:custDataLst>
          </p:nvPr>
        </p:nvGrpSpPr>
        <p:grpSpPr>
          <a:xfrm>
            <a:off x="3770067" y="5330827"/>
            <a:ext cx="171180" cy="171180"/>
            <a:chOff x="328396" y="5313940"/>
            <a:chExt cx="720000" cy="720000"/>
          </a:xfrm>
        </p:grpSpPr>
        <p:sp>
          <p:nvSpPr>
            <p:cNvPr id="39" name="Rectangle 4">
              <a:extLst>
                <a:ext uri="{FF2B5EF4-FFF2-40B4-BE49-F238E27FC236}">
                  <a16:creationId xmlns:a16="http://schemas.microsoft.com/office/drawing/2014/main" id="{74BE3D5F-1445-6E40-8B49-72E15568383B}"/>
                </a:ext>
              </a:extLst>
            </p:cNvPr>
            <p:cNvSpPr/>
            <p:nvPr/>
          </p:nvSpPr>
          <p:spPr bwMode="gray">
            <a:xfrm>
              <a:off x="328396" y="5313940"/>
              <a:ext cx="720000" cy="720000"/>
            </a:xfrm>
            <a:prstGeom prst="rect">
              <a:avLst/>
            </a:prstGeom>
            <a:solidFill>
              <a:srgbClr val="E55A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pPr>
              <a:endParaRPr lang="en-US" sz="1000" dirty="0">
                <a:solidFill>
                  <a:schemeClr val="tx1"/>
                </a:solidFill>
                <a:latin typeface="Arial" pitchFamily="34" charset="0"/>
                <a:cs typeface="Arial" pitchFamily="34" charset="0"/>
              </a:endParaRPr>
            </a:p>
          </p:txBody>
        </p:sp>
        <p:sp>
          <p:nvSpPr>
            <p:cNvPr id="40" name="Freeform 76">
              <a:extLst>
                <a:ext uri="{FF2B5EF4-FFF2-40B4-BE49-F238E27FC236}">
                  <a16:creationId xmlns:a16="http://schemas.microsoft.com/office/drawing/2014/main" id="{55DB3C95-7D0C-D141-901E-96D692794D2B}"/>
                </a:ext>
              </a:extLst>
            </p:cNvPr>
            <p:cNvSpPr>
              <a:spLocks noChangeAspect="1" noEditPoints="1"/>
            </p:cNvSpPr>
            <p:nvPr/>
          </p:nvSpPr>
          <p:spPr bwMode="auto">
            <a:xfrm>
              <a:off x="456202" y="5509222"/>
              <a:ext cx="504000" cy="329436"/>
            </a:xfrm>
            <a:custGeom>
              <a:avLst/>
              <a:gdLst>
                <a:gd name="T0" fmla="*/ 0 w 2080"/>
                <a:gd name="T1" fmla="*/ 65 h 1360"/>
                <a:gd name="T2" fmla="*/ 0 w 2080"/>
                <a:gd name="T3" fmla="*/ 0 h 1360"/>
                <a:gd name="T4" fmla="*/ 2080 w 2080"/>
                <a:gd name="T5" fmla="*/ 0 h 1360"/>
                <a:gd name="T6" fmla="*/ 2080 w 2080"/>
                <a:gd name="T7" fmla="*/ 65 h 1360"/>
                <a:gd name="T8" fmla="*/ 1089 w 2080"/>
                <a:gd name="T9" fmla="*/ 862 h 1360"/>
                <a:gd name="T10" fmla="*/ 991 w 2080"/>
                <a:gd name="T11" fmla="*/ 862 h 1360"/>
                <a:gd name="T12" fmla="*/ 0 w 2080"/>
                <a:gd name="T13" fmla="*/ 65 h 1360"/>
                <a:gd name="T14" fmla="*/ 1139 w 2080"/>
                <a:gd name="T15" fmla="*/ 924 h 1360"/>
                <a:gd name="T16" fmla="*/ 1282 w 2080"/>
                <a:gd name="T17" fmla="*/ 810 h 1360"/>
                <a:gd name="T18" fmla="*/ 2076 w 2080"/>
                <a:gd name="T19" fmla="*/ 1360 h 1360"/>
                <a:gd name="T20" fmla="*/ 4 w 2080"/>
                <a:gd name="T21" fmla="*/ 1360 h 1360"/>
                <a:gd name="T22" fmla="*/ 798 w 2080"/>
                <a:gd name="T23" fmla="*/ 810 h 1360"/>
                <a:gd name="T24" fmla="*/ 941 w 2080"/>
                <a:gd name="T25" fmla="*/ 924 h 1360"/>
                <a:gd name="T26" fmla="*/ 1139 w 2080"/>
                <a:gd name="T27" fmla="*/ 924 h 1360"/>
                <a:gd name="T28" fmla="*/ 2 w 2080"/>
                <a:gd name="T29" fmla="*/ 137 h 1360"/>
                <a:gd name="T30" fmla="*/ 42 w 2080"/>
                <a:gd name="T31" fmla="*/ 201 h 1360"/>
                <a:gd name="T32" fmla="*/ 734 w 2080"/>
                <a:gd name="T33" fmla="*/ 758 h 1360"/>
                <a:gd name="T34" fmla="*/ 0 w 2080"/>
                <a:gd name="T35" fmla="*/ 1266 h 1360"/>
                <a:gd name="T36" fmla="*/ 0 w 2080"/>
                <a:gd name="T37" fmla="*/ 135 h 1360"/>
                <a:gd name="T38" fmla="*/ 2 w 2080"/>
                <a:gd name="T39" fmla="*/ 137 h 1360"/>
                <a:gd name="T40" fmla="*/ 2080 w 2080"/>
                <a:gd name="T41" fmla="*/ 136 h 1360"/>
                <a:gd name="T42" fmla="*/ 2080 w 2080"/>
                <a:gd name="T43" fmla="*/ 1265 h 1360"/>
                <a:gd name="T44" fmla="*/ 1346 w 2080"/>
                <a:gd name="T45" fmla="*/ 758 h 1360"/>
                <a:gd name="T46" fmla="*/ 2038 w 2080"/>
                <a:gd name="T47" fmla="*/ 201 h 1360"/>
                <a:gd name="T48" fmla="*/ 2080 w 2080"/>
                <a:gd name="T49" fmla="*/ 136 h 1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080" h="1360">
                  <a:moveTo>
                    <a:pt x="0" y="65"/>
                  </a:moveTo>
                  <a:cubicBezTo>
                    <a:pt x="0" y="0"/>
                    <a:pt x="0" y="0"/>
                    <a:pt x="0" y="0"/>
                  </a:cubicBezTo>
                  <a:cubicBezTo>
                    <a:pt x="2080" y="0"/>
                    <a:pt x="2080" y="0"/>
                    <a:pt x="2080" y="0"/>
                  </a:cubicBezTo>
                  <a:cubicBezTo>
                    <a:pt x="2080" y="65"/>
                    <a:pt x="2080" y="65"/>
                    <a:pt x="2080" y="65"/>
                  </a:cubicBezTo>
                  <a:cubicBezTo>
                    <a:pt x="1089" y="862"/>
                    <a:pt x="1089" y="862"/>
                    <a:pt x="1089" y="862"/>
                  </a:cubicBezTo>
                  <a:cubicBezTo>
                    <a:pt x="1060" y="886"/>
                    <a:pt x="1020" y="886"/>
                    <a:pt x="991" y="862"/>
                  </a:cubicBezTo>
                  <a:lnTo>
                    <a:pt x="0" y="65"/>
                  </a:lnTo>
                  <a:close/>
                  <a:moveTo>
                    <a:pt x="1139" y="924"/>
                  </a:moveTo>
                  <a:cubicBezTo>
                    <a:pt x="1282" y="810"/>
                    <a:pt x="1282" y="810"/>
                    <a:pt x="1282" y="810"/>
                  </a:cubicBezTo>
                  <a:cubicBezTo>
                    <a:pt x="2076" y="1360"/>
                    <a:pt x="2076" y="1360"/>
                    <a:pt x="2076" y="1360"/>
                  </a:cubicBezTo>
                  <a:cubicBezTo>
                    <a:pt x="4" y="1360"/>
                    <a:pt x="4" y="1360"/>
                    <a:pt x="4" y="1360"/>
                  </a:cubicBezTo>
                  <a:cubicBezTo>
                    <a:pt x="798" y="810"/>
                    <a:pt x="798" y="810"/>
                    <a:pt x="798" y="810"/>
                  </a:cubicBezTo>
                  <a:cubicBezTo>
                    <a:pt x="941" y="924"/>
                    <a:pt x="941" y="924"/>
                    <a:pt x="941" y="924"/>
                  </a:cubicBezTo>
                  <a:cubicBezTo>
                    <a:pt x="1000" y="972"/>
                    <a:pt x="1080" y="972"/>
                    <a:pt x="1139" y="924"/>
                  </a:cubicBezTo>
                  <a:close/>
                  <a:moveTo>
                    <a:pt x="2" y="137"/>
                  </a:moveTo>
                  <a:cubicBezTo>
                    <a:pt x="8" y="163"/>
                    <a:pt x="22" y="185"/>
                    <a:pt x="42" y="201"/>
                  </a:cubicBezTo>
                  <a:cubicBezTo>
                    <a:pt x="734" y="758"/>
                    <a:pt x="734" y="758"/>
                    <a:pt x="734" y="758"/>
                  </a:cubicBezTo>
                  <a:cubicBezTo>
                    <a:pt x="0" y="1266"/>
                    <a:pt x="0" y="1266"/>
                    <a:pt x="0" y="1266"/>
                  </a:cubicBezTo>
                  <a:cubicBezTo>
                    <a:pt x="0" y="135"/>
                    <a:pt x="0" y="135"/>
                    <a:pt x="0" y="135"/>
                  </a:cubicBezTo>
                  <a:lnTo>
                    <a:pt x="2" y="137"/>
                  </a:lnTo>
                  <a:close/>
                  <a:moveTo>
                    <a:pt x="2080" y="136"/>
                  </a:moveTo>
                  <a:cubicBezTo>
                    <a:pt x="2080" y="1265"/>
                    <a:pt x="2080" y="1265"/>
                    <a:pt x="2080" y="1265"/>
                  </a:cubicBezTo>
                  <a:cubicBezTo>
                    <a:pt x="1346" y="758"/>
                    <a:pt x="1346" y="758"/>
                    <a:pt x="1346" y="758"/>
                  </a:cubicBezTo>
                  <a:cubicBezTo>
                    <a:pt x="2038" y="201"/>
                    <a:pt x="2038" y="201"/>
                    <a:pt x="2038" y="201"/>
                  </a:cubicBezTo>
                  <a:cubicBezTo>
                    <a:pt x="2060" y="182"/>
                    <a:pt x="2072" y="162"/>
                    <a:pt x="2080" y="13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000"/>
            </a:p>
          </p:txBody>
        </p:sp>
      </p:grpSp>
      <p:cxnSp>
        <p:nvCxnSpPr>
          <p:cNvPr id="41" name="Straight Connector 40"/>
          <p:cNvCxnSpPr/>
          <p:nvPr/>
        </p:nvCxnSpPr>
        <p:spPr>
          <a:xfrm>
            <a:off x="2355915" y="5655832"/>
            <a:ext cx="3888000" cy="0"/>
          </a:xfrm>
          <a:prstGeom prst="line">
            <a:avLst/>
          </a:prstGeom>
          <a:ln w="6350">
            <a:solidFill>
              <a:schemeClr val="tx2"/>
            </a:solidFill>
            <a:prstDash val="dash"/>
          </a:ln>
        </p:spPr>
        <p:style>
          <a:lnRef idx="1">
            <a:schemeClr val="accent1"/>
          </a:lnRef>
          <a:fillRef idx="0">
            <a:schemeClr val="accent1"/>
          </a:fillRef>
          <a:effectRef idx="0">
            <a:schemeClr val="accent1"/>
          </a:effectRef>
          <a:fontRef idx="minor">
            <a:schemeClr val="tx1"/>
          </a:fontRef>
        </p:style>
      </p:cxnSp>
      <p:sp>
        <p:nvSpPr>
          <p:cNvPr id="42" name="Picture Placeholder 3"/>
          <p:cNvSpPr>
            <a:spLocks noGrp="1"/>
          </p:cNvSpPr>
          <p:nvPr>
            <p:ph type="pic" sz="quarter" idx="29" hasCustomPrompt="1"/>
          </p:nvPr>
        </p:nvSpPr>
        <p:spPr>
          <a:xfrm>
            <a:off x="2355915" y="3986604"/>
            <a:ext cx="1188677" cy="1547839"/>
          </a:xfrm>
          <a:solidFill>
            <a:srgbClr val="D9DADB"/>
          </a:solidFill>
        </p:spPr>
        <p:txBody>
          <a:bodyPr/>
          <a:lstStyle>
            <a:lvl1pPr marL="0" indent="0">
              <a:buNone/>
              <a:defRPr sz="1400"/>
            </a:lvl1pPr>
          </a:lstStyle>
          <a:p>
            <a:r>
              <a:rPr lang="en-US" dirty="0"/>
              <a:t>Insert picture</a:t>
            </a:r>
          </a:p>
        </p:txBody>
      </p:sp>
      <p:sp>
        <p:nvSpPr>
          <p:cNvPr id="43" name="Text Placeholder 5"/>
          <p:cNvSpPr>
            <a:spLocks noGrp="1"/>
          </p:cNvSpPr>
          <p:nvPr>
            <p:ph type="body" sz="quarter" idx="30" hasCustomPrompt="1"/>
          </p:nvPr>
        </p:nvSpPr>
        <p:spPr>
          <a:xfrm>
            <a:off x="3770066" y="3986142"/>
            <a:ext cx="2463191" cy="192361"/>
          </a:xfrm>
        </p:spPr>
        <p:txBody>
          <a:bodyPr lIns="0" tIns="0" rIns="0" bIns="0" anchor="ctr" anchorCtr="0"/>
          <a:lstStyle>
            <a:lvl1pPr marL="0" indent="0" algn="l">
              <a:lnSpc>
                <a:spcPct val="100000"/>
              </a:lnSpc>
              <a:buNone/>
              <a:defRPr sz="100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Country</a:t>
            </a:r>
          </a:p>
        </p:txBody>
      </p:sp>
      <p:sp>
        <p:nvSpPr>
          <p:cNvPr id="44" name="Text Placeholder 5"/>
          <p:cNvSpPr>
            <a:spLocks noGrp="1"/>
          </p:cNvSpPr>
          <p:nvPr>
            <p:ph type="body" sz="quarter" idx="31" hasCustomPrompt="1"/>
          </p:nvPr>
        </p:nvSpPr>
        <p:spPr>
          <a:xfrm>
            <a:off x="3770066" y="4197957"/>
            <a:ext cx="2463191" cy="266182"/>
          </a:xfrm>
        </p:spPr>
        <p:txBody>
          <a:bodyPr lIns="0" tIns="0" rIns="0" bIns="0" anchor="b" anchorCtr="0"/>
          <a:lstStyle>
            <a:lvl1pPr marL="0" indent="0" algn="l">
              <a:lnSpc>
                <a:spcPct val="100000"/>
              </a:lnSpc>
              <a:buNone/>
              <a:defRPr sz="1400" b="1" baseline="0">
                <a:solidFill>
                  <a:schemeClr val="tx2"/>
                </a:solidFill>
              </a:defRPr>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Name, Surname</a:t>
            </a:r>
          </a:p>
        </p:txBody>
      </p:sp>
      <p:sp>
        <p:nvSpPr>
          <p:cNvPr id="45" name="Text Placeholder 5"/>
          <p:cNvSpPr>
            <a:spLocks noGrp="1"/>
          </p:cNvSpPr>
          <p:nvPr>
            <p:ph type="body" sz="quarter" idx="32" hasCustomPrompt="1"/>
          </p:nvPr>
        </p:nvSpPr>
        <p:spPr>
          <a:xfrm>
            <a:off x="3770066" y="4494532"/>
            <a:ext cx="2463191" cy="192361"/>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Job Position</a:t>
            </a:r>
          </a:p>
        </p:txBody>
      </p:sp>
      <p:sp>
        <p:nvSpPr>
          <p:cNvPr id="46" name="Text Placeholder 5"/>
          <p:cNvSpPr>
            <a:spLocks noGrp="1"/>
          </p:cNvSpPr>
          <p:nvPr>
            <p:ph type="body" sz="quarter" idx="33" hasCustomPrompt="1"/>
          </p:nvPr>
        </p:nvSpPr>
        <p:spPr>
          <a:xfrm>
            <a:off x="4014949" y="5023208"/>
            <a:ext cx="2218307" cy="192361"/>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Phone number</a:t>
            </a:r>
          </a:p>
        </p:txBody>
      </p:sp>
      <p:sp>
        <p:nvSpPr>
          <p:cNvPr id="47" name="Text Placeholder 5"/>
          <p:cNvSpPr>
            <a:spLocks noGrp="1"/>
          </p:cNvSpPr>
          <p:nvPr>
            <p:ph type="body" sz="quarter" idx="34" hasCustomPrompt="1"/>
          </p:nvPr>
        </p:nvSpPr>
        <p:spPr>
          <a:xfrm>
            <a:off x="4014949" y="5306016"/>
            <a:ext cx="2218307" cy="192361"/>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Email address</a:t>
            </a:r>
          </a:p>
        </p:txBody>
      </p:sp>
    </p:spTree>
    <p:extLst>
      <p:ext uri="{BB962C8B-B14F-4D97-AF65-F5344CB8AC3E}">
        <p14:creationId xmlns:p14="http://schemas.microsoft.com/office/powerpoint/2010/main" val="2703471171"/>
      </p:ext>
    </p:extLst>
  </p:cSld>
  <p:clrMapOvr>
    <a:masterClrMapping/>
  </p:clrMapOvr>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p:cSld name="Four contacts">
    <p:spTree>
      <p:nvGrpSpPr>
        <p:cNvPr id="1" name=""/>
        <p:cNvGrpSpPr/>
        <p:nvPr/>
      </p:nvGrpSpPr>
      <p:grpSpPr>
        <a:xfrm>
          <a:off x="0" y="0"/>
          <a:ext cx="0" cy="0"/>
          <a:chOff x="0" y="0"/>
          <a:chExt cx="0" cy="0"/>
        </a:xfrm>
      </p:grpSpPr>
      <p:sp>
        <p:nvSpPr>
          <p:cNvPr id="21" name="Date Placeholder 20"/>
          <p:cNvSpPr>
            <a:spLocks noGrp="1"/>
          </p:cNvSpPr>
          <p:nvPr>
            <p:ph type="dt" sz="half" idx="14"/>
          </p:nvPr>
        </p:nvSpPr>
        <p:spPr>
          <a:xfrm>
            <a:off x="192088" y="6461673"/>
            <a:ext cx="761512" cy="133789"/>
          </a:xfrm>
          <a:prstGeom prst="rect">
            <a:avLst/>
          </a:prstGeom>
        </p:spPr>
        <p:txBody>
          <a:bodyPr/>
          <a:lstStyle/>
          <a:p>
            <a:fld id="{279C7CF9-AE45-4637-9DF5-AFC713D6D2FE}" type="datetime5">
              <a:rPr lang="en-US" smtClean="0"/>
              <a:t>26-Jun-20</a:t>
            </a:fld>
            <a:endParaRPr lang="en-US"/>
          </a:p>
        </p:txBody>
      </p:sp>
      <p:sp>
        <p:nvSpPr>
          <p:cNvPr id="22" name="Footer Placeholder 21"/>
          <p:cNvSpPr>
            <a:spLocks noGrp="1"/>
          </p:cNvSpPr>
          <p:nvPr>
            <p:ph type="ftr" sz="quarter" idx="15"/>
          </p:nvPr>
        </p:nvSpPr>
        <p:spPr>
          <a:xfrm>
            <a:off x="1076400" y="6461673"/>
            <a:ext cx="8162717" cy="133789"/>
          </a:xfrm>
          <a:prstGeom prst="rect">
            <a:avLst/>
          </a:prstGeom>
        </p:spPr>
        <p:txBody>
          <a:bodyPr/>
          <a:lstStyle/>
          <a:p>
            <a:r>
              <a:rPr lang="en-US"/>
              <a:t>Title of presentation (Insert / Header &amp; Footer / Apply to All)</a:t>
            </a:r>
            <a:endParaRPr lang="en-US" dirty="0"/>
          </a:p>
        </p:txBody>
      </p:sp>
      <p:sp>
        <p:nvSpPr>
          <p:cNvPr id="23" name="Slide Number Placeholder 22"/>
          <p:cNvSpPr>
            <a:spLocks noGrp="1"/>
          </p:cNvSpPr>
          <p:nvPr>
            <p:ph type="sldNum" sz="quarter" idx="16"/>
          </p:nvPr>
        </p:nvSpPr>
        <p:spPr/>
        <p:txBody>
          <a:bodyPr/>
          <a:lstStyle/>
          <a:p>
            <a:fld id="{5F3E29E4-0979-4FCA-B4C5-5FC6044C982A}" type="slidenum">
              <a:rPr lang="en-US" smtClean="0"/>
              <a:t>‹#›</a:t>
            </a:fld>
            <a:endParaRPr lang="en-US"/>
          </a:p>
        </p:txBody>
      </p:sp>
      <p:sp>
        <p:nvSpPr>
          <p:cNvPr id="2" name="Title 1"/>
          <p:cNvSpPr>
            <a:spLocks noGrp="1"/>
          </p:cNvSpPr>
          <p:nvPr>
            <p:ph type="title" hasCustomPrompt="1"/>
          </p:nvPr>
        </p:nvSpPr>
        <p:spPr/>
        <p:txBody>
          <a:bodyPr/>
          <a:lstStyle>
            <a:lvl1pPr>
              <a:defRPr/>
            </a:lvl1pPr>
          </a:lstStyle>
          <a:p>
            <a:r>
              <a:rPr lang="en-US" dirty="0"/>
              <a:t>Click to add contact title</a:t>
            </a:r>
          </a:p>
        </p:txBody>
      </p:sp>
      <p:sp>
        <p:nvSpPr>
          <p:cNvPr id="7" name="Subtitle 2"/>
          <p:cNvSpPr>
            <a:spLocks noGrp="1"/>
          </p:cNvSpPr>
          <p:nvPr>
            <p:ph type="subTitle" idx="13" hasCustomPrompt="1"/>
          </p:nvPr>
        </p:nvSpPr>
        <p:spPr>
          <a:xfrm>
            <a:off x="1075062" y="964672"/>
            <a:ext cx="7910159" cy="490042"/>
          </a:xfrm>
        </p:spPr>
        <p:txBody>
          <a:bodyPr wrap="none"/>
          <a:lstStyle>
            <a:lvl1pPr marL="0" indent="0" algn="l">
              <a:spcBef>
                <a:spcPts val="0"/>
              </a:spcBef>
              <a:buNone/>
              <a:defRPr sz="2399"/>
            </a:lvl1pPr>
            <a:lvl2pPr marL="457051" indent="0" algn="ctr">
              <a:buNone/>
              <a:defRPr sz="1999"/>
            </a:lvl2pPr>
            <a:lvl3pPr marL="914103" indent="0" algn="ctr">
              <a:buNone/>
              <a:defRPr sz="1799"/>
            </a:lvl3pPr>
            <a:lvl4pPr marL="1371154" indent="0" algn="ctr">
              <a:buNone/>
              <a:defRPr sz="1599"/>
            </a:lvl4pPr>
            <a:lvl5pPr marL="1828206" indent="0" algn="ctr">
              <a:buNone/>
              <a:defRPr sz="1599"/>
            </a:lvl5pPr>
            <a:lvl6pPr marL="2285257" indent="0" algn="ctr">
              <a:buNone/>
              <a:defRPr sz="1599"/>
            </a:lvl6pPr>
            <a:lvl7pPr marL="2742308" indent="0" algn="ctr">
              <a:buNone/>
              <a:defRPr sz="1599"/>
            </a:lvl7pPr>
            <a:lvl8pPr marL="3199360" indent="0" algn="ctr">
              <a:buNone/>
              <a:defRPr sz="1599"/>
            </a:lvl8pPr>
            <a:lvl9pPr marL="3656411" indent="0" algn="ctr">
              <a:buNone/>
              <a:defRPr sz="1599"/>
            </a:lvl9pPr>
          </a:lstStyle>
          <a:p>
            <a:r>
              <a:rPr lang="en-US" dirty="0"/>
              <a:t>Click to add subtitle</a:t>
            </a:r>
          </a:p>
        </p:txBody>
      </p:sp>
      <p:grpSp>
        <p:nvGrpSpPr>
          <p:cNvPr id="8" name="Gruppieren 80">
            <a:extLst>
              <a:ext uri="{FF2B5EF4-FFF2-40B4-BE49-F238E27FC236}">
                <a16:creationId xmlns:a16="http://schemas.microsoft.com/office/drawing/2014/main" id="{6B969E7B-9C39-4443-9B02-74C1E7C5CCAC}"/>
              </a:ext>
            </a:extLst>
          </p:cNvPr>
          <p:cNvGrpSpPr/>
          <p:nvPr/>
        </p:nvGrpSpPr>
        <p:grpSpPr>
          <a:xfrm>
            <a:off x="3770066" y="2868319"/>
            <a:ext cx="171180" cy="171180"/>
            <a:chOff x="3392092" y="1841122"/>
            <a:chExt cx="646508" cy="646508"/>
          </a:xfrm>
        </p:grpSpPr>
        <p:sp>
          <p:nvSpPr>
            <p:cNvPr id="9" name="Rechteck 14">
              <a:extLst>
                <a:ext uri="{FF2B5EF4-FFF2-40B4-BE49-F238E27FC236}">
                  <a16:creationId xmlns:a16="http://schemas.microsoft.com/office/drawing/2014/main" id="{D78F58EA-5525-8D43-8295-FEA52ECF6BFA}"/>
                </a:ext>
              </a:extLst>
            </p:cNvPr>
            <p:cNvSpPr>
              <a:spLocks noChangeAspect="1"/>
            </p:cNvSpPr>
            <p:nvPr/>
          </p:nvSpPr>
          <p:spPr bwMode="gray">
            <a:xfrm>
              <a:off x="3392092" y="1841122"/>
              <a:ext cx="646508" cy="646508"/>
            </a:xfrm>
            <a:prstGeom prst="rect">
              <a:avLst/>
            </a:prstGeom>
            <a:solidFill>
              <a:srgbClr val="E55A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pPr>
              <a:endParaRPr lang="en-US" sz="1000" dirty="0">
                <a:solidFill>
                  <a:schemeClr val="tx1"/>
                </a:solidFill>
                <a:latin typeface="Arial" pitchFamily="34" charset="0"/>
                <a:cs typeface="Arial" pitchFamily="34" charset="0"/>
              </a:endParaRPr>
            </a:p>
          </p:txBody>
        </p:sp>
        <p:sp>
          <p:nvSpPr>
            <p:cNvPr id="10" name="Freeform 67">
              <a:extLst>
                <a:ext uri="{FF2B5EF4-FFF2-40B4-BE49-F238E27FC236}">
                  <a16:creationId xmlns:a16="http://schemas.microsoft.com/office/drawing/2014/main" id="{D01A6292-2776-4945-B828-483D79DC4908}"/>
                </a:ext>
              </a:extLst>
            </p:cNvPr>
            <p:cNvSpPr>
              <a:spLocks noChangeAspect="1"/>
            </p:cNvSpPr>
            <p:nvPr/>
          </p:nvSpPr>
          <p:spPr bwMode="auto">
            <a:xfrm>
              <a:off x="3546638" y="1970424"/>
              <a:ext cx="337415" cy="387905"/>
            </a:xfrm>
            <a:custGeom>
              <a:avLst/>
              <a:gdLst>
                <a:gd name="T0" fmla="*/ 573 w 1624"/>
                <a:gd name="T1" fmla="*/ 1257 h 1867"/>
                <a:gd name="T2" fmla="*/ 662 w 1624"/>
                <a:gd name="T3" fmla="*/ 1288 h 1867"/>
                <a:gd name="T4" fmla="*/ 938 w 1624"/>
                <a:gd name="T5" fmla="*/ 1051 h 1867"/>
                <a:gd name="T6" fmla="*/ 1106 w 1624"/>
                <a:gd name="T7" fmla="*/ 731 h 1867"/>
                <a:gd name="T8" fmla="*/ 1059 w 1624"/>
                <a:gd name="T9" fmla="*/ 645 h 1867"/>
                <a:gd name="T10" fmla="*/ 1001 w 1624"/>
                <a:gd name="T11" fmla="*/ 613 h 1867"/>
                <a:gd name="T12" fmla="*/ 924 w 1624"/>
                <a:gd name="T13" fmla="*/ 432 h 1867"/>
                <a:gd name="T14" fmla="*/ 1114 w 1624"/>
                <a:gd name="T15" fmla="*/ 81 h 1867"/>
                <a:gd name="T16" fmla="*/ 1287 w 1624"/>
                <a:gd name="T17" fmla="*/ 35 h 1867"/>
                <a:gd name="T18" fmla="*/ 1350 w 1624"/>
                <a:gd name="T19" fmla="*/ 69 h 1867"/>
                <a:gd name="T20" fmla="*/ 1527 w 1624"/>
                <a:gd name="T21" fmla="*/ 235 h 1867"/>
                <a:gd name="T22" fmla="*/ 1583 w 1624"/>
                <a:gd name="T23" fmla="*/ 555 h 1867"/>
                <a:gd name="T24" fmla="*/ 1172 w 1624"/>
                <a:gd name="T25" fmla="*/ 1253 h 1867"/>
                <a:gd name="T26" fmla="*/ 586 w 1624"/>
                <a:gd name="T27" fmla="*/ 1803 h 1867"/>
                <a:gd name="T28" fmla="*/ 269 w 1624"/>
                <a:gd name="T29" fmla="*/ 1807 h 1867"/>
                <a:gd name="T30" fmla="*/ 33 w 1624"/>
                <a:gd name="T31" fmla="*/ 1602 h 1867"/>
                <a:gd name="T32" fmla="*/ 2 w 1624"/>
                <a:gd name="T33" fmla="*/ 1508 h 1867"/>
                <a:gd name="T34" fmla="*/ 45 w 1624"/>
                <a:gd name="T35" fmla="*/ 1421 h 1867"/>
                <a:gd name="T36" fmla="*/ 346 w 1624"/>
                <a:gd name="T37" fmla="*/ 1158 h 1867"/>
                <a:gd name="T38" fmla="*/ 448 w 1624"/>
                <a:gd name="T39" fmla="*/ 1145 h 1867"/>
                <a:gd name="T40" fmla="*/ 573 w 1624"/>
                <a:gd name="T41" fmla="*/ 1257 h 18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24" h="1867">
                  <a:moveTo>
                    <a:pt x="573" y="1257"/>
                  </a:moveTo>
                  <a:cubicBezTo>
                    <a:pt x="592" y="1282"/>
                    <a:pt x="630" y="1303"/>
                    <a:pt x="662" y="1288"/>
                  </a:cubicBezTo>
                  <a:cubicBezTo>
                    <a:pt x="753" y="1245"/>
                    <a:pt x="854" y="1156"/>
                    <a:pt x="938" y="1051"/>
                  </a:cubicBezTo>
                  <a:cubicBezTo>
                    <a:pt x="1020" y="948"/>
                    <a:pt x="1084" y="831"/>
                    <a:pt x="1106" y="731"/>
                  </a:cubicBezTo>
                  <a:cubicBezTo>
                    <a:pt x="1113" y="696"/>
                    <a:pt x="1089" y="661"/>
                    <a:pt x="1059" y="645"/>
                  </a:cubicBezTo>
                  <a:cubicBezTo>
                    <a:pt x="1001" y="613"/>
                    <a:pt x="1001" y="613"/>
                    <a:pt x="1001" y="613"/>
                  </a:cubicBezTo>
                  <a:cubicBezTo>
                    <a:pt x="942" y="580"/>
                    <a:pt x="888" y="499"/>
                    <a:pt x="924" y="432"/>
                  </a:cubicBezTo>
                  <a:cubicBezTo>
                    <a:pt x="1114" y="81"/>
                    <a:pt x="1114" y="81"/>
                    <a:pt x="1114" y="81"/>
                  </a:cubicBezTo>
                  <a:cubicBezTo>
                    <a:pt x="1150" y="16"/>
                    <a:pt x="1224" y="0"/>
                    <a:pt x="1287" y="35"/>
                  </a:cubicBezTo>
                  <a:cubicBezTo>
                    <a:pt x="1350" y="69"/>
                    <a:pt x="1350" y="69"/>
                    <a:pt x="1350" y="69"/>
                  </a:cubicBezTo>
                  <a:cubicBezTo>
                    <a:pt x="1415" y="105"/>
                    <a:pt x="1479" y="165"/>
                    <a:pt x="1527" y="235"/>
                  </a:cubicBezTo>
                  <a:cubicBezTo>
                    <a:pt x="1593" y="332"/>
                    <a:pt x="1624" y="442"/>
                    <a:pt x="1583" y="555"/>
                  </a:cubicBezTo>
                  <a:cubicBezTo>
                    <a:pt x="1500" y="781"/>
                    <a:pt x="1351" y="1030"/>
                    <a:pt x="1172" y="1253"/>
                  </a:cubicBezTo>
                  <a:cubicBezTo>
                    <a:pt x="994" y="1477"/>
                    <a:pt x="786" y="1676"/>
                    <a:pt x="586" y="1803"/>
                  </a:cubicBezTo>
                  <a:cubicBezTo>
                    <a:pt x="486" y="1867"/>
                    <a:pt x="375" y="1856"/>
                    <a:pt x="269" y="1807"/>
                  </a:cubicBezTo>
                  <a:cubicBezTo>
                    <a:pt x="157" y="1755"/>
                    <a:pt x="106" y="1695"/>
                    <a:pt x="33" y="1602"/>
                  </a:cubicBezTo>
                  <a:cubicBezTo>
                    <a:pt x="11" y="1573"/>
                    <a:pt x="0" y="1540"/>
                    <a:pt x="2" y="1508"/>
                  </a:cubicBezTo>
                  <a:cubicBezTo>
                    <a:pt x="4" y="1475"/>
                    <a:pt x="18" y="1444"/>
                    <a:pt x="45" y="1421"/>
                  </a:cubicBezTo>
                  <a:cubicBezTo>
                    <a:pt x="70" y="1399"/>
                    <a:pt x="346" y="1158"/>
                    <a:pt x="346" y="1158"/>
                  </a:cubicBezTo>
                  <a:cubicBezTo>
                    <a:pt x="376" y="1134"/>
                    <a:pt x="413" y="1133"/>
                    <a:pt x="448" y="1145"/>
                  </a:cubicBezTo>
                  <a:cubicBezTo>
                    <a:pt x="510" y="1166"/>
                    <a:pt x="536" y="1210"/>
                    <a:pt x="573" y="1257"/>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350" dirty="0"/>
            </a:p>
          </p:txBody>
        </p:sp>
      </p:grpSp>
      <p:grpSp>
        <p:nvGrpSpPr>
          <p:cNvPr id="11" name="Group 3">
            <a:extLst>
              <a:ext uri="{FF2B5EF4-FFF2-40B4-BE49-F238E27FC236}">
                <a16:creationId xmlns:a16="http://schemas.microsoft.com/office/drawing/2014/main" id="{DED6A25A-5DE2-1441-8BA2-C68D3B4F9209}"/>
              </a:ext>
            </a:extLst>
          </p:cNvPr>
          <p:cNvGrpSpPr>
            <a:grpSpLocks noChangeAspect="1"/>
          </p:cNvGrpSpPr>
          <p:nvPr>
            <p:custDataLst>
              <p:tags r:id="rId1"/>
            </p:custDataLst>
          </p:nvPr>
        </p:nvGrpSpPr>
        <p:grpSpPr>
          <a:xfrm>
            <a:off x="3770067" y="3153207"/>
            <a:ext cx="171180" cy="171180"/>
            <a:chOff x="328396" y="5313940"/>
            <a:chExt cx="720000" cy="720000"/>
          </a:xfrm>
        </p:grpSpPr>
        <p:sp>
          <p:nvSpPr>
            <p:cNvPr id="12" name="Rectangle 4">
              <a:extLst>
                <a:ext uri="{FF2B5EF4-FFF2-40B4-BE49-F238E27FC236}">
                  <a16:creationId xmlns:a16="http://schemas.microsoft.com/office/drawing/2014/main" id="{5F49E67F-D4FA-9D48-96BC-59AE946ECD15}"/>
                </a:ext>
              </a:extLst>
            </p:cNvPr>
            <p:cNvSpPr/>
            <p:nvPr/>
          </p:nvSpPr>
          <p:spPr bwMode="gray">
            <a:xfrm>
              <a:off x="328396" y="5313940"/>
              <a:ext cx="720000" cy="720000"/>
            </a:xfrm>
            <a:prstGeom prst="rect">
              <a:avLst/>
            </a:prstGeom>
            <a:solidFill>
              <a:srgbClr val="E55A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pPr>
              <a:endParaRPr lang="en-US" sz="1000" dirty="0">
                <a:solidFill>
                  <a:schemeClr val="tx1"/>
                </a:solidFill>
                <a:latin typeface="Arial" pitchFamily="34" charset="0"/>
                <a:cs typeface="Arial" pitchFamily="34" charset="0"/>
              </a:endParaRPr>
            </a:p>
          </p:txBody>
        </p:sp>
        <p:sp>
          <p:nvSpPr>
            <p:cNvPr id="13" name="Freeform 76">
              <a:extLst>
                <a:ext uri="{FF2B5EF4-FFF2-40B4-BE49-F238E27FC236}">
                  <a16:creationId xmlns:a16="http://schemas.microsoft.com/office/drawing/2014/main" id="{187E70E6-AF3F-2549-908E-DF4BA61040AA}"/>
                </a:ext>
              </a:extLst>
            </p:cNvPr>
            <p:cNvSpPr>
              <a:spLocks noChangeAspect="1" noEditPoints="1"/>
            </p:cNvSpPr>
            <p:nvPr/>
          </p:nvSpPr>
          <p:spPr bwMode="auto">
            <a:xfrm>
              <a:off x="456202" y="5509222"/>
              <a:ext cx="504000" cy="329436"/>
            </a:xfrm>
            <a:custGeom>
              <a:avLst/>
              <a:gdLst>
                <a:gd name="T0" fmla="*/ 0 w 2080"/>
                <a:gd name="T1" fmla="*/ 65 h 1360"/>
                <a:gd name="T2" fmla="*/ 0 w 2080"/>
                <a:gd name="T3" fmla="*/ 0 h 1360"/>
                <a:gd name="T4" fmla="*/ 2080 w 2080"/>
                <a:gd name="T5" fmla="*/ 0 h 1360"/>
                <a:gd name="T6" fmla="*/ 2080 w 2080"/>
                <a:gd name="T7" fmla="*/ 65 h 1360"/>
                <a:gd name="T8" fmla="*/ 1089 w 2080"/>
                <a:gd name="T9" fmla="*/ 862 h 1360"/>
                <a:gd name="T10" fmla="*/ 991 w 2080"/>
                <a:gd name="T11" fmla="*/ 862 h 1360"/>
                <a:gd name="T12" fmla="*/ 0 w 2080"/>
                <a:gd name="T13" fmla="*/ 65 h 1360"/>
                <a:gd name="T14" fmla="*/ 1139 w 2080"/>
                <a:gd name="T15" fmla="*/ 924 h 1360"/>
                <a:gd name="T16" fmla="*/ 1282 w 2080"/>
                <a:gd name="T17" fmla="*/ 810 h 1360"/>
                <a:gd name="T18" fmla="*/ 2076 w 2080"/>
                <a:gd name="T19" fmla="*/ 1360 h 1360"/>
                <a:gd name="T20" fmla="*/ 4 w 2080"/>
                <a:gd name="T21" fmla="*/ 1360 h 1360"/>
                <a:gd name="T22" fmla="*/ 798 w 2080"/>
                <a:gd name="T23" fmla="*/ 810 h 1360"/>
                <a:gd name="T24" fmla="*/ 941 w 2080"/>
                <a:gd name="T25" fmla="*/ 924 h 1360"/>
                <a:gd name="T26" fmla="*/ 1139 w 2080"/>
                <a:gd name="T27" fmla="*/ 924 h 1360"/>
                <a:gd name="T28" fmla="*/ 2 w 2080"/>
                <a:gd name="T29" fmla="*/ 137 h 1360"/>
                <a:gd name="T30" fmla="*/ 42 w 2080"/>
                <a:gd name="T31" fmla="*/ 201 h 1360"/>
                <a:gd name="T32" fmla="*/ 734 w 2080"/>
                <a:gd name="T33" fmla="*/ 758 h 1360"/>
                <a:gd name="T34" fmla="*/ 0 w 2080"/>
                <a:gd name="T35" fmla="*/ 1266 h 1360"/>
                <a:gd name="T36" fmla="*/ 0 w 2080"/>
                <a:gd name="T37" fmla="*/ 135 h 1360"/>
                <a:gd name="T38" fmla="*/ 2 w 2080"/>
                <a:gd name="T39" fmla="*/ 137 h 1360"/>
                <a:gd name="T40" fmla="*/ 2080 w 2080"/>
                <a:gd name="T41" fmla="*/ 136 h 1360"/>
                <a:gd name="T42" fmla="*/ 2080 w 2080"/>
                <a:gd name="T43" fmla="*/ 1265 h 1360"/>
                <a:gd name="T44" fmla="*/ 1346 w 2080"/>
                <a:gd name="T45" fmla="*/ 758 h 1360"/>
                <a:gd name="T46" fmla="*/ 2038 w 2080"/>
                <a:gd name="T47" fmla="*/ 201 h 1360"/>
                <a:gd name="T48" fmla="*/ 2080 w 2080"/>
                <a:gd name="T49" fmla="*/ 136 h 1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080" h="1360">
                  <a:moveTo>
                    <a:pt x="0" y="65"/>
                  </a:moveTo>
                  <a:cubicBezTo>
                    <a:pt x="0" y="0"/>
                    <a:pt x="0" y="0"/>
                    <a:pt x="0" y="0"/>
                  </a:cubicBezTo>
                  <a:cubicBezTo>
                    <a:pt x="2080" y="0"/>
                    <a:pt x="2080" y="0"/>
                    <a:pt x="2080" y="0"/>
                  </a:cubicBezTo>
                  <a:cubicBezTo>
                    <a:pt x="2080" y="65"/>
                    <a:pt x="2080" y="65"/>
                    <a:pt x="2080" y="65"/>
                  </a:cubicBezTo>
                  <a:cubicBezTo>
                    <a:pt x="1089" y="862"/>
                    <a:pt x="1089" y="862"/>
                    <a:pt x="1089" y="862"/>
                  </a:cubicBezTo>
                  <a:cubicBezTo>
                    <a:pt x="1060" y="886"/>
                    <a:pt x="1020" y="886"/>
                    <a:pt x="991" y="862"/>
                  </a:cubicBezTo>
                  <a:lnTo>
                    <a:pt x="0" y="65"/>
                  </a:lnTo>
                  <a:close/>
                  <a:moveTo>
                    <a:pt x="1139" y="924"/>
                  </a:moveTo>
                  <a:cubicBezTo>
                    <a:pt x="1282" y="810"/>
                    <a:pt x="1282" y="810"/>
                    <a:pt x="1282" y="810"/>
                  </a:cubicBezTo>
                  <a:cubicBezTo>
                    <a:pt x="2076" y="1360"/>
                    <a:pt x="2076" y="1360"/>
                    <a:pt x="2076" y="1360"/>
                  </a:cubicBezTo>
                  <a:cubicBezTo>
                    <a:pt x="4" y="1360"/>
                    <a:pt x="4" y="1360"/>
                    <a:pt x="4" y="1360"/>
                  </a:cubicBezTo>
                  <a:cubicBezTo>
                    <a:pt x="798" y="810"/>
                    <a:pt x="798" y="810"/>
                    <a:pt x="798" y="810"/>
                  </a:cubicBezTo>
                  <a:cubicBezTo>
                    <a:pt x="941" y="924"/>
                    <a:pt x="941" y="924"/>
                    <a:pt x="941" y="924"/>
                  </a:cubicBezTo>
                  <a:cubicBezTo>
                    <a:pt x="1000" y="972"/>
                    <a:pt x="1080" y="972"/>
                    <a:pt x="1139" y="924"/>
                  </a:cubicBezTo>
                  <a:close/>
                  <a:moveTo>
                    <a:pt x="2" y="137"/>
                  </a:moveTo>
                  <a:cubicBezTo>
                    <a:pt x="8" y="163"/>
                    <a:pt x="22" y="185"/>
                    <a:pt x="42" y="201"/>
                  </a:cubicBezTo>
                  <a:cubicBezTo>
                    <a:pt x="734" y="758"/>
                    <a:pt x="734" y="758"/>
                    <a:pt x="734" y="758"/>
                  </a:cubicBezTo>
                  <a:cubicBezTo>
                    <a:pt x="0" y="1266"/>
                    <a:pt x="0" y="1266"/>
                    <a:pt x="0" y="1266"/>
                  </a:cubicBezTo>
                  <a:cubicBezTo>
                    <a:pt x="0" y="135"/>
                    <a:pt x="0" y="135"/>
                    <a:pt x="0" y="135"/>
                  </a:cubicBezTo>
                  <a:lnTo>
                    <a:pt x="2" y="137"/>
                  </a:lnTo>
                  <a:close/>
                  <a:moveTo>
                    <a:pt x="2080" y="136"/>
                  </a:moveTo>
                  <a:cubicBezTo>
                    <a:pt x="2080" y="1265"/>
                    <a:pt x="2080" y="1265"/>
                    <a:pt x="2080" y="1265"/>
                  </a:cubicBezTo>
                  <a:cubicBezTo>
                    <a:pt x="1346" y="758"/>
                    <a:pt x="1346" y="758"/>
                    <a:pt x="1346" y="758"/>
                  </a:cubicBezTo>
                  <a:cubicBezTo>
                    <a:pt x="2038" y="201"/>
                    <a:pt x="2038" y="201"/>
                    <a:pt x="2038" y="201"/>
                  </a:cubicBezTo>
                  <a:cubicBezTo>
                    <a:pt x="2060" y="182"/>
                    <a:pt x="2072" y="162"/>
                    <a:pt x="2080" y="13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000"/>
            </a:p>
          </p:txBody>
        </p:sp>
      </p:grpSp>
      <p:grpSp>
        <p:nvGrpSpPr>
          <p:cNvPr id="14" name="Gruppieren 2">
            <a:extLst>
              <a:ext uri="{FF2B5EF4-FFF2-40B4-BE49-F238E27FC236}">
                <a16:creationId xmlns:a16="http://schemas.microsoft.com/office/drawing/2014/main" id="{BE697CE9-EBDE-6B4A-BE70-582D92A8A831}"/>
              </a:ext>
            </a:extLst>
          </p:cNvPr>
          <p:cNvGrpSpPr/>
          <p:nvPr/>
        </p:nvGrpSpPr>
        <p:grpSpPr>
          <a:xfrm>
            <a:off x="8701918" y="2868319"/>
            <a:ext cx="171180" cy="171180"/>
            <a:chOff x="3392092" y="1841122"/>
            <a:chExt cx="646508" cy="646508"/>
          </a:xfrm>
        </p:grpSpPr>
        <p:sp>
          <p:nvSpPr>
            <p:cNvPr id="15" name="Rechteck 14">
              <a:extLst>
                <a:ext uri="{FF2B5EF4-FFF2-40B4-BE49-F238E27FC236}">
                  <a16:creationId xmlns:a16="http://schemas.microsoft.com/office/drawing/2014/main" id="{E142A731-19B7-C34D-9534-9E05108F895F}"/>
                </a:ext>
              </a:extLst>
            </p:cNvPr>
            <p:cNvSpPr>
              <a:spLocks noChangeAspect="1"/>
            </p:cNvSpPr>
            <p:nvPr/>
          </p:nvSpPr>
          <p:spPr bwMode="gray">
            <a:xfrm>
              <a:off x="3392092" y="1841122"/>
              <a:ext cx="646508" cy="646508"/>
            </a:xfrm>
            <a:prstGeom prst="rect">
              <a:avLst/>
            </a:prstGeom>
            <a:solidFill>
              <a:srgbClr val="E55A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pPr>
              <a:endParaRPr lang="en-US" sz="1000" dirty="0">
                <a:solidFill>
                  <a:schemeClr val="tx1"/>
                </a:solidFill>
                <a:latin typeface="Arial" pitchFamily="34" charset="0"/>
                <a:cs typeface="Arial" pitchFamily="34" charset="0"/>
              </a:endParaRPr>
            </a:p>
          </p:txBody>
        </p:sp>
        <p:sp>
          <p:nvSpPr>
            <p:cNvPr id="16" name="Freeform 15">
              <a:extLst>
                <a:ext uri="{FF2B5EF4-FFF2-40B4-BE49-F238E27FC236}">
                  <a16:creationId xmlns:a16="http://schemas.microsoft.com/office/drawing/2014/main" id="{F97E84AE-4AD9-4B44-9AA1-F797FC373809}"/>
                </a:ext>
              </a:extLst>
            </p:cNvPr>
            <p:cNvSpPr>
              <a:spLocks noChangeAspect="1"/>
            </p:cNvSpPr>
            <p:nvPr/>
          </p:nvSpPr>
          <p:spPr bwMode="auto">
            <a:xfrm>
              <a:off x="3546638" y="1970424"/>
              <a:ext cx="337415" cy="387905"/>
            </a:xfrm>
            <a:custGeom>
              <a:avLst/>
              <a:gdLst>
                <a:gd name="T0" fmla="*/ 573 w 1624"/>
                <a:gd name="T1" fmla="*/ 1257 h 1867"/>
                <a:gd name="T2" fmla="*/ 662 w 1624"/>
                <a:gd name="T3" fmla="*/ 1288 h 1867"/>
                <a:gd name="T4" fmla="*/ 938 w 1624"/>
                <a:gd name="T5" fmla="*/ 1051 h 1867"/>
                <a:gd name="T6" fmla="*/ 1106 w 1624"/>
                <a:gd name="T7" fmla="*/ 731 h 1867"/>
                <a:gd name="T8" fmla="*/ 1059 w 1624"/>
                <a:gd name="T9" fmla="*/ 645 h 1867"/>
                <a:gd name="T10" fmla="*/ 1001 w 1624"/>
                <a:gd name="T11" fmla="*/ 613 h 1867"/>
                <a:gd name="T12" fmla="*/ 924 w 1624"/>
                <a:gd name="T13" fmla="*/ 432 h 1867"/>
                <a:gd name="T14" fmla="*/ 1114 w 1624"/>
                <a:gd name="T15" fmla="*/ 81 h 1867"/>
                <a:gd name="T16" fmla="*/ 1287 w 1624"/>
                <a:gd name="T17" fmla="*/ 35 h 1867"/>
                <a:gd name="T18" fmla="*/ 1350 w 1624"/>
                <a:gd name="T19" fmla="*/ 69 h 1867"/>
                <a:gd name="T20" fmla="*/ 1527 w 1624"/>
                <a:gd name="T21" fmla="*/ 235 h 1867"/>
                <a:gd name="T22" fmla="*/ 1583 w 1624"/>
                <a:gd name="T23" fmla="*/ 555 h 1867"/>
                <a:gd name="T24" fmla="*/ 1172 w 1624"/>
                <a:gd name="T25" fmla="*/ 1253 h 1867"/>
                <a:gd name="T26" fmla="*/ 586 w 1624"/>
                <a:gd name="T27" fmla="*/ 1803 h 1867"/>
                <a:gd name="T28" fmla="*/ 269 w 1624"/>
                <a:gd name="T29" fmla="*/ 1807 h 1867"/>
                <a:gd name="T30" fmla="*/ 33 w 1624"/>
                <a:gd name="T31" fmla="*/ 1602 h 1867"/>
                <a:gd name="T32" fmla="*/ 2 w 1624"/>
                <a:gd name="T33" fmla="*/ 1508 h 1867"/>
                <a:gd name="T34" fmla="*/ 45 w 1624"/>
                <a:gd name="T35" fmla="*/ 1421 h 1867"/>
                <a:gd name="T36" fmla="*/ 346 w 1624"/>
                <a:gd name="T37" fmla="*/ 1158 h 1867"/>
                <a:gd name="T38" fmla="*/ 448 w 1624"/>
                <a:gd name="T39" fmla="*/ 1145 h 1867"/>
                <a:gd name="T40" fmla="*/ 573 w 1624"/>
                <a:gd name="T41" fmla="*/ 1257 h 18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24" h="1867">
                  <a:moveTo>
                    <a:pt x="573" y="1257"/>
                  </a:moveTo>
                  <a:cubicBezTo>
                    <a:pt x="592" y="1282"/>
                    <a:pt x="630" y="1303"/>
                    <a:pt x="662" y="1288"/>
                  </a:cubicBezTo>
                  <a:cubicBezTo>
                    <a:pt x="753" y="1245"/>
                    <a:pt x="854" y="1156"/>
                    <a:pt x="938" y="1051"/>
                  </a:cubicBezTo>
                  <a:cubicBezTo>
                    <a:pt x="1020" y="948"/>
                    <a:pt x="1084" y="831"/>
                    <a:pt x="1106" y="731"/>
                  </a:cubicBezTo>
                  <a:cubicBezTo>
                    <a:pt x="1113" y="696"/>
                    <a:pt x="1089" y="661"/>
                    <a:pt x="1059" y="645"/>
                  </a:cubicBezTo>
                  <a:cubicBezTo>
                    <a:pt x="1001" y="613"/>
                    <a:pt x="1001" y="613"/>
                    <a:pt x="1001" y="613"/>
                  </a:cubicBezTo>
                  <a:cubicBezTo>
                    <a:pt x="942" y="580"/>
                    <a:pt x="888" y="499"/>
                    <a:pt x="924" y="432"/>
                  </a:cubicBezTo>
                  <a:cubicBezTo>
                    <a:pt x="1114" y="81"/>
                    <a:pt x="1114" y="81"/>
                    <a:pt x="1114" y="81"/>
                  </a:cubicBezTo>
                  <a:cubicBezTo>
                    <a:pt x="1150" y="16"/>
                    <a:pt x="1224" y="0"/>
                    <a:pt x="1287" y="35"/>
                  </a:cubicBezTo>
                  <a:cubicBezTo>
                    <a:pt x="1350" y="69"/>
                    <a:pt x="1350" y="69"/>
                    <a:pt x="1350" y="69"/>
                  </a:cubicBezTo>
                  <a:cubicBezTo>
                    <a:pt x="1415" y="105"/>
                    <a:pt x="1479" y="165"/>
                    <a:pt x="1527" y="235"/>
                  </a:cubicBezTo>
                  <a:cubicBezTo>
                    <a:pt x="1593" y="332"/>
                    <a:pt x="1624" y="442"/>
                    <a:pt x="1583" y="555"/>
                  </a:cubicBezTo>
                  <a:cubicBezTo>
                    <a:pt x="1500" y="781"/>
                    <a:pt x="1351" y="1030"/>
                    <a:pt x="1172" y="1253"/>
                  </a:cubicBezTo>
                  <a:cubicBezTo>
                    <a:pt x="994" y="1477"/>
                    <a:pt x="786" y="1676"/>
                    <a:pt x="586" y="1803"/>
                  </a:cubicBezTo>
                  <a:cubicBezTo>
                    <a:pt x="486" y="1867"/>
                    <a:pt x="375" y="1856"/>
                    <a:pt x="269" y="1807"/>
                  </a:cubicBezTo>
                  <a:cubicBezTo>
                    <a:pt x="157" y="1755"/>
                    <a:pt x="106" y="1695"/>
                    <a:pt x="33" y="1602"/>
                  </a:cubicBezTo>
                  <a:cubicBezTo>
                    <a:pt x="11" y="1573"/>
                    <a:pt x="0" y="1540"/>
                    <a:pt x="2" y="1508"/>
                  </a:cubicBezTo>
                  <a:cubicBezTo>
                    <a:pt x="4" y="1475"/>
                    <a:pt x="18" y="1444"/>
                    <a:pt x="45" y="1421"/>
                  </a:cubicBezTo>
                  <a:cubicBezTo>
                    <a:pt x="70" y="1399"/>
                    <a:pt x="346" y="1158"/>
                    <a:pt x="346" y="1158"/>
                  </a:cubicBezTo>
                  <a:cubicBezTo>
                    <a:pt x="376" y="1134"/>
                    <a:pt x="413" y="1133"/>
                    <a:pt x="448" y="1145"/>
                  </a:cubicBezTo>
                  <a:cubicBezTo>
                    <a:pt x="510" y="1166"/>
                    <a:pt x="536" y="1210"/>
                    <a:pt x="573" y="1257"/>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350" dirty="0"/>
            </a:p>
          </p:txBody>
        </p:sp>
      </p:grpSp>
      <p:grpSp>
        <p:nvGrpSpPr>
          <p:cNvPr id="17" name="Group 3">
            <a:extLst>
              <a:ext uri="{FF2B5EF4-FFF2-40B4-BE49-F238E27FC236}">
                <a16:creationId xmlns:a16="http://schemas.microsoft.com/office/drawing/2014/main" id="{7104BADD-8CD1-6F4A-B894-869C3BDB3EEB}"/>
              </a:ext>
            </a:extLst>
          </p:cNvPr>
          <p:cNvGrpSpPr>
            <a:grpSpLocks noChangeAspect="1"/>
          </p:cNvGrpSpPr>
          <p:nvPr>
            <p:custDataLst>
              <p:tags r:id="rId2"/>
            </p:custDataLst>
          </p:nvPr>
        </p:nvGrpSpPr>
        <p:grpSpPr>
          <a:xfrm>
            <a:off x="8701919" y="3153207"/>
            <a:ext cx="171180" cy="171180"/>
            <a:chOff x="328396" y="5313940"/>
            <a:chExt cx="720000" cy="720000"/>
          </a:xfrm>
        </p:grpSpPr>
        <p:sp>
          <p:nvSpPr>
            <p:cNvPr id="18" name="Rectangle 4">
              <a:extLst>
                <a:ext uri="{FF2B5EF4-FFF2-40B4-BE49-F238E27FC236}">
                  <a16:creationId xmlns:a16="http://schemas.microsoft.com/office/drawing/2014/main" id="{74BE3D5F-1445-6E40-8B49-72E15568383B}"/>
                </a:ext>
              </a:extLst>
            </p:cNvPr>
            <p:cNvSpPr/>
            <p:nvPr/>
          </p:nvSpPr>
          <p:spPr bwMode="gray">
            <a:xfrm>
              <a:off x="328396" y="5313940"/>
              <a:ext cx="720000" cy="720000"/>
            </a:xfrm>
            <a:prstGeom prst="rect">
              <a:avLst/>
            </a:prstGeom>
            <a:solidFill>
              <a:srgbClr val="E55A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pPr>
              <a:endParaRPr lang="en-US" sz="1000" dirty="0">
                <a:solidFill>
                  <a:schemeClr val="tx1"/>
                </a:solidFill>
                <a:latin typeface="Arial" pitchFamily="34" charset="0"/>
                <a:cs typeface="Arial" pitchFamily="34" charset="0"/>
              </a:endParaRPr>
            </a:p>
          </p:txBody>
        </p:sp>
        <p:sp>
          <p:nvSpPr>
            <p:cNvPr id="19" name="Freeform 76">
              <a:extLst>
                <a:ext uri="{FF2B5EF4-FFF2-40B4-BE49-F238E27FC236}">
                  <a16:creationId xmlns:a16="http://schemas.microsoft.com/office/drawing/2014/main" id="{55DB3C95-7D0C-D141-901E-96D692794D2B}"/>
                </a:ext>
              </a:extLst>
            </p:cNvPr>
            <p:cNvSpPr>
              <a:spLocks noChangeAspect="1" noEditPoints="1"/>
            </p:cNvSpPr>
            <p:nvPr/>
          </p:nvSpPr>
          <p:spPr bwMode="auto">
            <a:xfrm>
              <a:off x="456202" y="5509222"/>
              <a:ext cx="504000" cy="329436"/>
            </a:xfrm>
            <a:custGeom>
              <a:avLst/>
              <a:gdLst>
                <a:gd name="T0" fmla="*/ 0 w 2080"/>
                <a:gd name="T1" fmla="*/ 65 h 1360"/>
                <a:gd name="T2" fmla="*/ 0 w 2080"/>
                <a:gd name="T3" fmla="*/ 0 h 1360"/>
                <a:gd name="T4" fmla="*/ 2080 w 2080"/>
                <a:gd name="T5" fmla="*/ 0 h 1360"/>
                <a:gd name="T6" fmla="*/ 2080 w 2080"/>
                <a:gd name="T7" fmla="*/ 65 h 1360"/>
                <a:gd name="T8" fmla="*/ 1089 w 2080"/>
                <a:gd name="T9" fmla="*/ 862 h 1360"/>
                <a:gd name="T10" fmla="*/ 991 w 2080"/>
                <a:gd name="T11" fmla="*/ 862 h 1360"/>
                <a:gd name="T12" fmla="*/ 0 w 2080"/>
                <a:gd name="T13" fmla="*/ 65 h 1360"/>
                <a:gd name="T14" fmla="*/ 1139 w 2080"/>
                <a:gd name="T15" fmla="*/ 924 h 1360"/>
                <a:gd name="T16" fmla="*/ 1282 w 2080"/>
                <a:gd name="T17" fmla="*/ 810 h 1360"/>
                <a:gd name="T18" fmla="*/ 2076 w 2080"/>
                <a:gd name="T19" fmla="*/ 1360 h 1360"/>
                <a:gd name="T20" fmla="*/ 4 w 2080"/>
                <a:gd name="T21" fmla="*/ 1360 h 1360"/>
                <a:gd name="T22" fmla="*/ 798 w 2080"/>
                <a:gd name="T23" fmla="*/ 810 h 1360"/>
                <a:gd name="T24" fmla="*/ 941 w 2080"/>
                <a:gd name="T25" fmla="*/ 924 h 1360"/>
                <a:gd name="T26" fmla="*/ 1139 w 2080"/>
                <a:gd name="T27" fmla="*/ 924 h 1360"/>
                <a:gd name="T28" fmla="*/ 2 w 2080"/>
                <a:gd name="T29" fmla="*/ 137 h 1360"/>
                <a:gd name="T30" fmla="*/ 42 w 2080"/>
                <a:gd name="T31" fmla="*/ 201 h 1360"/>
                <a:gd name="T32" fmla="*/ 734 w 2080"/>
                <a:gd name="T33" fmla="*/ 758 h 1360"/>
                <a:gd name="T34" fmla="*/ 0 w 2080"/>
                <a:gd name="T35" fmla="*/ 1266 h 1360"/>
                <a:gd name="T36" fmla="*/ 0 w 2080"/>
                <a:gd name="T37" fmla="*/ 135 h 1360"/>
                <a:gd name="T38" fmla="*/ 2 w 2080"/>
                <a:gd name="T39" fmla="*/ 137 h 1360"/>
                <a:gd name="T40" fmla="*/ 2080 w 2080"/>
                <a:gd name="T41" fmla="*/ 136 h 1360"/>
                <a:gd name="T42" fmla="*/ 2080 w 2080"/>
                <a:gd name="T43" fmla="*/ 1265 h 1360"/>
                <a:gd name="T44" fmla="*/ 1346 w 2080"/>
                <a:gd name="T45" fmla="*/ 758 h 1360"/>
                <a:gd name="T46" fmla="*/ 2038 w 2080"/>
                <a:gd name="T47" fmla="*/ 201 h 1360"/>
                <a:gd name="T48" fmla="*/ 2080 w 2080"/>
                <a:gd name="T49" fmla="*/ 136 h 1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080" h="1360">
                  <a:moveTo>
                    <a:pt x="0" y="65"/>
                  </a:moveTo>
                  <a:cubicBezTo>
                    <a:pt x="0" y="0"/>
                    <a:pt x="0" y="0"/>
                    <a:pt x="0" y="0"/>
                  </a:cubicBezTo>
                  <a:cubicBezTo>
                    <a:pt x="2080" y="0"/>
                    <a:pt x="2080" y="0"/>
                    <a:pt x="2080" y="0"/>
                  </a:cubicBezTo>
                  <a:cubicBezTo>
                    <a:pt x="2080" y="65"/>
                    <a:pt x="2080" y="65"/>
                    <a:pt x="2080" y="65"/>
                  </a:cubicBezTo>
                  <a:cubicBezTo>
                    <a:pt x="1089" y="862"/>
                    <a:pt x="1089" y="862"/>
                    <a:pt x="1089" y="862"/>
                  </a:cubicBezTo>
                  <a:cubicBezTo>
                    <a:pt x="1060" y="886"/>
                    <a:pt x="1020" y="886"/>
                    <a:pt x="991" y="862"/>
                  </a:cubicBezTo>
                  <a:lnTo>
                    <a:pt x="0" y="65"/>
                  </a:lnTo>
                  <a:close/>
                  <a:moveTo>
                    <a:pt x="1139" y="924"/>
                  </a:moveTo>
                  <a:cubicBezTo>
                    <a:pt x="1282" y="810"/>
                    <a:pt x="1282" y="810"/>
                    <a:pt x="1282" y="810"/>
                  </a:cubicBezTo>
                  <a:cubicBezTo>
                    <a:pt x="2076" y="1360"/>
                    <a:pt x="2076" y="1360"/>
                    <a:pt x="2076" y="1360"/>
                  </a:cubicBezTo>
                  <a:cubicBezTo>
                    <a:pt x="4" y="1360"/>
                    <a:pt x="4" y="1360"/>
                    <a:pt x="4" y="1360"/>
                  </a:cubicBezTo>
                  <a:cubicBezTo>
                    <a:pt x="798" y="810"/>
                    <a:pt x="798" y="810"/>
                    <a:pt x="798" y="810"/>
                  </a:cubicBezTo>
                  <a:cubicBezTo>
                    <a:pt x="941" y="924"/>
                    <a:pt x="941" y="924"/>
                    <a:pt x="941" y="924"/>
                  </a:cubicBezTo>
                  <a:cubicBezTo>
                    <a:pt x="1000" y="972"/>
                    <a:pt x="1080" y="972"/>
                    <a:pt x="1139" y="924"/>
                  </a:cubicBezTo>
                  <a:close/>
                  <a:moveTo>
                    <a:pt x="2" y="137"/>
                  </a:moveTo>
                  <a:cubicBezTo>
                    <a:pt x="8" y="163"/>
                    <a:pt x="22" y="185"/>
                    <a:pt x="42" y="201"/>
                  </a:cubicBezTo>
                  <a:cubicBezTo>
                    <a:pt x="734" y="758"/>
                    <a:pt x="734" y="758"/>
                    <a:pt x="734" y="758"/>
                  </a:cubicBezTo>
                  <a:cubicBezTo>
                    <a:pt x="0" y="1266"/>
                    <a:pt x="0" y="1266"/>
                    <a:pt x="0" y="1266"/>
                  </a:cubicBezTo>
                  <a:cubicBezTo>
                    <a:pt x="0" y="135"/>
                    <a:pt x="0" y="135"/>
                    <a:pt x="0" y="135"/>
                  </a:cubicBezTo>
                  <a:lnTo>
                    <a:pt x="2" y="137"/>
                  </a:lnTo>
                  <a:close/>
                  <a:moveTo>
                    <a:pt x="2080" y="136"/>
                  </a:moveTo>
                  <a:cubicBezTo>
                    <a:pt x="2080" y="1265"/>
                    <a:pt x="2080" y="1265"/>
                    <a:pt x="2080" y="1265"/>
                  </a:cubicBezTo>
                  <a:cubicBezTo>
                    <a:pt x="1346" y="758"/>
                    <a:pt x="1346" y="758"/>
                    <a:pt x="1346" y="758"/>
                  </a:cubicBezTo>
                  <a:cubicBezTo>
                    <a:pt x="2038" y="201"/>
                    <a:pt x="2038" y="201"/>
                    <a:pt x="2038" y="201"/>
                  </a:cubicBezTo>
                  <a:cubicBezTo>
                    <a:pt x="2060" y="182"/>
                    <a:pt x="2072" y="162"/>
                    <a:pt x="2080" y="13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000"/>
            </a:p>
          </p:txBody>
        </p:sp>
      </p:grpSp>
      <p:cxnSp>
        <p:nvCxnSpPr>
          <p:cNvPr id="20" name="Straight Connector 19"/>
          <p:cNvCxnSpPr/>
          <p:nvPr/>
        </p:nvCxnSpPr>
        <p:spPr>
          <a:xfrm>
            <a:off x="2371725" y="3478213"/>
            <a:ext cx="3888000" cy="0"/>
          </a:xfrm>
          <a:prstGeom prst="line">
            <a:avLst/>
          </a:prstGeom>
          <a:ln w="6350">
            <a:solidFill>
              <a:schemeClr val="tx2"/>
            </a:solidFill>
            <a:prstDash val="dash"/>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p:nvCxnSpPr>
        <p:spPr>
          <a:xfrm>
            <a:off x="7287767" y="3478213"/>
            <a:ext cx="3888000" cy="0"/>
          </a:xfrm>
          <a:prstGeom prst="line">
            <a:avLst/>
          </a:prstGeom>
          <a:ln w="6350">
            <a:solidFill>
              <a:schemeClr val="tx2"/>
            </a:solidFill>
            <a:prstDash val="dash"/>
          </a:ln>
        </p:spPr>
        <p:style>
          <a:lnRef idx="1">
            <a:schemeClr val="accent1"/>
          </a:lnRef>
          <a:fillRef idx="0">
            <a:schemeClr val="accent1"/>
          </a:fillRef>
          <a:effectRef idx="0">
            <a:schemeClr val="accent1"/>
          </a:effectRef>
          <a:fontRef idx="minor">
            <a:schemeClr val="tx1"/>
          </a:fontRef>
        </p:style>
      </p:cxnSp>
      <p:sp>
        <p:nvSpPr>
          <p:cNvPr id="4" name="Picture Placeholder 3"/>
          <p:cNvSpPr>
            <a:spLocks noGrp="1"/>
          </p:cNvSpPr>
          <p:nvPr>
            <p:ph type="pic" sz="quarter" idx="17" hasCustomPrompt="1"/>
          </p:nvPr>
        </p:nvSpPr>
        <p:spPr>
          <a:xfrm>
            <a:off x="2355915" y="1808984"/>
            <a:ext cx="1188677" cy="1547839"/>
          </a:xfrm>
          <a:solidFill>
            <a:srgbClr val="D9DADB"/>
          </a:solidFill>
        </p:spPr>
        <p:txBody>
          <a:bodyPr/>
          <a:lstStyle>
            <a:lvl1pPr marL="0" indent="0">
              <a:buNone/>
              <a:defRPr sz="1400"/>
            </a:lvl1pPr>
          </a:lstStyle>
          <a:p>
            <a:r>
              <a:rPr lang="en-US" dirty="0"/>
              <a:t>Insert picture</a:t>
            </a:r>
          </a:p>
        </p:txBody>
      </p:sp>
      <p:sp>
        <p:nvSpPr>
          <p:cNvPr id="25" name="Picture Placeholder 3"/>
          <p:cNvSpPr>
            <a:spLocks noGrp="1"/>
          </p:cNvSpPr>
          <p:nvPr>
            <p:ph type="pic" sz="quarter" idx="18" hasCustomPrompt="1"/>
          </p:nvPr>
        </p:nvSpPr>
        <p:spPr>
          <a:xfrm>
            <a:off x="7287767" y="1808984"/>
            <a:ext cx="1188677" cy="1547839"/>
          </a:xfrm>
          <a:solidFill>
            <a:srgbClr val="D9DADB"/>
          </a:solidFill>
        </p:spPr>
        <p:txBody>
          <a:bodyPr/>
          <a:lstStyle>
            <a:lvl1pPr marL="0" indent="0">
              <a:buNone/>
              <a:defRPr sz="1400"/>
            </a:lvl1pPr>
          </a:lstStyle>
          <a:p>
            <a:r>
              <a:rPr lang="en-US" dirty="0"/>
              <a:t>Insert picture</a:t>
            </a:r>
          </a:p>
        </p:txBody>
      </p:sp>
      <p:sp>
        <p:nvSpPr>
          <p:cNvPr id="6" name="Text Placeholder 5"/>
          <p:cNvSpPr>
            <a:spLocks noGrp="1"/>
          </p:cNvSpPr>
          <p:nvPr>
            <p:ph type="body" sz="quarter" idx="19" hasCustomPrompt="1"/>
          </p:nvPr>
        </p:nvSpPr>
        <p:spPr>
          <a:xfrm>
            <a:off x="3770066" y="1808521"/>
            <a:ext cx="2463191" cy="192361"/>
          </a:xfrm>
        </p:spPr>
        <p:txBody>
          <a:bodyPr lIns="0" tIns="0" rIns="0" bIns="0" anchor="ctr" anchorCtr="0"/>
          <a:lstStyle>
            <a:lvl1pPr marL="0" indent="0" algn="l">
              <a:lnSpc>
                <a:spcPct val="100000"/>
              </a:lnSpc>
              <a:buNone/>
              <a:defRPr sz="100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Country</a:t>
            </a:r>
          </a:p>
        </p:txBody>
      </p:sp>
      <p:sp>
        <p:nvSpPr>
          <p:cNvPr id="26" name="Text Placeholder 5"/>
          <p:cNvSpPr>
            <a:spLocks noGrp="1"/>
          </p:cNvSpPr>
          <p:nvPr>
            <p:ph type="body" sz="quarter" idx="20" hasCustomPrompt="1"/>
          </p:nvPr>
        </p:nvSpPr>
        <p:spPr>
          <a:xfrm>
            <a:off x="3770066" y="2020337"/>
            <a:ext cx="2463191" cy="266182"/>
          </a:xfrm>
        </p:spPr>
        <p:txBody>
          <a:bodyPr lIns="0" tIns="0" rIns="0" bIns="0" anchor="b" anchorCtr="0"/>
          <a:lstStyle>
            <a:lvl1pPr marL="0" indent="0" algn="l">
              <a:lnSpc>
                <a:spcPct val="100000"/>
              </a:lnSpc>
              <a:buNone/>
              <a:defRPr sz="1400" b="1" baseline="0">
                <a:solidFill>
                  <a:schemeClr val="tx2"/>
                </a:solidFill>
              </a:defRPr>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Name, Surname</a:t>
            </a:r>
          </a:p>
        </p:txBody>
      </p:sp>
      <p:sp>
        <p:nvSpPr>
          <p:cNvPr id="27" name="Text Placeholder 5"/>
          <p:cNvSpPr>
            <a:spLocks noGrp="1"/>
          </p:cNvSpPr>
          <p:nvPr>
            <p:ph type="body" sz="quarter" idx="21" hasCustomPrompt="1"/>
          </p:nvPr>
        </p:nvSpPr>
        <p:spPr>
          <a:xfrm>
            <a:off x="3770066" y="2316912"/>
            <a:ext cx="2463191" cy="192361"/>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Job Position</a:t>
            </a:r>
          </a:p>
        </p:txBody>
      </p:sp>
      <p:sp>
        <p:nvSpPr>
          <p:cNvPr id="28" name="Text Placeholder 5"/>
          <p:cNvSpPr>
            <a:spLocks noGrp="1"/>
          </p:cNvSpPr>
          <p:nvPr>
            <p:ph type="body" sz="quarter" idx="22" hasCustomPrompt="1"/>
          </p:nvPr>
        </p:nvSpPr>
        <p:spPr>
          <a:xfrm>
            <a:off x="4014949" y="2845589"/>
            <a:ext cx="2218307" cy="192361"/>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Phone number</a:t>
            </a:r>
          </a:p>
        </p:txBody>
      </p:sp>
      <p:sp>
        <p:nvSpPr>
          <p:cNvPr id="29" name="Text Placeholder 5"/>
          <p:cNvSpPr>
            <a:spLocks noGrp="1"/>
          </p:cNvSpPr>
          <p:nvPr>
            <p:ph type="body" sz="quarter" idx="23" hasCustomPrompt="1"/>
          </p:nvPr>
        </p:nvSpPr>
        <p:spPr>
          <a:xfrm>
            <a:off x="4014949" y="3128395"/>
            <a:ext cx="2218307" cy="192361"/>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Email address</a:t>
            </a:r>
          </a:p>
        </p:txBody>
      </p:sp>
      <p:sp>
        <p:nvSpPr>
          <p:cNvPr id="30" name="Text Placeholder 5"/>
          <p:cNvSpPr>
            <a:spLocks noGrp="1"/>
          </p:cNvSpPr>
          <p:nvPr>
            <p:ph type="body" sz="quarter" idx="24" hasCustomPrompt="1"/>
          </p:nvPr>
        </p:nvSpPr>
        <p:spPr>
          <a:xfrm>
            <a:off x="8701918" y="1808521"/>
            <a:ext cx="2463191" cy="192361"/>
          </a:xfrm>
        </p:spPr>
        <p:txBody>
          <a:bodyPr lIns="0" tIns="0" rIns="0" bIns="0" anchor="ctr" anchorCtr="0"/>
          <a:lstStyle>
            <a:lvl1pPr marL="0" indent="0" algn="l">
              <a:lnSpc>
                <a:spcPct val="100000"/>
              </a:lnSpc>
              <a:buNone/>
              <a:defRPr sz="100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Country</a:t>
            </a:r>
          </a:p>
        </p:txBody>
      </p:sp>
      <p:sp>
        <p:nvSpPr>
          <p:cNvPr id="31" name="Text Placeholder 5"/>
          <p:cNvSpPr>
            <a:spLocks noGrp="1"/>
          </p:cNvSpPr>
          <p:nvPr>
            <p:ph type="body" sz="quarter" idx="25" hasCustomPrompt="1"/>
          </p:nvPr>
        </p:nvSpPr>
        <p:spPr>
          <a:xfrm>
            <a:off x="8701918" y="2020337"/>
            <a:ext cx="2463191" cy="266182"/>
          </a:xfrm>
        </p:spPr>
        <p:txBody>
          <a:bodyPr lIns="0" tIns="0" rIns="0" bIns="0" anchor="b" anchorCtr="0"/>
          <a:lstStyle>
            <a:lvl1pPr marL="0" indent="0" algn="l">
              <a:lnSpc>
                <a:spcPct val="100000"/>
              </a:lnSpc>
              <a:buNone/>
              <a:defRPr sz="1400" b="1" baseline="0">
                <a:solidFill>
                  <a:schemeClr val="tx2"/>
                </a:solidFill>
              </a:defRPr>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Name, Surname</a:t>
            </a:r>
          </a:p>
        </p:txBody>
      </p:sp>
      <p:sp>
        <p:nvSpPr>
          <p:cNvPr id="32" name="Text Placeholder 5"/>
          <p:cNvSpPr>
            <a:spLocks noGrp="1"/>
          </p:cNvSpPr>
          <p:nvPr>
            <p:ph type="body" sz="quarter" idx="26" hasCustomPrompt="1"/>
          </p:nvPr>
        </p:nvSpPr>
        <p:spPr>
          <a:xfrm>
            <a:off x="8701918" y="2316912"/>
            <a:ext cx="2463191" cy="192361"/>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Job Position</a:t>
            </a:r>
          </a:p>
        </p:txBody>
      </p:sp>
      <p:sp>
        <p:nvSpPr>
          <p:cNvPr id="33" name="Text Placeholder 5"/>
          <p:cNvSpPr>
            <a:spLocks noGrp="1"/>
          </p:cNvSpPr>
          <p:nvPr>
            <p:ph type="body" sz="quarter" idx="27" hasCustomPrompt="1"/>
          </p:nvPr>
        </p:nvSpPr>
        <p:spPr>
          <a:xfrm>
            <a:off x="8946801" y="2845589"/>
            <a:ext cx="2218307" cy="192361"/>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Phone number</a:t>
            </a:r>
          </a:p>
        </p:txBody>
      </p:sp>
      <p:sp>
        <p:nvSpPr>
          <p:cNvPr id="34" name="Text Placeholder 5"/>
          <p:cNvSpPr>
            <a:spLocks noGrp="1"/>
          </p:cNvSpPr>
          <p:nvPr>
            <p:ph type="body" sz="quarter" idx="28" hasCustomPrompt="1"/>
          </p:nvPr>
        </p:nvSpPr>
        <p:spPr>
          <a:xfrm>
            <a:off x="8946801" y="3128395"/>
            <a:ext cx="2218307" cy="192361"/>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Email address</a:t>
            </a:r>
          </a:p>
        </p:txBody>
      </p:sp>
      <p:grpSp>
        <p:nvGrpSpPr>
          <p:cNvPr id="35" name="Gruppieren 2">
            <a:extLst>
              <a:ext uri="{FF2B5EF4-FFF2-40B4-BE49-F238E27FC236}">
                <a16:creationId xmlns:a16="http://schemas.microsoft.com/office/drawing/2014/main" id="{BE697CE9-EBDE-6B4A-BE70-582D92A8A831}"/>
              </a:ext>
            </a:extLst>
          </p:cNvPr>
          <p:cNvGrpSpPr/>
          <p:nvPr/>
        </p:nvGrpSpPr>
        <p:grpSpPr>
          <a:xfrm>
            <a:off x="3770066" y="5045939"/>
            <a:ext cx="171180" cy="171180"/>
            <a:chOff x="3392092" y="1841122"/>
            <a:chExt cx="646508" cy="646508"/>
          </a:xfrm>
        </p:grpSpPr>
        <p:sp>
          <p:nvSpPr>
            <p:cNvPr id="36" name="Rechteck 14">
              <a:extLst>
                <a:ext uri="{FF2B5EF4-FFF2-40B4-BE49-F238E27FC236}">
                  <a16:creationId xmlns:a16="http://schemas.microsoft.com/office/drawing/2014/main" id="{E142A731-19B7-C34D-9534-9E05108F895F}"/>
                </a:ext>
              </a:extLst>
            </p:cNvPr>
            <p:cNvSpPr>
              <a:spLocks noChangeAspect="1"/>
            </p:cNvSpPr>
            <p:nvPr/>
          </p:nvSpPr>
          <p:spPr bwMode="gray">
            <a:xfrm>
              <a:off x="3392092" y="1841122"/>
              <a:ext cx="646508" cy="646508"/>
            </a:xfrm>
            <a:prstGeom prst="rect">
              <a:avLst/>
            </a:prstGeom>
            <a:solidFill>
              <a:srgbClr val="E55A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pPr>
              <a:endParaRPr lang="en-US" sz="1000" dirty="0">
                <a:solidFill>
                  <a:schemeClr val="tx1"/>
                </a:solidFill>
                <a:latin typeface="Arial" pitchFamily="34" charset="0"/>
                <a:cs typeface="Arial" pitchFamily="34" charset="0"/>
              </a:endParaRPr>
            </a:p>
          </p:txBody>
        </p:sp>
        <p:sp>
          <p:nvSpPr>
            <p:cNvPr id="37" name="Freeform 36">
              <a:extLst>
                <a:ext uri="{FF2B5EF4-FFF2-40B4-BE49-F238E27FC236}">
                  <a16:creationId xmlns:a16="http://schemas.microsoft.com/office/drawing/2014/main" id="{F97E84AE-4AD9-4B44-9AA1-F797FC373809}"/>
                </a:ext>
              </a:extLst>
            </p:cNvPr>
            <p:cNvSpPr>
              <a:spLocks noChangeAspect="1"/>
            </p:cNvSpPr>
            <p:nvPr/>
          </p:nvSpPr>
          <p:spPr bwMode="auto">
            <a:xfrm>
              <a:off x="3546638" y="1970424"/>
              <a:ext cx="337415" cy="387905"/>
            </a:xfrm>
            <a:custGeom>
              <a:avLst/>
              <a:gdLst>
                <a:gd name="T0" fmla="*/ 573 w 1624"/>
                <a:gd name="T1" fmla="*/ 1257 h 1867"/>
                <a:gd name="T2" fmla="*/ 662 w 1624"/>
                <a:gd name="T3" fmla="*/ 1288 h 1867"/>
                <a:gd name="T4" fmla="*/ 938 w 1624"/>
                <a:gd name="T5" fmla="*/ 1051 h 1867"/>
                <a:gd name="T6" fmla="*/ 1106 w 1624"/>
                <a:gd name="T7" fmla="*/ 731 h 1867"/>
                <a:gd name="T8" fmla="*/ 1059 w 1624"/>
                <a:gd name="T9" fmla="*/ 645 h 1867"/>
                <a:gd name="T10" fmla="*/ 1001 w 1624"/>
                <a:gd name="T11" fmla="*/ 613 h 1867"/>
                <a:gd name="T12" fmla="*/ 924 w 1624"/>
                <a:gd name="T13" fmla="*/ 432 h 1867"/>
                <a:gd name="T14" fmla="*/ 1114 w 1624"/>
                <a:gd name="T15" fmla="*/ 81 h 1867"/>
                <a:gd name="T16" fmla="*/ 1287 w 1624"/>
                <a:gd name="T17" fmla="*/ 35 h 1867"/>
                <a:gd name="T18" fmla="*/ 1350 w 1624"/>
                <a:gd name="T19" fmla="*/ 69 h 1867"/>
                <a:gd name="T20" fmla="*/ 1527 w 1624"/>
                <a:gd name="T21" fmla="*/ 235 h 1867"/>
                <a:gd name="T22" fmla="*/ 1583 w 1624"/>
                <a:gd name="T23" fmla="*/ 555 h 1867"/>
                <a:gd name="T24" fmla="*/ 1172 w 1624"/>
                <a:gd name="T25" fmla="*/ 1253 h 1867"/>
                <a:gd name="T26" fmla="*/ 586 w 1624"/>
                <a:gd name="T27" fmla="*/ 1803 h 1867"/>
                <a:gd name="T28" fmla="*/ 269 w 1624"/>
                <a:gd name="T29" fmla="*/ 1807 h 1867"/>
                <a:gd name="T30" fmla="*/ 33 w 1624"/>
                <a:gd name="T31" fmla="*/ 1602 h 1867"/>
                <a:gd name="T32" fmla="*/ 2 w 1624"/>
                <a:gd name="T33" fmla="*/ 1508 h 1867"/>
                <a:gd name="T34" fmla="*/ 45 w 1624"/>
                <a:gd name="T35" fmla="*/ 1421 h 1867"/>
                <a:gd name="T36" fmla="*/ 346 w 1624"/>
                <a:gd name="T37" fmla="*/ 1158 h 1867"/>
                <a:gd name="T38" fmla="*/ 448 w 1624"/>
                <a:gd name="T39" fmla="*/ 1145 h 1867"/>
                <a:gd name="T40" fmla="*/ 573 w 1624"/>
                <a:gd name="T41" fmla="*/ 1257 h 18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24" h="1867">
                  <a:moveTo>
                    <a:pt x="573" y="1257"/>
                  </a:moveTo>
                  <a:cubicBezTo>
                    <a:pt x="592" y="1282"/>
                    <a:pt x="630" y="1303"/>
                    <a:pt x="662" y="1288"/>
                  </a:cubicBezTo>
                  <a:cubicBezTo>
                    <a:pt x="753" y="1245"/>
                    <a:pt x="854" y="1156"/>
                    <a:pt x="938" y="1051"/>
                  </a:cubicBezTo>
                  <a:cubicBezTo>
                    <a:pt x="1020" y="948"/>
                    <a:pt x="1084" y="831"/>
                    <a:pt x="1106" y="731"/>
                  </a:cubicBezTo>
                  <a:cubicBezTo>
                    <a:pt x="1113" y="696"/>
                    <a:pt x="1089" y="661"/>
                    <a:pt x="1059" y="645"/>
                  </a:cubicBezTo>
                  <a:cubicBezTo>
                    <a:pt x="1001" y="613"/>
                    <a:pt x="1001" y="613"/>
                    <a:pt x="1001" y="613"/>
                  </a:cubicBezTo>
                  <a:cubicBezTo>
                    <a:pt x="942" y="580"/>
                    <a:pt x="888" y="499"/>
                    <a:pt x="924" y="432"/>
                  </a:cubicBezTo>
                  <a:cubicBezTo>
                    <a:pt x="1114" y="81"/>
                    <a:pt x="1114" y="81"/>
                    <a:pt x="1114" y="81"/>
                  </a:cubicBezTo>
                  <a:cubicBezTo>
                    <a:pt x="1150" y="16"/>
                    <a:pt x="1224" y="0"/>
                    <a:pt x="1287" y="35"/>
                  </a:cubicBezTo>
                  <a:cubicBezTo>
                    <a:pt x="1350" y="69"/>
                    <a:pt x="1350" y="69"/>
                    <a:pt x="1350" y="69"/>
                  </a:cubicBezTo>
                  <a:cubicBezTo>
                    <a:pt x="1415" y="105"/>
                    <a:pt x="1479" y="165"/>
                    <a:pt x="1527" y="235"/>
                  </a:cubicBezTo>
                  <a:cubicBezTo>
                    <a:pt x="1593" y="332"/>
                    <a:pt x="1624" y="442"/>
                    <a:pt x="1583" y="555"/>
                  </a:cubicBezTo>
                  <a:cubicBezTo>
                    <a:pt x="1500" y="781"/>
                    <a:pt x="1351" y="1030"/>
                    <a:pt x="1172" y="1253"/>
                  </a:cubicBezTo>
                  <a:cubicBezTo>
                    <a:pt x="994" y="1477"/>
                    <a:pt x="786" y="1676"/>
                    <a:pt x="586" y="1803"/>
                  </a:cubicBezTo>
                  <a:cubicBezTo>
                    <a:pt x="486" y="1867"/>
                    <a:pt x="375" y="1856"/>
                    <a:pt x="269" y="1807"/>
                  </a:cubicBezTo>
                  <a:cubicBezTo>
                    <a:pt x="157" y="1755"/>
                    <a:pt x="106" y="1695"/>
                    <a:pt x="33" y="1602"/>
                  </a:cubicBezTo>
                  <a:cubicBezTo>
                    <a:pt x="11" y="1573"/>
                    <a:pt x="0" y="1540"/>
                    <a:pt x="2" y="1508"/>
                  </a:cubicBezTo>
                  <a:cubicBezTo>
                    <a:pt x="4" y="1475"/>
                    <a:pt x="18" y="1444"/>
                    <a:pt x="45" y="1421"/>
                  </a:cubicBezTo>
                  <a:cubicBezTo>
                    <a:pt x="70" y="1399"/>
                    <a:pt x="346" y="1158"/>
                    <a:pt x="346" y="1158"/>
                  </a:cubicBezTo>
                  <a:cubicBezTo>
                    <a:pt x="376" y="1134"/>
                    <a:pt x="413" y="1133"/>
                    <a:pt x="448" y="1145"/>
                  </a:cubicBezTo>
                  <a:cubicBezTo>
                    <a:pt x="510" y="1166"/>
                    <a:pt x="536" y="1210"/>
                    <a:pt x="573" y="1257"/>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350" dirty="0"/>
            </a:p>
          </p:txBody>
        </p:sp>
      </p:grpSp>
      <p:grpSp>
        <p:nvGrpSpPr>
          <p:cNvPr id="38" name="Group 3">
            <a:extLst>
              <a:ext uri="{FF2B5EF4-FFF2-40B4-BE49-F238E27FC236}">
                <a16:creationId xmlns:a16="http://schemas.microsoft.com/office/drawing/2014/main" id="{7104BADD-8CD1-6F4A-B894-869C3BDB3EEB}"/>
              </a:ext>
            </a:extLst>
          </p:cNvPr>
          <p:cNvGrpSpPr>
            <a:grpSpLocks noChangeAspect="1"/>
          </p:cNvGrpSpPr>
          <p:nvPr>
            <p:custDataLst>
              <p:tags r:id="rId3"/>
            </p:custDataLst>
          </p:nvPr>
        </p:nvGrpSpPr>
        <p:grpSpPr>
          <a:xfrm>
            <a:off x="3770067" y="5330827"/>
            <a:ext cx="171180" cy="171180"/>
            <a:chOff x="328396" y="5313940"/>
            <a:chExt cx="720000" cy="720000"/>
          </a:xfrm>
        </p:grpSpPr>
        <p:sp>
          <p:nvSpPr>
            <p:cNvPr id="39" name="Rectangle 4">
              <a:extLst>
                <a:ext uri="{FF2B5EF4-FFF2-40B4-BE49-F238E27FC236}">
                  <a16:creationId xmlns:a16="http://schemas.microsoft.com/office/drawing/2014/main" id="{74BE3D5F-1445-6E40-8B49-72E15568383B}"/>
                </a:ext>
              </a:extLst>
            </p:cNvPr>
            <p:cNvSpPr/>
            <p:nvPr/>
          </p:nvSpPr>
          <p:spPr bwMode="gray">
            <a:xfrm>
              <a:off x="328396" y="5313940"/>
              <a:ext cx="720000" cy="720000"/>
            </a:xfrm>
            <a:prstGeom prst="rect">
              <a:avLst/>
            </a:prstGeom>
            <a:solidFill>
              <a:srgbClr val="E55A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pPr>
              <a:endParaRPr lang="en-US" sz="1000" dirty="0">
                <a:solidFill>
                  <a:schemeClr val="tx1"/>
                </a:solidFill>
                <a:latin typeface="Arial" pitchFamily="34" charset="0"/>
                <a:cs typeface="Arial" pitchFamily="34" charset="0"/>
              </a:endParaRPr>
            </a:p>
          </p:txBody>
        </p:sp>
        <p:sp>
          <p:nvSpPr>
            <p:cNvPr id="40" name="Freeform 76">
              <a:extLst>
                <a:ext uri="{FF2B5EF4-FFF2-40B4-BE49-F238E27FC236}">
                  <a16:creationId xmlns:a16="http://schemas.microsoft.com/office/drawing/2014/main" id="{55DB3C95-7D0C-D141-901E-96D692794D2B}"/>
                </a:ext>
              </a:extLst>
            </p:cNvPr>
            <p:cNvSpPr>
              <a:spLocks noChangeAspect="1" noEditPoints="1"/>
            </p:cNvSpPr>
            <p:nvPr/>
          </p:nvSpPr>
          <p:spPr bwMode="auto">
            <a:xfrm>
              <a:off x="456202" y="5509222"/>
              <a:ext cx="504000" cy="329436"/>
            </a:xfrm>
            <a:custGeom>
              <a:avLst/>
              <a:gdLst>
                <a:gd name="T0" fmla="*/ 0 w 2080"/>
                <a:gd name="T1" fmla="*/ 65 h 1360"/>
                <a:gd name="T2" fmla="*/ 0 w 2080"/>
                <a:gd name="T3" fmla="*/ 0 h 1360"/>
                <a:gd name="T4" fmla="*/ 2080 w 2080"/>
                <a:gd name="T5" fmla="*/ 0 h 1360"/>
                <a:gd name="T6" fmla="*/ 2080 w 2080"/>
                <a:gd name="T7" fmla="*/ 65 h 1360"/>
                <a:gd name="T8" fmla="*/ 1089 w 2080"/>
                <a:gd name="T9" fmla="*/ 862 h 1360"/>
                <a:gd name="T10" fmla="*/ 991 w 2080"/>
                <a:gd name="T11" fmla="*/ 862 h 1360"/>
                <a:gd name="T12" fmla="*/ 0 w 2080"/>
                <a:gd name="T13" fmla="*/ 65 h 1360"/>
                <a:gd name="T14" fmla="*/ 1139 w 2080"/>
                <a:gd name="T15" fmla="*/ 924 h 1360"/>
                <a:gd name="T16" fmla="*/ 1282 w 2080"/>
                <a:gd name="T17" fmla="*/ 810 h 1360"/>
                <a:gd name="T18" fmla="*/ 2076 w 2080"/>
                <a:gd name="T19" fmla="*/ 1360 h 1360"/>
                <a:gd name="T20" fmla="*/ 4 w 2080"/>
                <a:gd name="T21" fmla="*/ 1360 h 1360"/>
                <a:gd name="T22" fmla="*/ 798 w 2080"/>
                <a:gd name="T23" fmla="*/ 810 h 1360"/>
                <a:gd name="T24" fmla="*/ 941 w 2080"/>
                <a:gd name="T25" fmla="*/ 924 h 1360"/>
                <a:gd name="T26" fmla="*/ 1139 w 2080"/>
                <a:gd name="T27" fmla="*/ 924 h 1360"/>
                <a:gd name="T28" fmla="*/ 2 w 2080"/>
                <a:gd name="T29" fmla="*/ 137 h 1360"/>
                <a:gd name="T30" fmla="*/ 42 w 2080"/>
                <a:gd name="T31" fmla="*/ 201 h 1360"/>
                <a:gd name="T32" fmla="*/ 734 w 2080"/>
                <a:gd name="T33" fmla="*/ 758 h 1360"/>
                <a:gd name="T34" fmla="*/ 0 w 2080"/>
                <a:gd name="T35" fmla="*/ 1266 h 1360"/>
                <a:gd name="T36" fmla="*/ 0 w 2080"/>
                <a:gd name="T37" fmla="*/ 135 h 1360"/>
                <a:gd name="T38" fmla="*/ 2 w 2080"/>
                <a:gd name="T39" fmla="*/ 137 h 1360"/>
                <a:gd name="T40" fmla="*/ 2080 w 2080"/>
                <a:gd name="T41" fmla="*/ 136 h 1360"/>
                <a:gd name="T42" fmla="*/ 2080 w 2080"/>
                <a:gd name="T43" fmla="*/ 1265 h 1360"/>
                <a:gd name="T44" fmla="*/ 1346 w 2080"/>
                <a:gd name="T45" fmla="*/ 758 h 1360"/>
                <a:gd name="T46" fmla="*/ 2038 w 2080"/>
                <a:gd name="T47" fmla="*/ 201 h 1360"/>
                <a:gd name="T48" fmla="*/ 2080 w 2080"/>
                <a:gd name="T49" fmla="*/ 136 h 1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080" h="1360">
                  <a:moveTo>
                    <a:pt x="0" y="65"/>
                  </a:moveTo>
                  <a:cubicBezTo>
                    <a:pt x="0" y="0"/>
                    <a:pt x="0" y="0"/>
                    <a:pt x="0" y="0"/>
                  </a:cubicBezTo>
                  <a:cubicBezTo>
                    <a:pt x="2080" y="0"/>
                    <a:pt x="2080" y="0"/>
                    <a:pt x="2080" y="0"/>
                  </a:cubicBezTo>
                  <a:cubicBezTo>
                    <a:pt x="2080" y="65"/>
                    <a:pt x="2080" y="65"/>
                    <a:pt x="2080" y="65"/>
                  </a:cubicBezTo>
                  <a:cubicBezTo>
                    <a:pt x="1089" y="862"/>
                    <a:pt x="1089" y="862"/>
                    <a:pt x="1089" y="862"/>
                  </a:cubicBezTo>
                  <a:cubicBezTo>
                    <a:pt x="1060" y="886"/>
                    <a:pt x="1020" y="886"/>
                    <a:pt x="991" y="862"/>
                  </a:cubicBezTo>
                  <a:lnTo>
                    <a:pt x="0" y="65"/>
                  </a:lnTo>
                  <a:close/>
                  <a:moveTo>
                    <a:pt x="1139" y="924"/>
                  </a:moveTo>
                  <a:cubicBezTo>
                    <a:pt x="1282" y="810"/>
                    <a:pt x="1282" y="810"/>
                    <a:pt x="1282" y="810"/>
                  </a:cubicBezTo>
                  <a:cubicBezTo>
                    <a:pt x="2076" y="1360"/>
                    <a:pt x="2076" y="1360"/>
                    <a:pt x="2076" y="1360"/>
                  </a:cubicBezTo>
                  <a:cubicBezTo>
                    <a:pt x="4" y="1360"/>
                    <a:pt x="4" y="1360"/>
                    <a:pt x="4" y="1360"/>
                  </a:cubicBezTo>
                  <a:cubicBezTo>
                    <a:pt x="798" y="810"/>
                    <a:pt x="798" y="810"/>
                    <a:pt x="798" y="810"/>
                  </a:cubicBezTo>
                  <a:cubicBezTo>
                    <a:pt x="941" y="924"/>
                    <a:pt x="941" y="924"/>
                    <a:pt x="941" y="924"/>
                  </a:cubicBezTo>
                  <a:cubicBezTo>
                    <a:pt x="1000" y="972"/>
                    <a:pt x="1080" y="972"/>
                    <a:pt x="1139" y="924"/>
                  </a:cubicBezTo>
                  <a:close/>
                  <a:moveTo>
                    <a:pt x="2" y="137"/>
                  </a:moveTo>
                  <a:cubicBezTo>
                    <a:pt x="8" y="163"/>
                    <a:pt x="22" y="185"/>
                    <a:pt x="42" y="201"/>
                  </a:cubicBezTo>
                  <a:cubicBezTo>
                    <a:pt x="734" y="758"/>
                    <a:pt x="734" y="758"/>
                    <a:pt x="734" y="758"/>
                  </a:cubicBezTo>
                  <a:cubicBezTo>
                    <a:pt x="0" y="1266"/>
                    <a:pt x="0" y="1266"/>
                    <a:pt x="0" y="1266"/>
                  </a:cubicBezTo>
                  <a:cubicBezTo>
                    <a:pt x="0" y="135"/>
                    <a:pt x="0" y="135"/>
                    <a:pt x="0" y="135"/>
                  </a:cubicBezTo>
                  <a:lnTo>
                    <a:pt x="2" y="137"/>
                  </a:lnTo>
                  <a:close/>
                  <a:moveTo>
                    <a:pt x="2080" y="136"/>
                  </a:moveTo>
                  <a:cubicBezTo>
                    <a:pt x="2080" y="1265"/>
                    <a:pt x="2080" y="1265"/>
                    <a:pt x="2080" y="1265"/>
                  </a:cubicBezTo>
                  <a:cubicBezTo>
                    <a:pt x="1346" y="758"/>
                    <a:pt x="1346" y="758"/>
                    <a:pt x="1346" y="758"/>
                  </a:cubicBezTo>
                  <a:cubicBezTo>
                    <a:pt x="2038" y="201"/>
                    <a:pt x="2038" y="201"/>
                    <a:pt x="2038" y="201"/>
                  </a:cubicBezTo>
                  <a:cubicBezTo>
                    <a:pt x="2060" y="182"/>
                    <a:pt x="2072" y="162"/>
                    <a:pt x="2080" y="13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000"/>
            </a:p>
          </p:txBody>
        </p:sp>
      </p:grpSp>
      <p:cxnSp>
        <p:nvCxnSpPr>
          <p:cNvPr id="41" name="Straight Connector 40"/>
          <p:cNvCxnSpPr/>
          <p:nvPr/>
        </p:nvCxnSpPr>
        <p:spPr>
          <a:xfrm>
            <a:off x="2355915" y="5655832"/>
            <a:ext cx="3888000" cy="0"/>
          </a:xfrm>
          <a:prstGeom prst="line">
            <a:avLst/>
          </a:prstGeom>
          <a:ln w="6350">
            <a:solidFill>
              <a:schemeClr val="tx2"/>
            </a:solidFill>
            <a:prstDash val="dash"/>
          </a:ln>
        </p:spPr>
        <p:style>
          <a:lnRef idx="1">
            <a:schemeClr val="accent1"/>
          </a:lnRef>
          <a:fillRef idx="0">
            <a:schemeClr val="accent1"/>
          </a:fillRef>
          <a:effectRef idx="0">
            <a:schemeClr val="accent1"/>
          </a:effectRef>
          <a:fontRef idx="minor">
            <a:schemeClr val="tx1"/>
          </a:fontRef>
        </p:style>
      </p:cxnSp>
      <p:sp>
        <p:nvSpPr>
          <p:cNvPr id="42" name="Picture Placeholder 3"/>
          <p:cNvSpPr>
            <a:spLocks noGrp="1"/>
          </p:cNvSpPr>
          <p:nvPr>
            <p:ph type="pic" sz="quarter" idx="29" hasCustomPrompt="1"/>
          </p:nvPr>
        </p:nvSpPr>
        <p:spPr>
          <a:xfrm>
            <a:off x="2355915" y="3986604"/>
            <a:ext cx="1188677" cy="1547839"/>
          </a:xfrm>
          <a:solidFill>
            <a:srgbClr val="D9DADB"/>
          </a:solidFill>
        </p:spPr>
        <p:txBody>
          <a:bodyPr/>
          <a:lstStyle>
            <a:lvl1pPr marL="0" indent="0">
              <a:buNone/>
              <a:defRPr sz="1400"/>
            </a:lvl1pPr>
          </a:lstStyle>
          <a:p>
            <a:r>
              <a:rPr lang="en-US" dirty="0"/>
              <a:t>Insert picture</a:t>
            </a:r>
          </a:p>
        </p:txBody>
      </p:sp>
      <p:sp>
        <p:nvSpPr>
          <p:cNvPr id="43" name="Text Placeholder 5"/>
          <p:cNvSpPr>
            <a:spLocks noGrp="1"/>
          </p:cNvSpPr>
          <p:nvPr>
            <p:ph type="body" sz="quarter" idx="30" hasCustomPrompt="1"/>
          </p:nvPr>
        </p:nvSpPr>
        <p:spPr>
          <a:xfrm>
            <a:off x="3770066" y="3986142"/>
            <a:ext cx="2463191" cy="192361"/>
          </a:xfrm>
        </p:spPr>
        <p:txBody>
          <a:bodyPr lIns="0" tIns="0" rIns="0" bIns="0" anchor="ctr" anchorCtr="0"/>
          <a:lstStyle>
            <a:lvl1pPr marL="0" indent="0" algn="l">
              <a:lnSpc>
                <a:spcPct val="100000"/>
              </a:lnSpc>
              <a:buNone/>
              <a:defRPr sz="100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Country</a:t>
            </a:r>
          </a:p>
        </p:txBody>
      </p:sp>
      <p:sp>
        <p:nvSpPr>
          <p:cNvPr id="44" name="Text Placeholder 5"/>
          <p:cNvSpPr>
            <a:spLocks noGrp="1"/>
          </p:cNvSpPr>
          <p:nvPr>
            <p:ph type="body" sz="quarter" idx="31" hasCustomPrompt="1"/>
          </p:nvPr>
        </p:nvSpPr>
        <p:spPr>
          <a:xfrm>
            <a:off x="3770066" y="4197957"/>
            <a:ext cx="2463191" cy="266182"/>
          </a:xfrm>
        </p:spPr>
        <p:txBody>
          <a:bodyPr lIns="0" tIns="0" rIns="0" bIns="0" anchor="b" anchorCtr="0"/>
          <a:lstStyle>
            <a:lvl1pPr marL="0" indent="0" algn="l">
              <a:lnSpc>
                <a:spcPct val="100000"/>
              </a:lnSpc>
              <a:buNone/>
              <a:defRPr sz="1400" b="1" baseline="0">
                <a:solidFill>
                  <a:schemeClr val="tx2"/>
                </a:solidFill>
              </a:defRPr>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Name, Surname</a:t>
            </a:r>
          </a:p>
        </p:txBody>
      </p:sp>
      <p:sp>
        <p:nvSpPr>
          <p:cNvPr id="45" name="Text Placeholder 5"/>
          <p:cNvSpPr>
            <a:spLocks noGrp="1"/>
          </p:cNvSpPr>
          <p:nvPr>
            <p:ph type="body" sz="quarter" idx="32" hasCustomPrompt="1"/>
          </p:nvPr>
        </p:nvSpPr>
        <p:spPr>
          <a:xfrm>
            <a:off x="3770066" y="4494532"/>
            <a:ext cx="2463191" cy="192361"/>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Job Position</a:t>
            </a:r>
          </a:p>
        </p:txBody>
      </p:sp>
      <p:sp>
        <p:nvSpPr>
          <p:cNvPr id="46" name="Text Placeholder 5"/>
          <p:cNvSpPr>
            <a:spLocks noGrp="1"/>
          </p:cNvSpPr>
          <p:nvPr>
            <p:ph type="body" sz="quarter" idx="33" hasCustomPrompt="1"/>
          </p:nvPr>
        </p:nvSpPr>
        <p:spPr>
          <a:xfrm>
            <a:off x="4014949" y="5023208"/>
            <a:ext cx="2218307" cy="192361"/>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Phone number</a:t>
            </a:r>
          </a:p>
        </p:txBody>
      </p:sp>
      <p:sp>
        <p:nvSpPr>
          <p:cNvPr id="47" name="Text Placeholder 5"/>
          <p:cNvSpPr>
            <a:spLocks noGrp="1"/>
          </p:cNvSpPr>
          <p:nvPr>
            <p:ph type="body" sz="quarter" idx="34" hasCustomPrompt="1"/>
          </p:nvPr>
        </p:nvSpPr>
        <p:spPr>
          <a:xfrm>
            <a:off x="4014949" y="5306016"/>
            <a:ext cx="2218307" cy="192361"/>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Email address</a:t>
            </a:r>
          </a:p>
        </p:txBody>
      </p:sp>
      <p:grpSp>
        <p:nvGrpSpPr>
          <p:cNvPr id="48" name="Gruppieren 2">
            <a:extLst>
              <a:ext uri="{FF2B5EF4-FFF2-40B4-BE49-F238E27FC236}">
                <a16:creationId xmlns:a16="http://schemas.microsoft.com/office/drawing/2014/main" id="{BE697CE9-EBDE-6B4A-BE70-582D92A8A831}"/>
              </a:ext>
            </a:extLst>
          </p:cNvPr>
          <p:cNvGrpSpPr/>
          <p:nvPr/>
        </p:nvGrpSpPr>
        <p:grpSpPr>
          <a:xfrm>
            <a:off x="8701918" y="5043529"/>
            <a:ext cx="171180" cy="171180"/>
            <a:chOff x="3392092" y="1841122"/>
            <a:chExt cx="646508" cy="646508"/>
          </a:xfrm>
        </p:grpSpPr>
        <p:sp>
          <p:nvSpPr>
            <p:cNvPr id="49" name="Rechteck 14">
              <a:extLst>
                <a:ext uri="{FF2B5EF4-FFF2-40B4-BE49-F238E27FC236}">
                  <a16:creationId xmlns:a16="http://schemas.microsoft.com/office/drawing/2014/main" id="{E142A731-19B7-C34D-9534-9E05108F895F}"/>
                </a:ext>
              </a:extLst>
            </p:cNvPr>
            <p:cNvSpPr>
              <a:spLocks noChangeAspect="1"/>
            </p:cNvSpPr>
            <p:nvPr/>
          </p:nvSpPr>
          <p:spPr bwMode="gray">
            <a:xfrm>
              <a:off x="3392092" y="1841122"/>
              <a:ext cx="646508" cy="646508"/>
            </a:xfrm>
            <a:prstGeom prst="rect">
              <a:avLst/>
            </a:prstGeom>
            <a:solidFill>
              <a:srgbClr val="E55A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pPr>
              <a:endParaRPr lang="en-US" sz="1000" dirty="0">
                <a:solidFill>
                  <a:schemeClr val="tx1"/>
                </a:solidFill>
                <a:latin typeface="Arial" pitchFamily="34" charset="0"/>
                <a:cs typeface="Arial" pitchFamily="34" charset="0"/>
              </a:endParaRPr>
            </a:p>
          </p:txBody>
        </p:sp>
        <p:sp>
          <p:nvSpPr>
            <p:cNvPr id="50" name="Freeform 49">
              <a:extLst>
                <a:ext uri="{FF2B5EF4-FFF2-40B4-BE49-F238E27FC236}">
                  <a16:creationId xmlns:a16="http://schemas.microsoft.com/office/drawing/2014/main" id="{F97E84AE-4AD9-4B44-9AA1-F797FC373809}"/>
                </a:ext>
              </a:extLst>
            </p:cNvPr>
            <p:cNvSpPr>
              <a:spLocks noChangeAspect="1"/>
            </p:cNvSpPr>
            <p:nvPr/>
          </p:nvSpPr>
          <p:spPr bwMode="auto">
            <a:xfrm>
              <a:off x="3546638" y="1970424"/>
              <a:ext cx="337415" cy="387905"/>
            </a:xfrm>
            <a:custGeom>
              <a:avLst/>
              <a:gdLst>
                <a:gd name="T0" fmla="*/ 573 w 1624"/>
                <a:gd name="T1" fmla="*/ 1257 h 1867"/>
                <a:gd name="T2" fmla="*/ 662 w 1624"/>
                <a:gd name="T3" fmla="*/ 1288 h 1867"/>
                <a:gd name="T4" fmla="*/ 938 w 1624"/>
                <a:gd name="T5" fmla="*/ 1051 h 1867"/>
                <a:gd name="T6" fmla="*/ 1106 w 1624"/>
                <a:gd name="T7" fmla="*/ 731 h 1867"/>
                <a:gd name="T8" fmla="*/ 1059 w 1624"/>
                <a:gd name="T9" fmla="*/ 645 h 1867"/>
                <a:gd name="T10" fmla="*/ 1001 w 1624"/>
                <a:gd name="T11" fmla="*/ 613 h 1867"/>
                <a:gd name="T12" fmla="*/ 924 w 1624"/>
                <a:gd name="T13" fmla="*/ 432 h 1867"/>
                <a:gd name="T14" fmla="*/ 1114 w 1624"/>
                <a:gd name="T15" fmla="*/ 81 h 1867"/>
                <a:gd name="T16" fmla="*/ 1287 w 1624"/>
                <a:gd name="T17" fmla="*/ 35 h 1867"/>
                <a:gd name="T18" fmla="*/ 1350 w 1624"/>
                <a:gd name="T19" fmla="*/ 69 h 1867"/>
                <a:gd name="T20" fmla="*/ 1527 w 1624"/>
                <a:gd name="T21" fmla="*/ 235 h 1867"/>
                <a:gd name="T22" fmla="*/ 1583 w 1624"/>
                <a:gd name="T23" fmla="*/ 555 h 1867"/>
                <a:gd name="T24" fmla="*/ 1172 w 1624"/>
                <a:gd name="T25" fmla="*/ 1253 h 1867"/>
                <a:gd name="T26" fmla="*/ 586 w 1624"/>
                <a:gd name="T27" fmla="*/ 1803 h 1867"/>
                <a:gd name="T28" fmla="*/ 269 w 1624"/>
                <a:gd name="T29" fmla="*/ 1807 h 1867"/>
                <a:gd name="T30" fmla="*/ 33 w 1624"/>
                <a:gd name="T31" fmla="*/ 1602 h 1867"/>
                <a:gd name="T32" fmla="*/ 2 w 1624"/>
                <a:gd name="T33" fmla="*/ 1508 h 1867"/>
                <a:gd name="T34" fmla="*/ 45 w 1624"/>
                <a:gd name="T35" fmla="*/ 1421 h 1867"/>
                <a:gd name="T36" fmla="*/ 346 w 1624"/>
                <a:gd name="T37" fmla="*/ 1158 h 1867"/>
                <a:gd name="T38" fmla="*/ 448 w 1624"/>
                <a:gd name="T39" fmla="*/ 1145 h 1867"/>
                <a:gd name="T40" fmla="*/ 573 w 1624"/>
                <a:gd name="T41" fmla="*/ 1257 h 18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24" h="1867">
                  <a:moveTo>
                    <a:pt x="573" y="1257"/>
                  </a:moveTo>
                  <a:cubicBezTo>
                    <a:pt x="592" y="1282"/>
                    <a:pt x="630" y="1303"/>
                    <a:pt x="662" y="1288"/>
                  </a:cubicBezTo>
                  <a:cubicBezTo>
                    <a:pt x="753" y="1245"/>
                    <a:pt x="854" y="1156"/>
                    <a:pt x="938" y="1051"/>
                  </a:cubicBezTo>
                  <a:cubicBezTo>
                    <a:pt x="1020" y="948"/>
                    <a:pt x="1084" y="831"/>
                    <a:pt x="1106" y="731"/>
                  </a:cubicBezTo>
                  <a:cubicBezTo>
                    <a:pt x="1113" y="696"/>
                    <a:pt x="1089" y="661"/>
                    <a:pt x="1059" y="645"/>
                  </a:cubicBezTo>
                  <a:cubicBezTo>
                    <a:pt x="1001" y="613"/>
                    <a:pt x="1001" y="613"/>
                    <a:pt x="1001" y="613"/>
                  </a:cubicBezTo>
                  <a:cubicBezTo>
                    <a:pt x="942" y="580"/>
                    <a:pt x="888" y="499"/>
                    <a:pt x="924" y="432"/>
                  </a:cubicBezTo>
                  <a:cubicBezTo>
                    <a:pt x="1114" y="81"/>
                    <a:pt x="1114" y="81"/>
                    <a:pt x="1114" y="81"/>
                  </a:cubicBezTo>
                  <a:cubicBezTo>
                    <a:pt x="1150" y="16"/>
                    <a:pt x="1224" y="0"/>
                    <a:pt x="1287" y="35"/>
                  </a:cubicBezTo>
                  <a:cubicBezTo>
                    <a:pt x="1350" y="69"/>
                    <a:pt x="1350" y="69"/>
                    <a:pt x="1350" y="69"/>
                  </a:cubicBezTo>
                  <a:cubicBezTo>
                    <a:pt x="1415" y="105"/>
                    <a:pt x="1479" y="165"/>
                    <a:pt x="1527" y="235"/>
                  </a:cubicBezTo>
                  <a:cubicBezTo>
                    <a:pt x="1593" y="332"/>
                    <a:pt x="1624" y="442"/>
                    <a:pt x="1583" y="555"/>
                  </a:cubicBezTo>
                  <a:cubicBezTo>
                    <a:pt x="1500" y="781"/>
                    <a:pt x="1351" y="1030"/>
                    <a:pt x="1172" y="1253"/>
                  </a:cubicBezTo>
                  <a:cubicBezTo>
                    <a:pt x="994" y="1477"/>
                    <a:pt x="786" y="1676"/>
                    <a:pt x="586" y="1803"/>
                  </a:cubicBezTo>
                  <a:cubicBezTo>
                    <a:pt x="486" y="1867"/>
                    <a:pt x="375" y="1856"/>
                    <a:pt x="269" y="1807"/>
                  </a:cubicBezTo>
                  <a:cubicBezTo>
                    <a:pt x="157" y="1755"/>
                    <a:pt x="106" y="1695"/>
                    <a:pt x="33" y="1602"/>
                  </a:cubicBezTo>
                  <a:cubicBezTo>
                    <a:pt x="11" y="1573"/>
                    <a:pt x="0" y="1540"/>
                    <a:pt x="2" y="1508"/>
                  </a:cubicBezTo>
                  <a:cubicBezTo>
                    <a:pt x="4" y="1475"/>
                    <a:pt x="18" y="1444"/>
                    <a:pt x="45" y="1421"/>
                  </a:cubicBezTo>
                  <a:cubicBezTo>
                    <a:pt x="70" y="1399"/>
                    <a:pt x="346" y="1158"/>
                    <a:pt x="346" y="1158"/>
                  </a:cubicBezTo>
                  <a:cubicBezTo>
                    <a:pt x="376" y="1134"/>
                    <a:pt x="413" y="1133"/>
                    <a:pt x="448" y="1145"/>
                  </a:cubicBezTo>
                  <a:cubicBezTo>
                    <a:pt x="510" y="1166"/>
                    <a:pt x="536" y="1210"/>
                    <a:pt x="573" y="1257"/>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350" dirty="0"/>
            </a:p>
          </p:txBody>
        </p:sp>
      </p:grpSp>
      <p:grpSp>
        <p:nvGrpSpPr>
          <p:cNvPr id="51" name="Group 3">
            <a:extLst>
              <a:ext uri="{FF2B5EF4-FFF2-40B4-BE49-F238E27FC236}">
                <a16:creationId xmlns:a16="http://schemas.microsoft.com/office/drawing/2014/main" id="{7104BADD-8CD1-6F4A-B894-869C3BDB3EEB}"/>
              </a:ext>
            </a:extLst>
          </p:cNvPr>
          <p:cNvGrpSpPr>
            <a:grpSpLocks noChangeAspect="1"/>
          </p:cNvGrpSpPr>
          <p:nvPr>
            <p:custDataLst>
              <p:tags r:id="rId4"/>
            </p:custDataLst>
          </p:nvPr>
        </p:nvGrpSpPr>
        <p:grpSpPr>
          <a:xfrm>
            <a:off x="8701919" y="5328417"/>
            <a:ext cx="171180" cy="171180"/>
            <a:chOff x="328396" y="5313940"/>
            <a:chExt cx="720000" cy="720000"/>
          </a:xfrm>
        </p:grpSpPr>
        <p:sp>
          <p:nvSpPr>
            <p:cNvPr id="52" name="Rectangle 4">
              <a:extLst>
                <a:ext uri="{FF2B5EF4-FFF2-40B4-BE49-F238E27FC236}">
                  <a16:creationId xmlns:a16="http://schemas.microsoft.com/office/drawing/2014/main" id="{74BE3D5F-1445-6E40-8B49-72E15568383B}"/>
                </a:ext>
              </a:extLst>
            </p:cNvPr>
            <p:cNvSpPr/>
            <p:nvPr/>
          </p:nvSpPr>
          <p:spPr bwMode="gray">
            <a:xfrm>
              <a:off x="328396" y="5313940"/>
              <a:ext cx="720000" cy="720000"/>
            </a:xfrm>
            <a:prstGeom prst="rect">
              <a:avLst/>
            </a:prstGeom>
            <a:solidFill>
              <a:srgbClr val="E55A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pPr>
              <a:endParaRPr lang="en-US" sz="1000" dirty="0">
                <a:solidFill>
                  <a:schemeClr val="tx1"/>
                </a:solidFill>
                <a:latin typeface="Arial" pitchFamily="34" charset="0"/>
                <a:cs typeface="Arial" pitchFamily="34" charset="0"/>
              </a:endParaRPr>
            </a:p>
          </p:txBody>
        </p:sp>
        <p:sp>
          <p:nvSpPr>
            <p:cNvPr id="53" name="Freeform 76">
              <a:extLst>
                <a:ext uri="{FF2B5EF4-FFF2-40B4-BE49-F238E27FC236}">
                  <a16:creationId xmlns:a16="http://schemas.microsoft.com/office/drawing/2014/main" id="{55DB3C95-7D0C-D141-901E-96D692794D2B}"/>
                </a:ext>
              </a:extLst>
            </p:cNvPr>
            <p:cNvSpPr>
              <a:spLocks noChangeAspect="1" noEditPoints="1"/>
            </p:cNvSpPr>
            <p:nvPr/>
          </p:nvSpPr>
          <p:spPr bwMode="auto">
            <a:xfrm>
              <a:off x="456202" y="5509222"/>
              <a:ext cx="504000" cy="329436"/>
            </a:xfrm>
            <a:custGeom>
              <a:avLst/>
              <a:gdLst>
                <a:gd name="T0" fmla="*/ 0 w 2080"/>
                <a:gd name="T1" fmla="*/ 65 h 1360"/>
                <a:gd name="T2" fmla="*/ 0 w 2080"/>
                <a:gd name="T3" fmla="*/ 0 h 1360"/>
                <a:gd name="T4" fmla="*/ 2080 w 2080"/>
                <a:gd name="T5" fmla="*/ 0 h 1360"/>
                <a:gd name="T6" fmla="*/ 2080 w 2080"/>
                <a:gd name="T7" fmla="*/ 65 h 1360"/>
                <a:gd name="T8" fmla="*/ 1089 w 2080"/>
                <a:gd name="T9" fmla="*/ 862 h 1360"/>
                <a:gd name="T10" fmla="*/ 991 w 2080"/>
                <a:gd name="T11" fmla="*/ 862 h 1360"/>
                <a:gd name="T12" fmla="*/ 0 w 2080"/>
                <a:gd name="T13" fmla="*/ 65 h 1360"/>
                <a:gd name="T14" fmla="*/ 1139 w 2080"/>
                <a:gd name="T15" fmla="*/ 924 h 1360"/>
                <a:gd name="T16" fmla="*/ 1282 w 2080"/>
                <a:gd name="T17" fmla="*/ 810 h 1360"/>
                <a:gd name="T18" fmla="*/ 2076 w 2080"/>
                <a:gd name="T19" fmla="*/ 1360 h 1360"/>
                <a:gd name="T20" fmla="*/ 4 w 2080"/>
                <a:gd name="T21" fmla="*/ 1360 h 1360"/>
                <a:gd name="T22" fmla="*/ 798 w 2080"/>
                <a:gd name="T23" fmla="*/ 810 h 1360"/>
                <a:gd name="T24" fmla="*/ 941 w 2080"/>
                <a:gd name="T25" fmla="*/ 924 h 1360"/>
                <a:gd name="T26" fmla="*/ 1139 w 2080"/>
                <a:gd name="T27" fmla="*/ 924 h 1360"/>
                <a:gd name="T28" fmla="*/ 2 w 2080"/>
                <a:gd name="T29" fmla="*/ 137 h 1360"/>
                <a:gd name="T30" fmla="*/ 42 w 2080"/>
                <a:gd name="T31" fmla="*/ 201 h 1360"/>
                <a:gd name="T32" fmla="*/ 734 w 2080"/>
                <a:gd name="T33" fmla="*/ 758 h 1360"/>
                <a:gd name="T34" fmla="*/ 0 w 2080"/>
                <a:gd name="T35" fmla="*/ 1266 h 1360"/>
                <a:gd name="T36" fmla="*/ 0 w 2080"/>
                <a:gd name="T37" fmla="*/ 135 h 1360"/>
                <a:gd name="T38" fmla="*/ 2 w 2080"/>
                <a:gd name="T39" fmla="*/ 137 h 1360"/>
                <a:gd name="T40" fmla="*/ 2080 w 2080"/>
                <a:gd name="T41" fmla="*/ 136 h 1360"/>
                <a:gd name="T42" fmla="*/ 2080 w 2080"/>
                <a:gd name="T43" fmla="*/ 1265 h 1360"/>
                <a:gd name="T44" fmla="*/ 1346 w 2080"/>
                <a:gd name="T45" fmla="*/ 758 h 1360"/>
                <a:gd name="T46" fmla="*/ 2038 w 2080"/>
                <a:gd name="T47" fmla="*/ 201 h 1360"/>
                <a:gd name="T48" fmla="*/ 2080 w 2080"/>
                <a:gd name="T49" fmla="*/ 136 h 1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080" h="1360">
                  <a:moveTo>
                    <a:pt x="0" y="65"/>
                  </a:moveTo>
                  <a:cubicBezTo>
                    <a:pt x="0" y="0"/>
                    <a:pt x="0" y="0"/>
                    <a:pt x="0" y="0"/>
                  </a:cubicBezTo>
                  <a:cubicBezTo>
                    <a:pt x="2080" y="0"/>
                    <a:pt x="2080" y="0"/>
                    <a:pt x="2080" y="0"/>
                  </a:cubicBezTo>
                  <a:cubicBezTo>
                    <a:pt x="2080" y="65"/>
                    <a:pt x="2080" y="65"/>
                    <a:pt x="2080" y="65"/>
                  </a:cubicBezTo>
                  <a:cubicBezTo>
                    <a:pt x="1089" y="862"/>
                    <a:pt x="1089" y="862"/>
                    <a:pt x="1089" y="862"/>
                  </a:cubicBezTo>
                  <a:cubicBezTo>
                    <a:pt x="1060" y="886"/>
                    <a:pt x="1020" y="886"/>
                    <a:pt x="991" y="862"/>
                  </a:cubicBezTo>
                  <a:lnTo>
                    <a:pt x="0" y="65"/>
                  </a:lnTo>
                  <a:close/>
                  <a:moveTo>
                    <a:pt x="1139" y="924"/>
                  </a:moveTo>
                  <a:cubicBezTo>
                    <a:pt x="1282" y="810"/>
                    <a:pt x="1282" y="810"/>
                    <a:pt x="1282" y="810"/>
                  </a:cubicBezTo>
                  <a:cubicBezTo>
                    <a:pt x="2076" y="1360"/>
                    <a:pt x="2076" y="1360"/>
                    <a:pt x="2076" y="1360"/>
                  </a:cubicBezTo>
                  <a:cubicBezTo>
                    <a:pt x="4" y="1360"/>
                    <a:pt x="4" y="1360"/>
                    <a:pt x="4" y="1360"/>
                  </a:cubicBezTo>
                  <a:cubicBezTo>
                    <a:pt x="798" y="810"/>
                    <a:pt x="798" y="810"/>
                    <a:pt x="798" y="810"/>
                  </a:cubicBezTo>
                  <a:cubicBezTo>
                    <a:pt x="941" y="924"/>
                    <a:pt x="941" y="924"/>
                    <a:pt x="941" y="924"/>
                  </a:cubicBezTo>
                  <a:cubicBezTo>
                    <a:pt x="1000" y="972"/>
                    <a:pt x="1080" y="972"/>
                    <a:pt x="1139" y="924"/>
                  </a:cubicBezTo>
                  <a:close/>
                  <a:moveTo>
                    <a:pt x="2" y="137"/>
                  </a:moveTo>
                  <a:cubicBezTo>
                    <a:pt x="8" y="163"/>
                    <a:pt x="22" y="185"/>
                    <a:pt x="42" y="201"/>
                  </a:cubicBezTo>
                  <a:cubicBezTo>
                    <a:pt x="734" y="758"/>
                    <a:pt x="734" y="758"/>
                    <a:pt x="734" y="758"/>
                  </a:cubicBezTo>
                  <a:cubicBezTo>
                    <a:pt x="0" y="1266"/>
                    <a:pt x="0" y="1266"/>
                    <a:pt x="0" y="1266"/>
                  </a:cubicBezTo>
                  <a:cubicBezTo>
                    <a:pt x="0" y="135"/>
                    <a:pt x="0" y="135"/>
                    <a:pt x="0" y="135"/>
                  </a:cubicBezTo>
                  <a:lnTo>
                    <a:pt x="2" y="137"/>
                  </a:lnTo>
                  <a:close/>
                  <a:moveTo>
                    <a:pt x="2080" y="136"/>
                  </a:moveTo>
                  <a:cubicBezTo>
                    <a:pt x="2080" y="1265"/>
                    <a:pt x="2080" y="1265"/>
                    <a:pt x="2080" y="1265"/>
                  </a:cubicBezTo>
                  <a:cubicBezTo>
                    <a:pt x="1346" y="758"/>
                    <a:pt x="1346" y="758"/>
                    <a:pt x="1346" y="758"/>
                  </a:cubicBezTo>
                  <a:cubicBezTo>
                    <a:pt x="2038" y="201"/>
                    <a:pt x="2038" y="201"/>
                    <a:pt x="2038" y="201"/>
                  </a:cubicBezTo>
                  <a:cubicBezTo>
                    <a:pt x="2060" y="182"/>
                    <a:pt x="2072" y="162"/>
                    <a:pt x="2080" y="13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000"/>
            </a:p>
          </p:txBody>
        </p:sp>
      </p:grpSp>
      <p:cxnSp>
        <p:nvCxnSpPr>
          <p:cNvPr id="54" name="Straight Connector 53"/>
          <p:cNvCxnSpPr/>
          <p:nvPr/>
        </p:nvCxnSpPr>
        <p:spPr>
          <a:xfrm>
            <a:off x="7287767" y="5653423"/>
            <a:ext cx="3888000" cy="0"/>
          </a:xfrm>
          <a:prstGeom prst="line">
            <a:avLst/>
          </a:prstGeom>
          <a:ln w="6350">
            <a:solidFill>
              <a:schemeClr val="tx2"/>
            </a:solidFill>
            <a:prstDash val="dash"/>
          </a:ln>
        </p:spPr>
        <p:style>
          <a:lnRef idx="1">
            <a:schemeClr val="accent1"/>
          </a:lnRef>
          <a:fillRef idx="0">
            <a:schemeClr val="accent1"/>
          </a:fillRef>
          <a:effectRef idx="0">
            <a:schemeClr val="accent1"/>
          </a:effectRef>
          <a:fontRef idx="minor">
            <a:schemeClr val="tx1"/>
          </a:fontRef>
        </p:style>
      </p:cxnSp>
      <p:sp>
        <p:nvSpPr>
          <p:cNvPr id="55" name="Picture Placeholder 3"/>
          <p:cNvSpPr>
            <a:spLocks noGrp="1"/>
          </p:cNvSpPr>
          <p:nvPr>
            <p:ph type="pic" sz="quarter" idx="35" hasCustomPrompt="1"/>
          </p:nvPr>
        </p:nvSpPr>
        <p:spPr>
          <a:xfrm>
            <a:off x="7287767" y="3984194"/>
            <a:ext cx="1188677" cy="1547839"/>
          </a:xfrm>
          <a:solidFill>
            <a:srgbClr val="D9DADB"/>
          </a:solidFill>
        </p:spPr>
        <p:txBody>
          <a:bodyPr/>
          <a:lstStyle>
            <a:lvl1pPr marL="0" indent="0">
              <a:buNone/>
              <a:defRPr sz="1400"/>
            </a:lvl1pPr>
          </a:lstStyle>
          <a:p>
            <a:r>
              <a:rPr lang="en-US" dirty="0"/>
              <a:t>Insert picture</a:t>
            </a:r>
          </a:p>
        </p:txBody>
      </p:sp>
      <p:sp>
        <p:nvSpPr>
          <p:cNvPr id="56" name="Text Placeholder 5"/>
          <p:cNvSpPr>
            <a:spLocks noGrp="1"/>
          </p:cNvSpPr>
          <p:nvPr>
            <p:ph type="body" sz="quarter" idx="36" hasCustomPrompt="1"/>
          </p:nvPr>
        </p:nvSpPr>
        <p:spPr>
          <a:xfrm>
            <a:off x="8701918" y="3983731"/>
            <a:ext cx="2463191" cy="192361"/>
          </a:xfrm>
        </p:spPr>
        <p:txBody>
          <a:bodyPr lIns="0" tIns="0" rIns="0" bIns="0" anchor="ctr" anchorCtr="0"/>
          <a:lstStyle>
            <a:lvl1pPr marL="0" indent="0" algn="l">
              <a:lnSpc>
                <a:spcPct val="100000"/>
              </a:lnSpc>
              <a:buNone/>
              <a:defRPr sz="100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Country</a:t>
            </a:r>
          </a:p>
        </p:txBody>
      </p:sp>
      <p:sp>
        <p:nvSpPr>
          <p:cNvPr id="57" name="Text Placeholder 5"/>
          <p:cNvSpPr>
            <a:spLocks noGrp="1"/>
          </p:cNvSpPr>
          <p:nvPr>
            <p:ph type="body" sz="quarter" idx="37" hasCustomPrompt="1"/>
          </p:nvPr>
        </p:nvSpPr>
        <p:spPr>
          <a:xfrm>
            <a:off x="8701918" y="4195546"/>
            <a:ext cx="2463191" cy="266182"/>
          </a:xfrm>
        </p:spPr>
        <p:txBody>
          <a:bodyPr lIns="0" tIns="0" rIns="0" bIns="0" anchor="b" anchorCtr="0"/>
          <a:lstStyle>
            <a:lvl1pPr marL="0" indent="0" algn="l">
              <a:lnSpc>
                <a:spcPct val="100000"/>
              </a:lnSpc>
              <a:buNone/>
              <a:defRPr sz="1400" b="1" baseline="0">
                <a:solidFill>
                  <a:schemeClr val="tx2"/>
                </a:solidFill>
              </a:defRPr>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Name, Surname</a:t>
            </a:r>
          </a:p>
        </p:txBody>
      </p:sp>
      <p:sp>
        <p:nvSpPr>
          <p:cNvPr id="58" name="Text Placeholder 5"/>
          <p:cNvSpPr>
            <a:spLocks noGrp="1"/>
          </p:cNvSpPr>
          <p:nvPr>
            <p:ph type="body" sz="quarter" idx="38" hasCustomPrompt="1"/>
          </p:nvPr>
        </p:nvSpPr>
        <p:spPr>
          <a:xfrm>
            <a:off x="8701918" y="4492122"/>
            <a:ext cx="2463191" cy="192361"/>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Job Position</a:t>
            </a:r>
          </a:p>
        </p:txBody>
      </p:sp>
      <p:sp>
        <p:nvSpPr>
          <p:cNvPr id="59" name="Text Placeholder 5"/>
          <p:cNvSpPr>
            <a:spLocks noGrp="1"/>
          </p:cNvSpPr>
          <p:nvPr>
            <p:ph type="body" sz="quarter" idx="39" hasCustomPrompt="1"/>
          </p:nvPr>
        </p:nvSpPr>
        <p:spPr>
          <a:xfrm>
            <a:off x="8946801" y="5020797"/>
            <a:ext cx="2218307" cy="192361"/>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Phone number</a:t>
            </a:r>
          </a:p>
        </p:txBody>
      </p:sp>
      <p:sp>
        <p:nvSpPr>
          <p:cNvPr id="60" name="Text Placeholder 5"/>
          <p:cNvSpPr>
            <a:spLocks noGrp="1"/>
          </p:cNvSpPr>
          <p:nvPr>
            <p:ph type="body" sz="quarter" idx="40" hasCustomPrompt="1"/>
          </p:nvPr>
        </p:nvSpPr>
        <p:spPr>
          <a:xfrm>
            <a:off x="8946801" y="5303604"/>
            <a:ext cx="2218307" cy="192361"/>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Email address</a:t>
            </a:r>
          </a:p>
        </p:txBody>
      </p:sp>
    </p:spTree>
    <p:extLst>
      <p:ext uri="{BB962C8B-B14F-4D97-AF65-F5344CB8AC3E}">
        <p14:creationId xmlns:p14="http://schemas.microsoft.com/office/powerpoint/2010/main" val="2082436654"/>
      </p:ext>
    </p:extLst>
  </p:cSld>
  <p:clrMapOvr>
    <a:masterClrMapping/>
  </p:clrMapOvr>
</p:sldLayout>
</file>

<file path=ppt/slideLayouts/slideLayout242.xml><?xml version="1.0" encoding="utf-8"?>
<p:sldLayout xmlns:a="http://schemas.openxmlformats.org/drawingml/2006/main" xmlns:r="http://schemas.openxmlformats.org/officeDocument/2006/relationships" xmlns:p="http://schemas.openxmlformats.org/presentationml/2006/main" showMasterSp="0" preserve="1">
  <p:cSld name="End slide">
    <p:spTree>
      <p:nvGrpSpPr>
        <p:cNvPr id="1" name=""/>
        <p:cNvGrpSpPr/>
        <p:nvPr/>
      </p:nvGrpSpPr>
      <p:grpSpPr>
        <a:xfrm>
          <a:off x="0" y="0"/>
          <a:ext cx="0" cy="0"/>
          <a:chOff x="0" y="0"/>
          <a:chExt cx="0" cy="0"/>
        </a:xfrm>
      </p:grpSpPr>
      <p:pic>
        <p:nvPicPr>
          <p:cNvPr id="30" name="picture">
            <a:extLst>
              <a:ext uri="{FF2B5EF4-FFF2-40B4-BE49-F238E27FC236}">
                <a16:creationId xmlns:a16="http://schemas.microsoft.com/office/drawing/2014/main" id="{8BF907F5-A9CD-2740-AF54-6BACB62334AE}"/>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2620213" y="-8807"/>
            <a:ext cx="9697299" cy="6866807"/>
          </a:xfrm>
          <a:prstGeom prst="rect">
            <a:avLst/>
          </a:prstGeom>
        </p:spPr>
      </p:pic>
      <p:sp>
        <p:nvSpPr>
          <p:cNvPr id="29" name="shpPicture"/>
          <p:cNvSpPr/>
          <p:nvPr/>
        </p:nvSpPr>
        <p:spPr>
          <a:xfrm>
            <a:off x="0" y="0"/>
            <a:ext cx="4347307" cy="6858000"/>
          </a:xfrm>
          <a:custGeom>
            <a:avLst/>
            <a:gdLst>
              <a:gd name="connsiteX0" fmla="*/ 0 w 4347306"/>
              <a:gd name="connsiteY0" fmla="*/ 0 h 6858000"/>
              <a:gd name="connsiteX1" fmla="*/ 3252806 w 4347306"/>
              <a:gd name="connsiteY1" fmla="*/ 0 h 6858000"/>
              <a:gd name="connsiteX2" fmla="*/ 4347306 w 4347306"/>
              <a:gd name="connsiteY2" fmla="*/ 4140909 h 6858000"/>
              <a:gd name="connsiteX3" fmla="*/ 2943442 w 4347306"/>
              <a:gd name="connsiteY3" fmla="*/ 6858000 h 6858000"/>
              <a:gd name="connsiteX4" fmla="*/ 0 w 4347306"/>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47306" h="6858000">
                <a:moveTo>
                  <a:pt x="0" y="0"/>
                </a:moveTo>
                <a:lnTo>
                  <a:pt x="3252806" y="0"/>
                </a:lnTo>
                <a:lnTo>
                  <a:pt x="4347306" y="4140909"/>
                </a:lnTo>
                <a:lnTo>
                  <a:pt x="2943442"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1978" tIns="35989" rIns="71978" bIns="35989" rtlCol="0" anchor="ctr"/>
          <a:lstStyle/>
          <a:p>
            <a:pPr algn="ctr">
              <a:lnSpc>
                <a:spcPct val="125000"/>
              </a:lnSpc>
            </a:pPr>
            <a:endParaRPr lang="en-US" sz="1599" dirty="0"/>
          </a:p>
        </p:txBody>
      </p:sp>
      <p:grpSp>
        <p:nvGrpSpPr>
          <p:cNvPr id="14" name="logo">
            <a:extLst>
              <a:ext uri="{FF2B5EF4-FFF2-40B4-BE49-F238E27FC236}">
                <a16:creationId xmlns:a16="http://schemas.microsoft.com/office/drawing/2014/main" id="{18C26D95-70F8-8A4D-9F18-DCCB92522AF8}"/>
              </a:ext>
            </a:extLst>
          </p:cNvPr>
          <p:cNvGrpSpPr/>
          <p:nvPr/>
        </p:nvGrpSpPr>
        <p:grpSpPr bwMode="gray">
          <a:xfrm>
            <a:off x="417365" y="407485"/>
            <a:ext cx="1518585" cy="646507"/>
            <a:chOff x="334963" y="296652"/>
            <a:chExt cx="1268411" cy="540000"/>
          </a:xfrm>
        </p:grpSpPr>
        <p:sp>
          <p:nvSpPr>
            <p:cNvPr id="17" name="Freeform 6">
              <a:extLst>
                <a:ext uri="{FF2B5EF4-FFF2-40B4-BE49-F238E27FC236}">
                  <a16:creationId xmlns:a16="http://schemas.microsoft.com/office/drawing/2014/main" id="{08737AD0-E375-E445-97E6-CD2E2DF60620}"/>
                </a:ext>
              </a:extLst>
            </p:cNvPr>
            <p:cNvSpPr>
              <a:spLocks noEditPoints="1"/>
            </p:cNvSpPr>
            <p:nvPr/>
          </p:nvSpPr>
          <p:spPr bwMode="gray">
            <a:xfrm>
              <a:off x="982662" y="360462"/>
              <a:ext cx="620712" cy="431800"/>
            </a:xfrm>
            <a:custGeom>
              <a:avLst/>
              <a:gdLst>
                <a:gd name="T0" fmla="*/ 19 w 1809"/>
                <a:gd name="T1" fmla="*/ 97 h 1253"/>
                <a:gd name="T2" fmla="*/ 165 w 1809"/>
                <a:gd name="T3" fmla="*/ 41 h 1253"/>
                <a:gd name="T4" fmla="*/ 211 w 1809"/>
                <a:gd name="T5" fmla="*/ 224 h 1253"/>
                <a:gd name="T6" fmla="*/ 248 w 1809"/>
                <a:gd name="T7" fmla="*/ 155 h 1253"/>
                <a:gd name="T8" fmla="*/ 931 w 1809"/>
                <a:gd name="T9" fmla="*/ 995 h 1253"/>
                <a:gd name="T10" fmla="*/ 858 w 1809"/>
                <a:gd name="T11" fmla="*/ 1115 h 1253"/>
                <a:gd name="T12" fmla="*/ 749 w 1809"/>
                <a:gd name="T13" fmla="*/ 1117 h 1253"/>
                <a:gd name="T14" fmla="*/ 681 w 1809"/>
                <a:gd name="T15" fmla="*/ 1055 h 1253"/>
                <a:gd name="T16" fmla="*/ 800 w 1809"/>
                <a:gd name="T17" fmla="*/ 1054 h 1253"/>
                <a:gd name="T18" fmla="*/ 884 w 1809"/>
                <a:gd name="T19" fmla="*/ 1181 h 1253"/>
                <a:gd name="T20" fmla="*/ 118 w 1809"/>
                <a:gd name="T21" fmla="*/ 1086 h 1253"/>
                <a:gd name="T22" fmla="*/ 147 w 1809"/>
                <a:gd name="T23" fmla="*/ 1026 h 1253"/>
                <a:gd name="T24" fmla="*/ 102 w 1809"/>
                <a:gd name="T25" fmla="*/ 1026 h 1253"/>
                <a:gd name="T26" fmla="*/ 639 w 1809"/>
                <a:gd name="T27" fmla="*/ 84 h 1253"/>
                <a:gd name="T28" fmla="*/ 763 w 1809"/>
                <a:gd name="T29" fmla="*/ 145 h 1253"/>
                <a:gd name="T30" fmla="*/ 863 w 1809"/>
                <a:gd name="T31" fmla="*/ 221 h 1253"/>
                <a:gd name="T32" fmla="*/ 834 w 1809"/>
                <a:gd name="T33" fmla="*/ 208 h 1253"/>
                <a:gd name="T34" fmla="*/ 719 w 1809"/>
                <a:gd name="T35" fmla="*/ 182 h 1253"/>
                <a:gd name="T36" fmla="*/ 507 w 1809"/>
                <a:gd name="T37" fmla="*/ 711 h 1253"/>
                <a:gd name="T38" fmla="*/ 614 w 1809"/>
                <a:gd name="T39" fmla="*/ 706 h 1253"/>
                <a:gd name="T40" fmla="*/ 736 w 1809"/>
                <a:gd name="T41" fmla="*/ 730 h 1253"/>
                <a:gd name="T42" fmla="*/ 607 w 1809"/>
                <a:gd name="T43" fmla="*/ 539 h 1253"/>
                <a:gd name="T44" fmla="*/ 1505 w 1809"/>
                <a:gd name="T45" fmla="*/ 1136 h 1253"/>
                <a:gd name="T46" fmla="*/ 1613 w 1809"/>
                <a:gd name="T47" fmla="*/ 1002 h 1253"/>
                <a:gd name="T48" fmla="*/ 1472 w 1809"/>
                <a:gd name="T49" fmla="*/ 1164 h 1253"/>
                <a:gd name="T50" fmla="*/ 1525 w 1809"/>
                <a:gd name="T51" fmla="*/ 1142 h 1253"/>
                <a:gd name="T52" fmla="*/ 1556 w 1809"/>
                <a:gd name="T53" fmla="*/ 1172 h 1253"/>
                <a:gd name="T54" fmla="*/ 1387 w 1809"/>
                <a:gd name="T55" fmla="*/ 910 h 1253"/>
                <a:gd name="T56" fmla="*/ 1261 w 1809"/>
                <a:gd name="T57" fmla="*/ 1157 h 1253"/>
                <a:gd name="T58" fmla="*/ 1413 w 1809"/>
                <a:gd name="T59" fmla="*/ 934 h 1253"/>
                <a:gd name="T60" fmla="*/ 1378 w 1809"/>
                <a:gd name="T61" fmla="*/ 1052 h 1253"/>
                <a:gd name="T62" fmla="*/ 488 w 1809"/>
                <a:gd name="T63" fmla="*/ 85 h 1253"/>
                <a:gd name="T64" fmla="*/ 509 w 1809"/>
                <a:gd name="T65" fmla="*/ 112 h 1253"/>
                <a:gd name="T66" fmla="*/ 548 w 1809"/>
                <a:gd name="T67" fmla="*/ 1187 h 1253"/>
                <a:gd name="T68" fmla="*/ 472 w 1809"/>
                <a:gd name="T69" fmla="*/ 1122 h 1253"/>
                <a:gd name="T70" fmla="*/ 558 w 1809"/>
                <a:gd name="T71" fmla="*/ 1157 h 1253"/>
                <a:gd name="T72" fmla="*/ 287 w 1809"/>
                <a:gd name="T73" fmla="*/ 654 h 1253"/>
                <a:gd name="T74" fmla="*/ 416 w 1809"/>
                <a:gd name="T75" fmla="*/ 684 h 1253"/>
                <a:gd name="T76" fmla="*/ 1106 w 1809"/>
                <a:gd name="T77" fmla="*/ 147 h 1253"/>
                <a:gd name="T78" fmla="*/ 1229 w 1809"/>
                <a:gd name="T79" fmla="*/ 258 h 1253"/>
                <a:gd name="T80" fmla="*/ 1106 w 1809"/>
                <a:gd name="T81" fmla="*/ 96 h 1253"/>
                <a:gd name="T82" fmla="*/ 1219 w 1809"/>
                <a:gd name="T83" fmla="*/ 1077 h 1253"/>
                <a:gd name="T84" fmla="*/ 1214 w 1809"/>
                <a:gd name="T85" fmla="*/ 1157 h 1253"/>
                <a:gd name="T86" fmla="*/ 1150 w 1809"/>
                <a:gd name="T87" fmla="*/ 1092 h 1253"/>
                <a:gd name="T88" fmla="*/ 1139 w 1809"/>
                <a:gd name="T89" fmla="*/ 1070 h 1253"/>
                <a:gd name="T90" fmla="*/ 1659 w 1809"/>
                <a:gd name="T91" fmla="*/ 1031 h 1253"/>
                <a:gd name="T92" fmla="*/ 1714 w 1809"/>
                <a:gd name="T93" fmla="*/ 1155 h 1253"/>
                <a:gd name="T94" fmla="*/ 1760 w 1809"/>
                <a:gd name="T95" fmla="*/ 1030 h 1253"/>
                <a:gd name="T96" fmla="*/ 111 w 1809"/>
                <a:gd name="T97" fmla="*/ 569 h 1253"/>
                <a:gd name="T98" fmla="*/ 109 w 1809"/>
                <a:gd name="T99" fmla="*/ 460 h 1253"/>
                <a:gd name="T100" fmla="*/ 32 w 1809"/>
                <a:gd name="T101" fmla="*/ 704 h 1253"/>
                <a:gd name="T102" fmla="*/ 310 w 1809"/>
                <a:gd name="T103" fmla="*/ 1058 h 1253"/>
                <a:gd name="T104" fmla="*/ 431 w 1809"/>
                <a:gd name="T105" fmla="*/ 1044 h 1253"/>
                <a:gd name="T106" fmla="*/ 278 w 1809"/>
                <a:gd name="T107" fmla="*/ 1165 h 1253"/>
                <a:gd name="T108" fmla="*/ 261 w 1809"/>
                <a:gd name="T109" fmla="*/ 540 h 1253"/>
                <a:gd name="T110" fmla="*/ 150 w 1809"/>
                <a:gd name="T111" fmla="*/ 635 h 1253"/>
                <a:gd name="T112" fmla="*/ 994 w 1809"/>
                <a:gd name="T113" fmla="*/ 1185 h 1253"/>
                <a:gd name="T114" fmla="*/ 331 w 1809"/>
                <a:gd name="T115" fmla="*/ 176 h 1253"/>
                <a:gd name="T116" fmla="*/ 333 w 1809"/>
                <a:gd name="T117" fmla="*/ 109 h 1253"/>
                <a:gd name="T118" fmla="*/ 946 w 1809"/>
                <a:gd name="T119" fmla="*/ 234 h 1253"/>
                <a:gd name="T120" fmla="*/ 1022 w 1809"/>
                <a:gd name="T121" fmla="*/ 113 h 1253"/>
                <a:gd name="T122" fmla="*/ 949 w 1809"/>
                <a:gd name="T123" fmla="*/ 65 h 1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09" h="1253">
                  <a:moveTo>
                    <a:pt x="248" y="198"/>
                  </a:moveTo>
                  <a:cubicBezTo>
                    <a:pt x="248" y="211"/>
                    <a:pt x="248" y="224"/>
                    <a:pt x="249" y="237"/>
                  </a:cubicBezTo>
                  <a:cubicBezTo>
                    <a:pt x="249" y="245"/>
                    <a:pt x="246" y="249"/>
                    <a:pt x="240" y="253"/>
                  </a:cubicBezTo>
                  <a:cubicBezTo>
                    <a:pt x="231" y="260"/>
                    <a:pt x="220" y="264"/>
                    <a:pt x="209" y="268"/>
                  </a:cubicBezTo>
                  <a:cubicBezTo>
                    <a:pt x="179" y="279"/>
                    <a:pt x="148" y="280"/>
                    <a:pt x="118" y="275"/>
                  </a:cubicBezTo>
                  <a:cubicBezTo>
                    <a:pt x="86" y="269"/>
                    <a:pt x="58" y="252"/>
                    <a:pt x="39" y="224"/>
                  </a:cubicBezTo>
                  <a:cubicBezTo>
                    <a:pt x="24" y="203"/>
                    <a:pt x="18" y="180"/>
                    <a:pt x="15" y="155"/>
                  </a:cubicBezTo>
                  <a:cubicBezTo>
                    <a:pt x="11" y="135"/>
                    <a:pt x="15" y="115"/>
                    <a:pt x="19" y="97"/>
                  </a:cubicBezTo>
                  <a:cubicBezTo>
                    <a:pt x="26" y="68"/>
                    <a:pt x="42" y="44"/>
                    <a:pt x="68" y="27"/>
                  </a:cubicBezTo>
                  <a:cubicBezTo>
                    <a:pt x="87" y="14"/>
                    <a:pt x="109" y="6"/>
                    <a:pt x="133" y="5"/>
                  </a:cubicBezTo>
                  <a:cubicBezTo>
                    <a:pt x="149" y="4"/>
                    <a:pt x="165" y="5"/>
                    <a:pt x="181" y="6"/>
                  </a:cubicBezTo>
                  <a:cubicBezTo>
                    <a:pt x="204" y="8"/>
                    <a:pt x="225" y="20"/>
                    <a:pt x="243" y="35"/>
                  </a:cubicBezTo>
                  <a:cubicBezTo>
                    <a:pt x="246" y="37"/>
                    <a:pt x="246" y="40"/>
                    <a:pt x="244" y="43"/>
                  </a:cubicBezTo>
                  <a:cubicBezTo>
                    <a:pt x="242" y="47"/>
                    <a:pt x="239" y="52"/>
                    <a:pt x="236" y="55"/>
                  </a:cubicBezTo>
                  <a:cubicBezTo>
                    <a:pt x="226" y="65"/>
                    <a:pt x="224" y="65"/>
                    <a:pt x="206" y="54"/>
                  </a:cubicBezTo>
                  <a:cubicBezTo>
                    <a:pt x="193" y="46"/>
                    <a:pt x="180" y="40"/>
                    <a:pt x="165" y="41"/>
                  </a:cubicBezTo>
                  <a:cubicBezTo>
                    <a:pt x="151" y="41"/>
                    <a:pt x="137" y="39"/>
                    <a:pt x="124" y="42"/>
                  </a:cubicBezTo>
                  <a:cubicBezTo>
                    <a:pt x="104" y="46"/>
                    <a:pt x="87" y="57"/>
                    <a:pt x="75" y="74"/>
                  </a:cubicBezTo>
                  <a:cubicBezTo>
                    <a:pt x="56" y="99"/>
                    <a:pt x="51" y="129"/>
                    <a:pt x="55" y="159"/>
                  </a:cubicBezTo>
                  <a:cubicBezTo>
                    <a:pt x="60" y="189"/>
                    <a:pt x="73" y="214"/>
                    <a:pt x="98" y="230"/>
                  </a:cubicBezTo>
                  <a:cubicBezTo>
                    <a:pt x="109" y="237"/>
                    <a:pt x="121" y="242"/>
                    <a:pt x="135" y="241"/>
                  </a:cubicBezTo>
                  <a:cubicBezTo>
                    <a:pt x="146" y="241"/>
                    <a:pt x="158" y="241"/>
                    <a:pt x="169" y="241"/>
                  </a:cubicBezTo>
                  <a:cubicBezTo>
                    <a:pt x="182" y="242"/>
                    <a:pt x="193" y="235"/>
                    <a:pt x="205" y="232"/>
                  </a:cubicBezTo>
                  <a:cubicBezTo>
                    <a:pt x="210" y="231"/>
                    <a:pt x="211" y="227"/>
                    <a:pt x="211" y="224"/>
                  </a:cubicBezTo>
                  <a:cubicBezTo>
                    <a:pt x="211" y="210"/>
                    <a:pt x="211" y="196"/>
                    <a:pt x="211" y="183"/>
                  </a:cubicBezTo>
                  <a:cubicBezTo>
                    <a:pt x="211" y="177"/>
                    <a:pt x="207" y="175"/>
                    <a:pt x="202" y="175"/>
                  </a:cubicBezTo>
                  <a:cubicBezTo>
                    <a:pt x="193" y="175"/>
                    <a:pt x="184" y="175"/>
                    <a:pt x="175" y="175"/>
                  </a:cubicBezTo>
                  <a:cubicBezTo>
                    <a:pt x="171" y="175"/>
                    <a:pt x="168" y="174"/>
                    <a:pt x="166" y="171"/>
                  </a:cubicBezTo>
                  <a:cubicBezTo>
                    <a:pt x="163" y="163"/>
                    <a:pt x="164" y="154"/>
                    <a:pt x="166" y="146"/>
                  </a:cubicBezTo>
                  <a:cubicBezTo>
                    <a:pt x="167" y="142"/>
                    <a:pt x="171" y="142"/>
                    <a:pt x="175" y="142"/>
                  </a:cubicBezTo>
                  <a:cubicBezTo>
                    <a:pt x="196" y="142"/>
                    <a:pt x="217" y="142"/>
                    <a:pt x="238" y="142"/>
                  </a:cubicBezTo>
                  <a:cubicBezTo>
                    <a:pt x="247" y="142"/>
                    <a:pt x="248" y="148"/>
                    <a:pt x="248" y="155"/>
                  </a:cubicBezTo>
                  <a:cubicBezTo>
                    <a:pt x="249" y="169"/>
                    <a:pt x="248" y="183"/>
                    <a:pt x="248" y="198"/>
                  </a:cubicBezTo>
                  <a:close/>
                  <a:moveTo>
                    <a:pt x="884" y="1181"/>
                  </a:moveTo>
                  <a:cubicBezTo>
                    <a:pt x="889" y="1167"/>
                    <a:pt x="894" y="1152"/>
                    <a:pt x="898" y="1137"/>
                  </a:cubicBezTo>
                  <a:cubicBezTo>
                    <a:pt x="901" y="1127"/>
                    <a:pt x="905" y="1116"/>
                    <a:pt x="908" y="1106"/>
                  </a:cubicBezTo>
                  <a:cubicBezTo>
                    <a:pt x="911" y="1098"/>
                    <a:pt x="912" y="1089"/>
                    <a:pt x="916" y="1081"/>
                  </a:cubicBezTo>
                  <a:cubicBezTo>
                    <a:pt x="921" y="1072"/>
                    <a:pt x="923" y="1060"/>
                    <a:pt x="927" y="1050"/>
                  </a:cubicBezTo>
                  <a:cubicBezTo>
                    <a:pt x="932" y="1037"/>
                    <a:pt x="934" y="1023"/>
                    <a:pt x="940" y="1010"/>
                  </a:cubicBezTo>
                  <a:cubicBezTo>
                    <a:pt x="945" y="1001"/>
                    <a:pt x="941" y="995"/>
                    <a:pt x="931" y="995"/>
                  </a:cubicBezTo>
                  <a:cubicBezTo>
                    <a:pt x="927" y="995"/>
                    <a:pt x="922" y="995"/>
                    <a:pt x="918" y="995"/>
                  </a:cubicBezTo>
                  <a:cubicBezTo>
                    <a:pt x="913" y="995"/>
                    <a:pt x="908" y="997"/>
                    <a:pt x="907" y="1001"/>
                  </a:cubicBezTo>
                  <a:cubicBezTo>
                    <a:pt x="904" y="1008"/>
                    <a:pt x="900" y="1015"/>
                    <a:pt x="899" y="1023"/>
                  </a:cubicBezTo>
                  <a:cubicBezTo>
                    <a:pt x="897" y="1034"/>
                    <a:pt x="893" y="1045"/>
                    <a:pt x="889" y="1055"/>
                  </a:cubicBezTo>
                  <a:cubicBezTo>
                    <a:pt x="887" y="1064"/>
                    <a:pt x="885" y="1072"/>
                    <a:pt x="882" y="1080"/>
                  </a:cubicBezTo>
                  <a:cubicBezTo>
                    <a:pt x="878" y="1091"/>
                    <a:pt x="874" y="1103"/>
                    <a:pt x="871" y="1115"/>
                  </a:cubicBezTo>
                  <a:cubicBezTo>
                    <a:pt x="870" y="1118"/>
                    <a:pt x="871" y="1124"/>
                    <a:pt x="866" y="1124"/>
                  </a:cubicBezTo>
                  <a:cubicBezTo>
                    <a:pt x="861" y="1125"/>
                    <a:pt x="859" y="1120"/>
                    <a:pt x="858" y="1115"/>
                  </a:cubicBezTo>
                  <a:cubicBezTo>
                    <a:pt x="856" y="1110"/>
                    <a:pt x="856" y="1104"/>
                    <a:pt x="854" y="1099"/>
                  </a:cubicBezTo>
                  <a:cubicBezTo>
                    <a:pt x="848" y="1080"/>
                    <a:pt x="841" y="1062"/>
                    <a:pt x="835" y="1044"/>
                  </a:cubicBezTo>
                  <a:cubicBezTo>
                    <a:pt x="831" y="1030"/>
                    <a:pt x="828" y="1016"/>
                    <a:pt x="822" y="1003"/>
                  </a:cubicBezTo>
                  <a:cubicBezTo>
                    <a:pt x="819" y="997"/>
                    <a:pt x="814" y="994"/>
                    <a:pt x="808" y="994"/>
                  </a:cubicBezTo>
                  <a:cubicBezTo>
                    <a:pt x="799" y="993"/>
                    <a:pt x="791" y="993"/>
                    <a:pt x="787" y="1001"/>
                  </a:cubicBezTo>
                  <a:cubicBezTo>
                    <a:pt x="783" y="1008"/>
                    <a:pt x="780" y="1015"/>
                    <a:pt x="779" y="1022"/>
                  </a:cubicBezTo>
                  <a:cubicBezTo>
                    <a:pt x="778" y="1034"/>
                    <a:pt x="772" y="1044"/>
                    <a:pt x="769" y="1055"/>
                  </a:cubicBezTo>
                  <a:cubicBezTo>
                    <a:pt x="762" y="1076"/>
                    <a:pt x="754" y="1096"/>
                    <a:pt x="749" y="1117"/>
                  </a:cubicBezTo>
                  <a:cubicBezTo>
                    <a:pt x="748" y="1120"/>
                    <a:pt x="747" y="1124"/>
                    <a:pt x="742" y="1124"/>
                  </a:cubicBezTo>
                  <a:cubicBezTo>
                    <a:pt x="737" y="1124"/>
                    <a:pt x="737" y="1120"/>
                    <a:pt x="736" y="1116"/>
                  </a:cubicBezTo>
                  <a:cubicBezTo>
                    <a:pt x="734" y="1104"/>
                    <a:pt x="730" y="1092"/>
                    <a:pt x="726" y="1080"/>
                  </a:cubicBezTo>
                  <a:cubicBezTo>
                    <a:pt x="720" y="1061"/>
                    <a:pt x="714" y="1040"/>
                    <a:pt x="708" y="1020"/>
                  </a:cubicBezTo>
                  <a:cubicBezTo>
                    <a:pt x="703" y="1000"/>
                    <a:pt x="698" y="994"/>
                    <a:pt x="676" y="995"/>
                  </a:cubicBezTo>
                  <a:cubicBezTo>
                    <a:pt x="665" y="996"/>
                    <a:pt x="661" y="1001"/>
                    <a:pt x="667" y="1011"/>
                  </a:cubicBezTo>
                  <a:cubicBezTo>
                    <a:pt x="669" y="1016"/>
                    <a:pt x="670" y="1021"/>
                    <a:pt x="672" y="1025"/>
                  </a:cubicBezTo>
                  <a:cubicBezTo>
                    <a:pt x="675" y="1035"/>
                    <a:pt x="678" y="1046"/>
                    <a:pt x="681" y="1055"/>
                  </a:cubicBezTo>
                  <a:cubicBezTo>
                    <a:pt x="685" y="1068"/>
                    <a:pt x="689" y="1080"/>
                    <a:pt x="693" y="1092"/>
                  </a:cubicBezTo>
                  <a:cubicBezTo>
                    <a:pt x="697" y="1103"/>
                    <a:pt x="699" y="1113"/>
                    <a:pt x="703" y="1124"/>
                  </a:cubicBezTo>
                  <a:cubicBezTo>
                    <a:pt x="707" y="1136"/>
                    <a:pt x="711" y="1147"/>
                    <a:pt x="715" y="1160"/>
                  </a:cubicBezTo>
                  <a:cubicBezTo>
                    <a:pt x="717" y="1168"/>
                    <a:pt x="720" y="1176"/>
                    <a:pt x="724" y="1183"/>
                  </a:cubicBezTo>
                  <a:cubicBezTo>
                    <a:pt x="728" y="1189"/>
                    <a:pt x="752" y="1185"/>
                    <a:pt x="757" y="1180"/>
                  </a:cubicBezTo>
                  <a:cubicBezTo>
                    <a:pt x="764" y="1173"/>
                    <a:pt x="762" y="1163"/>
                    <a:pt x="766" y="1156"/>
                  </a:cubicBezTo>
                  <a:cubicBezTo>
                    <a:pt x="774" y="1140"/>
                    <a:pt x="778" y="1122"/>
                    <a:pt x="784" y="1105"/>
                  </a:cubicBezTo>
                  <a:cubicBezTo>
                    <a:pt x="789" y="1088"/>
                    <a:pt x="796" y="1072"/>
                    <a:pt x="800" y="1054"/>
                  </a:cubicBezTo>
                  <a:cubicBezTo>
                    <a:pt x="800" y="1053"/>
                    <a:pt x="801" y="1050"/>
                    <a:pt x="803" y="1050"/>
                  </a:cubicBezTo>
                  <a:cubicBezTo>
                    <a:pt x="806" y="1050"/>
                    <a:pt x="806" y="1052"/>
                    <a:pt x="807" y="1055"/>
                  </a:cubicBezTo>
                  <a:cubicBezTo>
                    <a:pt x="807" y="1060"/>
                    <a:pt x="810" y="1066"/>
                    <a:pt x="811" y="1071"/>
                  </a:cubicBezTo>
                  <a:cubicBezTo>
                    <a:pt x="814" y="1081"/>
                    <a:pt x="818" y="1090"/>
                    <a:pt x="821" y="1099"/>
                  </a:cubicBezTo>
                  <a:cubicBezTo>
                    <a:pt x="824" y="1110"/>
                    <a:pt x="827" y="1120"/>
                    <a:pt x="831" y="1131"/>
                  </a:cubicBezTo>
                  <a:cubicBezTo>
                    <a:pt x="834" y="1142"/>
                    <a:pt x="839" y="1153"/>
                    <a:pt x="842" y="1164"/>
                  </a:cubicBezTo>
                  <a:cubicBezTo>
                    <a:pt x="846" y="1179"/>
                    <a:pt x="850" y="1188"/>
                    <a:pt x="869" y="1185"/>
                  </a:cubicBezTo>
                  <a:cubicBezTo>
                    <a:pt x="873" y="1184"/>
                    <a:pt x="881" y="1189"/>
                    <a:pt x="884" y="1181"/>
                  </a:cubicBezTo>
                  <a:close/>
                  <a:moveTo>
                    <a:pt x="33" y="1051"/>
                  </a:moveTo>
                  <a:cubicBezTo>
                    <a:pt x="33" y="1087"/>
                    <a:pt x="33" y="1124"/>
                    <a:pt x="33" y="1160"/>
                  </a:cubicBezTo>
                  <a:cubicBezTo>
                    <a:pt x="33" y="1188"/>
                    <a:pt x="29" y="1184"/>
                    <a:pt x="58" y="1185"/>
                  </a:cubicBezTo>
                  <a:cubicBezTo>
                    <a:pt x="72" y="1185"/>
                    <a:pt x="73" y="1184"/>
                    <a:pt x="73" y="1170"/>
                  </a:cubicBezTo>
                  <a:cubicBezTo>
                    <a:pt x="73" y="1138"/>
                    <a:pt x="73" y="1107"/>
                    <a:pt x="73" y="1076"/>
                  </a:cubicBezTo>
                  <a:cubicBezTo>
                    <a:pt x="73" y="1071"/>
                    <a:pt x="72" y="1067"/>
                    <a:pt x="78" y="1065"/>
                  </a:cubicBezTo>
                  <a:cubicBezTo>
                    <a:pt x="91" y="1062"/>
                    <a:pt x="102" y="1067"/>
                    <a:pt x="110" y="1076"/>
                  </a:cubicBezTo>
                  <a:cubicBezTo>
                    <a:pt x="112" y="1080"/>
                    <a:pt x="115" y="1083"/>
                    <a:pt x="118" y="1086"/>
                  </a:cubicBezTo>
                  <a:cubicBezTo>
                    <a:pt x="132" y="1103"/>
                    <a:pt x="146" y="1119"/>
                    <a:pt x="161" y="1136"/>
                  </a:cubicBezTo>
                  <a:cubicBezTo>
                    <a:pt x="173" y="1150"/>
                    <a:pt x="186" y="1165"/>
                    <a:pt x="198" y="1179"/>
                  </a:cubicBezTo>
                  <a:cubicBezTo>
                    <a:pt x="207" y="1188"/>
                    <a:pt x="218" y="1184"/>
                    <a:pt x="228" y="1185"/>
                  </a:cubicBezTo>
                  <a:cubicBezTo>
                    <a:pt x="233" y="1185"/>
                    <a:pt x="241" y="1188"/>
                    <a:pt x="244" y="1182"/>
                  </a:cubicBezTo>
                  <a:cubicBezTo>
                    <a:pt x="246" y="1178"/>
                    <a:pt x="239" y="1173"/>
                    <a:pt x="235" y="1169"/>
                  </a:cubicBezTo>
                  <a:cubicBezTo>
                    <a:pt x="206" y="1133"/>
                    <a:pt x="176" y="1098"/>
                    <a:pt x="146" y="1062"/>
                  </a:cubicBezTo>
                  <a:cubicBezTo>
                    <a:pt x="141" y="1056"/>
                    <a:pt x="131" y="1052"/>
                    <a:pt x="132" y="1044"/>
                  </a:cubicBezTo>
                  <a:cubicBezTo>
                    <a:pt x="132" y="1036"/>
                    <a:pt x="142" y="1032"/>
                    <a:pt x="147" y="1026"/>
                  </a:cubicBezTo>
                  <a:cubicBezTo>
                    <a:pt x="164" y="1006"/>
                    <a:pt x="182" y="988"/>
                    <a:pt x="198" y="968"/>
                  </a:cubicBezTo>
                  <a:cubicBezTo>
                    <a:pt x="209" y="954"/>
                    <a:pt x="221" y="942"/>
                    <a:pt x="234" y="929"/>
                  </a:cubicBezTo>
                  <a:cubicBezTo>
                    <a:pt x="236" y="926"/>
                    <a:pt x="238" y="923"/>
                    <a:pt x="237" y="920"/>
                  </a:cubicBezTo>
                  <a:cubicBezTo>
                    <a:pt x="235" y="915"/>
                    <a:pt x="231" y="917"/>
                    <a:pt x="228" y="917"/>
                  </a:cubicBezTo>
                  <a:cubicBezTo>
                    <a:pt x="224" y="918"/>
                    <a:pt x="221" y="918"/>
                    <a:pt x="217" y="918"/>
                  </a:cubicBezTo>
                  <a:cubicBezTo>
                    <a:pt x="204" y="917"/>
                    <a:pt x="193" y="922"/>
                    <a:pt x="185" y="931"/>
                  </a:cubicBezTo>
                  <a:cubicBezTo>
                    <a:pt x="172" y="946"/>
                    <a:pt x="158" y="961"/>
                    <a:pt x="145" y="977"/>
                  </a:cubicBezTo>
                  <a:cubicBezTo>
                    <a:pt x="131" y="993"/>
                    <a:pt x="117" y="1010"/>
                    <a:pt x="102" y="1026"/>
                  </a:cubicBezTo>
                  <a:cubicBezTo>
                    <a:pt x="96" y="1032"/>
                    <a:pt x="87" y="1037"/>
                    <a:pt x="78" y="1034"/>
                  </a:cubicBezTo>
                  <a:cubicBezTo>
                    <a:pt x="70" y="1030"/>
                    <a:pt x="73" y="1021"/>
                    <a:pt x="73" y="1015"/>
                  </a:cubicBezTo>
                  <a:cubicBezTo>
                    <a:pt x="73" y="991"/>
                    <a:pt x="73" y="967"/>
                    <a:pt x="73" y="944"/>
                  </a:cubicBezTo>
                  <a:cubicBezTo>
                    <a:pt x="73" y="916"/>
                    <a:pt x="75" y="917"/>
                    <a:pt x="46" y="918"/>
                  </a:cubicBezTo>
                  <a:cubicBezTo>
                    <a:pt x="33" y="918"/>
                    <a:pt x="33" y="918"/>
                    <a:pt x="33" y="931"/>
                  </a:cubicBezTo>
                  <a:cubicBezTo>
                    <a:pt x="33" y="971"/>
                    <a:pt x="33" y="1011"/>
                    <a:pt x="33" y="1051"/>
                  </a:cubicBezTo>
                  <a:cubicBezTo>
                    <a:pt x="33" y="1051"/>
                    <a:pt x="33" y="1051"/>
                    <a:pt x="33" y="1051"/>
                  </a:cubicBezTo>
                  <a:close/>
                  <a:moveTo>
                    <a:pt x="639" y="84"/>
                  </a:moveTo>
                  <a:cubicBezTo>
                    <a:pt x="627" y="84"/>
                    <a:pt x="626" y="84"/>
                    <a:pt x="629" y="95"/>
                  </a:cubicBezTo>
                  <a:cubicBezTo>
                    <a:pt x="634" y="113"/>
                    <a:pt x="640" y="131"/>
                    <a:pt x="646" y="148"/>
                  </a:cubicBezTo>
                  <a:cubicBezTo>
                    <a:pt x="652" y="166"/>
                    <a:pt x="658" y="185"/>
                    <a:pt x="664" y="203"/>
                  </a:cubicBezTo>
                  <a:cubicBezTo>
                    <a:pt x="671" y="223"/>
                    <a:pt x="676" y="244"/>
                    <a:pt x="684" y="264"/>
                  </a:cubicBezTo>
                  <a:cubicBezTo>
                    <a:pt x="688" y="274"/>
                    <a:pt x="694" y="274"/>
                    <a:pt x="702" y="274"/>
                  </a:cubicBezTo>
                  <a:cubicBezTo>
                    <a:pt x="711" y="274"/>
                    <a:pt x="719" y="272"/>
                    <a:pt x="723" y="263"/>
                  </a:cubicBezTo>
                  <a:cubicBezTo>
                    <a:pt x="733" y="236"/>
                    <a:pt x="741" y="208"/>
                    <a:pt x="750" y="181"/>
                  </a:cubicBezTo>
                  <a:cubicBezTo>
                    <a:pt x="754" y="169"/>
                    <a:pt x="757" y="156"/>
                    <a:pt x="763" y="145"/>
                  </a:cubicBezTo>
                  <a:cubicBezTo>
                    <a:pt x="764" y="143"/>
                    <a:pt x="764" y="140"/>
                    <a:pt x="767" y="140"/>
                  </a:cubicBezTo>
                  <a:cubicBezTo>
                    <a:pt x="770" y="140"/>
                    <a:pt x="770" y="143"/>
                    <a:pt x="771" y="145"/>
                  </a:cubicBezTo>
                  <a:cubicBezTo>
                    <a:pt x="771" y="156"/>
                    <a:pt x="777" y="165"/>
                    <a:pt x="780" y="175"/>
                  </a:cubicBezTo>
                  <a:cubicBezTo>
                    <a:pt x="782" y="184"/>
                    <a:pt x="785" y="193"/>
                    <a:pt x="788" y="201"/>
                  </a:cubicBezTo>
                  <a:cubicBezTo>
                    <a:pt x="794" y="219"/>
                    <a:pt x="801" y="237"/>
                    <a:pt x="806" y="255"/>
                  </a:cubicBezTo>
                  <a:cubicBezTo>
                    <a:pt x="811" y="272"/>
                    <a:pt x="825" y="280"/>
                    <a:pt x="842" y="273"/>
                  </a:cubicBezTo>
                  <a:cubicBezTo>
                    <a:pt x="845" y="271"/>
                    <a:pt x="847" y="269"/>
                    <a:pt x="848" y="266"/>
                  </a:cubicBezTo>
                  <a:cubicBezTo>
                    <a:pt x="853" y="251"/>
                    <a:pt x="859" y="236"/>
                    <a:pt x="863" y="221"/>
                  </a:cubicBezTo>
                  <a:cubicBezTo>
                    <a:pt x="867" y="202"/>
                    <a:pt x="875" y="185"/>
                    <a:pt x="880" y="166"/>
                  </a:cubicBezTo>
                  <a:cubicBezTo>
                    <a:pt x="886" y="144"/>
                    <a:pt x="895" y="123"/>
                    <a:pt x="900" y="101"/>
                  </a:cubicBezTo>
                  <a:cubicBezTo>
                    <a:pt x="901" y="96"/>
                    <a:pt x="909" y="91"/>
                    <a:pt x="904" y="86"/>
                  </a:cubicBezTo>
                  <a:cubicBezTo>
                    <a:pt x="900" y="81"/>
                    <a:pt x="892" y="84"/>
                    <a:pt x="886" y="84"/>
                  </a:cubicBezTo>
                  <a:cubicBezTo>
                    <a:pt x="885" y="84"/>
                    <a:pt x="883" y="84"/>
                    <a:pt x="881" y="84"/>
                  </a:cubicBezTo>
                  <a:cubicBezTo>
                    <a:pt x="875" y="84"/>
                    <a:pt x="872" y="86"/>
                    <a:pt x="869" y="91"/>
                  </a:cubicBezTo>
                  <a:cubicBezTo>
                    <a:pt x="860" y="110"/>
                    <a:pt x="856" y="131"/>
                    <a:pt x="850" y="151"/>
                  </a:cubicBezTo>
                  <a:cubicBezTo>
                    <a:pt x="844" y="170"/>
                    <a:pt x="836" y="188"/>
                    <a:pt x="834" y="208"/>
                  </a:cubicBezTo>
                  <a:cubicBezTo>
                    <a:pt x="833" y="211"/>
                    <a:pt x="831" y="214"/>
                    <a:pt x="827" y="214"/>
                  </a:cubicBezTo>
                  <a:cubicBezTo>
                    <a:pt x="823" y="214"/>
                    <a:pt x="822" y="210"/>
                    <a:pt x="822" y="207"/>
                  </a:cubicBezTo>
                  <a:cubicBezTo>
                    <a:pt x="817" y="188"/>
                    <a:pt x="811" y="170"/>
                    <a:pt x="805" y="152"/>
                  </a:cubicBezTo>
                  <a:cubicBezTo>
                    <a:pt x="799" y="133"/>
                    <a:pt x="794" y="114"/>
                    <a:pt x="786" y="96"/>
                  </a:cubicBezTo>
                  <a:cubicBezTo>
                    <a:pt x="783" y="87"/>
                    <a:pt x="779" y="84"/>
                    <a:pt x="770" y="84"/>
                  </a:cubicBezTo>
                  <a:cubicBezTo>
                    <a:pt x="761" y="84"/>
                    <a:pt x="752" y="82"/>
                    <a:pt x="748" y="94"/>
                  </a:cubicBezTo>
                  <a:cubicBezTo>
                    <a:pt x="744" y="109"/>
                    <a:pt x="738" y="123"/>
                    <a:pt x="734" y="138"/>
                  </a:cubicBezTo>
                  <a:cubicBezTo>
                    <a:pt x="729" y="153"/>
                    <a:pt x="724" y="167"/>
                    <a:pt x="719" y="182"/>
                  </a:cubicBezTo>
                  <a:cubicBezTo>
                    <a:pt x="716" y="192"/>
                    <a:pt x="715" y="203"/>
                    <a:pt x="708" y="212"/>
                  </a:cubicBezTo>
                  <a:cubicBezTo>
                    <a:pt x="707" y="214"/>
                    <a:pt x="707" y="217"/>
                    <a:pt x="704" y="217"/>
                  </a:cubicBezTo>
                  <a:cubicBezTo>
                    <a:pt x="701" y="217"/>
                    <a:pt x="701" y="213"/>
                    <a:pt x="700" y="211"/>
                  </a:cubicBezTo>
                  <a:cubicBezTo>
                    <a:pt x="699" y="198"/>
                    <a:pt x="694" y="186"/>
                    <a:pt x="690" y="174"/>
                  </a:cubicBezTo>
                  <a:cubicBezTo>
                    <a:pt x="684" y="153"/>
                    <a:pt x="677" y="131"/>
                    <a:pt x="672" y="110"/>
                  </a:cubicBezTo>
                  <a:cubicBezTo>
                    <a:pt x="667" y="88"/>
                    <a:pt x="663" y="84"/>
                    <a:pt x="645" y="84"/>
                  </a:cubicBezTo>
                  <a:cubicBezTo>
                    <a:pt x="643" y="84"/>
                    <a:pt x="641" y="84"/>
                    <a:pt x="639" y="84"/>
                  </a:cubicBezTo>
                  <a:close/>
                  <a:moveTo>
                    <a:pt x="507" y="711"/>
                  </a:moveTo>
                  <a:cubicBezTo>
                    <a:pt x="507" y="730"/>
                    <a:pt x="507" y="730"/>
                    <a:pt x="526" y="730"/>
                  </a:cubicBezTo>
                  <a:cubicBezTo>
                    <a:pt x="539" y="730"/>
                    <a:pt x="541" y="729"/>
                    <a:pt x="541" y="715"/>
                  </a:cubicBezTo>
                  <a:cubicBezTo>
                    <a:pt x="541" y="677"/>
                    <a:pt x="541" y="638"/>
                    <a:pt x="540" y="600"/>
                  </a:cubicBezTo>
                  <a:cubicBezTo>
                    <a:pt x="540" y="593"/>
                    <a:pt x="543" y="587"/>
                    <a:pt x="548" y="582"/>
                  </a:cubicBezTo>
                  <a:cubicBezTo>
                    <a:pt x="553" y="576"/>
                    <a:pt x="559" y="573"/>
                    <a:pt x="564" y="569"/>
                  </a:cubicBezTo>
                  <a:cubicBezTo>
                    <a:pt x="574" y="564"/>
                    <a:pt x="594" y="566"/>
                    <a:pt x="602" y="574"/>
                  </a:cubicBezTo>
                  <a:cubicBezTo>
                    <a:pt x="611" y="582"/>
                    <a:pt x="614" y="592"/>
                    <a:pt x="614" y="604"/>
                  </a:cubicBezTo>
                  <a:cubicBezTo>
                    <a:pt x="614" y="638"/>
                    <a:pt x="614" y="672"/>
                    <a:pt x="614" y="706"/>
                  </a:cubicBezTo>
                  <a:cubicBezTo>
                    <a:pt x="614" y="730"/>
                    <a:pt x="614" y="730"/>
                    <a:pt x="638" y="730"/>
                  </a:cubicBezTo>
                  <a:cubicBezTo>
                    <a:pt x="650" y="730"/>
                    <a:pt x="650" y="730"/>
                    <a:pt x="650" y="717"/>
                  </a:cubicBezTo>
                  <a:cubicBezTo>
                    <a:pt x="650" y="684"/>
                    <a:pt x="650" y="650"/>
                    <a:pt x="650" y="617"/>
                  </a:cubicBezTo>
                  <a:cubicBezTo>
                    <a:pt x="650" y="606"/>
                    <a:pt x="651" y="597"/>
                    <a:pt x="657" y="586"/>
                  </a:cubicBezTo>
                  <a:cubicBezTo>
                    <a:pt x="667" y="565"/>
                    <a:pt x="703" y="560"/>
                    <a:pt x="716" y="579"/>
                  </a:cubicBezTo>
                  <a:cubicBezTo>
                    <a:pt x="723" y="588"/>
                    <a:pt x="724" y="598"/>
                    <a:pt x="724" y="609"/>
                  </a:cubicBezTo>
                  <a:cubicBezTo>
                    <a:pt x="724" y="645"/>
                    <a:pt x="724" y="682"/>
                    <a:pt x="724" y="718"/>
                  </a:cubicBezTo>
                  <a:cubicBezTo>
                    <a:pt x="724" y="727"/>
                    <a:pt x="727" y="731"/>
                    <a:pt x="736" y="730"/>
                  </a:cubicBezTo>
                  <a:cubicBezTo>
                    <a:pt x="738" y="730"/>
                    <a:pt x="741" y="730"/>
                    <a:pt x="743" y="730"/>
                  </a:cubicBezTo>
                  <a:cubicBezTo>
                    <a:pt x="758" y="730"/>
                    <a:pt x="759" y="729"/>
                    <a:pt x="759" y="715"/>
                  </a:cubicBezTo>
                  <a:cubicBezTo>
                    <a:pt x="759" y="677"/>
                    <a:pt x="758" y="639"/>
                    <a:pt x="759" y="601"/>
                  </a:cubicBezTo>
                  <a:cubicBezTo>
                    <a:pt x="759" y="571"/>
                    <a:pt x="742" y="540"/>
                    <a:pt x="704" y="538"/>
                  </a:cubicBezTo>
                  <a:cubicBezTo>
                    <a:pt x="681" y="536"/>
                    <a:pt x="661" y="542"/>
                    <a:pt x="646" y="560"/>
                  </a:cubicBezTo>
                  <a:cubicBezTo>
                    <a:pt x="638" y="569"/>
                    <a:pt x="638" y="569"/>
                    <a:pt x="631" y="559"/>
                  </a:cubicBezTo>
                  <a:cubicBezTo>
                    <a:pt x="630" y="558"/>
                    <a:pt x="630" y="557"/>
                    <a:pt x="629" y="556"/>
                  </a:cubicBezTo>
                  <a:cubicBezTo>
                    <a:pt x="623" y="548"/>
                    <a:pt x="616" y="541"/>
                    <a:pt x="607" y="539"/>
                  </a:cubicBezTo>
                  <a:cubicBezTo>
                    <a:pt x="584" y="534"/>
                    <a:pt x="563" y="539"/>
                    <a:pt x="545" y="555"/>
                  </a:cubicBezTo>
                  <a:cubicBezTo>
                    <a:pt x="540" y="559"/>
                    <a:pt x="537" y="561"/>
                    <a:pt x="537" y="552"/>
                  </a:cubicBezTo>
                  <a:cubicBezTo>
                    <a:pt x="536" y="543"/>
                    <a:pt x="526" y="538"/>
                    <a:pt x="515" y="539"/>
                  </a:cubicBezTo>
                  <a:cubicBezTo>
                    <a:pt x="506" y="540"/>
                    <a:pt x="507" y="546"/>
                    <a:pt x="507" y="552"/>
                  </a:cubicBezTo>
                  <a:cubicBezTo>
                    <a:pt x="507" y="580"/>
                    <a:pt x="507" y="607"/>
                    <a:pt x="507" y="634"/>
                  </a:cubicBezTo>
                  <a:cubicBezTo>
                    <a:pt x="507" y="660"/>
                    <a:pt x="507" y="685"/>
                    <a:pt x="507" y="711"/>
                  </a:cubicBezTo>
                  <a:close/>
                  <a:moveTo>
                    <a:pt x="1525" y="1142"/>
                  </a:moveTo>
                  <a:cubicBezTo>
                    <a:pt x="1517" y="1143"/>
                    <a:pt x="1511" y="1141"/>
                    <a:pt x="1505" y="1136"/>
                  </a:cubicBezTo>
                  <a:cubicBezTo>
                    <a:pt x="1501" y="1133"/>
                    <a:pt x="1495" y="1130"/>
                    <a:pt x="1498" y="1124"/>
                  </a:cubicBezTo>
                  <a:cubicBezTo>
                    <a:pt x="1500" y="1118"/>
                    <a:pt x="1504" y="1114"/>
                    <a:pt x="1512" y="1114"/>
                  </a:cubicBezTo>
                  <a:cubicBezTo>
                    <a:pt x="1521" y="1115"/>
                    <a:pt x="1530" y="1114"/>
                    <a:pt x="1538" y="1115"/>
                  </a:cubicBezTo>
                  <a:cubicBezTo>
                    <a:pt x="1573" y="1117"/>
                    <a:pt x="1610" y="1084"/>
                    <a:pt x="1602" y="1044"/>
                  </a:cubicBezTo>
                  <a:cubicBezTo>
                    <a:pt x="1600" y="1035"/>
                    <a:pt x="1599" y="1028"/>
                    <a:pt x="1611" y="1027"/>
                  </a:cubicBezTo>
                  <a:cubicBezTo>
                    <a:pt x="1614" y="1027"/>
                    <a:pt x="1617" y="1024"/>
                    <a:pt x="1619" y="1023"/>
                  </a:cubicBezTo>
                  <a:cubicBezTo>
                    <a:pt x="1626" y="1019"/>
                    <a:pt x="1624" y="1013"/>
                    <a:pt x="1623" y="1008"/>
                  </a:cubicBezTo>
                  <a:cubicBezTo>
                    <a:pt x="1623" y="1002"/>
                    <a:pt x="1618" y="1003"/>
                    <a:pt x="1613" y="1002"/>
                  </a:cubicBezTo>
                  <a:cubicBezTo>
                    <a:pt x="1598" y="1002"/>
                    <a:pt x="1582" y="1004"/>
                    <a:pt x="1567" y="1000"/>
                  </a:cubicBezTo>
                  <a:cubicBezTo>
                    <a:pt x="1560" y="999"/>
                    <a:pt x="1554" y="993"/>
                    <a:pt x="1546" y="993"/>
                  </a:cubicBezTo>
                  <a:cubicBezTo>
                    <a:pt x="1536" y="994"/>
                    <a:pt x="1525" y="992"/>
                    <a:pt x="1515" y="993"/>
                  </a:cubicBezTo>
                  <a:cubicBezTo>
                    <a:pt x="1490" y="997"/>
                    <a:pt x="1469" y="1010"/>
                    <a:pt x="1462" y="1034"/>
                  </a:cubicBezTo>
                  <a:cubicBezTo>
                    <a:pt x="1455" y="1056"/>
                    <a:pt x="1457" y="1079"/>
                    <a:pt x="1476" y="1096"/>
                  </a:cubicBezTo>
                  <a:cubicBezTo>
                    <a:pt x="1483" y="1103"/>
                    <a:pt x="1483" y="1107"/>
                    <a:pt x="1476" y="1113"/>
                  </a:cubicBezTo>
                  <a:cubicBezTo>
                    <a:pt x="1462" y="1126"/>
                    <a:pt x="1462" y="1142"/>
                    <a:pt x="1473" y="1157"/>
                  </a:cubicBezTo>
                  <a:cubicBezTo>
                    <a:pt x="1476" y="1160"/>
                    <a:pt x="1476" y="1162"/>
                    <a:pt x="1472" y="1164"/>
                  </a:cubicBezTo>
                  <a:cubicBezTo>
                    <a:pt x="1470" y="1166"/>
                    <a:pt x="1468" y="1168"/>
                    <a:pt x="1466" y="1170"/>
                  </a:cubicBezTo>
                  <a:cubicBezTo>
                    <a:pt x="1449" y="1183"/>
                    <a:pt x="1444" y="1201"/>
                    <a:pt x="1454" y="1218"/>
                  </a:cubicBezTo>
                  <a:cubicBezTo>
                    <a:pt x="1464" y="1235"/>
                    <a:pt x="1479" y="1246"/>
                    <a:pt x="1499" y="1249"/>
                  </a:cubicBezTo>
                  <a:cubicBezTo>
                    <a:pt x="1517" y="1252"/>
                    <a:pt x="1535" y="1253"/>
                    <a:pt x="1553" y="1250"/>
                  </a:cubicBezTo>
                  <a:cubicBezTo>
                    <a:pt x="1584" y="1245"/>
                    <a:pt x="1607" y="1232"/>
                    <a:pt x="1619" y="1200"/>
                  </a:cubicBezTo>
                  <a:cubicBezTo>
                    <a:pt x="1627" y="1180"/>
                    <a:pt x="1611" y="1155"/>
                    <a:pt x="1593" y="1148"/>
                  </a:cubicBezTo>
                  <a:cubicBezTo>
                    <a:pt x="1578" y="1142"/>
                    <a:pt x="1563" y="1143"/>
                    <a:pt x="1549" y="1142"/>
                  </a:cubicBezTo>
                  <a:cubicBezTo>
                    <a:pt x="1540" y="1142"/>
                    <a:pt x="1532" y="1142"/>
                    <a:pt x="1525" y="1142"/>
                  </a:cubicBezTo>
                  <a:close/>
                  <a:moveTo>
                    <a:pt x="1556" y="1172"/>
                  </a:moveTo>
                  <a:cubicBezTo>
                    <a:pt x="1566" y="1172"/>
                    <a:pt x="1576" y="1176"/>
                    <a:pt x="1583" y="1183"/>
                  </a:cubicBezTo>
                  <a:cubicBezTo>
                    <a:pt x="1589" y="1190"/>
                    <a:pt x="1589" y="1198"/>
                    <a:pt x="1583" y="1205"/>
                  </a:cubicBezTo>
                  <a:cubicBezTo>
                    <a:pt x="1575" y="1215"/>
                    <a:pt x="1565" y="1220"/>
                    <a:pt x="1553" y="1223"/>
                  </a:cubicBezTo>
                  <a:cubicBezTo>
                    <a:pt x="1534" y="1228"/>
                    <a:pt x="1516" y="1225"/>
                    <a:pt x="1499" y="1219"/>
                  </a:cubicBezTo>
                  <a:cubicBezTo>
                    <a:pt x="1486" y="1214"/>
                    <a:pt x="1479" y="1203"/>
                    <a:pt x="1482" y="1193"/>
                  </a:cubicBezTo>
                  <a:cubicBezTo>
                    <a:pt x="1485" y="1182"/>
                    <a:pt x="1496" y="1168"/>
                    <a:pt x="1514" y="1171"/>
                  </a:cubicBezTo>
                  <a:cubicBezTo>
                    <a:pt x="1526" y="1173"/>
                    <a:pt x="1541" y="1171"/>
                    <a:pt x="1556" y="1172"/>
                  </a:cubicBezTo>
                  <a:close/>
                  <a:moveTo>
                    <a:pt x="1531" y="1019"/>
                  </a:moveTo>
                  <a:cubicBezTo>
                    <a:pt x="1553" y="1017"/>
                    <a:pt x="1570" y="1033"/>
                    <a:pt x="1570" y="1052"/>
                  </a:cubicBezTo>
                  <a:cubicBezTo>
                    <a:pt x="1570" y="1075"/>
                    <a:pt x="1554" y="1093"/>
                    <a:pt x="1532" y="1091"/>
                  </a:cubicBezTo>
                  <a:cubicBezTo>
                    <a:pt x="1508" y="1089"/>
                    <a:pt x="1494" y="1082"/>
                    <a:pt x="1493" y="1053"/>
                  </a:cubicBezTo>
                  <a:cubicBezTo>
                    <a:pt x="1494" y="1029"/>
                    <a:pt x="1508" y="1020"/>
                    <a:pt x="1531" y="1019"/>
                  </a:cubicBezTo>
                  <a:close/>
                  <a:moveTo>
                    <a:pt x="1413" y="934"/>
                  </a:moveTo>
                  <a:cubicBezTo>
                    <a:pt x="1413" y="909"/>
                    <a:pt x="1413" y="909"/>
                    <a:pt x="1389" y="910"/>
                  </a:cubicBezTo>
                  <a:cubicBezTo>
                    <a:pt x="1388" y="910"/>
                    <a:pt x="1387" y="910"/>
                    <a:pt x="1387" y="910"/>
                  </a:cubicBezTo>
                  <a:cubicBezTo>
                    <a:pt x="1379" y="910"/>
                    <a:pt x="1376" y="915"/>
                    <a:pt x="1376" y="921"/>
                  </a:cubicBezTo>
                  <a:cubicBezTo>
                    <a:pt x="1376" y="939"/>
                    <a:pt x="1377" y="956"/>
                    <a:pt x="1377" y="974"/>
                  </a:cubicBezTo>
                  <a:cubicBezTo>
                    <a:pt x="1377" y="983"/>
                    <a:pt x="1377" y="991"/>
                    <a:pt x="1377" y="1000"/>
                  </a:cubicBezTo>
                  <a:cubicBezTo>
                    <a:pt x="1377" y="1005"/>
                    <a:pt x="1374" y="1009"/>
                    <a:pt x="1369" y="1005"/>
                  </a:cubicBezTo>
                  <a:cubicBezTo>
                    <a:pt x="1352" y="990"/>
                    <a:pt x="1332" y="993"/>
                    <a:pt x="1312" y="993"/>
                  </a:cubicBezTo>
                  <a:cubicBezTo>
                    <a:pt x="1303" y="994"/>
                    <a:pt x="1294" y="998"/>
                    <a:pt x="1287" y="1003"/>
                  </a:cubicBezTo>
                  <a:cubicBezTo>
                    <a:pt x="1265" y="1017"/>
                    <a:pt x="1252" y="1039"/>
                    <a:pt x="1248" y="1065"/>
                  </a:cubicBezTo>
                  <a:cubicBezTo>
                    <a:pt x="1244" y="1096"/>
                    <a:pt x="1244" y="1128"/>
                    <a:pt x="1261" y="1157"/>
                  </a:cubicBezTo>
                  <a:cubicBezTo>
                    <a:pt x="1270" y="1170"/>
                    <a:pt x="1281" y="1181"/>
                    <a:pt x="1296" y="1185"/>
                  </a:cubicBezTo>
                  <a:cubicBezTo>
                    <a:pt x="1323" y="1191"/>
                    <a:pt x="1349" y="1188"/>
                    <a:pt x="1370" y="1167"/>
                  </a:cubicBezTo>
                  <a:cubicBezTo>
                    <a:pt x="1372" y="1165"/>
                    <a:pt x="1375" y="1162"/>
                    <a:pt x="1379" y="1163"/>
                  </a:cubicBezTo>
                  <a:cubicBezTo>
                    <a:pt x="1382" y="1165"/>
                    <a:pt x="1381" y="1169"/>
                    <a:pt x="1381" y="1172"/>
                  </a:cubicBezTo>
                  <a:cubicBezTo>
                    <a:pt x="1383" y="1181"/>
                    <a:pt x="1390" y="1186"/>
                    <a:pt x="1403" y="1186"/>
                  </a:cubicBezTo>
                  <a:cubicBezTo>
                    <a:pt x="1413" y="1185"/>
                    <a:pt x="1413" y="1178"/>
                    <a:pt x="1413" y="1172"/>
                  </a:cubicBezTo>
                  <a:cubicBezTo>
                    <a:pt x="1413" y="1131"/>
                    <a:pt x="1413" y="1090"/>
                    <a:pt x="1413" y="1049"/>
                  </a:cubicBezTo>
                  <a:cubicBezTo>
                    <a:pt x="1413" y="1010"/>
                    <a:pt x="1413" y="972"/>
                    <a:pt x="1413" y="934"/>
                  </a:cubicBezTo>
                  <a:close/>
                  <a:moveTo>
                    <a:pt x="1378" y="1113"/>
                  </a:moveTo>
                  <a:cubicBezTo>
                    <a:pt x="1378" y="1136"/>
                    <a:pt x="1360" y="1155"/>
                    <a:pt x="1337" y="1157"/>
                  </a:cubicBezTo>
                  <a:cubicBezTo>
                    <a:pt x="1319" y="1159"/>
                    <a:pt x="1304" y="1154"/>
                    <a:pt x="1294" y="1139"/>
                  </a:cubicBezTo>
                  <a:cubicBezTo>
                    <a:pt x="1286" y="1128"/>
                    <a:pt x="1283" y="1116"/>
                    <a:pt x="1283" y="1102"/>
                  </a:cubicBezTo>
                  <a:cubicBezTo>
                    <a:pt x="1282" y="1085"/>
                    <a:pt x="1282" y="1067"/>
                    <a:pt x="1290" y="1051"/>
                  </a:cubicBezTo>
                  <a:cubicBezTo>
                    <a:pt x="1297" y="1036"/>
                    <a:pt x="1308" y="1024"/>
                    <a:pt x="1325" y="1022"/>
                  </a:cubicBezTo>
                  <a:cubicBezTo>
                    <a:pt x="1342" y="1020"/>
                    <a:pt x="1358" y="1021"/>
                    <a:pt x="1371" y="1035"/>
                  </a:cubicBezTo>
                  <a:cubicBezTo>
                    <a:pt x="1376" y="1041"/>
                    <a:pt x="1378" y="1046"/>
                    <a:pt x="1378" y="1052"/>
                  </a:cubicBezTo>
                  <a:cubicBezTo>
                    <a:pt x="1378" y="1064"/>
                    <a:pt x="1378" y="1075"/>
                    <a:pt x="1378" y="1086"/>
                  </a:cubicBezTo>
                  <a:cubicBezTo>
                    <a:pt x="1378" y="1086"/>
                    <a:pt x="1378" y="1086"/>
                    <a:pt x="1378" y="1086"/>
                  </a:cubicBezTo>
                  <a:cubicBezTo>
                    <a:pt x="1378" y="1095"/>
                    <a:pt x="1378" y="1104"/>
                    <a:pt x="1378" y="1113"/>
                  </a:cubicBezTo>
                  <a:close/>
                  <a:moveTo>
                    <a:pt x="578" y="259"/>
                  </a:moveTo>
                  <a:cubicBezTo>
                    <a:pt x="603" y="241"/>
                    <a:pt x="611" y="213"/>
                    <a:pt x="614" y="183"/>
                  </a:cubicBezTo>
                  <a:cubicBezTo>
                    <a:pt x="615" y="171"/>
                    <a:pt x="610" y="159"/>
                    <a:pt x="609" y="147"/>
                  </a:cubicBezTo>
                  <a:cubicBezTo>
                    <a:pt x="608" y="137"/>
                    <a:pt x="603" y="129"/>
                    <a:pt x="599" y="121"/>
                  </a:cubicBezTo>
                  <a:cubicBezTo>
                    <a:pt x="579" y="87"/>
                    <a:pt x="527" y="70"/>
                    <a:pt x="488" y="85"/>
                  </a:cubicBezTo>
                  <a:cubicBezTo>
                    <a:pt x="453" y="99"/>
                    <a:pt x="436" y="127"/>
                    <a:pt x="431" y="163"/>
                  </a:cubicBezTo>
                  <a:cubicBezTo>
                    <a:pt x="429" y="180"/>
                    <a:pt x="430" y="196"/>
                    <a:pt x="436" y="213"/>
                  </a:cubicBezTo>
                  <a:cubicBezTo>
                    <a:pt x="439" y="222"/>
                    <a:pt x="442" y="232"/>
                    <a:pt x="447" y="239"/>
                  </a:cubicBezTo>
                  <a:cubicBezTo>
                    <a:pt x="465" y="265"/>
                    <a:pt x="491" y="277"/>
                    <a:pt x="525" y="276"/>
                  </a:cubicBezTo>
                  <a:cubicBezTo>
                    <a:pt x="543" y="278"/>
                    <a:pt x="562" y="271"/>
                    <a:pt x="578" y="259"/>
                  </a:cubicBezTo>
                  <a:close/>
                  <a:moveTo>
                    <a:pt x="471" y="205"/>
                  </a:moveTo>
                  <a:cubicBezTo>
                    <a:pt x="466" y="185"/>
                    <a:pt x="468" y="167"/>
                    <a:pt x="472" y="147"/>
                  </a:cubicBezTo>
                  <a:cubicBezTo>
                    <a:pt x="477" y="130"/>
                    <a:pt x="493" y="116"/>
                    <a:pt x="509" y="112"/>
                  </a:cubicBezTo>
                  <a:cubicBezTo>
                    <a:pt x="525" y="108"/>
                    <a:pt x="539" y="110"/>
                    <a:pt x="553" y="119"/>
                  </a:cubicBezTo>
                  <a:cubicBezTo>
                    <a:pt x="563" y="125"/>
                    <a:pt x="568" y="135"/>
                    <a:pt x="571" y="146"/>
                  </a:cubicBezTo>
                  <a:cubicBezTo>
                    <a:pt x="577" y="167"/>
                    <a:pt x="578" y="189"/>
                    <a:pt x="571" y="211"/>
                  </a:cubicBezTo>
                  <a:cubicBezTo>
                    <a:pt x="565" y="231"/>
                    <a:pt x="549" y="249"/>
                    <a:pt x="521" y="247"/>
                  </a:cubicBezTo>
                  <a:cubicBezTo>
                    <a:pt x="496" y="247"/>
                    <a:pt x="478" y="230"/>
                    <a:pt x="471" y="205"/>
                  </a:cubicBezTo>
                  <a:close/>
                  <a:moveTo>
                    <a:pt x="472" y="1122"/>
                  </a:moveTo>
                  <a:cubicBezTo>
                    <a:pt x="475" y="1136"/>
                    <a:pt x="481" y="1148"/>
                    <a:pt x="491" y="1158"/>
                  </a:cubicBezTo>
                  <a:cubicBezTo>
                    <a:pt x="506" y="1176"/>
                    <a:pt x="524" y="1185"/>
                    <a:pt x="548" y="1187"/>
                  </a:cubicBezTo>
                  <a:cubicBezTo>
                    <a:pt x="568" y="1188"/>
                    <a:pt x="587" y="1187"/>
                    <a:pt x="605" y="1177"/>
                  </a:cubicBezTo>
                  <a:cubicBezTo>
                    <a:pt x="632" y="1162"/>
                    <a:pt x="644" y="1136"/>
                    <a:pt x="649" y="1107"/>
                  </a:cubicBezTo>
                  <a:cubicBezTo>
                    <a:pt x="652" y="1089"/>
                    <a:pt x="649" y="1072"/>
                    <a:pt x="644" y="1054"/>
                  </a:cubicBezTo>
                  <a:cubicBezTo>
                    <a:pt x="638" y="1034"/>
                    <a:pt x="627" y="1019"/>
                    <a:pt x="610" y="1007"/>
                  </a:cubicBezTo>
                  <a:cubicBezTo>
                    <a:pt x="589" y="992"/>
                    <a:pt x="566" y="991"/>
                    <a:pt x="541" y="994"/>
                  </a:cubicBezTo>
                  <a:cubicBezTo>
                    <a:pt x="526" y="995"/>
                    <a:pt x="512" y="1002"/>
                    <a:pt x="500" y="1012"/>
                  </a:cubicBezTo>
                  <a:cubicBezTo>
                    <a:pt x="476" y="1032"/>
                    <a:pt x="469" y="1060"/>
                    <a:pt x="466" y="1095"/>
                  </a:cubicBezTo>
                  <a:cubicBezTo>
                    <a:pt x="465" y="1101"/>
                    <a:pt x="470" y="1111"/>
                    <a:pt x="472" y="1122"/>
                  </a:cubicBezTo>
                  <a:close/>
                  <a:moveTo>
                    <a:pt x="508" y="1113"/>
                  </a:moveTo>
                  <a:cubicBezTo>
                    <a:pt x="505" y="1095"/>
                    <a:pt x="506" y="1078"/>
                    <a:pt x="508" y="1061"/>
                  </a:cubicBezTo>
                  <a:cubicBezTo>
                    <a:pt x="511" y="1042"/>
                    <a:pt x="538" y="1021"/>
                    <a:pt x="554" y="1022"/>
                  </a:cubicBezTo>
                  <a:cubicBezTo>
                    <a:pt x="570" y="1022"/>
                    <a:pt x="586" y="1024"/>
                    <a:pt x="596" y="1037"/>
                  </a:cubicBezTo>
                  <a:cubicBezTo>
                    <a:pt x="602" y="1044"/>
                    <a:pt x="607" y="1052"/>
                    <a:pt x="608" y="1061"/>
                  </a:cubicBezTo>
                  <a:cubicBezTo>
                    <a:pt x="608" y="1064"/>
                    <a:pt x="609" y="1067"/>
                    <a:pt x="610" y="1070"/>
                  </a:cubicBezTo>
                  <a:cubicBezTo>
                    <a:pt x="618" y="1089"/>
                    <a:pt x="612" y="1107"/>
                    <a:pt x="607" y="1125"/>
                  </a:cubicBezTo>
                  <a:cubicBezTo>
                    <a:pt x="601" y="1143"/>
                    <a:pt x="588" y="1160"/>
                    <a:pt x="558" y="1157"/>
                  </a:cubicBezTo>
                  <a:cubicBezTo>
                    <a:pt x="530" y="1157"/>
                    <a:pt x="512" y="1141"/>
                    <a:pt x="508" y="1113"/>
                  </a:cubicBezTo>
                  <a:close/>
                  <a:moveTo>
                    <a:pt x="430" y="716"/>
                  </a:moveTo>
                  <a:cubicBezTo>
                    <a:pt x="450" y="703"/>
                    <a:pt x="459" y="683"/>
                    <a:pt x="464" y="661"/>
                  </a:cubicBezTo>
                  <a:cubicBezTo>
                    <a:pt x="468" y="648"/>
                    <a:pt x="467" y="635"/>
                    <a:pt x="466" y="621"/>
                  </a:cubicBezTo>
                  <a:cubicBezTo>
                    <a:pt x="463" y="592"/>
                    <a:pt x="453" y="567"/>
                    <a:pt x="427" y="550"/>
                  </a:cubicBezTo>
                  <a:cubicBezTo>
                    <a:pt x="401" y="534"/>
                    <a:pt x="372" y="532"/>
                    <a:pt x="345" y="541"/>
                  </a:cubicBezTo>
                  <a:cubicBezTo>
                    <a:pt x="310" y="552"/>
                    <a:pt x="291" y="580"/>
                    <a:pt x="287" y="617"/>
                  </a:cubicBezTo>
                  <a:cubicBezTo>
                    <a:pt x="286" y="629"/>
                    <a:pt x="286" y="641"/>
                    <a:pt x="287" y="654"/>
                  </a:cubicBezTo>
                  <a:cubicBezTo>
                    <a:pt x="289" y="671"/>
                    <a:pt x="295" y="686"/>
                    <a:pt x="306" y="700"/>
                  </a:cubicBezTo>
                  <a:cubicBezTo>
                    <a:pt x="324" y="722"/>
                    <a:pt x="348" y="733"/>
                    <a:pt x="378" y="731"/>
                  </a:cubicBezTo>
                  <a:cubicBezTo>
                    <a:pt x="396" y="733"/>
                    <a:pt x="414" y="727"/>
                    <a:pt x="430" y="716"/>
                  </a:cubicBezTo>
                  <a:close/>
                  <a:moveTo>
                    <a:pt x="331" y="592"/>
                  </a:moveTo>
                  <a:cubicBezTo>
                    <a:pt x="339" y="580"/>
                    <a:pt x="349" y="569"/>
                    <a:pt x="365" y="567"/>
                  </a:cubicBezTo>
                  <a:cubicBezTo>
                    <a:pt x="387" y="564"/>
                    <a:pt x="406" y="568"/>
                    <a:pt x="419" y="588"/>
                  </a:cubicBezTo>
                  <a:cubicBezTo>
                    <a:pt x="423" y="595"/>
                    <a:pt x="426" y="603"/>
                    <a:pt x="427" y="610"/>
                  </a:cubicBezTo>
                  <a:cubicBezTo>
                    <a:pt x="433" y="635"/>
                    <a:pt x="431" y="661"/>
                    <a:pt x="416" y="684"/>
                  </a:cubicBezTo>
                  <a:cubicBezTo>
                    <a:pt x="403" y="706"/>
                    <a:pt x="362" y="708"/>
                    <a:pt x="345" y="692"/>
                  </a:cubicBezTo>
                  <a:cubicBezTo>
                    <a:pt x="329" y="678"/>
                    <a:pt x="323" y="661"/>
                    <a:pt x="323" y="631"/>
                  </a:cubicBezTo>
                  <a:cubicBezTo>
                    <a:pt x="323" y="619"/>
                    <a:pt x="323" y="605"/>
                    <a:pt x="331" y="592"/>
                  </a:cubicBezTo>
                  <a:close/>
                  <a:moveTo>
                    <a:pt x="1073" y="259"/>
                  </a:moveTo>
                  <a:cubicBezTo>
                    <a:pt x="1073" y="269"/>
                    <a:pt x="1075" y="272"/>
                    <a:pt x="1086" y="272"/>
                  </a:cubicBezTo>
                  <a:cubicBezTo>
                    <a:pt x="1088" y="272"/>
                    <a:pt x="1090" y="272"/>
                    <a:pt x="1092" y="272"/>
                  </a:cubicBezTo>
                  <a:cubicBezTo>
                    <a:pt x="1105" y="272"/>
                    <a:pt x="1106" y="271"/>
                    <a:pt x="1106" y="258"/>
                  </a:cubicBezTo>
                  <a:cubicBezTo>
                    <a:pt x="1106" y="221"/>
                    <a:pt x="1106" y="184"/>
                    <a:pt x="1106" y="147"/>
                  </a:cubicBezTo>
                  <a:cubicBezTo>
                    <a:pt x="1106" y="143"/>
                    <a:pt x="1106" y="140"/>
                    <a:pt x="1107" y="137"/>
                  </a:cubicBezTo>
                  <a:cubicBezTo>
                    <a:pt x="1117" y="117"/>
                    <a:pt x="1157" y="104"/>
                    <a:pt x="1177" y="114"/>
                  </a:cubicBezTo>
                  <a:cubicBezTo>
                    <a:pt x="1179" y="115"/>
                    <a:pt x="1180" y="117"/>
                    <a:pt x="1182" y="118"/>
                  </a:cubicBezTo>
                  <a:cubicBezTo>
                    <a:pt x="1194" y="131"/>
                    <a:pt x="1196" y="147"/>
                    <a:pt x="1196" y="163"/>
                  </a:cubicBezTo>
                  <a:cubicBezTo>
                    <a:pt x="1197" y="195"/>
                    <a:pt x="1196" y="226"/>
                    <a:pt x="1196" y="258"/>
                  </a:cubicBezTo>
                  <a:cubicBezTo>
                    <a:pt x="1196" y="271"/>
                    <a:pt x="1197" y="272"/>
                    <a:pt x="1210" y="272"/>
                  </a:cubicBezTo>
                  <a:cubicBezTo>
                    <a:pt x="1212" y="272"/>
                    <a:pt x="1213" y="272"/>
                    <a:pt x="1215" y="272"/>
                  </a:cubicBezTo>
                  <a:cubicBezTo>
                    <a:pt x="1227" y="272"/>
                    <a:pt x="1229" y="270"/>
                    <a:pt x="1229" y="258"/>
                  </a:cubicBezTo>
                  <a:cubicBezTo>
                    <a:pt x="1229" y="222"/>
                    <a:pt x="1229" y="187"/>
                    <a:pt x="1229" y="151"/>
                  </a:cubicBezTo>
                  <a:cubicBezTo>
                    <a:pt x="1229" y="142"/>
                    <a:pt x="1228" y="132"/>
                    <a:pt x="1225" y="123"/>
                  </a:cubicBezTo>
                  <a:cubicBezTo>
                    <a:pt x="1219" y="105"/>
                    <a:pt x="1208" y="91"/>
                    <a:pt x="1189" y="85"/>
                  </a:cubicBezTo>
                  <a:cubicBezTo>
                    <a:pt x="1173" y="80"/>
                    <a:pt x="1156" y="84"/>
                    <a:pt x="1139" y="84"/>
                  </a:cubicBezTo>
                  <a:cubicBezTo>
                    <a:pt x="1137" y="84"/>
                    <a:pt x="1136" y="86"/>
                    <a:pt x="1134" y="87"/>
                  </a:cubicBezTo>
                  <a:cubicBezTo>
                    <a:pt x="1128" y="91"/>
                    <a:pt x="1121" y="96"/>
                    <a:pt x="1115" y="100"/>
                  </a:cubicBezTo>
                  <a:cubicBezTo>
                    <a:pt x="1113" y="102"/>
                    <a:pt x="1111" y="105"/>
                    <a:pt x="1108" y="103"/>
                  </a:cubicBezTo>
                  <a:cubicBezTo>
                    <a:pt x="1105" y="102"/>
                    <a:pt x="1106" y="98"/>
                    <a:pt x="1106" y="96"/>
                  </a:cubicBezTo>
                  <a:cubicBezTo>
                    <a:pt x="1106" y="69"/>
                    <a:pt x="1106" y="43"/>
                    <a:pt x="1106" y="17"/>
                  </a:cubicBezTo>
                  <a:cubicBezTo>
                    <a:pt x="1106" y="0"/>
                    <a:pt x="1106" y="0"/>
                    <a:pt x="1089" y="0"/>
                  </a:cubicBezTo>
                  <a:cubicBezTo>
                    <a:pt x="1074" y="0"/>
                    <a:pt x="1073" y="1"/>
                    <a:pt x="1073" y="16"/>
                  </a:cubicBezTo>
                  <a:cubicBezTo>
                    <a:pt x="1073" y="56"/>
                    <a:pt x="1073" y="96"/>
                    <a:pt x="1073" y="136"/>
                  </a:cubicBezTo>
                  <a:cubicBezTo>
                    <a:pt x="1073" y="177"/>
                    <a:pt x="1073" y="218"/>
                    <a:pt x="1073" y="259"/>
                  </a:cubicBezTo>
                  <a:close/>
                  <a:moveTo>
                    <a:pt x="1150" y="1092"/>
                  </a:moveTo>
                  <a:cubicBezTo>
                    <a:pt x="1168" y="1092"/>
                    <a:pt x="1186" y="1092"/>
                    <a:pt x="1204" y="1092"/>
                  </a:cubicBezTo>
                  <a:cubicBezTo>
                    <a:pt x="1215" y="1092"/>
                    <a:pt x="1218" y="1087"/>
                    <a:pt x="1219" y="1077"/>
                  </a:cubicBezTo>
                  <a:cubicBezTo>
                    <a:pt x="1220" y="1062"/>
                    <a:pt x="1216" y="1049"/>
                    <a:pt x="1210" y="1036"/>
                  </a:cubicBezTo>
                  <a:cubicBezTo>
                    <a:pt x="1204" y="1020"/>
                    <a:pt x="1193" y="1008"/>
                    <a:pt x="1177" y="1001"/>
                  </a:cubicBezTo>
                  <a:cubicBezTo>
                    <a:pt x="1155" y="992"/>
                    <a:pt x="1133" y="991"/>
                    <a:pt x="1109" y="999"/>
                  </a:cubicBezTo>
                  <a:cubicBezTo>
                    <a:pt x="1079" y="1010"/>
                    <a:pt x="1062" y="1031"/>
                    <a:pt x="1056" y="1061"/>
                  </a:cubicBezTo>
                  <a:cubicBezTo>
                    <a:pt x="1051" y="1090"/>
                    <a:pt x="1052" y="1120"/>
                    <a:pt x="1069" y="1148"/>
                  </a:cubicBezTo>
                  <a:cubicBezTo>
                    <a:pt x="1081" y="1169"/>
                    <a:pt x="1100" y="1180"/>
                    <a:pt x="1122" y="1185"/>
                  </a:cubicBezTo>
                  <a:cubicBezTo>
                    <a:pt x="1149" y="1190"/>
                    <a:pt x="1176" y="1186"/>
                    <a:pt x="1200" y="1171"/>
                  </a:cubicBezTo>
                  <a:cubicBezTo>
                    <a:pt x="1206" y="1168"/>
                    <a:pt x="1213" y="1165"/>
                    <a:pt x="1214" y="1157"/>
                  </a:cubicBezTo>
                  <a:cubicBezTo>
                    <a:pt x="1215" y="1147"/>
                    <a:pt x="1202" y="1139"/>
                    <a:pt x="1193" y="1144"/>
                  </a:cubicBezTo>
                  <a:cubicBezTo>
                    <a:pt x="1187" y="1147"/>
                    <a:pt x="1180" y="1150"/>
                    <a:pt x="1174" y="1153"/>
                  </a:cubicBezTo>
                  <a:cubicBezTo>
                    <a:pt x="1158" y="1161"/>
                    <a:pt x="1140" y="1161"/>
                    <a:pt x="1124" y="1155"/>
                  </a:cubicBezTo>
                  <a:cubicBezTo>
                    <a:pt x="1112" y="1151"/>
                    <a:pt x="1102" y="1142"/>
                    <a:pt x="1096" y="1129"/>
                  </a:cubicBezTo>
                  <a:cubicBezTo>
                    <a:pt x="1092" y="1121"/>
                    <a:pt x="1091" y="1112"/>
                    <a:pt x="1089" y="1104"/>
                  </a:cubicBezTo>
                  <a:cubicBezTo>
                    <a:pt x="1087" y="1093"/>
                    <a:pt x="1087" y="1092"/>
                    <a:pt x="1099" y="1092"/>
                  </a:cubicBezTo>
                  <a:cubicBezTo>
                    <a:pt x="1116" y="1092"/>
                    <a:pt x="1133" y="1092"/>
                    <a:pt x="1150" y="1092"/>
                  </a:cubicBezTo>
                  <a:cubicBezTo>
                    <a:pt x="1150" y="1092"/>
                    <a:pt x="1150" y="1092"/>
                    <a:pt x="1150" y="1092"/>
                  </a:cubicBezTo>
                  <a:close/>
                  <a:moveTo>
                    <a:pt x="1099" y="1070"/>
                  </a:moveTo>
                  <a:cubicBezTo>
                    <a:pt x="1092" y="1071"/>
                    <a:pt x="1089" y="1067"/>
                    <a:pt x="1091" y="1060"/>
                  </a:cubicBezTo>
                  <a:cubicBezTo>
                    <a:pt x="1094" y="1045"/>
                    <a:pt x="1108" y="1023"/>
                    <a:pt x="1128" y="1022"/>
                  </a:cubicBezTo>
                  <a:cubicBezTo>
                    <a:pt x="1142" y="1021"/>
                    <a:pt x="1156" y="1018"/>
                    <a:pt x="1168" y="1029"/>
                  </a:cubicBezTo>
                  <a:cubicBezTo>
                    <a:pt x="1181" y="1038"/>
                    <a:pt x="1185" y="1051"/>
                    <a:pt x="1187" y="1066"/>
                  </a:cubicBezTo>
                  <a:cubicBezTo>
                    <a:pt x="1188" y="1071"/>
                    <a:pt x="1183" y="1070"/>
                    <a:pt x="1180" y="1070"/>
                  </a:cubicBezTo>
                  <a:cubicBezTo>
                    <a:pt x="1166" y="1070"/>
                    <a:pt x="1153" y="1070"/>
                    <a:pt x="1139" y="1070"/>
                  </a:cubicBezTo>
                  <a:cubicBezTo>
                    <a:pt x="1139" y="1070"/>
                    <a:pt x="1139" y="1070"/>
                    <a:pt x="1139" y="1070"/>
                  </a:cubicBezTo>
                  <a:cubicBezTo>
                    <a:pt x="1126" y="1070"/>
                    <a:pt x="1113" y="1070"/>
                    <a:pt x="1099" y="1070"/>
                  </a:cubicBezTo>
                  <a:close/>
                  <a:moveTo>
                    <a:pt x="1741" y="1092"/>
                  </a:moveTo>
                  <a:cubicBezTo>
                    <a:pt x="1759" y="1092"/>
                    <a:pt x="1776" y="1092"/>
                    <a:pt x="1793" y="1092"/>
                  </a:cubicBezTo>
                  <a:cubicBezTo>
                    <a:pt x="1806" y="1092"/>
                    <a:pt x="1808" y="1089"/>
                    <a:pt x="1808" y="1076"/>
                  </a:cubicBezTo>
                  <a:cubicBezTo>
                    <a:pt x="1809" y="1063"/>
                    <a:pt x="1807" y="1051"/>
                    <a:pt x="1802" y="1038"/>
                  </a:cubicBezTo>
                  <a:cubicBezTo>
                    <a:pt x="1794" y="1021"/>
                    <a:pt x="1782" y="1008"/>
                    <a:pt x="1764" y="1000"/>
                  </a:cubicBezTo>
                  <a:cubicBezTo>
                    <a:pt x="1742" y="991"/>
                    <a:pt x="1720" y="991"/>
                    <a:pt x="1698" y="1000"/>
                  </a:cubicBezTo>
                  <a:cubicBezTo>
                    <a:pt x="1681" y="1006"/>
                    <a:pt x="1668" y="1016"/>
                    <a:pt x="1659" y="1031"/>
                  </a:cubicBezTo>
                  <a:cubicBezTo>
                    <a:pt x="1646" y="1050"/>
                    <a:pt x="1643" y="1071"/>
                    <a:pt x="1644" y="1094"/>
                  </a:cubicBezTo>
                  <a:cubicBezTo>
                    <a:pt x="1644" y="1110"/>
                    <a:pt x="1647" y="1127"/>
                    <a:pt x="1655" y="1141"/>
                  </a:cubicBezTo>
                  <a:cubicBezTo>
                    <a:pt x="1669" y="1168"/>
                    <a:pt x="1691" y="1183"/>
                    <a:pt x="1722" y="1186"/>
                  </a:cubicBezTo>
                  <a:cubicBezTo>
                    <a:pt x="1750" y="1188"/>
                    <a:pt x="1775" y="1183"/>
                    <a:pt x="1798" y="1165"/>
                  </a:cubicBezTo>
                  <a:cubicBezTo>
                    <a:pt x="1803" y="1161"/>
                    <a:pt x="1806" y="1157"/>
                    <a:pt x="1802" y="1151"/>
                  </a:cubicBezTo>
                  <a:cubicBezTo>
                    <a:pt x="1798" y="1144"/>
                    <a:pt x="1791" y="1140"/>
                    <a:pt x="1783" y="1144"/>
                  </a:cubicBezTo>
                  <a:cubicBezTo>
                    <a:pt x="1778" y="1147"/>
                    <a:pt x="1771" y="1149"/>
                    <a:pt x="1766" y="1152"/>
                  </a:cubicBezTo>
                  <a:cubicBezTo>
                    <a:pt x="1749" y="1161"/>
                    <a:pt x="1730" y="1162"/>
                    <a:pt x="1714" y="1155"/>
                  </a:cubicBezTo>
                  <a:cubicBezTo>
                    <a:pt x="1692" y="1145"/>
                    <a:pt x="1680" y="1127"/>
                    <a:pt x="1679" y="1102"/>
                  </a:cubicBezTo>
                  <a:cubicBezTo>
                    <a:pt x="1678" y="1095"/>
                    <a:pt x="1681" y="1092"/>
                    <a:pt x="1689" y="1092"/>
                  </a:cubicBezTo>
                  <a:cubicBezTo>
                    <a:pt x="1706" y="1092"/>
                    <a:pt x="1724" y="1092"/>
                    <a:pt x="1741" y="1092"/>
                  </a:cubicBezTo>
                  <a:cubicBezTo>
                    <a:pt x="1741" y="1092"/>
                    <a:pt x="1741" y="1092"/>
                    <a:pt x="1741" y="1092"/>
                  </a:cubicBezTo>
                  <a:close/>
                  <a:moveTo>
                    <a:pt x="1690" y="1070"/>
                  </a:moveTo>
                  <a:cubicBezTo>
                    <a:pt x="1683" y="1071"/>
                    <a:pt x="1680" y="1068"/>
                    <a:pt x="1681" y="1062"/>
                  </a:cubicBezTo>
                  <a:cubicBezTo>
                    <a:pt x="1683" y="1048"/>
                    <a:pt x="1697" y="1024"/>
                    <a:pt x="1716" y="1022"/>
                  </a:cubicBezTo>
                  <a:cubicBezTo>
                    <a:pt x="1731" y="1020"/>
                    <a:pt x="1747" y="1018"/>
                    <a:pt x="1760" y="1030"/>
                  </a:cubicBezTo>
                  <a:cubicBezTo>
                    <a:pt x="1771" y="1038"/>
                    <a:pt x="1775" y="1050"/>
                    <a:pt x="1778" y="1062"/>
                  </a:cubicBezTo>
                  <a:cubicBezTo>
                    <a:pt x="1780" y="1068"/>
                    <a:pt x="1775" y="1070"/>
                    <a:pt x="1769" y="1070"/>
                  </a:cubicBezTo>
                  <a:cubicBezTo>
                    <a:pt x="1756" y="1070"/>
                    <a:pt x="1742" y="1070"/>
                    <a:pt x="1729" y="1070"/>
                  </a:cubicBezTo>
                  <a:cubicBezTo>
                    <a:pt x="1729" y="1070"/>
                    <a:pt x="1729" y="1070"/>
                    <a:pt x="1729" y="1070"/>
                  </a:cubicBezTo>
                  <a:cubicBezTo>
                    <a:pt x="1716" y="1070"/>
                    <a:pt x="1703" y="1070"/>
                    <a:pt x="1690" y="1070"/>
                  </a:cubicBezTo>
                  <a:close/>
                  <a:moveTo>
                    <a:pt x="68" y="581"/>
                  </a:moveTo>
                  <a:cubicBezTo>
                    <a:pt x="68" y="573"/>
                    <a:pt x="70" y="568"/>
                    <a:pt x="80" y="569"/>
                  </a:cubicBezTo>
                  <a:cubicBezTo>
                    <a:pt x="90" y="570"/>
                    <a:pt x="101" y="570"/>
                    <a:pt x="111" y="569"/>
                  </a:cubicBezTo>
                  <a:cubicBezTo>
                    <a:pt x="120" y="569"/>
                    <a:pt x="120" y="563"/>
                    <a:pt x="120" y="556"/>
                  </a:cubicBezTo>
                  <a:cubicBezTo>
                    <a:pt x="120" y="549"/>
                    <a:pt x="119" y="544"/>
                    <a:pt x="111" y="544"/>
                  </a:cubicBezTo>
                  <a:cubicBezTo>
                    <a:pt x="104" y="544"/>
                    <a:pt x="97" y="544"/>
                    <a:pt x="91" y="544"/>
                  </a:cubicBezTo>
                  <a:cubicBezTo>
                    <a:pt x="66" y="544"/>
                    <a:pt x="65" y="543"/>
                    <a:pt x="68" y="518"/>
                  </a:cubicBezTo>
                  <a:cubicBezTo>
                    <a:pt x="69" y="504"/>
                    <a:pt x="83" y="487"/>
                    <a:pt x="99" y="489"/>
                  </a:cubicBezTo>
                  <a:cubicBezTo>
                    <a:pt x="103" y="489"/>
                    <a:pt x="107" y="489"/>
                    <a:pt x="110" y="488"/>
                  </a:cubicBezTo>
                  <a:cubicBezTo>
                    <a:pt x="118" y="487"/>
                    <a:pt x="123" y="479"/>
                    <a:pt x="123" y="471"/>
                  </a:cubicBezTo>
                  <a:cubicBezTo>
                    <a:pt x="123" y="461"/>
                    <a:pt x="116" y="462"/>
                    <a:pt x="109" y="460"/>
                  </a:cubicBezTo>
                  <a:cubicBezTo>
                    <a:pt x="100" y="458"/>
                    <a:pt x="92" y="460"/>
                    <a:pt x="84" y="460"/>
                  </a:cubicBezTo>
                  <a:cubicBezTo>
                    <a:pt x="68" y="461"/>
                    <a:pt x="56" y="469"/>
                    <a:pt x="47" y="480"/>
                  </a:cubicBezTo>
                  <a:cubicBezTo>
                    <a:pt x="34" y="493"/>
                    <a:pt x="32" y="511"/>
                    <a:pt x="32" y="529"/>
                  </a:cubicBezTo>
                  <a:cubicBezTo>
                    <a:pt x="32" y="544"/>
                    <a:pt x="32" y="544"/>
                    <a:pt x="17" y="544"/>
                  </a:cubicBezTo>
                  <a:cubicBezTo>
                    <a:pt x="4" y="543"/>
                    <a:pt x="0" y="548"/>
                    <a:pt x="4" y="561"/>
                  </a:cubicBezTo>
                  <a:cubicBezTo>
                    <a:pt x="6" y="569"/>
                    <a:pt x="13" y="568"/>
                    <a:pt x="19" y="569"/>
                  </a:cubicBezTo>
                  <a:cubicBezTo>
                    <a:pt x="32" y="571"/>
                    <a:pt x="32" y="571"/>
                    <a:pt x="32" y="584"/>
                  </a:cubicBezTo>
                  <a:cubicBezTo>
                    <a:pt x="32" y="624"/>
                    <a:pt x="32" y="664"/>
                    <a:pt x="32" y="704"/>
                  </a:cubicBezTo>
                  <a:cubicBezTo>
                    <a:pt x="32" y="731"/>
                    <a:pt x="32" y="730"/>
                    <a:pt x="57" y="731"/>
                  </a:cubicBezTo>
                  <a:cubicBezTo>
                    <a:pt x="66" y="731"/>
                    <a:pt x="68" y="727"/>
                    <a:pt x="68" y="720"/>
                  </a:cubicBezTo>
                  <a:cubicBezTo>
                    <a:pt x="68" y="697"/>
                    <a:pt x="68" y="674"/>
                    <a:pt x="68" y="651"/>
                  </a:cubicBezTo>
                  <a:cubicBezTo>
                    <a:pt x="68" y="628"/>
                    <a:pt x="68" y="605"/>
                    <a:pt x="68" y="581"/>
                  </a:cubicBezTo>
                  <a:close/>
                  <a:moveTo>
                    <a:pt x="278" y="1165"/>
                  </a:moveTo>
                  <a:cubicBezTo>
                    <a:pt x="278" y="1183"/>
                    <a:pt x="278" y="1183"/>
                    <a:pt x="296" y="1184"/>
                  </a:cubicBezTo>
                  <a:cubicBezTo>
                    <a:pt x="310" y="1184"/>
                    <a:pt x="310" y="1184"/>
                    <a:pt x="310" y="1169"/>
                  </a:cubicBezTo>
                  <a:cubicBezTo>
                    <a:pt x="310" y="1132"/>
                    <a:pt x="310" y="1095"/>
                    <a:pt x="310" y="1058"/>
                  </a:cubicBezTo>
                  <a:cubicBezTo>
                    <a:pt x="310" y="1052"/>
                    <a:pt x="312" y="1047"/>
                    <a:pt x="316" y="1042"/>
                  </a:cubicBezTo>
                  <a:cubicBezTo>
                    <a:pt x="324" y="1033"/>
                    <a:pt x="334" y="1027"/>
                    <a:pt x="345" y="1024"/>
                  </a:cubicBezTo>
                  <a:cubicBezTo>
                    <a:pt x="357" y="1020"/>
                    <a:pt x="371" y="1018"/>
                    <a:pt x="383" y="1028"/>
                  </a:cubicBezTo>
                  <a:cubicBezTo>
                    <a:pt x="397" y="1039"/>
                    <a:pt x="401" y="1054"/>
                    <a:pt x="401" y="1071"/>
                  </a:cubicBezTo>
                  <a:cubicBezTo>
                    <a:pt x="401" y="1102"/>
                    <a:pt x="401" y="1132"/>
                    <a:pt x="401" y="1163"/>
                  </a:cubicBezTo>
                  <a:cubicBezTo>
                    <a:pt x="401" y="1183"/>
                    <a:pt x="401" y="1182"/>
                    <a:pt x="420" y="1184"/>
                  </a:cubicBezTo>
                  <a:cubicBezTo>
                    <a:pt x="429" y="1185"/>
                    <a:pt x="433" y="1181"/>
                    <a:pt x="433" y="1173"/>
                  </a:cubicBezTo>
                  <a:cubicBezTo>
                    <a:pt x="432" y="1130"/>
                    <a:pt x="435" y="1087"/>
                    <a:pt x="431" y="1044"/>
                  </a:cubicBezTo>
                  <a:cubicBezTo>
                    <a:pt x="427" y="1014"/>
                    <a:pt x="404" y="996"/>
                    <a:pt x="376" y="994"/>
                  </a:cubicBezTo>
                  <a:cubicBezTo>
                    <a:pt x="353" y="992"/>
                    <a:pt x="333" y="1000"/>
                    <a:pt x="317" y="1017"/>
                  </a:cubicBezTo>
                  <a:cubicBezTo>
                    <a:pt x="312" y="1021"/>
                    <a:pt x="311" y="1019"/>
                    <a:pt x="309" y="1015"/>
                  </a:cubicBezTo>
                  <a:cubicBezTo>
                    <a:pt x="309" y="1013"/>
                    <a:pt x="308" y="1011"/>
                    <a:pt x="308" y="1008"/>
                  </a:cubicBezTo>
                  <a:cubicBezTo>
                    <a:pt x="306" y="1001"/>
                    <a:pt x="298" y="997"/>
                    <a:pt x="287" y="998"/>
                  </a:cubicBezTo>
                  <a:cubicBezTo>
                    <a:pt x="279" y="999"/>
                    <a:pt x="278" y="1004"/>
                    <a:pt x="278" y="1011"/>
                  </a:cubicBezTo>
                  <a:cubicBezTo>
                    <a:pt x="278" y="1037"/>
                    <a:pt x="278" y="1064"/>
                    <a:pt x="278" y="1091"/>
                  </a:cubicBezTo>
                  <a:cubicBezTo>
                    <a:pt x="278" y="1115"/>
                    <a:pt x="278" y="1140"/>
                    <a:pt x="278" y="1165"/>
                  </a:cubicBezTo>
                  <a:close/>
                  <a:moveTo>
                    <a:pt x="150" y="705"/>
                  </a:moveTo>
                  <a:cubicBezTo>
                    <a:pt x="150" y="734"/>
                    <a:pt x="145" y="730"/>
                    <a:pt x="176" y="731"/>
                  </a:cubicBezTo>
                  <a:cubicBezTo>
                    <a:pt x="185" y="731"/>
                    <a:pt x="187" y="727"/>
                    <a:pt x="187" y="719"/>
                  </a:cubicBezTo>
                  <a:cubicBezTo>
                    <a:pt x="187" y="685"/>
                    <a:pt x="187" y="651"/>
                    <a:pt x="187" y="618"/>
                  </a:cubicBezTo>
                  <a:cubicBezTo>
                    <a:pt x="187" y="597"/>
                    <a:pt x="204" y="578"/>
                    <a:pt x="225" y="574"/>
                  </a:cubicBezTo>
                  <a:cubicBezTo>
                    <a:pt x="232" y="572"/>
                    <a:pt x="240" y="574"/>
                    <a:pt x="247" y="575"/>
                  </a:cubicBezTo>
                  <a:cubicBezTo>
                    <a:pt x="257" y="576"/>
                    <a:pt x="261" y="572"/>
                    <a:pt x="265" y="564"/>
                  </a:cubicBezTo>
                  <a:cubicBezTo>
                    <a:pt x="269" y="556"/>
                    <a:pt x="267" y="542"/>
                    <a:pt x="261" y="540"/>
                  </a:cubicBezTo>
                  <a:cubicBezTo>
                    <a:pt x="253" y="538"/>
                    <a:pt x="244" y="534"/>
                    <a:pt x="237" y="536"/>
                  </a:cubicBezTo>
                  <a:cubicBezTo>
                    <a:pt x="228" y="537"/>
                    <a:pt x="217" y="537"/>
                    <a:pt x="209" y="544"/>
                  </a:cubicBezTo>
                  <a:cubicBezTo>
                    <a:pt x="204" y="549"/>
                    <a:pt x="198" y="553"/>
                    <a:pt x="194" y="558"/>
                  </a:cubicBezTo>
                  <a:cubicBezTo>
                    <a:pt x="192" y="561"/>
                    <a:pt x="189" y="563"/>
                    <a:pt x="185" y="562"/>
                  </a:cubicBezTo>
                  <a:cubicBezTo>
                    <a:pt x="182" y="561"/>
                    <a:pt x="182" y="558"/>
                    <a:pt x="182" y="556"/>
                  </a:cubicBezTo>
                  <a:cubicBezTo>
                    <a:pt x="180" y="539"/>
                    <a:pt x="179" y="539"/>
                    <a:pt x="162" y="539"/>
                  </a:cubicBezTo>
                  <a:cubicBezTo>
                    <a:pt x="151" y="539"/>
                    <a:pt x="150" y="540"/>
                    <a:pt x="150" y="551"/>
                  </a:cubicBezTo>
                  <a:cubicBezTo>
                    <a:pt x="150" y="579"/>
                    <a:pt x="150" y="607"/>
                    <a:pt x="150" y="635"/>
                  </a:cubicBezTo>
                  <a:cubicBezTo>
                    <a:pt x="150" y="658"/>
                    <a:pt x="149" y="682"/>
                    <a:pt x="150" y="705"/>
                  </a:cubicBezTo>
                  <a:close/>
                  <a:moveTo>
                    <a:pt x="1011" y="1049"/>
                  </a:moveTo>
                  <a:cubicBezTo>
                    <a:pt x="1011" y="1008"/>
                    <a:pt x="1011" y="966"/>
                    <a:pt x="1011" y="924"/>
                  </a:cubicBezTo>
                  <a:cubicBezTo>
                    <a:pt x="1011" y="913"/>
                    <a:pt x="1008" y="910"/>
                    <a:pt x="997" y="910"/>
                  </a:cubicBezTo>
                  <a:cubicBezTo>
                    <a:pt x="995" y="910"/>
                    <a:pt x="992" y="910"/>
                    <a:pt x="990" y="910"/>
                  </a:cubicBezTo>
                  <a:cubicBezTo>
                    <a:pt x="976" y="910"/>
                    <a:pt x="975" y="911"/>
                    <a:pt x="975" y="926"/>
                  </a:cubicBezTo>
                  <a:cubicBezTo>
                    <a:pt x="975" y="1006"/>
                    <a:pt x="975" y="1085"/>
                    <a:pt x="975" y="1165"/>
                  </a:cubicBezTo>
                  <a:cubicBezTo>
                    <a:pt x="975" y="1185"/>
                    <a:pt x="975" y="1185"/>
                    <a:pt x="994" y="1185"/>
                  </a:cubicBezTo>
                  <a:cubicBezTo>
                    <a:pt x="1009" y="1185"/>
                    <a:pt x="1011" y="1184"/>
                    <a:pt x="1011" y="1169"/>
                  </a:cubicBezTo>
                  <a:cubicBezTo>
                    <a:pt x="1011" y="1129"/>
                    <a:pt x="1011" y="1089"/>
                    <a:pt x="1011" y="1049"/>
                  </a:cubicBezTo>
                  <a:cubicBezTo>
                    <a:pt x="1011" y="1049"/>
                    <a:pt x="1011" y="1049"/>
                    <a:pt x="1011" y="1049"/>
                  </a:cubicBezTo>
                  <a:close/>
                  <a:moveTo>
                    <a:pt x="296" y="176"/>
                  </a:moveTo>
                  <a:cubicBezTo>
                    <a:pt x="296" y="201"/>
                    <a:pt x="296" y="226"/>
                    <a:pt x="296" y="251"/>
                  </a:cubicBezTo>
                  <a:cubicBezTo>
                    <a:pt x="295" y="276"/>
                    <a:pt x="296" y="274"/>
                    <a:pt x="318" y="274"/>
                  </a:cubicBezTo>
                  <a:cubicBezTo>
                    <a:pt x="330" y="274"/>
                    <a:pt x="331" y="274"/>
                    <a:pt x="331" y="260"/>
                  </a:cubicBezTo>
                  <a:cubicBezTo>
                    <a:pt x="331" y="232"/>
                    <a:pt x="331" y="204"/>
                    <a:pt x="331" y="176"/>
                  </a:cubicBezTo>
                  <a:cubicBezTo>
                    <a:pt x="331" y="165"/>
                    <a:pt x="331" y="155"/>
                    <a:pt x="337" y="145"/>
                  </a:cubicBezTo>
                  <a:cubicBezTo>
                    <a:pt x="349" y="123"/>
                    <a:pt x="359" y="117"/>
                    <a:pt x="377" y="118"/>
                  </a:cubicBezTo>
                  <a:cubicBezTo>
                    <a:pt x="383" y="118"/>
                    <a:pt x="389" y="119"/>
                    <a:pt x="395" y="120"/>
                  </a:cubicBezTo>
                  <a:cubicBezTo>
                    <a:pt x="401" y="120"/>
                    <a:pt x="407" y="118"/>
                    <a:pt x="408" y="112"/>
                  </a:cubicBezTo>
                  <a:cubicBezTo>
                    <a:pt x="409" y="103"/>
                    <a:pt x="415" y="93"/>
                    <a:pt x="407" y="85"/>
                  </a:cubicBezTo>
                  <a:cubicBezTo>
                    <a:pt x="406" y="84"/>
                    <a:pt x="404" y="84"/>
                    <a:pt x="402" y="84"/>
                  </a:cubicBezTo>
                  <a:cubicBezTo>
                    <a:pt x="376" y="78"/>
                    <a:pt x="353" y="82"/>
                    <a:pt x="337" y="106"/>
                  </a:cubicBezTo>
                  <a:cubicBezTo>
                    <a:pt x="336" y="108"/>
                    <a:pt x="335" y="110"/>
                    <a:pt x="333" y="109"/>
                  </a:cubicBezTo>
                  <a:cubicBezTo>
                    <a:pt x="331" y="109"/>
                    <a:pt x="330" y="107"/>
                    <a:pt x="330" y="105"/>
                  </a:cubicBezTo>
                  <a:cubicBezTo>
                    <a:pt x="329" y="101"/>
                    <a:pt x="329" y="97"/>
                    <a:pt x="328" y="94"/>
                  </a:cubicBezTo>
                  <a:cubicBezTo>
                    <a:pt x="325" y="85"/>
                    <a:pt x="318" y="82"/>
                    <a:pt x="303" y="84"/>
                  </a:cubicBezTo>
                  <a:cubicBezTo>
                    <a:pt x="297" y="84"/>
                    <a:pt x="295" y="86"/>
                    <a:pt x="295" y="92"/>
                  </a:cubicBezTo>
                  <a:cubicBezTo>
                    <a:pt x="296" y="120"/>
                    <a:pt x="295" y="148"/>
                    <a:pt x="295" y="176"/>
                  </a:cubicBezTo>
                  <a:cubicBezTo>
                    <a:pt x="296" y="176"/>
                    <a:pt x="296" y="176"/>
                    <a:pt x="296" y="176"/>
                  </a:cubicBezTo>
                  <a:close/>
                  <a:moveTo>
                    <a:pt x="946" y="179"/>
                  </a:moveTo>
                  <a:cubicBezTo>
                    <a:pt x="946" y="197"/>
                    <a:pt x="946" y="215"/>
                    <a:pt x="946" y="234"/>
                  </a:cubicBezTo>
                  <a:cubicBezTo>
                    <a:pt x="946" y="248"/>
                    <a:pt x="951" y="260"/>
                    <a:pt x="963" y="268"/>
                  </a:cubicBezTo>
                  <a:cubicBezTo>
                    <a:pt x="982" y="280"/>
                    <a:pt x="1011" y="277"/>
                    <a:pt x="1029" y="264"/>
                  </a:cubicBezTo>
                  <a:cubicBezTo>
                    <a:pt x="1036" y="259"/>
                    <a:pt x="1036" y="254"/>
                    <a:pt x="1032" y="248"/>
                  </a:cubicBezTo>
                  <a:cubicBezTo>
                    <a:pt x="1026" y="239"/>
                    <a:pt x="1020" y="238"/>
                    <a:pt x="1013" y="242"/>
                  </a:cubicBezTo>
                  <a:cubicBezTo>
                    <a:pt x="996" y="252"/>
                    <a:pt x="978" y="243"/>
                    <a:pt x="978" y="223"/>
                  </a:cubicBezTo>
                  <a:cubicBezTo>
                    <a:pt x="978" y="190"/>
                    <a:pt x="978" y="157"/>
                    <a:pt x="978" y="123"/>
                  </a:cubicBezTo>
                  <a:cubicBezTo>
                    <a:pt x="978" y="116"/>
                    <a:pt x="981" y="113"/>
                    <a:pt x="988" y="113"/>
                  </a:cubicBezTo>
                  <a:cubicBezTo>
                    <a:pt x="999" y="114"/>
                    <a:pt x="1011" y="113"/>
                    <a:pt x="1022" y="113"/>
                  </a:cubicBezTo>
                  <a:cubicBezTo>
                    <a:pt x="1028" y="113"/>
                    <a:pt x="1033" y="112"/>
                    <a:pt x="1033" y="104"/>
                  </a:cubicBezTo>
                  <a:cubicBezTo>
                    <a:pt x="1033" y="96"/>
                    <a:pt x="1032" y="90"/>
                    <a:pt x="1022" y="90"/>
                  </a:cubicBezTo>
                  <a:cubicBezTo>
                    <a:pt x="1011" y="90"/>
                    <a:pt x="1001" y="90"/>
                    <a:pt x="990" y="90"/>
                  </a:cubicBezTo>
                  <a:cubicBezTo>
                    <a:pt x="981" y="91"/>
                    <a:pt x="977" y="88"/>
                    <a:pt x="978" y="78"/>
                  </a:cubicBezTo>
                  <a:cubicBezTo>
                    <a:pt x="978" y="64"/>
                    <a:pt x="978" y="49"/>
                    <a:pt x="978" y="35"/>
                  </a:cubicBezTo>
                  <a:cubicBezTo>
                    <a:pt x="978" y="30"/>
                    <a:pt x="978" y="25"/>
                    <a:pt x="971" y="24"/>
                  </a:cubicBezTo>
                  <a:cubicBezTo>
                    <a:pt x="964" y="24"/>
                    <a:pt x="956" y="24"/>
                    <a:pt x="955" y="32"/>
                  </a:cubicBezTo>
                  <a:cubicBezTo>
                    <a:pt x="952" y="43"/>
                    <a:pt x="949" y="54"/>
                    <a:pt x="949" y="65"/>
                  </a:cubicBezTo>
                  <a:cubicBezTo>
                    <a:pt x="948" y="88"/>
                    <a:pt x="947" y="88"/>
                    <a:pt x="924" y="91"/>
                  </a:cubicBezTo>
                  <a:cubicBezTo>
                    <a:pt x="919" y="92"/>
                    <a:pt x="914" y="92"/>
                    <a:pt x="914" y="99"/>
                  </a:cubicBezTo>
                  <a:cubicBezTo>
                    <a:pt x="915" y="107"/>
                    <a:pt x="917" y="113"/>
                    <a:pt x="926" y="113"/>
                  </a:cubicBezTo>
                  <a:cubicBezTo>
                    <a:pt x="929" y="114"/>
                    <a:pt x="932" y="113"/>
                    <a:pt x="935" y="113"/>
                  </a:cubicBezTo>
                  <a:cubicBezTo>
                    <a:pt x="943" y="113"/>
                    <a:pt x="946" y="116"/>
                    <a:pt x="946" y="124"/>
                  </a:cubicBezTo>
                  <a:cubicBezTo>
                    <a:pt x="946" y="142"/>
                    <a:pt x="946" y="161"/>
                    <a:pt x="946" y="179"/>
                  </a:cubicBezTo>
                  <a:cubicBezTo>
                    <a:pt x="946" y="179"/>
                    <a:pt x="946" y="179"/>
                    <a:pt x="946" y="179"/>
                  </a:cubicBezTo>
                  <a:close/>
                </a:path>
              </a:pathLst>
            </a:custGeom>
            <a:solidFill>
              <a:srgbClr val="4C505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0" dirty="0"/>
            </a:p>
          </p:txBody>
        </p:sp>
        <p:grpSp>
          <p:nvGrpSpPr>
            <p:cNvPr id="18" name="Group 4">
              <a:extLst>
                <a:ext uri="{FF2B5EF4-FFF2-40B4-BE49-F238E27FC236}">
                  <a16:creationId xmlns:a16="http://schemas.microsoft.com/office/drawing/2014/main" id="{57BD2C4C-DC67-B843-B26C-309622FC75F7}"/>
                </a:ext>
              </a:extLst>
            </p:cNvPr>
            <p:cNvGrpSpPr>
              <a:grpSpLocks noChangeAspect="1"/>
            </p:cNvGrpSpPr>
            <p:nvPr/>
          </p:nvGrpSpPr>
          <p:grpSpPr bwMode="gray">
            <a:xfrm>
              <a:off x="334963" y="296652"/>
              <a:ext cx="538094" cy="540000"/>
              <a:chOff x="2711" y="1027"/>
              <a:chExt cx="2258" cy="2266"/>
            </a:xfrm>
          </p:grpSpPr>
          <p:sp>
            <p:nvSpPr>
              <p:cNvPr id="19" name="AutoShape 3">
                <a:extLst>
                  <a:ext uri="{FF2B5EF4-FFF2-40B4-BE49-F238E27FC236}">
                    <a16:creationId xmlns:a16="http://schemas.microsoft.com/office/drawing/2014/main" id="{FE1DC41B-291E-574C-9F2C-874E70A40758}"/>
                  </a:ext>
                </a:extLst>
              </p:cNvPr>
              <p:cNvSpPr>
                <a:spLocks noChangeAspect="1" noChangeArrowheads="1" noTextEdit="1"/>
              </p:cNvSpPr>
              <p:nvPr/>
            </p:nvSpPr>
            <p:spPr bwMode="gray">
              <a:xfrm>
                <a:off x="2711" y="1027"/>
                <a:ext cx="2258" cy="22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sz="1350" dirty="0"/>
              </a:p>
            </p:txBody>
          </p:sp>
          <p:sp>
            <p:nvSpPr>
              <p:cNvPr id="20" name="Freeform 5">
                <a:extLst>
                  <a:ext uri="{FF2B5EF4-FFF2-40B4-BE49-F238E27FC236}">
                    <a16:creationId xmlns:a16="http://schemas.microsoft.com/office/drawing/2014/main" id="{D4B633C8-F761-C54B-9BD2-EB59D49A2DBC}"/>
                  </a:ext>
                </a:extLst>
              </p:cNvPr>
              <p:cNvSpPr>
                <a:spLocks/>
              </p:cNvSpPr>
              <p:nvPr/>
            </p:nvSpPr>
            <p:spPr bwMode="gray">
              <a:xfrm>
                <a:off x="2709" y="1029"/>
                <a:ext cx="2260" cy="2262"/>
              </a:xfrm>
              <a:custGeom>
                <a:avLst/>
                <a:gdLst>
                  <a:gd name="T0" fmla="*/ 2260 w 2260"/>
                  <a:gd name="T1" fmla="*/ 0 h 2262"/>
                  <a:gd name="T2" fmla="*/ 1612 w 2260"/>
                  <a:gd name="T3" fmla="*/ 649 h 2262"/>
                  <a:gd name="T4" fmla="*/ 1612 w 2260"/>
                  <a:gd name="T5" fmla="*/ 649 h 2262"/>
                  <a:gd name="T6" fmla="*/ 2035 w 2260"/>
                  <a:gd name="T7" fmla="*/ 0 h 2262"/>
                  <a:gd name="T8" fmla="*/ 0 w 2260"/>
                  <a:gd name="T9" fmla="*/ 0 h 2262"/>
                  <a:gd name="T10" fmla="*/ 0 w 2260"/>
                  <a:gd name="T11" fmla="*/ 2262 h 2262"/>
                  <a:gd name="T12" fmla="*/ 2260 w 2260"/>
                  <a:gd name="T13" fmla="*/ 2262 h 2262"/>
                  <a:gd name="T14" fmla="*/ 2260 w 2260"/>
                  <a:gd name="T15" fmla="*/ 0 h 2262"/>
                  <a:gd name="T16" fmla="*/ 2260 w 2260"/>
                  <a:gd name="T17" fmla="*/ 0 h 2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0" h="2262">
                    <a:moveTo>
                      <a:pt x="2260" y="0"/>
                    </a:moveTo>
                    <a:lnTo>
                      <a:pt x="1612" y="649"/>
                    </a:lnTo>
                    <a:lnTo>
                      <a:pt x="1612" y="649"/>
                    </a:lnTo>
                    <a:lnTo>
                      <a:pt x="2035" y="0"/>
                    </a:lnTo>
                    <a:lnTo>
                      <a:pt x="0" y="0"/>
                    </a:lnTo>
                    <a:lnTo>
                      <a:pt x="0" y="2262"/>
                    </a:lnTo>
                    <a:lnTo>
                      <a:pt x="2260" y="2262"/>
                    </a:lnTo>
                    <a:lnTo>
                      <a:pt x="2260" y="0"/>
                    </a:lnTo>
                    <a:lnTo>
                      <a:pt x="2260" y="0"/>
                    </a:lnTo>
                    <a:close/>
                  </a:path>
                </a:pathLst>
              </a:custGeom>
              <a:solidFill>
                <a:srgbClr val="E55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0" dirty="0"/>
              </a:p>
            </p:txBody>
          </p:sp>
          <p:sp>
            <p:nvSpPr>
              <p:cNvPr id="21" name="Freeform 6">
                <a:extLst>
                  <a:ext uri="{FF2B5EF4-FFF2-40B4-BE49-F238E27FC236}">
                    <a16:creationId xmlns:a16="http://schemas.microsoft.com/office/drawing/2014/main" id="{B16BAAE4-1A41-C843-9754-490F7A1E1270}"/>
                  </a:ext>
                </a:extLst>
              </p:cNvPr>
              <p:cNvSpPr>
                <a:spLocks noEditPoints="1"/>
              </p:cNvSpPr>
              <p:nvPr/>
            </p:nvSpPr>
            <p:spPr bwMode="gray">
              <a:xfrm>
                <a:off x="3623" y="1696"/>
                <a:ext cx="1167" cy="922"/>
              </a:xfrm>
              <a:custGeom>
                <a:avLst/>
                <a:gdLst>
                  <a:gd name="T0" fmla="*/ 411 w 580"/>
                  <a:gd name="T1" fmla="*/ 213 h 458"/>
                  <a:gd name="T2" fmla="*/ 570 w 580"/>
                  <a:gd name="T3" fmla="*/ 37 h 458"/>
                  <a:gd name="T4" fmla="*/ 580 w 580"/>
                  <a:gd name="T5" fmla="*/ 20 h 458"/>
                  <a:gd name="T6" fmla="*/ 545 w 580"/>
                  <a:gd name="T7" fmla="*/ 0 h 458"/>
                  <a:gd name="T8" fmla="*/ 519 w 580"/>
                  <a:gd name="T9" fmla="*/ 16 h 458"/>
                  <a:gd name="T10" fmla="*/ 344 w 580"/>
                  <a:gd name="T11" fmla="*/ 210 h 458"/>
                  <a:gd name="T12" fmla="*/ 334 w 580"/>
                  <a:gd name="T13" fmla="*/ 229 h 458"/>
                  <a:gd name="T14" fmla="*/ 344 w 580"/>
                  <a:gd name="T15" fmla="*/ 248 h 458"/>
                  <a:gd name="T16" fmla="*/ 519 w 580"/>
                  <a:gd name="T17" fmla="*/ 442 h 458"/>
                  <a:gd name="T18" fmla="*/ 545 w 580"/>
                  <a:gd name="T19" fmla="*/ 458 h 458"/>
                  <a:gd name="T20" fmla="*/ 580 w 580"/>
                  <a:gd name="T21" fmla="*/ 438 h 458"/>
                  <a:gd name="T22" fmla="*/ 570 w 580"/>
                  <a:gd name="T23" fmla="*/ 421 h 458"/>
                  <a:gd name="T24" fmla="*/ 411 w 580"/>
                  <a:gd name="T25" fmla="*/ 245 h 458"/>
                  <a:gd name="T26" fmla="*/ 399 w 580"/>
                  <a:gd name="T27" fmla="*/ 229 h 458"/>
                  <a:gd name="T28" fmla="*/ 411 w 580"/>
                  <a:gd name="T29" fmla="*/ 213 h 458"/>
                  <a:gd name="T30" fmla="*/ 252 w 580"/>
                  <a:gd name="T31" fmla="*/ 439 h 458"/>
                  <a:gd name="T32" fmla="*/ 281 w 580"/>
                  <a:gd name="T33" fmla="*/ 454 h 458"/>
                  <a:gd name="T34" fmla="*/ 309 w 580"/>
                  <a:gd name="T35" fmla="*/ 439 h 458"/>
                  <a:gd name="T36" fmla="*/ 309 w 580"/>
                  <a:gd name="T37" fmla="*/ 19 h 458"/>
                  <a:gd name="T38" fmla="*/ 281 w 580"/>
                  <a:gd name="T39" fmla="*/ 4 h 458"/>
                  <a:gd name="T40" fmla="*/ 252 w 580"/>
                  <a:gd name="T41" fmla="*/ 19 h 458"/>
                  <a:gd name="T42" fmla="*/ 252 w 580"/>
                  <a:gd name="T43" fmla="*/ 439 h 458"/>
                  <a:gd name="T44" fmla="*/ 0 w 580"/>
                  <a:gd name="T45" fmla="*/ 439 h 458"/>
                  <a:gd name="T46" fmla="*/ 28 w 580"/>
                  <a:gd name="T47" fmla="*/ 454 h 458"/>
                  <a:gd name="T48" fmla="*/ 56 w 580"/>
                  <a:gd name="T49" fmla="*/ 439 h 458"/>
                  <a:gd name="T50" fmla="*/ 56 w 580"/>
                  <a:gd name="T51" fmla="*/ 157 h 458"/>
                  <a:gd name="T52" fmla="*/ 165 w 580"/>
                  <a:gd name="T53" fmla="*/ 53 h 458"/>
                  <a:gd name="T54" fmla="*/ 180 w 580"/>
                  <a:gd name="T55" fmla="*/ 53 h 458"/>
                  <a:gd name="T56" fmla="*/ 196 w 580"/>
                  <a:gd name="T57" fmla="*/ 27 h 458"/>
                  <a:gd name="T58" fmla="*/ 154 w 580"/>
                  <a:gd name="T59" fmla="*/ 4 h 458"/>
                  <a:gd name="T60" fmla="*/ 0 w 580"/>
                  <a:gd name="T61" fmla="*/ 152 h 458"/>
                  <a:gd name="T62" fmla="*/ 0 w 580"/>
                  <a:gd name="T63" fmla="*/ 439 h 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80" h="458">
                    <a:moveTo>
                      <a:pt x="411" y="213"/>
                    </a:moveTo>
                    <a:cubicBezTo>
                      <a:pt x="570" y="37"/>
                      <a:pt x="570" y="37"/>
                      <a:pt x="570" y="37"/>
                    </a:cubicBezTo>
                    <a:cubicBezTo>
                      <a:pt x="576" y="30"/>
                      <a:pt x="580" y="25"/>
                      <a:pt x="580" y="20"/>
                    </a:cubicBezTo>
                    <a:cubicBezTo>
                      <a:pt x="580" y="10"/>
                      <a:pt x="559" y="0"/>
                      <a:pt x="545" y="0"/>
                    </a:cubicBezTo>
                    <a:cubicBezTo>
                      <a:pt x="535" y="0"/>
                      <a:pt x="526" y="8"/>
                      <a:pt x="519" y="16"/>
                    </a:cubicBezTo>
                    <a:cubicBezTo>
                      <a:pt x="344" y="210"/>
                      <a:pt x="344" y="210"/>
                      <a:pt x="344" y="210"/>
                    </a:cubicBezTo>
                    <a:cubicBezTo>
                      <a:pt x="336" y="219"/>
                      <a:pt x="334" y="224"/>
                      <a:pt x="334" y="229"/>
                    </a:cubicBezTo>
                    <a:cubicBezTo>
                      <a:pt x="334" y="234"/>
                      <a:pt x="336" y="239"/>
                      <a:pt x="344" y="248"/>
                    </a:cubicBezTo>
                    <a:cubicBezTo>
                      <a:pt x="519" y="442"/>
                      <a:pt x="519" y="442"/>
                      <a:pt x="519" y="442"/>
                    </a:cubicBezTo>
                    <a:cubicBezTo>
                      <a:pt x="526" y="450"/>
                      <a:pt x="535" y="458"/>
                      <a:pt x="545" y="458"/>
                    </a:cubicBezTo>
                    <a:cubicBezTo>
                      <a:pt x="559" y="458"/>
                      <a:pt x="580" y="448"/>
                      <a:pt x="580" y="438"/>
                    </a:cubicBezTo>
                    <a:cubicBezTo>
                      <a:pt x="580" y="433"/>
                      <a:pt x="576" y="428"/>
                      <a:pt x="570" y="421"/>
                    </a:cubicBezTo>
                    <a:cubicBezTo>
                      <a:pt x="411" y="245"/>
                      <a:pt x="411" y="245"/>
                      <a:pt x="411" y="245"/>
                    </a:cubicBezTo>
                    <a:cubicBezTo>
                      <a:pt x="403" y="236"/>
                      <a:pt x="399" y="232"/>
                      <a:pt x="399" y="229"/>
                    </a:cubicBezTo>
                    <a:cubicBezTo>
                      <a:pt x="399" y="226"/>
                      <a:pt x="403" y="222"/>
                      <a:pt x="411" y="213"/>
                    </a:cubicBezTo>
                    <a:moveTo>
                      <a:pt x="252" y="439"/>
                    </a:moveTo>
                    <a:cubicBezTo>
                      <a:pt x="252" y="449"/>
                      <a:pt x="261" y="454"/>
                      <a:pt x="281" y="454"/>
                    </a:cubicBezTo>
                    <a:cubicBezTo>
                      <a:pt x="300" y="454"/>
                      <a:pt x="309" y="449"/>
                      <a:pt x="309" y="439"/>
                    </a:cubicBezTo>
                    <a:cubicBezTo>
                      <a:pt x="309" y="19"/>
                      <a:pt x="309" y="19"/>
                      <a:pt x="309" y="19"/>
                    </a:cubicBezTo>
                    <a:cubicBezTo>
                      <a:pt x="309" y="9"/>
                      <a:pt x="300" y="4"/>
                      <a:pt x="281" y="4"/>
                    </a:cubicBezTo>
                    <a:cubicBezTo>
                      <a:pt x="261" y="4"/>
                      <a:pt x="252" y="9"/>
                      <a:pt x="252" y="19"/>
                    </a:cubicBezTo>
                    <a:lnTo>
                      <a:pt x="252" y="439"/>
                    </a:lnTo>
                    <a:close/>
                    <a:moveTo>
                      <a:pt x="0" y="439"/>
                    </a:moveTo>
                    <a:cubicBezTo>
                      <a:pt x="0" y="449"/>
                      <a:pt x="8" y="454"/>
                      <a:pt x="28" y="454"/>
                    </a:cubicBezTo>
                    <a:cubicBezTo>
                      <a:pt x="48" y="454"/>
                      <a:pt x="56" y="449"/>
                      <a:pt x="56" y="439"/>
                    </a:cubicBezTo>
                    <a:cubicBezTo>
                      <a:pt x="56" y="157"/>
                      <a:pt x="56" y="157"/>
                      <a:pt x="56" y="157"/>
                    </a:cubicBezTo>
                    <a:cubicBezTo>
                      <a:pt x="56" y="83"/>
                      <a:pt x="85" y="53"/>
                      <a:pt x="165" y="53"/>
                    </a:cubicBezTo>
                    <a:cubicBezTo>
                      <a:pt x="180" y="53"/>
                      <a:pt x="180" y="53"/>
                      <a:pt x="180" y="53"/>
                    </a:cubicBezTo>
                    <a:cubicBezTo>
                      <a:pt x="192" y="53"/>
                      <a:pt x="196" y="43"/>
                      <a:pt x="196" y="27"/>
                    </a:cubicBezTo>
                    <a:cubicBezTo>
                      <a:pt x="196" y="8"/>
                      <a:pt x="185" y="4"/>
                      <a:pt x="154" y="4"/>
                    </a:cubicBezTo>
                    <a:cubicBezTo>
                      <a:pt x="64" y="4"/>
                      <a:pt x="0" y="43"/>
                      <a:pt x="0" y="152"/>
                    </a:cubicBezTo>
                    <a:lnTo>
                      <a:pt x="0" y="43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0" dirty="0"/>
              </a:p>
            </p:txBody>
          </p:sp>
          <p:sp>
            <p:nvSpPr>
              <p:cNvPr id="22" name="Freeform 7">
                <a:extLst>
                  <a:ext uri="{FF2B5EF4-FFF2-40B4-BE49-F238E27FC236}">
                    <a16:creationId xmlns:a16="http://schemas.microsoft.com/office/drawing/2014/main" id="{2F32DCBD-8628-F245-85CD-97686A20ECFD}"/>
                  </a:ext>
                </a:extLst>
              </p:cNvPr>
              <p:cNvSpPr>
                <a:spLocks/>
              </p:cNvSpPr>
              <p:nvPr/>
            </p:nvSpPr>
            <p:spPr bwMode="gray">
              <a:xfrm>
                <a:off x="2880" y="1704"/>
                <a:ext cx="618" cy="916"/>
              </a:xfrm>
              <a:custGeom>
                <a:avLst/>
                <a:gdLst>
                  <a:gd name="T0" fmla="*/ 307 w 307"/>
                  <a:gd name="T1" fmla="*/ 405 h 455"/>
                  <a:gd name="T2" fmla="*/ 307 w 307"/>
                  <a:gd name="T3" fmla="*/ 244 h 455"/>
                  <a:gd name="T4" fmla="*/ 279 w 307"/>
                  <a:gd name="T5" fmla="*/ 229 h 455"/>
                  <a:gd name="T6" fmla="*/ 250 w 307"/>
                  <a:gd name="T7" fmla="*/ 244 h 455"/>
                  <a:gd name="T8" fmla="*/ 250 w 307"/>
                  <a:gd name="T9" fmla="*/ 378 h 455"/>
                  <a:gd name="T10" fmla="*/ 199 w 307"/>
                  <a:gd name="T11" fmla="*/ 408 h 455"/>
                  <a:gd name="T12" fmla="*/ 61 w 307"/>
                  <a:gd name="T13" fmla="*/ 231 h 455"/>
                  <a:gd name="T14" fmla="*/ 238 w 307"/>
                  <a:gd name="T15" fmla="*/ 49 h 455"/>
                  <a:gd name="T16" fmla="*/ 270 w 307"/>
                  <a:gd name="T17" fmla="*/ 49 h 455"/>
                  <a:gd name="T18" fmla="*/ 286 w 307"/>
                  <a:gd name="T19" fmla="*/ 23 h 455"/>
                  <a:gd name="T20" fmla="*/ 244 w 307"/>
                  <a:gd name="T21" fmla="*/ 0 h 455"/>
                  <a:gd name="T22" fmla="*/ 231 w 307"/>
                  <a:gd name="T23" fmla="*/ 0 h 455"/>
                  <a:gd name="T24" fmla="*/ 0 w 307"/>
                  <a:gd name="T25" fmla="*/ 232 h 455"/>
                  <a:gd name="T26" fmla="*/ 198 w 307"/>
                  <a:gd name="T27" fmla="*/ 455 h 455"/>
                  <a:gd name="T28" fmla="*/ 307 w 307"/>
                  <a:gd name="T29" fmla="*/ 405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7" h="455">
                    <a:moveTo>
                      <a:pt x="307" y="405"/>
                    </a:moveTo>
                    <a:cubicBezTo>
                      <a:pt x="307" y="244"/>
                      <a:pt x="307" y="244"/>
                      <a:pt x="307" y="244"/>
                    </a:cubicBezTo>
                    <a:cubicBezTo>
                      <a:pt x="307" y="234"/>
                      <a:pt x="298" y="229"/>
                      <a:pt x="279" y="229"/>
                    </a:cubicBezTo>
                    <a:cubicBezTo>
                      <a:pt x="259" y="229"/>
                      <a:pt x="250" y="234"/>
                      <a:pt x="250" y="244"/>
                    </a:cubicBezTo>
                    <a:cubicBezTo>
                      <a:pt x="250" y="378"/>
                      <a:pt x="250" y="378"/>
                      <a:pt x="250" y="378"/>
                    </a:cubicBezTo>
                    <a:cubicBezTo>
                      <a:pt x="250" y="399"/>
                      <a:pt x="241" y="408"/>
                      <a:pt x="199" y="408"/>
                    </a:cubicBezTo>
                    <a:cubicBezTo>
                      <a:pt x="114" y="408"/>
                      <a:pt x="61" y="342"/>
                      <a:pt x="61" y="231"/>
                    </a:cubicBezTo>
                    <a:cubicBezTo>
                      <a:pt x="61" y="115"/>
                      <a:pt x="126" y="49"/>
                      <a:pt x="238" y="49"/>
                    </a:cubicBezTo>
                    <a:cubicBezTo>
                      <a:pt x="270" y="49"/>
                      <a:pt x="270" y="49"/>
                      <a:pt x="270" y="49"/>
                    </a:cubicBezTo>
                    <a:cubicBezTo>
                      <a:pt x="282" y="49"/>
                      <a:pt x="286" y="39"/>
                      <a:pt x="286" y="23"/>
                    </a:cubicBezTo>
                    <a:cubicBezTo>
                      <a:pt x="286" y="4"/>
                      <a:pt x="275" y="0"/>
                      <a:pt x="244" y="0"/>
                    </a:cubicBezTo>
                    <a:cubicBezTo>
                      <a:pt x="231" y="0"/>
                      <a:pt x="231" y="0"/>
                      <a:pt x="231" y="0"/>
                    </a:cubicBezTo>
                    <a:cubicBezTo>
                      <a:pt x="101" y="0"/>
                      <a:pt x="0" y="71"/>
                      <a:pt x="0" y="232"/>
                    </a:cubicBezTo>
                    <a:cubicBezTo>
                      <a:pt x="0" y="386"/>
                      <a:pt x="88" y="455"/>
                      <a:pt x="198" y="455"/>
                    </a:cubicBezTo>
                    <a:cubicBezTo>
                      <a:pt x="286" y="455"/>
                      <a:pt x="307" y="430"/>
                      <a:pt x="307" y="40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0" dirty="0"/>
              </a:p>
            </p:txBody>
          </p:sp>
          <p:sp>
            <p:nvSpPr>
              <p:cNvPr id="23" name="Oval 8">
                <a:extLst>
                  <a:ext uri="{FF2B5EF4-FFF2-40B4-BE49-F238E27FC236}">
                    <a16:creationId xmlns:a16="http://schemas.microsoft.com/office/drawing/2014/main" id="{60D97C11-1A3B-5449-A48D-98A3E79B3810}"/>
                  </a:ext>
                </a:extLst>
              </p:cNvPr>
              <p:cNvSpPr>
                <a:spLocks noChangeArrowheads="1"/>
              </p:cNvSpPr>
              <p:nvPr/>
            </p:nvSpPr>
            <p:spPr bwMode="gray">
              <a:xfrm>
                <a:off x="3778" y="2099"/>
                <a:ext cx="122" cy="12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0" dirty="0"/>
              </a:p>
            </p:txBody>
          </p:sp>
          <p:sp>
            <p:nvSpPr>
              <p:cNvPr id="24" name="Freeform 9">
                <a:extLst>
                  <a:ext uri="{FF2B5EF4-FFF2-40B4-BE49-F238E27FC236}">
                    <a16:creationId xmlns:a16="http://schemas.microsoft.com/office/drawing/2014/main" id="{5856770D-B8F0-244E-A05D-AED190086F10}"/>
                  </a:ext>
                </a:extLst>
              </p:cNvPr>
              <p:cNvSpPr>
                <a:spLocks noEditPoints="1"/>
              </p:cNvSpPr>
              <p:nvPr/>
            </p:nvSpPr>
            <p:spPr bwMode="gray">
              <a:xfrm>
                <a:off x="3623" y="1696"/>
                <a:ext cx="1167" cy="922"/>
              </a:xfrm>
              <a:custGeom>
                <a:avLst/>
                <a:gdLst>
                  <a:gd name="T0" fmla="*/ 411 w 580"/>
                  <a:gd name="T1" fmla="*/ 213 h 458"/>
                  <a:gd name="T2" fmla="*/ 570 w 580"/>
                  <a:gd name="T3" fmla="*/ 37 h 458"/>
                  <a:gd name="T4" fmla="*/ 580 w 580"/>
                  <a:gd name="T5" fmla="*/ 20 h 458"/>
                  <a:gd name="T6" fmla="*/ 545 w 580"/>
                  <a:gd name="T7" fmla="*/ 0 h 458"/>
                  <a:gd name="T8" fmla="*/ 519 w 580"/>
                  <a:gd name="T9" fmla="*/ 16 h 458"/>
                  <a:gd name="T10" fmla="*/ 344 w 580"/>
                  <a:gd name="T11" fmla="*/ 210 h 458"/>
                  <a:gd name="T12" fmla="*/ 334 w 580"/>
                  <a:gd name="T13" fmla="*/ 229 h 458"/>
                  <a:gd name="T14" fmla="*/ 344 w 580"/>
                  <a:gd name="T15" fmla="*/ 248 h 458"/>
                  <a:gd name="T16" fmla="*/ 519 w 580"/>
                  <a:gd name="T17" fmla="*/ 442 h 458"/>
                  <a:gd name="T18" fmla="*/ 545 w 580"/>
                  <a:gd name="T19" fmla="*/ 458 h 458"/>
                  <a:gd name="T20" fmla="*/ 580 w 580"/>
                  <a:gd name="T21" fmla="*/ 438 h 458"/>
                  <a:gd name="T22" fmla="*/ 570 w 580"/>
                  <a:gd name="T23" fmla="*/ 421 h 458"/>
                  <a:gd name="T24" fmla="*/ 411 w 580"/>
                  <a:gd name="T25" fmla="*/ 245 h 458"/>
                  <a:gd name="T26" fmla="*/ 399 w 580"/>
                  <a:gd name="T27" fmla="*/ 229 h 458"/>
                  <a:gd name="T28" fmla="*/ 411 w 580"/>
                  <a:gd name="T29" fmla="*/ 213 h 458"/>
                  <a:gd name="T30" fmla="*/ 252 w 580"/>
                  <a:gd name="T31" fmla="*/ 439 h 458"/>
                  <a:gd name="T32" fmla="*/ 281 w 580"/>
                  <a:gd name="T33" fmla="*/ 454 h 458"/>
                  <a:gd name="T34" fmla="*/ 309 w 580"/>
                  <a:gd name="T35" fmla="*/ 439 h 458"/>
                  <a:gd name="T36" fmla="*/ 309 w 580"/>
                  <a:gd name="T37" fmla="*/ 19 h 458"/>
                  <a:gd name="T38" fmla="*/ 281 w 580"/>
                  <a:gd name="T39" fmla="*/ 4 h 458"/>
                  <a:gd name="T40" fmla="*/ 252 w 580"/>
                  <a:gd name="T41" fmla="*/ 19 h 458"/>
                  <a:gd name="T42" fmla="*/ 252 w 580"/>
                  <a:gd name="T43" fmla="*/ 439 h 458"/>
                  <a:gd name="T44" fmla="*/ 0 w 580"/>
                  <a:gd name="T45" fmla="*/ 439 h 458"/>
                  <a:gd name="T46" fmla="*/ 28 w 580"/>
                  <a:gd name="T47" fmla="*/ 454 h 458"/>
                  <a:gd name="T48" fmla="*/ 56 w 580"/>
                  <a:gd name="T49" fmla="*/ 439 h 458"/>
                  <a:gd name="T50" fmla="*/ 56 w 580"/>
                  <a:gd name="T51" fmla="*/ 157 h 458"/>
                  <a:gd name="T52" fmla="*/ 165 w 580"/>
                  <a:gd name="T53" fmla="*/ 53 h 458"/>
                  <a:gd name="T54" fmla="*/ 180 w 580"/>
                  <a:gd name="T55" fmla="*/ 53 h 458"/>
                  <a:gd name="T56" fmla="*/ 196 w 580"/>
                  <a:gd name="T57" fmla="*/ 27 h 458"/>
                  <a:gd name="T58" fmla="*/ 154 w 580"/>
                  <a:gd name="T59" fmla="*/ 4 h 458"/>
                  <a:gd name="T60" fmla="*/ 0 w 580"/>
                  <a:gd name="T61" fmla="*/ 152 h 458"/>
                  <a:gd name="T62" fmla="*/ 0 w 580"/>
                  <a:gd name="T63" fmla="*/ 439 h 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80" h="458">
                    <a:moveTo>
                      <a:pt x="411" y="213"/>
                    </a:moveTo>
                    <a:cubicBezTo>
                      <a:pt x="570" y="37"/>
                      <a:pt x="570" y="37"/>
                      <a:pt x="570" y="37"/>
                    </a:cubicBezTo>
                    <a:cubicBezTo>
                      <a:pt x="576" y="30"/>
                      <a:pt x="580" y="25"/>
                      <a:pt x="580" y="20"/>
                    </a:cubicBezTo>
                    <a:cubicBezTo>
                      <a:pt x="580" y="10"/>
                      <a:pt x="559" y="0"/>
                      <a:pt x="545" y="0"/>
                    </a:cubicBezTo>
                    <a:cubicBezTo>
                      <a:pt x="535" y="0"/>
                      <a:pt x="526" y="8"/>
                      <a:pt x="519" y="16"/>
                    </a:cubicBezTo>
                    <a:cubicBezTo>
                      <a:pt x="344" y="210"/>
                      <a:pt x="344" y="210"/>
                      <a:pt x="344" y="210"/>
                    </a:cubicBezTo>
                    <a:cubicBezTo>
                      <a:pt x="336" y="219"/>
                      <a:pt x="334" y="224"/>
                      <a:pt x="334" y="229"/>
                    </a:cubicBezTo>
                    <a:cubicBezTo>
                      <a:pt x="334" y="234"/>
                      <a:pt x="336" y="239"/>
                      <a:pt x="344" y="248"/>
                    </a:cubicBezTo>
                    <a:cubicBezTo>
                      <a:pt x="519" y="442"/>
                      <a:pt x="519" y="442"/>
                      <a:pt x="519" y="442"/>
                    </a:cubicBezTo>
                    <a:cubicBezTo>
                      <a:pt x="526" y="450"/>
                      <a:pt x="535" y="458"/>
                      <a:pt x="545" y="458"/>
                    </a:cubicBezTo>
                    <a:cubicBezTo>
                      <a:pt x="559" y="458"/>
                      <a:pt x="580" y="448"/>
                      <a:pt x="580" y="438"/>
                    </a:cubicBezTo>
                    <a:cubicBezTo>
                      <a:pt x="580" y="433"/>
                      <a:pt x="576" y="428"/>
                      <a:pt x="570" y="421"/>
                    </a:cubicBezTo>
                    <a:cubicBezTo>
                      <a:pt x="411" y="245"/>
                      <a:pt x="411" y="245"/>
                      <a:pt x="411" y="245"/>
                    </a:cubicBezTo>
                    <a:cubicBezTo>
                      <a:pt x="403" y="236"/>
                      <a:pt x="399" y="232"/>
                      <a:pt x="399" y="229"/>
                    </a:cubicBezTo>
                    <a:cubicBezTo>
                      <a:pt x="399" y="226"/>
                      <a:pt x="403" y="222"/>
                      <a:pt x="411" y="213"/>
                    </a:cubicBezTo>
                    <a:moveTo>
                      <a:pt x="252" y="439"/>
                    </a:moveTo>
                    <a:cubicBezTo>
                      <a:pt x="252" y="449"/>
                      <a:pt x="261" y="454"/>
                      <a:pt x="281" y="454"/>
                    </a:cubicBezTo>
                    <a:cubicBezTo>
                      <a:pt x="300" y="454"/>
                      <a:pt x="309" y="449"/>
                      <a:pt x="309" y="439"/>
                    </a:cubicBezTo>
                    <a:cubicBezTo>
                      <a:pt x="309" y="19"/>
                      <a:pt x="309" y="19"/>
                      <a:pt x="309" y="19"/>
                    </a:cubicBezTo>
                    <a:cubicBezTo>
                      <a:pt x="309" y="9"/>
                      <a:pt x="300" y="4"/>
                      <a:pt x="281" y="4"/>
                    </a:cubicBezTo>
                    <a:cubicBezTo>
                      <a:pt x="261" y="4"/>
                      <a:pt x="252" y="9"/>
                      <a:pt x="252" y="19"/>
                    </a:cubicBezTo>
                    <a:lnTo>
                      <a:pt x="252" y="439"/>
                    </a:lnTo>
                    <a:close/>
                    <a:moveTo>
                      <a:pt x="0" y="439"/>
                    </a:moveTo>
                    <a:cubicBezTo>
                      <a:pt x="0" y="449"/>
                      <a:pt x="8" y="454"/>
                      <a:pt x="28" y="454"/>
                    </a:cubicBezTo>
                    <a:cubicBezTo>
                      <a:pt x="48" y="454"/>
                      <a:pt x="56" y="449"/>
                      <a:pt x="56" y="439"/>
                    </a:cubicBezTo>
                    <a:cubicBezTo>
                      <a:pt x="56" y="157"/>
                      <a:pt x="56" y="157"/>
                      <a:pt x="56" y="157"/>
                    </a:cubicBezTo>
                    <a:cubicBezTo>
                      <a:pt x="56" y="83"/>
                      <a:pt x="85" y="53"/>
                      <a:pt x="165" y="53"/>
                    </a:cubicBezTo>
                    <a:cubicBezTo>
                      <a:pt x="180" y="53"/>
                      <a:pt x="180" y="53"/>
                      <a:pt x="180" y="53"/>
                    </a:cubicBezTo>
                    <a:cubicBezTo>
                      <a:pt x="192" y="53"/>
                      <a:pt x="196" y="43"/>
                      <a:pt x="196" y="27"/>
                    </a:cubicBezTo>
                    <a:cubicBezTo>
                      <a:pt x="196" y="8"/>
                      <a:pt x="185" y="4"/>
                      <a:pt x="154" y="4"/>
                    </a:cubicBezTo>
                    <a:cubicBezTo>
                      <a:pt x="64" y="4"/>
                      <a:pt x="0" y="43"/>
                      <a:pt x="0" y="152"/>
                    </a:cubicBezTo>
                    <a:lnTo>
                      <a:pt x="0" y="43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0" dirty="0"/>
              </a:p>
            </p:txBody>
          </p:sp>
          <p:sp>
            <p:nvSpPr>
              <p:cNvPr id="25" name="Freeform 10">
                <a:extLst>
                  <a:ext uri="{FF2B5EF4-FFF2-40B4-BE49-F238E27FC236}">
                    <a16:creationId xmlns:a16="http://schemas.microsoft.com/office/drawing/2014/main" id="{2B91B16B-BC11-E547-8FAC-B9B8D18EA449}"/>
                  </a:ext>
                </a:extLst>
              </p:cNvPr>
              <p:cNvSpPr>
                <a:spLocks/>
              </p:cNvSpPr>
              <p:nvPr/>
            </p:nvSpPr>
            <p:spPr bwMode="gray">
              <a:xfrm>
                <a:off x="2880" y="1704"/>
                <a:ext cx="618" cy="916"/>
              </a:xfrm>
              <a:custGeom>
                <a:avLst/>
                <a:gdLst>
                  <a:gd name="T0" fmla="*/ 307 w 307"/>
                  <a:gd name="T1" fmla="*/ 405 h 455"/>
                  <a:gd name="T2" fmla="*/ 307 w 307"/>
                  <a:gd name="T3" fmla="*/ 244 h 455"/>
                  <a:gd name="T4" fmla="*/ 279 w 307"/>
                  <a:gd name="T5" fmla="*/ 229 h 455"/>
                  <a:gd name="T6" fmla="*/ 250 w 307"/>
                  <a:gd name="T7" fmla="*/ 244 h 455"/>
                  <a:gd name="T8" fmla="*/ 250 w 307"/>
                  <a:gd name="T9" fmla="*/ 378 h 455"/>
                  <a:gd name="T10" fmla="*/ 199 w 307"/>
                  <a:gd name="T11" fmla="*/ 408 h 455"/>
                  <a:gd name="T12" fmla="*/ 61 w 307"/>
                  <a:gd name="T13" fmla="*/ 231 h 455"/>
                  <a:gd name="T14" fmla="*/ 238 w 307"/>
                  <a:gd name="T15" fmla="*/ 49 h 455"/>
                  <a:gd name="T16" fmla="*/ 270 w 307"/>
                  <a:gd name="T17" fmla="*/ 49 h 455"/>
                  <a:gd name="T18" fmla="*/ 286 w 307"/>
                  <a:gd name="T19" fmla="*/ 23 h 455"/>
                  <a:gd name="T20" fmla="*/ 244 w 307"/>
                  <a:gd name="T21" fmla="*/ 0 h 455"/>
                  <a:gd name="T22" fmla="*/ 231 w 307"/>
                  <a:gd name="T23" fmla="*/ 0 h 455"/>
                  <a:gd name="T24" fmla="*/ 0 w 307"/>
                  <a:gd name="T25" fmla="*/ 232 h 455"/>
                  <a:gd name="T26" fmla="*/ 198 w 307"/>
                  <a:gd name="T27" fmla="*/ 455 h 455"/>
                  <a:gd name="T28" fmla="*/ 307 w 307"/>
                  <a:gd name="T29" fmla="*/ 405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7" h="455">
                    <a:moveTo>
                      <a:pt x="307" y="405"/>
                    </a:moveTo>
                    <a:cubicBezTo>
                      <a:pt x="307" y="244"/>
                      <a:pt x="307" y="244"/>
                      <a:pt x="307" y="244"/>
                    </a:cubicBezTo>
                    <a:cubicBezTo>
                      <a:pt x="307" y="234"/>
                      <a:pt x="298" y="229"/>
                      <a:pt x="279" y="229"/>
                    </a:cubicBezTo>
                    <a:cubicBezTo>
                      <a:pt x="259" y="229"/>
                      <a:pt x="250" y="234"/>
                      <a:pt x="250" y="244"/>
                    </a:cubicBezTo>
                    <a:cubicBezTo>
                      <a:pt x="250" y="378"/>
                      <a:pt x="250" y="378"/>
                      <a:pt x="250" y="378"/>
                    </a:cubicBezTo>
                    <a:cubicBezTo>
                      <a:pt x="250" y="399"/>
                      <a:pt x="241" y="408"/>
                      <a:pt x="199" y="408"/>
                    </a:cubicBezTo>
                    <a:cubicBezTo>
                      <a:pt x="114" y="408"/>
                      <a:pt x="61" y="342"/>
                      <a:pt x="61" y="231"/>
                    </a:cubicBezTo>
                    <a:cubicBezTo>
                      <a:pt x="61" y="115"/>
                      <a:pt x="126" y="49"/>
                      <a:pt x="238" y="49"/>
                    </a:cubicBezTo>
                    <a:cubicBezTo>
                      <a:pt x="270" y="49"/>
                      <a:pt x="270" y="49"/>
                      <a:pt x="270" y="49"/>
                    </a:cubicBezTo>
                    <a:cubicBezTo>
                      <a:pt x="282" y="49"/>
                      <a:pt x="286" y="39"/>
                      <a:pt x="286" y="23"/>
                    </a:cubicBezTo>
                    <a:cubicBezTo>
                      <a:pt x="286" y="4"/>
                      <a:pt x="275" y="0"/>
                      <a:pt x="244" y="0"/>
                    </a:cubicBezTo>
                    <a:cubicBezTo>
                      <a:pt x="231" y="0"/>
                      <a:pt x="231" y="0"/>
                      <a:pt x="231" y="0"/>
                    </a:cubicBezTo>
                    <a:cubicBezTo>
                      <a:pt x="101" y="0"/>
                      <a:pt x="0" y="71"/>
                      <a:pt x="0" y="232"/>
                    </a:cubicBezTo>
                    <a:cubicBezTo>
                      <a:pt x="0" y="386"/>
                      <a:pt x="88" y="455"/>
                      <a:pt x="198" y="455"/>
                    </a:cubicBezTo>
                    <a:cubicBezTo>
                      <a:pt x="286" y="455"/>
                      <a:pt x="307" y="430"/>
                      <a:pt x="307" y="40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0" dirty="0"/>
              </a:p>
            </p:txBody>
          </p:sp>
          <p:sp>
            <p:nvSpPr>
              <p:cNvPr id="26" name="Oval 11">
                <a:extLst>
                  <a:ext uri="{FF2B5EF4-FFF2-40B4-BE49-F238E27FC236}">
                    <a16:creationId xmlns:a16="http://schemas.microsoft.com/office/drawing/2014/main" id="{14F8C3C8-4888-7646-B9B4-64EB46A1DA23}"/>
                  </a:ext>
                </a:extLst>
              </p:cNvPr>
              <p:cNvSpPr>
                <a:spLocks noChangeArrowheads="1"/>
              </p:cNvSpPr>
              <p:nvPr/>
            </p:nvSpPr>
            <p:spPr bwMode="gray">
              <a:xfrm>
                <a:off x="3778" y="2099"/>
                <a:ext cx="122" cy="12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0" dirty="0"/>
              </a:p>
            </p:txBody>
          </p:sp>
          <p:sp>
            <p:nvSpPr>
              <p:cNvPr id="27" name="Freeform 12">
                <a:extLst>
                  <a:ext uri="{FF2B5EF4-FFF2-40B4-BE49-F238E27FC236}">
                    <a16:creationId xmlns:a16="http://schemas.microsoft.com/office/drawing/2014/main" id="{D79D01D1-4E3E-F34B-97D7-2D387E68746E}"/>
                  </a:ext>
                </a:extLst>
              </p:cNvPr>
              <p:cNvSpPr>
                <a:spLocks/>
              </p:cNvSpPr>
              <p:nvPr/>
            </p:nvSpPr>
            <p:spPr bwMode="gray">
              <a:xfrm>
                <a:off x="4321" y="1029"/>
                <a:ext cx="648" cy="649"/>
              </a:xfrm>
              <a:custGeom>
                <a:avLst/>
                <a:gdLst>
                  <a:gd name="T0" fmla="*/ 0 w 648"/>
                  <a:gd name="T1" fmla="*/ 649 h 649"/>
                  <a:gd name="T2" fmla="*/ 2 w 648"/>
                  <a:gd name="T3" fmla="*/ 649 h 649"/>
                  <a:gd name="T4" fmla="*/ 648 w 648"/>
                  <a:gd name="T5" fmla="*/ 0 h 649"/>
                  <a:gd name="T6" fmla="*/ 423 w 648"/>
                  <a:gd name="T7" fmla="*/ 0 h 649"/>
                  <a:gd name="T8" fmla="*/ 0 w 648"/>
                  <a:gd name="T9" fmla="*/ 649 h 649"/>
                </a:gdLst>
                <a:ahLst/>
                <a:cxnLst>
                  <a:cxn ang="0">
                    <a:pos x="T0" y="T1"/>
                  </a:cxn>
                  <a:cxn ang="0">
                    <a:pos x="T2" y="T3"/>
                  </a:cxn>
                  <a:cxn ang="0">
                    <a:pos x="T4" y="T5"/>
                  </a:cxn>
                  <a:cxn ang="0">
                    <a:pos x="T6" y="T7"/>
                  </a:cxn>
                  <a:cxn ang="0">
                    <a:pos x="T8" y="T9"/>
                  </a:cxn>
                </a:cxnLst>
                <a:rect l="0" t="0" r="r" b="b"/>
                <a:pathLst>
                  <a:path w="648" h="649">
                    <a:moveTo>
                      <a:pt x="0" y="649"/>
                    </a:moveTo>
                    <a:lnTo>
                      <a:pt x="2" y="649"/>
                    </a:lnTo>
                    <a:lnTo>
                      <a:pt x="648" y="0"/>
                    </a:lnTo>
                    <a:lnTo>
                      <a:pt x="423" y="0"/>
                    </a:lnTo>
                    <a:lnTo>
                      <a:pt x="0" y="64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0" dirty="0"/>
              </a:p>
            </p:txBody>
          </p:sp>
          <p:sp>
            <p:nvSpPr>
              <p:cNvPr id="28" name="Freeform 13">
                <a:extLst>
                  <a:ext uri="{FF2B5EF4-FFF2-40B4-BE49-F238E27FC236}">
                    <a16:creationId xmlns:a16="http://schemas.microsoft.com/office/drawing/2014/main" id="{46549898-6C52-B147-A8F6-A73FDBE6163B}"/>
                  </a:ext>
                </a:extLst>
              </p:cNvPr>
              <p:cNvSpPr>
                <a:spLocks/>
              </p:cNvSpPr>
              <p:nvPr/>
            </p:nvSpPr>
            <p:spPr bwMode="gray">
              <a:xfrm>
                <a:off x="4321" y="1029"/>
                <a:ext cx="648" cy="649"/>
              </a:xfrm>
              <a:custGeom>
                <a:avLst/>
                <a:gdLst>
                  <a:gd name="T0" fmla="*/ 0 w 648"/>
                  <a:gd name="T1" fmla="*/ 649 h 649"/>
                  <a:gd name="T2" fmla="*/ 2 w 648"/>
                  <a:gd name="T3" fmla="*/ 649 h 649"/>
                  <a:gd name="T4" fmla="*/ 648 w 648"/>
                  <a:gd name="T5" fmla="*/ 0 h 649"/>
                  <a:gd name="T6" fmla="*/ 423 w 648"/>
                  <a:gd name="T7" fmla="*/ 0 h 649"/>
                  <a:gd name="T8" fmla="*/ 0 w 648"/>
                  <a:gd name="T9" fmla="*/ 649 h 649"/>
                </a:gdLst>
                <a:ahLst/>
                <a:cxnLst>
                  <a:cxn ang="0">
                    <a:pos x="T0" y="T1"/>
                  </a:cxn>
                  <a:cxn ang="0">
                    <a:pos x="T2" y="T3"/>
                  </a:cxn>
                  <a:cxn ang="0">
                    <a:pos x="T4" y="T5"/>
                  </a:cxn>
                  <a:cxn ang="0">
                    <a:pos x="T6" y="T7"/>
                  </a:cxn>
                  <a:cxn ang="0">
                    <a:pos x="T8" y="T9"/>
                  </a:cxn>
                </a:cxnLst>
                <a:rect l="0" t="0" r="r" b="b"/>
                <a:pathLst>
                  <a:path w="648" h="649">
                    <a:moveTo>
                      <a:pt x="0" y="649"/>
                    </a:moveTo>
                    <a:lnTo>
                      <a:pt x="2" y="649"/>
                    </a:lnTo>
                    <a:lnTo>
                      <a:pt x="648" y="0"/>
                    </a:lnTo>
                    <a:lnTo>
                      <a:pt x="423" y="0"/>
                    </a:lnTo>
                    <a:lnTo>
                      <a:pt x="0" y="64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0" dirty="0"/>
              </a:p>
            </p:txBody>
          </p:sp>
        </p:grpSp>
      </p:grpSp>
      <p:sp>
        <p:nvSpPr>
          <p:cNvPr id="7" name="Date Placeholder 6"/>
          <p:cNvSpPr>
            <a:spLocks noGrp="1"/>
          </p:cNvSpPr>
          <p:nvPr>
            <p:ph type="dt" sz="half" idx="10"/>
          </p:nvPr>
        </p:nvSpPr>
        <p:spPr>
          <a:xfrm>
            <a:off x="0" y="0"/>
            <a:ext cx="0" cy="0"/>
          </a:xfrm>
          <a:prstGeom prst="rect">
            <a:avLst/>
          </a:prstGeom>
        </p:spPr>
        <p:txBody>
          <a:bodyPr/>
          <a:lstStyle>
            <a:lvl1pPr>
              <a:defRPr sz="133">
                <a:noFill/>
              </a:defRPr>
            </a:lvl1pPr>
          </a:lstStyle>
          <a:p>
            <a:fld id="{D76217CC-534C-41BF-930C-27B1184E95F2}" type="datetime5">
              <a:rPr lang="en-US" smtClean="0"/>
              <a:t>26-Jun-20</a:t>
            </a:fld>
            <a:endParaRPr lang="en-US" dirty="0"/>
          </a:p>
        </p:txBody>
      </p:sp>
      <p:sp>
        <p:nvSpPr>
          <p:cNvPr id="8" name="Footer Placeholder 7"/>
          <p:cNvSpPr>
            <a:spLocks noGrp="1"/>
          </p:cNvSpPr>
          <p:nvPr>
            <p:ph type="ftr" sz="quarter" idx="11"/>
          </p:nvPr>
        </p:nvSpPr>
        <p:spPr>
          <a:xfrm>
            <a:off x="0" y="0"/>
            <a:ext cx="0" cy="0"/>
          </a:xfrm>
          <a:prstGeom prst="rect">
            <a:avLst/>
          </a:prstGeom>
        </p:spPr>
        <p:txBody>
          <a:bodyPr/>
          <a:lstStyle>
            <a:lvl1pPr marL="0" indent="0">
              <a:buNone/>
              <a:defRPr sz="133">
                <a:noFill/>
              </a:defRPr>
            </a:lvl1pPr>
          </a:lstStyle>
          <a:p>
            <a:r>
              <a:rPr lang="en-US"/>
              <a:t>Title of presentation (Insert / Header &amp; Footer / Apply to All)</a:t>
            </a:r>
            <a:endParaRPr lang="en-US" dirty="0"/>
          </a:p>
        </p:txBody>
      </p:sp>
      <p:sp>
        <p:nvSpPr>
          <p:cNvPr id="9" name="Slide Number Placeholder 8"/>
          <p:cNvSpPr>
            <a:spLocks noGrp="1"/>
          </p:cNvSpPr>
          <p:nvPr>
            <p:ph type="sldNum" sz="quarter" idx="12"/>
          </p:nvPr>
        </p:nvSpPr>
        <p:spPr>
          <a:xfrm>
            <a:off x="0" y="0"/>
            <a:ext cx="0" cy="0"/>
          </a:xfrm>
          <a:prstGeom prst="rect">
            <a:avLst/>
          </a:prstGeom>
        </p:spPr>
        <p:txBody>
          <a:bodyPr/>
          <a:lstStyle>
            <a:lvl1pPr>
              <a:defRPr sz="133">
                <a:noFill/>
              </a:defRPr>
            </a:lvl1pPr>
          </a:lstStyle>
          <a:p>
            <a:fld id="{8E3B25F7-8D1F-44B5-B485-EE3C438CFD7B}" type="slidenum">
              <a:rPr lang="en-US" smtClean="0"/>
              <a:pPr/>
              <a:t>‹#›</a:t>
            </a:fld>
            <a:endParaRPr lang="en-US"/>
          </a:p>
        </p:txBody>
      </p:sp>
      <p:sp>
        <p:nvSpPr>
          <p:cNvPr id="2" name="Title 1"/>
          <p:cNvSpPr>
            <a:spLocks noGrp="1"/>
          </p:cNvSpPr>
          <p:nvPr>
            <p:ph type="ctrTitle" hasCustomPrompt="1"/>
          </p:nvPr>
        </p:nvSpPr>
        <p:spPr>
          <a:xfrm>
            <a:off x="4777671" y="2019727"/>
            <a:ext cx="3816000" cy="2236264"/>
          </a:xfrm>
        </p:spPr>
        <p:txBody>
          <a:bodyPr anchor="b"/>
          <a:lstStyle>
            <a:lvl1pPr algn="l">
              <a:defRPr sz="3599"/>
            </a:lvl1pPr>
          </a:lstStyle>
          <a:p>
            <a:r>
              <a:rPr lang="en-US" dirty="0"/>
              <a:t>Click to add thank you</a:t>
            </a:r>
          </a:p>
        </p:txBody>
      </p:sp>
    </p:spTree>
    <p:extLst>
      <p:ext uri="{BB962C8B-B14F-4D97-AF65-F5344CB8AC3E}">
        <p14:creationId xmlns:p14="http://schemas.microsoft.com/office/powerpoint/2010/main" val="1287864319"/>
      </p:ext>
    </p:extLst>
  </p:cSld>
  <p:clrMapOvr>
    <a:masterClrMapping/>
  </p:clrMapOvr>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p:cSld name="Empty">
    <p:spTree>
      <p:nvGrpSpPr>
        <p:cNvPr id="1" name=""/>
        <p:cNvGrpSpPr/>
        <p:nvPr/>
      </p:nvGrpSpPr>
      <p:grpSpPr>
        <a:xfrm>
          <a:off x="0" y="0"/>
          <a:ext cx="0" cy="0"/>
          <a:chOff x="0" y="0"/>
          <a:chExt cx="0" cy="0"/>
        </a:xfrm>
      </p:grpSpPr>
      <p:sp>
        <p:nvSpPr>
          <p:cNvPr id="5" name="Rectangle 4"/>
          <p:cNvSpPr/>
          <p:nvPr/>
        </p:nvSpPr>
        <p:spPr bwMode="white">
          <a:xfrm>
            <a:off x="0" y="2"/>
            <a:ext cx="514351" cy="162877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6" name="Date Placeholder 5"/>
          <p:cNvSpPr>
            <a:spLocks noGrp="1"/>
          </p:cNvSpPr>
          <p:nvPr>
            <p:ph type="dt" sz="half" idx="10"/>
          </p:nvPr>
        </p:nvSpPr>
        <p:spPr>
          <a:xfrm>
            <a:off x="192088" y="6461673"/>
            <a:ext cx="761512" cy="133789"/>
          </a:xfrm>
          <a:prstGeom prst="rect">
            <a:avLst/>
          </a:prstGeom>
        </p:spPr>
        <p:txBody>
          <a:bodyPr/>
          <a:lstStyle/>
          <a:p>
            <a:fld id="{2DD22AFC-145E-4433-8756-926F8A0E61FA}" type="datetime5">
              <a:rPr lang="en-US" smtClean="0"/>
              <a:t>26-Jun-20</a:t>
            </a:fld>
            <a:endParaRPr lang="en-US" dirty="0"/>
          </a:p>
        </p:txBody>
      </p:sp>
      <p:sp>
        <p:nvSpPr>
          <p:cNvPr id="7" name="Footer Placeholder 6"/>
          <p:cNvSpPr>
            <a:spLocks noGrp="1"/>
          </p:cNvSpPr>
          <p:nvPr>
            <p:ph type="ftr" sz="quarter" idx="11"/>
          </p:nvPr>
        </p:nvSpPr>
        <p:spPr>
          <a:xfrm>
            <a:off x="1076400" y="6461673"/>
            <a:ext cx="8162717" cy="133789"/>
          </a:xfrm>
          <a:prstGeom prst="rect">
            <a:avLst/>
          </a:prstGeom>
        </p:spPr>
        <p:txBody>
          <a:bodyPr/>
          <a:lstStyle>
            <a:lvl1pPr>
              <a:defRPr/>
            </a:lvl1pPr>
          </a:lstStyle>
          <a:p>
            <a:r>
              <a:rPr lang="en-US" dirty="0"/>
              <a:t>TCG Market</a:t>
            </a:r>
          </a:p>
        </p:txBody>
      </p:sp>
      <p:sp>
        <p:nvSpPr>
          <p:cNvPr id="8" name="Slide Number Placeholder 7"/>
          <p:cNvSpPr>
            <a:spLocks noGrp="1"/>
          </p:cNvSpPr>
          <p:nvPr>
            <p:ph type="sldNum" sz="quarter" idx="12"/>
          </p:nvPr>
        </p:nvSpPr>
        <p:spPr/>
        <p:txBody>
          <a:bodyPr/>
          <a:lstStyle/>
          <a:p>
            <a:fld id="{5F3E29E4-0979-4FCA-B4C5-5FC6044C982A}" type="slidenum">
              <a:rPr lang="en-US" smtClean="0"/>
              <a:pPr/>
              <a:t>‹#›</a:t>
            </a:fld>
            <a:endParaRPr lang="en-US"/>
          </a:p>
        </p:txBody>
      </p:sp>
      <p:sp>
        <p:nvSpPr>
          <p:cNvPr id="10" name="Text Placeholder 4"/>
          <p:cNvSpPr>
            <a:spLocks noGrp="1"/>
          </p:cNvSpPr>
          <p:nvPr>
            <p:ph type="body" sz="quarter" idx="17" hasCustomPrompt="1"/>
          </p:nvPr>
        </p:nvSpPr>
        <p:spPr>
          <a:xfrm>
            <a:off x="1075064" y="6307665"/>
            <a:ext cx="8162717" cy="133200"/>
          </a:xfrm>
        </p:spPr>
        <p:txBody>
          <a:bodyPr lIns="0" tIns="0" rIns="0" bIns="0" anchor="b" anchorCtr="0"/>
          <a:lstStyle>
            <a:lvl1pPr marL="0" indent="0" algn="l">
              <a:lnSpc>
                <a:spcPct val="100000"/>
              </a:lnSpc>
              <a:spcBef>
                <a:spcPts val="0"/>
              </a:spcBef>
              <a:buNone/>
              <a:defRPr sz="800" baseline="0"/>
            </a:lvl1pPr>
            <a:lvl2pPr marL="0" indent="0" algn="l">
              <a:lnSpc>
                <a:spcPct val="100000"/>
              </a:lnSpc>
              <a:spcBef>
                <a:spcPts val="0"/>
              </a:spcBef>
              <a:buNone/>
              <a:defRPr sz="800"/>
            </a:lvl2pPr>
            <a:lvl3pPr marL="0" indent="0" algn="l">
              <a:lnSpc>
                <a:spcPct val="100000"/>
              </a:lnSpc>
              <a:spcBef>
                <a:spcPts val="0"/>
              </a:spcBef>
              <a:buNone/>
              <a:defRPr sz="800"/>
            </a:lvl3pPr>
            <a:lvl4pPr marL="0" algn="l">
              <a:lnSpc>
                <a:spcPct val="100000"/>
              </a:lnSpc>
              <a:spcBef>
                <a:spcPts val="0"/>
              </a:spcBef>
              <a:buNone/>
              <a:defRPr sz="800"/>
            </a:lvl4pPr>
            <a:lvl5pPr marL="0" indent="0" algn="l">
              <a:lnSpc>
                <a:spcPct val="100000"/>
              </a:lnSpc>
              <a:spcBef>
                <a:spcPts val="0"/>
              </a:spcBef>
              <a:buNone/>
              <a:defRPr sz="800"/>
            </a:lvl5pPr>
          </a:lstStyle>
          <a:p>
            <a:pPr lvl="0"/>
            <a:r>
              <a:rPr lang="en-US" dirty="0"/>
              <a:t>Source line</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216185821"/>
      </p:ext>
    </p:extLst>
  </p:cSld>
  <p:clrMapOvr>
    <a:masterClrMapping/>
  </p:clrMapOvr>
</p:sldLayout>
</file>

<file path=ppt/slideLayouts/slideLayout244.xml><?xml version="1.0" encoding="utf-8"?>
<p:sldLayout xmlns:a="http://schemas.openxmlformats.org/drawingml/2006/main" xmlns:r="http://schemas.openxmlformats.org/officeDocument/2006/relationships" xmlns:p="http://schemas.openxmlformats.org/presentationml/2006/main" type="vertTx" preserve="1">
  <p:cSld name="Заголовок и вертикальный текст">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ru-RU"/>
              <a:t>Образец заголовка</a:t>
            </a:r>
            <a:endParaRPr lang="en-US" dirty="0"/>
          </a:p>
        </p:txBody>
      </p:sp>
      <p:sp>
        <p:nvSpPr>
          <p:cNvPr id="3" name="Vertical Text Placeholder 2"/>
          <p:cNvSpPr>
            <a:spLocks noGrp="1"/>
          </p:cNvSpPr>
          <p:nvPr>
            <p:ph type="body" orient="vert" idx="1"/>
          </p:nvPr>
        </p:nvSpPr>
        <p:spPr/>
        <p:txBody>
          <a:bodyPr vert="eaVert"/>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endParaRPr lang="en-US" dirty="0"/>
          </a:p>
        </p:txBody>
      </p:sp>
      <p:sp>
        <p:nvSpPr>
          <p:cNvPr id="7" name="Date Placeholder 6"/>
          <p:cNvSpPr>
            <a:spLocks noGrp="1"/>
          </p:cNvSpPr>
          <p:nvPr>
            <p:ph type="dt" sz="half" idx="10"/>
          </p:nvPr>
        </p:nvSpPr>
        <p:spPr>
          <a:xfrm>
            <a:off x="192088" y="6461673"/>
            <a:ext cx="761512" cy="133789"/>
          </a:xfrm>
          <a:prstGeom prst="rect">
            <a:avLst/>
          </a:prstGeom>
        </p:spPr>
        <p:txBody>
          <a:bodyPr/>
          <a:lstStyle/>
          <a:p>
            <a:fld id="{AF5B2FD7-A1C3-4F99-9996-6254468DC4CB}" type="datetime5">
              <a:rPr lang="en-US" smtClean="0"/>
              <a:t>26-Jun-20</a:t>
            </a:fld>
            <a:endParaRPr lang="en-US" dirty="0"/>
          </a:p>
        </p:txBody>
      </p:sp>
      <p:sp>
        <p:nvSpPr>
          <p:cNvPr id="8" name="Footer Placeholder 7"/>
          <p:cNvSpPr>
            <a:spLocks noGrp="1"/>
          </p:cNvSpPr>
          <p:nvPr>
            <p:ph type="ftr" sz="quarter" idx="11"/>
          </p:nvPr>
        </p:nvSpPr>
        <p:spPr>
          <a:xfrm>
            <a:off x="1076400" y="6461673"/>
            <a:ext cx="8162717" cy="133789"/>
          </a:xfrm>
          <a:prstGeom prst="rect">
            <a:avLst/>
          </a:prstGeom>
        </p:spPr>
        <p:txBody>
          <a:bodyPr/>
          <a:lstStyle>
            <a:lvl1pPr>
              <a:defRPr/>
            </a:lvl1pPr>
          </a:lstStyle>
          <a:p>
            <a:r>
              <a:rPr lang="en-US" dirty="0"/>
              <a:t>TCG Market</a:t>
            </a:r>
          </a:p>
        </p:txBody>
      </p:sp>
      <p:sp>
        <p:nvSpPr>
          <p:cNvPr id="9" name="Slide Number Placeholder 8"/>
          <p:cNvSpPr>
            <a:spLocks noGrp="1"/>
          </p:cNvSpPr>
          <p:nvPr>
            <p:ph type="sldNum" sz="quarter" idx="12"/>
          </p:nvPr>
        </p:nvSpPr>
        <p:spPr/>
        <p:txBody>
          <a:bodyPr/>
          <a:lstStyle/>
          <a:p>
            <a:fld id="{5F3E29E4-0979-4FCA-B4C5-5FC6044C982A}" type="slidenum">
              <a:rPr lang="en-US" smtClean="0"/>
              <a:pPr/>
              <a:t>‹#›</a:t>
            </a:fld>
            <a:endParaRPr lang="en-US"/>
          </a:p>
        </p:txBody>
      </p:sp>
    </p:spTree>
    <p:extLst>
      <p:ext uri="{BB962C8B-B14F-4D97-AF65-F5344CB8AC3E}">
        <p14:creationId xmlns:p14="http://schemas.microsoft.com/office/powerpoint/2010/main" val="1111226302"/>
      </p:ext>
    </p:extLst>
  </p:cSld>
  <p:clrMapOvr>
    <a:masterClrMapping/>
  </p:clrMapOvr>
</p:sldLayout>
</file>

<file path=ppt/slideLayouts/slideLayout245.xml><?xml version="1.0" encoding="utf-8"?>
<p:sldLayout xmlns:a="http://schemas.openxmlformats.org/drawingml/2006/main" xmlns:r="http://schemas.openxmlformats.org/officeDocument/2006/relationships" xmlns:p="http://schemas.openxmlformats.org/presentationml/2006/main" type="vertTitleAndTx" preserve="1">
  <p:cSld name="Вертикальный заголовок и текст">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196279" y="404814"/>
            <a:ext cx="1400175" cy="5832474"/>
          </a:xfrm>
        </p:spPr>
        <p:txBody>
          <a:bodyPr vert="eaVert"/>
          <a:lstStyle/>
          <a:p>
            <a:r>
              <a:rPr lang="ru-RU"/>
              <a:t>Образец заголовка</a:t>
            </a:r>
            <a:endParaRPr lang="en-US" dirty="0"/>
          </a:p>
        </p:txBody>
      </p:sp>
      <p:sp>
        <p:nvSpPr>
          <p:cNvPr id="3" name="Vertical Text Placeholder 2"/>
          <p:cNvSpPr>
            <a:spLocks noGrp="1"/>
          </p:cNvSpPr>
          <p:nvPr>
            <p:ph type="body" orient="vert" idx="1"/>
          </p:nvPr>
        </p:nvSpPr>
        <p:spPr>
          <a:xfrm>
            <a:off x="1076400" y="404814"/>
            <a:ext cx="5943525" cy="5832474"/>
          </a:xfrm>
        </p:spPr>
        <p:txBody>
          <a:bodyPr vert="eaVert"/>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endParaRPr lang="en-US"/>
          </a:p>
        </p:txBody>
      </p:sp>
      <p:sp>
        <p:nvSpPr>
          <p:cNvPr id="7" name="Date Placeholder 6"/>
          <p:cNvSpPr>
            <a:spLocks noGrp="1"/>
          </p:cNvSpPr>
          <p:nvPr>
            <p:ph type="dt" sz="half" idx="10"/>
          </p:nvPr>
        </p:nvSpPr>
        <p:spPr>
          <a:xfrm>
            <a:off x="192088" y="6461673"/>
            <a:ext cx="761512" cy="133789"/>
          </a:xfrm>
          <a:prstGeom prst="rect">
            <a:avLst/>
          </a:prstGeom>
        </p:spPr>
        <p:txBody>
          <a:bodyPr/>
          <a:lstStyle/>
          <a:p>
            <a:fld id="{A1079567-0E61-4D85-B570-3273C3AD246A}" type="datetime5">
              <a:rPr lang="en-US" smtClean="0"/>
              <a:t>26-Jun-20</a:t>
            </a:fld>
            <a:endParaRPr lang="en-US" dirty="0"/>
          </a:p>
        </p:txBody>
      </p:sp>
      <p:sp>
        <p:nvSpPr>
          <p:cNvPr id="8" name="Footer Placeholder 7"/>
          <p:cNvSpPr>
            <a:spLocks noGrp="1"/>
          </p:cNvSpPr>
          <p:nvPr>
            <p:ph type="ftr" sz="quarter" idx="11"/>
          </p:nvPr>
        </p:nvSpPr>
        <p:spPr>
          <a:xfrm>
            <a:off x="1076400" y="6461673"/>
            <a:ext cx="8162717" cy="133789"/>
          </a:xfrm>
          <a:prstGeom prst="rect">
            <a:avLst/>
          </a:prstGeom>
        </p:spPr>
        <p:txBody>
          <a:bodyPr/>
          <a:lstStyle>
            <a:lvl1pPr>
              <a:defRPr/>
            </a:lvl1pPr>
          </a:lstStyle>
          <a:p>
            <a:r>
              <a:rPr lang="en-US" dirty="0"/>
              <a:t>TCG Market</a:t>
            </a:r>
          </a:p>
        </p:txBody>
      </p:sp>
      <p:sp>
        <p:nvSpPr>
          <p:cNvPr id="9" name="Slide Number Placeholder 8"/>
          <p:cNvSpPr>
            <a:spLocks noGrp="1"/>
          </p:cNvSpPr>
          <p:nvPr>
            <p:ph type="sldNum" sz="quarter" idx="12"/>
          </p:nvPr>
        </p:nvSpPr>
        <p:spPr/>
        <p:txBody>
          <a:bodyPr/>
          <a:lstStyle/>
          <a:p>
            <a:fld id="{5F3E29E4-0979-4FCA-B4C5-5FC6044C982A}" type="slidenum">
              <a:rPr lang="en-US" smtClean="0"/>
              <a:pPr/>
              <a:t>‹#›</a:t>
            </a:fld>
            <a:endParaRPr lang="en-US"/>
          </a:p>
        </p:txBody>
      </p:sp>
    </p:spTree>
    <p:extLst>
      <p:ext uri="{BB962C8B-B14F-4D97-AF65-F5344CB8AC3E}">
        <p14:creationId xmlns:p14="http://schemas.microsoft.com/office/powerpoint/2010/main" val="4070521761"/>
      </p:ext>
    </p:extLst>
  </p:cSld>
  <p:clrMapOvr>
    <a:masterClrMapping/>
  </p:clrMapOvr>
</p:sldLayout>
</file>

<file path=ppt/slideLayouts/slideLayout246.xml><?xml version="1.0" encoding="utf-8"?>
<p:sldLayout xmlns:a="http://schemas.openxmlformats.org/drawingml/2006/main" xmlns:r="http://schemas.openxmlformats.org/officeDocument/2006/relationships" xmlns:p="http://schemas.openxmlformats.org/presentationml/2006/main" type="blank">
  <p:cSld name="1_Empty">
    <p:spTree>
      <p:nvGrpSpPr>
        <p:cNvPr id="1" name=""/>
        <p:cNvGrpSpPr/>
        <p:nvPr/>
      </p:nvGrpSpPr>
      <p:grpSpPr>
        <a:xfrm>
          <a:off x="0" y="0"/>
          <a:ext cx="0" cy="0"/>
          <a:chOff x="0" y="0"/>
          <a:chExt cx="0" cy="0"/>
        </a:xfrm>
      </p:grpSpPr>
      <p:sp>
        <p:nvSpPr>
          <p:cNvPr id="5" name="Rectangle 4"/>
          <p:cNvSpPr/>
          <p:nvPr/>
        </p:nvSpPr>
        <p:spPr bwMode="white">
          <a:xfrm>
            <a:off x="0" y="2"/>
            <a:ext cx="514351" cy="162877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6" name="Date Placeholder 5"/>
          <p:cNvSpPr>
            <a:spLocks noGrp="1"/>
          </p:cNvSpPr>
          <p:nvPr>
            <p:ph type="dt" sz="half" idx="10"/>
          </p:nvPr>
        </p:nvSpPr>
        <p:spPr>
          <a:xfrm>
            <a:off x="192088" y="6461673"/>
            <a:ext cx="761512" cy="133789"/>
          </a:xfrm>
          <a:prstGeom prst="rect">
            <a:avLst/>
          </a:prstGeom>
        </p:spPr>
        <p:txBody>
          <a:bodyPr/>
          <a:lstStyle/>
          <a:p>
            <a:fld id="{792BA25D-5ECB-4175-8CC7-C6F3E3CE2CF8}" type="datetime5">
              <a:rPr lang="en-US" smtClean="0"/>
              <a:t>26-Jun-20</a:t>
            </a:fld>
            <a:endParaRPr lang="en-US" dirty="0"/>
          </a:p>
        </p:txBody>
      </p:sp>
      <p:sp>
        <p:nvSpPr>
          <p:cNvPr id="7" name="Footer Placeholder 6"/>
          <p:cNvSpPr>
            <a:spLocks noGrp="1"/>
          </p:cNvSpPr>
          <p:nvPr>
            <p:ph type="ftr" sz="quarter" idx="11"/>
          </p:nvPr>
        </p:nvSpPr>
        <p:spPr>
          <a:xfrm>
            <a:off x="1076400" y="6461673"/>
            <a:ext cx="8162717" cy="133789"/>
          </a:xfrm>
          <a:prstGeom prst="rect">
            <a:avLst/>
          </a:prstGeom>
        </p:spPr>
        <p:txBody>
          <a:bodyPr/>
          <a:lstStyle>
            <a:lvl1pPr>
              <a:defRPr/>
            </a:lvl1pPr>
          </a:lstStyle>
          <a:p>
            <a:r>
              <a:rPr lang="en-US" dirty="0"/>
              <a:t>TCG Market</a:t>
            </a:r>
          </a:p>
        </p:txBody>
      </p:sp>
      <p:sp>
        <p:nvSpPr>
          <p:cNvPr id="8" name="Slide Number Placeholder 7"/>
          <p:cNvSpPr>
            <a:spLocks noGrp="1"/>
          </p:cNvSpPr>
          <p:nvPr>
            <p:ph type="sldNum" sz="quarter" idx="12"/>
          </p:nvPr>
        </p:nvSpPr>
        <p:spPr/>
        <p:txBody>
          <a:bodyPr/>
          <a:lstStyle/>
          <a:p>
            <a:fld id="{5F3E29E4-0979-4FCA-B4C5-5FC6044C982A}" type="slidenum">
              <a:rPr lang="en-US" smtClean="0"/>
              <a:pPr/>
              <a:t>‹#›</a:t>
            </a:fld>
            <a:endParaRPr lang="en-US"/>
          </a:p>
        </p:txBody>
      </p:sp>
    </p:spTree>
    <p:extLst>
      <p:ext uri="{BB962C8B-B14F-4D97-AF65-F5344CB8AC3E}">
        <p14:creationId xmlns:p14="http://schemas.microsoft.com/office/powerpoint/2010/main" val="3548103365"/>
      </p:ext>
    </p:extLst>
  </p:cSld>
  <p:clrMapOvr>
    <a:masterClrMapping/>
  </p:clrMapOvr>
</p:sldLayout>
</file>

<file path=ppt/slideLayouts/slideLayout247.xml><?xml version="1.0" encoding="utf-8"?>
<p:sldLayout xmlns:a="http://schemas.openxmlformats.org/drawingml/2006/main" xmlns:r="http://schemas.openxmlformats.org/officeDocument/2006/relationships" xmlns:p="http://schemas.openxmlformats.org/presentationml/2006/main" showMasterSp="0" preserve="1">
  <p:cSld name="Title 1">
    <p:spTree>
      <p:nvGrpSpPr>
        <p:cNvPr id="1" name=""/>
        <p:cNvGrpSpPr/>
        <p:nvPr/>
      </p:nvGrpSpPr>
      <p:grpSpPr>
        <a:xfrm>
          <a:off x="0" y="0"/>
          <a:ext cx="0" cy="0"/>
          <a:chOff x="0" y="0"/>
          <a:chExt cx="0" cy="0"/>
        </a:xfrm>
      </p:grpSpPr>
      <p:pic>
        <p:nvPicPr>
          <p:cNvPr id="32" name="picture">
            <a:extLst>
              <a:ext uri="{FF2B5EF4-FFF2-40B4-BE49-F238E27FC236}">
                <a16:creationId xmlns:a16="http://schemas.microsoft.com/office/drawing/2014/main" id="{4F153214-AFE7-D540-937D-96E89FDAD54B}"/>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2620212" y="-8808"/>
            <a:ext cx="9697299" cy="6866807"/>
          </a:xfrm>
          <a:prstGeom prst="rect">
            <a:avLst/>
          </a:prstGeom>
        </p:spPr>
      </p:pic>
      <p:sp>
        <p:nvSpPr>
          <p:cNvPr id="29" name="shpPicture"/>
          <p:cNvSpPr/>
          <p:nvPr/>
        </p:nvSpPr>
        <p:spPr>
          <a:xfrm>
            <a:off x="0" y="0"/>
            <a:ext cx="4956718" cy="6858000"/>
          </a:xfrm>
          <a:custGeom>
            <a:avLst/>
            <a:gdLst>
              <a:gd name="connsiteX0" fmla="*/ 0 w 4956718"/>
              <a:gd name="connsiteY0" fmla="*/ 0 h 6858000"/>
              <a:gd name="connsiteX1" fmla="*/ 3707268 w 4956718"/>
              <a:gd name="connsiteY1" fmla="*/ 0 h 6858000"/>
              <a:gd name="connsiteX2" fmla="*/ 4956718 w 4956718"/>
              <a:gd name="connsiteY2" fmla="*/ 4163677 h 6858000"/>
              <a:gd name="connsiteX3" fmla="*/ 3376226 w 4956718"/>
              <a:gd name="connsiteY3" fmla="*/ 6858000 h 6858000"/>
              <a:gd name="connsiteX4" fmla="*/ 0 w 4956718"/>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56718" h="6858000">
                <a:moveTo>
                  <a:pt x="0" y="0"/>
                </a:moveTo>
                <a:lnTo>
                  <a:pt x="3707268" y="0"/>
                </a:lnTo>
                <a:lnTo>
                  <a:pt x="4956718" y="4163677"/>
                </a:lnTo>
                <a:lnTo>
                  <a:pt x="3376226"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125000"/>
              </a:lnSpc>
            </a:pPr>
            <a:endParaRPr lang="en-US" sz="1600" dirty="0"/>
          </a:p>
        </p:txBody>
      </p:sp>
      <p:grpSp>
        <p:nvGrpSpPr>
          <p:cNvPr id="14" name="logo">
            <a:extLst>
              <a:ext uri="{FF2B5EF4-FFF2-40B4-BE49-F238E27FC236}">
                <a16:creationId xmlns:a16="http://schemas.microsoft.com/office/drawing/2014/main" id="{18C26D95-70F8-8A4D-9F18-DCCB92522AF8}"/>
              </a:ext>
            </a:extLst>
          </p:cNvPr>
          <p:cNvGrpSpPr/>
          <p:nvPr/>
        </p:nvGrpSpPr>
        <p:grpSpPr bwMode="gray">
          <a:xfrm>
            <a:off x="417363" y="407485"/>
            <a:ext cx="1518585" cy="646507"/>
            <a:chOff x="334963" y="296652"/>
            <a:chExt cx="1268411" cy="540000"/>
          </a:xfrm>
        </p:grpSpPr>
        <p:sp>
          <p:nvSpPr>
            <p:cNvPr id="17" name="Freeform 6">
              <a:extLst>
                <a:ext uri="{FF2B5EF4-FFF2-40B4-BE49-F238E27FC236}">
                  <a16:creationId xmlns:a16="http://schemas.microsoft.com/office/drawing/2014/main" id="{08737AD0-E375-E445-97E6-CD2E2DF60620}"/>
                </a:ext>
              </a:extLst>
            </p:cNvPr>
            <p:cNvSpPr>
              <a:spLocks noEditPoints="1"/>
            </p:cNvSpPr>
            <p:nvPr/>
          </p:nvSpPr>
          <p:spPr bwMode="gray">
            <a:xfrm>
              <a:off x="982662" y="360462"/>
              <a:ext cx="620712" cy="431800"/>
            </a:xfrm>
            <a:custGeom>
              <a:avLst/>
              <a:gdLst>
                <a:gd name="T0" fmla="*/ 19 w 1809"/>
                <a:gd name="T1" fmla="*/ 97 h 1253"/>
                <a:gd name="T2" fmla="*/ 165 w 1809"/>
                <a:gd name="T3" fmla="*/ 41 h 1253"/>
                <a:gd name="T4" fmla="*/ 211 w 1809"/>
                <a:gd name="T5" fmla="*/ 224 h 1253"/>
                <a:gd name="T6" fmla="*/ 248 w 1809"/>
                <a:gd name="T7" fmla="*/ 155 h 1253"/>
                <a:gd name="T8" fmla="*/ 931 w 1809"/>
                <a:gd name="T9" fmla="*/ 995 h 1253"/>
                <a:gd name="T10" fmla="*/ 858 w 1809"/>
                <a:gd name="T11" fmla="*/ 1115 h 1253"/>
                <a:gd name="T12" fmla="*/ 749 w 1809"/>
                <a:gd name="T13" fmla="*/ 1117 h 1253"/>
                <a:gd name="T14" fmla="*/ 681 w 1809"/>
                <a:gd name="T15" fmla="*/ 1055 h 1253"/>
                <a:gd name="T16" fmla="*/ 800 w 1809"/>
                <a:gd name="T17" fmla="*/ 1054 h 1253"/>
                <a:gd name="T18" fmla="*/ 884 w 1809"/>
                <a:gd name="T19" fmla="*/ 1181 h 1253"/>
                <a:gd name="T20" fmla="*/ 118 w 1809"/>
                <a:gd name="T21" fmla="*/ 1086 h 1253"/>
                <a:gd name="T22" fmla="*/ 147 w 1809"/>
                <a:gd name="T23" fmla="*/ 1026 h 1253"/>
                <a:gd name="T24" fmla="*/ 102 w 1809"/>
                <a:gd name="T25" fmla="*/ 1026 h 1253"/>
                <a:gd name="T26" fmla="*/ 639 w 1809"/>
                <a:gd name="T27" fmla="*/ 84 h 1253"/>
                <a:gd name="T28" fmla="*/ 763 w 1809"/>
                <a:gd name="T29" fmla="*/ 145 h 1253"/>
                <a:gd name="T30" fmla="*/ 863 w 1809"/>
                <a:gd name="T31" fmla="*/ 221 h 1253"/>
                <a:gd name="T32" fmla="*/ 834 w 1809"/>
                <a:gd name="T33" fmla="*/ 208 h 1253"/>
                <a:gd name="T34" fmla="*/ 719 w 1809"/>
                <a:gd name="T35" fmla="*/ 182 h 1253"/>
                <a:gd name="T36" fmla="*/ 507 w 1809"/>
                <a:gd name="T37" fmla="*/ 711 h 1253"/>
                <a:gd name="T38" fmla="*/ 614 w 1809"/>
                <a:gd name="T39" fmla="*/ 706 h 1253"/>
                <a:gd name="T40" fmla="*/ 736 w 1809"/>
                <a:gd name="T41" fmla="*/ 730 h 1253"/>
                <a:gd name="T42" fmla="*/ 607 w 1809"/>
                <a:gd name="T43" fmla="*/ 539 h 1253"/>
                <a:gd name="T44" fmla="*/ 1505 w 1809"/>
                <a:gd name="T45" fmla="*/ 1136 h 1253"/>
                <a:gd name="T46" fmla="*/ 1613 w 1809"/>
                <a:gd name="T47" fmla="*/ 1002 h 1253"/>
                <a:gd name="T48" fmla="*/ 1472 w 1809"/>
                <a:gd name="T49" fmla="*/ 1164 h 1253"/>
                <a:gd name="T50" fmla="*/ 1525 w 1809"/>
                <a:gd name="T51" fmla="*/ 1142 h 1253"/>
                <a:gd name="T52" fmla="*/ 1556 w 1809"/>
                <a:gd name="T53" fmla="*/ 1172 h 1253"/>
                <a:gd name="T54" fmla="*/ 1387 w 1809"/>
                <a:gd name="T55" fmla="*/ 910 h 1253"/>
                <a:gd name="T56" fmla="*/ 1261 w 1809"/>
                <a:gd name="T57" fmla="*/ 1157 h 1253"/>
                <a:gd name="T58" fmla="*/ 1413 w 1809"/>
                <a:gd name="T59" fmla="*/ 934 h 1253"/>
                <a:gd name="T60" fmla="*/ 1378 w 1809"/>
                <a:gd name="T61" fmla="*/ 1052 h 1253"/>
                <a:gd name="T62" fmla="*/ 488 w 1809"/>
                <a:gd name="T63" fmla="*/ 85 h 1253"/>
                <a:gd name="T64" fmla="*/ 509 w 1809"/>
                <a:gd name="T65" fmla="*/ 112 h 1253"/>
                <a:gd name="T66" fmla="*/ 548 w 1809"/>
                <a:gd name="T67" fmla="*/ 1187 h 1253"/>
                <a:gd name="T68" fmla="*/ 472 w 1809"/>
                <a:gd name="T69" fmla="*/ 1122 h 1253"/>
                <a:gd name="T70" fmla="*/ 558 w 1809"/>
                <a:gd name="T71" fmla="*/ 1157 h 1253"/>
                <a:gd name="T72" fmla="*/ 287 w 1809"/>
                <a:gd name="T73" fmla="*/ 654 h 1253"/>
                <a:gd name="T74" fmla="*/ 416 w 1809"/>
                <a:gd name="T75" fmla="*/ 684 h 1253"/>
                <a:gd name="T76" fmla="*/ 1106 w 1809"/>
                <a:gd name="T77" fmla="*/ 147 h 1253"/>
                <a:gd name="T78" fmla="*/ 1229 w 1809"/>
                <a:gd name="T79" fmla="*/ 258 h 1253"/>
                <a:gd name="T80" fmla="*/ 1106 w 1809"/>
                <a:gd name="T81" fmla="*/ 96 h 1253"/>
                <a:gd name="T82" fmla="*/ 1219 w 1809"/>
                <a:gd name="T83" fmla="*/ 1077 h 1253"/>
                <a:gd name="T84" fmla="*/ 1214 w 1809"/>
                <a:gd name="T85" fmla="*/ 1157 h 1253"/>
                <a:gd name="T86" fmla="*/ 1150 w 1809"/>
                <a:gd name="T87" fmla="*/ 1092 h 1253"/>
                <a:gd name="T88" fmla="*/ 1139 w 1809"/>
                <a:gd name="T89" fmla="*/ 1070 h 1253"/>
                <a:gd name="T90" fmla="*/ 1659 w 1809"/>
                <a:gd name="T91" fmla="*/ 1031 h 1253"/>
                <a:gd name="T92" fmla="*/ 1714 w 1809"/>
                <a:gd name="T93" fmla="*/ 1155 h 1253"/>
                <a:gd name="T94" fmla="*/ 1760 w 1809"/>
                <a:gd name="T95" fmla="*/ 1030 h 1253"/>
                <a:gd name="T96" fmla="*/ 111 w 1809"/>
                <a:gd name="T97" fmla="*/ 569 h 1253"/>
                <a:gd name="T98" fmla="*/ 109 w 1809"/>
                <a:gd name="T99" fmla="*/ 460 h 1253"/>
                <a:gd name="T100" fmla="*/ 32 w 1809"/>
                <a:gd name="T101" fmla="*/ 704 h 1253"/>
                <a:gd name="T102" fmla="*/ 310 w 1809"/>
                <a:gd name="T103" fmla="*/ 1058 h 1253"/>
                <a:gd name="T104" fmla="*/ 431 w 1809"/>
                <a:gd name="T105" fmla="*/ 1044 h 1253"/>
                <a:gd name="T106" fmla="*/ 278 w 1809"/>
                <a:gd name="T107" fmla="*/ 1165 h 1253"/>
                <a:gd name="T108" fmla="*/ 261 w 1809"/>
                <a:gd name="T109" fmla="*/ 540 h 1253"/>
                <a:gd name="T110" fmla="*/ 150 w 1809"/>
                <a:gd name="T111" fmla="*/ 635 h 1253"/>
                <a:gd name="T112" fmla="*/ 994 w 1809"/>
                <a:gd name="T113" fmla="*/ 1185 h 1253"/>
                <a:gd name="T114" fmla="*/ 331 w 1809"/>
                <a:gd name="T115" fmla="*/ 176 h 1253"/>
                <a:gd name="T116" fmla="*/ 333 w 1809"/>
                <a:gd name="T117" fmla="*/ 109 h 1253"/>
                <a:gd name="T118" fmla="*/ 946 w 1809"/>
                <a:gd name="T119" fmla="*/ 234 h 1253"/>
                <a:gd name="T120" fmla="*/ 1022 w 1809"/>
                <a:gd name="T121" fmla="*/ 113 h 1253"/>
                <a:gd name="T122" fmla="*/ 949 w 1809"/>
                <a:gd name="T123" fmla="*/ 65 h 1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09" h="1253">
                  <a:moveTo>
                    <a:pt x="248" y="198"/>
                  </a:moveTo>
                  <a:cubicBezTo>
                    <a:pt x="248" y="211"/>
                    <a:pt x="248" y="224"/>
                    <a:pt x="249" y="237"/>
                  </a:cubicBezTo>
                  <a:cubicBezTo>
                    <a:pt x="249" y="245"/>
                    <a:pt x="246" y="249"/>
                    <a:pt x="240" y="253"/>
                  </a:cubicBezTo>
                  <a:cubicBezTo>
                    <a:pt x="231" y="260"/>
                    <a:pt x="220" y="264"/>
                    <a:pt x="209" y="268"/>
                  </a:cubicBezTo>
                  <a:cubicBezTo>
                    <a:pt x="179" y="279"/>
                    <a:pt x="148" y="280"/>
                    <a:pt x="118" y="275"/>
                  </a:cubicBezTo>
                  <a:cubicBezTo>
                    <a:pt x="86" y="269"/>
                    <a:pt x="58" y="252"/>
                    <a:pt x="39" y="224"/>
                  </a:cubicBezTo>
                  <a:cubicBezTo>
                    <a:pt x="24" y="203"/>
                    <a:pt x="18" y="180"/>
                    <a:pt x="15" y="155"/>
                  </a:cubicBezTo>
                  <a:cubicBezTo>
                    <a:pt x="11" y="135"/>
                    <a:pt x="15" y="115"/>
                    <a:pt x="19" y="97"/>
                  </a:cubicBezTo>
                  <a:cubicBezTo>
                    <a:pt x="26" y="68"/>
                    <a:pt x="42" y="44"/>
                    <a:pt x="68" y="27"/>
                  </a:cubicBezTo>
                  <a:cubicBezTo>
                    <a:pt x="87" y="14"/>
                    <a:pt x="109" y="6"/>
                    <a:pt x="133" y="5"/>
                  </a:cubicBezTo>
                  <a:cubicBezTo>
                    <a:pt x="149" y="4"/>
                    <a:pt x="165" y="5"/>
                    <a:pt x="181" y="6"/>
                  </a:cubicBezTo>
                  <a:cubicBezTo>
                    <a:pt x="204" y="8"/>
                    <a:pt x="225" y="20"/>
                    <a:pt x="243" y="35"/>
                  </a:cubicBezTo>
                  <a:cubicBezTo>
                    <a:pt x="246" y="37"/>
                    <a:pt x="246" y="40"/>
                    <a:pt x="244" y="43"/>
                  </a:cubicBezTo>
                  <a:cubicBezTo>
                    <a:pt x="242" y="47"/>
                    <a:pt x="239" y="52"/>
                    <a:pt x="236" y="55"/>
                  </a:cubicBezTo>
                  <a:cubicBezTo>
                    <a:pt x="226" y="65"/>
                    <a:pt x="224" y="65"/>
                    <a:pt x="206" y="54"/>
                  </a:cubicBezTo>
                  <a:cubicBezTo>
                    <a:pt x="193" y="46"/>
                    <a:pt x="180" y="40"/>
                    <a:pt x="165" y="41"/>
                  </a:cubicBezTo>
                  <a:cubicBezTo>
                    <a:pt x="151" y="41"/>
                    <a:pt x="137" y="39"/>
                    <a:pt x="124" y="42"/>
                  </a:cubicBezTo>
                  <a:cubicBezTo>
                    <a:pt x="104" y="46"/>
                    <a:pt x="87" y="57"/>
                    <a:pt x="75" y="74"/>
                  </a:cubicBezTo>
                  <a:cubicBezTo>
                    <a:pt x="56" y="99"/>
                    <a:pt x="51" y="129"/>
                    <a:pt x="55" y="159"/>
                  </a:cubicBezTo>
                  <a:cubicBezTo>
                    <a:pt x="60" y="189"/>
                    <a:pt x="73" y="214"/>
                    <a:pt x="98" y="230"/>
                  </a:cubicBezTo>
                  <a:cubicBezTo>
                    <a:pt x="109" y="237"/>
                    <a:pt x="121" y="242"/>
                    <a:pt x="135" y="241"/>
                  </a:cubicBezTo>
                  <a:cubicBezTo>
                    <a:pt x="146" y="241"/>
                    <a:pt x="158" y="241"/>
                    <a:pt x="169" y="241"/>
                  </a:cubicBezTo>
                  <a:cubicBezTo>
                    <a:pt x="182" y="242"/>
                    <a:pt x="193" y="235"/>
                    <a:pt x="205" y="232"/>
                  </a:cubicBezTo>
                  <a:cubicBezTo>
                    <a:pt x="210" y="231"/>
                    <a:pt x="211" y="227"/>
                    <a:pt x="211" y="224"/>
                  </a:cubicBezTo>
                  <a:cubicBezTo>
                    <a:pt x="211" y="210"/>
                    <a:pt x="211" y="196"/>
                    <a:pt x="211" y="183"/>
                  </a:cubicBezTo>
                  <a:cubicBezTo>
                    <a:pt x="211" y="177"/>
                    <a:pt x="207" y="175"/>
                    <a:pt x="202" y="175"/>
                  </a:cubicBezTo>
                  <a:cubicBezTo>
                    <a:pt x="193" y="175"/>
                    <a:pt x="184" y="175"/>
                    <a:pt x="175" y="175"/>
                  </a:cubicBezTo>
                  <a:cubicBezTo>
                    <a:pt x="171" y="175"/>
                    <a:pt x="168" y="174"/>
                    <a:pt x="166" y="171"/>
                  </a:cubicBezTo>
                  <a:cubicBezTo>
                    <a:pt x="163" y="163"/>
                    <a:pt x="164" y="154"/>
                    <a:pt x="166" y="146"/>
                  </a:cubicBezTo>
                  <a:cubicBezTo>
                    <a:pt x="167" y="142"/>
                    <a:pt x="171" y="142"/>
                    <a:pt x="175" y="142"/>
                  </a:cubicBezTo>
                  <a:cubicBezTo>
                    <a:pt x="196" y="142"/>
                    <a:pt x="217" y="142"/>
                    <a:pt x="238" y="142"/>
                  </a:cubicBezTo>
                  <a:cubicBezTo>
                    <a:pt x="247" y="142"/>
                    <a:pt x="248" y="148"/>
                    <a:pt x="248" y="155"/>
                  </a:cubicBezTo>
                  <a:cubicBezTo>
                    <a:pt x="249" y="169"/>
                    <a:pt x="248" y="183"/>
                    <a:pt x="248" y="198"/>
                  </a:cubicBezTo>
                  <a:close/>
                  <a:moveTo>
                    <a:pt x="884" y="1181"/>
                  </a:moveTo>
                  <a:cubicBezTo>
                    <a:pt x="889" y="1167"/>
                    <a:pt x="894" y="1152"/>
                    <a:pt x="898" y="1137"/>
                  </a:cubicBezTo>
                  <a:cubicBezTo>
                    <a:pt x="901" y="1127"/>
                    <a:pt x="905" y="1116"/>
                    <a:pt x="908" y="1106"/>
                  </a:cubicBezTo>
                  <a:cubicBezTo>
                    <a:pt x="911" y="1098"/>
                    <a:pt x="912" y="1089"/>
                    <a:pt x="916" y="1081"/>
                  </a:cubicBezTo>
                  <a:cubicBezTo>
                    <a:pt x="921" y="1072"/>
                    <a:pt x="923" y="1060"/>
                    <a:pt x="927" y="1050"/>
                  </a:cubicBezTo>
                  <a:cubicBezTo>
                    <a:pt x="932" y="1037"/>
                    <a:pt x="934" y="1023"/>
                    <a:pt x="940" y="1010"/>
                  </a:cubicBezTo>
                  <a:cubicBezTo>
                    <a:pt x="945" y="1001"/>
                    <a:pt x="941" y="995"/>
                    <a:pt x="931" y="995"/>
                  </a:cubicBezTo>
                  <a:cubicBezTo>
                    <a:pt x="927" y="995"/>
                    <a:pt x="922" y="995"/>
                    <a:pt x="918" y="995"/>
                  </a:cubicBezTo>
                  <a:cubicBezTo>
                    <a:pt x="913" y="995"/>
                    <a:pt x="908" y="997"/>
                    <a:pt x="907" y="1001"/>
                  </a:cubicBezTo>
                  <a:cubicBezTo>
                    <a:pt x="904" y="1008"/>
                    <a:pt x="900" y="1015"/>
                    <a:pt x="899" y="1023"/>
                  </a:cubicBezTo>
                  <a:cubicBezTo>
                    <a:pt x="897" y="1034"/>
                    <a:pt x="893" y="1045"/>
                    <a:pt x="889" y="1055"/>
                  </a:cubicBezTo>
                  <a:cubicBezTo>
                    <a:pt x="887" y="1064"/>
                    <a:pt x="885" y="1072"/>
                    <a:pt x="882" y="1080"/>
                  </a:cubicBezTo>
                  <a:cubicBezTo>
                    <a:pt x="878" y="1091"/>
                    <a:pt x="874" y="1103"/>
                    <a:pt x="871" y="1115"/>
                  </a:cubicBezTo>
                  <a:cubicBezTo>
                    <a:pt x="870" y="1118"/>
                    <a:pt x="871" y="1124"/>
                    <a:pt x="866" y="1124"/>
                  </a:cubicBezTo>
                  <a:cubicBezTo>
                    <a:pt x="861" y="1125"/>
                    <a:pt x="859" y="1120"/>
                    <a:pt x="858" y="1115"/>
                  </a:cubicBezTo>
                  <a:cubicBezTo>
                    <a:pt x="856" y="1110"/>
                    <a:pt x="856" y="1104"/>
                    <a:pt x="854" y="1099"/>
                  </a:cubicBezTo>
                  <a:cubicBezTo>
                    <a:pt x="848" y="1080"/>
                    <a:pt x="841" y="1062"/>
                    <a:pt x="835" y="1044"/>
                  </a:cubicBezTo>
                  <a:cubicBezTo>
                    <a:pt x="831" y="1030"/>
                    <a:pt x="828" y="1016"/>
                    <a:pt x="822" y="1003"/>
                  </a:cubicBezTo>
                  <a:cubicBezTo>
                    <a:pt x="819" y="997"/>
                    <a:pt x="814" y="994"/>
                    <a:pt x="808" y="994"/>
                  </a:cubicBezTo>
                  <a:cubicBezTo>
                    <a:pt x="799" y="993"/>
                    <a:pt x="791" y="993"/>
                    <a:pt x="787" y="1001"/>
                  </a:cubicBezTo>
                  <a:cubicBezTo>
                    <a:pt x="783" y="1008"/>
                    <a:pt x="780" y="1015"/>
                    <a:pt x="779" y="1022"/>
                  </a:cubicBezTo>
                  <a:cubicBezTo>
                    <a:pt x="778" y="1034"/>
                    <a:pt x="772" y="1044"/>
                    <a:pt x="769" y="1055"/>
                  </a:cubicBezTo>
                  <a:cubicBezTo>
                    <a:pt x="762" y="1076"/>
                    <a:pt x="754" y="1096"/>
                    <a:pt x="749" y="1117"/>
                  </a:cubicBezTo>
                  <a:cubicBezTo>
                    <a:pt x="748" y="1120"/>
                    <a:pt x="747" y="1124"/>
                    <a:pt x="742" y="1124"/>
                  </a:cubicBezTo>
                  <a:cubicBezTo>
                    <a:pt x="737" y="1124"/>
                    <a:pt x="737" y="1120"/>
                    <a:pt x="736" y="1116"/>
                  </a:cubicBezTo>
                  <a:cubicBezTo>
                    <a:pt x="734" y="1104"/>
                    <a:pt x="730" y="1092"/>
                    <a:pt x="726" y="1080"/>
                  </a:cubicBezTo>
                  <a:cubicBezTo>
                    <a:pt x="720" y="1061"/>
                    <a:pt x="714" y="1040"/>
                    <a:pt x="708" y="1020"/>
                  </a:cubicBezTo>
                  <a:cubicBezTo>
                    <a:pt x="703" y="1000"/>
                    <a:pt x="698" y="994"/>
                    <a:pt x="676" y="995"/>
                  </a:cubicBezTo>
                  <a:cubicBezTo>
                    <a:pt x="665" y="996"/>
                    <a:pt x="661" y="1001"/>
                    <a:pt x="667" y="1011"/>
                  </a:cubicBezTo>
                  <a:cubicBezTo>
                    <a:pt x="669" y="1016"/>
                    <a:pt x="670" y="1021"/>
                    <a:pt x="672" y="1025"/>
                  </a:cubicBezTo>
                  <a:cubicBezTo>
                    <a:pt x="675" y="1035"/>
                    <a:pt x="678" y="1046"/>
                    <a:pt x="681" y="1055"/>
                  </a:cubicBezTo>
                  <a:cubicBezTo>
                    <a:pt x="685" y="1068"/>
                    <a:pt x="689" y="1080"/>
                    <a:pt x="693" y="1092"/>
                  </a:cubicBezTo>
                  <a:cubicBezTo>
                    <a:pt x="697" y="1103"/>
                    <a:pt x="699" y="1113"/>
                    <a:pt x="703" y="1124"/>
                  </a:cubicBezTo>
                  <a:cubicBezTo>
                    <a:pt x="707" y="1136"/>
                    <a:pt x="711" y="1147"/>
                    <a:pt x="715" y="1160"/>
                  </a:cubicBezTo>
                  <a:cubicBezTo>
                    <a:pt x="717" y="1168"/>
                    <a:pt x="720" y="1176"/>
                    <a:pt x="724" y="1183"/>
                  </a:cubicBezTo>
                  <a:cubicBezTo>
                    <a:pt x="728" y="1189"/>
                    <a:pt x="752" y="1185"/>
                    <a:pt x="757" y="1180"/>
                  </a:cubicBezTo>
                  <a:cubicBezTo>
                    <a:pt x="764" y="1173"/>
                    <a:pt x="762" y="1163"/>
                    <a:pt x="766" y="1156"/>
                  </a:cubicBezTo>
                  <a:cubicBezTo>
                    <a:pt x="774" y="1140"/>
                    <a:pt x="778" y="1122"/>
                    <a:pt x="784" y="1105"/>
                  </a:cubicBezTo>
                  <a:cubicBezTo>
                    <a:pt x="789" y="1088"/>
                    <a:pt x="796" y="1072"/>
                    <a:pt x="800" y="1054"/>
                  </a:cubicBezTo>
                  <a:cubicBezTo>
                    <a:pt x="800" y="1053"/>
                    <a:pt x="801" y="1050"/>
                    <a:pt x="803" y="1050"/>
                  </a:cubicBezTo>
                  <a:cubicBezTo>
                    <a:pt x="806" y="1050"/>
                    <a:pt x="806" y="1052"/>
                    <a:pt x="807" y="1055"/>
                  </a:cubicBezTo>
                  <a:cubicBezTo>
                    <a:pt x="807" y="1060"/>
                    <a:pt x="810" y="1066"/>
                    <a:pt x="811" y="1071"/>
                  </a:cubicBezTo>
                  <a:cubicBezTo>
                    <a:pt x="814" y="1081"/>
                    <a:pt x="818" y="1090"/>
                    <a:pt x="821" y="1099"/>
                  </a:cubicBezTo>
                  <a:cubicBezTo>
                    <a:pt x="824" y="1110"/>
                    <a:pt x="827" y="1120"/>
                    <a:pt x="831" y="1131"/>
                  </a:cubicBezTo>
                  <a:cubicBezTo>
                    <a:pt x="834" y="1142"/>
                    <a:pt x="839" y="1153"/>
                    <a:pt x="842" y="1164"/>
                  </a:cubicBezTo>
                  <a:cubicBezTo>
                    <a:pt x="846" y="1179"/>
                    <a:pt x="850" y="1188"/>
                    <a:pt x="869" y="1185"/>
                  </a:cubicBezTo>
                  <a:cubicBezTo>
                    <a:pt x="873" y="1184"/>
                    <a:pt x="881" y="1189"/>
                    <a:pt x="884" y="1181"/>
                  </a:cubicBezTo>
                  <a:close/>
                  <a:moveTo>
                    <a:pt x="33" y="1051"/>
                  </a:moveTo>
                  <a:cubicBezTo>
                    <a:pt x="33" y="1087"/>
                    <a:pt x="33" y="1124"/>
                    <a:pt x="33" y="1160"/>
                  </a:cubicBezTo>
                  <a:cubicBezTo>
                    <a:pt x="33" y="1188"/>
                    <a:pt x="29" y="1184"/>
                    <a:pt x="58" y="1185"/>
                  </a:cubicBezTo>
                  <a:cubicBezTo>
                    <a:pt x="72" y="1185"/>
                    <a:pt x="73" y="1184"/>
                    <a:pt x="73" y="1170"/>
                  </a:cubicBezTo>
                  <a:cubicBezTo>
                    <a:pt x="73" y="1138"/>
                    <a:pt x="73" y="1107"/>
                    <a:pt x="73" y="1076"/>
                  </a:cubicBezTo>
                  <a:cubicBezTo>
                    <a:pt x="73" y="1071"/>
                    <a:pt x="72" y="1067"/>
                    <a:pt x="78" y="1065"/>
                  </a:cubicBezTo>
                  <a:cubicBezTo>
                    <a:pt x="91" y="1062"/>
                    <a:pt x="102" y="1067"/>
                    <a:pt x="110" y="1076"/>
                  </a:cubicBezTo>
                  <a:cubicBezTo>
                    <a:pt x="112" y="1080"/>
                    <a:pt x="115" y="1083"/>
                    <a:pt x="118" y="1086"/>
                  </a:cubicBezTo>
                  <a:cubicBezTo>
                    <a:pt x="132" y="1103"/>
                    <a:pt x="146" y="1119"/>
                    <a:pt x="161" y="1136"/>
                  </a:cubicBezTo>
                  <a:cubicBezTo>
                    <a:pt x="173" y="1150"/>
                    <a:pt x="186" y="1165"/>
                    <a:pt x="198" y="1179"/>
                  </a:cubicBezTo>
                  <a:cubicBezTo>
                    <a:pt x="207" y="1188"/>
                    <a:pt x="218" y="1184"/>
                    <a:pt x="228" y="1185"/>
                  </a:cubicBezTo>
                  <a:cubicBezTo>
                    <a:pt x="233" y="1185"/>
                    <a:pt x="241" y="1188"/>
                    <a:pt x="244" y="1182"/>
                  </a:cubicBezTo>
                  <a:cubicBezTo>
                    <a:pt x="246" y="1178"/>
                    <a:pt x="239" y="1173"/>
                    <a:pt x="235" y="1169"/>
                  </a:cubicBezTo>
                  <a:cubicBezTo>
                    <a:pt x="206" y="1133"/>
                    <a:pt x="176" y="1098"/>
                    <a:pt x="146" y="1062"/>
                  </a:cubicBezTo>
                  <a:cubicBezTo>
                    <a:pt x="141" y="1056"/>
                    <a:pt x="131" y="1052"/>
                    <a:pt x="132" y="1044"/>
                  </a:cubicBezTo>
                  <a:cubicBezTo>
                    <a:pt x="132" y="1036"/>
                    <a:pt x="142" y="1032"/>
                    <a:pt x="147" y="1026"/>
                  </a:cubicBezTo>
                  <a:cubicBezTo>
                    <a:pt x="164" y="1006"/>
                    <a:pt x="182" y="988"/>
                    <a:pt x="198" y="968"/>
                  </a:cubicBezTo>
                  <a:cubicBezTo>
                    <a:pt x="209" y="954"/>
                    <a:pt x="221" y="942"/>
                    <a:pt x="234" y="929"/>
                  </a:cubicBezTo>
                  <a:cubicBezTo>
                    <a:pt x="236" y="926"/>
                    <a:pt x="238" y="923"/>
                    <a:pt x="237" y="920"/>
                  </a:cubicBezTo>
                  <a:cubicBezTo>
                    <a:pt x="235" y="915"/>
                    <a:pt x="231" y="917"/>
                    <a:pt x="228" y="917"/>
                  </a:cubicBezTo>
                  <a:cubicBezTo>
                    <a:pt x="224" y="918"/>
                    <a:pt x="221" y="918"/>
                    <a:pt x="217" y="918"/>
                  </a:cubicBezTo>
                  <a:cubicBezTo>
                    <a:pt x="204" y="917"/>
                    <a:pt x="193" y="922"/>
                    <a:pt x="185" y="931"/>
                  </a:cubicBezTo>
                  <a:cubicBezTo>
                    <a:pt x="172" y="946"/>
                    <a:pt x="158" y="961"/>
                    <a:pt x="145" y="977"/>
                  </a:cubicBezTo>
                  <a:cubicBezTo>
                    <a:pt x="131" y="993"/>
                    <a:pt x="117" y="1010"/>
                    <a:pt x="102" y="1026"/>
                  </a:cubicBezTo>
                  <a:cubicBezTo>
                    <a:pt x="96" y="1032"/>
                    <a:pt x="87" y="1037"/>
                    <a:pt x="78" y="1034"/>
                  </a:cubicBezTo>
                  <a:cubicBezTo>
                    <a:pt x="70" y="1030"/>
                    <a:pt x="73" y="1021"/>
                    <a:pt x="73" y="1015"/>
                  </a:cubicBezTo>
                  <a:cubicBezTo>
                    <a:pt x="73" y="991"/>
                    <a:pt x="73" y="967"/>
                    <a:pt x="73" y="944"/>
                  </a:cubicBezTo>
                  <a:cubicBezTo>
                    <a:pt x="73" y="916"/>
                    <a:pt x="75" y="917"/>
                    <a:pt x="46" y="918"/>
                  </a:cubicBezTo>
                  <a:cubicBezTo>
                    <a:pt x="33" y="918"/>
                    <a:pt x="33" y="918"/>
                    <a:pt x="33" y="931"/>
                  </a:cubicBezTo>
                  <a:cubicBezTo>
                    <a:pt x="33" y="971"/>
                    <a:pt x="33" y="1011"/>
                    <a:pt x="33" y="1051"/>
                  </a:cubicBezTo>
                  <a:cubicBezTo>
                    <a:pt x="33" y="1051"/>
                    <a:pt x="33" y="1051"/>
                    <a:pt x="33" y="1051"/>
                  </a:cubicBezTo>
                  <a:close/>
                  <a:moveTo>
                    <a:pt x="639" y="84"/>
                  </a:moveTo>
                  <a:cubicBezTo>
                    <a:pt x="627" y="84"/>
                    <a:pt x="626" y="84"/>
                    <a:pt x="629" y="95"/>
                  </a:cubicBezTo>
                  <a:cubicBezTo>
                    <a:pt x="634" y="113"/>
                    <a:pt x="640" y="131"/>
                    <a:pt x="646" y="148"/>
                  </a:cubicBezTo>
                  <a:cubicBezTo>
                    <a:pt x="652" y="166"/>
                    <a:pt x="658" y="185"/>
                    <a:pt x="664" y="203"/>
                  </a:cubicBezTo>
                  <a:cubicBezTo>
                    <a:pt x="671" y="223"/>
                    <a:pt x="676" y="244"/>
                    <a:pt x="684" y="264"/>
                  </a:cubicBezTo>
                  <a:cubicBezTo>
                    <a:pt x="688" y="274"/>
                    <a:pt x="694" y="274"/>
                    <a:pt x="702" y="274"/>
                  </a:cubicBezTo>
                  <a:cubicBezTo>
                    <a:pt x="711" y="274"/>
                    <a:pt x="719" y="272"/>
                    <a:pt x="723" y="263"/>
                  </a:cubicBezTo>
                  <a:cubicBezTo>
                    <a:pt x="733" y="236"/>
                    <a:pt x="741" y="208"/>
                    <a:pt x="750" y="181"/>
                  </a:cubicBezTo>
                  <a:cubicBezTo>
                    <a:pt x="754" y="169"/>
                    <a:pt x="757" y="156"/>
                    <a:pt x="763" y="145"/>
                  </a:cubicBezTo>
                  <a:cubicBezTo>
                    <a:pt x="764" y="143"/>
                    <a:pt x="764" y="140"/>
                    <a:pt x="767" y="140"/>
                  </a:cubicBezTo>
                  <a:cubicBezTo>
                    <a:pt x="770" y="140"/>
                    <a:pt x="770" y="143"/>
                    <a:pt x="771" y="145"/>
                  </a:cubicBezTo>
                  <a:cubicBezTo>
                    <a:pt x="771" y="156"/>
                    <a:pt x="777" y="165"/>
                    <a:pt x="780" y="175"/>
                  </a:cubicBezTo>
                  <a:cubicBezTo>
                    <a:pt x="782" y="184"/>
                    <a:pt x="785" y="193"/>
                    <a:pt x="788" y="201"/>
                  </a:cubicBezTo>
                  <a:cubicBezTo>
                    <a:pt x="794" y="219"/>
                    <a:pt x="801" y="237"/>
                    <a:pt x="806" y="255"/>
                  </a:cubicBezTo>
                  <a:cubicBezTo>
                    <a:pt x="811" y="272"/>
                    <a:pt x="825" y="280"/>
                    <a:pt x="842" y="273"/>
                  </a:cubicBezTo>
                  <a:cubicBezTo>
                    <a:pt x="845" y="271"/>
                    <a:pt x="847" y="269"/>
                    <a:pt x="848" y="266"/>
                  </a:cubicBezTo>
                  <a:cubicBezTo>
                    <a:pt x="853" y="251"/>
                    <a:pt x="859" y="236"/>
                    <a:pt x="863" y="221"/>
                  </a:cubicBezTo>
                  <a:cubicBezTo>
                    <a:pt x="867" y="202"/>
                    <a:pt x="875" y="185"/>
                    <a:pt x="880" y="166"/>
                  </a:cubicBezTo>
                  <a:cubicBezTo>
                    <a:pt x="886" y="144"/>
                    <a:pt x="895" y="123"/>
                    <a:pt x="900" y="101"/>
                  </a:cubicBezTo>
                  <a:cubicBezTo>
                    <a:pt x="901" y="96"/>
                    <a:pt x="909" y="91"/>
                    <a:pt x="904" y="86"/>
                  </a:cubicBezTo>
                  <a:cubicBezTo>
                    <a:pt x="900" y="81"/>
                    <a:pt x="892" y="84"/>
                    <a:pt x="886" y="84"/>
                  </a:cubicBezTo>
                  <a:cubicBezTo>
                    <a:pt x="885" y="84"/>
                    <a:pt x="883" y="84"/>
                    <a:pt x="881" y="84"/>
                  </a:cubicBezTo>
                  <a:cubicBezTo>
                    <a:pt x="875" y="84"/>
                    <a:pt x="872" y="86"/>
                    <a:pt x="869" y="91"/>
                  </a:cubicBezTo>
                  <a:cubicBezTo>
                    <a:pt x="860" y="110"/>
                    <a:pt x="856" y="131"/>
                    <a:pt x="850" y="151"/>
                  </a:cubicBezTo>
                  <a:cubicBezTo>
                    <a:pt x="844" y="170"/>
                    <a:pt x="836" y="188"/>
                    <a:pt x="834" y="208"/>
                  </a:cubicBezTo>
                  <a:cubicBezTo>
                    <a:pt x="833" y="211"/>
                    <a:pt x="831" y="214"/>
                    <a:pt x="827" y="214"/>
                  </a:cubicBezTo>
                  <a:cubicBezTo>
                    <a:pt x="823" y="214"/>
                    <a:pt x="822" y="210"/>
                    <a:pt x="822" y="207"/>
                  </a:cubicBezTo>
                  <a:cubicBezTo>
                    <a:pt x="817" y="188"/>
                    <a:pt x="811" y="170"/>
                    <a:pt x="805" y="152"/>
                  </a:cubicBezTo>
                  <a:cubicBezTo>
                    <a:pt x="799" y="133"/>
                    <a:pt x="794" y="114"/>
                    <a:pt x="786" y="96"/>
                  </a:cubicBezTo>
                  <a:cubicBezTo>
                    <a:pt x="783" y="87"/>
                    <a:pt x="779" y="84"/>
                    <a:pt x="770" y="84"/>
                  </a:cubicBezTo>
                  <a:cubicBezTo>
                    <a:pt x="761" y="84"/>
                    <a:pt x="752" y="82"/>
                    <a:pt x="748" y="94"/>
                  </a:cubicBezTo>
                  <a:cubicBezTo>
                    <a:pt x="744" y="109"/>
                    <a:pt x="738" y="123"/>
                    <a:pt x="734" y="138"/>
                  </a:cubicBezTo>
                  <a:cubicBezTo>
                    <a:pt x="729" y="153"/>
                    <a:pt x="724" y="167"/>
                    <a:pt x="719" y="182"/>
                  </a:cubicBezTo>
                  <a:cubicBezTo>
                    <a:pt x="716" y="192"/>
                    <a:pt x="715" y="203"/>
                    <a:pt x="708" y="212"/>
                  </a:cubicBezTo>
                  <a:cubicBezTo>
                    <a:pt x="707" y="214"/>
                    <a:pt x="707" y="217"/>
                    <a:pt x="704" y="217"/>
                  </a:cubicBezTo>
                  <a:cubicBezTo>
                    <a:pt x="701" y="217"/>
                    <a:pt x="701" y="213"/>
                    <a:pt x="700" y="211"/>
                  </a:cubicBezTo>
                  <a:cubicBezTo>
                    <a:pt x="699" y="198"/>
                    <a:pt x="694" y="186"/>
                    <a:pt x="690" y="174"/>
                  </a:cubicBezTo>
                  <a:cubicBezTo>
                    <a:pt x="684" y="153"/>
                    <a:pt x="677" y="131"/>
                    <a:pt x="672" y="110"/>
                  </a:cubicBezTo>
                  <a:cubicBezTo>
                    <a:pt x="667" y="88"/>
                    <a:pt x="663" y="84"/>
                    <a:pt x="645" y="84"/>
                  </a:cubicBezTo>
                  <a:cubicBezTo>
                    <a:pt x="643" y="84"/>
                    <a:pt x="641" y="84"/>
                    <a:pt x="639" y="84"/>
                  </a:cubicBezTo>
                  <a:close/>
                  <a:moveTo>
                    <a:pt x="507" y="711"/>
                  </a:moveTo>
                  <a:cubicBezTo>
                    <a:pt x="507" y="730"/>
                    <a:pt x="507" y="730"/>
                    <a:pt x="526" y="730"/>
                  </a:cubicBezTo>
                  <a:cubicBezTo>
                    <a:pt x="539" y="730"/>
                    <a:pt x="541" y="729"/>
                    <a:pt x="541" y="715"/>
                  </a:cubicBezTo>
                  <a:cubicBezTo>
                    <a:pt x="541" y="677"/>
                    <a:pt x="541" y="638"/>
                    <a:pt x="540" y="600"/>
                  </a:cubicBezTo>
                  <a:cubicBezTo>
                    <a:pt x="540" y="593"/>
                    <a:pt x="543" y="587"/>
                    <a:pt x="548" y="582"/>
                  </a:cubicBezTo>
                  <a:cubicBezTo>
                    <a:pt x="553" y="576"/>
                    <a:pt x="559" y="573"/>
                    <a:pt x="564" y="569"/>
                  </a:cubicBezTo>
                  <a:cubicBezTo>
                    <a:pt x="574" y="564"/>
                    <a:pt x="594" y="566"/>
                    <a:pt x="602" y="574"/>
                  </a:cubicBezTo>
                  <a:cubicBezTo>
                    <a:pt x="611" y="582"/>
                    <a:pt x="614" y="592"/>
                    <a:pt x="614" y="604"/>
                  </a:cubicBezTo>
                  <a:cubicBezTo>
                    <a:pt x="614" y="638"/>
                    <a:pt x="614" y="672"/>
                    <a:pt x="614" y="706"/>
                  </a:cubicBezTo>
                  <a:cubicBezTo>
                    <a:pt x="614" y="730"/>
                    <a:pt x="614" y="730"/>
                    <a:pt x="638" y="730"/>
                  </a:cubicBezTo>
                  <a:cubicBezTo>
                    <a:pt x="650" y="730"/>
                    <a:pt x="650" y="730"/>
                    <a:pt x="650" y="717"/>
                  </a:cubicBezTo>
                  <a:cubicBezTo>
                    <a:pt x="650" y="684"/>
                    <a:pt x="650" y="650"/>
                    <a:pt x="650" y="617"/>
                  </a:cubicBezTo>
                  <a:cubicBezTo>
                    <a:pt x="650" y="606"/>
                    <a:pt x="651" y="597"/>
                    <a:pt x="657" y="586"/>
                  </a:cubicBezTo>
                  <a:cubicBezTo>
                    <a:pt x="667" y="565"/>
                    <a:pt x="703" y="560"/>
                    <a:pt x="716" y="579"/>
                  </a:cubicBezTo>
                  <a:cubicBezTo>
                    <a:pt x="723" y="588"/>
                    <a:pt x="724" y="598"/>
                    <a:pt x="724" y="609"/>
                  </a:cubicBezTo>
                  <a:cubicBezTo>
                    <a:pt x="724" y="645"/>
                    <a:pt x="724" y="682"/>
                    <a:pt x="724" y="718"/>
                  </a:cubicBezTo>
                  <a:cubicBezTo>
                    <a:pt x="724" y="727"/>
                    <a:pt x="727" y="731"/>
                    <a:pt x="736" y="730"/>
                  </a:cubicBezTo>
                  <a:cubicBezTo>
                    <a:pt x="738" y="730"/>
                    <a:pt x="741" y="730"/>
                    <a:pt x="743" y="730"/>
                  </a:cubicBezTo>
                  <a:cubicBezTo>
                    <a:pt x="758" y="730"/>
                    <a:pt x="759" y="729"/>
                    <a:pt x="759" y="715"/>
                  </a:cubicBezTo>
                  <a:cubicBezTo>
                    <a:pt x="759" y="677"/>
                    <a:pt x="758" y="639"/>
                    <a:pt x="759" y="601"/>
                  </a:cubicBezTo>
                  <a:cubicBezTo>
                    <a:pt x="759" y="571"/>
                    <a:pt x="742" y="540"/>
                    <a:pt x="704" y="538"/>
                  </a:cubicBezTo>
                  <a:cubicBezTo>
                    <a:pt x="681" y="536"/>
                    <a:pt x="661" y="542"/>
                    <a:pt x="646" y="560"/>
                  </a:cubicBezTo>
                  <a:cubicBezTo>
                    <a:pt x="638" y="569"/>
                    <a:pt x="638" y="569"/>
                    <a:pt x="631" y="559"/>
                  </a:cubicBezTo>
                  <a:cubicBezTo>
                    <a:pt x="630" y="558"/>
                    <a:pt x="630" y="557"/>
                    <a:pt x="629" y="556"/>
                  </a:cubicBezTo>
                  <a:cubicBezTo>
                    <a:pt x="623" y="548"/>
                    <a:pt x="616" y="541"/>
                    <a:pt x="607" y="539"/>
                  </a:cubicBezTo>
                  <a:cubicBezTo>
                    <a:pt x="584" y="534"/>
                    <a:pt x="563" y="539"/>
                    <a:pt x="545" y="555"/>
                  </a:cubicBezTo>
                  <a:cubicBezTo>
                    <a:pt x="540" y="559"/>
                    <a:pt x="537" y="561"/>
                    <a:pt x="537" y="552"/>
                  </a:cubicBezTo>
                  <a:cubicBezTo>
                    <a:pt x="536" y="543"/>
                    <a:pt x="526" y="538"/>
                    <a:pt x="515" y="539"/>
                  </a:cubicBezTo>
                  <a:cubicBezTo>
                    <a:pt x="506" y="540"/>
                    <a:pt x="507" y="546"/>
                    <a:pt x="507" y="552"/>
                  </a:cubicBezTo>
                  <a:cubicBezTo>
                    <a:pt x="507" y="580"/>
                    <a:pt x="507" y="607"/>
                    <a:pt x="507" y="634"/>
                  </a:cubicBezTo>
                  <a:cubicBezTo>
                    <a:pt x="507" y="660"/>
                    <a:pt x="507" y="685"/>
                    <a:pt x="507" y="711"/>
                  </a:cubicBezTo>
                  <a:close/>
                  <a:moveTo>
                    <a:pt x="1525" y="1142"/>
                  </a:moveTo>
                  <a:cubicBezTo>
                    <a:pt x="1517" y="1143"/>
                    <a:pt x="1511" y="1141"/>
                    <a:pt x="1505" y="1136"/>
                  </a:cubicBezTo>
                  <a:cubicBezTo>
                    <a:pt x="1501" y="1133"/>
                    <a:pt x="1495" y="1130"/>
                    <a:pt x="1498" y="1124"/>
                  </a:cubicBezTo>
                  <a:cubicBezTo>
                    <a:pt x="1500" y="1118"/>
                    <a:pt x="1504" y="1114"/>
                    <a:pt x="1512" y="1114"/>
                  </a:cubicBezTo>
                  <a:cubicBezTo>
                    <a:pt x="1521" y="1115"/>
                    <a:pt x="1530" y="1114"/>
                    <a:pt x="1538" y="1115"/>
                  </a:cubicBezTo>
                  <a:cubicBezTo>
                    <a:pt x="1573" y="1117"/>
                    <a:pt x="1610" y="1084"/>
                    <a:pt x="1602" y="1044"/>
                  </a:cubicBezTo>
                  <a:cubicBezTo>
                    <a:pt x="1600" y="1035"/>
                    <a:pt x="1599" y="1028"/>
                    <a:pt x="1611" y="1027"/>
                  </a:cubicBezTo>
                  <a:cubicBezTo>
                    <a:pt x="1614" y="1027"/>
                    <a:pt x="1617" y="1024"/>
                    <a:pt x="1619" y="1023"/>
                  </a:cubicBezTo>
                  <a:cubicBezTo>
                    <a:pt x="1626" y="1019"/>
                    <a:pt x="1624" y="1013"/>
                    <a:pt x="1623" y="1008"/>
                  </a:cubicBezTo>
                  <a:cubicBezTo>
                    <a:pt x="1623" y="1002"/>
                    <a:pt x="1618" y="1003"/>
                    <a:pt x="1613" y="1002"/>
                  </a:cubicBezTo>
                  <a:cubicBezTo>
                    <a:pt x="1598" y="1002"/>
                    <a:pt x="1582" y="1004"/>
                    <a:pt x="1567" y="1000"/>
                  </a:cubicBezTo>
                  <a:cubicBezTo>
                    <a:pt x="1560" y="999"/>
                    <a:pt x="1554" y="993"/>
                    <a:pt x="1546" y="993"/>
                  </a:cubicBezTo>
                  <a:cubicBezTo>
                    <a:pt x="1536" y="994"/>
                    <a:pt x="1525" y="992"/>
                    <a:pt x="1515" y="993"/>
                  </a:cubicBezTo>
                  <a:cubicBezTo>
                    <a:pt x="1490" y="997"/>
                    <a:pt x="1469" y="1010"/>
                    <a:pt x="1462" y="1034"/>
                  </a:cubicBezTo>
                  <a:cubicBezTo>
                    <a:pt x="1455" y="1056"/>
                    <a:pt x="1457" y="1079"/>
                    <a:pt x="1476" y="1096"/>
                  </a:cubicBezTo>
                  <a:cubicBezTo>
                    <a:pt x="1483" y="1103"/>
                    <a:pt x="1483" y="1107"/>
                    <a:pt x="1476" y="1113"/>
                  </a:cubicBezTo>
                  <a:cubicBezTo>
                    <a:pt x="1462" y="1126"/>
                    <a:pt x="1462" y="1142"/>
                    <a:pt x="1473" y="1157"/>
                  </a:cubicBezTo>
                  <a:cubicBezTo>
                    <a:pt x="1476" y="1160"/>
                    <a:pt x="1476" y="1162"/>
                    <a:pt x="1472" y="1164"/>
                  </a:cubicBezTo>
                  <a:cubicBezTo>
                    <a:pt x="1470" y="1166"/>
                    <a:pt x="1468" y="1168"/>
                    <a:pt x="1466" y="1170"/>
                  </a:cubicBezTo>
                  <a:cubicBezTo>
                    <a:pt x="1449" y="1183"/>
                    <a:pt x="1444" y="1201"/>
                    <a:pt x="1454" y="1218"/>
                  </a:cubicBezTo>
                  <a:cubicBezTo>
                    <a:pt x="1464" y="1235"/>
                    <a:pt x="1479" y="1246"/>
                    <a:pt x="1499" y="1249"/>
                  </a:cubicBezTo>
                  <a:cubicBezTo>
                    <a:pt x="1517" y="1252"/>
                    <a:pt x="1535" y="1253"/>
                    <a:pt x="1553" y="1250"/>
                  </a:cubicBezTo>
                  <a:cubicBezTo>
                    <a:pt x="1584" y="1245"/>
                    <a:pt x="1607" y="1232"/>
                    <a:pt x="1619" y="1200"/>
                  </a:cubicBezTo>
                  <a:cubicBezTo>
                    <a:pt x="1627" y="1180"/>
                    <a:pt x="1611" y="1155"/>
                    <a:pt x="1593" y="1148"/>
                  </a:cubicBezTo>
                  <a:cubicBezTo>
                    <a:pt x="1578" y="1142"/>
                    <a:pt x="1563" y="1143"/>
                    <a:pt x="1549" y="1142"/>
                  </a:cubicBezTo>
                  <a:cubicBezTo>
                    <a:pt x="1540" y="1142"/>
                    <a:pt x="1532" y="1142"/>
                    <a:pt x="1525" y="1142"/>
                  </a:cubicBezTo>
                  <a:close/>
                  <a:moveTo>
                    <a:pt x="1556" y="1172"/>
                  </a:moveTo>
                  <a:cubicBezTo>
                    <a:pt x="1566" y="1172"/>
                    <a:pt x="1576" y="1176"/>
                    <a:pt x="1583" y="1183"/>
                  </a:cubicBezTo>
                  <a:cubicBezTo>
                    <a:pt x="1589" y="1190"/>
                    <a:pt x="1589" y="1198"/>
                    <a:pt x="1583" y="1205"/>
                  </a:cubicBezTo>
                  <a:cubicBezTo>
                    <a:pt x="1575" y="1215"/>
                    <a:pt x="1565" y="1220"/>
                    <a:pt x="1553" y="1223"/>
                  </a:cubicBezTo>
                  <a:cubicBezTo>
                    <a:pt x="1534" y="1228"/>
                    <a:pt x="1516" y="1225"/>
                    <a:pt x="1499" y="1219"/>
                  </a:cubicBezTo>
                  <a:cubicBezTo>
                    <a:pt x="1486" y="1214"/>
                    <a:pt x="1479" y="1203"/>
                    <a:pt x="1482" y="1193"/>
                  </a:cubicBezTo>
                  <a:cubicBezTo>
                    <a:pt x="1485" y="1182"/>
                    <a:pt x="1496" y="1168"/>
                    <a:pt x="1514" y="1171"/>
                  </a:cubicBezTo>
                  <a:cubicBezTo>
                    <a:pt x="1526" y="1173"/>
                    <a:pt x="1541" y="1171"/>
                    <a:pt x="1556" y="1172"/>
                  </a:cubicBezTo>
                  <a:close/>
                  <a:moveTo>
                    <a:pt x="1531" y="1019"/>
                  </a:moveTo>
                  <a:cubicBezTo>
                    <a:pt x="1553" y="1017"/>
                    <a:pt x="1570" y="1033"/>
                    <a:pt x="1570" y="1052"/>
                  </a:cubicBezTo>
                  <a:cubicBezTo>
                    <a:pt x="1570" y="1075"/>
                    <a:pt x="1554" y="1093"/>
                    <a:pt x="1532" y="1091"/>
                  </a:cubicBezTo>
                  <a:cubicBezTo>
                    <a:pt x="1508" y="1089"/>
                    <a:pt x="1494" y="1082"/>
                    <a:pt x="1493" y="1053"/>
                  </a:cubicBezTo>
                  <a:cubicBezTo>
                    <a:pt x="1494" y="1029"/>
                    <a:pt x="1508" y="1020"/>
                    <a:pt x="1531" y="1019"/>
                  </a:cubicBezTo>
                  <a:close/>
                  <a:moveTo>
                    <a:pt x="1413" y="934"/>
                  </a:moveTo>
                  <a:cubicBezTo>
                    <a:pt x="1413" y="909"/>
                    <a:pt x="1413" y="909"/>
                    <a:pt x="1389" y="910"/>
                  </a:cubicBezTo>
                  <a:cubicBezTo>
                    <a:pt x="1388" y="910"/>
                    <a:pt x="1387" y="910"/>
                    <a:pt x="1387" y="910"/>
                  </a:cubicBezTo>
                  <a:cubicBezTo>
                    <a:pt x="1379" y="910"/>
                    <a:pt x="1376" y="915"/>
                    <a:pt x="1376" y="921"/>
                  </a:cubicBezTo>
                  <a:cubicBezTo>
                    <a:pt x="1376" y="939"/>
                    <a:pt x="1377" y="956"/>
                    <a:pt x="1377" y="974"/>
                  </a:cubicBezTo>
                  <a:cubicBezTo>
                    <a:pt x="1377" y="983"/>
                    <a:pt x="1377" y="991"/>
                    <a:pt x="1377" y="1000"/>
                  </a:cubicBezTo>
                  <a:cubicBezTo>
                    <a:pt x="1377" y="1005"/>
                    <a:pt x="1374" y="1009"/>
                    <a:pt x="1369" y="1005"/>
                  </a:cubicBezTo>
                  <a:cubicBezTo>
                    <a:pt x="1352" y="990"/>
                    <a:pt x="1332" y="993"/>
                    <a:pt x="1312" y="993"/>
                  </a:cubicBezTo>
                  <a:cubicBezTo>
                    <a:pt x="1303" y="994"/>
                    <a:pt x="1294" y="998"/>
                    <a:pt x="1287" y="1003"/>
                  </a:cubicBezTo>
                  <a:cubicBezTo>
                    <a:pt x="1265" y="1017"/>
                    <a:pt x="1252" y="1039"/>
                    <a:pt x="1248" y="1065"/>
                  </a:cubicBezTo>
                  <a:cubicBezTo>
                    <a:pt x="1244" y="1096"/>
                    <a:pt x="1244" y="1128"/>
                    <a:pt x="1261" y="1157"/>
                  </a:cubicBezTo>
                  <a:cubicBezTo>
                    <a:pt x="1270" y="1170"/>
                    <a:pt x="1281" y="1181"/>
                    <a:pt x="1296" y="1185"/>
                  </a:cubicBezTo>
                  <a:cubicBezTo>
                    <a:pt x="1323" y="1191"/>
                    <a:pt x="1349" y="1188"/>
                    <a:pt x="1370" y="1167"/>
                  </a:cubicBezTo>
                  <a:cubicBezTo>
                    <a:pt x="1372" y="1165"/>
                    <a:pt x="1375" y="1162"/>
                    <a:pt x="1379" y="1163"/>
                  </a:cubicBezTo>
                  <a:cubicBezTo>
                    <a:pt x="1382" y="1165"/>
                    <a:pt x="1381" y="1169"/>
                    <a:pt x="1381" y="1172"/>
                  </a:cubicBezTo>
                  <a:cubicBezTo>
                    <a:pt x="1383" y="1181"/>
                    <a:pt x="1390" y="1186"/>
                    <a:pt x="1403" y="1186"/>
                  </a:cubicBezTo>
                  <a:cubicBezTo>
                    <a:pt x="1413" y="1185"/>
                    <a:pt x="1413" y="1178"/>
                    <a:pt x="1413" y="1172"/>
                  </a:cubicBezTo>
                  <a:cubicBezTo>
                    <a:pt x="1413" y="1131"/>
                    <a:pt x="1413" y="1090"/>
                    <a:pt x="1413" y="1049"/>
                  </a:cubicBezTo>
                  <a:cubicBezTo>
                    <a:pt x="1413" y="1010"/>
                    <a:pt x="1413" y="972"/>
                    <a:pt x="1413" y="934"/>
                  </a:cubicBezTo>
                  <a:close/>
                  <a:moveTo>
                    <a:pt x="1378" y="1113"/>
                  </a:moveTo>
                  <a:cubicBezTo>
                    <a:pt x="1378" y="1136"/>
                    <a:pt x="1360" y="1155"/>
                    <a:pt x="1337" y="1157"/>
                  </a:cubicBezTo>
                  <a:cubicBezTo>
                    <a:pt x="1319" y="1159"/>
                    <a:pt x="1304" y="1154"/>
                    <a:pt x="1294" y="1139"/>
                  </a:cubicBezTo>
                  <a:cubicBezTo>
                    <a:pt x="1286" y="1128"/>
                    <a:pt x="1283" y="1116"/>
                    <a:pt x="1283" y="1102"/>
                  </a:cubicBezTo>
                  <a:cubicBezTo>
                    <a:pt x="1282" y="1085"/>
                    <a:pt x="1282" y="1067"/>
                    <a:pt x="1290" y="1051"/>
                  </a:cubicBezTo>
                  <a:cubicBezTo>
                    <a:pt x="1297" y="1036"/>
                    <a:pt x="1308" y="1024"/>
                    <a:pt x="1325" y="1022"/>
                  </a:cubicBezTo>
                  <a:cubicBezTo>
                    <a:pt x="1342" y="1020"/>
                    <a:pt x="1358" y="1021"/>
                    <a:pt x="1371" y="1035"/>
                  </a:cubicBezTo>
                  <a:cubicBezTo>
                    <a:pt x="1376" y="1041"/>
                    <a:pt x="1378" y="1046"/>
                    <a:pt x="1378" y="1052"/>
                  </a:cubicBezTo>
                  <a:cubicBezTo>
                    <a:pt x="1378" y="1064"/>
                    <a:pt x="1378" y="1075"/>
                    <a:pt x="1378" y="1086"/>
                  </a:cubicBezTo>
                  <a:cubicBezTo>
                    <a:pt x="1378" y="1086"/>
                    <a:pt x="1378" y="1086"/>
                    <a:pt x="1378" y="1086"/>
                  </a:cubicBezTo>
                  <a:cubicBezTo>
                    <a:pt x="1378" y="1095"/>
                    <a:pt x="1378" y="1104"/>
                    <a:pt x="1378" y="1113"/>
                  </a:cubicBezTo>
                  <a:close/>
                  <a:moveTo>
                    <a:pt x="578" y="259"/>
                  </a:moveTo>
                  <a:cubicBezTo>
                    <a:pt x="603" y="241"/>
                    <a:pt x="611" y="213"/>
                    <a:pt x="614" y="183"/>
                  </a:cubicBezTo>
                  <a:cubicBezTo>
                    <a:pt x="615" y="171"/>
                    <a:pt x="610" y="159"/>
                    <a:pt x="609" y="147"/>
                  </a:cubicBezTo>
                  <a:cubicBezTo>
                    <a:pt x="608" y="137"/>
                    <a:pt x="603" y="129"/>
                    <a:pt x="599" y="121"/>
                  </a:cubicBezTo>
                  <a:cubicBezTo>
                    <a:pt x="579" y="87"/>
                    <a:pt x="527" y="70"/>
                    <a:pt x="488" y="85"/>
                  </a:cubicBezTo>
                  <a:cubicBezTo>
                    <a:pt x="453" y="99"/>
                    <a:pt x="436" y="127"/>
                    <a:pt x="431" y="163"/>
                  </a:cubicBezTo>
                  <a:cubicBezTo>
                    <a:pt x="429" y="180"/>
                    <a:pt x="430" y="196"/>
                    <a:pt x="436" y="213"/>
                  </a:cubicBezTo>
                  <a:cubicBezTo>
                    <a:pt x="439" y="222"/>
                    <a:pt x="442" y="232"/>
                    <a:pt x="447" y="239"/>
                  </a:cubicBezTo>
                  <a:cubicBezTo>
                    <a:pt x="465" y="265"/>
                    <a:pt x="491" y="277"/>
                    <a:pt x="525" y="276"/>
                  </a:cubicBezTo>
                  <a:cubicBezTo>
                    <a:pt x="543" y="278"/>
                    <a:pt x="562" y="271"/>
                    <a:pt x="578" y="259"/>
                  </a:cubicBezTo>
                  <a:close/>
                  <a:moveTo>
                    <a:pt x="471" y="205"/>
                  </a:moveTo>
                  <a:cubicBezTo>
                    <a:pt x="466" y="185"/>
                    <a:pt x="468" y="167"/>
                    <a:pt x="472" y="147"/>
                  </a:cubicBezTo>
                  <a:cubicBezTo>
                    <a:pt x="477" y="130"/>
                    <a:pt x="493" y="116"/>
                    <a:pt x="509" y="112"/>
                  </a:cubicBezTo>
                  <a:cubicBezTo>
                    <a:pt x="525" y="108"/>
                    <a:pt x="539" y="110"/>
                    <a:pt x="553" y="119"/>
                  </a:cubicBezTo>
                  <a:cubicBezTo>
                    <a:pt x="563" y="125"/>
                    <a:pt x="568" y="135"/>
                    <a:pt x="571" y="146"/>
                  </a:cubicBezTo>
                  <a:cubicBezTo>
                    <a:pt x="577" y="167"/>
                    <a:pt x="578" y="189"/>
                    <a:pt x="571" y="211"/>
                  </a:cubicBezTo>
                  <a:cubicBezTo>
                    <a:pt x="565" y="231"/>
                    <a:pt x="549" y="249"/>
                    <a:pt x="521" y="247"/>
                  </a:cubicBezTo>
                  <a:cubicBezTo>
                    <a:pt x="496" y="247"/>
                    <a:pt x="478" y="230"/>
                    <a:pt x="471" y="205"/>
                  </a:cubicBezTo>
                  <a:close/>
                  <a:moveTo>
                    <a:pt x="472" y="1122"/>
                  </a:moveTo>
                  <a:cubicBezTo>
                    <a:pt x="475" y="1136"/>
                    <a:pt x="481" y="1148"/>
                    <a:pt x="491" y="1158"/>
                  </a:cubicBezTo>
                  <a:cubicBezTo>
                    <a:pt x="506" y="1176"/>
                    <a:pt x="524" y="1185"/>
                    <a:pt x="548" y="1187"/>
                  </a:cubicBezTo>
                  <a:cubicBezTo>
                    <a:pt x="568" y="1188"/>
                    <a:pt x="587" y="1187"/>
                    <a:pt x="605" y="1177"/>
                  </a:cubicBezTo>
                  <a:cubicBezTo>
                    <a:pt x="632" y="1162"/>
                    <a:pt x="644" y="1136"/>
                    <a:pt x="649" y="1107"/>
                  </a:cubicBezTo>
                  <a:cubicBezTo>
                    <a:pt x="652" y="1089"/>
                    <a:pt x="649" y="1072"/>
                    <a:pt x="644" y="1054"/>
                  </a:cubicBezTo>
                  <a:cubicBezTo>
                    <a:pt x="638" y="1034"/>
                    <a:pt x="627" y="1019"/>
                    <a:pt x="610" y="1007"/>
                  </a:cubicBezTo>
                  <a:cubicBezTo>
                    <a:pt x="589" y="992"/>
                    <a:pt x="566" y="991"/>
                    <a:pt x="541" y="994"/>
                  </a:cubicBezTo>
                  <a:cubicBezTo>
                    <a:pt x="526" y="995"/>
                    <a:pt x="512" y="1002"/>
                    <a:pt x="500" y="1012"/>
                  </a:cubicBezTo>
                  <a:cubicBezTo>
                    <a:pt x="476" y="1032"/>
                    <a:pt x="469" y="1060"/>
                    <a:pt x="466" y="1095"/>
                  </a:cubicBezTo>
                  <a:cubicBezTo>
                    <a:pt x="465" y="1101"/>
                    <a:pt x="470" y="1111"/>
                    <a:pt x="472" y="1122"/>
                  </a:cubicBezTo>
                  <a:close/>
                  <a:moveTo>
                    <a:pt x="508" y="1113"/>
                  </a:moveTo>
                  <a:cubicBezTo>
                    <a:pt x="505" y="1095"/>
                    <a:pt x="506" y="1078"/>
                    <a:pt x="508" y="1061"/>
                  </a:cubicBezTo>
                  <a:cubicBezTo>
                    <a:pt x="511" y="1042"/>
                    <a:pt x="538" y="1021"/>
                    <a:pt x="554" y="1022"/>
                  </a:cubicBezTo>
                  <a:cubicBezTo>
                    <a:pt x="570" y="1022"/>
                    <a:pt x="586" y="1024"/>
                    <a:pt x="596" y="1037"/>
                  </a:cubicBezTo>
                  <a:cubicBezTo>
                    <a:pt x="602" y="1044"/>
                    <a:pt x="607" y="1052"/>
                    <a:pt x="608" y="1061"/>
                  </a:cubicBezTo>
                  <a:cubicBezTo>
                    <a:pt x="608" y="1064"/>
                    <a:pt x="609" y="1067"/>
                    <a:pt x="610" y="1070"/>
                  </a:cubicBezTo>
                  <a:cubicBezTo>
                    <a:pt x="618" y="1089"/>
                    <a:pt x="612" y="1107"/>
                    <a:pt x="607" y="1125"/>
                  </a:cubicBezTo>
                  <a:cubicBezTo>
                    <a:pt x="601" y="1143"/>
                    <a:pt x="588" y="1160"/>
                    <a:pt x="558" y="1157"/>
                  </a:cubicBezTo>
                  <a:cubicBezTo>
                    <a:pt x="530" y="1157"/>
                    <a:pt x="512" y="1141"/>
                    <a:pt x="508" y="1113"/>
                  </a:cubicBezTo>
                  <a:close/>
                  <a:moveTo>
                    <a:pt x="430" y="716"/>
                  </a:moveTo>
                  <a:cubicBezTo>
                    <a:pt x="450" y="703"/>
                    <a:pt x="459" y="683"/>
                    <a:pt x="464" y="661"/>
                  </a:cubicBezTo>
                  <a:cubicBezTo>
                    <a:pt x="468" y="648"/>
                    <a:pt x="467" y="635"/>
                    <a:pt x="466" y="621"/>
                  </a:cubicBezTo>
                  <a:cubicBezTo>
                    <a:pt x="463" y="592"/>
                    <a:pt x="453" y="567"/>
                    <a:pt x="427" y="550"/>
                  </a:cubicBezTo>
                  <a:cubicBezTo>
                    <a:pt x="401" y="534"/>
                    <a:pt x="372" y="532"/>
                    <a:pt x="345" y="541"/>
                  </a:cubicBezTo>
                  <a:cubicBezTo>
                    <a:pt x="310" y="552"/>
                    <a:pt x="291" y="580"/>
                    <a:pt x="287" y="617"/>
                  </a:cubicBezTo>
                  <a:cubicBezTo>
                    <a:pt x="286" y="629"/>
                    <a:pt x="286" y="641"/>
                    <a:pt x="287" y="654"/>
                  </a:cubicBezTo>
                  <a:cubicBezTo>
                    <a:pt x="289" y="671"/>
                    <a:pt x="295" y="686"/>
                    <a:pt x="306" y="700"/>
                  </a:cubicBezTo>
                  <a:cubicBezTo>
                    <a:pt x="324" y="722"/>
                    <a:pt x="348" y="733"/>
                    <a:pt x="378" y="731"/>
                  </a:cubicBezTo>
                  <a:cubicBezTo>
                    <a:pt x="396" y="733"/>
                    <a:pt x="414" y="727"/>
                    <a:pt x="430" y="716"/>
                  </a:cubicBezTo>
                  <a:close/>
                  <a:moveTo>
                    <a:pt x="331" y="592"/>
                  </a:moveTo>
                  <a:cubicBezTo>
                    <a:pt x="339" y="580"/>
                    <a:pt x="349" y="569"/>
                    <a:pt x="365" y="567"/>
                  </a:cubicBezTo>
                  <a:cubicBezTo>
                    <a:pt x="387" y="564"/>
                    <a:pt x="406" y="568"/>
                    <a:pt x="419" y="588"/>
                  </a:cubicBezTo>
                  <a:cubicBezTo>
                    <a:pt x="423" y="595"/>
                    <a:pt x="426" y="603"/>
                    <a:pt x="427" y="610"/>
                  </a:cubicBezTo>
                  <a:cubicBezTo>
                    <a:pt x="433" y="635"/>
                    <a:pt x="431" y="661"/>
                    <a:pt x="416" y="684"/>
                  </a:cubicBezTo>
                  <a:cubicBezTo>
                    <a:pt x="403" y="706"/>
                    <a:pt x="362" y="708"/>
                    <a:pt x="345" y="692"/>
                  </a:cubicBezTo>
                  <a:cubicBezTo>
                    <a:pt x="329" y="678"/>
                    <a:pt x="323" y="661"/>
                    <a:pt x="323" y="631"/>
                  </a:cubicBezTo>
                  <a:cubicBezTo>
                    <a:pt x="323" y="619"/>
                    <a:pt x="323" y="605"/>
                    <a:pt x="331" y="592"/>
                  </a:cubicBezTo>
                  <a:close/>
                  <a:moveTo>
                    <a:pt x="1073" y="259"/>
                  </a:moveTo>
                  <a:cubicBezTo>
                    <a:pt x="1073" y="269"/>
                    <a:pt x="1075" y="272"/>
                    <a:pt x="1086" y="272"/>
                  </a:cubicBezTo>
                  <a:cubicBezTo>
                    <a:pt x="1088" y="272"/>
                    <a:pt x="1090" y="272"/>
                    <a:pt x="1092" y="272"/>
                  </a:cubicBezTo>
                  <a:cubicBezTo>
                    <a:pt x="1105" y="272"/>
                    <a:pt x="1106" y="271"/>
                    <a:pt x="1106" y="258"/>
                  </a:cubicBezTo>
                  <a:cubicBezTo>
                    <a:pt x="1106" y="221"/>
                    <a:pt x="1106" y="184"/>
                    <a:pt x="1106" y="147"/>
                  </a:cubicBezTo>
                  <a:cubicBezTo>
                    <a:pt x="1106" y="143"/>
                    <a:pt x="1106" y="140"/>
                    <a:pt x="1107" y="137"/>
                  </a:cubicBezTo>
                  <a:cubicBezTo>
                    <a:pt x="1117" y="117"/>
                    <a:pt x="1157" y="104"/>
                    <a:pt x="1177" y="114"/>
                  </a:cubicBezTo>
                  <a:cubicBezTo>
                    <a:pt x="1179" y="115"/>
                    <a:pt x="1180" y="117"/>
                    <a:pt x="1182" y="118"/>
                  </a:cubicBezTo>
                  <a:cubicBezTo>
                    <a:pt x="1194" y="131"/>
                    <a:pt x="1196" y="147"/>
                    <a:pt x="1196" y="163"/>
                  </a:cubicBezTo>
                  <a:cubicBezTo>
                    <a:pt x="1197" y="195"/>
                    <a:pt x="1196" y="226"/>
                    <a:pt x="1196" y="258"/>
                  </a:cubicBezTo>
                  <a:cubicBezTo>
                    <a:pt x="1196" y="271"/>
                    <a:pt x="1197" y="272"/>
                    <a:pt x="1210" y="272"/>
                  </a:cubicBezTo>
                  <a:cubicBezTo>
                    <a:pt x="1212" y="272"/>
                    <a:pt x="1213" y="272"/>
                    <a:pt x="1215" y="272"/>
                  </a:cubicBezTo>
                  <a:cubicBezTo>
                    <a:pt x="1227" y="272"/>
                    <a:pt x="1229" y="270"/>
                    <a:pt x="1229" y="258"/>
                  </a:cubicBezTo>
                  <a:cubicBezTo>
                    <a:pt x="1229" y="222"/>
                    <a:pt x="1229" y="187"/>
                    <a:pt x="1229" y="151"/>
                  </a:cubicBezTo>
                  <a:cubicBezTo>
                    <a:pt x="1229" y="142"/>
                    <a:pt x="1228" y="132"/>
                    <a:pt x="1225" y="123"/>
                  </a:cubicBezTo>
                  <a:cubicBezTo>
                    <a:pt x="1219" y="105"/>
                    <a:pt x="1208" y="91"/>
                    <a:pt x="1189" y="85"/>
                  </a:cubicBezTo>
                  <a:cubicBezTo>
                    <a:pt x="1173" y="80"/>
                    <a:pt x="1156" y="84"/>
                    <a:pt x="1139" y="84"/>
                  </a:cubicBezTo>
                  <a:cubicBezTo>
                    <a:pt x="1137" y="84"/>
                    <a:pt x="1136" y="86"/>
                    <a:pt x="1134" y="87"/>
                  </a:cubicBezTo>
                  <a:cubicBezTo>
                    <a:pt x="1128" y="91"/>
                    <a:pt x="1121" y="96"/>
                    <a:pt x="1115" y="100"/>
                  </a:cubicBezTo>
                  <a:cubicBezTo>
                    <a:pt x="1113" y="102"/>
                    <a:pt x="1111" y="105"/>
                    <a:pt x="1108" y="103"/>
                  </a:cubicBezTo>
                  <a:cubicBezTo>
                    <a:pt x="1105" y="102"/>
                    <a:pt x="1106" y="98"/>
                    <a:pt x="1106" y="96"/>
                  </a:cubicBezTo>
                  <a:cubicBezTo>
                    <a:pt x="1106" y="69"/>
                    <a:pt x="1106" y="43"/>
                    <a:pt x="1106" y="17"/>
                  </a:cubicBezTo>
                  <a:cubicBezTo>
                    <a:pt x="1106" y="0"/>
                    <a:pt x="1106" y="0"/>
                    <a:pt x="1089" y="0"/>
                  </a:cubicBezTo>
                  <a:cubicBezTo>
                    <a:pt x="1074" y="0"/>
                    <a:pt x="1073" y="1"/>
                    <a:pt x="1073" y="16"/>
                  </a:cubicBezTo>
                  <a:cubicBezTo>
                    <a:pt x="1073" y="56"/>
                    <a:pt x="1073" y="96"/>
                    <a:pt x="1073" y="136"/>
                  </a:cubicBezTo>
                  <a:cubicBezTo>
                    <a:pt x="1073" y="177"/>
                    <a:pt x="1073" y="218"/>
                    <a:pt x="1073" y="259"/>
                  </a:cubicBezTo>
                  <a:close/>
                  <a:moveTo>
                    <a:pt x="1150" y="1092"/>
                  </a:moveTo>
                  <a:cubicBezTo>
                    <a:pt x="1168" y="1092"/>
                    <a:pt x="1186" y="1092"/>
                    <a:pt x="1204" y="1092"/>
                  </a:cubicBezTo>
                  <a:cubicBezTo>
                    <a:pt x="1215" y="1092"/>
                    <a:pt x="1218" y="1087"/>
                    <a:pt x="1219" y="1077"/>
                  </a:cubicBezTo>
                  <a:cubicBezTo>
                    <a:pt x="1220" y="1062"/>
                    <a:pt x="1216" y="1049"/>
                    <a:pt x="1210" y="1036"/>
                  </a:cubicBezTo>
                  <a:cubicBezTo>
                    <a:pt x="1204" y="1020"/>
                    <a:pt x="1193" y="1008"/>
                    <a:pt x="1177" y="1001"/>
                  </a:cubicBezTo>
                  <a:cubicBezTo>
                    <a:pt x="1155" y="992"/>
                    <a:pt x="1133" y="991"/>
                    <a:pt x="1109" y="999"/>
                  </a:cubicBezTo>
                  <a:cubicBezTo>
                    <a:pt x="1079" y="1010"/>
                    <a:pt x="1062" y="1031"/>
                    <a:pt x="1056" y="1061"/>
                  </a:cubicBezTo>
                  <a:cubicBezTo>
                    <a:pt x="1051" y="1090"/>
                    <a:pt x="1052" y="1120"/>
                    <a:pt x="1069" y="1148"/>
                  </a:cubicBezTo>
                  <a:cubicBezTo>
                    <a:pt x="1081" y="1169"/>
                    <a:pt x="1100" y="1180"/>
                    <a:pt x="1122" y="1185"/>
                  </a:cubicBezTo>
                  <a:cubicBezTo>
                    <a:pt x="1149" y="1190"/>
                    <a:pt x="1176" y="1186"/>
                    <a:pt x="1200" y="1171"/>
                  </a:cubicBezTo>
                  <a:cubicBezTo>
                    <a:pt x="1206" y="1168"/>
                    <a:pt x="1213" y="1165"/>
                    <a:pt x="1214" y="1157"/>
                  </a:cubicBezTo>
                  <a:cubicBezTo>
                    <a:pt x="1215" y="1147"/>
                    <a:pt x="1202" y="1139"/>
                    <a:pt x="1193" y="1144"/>
                  </a:cubicBezTo>
                  <a:cubicBezTo>
                    <a:pt x="1187" y="1147"/>
                    <a:pt x="1180" y="1150"/>
                    <a:pt x="1174" y="1153"/>
                  </a:cubicBezTo>
                  <a:cubicBezTo>
                    <a:pt x="1158" y="1161"/>
                    <a:pt x="1140" y="1161"/>
                    <a:pt x="1124" y="1155"/>
                  </a:cubicBezTo>
                  <a:cubicBezTo>
                    <a:pt x="1112" y="1151"/>
                    <a:pt x="1102" y="1142"/>
                    <a:pt x="1096" y="1129"/>
                  </a:cubicBezTo>
                  <a:cubicBezTo>
                    <a:pt x="1092" y="1121"/>
                    <a:pt x="1091" y="1112"/>
                    <a:pt x="1089" y="1104"/>
                  </a:cubicBezTo>
                  <a:cubicBezTo>
                    <a:pt x="1087" y="1093"/>
                    <a:pt x="1087" y="1092"/>
                    <a:pt x="1099" y="1092"/>
                  </a:cubicBezTo>
                  <a:cubicBezTo>
                    <a:pt x="1116" y="1092"/>
                    <a:pt x="1133" y="1092"/>
                    <a:pt x="1150" y="1092"/>
                  </a:cubicBezTo>
                  <a:cubicBezTo>
                    <a:pt x="1150" y="1092"/>
                    <a:pt x="1150" y="1092"/>
                    <a:pt x="1150" y="1092"/>
                  </a:cubicBezTo>
                  <a:close/>
                  <a:moveTo>
                    <a:pt x="1099" y="1070"/>
                  </a:moveTo>
                  <a:cubicBezTo>
                    <a:pt x="1092" y="1071"/>
                    <a:pt x="1089" y="1067"/>
                    <a:pt x="1091" y="1060"/>
                  </a:cubicBezTo>
                  <a:cubicBezTo>
                    <a:pt x="1094" y="1045"/>
                    <a:pt x="1108" y="1023"/>
                    <a:pt x="1128" y="1022"/>
                  </a:cubicBezTo>
                  <a:cubicBezTo>
                    <a:pt x="1142" y="1021"/>
                    <a:pt x="1156" y="1018"/>
                    <a:pt x="1168" y="1029"/>
                  </a:cubicBezTo>
                  <a:cubicBezTo>
                    <a:pt x="1181" y="1038"/>
                    <a:pt x="1185" y="1051"/>
                    <a:pt x="1187" y="1066"/>
                  </a:cubicBezTo>
                  <a:cubicBezTo>
                    <a:pt x="1188" y="1071"/>
                    <a:pt x="1183" y="1070"/>
                    <a:pt x="1180" y="1070"/>
                  </a:cubicBezTo>
                  <a:cubicBezTo>
                    <a:pt x="1166" y="1070"/>
                    <a:pt x="1153" y="1070"/>
                    <a:pt x="1139" y="1070"/>
                  </a:cubicBezTo>
                  <a:cubicBezTo>
                    <a:pt x="1139" y="1070"/>
                    <a:pt x="1139" y="1070"/>
                    <a:pt x="1139" y="1070"/>
                  </a:cubicBezTo>
                  <a:cubicBezTo>
                    <a:pt x="1126" y="1070"/>
                    <a:pt x="1113" y="1070"/>
                    <a:pt x="1099" y="1070"/>
                  </a:cubicBezTo>
                  <a:close/>
                  <a:moveTo>
                    <a:pt x="1741" y="1092"/>
                  </a:moveTo>
                  <a:cubicBezTo>
                    <a:pt x="1759" y="1092"/>
                    <a:pt x="1776" y="1092"/>
                    <a:pt x="1793" y="1092"/>
                  </a:cubicBezTo>
                  <a:cubicBezTo>
                    <a:pt x="1806" y="1092"/>
                    <a:pt x="1808" y="1089"/>
                    <a:pt x="1808" y="1076"/>
                  </a:cubicBezTo>
                  <a:cubicBezTo>
                    <a:pt x="1809" y="1063"/>
                    <a:pt x="1807" y="1051"/>
                    <a:pt x="1802" y="1038"/>
                  </a:cubicBezTo>
                  <a:cubicBezTo>
                    <a:pt x="1794" y="1021"/>
                    <a:pt x="1782" y="1008"/>
                    <a:pt x="1764" y="1000"/>
                  </a:cubicBezTo>
                  <a:cubicBezTo>
                    <a:pt x="1742" y="991"/>
                    <a:pt x="1720" y="991"/>
                    <a:pt x="1698" y="1000"/>
                  </a:cubicBezTo>
                  <a:cubicBezTo>
                    <a:pt x="1681" y="1006"/>
                    <a:pt x="1668" y="1016"/>
                    <a:pt x="1659" y="1031"/>
                  </a:cubicBezTo>
                  <a:cubicBezTo>
                    <a:pt x="1646" y="1050"/>
                    <a:pt x="1643" y="1071"/>
                    <a:pt x="1644" y="1094"/>
                  </a:cubicBezTo>
                  <a:cubicBezTo>
                    <a:pt x="1644" y="1110"/>
                    <a:pt x="1647" y="1127"/>
                    <a:pt x="1655" y="1141"/>
                  </a:cubicBezTo>
                  <a:cubicBezTo>
                    <a:pt x="1669" y="1168"/>
                    <a:pt x="1691" y="1183"/>
                    <a:pt x="1722" y="1186"/>
                  </a:cubicBezTo>
                  <a:cubicBezTo>
                    <a:pt x="1750" y="1188"/>
                    <a:pt x="1775" y="1183"/>
                    <a:pt x="1798" y="1165"/>
                  </a:cubicBezTo>
                  <a:cubicBezTo>
                    <a:pt x="1803" y="1161"/>
                    <a:pt x="1806" y="1157"/>
                    <a:pt x="1802" y="1151"/>
                  </a:cubicBezTo>
                  <a:cubicBezTo>
                    <a:pt x="1798" y="1144"/>
                    <a:pt x="1791" y="1140"/>
                    <a:pt x="1783" y="1144"/>
                  </a:cubicBezTo>
                  <a:cubicBezTo>
                    <a:pt x="1778" y="1147"/>
                    <a:pt x="1771" y="1149"/>
                    <a:pt x="1766" y="1152"/>
                  </a:cubicBezTo>
                  <a:cubicBezTo>
                    <a:pt x="1749" y="1161"/>
                    <a:pt x="1730" y="1162"/>
                    <a:pt x="1714" y="1155"/>
                  </a:cubicBezTo>
                  <a:cubicBezTo>
                    <a:pt x="1692" y="1145"/>
                    <a:pt x="1680" y="1127"/>
                    <a:pt x="1679" y="1102"/>
                  </a:cubicBezTo>
                  <a:cubicBezTo>
                    <a:pt x="1678" y="1095"/>
                    <a:pt x="1681" y="1092"/>
                    <a:pt x="1689" y="1092"/>
                  </a:cubicBezTo>
                  <a:cubicBezTo>
                    <a:pt x="1706" y="1092"/>
                    <a:pt x="1724" y="1092"/>
                    <a:pt x="1741" y="1092"/>
                  </a:cubicBezTo>
                  <a:cubicBezTo>
                    <a:pt x="1741" y="1092"/>
                    <a:pt x="1741" y="1092"/>
                    <a:pt x="1741" y="1092"/>
                  </a:cubicBezTo>
                  <a:close/>
                  <a:moveTo>
                    <a:pt x="1690" y="1070"/>
                  </a:moveTo>
                  <a:cubicBezTo>
                    <a:pt x="1683" y="1071"/>
                    <a:pt x="1680" y="1068"/>
                    <a:pt x="1681" y="1062"/>
                  </a:cubicBezTo>
                  <a:cubicBezTo>
                    <a:pt x="1683" y="1048"/>
                    <a:pt x="1697" y="1024"/>
                    <a:pt x="1716" y="1022"/>
                  </a:cubicBezTo>
                  <a:cubicBezTo>
                    <a:pt x="1731" y="1020"/>
                    <a:pt x="1747" y="1018"/>
                    <a:pt x="1760" y="1030"/>
                  </a:cubicBezTo>
                  <a:cubicBezTo>
                    <a:pt x="1771" y="1038"/>
                    <a:pt x="1775" y="1050"/>
                    <a:pt x="1778" y="1062"/>
                  </a:cubicBezTo>
                  <a:cubicBezTo>
                    <a:pt x="1780" y="1068"/>
                    <a:pt x="1775" y="1070"/>
                    <a:pt x="1769" y="1070"/>
                  </a:cubicBezTo>
                  <a:cubicBezTo>
                    <a:pt x="1756" y="1070"/>
                    <a:pt x="1742" y="1070"/>
                    <a:pt x="1729" y="1070"/>
                  </a:cubicBezTo>
                  <a:cubicBezTo>
                    <a:pt x="1729" y="1070"/>
                    <a:pt x="1729" y="1070"/>
                    <a:pt x="1729" y="1070"/>
                  </a:cubicBezTo>
                  <a:cubicBezTo>
                    <a:pt x="1716" y="1070"/>
                    <a:pt x="1703" y="1070"/>
                    <a:pt x="1690" y="1070"/>
                  </a:cubicBezTo>
                  <a:close/>
                  <a:moveTo>
                    <a:pt x="68" y="581"/>
                  </a:moveTo>
                  <a:cubicBezTo>
                    <a:pt x="68" y="573"/>
                    <a:pt x="70" y="568"/>
                    <a:pt x="80" y="569"/>
                  </a:cubicBezTo>
                  <a:cubicBezTo>
                    <a:pt x="90" y="570"/>
                    <a:pt x="101" y="570"/>
                    <a:pt x="111" y="569"/>
                  </a:cubicBezTo>
                  <a:cubicBezTo>
                    <a:pt x="120" y="569"/>
                    <a:pt x="120" y="563"/>
                    <a:pt x="120" y="556"/>
                  </a:cubicBezTo>
                  <a:cubicBezTo>
                    <a:pt x="120" y="549"/>
                    <a:pt x="119" y="544"/>
                    <a:pt x="111" y="544"/>
                  </a:cubicBezTo>
                  <a:cubicBezTo>
                    <a:pt x="104" y="544"/>
                    <a:pt x="97" y="544"/>
                    <a:pt x="91" y="544"/>
                  </a:cubicBezTo>
                  <a:cubicBezTo>
                    <a:pt x="66" y="544"/>
                    <a:pt x="65" y="543"/>
                    <a:pt x="68" y="518"/>
                  </a:cubicBezTo>
                  <a:cubicBezTo>
                    <a:pt x="69" y="504"/>
                    <a:pt x="83" y="487"/>
                    <a:pt x="99" y="489"/>
                  </a:cubicBezTo>
                  <a:cubicBezTo>
                    <a:pt x="103" y="489"/>
                    <a:pt x="107" y="489"/>
                    <a:pt x="110" y="488"/>
                  </a:cubicBezTo>
                  <a:cubicBezTo>
                    <a:pt x="118" y="487"/>
                    <a:pt x="123" y="479"/>
                    <a:pt x="123" y="471"/>
                  </a:cubicBezTo>
                  <a:cubicBezTo>
                    <a:pt x="123" y="461"/>
                    <a:pt x="116" y="462"/>
                    <a:pt x="109" y="460"/>
                  </a:cubicBezTo>
                  <a:cubicBezTo>
                    <a:pt x="100" y="458"/>
                    <a:pt x="92" y="460"/>
                    <a:pt x="84" y="460"/>
                  </a:cubicBezTo>
                  <a:cubicBezTo>
                    <a:pt x="68" y="461"/>
                    <a:pt x="56" y="469"/>
                    <a:pt x="47" y="480"/>
                  </a:cubicBezTo>
                  <a:cubicBezTo>
                    <a:pt x="34" y="493"/>
                    <a:pt x="32" y="511"/>
                    <a:pt x="32" y="529"/>
                  </a:cubicBezTo>
                  <a:cubicBezTo>
                    <a:pt x="32" y="544"/>
                    <a:pt x="32" y="544"/>
                    <a:pt x="17" y="544"/>
                  </a:cubicBezTo>
                  <a:cubicBezTo>
                    <a:pt x="4" y="543"/>
                    <a:pt x="0" y="548"/>
                    <a:pt x="4" y="561"/>
                  </a:cubicBezTo>
                  <a:cubicBezTo>
                    <a:pt x="6" y="569"/>
                    <a:pt x="13" y="568"/>
                    <a:pt x="19" y="569"/>
                  </a:cubicBezTo>
                  <a:cubicBezTo>
                    <a:pt x="32" y="571"/>
                    <a:pt x="32" y="571"/>
                    <a:pt x="32" y="584"/>
                  </a:cubicBezTo>
                  <a:cubicBezTo>
                    <a:pt x="32" y="624"/>
                    <a:pt x="32" y="664"/>
                    <a:pt x="32" y="704"/>
                  </a:cubicBezTo>
                  <a:cubicBezTo>
                    <a:pt x="32" y="731"/>
                    <a:pt x="32" y="730"/>
                    <a:pt x="57" y="731"/>
                  </a:cubicBezTo>
                  <a:cubicBezTo>
                    <a:pt x="66" y="731"/>
                    <a:pt x="68" y="727"/>
                    <a:pt x="68" y="720"/>
                  </a:cubicBezTo>
                  <a:cubicBezTo>
                    <a:pt x="68" y="697"/>
                    <a:pt x="68" y="674"/>
                    <a:pt x="68" y="651"/>
                  </a:cubicBezTo>
                  <a:cubicBezTo>
                    <a:pt x="68" y="628"/>
                    <a:pt x="68" y="605"/>
                    <a:pt x="68" y="581"/>
                  </a:cubicBezTo>
                  <a:close/>
                  <a:moveTo>
                    <a:pt x="278" y="1165"/>
                  </a:moveTo>
                  <a:cubicBezTo>
                    <a:pt x="278" y="1183"/>
                    <a:pt x="278" y="1183"/>
                    <a:pt x="296" y="1184"/>
                  </a:cubicBezTo>
                  <a:cubicBezTo>
                    <a:pt x="310" y="1184"/>
                    <a:pt x="310" y="1184"/>
                    <a:pt x="310" y="1169"/>
                  </a:cubicBezTo>
                  <a:cubicBezTo>
                    <a:pt x="310" y="1132"/>
                    <a:pt x="310" y="1095"/>
                    <a:pt x="310" y="1058"/>
                  </a:cubicBezTo>
                  <a:cubicBezTo>
                    <a:pt x="310" y="1052"/>
                    <a:pt x="312" y="1047"/>
                    <a:pt x="316" y="1042"/>
                  </a:cubicBezTo>
                  <a:cubicBezTo>
                    <a:pt x="324" y="1033"/>
                    <a:pt x="334" y="1027"/>
                    <a:pt x="345" y="1024"/>
                  </a:cubicBezTo>
                  <a:cubicBezTo>
                    <a:pt x="357" y="1020"/>
                    <a:pt x="371" y="1018"/>
                    <a:pt x="383" y="1028"/>
                  </a:cubicBezTo>
                  <a:cubicBezTo>
                    <a:pt x="397" y="1039"/>
                    <a:pt x="401" y="1054"/>
                    <a:pt x="401" y="1071"/>
                  </a:cubicBezTo>
                  <a:cubicBezTo>
                    <a:pt x="401" y="1102"/>
                    <a:pt x="401" y="1132"/>
                    <a:pt x="401" y="1163"/>
                  </a:cubicBezTo>
                  <a:cubicBezTo>
                    <a:pt x="401" y="1183"/>
                    <a:pt x="401" y="1182"/>
                    <a:pt x="420" y="1184"/>
                  </a:cubicBezTo>
                  <a:cubicBezTo>
                    <a:pt x="429" y="1185"/>
                    <a:pt x="433" y="1181"/>
                    <a:pt x="433" y="1173"/>
                  </a:cubicBezTo>
                  <a:cubicBezTo>
                    <a:pt x="432" y="1130"/>
                    <a:pt x="435" y="1087"/>
                    <a:pt x="431" y="1044"/>
                  </a:cubicBezTo>
                  <a:cubicBezTo>
                    <a:pt x="427" y="1014"/>
                    <a:pt x="404" y="996"/>
                    <a:pt x="376" y="994"/>
                  </a:cubicBezTo>
                  <a:cubicBezTo>
                    <a:pt x="353" y="992"/>
                    <a:pt x="333" y="1000"/>
                    <a:pt x="317" y="1017"/>
                  </a:cubicBezTo>
                  <a:cubicBezTo>
                    <a:pt x="312" y="1021"/>
                    <a:pt x="311" y="1019"/>
                    <a:pt x="309" y="1015"/>
                  </a:cubicBezTo>
                  <a:cubicBezTo>
                    <a:pt x="309" y="1013"/>
                    <a:pt x="308" y="1011"/>
                    <a:pt x="308" y="1008"/>
                  </a:cubicBezTo>
                  <a:cubicBezTo>
                    <a:pt x="306" y="1001"/>
                    <a:pt x="298" y="997"/>
                    <a:pt x="287" y="998"/>
                  </a:cubicBezTo>
                  <a:cubicBezTo>
                    <a:pt x="279" y="999"/>
                    <a:pt x="278" y="1004"/>
                    <a:pt x="278" y="1011"/>
                  </a:cubicBezTo>
                  <a:cubicBezTo>
                    <a:pt x="278" y="1037"/>
                    <a:pt x="278" y="1064"/>
                    <a:pt x="278" y="1091"/>
                  </a:cubicBezTo>
                  <a:cubicBezTo>
                    <a:pt x="278" y="1115"/>
                    <a:pt x="278" y="1140"/>
                    <a:pt x="278" y="1165"/>
                  </a:cubicBezTo>
                  <a:close/>
                  <a:moveTo>
                    <a:pt x="150" y="705"/>
                  </a:moveTo>
                  <a:cubicBezTo>
                    <a:pt x="150" y="734"/>
                    <a:pt x="145" y="730"/>
                    <a:pt x="176" y="731"/>
                  </a:cubicBezTo>
                  <a:cubicBezTo>
                    <a:pt x="185" y="731"/>
                    <a:pt x="187" y="727"/>
                    <a:pt x="187" y="719"/>
                  </a:cubicBezTo>
                  <a:cubicBezTo>
                    <a:pt x="187" y="685"/>
                    <a:pt x="187" y="651"/>
                    <a:pt x="187" y="618"/>
                  </a:cubicBezTo>
                  <a:cubicBezTo>
                    <a:pt x="187" y="597"/>
                    <a:pt x="204" y="578"/>
                    <a:pt x="225" y="574"/>
                  </a:cubicBezTo>
                  <a:cubicBezTo>
                    <a:pt x="232" y="572"/>
                    <a:pt x="240" y="574"/>
                    <a:pt x="247" y="575"/>
                  </a:cubicBezTo>
                  <a:cubicBezTo>
                    <a:pt x="257" y="576"/>
                    <a:pt x="261" y="572"/>
                    <a:pt x="265" y="564"/>
                  </a:cubicBezTo>
                  <a:cubicBezTo>
                    <a:pt x="269" y="556"/>
                    <a:pt x="267" y="542"/>
                    <a:pt x="261" y="540"/>
                  </a:cubicBezTo>
                  <a:cubicBezTo>
                    <a:pt x="253" y="538"/>
                    <a:pt x="244" y="534"/>
                    <a:pt x="237" y="536"/>
                  </a:cubicBezTo>
                  <a:cubicBezTo>
                    <a:pt x="228" y="537"/>
                    <a:pt x="217" y="537"/>
                    <a:pt x="209" y="544"/>
                  </a:cubicBezTo>
                  <a:cubicBezTo>
                    <a:pt x="204" y="549"/>
                    <a:pt x="198" y="553"/>
                    <a:pt x="194" y="558"/>
                  </a:cubicBezTo>
                  <a:cubicBezTo>
                    <a:pt x="192" y="561"/>
                    <a:pt x="189" y="563"/>
                    <a:pt x="185" y="562"/>
                  </a:cubicBezTo>
                  <a:cubicBezTo>
                    <a:pt x="182" y="561"/>
                    <a:pt x="182" y="558"/>
                    <a:pt x="182" y="556"/>
                  </a:cubicBezTo>
                  <a:cubicBezTo>
                    <a:pt x="180" y="539"/>
                    <a:pt x="179" y="539"/>
                    <a:pt x="162" y="539"/>
                  </a:cubicBezTo>
                  <a:cubicBezTo>
                    <a:pt x="151" y="539"/>
                    <a:pt x="150" y="540"/>
                    <a:pt x="150" y="551"/>
                  </a:cubicBezTo>
                  <a:cubicBezTo>
                    <a:pt x="150" y="579"/>
                    <a:pt x="150" y="607"/>
                    <a:pt x="150" y="635"/>
                  </a:cubicBezTo>
                  <a:cubicBezTo>
                    <a:pt x="150" y="658"/>
                    <a:pt x="149" y="682"/>
                    <a:pt x="150" y="705"/>
                  </a:cubicBezTo>
                  <a:close/>
                  <a:moveTo>
                    <a:pt x="1011" y="1049"/>
                  </a:moveTo>
                  <a:cubicBezTo>
                    <a:pt x="1011" y="1008"/>
                    <a:pt x="1011" y="966"/>
                    <a:pt x="1011" y="924"/>
                  </a:cubicBezTo>
                  <a:cubicBezTo>
                    <a:pt x="1011" y="913"/>
                    <a:pt x="1008" y="910"/>
                    <a:pt x="997" y="910"/>
                  </a:cubicBezTo>
                  <a:cubicBezTo>
                    <a:pt x="995" y="910"/>
                    <a:pt x="992" y="910"/>
                    <a:pt x="990" y="910"/>
                  </a:cubicBezTo>
                  <a:cubicBezTo>
                    <a:pt x="976" y="910"/>
                    <a:pt x="975" y="911"/>
                    <a:pt x="975" y="926"/>
                  </a:cubicBezTo>
                  <a:cubicBezTo>
                    <a:pt x="975" y="1006"/>
                    <a:pt x="975" y="1085"/>
                    <a:pt x="975" y="1165"/>
                  </a:cubicBezTo>
                  <a:cubicBezTo>
                    <a:pt x="975" y="1185"/>
                    <a:pt x="975" y="1185"/>
                    <a:pt x="994" y="1185"/>
                  </a:cubicBezTo>
                  <a:cubicBezTo>
                    <a:pt x="1009" y="1185"/>
                    <a:pt x="1011" y="1184"/>
                    <a:pt x="1011" y="1169"/>
                  </a:cubicBezTo>
                  <a:cubicBezTo>
                    <a:pt x="1011" y="1129"/>
                    <a:pt x="1011" y="1089"/>
                    <a:pt x="1011" y="1049"/>
                  </a:cubicBezTo>
                  <a:cubicBezTo>
                    <a:pt x="1011" y="1049"/>
                    <a:pt x="1011" y="1049"/>
                    <a:pt x="1011" y="1049"/>
                  </a:cubicBezTo>
                  <a:close/>
                  <a:moveTo>
                    <a:pt x="296" y="176"/>
                  </a:moveTo>
                  <a:cubicBezTo>
                    <a:pt x="296" y="201"/>
                    <a:pt x="296" y="226"/>
                    <a:pt x="296" y="251"/>
                  </a:cubicBezTo>
                  <a:cubicBezTo>
                    <a:pt x="295" y="276"/>
                    <a:pt x="296" y="274"/>
                    <a:pt x="318" y="274"/>
                  </a:cubicBezTo>
                  <a:cubicBezTo>
                    <a:pt x="330" y="274"/>
                    <a:pt x="331" y="274"/>
                    <a:pt x="331" y="260"/>
                  </a:cubicBezTo>
                  <a:cubicBezTo>
                    <a:pt x="331" y="232"/>
                    <a:pt x="331" y="204"/>
                    <a:pt x="331" y="176"/>
                  </a:cubicBezTo>
                  <a:cubicBezTo>
                    <a:pt x="331" y="165"/>
                    <a:pt x="331" y="155"/>
                    <a:pt x="337" y="145"/>
                  </a:cubicBezTo>
                  <a:cubicBezTo>
                    <a:pt x="349" y="123"/>
                    <a:pt x="359" y="117"/>
                    <a:pt x="377" y="118"/>
                  </a:cubicBezTo>
                  <a:cubicBezTo>
                    <a:pt x="383" y="118"/>
                    <a:pt x="389" y="119"/>
                    <a:pt x="395" y="120"/>
                  </a:cubicBezTo>
                  <a:cubicBezTo>
                    <a:pt x="401" y="120"/>
                    <a:pt x="407" y="118"/>
                    <a:pt x="408" y="112"/>
                  </a:cubicBezTo>
                  <a:cubicBezTo>
                    <a:pt x="409" y="103"/>
                    <a:pt x="415" y="93"/>
                    <a:pt x="407" y="85"/>
                  </a:cubicBezTo>
                  <a:cubicBezTo>
                    <a:pt x="406" y="84"/>
                    <a:pt x="404" y="84"/>
                    <a:pt x="402" y="84"/>
                  </a:cubicBezTo>
                  <a:cubicBezTo>
                    <a:pt x="376" y="78"/>
                    <a:pt x="353" y="82"/>
                    <a:pt x="337" y="106"/>
                  </a:cubicBezTo>
                  <a:cubicBezTo>
                    <a:pt x="336" y="108"/>
                    <a:pt x="335" y="110"/>
                    <a:pt x="333" y="109"/>
                  </a:cubicBezTo>
                  <a:cubicBezTo>
                    <a:pt x="331" y="109"/>
                    <a:pt x="330" y="107"/>
                    <a:pt x="330" y="105"/>
                  </a:cubicBezTo>
                  <a:cubicBezTo>
                    <a:pt x="329" y="101"/>
                    <a:pt x="329" y="97"/>
                    <a:pt x="328" y="94"/>
                  </a:cubicBezTo>
                  <a:cubicBezTo>
                    <a:pt x="325" y="85"/>
                    <a:pt x="318" y="82"/>
                    <a:pt x="303" y="84"/>
                  </a:cubicBezTo>
                  <a:cubicBezTo>
                    <a:pt x="297" y="84"/>
                    <a:pt x="295" y="86"/>
                    <a:pt x="295" y="92"/>
                  </a:cubicBezTo>
                  <a:cubicBezTo>
                    <a:pt x="296" y="120"/>
                    <a:pt x="295" y="148"/>
                    <a:pt x="295" y="176"/>
                  </a:cubicBezTo>
                  <a:cubicBezTo>
                    <a:pt x="296" y="176"/>
                    <a:pt x="296" y="176"/>
                    <a:pt x="296" y="176"/>
                  </a:cubicBezTo>
                  <a:close/>
                  <a:moveTo>
                    <a:pt x="946" y="179"/>
                  </a:moveTo>
                  <a:cubicBezTo>
                    <a:pt x="946" y="197"/>
                    <a:pt x="946" y="215"/>
                    <a:pt x="946" y="234"/>
                  </a:cubicBezTo>
                  <a:cubicBezTo>
                    <a:pt x="946" y="248"/>
                    <a:pt x="951" y="260"/>
                    <a:pt x="963" y="268"/>
                  </a:cubicBezTo>
                  <a:cubicBezTo>
                    <a:pt x="982" y="280"/>
                    <a:pt x="1011" y="277"/>
                    <a:pt x="1029" y="264"/>
                  </a:cubicBezTo>
                  <a:cubicBezTo>
                    <a:pt x="1036" y="259"/>
                    <a:pt x="1036" y="254"/>
                    <a:pt x="1032" y="248"/>
                  </a:cubicBezTo>
                  <a:cubicBezTo>
                    <a:pt x="1026" y="239"/>
                    <a:pt x="1020" y="238"/>
                    <a:pt x="1013" y="242"/>
                  </a:cubicBezTo>
                  <a:cubicBezTo>
                    <a:pt x="996" y="252"/>
                    <a:pt x="978" y="243"/>
                    <a:pt x="978" y="223"/>
                  </a:cubicBezTo>
                  <a:cubicBezTo>
                    <a:pt x="978" y="190"/>
                    <a:pt x="978" y="157"/>
                    <a:pt x="978" y="123"/>
                  </a:cubicBezTo>
                  <a:cubicBezTo>
                    <a:pt x="978" y="116"/>
                    <a:pt x="981" y="113"/>
                    <a:pt x="988" y="113"/>
                  </a:cubicBezTo>
                  <a:cubicBezTo>
                    <a:pt x="999" y="114"/>
                    <a:pt x="1011" y="113"/>
                    <a:pt x="1022" y="113"/>
                  </a:cubicBezTo>
                  <a:cubicBezTo>
                    <a:pt x="1028" y="113"/>
                    <a:pt x="1033" y="112"/>
                    <a:pt x="1033" y="104"/>
                  </a:cubicBezTo>
                  <a:cubicBezTo>
                    <a:pt x="1033" y="96"/>
                    <a:pt x="1032" y="90"/>
                    <a:pt x="1022" y="90"/>
                  </a:cubicBezTo>
                  <a:cubicBezTo>
                    <a:pt x="1011" y="90"/>
                    <a:pt x="1001" y="90"/>
                    <a:pt x="990" y="90"/>
                  </a:cubicBezTo>
                  <a:cubicBezTo>
                    <a:pt x="981" y="91"/>
                    <a:pt x="977" y="88"/>
                    <a:pt x="978" y="78"/>
                  </a:cubicBezTo>
                  <a:cubicBezTo>
                    <a:pt x="978" y="64"/>
                    <a:pt x="978" y="49"/>
                    <a:pt x="978" y="35"/>
                  </a:cubicBezTo>
                  <a:cubicBezTo>
                    <a:pt x="978" y="30"/>
                    <a:pt x="978" y="25"/>
                    <a:pt x="971" y="24"/>
                  </a:cubicBezTo>
                  <a:cubicBezTo>
                    <a:pt x="964" y="24"/>
                    <a:pt x="956" y="24"/>
                    <a:pt x="955" y="32"/>
                  </a:cubicBezTo>
                  <a:cubicBezTo>
                    <a:pt x="952" y="43"/>
                    <a:pt x="949" y="54"/>
                    <a:pt x="949" y="65"/>
                  </a:cubicBezTo>
                  <a:cubicBezTo>
                    <a:pt x="948" y="88"/>
                    <a:pt x="947" y="88"/>
                    <a:pt x="924" y="91"/>
                  </a:cubicBezTo>
                  <a:cubicBezTo>
                    <a:pt x="919" y="92"/>
                    <a:pt x="914" y="92"/>
                    <a:pt x="914" y="99"/>
                  </a:cubicBezTo>
                  <a:cubicBezTo>
                    <a:pt x="915" y="107"/>
                    <a:pt x="917" y="113"/>
                    <a:pt x="926" y="113"/>
                  </a:cubicBezTo>
                  <a:cubicBezTo>
                    <a:pt x="929" y="114"/>
                    <a:pt x="932" y="113"/>
                    <a:pt x="935" y="113"/>
                  </a:cubicBezTo>
                  <a:cubicBezTo>
                    <a:pt x="943" y="113"/>
                    <a:pt x="946" y="116"/>
                    <a:pt x="946" y="124"/>
                  </a:cubicBezTo>
                  <a:cubicBezTo>
                    <a:pt x="946" y="142"/>
                    <a:pt x="946" y="161"/>
                    <a:pt x="946" y="179"/>
                  </a:cubicBezTo>
                  <a:cubicBezTo>
                    <a:pt x="946" y="179"/>
                    <a:pt x="946" y="179"/>
                    <a:pt x="946" y="179"/>
                  </a:cubicBezTo>
                  <a:close/>
                </a:path>
              </a:pathLst>
            </a:custGeom>
            <a:solidFill>
              <a:srgbClr val="4C505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grpSp>
          <p:nvGrpSpPr>
            <p:cNvPr id="18" name="Group 4">
              <a:extLst>
                <a:ext uri="{FF2B5EF4-FFF2-40B4-BE49-F238E27FC236}">
                  <a16:creationId xmlns:a16="http://schemas.microsoft.com/office/drawing/2014/main" id="{57BD2C4C-DC67-B843-B26C-309622FC75F7}"/>
                </a:ext>
              </a:extLst>
            </p:cNvPr>
            <p:cNvGrpSpPr>
              <a:grpSpLocks noChangeAspect="1"/>
            </p:cNvGrpSpPr>
            <p:nvPr/>
          </p:nvGrpSpPr>
          <p:grpSpPr bwMode="gray">
            <a:xfrm>
              <a:off x="334963" y="296652"/>
              <a:ext cx="538094" cy="540000"/>
              <a:chOff x="2711" y="1027"/>
              <a:chExt cx="2258" cy="2266"/>
            </a:xfrm>
          </p:grpSpPr>
          <p:sp>
            <p:nvSpPr>
              <p:cNvPr id="19" name="AutoShape 3">
                <a:extLst>
                  <a:ext uri="{FF2B5EF4-FFF2-40B4-BE49-F238E27FC236}">
                    <a16:creationId xmlns:a16="http://schemas.microsoft.com/office/drawing/2014/main" id="{FE1DC41B-291E-574C-9F2C-874E70A40758}"/>
                  </a:ext>
                </a:extLst>
              </p:cNvPr>
              <p:cNvSpPr>
                <a:spLocks noChangeAspect="1" noChangeArrowheads="1" noTextEdit="1"/>
              </p:cNvSpPr>
              <p:nvPr/>
            </p:nvSpPr>
            <p:spPr bwMode="gray">
              <a:xfrm>
                <a:off x="2711" y="1027"/>
                <a:ext cx="2258" cy="22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sp>
            <p:nvSpPr>
              <p:cNvPr id="20" name="Freeform 5">
                <a:extLst>
                  <a:ext uri="{FF2B5EF4-FFF2-40B4-BE49-F238E27FC236}">
                    <a16:creationId xmlns:a16="http://schemas.microsoft.com/office/drawing/2014/main" id="{D4B633C8-F761-C54B-9BD2-EB59D49A2DBC}"/>
                  </a:ext>
                </a:extLst>
              </p:cNvPr>
              <p:cNvSpPr>
                <a:spLocks/>
              </p:cNvSpPr>
              <p:nvPr/>
            </p:nvSpPr>
            <p:spPr bwMode="gray">
              <a:xfrm>
                <a:off x="2709" y="1029"/>
                <a:ext cx="2260" cy="2262"/>
              </a:xfrm>
              <a:custGeom>
                <a:avLst/>
                <a:gdLst>
                  <a:gd name="T0" fmla="*/ 2260 w 2260"/>
                  <a:gd name="T1" fmla="*/ 0 h 2262"/>
                  <a:gd name="T2" fmla="*/ 1612 w 2260"/>
                  <a:gd name="T3" fmla="*/ 649 h 2262"/>
                  <a:gd name="T4" fmla="*/ 1612 w 2260"/>
                  <a:gd name="T5" fmla="*/ 649 h 2262"/>
                  <a:gd name="T6" fmla="*/ 2035 w 2260"/>
                  <a:gd name="T7" fmla="*/ 0 h 2262"/>
                  <a:gd name="T8" fmla="*/ 0 w 2260"/>
                  <a:gd name="T9" fmla="*/ 0 h 2262"/>
                  <a:gd name="T10" fmla="*/ 0 w 2260"/>
                  <a:gd name="T11" fmla="*/ 2262 h 2262"/>
                  <a:gd name="T12" fmla="*/ 2260 w 2260"/>
                  <a:gd name="T13" fmla="*/ 2262 h 2262"/>
                  <a:gd name="T14" fmla="*/ 2260 w 2260"/>
                  <a:gd name="T15" fmla="*/ 0 h 2262"/>
                  <a:gd name="T16" fmla="*/ 2260 w 2260"/>
                  <a:gd name="T17" fmla="*/ 0 h 2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0" h="2262">
                    <a:moveTo>
                      <a:pt x="2260" y="0"/>
                    </a:moveTo>
                    <a:lnTo>
                      <a:pt x="1612" y="649"/>
                    </a:lnTo>
                    <a:lnTo>
                      <a:pt x="1612" y="649"/>
                    </a:lnTo>
                    <a:lnTo>
                      <a:pt x="2035" y="0"/>
                    </a:lnTo>
                    <a:lnTo>
                      <a:pt x="0" y="0"/>
                    </a:lnTo>
                    <a:lnTo>
                      <a:pt x="0" y="2262"/>
                    </a:lnTo>
                    <a:lnTo>
                      <a:pt x="2260" y="2262"/>
                    </a:lnTo>
                    <a:lnTo>
                      <a:pt x="2260" y="0"/>
                    </a:lnTo>
                    <a:lnTo>
                      <a:pt x="2260" y="0"/>
                    </a:lnTo>
                    <a:close/>
                  </a:path>
                </a:pathLst>
              </a:custGeom>
              <a:solidFill>
                <a:srgbClr val="E55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sp>
            <p:nvSpPr>
              <p:cNvPr id="21" name="Freeform 6">
                <a:extLst>
                  <a:ext uri="{FF2B5EF4-FFF2-40B4-BE49-F238E27FC236}">
                    <a16:creationId xmlns:a16="http://schemas.microsoft.com/office/drawing/2014/main" id="{B16BAAE4-1A41-C843-9754-490F7A1E1270}"/>
                  </a:ext>
                </a:extLst>
              </p:cNvPr>
              <p:cNvSpPr>
                <a:spLocks noEditPoints="1"/>
              </p:cNvSpPr>
              <p:nvPr/>
            </p:nvSpPr>
            <p:spPr bwMode="gray">
              <a:xfrm>
                <a:off x="3623" y="1696"/>
                <a:ext cx="1167" cy="922"/>
              </a:xfrm>
              <a:custGeom>
                <a:avLst/>
                <a:gdLst>
                  <a:gd name="T0" fmla="*/ 411 w 580"/>
                  <a:gd name="T1" fmla="*/ 213 h 458"/>
                  <a:gd name="T2" fmla="*/ 570 w 580"/>
                  <a:gd name="T3" fmla="*/ 37 h 458"/>
                  <a:gd name="T4" fmla="*/ 580 w 580"/>
                  <a:gd name="T5" fmla="*/ 20 h 458"/>
                  <a:gd name="T6" fmla="*/ 545 w 580"/>
                  <a:gd name="T7" fmla="*/ 0 h 458"/>
                  <a:gd name="T8" fmla="*/ 519 w 580"/>
                  <a:gd name="T9" fmla="*/ 16 h 458"/>
                  <a:gd name="T10" fmla="*/ 344 w 580"/>
                  <a:gd name="T11" fmla="*/ 210 h 458"/>
                  <a:gd name="T12" fmla="*/ 334 w 580"/>
                  <a:gd name="T13" fmla="*/ 229 h 458"/>
                  <a:gd name="T14" fmla="*/ 344 w 580"/>
                  <a:gd name="T15" fmla="*/ 248 h 458"/>
                  <a:gd name="T16" fmla="*/ 519 w 580"/>
                  <a:gd name="T17" fmla="*/ 442 h 458"/>
                  <a:gd name="T18" fmla="*/ 545 w 580"/>
                  <a:gd name="T19" fmla="*/ 458 h 458"/>
                  <a:gd name="T20" fmla="*/ 580 w 580"/>
                  <a:gd name="T21" fmla="*/ 438 h 458"/>
                  <a:gd name="T22" fmla="*/ 570 w 580"/>
                  <a:gd name="T23" fmla="*/ 421 h 458"/>
                  <a:gd name="T24" fmla="*/ 411 w 580"/>
                  <a:gd name="T25" fmla="*/ 245 h 458"/>
                  <a:gd name="T26" fmla="*/ 399 w 580"/>
                  <a:gd name="T27" fmla="*/ 229 h 458"/>
                  <a:gd name="T28" fmla="*/ 411 w 580"/>
                  <a:gd name="T29" fmla="*/ 213 h 458"/>
                  <a:gd name="T30" fmla="*/ 252 w 580"/>
                  <a:gd name="T31" fmla="*/ 439 h 458"/>
                  <a:gd name="T32" fmla="*/ 281 w 580"/>
                  <a:gd name="T33" fmla="*/ 454 h 458"/>
                  <a:gd name="T34" fmla="*/ 309 w 580"/>
                  <a:gd name="T35" fmla="*/ 439 h 458"/>
                  <a:gd name="T36" fmla="*/ 309 w 580"/>
                  <a:gd name="T37" fmla="*/ 19 h 458"/>
                  <a:gd name="T38" fmla="*/ 281 w 580"/>
                  <a:gd name="T39" fmla="*/ 4 h 458"/>
                  <a:gd name="T40" fmla="*/ 252 w 580"/>
                  <a:gd name="T41" fmla="*/ 19 h 458"/>
                  <a:gd name="T42" fmla="*/ 252 w 580"/>
                  <a:gd name="T43" fmla="*/ 439 h 458"/>
                  <a:gd name="T44" fmla="*/ 0 w 580"/>
                  <a:gd name="T45" fmla="*/ 439 h 458"/>
                  <a:gd name="T46" fmla="*/ 28 w 580"/>
                  <a:gd name="T47" fmla="*/ 454 h 458"/>
                  <a:gd name="T48" fmla="*/ 56 w 580"/>
                  <a:gd name="T49" fmla="*/ 439 h 458"/>
                  <a:gd name="T50" fmla="*/ 56 w 580"/>
                  <a:gd name="T51" fmla="*/ 157 h 458"/>
                  <a:gd name="T52" fmla="*/ 165 w 580"/>
                  <a:gd name="T53" fmla="*/ 53 h 458"/>
                  <a:gd name="T54" fmla="*/ 180 w 580"/>
                  <a:gd name="T55" fmla="*/ 53 h 458"/>
                  <a:gd name="T56" fmla="*/ 196 w 580"/>
                  <a:gd name="T57" fmla="*/ 27 h 458"/>
                  <a:gd name="T58" fmla="*/ 154 w 580"/>
                  <a:gd name="T59" fmla="*/ 4 h 458"/>
                  <a:gd name="T60" fmla="*/ 0 w 580"/>
                  <a:gd name="T61" fmla="*/ 152 h 458"/>
                  <a:gd name="T62" fmla="*/ 0 w 580"/>
                  <a:gd name="T63" fmla="*/ 439 h 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80" h="458">
                    <a:moveTo>
                      <a:pt x="411" y="213"/>
                    </a:moveTo>
                    <a:cubicBezTo>
                      <a:pt x="570" y="37"/>
                      <a:pt x="570" y="37"/>
                      <a:pt x="570" y="37"/>
                    </a:cubicBezTo>
                    <a:cubicBezTo>
                      <a:pt x="576" y="30"/>
                      <a:pt x="580" y="25"/>
                      <a:pt x="580" y="20"/>
                    </a:cubicBezTo>
                    <a:cubicBezTo>
                      <a:pt x="580" y="10"/>
                      <a:pt x="559" y="0"/>
                      <a:pt x="545" y="0"/>
                    </a:cubicBezTo>
                    <a:cubicBezTo>
                      <a:pt x="535" y="0"/>
                      <a:pt x="526" y="8"/>
                      <a:pt x="519" y="16"/>
                    </a:cubicBezTo>
                    <a:cubicBezTo>
                      <a:pt x="344" y="210"/>
                      <a:pt x="344" y="210"/>
                      <a:pt x="344" y="210"/>
                    </a:cubicBezTo>
                    <a:cubicBezTo>
                      <a:pt x="336" y="219"/>
                      <a:pt x="334" y="224"/>
                      <a:pt x="334" y="229"/>
                    </a:cubicBezTo>
                    <a:cubicBezTo>
                      <a:pt x="334" y="234"/>
                      <a:pt x="336" y="239"/>
                      <a:pt x="344" y="248"/>
                    </a:cubicBezTo>
                    <a:cubicBezTo>
                      <a:pt x="519" y="442"/>
                      <a:pt x="519" y="442"/>
                      <a:pt x="519" y="442"/>
                    </a:cubicBezTo>
                    <a:cubicBezTo>
                      <a:pt x="526" y="450"/>
                      <a:pt x="535" y="458"/>
                      <a:pt x="545" y="458"/>
                    </a:cubicBezTo>
                    <a:cubicBezTo>
                      <a:pt x="559" y="458"/>
                      <a:pt x="580" y="448"/>
                      <a:pt x="580" y="438"/>
                    </a:cubicBezTo>
                    <a:cubicBezTo>
                      <a:pt x="580" y="433"/>
                      <a:pt x="576" y="428"/>
                      <a:pt x="570" y="421"/>
                    </a:cubicBezTo>
                    <a:cubicBezTo>
                      <a:pt x="411" y="245"/>
                      <a:pt x="411" y="245"/>
                      <a:pt x="411" y="245"/>
                    </a:cubicBezTo>
                    <a:cubicBezTo>
                      <a:pt x="403" y="236"/>
                      <a:pt x="399" y="232"/>
                      <a:pt x="399" y="229"/>
                    </a:cubicBezTo>
                    <a:cubicBezTo>
                      <a:pt x="399" y="226"/>
                      <a:pt x="403" y="222"/>
                      <a:pt x="411" y="213"/>
                    </a:cubicBezTo>
                    <a:moveTo>
                      <a:pt x="252" y="439"/>
                    </a:moveTo>
                    <a:cubicBezTo>
                      <a:pt x="252" y="449"/>
                      <a:pt x="261" y="454"/>
                      <a:pt x="281" y="454"/>
                    </a:cubicBezTo>
                    <a:cubicBezTo>
                      <a:pt x="300" y="454"/>
                      <a:pt x="309" y="449"/>
                      <a:pt x="309" y="439"/>
                    </a:cubicBezTo>
                    <a:cubicBezTo>
                      <a:pt x="309" y="19"/>
                      <a:pt x="309" y="19"/>
                      <a:pt x="309" y="19"/>
                    </a:cubicBezTo>
                    <a:cubicBezTo>
                      <a:pt x="309" y="9"/>
                      <a:pt x="300" y="4"/>
                      <a:pt x="281" y="4"/>
                    </a:cubicBezTo>
                    <a:cubicBezTo>
                      <a:pt x="261" y="4"/>
                      <a:pt x="252" y="9"/>
                      <a:pt x="252" y="19"/>
                    </a:cubicBezTo>
                    <a:lnTo>
                      <a:pt x="252" y="439"/>
                    </a:lnTo>
                    <a:close/>
                    <a:moveTo>
                      <a:pt x="0" y="439"/>
                    </a:moveTo>
                    <a:cubicBezTo>
                      <a:pt x="0" y="449"/>
                      <a:pt x="8" y="454"/>
                      <a:pt x="28" y="454"/>
                    </a:cubicBezTo>
                    <a:cubicBezTo>
                      <a:pt x="48" y="454"/>
                      <a:pt x="56" y="449"/>
                      <a:pt x="56" y="439"/>
                    </a:cubicBezTo>
                    <a:cubicBezTo>
                      <a:pt x="56" y="157"/>
                      <a:pt x="56" y="157"/>
                      <a:pt x="56" y="157"/>
                    </a:cubicBezTo>
                    <a:cubicBezTo>
                      <a:pt x="56" y="83"/>
                      <a:pt x="85" y="53"/>
                      <a:pt x="165" y="53"/>
                    </a:cubicBezTo>
                    <a:cubicBezTo>
                      <a:pt x="180" y="53"/>
                      <a:pt x="180" y="53"/>
                      <a:pt x="180" y="53"/>
                    </a:cubicBezTo>
                    <a:cubicBezTo>
                      <a:pt x="192" y="53"/>
                      <a:pt x="196" y="43"/>
                      <a:pt x="196" y="27"/>
                    </a:cubicBezTo>
                    <a:cubicBezTo>
                      <a:pt x="196" y="8"/>
                      <a:pt x="185" y="4"/>
                      <a:pt x="154" y="4"/>
                    </a:cubicBezTo>
                    <a:cubicBezTo>
                      <a:pt x="64" y="4"/>
                      <a:pt x="0" y="43"/>
                      <a:pt x="0" y="152"/>
                    </a:cubicBezTo>
                    <a:lnTo>
                      <a:pt x="0" y="43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sp>
            <p:nvSpPr>
              <p:cNvPr id="22" name="Freeform 7">
                <a:extLst>
                  <a:ext uri="{FF2B5EF4-FFF2-40B4-BE49-F238E27FC236}">
                    <a16:creationId xmlns:a16="http://schemas.microsoft.com/office/drawing/2014/main" id="{2F32DCBD-8628-F245-85CD-97686A20ECFD}"/>
                  </a:ext>
                </a:extLst>
              </p:cNvPr>
              <p:cNvSpPr>
                <a:spLocks/>
              </p:cNvSpPr>
              <p:nvPr/>
            </p:nvSpPr>
            <p:spPr bwMode="gray">
              <a:xfrm>
                <a:off x="2880" y="1704"/>
                <a:ext cx="618" cy="916"/>
              </a:xfrm>
              <a:custGeom>
                <a:avLst/>
                <a:gdLst>
                  <a:gd name="T0" fmla="*/ 307 w 307"/>
                  <a:gd name="T1" fmla="*/ 405 h 455"/>
                  <a:gd name="T2" fmla="*/ 307 w 307"/>
                  <a:gd name="T3" fmla="*/ 244 h 455"/>
                  <a:gd name="T4" fmla="*/ 279 w 307"/>
                  <a:gd name="T5" fmla="*/ 229 h 455"/>
                  <a:gd name="T6" fmla="*/ 250 w 307"/>
                  <a:gd name="T7" fmla="*/ 244 h 455"/>
                  <a:gd name="T8" fmla="*/ 250 w 307"/>
                  <a:gd name="T9" fmla="*/ 378 h 455"/>
                  <a:gd name="T10" fmla="*/ 199 w 307"/>
                  <a:gd name="T11" fmla="*/ 408 h 455"/>
                  <a:gd name="T12" fmla="*/ 61 w 307"/>
                  <a:gd name="T13" fmla="*/ 231 h 455"/>
                  <a:gd name="T14" fmla="*/ 238 w 307"/>
                  <a:gd name="T15" fmla="*/ 49 h 455"/>
                  <a:gd name="T16" fmla="*/ 270 w 307"/>
                  <a:gd name="T17" fmla="*/ 49 h 455"/>
                  <a:gd name="T18" fmla="*/ 286 w 307"/>
                  <a:gd name="T19" fmla="*/ 23 h 455"/>
                  <a:gd name="T20" fmla="*/ 244 w 307"/>
                  <a:gd name="T21" fmla="*/ 0 h 455"/>
                  <a:gd name="T22" fmla="*/ 231 w 307"/>
                  <a:gd name="T23" fmla="*/ 0 h 455"/>
                  <a:gd name="T24" fmla="*/ 0 w 307"/>
                  <a:gd name="T25" fmla="*/ 232 h 455"/>
                  <a:gd name="T26" fmla="*/ 198 w 307"/>
                  <a:gd name="T27" fmla="*/ 455 h 455"/>
                  <a:gd name="T28" fmla="*/ 307 w 307"/>
                  <a:gd name="T29" fmla="*/ 405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7" h="455">
                    <a:moveTo>
                      <a:pt x="307" y="405"/>
                    </a:moveTo>
                    <a:cubicBezTo>
                      <a:pt x="307" y="244"/>
                      <a:pt x="307" y="244"/>
                      <a:pt x="307" y="244"/>
                    </a:cubicBezTo>
                    <a:cubicBezTo>
                      <a:pt x="307" y="234"/>
                      <a:pt x="298" y="229"/>
                      <a:pt x="279" y="229"/>
                    </a:cubicBezTo>
                    <a:cubicBezTo>
                      <a:pt x="259" y="229"/>
                      <a:pt x="250" y="234"/>
                      <a:pt x="250" y="244"/>
                    </a:cubicBezTo>
                    <a:cubicBezTo>
                      <a:pt x="250" y="378"/>
                      <a:pt x="250" y="378"/>
                      <a:pt x="250" y="378"/>
                    </a:cubicBezTo>
                    <a:cubicBezTo>
                      <a:pt x="250" y="399"/>
                      <a:pt x="241" y="408"/>
                      <a:pt x="199" y="408"/>
                    </a:cubicBezTo>
                    <a:cubicBezTo>
                      <a:pt x="114" y="408"/>
                      <a:pt x="61" y="342"/>
                      <a:pt x="61" y="231"/>
                    </a:cubicBezTo>
                    <a:cubicBezTo>
                      <a:pt x="61" y="115"/>
                      <a:pt x="126" y="49"/>
                      <a:pt x="238" y="49"/>
                    </a:cubicBezTo>
                    <a:cubicBezTo>
                      <a:pt x="270" y="49"/>
                      <a:pt x="270" y="49"/>
                      <a:pt x="270" y="49"/>
                    </a:cubicBezTo>
                    <a:cubicBezTo>
                      <a:pt x="282" y="49"/>
                      <a:pt x="286" y="39"/>
                      <a:pt x="286" y="23"/>
                    </a:cubicBezTo>
                    <a:cubicBezTo>
                      <a:pt x="286" y="4"/>
                      <a:pt x="275" y="0"/>
                      <a:pt x="244" y="0"/>
                    </a:cubicBezTo>
                    <a:cubicBezTo>
                      <a:pt x="231" y="0"/>
                      <a:pt x="231" y="0"/>
                      <a:pt x="231" y="0"/>
                    </a:cubicBezTo>
                    <a:cubicBezTo>
                      <a:pt x="101" y="0"/>
                      <a:pt x="0" y="71"/>
                      <a:pt x="0" y="232"/>
                    </a:cubicBezTo>
                    <a:cubicBezTo>
                      <a:pt x="0" y="386"/>
                      <a:pt x="88" y="455"/>
                      <a:pt x="198" y="455"/>
                    </a:cubicBezTo>
                    <a:cubicBezTo>
                      <a:pt x="286" y="455"/>
                      <a:pt x="307" y="430"/>
                      <a:pt x="307" y="40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sp>
            <p:nvSpPr>
              <p:cNvPr id="23" name="Oval 8">
                <a:extLst>
                  <a:ext uri="{FF2B5EF4-FFF2-40B4-BE49-F238E27FC236}">
                    <a16:creationId xmlns:a16="http://schemas.microsoft.com/office/drawing/2014/main" id="{60D97C11-1A3B-5449-A48D-98A3E79B3810}"/>
                  </a:ext>
                </a:extLst>
              </p:cNvPr>
              <p:cNvSpPr>
                <a:spLocks noChangeArrowheads="1"/>
              </p:cNvSpPr>
              <p:nvPr/>
            </p:nvSpPr>
            <p:spPr bwMode="gray">
              <a:xfrm>
                <a:off x="3778" y="2099"/>
                <a:ext cx="122" cy="12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sp>
            <p:nvSpPr>
              <p:cNvPr id="24" name="Freeform 9">
                <a:extLst>
                  <a:ext uri="{FF2B5EF4-FFF2-40B4-BE49-F238E27FC236}">
                    <a16:creationId xmlns:a16="http://schemas.microsoft.com/office/drawing/2014/main" id="{5856770D-B8F0-244E-A05D-AED190086F10}"/>
                  </a:ext>
                </a:extLst>
              </p:cNvPr>
              <p:cNvSpPr>
                <a:spLocks noEditPoints="1"/>
              </p:cNvSpPr>
              <p:nvPr/>
            </p:nvSpPr>
            <p:spPr bwMode="gray">
              <a:xfrm>
                <a:off x="3623" y="1696"/>
                <a:ext cx="1167" cy="922"/>
              </a:xfrm>
              <a:custGeom>
                <a:avLst/>
                <a:gdLst>
                  <a:gd name="T0" fmla="*/ 411 w 580"/>
                  <a:gd name="T1" fmla="*/ 213 h 458"/>
                  <a:gd name="T2" fmla="*/ 570 w 580"/>
                  <a:gd name="T3" fmla="*/ 37 h 458"/>
                  <a:gd name="T4" fmla="*/ 580 w 580"/>
                  <a:gd name="T5" fmla="*/ 20 h 458"/>
                  <a:gd name="T6" fmla="*/ 545 w 580"/>
                  <a:gd name="T7" fmla="*/ 0 h 458"/>
                  <a:gd name="T8" fmla="*/ 519 w 580"/>
                  <a:gd name="T9" fmla="*/ 16 h 458"/>
                  <a:gd name="T10" fmla="*/ 344 w 580"/>
                  <a:gd name="T11" fmla="*/ 210 h 458"/>
                  <a:gd name="T12" fmla="*/ 334 w 580"/>
                  <a:gd name="T13" fmla="*/ 229 h 458"/>
                  <a:gd name="T14" fmla="*/ 344 w 580"/>
                  <a:gd name="T15" fmla="*/ 248 h 458"/>
                  <a:gd name="T16" fmla="*/ 519 w 580"/>
                  <a:gd name="T17" fmla="*/ 442 h 458"/>
                  <a:gd name="T18" fmla="*/ 545 w 580"/>
                  <a:gd name="T19" fmla="*/ 458 h 458"/>
                  <a:gd name="T20" fmla="*/ 580 w 580"/>
                  <a:gd name="T21" fmla="*/ 438 h 458"/>
                  <a:gd name="T22" fmla="*/ 570 w 580"/>
                  <a:gd name="T23" fmla="*/ 421 h 458"/>
                  <a:gd name="T24" fmla="*/ 411 w 580"/>
                  <a:gd name="T25" fmla="*/ 245 h 458"/>
                  <a:gd name="T26" fmla="*/ 399 w 580"/>
                  <a:gd name="T27" fmla="*/ 229 h 458"/>
                  <a:gd name="T28" fmla="*/ 411 w 580"/>
                  <a:gd name="T29" fmla="*/ 213 h 458"/>
                  <a:gd name="T30" fmla="*/ 252 w 580"/>
                  <a:gd name="T31" fmla="*/ 439 h 458"/>
                  <a:gd name="T32" fmla="*/ 281 w 580"/>
                  <a:gd name="T33" fmla="*/ 454 h 458"/>
                  <a:gd name="T34" fmla="*/ 309 w 580"/>
                  <a:gd name="T35" fmla="*/ 439 h 458"/>
                  <a:gd name="T36" fmla="*/ 309 w 580"/>
                  <a:gd name="T37" fmla="*/ 19 h 458"/>
                  <a:gd name="T38" fmla="*/ 281 w 580"/>
                  <a:gd name="T39" fmla="*/ 4 h 458"/>
                  <a:gd name="T40" fmla="*/ 252 w 580"/>
                  <a:gd name="T41" fmla="*/ 19 h 458"/>
                  <a:gd name="T42" fmla="*/ 252 w 580"/>
                  <a:gd name="T43" fmla="*/ 439 h 458"/>
                  <a:gd name="T44" fmla="*/ 0 w 580"/>
                  <a:gd name="T45" fmla="*/ 439 h 458"/>
                  <a:gd name="T46" fmla="*/ 28 w 580"/>
                  <a:gd name="T47" fmla="*/ 454 h 458"/>
                  <a:gd name="T48" fmla="*/ 56 w 580"/>
                  <a:gd name="T49" fmla="*/ 439 h 458"/>
                  <a:gd name="T50" fmla="*/ 56 w 580"/>
                  <a:gd name="T51" fmla="*/ 157 h 458"/>
                  <a:gd name="T52" fmla="*/ 165 w 580"/>
                  <a:gd name="T53" fmla="*/ 53 h 458"/>
                  <a:gd name="T54" fmla="*/ 180 w 580"/>
                  <a:gd name="T55" fmla="*/ 53 h 458"/>
                  <a:gd name="T56" fmla="*/ 196 w 580"/>
                  <a:gd name="T57" fmla="*/ 27 h 458"/>
                  <a:gd name="T58" fmla="*/ 154 w 580"/>
                  <a:gd name="T59" fmla="*/ 4 h 458"/>
                  <a:gd name="T60" fmla="*/ 0 w 580"/>
                  <a:gd name="T61" fmla="*/ 152 h 458"/>
                  <a:gd name="T62" fmla="*/ 0 w 580"/>
                  <a:gd name="T63" fmla="*/ 439 h 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80" h="458">
                    <a:moveTo>
                      <a:pt x="411" y="213"/>
                    </a:moveTo>
                    <a:cubicBezTo>
                      <a:pt x="570" y="37"/>
                      <a:pt x="570" y="37"/>
                      <a:pt x="570" y="37"/>
                    </a:cubicBezTo>
                    <a:cubicBezTo>
                      <a:pt x="576" y="30"/>
                      <a:pt x="580" y="25"/>
                      <a:pt x="580" y="20"/>
                    </a:cubicBezTo>
                    <a:cubicBezTo>
                      <a:pt x="580" y="10"/>
                      <a:pt x="559" y="0"/>
                      <a:pt x="545" y="0"/>
                    </a:cubicBezTo>
                    <a:cubicBezTo>
                      <a:pt x="535" y="0"/>
                      <a:pt x="526" y="8"/>
                      <a:pt x="519" y="16"/>
                    </a:cubicBezTo>
                    <a:cubicBezTo>
                      <a:pt x="344" y="210"/>
                      <a:pt x="344" y="210"/>
                      <a:pt x="344" y="210"/>
                    </a:cubicBezTo>
                    <a:cubicBezTo>
                      <a:pt x="336" y="219"/>
                      <a:pt x="334" y="224"/>
                      <a:pt x="334" y="229"/>
                    </a:cubicBezTo>
                    <a:cubicBezTo>
                      <a:pt x="334" y="234"/>
                      <a:pt x="336" y="239"/>
                      <a:pt x="344" y="248"/>
                    </a:cubicBezTo>
                    <a:cubicBezTo>
                      <a:pt x="519" y="442"/>
                      <a:pt x="519" y="442"/>
                      <a:pt x="519" y="442"/>
                    </a:cubicBezTo>
                    <a:cubicBezTo>
                      <a:pt x="526" y="450"/>
                      <a:pt x="535" y="458"/>
                      <a:pt x="545" y="458"/>
                    </a:cubicBezTo>
                    <a:cubicBezTo>
                      <a:pt x="559" y="458"/>
                      <a:pt x="580" y="448"/>
                      <a:pt x="580" y="438"/>
                    </a:cubicBezTo>
                    <a:cubicBezTo>
                      <a:pt x="580" y="433"/>
                      <a:pt x="576" y="428"/>
                      <a:pt x="570" y="421"/>
                    </a:cubicBezTo>
                    <a:cubicBezTo>
                      <a:pt x="411" y="245"/>
                      <a:pt x="411" y="245"/>
                      <a:pt x="411" y="245"/>
                    </a:cubicBezTo>
                    <a:cubicBezTo>
                      <a:pt x="403" y="236"/>
                      <a:pt x="399" y="232"/>
                      <a:pt x="399" y="229"/>
                    </a:cubicBezTo>
                    <a:cubicBezTo>
                      <a:pt x="399" y="226"/>
                      <a:pt x="403" y="222"/>
                      <a:pt x="411" y="213"/>
                    </a:cubicBezTo>
                    <a:moveTo>
                      <a:pt x="252" y="439"/>
                    </a:moveTo>
                    <a:cubicBezTo>
                      <a:pt x="252" y="449"/>
                      <a:pt x="261" y="454"/>
                      <a:pt x="281" y="454"/>
                    </a:cubicBezTo>
                    <a:cubicBezTo>
                      <a:pt x="300" y="454"/>
                      <a:pt x="309" y="449"/>
                      <a:pt x="309" y="439"/>
                    </a:cubicBezTo>
                    <a:cubicBezTo>
                      <a:pt x="309" y="19"/>
                      <a:pt x="309" y="19"/>
                      <a:pt x="309" y="19"/>
                    </a:cubicBezTo>
                    <a:cubicBezTo>
                      <a:pt x="309" y="9"/>
                      <a:pt x="300" y="4"/>
                      <a:pt x="281" y="4"/>
                    </a:cubicBezTo>
                    <a:cubicBezTo>
                      <a:pt x="261" y="4"/>
                      <a:pt x="252" y="9"/>
                      <a:pt x="252" y="19"/>
                    </a:cubicBezTo>
                    <a:lnTo>
                      <a:pt x="252" y="439"/>
                    </a:lnTo>
                    <a:close/>
                    <a:moveTo>
                      <a:pt x="0" y="439"/>
                    </a:moveTo>
                    <a:cubicBezTo>
                      <a:pt x="0" y="449"/>
                      <a:pt x="8" y="454"/>
                      <a:pt x="28" y="454"/>
                    </a:cubicBezTo>
                    <a:cubicBezTo>
                      <a:pt x="48" y="454"/>
                      <a:pt x="56" y="449"/>
                      <a:pt x="56" y="439"/>
                    </a:cubicBezTo>
                    <a:cubicBezTo>
                      <a:pt x="56" y="157"/>
                      <a:pt x="56" y="157"/>
                      <a:pt x="56" y="157"/>
                    </a:cubicBezTo>
                    <a:cubicBezTo>
                      <a:pt x="56" y="83"/>
                      <a:pt x="85" y="53"/>
                      <a:pt x="165" y="53"/>
                    </a:cubicBezTo>
                    <a:cubicBezTo>
                      <a:pt x="180" y="53"/>
                      <a:pt x="180" y="53"/>
                      <a:pt x="180" y="53"/>
                    </a:cubicBezTo>
                    <a:cubicBezTo>
                      <a:pt x="192" y="53"/>
                      <a:pt x="196" y="43"/>
                      <a:pt x="196" y="27"/>
                    </a:cubicBezTo>
                    <a:cubicBezTo>
                      <a:pt x="196" y="8"/>
                      <a:pt x="185" y="4"/>
                      <a:pt x="154" y="4"/>
                    </a:cubicBezTo>
                    <a:cubicBezTo>
                      <a:pt x="64" y="4"/>
                      <a:pt x="0" y="43"/>
                      <a:pt x="0" y="152"/>
                    </a:cubicBezTo>
                    <a:lnTo>
                      <a:pt x="0" y="43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sp>
            <p:nvSpPr>
              <p:cNvPr id="25" name="Freeform 10">
                <a:extLst>
                  <a:ext uri="{FF2B5EF4-FFF2-40B4-BE49-F238E27FC236}">
                    <a16:creationId xmlns:a16="http://schemas.microsoft.com/office/drawing/2014/main" id="{2B91B16B-BC11-E547-8FAC-B9B8D18EA449}"/>
                  </a:ext>
                </a:extLst>
              </p:cNvPr>
              <p:cNvSpPr>
                <a:spLocks/>
              </p:cNvSpPr>
              <p:nvPr/>
            </p:nvSpPr>
            <p:spPr bwMode="gray">
              <a:xfrm>
                <a:off x="2880" y="1704"/>
                <a:ext cx="618" cy="916"/>
              </a:xfrm>
              <a:custGeom>
                <a:avLst/>
                <a:gdLst>
                  <a:gd name="T0" fmla="*/ 307 w 307"/>
                  <a:gd name="T1" fmla="*/ 405 h 455"/>
                  <a:gd name="T2" fmla="*/ 307 w 307"/>
                  <a:gd name="T3" fmla="*/ 244 h 455"/>
                  <a:gd name="T4" fmla="*/ 279 w 307"/>
                  <a:gd name="T5" fmla="*/ 229 h 455"/>
                  <a:gd name="T6" fmla="*/ 250 w 307"/>
                  <a:gd name="T7" fmla="*/ 244 h 455"/>
                  <a:gd name="T8" fmla="*/ 250 w 307"/>
                  <a:gd name="T9" fmla="*/ 378 h 455"/>
                  <a:gd name="T10" fmla="*/ 199 w 307"/>
                  <a:gd name="T11" fmla="*/ 408 h 455"/>
                  <a:gd name="T12" fmla="*/ 61 w 307"/>
                  <a:gd name="T13" fmla="*/ 231 h 455"/>
                  <a:gd name="T14" fmla="*/ 238 w 307"/>
                  <a:gd name="T15" fmla="*/ 49 h 455"/>
                  <a:gd name="T16" fmla="*/ 270 w 307"/>
                  <a:gd name="T17" fmla="*/ 49 h 455"/>
                  <a:gd name="T18" fmla="*/ 286 w 307"/>
                  <a:gd name="T19" fmla="*/ 23 h 455"/>
                  <a:gd name="T20" fmla="*/ 244 w 307"/>
                  <a:gd name="T21" fmla="*/ 0 h 455"/>
                  <a:gd name="T22" fmla="*/ 231 w 307"/>
                  <a:gd name="T23" fmla="*/ 0 h 455"/>
                  <a:gd name="T24" fmla="*/ 0 w 307"/>
                  <a:gd name="T25" fmla="*/ 232 h 455"/>
                  <a:gd name="T26" fmla="*/ 198 w 307"/>
                  <a:gd name="T27" fmla="*/ 455 h 455"/>
                  <a:gd name="T28" fmla="*/ 307 w 307"/>
                  <a:gd name="T29" fmla="*/ 405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7" h="455">
                    <a:moveTo>
                      <a:pt x="307" y="405"/>
                    </a:moveTo>
                    <a:cubicBezTo>
                      <a:pt x="307" y="244"/>
                      <a:pt x="307" y="244"/>
                      <a:pt x="307" y="244"/>
                    </a:cubicBezTo>
                    <a:cubicBezTo>
                      <a:pt x="307" y="234"/>
                      <a:pt x="298" y="229"/>
                      <a:pt x="279" y="229"/>
                    </a:cubicBezTo>
                    <a:cubicBezTo>
                      <a:pt x="259" y="229"/>
                      <a:pt x="250" y="234"/>
                      <a:pt x="250" y="244"/>
                    </a:cubicBezTo>
                    <a:cubicBezTo>
                      <a:pt x="250" y="378"/>
                      <a:pt x="250" y="378"/>
                      <a:pt x="250" y="378"/>
                    </a:cubicBezTo>
                    <a:cubicBezTo>
                      <a:pt x="250" y="399"/>
                      <a:pt x="241" y="408"/>
                      <a:pt x="199" y="408"/>
                    </a:cubicBezTo>
                    <a:cubicBezTo>
                      <a:pt x="114" y="408"/>
                      <a:pt x="61" y="342"/>
                      <a:pt x="61" y="231"/>
                    </a:cubicBezTo>
                    <a:cubicBezTo>
                      <a:pt x="61" y="115"/>
                      <a:pt x="126" y="49"/>
                      <a:pt x="238" y="49"/>
                    </a:cubicBezTo>
                    <a:cubicBezTo>
                      <a:pt x="270" y="49"/>
                      <a:pt x="270" y="49"/>
                      <a:pt x="270" y="49"/>
                    </a:cubicBezTo>
                    <a:cubicBezTo>
                      <a:pt x="282" y="49"/>
                      <a:pt x="286" y="39"/>
                      <a:pt x="286" y="23"/>
                    </a:cubicBezTo>
                    <a:cubicBezTo>
                      <a:pt x="286" y="4"/>
                      <a:pt x="275" y="0"/>
                      <a:pt x="244" y="0"/>
                    </a:cubicBezTo>
                    <a:cubicBezTo>
                      <a:pt x="231" y="0"/>
                      <a:pt x="231" y="0"/>
                      <a:pt x="231" y="0"/>
                    </a:cubicBezTo>
                    <a:cubicBezTo>
                      <a:pt x="101" y="0"/>
                      <a:pt x="0" y="71"/>
                      <a:pt x="0" y="232"/>
                    </a:cubicBezTo>
                    <a:cubicBezTo>
                      <a:pt x="0" y="386"/>
                      <a:pt x="88" y="455"/>
                      <a:pt x="198" y="455"/>
                    </a:cubicBezTo>
                    <a:cubicBezTo>
                      <a:pt x="286" y="455"/>
                      <a:pt x="307" y="430"/>
                      <a:pt x="307" y="40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sp>
            <p:nvSpPr>
              <p:cNvPr id="26" name="Oval 11">
                <a:extLst>
                  <a:ext uri="{FF2B5EF4-FFF2-40B4-BE49-F238E27FC236}">
                    <a16:creationId xmlns:a16="http://schemas.microsoft.com/office/drawing/2014/main" id="{14F8C3C8-4888-7646-B9B4-64EB46A1DA23}"/>
                  </a:ext>
                </a:extLst>
              </p:cNvPr>
              <p:cNvSpPr>
                <a:spLocks noChangeArrowheads="1"/>
              </p:cNvSpPr>
              <p:nvPr/>
            </p:nvSpPr>
            <p:spPr bwMode="gray">
              <a:xfrm>
                <a:off x="3778" y="2099"/>
                <a:ext cx="122" cy="12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sp>
            <p:nvSpPr>
              <p:cNvPr id="27" name="Freeform 12">
                <a:extLst>
                  <a:ext uri="{FF2B5EF4-FFF2-40B4-BE49-F238E27FC236}">
                    <a16:creationId xmlns:a16="http://schemas.microsoft.com/office/drawing/2014/main" id="{D79D01D1-4E3E-F34B-97D7-2D387E68746E}"/>
                  </a:ext>
                </a:extLst>
              </p:cNvPr>
              <p:cNvSpPr>
                <a:spLocks/>
              </p:cNvSpPr>
              <p:nvPr/>
            </p:nvSpPr>
            <p:spPr bwMode="gray">
              <a:xfrm>
                <a:off x="4321" y="1029"/>
                <a:ext cx="648" cy="649"/>
              </a:xfrm>
              <a:custGeom>
                <a:avLst/>
                <a:gdLst>
                  <a:gd name="T0" fmla="*/ 0 w 648"/>
                  <a:gd name="T1" fmla="*/ 649 h 649"/>
                  <a:gd name="T2" fmla="*/ 2 w 648"/>
                  <a:gd name="T3" fmla="*/ 649 h 649"/>
                  <a:gd name="T4" fmla="*/ 648 w 648"/>
                  <a:gd name="T5" fmla="*/ 0 h 649"/>
                  <a:gd name="T6" fmla="*/ 423 w 648"/>
                  <a:gd name="T7" fmla="*/ 0 h 649"/>
                  <a:gd name="T8" fmla="*/ 0 w 648"/>
                  <a:gd name="T9" fmla="*/ 649 h 649"/>
                </a:gdLst>
                <a:ahLst/>
                <a:cxnLst>
                  <a:cxn ang="0">
                    <a:pos x="T0" y="T1"/>
                  </a:cxn>
                  <a:cxn ang="0">
                    <a:pos x="T2" y="T3"/>
                  </a:cxn>
                  <a:cxn ang="0">
                    <a:pos x="T4" y="T5"/>
                  </a:cxn>
                  <a:cxn ang="0">
                    <a:pos x="T6" y="T7"/>
                  </a:cxn>
                  <a:cxn ang="0">
                    <a:pos x="T8" y="T9"/>
                  </a:cxn>
                </a:cxnLst>
                <a:rect l="0" t="0" r="r" b="b"/>
                <a:pathLst>
                  <a:path w="648" h="649">
                    <a:moveTo>
                      <a:pt x="0" y="649"/>
                    </a:moveTo>
                    <a:lnTo>
                      <a:pt x="2" y="649"/>
                    </a:lnTo>
                    <a:lnTo>
                      <a:pt x="648" y="0"/>
                    </a:lnTo>
                    <a:lnTo>
                      <a:pt x="423" y="0"/>
                    </a:lnTo>
                    <a:lnTo>
                      <a:pt x="0" y="64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sp>
            <p:nvSpPr>
              <p:cNvPr id="28" name="Freeform 13">
                <a:extLst>
                  <a:ext uri="{FF2B5EF4-FFF2-40B4-BE49-F238E27FC236}">
                    <a16:creationId xmlns:a16="http://schemas.microsoft.com/office/drawing/2014/main" id="{46549898-6C52-B147-A8F6-A73FDBE6163B}"/>
                  </a:ext>
                </a:extLst>
              </p:cNvPr>
              <p:cNvSpPr>
                <a:spLocks/>
              </p:cNvSpPr>
              <p:nvPr/>
            </p:nvSpPr>
            <p:spPr bwMode="gray">
              <a:xfrm>
                <a:off x="4321" y="1029"/>
                <a:ext cx="648" cy="649"/>
              </a:xfrm>
              <a:custGeom>
                <a:avLst/>
                <a:gdLst>
                  <a:gd name="T0" fmla="*/ 0 w 648"/>
                  <a:gd name="T1" fmla="*/ 649 h 649"/>
                  <a:gd name="T2" fmla="*/ 2 w 648"/>
                  <a:gd name="T3" fmla="*/ 649 h 649"/>
                  <a:gd name="T4" fmla="*/ 648 w 648"/>
                  <a:gd name="T5" fmla="*/ 0 h 649"/>
                  <a:gd name="T6" fmla="*/ 423 w 648"/>
                  <a:gd name="T7" fmla="*/ 0 h 649"/>
                  <a:gd name="T8" fmla="*/ 0 w 648"/>
                  <a:gd name="T9" fmla="*/ 649 h 649"/>
                </a:gdLst>
                <a:ahLst/>
                <a:cxnLst>
                  <a:cxn ang="0">
                    <a:pos x="T0" y="T1"/>
                  </a:cxn>
                  <a:cxn ang="0">
                    <a:pos x="T2" y="T3"/>
                  </a:cxn>
                  <a:cxn ang="0">
                    <a:pos x="T4" y="T5"/>
                  </a:cxn>
                  <a:cxn ang="0">
                    <a:pos x="T6" y="T7"/>
                  </a:cxn>
                  <a:cxn ang="0">
                    <a:pos x="T8" y="T9"/>
                  </a:cxn>
                </a:cxnLst>
                <a:rect l="0" t="0" r="r" b="b"/>
                <a:pathLst>
                  <a:path w="648" h="649">
                    <a:moveTo>
                      <a:pt x="0" y="649"/>
                    </a:moveTo>
                    <a:lnTo>
                      <a:pt x="2" y="649"/>
                    </a:lnTo>
                    <a:lnTo>
                      <a:pt x="648" y="0"/>
                    </a:lnTo>
                    <a:lnTo>
                      <a:pt x="423" y="0"/>
                    </a:lnTo>
                    <a:lnTo>
                      <a:pt x="0" y="64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grpSp>
      </p:grpSp>
      <p:sp>
        <p:nvSpPr>
          <p:cNvPr id="7" name="Date Placeholder 6"/>
          <p:cNvSpPr>
            <a:spLocks noGrp="1"/>
          </p:cNvSpPr>
          <p:nvPr>
            <p:ph type="dt" sz="half" idx="10"/>
          </p:nvPr>
        </p:nvSpPr>
        <p:spPr>
          <a:xfrm>
            <a:off x="0" y="0"/>
            <a:ext cx="0" cy="0"/>
          </a:xfrm>
          <a:prstGeom prst="rect">
            <a:avLst/>
          </a:prstGeom>
        </p:spPr>
        <p:txBody>
          <a:bodyPr/>
          <a:lstStyle>
            <a:lvl1pPr>
              <a:defRPr sz="100">
                <a:noFill/>
              </a:defRPr>
            </a:lvl1pPr>
          </a:lstStyle>
          <a:p>
            <a:fld id="{3EA3BA3C-82AC-45BA-9659-DD8E28BB5C16}" type="datetime5">
              <a:rPr lang="en-US" smtClean="0"/>
              <a:t>26-Jun-20</a:t>
            </a:fld>
            <a:endParaRPr lang="en-US" dirty="0"/>
          </a:p>
        </p:txBody>
      </p:sp>
      <p:sp>
        <p:nvSpPr>
          <p:cNvPr id="8" name="Footer Placeholder 7"/>
          <p:cNvSpPr>
            <a:spLocks noGrp="1"/>
          </p:cNvSpPr>
          <p:nvPr>
            <p:ph type="ftr" sz="quarter" idx="11"/>
          </p:nvPr>
        </p:nvSpPr>
        <p:spPr>
          <a:xfrm>
            <a:off x="0" y="0"/>
            <a:ext cx="0" cy="0"/>
          </a:xfrm>
          <a:prstGeom prst="rect">
            <a:avLst/>
          </a:prstGeom>
        </p:spPr>
        <p:txBody>
          <a:bodyPr/>
          <a:lstStyle>
            <a:lvl1pPr marL="0" indent="0">
              <a:buNone/>
              <a:defRPr sz="100">
                <a:noFill/>
              </a:defRPr>
            </a:lvl1pPr>
          </a:lstStyle>
          <a:p>
            <a:r>
              <a:rPr lang="en-US"/>
              <a:t>Title of presentation (Insert / Header &amp; Footer / Apply to All)</a:t>
            </a:r>
            <a:endParaRPr lang="en-US" dirty="0"/>
          </a:p>
        </p:txBody>
      </p:sp>
      <p:sp>
        <p:nvSpPr>
          <p:cNvPr id="9" name="Slide Number Placeholder 8"/>
          <p:cNvSpPr>
            <a:spLocks noGrp="1"/>
          </p:cNvSpPr>
          <p:nvPr>
            <p:ph type="sldNum" sz="quarter" idx="12"/>
          </p:nvPr>
        </p:nvSpPr>
        <p:spPr>
          <a:xfrm>
            <a:off x="0" y="0"/>
            <a:ext cx="0" cy="0"/>
          </a:xfrm>
          <a:prstGeom prst="rect">
            <a:avLst/>
          </a:prstGeom>
        </p:spPr>
        <p:txBody>
          <a:bodyPr/>
          <a:lstStyle>
            <a:lvl1pPr>
              <a:defRPr sz="100">
                <a:noFill/>
              </a:defRPr>
            </a:lvl1pPr>
          </a:lstStyle>
          <a:p>
            <a:fld id="{8E3B25F7-8D1F-44B5-B485-EE3C438CFD7B}" type="slidenum">
              <a:rPr lang="en-US" smtClean="0"/>
              <a:pPr/>
              <a:t>‹#›</a:t>
            </a:fld>
            <a:endParaRPr lang="en-US"/>
          </a:p>
        </p:txBody>
      </p:sp>
      <p:sp>
        <p:nvSpPr>
          <p:cNvPr id="2" name="Title 1"/>
          <p:cNvSpPr>
            <a:spLocks noGrp="1"/>
          </p:cNvSpPr>
          <p:nvPr>
            <p:ph type="ctrTitle" hasCustomPrompt="1"/>
          </p:nvPr>
        </p:nvSpPr>
        <p:spPr>
          <a:xfrm>
            <a:off x="417600" y="1628775"/>
            <a:ext cx="3816000" cy="2236264"/>
          </a:xfrm>
        </p:spPr>
        <p:txBody>
          <a:bodyPr anchor="b"/>
          <a:lstStyle>
            <a:lvl1pPr algn="l">
              <a:defRPr sz="3600" baseline="0"/>
            </a:lvl1pPr>
          </a:lstStyle>
          <a:p>
            <a:r>
              <a:rPr lang="en-US" dirty="0"/>
              <a:t>Click to add presentation title</a:t>
            </a:r>
          </a:p>
        </p:txBody>
      </p:sp>
      <p:sp>
        <p:nvSpPr>
          <p:cNvPr id="3" name="Subtitle 2"/>
          <p:cNvSpPr>
            <a:spLocks noGrp="1"/>
          </p:cNvSpPr>
          <p:nvPr>
            <p:ph type="subTitle" idx="1" hasCustomPrompt="1"/>
          </p:nvPr>
        </p:nvSpPr>
        <p:spPr>
          <a:xfrm>
            <a:off x="417600" y="4094163"/>
            <a:ext cx="3816000" cy="1080000"/>
          </a:xfrm>
        </p:spPr>
        <p:txBody>
          <a:bodyPr/>
          <a:lstStyle>
            <a:lvl1pPr marL="0" indent="0" algn="l">
              <a:spcBef>
                <a:spcPts val="0"/>
              </a:spcBef>
              <a:buNone/>
              <a:defRPr sz="1800" b="1"/>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31" name="Text Placeholder 30"/>
          <p:cNvSpPr>
            <a:spLocks noGrp="1"/>
          </p:cNvSpPr>
          <p:nvPr>
            <p:ph type="body" sz="quarter" idx="14" hasCustomPrompt="1"/>
          </p:nvPr>
        </p:nvSpPr>
        <p:spPr>
          <a:xfrm>
            <a:off x="417600" y="5393268"/>
            <a:ext cx="3816000" cy="296332"/>
          </a:xfrm>
        </p:spPr>
        <p:txBody>
          <a:bodyPr wrap="none"/>
          <a:lstStyle>
            <a:lvl1pPr marL="0" indent="0">
              <a:spcBef>
                <a:spcPts val="0"/>
              </a:spcBef>
              <a:buNone/>
              <a:defRPr sz="1200"/>
            </a:lvl1pPr>
            <a:lvl2pPr marL="0" indent="0">
              <a:buNone/>
              <a:defRPr sz="1200"/>
            </a:lvl2pPr>
            <a:lvl3pPr marL="0" indent="0">
              <a:buNone/>
              <a:defRPr sz="1200"/>
            </a:lvl3pPr>
            <a:lvl4pPr marL="0">
              <a:buNone/>
              <a:defRPr sz="1200"/>
            </a:lvl4pPr>
            <a:lvl5pPr marL="0" indent="0">
              <a:buNone/>
              <a:defRPr sz="1200"/>
            </a:lvl5pPr>
          </a:lstStyle>
          <a:p>
            <a:pPr lvl="0"/>
            <a:r>
              <a:rPr lang="en-US" dirty="0"/>
              <a:t>Name</a:t>
            </a:r>
          </a:p>
        </p:txBody>
      </p:sp>
      <p:sp>
        <p:nvSpPr>
          <p:cNvPr id="34" name="Text Placeholder 30"/>
          <p:cNvSpPr>
            <a:spLocks noGrp="1"/>
          </p:cNvSpPr>
          <p:nvPr>
            <p:ph type="body" sz="quarter" idx="15" hasCustomPrompt="1"/>
          </p:nvPr>
        </p:nvSpPr>
        <p:spPr>
          <a:xfrm>
            <a:off x="417600" y="5691446"/>
            <a:ext cx="3816000" cy="296332"/>
          </a:xfrm>
        </p:spPr>
        <p:txBody>
          <a:bodyPr wrap="none"/>
          <a:lstStyle>
            <a:lvl1pPr marL="0" indent="0">
              <a:spcBef>
                <a:spcPts val="0"/>
              </a:spcBef>
              <a:buNone/>
              <a:defRPr sz="1200"/>
            </a:lvl1pPr>
            <a:lvl2pPr marL="0" indent="0">
              <a:buNone/>
              <a:defRPr sz="1200"/>
            </a:lvl2pPr>
            <a:lvl3pPr marL="0" indent="0">
              <a:buNone/>
              <a:defRPr sz="1200"/>
            </a:lvl3pPr>
            <a:lvl4pPr marL="0">
              <a:buNone/>
              <a:defRPr sz="1200"/>
            </a:lvl4pPr>
            <a:lvl5pPr marL="0" indent="0">
              <a:buNone/>
              <a:defRPr sz="1200"/>
            </a:lvl5pPr>
          </a:lstStyle>
          <a:p>
            <a:pPr lvl="0"/>
            <a:r>
              <a:rPr lang="en-US" dirty="0"/>
              <a:t>Department</a:t>
            </a:r>
          </a:p>
        </p:txBody>
      </p:sp>
    </p:spTree>
    <p:extLst>
      <p:ext uri="{BB962C8B-B14F-4D97-AF65-F5344CB8AC3E}">
        <p14:creationId xmlns:p14="http://schemas.microsoft.com/office/powerpoint/2010/main" val="2108395748"/>
      </p:ext>
    </p:extLst>
  </p:cSld>
  <p:clrMapOvr>
    <a:masterClrMapping/>
  </p:clrMapOvr>
</p:sldLayout>
</file>

<file path=ppt/slideLayouts/slideLayout248.xml><?xml version="1.0" encoding="utf-8"?>
<p:sldLayout xmlns:a="http://schemas.openxmlformats.org/drawingml/2006/main" xmlns:r="http://schemas.openxmlformats.org/officeDocument/2006/relationships" xmlns:p="http://schemas.openxmlformats.org/presentationml/2006/main" showMasterSp="0" preserve="1">
  <p:cSld name="Title 2">
    <p:spTree>
      <p:nvGrpSpPr>
        <p:cNvPr id="1" name=""/>
        <p:cNvGrpSpPr/>
        <p:nvPr/>
      </p:nvGrpSpPr>
      <p:grpSpPr>
        <a:xfrm>
          <a:off x="0" y="0"/>
          <a:ext cx="0" cy="0"/>
          <a:chOff x="0" y="0"/>
          <a:chExt cx="0" cy="0"/>
        </a:xfrm>
      </p:grpSpPr>
      <p:pic>
        <p:nvPicPr>
          <p:cNvPr id="29" name="picture">
            <a:extLst>
              <a:ext uri="{FF2B5EF4-FFF2-40B4-BE49-F238E27FC236}">
                <a16:creationId xmlns:a16="http://schemas.microsoft.com/office/drawing/2014/main" id="{8BF907F5-A9CD-2740-AF54-6BACB62334AE}"/>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2620212" y="-8808"/>
            <a:ext cx="9697299" cy="6866807"/>
          </a:xfrm>
          <a:prstGeom prst="rect">
            <a:avLst/>
          </a:prstGeom>
        </p:spPr>
      </p:pic>
      <p:sp>
        <p:nvSpPr>
          <p:cNvPr id="32" name="shpPicture"/>
          <p:cNvSpPr/>
          <p:nvPr/>
        </p:nvSpPr>
        <p:spPr>
          <a:xfrm>
            <a:off x="1" y="0"/>
            <a:ext cx="4112145" cy="6858000"/>
          </a:xfrm>
          <a:custGeom>
            <a:avLst/>
            <a:gdLst>
              <a:gd name="connsiteX0" fmla="*/ 0 w 4112145"/>
              <a:gd name="connsiteY0" fmla="*/ 0 h 6858000"/>
              <a:gd name="connsiteX1" fmla="*/ 2588964 w 4112145"/>
              <a:gd name="connsiteY1" fmla="*/ 0 h 6858000"/>
              <a:gd name="connsiteX2" fmla="*/ 4112145 w 4112145"/>
              <a:gd name="connsiteY2" fmla="*/ 3083531 h 6858000"/>
              <a:gd name="connsiteX3" fmla="*/ 2697661 w 4112145"/>
              <a:gd name="connsiteY3" fmla="*/ 6858000 h 6858000"/>
              <a:gd name="connsiteX4" fmla="*/ 0 w 4112145"/>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12145" h="6858000">
                <a:moveTo>
                  <a:pt x="0" y="0"/>
                </a:moveTo>
                <a:lnTo>
                  <a:pt x="2588964" y="0"/>
                </a:lnTo>
                <a:lnTo>
                  <a:pt x="4112145" y="3083531"/>
                </a:lnTo>
                <a:lnTo>
                  <a:pt x="2697661"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US" sz="1600" dirty="0"/>
          </a:p>
        </p:txBody>
      </p:sp>
      <p:grpSp>
        <p:nvGrpSpPr>
          <p:cNvPr id="14" name="logo">
            <a:extLst>
              <a:ext uri="{FF2B5EF4-FFF2-40B4-BE49-F238E27FC236}">
                <a16:creationId xmlns:a16="http://schemas.microsoft.com/office/drawing/2014/main" id="{18C26D95-70F8-8A4D-9F18-DCCB92522AF8}"/>
              </a:ext>
            </a:extLst>
          </p:cNvPr>
          <p:cNvGrpSpPr/>
          <p:nvPr/>
        </p:nvGrpSpPr>
        <p:grpSpPr bwMode="gray">
          <a:xfrm>
            <a:off x="417363" y="407485"/>
            <a:ext cx="1518585" cy="646507"/>
            <a:chOff x="334963" y="296652"/>
            <a:chExt cx="1268411" cy="540000"/>
          </a:xfrm>
        </p:grpSpPr>
        <p:sp>
          <p:nvSpPr>
            <p:cNvPr id="17" name="Freeform 6">
              <a:extLst>
                <a:ext uri="{FF2B5EF4-FFF2-40B4-BE49-F238E27FC236}">
                  <a16:creationId xmlns:a16="http://schemas.microsoft.com/office/drawing/2014/main" id="{08737AD0-E375-E445-97E6-CD2E2DF60620}"/>
                </a:ext>
              </a:extLst>
            </p:cNvPr>
            <p:cNvSpPr>
              <a:spLocks noEditPoints="1"/>
            </p:cNvSpPr>
            <p:nvPr/>
          </p:nvSpPr>
          <p:spPr bwMode="gray">
            <a:xfrm>
              <a:off x="982662" y="360462"/>
              <a:ext cx="620712" cy="431800"/>
            </a:xfrm>
            <a:custGeom>
              <a:avLst/>
              <a:gdLst>
                <a:gd name="T0" fmla="*/ 19 w 1809"/>
                <a:gd name="T1" fmla="*/ 97 h 1253"/>
                <a:gd name="T2" fmla="*/ 165 w 1809"/>
                <a:gd name="T3" fmla="*/ 41 h 1253"/>
                <a:gd name="T4" fmla="*/ 211 w 1809"/>
                <a:gd name="T5" fmla="*/ 224 h 1253"/>
                <a:gd name="T6" fmla="*/ 248 w 1809"/>
                <a:gd name="T7" fmla="*/ 155 h 1253"/>
                <a:gd name="T8" fmla="*/ 931 w 1809"/>
                <a:gd name="T9" fmla="*/ 995 h 1253"/>
                <a:gd name="T10" fmla="*/ 858 w 1809"/>
                <a:gd name="T11" fmla="*/ 1115 h 1253"/>
                <a:gd name="T12" fmla="*/ 749 w 1809"/>
                <a:gd name="T13" fmla="*/ 1117 h 1253"/>
                <a:gd name="T14" fmla="*/ 681 w 1809"/>
                <a:gd name="T15" fmla="*/ 1055 h 1253"/>
                <a:gd name="T16" fmla="*/ 800 w 1809"/>
                <a:gd name="T17" fmla="*/ 1054 h 1253"/>
                <a:gd name="T18" fmla="*/ 884 w 1809"/>
                <a:gd name="T19" fmla="*/ 1181 h 1253"/>
                <a:gd name="T20" fmla="*/ 118 w 1809"/>
                <a:gd name="T21" fmla="*/ 1086 h 1253"/>
                <a:gd name="T22" fmla="*/ 147 w 1809"/>
                <a:gd name="T23" fmla="*/ 1026 h 1253"/>
                <a:gd name="T24" fmla="*/ 102 w 1809"/>
                <a:gd name="T25" fmla="*/ 1026 h 1253"/>
                <a:gd name="T26" fmla="*/ 639 w 1809"/>
                <a:gd name="T27" fmla="*/ 84 h 1253"/>
                <a:gd name="T28" fmla="*/ 763 w 1809"/>
                <a:gd name="T29" fmla="*/ 145 h 1253"/>
                <a:gd name="T30" fmla="*/ 863 w 1809"/>
                <a:gd name="T31" fmla="*/ 221 h 1253"/>
                <a:gd name="T32" fmla="*/ 834 w 1809"/>
                <a:gd name="T33" fmla="*/ 208 h 1253"/>
                <a:gd name="T34" fmla="*/ 719 w 1809"/>
                <a:gd name="T35" fmla="*/ 182 h 1253"/>
                <a:gd name="T36" fmla="*/ 507 w 1809"/>
                <a:gd name="T37" fmla="*/ 711 h 1253"/>
                <a:gd name="T38" fmla="*/ 614 w 1809"/>
                <a:gd name="T39" fmla="*/ 706 h 1253"/>
                <a:gd name="T40" fmla="*/ 736 w 1809"/>
                <a:gd name="T41" fmla="*/ 730 h 1253"/>
                <a:gd name="T42" fmla="*/ 607 w 1809"/>
                <a:gd name="T43" fmla="*/ 539 h 1253"/>
                <a:gd name="T44" fmla="*/ 1505 w 1809"/>
                <a:gd name="T45" fmla="*/ 1136 h 1253"/>
                <a:gd name="T46" fmla="*/ 1613 w 1809"/>
                <a:gd name="T47" fmla="*/ 1002 h 1253"/>
                <a:gd name="T48" fmla="*/ 1472 w 1809"/>
                <a:gd name="T49" fmla="*/ 1164 h 1253"/>
                <a:gd name="T50" fmla="*/ 1525 w 1809"/>
                <a:gd name="T51" fmla="*/ 1142 h 1253"/>
                <a:gd name="T52" fmla="*/ 1556 w 1809"/>
                <a:gd name="T53" fmla="*/ 1172 h 1253"/>
                <a:gd name="T54" fmla="*/ 1387 w 1809"/>
                <a:gd name="T55" fmla="*/ 910 h 1253"/>
                <a:gd name="T56" fmla="*/ 1261 w 1809"/>
                <a:gd name="T57" fmla="*/ 1157 h 1253"/>
                <a:gd name="T58" fmla="*/ 1413 w 1809"/>
                <a:gd name="T59" fmla="*/ 934 h 1253"/>
                <a:gd name="T60" fmla="*/ 1378 w 1809"/>
                <a:gd name="T61" fmla="*/ 1052 h 1253"/>
                <a:gd name="T62" fmla="*/ 488 w 1809"/>
                <a:gd name="T63" fmla="*/ 85 h 1253"/>
                <a:gd name="T64" fmla="*/ 509 w 1809"/>
                <a:gd name="T65" fmla="*/ 112 h 1253"/>
                <a:gd name="T66" fmla="*/ 548 w 1809"/>
                <a:gd name="T67" fmla="*/ 1187 h 1253"/>
                <a:gd name="T68" fmla="*/ 472 w 1809"/>
                <a:gd name="T69" fmla="*/ 1122 h 1253"/>
                <a:gd name="T70" fmla="*/ 558 w 1809"/>
                <a:gd name="T71" fmla="*/ 1157 h 1253"/>
                <a:gd name="T72" fmla="*/ 287 w 1809"/>
                <a:gd name="T73" fmla="*/ 654 h 1253"/>
                <a:gd name="T74" fmla="*/ 416 w 1809"/>
                <a:gd name="T75" fmla="*/ 684 h 1253"/>
                <a:gd name="T76" fmla="*/ 1106 w 1809"/>
                <a:gd name="T77" fmla="*/ 147 h 1253"/>
                <a:gd name="T78" fmla="*/ 1229 w 1809"/>
                <a:gd name="T79" fmla="*/ 258 h 1253"/>
                <a:gd name="T80" fmla="*/ 1106 w 1809"/>
                <a:gd name="T81" fmla="*/ 96 h 1253"/>
                <a:gd name="T82" fmla="*/ 1219 w 1809"/>
                <a:gd name="T83" fmla="*/ 1077 h 1253"/>
                <a:gd name="T84" fmla="*/ 1214 w 1809"/>
                <a:gd name="T85" fmla="*/ 1157 h 1253"/>
                <a:gd name="T86" fmla="*/ 1150 w 1809"/>
                <a:gd name="T87" fmla="*/ 1092 h 1253"/>
                <a:gd name="T88" fmla="*/ 1139 w 1809"/>
                <a:gd name="T89" fmla="*/ 1070 h 1253"/>
                <a:gd name="T90" fmla="*/ 1659 w 1809"/>
                <a:gd name="T91" fmla="*/ 1031 h 1253"/>
                <a:gd name="T92" fmla="*/ 1714 w 1809"/>
                <a:gd name="T93" fmla="*/ 1155 h 1253"/>
                <a:gd name="T94" fmla="*/ 1760 w 1809"/>
                <a:gd name="T95" fmla="*/ 1030 h 1253"/>
                <a:gd name="T96" fmla="*/ 111 w 1809"/>
                <a:gd name="T97" fmla="*/ 569 h 1253"/>
                <a:gd name="T98" fmla="*/ 109 w 1809"/>
                <a:gd name="T99" fmla="*/ 460 h 1253"/>
                <a:gd name="T100" fmla="*/ 32 w 1809"/>
                <a:gd name="T101" fmla="*/ 704 h 1253"/>
                <a:gd name="T102" fmla="*/ 310 w 1809"/>
                <a:gd name="T103" fmla="*/ 1058 h 1253"/>
                <a:gd name="T104" fmla="*/ 431 w 1809"/>
                <a:gd name="T105" fmla="*/ 1044 h 1253"/>
                <a:gd name="T106" fmla="*/ 278 w 1809"/>
                <a:gd name="T107" fmla="*/ 1165 h 1253"/>
                <a:gd name="T108" fmla="*/ 261 w 1809"/>
                <a:gd name="T109" fmla="*/ 540 h 1253"/>
                <a:gd name="T110" fmla="*/ 150 w 1809"/>
                <a:gd name="T111" fmla="*/ 635 h 1253"/>
                <a:gd name="T112" fmla="*/ 994 w 1809"/>
                <a:gd name="T113" fmla="*/ 1185 h 1253"/>
                <a:gd name="T114" fmla="*/ 331 w 1809"/>
                <a:gd name="T115" fmla="*/ 176 h 1253"/>
                <a:gd name="T116" fmla="*/ 333 w 1809"/>
                <a:gd name="T117" fmla="*/ 109 h 1253"/>
                <a:gd name="T118" fmla="*/ 946 w 1809"/>
                <a:gd name="T119" fmla="*/ 234 h 1253"/>
                <a:gd name="T120" fmla="*/ 1022 w 1809"/>
                <a:gd name="T121" fmla="*/ 113 h 1253"/>
                <a:gd name="T122" fmla="*/ 949 w 1809"/>
                <a:gd name="T123" fmla="*/ 65 h 1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09" h="1253">
                  <a:moveTo>
                    <a:pt x="248" y="198"/>
                  </a:moveTo>
                  <a:cubicBezTo>
                    <a:pt x="248" y="211"/>
                    <a:pt x="248" y="224"/>
                    <a:pt x="249" y="237"/>
                  </a:cubicBezTo>
                  <a:cubicBezTo>
                    <a:pt x="249" y="245"/>
                    <a:pt x="246" y="249"/>
                    <a:pt x="240" y="253"/>
                  </a:cubicBezTo>
                  <a:cubicBezTo>
                    <a:pt x="231" y="260"/>
                    <a:pt x="220" y="264"/>
                    <a:pt x="209" y="268"/>
                  </a:cubicBezTo>
                  <a:cubicBezTo>
                    <a:pt x="179" y="279"/>
                    <a:pt x="148" y="280"/>
                    <a:pt x="118" y="275"/>
                  </a:cubicBezTo>
                  <a:cubicBezTo>
                    <a:pt x="86" y="269"/>
                    <a:pt x="58" y="252"/>
                    <a:pt x="39" y="224"/>
                  </a:cubicBezTo>
                  <a:cubicBezTo>
                    <a:pt x="24" y="203"/>
                    <a:pt x="18" y="180"/>
                    <a:pt x="15" y="155"/>
                  </a:cubicBezTo>
                  <a:cubicBezTo>
                    <a:pt x="11" y="135"/>
                    <a:pt x="15" y="115"/>
                    <a:pt x="19" y="97"/>
                  </a:cubicBezTo>
                  <a:cubicBezTo>
                    <a:pt x="26" y="68"/>
                    <a:pt x="42" y="44"/>
                    <a:pt x="68" y="27"/>
                  </a:cubicBezTo>
                  <a:cubicBezTo>
                    <a:pt x="87" y="14"/>
                    <a:pt x="109" y="6"/>
                    <a:pt x="133" y="5"/>
                  </a:cubicBezTo>
                  <a:cubicBezTo>
                    <a:pt x="149" y="4"/>
                    <a:pt x="165" y="5"/>
                    <a:pt x="181" y="6"/>
                  </a:cubicBezTo>
                  <a:cubicBezTo>
                    <a:pt x="204" y="8"/>
                    <a:pt x="225" y="20"/>
                    <a:pt x="243" y="35"/>
                  </a:cubicBezTo>
                  <a:cubicBezTo>
                    <a:pt x="246" y="37"/>
                    <a:pt x="246" y="40"/>
                    <a:pt x="244" y="43"/>
                  </a:cubicBezTo>
                  <a:cubicBezTo>
                    <a:pt x="242" y="47"/>
                    <a:pt x="239" y="52"/>
                    <a:pt x="236" y="55"/>
                  </a:cubicBezTo>
                  <a:cubicBezTo>
                    <a:pt x="226" y="65"/>
                    <a:pt x="224" y="65"/>
                    <a:pt x="206" y="54"/>
                  </a:cubicBezTo>
                  <a:cubicBezTo>
                    <a:pt x="193" y="46"/>
                    <a:pt x="180" y="40"/>
                    <a:pt x="165" y="41"/>
                  </a:cubicBezTo>
                  <a:cubicBezTo>
                    <a:pt x="151" y="41"/>
                    <a:pt x="137" y="39"/>
                    <a:pt x="124" y="42"/>
                  </a:cubicBezTo>
                  <a:cubicBezTo>
                    <a:pt x="104" y="46"/>
                    <a:pt x="87" y="57"/>
                    <a:pt x="75" y="74"/>
                  </a:cubicBezTo>
                  <a:cubicBezTo>
                    <a:pt x="56" y="99"/>
                    <a:pt x="51" y="129"/>
                    <a:pt x="55" y="159"/>
                  </a:cubicBezTo>
                  <a:cubicBezTo>
                    <a:pt x="60" y="189"/>
                    <a:pt x="73" y="214"/>
                    <a:pt x="98" y="230"/>
                  </a:cubicBezTo>
                  <a:cubicBezTo>
                    <a:pt x="109" y="237"/>
                    <a:pt x="121" y="242"/>
                    <a:pt x="135" y="241"/>
                  </a:cubicBezTo>
                  <a:cubicBezTo>
                    <a:pt x="146" y="241"/>
                    <a:pt x="158" y="241"/>
                    <a:pt x="169" y="241"/>
                  </a:cubicBezTo>
                  <a:cubicBezTo>
                    <a:pt x="182" y="242"/>
                    <a:pt x="193" y="235"/>
                    <a:pt x="205" y="232"/>
                  </a:cubicBezTo>
                  <a:cubicBezTo>
                    <a:pt x="210" y="231"/>
                    <a:pt x="211" y="227"/>
                    <a:pt x="211" y="224"/>
                  </a:cubicBezTo>
                  <a:cubicBezTo>
                    <a:pt x="211" y="210"/>
                    <a:pt x="211" y="196"/>
                    <a:pt x="211" y="183"/>
                  </a:cubicBezTo>
                  <a:cubicBezTo>
                    <a:pt x="211" y="177"/>
                    <a:pt x="207" y="175"/>
                    <a:pt x="202" y="175"/>
                  </a:cubicBezTo>
                  <a:cubicBezTo>
                    <a:pt x="193" y="175"/>
                    <a:pt x="184" y="175"/>
                    <a:pt x="175" y="175"/>
                  </a:cubicBezTo>
                  <a:cubicBezTo>
                    <a:pt x="171" y="175"/>
                    <a:pt x="168" y="174"/>
                    <a:pt x="166" y="171"/>
                  </a:cubicBezTo>
                  <a:cubicBezTo>
                    <a:pt x="163" y="163"/>
                    <a:pt x="164" y="154"/>
                    <a:pt x="166" y="146"/>
                  </a:cubicBezTo>
                  <a:cubicBezTo>
                    <a:pt x="167" y="142"/>
                    <a:pt x="171" y="142"/>
                    <a:pt x="175" y="142"/>
                  </a:cubicBezTo>
                  <a:cubicBezTo>
                    <a:pt x="196" y="142"/>
                    <a:pt x="217" y="142"/>
                    <a:pt x="238" y="142"/>
                  </a:cubicBezTo>
                  <a:cubicBezTo>
                    <a:pt x="247" y="142"/>
                    <a:pt x="248" y="148"/>
                    <a:pt x="248" y="155"/>
                  </a:cubicBezTo>
                  <a:cubicBezTo>
                    <a:pt x="249" y="169"/>
                    <a:pt x="248" y="183"/>
                    <a:pt x="248" y="198"/>
                  </a:cubicBezTo>
                  <a:close/>
                  <a:moveTo>
                    <a:pt x="884" y="1181"/>
                  </a:moveTo>
                  <a:cubicBezTo>
                    <a:pt x="889" y="1167"/>
                    <a:pt x="894" y="1152"/>
                    <a:pt x="898" y="1137"/>
                  </a:cubicBezTo>
                  <a:cubicBezTo>
                    <a:pt x="901" y="1127"/>
                    <a:pt x="905" y="1116"/>
                    <a:pt x="908" y="1106"/>
                  </a:cubicBezTo>
                  <a:cubicBezTo>
                    <a:pt x="911" y="1098"/>
                    <a:pt x="912" y="1089"/>
                    <a:pt x="916" y="1081"/>
                  </a:cubicBezTo>
                  <a:cubicBezTo>
                    <a:pt x="921" y="1072"/>
                    <a:pt x="923" y="1060"/>
                    <a:pt x="927" y="1050"/>
                  </a:cubicBezTo>
                  <a:cubicBezTo>
                    <a:pt x="932" y="1037"/>
                    <a:pt x="934" y="1023"/>
                    <a:pt x="940" y="1010"/>
                  </a:cubicBezTo>
                  <a:cubicBezTo>
                    <a:pt x="945" y="1001"/>
                    <a:pt x="941" y="995"/>
                    <a:pt x="931" y="995"/>
                  </a:cubicBezTo>
                  <a:cubicBezTo>
                    <a:pt x="927" y="995"/>
                    <a:pt x="922" y="995"/>
                    <a:pt x="918" y="995"/>
                  </a:cubicBezTo>
                  <a:cubicBezTo>
                    <a:pt x="913" y="995"/>
                    <a:pt x="908" y="997"/>
                    <a:pt x="907" y="1001"/>
                  </a:cubicBezTo>
                  <a:cubicBezTo>
                    <a:pt x="904" y="1008"/>
                    <a:pt x="900" y="1015"/>
                    <a:pt x="899" y="1023"/>
                  </a:cubicBezTo>
                  <a:cubicBezTo>
                    <a:pt x="897" y="1034"/>
                    <a:pt x="893" y="1045"/>
                    <a:pt x="889" y="1055"/>
                  </a:cubicBezTo>
                  <a:cubicBezTo>
                    <a:pt x="887" y="1064"/>
                    <a:pt x="885" y="1072"/>
                    <a:pt x="882" y="1080"/>
                  </a:cubicBezTo>
                  <a:cubicBezTo>
                    <a:pt x="878" y="1091"/>
                    <a:pt x="874" y="1103"/>
                    <a:pt x="871" y="1115"/>
                  </a:cubicBezTo>
                  <a:cubicBezTo>
                    <a:pt x="870" y="1118"/>
                    <a:pt x="871" y="1124"/>
                    <a:pt x="866" y="1124"/>
                  </a:cubicBezTo>
                  <a:cubicBezTo>
                    <a:pt x="861" y="1125"/>
                    <a:pt x="859" y="1120"/>
                    <a:pt x="858" y="1115"/>
                  </a:cubicBezTo>
                  <a:cubicBezTo>
                    <a:pt x="856" y="1110"/>
                    <a:pt x="856" y="1104"/>
                    <a:pt x="854" y="1099"/>
                  </a:cubicBezTo>
                  <a:cubicBezTo>
                    <a:pt x="848" y="1080"/>
                    <a:pt x="841" y="1062"/>
                    <a:pt x="835" y="1044"/>
                  </a:cubicBezTo>
                  <a:cubicBezTo>
                    <a:pt x="831" y="1030"/>
                    <a:pt x="828" y="1016"/>
                    <a:pt x="822" y="1003"/>
                  </a:cubicBezTo>
                  <a:cubicBezTo>
                    <a:pt x="819" y="997"/>
                    <a:pt x="814" y="994"/>
                    <a:pt x="808" y="994"/>
                  </a:cubicBezTo>
                  <a:cubicBezTo>
                    <a:pt x="799" y="993"/>
                    <a:pt x="791" y="993"/>
                    <a:pt x="787" y="1001"/>
                  </a:cubicBezTo>
                  <a:cubicBezTo>
                    <a:pt x="783" y="1008"/>
                    <a:pt x="780" y="1015"/>
                    <a:pt x="779" y="1022"/>
                  </a:cubicBezTo>
                  <a:cubicBezTo>
                    <a:pt x="778" y="1034"/>
                    <a:pt x="772" y="1044"/>
                    <a:pt x="769" y="1055"/>
                  </a:cubicBezTo>
                  <a:cubicBezTo>
                    <a:pt x="762" y="1076"/>
                    <a:pt x="754" y="1096"/>
                    <a:pt x="749" y="1117"/>
                  </a:cubicBezTo>
                  <a:cubicBezTo>
                    <a:pt x="748" y="1120"/>
                    <a:pt x="747" y="1124"/>
                    <a:pt x="742" y="1124"/>
                  </a:cubicBezTo>
                  <a:cubicBezTo>
                    <a:pt x="737" y="1124"/>
                    <a:pt x="737" y="1120"/>
                    <a:pt x="736" y="1116"/>
                  </a:cubicBezTo>
                  <a:cubicBezTo>
                    <a:pt x="734" y="1104"/>
                    <a:pt x="730" y="1092"/>
                    <a:pt x="726" y="1080"/>
                  </a:cubicBezTo>
                  <a:cubicBezTo>
                    <a:pt x="720" y="1061"/>
                    <a:pt x="714" y="1040"/>
                    <a:pt x="708" y="1020"/>
                  </a:cubicBezTo>
                  <a:cubicBezTo>
                    <a:pt x="703" y="1000"/>
                    <a:pt x="698" y="994"/>
                    <a:pt x="676" y="995"/>
                  </a:cubicBezTo>
                  <a:cubicBezTo>
                    <a:pt x="665" y="996"/>
                    <a:pt x="661" y="1001"/>
                    <a:pt x="667" y="1011"/>
                  </a:cubicBezTo>
                  <a:cubicBezTo>
                    <a:pt x="669" y="1016"/>
                    <a:pt x="670" y="1021"/>
                    <a:pt x="672" y="1025"/>
                  </a:cubicBezTo>
                  <a:cubicBezTo>
                    <a:pt x="675" y="1035"/>
                    <a:pt x="678" y="1046"/>
                    <a:pt x="681" y="1055"/>
                  </a:cubicBezTo>
                  <a:cubicBezTo>
                    <a:pt x="685" y="1068"/>
                    <a:pt x="689" y="1080"/>
                    <a:pt x="693" y="1092"/>
                  </a:cubicBezTo>
                  <a:cubicBezTo>
                    <a:pt x="697" y="1103"/>
                    <a:pt x="699" y="1113"/>
                    <a:pt x="703" y="1124"/>
                  </a:cubicBezTo>
                  <a:cubicBezTo>
                    <a:pt x="707" y="1136"/>
                    <a:pt x="711" y="1147"/>
                    <a:pt x="715" y="1160"/>
                  </a:cubicBezTo>
                  <a:cubicBezTo>
                    <a:pt x="717" y="1168"/>
                    <a:pt x="720" y="1176"/>
                    <a:pt x="724" y="1183"/>
                  </a:cubicBezTo>
                  <a:cubicBezTo>
                    <a:pt x="728" y="1189"/>
                    <a:pt x="752" y="1185"/>
                    <a:pt x="757" y="1180"/>
                  </a:cubicBezTo>
                  <a:cubicBezTo>
                    <a:pt x="764" y="1173"/>
                    <a:pt x="762" y="1163"/>
                    <a:pt x="766" y="1156"/>
                  </a:cubicBezTo>
                  <a:cubicBezTo>
                    <a:pt x="774" y="1140"/>
                    <a:pt x="778" y="1122"/>
                    <a:pt x="784" y="1105"/>
                  </a:cubicBezTo>
                  <a:cubicBezTo>
                    <a:pt x="789" y="1088"/>
                    <a:pt x="796" y="1072"/>
                    <a:pt x="800" y="1054"/>
                  </a:cubicBezTo>
                  <a:cubicBezTo>
                    <a:pt x="800" y="1053"/>
                    <a:pt x="801" y="1050"/>
                    <a:pt x="803" y="1050"/>
                  </a:cubicBezTo>
                  <a:cubicBezTo>
                    <a:pt x="806" y="1050"/>
                    <a:pt x="806" y="1052"/>
                    <a:pt x="807" y="1055"/>
                  </a:cubicBezTo>
                  <a:cubicBezTo>
                    <a:pt x="807" y="1060"/>
                    <a:pt x="810" y="1066"/>
                    <a:pt x="811" y="1071"/>
                  </a:cubicBezTo>
                  <a:cubicBezTo>
                    <a:pt x="814" y="1081"/>
                    <a:pt x="818" y="1090"/>
                    <a:pt x="821" y="1099"/>
                  </a:cubicBezTo>
                  <a:cubicBezTo>
                    <a:pt x="824" y="1110"/>
                    <a:pt x="827" y="1120"/>
                    <a:pt x="831" y="1131"/>
                  </a:cubicBezTo>
                  <a:cubicBezTo>
                    <a:pt x="834" y="1142"/>
                    <a:pt x="839" y="1153"/>
                    <a:pt x="842" y="1164"/>
                  </a:cubicBezTo>
                  <a:cubicBezTo>
                    <a:pt x="846" y="1179"/>
                    <a:pt x="850" y="1188"/>
                    <a:pt x="869" y="1185"/>
                  </a:cubicBezTo>
                  <a:cubicBezTo>
                    <a:pt x="873" y="1184"/>
                    <a:pt x="881" y="1189"/>
                    <a:pt x="884" y="1181"/>
                  </a:cubicBezTo>
                  <a:close/>
                  <a:moveTo>
                    <a:pt x="33" y="1051"/>
                  </a:moveTo>
                  <a:cubicBezTo>
                    <a:pt x="33" y="1087"/>
                    <a:pt x="33" y="1124"/>
                    <a:pt x="33" y="1160"/>
                  </a:cubicBezTo>
                  <a:cubicBezTo>
                    <a:pt x="33" y="1188"/>
                    <a:pt x="29" y="1184"/>
                    <a:pt x="58" y="1185"/>
                  </a:cubicBezTo>
                  <a:cubicBezTo>
                    <a:pt x="72" y="1185"/>
                    <a:pt x="73" y="1184"/>
                    <a:pt x="73" y="1170"/>
                  </a:cubicBezTo>
                  <a:cubicBezTo>
                    <a:pt x="73" y="1138"/>
                    <a:pt x="73" y="1107"/>
                    <a:pt x="73" y="1076"/>
                  </a:cubicBezTo>
                  <a:cubicBezTo>
                    <a:pt x="73" y="1071"/>
                    <a:pt x="72" y="1067"/>
                    <a:pt x="78" y="1065"/>
                  </a:cubicBezTo>
                  <a:cubicBezTo>
                    <a:pt x="91" y="1062"/>
                    <a:pt x="102" y="1067"/>
                    <a:pt x="110" y="1076"/>
                  </a:cubicBezTo>
                  <a:cubicBezTo>
                    <a:pt x="112" y="1080"/>
                    <a:pt x="115" y="1083"/>
                    <a:pt x="118" y="1086"/>
                  </a:cubicBezTo>
                  <a:cubicBezTo>
                    <a:pt x="132" y="1103"/>
                    <a:pt x="146" y="1119"/>
                    <a:pt x="161" y="1136"/>
                  </a:cubicBezTo>
                  <a:cubicBezTo>
                    <a:pt x="173" y="1150"/>
                    <a:pt x="186" y="1165"/>
                    <a:pt x="198" y="1179"/>
                  </a:cubicBezTo>
                  <a:cubicBezTo>
                    <a:pt x="207" y="1188"/>
                    <a:pt x="218" y="1184"/>
                    <a:pt x="228" y="1185"/>
                  </a:cubicBezTo>
                  <a:cubicBezTo>
                    <a:pt x="233" y="1185"/>
                    <a:pt x="241" y="1188"/>
                    <a:pt x="244" y="1182"/>
                  </a:cubicBezTo>
                  <a:cubicBezTo>
                    <a:pt x="246" y="1178"/>
                    <a:pt x="239" y="1173"/>
                    <a:pt x="235" y="1169"/>
                  </a:cubicBezTo>
                  <a:cubicBezTo>
                    <a:pt x="206" y="1133"/>
                    <a:pt x="176" y="1098"/>
                    <a:pt x="146" y="1062"/>
                  </a:cubicBezTo>
                  <a:cubicBezTo>
                    <a:pt x="141" y="1056"/>
                    <a:pt x="131" y="1052"/>
                    <a:pt x="132" y="1044"/>
                  </a:cubicBezTo>
                  <a:cubicBezTo>
                    <a:pt x="132" y="1036"/>
                    <a:pt x="142" y="1032"/>
                    <a:pt x="147" y="1026"/>
                  </a:cubicBezTo>
                  <a:cubicBezTo>
                    <a:pt x="164" y="1006"/>
                    <a:pt x="182" y="988"/>
                    <a:pt x="198" y="968"/>
                  </a:cubicBezTo>
                  <a:cubicBezTo>
                    <a:pt x="209" y="954"/>
                    <a:pt x="221" y="942"/>
                    <a:pt x="234" y="929"/>
                  </a:cubicBezTo>
                  <a:cubicBezTo>
                    <a:pt x="236" y="926"/>
                    <a:pt x="238" y="923"/>
                    <a:pt x="237" y="920"/>
                  </a:cubicBezTo>
                  <a:cubicBezTo>
                    <a:pt x="235" y="915"/>
                    <a:pt x="231" y="917"/>
                    <a:pt x="228" y="917"/>
                  </a:cubicBezTo>
                  <a:cubicBezTo>
                    <a:pt x="224" y="918"/>
                    <a:pt x="221" y="918"/>
                    <a:pt x="217" y="918"/>
                  </a:cubicBezTo>
                  <a:cubicBezTo>
                    <a:pt x="204" y="917"/>
                    <a:pt x="193" y="922"/>
                    <a:pt x="185" y="931"/>
                  </a:cubicBezTo>
                  <a:cubicBezTo>
                    <a:pt x="172" y="946"/>
                    <a:pt x="158" y="961"/>
                    <a:pt x="145" y="977"/>
                  </a:cubicBezTo>
                  <a:cubicBezTo>
                    <a:pt x="131" y="993"/>
                    <a:pt x="117" y="1010"/>
                    <a:pt x="102" y="1026"/>
                  </a:cubicBezTo>
                  <a:cubicBezTo>
                    <a:pt x="96" y="1032"/>
                    <a:pt x="87" y="1037"/>
                    <a:pt x="78" y="1034"/>
                  </a:cubicBezTo>
                  <a:cubicBezTo>
                    <a:pt x="70" y="1030"/>
                    <a:pt x="73" y="1021"/>
                    <a:pt x="73" y="1015"/>
                  </a:cubicBezTo>
                  <a:cubicBezTo>
                    <a:pt x="73" y="991"/>
                    <a:pt x="73" y="967"/>
                    <a:pt x="73" y="944"/>
                  </a:cubicBezTo>
                  <a:cubicBezTo>
                    <a:pt x="73" y="916"/>
                    <a:pt x="75" y="917"/>
                    <a:pt x="46" y="918"/>
                  </a:cubicBezTo>
                  <a:cubicBezTo>
                    <a:pt x="33" y="918"/>
                    <a:pt x="33" y="918"/>
                    <a:pt x="33" y="931"/>
                  </a:cubicBezTo>
                  <a:cubicBezTo>
                    <a:pt x="33" y="971"/>
                    <a:pt x="33" y="1011"/>
                    <a:pt x="33" y="1051"/>
                  </a:cubicBezTo>
                  <a:cubicBezTo>
                    <a:pt x="33" y="1051"/>
                    <a:pt x="33" y="1051"/>
                    <a:pt x="33" y="1051"/>
                  </a:cubicBezTo>
                  <a:close/>
                  <a:moveTo>
                    <a:pt x="639" y="84"/>
                  </a:moveTo>
                  <a:cubicBezTo>
                    <a:pt x="627" y="84"/>
                    <a:pt x="626" y="84"/>
                    <a:pt x="629" y="95"/>
                  </a:cubicBezTo>
                  <a:cubicBezTo>
                    <a:pt x="634" y="113"/>
                    <a:pt x="640" y="131"/>
                    <a:pt x="646" y="148"/>
                  </a:cubicBezTo>
                  <a:cubicBezTo>
                    <a:pt x="652" y="166"/>
                    <a:pt x="658" y="185"/>
                    <a:pt x="664" y="203"/>
                  </a:cubicBezTo>
                  <a:cubicBezTo>
                    <a:pt x="671" y="223"/>
                    <a:pt x="676" y="244"/>
                    <a:pt x="684" y="264"/>
                  </a:cubicBezTo>
                  <a:cubicBezTo>
                    <a:pt x="688" y="274"/>
                    <a:pt x="694" y="274"/>
                    <a:pt x="702" y="274"/>
                  </a:cubicBezTo>
                  <a:cubicBezTo>
                    <a:pt x="711" y="274"/>
                    <a:pt x="719" y="272"/>
                    <a:pt x="723" y="263"/>
                  </a:cubicBezTo>
                  <a:cubicBezTo>
                    <a:pt x="733" y="236"/>
                    <a:pt x="741" y="208"/>
                    <a:pt x="750" y="181"/>
                  </a:cubicBezTo>
                  <a:cubicBezTo>
                    <a:pt x="754" y="169"/>
                    <a:pt x="757" y="156"/>
                    <a:pt x="763" y="145"/>
                  </a:cubicBezTo>
                  <a:cubicBezTo>
                    <a:pt x="764" y="143"/>
                    <a:pt x="764" y="140"/>
                    <a:pt x="767" y="140"/>
                  </a:cubicBezTo>
                  <a:cubicBezTo>
                    <a:pt x="770" y="140"/>
                    <a:pt x="770" y="143"/>
                    <a:pt x="771" y="145"/>
                  </a:cubicBezTo>
                  <a:cubicBezTo>
                    <a:pt x="771" y="156"/>
                    <a:pt x="777" y="165"/>
                    <a:pt x="780" y="175"/>
                  </a:cubicBezTo>
                  <a:cubicBezTo>
                    <a:pt x="782" y="184"/>
                    <a:pt x="785" y="193"/>
                    <a:pt x="788" y="201"/>
                  </a:cubicBezTo>
                  <a:cubicBezTo>
                    <a:pt x="794" y="219"/>
                    <a:pt x="801" y="237"/>
                    <a:pt x="806" y="255"/>
                  </a:cubicBezTo>
                  <a:cubicBezTo>
                    <a:pt x="811" y="272"/>
                    <a:pt x="825" y="280"/>
                    <a:pt x="842" y="273"/>
                  </a:cubicBezTo>
                  <a:cubicBezTo>
                    <a:pt x="845" y="271"/>
                    <a:pt x="847" y="269"/>
                    <a:pt x="848" y="266"/>
                  </a:cubicBezTo>
                  <a:cubicBezTo>
                    <a:pt x="853" y="251"/>
                    <a:pt x="859" y="236"/>
                    <a:pt x="863" y="221"/>
                  </a:cubicBezTo>
                  <a:cubicBezTo>
                    <a:pt x="867" y="202"/>
                    <a:pt x="875" y="185"/>
                    <a:pt x="880" y="166"/>
                  </a:cubicBezTo>
                  <a:cubicBezTo>
                    <a:pt x="886" y="144"/>
                    <a:pt x="895" y="123"/>
                    <a:pt x="900" y="101"/>
                  </a:cubicBezTo>
                  <a:cubicBezTo>
                    <a:pt x="901" y="96"/>
                    <a:pt x="909" y="91"/>
                    <a:pt x="904" y="86"/>
                  </a:cubicBezTo>
                  <a:cubicBezTo>
                    <a:pt x="900" y="81"/>
                    <a:pt x="892" y="84"/>
                    <a:pt x="886" y="84"/>
                  </a:cubicBezTo>
                  <a:cubicBezTo>
                    <a:pt x="885" y="84"/>
                    <a:pt x="883" y="84"/>
                    <a:pt x="881" y="84"/>
                  </a:cubicBezTo>
                  <a:cubicBezTo>
                    <a:pt x="875" y="84"/>
                    <a:pt x="872" y="86"/>
                    <a:pt x="869" y="91"/>
                  </a:cubicBezTo>
                  <a:cubicBezTo>
                    <a:pt x="860" y="110"/>
                    <a:pt x="856" y="131"/>
                    <a:pt x="850" y="151"/>
                  </a:cubicBezTo>
                  <a:cubicBezTo>
                    <a:pt x="844" y="170"/>
                    <a:pt x="836" y="188"/>
                    <a:pt x="834" y="208"/>
                  </a:cubicBezTo>
                  <a:cubicBezTo>
                    <a:pt x="833" y="211"/>
                    <a:pt x="831" y="214"/>
                    <a:pt x="827" y="214"/>
                  </a:cubicBezTo>
                  <a:cubicBezTo>
                    <a:pt x="823" y="214"/>
                    <a:pt x="822" y="210"/>
                    <a:pt x="822" y="207"/>
                  </a:cubicBezTo>
                  <a:cubicBezTo>
                    <a:pt x="817" y="188"/>
                    <a:pt x="811" y="170"/>
                    <a:pt x="805" y="152"/>
                  </a:cubicBezTo>
                  <a:cubicBezTo>
                    <a:pt x="799" y="133"/>
                    <a:pt x="794" y="114"/>
                    <a:pt x="786" y="96"/>
                  </a:cubicBezTo>
                  <a:cubicBezTo>
                    <a:pt x="783" y="87"/>
                    <a:pt x="779" y="84"/>
                    <a:pt x="770" y="84"/>
                  </a:cubicBezTo>
                  <a:cubicBezTo>
                    <a:pt x="761" y="84"/>
                    <a:pt x="752" y="82"/>
                    <a:pt x="748" y="94"/>
                  </a:cubicBezTo>
                  <a:cubicBezTo>
                    <a:pt x="744" y="109"/>
                    <a:pt x="738" y="123"/>
                    <a:pt x="734" y="138"/>
                  </a:cubicBezTo>
                  <a:cubicBezTo>
                    <a:pt x="729" y="153"/>
                    <a:pt x="724" y="167"/>
                    <a:pt x="719" y="182"/>
                  </a:cubicBezTo>
                  <a:cubicBezTo>
                    <a:pt x="716" y="192"/>
                    <a:pt x="715" y="203"/>
                    <a:pt x="708" y="212"/>
                  </a:cubicBezTo>
                  <a:cubicBezTo>
                    <a:pt x="707" y="214"/>
                    <a:pt x="707" y="217"/>
                    <a:pt x="704" y="217"/>
                  </a:cubicBezTo>
                  <a:cubicBezTo>
                    <a:pt x="701" y="217"/>
                    <a:pt x="701" y="213"/>
                    <a:pt x="700" y="211"/>
                  </a:cubicBezTo>
                  <a:cubicBezTo>
                    <a:pt x="699" y="198"/>
                    <a:pt x="694" y="186"/>
                    <a:pt x="690" y="174"/>
                  </a:cubicBezTo>
                  <a:cubicBezTo>
                    <a:pt x="684" y="153"/>
                    <a:pt x="677" y="131"/>
                    <a:pt x="672" y="110"/>
                  </a:cubicBezTo>
                  <a:cubicBezTo>
                    <a:pt x="667" y="88"/>
                    <a:pt x="663" y="84"/>
                    <a:pt x="645" y="84"/>
                  </a:cubicBezTo>
                  <a:cubicBezTo>
                    <a:pt x="643" y="84"/>
                    <a:pt x="641" y="84"/>
                    <a:pt x="639" y="84"/>
                  </a:cubicBezTo>
                  <a:close/>
                  <a:moveTo>
                    <a:pt x="507" y="711"/>
                  </a:moveTo>
                  <a:cubicBezTo>
                    <a:pt x="507" y="730"/>
                    <a:pt x="507" y="730"/>
                    <a:pt x="526" y="730"/>
                  </a:cubicBezTo>
                  <a:cubicBezTo>
                    <a:pt x="539" y="730"/>
                    <a:pt x="541" y="729"/>
                    <a:pt x="541" y="715"/>
                  </a:cubicBezTo>
                  <a:cubicBezTo>
                    <a:pt x="541" y="677"/>
                    <a:pt x="541" y="638"/>
                    <a:pt x="540" y="600"/>
                  </a:cubicBezTo>
                  <a:cubicBezTo>
                    <a:pt x="540" y="593"/>
                    <a:pt x="543" y="587"/>
                    <a:pt x="548" y="582"/>
                  </a:cubicBezTo>
                  <a:cubicBezTo>
                    <a:pt x="553" y="576"/>
                    <a:pt x="559" y="573"/>
                    <a:pt x="564" y="569"/>
                  </a:cubicBezTo>
                  <a:cubicBezTo>
                    <a:pt x="574" y="564"/>
                    <a:pt x="594" y="566"/>
                    <a:pt x="602" y="574"/>
                  </a:cubicBezTo>
                  <a:cubicBezTo>
                    <a:pt x="611" y="582"/>
                    <a:pt x="614" y="592"/>
                    <a:pt x="614" y="604"/>
                  </a:cubicBezTo>
                  <a:cubicBezTo>
                    <a:pt x="614" y="638"/>
                    <a:pt x="614" y="672"/>
                    <a:pt x="614" y="706"/>
                  </a:cubicBezTo>
                  <a:cubicBezTo>
                    <a:pt x="614" y="730"/>
                    <a:pt x="614" y="730"/>
                    <a:pt x="638" y="730"/>
                  </a:cubicBezTo>
                  <a:cubicBezTo>
                    <a:pt x="650" y="730"/>
                    <a:pt x="650" y="730"/>
                    <a:pt x="650" y="717"/>
                  </a:cubicBezTo>
                  <a:cubicBezTo>
                    <a:pt x="650" y="684"/>
                    <a:pt x="650" y="650"/>
                    <a:pt x="650" y="617"/>
                  </a:cubicBezTo>
                  <a:cubicBezTo>
                    <a:pt x="650" y="606"/>
                    <a:pt x="651" y="597"/>
                    <a:pt x="657" y="586"/>
                  </a:cubicBezTo>
                  <a:cubicBezTo>
                    <a:pt x="667" y="565"/>
                    <a:pt x="703" y="560"/>
                    <a:pt x="716" y="579"/>
                  </a:cubicBezTo>
                  <a:cubicBezTo>
                    <a:pt x="723" y="588"/>
                    <a:pt x="724" y="598"/>
                    <a:pt x="724" y="609"/>
                  </a:cubicBezTo>
                  <a:cubicBezTo>
                    <a:pt x="724" y="645"/>
                    <a:pt x="724" y="682"/>
                    <a:pt x="724" y="718"/>
                  </a:cubicBezTo>
                  <a:cubicBezTo>
                    <a:pt x="724" y="727"/>
                    <a:pt x="727" y="731"/>
                    <a:pt x="736" y="730"/>
                  </a:cubicBezTo>
                  <a:cubicBezTo>
                    <a:pt x="738" y="730"/>
                    <a:pt x="741" y="730"/>
                    <a:pt x="743" y="730"/>
                  </a:cubicBezTo>
                  <a:cubicBezTo>
                    <a:pt x="758" y="730"/>
                    <a:pt x="759" y="729"/>
                    <a:pt x="759" y="715"/>
                  </a:cubicBezTo>
                  <a:cubicBezTo>
                    <a:pt x="759" y="677"/>
                    <a:pt x="758" y="639"/>
                    <a:pt x="759" y="601"/>
                  </a:cubicBezTo>
                  <a:cubicBezTo>
                    <a:pt x="759" y="571"/>
                    <a:pt x="742" y="540"/>
                    <a:pt x="704" y="538"/>
                  </a:cubicBezTo>
                  <a:cubicBezTo>
                    <a:pt x="681" y="536"/>
                    <a:pt x="661" y="542"/>
                    <a:pt x="646" y="560"/>
                  </a:cubicBezTo>
                  <a:cubicBezTo>
                    <a:pt x="638" y="569"/>
                    <a:pt x="638" y="569"/>
                    <a:pt x="631" y="559"/>
                  </a:cubicBezTo>
                  <a:cubicBezTo>
                    <a:pt x="630" y="558"/>
                    <a:pt x="630" y="557"/>
                    <a:pt x="629" y="556"/>
                  </a:cubicBezTo>
                  <a:cubicBezTo>
                    <a:pt x="623" y="548"/>
                    <a:pt x="616" y="541"/>
                    <a:pt x="607" y="539"/>
                  </a:cubicBezTo>
                  <a:cubicBezTo>
                    <a:pt x="584" y="534"/>
                    <a:pt x="563" y="539"/>
                    <a:pt x="545" y="555"/>
                  </a:cubicBezTo>
                  <a:cubicBezTo>
                    <a:pt x="540" y="559"/>
                    <a:pt x="537" y="561"/>
                    <a:pt x="537" y="552"/>
                  </a:cubicBezTo>
                  <a:cubicBezTo>
                    <a:pt x="536" y="543"/>
                    <a:pt x="526" y="538"/>
                    <a:pt x="515" y="539"/>
                  </a:cubicBezTo>
                  <a:cubicBezTo>
                    <a:pt x="506" y="540"/>
                    <a:pt x="507" y="546"/>
                    <a:pt x="507" y="552"/>
                  </a:cubicBezTo>
                  <a:cubicBezTo>
                    <a:pt x="507" y="580"/>
                    <a:pt x="507" y="607"/>
                    <a:pt x="507" y="634"/>
                  </a:cubicBezTo>
                  <a:cubicBezTo>
                    <a:pt x="507" y="660"/>
                    <a:pt x="507" y="685"/>
                    <a:pt x="507" y="711"/>
                  </a:cubicBezTo>
                  <a:close/>
                  <a:moveTo>
                    <a:pt x="1525" y="1142"/>
                  </a:moveTo>
                  <a:cubicBezTo>
                    <a:pt x="1517" y="1143"/>
                    <a:pt x="1511" y="1141"/>
                    <a:pt x="1505" y="1136"/>
                  </a:cubicBezTo>
                  <a:cubicBezTo>
                    <a:pt x="1501" y="1133"/>
                    <a:pt x="1495" y="1130"/>
                    <a:pt x="1498" y="1124"/>
                  </a:cubicBezTo>
                  <a:cubicBezTo>
                    <a:pt x="1500" y="1118"/>
                    <a:pt x="1504" y="1114"/>
                    <a:pt x="1512" y="1114"/>
                  </a:cubicBezTo>
                  <a:cubicBezTo>
                    <a:pt x="1521" y="1115"/>
                    <a:pt x="1530" y="1114"/>
                    <a:pt x="1538" y="1115"/>
                  </a:cubicBezTo>
                  <a:cubicBezTo>
                    <a:pt x="1573" y="1117"/>
                    <a:pt x="1610" y="1084"/>
                    <a:pt x="1602" y="1044"/>
                  </a:cubicBezTo>
                  <a:cubicBezTo>
                    <a:pt x="1600" y="1035"/>
                    <a:pt x="1599" y="1028"/>
                    <a:pt x="1611" y="1027"/>
                  </a:cubicBezTo>
                  <a:cubicBezTo>
                    <a:pt x="1614" y="1027"/>
                    <a:pt x="1617" y="1024"/>
                    <a:pt x="1619" y="1023"/>
                  </a:cubicBezTo>
                  <a:cubicBezTo>
                    <a:pt x="1626" y="1019"/>
                    <a:pt x="1624" y="1013"/>
                    <a:pt x="1623" y="1008"/>
                  </a:cubicBezTo>
                  <a:cubicBezTo>
                    <a:pt x="1623" y="1002"/>
                    <a:pt x="1618" y="1003"/>
                    <a:pt x="1613" y="1002"/>
                  </a:cubicBezTo>
                  <a:cubicBezTo>
                    <a:pt x="1598" y="1002"/>
                    <a:pt x="1582" y="1004"/>
                    <a:pt x="1567" y="1000"/>
                  </a:cubicBezTo>
                  <a:cubicBezTo>
                    <a:pt x="1560" y="999"/>
                    <a:pt x="1554" y="993"/>
                    <a:pt x="1546" y="993"/>
                  </a:cubicBezTo>
                  <a:cubicBezTo>
                    <a:pt x="1536" y="994"/>
                    <a:pt x="1525" y="992"/>
                    <a:pt x="1515" y="993"/>
                  </a:cubicBezTo>
                  <a:cubicBezTo>
                    <a:pt x="1490" y="997"/>
                    <a:pt x="1469" y="1010"/>
                    <a:pt x="1462" y="1034"/>
                  </a:cubicBezTo>
                  <a:cubicBezTo>
                    <a:pt x="1455" y="1056"/>
                    <a:pt x="1457" y="1079"/>
                    <a:pt x="1476" y="1096"/>
                  </a:cubicBezTo>
                  <a:cubicBezTo>
                    <a:pt x="1483" y="1103"/>
                    <a:pt x="1483" y="1107"/>
                    <a:pt x="1476" y="1113"/>
                  </a:cubicBezTo>
                  <a:cubicBezTo>
                    <a:pt x="1462" y="1126"/>
                    <a:pt x="1462" y="1142"/>
                    <a:pt x="1473" y="1157"/>
                  </a:cubicBezTo>
                  <a:cubicBezTo>
                    <a:pt x="1476" y="1160"/>
                    <a:pt x="1476" y="1162"/>
                    <a:pt x="1472" y="1164"/>
                  </a:cubicBezTo>
                  <a:cubicBezTo>
                    <a:pt x="1470" y="1166"/>
                    <a:pt x="1468" y="1168"/>
                    <a:pt x="1466" y="1170"/>
                  </a:cubicBezTo>
                  <a:cubicBezTo>
                    <a:pt x="1449" y="1183"/>
                    <a:pt x="1444" y="1201"/>
                    <a:pt x="1454" y="1218"/>
                  </a:cubicBezTo>
                  <a:cubicBezTo>
                    <a:pt x="1464" y="1235"/>
                    <a:pt x="1479" y="1246"/>
                    <a:pt x="1499" y="1249"/>
                  </a:cubicBezTo>
                  <a:cubicBezTo>
                    <a:pt x="1517" y="1252"/>
                    <a:pt x="1535" y="1253"/>
                    <a:pt x="1553" y="1250"/>
                  </a:cubicBezTo>
                  <a:cubicBezTo>
                    <a:pt x="1584" y="1245"/>
                    <a:pt x="1607" y="1232"/>
                    <a:pt x="1619" y="1200"/>
                  </a:cubicBezTo>
                  <a:cubicBezTo>
                    <a:pt x="1627" y="1180"/>
                    <a:pt x="1611" y="1155"/>
                    <a:pt x="1593" y="1148"/>
                  </a:cubicBezTo>
                  <a:cubicBezTo>
                    <a:pt x="1578" y="1142"/>
                    <a:pt x="1563" y="1143"/>
                    <a:pt x="1549" y="1142"/>
                  </a:cubicBezTo>
                  <a:cubicBezTo>
                    <a:pt x="1540" y="1142"/>
                    <a:pt x="1532" y="1142"/>
                    <a:pt x="1525" y="1142"/>
                  </a:cubicBezTo>
                  <a:close/>
                  <a:moveTo>
                    <a:pt x="1556" y="1172"/>
                  </a:moveTo>
                  <a:cubicBezTo>
                    <a:pt x="1566" y="1172"/>
                    <a:pt x="1576" y="1176"/>
                    <a:pt x="1583" y="1183"/>
                  </a:cubicBezTo>
                  <a:cubicBezTo>
                    <a:pt x="1589" y="1190"/>
                    <a:pt x="1589" y="1198"/>
                    <a:pt x="1583" y="1205"/>
                  </a:cubicBezTo>
                  <a:cubicBezTo>
                    <a:pt x="1575" y="1215"/>
                    <a:pt x="1565" y="1220"/>
                    <a:pt x="1553" y="1223"/>
                  </a:cubicBezTo>
                  <a:cubicBezTo>
                    <a:pt x="1534" y="1228"/>
                    <a:pt x="1516" y="1225"/>
                    <a:pt x="1499" y="1219"/>
                  </a:cubicBezTo>
                  <a:cubicBezTo>
                    <a:pt x="1486" y="1214"/>
                    <a:pt x="1479" y="1203"/>
                    <a:pt x="1482" y="1193"/>
                  </a:cubicBezTo>
                  <a:cubicBezTo>
                    <a:pt x="1485" y="1182"/>
                    <a:pt x="1496" y="1168"/>
                    <a:pt x="1514" y="1171"/>
                  </a:cubicBezTo>
                  <a:cubicBezTo>
                    <a:pt x="1526" y="1173"/>
                    <a:pt x="1541" y="1171"/>
                    <a:pt x="1556" y="1172"/>
                  </a:cubicBezTo>
                  <a:close/>
                  <a:moveTo>
                    <a:pt x="1531" y="1019"/>
                  </a:moveTo>
                  <a:cubicBezTo>
                    <a:pt x="1553" y="1017"/>
                    <a:pt x="1570" y="1033"/>
                    <a:pt x="1570" y="1052"/>
                  </a:cubicBezTo>
                  <a:cubicBezTo>
                    <a:pt x="1570" y="1075"/>
                    <a:pt x="1554" y="1093"/>
                    <a:pt x="1532" y="1091"/>
                  </a:cubicBezTo>
                  <a:cubicBezTo>
                    <a:pt x="1508" y="1089"/>
                    <a:pt x="1494" y="1082"/>
                    <a:pt x="1493" y="1053"/>
                  </a:cubicBezTo>
                  <a:cubicBezTo>
                    <a:pt x="1494" y="1029"/>
                    <a:pt x="1508" y="1020"/>
                    <a:pt x="1531" y="1019"/>
                  </a:cubicBezTo>
                  <a:close/>
                  <a:moveTo>
                    <a:pt x="1413" y="934"/>
                  </a:moveTo>
                  <a:cubicBezTo>
                    <a:pt x="1413" y="909"/>
                    <a:pt x="1413" y="909"/>
                    <a:pt x="1389" y="910"/>
                  </a:cubicBezTo>
                  <a:cubicBezTo>
                    <a:pt x="1388" y="910"/>
                    <a:pt x="1387" y="910"/>
                    <a:pt x="1387" y="910"/>
                  </a:cubicBezTo>
                  <a:cubicBezTo>
                    <a:pt x="1379" y="910"/>
                    <a:pt x="1376" y="915"/>
                    <a:pt x="1376" y="921"/>
                  </a:cubicBezTo>
                  <a:cubicBezTo>
                    <a:pt x="1376" y="939"/>
                    <a:pt x="1377" y="956"/>
                    <a:pt x="1377" y="974"/>
                  </a:cubicBezTo>
                  <a:cubicBezTo>
                    <a:pt x="1377" y="983"/>
                    <a:pt x="1377" y="991"/>
                    <a:pt x="1377" y="1000"/>
                  </a:cubicBezTo>
                  <a:cubicBezTo>
                    <a:pt x="1377" y="1005"/>
                    <a:pt x="1374" y="1009"/>
                    <a:pt x="1369" y="1005"/>
                  </a:cubicBezTo>
                  <a:cubicBezTo>
                    <a:pt x="1352" y="990"/>
                    <a:pt x="1332" y="993"/>
                    <a:pt x="1312" y="993"/>
                  </a:cubicBezTo>
                  <a:cubicBezTo>
                    <a:pt x="1303" y="994"/>
                    <a:pt x="1294" y="998"/>
                    <a:pt x="1287" y="1003"/>
                  </a:cubicBezTo>
                  <a:cubicBezTo>
                    <a:pt x="1265" y="1017"/>
                    <a:pt x="1252" y="1039"/>
                    <a:pt x="1248" y="1065"/>
                  </a:cubicBezTo>
                  <a:cubicBezTo>
                    <a:pt x="1244" y="1096"/>
                    <a:pt x="1244" y="1128"/>
                    <a:pt x="1261" y="1157"/>
                  </a:cubicBezTo>
                  <a:cubicBezTo>
                    <a:pt x="1270" y="1170"/>
                    <a:pt x="1281" y="1181"/>
                    <a:pt x="1296" y="1185"/>
                  </a:cubicBezTo>
                  <a:cubicBezTo>
                    <a:pt x="1323" y="1191"/>
                    <a:pt x="1349" y="1188"/>
                    <a:pt x="1370" y="1167"/>
                  </a:cubicBezTo>
                  <a:cubicBezTo>
                    <a:pt x="1372" y="1165"/>
                    <a:pt x="1375" y="1162"/>
                    <a:pt x="1379" y="1163"/>
                  </a:cubicBezTo>
                  <a:cubicBezTo>
                    <a:pt x="1382" y="1165"/>
                    <a:pt x="1381" y="1169"/>
                    <a:pt x="1381" y="1172"/>
                  </a:cubicBezTo>
                  <a:cubicBezTo>
                    <a:pt x="1383" y="1181"/>
                    <a:pt x="1390" y="1186"/>
                    <a:pt x="1403" y="1186"/>
                  </a:cubicBezTo>
                  <a:cubicBezTo>
                    <a:pt x="1413" y="1185"/>
                    <a:pt x="1413" y="1178"/>
                    <a:pt x="1413" y="1172"/>
                  </a:cubicBezTo>
                  <a:cubicBezTo>
                    <a:pt x="1413" y="1131"/>
                    <a:pt x="1413" y="1090"/>
                    <a:pt x="1413" y="1049"/>
                  </a:cubicBezTo>
                  <a:cubicBezTo>
                    <a:pt x="1413" y="1010"/>
                    <a:pt x="1413" y="972"/>
                    <a:pt x="1413" y="934"/>
                  </a:cubicBezTo>
                  <a:close/>
                  <a:moveTo>
                    <a:pt x="1378" y="1113"/>
                  </a:moveTo>
                  <a:cubicBezTo>
                    <a:pt x="1378" y="1136"/>
                    <a:pt x="1360" y="1155"/>
                    <a:pt x="1337" y="1157"/>
                  </a:cubicBezTo>
                  <a:cubicBezTo>
                    <a:pt x="1319" y="1159"/>
                    <a:pt x="1304" y="1154"/>
                    <a:pt x="1294" y="1139"/>
                  </a:cubicBezTo>
                  <a:cubicBezTo>
                    <a:pt x="1286" y="1128"/>
                    <a:pt x="1283" y="1116"/>
                    <a:pt x="1283" y="1102"/>
                  </a:cubicBezTo>
                  <a:cubicBezTo>
                    <a:pt x="1282" y="1085"/>
                    <a:pt x="1282" y="1067"/>
                    <a:pt x="1290" y="1051"/>
                  </a:cubicBezTo>
                  <a:cubicBezTo>
                    <a:pt x="1297" y="1036"/>
                    <a:pt x="1308" y="1024"/>
                    <a:pt x="1325" y="1022"/>
                  </a:cubicBezTo>
                  <a:cubicBezTo>
                    <a:pt x="1342" y="1020"/>
                    <a:pt x="1358" y="1021"/>
                    <a:pt x="1371" y="1035"/>
                  </a:cubicBezTo>
                  <a:cubicBezTo>
                    <a:pt x="1376" y="1041"/>
                    <a:pt x="1378" y="1046"/>
                    <a:pt x="1378" y="1052"/>
                  </a:cubicBezTo>
                  <a:cubicBezTo>
                    <a:pt x="1378" y="1064"/>
                    <a:pt x="1378" y="1075"/>
                    <a:pt x="1378" y="1086"/>
                  </a:cubicBezTo>
                  <a:cubicBezTo>
                    <a:pt x="1378" y="1086"/>
                    <a:pt x="1378" y="1086"/>
                    <a:pt x="1378" y="1086"/>
                  </a:cubicBezTo>
                  <a:cubicBezTo>
                    <a:pt x="1378" y="1095"/>
                    <a:pt x="1378" y="1104"/>
                    <a:pt x="1378" y="1113"/>
                  </a:cubicBezTo>
                  <a:close/>
                  <a:moveTo>
                    <a:pt x="578" y="259"/>
                  </a:moveTo>
                  <a:cubicBezTo>
                    <a:pt x="603" y="241"/>
                    <a:pt x="611" y="213"/>
                    <a:pt x="614" y="183"/>
                  </a:cubicBezTo>
                  <a:cubicBezTo>
                    <a:pt x="615" y="171"/>
                    <a:pt x="610" y="159"/>
                    <a:pt x="609" y="147"/>
                  </a:cubicBezTo>
                  <a:cubicBezTo>
                    <a:pt x="608" y="137"/>
                    <a:pt x="603" y="129"/>
                    <a:pt x="599" y="121"/>
                  </a:cubicBezTo>
                  <a:cubicBezTo>
                    <a:pt x="579" y="87"/>
                    <a:pt x="527" y="70"/>
                    <a:pt x="488" y="85"/>
                  </a:cubicBezTo>
                  <a:cubicBezTo>
                    <a:pt x="453" y="99"/>
                    <a:pt x="436" y="127"/>
                    <a:pt x="431" y="163"/>
                  </a:cubicBezTo>
                  <a:cubicBezTo>
                    <a:pt x="429" y="180"/>
                    <a:pt x="430" y="196"/>
                    <a:pt x="436" y="213"/>
                  </a:cubicBezTo>
                  <a:cubicBezTo>
                    <a:pt x="439" y="222"/>
                    <a:pt x="442" y="232"/>
                    <a:pt x="447" y="239"/>
                  </a:cubicBezTo>
                  <a:cubicBezTo>
                    <a:pt x="465" y="265"/>
                    <a:pt x="491" y="277"/>
                    <a:pt x="525" y="276"/>
                  </a:cubicBezTo>
                  <a:cubicBezTo>
                    <a:pt x="543" y="278"/>
                    <a:pt x="562" y="271"/>
                    <a:pt x="578" y="259"/>
                  </a:cubicBezTo>
                  <a:close/>
                  <a:moveTo>
                    <a:pt x="471" y="205"/>
                  </a:moveTo>
                  <a:cubicBezTo>
                    <a:pt x="466" y="185"/>
                    <a:pt x="468" y="167"/>
                    <a:pt x="472" y="147"/>
                  </a:cubicBezTo>
                  <a:cubicBezTo>
                    <a:pt x="477" y="130"/>
                    <a:pt x="493" y="116"/>
                    <a:pt x="509" y="112"/>
                  </a:cubicBezTo>
                  <a:cubicBezTo>
                    <a:pt x="525" y="108"/>
                    <a:pt x="539" y="110"/>
                    <a:pt x="553" y="119"/>
                  </a:cubicBezTo>
                  <a:cubicBezTo>
                    <a:pt x="563" y="125"/>
                    <a:pt x="568" y="135"/>
                    <a:pt x="571" y="146"/>
                  </a:cubicBezTo>
                  <a:cubicBezTo>
                    <a:pt x="577" y="167"/>
                    <a:pt x="578" y="189"/>
                    <a:pt x="571" y="211"/>
                  </a:cubicBezTo>
                  <a:cubicBezTo>
                    <a:pt x="565" y="231"/>
                    <a:pt x="549" y="249"/>
                    <a:pt x="521" y="247"/>
                  </a:cubicBezTo>
                  <a:cubicBezTo>
                    <a:pt x="496" y="247"/>
                    <a:pt x="478" y="230"/>
                    <a:pt x="471" y="205"/>
                  </a:cubicBezTo>
                  <a:close/>
                  <a:moveTo>
                    <a:pt x="472" y="1122"/>
                  </a:moveTo>
                  <a:cubicBezTo>
                    <a:pt x="475" y="1136"/>
                    <a:pt x="481" y="1148"/>
                    <a:pt x="491" y="1158"/>
                  </a:cubicBezTo>
                  <a:cubicBezTo>
                    <a:pt x="506" y="1176"/>
                    <a:pt x="524" y="1185"/>
                    <a:pt x="548" y="1187"/>
                  </a:cubicBezTo>
                  <a:cubicBezTo>
                    <a:pt x="568" y="1188"/>
                    <a:pt x="587" y="1187"/>
                    <a:pt x="605" y="1177"/>
                  </a:cubicBezTo>
                  <a:cubicBezTo>
                    <a:pt x="632" y="1162"/>
                    <a:pt x="644" y="1136"/>
                    <a:pt x="649" y="1107"/>
                  </a:cubicBezTo>
                  <a:cubicBezTo>
                    <a:pt x="652" y="1089"/>
                    <a:pt x="649" y="1072"/>
                    <a:pt x="644" y="1054"/>
                  </a:cubicBezTo>
                  <a:cubicBezTo>
                    <a:pt x="638" y="1034"/>
                    <a:pt x="627" y="1019"/>
                    <a:pt x="610" y="1007"/>
                  </a:cubicBezTo>
                  <a:cubicBezTo>
                    <a:pt x="589" y="992"/>
                    <a:pt x="566" y="991"/>
                    <a:pt x="541" y="994"/>
                  </a:cubicBezTo>
                  <a:cubicBezTo>
                    <a:pt x="526" y="995"/>
                    <a:pt x="512" y="1002"/>
                    <a:pt x="500" y="1012"/>
                  </a:cubicBezTo>
                  <a:cubicBezTo>
                    <a:pt x="476" y="1032"/>
                    <a:pt x="469" y="1060"/>
                    <a:pt x="466" y="1095"/>
                  </a:cubicBezTo>
                  <a:cubicBezTo>
                    <a:pt x="465" y="1101"/>
                    <a:pt x="470" y="1111"/>
                    <a:pt x="472" y="1122"/>
                  </a:cubicBezTo>
                  <a:close/>
                  <a:moveTo>
                    <a:pt x="508" y="1113"/>
                  </a:moveTo>
                  <a:cubicBezTo>
                    <a:pt x="505" y="1095"/>
                    <a:pt x="506" y="1078"/>
                    <a:pt x="508" y="1061"/>
                  </a:cubicBezTo>
                  <a:cubicBezTo>
                    <a:pt x="511" y="1042"/>
                    <a:pt x="538" y="1021"/>
                    <a:pt x="554" y="1022"/>
                  </a:cubicBezTo>
                  <a:cubicBezTo>
                    <a:pt x="570" y="1022"/>
                    <a:pt x="586" y="1024"/>
                    <a:pt x="596" y="1037"/>
                  </a:cubicBezTo>
                  <a:cubicBezTo>
                    <a:pt x="602" y="1044"/>
                    <a:pt x="607" y="1052"/>
                    <a:pt x="608" y="1061"/>
                  </a:cubicBezTo>
                  <a:cubicBezTo>
                    <a:pt x="608" y="1064"/>
                    <a:pt x="609" y="1067"/>
                    <a:pt x="610" y="1070"/>
                  </a:cubicBezTo>
                  <a:cubicBezTo>
                    <a:pt x="618" y="1089"/>
                    <a:pt x="612" y="1107"/>
                    <a:pt x="607" y="1125"/>
                  </a:cubicBezTo>
                  <a:cubicBezTo>
                    <a:pt x="601" y="1143"/>
                    <a:pt x="588" y="1160"/>
                    <a:pt x="558" y="1157"/>
                  </a:cubicBezTo>
                  <a:cubicBezTo>
                    <a:pt x="530" y="1157"/>
                    <a:pt x="512" y="1141"/>
                    <a:pt x="508" y="1113"/>
                  </a:cubicBezTo>
                  <a:close/>
                  <a:moveTo>
                    <a:pt x="430" y="716"/>
                  </a:moveTo>
                  <a:cubicBezTo>
                    <a:pt x="450" y="703"/>
                    <a:pt x="459" y="683"/>
                    <a:pt x="464" y="661"/>
                  </a:cubicBezTo>
                  <a:cubicBezTo>
                    <a:pt x="468" y="648"/>
                    <a:pt x="467" y="635"/>
                    <a:pt x="466" y="621"/>
                  </a:cubicBezTo>
                  <a:cubicBezTo>
                    <a:pt x="463" y="592"/>
                    <a:pt x="453" y="567"/>
                    <a:pt x="427" y="550"/>
                  </a:cubicBezTo>
                  <a:cubicBezTo>
                    <a:pt x="401" y="534"/>
                    <a:pt x="372" y="532"/>
                    <a:pt x="345" y="541"/>
                  </a:cubicBezTo>
                  <a:cubicBezTo>
                    <a:pt x="310" y="552"/>
                    <a:pt x="291" y="580"/>
                    <a:pt x="287" y="617"/>
                  </a:cubicBezTo>
                  <a:cubicBezTo>
                    <a:pt x="286" y="629"/>
                    <a:pt x="286" y="641"/>
                    <a:pt x="287" y="654"/>
                  </a:cubicBezTo>
                  <a:cubicBezTo>
                    <a:pt x="289" y="671"/>
                    <a:pt x="295" y="686"/>
                    <a:pt x="306" y="700"/>
                  </a:cubicBezTo>
                  <a:cubicBezTo>
                    <a:pt x="324" y="722"/>
                    <a:pt x="348" y="733"/>
                    <a:pt x="378" y="731"/>
                  </a:cubicBezTo>
                  <a:cubicBezTo>
                    <a:pt x="396" y="733"/>
                    <a:pt x="414" y="727"/>
                    <a:pt x="430" y="716"/>
                  </a:cubicBezTo>
                  <a:close/>
                  <a:moveTo>
                    <a:pt x="331" y="592"/>
                  </a:moveTo>
                  <a:cubicBezTo>
                    <a:pt x="339" y="580"/>
                    <a:pt x="349" y="569"/>
                    <a:pt x="365" y="567"/>
                  </a:cubicBezTo>
                  <a:cubicBezTo>
                    <a:pt x="387" y="564"/>
                    <a:pt x="406" y="568"/>
                    <a:pt x="419" y="588"/>
                  </a:cubicBezTo>
                  <a:cubicBezTo>
                    <a:pt x="423" y="595"/>
                    <a:pt x="426" y="603"/>
                    <a:pt x="427" y="610"/>
                  </a:cubicBezTo>
                  <a:cubicBezTo>
                    <a:pt x="433" y="635"/>
                    <a:pt x="431" y="661"/>
                    <a:pt x="416" y="684"/>
                  </a:cubicBezTo>
                  <a:cubicBezTo>
                    <a:pt x="403" y="706"/>
                    <a:pt x="362" y="708"/>
                    <a:pt x="345" y="692"/>
                  </a:cubicBezTo>
                  <a:cubicBezTo>
                    <a:pt x="329" y="678"/>
                    <a:pt x="323" y="661"/>
                    <a:pt x="323" y="631"/>
                  </a:cubicBezTo>
                  <a:cubicBezTo>
                    <a:pt x="323" y="619"/>
                    <a:pt x="323" y="605"/>
                    <a:pt x="331" y="592"/>
                  </a:cubicBezTo>
                  <a:close/>
                  <a:moveTo>
                    <a:pt x="1073" y="259"/>
                  </a:moveTo>
                  <a:cubicBezTo>
                    <a:pt x="1073" y="269"/>
                    <a:pt x="1075" y="272"/>
                    <a:pt x="1086" y="272"/>
                  </a:cubicBezTo>
                  <a:cubicBezTo>
                    <a:pt x="1088" y="272"/>
                    <a:pt x="1090" y="272"/>
                    <a:pt x="1092" y="272"/>
                  </a:cubicBezTo>
                  <a:cubicBezTo>
                    <a:pt x="1105" y="272"/>
                    <a:pt x="1106" y="271"/>
                    <a:pt x="1106" y="258"/>
                  </a:cubicBezTo>
                  <a:cubicBezTo>
                    <a:pt x="1106" y="221"/>
                    <a:pt x="1106" y="184"/>
                    <a:pt x="1106" y="147"/>
                  </a:cubicBezTo>
                  <a:cubicBezTo>
                    <a:pt x="1106" y="143"/>
                    <a:pt x="1106" y="140"/>
                    <a:pt x="1107" y="137"/>
                  </a:cubicBezTo>
                  <a:cubicBezTo>
                    <a:pt x="1117" y="117"/>
                    <a:pt x="1157" y="104"/>
                    <a:pt x="1177" y="114"/>
                  </a:cubicBezTo>
                  <a:cubicBezTo>
                    <a:pt x="1179" y="115"/>
                    <a:pt x="1180" y="117"/>
                    <a:pt x="1182" y="118"/>
                  </a:cubicBezTo>
                  <a:cubicBezTo>
                    <a:pt x="1194" y="131"/>
                    <a:pt x="1196" y="147"/>
                    <a:pt x="1196" y="163"/>
                  </a:cubicBezTo>
                  <a:cubicBezTo>
                    <a:pt x="1197" y="195"/>
                    <a:pt x="1196" y="226"/>
                    <a:pt x="1196" y="258"/>
                  </a:cubicBezTo>
                  <a:cubicBezTo>
                    <a:pt x="1196" y="271"/>
                    <a:pt x="1197" y="272"/>
                    <a:pt x="1210" y="272"/>
                  </a:cubicBezTo>
                  <a:cubicBezTo>
                    <a:pt x="1212" y="272"/>
                    <a:pt x="1213" y="272"/>
                    <a:pt x="1215" y="272"/>
                  </a:cubicBezTo>
                  <a:cubicBezTo>
                    <a:pt x="1227" y="272"/>
                    <a:pt x="1229" y="270"/>
                    <a:pt x="1229" y="258"/>
                  </a:cubicBezTo>
                  <a:cubicBezTo>
                    <a:pt x="1229" y="222"/>
                    <a:pt x="1229" y="187"/>
                    <a:pt x="1229" y="151"/>
                  </a:cubicBezTo>
                  <a:cubicBezTo>
                    <a:pt x="1229" y="142"/>
                    <a:pt x="1228" y="132"/>
                    <a:pt x="1225" y="123"/>
                  </a:cubicBezTo>
                  <a:cubicBezTo>
                    <a:pt x="1219" y="105"/>
                    <a:pt x="1208" y="91"/>
                    <a:pt x="1189" y="85"/>
                  </a:cubicBezTo>
                  <a:cubicBezTo>
                    <a:pt x="1173" y="80"/>
                    <a:pt x="1156" y="84"/>
                    <a:pt x="1139" y="84"/>
                  </a:cubicBezTo>
                  <a:cubicBezTo>
                    <a:pt x="1137" y="84"/>
                    <a:pt x="1136" y="86"/>
                    <a:pt x="1134" y="87"/>
                  </a:cubicBezTo>
                  <a:cubicBezTo>
                    <a:pt x="1128" y="91"/>
                    <a:pt x="1121" y="96"/>
                    <a:pt x="1115" y="100"/>
                  </a:cubicBezTo>
                  <a:cubicBezTo>
                    <a:pt x="1113" y="102"/>
                    <a:pt x="1111" y="105"/>
                    <a:pt x="1108" y="103"/>
                  </a:cubicBezTo>
                  <a:cubicBezTo>
                    <a:pt x="1105" y="102"/>
                    <a:pt x="1106" y="98"/>
                    <a:pt x="1106" y="96"/>
                  </a:cubicBezTo>
                  <a:cubicBezTo>
                    <a:pt x="1106" y="69"/>
                    <a:pt x="1106" y="43"/>
                    <a:pt x="1106" y="17"/>
                  </a:cubicBezTo>
                  <a:cubicBezTo>
                    <a:pt x="1106" y="0"/>
                    <a:pt x="1106" y="0"/>
                    <a:pt x="1089" y="0"/>
                  </a:cubicBezTo>
                  <a:cubicBezTo>
                    <a:pt x="1074" y="0"/>
                    <a:pt x="1073" y="1"/>
                    <a:pt x="1073" y="16"/>
                  </a:cubicBezTo>
                  <a:cubicBezTo>
                    <a:pt x="1073" y="56"/>
                    <a:pt x="1073" y="96"/>
                    <a:pt x="1073" y="136"/>
                  </a:cubicBezTo>
                  <a:cubicBezTo>
                    <a:pt x="1073" y="177"/>
                    <a:pt x="1073" y="218"/>
                    <a:pt x="1073" y="259"/>
                  </a:cubicBezTo>
                  <a:close/>
                  <a:moveTo>
                    <a:pt x="1150" y="1092"/>
                  </a:moveTo>
                  <a:cubicBezTo>
                    <a:pt x="1168" y="1092"/>
                    <a:pt x="1186" y="1092"/>
                    <a:pt x="1204" y="1092"/>
                  </a:cubicBezTo>
                  <a:cubicBezTo>
                    <a:pt x="1215" y="1092"/>
                    <a:pt x="1218" y="1087"/>
                    <a:pt x="1219" y="1077"/>
                  </a:cubicBezTo>
                  <a:cubicBezTo>
                    <a:pt x="1220" y="1062"/>
                    <a:pt x="1216" y="1049"/>
                    <a:pt x="1210" y="1036"/>
                  </a:cubicBezTo>
                  <a:cubicBezTo>
                    <a:pt x="1204" y="1020"/>
                    <a:pt x="1193" y="1008"/>
                    <a:pt x="1177" y="1001"/>
                  </a:cubicBezTo>
                  <a:cubicBezTo>
                    <a:pt x="1155" y="992"/>
                    <a:pt x="1133" y="991"/>
                    <a:pt x="1109" y="999"/>
                  </a:cubicBezTo>
                  <a:cubicBezTo>
                    <a:pt x="1079" y="1010"/>
                    <a:pt x="1062" y="1031"/>
                    <a:pt x="1056" y="1061"/>
                  </a:cubicBezTo>
                  <a:cubicBezTo>
                    <a:pt x="1051" y="1090"/>
                    <a:pt x="1052" y="1120"/>
                    <a:pt x="1069" y="1148"/>
                  </a:cubicBezTo>
                  <a:cubicBezTo>
                    <a:pt x="1081" y="1169"/>
                    <a:pt x="1100" y="1180"/>
                    <a:pt x="1122" y="1185"/>
                  </a:cubicBezTo>
                  <a:cubicBezTo>
                    <a:pt x="1149" y="1190"/>
                    <a:pt x="1176" y="1186"/>
                    <a:pt x="1200" y="1171"/>
                  </a:cubicBezTo>
                  <a:cubicBezTo>
                    <a:pt x="1206" y="1168"/>
                    <a:pt x="1213" y="1165"/>
                    <a:pt x="1214" y="1157"/>
                  </a:cubicBezTo>
                  <a:cubicBezTo>
                    <a:pt x="1215" y="1147"/>
                    <a:pt x="1202" y="1139"/>
                    <a:pt x="1193" y="1144"/>
                  </a:cubicBezTo>
                  <a:cubicBezTo>
                    <a:pt x="1187" y="1147"/>
                    <a:pt x="1180" y="1150"/>
                    <a:pt x="1174" y="1153"/>
                  </a:cubicBezTo>
                  <a:cubicBezTo>
                    <a:pt x="1158" y="1161"/>
                    <a:pt x="1140" y="1161"/>
                    <a:pt x="1124" y="1155"/>
                  </a:cubicBezTo>
                  <a:cubicBezTo>
                    <a:pt x="1112" y="1151"/>
                    <a:pt x="1102" y="1142"/>
                    <a:pt x="1096" y="1129"/>
                  </a:cubicBezTo>
                  <a:cubicBezTo>
                    <a:pt x="1092" y="1121"/>
                    <a:pt x="1091" y="1112"/>
                    <a:pt x="1089" y="1104"/>
                  </a:cubicBezTo>
                  <a:cubicBezTo>
                    <a:pt x="1087" y="1093"/>
                    <a:pt x="1087" y="1092"/>
                    <a:pt x="1099" y="1092"/>
                  </a:cubicBezTo>
                  <a:cubicBezTo>
                    <a:pt x="1116" y="1092"/>
                    <a:pt x="1133" y="1092"/>
                    <a:pt x="1150" y="1092"/>
                  </a:cubicBezTo>
                  <a:cubicBezTo>
                    <a:pt x="1150" y="1092"/>
                    <a:pt x="1150" y="1092"/>
                    <a:pt x="1150" y="1092"/>
                  </a:cubicBezTo>
                  <a:close/>
                  <a:moveTo>
                    <a:pt x="1099" y="1070"/>
                  </a:moveTo>
                  <a:cubicBezTo>
                    <a:pt x="1092" y="1071"/>
                    <a:pt x="1089" y="1067"/>
                    <a:pt x="1091" y="1060"/>
                  </a:cubicBezTo>
                  <a:cubicBezTo>
                    <a:pt x="1094" y="1045"/>
                    <a:pt x="1108" y="1023"/>
                    <a:pt x="1128" y="1022"/>
                  </a:cubicBezTo>
                  <a:cubicBezTo>
                    <a:pt x="1142" y="1021"/>
                    <a:pt x="1156" y="1018"/>
                    <a:pt x="1168" y="1029"/>
                  </a:cubicBezTo>
                  <a:cubicBezTo>
                    <a:pt x="1181" y="1038"/>
                    <a:pt x="1185" y="1051"/>
                    <a:pt x="1187" y="1066"/>
                  </a:cubicBezTo>
                  <a:cubicBezTo>
                    <a:pt x="1188" y="1071"/>
                    <a:pt x="1183" y="1070"/>
                    <a:pt x="1180" y="1070"/>
                  </a:cubicBezTo>
                  <a:cubicBezTo>
                    <a:pt x="1166" y="1070"/>
                    <a:pt x="1153" y="1070"/>
                    <a:pt x="1139" y="1070"/>
                  </a:cubicBezTo>
                  <a:cubicBezTo>
                    <a:pt x="1139" y="1070"/>
                    <a:pt x="1139" y="1070"/>
                    <a:pt x="1139" y="1070"/>
                  </a:cubicBezTo>
                  <a:cubicBezTo>
                    <a:pt x="1126" y="1070"/>
                    <a:pt x="1113" y="1070"/>
                    <a:pt x="1099" y="1070"/>
                  </a:cubicBezTo>
                  <a:close/>
                  <a:moveTo>
                    <a:pt x="1741" y="1092"/>
                  </a:moveTo>
                  <a:cubicBezTo>
                    <a:pt x="1759" y="1092"/>
                    <a:pt x="1776" y="1092"/>
                    <a:pt x="1793" y="1092"/>
                  </a:cubicBezTo>
                  <a:cubicBezTo>
                    <a:pt x="1806" y="1092"/>
                    <a:pt x="1808" y="1089"/>
                    <a:pt x="1808" y="1076"/>
                  </a:cubicBezTo>
                  <a:cubicBezTo>
                    <a:pt x="1809" y="1063"/>
                    <a:pt x="1807" y="1051"/>
                    <a:pt x="1802" y="1038"/>
                  </a:cubicBezTo>
                  <a:cubicBezTo>
                    <a:pt x="1794" y="1021"/>
                    <a:pt x="1782" y="1008"/>
                    <a:pt x="1764" y="1000"/>
                  </a:cubicBezTo>
                  <a:cubicBezTo>
                    <a:pt x="1742" y="991"/>
                    <a:pt x="1720" y="991"/>
                    <a:pt x="1698" y="1000"/>
                  </a:cubicBezTo>
                  <a:cubicBezTo>
                    <a:pt x="1681" y="1006"/>
                    <a:pt x="1668" y="1016"/>
                    <a:pt x="1659" y="1031"/>
                  </a:cubicBezTo>
                  <a:cubicBezTo>
                    <a:pt x="1646" y="1050"/>
                    <a:pt x="1643" y="1071"/>
                    <a:pt x="1644" y="1094"/>
                  </a:cubicBezTo>
                  <a:cubicBezTo>
                    <a:pt x="1644" y="1110"/>
                    <a:pt x="1647" y="1127"/>
                    <a:pt x="1655" y="1141"/>
                  </a:cubicBezTo>
                  <a:cubicBezTo>
                    <a:pt x="1669" y="1168"/>
                    <a:pt x="1691" y="1183"/>
                    <a:pt x="1722" y="1186"/>
                  </a:cubicBezTo>
                  <a:cubicBezTo>
                    <a:pt x="1750" y="1188"/>
                    <a:pt x="1775" y="1183"/>
                    <a:pt x="1798" y="1165"/>
                  </a:cubicBezTo>
                  <a:cubicBezTo>
                    <a:pt x="1803" y="1161"/>
                    <a:pt x="1806" y="1157"/>
                    <a:pt x="1802" y="1151"/>
                  </a:cubicBezTo>
                  <a:cubicBezTo>
                    <a:pt x="1798" y="1144"/>
                    <a:pt x="1791" y="1140"/>
                    <a:pt x="1783" y="1144"/>
                  </a:cubicBezTo>
                  <a:cubicBezTo>
                    <a:pt x="1778" y="1147"/>
                    <a:pt x="1771" y="1149"/>
                    <a:pt x="1766" y="1152"/>
                  </a:cubicBezTo>
                  <a:cubicBezTo>
                    <a:pt x="1749" y="1161"/>
                    <a:pt x="1730" y="1162"/>
                    <a:pt x="1714" y="1155"/>
                  </a:cubicBezTo>
                  <a:cubicBezTo>
                    <a:pt x="1692" y="1145"/>
                    <a:pt x="1680" y="1127"/>
                    <a:pt x="1679" y="1102"/>
                  </a:cubicBezTo>
                  <a:cubicBezTo>
                    <a:pt x="1678" y="1095"/>
                    <a:pt x="1681" y="1092"/>
                    <a:pt x="1689" y="1092"/>
                  </a:cubicBezTo>
                  <a:cubicBezTo>
                    <a:pt x="1706" y="1092"/>
                    <a:pt x="1724" y="1092"/>
                    <a:pt x="1741" y="1092"/>
                  </a:cubicBezTo>
                  <a:cubicBezTo>
                    <a:pt x="1741" y="1092"/>
                    <a:pt x="1741" y="1092"/>
                    <a:pt x="1741" y="1092"/>
                  </a:cubicBezTo>
                  <a:close/>
                  <a:moveTo>
                    <a:pt x="1690" y="1070"/>
                  </a:moveTo>
                  <a:cubicBezTo>
                    <a:pt x="1683" y="1071"/>
                    <a:pt x="1680" y="1068"/>
                    <a:pt x="1681" y="1062"/>
                  </a:cubicBezTo>
                  <a:cubicBezTo>
                    <a:pt x="1683" y="1048"/>
                    <a:pt x="1697" y="1024"/>
                    <a:pt x="1716" y="1022"/>
                  </a:cubicBezTo>
                  <a:cubicBezTo>
                    <a:pt x="1731" y="1020"/>
                    <a:pt x="1747" y="1018"/>
                    <a:pt x="1760" y="1030"/>
                  </a:cubicBezTo>
                  <a:cubicBezTo>
                    <a:pt x="1771" y="1038"/>
                    <a:pt x="1775" y="1050"/>
                    <a:pt x="1778" y="1062"/>
                  </a:cubicBezTo>
                  <a:cubicBezTo>
                    <a:pt x="1780" y="1068"/>
                    <a:pt x="1775" y="1070"/>
                    <a:pt x="1769" y="1070"/>
                  </a:cubicBezTo>
                  <a:cubicBezTo>
                    <a:pt x="1756" y="1070"/>
                    <a:pt x="1742" y="1070"/>
                    <a:pt x="1729" y="1070"/>
                  </a:cubicBezTo>
                  <a:cubicBezTo>
                    <a:pt x="1729" y="1070"/>
                    <a:pt x="1729" y="1070"/>
                    <a:pt x="1729" y="1070"/>
                  </a:cubicBezTo>
                  <a:cubicBezTo>
                    <a:pt x="1716" y="1070"/>
                    <a:pt x="1703" y="1070"/>
                    <a:pt x="1690" y="1070"/>
                  </a:cubicBezTo>
                  <a:close/>
                  <a:moveTo>
                    <a:pt x="68" y="581"/>
                  </a:moveTo>
                  <a:cubicBezTo>
                    <a:pt x="68" y="573"/>
                    <a:pt x="70" y="568"/>
                    <a:pt x="80" y="569"/>
                  </a:cubicBezTo>
                  <a:cubicBezTo>
                    <a:pt x="90" y="570"/>
                    <a:pt x="101" y="570"/>
                    <a:pt x="111" y="569"/>
                  </a:cubicBezTo>
                  <a:cubicBezTo>
                    <a:pt x="120" y="569"/>
                    <a:pt x="120" y="563"/>
                    <a:pt x="120" y="556"/>
                  </a:cubicBezTo>
                  <a:cubicBezTo>
                    <a:pt x="120" y="549"/>
                    <a:pt x="119" y="544"/>
                    <a:pt x="111" y="544"/>
                  </a:cubicBezTo>
                  <a:cubicBezTo>
                    <a:pt x="104" y="544"/>
                    <a:pt x="97" y="544"/>
                    <a:pt x="91" y="544"/>
                  </a:cubicBezTo>
                  <a:cubicBezTo>
                    <a:pt x="66" y="544"/>
                    <a:pt x="65" y="543"/>
                    <a:pt x="68" y="518"/>
                  </a:cubicBezTo>
                  <a:cubicBezTo>
                    <a:pt x="69" y="504"/>
                    <a:pt x="83" y="487"/>
                    <a:pt x="99" y="489"/>
                  </a:cubicBezTo>
                  <a:cubicBezTo>
                    <a:pt x="103" y="489"/>
                    <a:pt x="107" y="489"/>
                    <a:pt x="110" y="488"/>
                  </a:cubicBezTo>
                  <a:cubicBezTo>
                    <a:pt x="118" y="487"/>
                    <a:pt x="123" y="479"/>
                    <a:pt x="123" y="471"/>
                  </a:cubicBezTo>
                  <a:cubicBezTo>
                    <a:pt x="123" y="461"/>
                    <a:pt x="116" y="462"/>
                    <a:pt x="109" y="460"/>
                  </a:cubicBezTo>
                  <a:cubicBezTo>
                    <a:pt x="100" y="458"/>
                    <a:pt x="92" y="460"/>
                    <a:pt x="84" y="460"/>
                  </a:cubicBezTo>
                  <a:cubicBezTo>
                    <a:pt x="68" y="461"/>
                    <a:pt x="56" y="469"/>
                    <a:pt x="47" y="480"/>
                  </a:cubicBezTo>
                  <a:cubicBezTo>
                    <a:pt x="34" y="493"/>
                    <a:pt x="32" y="511"/>
                    <a:pt x="32" y="529"/>
                  </a:cubicBezTo>
                  <a:cubicBezTo>
                    <a:pt x="32" y="544"/>
                    <a:pt x="32" y="544"/>
                    <a:pt x="17" y="544"/>
                  </a:cubicBezTo>
                  <a:cubicBezTo>
                    <a:pt x="4" y="543"/>
                    <a:pt x="0" y="548"/>
                    <a:pt x="4" y="561"/>
                  </a:cubicBezTo>
                  <a:cubicBezTo>
                    <a:pt x="6" y="569"/>
                    <a:pt x="13" y="568"/>
                    <a:pt x="19" y="569"/>
                  </a:cubicBezTo>
                  <a:cubicBezTo>
                    <a:pt x="32" y="571"/>
                    <a:pt x="32" y="571"/>
                    <a:pt x="32" y="584"/>
                  </a:cubicBezTo>
                  <a:cubicBezTo>
                    <a:pt x="32" y="624"/>
                    <a:pt x="32" y="664"/>
                    <a:pt x="32" y="704"/>
                  </a:cubicBezTo>
                  <a:cubicBezTo>
                    <a:pt x="32" y="731"/>
                    <a:pt x="32" y="730"/>
                    <a:pt x="57" y="731"/>
                  </a:cubicBezTo>
                  <a:cubicBezTo>
                    <a:pt x="66" y="731"/>
                    <a:pt x="68" y="727"/>
                    <a:pt x="68" y="720"/>
                  </a:cubicBezTo>
                  <a:cubicBezTo>
                    <a:pt x="68" y="697"/>
                    <a:pt x="68" y="674"/>
                    <a:pt x="68" y="651"/>
                  </a:cubicBezTo>
                  <a:cubicBezTo>
                    <a:pt x="68" y="628"/>
                    <a:pt x="68" y="605"/>
                    <a:pt x="68" y="581"/>
                  </a:cubicBezTo>
                  <a:close/>
                  <a:moveTo>
                    <a:pt x="278" y="1165"/>
                  </a:moveTo>
                  <a:cubicBezTo>
                    <a:pt x="278" y="1183"/>
                    <a:pt x="278" y="1183"/>
                    <a:pt x="296" y="1184"/>
                  </a:cubicBezTo>
                  <a:cubicBezTo>
                    <a:pt x="310" y="1184"/>
                    <a:pt x="310" y="1184"/>
                    <a:pt x="310" y="1169"/>
                  </a:cubicBezTo>
                  <a:cubicBezTo>
                    <a:pt x="310" y="1132"/>
                    <a:pt x="310" y="1095"/>
                    <a:pt x="310" y="1058"/>
                  </a:cubicBezTo>
                  <a:cubicBezTo>
                    <a:pt x="310" y="1052"/>
                    <a:pt x="312" y="1047"/>
                    <a:pt x="316" y="1042"/>
                  </a:cubicBezTo>
                  <a:cubicBezTo>
                    <a:pt x="324" y="1033"/>
                    <a:pt x="334" y="1027"/>
                    <a:pt x="345" y="1024"/>
                  </a:cubicBezTo>
                  <a:cubicBezTo>
                    <a:pt x="357" y="1020"/>
                    <a:pt x="371" y="1018"/>
                    <a:pt x="383" y="1028"/>
                  </a:cubicBezTo>
                  <a:cubicBezTo>
                    <a:pt x="397" y="1039"/>
                    <a:pt x="401" y="1054"/>
                    <a:pt x="401" y="1071"/>
                  </a:cubicBezTo>
                  <a:cubicBezTo>
                    <a:pt x="401" y="1102"/>
                    <a:pt x="401" y="1132"/>
                    <a:pt x="401" y="1163"/>
                  </a:cubicBezTo>
                  <a:cubicBezTo>
                    <a:pt x="401" y="1183"/>
                    <a:pt x="401" y="1182"/>
                    <a:pt x="420" y="1184"/>
                  </a:cubicBezTo>
                  <a:cubicBezTo>
                    <a:pt x="429" y="1185"/>
                    <a:pt x="433" y="1181"/>
                    <a:pt x="433" y="1173"/>
                  </a:cubicBezTo>
                  <a:cubicBezTo>
                    <a:pt x="432" y="1130"/>
                    <a:pt x="435" y="1087"/>
                    <a:pt x="431" y="1044"/>
                  </a:cubicBezTo>
                  <a:cubicBezTo>
                    <a:pt x="427" y="1014"/>
                    <a:pt x="404" y="996"/>
                    <a:pt x="376" y="994"/>
                  </a:cubicBezTo>
                  <a:cubicBezTo>
                    <a:pt x="353" y="992"/>
                    <a:pt x="333" y="1000"/>
                    <a:pt x="317" y="1017"/>
                  </a:cubicBezTo>
                  <a:cubicBezTo>
                    <a:pt x="312" y="1021"/>
                    <a:pt x="311" y="1019"/>
                    <a:pt x="309" y="1015"/>
                  </a:cubicBezTo>
                  <a:cubicBezTo>
                    <a:pt x="309" y="1013"/>
                    <a:pt x="308" y="1011"/>
                    <a:pt x="308" y="1008"/>
                  </a:cubicBezTo>
                  <a:cubicBezTo>
                    <a:pt x="306" y="1001"/>
                    <a:pt x="298" y="997"/>
                    <a:pt x="287" y="998"/>
                  </a:cubicBezTo>
                  <a:cubicBezTo>
                    <a:pt x="279" y="999"/>
                    <a:pt x="278" y="1004"/>
                    <a:pt x="278" y="1011"/>
                  </a:cubicBezTo>
                  <a:cubicBezTo>
                    <a:pt x="278" y="1037"/>
                    <a:pt x="278" y="1064"/>
                    <a:pt x="278" y="1091"/>
                  </a:cubicBezTo>
                  <a:cubicBezTo>
                    <a:pt x="278" y="1115"/>
                    <a:pt x="278" y="1140"/>
                    <a:pt x="278" y="1165"/>
                  </a:cubicBezTo>
                  <a:close/>
                  <a:moveTo>
                    <a:pt x="150" y="705"/>
                  </a:moveTo>
                  <a:cubicBezTo>
                    <a:pt x="150" y="734"/>
                    <a:pt x="145" y="730"/>
                    <a:pt x="176" y="731"/>
                  </a:cubicBezTo>
                  <a:cubicBezTo>
                    <a:pt x="185" y="731"/>
                    <a:pt x="187" y="727"/>
                    <a:pt x="187" y="719"/>
                  </a:cubicBezTo>
                  <a:cubicBezTo>
                    <a:pt x="187" y="685"/>
                    <a:pt x="187" y="651"/>
                    <a:pt x="187" y="618"/>
                  </a:cubicBezTo>
                  <a:cubicBezTo>
                    <a:pt x="187" y="597"/>
                    <a:pt x="204" y="578"/>
                    <a:pt x="225" y="574"/>
                  </a:cubicBezTo>
                  <a:cubicBezTo>
                    <a:pt x="232" y="572"/>
                    <a:pt x="240" y="574"/>
                    <a:pt x="247" y="575"/>
                  </a:cubicBezTo>
                  <a:cubicBezTo>
                    <a:pt x="257" y="576"/>
                    <a:pt x="261" y="572"/>
                    <a:pt x="265" y="564"/>
                  </a:cubicBezTo>
                  <a:cubicBezTo>
                    <a:pt x="269" y="556"/>
                    <a:pt x="267" y="542"/>
                    <a:pt x="261" y="540"/>
                  </a:cubicBezTo>
                  <a:cubicBezTo>
                    <a:pt x="253" y="538"/>
                    <a:pt x="244" y="534"/>
                    <a:pt x="237" y="536"/>
                  </a:cubicBezTo>
                  <a:cubicBezTo>
                    <a:pt x="228" y="537"/>
                    <a:pt x="217" y="537"/>
                    <a:pt x="209" y="544"/>
                  </a:cubicBezTo>
                  <a:cubicBezTo>
                    <a:pt x="204" y="549"/>
                    <a:pt x="198" y="553"/>
                    <a:pt x="194" y="558"/>
                  </a:cubicBezTo>
                  <a:cubicBezTo>
                    <a:pt x="192" y="561"/>
                    <a:pt x="189" y="563"/>
                    <a:pt x="185" y="562"/>
                  </a:cubicBezTo>
                  <a:cubicBezTo>
                    <a:pt x="182" y="561"/>
                    <a:pt x="182" y="558"/>
                    <a:pt x="182" y="556"/>
                  </a:cubicBezTo>
                  <a:cubicBezTo>
                    <a:pt x="180" y="539"/>
                    <a:pt x="179" y="539"/>
                    <a:pt x="162" y="539"/>
                  </a:cubicBezTo>
                  <a:cubicBezTo>
                    <a:pt x="151" y="539"/>
                    <a:pt x="150" y="540"/>
                    <a:pt x="150" y="551"/>
                  </a:cubicBezTo>
                  <a:cubicBezTo>
                    <a:pt x="150" y="579"/>
                    <a:pt x="150" y="607"/>
                    <a:pt x="150" y="635"/>
                  </a:cubicBezTo>
                  <a:cubicBezTo>
                    <a:pt x="150" y="658"/>
                    <a:pt x="149" y="682"/>
                    <a:pt x="150" y="705"/>
                  </a:cubicBezTo>
                  <a:close/>
                  <a:moveTo>
                    <a:pt x="1011" y="1049"/>
                  </a:moveTo>
                  <a:cubicBezTo>
                    <a:pt x="1011" y="1008"/>
                    <a:pt x="1011" y="966"/>
                    <a:pt x="1011" y="924"/>
                  </a:cubicBezTo>
                  <a:cubicBezTo>
                    <a:pt x="1011" y="913"/>
                    <a:pt x="1008" y="910"/>
                    <a:pt x="997" y="910"/>
                  </a:cubicBezTo>
                  <a:cubicBezTo>
                    <a:pt x="995" y="910"/>
                    <a:pt x="992" y="910"/>
                    <a:pt x="990" y="910"/>
                  </a:cubicBezTo>
                  <a:cubicBezTo>
                    <a:pt x="976" y="910"/>
                    <a:pt x="975" y="911"/>
                    <a:pt x="975" y="926"/>
                  </a:cubicBezTo>
                  <a:cubicBezTo>
                    <a:pt x="975" y="1006"/>
                    <a:pt x="975" y="1085"/>
                    <a:pt x="975" y="1165"/>
                  </a:cubicBezTo>
                  <a:cubicBezTo>
                    <a:pt x="975" y="1185"/>
                    <a:pt x="975" y="1185"/>
                    <a:pt x="994" y="1185"/>
                  </a:cubicBezTo>
                  <a:cubicBezTo>
                    <a:pt x="1009" y="1185"/>
                    <a:pt x="1011" y="1184"/>
                    <a:pt x="1011" y="1169"/>
                  </a:cubicBezTo>
                  <a:cubicBezTo>
                    <a:pt x="1011" y="1129"/>
                    <a:pt x="1011" y="1089"/>
                    <a:pt x="1011" y="1049"/>
                  </a:cubicBezTo>
                  <a:cubicBezTo>
                    <a:pt x="1011" y="1049"/>
                    <a:pt x="1011" y="1049"/>
                    <a:pt x="1011" y="1049"/>
                  </a:cubicBezTo>
                  <a:close/>
                  <a:moveTo>
                    <a:pt x="296" y="176"/>
                  </a:moveTo>
                  <a:cubicBezTo>
                    <a:pt x="296" y="201"/>
                    <a:pt x="296" y="226"/>
                    <a:pt x="296" y="251"/>
                  </a:cubicBezTo>
                  <a:cubicBezTo>
                    <a:pt x="295" y="276"/>
                    <a:pt x="296" y="274"/>
                    <a:pt x="318" y="274"/>
                  </a:cubicBezTo>
                  <a:cubicBezTo>
                    <a:pt x="330" y="274"/>
                    <a:pt x="331" y="274"/>
                    <a:pt x="331" y="260"/>
                  </a:cubicBezTo>
                  <a:cubicBezTo>
                    <a:pt x="331" y="232"/>
                    <a:pt x="331" y="204"/>
                    <a:pt x="331" y="176"/>
                  </a:cubicBezTo>
                  <a:cubicBezTo>
                    <a:pt x="331" y="165"/>
                    <a:pt x="331" y="155"/>
                    <a:pt x="337" y="145"/>
                  </a:cubicBezTo>
                  <a:cubicBezTo>
                    <a:pt x="349" y="123"/>
                    <a:pt x="359" y="117"/>
                    <a:pt x="377" y="118"/>
                  </a:cubicBezTo>
                  <a:cubicBezTo>
                    <a:pt x="383" y="118"/>
                    <a:pt x="389" y="119"/>
                    <a:pt x="395" y="120"/>
                  </a:cubicBezTo>
                  <a:cubicBezTo>
                    <a:pt x="401" y="120"/>
                    <a:pt x="407" y="118"/>
                    <a:pt x="408" y="112"/>
                  </a:cubicBezTo>
                  <a:cubicBezTo>
                    <a:pt x="409" y="103"/>
                    <a:pt x="415" y="93"/>
                    <a:pt x="407" y="85"/>
                  </a:cubicBezTo>
                  <a:cubicBezTo>
                    <a:pt x="406" y="84"/>
                    <a:pt x="404" y="84"/>
                    <a:pt x="402" y="84"/>
                  </a:cubicBezTo>
                  <a:cubicBezTo>
                    <a:pt x="376" y="78"/>
                    <a:pt x="353" y="82"/>
                    <a:pt x="337" y="106"/>
                  </a:cubicBezTo>
                  <a:cubicBezTo>
                    <a:pt x="336" y="108"/>
                    <a:pt x="335" y="110"/>
                    <a:pt x="333" y="109"/>
                  </a:cubicBezTo>
                  <a:cubicBezTo>
                    <a:pt x="331" y="109"/>
                    <a:pt x="330" y="107"/>
                    <a:pt x="330" y="105"/>
                  </a:cubicBezTo>
                  <a:cubicBezTo>
                    <a:pt x="329" y="101"/>
                    <a:pt x="329" y="97"/>
                    <a:pt x="328" y="94"/>
                  </a:cubicBezTo>
                  <a:cubicBezTo>
                    <a:pt x="325" y="85"/>
                    <a:pt x="318" y="82"/>
                    <a:pt x="303" y="84"/>
                  </a:cubicBezTo>
                  <a:cubicBezTo>
                    <a:pt x="297" y="84"/>
                    <a:pt x="295" y="86"/>
                    <a:pt x="295" y="92"/>
                  </a:cubicBezTo>
                  <a:cubicBezTo>
                    <a:pt x="296" y="120"/>
                    <a:pt x="295" y="148"/>
                    <a:pt x="295" y="176"/>
                  </a:cubicBezTo>
                  <a:cubicBezTo>
                    <a:pt x="296" y="176"/>
                    <a:pt x="296" y="176"/>
                    <a:pt x="296" y="176"/>
                  </a:cubicBezTo>
                  <a:close/>
                  <a:moveTo>
                    <a:pt x="946" y="179"/>
                  </a:moveTo>
                  <a:cubicBezTo>
                    <a:pt x="946" y="197"/>
                    <a:pt x="946" y="215"/>
                    <a:pt x="946" y="234"/>
                  </a:cubicBezTo>
                  <a:cubicBezTo>
                    <a:pt x="946" y="248"/>
                    <a:pt x="951" y="260"/>
                    <a:pt x="963" y="268"/>
                  </a:cubicBezTo>
                  <a:cubicBezTo>
                    <a:pt x="982" y="280"/>
                    <a:pt x="1011" y="277"/>
                    <a:pt x="1029" y="264"/>
                  </a:cubicBezTo>
                  <a:cubicBezTo>
                    <a:pt x="1036" y="259"/>
                    <a:pt x="1036" y="254"/>
                    <a:pt x="1032" y="248"/>
                  </a:cubicBezTo>
                  <a:cubicBezTo>
                    <a:pt x="1026" y="239"/>
                    <a:pt x="1020" y="238"/>
                    <a:pt x="1013" y="242"/>
                  </a:cubicBezTo>
                  <a:cubicBezTo>
                    <a:pt x="996" y="252"/>
                    <a:pt x="978" y="243"/>
                    <a:pt x="978" y="223"/>
                  </a:cubicBezTo>
                  <a:cubicBezTo>
                    <a:pt x="978" y="190"/>
                    <a:pt x="978" y="157"/>
                    <a:pt x="978" y="123"/>
                  </a:cubicBezTo>
                  <a:cubicBezTo>
                    <a:pt x="978" y="116"/>
                    <a:pt x="981" y="113"/>
                    <a:pt x="988" y="113"/>
                  </a:cubicBezTo>
                  <a:cubicBezTo>
                    <a:pt x="999" y="114"/>
                    <a:pt x="1011" y="113"/>
                    <a:pt x="1022" y="113"/>
                  </a:cubicBezTo>
                  <a:cubicBezTo>
                    <a:pt x="1028" y="113"/>
                    <a:pt x="1033" y="112"/>
                    <a:pt x="1033" y="104"/>
                  </a:cubicBezTo>
                  <a:cubicBezTo>
                    <a:pt x="1033" y="96"/>
                    <a:pt x="1032" y="90"/>
                    <a:pt x="1022" y="90"/>
                  </a:cubicBezTo>
                  <a:cubicBezTo>
                    <a:pt x="1011" y="90"/>
                    <a:pt x="1001" y="90"/>
                    <a:pt x="990" y="90"/>
                  </a:cubicBezTo>
                  <a:cubicBezTo>
                    <a:pt x="981" y="91"/>
                    <a:pt x="977" y="88"/>
                    <a:pt x="978" y="78"/>
                  </a:cubicBezTo>
                  <a:cubicBezTo>
                    <a:pt x="978" y="64"/>
                    <a:pt x="978" y="49"/>
                    <a:pt x="978" y="35"/>
                  </a:cubicBezTo>
                  <a:cubicBezTo>
                    <a:pt x="978" y="30"/>
                    <a:pt x="978" y="25"/>
                    <a:pt x="971" y="24"/>
                  </a:cubicBezTo>
                  <a:cubicBezTo>
                    <a:pt x="964" y="24"/>
                    <a:pt x="956" y="24"/>
                    <a:pt x="955" y="32"/>
                  </a:cubicBezTo>
                  <a:cubicBezTo>
                    <a:pt x="952" y="43"/>
                    <a:pt x="949" y="54"/>
                    <a:pt x="949" y="65"/>
                  </a:cubicBezTo>
                  <a:cubicBezTo>
                    <a:pt x="948" y="88"/>
                    <a:pt x="947" y="88"/>
                    <a:pt x="924" y="91"/>
                  </a:cubicBezTo>
                  <a:cubicBezTo>
                    <a:pt x="919" y="92"/>
                    <a:pt x="914" y="92"/>
                    <a:pt x="914" y="99"/>
                  </a:cubicBezTo>
                  <a:cubicBezTo>
                    <a:pt x="915" y="107"/>
                    <a:pt x="917" y="113"/>
                    <a:pt x="926" y="113"/>
                  </a:cubicBezTo>
                  <a:cubicBezTo>
                    <a:pt x="929" y="114"/>
                    <a:pt x="932" y="113"/>
                    <a:pt x="935" y="113"/>
                  </a:cubicBezTo>
                  <a:cubicBezTo>
                    <a:pt x="943" y="113"/>
                    <a:pt x="946" y="116"/>
                    <a:pt x="946" y="124"/>
                  </a:cubicBezTo>
                  <a:cubicBezTo>
                    <a:pt x="946" y="142"/>
                    <a:pt x="946" y="161"/>
                    <a:pt x="946" y="179"/>
                  </a:cubicBezTo>
                  <a:cubicBezTo>
                    <a:pt x="946" y="179"/>
                    <a:pt x="946" y="179"/>
                    <a:pt x="946" y="179"/>
                  </a:cubicBezTo>
                  <a:close/>
                </a:path>
              </a:pathLst>
            </a:custGeom>
            <a:solidFill>
              <a:srgbClr val="4C505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grpSp>
          <p:nvGrpSpPr>
            <p:cNvPr id="18" name="Group 4">
              <a:extLst>
                <a:ext uri="{FF2B5EF4-FFF2-40B4-BE49-F238E27FC236}">
                  <a16:creationId xmlns:a16="http://schemas.microsoft.com/office/drawing/2014/main" id="{57BD2C4C-DC67-B843-B26C-309622FC75F7}"/>
                </a:ext>
              </a:extLst>
            </p:cNvPr>
            <p:cNvGrpSpPr>
              <a:grpSpLocks noChangeAspect="1"/>
            </p:cNvGrpSpPr>
            <p:nvPr/>
          </p:nvGrpSpPr>
          <p:grpSpPr bwMode="gray">
            <a:xfrm>
              <a:off x="334963" y="296652"/>
              <a:ext cx="538094" cy="540000"/>
              <a:chOff x="2711" y="1027"/>
              <a:chExt cx="2258" cy="2266"/>
            </a:xfrm>
          </p:grpSpPr>
          <p:sp>
            <p:nvSpPr>
              <p:cNvPr id="19" name="AutoShape 3">
                <a:extLst>
                  <a:ext uri="{FF2B5EF4-FFF2-40B4-BE49-F238E27FC236}">
                    <a16:creationId xmlns:a16="http://schemas.microsoft.com/office/drawing/2014/main" id="{FE1DC41B-291E-574C-9F2C-874E70A40758}"/>
                  </a:ext>
                </a:extLst>
              </p:cNvPr>
              <p:cNvSpPr>
                <a:spLocks noChangeAspect="1" noChangeArrowheads="1" noTextEdit="1"/>
              </p:cNvSpPr>
              <p:nvPr/>
            </p:nvSpPr>
            <p:spPr bwMode="gray">
              <a:xfrm>
                <a:off x="2711" y="1027"/>
                <a:ext cx="2258" cy="22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sp>
            <p:nvSpPr>
              <p:cNvPr id="20" name="Freeform 5">
                <a:extLst>
                  <a:ext uri="{FF2B5EF4-FFF2-40B4-BE49-F238E27FC236}">
                    <a16:creationId xmlns:a16="http://schemas.microsoft.com/office/drawing/2014/main" id="{D4B633C8-F761-C54B-9BD2-EB59D49A2DBC}"/>
                  </a:ext>
                </a:extLst>
              </p:cNvPr>
              <p:cNvSpPr>
                <a:spLocks/>
              </p:cNvSpPr>
              <p:nvPr/>
            </p:nvSpPr>
            <p:spPr bwMode="gray">
              <a:xfrm>
                <a:off x="2709" y="1029"/>
                <a:ext cx="2260" cy="2262"/>
              </a:xfrm>
              <a:custGeom>
                <a:avLst/>
                <a:gdLst>
                  <a:gd name="T0" fmla="*/ 2260 w 2260"/>
                  <a:gd name="T1" fmla="*/ 0 h 2262"/>
                  <a:gd name="T2" fmla="*/ 1612 w 2260"/>
                  <a:gd name="T3" fmla="*/ 649 h 2262"/>
                  <a:gd name="T4" fmla="*/ 1612 w 2260"/>
                  <a:gd name="T5" fmla="*/ 649 h 2262"/>
                  <a:gd name="T6" fmla="*/ 2035 w 2260"/>
                  <a:gd name="T7" fmla="*/ 0 h 2262"/>
                  <a:gd name="T8" fmla="*/ 0 w 2260"/>
                  <a:gd name="T9" fmla="*/ 0 h 2262"/>
                  <a:gd name="T10" fmla="*/ 0 w 2260"/>
                  <a:gd name="T11" fmla="*/ 2262 h 2262"/>
                  <a:gd name="T12" fmla="*/ 2260 w 2260"/>
                  <a:gd name="T13" fmla="*/ 2262 h 2262"/>
                  <a:gd name="T14" fmla="*/ 2260 w 2260"/>
                  <a:gd name="T15" fmla="*/ 0 h 2262"/>
                  <a:gd name="T16" fmla="*/ 2260 w 2260"/>
                  <a:gd name="T17" fmla="*/ 0 h 2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0" h="2262">
                    <a:moveTo>
                      <a:pt x="2260" y="0"/>
                    </a:moveTo>
                    <a:lnTo>
                      <a:pt x="1612" y="649"/>
                    </a:lnTo>
                    <a:lnTo>
                      <a:pt x="1612" y="649"/>
                    </a:lnTo>
                    <a:lnTo>
                      <a:pt x="2035" y="0"/>
                    </a:lnTo>
                    <a:lnTo>
                      <a:pt x="0" y="0"/>
                    </a:lnTo>
                    <a:lnTo>
                      <a:pt x="0" y="2262"/>
                    </a:lnTo>
                    <a:lnTo>
                      <a:pt x="2260" y="2262"/>
                    </a:lnTo>
                    <a:lnTo>
                      <a:pt x="2260" y="0"/>
                    </a:lnTo>
                    <a:lnTo>
                      <a:pt x="2260" y="0"/>
                    </a:lnTo>
                    <a:close/>
                  </a:path>
                </a:pathLst>
              </a:custGeom>
              <a:solidFill>
                <a:srgbClr val="E55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sp>
            <p:nvSpPr>
              <p:cNvPr id="21" name="Freeform 6">
                <a:extLst>
                  <a:ext uri="{FF2B5EF4-FFF2-40B4-BE49-F238E27FC236}">
                    <a16:creationId xmlns:a16="http://schemas.microsoft.com/office/drawing/2014/main" id="{B16BAAE4-1A41-C843-9754-490F7A1E1270}"/>
                  </a:ext>
                </a:extLst>
              </p:cNvPr>
              <p:cNvSpPr>
                <a:spLocks noEditPoints="1"/>
              </p:cNvSpPr>
              <p:nvPr/>
            </p:nvSpPr>
            <p:spPr bwMode="gray">
              <a:xfrm>
                <a:off x="3623" y="1696"/>
                <a:ext cx="1167" cy="922"/>
              </a:xfrm>
              <a:custGeom>
                <a:avLst/>
                <a:gdLst>
                  <a:gd name="T0" fmla="*/ 411 w 580"/>
                  <a:gd name="T1" fmla="*/ 213 h 458"/>
                  <a:gd name="T2" fmla="*/ 570 w 580"/>
                  <a:gd name="T3" fmla="*/ 37 h 458"/>
                  <a:gd name="T4" fmla="*/ 580 w 580"/>
                  <a:gd name="T5" fmla="*/ 20 h 458"/>
                  <a:gd name="T6" fmla="*/ 545 w 580"/>
                  <a:gd name="T7" fmla="*/ 0 h 458"/>
                  <a:gd name="T8" fmla="*/ 519 w 580"/>
                  <a:gd name="T9" fmla="*/ 16 h 458"/>
                  <a:gd name="T10" fmla="*/ 344 w 580"/>
                  <a:gd name="T11" fmla="*/ 210 h 458"/>
                  <a:gd name="T12" fmla="*/ 334 w 580"/>
                  <a:gd name="T13" fmla="*/ 229 h 458"/>
                  <a:gd name="T14" fmla="*/ 344 w 580"/>
                  <a:gd name="T15" fmla="*/ 248 h 458"/>
                  <a:gd name="T16" fmla="*/ 519 w 580"/>
                  <a:gd name="T17" fmla="*/ 442 h 458"/>
                  <a:gd name="T18" fmla="*/ 545 w 580"/>
                  <a:gd name="T19" fmla="*/ 458 h 458"/>
                  <a:gd name="T20" fmla="*/ 580 w 580"/>
                  <a:gd name="T21" fmla="*/ 438 h 458"/>
                  <a:gd name="T22" fmla="*/ 570 w 580"/>
                  <a:gd name="T23" fmla="*/ 421 h 458"/>
                  <a:gd name="T24" fmla="*/ 411 w 580"/>
                  <a:gd name="T25" fmla="*/ 245 h 458"/>
                  <a:gd name="T26" fmla="*/ 399 w 580"/>
                  <a:gd name="T27" fmla="*/ 229 h 458"/>
                  <a:gd name="T28" fmla="*/ 411 w 580"/>
                  <a:gd name="T29" fmla="*/ 213 h 458"/>
                  <a:gd name="T30" fmla="*/ 252 w 580"/>
                  <a:gd name="T31" fmla="*/ 439 h 458"/>
                  <a:gd name="T32" fmla="*/ 281 w 580"/>
                  <a:gd name="T33" fmla="*/ 454 h 458"/>
                  <a:gd name="T34" fmla="*/ 309 w 580"/>
                  <a:gd name="T35" fmla="*/ 439 h 458"/>
                  <a:gd name="T36" fmla="*/ 309 w 580"/>
                  <a:gd name="T37" fmla="*/ 19 h 458"/>
                  <a:gd name="T38" fmla="*/ 281 w 580"/>
                  <a:gd name="T39" fmla="*/ 4 h 458"/>
                  <a:gd name="T40" fmla="*/ 252 w 580"/>
                  <a:gd name="T41" fmla="*/ 19 h 458"/>
                  <a:gd name="T42" fmla="*/ 252 w 580"/>
                  <a:gd name="T43" fmla="*/ 439 h 458"/>
                  <a:gd name="T44" fmla="*/ 0 w 580"/>
                  <a:gd name="T45" fmla="*/ 439 h 458"/>
                  <a:gd name="T46" fmla="*/ 28 w 580"/>
                  <a:gd name="T47" fmla="*/ 454 h 458"/>
                  <a:gd name="T48" fmla="*/ 56 w 580"/>
                  <a:gd name="T49" fmla="*/ 439 h 458"/>
                  <a:gd name="T50" fmla="*/ 56 w 580"/>
                  <a:gd name="T51" fmla="*/ 157 h 458"/>
                  <a:gd name="T52" fmla="*/ 165 w 580"/>
                  <a:gd name="T53" fmla="*/ 53 h 458"/>
                  <a:gd name="T54" fmla="*/ 180 w 580"/>
                  <a:gd name="T55" fmla="*/ 53 h 458"/>
                  <a:gd name="T56" fmla="*/ 196 w 580"/>
                  <a:gd name="T57" fmla="*/ 27 h 458"/>
                  <a:gd name="T58" fmla="*/ 154 w 580"/>
                  <a:gd name="T59" fmla="*/ 4 h 458"/>
                  <a:gd name="T60" fmla="*/ 0 w 580"/>
                  <a:gd name="T61" fmla="*/ 152 h 458"/>
                  <a:gd name="T62" fmla="*/ 0 w 580"/>
                  <a:gd name="T63" fmla="*/ 439 h 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80" h="458">
                    <a:moveTo>
                      <a:pt x="411" y="213"/>
                    </a:moveTo>
                    <a:cubicBezTo>
                      <a:pt x="570" y="37"/>
                      <a:pt x="570" y="37"/>
                      <a:pt x="570" y="37"/>
                    </a:cubicBezTo>
                    <a:cubicBezTo>
                      <a:pt x="576" y="30"/>
                      <a:pt x="580" y="25"/>
                      <a:pt x="580" y="20"/>
                    </a:cubicBezTo>
                    <a:cubicBezTo>
                      <a:pt x="580" y="10"/>
                      <a:pt x="559" y="0"/>
                      <a:pt x="545" y="0"/>
                    </a:cubicBezTo>
                    <a:cubicBezTo>
                      <a:pt x="535" y="0"/>
                      <a:pt x="526" y="8"/>
                      <a:pt x="519" y="16"/>
                    </a:cubicBezTo>
                    <a:cubicBezTo>
                      <a:pt x="344" y="210"/>
                      <a:pt x="344" y="210"/>
                      <a:pt x="344" y="210"/>
                    </a:cubicBezTo>
                    <a:cubicBezTo>
                      <a:pt x="336" y="219"/>
                      <a:pt x="334" y="224"/>
                      <a:pt x="334" y="229"/>
                    </a:cubicBezTo>
                    <a:cubicBezTo>
                      <a:pt x="334" y="234"/>
                      <a:pt x="336" y="239"/>
                      <a:pt x="344" y="248"/>
                    </a:cubicBezTo>
                    <a:cubicBezTo>
                      <a:pt x="519" y="442"/>
                      <a:pt x="519" y="442"/>
                      <a:pt x="519" y="442"/>
                    </a:cubicBezTo>
                    <a:cubicBezTo>
                      <a:pt x="526" y="450"/>
                      <a:pt x="535" y="458"/>
                      <a:pt x="545" y="458"/>
                    </a:cubicBezTo>
                    <a:cubicBezTo>
                      <a:pt x="559" y="458"/>
                      <a:pt x="580" y="448"/>
                      <a:pt x="580" y="438"/>
                    </a:cubicBezTo>
                    <a:cubicBezTo>
                      <a:pt x="580" y="433"/>
                      <a:pt x="576" y="428"/>
                      <a:pt x="570" y="421"/>
                    </a:cubicBezTo>
                    <a:cubicBezTo>
                      <a:pt x="411" y="245"/>
                      <a:pt x="411" y="245"/>
                      <a:pt x="411" y="245"/>
                    </a:cubicBezTo>
                    <a:cubicBezTo>
                      <a:pt x="403" y="236"/>
                      <a:pt x="399" y="232"/>
                      <a:pt x="399" y="229"/>
                    </a:cubicBezTo>
                    <a:cubicBezTo>
                      <a:pt x="399" y="226"/>
                      <a:pt x="403" y="222"/>
                      <a:pt x="411" y="213"/>
                    </a:cubicBezTo>
                    <a:moveTo>
                      <a:pt x="252" y="439"/>
                    </a:moveTo>
                    <a:cubicBezTo>
                      <a:pt x="252" y="449"/>
                      <a:pt x="261" y="454"/>
                      <a:pt x="281" y="454"/>
                    </a:cubicBezTo>
                    <a:cubicBezTo>
                      <a:pt x="300" y="454"/>
                      <a:pt x="309" y="449"/>
                      <a:pt x="309" y="439"/>
                    </a:cubicBezTo>
                    <a:cubicBezTo>
                      <a:pt x="309" y="19"/>
                      <a:pt x="309" y="19"/>
                      <a:pt x="309" y="19"/>
                    </a:cubicBezTo>
                    <a:cubicBezTo>
                      <a:pt x="309" y="9"/>
                      <a:pt x="300" y="4"/>
                      <a:pt x="281" y="4"/>
                    </a:cubicBezTo>
                    <a:cubicBezTo>
                      <a:pt x="261" y="4"/>
                      <a:pt x="252" y="9"/>
                      <a:pt x="252" y="19"/>
                    </a:cubicBezTo>
                    <a:lnTo>
                      <a:pt x="252" y="439"/>
                    </a:lnTo>
                    <a:close/>
                    <a:moveTo>
                      <a:pt x="0" y="439"/>
                    </a:moveTo>
                    <a:cubicBezTo>
                      <a:pt x="0" y="449"/>
                      <a:pt x="8" y="454"/>
                      <a:pt x="28" y="454"/>
                    </a:cubicBezTo>
                    <a:cubicBezTo>
                      <a:pt x="48" y="454"/>
                      <a:pt x="56" y="449"/>
                      <a:pt x="56" y="439"/>
                    </a:cubicBezTo>
                    <a:cubicBezTo>
                      <a:pt x="56" y="157"/>
                      <a:pt x="56" y="157"/>
                      <a:pt x="56" y="157"/>
                    </a:cubicBezTo>
                    <a:cubicBezTo>
                      <a:pt x="56" y="83"/>
                      <a:pt x="85" y="53"/>
                      <a:pt x="165" y="53"/>
                    </a:cubicBezTo>
                    <a:cubicBezTo>
                      <a:pt x="180" y="53"/>
                      <a:pt x="180" y="53"/>
                      <a:pt x="180" y="53"/>
                    </a:cubicBezTo>
                    <a:cubicBezTo>
                      <a:pt x="192" y="53"/>
                      <a:pt x="196" y="43"/>
                      <a:pt x="196" y="27"/>
                    </a:cubicBezTo>
                    <a:cubicBezTo>
                      <a:pt x="196" y="8"/>
                      <a:pt x="185" y="4"/>
                      <a:pt x="154" y="4"/>
                    </a:cubicBezTo>
                    <a:cubicBezTo>
                      <a:pt x="64" y="4"/>
                      <a:pt x="0" y="43"/>
                      <a:pt x="0" y="152"/>
                    </a:cubicBezTo>
                    <a:lnTo>
                      <a:pt x="0" y="43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sp>
            <p:nvSpPr>
              <p:cNvPr id="22" name="Freeform 7">
                <a:extLst>
                  <a:ext uri="{FF2B5EF4-FFF2-40B4-BE49-F238E27FC236}">
                    <a16:creationId xmlns:a16="http://schemas.microsoft.com/office/drawing/2014/main" id="{2F32DCBD-8628-F245-85CD-97686A20ECFD}"/>
                  </a:ext>
                </a:extLst>
              </p:cNvPr>
              <p:cNvSpPr>
                <a:spLocks/>
              </p:cNvSpPr>
              <p:nvPr/>
            </p:nvSpPr>
            <p:spPr bwMode="gray">
              <a:xfrm>
                <a:off x="2880" y="1704"/>
                <a:ext cx="618" cy="916"/>
              </a:xfrm>
              <a:custGeom>
                <a:avLst/>
                <a:gdLst>
                  <a:gd name="T0" fmla="*/ 307 w 307"/>
                  <a:gd name="T1" fmla="*/ 405 h 455"/>
                  <a:gd name="T2" fmla="*/ 307 w 307"/>
                  <a:gd name="T3" fmla="*/ 244 h 455"/>
                  <a:gd name="T4" fmla="*/ 279 w 307"/>
                  <a:gd name="T5" fmla="*/ 229 h 455"/>
                  <a:gd name="T6" fmla="*/ 250 w 307"/>
                  <a:gd name="T7" fmla="*/ 244 h 455"/>
                  <a:gd name="T8" fmla="*/ 250 w 307"/>
                  <a:gd name="T9" fmla="*/ 378 h 455"/>
                  <a:gd name="T10" fmla="*/ 199 w 307"/>
                  <a:gd name="T11" fmla="*/ 408 h 455"/>
                  <a:gd name="T12" fmla="*/ 61 w 307"/>
                  <a:gd name="T13" fmla="*/ 231 h 455"/>
                  <a:gd name="T14" fmla="*/ 238 w 307"/>
                  <a:gd name="T15" fmla="*/ 49 h 455"/>
                  <a:gd name="T16" fmla="*/ 270 w 307"/>
                  <a:gd name="T17" fmla="*/ 49 h 455"/>
                  <a:gd name="T18" fmla="*/ 286 w 307"/>
                  <a:gd name="T19" fmla="*/ 23 h 455"/>
                  <a:gd name="T20" fmla="*/ 244 w 307"/>
                  <a:gd name="T21" fmla="*/ 0 h 455"/>
                  <a:gd name="T22" fmla="*/ 231 w 307"/>
                  <a:gd name="T23" fmla="*/ 0 h 455"/>
                  <a:gd name="T24" fmla="*/ 0 w 307"/>
                  <a:gd name="T25" fmla="*/ 232 h 455"/>
                  <a:gd name="T26" fmla="*/ 198 w 307"/>
                  <a:gd name="T27" fmla="*/ 455 h 455"/>
                  <a:gd name="T28" fmla="*/ 307 w 307"/>
                  <a:gd name="T29" fmla="*/ 405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7" h="455">
                    <a:moveTo>
                      <a:pt x="307" y="405"/>
                    </a:moveTo>
                    <a:cubicBezTo>
                      <a:pt x="307" y="244"/>
                      <a:pt x="307" y="244"/>
                      <a:pt x="307" y="244"/>
                    </a:cubicBezTo>
                    <a:cubicBezTo>
                      <a:pt x="307" y="234"/>
                      <a:pt x="298" y="229"/>
                      <a:pt x="279" y="229"/>
                    </a:cubicBezTo>
                    <a:cubicBezTo>
                      <a:pt x="259" y="229"/>
                      <a:pt x="250" y="234"/>
                      <a:pt x="250" y="244"/>
                    </a:cubicBezTo>
                    <a:cubicBezTo>
                      <a:pt x="250" y="378"/>
                      <a:pt x="250" y="378"/>
                      <a:pt x="250" y="378"/>
                    </a:cubicBezTo>
                    <a:cubicBezTo>
                      <a:pt x="250" y="399"/>
                      <a:pt x="241" y="408"/>
                      <a:pt x="199" y="408"/>
                    </a:cubicBezTo>
                    <a:cubicBezTo>
                      <a:pt x="114" y="408"/>
                      <a:pt x="61" y="342"/>
                      <a:pt x="61" y="231"/>
                    </a:cubicBezTo>
                    <a:cubicBezTo>
                      <a:pt x="61" y="115"/>
                      <a:pt x="126" y="49"/>
                      <a:pt x="238" y="49"/>
                    </a:cubicBezTo>
                    <a:cubicBezTo>
                      <a:pt x="270" y="49"/>
                      <a:pt x="270" y="49"/>
                      <a:pt x="270" y="49"/>
                    </a:cubicBezTo>
                    <a:cubicBezTo>
                      <a:pt x="282" y="49"/>
                      <a:pt x="286" y="39"/>
                      <a:pt x="286" y="23"/>
                    </a:cubicBezTo>
                    <a:cubicBezTo>
                      <a:pt x="286" y="4"/>
                      <a:pt x="275" y="0"/>
                      <a:pt x="244" y="0"/>
                    </a:cubicBezTo>
                    <a:cubicBezTo>
                      <a:pt x="231" y="0"/>
                      <a:pt x="231" y="0"/>
                      <a:pt x="231" y="0"/>
                    </a:cubicBezTo>
                    <a:cubicBezTo>
                      <a:pt x="101" y="0"/>
                      <a:pt x="0" y="71"/>
                      <a:pt x="0" y="232"/>
                    </a:cubicBezTo>
                    <a:cubicBezTo>
                      <a:pt x="0" y="386"/>
                      <a:pt x="88" y="455"/>
                      <a:pt x="198" y="455"/>
                    </a:cubicBezTo>
                    <a:cubicBezTo>
                      <a:pt x="286" y="455"/>
                      <a:pt x="307" y="430"/>
                      <a:pt x="307" y="40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sp>
            <p:nvSpPr>
              <p:cNvPr id="23" name="Oval 8">
                <a:extLst>
                  <a:ext uri="{FF2B5EF4-FFF2-40B4-BE49-F238E27FC236}">
                    <a16:creationId xmlns:a16="http://schemas.microsoft.com/office/drawing/2014/main" id="{60D97C11-1A3B-5449-A48D-98A3E79B3810}"/>
                  </a:ext>
                </a:extLst>
              </p:cNvPr>
              <p:cNvSpPr>
                <a:spLocks noChangeArrowheads="1"/>
              </p:cNvSpPr>
              <p:nvPr/>
            </p:nvSpPr>
            <p:spPr bwMode="gray">
              <a:xfrm>
                <a:off x="3778" y="2099"/>
                <a:ext cx="122" cy="12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sp>
            <p:nvSpPr>
              <p:cNvPr id="24" name="Freeform 9">
                <a:extLst>
                  <a:ext uri="{FF2B5EF4-FFF2-40B4-BE49-F238E27FC236}">
                    <a16:creationId xmlns:a16="http://schemas.microsoft.com/office/drawing/2014/main" id="{5856770D-B8F0-244E-A05D-AED190086F10}"/>
                  </a:ext>
                </a:extLst>
              </p:cNvPr>
              <p:cNvSpPr>
                <a:spLocks noEditPoints="1"/>
              </p:cNvSpPr>
              <p:nvPr/>
            </p:nvSpPr>
            <p:spPr bwMode="gray">
              <a:xfrm>
                <a:off x="3623" y="1696"/>
                <a:ext cx="1167" cy="922"/>
              </a:xfrm>
              <a:custGeom>
                <a:avLst/>
                <a:gdLst>
                  <a:gd name="T0" fmla="*/ 411 w 580"/>
                  <a:gd name="T1" fmla="*/ 213 h 458"/>
                  <a:gd name="T2" fmla="*/ 570 w 580"/>
                  <a:gd name="T3" fmla="*/ 37 h 458"/>
                  <a:gd name="T4" fmla="*/ 580 w 580"/>
                  <a:gd name="T5" fmla="*/ 20 h 458"/>
                  <a:gd name="T6" fmla="*/ 545 w 580"/>
                  <a:gd name="T7" fmla="*/ 0 h 458"/>
                  <a:gd name="T8" fmla="*/ 519 w 580"/>
                  <a:gd name="T9" fmla="*/ 16 h 458"/>
                  <a:gd name="T10" fmla="*/ 344 w 580"/>
                  <a:gd name="T11" fmla="*/ 210 h 458"/>
                  <a:gd name="T12" fmla="*/ 334 w 580"/>
                  <a:gd name="T13" fmla="*/ 229 h 458"/>
                  <a:gd name="T14" fmla="*/ 344 w 580"/>
                  <a:gd name="T15" fmla="*/ 248 h 458"/>
                  <a:gd name="T16" fmla="*/ 519 w 580"/>
                  <a:gd name="T17" fmla="*/ 442 h 458"/>
                  <a:gd name="T18" fmla="*/ 545 w 580"/>
                  <a:gd name="T19" fmla="*/ 458 h 458"/>
                  <a:gd name="T20" fmla="*/ 580 w 580"/>
                  <a:gd name="T21" fmla="*/ 438 h 458"/>
                  <a:gd name="T22" fmla="*/ 570 w 580"/>
                  <a:gd name="T23" fmla="*/ 421 h 458"/>
                  <a:gd name="T24" fmla="*/ 411 w 580"/>
                  <a:gd name="T25" fmla="*/ 245 h 458"/>
                  <a:gd name="T26" fmla="*/ 399 w 580"/>
                  <a:gd name="T27" fmla="*/ 229 h 458"/>
                  <a:gd name="T28" fmla="*/ 411 w 580"/>
                  <a:gd name="T29" fmla="*/ 213 h 458"/>
                  <a:gd name="T30" fmla="*/ 252 w 580"/>
                  <a:gd name="T31" fmla="*/ 439 h 458"/>
                  <a:gd name="T32" fmla="*/ 281 w 580"/>
                  <a:gd name="T33" fmla="*/ 454 h 458"/>
                  <a:gd name="T34" fmla="*/ 309 w 580"/>
                  <a:gd name="T35" fmla="*/ 439 h 458"/>
                  <a:gd name="T36" fmla="*/ 309 w 580"/>
                  <a:gd name="T37" fmla="*/ 19 h 458"/>
                  <a:gd name="T38" fmla="*/ 281 w 580"/>
                  <a:gd name="T39" fmla="*/ 4 h 458"/>
                  <a:gd name="T40" fmla="*/ 252 w 580"/>
                  <a:gd name="T41" fmla="*/ 19 h 458"/>
                  <a:gd name="T42" fmla="*/ 252 w 580"/>
                  <a:gd name="T43" fmla="*/ 439 h 458"/>
                  <a:gd name="T44" fmla="*/ 0 w 580"/>
                  <a:gd name="T45" fmla="*/ 439 h 458"/>
                  <a:gd name="T46" fmla="*/ 28 w 580"/>
                  <a:gd name="T47" fmla="*/ 454 h 458"/>
                  <a:gd name="T48" fmla="*/ 56 w 580"/>
                  <a:gd name="T49" fmla="*/ 439 h 458"/>
                  <a:gd name="T50" fmla="*/ 56 w 580"/>
                  <a:gd name="T51" fmla="*/ 157 h 458"/>
                  <a:gd name="T52" fmla="*/ 165 w 580"/>
                  <a:gd name="T53" fmla="*/ 53 h 458"/>
                  <a:gd name="T54" fmla="*/ 180 w 580"/>
                  <a:gd name="T55" fmla="*/ 53 h 458"/>
                  <a:gd name="T56" fmla="*/ 196 w 580"/>
                  <a:gd name="T57" fmla="*/ 27 h 458"/>
                  <a:gd name="T58" fmla="*/ 154 w 580"/>
                  <a:gd name="T59" fmla="*/ 4 h 458"/>
                  <a:gd name="T60" fmla="*/ 0 w 580"/>
                  <a:gd name="T61" fmla="*/ 152 h 458"/>
                  <a:gd name="T62" fmla="*/ 0 w 580"/>
                  <a:gd name="T63" fmla="*/ 439 h 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80" h="458">
                    <a:moveTo>
                      <a:pt x="411" y="213"/>
                    </a:moveTo>
                    <a:cubicBezTo>
                      <a:pt x="570" y="37"/>
                      <a:pt x="570" y="37"/>
                      <a:pt x="570" y="37"/>
                    </a:cubicBezTo>
                    <a:cubicBezTo>
                      <a:pt x="576" y="30"/>
                      <a:pt x="580" y="25"/>
                      <a:pt x="580" y="20"/>
                    </a:cubicBezTo>
                    <a:cubicBezTo>
                      <a:pt x="580" y="10"/>
                      <a:pt x="559" y="0"/>
                      <a:pt x="545" y="0"/>
                    </a:cubicBezTo>
                    <a:cubicBezTo>
                      <a:pt x="535" y="0"/>
                      <a:pt x="526" y="8"/>
                      <a:pt x="519" y="16"/>
                    </a:cubicBezTo>
                    <a:cubicBezTo>
                      <a:pt x="344" y="210"/>
                      <a:pt x="344" y="210"/>
                      <a:pt x="344" y="210"/>
                    </a:cubicBezTo>
                    <a:cubicBezTo>
                      <a:pt x="336" y="219"/>
                      <a:pt x="334" y="224"/>
                      <a:pt x="334" y="229"/>
                    </a:cubicBezTo>
                    <a:cubicBezTo>
                      <a:pt x="334" y="234"/>
                      <a:pt x="336" y="239"/>
                      <a:pt x="344" y="248"/>
                    </a:cubicBezTo>
                    <a:cubicBezTo>
                      <a:pt x="519" y="442"/>
                      <a:pt x="519" y="442"/>
                      <a:pt x="519" y="442"/>
                    </a:cubicBezTo>
                    <a:cubicBezTo>
                      <a:pt x="526" y="450"/>
                      <a:pt x="535" y="458"/>
                      <a:pt x="545" y="458"/>
                    </a:cubicBezTo>
                    <a:cubicBezTo>
                      <a:pt x="559" y="458"/>
                      <a:pt x="580" y="448"/>
                      <a:pt x="580" y="438"/>
                    </a:cubicBezTo>
                    <a:cubicBezTo>
                      <a:pt x="580" y="433"/>
                      <a:pt x="576" y="428"/>
                      <a:pt x="570" y="421"/>
                    </a:cubicBezTo>
                    <a:cubicBezTo>
                      <a:pt x="411" y="245"/>
                      <a:pt x="411" y="245"/>
                      <a:pt x="411" y="245"/>
                    </a:cubicBezTo>
                    <a:cubicBezTo>
                      <a:pt x="403" y="236"/>
                      <a:pt x="399" y="232"/>
                      <a:pt x="399" y="229"/>
                    </a:cubicBezTo>
                    <a:cubicBezTo>
                      <a:pt x="399" y="226"/>
                      <a:pt x="403" y="222"/>
                      <a:pt x="411" y="213"/>
                    </a:cubicBezTo>
                    <a:moveTo>
                      <a:pt x="252" y="439"/>
                    </a:moveTo>
                    <a:cubicBezTo>
                      <a:pt x="252" y="449"/>
                      <a:pt x="261" y="454"/>
                      <a:pt x="281" y="454"/>
                    </a:cubicBezTo>
                    <a:cubicBezTo>
                      <a:pt x="300" y="454"/>
                      <a:pt x="309" y="449"/>
                      <a:pt x="309" y="439"/>
                    </a:cubicBezTo>
                    <a:cubicBezTo>
                      <a:pt x="309" y="19"/>
                      <a:pt x="309" y="19"/>
                      <a:pt x="309" y="19"/>
                    </a:cubicBezTo>
                    <a:cubicBezTo>
                      <a:pt x="309" y="9"/>
                      <a:pt x="300" y="4"/>
                      <a:pt x="281" y="4"/>
                    </a:cubicBezTo>
                    <a:cubicBezTo>
                      <a:pt x="261" y="4"/>
                      <a:pt x="252" y="9"/>
                      <a:pt x="252" y="19"/>
                    </a:cubicBezTo>
                    <a:lnTo>
                      <a:pt x="252" y="439"/>
                    </a:lnTo>
                    <a:close/>
                    <a:moveTo>
                      <a:pt x="0" y="439"/>
                    </a:moveTo>
                    <a:cubicBezTo>
                      <a:pt x="0" y="449"/>
                      <a:pt x="8" y="454"/>
                      <a:pt x="28" y="454"/>
                    </a:cubicBezTo>
                    <a:cubicBezTo>
                      <a:pt x="48" y="454"/>
                      <a:pt x="56" y="449"/>
                      <a:pt x="56" y="439"/>
                    </a:cubicBezTo>
                    <a:cubicBezTo>
                      <a:pt x="56" y="157"/>
                      <a:pt x="56" y="157"/>
                      <a:pt x="56" y="157"/>
                    </a:cubicBezTo>
                    <a:cubicBezTo>
                      <a:pt x="56" y="83"/>
                      <a:pt x="85" y="53"/>
                      <a:pt x="165" y="53"/>
                    </a:cubicBezTo>
                    <a:cubicBezTo>
                      <a:pt x="180" y="53"/>
                      <a:pt x="180" y="53"/>
                      <a:pt x="180" y="53"/>
                    </a:cubicBezTo>
                    <a:cubicBezTo>
                      <a:pt x="192" y="53"/>
                      <a:pt x="196" y="43"/>
                      <a:pt x="196" y="27"/>
                    </a:cubicBezTo>
                    <a:cubicBezTo>
                      <a:pt x="196" y="8"/>
                      <a:pt x="185" y="4"/>
                      <a:pt x="154" y="4"/>
                    </a:cubicBezTo>
                    <a:cubicBezTo>
                      <a:pt x="64" y="4"/>
                      <a:pt x="0" y="43"/>
                      <a:pt x="0" y="152"/>
                    </a:cubicBezTo>
                    <a:lnTo>
                      <a:pt x="0" y="43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sp>
            <p:nvSpPr>
              <p:cNvPr id="25" name="Freeform 10">
                <a:extLst>
                  <a:ext uri="{FF2B5EF4-FFF2-40B4-BE49-F238E27FC236}">
                    <a16:creationId xmlns:a16="http://schemas.microsoft.com/office/drawing/2014/main" id="{2B91B16B-BC11-E547-8FAC-B9B8D18EA449}"/>
                  </a:ext>
                </a:extLst>
              </p:cNvPr>
              <p:cNvSpPr>
                <a:spLocks/>
              </p:cNvSpPr>
              <p:nvPr/>
            </p:nvSpPr>
            <p:spPr bwMode="gray">
              <a:xfrm>
                <a:off x="2880" y="1704"/>
                <a:ext cx="618" cy="916"/>
              </a:xfrm>
              <a:custGeom>
                <a:avLst/>
                <a:gdLst>
                  <a:gd name="T0" fmla="*/ 307 w 307"/>
                  <a:gd name="T1" fmla="*/ 405 h 455"/>
                  <a:gd name="T2" fmla="*/ 307 w 307"/>
                  <a:gd name="T3" fmla="*/ 244 h 455"/>
                  <a:gd name="T4" fmla="*/ 279 w 307"/>
                  <a:gd name="T5" fmla="*/ 229 h 455"/>
                  <a:gd name="T6" fmla="*/ 250 w 307"/>
                  <a:gd name="T7" fmla="*/ 244 h 455"/>
                  <a:gd name="T8" fmla="*/ 250 w 307"/>
                  <a:gd name="T9" fmla="*/ 378 h 455"/>
                  <a:gd name="T10" fmla="*/ 199 w 307"/>
                  <a:gd name="T11" fmla="*/ 408 h 455"/>
                  <a:gd name="T12" fmla="*/ 61 w 307"/>
                  <a:gd name="T13" fmla="*/ 231 h 455"/>
                  <a:gd name="T14" fmla="*/ 238 w 307"/>
                  <a:gd name="T15" fmla="*/ 49 h 455"/>
                  <a:gd name="T16" fmla="*/ 270 w 307"/>
                  <a:gd name="T17" fmla="*/ 49 h 455"/>
                  <a:gd name="T18" fmla="*/ 286 w 307"/>
                  <a:gd name="T19" fmla="*/ 23 h 455"/>
                  <a:gd name="T20" fmla="*/ 244 w 307"/>
                  <a:gd name="T21" fmla="*/ 0 h 455"/>
                  <a:gd name="T22" fmla="*/ 231 w 307"/>
                  <a:gd name="T23" fmla="*/ 0 h 455"/>
                  <a:gd name="T24" fmla="*/ 0 w 307"/>
                  <a:gd name="T25" fmla="*/ 232 h 455"/>
                  <a:gd name="T26" fmla="*/ 198 w 307"/>
                  <a:gd name="T27" fmla="*/ 455 h 455"/>
                  <a:gd name="T28" fmla="*/ 307 w 307"/>
                  <a:gd name="T29" fmla="*/ 405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7" h="455">
                    <a:moveTo>
                      <a:pt x="307" y="405"/>
                    </a:moveTo>
                    <a:cubicBezTo>
                      <a:pt x="307" y="244"/>
                      <a:pt x="307" y="244"/>
                      <a:pt x="307" y="244"/>
                    </a:cubicBezTo>
                    <a:cubicBezTo>
                      <a:pt x="307" y="234"/>
                      <a:pt x="298" y="229"/>
                      <a:pt x="279" y="229"/>
                    </a:cubicBezTo>
                    <a:cubicBezTo>
                      <a:pt x="259" y="229"/>
                      <a:pt x="250" y="234"/>
                      <a:pt x="250" y="244"/>
                    </a:cubicBezTo>
                    <a:cubicBezTo>
                      <a:pt x="250" y="378"/>
                      <a:pt x="250" y="378"/>
                      <a:pt x="250" y="378"/>
                    </a:cubicBezTo>
                    <a:cubicBezTo>
                      <a:pt x="250" y="399"/>
                      <a:pt x="241" y="408"/>
                      <a:pt x="199" y="408"/>
                    </a:cubicBezTo>
                    <a:cubicBezTo>
                      <a:pt x="114" y="408"/>
                      <a:pt x="61" y="342"/>
                      <a:pt x="61" y="231"/>
                    </a:cubicBezTo>
                    <a:cubicBezTo>
                      <a:pt x="61" y="115"/>
                      <a:pt x="126" y="49"/>
                      <a:pt x="238" y="49"/>
                    </a:cubicBezTo>
                    <a:cubicBezTo>
                      <a:pt x="270" y="49"/>
                      <a:pt x="270" y="49"/>
                      <a:pt x="270" y="49"/>
                    </a:cubicBezTo>
                    <a:cubicBezTo>
                      <a:pt x="282" y="49"/>
                      <a:pt x="286" y="39"/>
                      <a:pt x="286" y="23"/>
                    </a:cubicBezTo>
                    <a:cubicBezTo>
                      <a:pt x="286" y="4"/>
                      <a:pt x="275" y="0"/>
                      <a:pt x="244" y="0"/>
                    </a:cubicBezTo>
                    <a:cubicBezTo>
                      <a:pt x="231" y="0"/>
                      <a:pt x="231" y="0"/>
                      <a:pt x="231" y="0"/>
                    </a:cubicBezTo>
                    <a:cubicBezTo>
                      <a:pt x="101" y="0"/>
                      <a:pt x="0" y="71"/>
                      <a:pt x="0" y="232"/>
                    </a:cubicBezTo>
                    <a:cubicBezTo>
                      <a:pt x="0" y="386"/>
                      <a:pt x="88" y="455"/>
                      <a:pt x="198" y="455"/>
                    </a:cubicBezTo>
                    <a:cubicBezTo>
                      <a:pt x="286" y="455"/>
                      <a:pt x="307" y="430"/>
                      <a:pt x="307" y="40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sp>
            <p:nvSpPr>
              <p:cNvPr id="26" name="Oval 11">
                <a:extLst>
                  <a:ext uri="{FF2B5EF4-FFF2-40B4-BE49-F238E27FC236}">
                    <a16:creationId xmlns:a16="http://schemas.microsoft.com/office/drawing/2014/main" id="{14F8C3C8-4888-7646-B9B4-64EB46A1DA23}"/>
                  </a:ext>
                </a:extLst>
              </p:cNvPr>
              <p:cNvSpPr>
                <a:spLocks noChangeArrowheads="1"/>
              </p:cNvSpPr>
              <p:nvPr/>
            </p:nvSpPr>
            <p:spPr bwMode="gray">
              <a:xfrm>
                <a:off x="3778" y="2099"/>
                <a:ext cx="122" cy="12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sp>
            <p:nvSpPr>
              <p:cNvPr id="27" name="Freeform 12">
                <a:extLst>
                  <a:ext uri="{FF2B5EF4-FFF2-40B4-BE49-F238E27FC236}">
                    <a16:creationId xmlns:a16="http://schemas.microsoft.com/office/drawing/2014/main" id="{D79D01D1-4E3E-F34B-97D7-2D387E68746E}"/>
                  </a:ext>
                </a:extLst>
              </p:cNvPr>
              <p:cNvSpPr>
                <a:spLocks/>
              </p:cNvSpPr>
              <p:nvPr/>
            </p:nvSpPr>
            <p:spPr bwMode="gray">
              <a:xfrm>
                <a:off x="4321" y="1029"/>
                <a:ext cx="648" cy="649"/>
              </a:xfrm>
              <a:custGeom>
                <a:avLst/>
                <a:gdLst>
                  <a:gd name="T0" fmla="*/ 0 w 648"/>
                  <a:gd name="T1" fmla="*/ 649 h 649"/>
                  <a:gd name="T2" fmla="*/ 2 w 648"/>
                  <a:gd name="T3" fmla="*/ 649 h 649"/>
                  <a:gd name="T4" fmla="*/ 648 w 648"/>
                  <a:gd name="T5" fmla="*/ 0 h 649"/>
                  <a:gd name="T6" fmla="*/ 423 w 648"/>
                  <a:gd name="T7" fmla="*/ 0 h 649"/>
                  <a:gd name="T8" fmla="*/ 0 w 648"/>
                  <a:gd name="T9" fmla="*/ 649 h 649"/>
                </a:gdLst>
                <a:ahLst/>
                <a:cxnLst>
                  <a:cxn ang="0">
                    <a:pos x="T0" y="T1"/>
                  </a:cxn>
                  <a:cxn ang="0">
                    <a:pos x="T2" y="T3"/>
                  </a:cxn>
                  <a:cxn ang="0">
                    <a:pos x="T4" y="T5"/>
                  </a:cxn>
                  <a:cxn ang="0">
                    <a:pos x="T6" y="T7"/>
                  </a:cxn>
                  <a:cxn ang="0">
                    <a:pos x="T8" y="T9"/>
                  </a:cxn>
                </a:cxnLst>
                <a:rect l="0" t="0" r="r" b="b"/>
                <a:pathLst>
                  <a:path w="648" h="649">
                    <a:moveTo>
                      <a:pt x="0" y="649"/>
                    </a:moveTo>
                    <a:lnTo>
                      <a:pt x="2" y="649"/>
                    </a:lnTo>
                    <a:lnTo>
                      <a:pt x="648" y="0"/>
                    </a:lnTo>
                    <a:lnTo>
                      <a:pt x="423" y="0"/>
                    </a:lnTo>
                    <a:lnTo>
                      <a:pt x="0" y="64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sp>
            <p:nvSpPr>
              <p:cNvPr id="28" name="Freeform 13">
                <a:extLst>
                  <a:ext uri="{FF2B5EF4-FFF2-40B4-BE49-F238E27FC236}">
                    <a16:creationId xmlns:a16="http://schemas.microsoft.com/office/drawing/2014/main" id="{46549898-6C52-B147-A8F6-A73FDBE6163B}"/>
                  </a:ext>
                </a:extLst>
              </p:cNvPr>
              <p:cNvSpPr>
                <a:spLocks/>
              </p:cNvSpPr>
              <p:nvPr/>
            </p:nvSpPr>
            <p:spPr bwMode="gray">
              <a:xfrm>
                <a:off x="4321" y="1029"/>
                <a:ext cx="648" cy="649"/>
              </a:xfrm>
              <a:custGeom>
                <a:avLst/>
                <a:gdLst>
                  <a:gd name="T0" fmla="*/ 0 w 648"/>
                  <a:gd name="T1" fmla="*/ 649 h 649"/>
                  <a:gd name="T2" fmla="*/ 2 w 648"/>
                  <a:gd name="T3" fmla="*/ 649 h 649"/>
                  <a:gd name="T4" fmla="*/ 648 w 648"/>
                  <a:gd name="T5" fmla="*/ 0 h 649"/>
                  <a:gd name="T6" fmla="*/ 423 w 648"/>
                  <a:gd name="T7" fmla="*/ 0 h 649"/>
                  <a:gd name="T8" fmla="*/ 0 w 648"/>
                  <a:gd name="T9" fmla="*/ 649 h 649"/>
                </a:gdLst>
                <a:ahLst/>
                <a:cxnLst>
                  <a:cxn ang="0">
                    <a:pos x="T0" y="T1"/>
                  </a:cxn>
                  <a:cxn ang="0">
                    <a:pos x="T2" y="T3"/>
                  </a:cxn>
                  <a:cxn ang="0">
                    <a:pos x="T4" y="T5"/>
                  </a:cxn>
                  <a:cxn ang="0">
                    <a:pos x="T6" y="T7"/>
                  </a:cxn>
                  <a:cxn ang="0">
                    <a:pos x="T8" y="T9"/>
                  </a:cxn>
                </a:cxnLst>
                <a:rect l="0" t="0" r="r" b="b"/>
                <a:pathLst>
                  <a:path w="648" h="649">
                    <a:moveTo>
                      <a:pt x="0" y="649"/>
                    </a:moveTo>
                    <a:lnTo>
                      <a:pt x="2" y="649"/>
                    </a:lnTo>
                    <a:lnTo>
                      <a:pt x="648" y="0"/>
                    </a:lnTo>
                    <a:lnTo>
                      <a:pt x="423" y="0"/>
                    </a:lnTo>
                    <a:lnTo>
                      <a:pt x="0" y="64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grpSp>
      </p:grpSp>
      <p:sp>
        <p:nvSpPr>
          <p:cNvPr id="7" name="Date Placeholder 6"/>
          <p:cNvSpPr>
            <a:spLocks noGrp="1"/>
          </p:cNvSpPr>
          <p:nvPr>
            <p:ph type="dt" sz="half" idx="10"/>
          </p:nvPr>
        </p:nvSpPr>
        <p:spPr>
          <a:xfrm>
            <a:off x="0" y="0"/>
            <a:ext cx="0" cy="0"/>
          </a:xfrm>
          <a:prstGeom prst="rect">
            <a:avLst/>
          </a:prstGeom>
        </p:spPr>
        <p:txBody>
          <a:bodyPr/>
          <a:lstStyle>
            <a:lvl1pPr>
              <a:defRPr sz="100">
                <a:noFill/>
              </a:defRPr>
            </a:lvl1pPr>
          </a:lstStyle>
          <a:p>
            <a:fld id="{7630F4D0-4FCA-495D-93CB-4308FDD6CACA}" type="datetime5">
              <a:rPr lang="en-US" smtClean="0"/>
              <a:t>26-Jun-20</a:t>
            </a:fld>
            <a:endParaRPr lang="en-US" dirty="0"/>
          </a:p>
        </p:txBody>
      </p:sp>
      <p:sp>
        <p:nvSpPr>
          <p:cNvPr id="8" name="Footer Placeholder 7"/>
          <p:cNvSpPr>
            <a:spLocks noGrp="1"/>
          </p:cNvSpPr>
          <p:nvPr>
            <p:ph type="ftr" sz="quarter" idx="11"/>
          </p:nvPr>
        </p:nvSpPr>
        <p:spPr>
          <a:xfrm>
            <a:off x="0" y="0"/>
            <a:ext cx="0" cy="0"/>
          </a:xfrm>
          <a:prstGeom prst="rect">
            <a:avLst/>
          </a:prstGeom>
        </p:spPr>
        <p:txBody>
          <a:bodyPr/>
          <a:lstStyle>
            <a:lvl1pPr marL="0" indent="0">
              <a:buNone/>
              <a:defRPr sz="100">
                <a:noFill/>
              </a:defRPr>
            </a:lvl1pPr>
          </a:lstStyle>
          <a:p>
            <a:r>
              <a:rPr lang="en-US"/>
              <a:t>Title of presentation (Insert / Header &amp; Footer / Apply to All)</a:t>
            </a:r>
            <a:endParaRPr lang="en-US" dirty="0"/>
          </a:p>
        </p:txBody>
      </p:sp>
      <p:sp>
        <p:nvSpPr>
          <p:cNvPr id="9" name="Slide Number Placeholder 8"/>
          <p:cNvSpPr>
            <a:spLocks noGrp="1"/>
          </p:cNvSpPr>
          <p:nvPr>
            <p:ph type="sldNum" sz="quarter" idx="12"/>
          </p:nvPr>
        </p:nvSpPr>
        <p:spPr>
          <a:xfrm>
            <a:off x="0" y="0"/>
            <a:ext cx="0" cy="0"/>
          </a:xfrm>
          <a:prstGeom prst="rect">
            <a:avLst/>
          </a:prstGeom>
        </p:spPr>
        <p:txBody>
          <a:bodyPr/>
          <a:lstStyle>
            <a:lvl1pPr>
              <a:defRPr sz="100">
                <a:noFill/>
              </a:defRPr>
            </a:lvl1pPr>
          </a:lstStyle>
          <a:p>
            <a:fld id="{8E3B25F7-8D1F-44B5-B485-EE3C438CFD7B}" type="slidenum">
              <a:rPr lang="en-US" smtClean="0"/>
              <a:pPr/>
              <a:t>‹#›</a:t>
            </a:fld>
            <a:endParaRPr lang="en-US"/>
          </a:p>
        </p:txBody>
      </p:sp>
      <p:sp>
        <p:nvSpPr>
          <p:cNvPr id="2" name="Title 1"/>
          <p:cNvSpPr>
            <a:spLocks noGrp="1"/>
          </p:cNvSpPr>
          <p:nvPr>
            <p:ph type="ctrTitle" hasCustomPrompt="1"/>
          </p:nvPr>
        </p:nvSpPr>
        <p:spPr>
          <a:xfrm>
            <a:off x="4524589" y="1628775"/>
            <a:ext cx="5707662" cy="2236264"/>
          </a:xfrm>
        </p:spPr>
        <p:txBody>
          <a:bodyPr anchor="b"/>
          <a:lstStyle>
            <a:lvl1pPr algn="l">
              <a:defRPr sz="3600" baseline="0"/>
            </a:lvl1pPr>
          </a:lstStyle>
          <a:p>
            <a:r>
              <a:rPr lang="en-US" dirty="0"/>
              <a:t>Click to add a longer presentation title</a:t>
            </a:r>
          </a:p>
        </p:txBody>
      </p:sp>
      <p:sp>
        <p:nvSpPr>
          <p:cNvPr id="3" name="Subtitle 2"/>
          <p:cNvSpPr>
            <a:spLocks noGrp="1"/>
          </p:cNvSpPr>
          <p:nvPr>
            <p:ph type="subTitle" idx="1" hasCustomPrompt="1"/>
          </p:nvPr>
        </p:nvSpPr>
        <p:spPr>
          <a:xfrm>
            <a:off x="4524589" y="4094163"/>
            <a:ext cx="5707662" cy="1080000"/>
          </a:xfrm>
        </p:spPr>
        <p:txBody>
          <a:bodyPr/>
          <a:lstStyle>
            <a:lvl1pPr marL="0" indent="0" algn="l">
              <a:spcBef>
                <a:spcPts val="0"/>
              </a:spcBef>
              <a:buNone/>
              <a:defRPr sz="1800" b="1"/>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31" name="Text Placeholder 30"/>
          <p:cNvSpPr>
            <a:spLocks noGrp="1"/>
          </p:cNvSpPr>
          <p:nvPr>
            <p:ph type="body" sz="quarter" idx="14" hasCustomPrompt="1"/>
          </p:nvPr>
        </p:nvSpPr>
        <p:spPr>
          <a:xfrm>
            <a:off x="417600" y="5393268"/>
            <a:ext cx="2494933" cy="296332"/>
          </a:xfrm>
        </p:spPr>
        <p:txBody>
          <a:bodyPr wrap="none"/>
          <a:lstStyle>
            <a:lvl1pPr marL="0" indent="0">
              <a:spcBef>
                <a:spcPts val="0"/>
              </a:spcBef>
              <a:buNone/>
              <a:defRPr sz="1200"/>
            </a:lvl1pPr>
            <a:lvl2pPr marL="0" indent="0">
              <a:buNone/>
              <a:defRPr sz="1200"/>
            </a:lvl2pPr>
            <a:lvl3pPr marL="0" indent="0">
              <a:buNone/>
              <a:defRPr sz="1200"/>
            </a:lvl3pPr>
            <a:lvl4pPr marL="0">
              <a:buNone/>
              <a:defRPr sz="1200"/>
            </a:lvl4pPr>
            <a:lvl5pPr marL="0" indent="0">
              <a:buNone/>
              <a:defRPr sz="1200"/>
            </a:lvl5pPr>
          </a:lstStyle>
          <a:p>
            <a:pPr lvl="0"/>
            <a:r>
              <a:rPr lang="en-US" dirty="0"/>
              <a:t>Name</a:t>
            </a:r>
          </a:p>
        </p:txBody>
      </p:sp>
      <p:sp>
        <p:nvSpPr>
          <p:cNvPr id="34" name="Text Placeholder 30"/>
          <p:cNvSpPr>
            <a:spLocks noGrp="1"/>
          </p:cNvSpPr>
          <p:nvPr>
            <p:ph type="body" sz="quarter" idx="15" hasCustomPrompt="1"/>
          </p:nvPr>
        </p:nvSpPr>
        <p:spPr>
          <a:xfrm>
            <a:off x="417600" y="5691446"/>
            <a:ext cx="2494933" cy="296332"/>
          </a:xfrm>
        </p:spPr>
        <p:txBody>
          <a:bodyPr wrap="none"/>
          <a:lstStyle>
            <a:lvl1pPr marL="0" indent="0">
              <a:spcBef>
                <a:spcPts val="0"/>
              </a:spcBef>
              <a:buNone/>
              <a:defRPr sz="1200"/>
            </a:lvl1pPr>
            <a:lvl2pPr marL="0" indent="0">
              <a:buNone/>
              <a:defRPr sz="1200"/>
            </a:lvl2pPr>
            <a:lvl3pPr marL="0" indent="0">
              <a:buNone/>
              <a:defRPr sz="1200"/>
            </a:lvl3pPr>
            <a:lvl4pPr marL="0">
              <a:buNone/>
              <a:defRPr sz="1200"/>
            </a:lvl4pPr>
            <a:lvl5pPr marL="0" indent="0">
              <a:buNone/>
              <a:defRPr sz="1200"/>
            </a:lvl5pPr>
          </a:lstStyle>
          <a:p>
            <a:pPr lvl="0"/>
            <a:r>
              <a:rPr lang="en-US" dirty="0"/>
              <a:t>Department</a:t>
            </a:r>
          </a:p>
        </p:txBody>
      </p:sp>
    </p:spTree>
    <p:extLst>
      <p:ext uri="{BB962C8B-B14F-4D97-AF65-F5344CB8AC3E}">
        <p14:creationId xmlns:p14="http://schemas.microsoft.com/office/powerpoint/2010/main" val="3567623987"/>
      </p:ext>
    </p:extLst>
  </p:cSld>
  <p:clrMapOvr>
    <a:masterClrMapping/>
  </p:clrMapOvr>
</p:sldLayout>
</file>

<file path=ppt/slideLayouts/slideLayout249.xml><?xml version="1.0" encoding="utf-8"?>
<p:sldLayout xmlns:a="http://schemas.openxmlformats.org/drawingml/2006/main" xmlns:r="http://schemas.openxmlformats.org/officeDocument/2006/relationships" xmlns:p="http://schemas.openxmlformats.org/presentationml/2006/main" showMasterSp="0" preserve="1">
  <p:cSld name="Title with picture">
    <p:spTree>
      <p:nvGrpSpPr>
        <p:cNvPr id="1" name=""/>
        <p:cNvGrpSpPr/>
        <p:nvPr/>
      </p:nvGrpSpPr>
      <p:grpSpPr>
        <a:xfrm>
          <a:off x="0" y="0"/>
          <a:ext cx="0" cy="0"/>
          <a:chOff x="0" y="0"/>
          <a:chExt cx="0" cy="0"/>
        </a:xfrm>
      </p:grpSpPr>
      <p:sp>
        <p:nvSpPr>
          <p:cNvPr id="12" name="Picture Placeholder 11"/>
          <p:cNvSpPr>
            <a:spLocks noGrp="1"/>
          </p:cNvSpPr>
          <p:nvPr>
            <p:ph type="pic" sz="quarter" idx="13" hasCustomPrompt="1"/>
          </p:nvPr>
        </p:nvSpPr>
        <p:spPr>
          <a:xfrm>
            <a:off x="3376226" y="0"/>
            <a:ext cx="8815774" cy="6858000"/>
          </a:xfrm>
          <a:custGeom>
            <a:avLst/>
            <a:gdLst>
              <a:gd name="connsiteX0" fmla="*/ 331042 w 8815774"/>
              <a:gd name="connsiteY0" fmla="*/ 0 h 6858000"/>
              <a:gd name="connsiteX1" fmla="*/ 8815774 w 8815774"/>
              <a:gd name="connsiteY1" fmla="*/ 0 h 6858000"/>
              <a:gd name="connsiteX2" fmla="*/ 8815774 w 8815774"/>
              <a:gd name="connsiteY2" fmla="*/ 6858000 h 6858000"/>
              <a:gd name="connsiteX3" fmla="*/ 0 w 8815774"/>
              <a:gd name="connsiteY3" fmla="*/ 6858000 h 6858000"/>
              <a:gd name="connsiteX4" fmla="*/ 1580491 w 8815774"/>
              <a:gd name="connsiteY4" fmla="*/ 4163677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15774" h="6858000">
                <a:moveTo>
                  <a:pt x="331042" y="0"/>
                </a:moveTo>
                <a:lnTo>
                  <a:pt x="8815774" y="0"/>
                </a:lnTo>
                <a:lnTo>
                  <a:pt x="8815774" y="6858000"/>
                </a:lnTo>
                <a:lnTo>
                  <a:pt x="0" y="6858000"/>
                </a:lnTo>
                <a:lnTo>
                  <a:pt x="1580491" y="4163677"/>
                </a:lnTo>
                <a:close/>
              </a:path>
            </a:pathLst>
          </a:custGeom>
          <a:solidFill>
            <a:srgbClr val="D9DADB"/>
          </a:solidFill>
        </p:spPr>
        <p:txBody>
          <a:bodyPr wrap="square">
            <a:noAutofit/>
          </a:bodyPr>
          <a:lstStyle>
            <a:lvl1pPr marL="0" indent="0" algn="ctr">
              <a:buNone/>
              <a:defRPr/>
            </a:lvl1pPr>
          </a:lstStyle>
          <a:p>
            <a:r>
              <a:rPr lang="en-US" dirty="0"/>
              <a:t>Insert picture</a:t>
            </a:r>
          </a:p>
        </p:txBody>
      </p:sp>
      <p:grpSp>
        <p:nvGrpSpPr>
          <p:cNvPr id="14" name="logo">
            <a:extLst>
              <a:ext uri="{FF2B5EF4-FFF2-40B4-BE49-F238E27FC236}">
                <a16:creationId xmlns:a16="http://schemas.microsoft.com/office/drawing/2014/main" id="{18C26D95-70F8-8A4D-9F18-DCCB92522AF8}"/>
              </a:ext>
            </a:extLst>
          </p:cNvPr>
          <p:cNvGrpSpPr/>
          <p:nvPr/>
        </p:nvGrpSpPr>
        <p:grpSpPr bwMode="gray">
          <a:xfrm>
            <a:off x="417363" y="407485"/>
            <a:ext cx="1518585" cy="646507"/>
            <a:chOff x="334963" y="296652"/>
            <a:chExt cx="1268411" cy="540000"/>
          </a:xfrm>
        </p:grpSpPr>
        <p:sp>
          <p:nvSpPr>
            <p:cNvPr id="17" name="Freeform 6">
              <a:extLst>
                <a:ext uri="{FF2B5EF4-FFF2-40B4-BE49-F238E27FC236}">
                  <a16:creationId xmlns:a16="http://schemas.microsoft.com/office/drawing/2014/main" id="{08737AD0-E375-E445-97E6-CD2E2DF60620}"/>
                </a:ext>
              </a:extLst>
            </p:cNvPr>
            <p:cNvSpPr>
              <a:spLocks noEditPoints="1"/>
            </p:cNvSpPr>
            <p:nvPr/>
          </p:nvSpPr>
          <p:spPr bwMode="gray">
            <a:xfrm>
              <a:off x="982662" y="360462"/>
              <a:ext cx="620712" cy="431800"/>
            </a:xfrm>
            <a:custGeom>
              <a:avLst/>
              <a:gdLst>
                <a:gd name="T0" fmla="*/ 19 w 1809"/>
                <a:gd name="T1" fmla="*/ 97 h 1253"/>
                <a:gd name="T2" fmla="*/ 165 w 1809"/>
                <a:gd name="T3" fmla="*/ 41 h 1253"/>
                <a:gd name="T4" fmla="*/ 211 w 1809"/>
                <a:gd name="T5" fmla="*/ 224 h 1253"/>
                <a:gd name="T6" fmla="*/ 248 w 1809"/>
                <a:gd name="T7" fmla="*/ 155 h 1253"/>
                <a:gd name="T8" fmla="*/ 931 w 1809"/>
                <a:gd name="T9" fmla="*/ 995 h 1253"/>
                <a:gd name="T10" fmla="*/ 858 w 1809"/>
                <a:gd name="T11" fmla="*/ 1115 h 1253"/>
                <a:gd name="T12" fmla="*/ 749 w 1809"/>
                <a:gd name="T13" fmla="*/ 1117 h 1253"/>
                <a:gd name="T14" fmla="*/ 681 w 1809"/>
                <a:gd name="T15" fmla="*/ 1055 h 1253"/>
                <a:gd name="T16" fmla="*/ 800 w 1809"/>
                <a:gd name="T17" fmla="*/ 1054 h 1253"/>
                <a:gd name="T18" fmla="*/ 884 w 1809"/>
                <a:gd name="T19" fmla="*/ 1181 h 1253"/>
                <a:gd name="T20" fmla="*/ 118 w 1809"/>
                <a:gd name="T21" fmla="*/ 1086 h 1253"/>
                <a:gd name="T22" fmla="*/ 147 w 1809"/>
                <a:gd name="T23" fmla="*/ 1026 h 1253"/>
                <a:gd name="T24" fmla="*/ 102 w 1809"/>
                <a:gd name="T25" fmla="*/ 1026 h 1253"/>
                <a:gd name="T26" fmla="*/ 639 w 1809"/>
                <a:gd name="T27" fmla="*/ 84 h 1253"/>
                <a:gd name="T28" fmla="*/ 763 w 1809"/>
                <a:gd name="T29" fmla="*/ 145 h 1253"/>
                <a:gd name="T30" fmla="*/ 863 w 1809"/>
                <a:gd name="T31" fmla="*/ 221 h 1253"/>
                <a:gd name="T32" fmla="*/ 834 w 1809"/>
                <a:gd name="T33" fmla="*/ 208 h 1253"/>
                <a:gd name="T34" fmla="*/ 719 w 1809"/>
                <a:gd name="T35" fmla="*/ 182 h 1253"/>
                <a:gd name="T36" fmla="*/ 507 w 1809"/>
                <a:gd name="T37" fmla="*/ 711 h 1253"/>
                <a:gd name="T38" fmla="*/ 614 w 1809"/>
                <a:gd name="T39" fmla="*/ 706 h 1253"/>
                <a:gd name="T40" fmla="*/ 736 w 1809"/>
                <a:gd name="T41" fmla="*/ 730 h 1253"/>
                <a:gd name="T42" fmla="*/ 607 w 1809"/>
                <a:gd name="T43" fmla="*/ 539 h 1253"/>
                <a:gd name="T44" fmla="*/ 1505 w 1809"/>
                <a:gd name="T45" fmla="*/ 1136 h 1253"/>
                <a:gd name="T46" fmla="*/ 1613 w 1809"/>
                <a:gd name="T47" fmla="*/ 1002 h 1253"/>
                <a:gd name="T48" fmla="*/ 1472 w 1809"/>
                <a:gd name="T49" fmla="*/ 1164 h 1253"/>
                <a:gd name="T50" fmla="*/ 1525 w 1809"/>
                <a:gd name="T51" fmla="*/ 1142 h 1253"/>
                <a:gd name="T52" fmla="*/ 1556 w 1809"/>
                <a:gd name="T53" fmla="*/ 1172 h 1253"/>
                <a:gd name="T54" fmla="*/ 1387 w 1809"/>
                <a:gd name="T55" fmla="*/ 910 h 1253"/>
                <a:gd name="T56" fmla="*/ 1261 w 1809"/>
                <a:gd name="T57" fmla="*/ 1157 h 1253"/>
                <a:gd name="T58" fmla="*/ 1413 w 1809"/>
                <a:gd name="T59" fmla="*/ 934 h 1253"/>
                <a:gd name="T60" fmla="*/ 1378 w 1809"/>
                <a:gd name="T61" fmla="*/ 1052 h 1253"/>
                <a:gd name="T62" fmla="*/ 488 w 1809"/>
                <a:gd name="T63" fmla="*/ 85 h 1253"/>
                <a:gd name="T64" fmla="*/ 509 w 1809"/>
                <a:gd name="T65" fmla="*/ 112 h 1253"/>
                <a:gd name="T66" fmla="*/ 548 w 1809"/>
                <a:gd name="T67" fmla="*/ 1187 h 1253"/>
                <a:gd name="T68" fmla="*/ 472 w 1809"/>
                <a:gd name="T69" fmla="*/ 1122 h 1253"/>
                <a:gd name="T70" fmla="*/ 558 w 1809"/>
                <a:gd name="T71" fmla="*/ 1157 h 1253"/>
                <a:gd name="T72" fmla="*/ 287 w 1809"/>
                <a:gd name="T73" fmla="*/ 654 h 1253"/>
                <a:gd name="T74" fmla="*/ 416 w 1809"/>
                <a:gd name="T75" fmla="*/ 684 h 1253"/>
                <a:gd name="T76" fmla="*/ 1106 w 1809"/>
                <a:gd name="T77" fmla="*/ 147 h 1253"/>
                <a:gd name="T78" fmla="*/ 1229 w 1809"/>
                <a:gd name="T79" fmla="*/ 258 h 1253"/>
                <a:gd name="T80" fmla="*/ 1106 w 1809"/>
                <a:gd name="T81" fmla="*/ 96 h 1253"/>
                <a:gd name="T82" fmla="*/ 1219 w 1809"/>
                <a:gd name="T83" fmla="*/ 1077 h 1253"/>
                <a:gd name="T84" fmla="*/ 1214 w 1809"/>
                <a:gd name="T85" fmla="*/ 1157 h 1253"/>
                <a:gd name="T86" fmla="*/ 1150 w 1809"/>
                <a:gd name="T87" fmla="*/ 1092 h 1253"/>
                <a:gd name="T88" fmla="*/ 1139 w 1809"/>
                <a:gd name="T89" fmla="*/ 1070 h 1253"/>
                <a:gd name="T90" fmla="*/ 1659 w 1809"/>
                <a:gd name="T91" fmla="*/ 1031 h 1253"/>
                <a:gd name="T92" fmla="*/ 1714 w 1809"/>
                <a:gd name="T93" fmla="*/ 1155 h 1253"/>
                <a:gd name="T94" fmla="*/ 1760 w 1809"/>
                <a:gd name="T95" fmla="*/ 1030 h 1253"/>
                <a:gd name="T96" fmla="*/ 111 w 1809"/>
                <a:gd name="T97" fmla="*/ 569 h 1253"/>
                <a:gd name="T98" fmla="*/ 109 w 1809"/>
                <a:gd name="T99" fmla="*/ 460 h 1253"/>
                <a:gd name="T100" fmla="*/ 32 w 1809"/>
                <a:gd name="T101" fmla="*/ 704 h 1253"/>
                <a:gd name="T102" fmla="*/ 310 w 1809"/>
                <a:gd name="T103" fmla="*/ 1058 h 1253"/>
                <a:gd name="T104" fmla="*/ 431 w 1809"/>
                <a:gd name="T105" fmla="*/ 1044 h 1253"/>
                <a:gd name="T106" fmla="*/ 278 w 1809"/>
                <a:gd name="T107" fmla="*/ 1165 h 1253"/>
                <a:gd name="T108" fmla="*/ 261 w 1809"/>
                <a:gd name="T109" fmla="*/ 540 h 1253"/>
                <a:gd name="T110" fmla="*/ 150 w 1809"/>
                <a:gd name="T111" fmla="*/ 635 h 1253"/>
                <a:gd name="T112" fmla="*/ 994 w 1809"/>
                <a:gd name="T113" fmla="*/ 1185 h 1253"/>
                <a:gd name="T114" fmla="*/ 331 w 1809"/>
                <a:gd name="T115" fmla="*/ 176 h 1253"/>
                <a:gd name="T116" fmla="*/ 333 w 1809"/>
                <a:gd name="T117" fmla="*/ 109 h 1253"/>
                <a:gd name="T118" fmla="*/ 946 w 1809"/>
                <a:gd name="T119" fmla="*/ 234 h 1253"/>
                <a:gd name="T120" fmla="*/ 1022 w 1809"/>
                <a:gd name="T121" fmla="*/ 113 h 1253"/>
                <a:gd name="T122" fmla="*/ 949 w 1809"/>
                <a:gd name="T123" fmla="*/ 65 h 1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09" h="1253">
                  <a:moveTo>
                    <a:pt x="248" y="198"/>
                  </a:moveTo>
                  <a:cubicBezTo>
                    <a:pt x="248" y="211"/>
                    <a:pt x="248" y="224"/>
                    <a:pt x="249" y="237"/>
                  </a:cubicBezTo>
                  <a:cubicBezTo>
                    <a:pt x="249" y="245"/>
                    <a:pt x="246" y="249"/>
                    <a:pt x="240" y="253"/>
                  </a:cubicBezTo>
                  <a:cubicBezTo>
                    <a:pt x="231" y="260"/>
                    <a:pt x="220" y="264"/>
                    <a:pt x="209" y="268"/>
                  </a:cubicBezTo>
                  <a:cubicBezTo>
                    <a:pt x="179" y="279"/>
                    <a:pt x="148" y="280"/>
                    <a:pt x="118" y="275"/>
                  </a:cubicBezTo>
                  <a:cubicBezTo>
                    <a:pt x="86" y="269"/>
                    <a:pt x="58" y="252"/>
                    <a:pt x="39" y="224"/>
                  </a:cubicBezTo>
                  <a:cubicBezTo>
                    <a:pt x="24" y="203"/>
                    <a:pt x="18" y="180"/>
                    <a:pt x="15" y="155"/>
                  </a:cubicBezTo>
                  <a:cubicBezTo>
                    <a:pt x="11" y="135"/>
                    <a:pt x="15" y="115"/>
                    <a:pt x="19" y="97"/>
                  </a:cubicBezTo>
                  <a:cubicBezTo>
                    <a:pt x="26" y="68"/>
                    <a:pt x="42" y="44"/>
                    <a:pt x="68" y="27"/>
                  </a:cubicBezTo>
                  <a:cubicBezTo>
                    <a:pt x="87" y="14"/>
                    <a:pt x="109" y="6"/>
                    <a:pt x="133" y="5"/>
                  </a:cubicBezTo>
                  <a:cubicBezTo>
                    <a:pt x="149" y="4"/>
                    <a:pt x="165" y="5"/>
                    <a:pt x="181" y="6"/>
                  </a:cubicBezTo>
                  <a:cubicBezTo>
                    <a:pt x="204" y="8"/>
                    <a:pt x="225" y="20"/>
                    <a:pt x="243" y="35"/>
                  </a:cubicBezTo>
                  <a:cubicBezTo>
                    <a:pt x="246" y="37"/>
                    <a:pt x="246" y="40"/>
                    <a:pt x="244" y="43"/>
                  </a:cubicBezTo>
                  <a:cubicBezTo>
                    <a:pt x="242" y="47"/>
                    <a:pt x="239" y="52"/>
                    <a:pt x="236" y="55"/>
                  </a:cubicBezTo>
                  <a:cubicBezTo>
                    <a:pt x="226" y="65"/>
                    <a:pt x="224" y="65"/>
                    <a:pt x="206" y="54"/>
                  </a:cubicBezTo>
                  <a:cubicBezTo>
                    <a:pt x="193" y="46"/>
                    <a:pt x="180" y="40"/>
                    <a:pt x="165" y="41"/>
                  </a:cubicBezTo>
                  <a:cubicBezTo>
                    <a:pt x="151" y="41"/>
                    <a:pt x="137" y="39"/>
                    <a:pt x="124" y="42"/>
                  </a:cubicBezTo>
                  <a:cubicBezTo>
                    <a:pt x="104" y="46"/>
                    <a:pt x="87" y="57"/>
                    <a:pt x="75" y="74"/>
                  </a:cubicBezTo>
                  <a:cubicBezTo>
                    <a:pt x="56" y="99"/>
                    <a:pt x="51" y="129"/>
                    <a:pt x="55" y="159"/>
                  </a:cubicBezTo>
                  <a:cubicBezTo>
                    <a:pt x="60" y="189"/>
                    <a:pt x="73" y="214"/>
                    <a:pt x="98" y="230"/>
                  </a:cubicBezTo>
                  <a:cubicBezTo>
                    <a:pt x="109" y="237"/>
                    <a:pt x="121" y="242"/>
                    <a:pt x="135" y="241"/>
                  </a:cubicBezTo>
                  <a:cubicBezTo>
                    <a:pt x="146" y="241"/>
                    <a:pt x="158" y="241"/>
                    <a:pt x="169" y="241"/>
                  </a:cubicBezTo>
                  <a:cubicBezTo>
                    <a:pt x="182" y="242"/>
                    <a:pt x="193" y="235"/>
                    <a:pt x="205" y="232"/>
                  </a:cubicBezTo>
                  <a:cubicBezTo>
                    <a:pt x="210" y="231"/>
                    <a:pt x="211" y="227"/>
                    <a:pt x="211" y="224"/>
                  </a:cubicBezTo>
                  <a:cubicBezTo>
                    <a:pt x="211" y="210"/>
                    <a:pt x="211" y="196"/>
                    <a:pt x="211" y="183"/>
                  </a:cubicBezTo>
                  <a:cubicBezTo>
                    <a:pt x="211" y="177"/>
                    <a:pt x="207" y="175"/>
                    <a:pt x="202" y="175"/>
                  </a:cubicBezTo>
                  <a:cubicBezTo>
                    <a:pt x="193" y="175"/>
                    <a:pt x="184" y="175"/>
                    <a:pt x="175" y="175"/>
                  </a:cubicBezTo>
                  <a:cubicBezTo>
                    <a:pt x="171" y="175"/>
                    <a:pt x="168" y="174"/>
                    <a:pt x="166" y="171"/>
                  </a:cubicBezTo>
                  <a:cubicBezTo>
                    <a:pt x="163" y="163"/>
                    <a:pt x="164" y="154"/>
                    <a:pt x="166" y="146"/>
                  </a:cubicBezTo>
                  <a:cubicBezTo>
                    <a:pt x="167" y="142"/>
                    <a:pt x="171" y="142"/>
                    <a:pt x="175" y="142"/>
                  </a:cubicBezTo>
                  <a:cubicBezTo>
                    <a:pt x="196" y="142"/>
                    <a:pt x="217" y="142"/>
                    <a:pt x="238" y="142"/>
                  </a:cubicBezTo>
                  <a:cubicBezTo>
                    <a:pt x="247" y="142"/>
                    <a:pt x="248" y="148"/>
                    <a:pt x="248" y="155"/>
                  </a:cubicBezTo>
                  <a:cubicBezTo>
                    <a:pt x="249" y="169"/>
                    <a:pt x="248" y="183"/>
                    <a:pt x="248" y="198"/>
                  </a:cubicBezTo>
                  <a:close/>
                  <a:moveTo>
                    <a:pt x="884" y="1181"/>
                  </a:moveTo>
                  <a:cubicBezTo>
                    <a:pt x="889" y="1167"/>
                    <a:pt x="894" y="1152"/>
                    <a:pt x="898" y="1137"/>
                  </a:cubicBezTo>
                  <a:cubicBezTo>
                    <a:pt x="901" y="1127"/>
                    <a:pt x="905" y="1116"/>
                    <a:pt x="908" y="1106"/>
                  </a:cubicBezTo>
                  <a:cubicBezTo>
                    <a:pt x="911" y="1098"/>
                    <a:pt x="912" y="1089"/>
                    <a:pt x="916" y="1081"/>
                  </a:cubicBezTo>
                  <a:cubicBezTo>
                    <a:pt x="921" y="1072"/>
                    <a:pt x="923" y="1060"/>
                    <a:pt x="927" y="1050"/>
                  </a:cubicBezTo>
                  <a:cubicBezTo>
                    <a:pt x="932" y="1037"/>
                    <a:pt x="934" y="1023"/>
                    <a:pt x="940" y="1010"/>
                  </a:cubicBezTo>
                  <a:cubicBezTo>
                    <a:pt x="945" y="1001"/>
                    <a:pt x="941" y="995"/>
                    <a:pt x="931" y="995"/>
                  </a:cubicBezTo>
                  <a:cubicBezTo>
                    <a:pt x="927" y="995"/>
                    <a:pt x="922" y="995"/>
                    <a:pt x="918" y="995"/>
                  </a:cubicBezTo>
                  <a:cubicBezTo>
                    <a:pt x="913" y="995"/>
                    <a:pt x="908" y="997"/>
                    <a:pt x="907" y="1001"/>
                  </a:cubicBezTo>
                  <a:cubicBezTo>
                    <a:pt x="904" y="1008"/>
                    <a:pt x="900" y="1015"/>
                    <a:pt x="899" y="1023"/>
                  </a:cubicBezTo>
                  <a:cubicBezTo>
                    <a:pt x="897" y="1034"/>
                    <a:pt x="893" y="1045"/>
                    <a:pt x="889" y="1055"/>
                  </a:cubicBezTo>
                  <a:cubicBezTo>
                    <a:pt x="887" y="1064"/>
                    <a:pt x="885" y="1072"/>
                    <a:pt x="882" y="1080"/>
                  </a:cubicBezTo>
                  <a:cubicBezTo>
                    <a:pt x="878" y="1091"/>
                    <a:pt x="874" y="1103"/>
                    <a:pt x="871" y="1115"/>
                  </a:cubicBezTo>
                  <a:cubicBezTo>
                    <a:pt x="870" y="1118"/>
                    <a:pt x="871" y="1124"/>
                    <a:pt x="866" y="1124"/>
                  </a:cubicBezTo>
                  <a:cubicBezTo>
                    <a:pt x="861" y="1125"/>
                    <a:pt x="859" y="1120"/>
                    <a:pt x="858" y="1115"/>
                  </a:cubicBezTo>
                  <a:cubicBezTo>
                    <a:pt x="856" y="1110"/>
                    <a:pt x="856" y="1104"/>
                    <a:pt x="854" y="1099"/>
                  </a:cubicBezTo>
                  <a:cubicBezTo>
                    <a:pt x="848" y="1080"/>
                    <a:pt x="841" y="1062"/>
                    <a:pt x="835" y="1044"/>
                  </a:cubicBezTo>
                  <a:cubicBezTo>
                    <a:pt x="831" y="1030"/>
                    <a:pt x="828" y="1016"/>
                    <a:pt x="822" y="1003"/>
                  </a:cubicBezTo>
                  <a:cubicBezTo>
                    <a:pt x="819" y="997"/>
                    <a:pt x="814" y="994"/>
                    <a:pt x="808" y="994"/>
                  </a:cubicBezTo>
                  <a:cubicBezTo>
                    <a:pt x="799" y="993"/>
                    <a:pt x="791" y="993"/>
                    <a:pt x="787" y="1001"/>
                  </a:cubicBezTo>
                  <a:cubicBezTo>
                    <a:pt x="783" y="1008"/>
                    <a:pt x="780" y="1015"/>
                    <a:pt x="779" y="1022"/>
                  </a:cubicBezTo>
                  <a:cubicBezTo>
                    <a:pt x="778" y="1034"/>
                    <a:pt x="772" y="1044"/>
                    <a:pt x="769" y="1055"/>
                  </a:cubicBezTo>
                  <a:cubicBezTo>
                    <a:pt x="762" y="1076"/>
                    <a:pt x="754" y="1096"/>
                    <a:pt x="749" y="1117"/>
                  </a:cubicBezTo>
                  <a:cubicBezTo>
                    <a:pt x="748" y="1120"/>
                    <a:pt x="747" y="1124"/>
                    <a:pt x="742" y="1124"/>
                  </a:cubicBezTo>
                  <a:cubicBezTo>
                    <a:pt x="737" y="1124"/>
                    <a:pt x="737" y="1120"/>
                    <a:pt x="736" y="1116"/>
                  </a:cubicBezTo>
                  <a:cubicBezTo>
                    <a:pt x="734" y="1104"/>
                    <a:pt x="730" y="1092"/>
                    <a:pt x="726" y="1080"/>
                  </a:cubicBezTo>
                  <a:cubicBezTo>
                    <a:pt x="720" y="1061"/>
                    <a:pt x="714" y="1040"/>
                    <a:pt x="708" y="1020"/>
                  </a:cubicBezTo>
                  <a:cubicBezTo>
                    <a:pt x="703" y="1000"/>
                    <a:pt x="698" y="994"/>
                    <a:pt x="676" y="995"/>
                  </a:cubicBezTo>
                  <a:cubicBezTo>
                    <a:pt x="665" y="996"/>
                    <a:pt x="661" y="1001"/>
                    <a:pt x="667" y="1011"/>
                  </a:cubicBezTo>
                  <a:cubicBezTo>
                    <a:pt x="669" y="1016"/>
                    <a:pt x="670" y="1021"/>
                    <a:pt x="672" y="1025"/>
                  </a:cubicBezTo>
                  <a:cubicBezTo>
                    <a:pt x="675" y="1035"/>
                    <a:pt x="678" y="1046"/>
                    <a:pt x="681" y="1055"/>
                  </a:cubicBezTo>
                  <a:cubicBezTo>
                    <a:pt x="685" y="1068"/>
                    <a:pt x="689" y="1080"/>
                    <a:pt x="693" y="1092"/>
                  </a:cubicBezTo>
                  <a:cubicBezTo>
                    <a:pt x="697" y="1103"/>
                    <a:pt x="699" y="1113"/>
                    <a:pt x="703" y="1124"/>
                  </a:cubicBezTo>
                  <a:cubicBezTo>
                    <a:pt x="707" y="1136"/>
                    <a:pt x="711" y="1147"/>
                    <a:pt x="715" y="1160"/>
                  </a:cubicBezTo>
                  <a:cubicBezTo>
                    <a:pt x="717" y="1168"/>
                    <a:pt x="720" y="1176"/>
                    <a:pt x="724" y="1183"/>
                  </a:cubicBezTo>
                  <a:cubicBezTo>
                    <a:pt x="728" y="1189"/>
                    <a:pt x="752" y="1185"/>
                    <a:pt x="757" y="1180"/>
                  </a:cubicBezTo>
                  <a:cubicBezTo>
                    <a:pt x="764" y="1173"/>
                    <a:pt x="762" y="1163"/>
                    <a:pt x="766" y="1156"/>
                  </a:cubicBezTo>
                  <a:cubicBezTo>
                    <a:pt x="774" y="1140"/>
                    <a:pt x="778" y="1122"/>
                    <a:pt x="784" y="1105"/>
                  </a:cubicBezTo>
                  <a:cubicBezTo>
                    <a:pt x="789" y="1088"/>
                    <a:pt x="796" y="1072"/>
                    <a:pt x="800" y="1054"/>
                  </a:cubicBezTo>
                  <a:cubicBezTo>
                    <a:pt x="800" y="1053"/>
                    <a:pt x="801" y="1050"/>
                    <a:pt x="803" y="1050"/>
                  </a:cubicBezTo>
                  <a:cubicBezTo>
                    <a:pt x="806" y="1050"/>
                    <a:pt x="806" y="1052"/>
                    <a:pt x="807" y="1055"/>
                  </a:cubicBezTo>
                  <a:cubicBezTo>
                    <a:pt x="807" y="1060"/>
                    <a:pt x="810" y="1066"/>
                    <a:pt x="811" y="1071"/>
                  </a:cubicBezTo>
                  <a:cubicBezTo>
                    <a:pt x="814" y="1081"/>
                    <a:pt x="818" y="1090"/>
                    <a:pt x="821" y="1099"/>
                  </a:cubicBezTo>
                  <a:cubicBezTo>
                    <a:pt x="824" y="1110"/>
                    <a:pt x="827" y="1120"/>
                    <a:pt x="831" y="1131"/>
                  </a:cubicBezTo>
                  <a:cubicBezTo>
                    <a:pt x="834" y="1142"/>
                    <a:pt x="839" y="1153"/>
                    <a:pt x="842" y="1164"/>
                  </a:cubicBezTo>
                  <a:cubicBezTo>
                    <a:pt x="846" y="1179"/>
                    <a:pt x="850" y="1188"/>
                    <a:pt x="869" y="1185"/>
                  </a:cubicBezTo>
                  <a:cubicBezTo>
                    <a:pt x="873" y="1184"/>
                    <a:pt x="881" y="1189"/>
                    <a:pt x="884" y="1181"/>
                  </a:cubicBezTo>
                  <a:close/>
                  <a:moveTo>
                    <a:pt x="33" y="1051"/>
                  </a:moveTo>
                  <a:cubicBezTo>
                    <a:pt x="33" y="1087"/>
                    <a:pt x="33" y="1124"/>
                    <a:pt x="33" y="1160"/>
                  </a:cubicBezTo>
                  <a:cubicBezTo>
                    <a:pt x="33" y="1188"/>
                    <a:pt x="29" y="1184"/>
                    <a:pt x="58" y="1185"/>
                  </a:cubicBezTo>
                  <a:cubicBezTo>
                    <a:pt x="72" y="1185"/>
                    <a:pt x="73" y="1184"/>
                    <a:pt x="73" y="1170"/>
                  </a:cubicBezTo>
                  <a:cubicBezTo>
                    <a:pt x="73" y="1138"/>
                    <a:pt x="73" y="1107"/>
                    <a:pt x="73" y="1076"/>
                  </a:cubicBezTo>
                  <a:cubicBezTo>
                    <a:pt x="73" y="1071"/>
                    <a:pt x="72" y="1067"/>
                    <a:pt x="78" y="1065"/>
                  </a:cubicBezTo>
                  <a:cubicBezTo>
                    <a:pt x="91" y="1062"/>
                    <a:pt x="102" y="1067"/>
                    <a:pt x="110" y="1076"/>
                  </a:cubicBezTo>
                  <a:cubicBezTo>
                    <a:pt x="112" y="1080"/>
                    <a:pt x="115" y="1083"/>
                    <a:pt x="118" y="1086"/>
                  </a:cubicBezTo>
                  <a:cubicBezTo>
                    <a:pt x="132" y="1103"/>
                    <a:pt x="146" y="1119"/>
                    <a:pt x="161" y="1136"/>
                  </a:cubicBezTo>
                  <a:cubicBezTo>
                    <a:pt x="173" y="1150"/>
                    <a:pt x="186" y="1165"/>
                    <a:pt x="198" y="1179"/>
                  </a:cubicBezTo>
                  <a:cubicBezTo>
                    <a:pt x="207" y="1188"/>
                    <a:pt x="218" y="1184"/>
                    <a:pt x="228" y="1185"/>
                  </a:cubicBezTo>
                  <a:cubicBezTo>
                    <a:pt x="233" y="1185"/>
                    <a:pt x="241" y="1188"/>
                    <a:pt x="244" y="1182"/>
                  </a:cubicBezTo>
                  <a:cubicBezTo>
                    <a:pt x="246" y="1178"/>
                    <a:pt x="239" y="1173"/>
                    <a:pt x="235" y="1169"/>
                  </a:cubicBezTo>
                  <a:cubicBezTo>
                    <a:pt x="206" y="1133"/>
                    <a:pt x="176" y="1098"/>
                    <a:pt x="146" y="1062"/>
                  </a:cubicBezTo>
                  <a:cubicBezTo>
                    <a:pt x="141" y="1056"/>
                    <a:pt x="131" y="1052"/>
                    <a:pt x="132" y="1044"/>
                  </a:cubicBezTo>
                  <a:cubicBezTo>
                    <a:pt x="132" y="1036"/>
                    <a:pt x="142" y="1032"/>
                    <a:pt x="147" y="1026"/>
                  </a:cubicBezTo>
                  <a:cubicBezTo>
                    <a:pt x="164" y="1006"/>
                    <a:pt x="182" y="988"/>
                    <a:pt x="198" y="968"/>
                  </a:cubicBezTo>
                  <a:cubicBezTo>
                    <a:pt x="209" y="954"/>
                    <a:pt x="221" y="942"/>
                    <a:pt x="234" y="929"/>
                  </a:cubicBezTo>
                  <a:cubicBezTo>
                    <a:pt x="236" y="926"/>
                    <a:pt x="238" y="923"/>
                    <a:pt x="237" y="920"/>
                  </a:cubicBezTo>
                  <a:cubicBezTo>
                    <a:pt x="235" y="915"/>
                    <a:pt x="231" y="917"/>
                    <a:pt x="228" y="917"/>
                  </a:cubicBezTo>
                  <a:cubicBezTo>
                    <a:pt x="224" y="918"/>
                    <a:pt x="221" y="918"/>
                    <a:pt x="217" y="918"/>
                  </a:cubicBezTo>
                  <a:cubicBezTo>
                    <a:pt x="204" y="917"/>
                    <a:pt x="193" y="922"/>
                    <a:pt x="185" y="931"/>
                  </a:cubicBezTo>
                  <a:cubicBezTo>
                    <a:pt x="172" y="946"/>
                    <a:pt x="158" y="961"/>
                    <a:pt x="145" y="977"/>
                  </a:cubicBezTo>
                  <a:cubicBezTo>
                    <a:pt x="131" y="993"/>
                    <a:pt x="117" y="1010"/>
                    <a:pt x="102" y="1026"/>
                  </a:cubicBezTo>
                  <a:cubicBezTo>
                    <a:pt x="96" y="1032"/>
                    <a:pt x="87" y="1037"/>
                    <a:pt x="78" y="1034"/>
                  </a:cubicBezTo>
                  <a:cubicBezTo>
                    <a:pt x="70" y="1030"/>
                    <a:pt x="73" y="1021"/>
                    <a:pt x="73" y="1015"/>
                  </a:cubicBezTo>
                  <a:cubicBezTo>
                    <a:pt x="73" y="991"/>
                    <a:pt x="73" y="967"/>
                    <a:pt x="73" y="944"/>
                  </a:cubicBezTo>
                  <a:cubicBezTo>
                    <a:pt x="73" y="916"/>
                    <a:pt x="75" y="917"/>
                    <a:pt x="46" y="918"/>
                  </a:cubicBezTo>
                  <a:cubicBezTo>
                    <a:pt x="33" y="918"/>
                    <a:pt x="33" y="918"/>
                    <a:pt x="33" y="931"/>
                  </a:cubicBezTo>
                  <a:cubicBezTo>
                    <a:pt x="33" y="971"/>
                    <a:pt x="33" y="1011"/>
                    <a:pt x="33" y="1051"/>
                  </a:cubicBezTo>
                  <a:cubicBezTo>
                    <a:pt x="33" y="1051"/>
                    <a:pt x="33" y="1051"/>
                    <a:pt x="33" y="1051"/>
                  </a:cubicBezTo>
                  <a:close/>
                  <a:moveTo>
                    <a:pt x="639" y="84"/>
                  </a:moveTo>
                  <a:cubicBezTo>
                    <a:pt x="627" y="84"/>
                    <a:pt x="626" y="84"/>
                    <a:pt x="629" y="95"/>
                  </a:cubicBezTo>
                  <a:cubicBezTo>
                    <a:pt x="634" y="113"/>
                    <a:pt x="640" y="131"/>
                    <a:pt x="646" y="148"/>
                  </a:cubicBezTo>
                  <a:cubicBezTo>
                    <a:pt x="652" y="166"/>
                    <a:pt x="658" y="185"/>
                    <a:pt x="664" y="203"/>
                  </a:cubicBezTo>
                  <a:cubicBezTo>
                    <a:pt x="671" y="223"/>
                    <a:pt x="676" y="244"/>
                    <a:pt x="684" y="264"/>
                  </a:cubicBezTo>
                  <a:cubicBezTo>
                    <a:pt x="688" y="274"/>
                    <a:pt x="694" y="274"/>
                    <a:pt x="702" y="274"/>
                  </a:cubicBezTo>
                  <a:cubicBezTo>
                    <a:pt x="711" y="274"/>
                    <a:pt x="719" y="272"/>
                    <a:pt x="723" y="263"/>
                  </a:cubicBezTo>
                  <a:cubicBezTo>
                    <a:pt x="733" y="236"/>
                    <a:pt x="741" y="208"/>
                    <a:pt x="750" y="181"/>
                  </a:cubicBezTo>
                  <a:cubicBezTo>
                    <a:pt x="754" y="169"/>
                    <a:pt x="757" y="156"/>
                    <a:pt x="763" y="145"/>
                  </a:cubicBezTo>
                  <a:cubicBezTo>
                    <a:pt x="764" y="143"/>
                    <a:pt x="764" y="140"/>
                    <a:pt x="767" y="140"/>
                  </a:cubicBezTo>
                  <a:cubicBezTo>
                    <a:pt x="770" y="140"/>
                    <a:pt x="770" y="143"/>
                    <a:pt x="771" y="145"/>
                  </a:cubicBezTo>
                  <a:cubicBezTo>
                    <a:pt x="771" y="156"/>
                    <a:pt x="777" y="165"/>
                    <a:pt x="780" y="175"/>
                  </a:cubicBezTo>
                  <a:cubicBezTo>
                    <a:pt x="782" y="184"/>
                    <a:pt x="785" y="193"/>
                    <a:pt x="788" y="201"/>
                  </a:cubicBezTo>
                  <a:cubicBezTo>
                    <a:pt x="794" y="219"/>
                    <a:pt x="801" y="237"/>
                    <a:pt x="806" y="255"/>
                  </a:cubicBezTo>
                  <a:cubicBezTo>
                    <a:pt x="811" y="272"/>
                    <a:pt x="825" y="280"/>
                    <a:pt x="842" y="273"/>
                  </a:cubicBezTo>
                  <a:cubicBezTo>
                    <a:pt x="845" y="271"/>
                    <a:pt x="847" y="269"/>
                    <a:pt x="848" y="266"/>
                  </a:cubicBezTo>
                  <a:cubicBezTo>
                    <a:pt x="853" y="251"/>
                    <a:pt x="859" y="236"/>
                    <a:pt x="863" y="221"/>
                  </a:cubicBezTo>
                  <a:cubicBezTo>
                    <a:pt x="867" y="202"/>
                    <a:pt x="875" y="185"/>
                    <a:pt x="880" y="166"/>
                  </a:cubicBezTo>
                  <a:cubicBezTo>
                    <a:pt x="886" y="144"/>
                    <a:pt x="895" y="123"/>
                    <a:pt x="900" y="101"/>
                  </a:cubicBezTo>
                  <a:cubicBezTo>
                    <a:pt x="901" y="96"/>
                    <a:pt x="909" y="91"/>
                    <a:pt x="904" y="86"/>
                  </a:cubicBezTo>
                  <a:cubicBezTo>
                    <a:pt x="900" y="81"/>
                    <a:pt x="892" y="84"/>
                    <a:pt x="886" y="84"/>
                  </a:cubicBezTo>
                  <a:cubicBezTo>
                    <a:pt x="885" y="84"/>
                    <a:pt x="883" y="84"/>
                    <a:pt x="881" y="84"/>
                  </a:cubicBezTo>
                  <a:cubicBezTo>
                    <a:pt x="875" y="84"/>
                    <a:pt x="872" y="86"/>
                    <a:pt x="869" y="91"/>
                  </a:cubicBezTo>
                  <a:cubicBezTo>
                    <a:pt x="860" y="110"/>
                    <a:pt x="856" y="131"/>
                    <a:pt x="850" y="151"/>
                  </a:cubicBezTo>
                  <a:cubicBezTo>
                    <a:pt x="844" y="170"/>
                    <a:pt x="836" y="188"/>
                    <a:pt x="834" y="208"/>
                  </a:cubicBezTo>
                  <a:cubicBezTo>
                    <a:pt x="833" y="211"/>
                    <a:pt x="831" y="214"/>
                    <a:pt x="827" y="214"/>
                  </a:cubicBezTo>
                  <a:cubicBezTo>
                    <a:pt x="823" y="214"/>
                    <a:pt x="822" y="210"/>
                    <a:pt x="822" y="207"/>
                  </a:cubicBezTo>
                  <a:cubicBezTo>
                    <a:pt x="817" y="188"/>
                    <a:pt x="811" y="170"/>
                    <a:pt x="805" y="152"/>
                  </a:cubicBezTo>
                  <a:cubicBezTo>
                    <a:pt x="799" y="133"/>
                    <a:pt x="794" y="114"/>
                    <a:pt x="786" y="96"/>
                  </a:cubicBezTo>
                  <a:cubicBezTo>
                    <a:pt x="783" y="87"/>
                    <a:pt x="779" y="84"/>
                    <a:pt x="770" y="84"/>
                  </a:cubicBezTo>
                  <a:cubicBezTo>
                    <a:pt x="761" y="84"/>
                    <a:pt x="752" y="82"/>
                    <a:pt x="748" y="94"/>
                  </a:cubicBezTo>
                  <a:cubicBezTo>
                    <a:pt x="744" y="109"/>
                    <a:pt x="738" y="123"/>
                    <a:pt x="734" y="138"/>
                  </a:cubicBezTo>
                  <a:cubicBezTo>
                    <a:pt x="729" y="153"/>
                    <a:pt x="724" y="167"/>
                    <a:pt x="719" y="182"/>
                  </a:cubicBezTo>
                  <a:cubicBezTo>
                    <a:pt x="716" y="192"/>
                    <a:pt x="715" y="203"/>
                    <a:pt x="708" y="212"/>
                  </a:cubicBezTo>
                  <a:cubicBezTo>
                    <a:pt x="707" y="214"/>
                    <a:pt x="707" y="217"/>
                    <a:pt x="704" y="217"/>
                  </a:cubicBezTo>
                  <a:cubicBezTo>
                    <a:pt x="701" y="217"/>
                    <a:pt x="701" y="213"/>
                    <a:pt x="700" y="211"/>
                  </a:cubicBezTo>
                  <a:cubicBezTo>
                    <a:pt x="699" y="198"/>
                    <a:pt x="694" y="186"/>
                    <a:pt x="690" y="174"/>
                  </a:cubicBezTo>
                  <a:cubicBezTo>
                    <a:pt x="684" y="153"/>
                    <a:pt x="677" y="131"/>
                    <a:pt x="672" y="110"/>
                  </a:cubicBezTo>
                  <a:cubicBezTo>
                    <a:pt x="667" y="88"/>
                    <a:pt x="663" y="84"/>
                    <a:pt x="645" y="84"/>
                  </a:cubicBezTo>
                  <a:cubicBezTo>
                    <a:pt x="643" y="84"/>
                    <a:pt x="641" y="84"/>
                    <a:pt x="639" y="84"/>
                  </a:cubicBezTo>
                  <a:close/>
                  <a:moveTo>
                    <a:pt x="507" y="711"/>
                  </a:moveTo>
                  <a:cubicBezTo>
                    <a:pt x="507" y="730"/>
                    <a:pt x="507" y="730"/>
                    <a:pt x="526" y="730"/>
                  </a:cubicBezTo>
                  <a:cubicBezTo>
                    <a:pt x="539" y="730"/>
                    <a:pt x="541" y="729"/>
                    <a:pt x="541" y="715"/>
                  </a:cubicBezTo>
                  <a:cubicBezTo>
                    <a:pt x="541" y="677"/>
                    <a:pt x="541" y="638"/>
                    <a:pt x="540" y="600"/>
                  </a:cubicBezTo>
                  <a:cubicBezTo>
                    <a:pt x="540" y="593"/>
                    <a:pt x="543" y="587"/>
                    <a:pt x="548" y="582"/>
                  </a:cubicBezTo>
                  <a:cubicBezTo>
                    <a:pt x="553" y="576"/>
                    <a:pt x="559" y="573"/>
                    <a:pt x="564" y="569"/>
                  </a:cubicBezTo>
                  <a:cubicBezTo>
                    <a:pt x="574" y="564"/>
                    <a:pt x="594" y="566"/>
                    <a:pt x="602" y="574"/>
                  </a:cubicBezTo>
                  <a:cubicBezTo>
                    <a:pt x="611" y="582"/>
                    <a:pt x="614" y="592"/>
                    <a:pt x="614" y="604"/>
                  </a:cubicBezTo>
                  <a:cubicBezTo>
                    <a:pt x="614" y="638"/>
                    <a:pt x="614" y="672"/>
                    <a:pt x="614" y="706"/>
                  </a:cubicBezTo>
                  <a:cubicBezTo>
                    <a:pt x="614" y="730"/>
                    <a:pt x="614" y="730"/>
                    <a:pt x="638" y="730"/>
                  </a:cubicBezTo>
                  <a:cubicBezTo>
                    <a:pt x="650" y="730"/>
                    <a:pt x="650" y="730"/>
                    <a:pt x="650" y="717"/>
                  </a:cubicBezTo>
                  <a:cubicBezTo>
                    <a:pt x="650" y="684"/>
                    <a:pt x="650" y="650"/>
                    <a:pt x="650" y="617"/>
                  </a:cubicBezTo>
                  <a:cubicBezTo>
                    <a:pt x="650" y="606"/>
                    <a:pt x="651" y="597"/>
                    <a:pt x="657" y="586"/>
                  </a:cubicBezTo>
                  <a:cubicBezTo>
                    <a:pt x="667" y="565"/>
                    <a:pt x="703" y="560"/>
                    <a:pt x="716" y="579"/>
                  </a:cubicBezTo>
                  <a:cubicBezTo>
                    <a:pt x="723" y="588"/>
                    <a:pt x="724" y="598"/>
                    <a:pt x="724" y="609"/>
                  </a:cubicBezTo>
                  <a:cubicBezTo>
                    <a:pt x="724" y="645"/>
                    <a:pt x="724" y="682"/>
                    <a:pt x="724" y="718"/>
                  </a:cubicBezTo>
                  <a:cubicBezTo>
                    <a:pt x="724" y="727"/>
                    <a:pt x="727" y="731"/>
                    <a:pt x="736" y="730"/>
                  </a:cubicBezTo>
                  <a:cubicBezTo>
                    <a:pt x="738" y="730"/>
                    <a:pt x="741" y="730"/>
                    <a:pt x="743" y="730"/>
                  </a:cubicBezTo>
                  <a:cubicBezTo>
                    <a:pt x="758" y="730"/>
                    <a:pt x="759" y="729"/>
                    <a:pt x="759" y="715"/>
                  </a:cubicBezTo>
                  <a:cubicBezTo>
                    <a:pt x="759" y="677"/>
                    <a:pt x="758" y="639"/>
                    <a:pt x="759" y="601"/>
                  </a:cubicBezTo>
                  <a:cubicBezTo>
                    <a:pt x="759" y="571"/>
                    <a:pt x="742" y="540"/>
                    <a:pt x="704" y="538"/>
                  </a:cubicBezTo>
                  <a:cubicBezTo>
                    <a:pt x="681" y="536"/>
                    <a:pt x="661" y="542"/>
                    <a:pt x="646" y="560"/>
                  </a:cubicBezTo>
                  <a:cubicBezTo>
                    <a:pt x="638" y="569"/>
                    <a:pt x="638" y="569"/>
                    <a:pt x="631" y="559"/>
                  </a:cubicBezTo>
                  <a:cubicBezTo>
                    <a:pt x="630" y="558"/>
                    <a:pt x="630" y="557"/>
                    <a:pt x="629" y="556"/>
                  </a:cubicBezTo>
                  <a:cubicBezTo>
                    <a:pt x="623" y="548"/>
                    <a:pt x="616" y="541"/>
                    <a:pt x="607" y="539"/>
                  </a:cubicBezTo>
                  <a:cubicBezTo>
                    <a:pt x="584" y="534"/>
                    <a:pt x="563" y="539"/>
                    <a:pt x="545" y="555"/>
                  </a:cubicBezTo>
                  <a:cubicBezTo>
                    <a:pt x="540" y="559"/>
                    <a:pt x="537" y="561"/>
                    <a:pt x="537" y="552"/>
                  </a:cubicBezTo>
                  <a:cubicBezTo>
                    <a:pt x="536" y="543"/>
                    <a:pt x="526" y="538"/>
                    <a:pt x="515" y="539"/>
                  </a:cubicBezTo>
                  <a:cubicBezTo>
                    <a:pt x="506" y="540"/>
                    <a:pt x="507" y="546"/>
                    <a:pt x="507" y="552"/>
                  </a:cubicBezTo>
                  <a:cubicBezTo>
                    <a:pt x="507" y="580"/>
                    <a:pt x="507" y="607"/>
                    <a:pt x="507" y="634"/>
                  </a:cubicBezTo>
                  <a:cubicBezTo>
                    <a:pt x="507" y="660"/>
                    <a:pt x="507" y="685"/>
                    <a:pt x="507" y="711"/>
                  </a:cubicBezTo>
                  <a:close/>
                  <a:moveTo>
                    <a:pt x="1525" y="1142"/>
                  </a:moveTo>
                  <a:cubicBezTo>
                    <a:pt x="1517" y="1143"/>
                    <a:pt x="1511" y="1141"/>
                    <a:pt x="1505" y="1136"/>
                  </a:cubicBezTo>
                  <a:cubicBezTo>
                    <a:pt x="1501" y="1133"/>
                    <a:pt x="1495" y="1130"/>
                    <a:pt x="1498" y="1124"/>
                  </a:cubicBezTo>
                  <a:cubicBezTo>
                    <a:pt x="1500" y="1118"/>
                    <a:pt x="1504" y="1114"/>
                    <a:pt x="1512" y="1114"/>
                  </a:cubicBezTo>
                  <a:cubicBezTo>
                    <a:pt x="1521" y="1115"/>
                    <a:pt x="1530" y="1114"/>
                    <a:pt x="1538" y="1115"/>
                  </a:cubicBezTo>
                  <a:cubicBezTo>
                    <a:pt x="1573" y="1117"/>
                    <a:pt x="1610" y="1084"/>
                    <a:pt x="1602" y="1044"/>
                  </a:cubicBezTo>
                  <a:cubicBezTo>
                    <a:pt x="1600" y="1035"/>
                    <a:pt x="1599" y="1028"/>
                    <a:pt x="1611" y="1027"/>
                  </a:cubicBezTo>
                  <a:cubicBezTo>
                    <a:pt x="1614" y="1027"/>
                    <a:pt x="1617" y="1024"/>
                    <a:pt x="1619" y="1023"/>
                  </a:cubicBezTo>
                  <a:cubicBezTo>
                    <a:pt x="1626" y="1019"/>
                    <a:pt x="1624" y="1013"/>
                    <a:pt x="1623" y="1008"/>
                  </a:cubicBezTo>
                  <a:cubicBezTo>
                    <a:pt x="1623" y="1002"/>
                    <a:pt x="1618" y="1003"/>
                    <a:pt x="1613" y="1002"/>
                  </a:cubicBezTo>
                  <a:cubicBezTo>
                    <a:pt x="1598" y="1002"/>
                    <a:pt x="1582" y="1004"/>
                    <a:pt x="1567" y="1000"/>
                  </a:cubicBezTo>
                  <a:cubicBezTo>
                    <a:pt x="1560" y="999"/>
                    <a:pt x="1554" y="993"/>
                    <a:pt x="1546" y="993"/>
                  </a:cubicBezTo>
                  <a:cubicBezTo>
                    <a:pt x="1536" y="994"/>
                    <a:pt x="1525" y="992"/>
                    <a:pt x="1515" y="993"/>
                  </a:cubicBezTo>
                  <a:cubicBezTo>
                    <a:pt x="1490" y="997"/>
                    <a:pt x="1469" y="1010"/>
                    <a:pt x="1462" y="1034"/>
                  </a:cubicBezTo>
                  <a:cubicBezTo>
                    <a:pt x="1455" y="1056"/>
                    <a:pt x="1457" y="1079"/>
                    <a:pt x="1476" y="1096"/>
                  </a:cubicBezTo>
                  <a:cubicBezTo>
                    <a:pt x="1483" y="1103"/>
                    <a:pt x="1483" y="1107"/>
                    <a:pt x="1476" y="1113"/>
                  </a:cubicBezTo>
                  <a:cubicBezTo>
                    <a:pt x="1462" y="1126"/>
                    <a:pt x="1462" y="1142"/>
                    <a:pt x="1473" y="1157"/>
                  </a:cubicBezTo>
                  <a:cubicBezTo>
                    <a:pt x="1476" y="1160"/>
                    <a:pt x="1476" y="1162"/>
                    <a:pt x="1472" y="1164"/>
                  </a:cubicBezTo>
                  <a:cubicBezTo>
                    <a:pt x="1470" y="1166"/>
                    <a:pt x="1468" y="1168"/>
                    <a:pt x="1466" y="1170"/>
                  </a:cubicBezTo>
                  <a:cubicBezTo>
                    <a:pt x="1449" y="1183"/>
                    <a:pt x="1444" y="1201"/>
                    <a:pt x="1454" y="1218"/>
                  </a:cubicBezTo>
                  <a:cubicBezTo>
                    <a:pt x="1464" y="1235"/>
                    <a:pt x="1479" y="1246"/>
                    <a:pt x="1499" y="1249"/>
                  </a:cubicBezTo>
                  <a:cubicBezTo>
                    <a:pt x="1517" y="1252"/>
                    <a:pt x="1535" y="1253"/>
                    <a:pt x="1553" y="1250"/>
                  </a:cubicBezTo>
                  <a:cubicBezTo>
                    <a:pt x="1584" y="1245"/>
                    <a:pt x="1607" y="1232"/>
                    <a:pt x="1619" y="1200"/>
                  </a:cubicBezTo>
                  <a:cubicBezTo>
                    <a:pt x="1627" y="1180"/>
                    <a:pt x="1611" y="1155"/>
                    <a:pt x="1593" y="1148"/>
                  </a:cubicBezTo>
                  <a:cubicBezTo>
                    <a:pt x="1578" y="1142"/>
                    <a:pt x="1563" y="1143"/>
                    <a:pt x="1549" y="1142"/>
                  </a:cubicBezTo>
                  <a:cubicBezTo>
                    <a:pt x="1540" y="1142"/>
                    <a:pt x="1532" y="1142"/>
                    <a:pt x="1525" y="1142"/>
                  </a:cubicBezTo>
                  <a:close/>
                  <a:moveTo>
                    <a:pt x="1556" y="1172"/>
                  </a:moveTo>
                  <a:cubicBezTo>
                    <a:pt x="1566" y="1172"/>
                    <a:pt x="1576" y="1176"/>
                    <a:pt x="1583" y="1183"/>
                  </a:cubicBezTo>
                  <a:cubicBezTo>
                    <a:pt x="1589" y="1190"/>
                    <a:pt x="1589" y="1198"/>
                    <a:pt x="1583" y="1205"/>
                  </a:cubicBezTo>
                  <a:cubicBezTo>
                    <a:pt x="1575" y="1215"/>
                    <a:pt x="1565" y="1220"/>
                    <a:pt x="1553" y="1223"/>
                  </a:cubicBezTo>
                  <a:cubicBezTo>
                    <a:pt x="1534" y="1228"/>
                    <a:pt x="1516" y="1225"/>
                    <a:pt x="1499" y="1219"/>
                  </a:cubicBezTo>
                  <a:cubicBezTo>
                    <a:pt x="1486" y="1214"/>
                    <a:pt x="1479" y="1203"/>
                    <a:pt x="1482" y="1193"/>
                  </a:cubicBezTo>
                  <a:cubicBezTo>
                    <a:pt x="1485" y="1182"/>
                    <a:pt x="1496" y="1168"/>
                    <a:pt x="1514" y="1171"/>
                  </a:cubicBezTo>
                  <a:cubicBezTo>
                    <a:pt x="1526" y="1173"/>
                    <a:pt x="1541" y="1171"/>
                    <a:pt x="1556" y="1172"/>
                  </a:cubicBezTo>
                  <a:close/>
                  <a:moveTo>
                    <a:pt x="1531" y="1019"/>
                  </a:moveTo>
                  <a:cubicBezTo>
                    <a:pt x="1553" y="1017"/>
                    <a:pt x="1570" y="1033"/>
                    <a:pt x="1570" y="1052"/>
                  </a:cubicBezTo>
                  <a:cubicBezTo>
                    <a:pt x="1570" y="1075"/>
                    <a:pt x="1554" y="1093"/>
                    <a:pt x="1532" y="1091"/>
                  </a:cubicBezTo>
                  <a:cubicBezTo>
                    <a:pt x="1508" y="1089"/>
                    <a:pt x="1494" y="1082"/>
                    <a:pt x="1493" y="1053"/>
                  </a:cubicBezTo>
                  <a:cubicBezTo>
                    <a:pt x="1494" y="1029"/>
                    <a:pt x="1508" y="1020"/>
                    <a:pt x="1531" y="1019"/>
                  </a:cubicBezTo>
                  <a:close/>
                  <a:moveTo>
                    <a:pt x="1413" y="934"/>
                  </a:moveTo>
                  <a:cubicBezTo>
                    <a:pt x="1413" y="909"/>
                    <a:pt x="1413" y="909"/>
                    <a:pt x="1389" y="910"/>
                  </a:cubicBezTo>
                  <a:cubicBezTo>
                    <a:pt x="1388" y="910"/>
                    <a:pt x="1387" y="910"/>
                    <a:pt x="1387" y="910"/>
                  </a:cubicBezTo>
                  <a:cubicBezTo>
                    <a:pt x="1379" y="910"/>
                    <a:pt x="1376" y="915"/>
                    <a:pt x="1376" y="921"/>
                  </a:cubicBezTo>
                  <a:cubicBezTo>
                    <a:pt x="1376" y="939"/>
                    <a:pt x="1377" y="956"/>
                    <a:pt x="1377" y="974"/>
                  </a:cubicBezTo>
                  <a:cubicBezTo>
                    <a:pt x="1377" y="983"/>
                    <a:pt x="1377" y="991"/>
                    <a:pt x="1377" y="1000"/>
                  </a:cubicBezTo>
                  <a:cubicBezTo>
                    <a:pt x="1377" y="1005"/>
                    <a:pt x="1374" y="1009"/>
                    <a:pt x="1369" y="1005"/>
                  </a:cubicBezTo>
                  <a:cubicBezTo>
                    <a:pt x="1352" y="990"/>
                    <a:pt x="1332" y="993"/>
                    <a:pt x="1312" y="993"/>
                  </a:cubicBezTo>
                  <a:cubicBezTo>
                    <a:pt x="1303" y="994"/>
                    <a:pt x="1294" y="998"/>
                    <a:pt x="1287" y="1003"/>
                  </a:cubicBezTo>
                  <a:cubicBezTo>
                    <a:pt x="1265" y="1017"/>
                    <a:pt x="1252" y="1039"/>
                    <a:pt x="1248" y="1065"/>
                  </a:cubicBezTo>
                  <a:cubicBezTo>
                    <a:pt x="1244" y="1096"/>
                    <a:pt x="1244" y="1128"/>
                    <a:pt x="1261" y="1157"/>
                  </a:cubicBezTo>
                  <a:cubicBezTo>
                    <a:pt x="1270" y="1170"/>
                    <a:pt x="1281" y="1181"/>
                    <a:pt x="1296" y="1185"/>
                  </a:cubicBezTo>
                  <a:cubicBezTo>
                    <a:pt x="1323" y="1191"/>
                    <a:pt x="1349" y="1188"/>
                    <a:pt x="1370" y="1167"/>
                  </a:cubicBezTo>
                  <a:cubicBezTo>
                    <a:pt x="1372" y="1165"/>
                    <a:pt x="1375" y="1162"/>
                    <a:pt x="1379" y="1163"/>
                  </a:cubicBezTo>
                  <a:cubicBezTo>
                    <a:pt x="1382" y="1165"/>
                    <a:pt x="1381" y="1169"/>
                    <a:pt x="1381" y="1172"/>
                  </a:cubicBezTo>
                  <a:cubicBezTo>
                    <a:pt x="1383" y="1181"/>
                    <a:pt x="1390" y="1186"/>
                    <a:pt x="1403" y="1186"/>
                  </a:cubicBezTo>
                  <a:cubicBezTo>
                    <a:pt x="1413" y="1185"/>
                    <a:pt x="1413" y="1178"/>
                    <a:pt x="1413" y="1172"/>
                  </a:cubicBezTo>
                  <a:cubicBezTo>
                    <a:pt x="1413" y="1131"/>
                    <a:pt x="1413" y="1090"/>
                    <a:pt x="1413" y="1049"/>
                  </a:cubicBezTo>
                  <a:cubicBezTo>
                    <a:pt x="1413" y="1010"/>
                    <a:pt x="1413" y="972"/>
                    <a:pt x="1413" y="934"/>
                  </a:cubicBezTo>
                  <a:close/>
                  <a:moveTo>
                    <a:pt x="1378" y="1113"/>
                  </a:moveTo>
                  <a:cubicBezTo>
                    <a:pt x="1378" y="1136"/>
                    <a:pt x="1360" y="1155"/>
                    <a:pt x="1337" y="1157"/>
                  </a:cubicBezTo>
                  <a:cubicBezTo>
                    <a:pt x="1319" y="1159"/>
                    <a:pt x="1304" y="1154"/>
                    <a:pt x="1294" y="1139"/>
                  </a:cubicBezTo>
                  <a:cubicBezTo>
                    <a:pt x="1286" y="1128"/>
                    <a:pt x="1283" y="1116"/>
                    <a:pt x="1283" y="1102"/>
                  </a:cubicBezTo>
                  <a:cubicBezTo>
                    <a:pt x="1282" y="1085"/>
                    <a:pt x="1282" y="1067"/>
                    <a:pt x="1290" y="1051"/>
                  </a:cubicBezTo>
                  <a:cubicBezTo>
                    <a:pt x="1297" y="1036"/>
                    <a:pt x="1308" y="1024"/>
                    <a:pt x="1325" y="1022"/>
                  </a:cubicBezTo>
                  <a:cubicBezTo>
                    <a:pt x="1342" y="1020"/>
                    <a:pt x="1358" y="1021"/>
                    <a:pt x="1371" y="1035"/>
                  </a:cubicBezTo>
                  <a:cubicBezTo>
                    <a:pt x="1376" y="1041"/>
                    <a:pt x="1378" y="1046"/>
                    <a:pt x="1378" y="1052"/>
                  </a:cubicBezTo>
                  <a:cubicBezTo>
                    <a:pt x="1378" y="1064"/>
                    <a:pt x="1378" y="1075"/>
                    <a:pt x="1378" y="1086"/>
                  </a:cubicBezTo>
                  <a:cubicBezTo>
                    <a:pt x="1378" y="1086"/>
                    <a:pt x="1378" y="1086"/>
                    <a:pt x="1378" y="1086"/>
                  </a:cubicBezTo>
                  <a:cubicBezTo>
                    <a:pt x="1378" y="1095"/>
                    <a:pt x="1378" y="1104"/>
                    <a:pt x="1378" y="1113"/>
                  </a:cubicBezTo>
                  <a:close/>
                  <a:moveTo>
                    <a:pt x="578" y="259"/>
                  </a:moveTo>
                  <a:cubicBezTo>
                    <a:pt x="603" y="241"/>
                    <a:pt x="611" y="213"/>
                    <a:pt x="614" y="183"/>
                  </a:cubicBezTo>
                  <a:cubicBezTo>
                    <a:pt x="615" y="171"/>
                    <a:pt x="610" y="159"/>
                    <a:pt x="609" y="147"/>
                  </a:cubicBezTo>
                  <a:cubicBezTo>
                    <a:pt x="608" y="137"/>
                    <a:pt x="603" y="129"/>
                    <a:pt x="599" y="121"/>
                  </a:cubicBezTo>
                  <a:cubicBezTo>
                    <a:pt x="579" y="87"/>
                    <a:pt x="527" y="70"/>
                    <a:pt x="488" y="85"/>
                  </a:cubicBezTo>
                  <a:cubicBezTo>
                    <a:pt x="453" y="99"/>
                    <a:pt x="436" y="127"/>
                    <a:pt x="431" y="163"/>
                  </a:cubicBezTo>
                  <a:cubicBezTo>
                    <a:pt x="429" y="180"/>
                    <a:pt x="430" y="196"/>
                    <a:pt x="436" y="213"/>
                  </a:cubicBezTo>
                  <a:cubicBezTo>
                    <a:pt x="439" y="222"/>
                    <a:pt x="442" y="232"/>
                    <a:pt x="447" y="239"/>
                  </a:cubicBezTo>
                  <a:cubicBezTo>
                    <a:pt x="465" y="265"/>
                    <a:pt x="491" y="277"/>
                    <a:pt x="525" y="276"/>
                  </a:cubicBezTo>
                  <a:cubicBezTo>
                    <a:pt x="543" y="278"/>
                    <a:pt x="562" y="271"/>
                    <a:pt x="578" y="259"/>
                  </a:cubicBezTo>
                  <a:close/>
                  <a:moveTo>
                    <a:pt x="471" y="205"/>
                  </a:moveTo>
                  <a:cubicBezTo>
                    <a:pt x="466" y="185"/>
                    <a:pt x="468" y="167"/>
                    <a:pt x="472" y="147"/>
                  </a:cubicBezTo>
                  <a:cubicBezTo>
                    <a:pt x="477" y="130"/>
                    <a:pt x="493" y="116"/>
                    <a:pt x="509" y="112"/>
                  </a:cubicBezTo>
                  <a:cubicBezTo>
                    <a:pt x="525" y="108"/>
                    <a:pt x="539" y="110"/>
                    <a:pt x="553" y="119"/>
                  </a:cubicBezTo>
                  <a:cubicBezTo>
                    <a:pt x="563" y="125"/>
                    <a:pt x="568" y="135"/>
                    <a:pt x="571" y="146"/>
                  </a:cubicBezTo>
                  <a:cubicBezTo>
                    <a:pt x="577" y="167"/>
                    <a:pt x="578" y="189"/>
                    <a:pt x="571" y="211"/>
                  </a:cubicBezTo>
                  <a:cubicBezTo>
                    <a:pt x="565" y="231"/>
                    <a:pt x="549" y="249"/>
                    <a:pt x="521" y="247"/>
                  </a:cubicBezTo>
                  <a:cubicBezTo>
                    <a:pt x="496" y="247"/>
                    <a:pt x="478" y="230"/>
                    <a:pt x="471" y="205"/>
                  </a:cubicBezTo>
                  <a:close/>
                  <a:moveTo>
                    <a:pt x="472" y="1122"/>
                  </a:moveTo>
                  <a:cubicBezTo>
                    <a:pt x="475" y="1136"/>
                    <a:pt x="481" y="1148"/>
                    <a:pt x="491" y="1158"/>
                  </a:cubicBezTo>
                  <a:cubicBezTo>
                    <a:pt x="506" y="1176"/>
                    <a:pt x="524" y="1185"/>
                    <a:pt x="548" y="1187"/>
                  </a:cubicBezTo>
                  <a:cubicBezTo>
                    <a:pt x="568" y="1188"/>
                    <a:pt x="587" y="1187"/>
                    <a:pt x="605" y="1177"/>
                  </a:cubicBezTo>
                  <a:cubicBezTo>
                    <a:pt x="632" y="1162"/>
                    <a:pt x="644" y="1136"/>
                    <a:pt x="649" y="1107"/>
                  </a:cubicBezTo>
                  <a:cubicBezTo>
                    <a:pt x="652" y="1089"/>
                    <a:pt x="649" y="1072"/>
                    <a:pt x="644" y="1054"/>
                  </a:cubicBezTo>
                  <a:cubicBezTo>
                    <a:pt x="638" y="1034"/>
                    <a:pt x="627" y="1019"/>
                    <a:pt x="610" y="1007"/>
                  </a:cubicBezTo>
                  <a:cubicBezTo>
                    <a:pt x="589" y="992"/>
                    <a:pt x="566" y="991"/>
                    <a:pt x="541" y="994"/>
                  </a:cubicBezTo>
                  <a:cubicBezTo>
                    <a:pt x="526" y="995"/>
                    <a:pt x="512" y="1002"/>
                    <a:pt x="500" y="1012"/>
                  </a:cubicBezTo>
                  <a:cubicBezTo>
                    <a:pt x="476" y="1032"/>
                    <a:pt x="469" y="1060"/>
                    <a:pt x="466" y="1095"/>
                  </a:cubicBezTo>
                  <a:cubicBezTo>
                    <a:pt x="465" y="1101"/>
                    <a:pt x="470" y="1111"/>
                    <a:pt x="472" y="1122"/>
                  </a:cubicBezTo>
                  <a:close/>
                  <a:moveTo>
                    <a:pt x="508" y="1113"/>
                  </a:moveTo>
                  <a:cubicBezTo>
                    <a:pt x="505" y="1095"/>
                    <a:pt x="506" y="1078"/>
                    <a:pt x="508" y="1061"/>
                  </a:cubicBezTo>
                  <a:cubicBezTo>
                    <a:pt x="511" y="1042"/>
                    <a:pt x="538" y="1021"/>
                    <a:pt x="554" y="1022"/>
                  </a:cubicBezTo>
                  <a:cubicBezTo>
                    <a:pt x="570" y="1022"/>
                    <a:pt x="586" y="1024"/>
                    <a:pt x="596" y="1037"/>
                  </a:cubicBezTo>
                  <a:cubicBezTo>
                    <a:pt x="602" y="1044"/>
                    <a:pt x="607" y="1052"/>
                    <a:pt x="608" y="1061"/>
                  </a:cubicBezTo>
                  <a:cubicBezTo>
                    <a:pt x="608" y="1064"/>
                    <a:pt x="609" y="1067"/>
                    <a:pt x="610" y="1070"/>
                  </a:cubicBezTo>
                  <a:cubicBezTo>
                    <a:pt x="618" y="1089"/>
                    <a:pt x="612" y="1107"/>
                    <a:pt x="607" y="1125"/>
                  </a:cubicBezTo>
                  <a:cubicBezTo>
                    <a:pt x="601" y="1143"/>
                    <a:pt x="588" y="1160"/>
                    <a:pt x="558" y="1157"/>
                  </a:cubicBezTo>
                  <a:cubicBezTo>
                    <a:pt x="530" y="1157"/>
                    <a:pt x="512" y="1141"/>
                    <a:pt x="508" y="1113"/>
                  </a:cubicBezTo>
                  <a:close/>
                  <a:moveTo>
                    <a:pt x="430" y="716"/>
                  </a:moveTo>
                  <a:cubicBezTo>
                    <a:pt x="450" y="703"/>
                    <a:pt x="459" y="683"/>
                    <a:pt x="464" y="661"/>
                  </a:cubicBezTo>
                  <a:cubicBezTo>
                    <a:pt x="468" y="648"/>
                    <a:pt x="467" y="635"/>
                    <a:pt x="466" y="621"/>
                  </a:cubicBezTo>
                  <a:cubicBezTo>
                    <a:pt x="463" y="592"/>
                    <a:pt x="453" y="567"/>
                    <a:pt x="427" y="550"/>
                  </a:cubicBezTo>
                  <a:cubicBezTo>
                    <a:pt x="401" y="534"/>
                    <a:pt x="372" y="532"/>
                    <a:pt x="345" y="541"/>
                  </a:cubicBezTo>
                  <a:cubicBezTo>
                    <a:pt x="310" y="552"/>
                    <a:pt x="291" y="580"/>
                    <a:pt x="287" y="617"/>
                  </a:cubicBezTo>
                  <a:cubicBezTo>
                    <a:pt x="286" y="629"/>
                    <a:pt x="286" y="641"/>
                    <a:pt x="287" y="654"/>
                  </a:cubicBezTo>
                  <a:cubicBezTo>
                    <a:pt x="289" y="671"/>
                    <a:pt x="295" y="686"/>
                    <a:pt x="306" y="700"/>
                  </a:cubicBezTo>
                  <a:cubicBezTo>
                    <a:pt x="324" y="722"/>
                    <a:pt x="348" y="733"/>
                    <a:pt x="378" y="731"/>
                  </a:cubicBezTo>
                  <a:cubicBezTo>
                    <a:pt x="396" y="733"/>
                    <a:pt x="414" y="727"/>
                    <a:pt x="430" y="716"/>
                  </a:cubicBezTo>
                  <a:close/>
                  <a:moveTo>
                    <a:pt x="331" y="592"/>
                  </a:moveTo>
                  <a:cubicBezTo>
                    <a:pt x="339" y="580"/>
                    <a:pt x="349" y="569"/>
                    <a:pt x="365" y="567"/>
                  </a:cubicBezTo>
                  <a:cubicBezTo>
                    <a:pt x="387" y="564"/>
                    <a:pt x="406" y="568"/>
                    <a:pt x="419" y="588"/>
                  </a:cubicBezTo>
                  <a:cubicBezTo>
                    <a:pt x="423" y="595"/>
                    <a:pt x="426" y="603"/>
                    <a:pt x="427" y="610"/>
                  </a:cubicBezTo>
                  <a:cubicBezTo>
                    <a:pt x="433" y="635"/>
                    <a:pt x="431" y="661"/>
                    <a:pt x="416" y="684"/>
                  </a:cubicBezTo>
                  <a:cubicBezTo>
                    <a:pt x="403" y="706"/>
                    <a:pt x="362" y="708"/>
                    <a:pt x="345" y="692"/>
                  </a:cubicBezTo>
                  <a:cubicBezTo>
                    <a:pt x="329" y="678"/>
                    <a:pt x="323" y="661"/>
                    <a:pt x="323" y="631"/>
                  </a:cubicBezTo>
                  <a:cubicBezTo>
                    <a:pt x="323" y="619"/>
                    <a:pt x="323" y="605"/>
                    <a:pt x="331" y="592"/>
                  </a:cubicBezTo>
                  <a:close/>
                  <a:moveTo>
                    <a:pt x="1073" y="259"/>
                  </a:moveTo>
                  <a:cubicBezTo>
                    <a:pt x="1073" y="269"/>
                    <a:pt x="1075" y="272"/>
                    <a:pt x="1086" y="272"/>
                  </a:cubicBezTo>
                  <a:cubicBezTo>
                    <a:pt x="1088" y="272"/>
                    <a:pt x="1090" y="272"/>
                    <a:pt x="1092" y="272"/>
                  </a:cubicBezTo>
                  <a:cubicBezTo>
                    <a:pt x="1105" y="272"/>
                    <a:pt x="1106" y="271"/>
                    <a:pt x="1106" y="258"/>
                  </a:cubicBezTo>
                  <a:cubicBezTo>
                    <a:pt x="1106" y="221"/>
                    <a:pt x="1106" y="184"/>
                    <a:pt x="1106" y="147"/>
                  </a:cubicBezTo>
                  <a:cubicBezTo>
                    <a:pt x="1106" y="143"/>
                    <a:pt x="1106" y="140"/>
                    <a:pt x="1107" y="137"/>
                  </a:cubicBezTo>
                  <a:cubicBezTo>
                    <a:pt x="1117" y="117"/>
                    <a:pt x="1157" y="104"/>
                    <a:pt x="1177" y="114"/>
                  </a:cubicBezTo>
                  <a:cubicBezTo>
                    <a:pt x="1179" y="115"/>
                    <a:pt x="1180" y="117"/>
                    <a:pt x="1182" y="118"/>
                  </a:cubicBezTo>
                  <a:cubicBezTo>
                    <a:pt x="1194" y="131"/>
                    <a:pt x="1196" y="147"/>
                    <a:pt x="1196" y="163"/>
                  </a:cubicBezTo>
                  <a:cubicBezTo>
                    <a:pt x="1197" y="195"/>
                    <a:pt x="1196" y="226"/>
                    <a:pt x="1196" y="258"/>
                  </a:cubicBezTo>
                  <a:cubicBezTo>
                    <a:pt x="1196" y="271"/>
                    <a:pt x="1197" y="272"/>
                    <a:pt x="1210" y="272"/>
                  </a:cubicBezTo>
                  <a:cubicBezTo>
                    <a:pt x="1212" y="272"/>
                    <a:pt x="1213" y="272"/>
                    <a:pt x="1215" y="272"/>
                  </a:cubicBezTo>
                  <a:cubicBezTo>
                    <a:pt x="1227" y="272"/>
                    <a:pt x="1229" y="270"/>
                    <a:pt x="1229" y="258"/>
                  </a:cubicBezTo>
                  <a:cubicBezTo>
                    <a:pt x="1229" y="222"/>
                    <a:pt x="1229" y="187"/>
                    <a:pt x="1229" y="151"/>
                  </a:cubicBezTo>
                  <a:cubicBezTo>
                    <a:pt x="1229" y="142"/>
                    <a:pt x="1228" y="132"/>
                    <a:pt x="1225" y="123"/>
                  </a:cubicBezTo>
                  <a:cubicBezTo>
                    <a:pt x="1219" y="105"/>
                    <a:pt x="1208" y="91"/>
                    <a:pt x="1189" y="85"/>
                  </a:cubicBezTo>
                  <a:cubicBezTo>
                    <a:pt x="1173" y="80"/>
                    <a:pt x="1156" y="84"/>
                    <a:pt x="1139" y="84"/>
                  </a:cubicBezTo>
                  <a:cubicBezTo>
                    <a:pt x="1137" y="84"/>
                    <a:pt x="1136" y="86"/>
                    <a:pt x="1134" y="87"/>
                  </a:cubicBezTo>
                  <a:cubicBezTo>
                    <a:pt x="1128" y="91"/>
                    <a:pt x="1121" y="96"/>
                    <a:pt x="1115" y="100"/>
                  </a:cubicBezTo>
                  <a:cubicBezTo>
                    <a:pt x="1113" y="102"/>
                    <a:pt x="1111" y="105"/>
                    <a:pt x="1108" y="103"/>
                  </a:cubicBezTo>
                  <a:cubicBezTo>
                    <a:pt x="1105" y="102"/>
                    <a:pt x="1106" y="98"/>
                    <a:pt x="1106" y="96"/>
                  </a:cubicBezTo>
                  <a:cubicBezTo>
                    <a:pt x="1106" y="69"/>
                    <a:pt x="1106" y="43"/>
                    <a:pt x="1106" y="17"/>
                  </a:cubicBezTo>
                  <a:cubicBezTo>
                    <a:pt x="1106" y="0"/>
                    <a:pt x="1106" y="0"/>
                    <a:pt x="1089" y="0"/>
                  </a:cubicBezTo>
                  <a:cubicBezTo>
                    <a:pt x="1074" y="0"/>
                    <a:pt x="1073" y="1"/>
                    <a:pt x="1073" y="16"/>
                  </a:cubicBezTo>
                  <a:cubicBezTo>
                    <a:pt x="1073" y="56"/>
                    <a:pt x="1073" y="96"/>
                    <a:pt x="1073" y="136"/>
                  </a:cubicBezTo>
                  <a:cubicBezTo>
                    <a:pt x="1073" y="177"/>
                    <a:pt x="1073" y="218"/>
                    <a:pt x="1073" y="259"/>
                  </a:cubicBezTo>
                  <a:close/>
                  <a:moveTo>
                    <a:pt x="1150" y="1092"/>
                  </a:moveTo>
                  <a:cubicBezTo>
                    <a:pt x="1168" y="1092"/>
                    <a:pt x="1186" y="1092"/>
                    <a:pt x="1204" y="1092"/>
                  </a:cubicBezTo>
                  <a:cubicBezTo>
                    <a:pt x="1215" y="1092"/>
                    <a:pt x="1218" y="1087"/>
                    <a:pt x="1219" y="1077"/>
                  </a:cubicBezTo>
                  <a:cubicBezTo>
                    <a:pt x="1220" y="1062"/>
                    <a:pt x="1216" y="1049"/>
                    <a:pt x="1210" y="1036"/>
                  </a:cubicBezTo>
                  <a:cubicBezTo>
                    <a:pt x="1204" y="1020"/>
                    <a:pt x="1193" y="1008"/>
                    <a:pt x="1177" y="1001"/>
                  </a:cubicBezTo>
                  <a:cubicBezTo>
                    <a:pt x="1155" y="992"/>
                    <a:pt x="1133" y="991"/>
                    <a:pt x="1109" y="999"/>
                  </a:cubicBezTo>
                  <a:cubicBezTo>
                    <a:pt x="1079" y="1010"/>
                    <a:pt x="1062" y="1031"/>
                    <a:pt x="1056" y="1061"/>
                  </a:cubicBezTo>
                  <a:cubicBezTo>
                    <a:pt x="1051" y="1090"/>
                    <a:pt x="1052" y="1120"/>
                    <a:pt x="1069" y="1148"/>
                  </a:cubicBezTo>
                  <a:cubicBezTo>
                    <a:pt x="1081" y="1169"/>
                    <a:pt x="1100" y="1180"/>
                    <a:pt x="1122" y="1185"/>
                  </a:cubicBezTo>
                  <a:cubicBezTo>
                    <a:pt x="1149" y="1190"/>
                    <a:pt x="1176" y="1186"/>
                    <a:pt x="1200" y="1171"/>
                  </a:cubicBezTo>
                  <a:cubicBezTo>
                    <a:pt x="1206" y="1168"/>
                    <a:pt x="1213" y="1165"/>
                    <a:pt x="1214" y="1157"/>
                  </a:cubicBezTo>
                  <a:cubicBezTo>
                    <a:pt x="1215" y="1147"/>
                    <a:pt x="1202" y="1139"/>
                    <a:pt x="1193" y="1144"/>
                  </a:cubicBezTo>
                  <a:cubicBezTo>
                    <a:pt x="1187" y="1147"/>
                    <a:pt x="1180" y="1150"/>
                    <a:pt x="1174" y="1153"/>
                  </a:cubicBezTo>
                  <a:cubicBezTo>
                    <a:pt x="1158" y="1161"/>
                    <a:pt x="1140" y="1161"/>
                    <a:pt x="1124" y="1155"/>
                  </a:cubicBezTo>
                  <a:cubicBezTo>
                    <a:pt x="1112" y="1151"/>
                    <a:pt x="1102" y="1142"/>
                    <a:pt x="1096" y="1129"/>
                  </a:cubicBezTo>
                  <a:cubicBezTo>
                    <a:pt x="1092" y="1121"/>
                    <a:pt x="1091" y="1112"/>
                    <a:pt x="1089" y="1104"/>
                  </a:cubicBezTo>
                  <a:cubicBezTo>
                    <a:pt x="1087" y="1093"/>
                    <a:pt x="1087" y="1092"/>
                    <a:pt x="1099" y="1092"/>
                  </a:cubicBezTo>
                  <a:cubicBezTo>
                    <a:pt x="1116" y="1092"/>
                    <a:pt x="1133" y="1092"/>
                    <a:pt x="1150" y="1092"/>
                  </a:cubicBezTo>
                  <a:cubicBezTo>
                    <a:pt x="1150" y="1092"/>
                    <a:pt x="1150" y="1092"/>
                    <a:pt x="1150" y="1092"/>
                  </a:cubicBezTo>
                  <a:close/>
                  <a:moveTo>
                    <a:pt x="1099" y="1070"/>
                  </a:moveTo>
                  <a:cubicBezTo>
                    <a:pt x="1092" y="1071"/>
                    <a:pt x="1089" y="1067"/>
                    <a:pt x="1091" y="1060"/>
                  </a:cubicBezTo>
                  <a:cubicBezTo>
                    <a:pt x="1094" y="1045"/>
                    <a:pt x="1108" y="1023"/>
                    <a:pt x="1128" y="1022"/>
                  </a:cubicBezTo>
                  <a:cubicBezTo>
                    <a:pt x="1142" y="1021"/>
                    <a:pt x="1156" y="1018"/>
                    <a:pt x="1168" y="1029"/>
                  </a:cubicBezTo>
                  <a:cubicBezTo>
                    <a:pt x="1181" y="1038"/>
                    <a:pt x="1185" y="1051"/>
                    <a:pt x="1187" y="1066"/>
                  </a:cubicBezTo>
                  <a:cubicBezTo>
                    <a:pt x="1188" y="1071"/>
                    <a:pt x="1183" y="1070"/>
                    <a:pt x="1180" y="1070"/>
                  </a:cubicBezTo>
                  <a:cubicBezTo>
                    <a:pt x="1166" y="1070"/>
                    <a:pt x="1153" y="1070"/>
                    <a:pt x="1139" y="1070"/>
                  </a:cubicBezTo>
                  <a:cubicBezTo>
                    <a:pt x="1139" y="1070"/>
                    <a:pt x="1139" y="1070"/>
                    <a:pt x="1139" y="1070"/>
                  </a:cubicBezTo>
                  <a:cubicBezTo>
                    <a:pt x="1126" y="1070"/>
                    <a:pt x="1113" y="1070"/>
                    <a:pt x="1099" y="1070"/>
                  </a:cubicBezTo>
                  <a:close/>
                  <a:moveTo>
                    <a:pt x="1741" y="1092"/>
                  </a:moveTo>
                  <a:cubicBezTo>
                    <a:pt x="1759" y="1092"/>
                    <a:pt x="1776" y="1092"/>
                    <a:pt x="1793" y="1092"/>
                  </a:cubicBezTo>
                  <a:cubicBezTo>
                    <a:pt x="1806" y="1092"/>
                    <a:pt x="1808" y="1089"/>
                    <a:pt x="1808" y="1076"/>
                  </a:cubicBezTo>
                  <a:cubicBezTo>
                    <a:pt x="1809" y="1063"/>
                    <a:pt x="1807" y="1051"/>
                    <a:pt x="1802" y="1038"/>
                  </a:cubicBezTo>
                  <a:cubicBezTo>
                    <a:pt x="1794" y="1021"/>
                    <a:pt x="1782" y="1008"/>
                    <a:pt x="1764" y="1000"/>
                  </a:cubicBezTo>
                  <a:cubicBezTo>
                    <a:pt x="1742" y="991"/>
                    <a:pt x="1720" y="991"/>
                    <a:pt x="1698" y="1000"/>
                  </a:cubicBezTo>
                  <a:cubicBezTo>
                    <a:pt x="1681" y="1006"/>
                    <a:pt x="1668" y="1016"/>
                    <a:pt x="1659" y="1031"/>
                  </a:cubicBezTo>
                  <a:cubicBezTo>
                    <a:pt x="1646" y="1050"/>
                    <a:pt x="1643" y="1071"/>
                    <a:pt x="1644" y="1094"/>
                  </a:cubicBezTo>
                  <a:cubicBezTo>
                    <a:pt x="1644" y="1110"/>
                    <a:pt x="1647" y="1127"/>
                    <a:pt x="1655" y="1141"/>
                  </a:cubicBezTo>
                  <a:cubicBezTo>
                    <a:pt x="1669" y="1168"/>
                    <a:pt x="1691" y="1183"/>
                    <a:pt x="1722" y="1186"/>
                  </a:cubicBezTo>
                  <a:cubicBezTo>
                    <a:pt x="1750" y="1188"/>
                    <a:pt x="1775" y="1183"/>
                    <a:pt x="1798" y="1165"/>
                  </a:cubicBezTo>
                  <a:cubicBezTo>
                    <a:pt x="1803" y="1161"/>
                    <a:pt x="1806" y="1157"/>
                    <a:pt x="1802" y="1151"/>
                  </a:cubicBezTo>
                  <a:cubicBezTo>
                    <a:pt x="1798" y="1144"/>
                    <a:pt x="1791" y="1140"/>
                    <a:pt x="1783" y="1144"/>
                  </a:cubicBezTo>
                  <a:cubicBezTo>
                    <a:pt x="1778" y="1147"/>
                    <a:pt x="1771" y="1149"/>
                    <a:pt x="1766" y="1152"/>
                  </a:cubicBezTo>
                  <a:cubicBezTo>
                    <a:pt x="1749" y="1161"/>
                    <a:pt x="1730" y="1162"/>
                    <a:pt x="1714" y="1155"/>
                  </a:cubicBezTo>
                  <a:cubicBezTo>
                    <a:pt x="1692" y="1145"/>
                    <a:pt x="1680" y="1127"/>
                    <a:pt x="1679" y="1102"/>
                  </a:cubicBezTo>
                  <a:cubicBezTo>
                    <a:pt x="1678" y="1095"/>
                    <a:pt x="1681" y="1092"/>
                    <a:pt x="1689" y="1092"/>
                  </a:cubicBezTo>
                  <a:cubicBezTo>
                    <a:pt x="1706" y="1092"/>
                    <a:pt x="1724" y="1092"/>
                    <a:pt x="1741" y="1092"/>
                  </a:cubicBezTo>
                  <a:cubicBezTo>
                    <a:pt x="1741" y="1092"/>
                    <a:pt x="1741" y="1092"/>
                    <a:pt x="1741" y="1092"/>
                  </a:cubicBezTo>
                  <a:close/>
                  <a:moveTo>
                    <a:pt x="1690" y="1070"/>
                  </a:moveTo>
                  <a:cubicBezTo>
                    <a:pt x="1683" y="1071"/>
                    <a:pt x="1680" y="1068"/>
                    <a:pt x="1681" y="1062"/>
                  </a:cubicBezTo>
                  <a:cubicBezTo>
                    <a:pt x="1683" y="1048"/>
                    <a:pt x="1697" y="1024"/>
                    <a:pt x="1716" y="1022"/>
                  </a:cubicBezTo>
                  <a:cubicBezTo>
                    <a:pt x="1731" y="1020"/>
                    <a:pt x="1747" y="1018"/>
                    <a:pt x="1760" y="1030"/>
                  </a:cubicBezTo>
                  <a:cubicBezTo>
                    <a:pt x="1771" y="1038"/>
                    <a:pt x="1775" y="1050"/>
                    <a:pt x="1778" y="1062"/>
                  </a:cubicBezTo>
                  <a:cubicBezTo>
                    <a:pt x="1780" y="1068"/>
                    <a:pt x="1775" y="1070"/>
                    <a:pt x="1769" y="1070"/>
                  </a:cubicBezTo>
                  <a:cubicBezTo>
                    <a:pt x="1756" y="1070"/>
                    <a:pt x="1742" y="1070"/>
                    <a:pt x="1729" y="1070"/>
                  </a:cubicBezTo>
                  <a:cubicBezTo>
                    <a:pt x="1729" y="1070"/>
                    <a:pt x="1729" y="1070"/>
                    <a:pt x="1729" y="1070"/>
                  </a:cubicBezTo>
                  <a:cubicBezTo>
                    <a:pt x="1716" y="1070"/>
                    <a:pt x="1703" y="1070"/>
                    <a:pt x="1690" y="1070"/>
                  </a:cubicBezTo>
                  <a:close/>
                  <a:moveTo>
                    <a:pt x="68" y="581"/>
                  </a:moveTo>
                  <a:cubicBezTo>
                    <a:pt x="68" y="573"/>
                    <a:pt x="70" y="568"/>
                    <a:pt x="80" y="569"/>
                  </a:cubicBezTo>
                  <a:cubicBezTo>
                    <a:pt x="90" y="570"/>
                    <a:pt x="101" y="570"/>
                    <a:pt x="111" y="569"/>
                  </a:cubicBezTo>
                  <a:cubicBezTo>
                    <a:pt x="120" y="569"/>
                    <a:pt x="120" y="563"/>
                    <a:pt x="120" y="556"/>
                  </a:cubicBezTo>
                  <a:cubicBezTo>
                    <a:pt x="120" y="549"/>
                    <a:pt x="119" y="544"/>
                    <a:pt x="111" y="544"/>
                  </a:cubicBezTo>
                  <a:cubicBezTo>
                    <a:pt x="104" y="544"/>
                    <a:pt x="97" y="544"/>
                    <a:pt x="91" y="544"/>
                  </a:cubicBezTo>
                  <a:cubicBezTo>
                    <a:pt x="66" y="544"/>
                    <a:pt x="65" y="543"/>
                    <a:pt x="68" y="518"/>
                  </a:cubicBezTo>
                  <a:cubicBezTo>
                    <a:pt x="69" y="504"/>
                    <a:pt x="83" y="487"/>
                    <a:pt x="99" y="489"/>
                  </a:cubicBezTo>
                  <a:cubicBezTo>
                    <a:pt x="103" y="489"/>
                    <a:pt x="107" y="489"/>
                    <a:pt x="110" y="488"/>
                  </a:cubicBezTo>
                  <a:cubicBezTo>
                    <a:pt x="118" y="487"/>
                    <a:pt x="123" y="479"/>
                    <a:pt x="123" y="471"/>
                  </a:cubicBezTo>
                  <a:cubicBezTo>
                    <a:pt x="123" y="461"/>
                    <a:pt x="116" y="462"/>
                    <a:pt x="109" y="460"/>
                  </a:cubicBezTo>
                  <a:cubicBezTo>
                    <a:pt x="100" y="458"/>
                    <a:pt x="92" y="460"/>
                    <a:pt x="84" y="460"/>
                  </a:cubicBezTo>
                  <a:cubicBezTo>
                    <a:pt x="68" y="461"/>
                    <a:pt x="56" y="469"/>
                    <a:pt x="47" y="480"/>
                  </a:cubicBezTo>
                  <a:cubicBezTo>
                    <a:pt x="34" y="493"/>
                    <a:pt x="32" y="511"/>
                    <a:pt x="32" y="529"/>
                  </a:cubicBezTo>
                  <a:cubicBezTo>
                    <a:pt x="32" y="544"/>
                    <a:pt x="32" y="544"/>
                    <a:pt x="17" y="544"/>
                  </a:cubicBezTo>
                  <a:cubicBezTo>
                    <a:pt x="4" y="543"/>
                    <a:pt x="0" y="548"/>
                    <a:pt x="4" y="561"/>
                  </a:cubicBezTo>
                  <a:cubicBezTo>
                    <a:pt x="6" y="569"/>
                    <a:pt x="13" y="568"/>
                    <a:pt x="19" y="569"/>
                  </a:cubicBezTo>
                  <a:cubicBezTo>
                    <a:pt x="32" y="571"/>
                    <a:pt x="32" y="571"/>
                    <a:pt x="32" y="584"/>
                  </a:cubicBezTo>
                  <a:cubicBezTo>
                    <a:pt x="32" y="624"/>
                    <a:pt x="32" y="664"/>
                    <a:pt x="32" y="704"/>
                  </a:cubicBezTo>
                  <a:cubicBezTo>
                    <a:pt x="32" y="731"/>
                    <a:pt x="32" y="730"/>
                    <a:pt x="57" y="731"/>
                  </a:cubicBezTo>
                  <a:cubicBezTo>
                    <a:pt x="66" y="731"/>
                    <a:pt x="68" y="727"/>
                    <a:pt x="68" y="720"/>
                  </a:cubicBezTo>
                  <a:cubicBezTo>
                    <a:pt x="68" y="697"/>
                    <a:pt x="68" y="674"/>
                    <a:pt x="68" y="651"/>
                  </a:cubicBezTo>
                  <a:cubicBezTo>
                    <a:pt x="68" y="628"/>
                    <a:pt x="68" y="605"/>
                    <a:pt x="68" y="581"/>
                  </a:cubicBezTo>
                  <a:close/>
                  <a:moveTo>
                    <a:pt x="278" y="1165"/>
                  </a:moveTo>
                  <a:cubicBezTo>
                    <a:pt x="278" y="1183"/>
                    <a:pt x="278" y="1183"/>
                    <a:pt x="296" y="1184"/>
                  </a:cubicBezTo>
                  <a:cubicBezTo>
                    <a:pt x="310" y="1184"/>
                    <a:pt x="310" y="1184"/>
                    <a:pt x="310" y="1169"/>
                  </a:cubicBezTo>
                  <a:cubicBezTo>
                    <a:pt x="310" y="1132"/>
                    <a:pt x="310" y="1095"/>
                    <a:pt x="310" y="1058"/>
                  </a:cubicBezTo>
                  <a:cubicBezTo>
                    <a:pt x="310" y="1052"/>
                    <a:pt x="312" y="1047"/>
                    <a:pt x="316" y="1042"/>
                  </a:cubicBezTo>
                  <a:cubicBezTo>
                    <a:pt x="324" y="1033"/>
                    <a:pt x="334" y="1027"/>
                    <a:pt x="345" y="1024"/>
                  </a:cubicBezTo>
                  <a:cubicBezTo>
                    <a:pt x="357" y="1020"/>
                    <a:pt x="371" y="1018"/>
                    <a:pt x="383" y="1028"/>
                  </a:cubicBezTo>
                  <a:cubicBezTo>
                    <a:pt x="397" y="1039"/>
                    <a:pt x="401" y="1054"/>
                    <a:pt x="401" y="1071"/>
                  </a:cubicBezTo>
                  <a:cubicBezTo>
                    <a:pt x="401" y="1102"/>
                    <a:pt x="401" y="1132"/>
                    <a:pt x="401" y="1163"/>
                  </a:cubicBezTo>
                  <a:cubicBezTo>
                    <a:pt x="401" y="1183"/>
                    <a:pt x="401" y="1182"/>
                    <a:pt x="420" y="1184"/>
                  </a:cubicBezTo>
                  <a:cubicBezTo>
                    <a:pt x="429" y="1185"/>
                    <a:pt x="433" y="1181"/>
                    <a:pt x="433" y="1173"/>
                  </a:cubicBezTo>
                  <a:cubicBezTo>
                    <a:pt x="432" y="1130"/>
                    <a:pt x="435" y="1087"/>
                    <a:pt x="431" y="1044"/>
                  </a:cubicBezTo>
                  <a:cubicBezTo>
                    <a:pt x="427" y="1014"/>
                    <a:pt x="404" y="996"/>
                    <a:pt x="376" y="994"/>
                  </a:cubicBezTo>
                  <a:cubicBezTo>
                    <a:pt x="353" y="992"/>
                    <a:pt x="333" y="1000"/>
                    <a:pt x="317" y="1017"/>
                  </a:cubicBezTo>
                  <a:cubicBezTo>
                    <a:pt x="312" y="1021"/>
                    <a:pt x="311" y="1019"/>
                    <a:pt x="309" y="1015"/>
                  </a:cubicBezTo>
                  <a:cubicBezTo>
                    <a:pt x="309" y="1013"/>
                    <a:pt x="308" y="1011"/>
                    <a:pt x="308" y="1008"/>
                  </a:cubicBezTo>
                  <a:cubicBezTo>
                    <a:pt x="306" y="1001"/>
                    <a:pt x="298" y="997"/>
                    <a:pt x="287" y="998"/>
                  </a:cubicBezTo>
                  <a:cubicBezTo>
                    <a:pt x="279" y="999"/>
                    <a:pt x="278" y="1004"/>
                    <a:pt x="278" y="1011"/>
                  </a:cubicBezTo>
                  <a:cubicBezTo>
                    <a:pt x="278" y="1037"/>
                    <a:pt x="278" y="1064"/>
                    <a:pt x="278" y="1091"/>
                  </a:cubicBezTo>
                  <a:cubicBezTo>
                    <a:pt x="278" y="1115"/>
                    <a:pt x="278" y="1140"/>
                    <a:pt x="278" y="1165"/>
                  </a:cubicBezTo>
                  <a:close/>
                  <a:moveTo>
                    <a:pt x="150" y="705"/>
                  </a:moveTo>
                  <a:cubicBezTo>
                    <a:pt x="150" y="734"/>
                    <a:pt x="145" y="730"/>
                    <a:pt x="176" y="731"/>
                  </a:cubicBezTo>
                  <a:cubicBezTo>
                    <a:pt x="185" y="731"/>
                    <a:pt x="187" y="727"/>
                    <a:pt x="187" y="719"/>
                  </a:cubicBezTo>
                  <a:cubicBezTo>
                    <a:pt x="187" y="685"/>
                    <a:pt x="187" y="651"/>
                    <a:pt x="187" y="618"/>
                  </a:cubicBezTo>
                  <a:cubicBezTo>
                    <a:pt x="187" y="597"/>
                    <a:pt x="204" y="578"/>
                    <a:pt x="225" y="574"/>
                  </a:cubicBezTo>
                  <a:cubicBezTo>
                    <a:pt x="232" y="572"/>
                    <a:pt x="240" y="574"/>
                    <a:pt x="247" y="575"/>
                  </a:cubicBezTo>
                  <a:cubicBezTo>
                    <a:pt x="257" y="576"/>
                    <a:pt x="261" y="572"/>
                    <a:pt x="265" y="564"/>
                  </a:cubicBezTo>
                  <a:cubicBezTo>
                    <a:pt x="269" y="556"/>
                    <a:pt x="267" y="542"/>
                    <a:pt x="261" y="540"/>
                  </a:cubicBezTo>
                  <a:cubicBezTo>
                    <a:pt x="253" y="538"/>
                    <a:pt x="244" y="534"/>
                    <a:pt x="237" y="536"/>
                  </a:cubicBezTo>
                  <a:cubicBezTo>
                    <a:pt x="228" y="537"/>
                    <a:pt x="217" y="537"/>
                    <a:pt x="209" y="544"/>
                  </a:cubicBezTo>
                  <a:cubicBezTo>
                    <a:pt x="204" y="549"/>
                    <a:pt x="198" y="553"/>
                    <a:pt x="194" y="558"/>
                  </a:cubicBezTo>
                  <a:cubicBezTo>
                    <a:pt x="192" y="561"/>
                    <a:pt x="189" y="563"/>
                    <a:pt x="185" y="562"/>
                  </a:cubicBezTo>
                  <a:cubicBezTo>
                    <a:pt x="182" y="561"/>
                    <a:pt x="182" y="558"/>
                    <a:pt x="182" y="556"/>
                  </a:cubicBezTo>
                  <a:cubicBezTo>
                    <a:pt x="180" y="539"/>
                    <a:pt x="179" y="539"/>
                    <a:pt x="162" y="539"/>
                  </a:cubicBezTo>
                  <a:cubicBezTo>
                    <a:pt x="151" y="539"/>
                    <a:pt x="150" y="540"/>
                    <a:pt x="150" y="551"/>
                  </a:cubicBezTo>
                  <a:cubicBezTo>
                    <a:pt x="150" y="579"/>
                    <a:pt x="150" y="607"/>
                    <a:pt x="150" y="635"/>
                  </a:cubicBezTo>
                  <a:cubicBezTo>
                    <a:pt x="150" y="658"/>
                    <a:pt x="149" y="682"/>
                    <a:pt x="150" y="705"/>
                  </a:cubicBezTo>
                  <a:close/>
                  <a:moveTo>
                    <a:pt x="1011" y="1049"/>
                  </a:moveTo>
                  <a:cubicBezTo>
                    <a:pt x="1011" y="1008"/>
                    <a:pt x="1011" y="966"/>
                    <a:pt x="1011" y="924"/>
                  </a:cubicBezTo>
                  <a:cubicBezTo>
                    <a:pt x="1011" y="913"/>
                    <a:pt x="1008" y="910"/>
                    <a:pt x="997" y="910"/>
                  </a:cubicBezTo>
                  <a:cubicBezTo>
                    <a:pt x="995" y="910"/>
                    <a:pt x="992" y="910"/>
                    <a:pt x="990" y="910"/>
                  </a:cubicBezTo>
                  <a:cubicBezTo>
                    <a:pt x="976" y="910"/>
                    <a:pt x="975" y="911"/>
                    <a:pt x="975" y="926"/>
                  </a:cubicBezTo>
                  <a:cubicBezTo>
                    <a:pt x="975" y="1006"/>
                    <a:pt x="975" y="1085"/>
                    <a:pt x="975" y="1165"/>
                  </a:cubicBezTo>
                  <a:cubicBezTo>
                    <a:pt x="975" y="1185"/>
                    <a:pt x="975" y="1185"/>
                    <a:pt x="994" y="1185"/>
                  </a:cubicBezTo>
                  <a:cubicBezTo>
                    <a:pt x="1009" y="1185"/>
                    <a:pt x="1011" y="1184"/>
                    <a:pt x="1011" y="1169"/>
                  </a:cubicBezTo>
                  <a:cubicBezTo>
                    <a:pt x="1011" y="1129"/>
                    <a:pt x="1011" y="1089"/>
                    <a:pt x="1011" y="1049"/>
                  </a:cubicBezTo>
                  <a:cubicBezTo>
                    <a:pt x="1011" y="1049"/>
                    <a:pt x="1011" y="1049"/>
                    <a:pt x="1011" y="1049"/>
                  </a:cubicBezTo>
                  <a:close/>
                  <a:moveTo>
                    <a:pt x="296" y="176"/>
                  </a:moveTo>
                  <a:cubicBezTo>
                    <a:pt x="296" y="201"/>
                    <a:pt x="296" y="226"/>
                    <a:pt x="296" y="251"/>
                  </a:cubicBezTo>
                  <a:cubicBezTo>
                    <a:pt x="295" y="276"/>
                    <a:pt x="296" y="274"/>
                    <a:pt x="318" y="274"/>
                  </a:cubicBezTo>
                  <a:cubicBezTo>
                    <a:pt x="330" y="274"/>
                    <a:pt x="331" y="274"/>
                    <a:pt x="331" y="260"/>
                  </a:cubicBezTo>
                  <a:cubicBezTo>
                    <a:pt x="331" y="232"/>
                    <a:pt x="331" y="204"/>
                    <a:pt x="331" y="176"/>
                  </a:cubicBezTo>
                  <a:cubicBezTo>
                    <a:pt x="331" y="165"/>
                    <a:pt x="331" y="155"/>
                    <a:pt x="337" y="145"/>
                  </a:cubicBezTo>
                  <a:cubicBezTo>
                    <a:pt x="349" y="123"/>
                    <a:pt x="359" y="117"/>
                    <a:pt x="377" y="118"/>
                  </a:cubicBezTo>
                  <a:cubicBezTo>
                    <a:pt x="383" y="118"/>
                    <a:pt x="389" y="119"/>
                    <a:pt x="395" y="120"/>
                  </a:cubicBezTo>
                  <a:cubicBezTo>
                    <a:pt x="401" y="120"/>
                    <a:pt x="407" y="118"/>
                    <a:pt x="408" y="112"/>
                  </a:cubicBezTo>
                  <a:cubicBezTo>
                    <a:pt x="409" y="103"/>
                    <a:pt x="415" y="93"/>
                    <a:pt x="407" y="85"/>
                  </a:cubicBezTo>
                  <a:cubicBezTo>
                    <a:pt x="406" y="84"/>
                    <a:pt x="404" y="84"/>
                    <a:pt x="402" y="84"/>
                  </a:cubicBezTo>
                  <a:cubicBezTo>
                    <a:pt x="376" y="78"/>
                    <a:pt x="353" y="82"/>
                    <a:pt x="337" y="106"/>
                  </a:cubicBezTo>
                  <a:cubicBezTo>
                    <a:pt x="336" y="108"/>
                    <a:pt x="335" y="110"/>
                    <a:pt x="333" y="109"/>
                  </a:cubicBezTo>
                  <a:cubicBezTo>
                    <a:pt x="331" y="109"/>
                    <a:pt x="330" y="107"/>
                    <a:pt x="330" y="105"/>
                  </a:cubicBezTo>
                  <a:cubicBezTo>
                    <a:pt x="329" y="101"/>
                    <a:pt x="329" y="97"/>
                    <a:pt x="328" y="94"/>
                  </a:cubicBezTo>
                  <a:cubicBezTo>
                    <a:pt x="325" y="85"/>
                    <a:pt x="318" y="82"/>
                    <a:pt x="303" y="84"/>
                  </a:cubicBezTo>
                  <a:cubicBezTo>
                    <a:pt x="297" y="84"/>
                    <a:pt x="295" y="86"/>
                    <a:pt x="295" y="92"/>
                  </a:cubicBezTo>
                  <a:cubicBezTo>
                    <a:pt x="296" y="120"/>
                    <a:pt x="295" y="148"/>
                    <a:pt x="295" y="176"/>
                  </a:cubicBezTo>
                  <a:cubicBezTo>
                    <a:pt x="296" y="176"/>
                    <a:pt x="296" y="176"/>
                    <a:pt x="296" y="176"/>
                  </a:cubicBezTo>
                  <a:close/>
                  <a:moveTo>
                    <a:pt x="946" y="179"/>
                  </a:moveTo>
                  <a:cubicBezTo>
                    <a:pt x="946" y="197"/>
                    <a:pt x="946" y="215"/>
                    <a:pt x="946" y="234"/>
                  </a:cubicBezTo>
                  <a:cubicBezTo>
                    <a:pt x="946" y="248"/>
                    <a:pt x="951" y="260"/>
                    <a:pt x="963" y="268"/>
                  </a:cubicBezTo>
                  <a:cubicBezTo>
                    <a:pt x="982" y="280"/>
                    <a:pt x="1011" y="277"/>
                    <a:pt x="1029" y="264"/>
                  </a:cubicBezTo>
                  <a:cubicBezTo>
                    <a:pt x="1036" y="259"/>
                    <a:pt x="1036" y="254"/>
                    <a:pt x="1032" y="248"/>
                  </a:cubicBezTo>
                  <a:cubicBezTo>
                    <a:pt x="1026" y="239"/>
                    <a:pt x="1020" y="238"/>
                    <a:pt x="1013" y="242"/>
                  </a:cubicBezTo>
                  <a:cubicBezTo>
                    <a:pt x="996" y="252"/>
                    <a:pt x="978" y="243"/>
                    <a:pt x="978" y="223"/>
                  </a:cubicBezTo>
                  <a:cubicBezTo>
                    <a:pt x="978" y="190"/>
                    <a:pt x="978" y="157"/>
                    <a:pt x="978" y="123"/>
                  </a:cubicBezTo>
                  <a:cubicBezTo>
                    <a:pt x="978" y="116"/>
                    <a:pt x="981" y="113"/>
                    <a:pt x="988" y="113"/>
                  </a:cubicBezTo>
                  <a:cubicBezTo>
                    <a:pt x="999" y="114"/>
                    <a:pt x="1011" y="113"/>
                    <a:pt x="1022" y="113"/>
                  </a:cubicBezTo>
                  <a:cubicBezTo>
                    <a:pt x="1028" y="113"/>
                    <a:pt x="1033" y="112"/>
                    <a:pt x="1033" y="104"/>
                  </a:cubicBezTo>
                  <a:cubicBezTo>
                    <a:pt x="1033" y="96"/>
                    <a:pt x="1032" y="90"/>
                    <a:pt x="1022" y="90"/>
                  </a:cubicBezTo>
                  <a:cubicBezTo>
                    <a:pt x="1011" y="90"/>
                    <a:pt x="1001" y="90"/>
                    <a:pt x="990" y="90"/>
                  </a:cubicBezTo>
                  <a:cubicBezTo>
                    <a:pt x="981" y="91"/>
                    <a:pt x="977" y="88"/>
                    <a:pt x="978" y="78"/>
                  </a:cubicBezTo>
                  <a:cubicBezTo>
                    <a:pt x="978" y="64"/>
                    <a:pt x="978" y="49"/>
                    <a:pt x="978" y="35"/>
                  </a:cubicBezTo>
                  <a:cubicBezTo>
                    <a:pt x="978" y="30"/>
                    <a:pt x="978" y="25"/>
                    <a:pt x="971" y="24"/>
                  </a:cubicBezTo>
                  <a:cubicBezTo>
                    <a:pt x="964" y="24"/>
                    <a:pt x="956" y="24"/>
                    <a:pt x="955" y="32"/>
                  </a:cubicBezTo>
                  <a:cubicBezTo>
                    <a:pt x="952" y="43"/>
                    <a:pt x="949" y="54"/>
                    <a:pt x="949" y="65"/>
                  </a:cubicBezTo>
                  <a:cubicBezTo>
                    <a:pt x="948" y="88"/>
                    <a:pt x="947" y="88"/>
                    <a:pt x="924" y="91"/>
                  </a:cubicBezTo>
                  <a:cubicBezTo>
                    <a:pt x="919" y="92"/>
                    <a:pt x="914" y="92"/>
                    <a:pt x="914" y="99"/>
                  </a:cubicBezTo>
                  <a:cubicBezTo>
                    <a:pt x="915" y="107"/>
                    <a:pt x="917" y="113"/>
                    <a:pt x="926" y="113"/>
                  </a:cubicBezTo>
                  <a:cubicBezTo>
                    <a:pt x="929" y="114"/>
                    <a:pt x="932" y="113"/>
                    <a:pt x="935" y="113"/>
                  </a:cubicBezTo>
                  <a:cubicBezTo>
                    <a:pt x="943" y="113"/>
                    <a:pt x="946" y="116"/>
                    <a:pt x="946" y="124"/>
                  </a:cubicBezTo>
                  <a:cubicBezTo>
                    <a:pt x="946" y="142"/>
                    <a:pt x="946" y="161"/>
                    <a:pt x="946" y="179"/>
                  </a:cubicBezTo>
                  <a:cubicBezTo>
                    <a:pt x="946" y="179"/>
                    <a:pt x="946" y="179"/>
                    <a:pt x="946" y="179"/>
                  </a:cubicBezTo>
                  <a:close/>
                </a:path>
              </a:pathLst>
            </a:custGeom>
            <a:solidFill>
              <a:srgbClr val="4C505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grpSp>
          <p:nvGrpSpPr>
            <p:cNvPr id="18" name="Group 4">
              <a:extLst>
                <a:ext uri="{FF2B5EF4-FFF2-40B4-BE49-F238E27FC236}">
                  <a16:creationId xmlns:a16="http://schemas.microsoft.com/office/drawing/2014/main" id="{57BD2C4C-DC67-B843-B26C-309622FC75F7}"/>
                </a:ext>
              </a:extLst>
            </p:cNvPr>
            <p:cNvGrpSpPr>
              <a:grpSpLocks noChangeAspect="1"/>
            </p:cNvGrpSpPr>
            <p:nvPr/>
          </p:nvGrpSpPr>
          <p:grpSpPr bwMode="gray">
            <a:xfrm>
              <a:off x="334963" y="296652"/>
              <a:ext cx="538094" cy="540000"/>
              <a:chOff x="2711" y="1027"/>
              <a:chExt cx="2258" cy="2266"/>
            </a:xfrm>
          </p:grpSpPr>
          <p:sp>
            <p:nvSpPr>
              <p:cNvPr id="19" name="AutoShape 3">
                <a:extLst>
                  <a:ext uri="{FF2B5EF4-FFF2-40B4-BE49-F238E27FC236}">
                    <a16:creationId xmlns:a16="http://schemas.microsoft.com/office/drawing/2014/main" id="{FE1DC41B-291E-574C-9F2C-874E70A40758}"/>
                  </a:ext>
                </a:extLst>
              </p:cNvPr>
              <p:cNvSpPr>
                <a:spLocks noChangeAspect="1" noChangeArrowheads="1" noTextEdit="1"/>
              </p:cNvSpPr>
              <p:nvPr/>
            </p:nvSpPr>
            <p:spPr bwMode="gray">
              <a:xfrm>
                <a:off x="2711" y="1027"/>
                <a:ext cx="2258" cy="22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sp>
            <p:nvSpPr>
              <p:cNvPr id="20" name="Freeform 5">
                <a:extLst>
                  <a:ext uri="{FF2B5EF4-FFF2-40B4-BE49-F238E27FC236}">
                    <a16:creationId xmlns:a16="http://schemas.microsoft.com/office/drawing/2014/main" id="{D4B633C8-F761-C54B-9BD2-EB59D49A2DBC}"/>
                  </a:ext>
                </a:extLst>
              </p:cNvPr>
              <p:cNvSpPr>
                <a:spLocks/>
              </p:cNvSpPr>
              <p:nvPr/>
            </p:nvSpPr>
            <p:spPr bwMode="gray">
              <a:xfrm>
                <a:off x="2709" y="1029"/>
                <a:ext cx="2260" cy="2262"/>
              </a:xfrm>
              <a:custGeom>
                <a:avLst/>
                <a:gdLst>
                  <a:gd name="T0" fmla="*/ 2260 w 2260"/>
                  <a:gd name="T1" fmla="*/ 0 h 2262"/>
                  <a:gd name="T2" fmla="*/ 1612 w 2260"/>
                  <a:gd name="T3" fmla="*/ 649 h 2262"/>
                  <a:gd name="T4" fmla="*/ 1612 w 2260"/>
                  <a:gd name="T5" fmla="*/ 649 h 2262"/>
                  <a:gd name="T6" fmla="*/ 2035 w 2260"/>
                  <a:gd name="T7" fmla="*/ 0 h 2262"/>
                  <a:gd name="T8" fmla="*/ 0 w 2260"/>
                  <a:gd name="T9" fmla="*/ 0 h 2262"/>
                  <a:gd name="T10" fmla="*/ 0 w 2260"/>
                  <a:gd name="T11" fmla="*/ 2262 h 2262"/>
                  <a:gd name="T12" fmla="*/ 2260 w 2260"/>
                  <a:gd name="T13" fmla="*/ 2262 h 2262"/>
                  <a:gd name="T14" fmla="*/ 2260 w 2260"/>
                  <a:gd name="T15" fmla="*/ 0 h 2262"/>
                  <a:gd name="T16" fmla="*/ 2260 w 2260"/>
                  <a:gd name="T17" fmla="*/ 0 h 2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0" h="2262">
                    <a:moveTo>
                      <a:pt x="2260" y="0"/>
                    </a:moveTo>
                    <a:lnTo>
                      <a:pt x="1612" y="649"/>
                    </a:lnTo>
                    <a:lnTo>
                      <a:pt x="1612" y="649"/>
                    </a:lnTo>
                    <a:lnTo>
                      <a:pt x="2035" y="0"/>
                    </a:lnTo>
                    <a:lnTo>
                      <a:pt x="0" y="0"/>
                    </a:lnTo>
                    <a:lnTo>
                      <a:pt x="0" y="2262"/>
                    </a:lnTo>
                    <a:lnTo>
                      <a:pt x="2260" y="2262"/>
                    </a:lnTo>
                    <a:lnTo>
                      <a:pt x="2260" y="0"/>
                    </a:lnTo>
                    <a:lnTo>
                      <a:pt x="2260" y="0"/>
                    </a:lnTo>
                    <a:close/>
                  </a:path>
                </a:pathLst>
              </a:custGeom>
              <a:solidFill>
                <a:srgbClr val="E55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sp>
            <p:nvSpPr>
              <p:cNvPr id="21" name="Freeform 6">
                <a:extLst>
                  <a:ext uri="{FF2B5EF4-FFF2-40B4-BE49-F238E27FC236}">
                    <a16:creationId xmlns:a16="http://schemas.microsoft.com/office/drawing/2014/main" id="{B16BAAE4-1A41-C843-9754-490F7A1E1270}"/>
                  </a:ext>
                </a:extLst>
              </p:cNvPr>
              <p:cNvSpPr>
                <a:spLocks noEditPoints="1"/>
              </p:cNvSpPr>
              <p:nvPr/>
            </p:nvSpPr>
            <p:spPr bwMode="gray">
              <a:xfrm>
                <a:off x="3623" y="1696"/>
                <a:ext cx="1167" cy="922"/>
              </a:xfrm>
              <a:custGeom>
                <a:avLst/>
                <a:gdLst>
                  <a:gd name="T0" fmla="*/ 411 w 580"/>
                  <a:gd name="T1" fmla="*/ 213 h 458"/>
                  <a:gd name="T2" fmla="*/ 570 w 580"/>
                  <a:gd name="T3" fmla="*/ 37 h 458"/>
                  <a:gd name="T4" fmla="*/ 580 w 580"/>
                  <a:gd name="T5" fmla="*/ 20 h 458"/>
                  <a:gd name="T6" fmla="*/ 545 w 580"/>
                  <a:gd name="T7" fmla="*/ 0 h 458"/>
                  <a:gd name="T8" fmla="*/ 519 w 580"/>
                  <a:gd name="T9" fmla="*/ 16 h 458"/>
                  <a:gd name="T10" fmla="*/ 344 w 580"/>
                  <a:gd name="T11" fmla="*/ 210 h 458"/>
                  <a:gd name="T12" fmla="*/ 334 w 580"/>
                  <a:gd name="T13" fmla="*/ 229 h 458"/>
                  <a:gd name="T14" fmla="*/ 344 w 580"/>
                  <a:gd name="T15" fmla="*/ 248 h 458"/>
                  <a:gd name="T16" fmla="*/ 519 w 580"/>
                  <a:gd name="T17" fmla="*/ 442 h 458"/>
                  <a:gd name="T18" fmla="*/ 545 w 580"/>
                  <a:gd name="T19" fmla="*/ 458 h 458"/>
                  <a:gd name="T20" fmla="*/ 580 w 580"/>
                  <a:gd name="T21" fmla="*/ 438 h 458"/>
                  <a:gd name="T22" fmla="*/ 570 w 580"/>
                  <a:gd name="T23" fmla="*/ 421 h 458"/>
                  <a:gd name="T24" fmla="*/ 411 w 580"/>
                  <a:gd name="T25" fmla="*/ 245 h 458"/>
                  <a:gd name="T26" fmla="*/ 399 w 580"/>
                  <a:gd name="T27" fmla="*/ 229 h 458"/>
                  <a:gd name="T28" fmla="*/ 411 w 580"/>
                  <a:gd name="T29" fmla="*/ 213 h 458"/>
                  <a:gd name="T30" fmla="*/ 252 w 580"/>
                  <a:gd name="T31" fmla="*/ 439 h 458"/>
                  <a:gd name="T32" fmla="*/ 281 w 580"/>
                  <a:gd name="T33" fmla="*/ 454 h 458"/>
                  <a:gd name="T34" fmla="*/ 309 w 580"/>
                  <a:gd name="T35" fmla="*/ 439 h 458"/>
                  <a:gd name="T36" fmla="*/ 309 w 580"/>
                  <a:gd name="T37" fmla="*/ 19 h 458"/>
                  <a:gd name="T38" fmla="*/ 281 w 580"/>
                  <a:gd name="T39" fmla="*/ 4 h 458"/>
                  <a:gd name="T40" fmla="*/ 252 w 580"/>
                  <a:gd name="T41" fmla="*/ 19 h 458"/>
                  <a:gd name="T42" fmla="*/ 252 w 580"/>
                  <a:gd name="T43" fmla="*/ 439 h 458"/>
                  <a:gd name="T44" fmla="*/ 0 w 580"/>
                  <a:gd name="T45" fmla="*/ 439 h 458"/>
                  <a:gd name="T46" fmla="*/ 28 w 580"/>
                  <a:gd name="T47" fmla="*/ 454 h 458"/>
                  <a:gd name="T48" fmla="*/ 56 w 580"/>
                  <a:gd name="T49" fmla="*/ 439 h 458"/>
                  <a:gd name="T50" fmla="*/ 56 w 580"/>
                  <a:gd name="T51" fmla="*/ 157 h 458"/>
                  <a:gd name="T52" fmla="*/ 165 w 580"/>
                  <a:gd name="T53" fmla="*/ 53 h 458"/>
                  <a:gd name="T54" fmla="*/ 180 w 580"/>
                  <a:gd name="T55" fmla="*/ 53 h 458"/>
                  <a:gd name="T56" fmla="*/ 196 w 580"/>
                  <a:gd name="T57" fmla="*/ 27 h 458"/>
                  <a:gd name="T58" fmla="*/ 154 w 580"/>
                  <a:gd name="T59" fmla="*/ 4 h 458"/>
                  <a:gd name="T60" fmla="*/ 0 w 580"/>
                  <a:gd name="T61" fmla="*/ 152 h 458"/>
                  <a:gd name="T62" fmla="*/ 0 w 580"/>
                  <a:gd name="T63" fmla="*/ 439 h 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80" h="458">
                    <a:moveTo>
                      <a:pt x="411" y="213"/>
                    </a:moveTo>
                    <a:cubicBezTo>
                      <a:pt x="570" y="37"/>
                      <a:pt x="570" y="37"/>
                      <a:pt x="570" y="37"/>
                    </a:cubicBezTo>
                    <a:cubicBezTo>
                      <a:pt x="576" y="30"/>
                      <a:pt x="580" y="25"/>
                      <a:pt x="580" y="20"/>
                    </a:cubicBezTo>
                    <a:cubicBezTo>
                      <a:pt x="580" y="10"/>
                      <a:pt x="559" y="0"/>
                      <a:pt x="545" y="0"/>
                    </a:cubicBezTo>
                    <a:cubicBezTo>
                      <a:pt x="535" y="0"/>
                      <a:pt x="526" y="8"/>
                      <a:pt x="519" y="16"/>
                    </a:cubicBezTo>
                    <a:cubicBezTo>
                      <a:pt x="344" y="210"/>
                      <a:pt x="344" y="210"/>
                      <a:pt x="344" y="210"/>
                    </a:cubicBezTo>
                    <a:cubicBezTo>
                      <a:pt x="336" y="219"/>
                      <a:pt x="334" y="224"/>
                      <a:pt x="334" y="229"/>
                    </a:cubicBezTo>
                    <a:cubicBezTo>
                      <a:pt x="334" y="234"/>
                      <a:pt x="336" y="239"/>
                      <a:pt x="344" y="248"/>
                    </a:cubicBezTo>
                    <a:cubicBezTo>
                      <a:pt x="519" y="442"/>
                      <a:pt x="519" y="442"/>
                      <a:pt x="519" y="442"/>
                    </a:cubicBezTo>
                    <a:cubicBezTo>
                      <a:pt x="526" y="450"/>
                      <a:pt x="535" y="458"/>
                      <a:pt x="545" y="458"/>
                    </a:cubicBezTo>
                    <a:cubicBezTo>
                      <a:pt x="559" y="458"/>
                      <a:pt x="580" y="448"/>
                      <a:pt x="580" y="438"/>
                    </a:cubicBezTo>
                    <a:cubicBezTo>
                      <a:pt x="580" y="433"/>
                      <a:pt x="576" y="428"/>
                      <a:pt x="570" y="421"/>
                    </a:cubicBezTo>
                    <a:cubicBezTo>
                      <a:pt x="411" y="245"/>
                      <a:pt x="411" y="245"/>
                      <a:pt x="411" y="245"/>
                    </a:cubicBezTo>
                    <a:cubicBezTo>
                      <a:pt x="403" y="236"/>
                      <a:pt x="399" y="232"/>
                      <a:pt x="399" y="229"/>
                    </a:cubicBezTo>
                    <a:cubicBezTo>
                      <a:pt x="399" y="226"/>
                      <a:pt x="403" y="222"/>
                      <a:pt x="411" y="213"/>
                    </a:cubicBezTo>
                    <a:moveTo>
                      <a:pt x="252" y="439"/>
                    </a:moveTo>
                    <a:cubicBezTo>
                      <a:pt x="252" y="449"/>
                      <a:pt x="261" y="454"/>
                      <a:pt x="281" y="454"/>
                    </a:cubicBezTo>
                    <a:cubicBezTo>
                      <a:pt x="300" y="454"/>
                      <a:pt x="309" y="449"/>
                      <a:pt x="309" y="439"/>
                    </a:cubicBezTo>
                    <a:cubicBezTo>
                      <a:pt x="309" y="19"/>
                      <a:pt x="309" y="19"/>
                      <a:pt x="309" y="19"/>
                    </a:cubicBezTo>
                    <a:cubicBezTo>
                      <a:pt x="309" y="9"/>
                      <a:pt x="300" y="4"/>
                      <a:pt x="281" y="4"/>
                    </a:cubicBezTo>
                    <a:cubicBezTo>
                      <a:pt x="261" y="4"/>
                      <a:pt x="252" y="9"/>
                      <a:pt x="252" y="19"/>
                    </a:cubicBezTo>
                    <a:lnTo>
                      <a:pt x="252" y="439"/>
                    </a:lnTo>
                    <a:close/>
                    <a:moveTo>
                      <a:pt x="0" y="439"/>
                    </a:moveTo>
                    <a:cubicBezTo>
                      <a:pt x="0" y="449"/>
                      <a:pt x="8" y="454"/>
                      <a:pt x="28" y="454"/>
                    </a:cubicBezTo>
                    <a:cubicBezTo>
                      <a:pt x="48" y="454"/>
                      <a:pt x="56" y="449"/>
                      <a:pt x="56" y="439"/>
                    </a:cubicBezTo>
                    <a:cubicBezTo>
                      <a:pt x="56" y="157"/>
                      <a:pt x="56" y="157"/>
                      <a:pt x="56" y="157"/>
                    </a:cubicBezTo>
                    <a:cubicBezTo>
                      <a:pt x="56" y="83"/>
                      <a:pt x="85" y="53"/>
                      <a:pt x="165" y="53"/>
                    </a:cubicBezTo>
                    <a:cubicBezTo>
                      <a:pt x="180" y="53"/>
                      <a:pt x="180" y="53"/>
                      <a:pt x="180" y="53"/>
                    </a:cubicBezTo>
                    <a:cubicBezTo>
                      <a:pt x="192" y="53"/>
                      <a:pt x="196" y="43"/>
                      <a:pt x="196" y="27"/>
                    </a:cubicBezTo>
                    <a:cubicBezTo>
                      <a:pt x="196" y="8"/>
                      <a:pt x="185" y="4"/>
                      <a:pt x="154" y="4"/>
                    </a:cubicBezTo>
                    <a:cubicBezTo>
                      <a:pt x="64" y="4"/>
                      <a:pt x="0" y="43"/>
                      <a:pt x="0" y="152"/>
                    </a:cubicBezTo>
                    <a:lnTo>
                      <a:pt x="0" y="43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sp>
            <p:nvSpPr>
              <p:cNvPr id="22" name="Freeform 7">
                <a:extLst>
                  <a:ext uri="{FF2B5EF4-FFF2-40B4-BE49-F238E27FC236}">
                    <a16:creationId xmlns:a16="http://schemas.microsoft.com/office/drawing/2014/main" id="{2F32DCBD-8628-F245-85CD-97686A20ECFD}"/>
                  </a:ext>
                </a:extLst>
              </p:cNvPr>
              <p:cNvSpPr>
                <a:spLocks/>
              </p:cNvSpPr>
              <p:nvPr/>
            </p:nvSpPr>
            <p:spPr bwMode="gray">
              <a:xfrm>
                <a:off x="2880" y="1704"/>
                <a:ext cx="618" cy="916"/>
              </a:xfrm>
              <a:custGeom>
                <a:avLst/>
                <a:gdLst>
                  <a:gd name="T0" fmla="*/ 307 w 307"/>
                  <a:gd name="T1" fmla="*/ 405 h 455"/>
                  <a:gd name="T2" fmla="*/ 307 w 307"/>
                  <a:gd name="T3" fmla="*/ 244 h 455"/>
                  <a:gd name="T4" fmla="*/ 279 w 307"/>
                  <a:gd name="T5" fmla="*/ 229 h 455"/>
                  <a:gd name="T6" fmla="*/ 250 w 307"/>
                  <a:gd name="T7" fmla="*/ 244 h 455"/>
                  <a:gd name="T8" fmla="*/ 250 w 307"/>
                  <a:gd name="T9" fmla="*/ 378 h 455"/>
                  <a:gd name="T10" fmla="*/ 199 w 307"/>
                  <a:gd name="T11" fmla="*/ 408 h 455"/>
                  <a:gd name="T12" fmla="*/ 61 w 307"/>
                  <a:gd name="T13" fmla="*/ 231 h 455"/>
                  <a:gd name="T14" fmla="*/ 238 w 307"/>
                  <a:gd name="T15" fmla="*/ 49 h 455"/>
                  <a:gd name="T16" fmla="*/ 270 w 307"/>
                  <a:gd name="T17" fmla="*/ 49 h 455"/>
                  <a:gd name="T18" fmla="*/ 286 w 307"/>
                  <a:gd name="T19" fmla="*/ 23 h 455"/>
                  <a:gd name="T20" fmla="*/ 244 w 307"/>
                  <a:gd name="T21" fmla="*/ 0 h 455"/>
                  <a:gd name="T22" fmla="*/ 231 w 307"/>
                  <a:gd name="T23" fmla="*/ 0 h 455"/>
                  <a:gd name="T24" fmla="*/ 0 w 307"/>
                  <a:gd name="T25" fmla="*/ 232 h 455"/>
                  <a:gd name="T26" fmla="*/ 198 w 307"/>
                  <a:gd name="T27" fmla="*/ 455 h 455"/>
                  <a:gd name="T28" fmla="*/ 307 w 307"/>
                  <a:gd name="T29" fmla="*/ 405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7" h="455">
                    <a:moveTo>
                      <a:pt x="307" y="405"/>
                    </a:moveTo>
                    <a:cubicBezTo>
                      <a:pt x="307" y="244"/>
                      <a:pt x="307" y="244"/>
                      <a:pt x="307" y="244"/>
                    </a:cubicBezTo>
                    <a:cubicBezTo>
                      <a:pt x="307" y="234"/>
                      <a:pt x="298" y="229"/>
                      <a:pt x="279" y="229"/>
                    </a:cubicBezTo>
                    <a:cubicBezTo>
                      <a:pt x="259" y="229"/>
                      <a:pt x="250" y="234"/>
                      <a:pt x="250" y="244"/>
                    </a:cubicBezTo>
                    <a:cubicBezTo>
                      <a:pt x="250" y="378"/>
                      <a:pt x="250" y="378"/>
                      <a:pt x="250" y="378"/>
                    </a:cubicBezTo>
                    <a:cubicBezTo>
                      <a:pt x="250" y="399"/>
                      <a:pt x="241" y="408"/>
                      <a:pt x="199" y="408"/>
                    </a:cubicBezTo>
                    <a:cubicBezTo>
                      <a:pt x="114" y="408"/>
                      <a:pt x="61" y="342"/>
                      <a:pt x="61" y="231"/>
                    </a:cubicBezTo>
                    <a:cubicBezTo>
                      <a:pt x="61" y="115"/>
                      <a:pt x="126" y="49"/>
                      <a:pt x="238" y="49"/>
                    </a:cubicBezTo>
                    <a:cubicBezTo>
                      <a:pt x="270" y="49"/>
                      <a:pt x="270" y="49"/>
                      <a:pt x="270" y="49"/>
                    </a:cubicBezTo>
                    <a:cubicBezTo>
                      <a:pt x="282" y="49"/>
                      <a:pt x="286" y="39"/>
                      <a:pt x="286" y="23"/>
                    </a:cubicBezTo>
                    <a:cubicBezTo>
                      <a:pt x="286" y="4"/>
                      <a:pt x="275" y="0"/>
                      <a:pt x="244" y="0"/>
                    </a:cubicBezTo>
                    <a:cubicBezTo>
                      <a:pt x="231" y="0"/>
                      <a:pt x="231" y="0"/>
                      <a:pt x="231" y="0"/>
                    </a:cubicBezTo>
                    <a:cubicBezTo>
                      <a:pt x="101" y="0"/>
                      <a:pt x="0" y="71"/>
                      <a:pt x="0" y="232"/>
                    </a:cubicBezTo>
                    <a:cubicBezTo>
                      <a:pt x="0" y="386"/>
                      <a:pt x="88" y="455"/>
                      <a:pt x="198" y="455"/>
                    </a:cubicBezTo>
                    <a:cubicBezTo>
                      <a:pt x="286" y="455"/>
                      <a:pt x="307" y="430"/>
                      <a:pt x="307" y="40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sp>
            <p:nvSpPr>
              <p:cNvPr id="23" name="Oval 8">
                <a:extLst>
                  <a:ext uri="{FF2B5EF4-FFF2-40B4-BE49-F238E27FC236}">
                    <a16:creationId xmlns:a16="http://schemas.microsoft.com/office/drawing/2014/main" id="{60D97C11-1A3B-5449-A48D-98A3E79B3810}"/>
                  </a:ext>
                </a:extLst>
              </p:cNvPr>
              <p:cNvSpPr>
                <a:spLocks noChangeArrowheads="1"/>
              </p:cNvSpPr>
              <p:nvPr/>
            </p:nvSpPr>
            <p:spPr bwMode="gray">
              <a:xfrm>
                <a:off x="3778" y="2099"/>
                <a:ext cx="122" cy="12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sp>
            <p:nvSpPr>
              <p:cNvPr id="24" name="Freeform 9">
                <a:extLst>
                  <a:ext uri="{FF2B5EF4-FFF2-40B4-BE49-F238E27FC236}">
                    <a16:creationId xmlns:a16="http://schemas.microsoft.com/office/drawing/2014/main" id="{5856770D-B8F0-244E-A05D-AED190086F10}"/>
                  </a:ext>
                </a:extLst>
              </p:cNvPr>
              <p:cNvSpPr>
                <a:spLocks noEditPoints="1"/>
              </p:cNvSpPr>
              <p:nvPr/>
            </p:nvSpPr>
            <p:spPr bwMode="gray">
              <a:xfrm>
                <a:off x="3623" y="1696"/>
                <a:ext cx="1167" cy="922"/>
              </a:xfrm>
              <a:custGeom>
                <a:avLst/>
                <a:gdLst>
                  <a:gd name="T0" fmla="*/ 411 w 580"/>
                  <a:gd name="T1" fmla="*/ 213 h 458"/>
                  <a:gd name="T2" fmla="*/ 570 w 580"/>
                  <a:gd name="T3" fmla="*/ 37 h 458"/>
                  <a:gd name="T4" fmla="*/ 580 w 580"/>
                  <a:gd name="T5" fmla="*/ 20 h 458"/>
                  <a:gd name="T6" fmla="*/ 545 w 580"/>
                  <a:gd name="T7" fmla="*/ 0 h 458"/>
                  <a:gd name="T8" fmla="*/ 519 w 580"/>
                  <a:gd name="T9" fmla="*/ 16 h 458"/>
                  <a:gd name="T10" fmla="*/ 344 w 580"/>
                  <a:gd name="T11" fmla="*/ 210 h 458"/>
                  <a:gd name="T12" fmla="*/ 334 w 580"/>
                  <a:gd name="T13" fmla="*/ 229 h 458"/>
                  <a:gd name="T14" fmla="*/ 344 w 580"/>
                  <a:gd name="T15" fmla="*/ 248 h 458"/>
                  <a:gd name="T16" fmla="*/ 519 w 580"/>
                  <a:gd name="T17" fmla="*/ 442 h 458"/>
                  <a:gd name="T18" fmla="*/ 545 w 580"/>
                  <a:gd name="T19" fmla="*/ 458 h 458"/>
                  <a:gd name="T20" fmla="*/ 580 w 580"/>
                  <a:gd name="T21" fmla="*/ 438 h 458"/>
                  <a:gd name="T22" fmla="*/ 570 w 580"/>
                  <a:gd name="T23" fmla="*/ 421 h 458"/>
                  <a:gd name="T24" fmla="*/ 411 w 580"/>
                  <a:gd name="T25" fmla="*/ 245 h 458"/>
                  <a:gd name="T26" fmla="*/ 399 w 580"/>
                  <a:gd name="T27" fmla="*/ 229 h 458"/>
                  <a:gd name="T28" fmla="*/ 411 w 580"/>
                  <a:gd name="T29" fmla="*/ 213 h 458"/>
                  <a:gd name="T30" fmla="*/ 252 w 580"/>
                  <a:gd name="T31" fmla="*/ 439 h 458"/>
                  <a:gd name="T32" fmla="*/ 281 w 580"/>
                  <a:gd name="T33" fmla="*/ 454 h 458"/>
                  <a:gd name="T34" fmla="*/ 309 w 580"/>
                  <a:gd name="T35" fmla="*/ 439 h 458"/>
                  <a:gd name="T36" fmla="*/ 309 w 580"/>
                  <a:gd name="T37" fmla="*/ 19 h 458"/>
                  <a:gd name="T38" fmla="*/ 281 w 580"/>
                  <a:gd name="T39" fmla="*/ 4 h 458"/>
                  <a:gd name="T40" fmla="*/ 252 w 580"/>
                  <a:gd name="T41" fmla="*/ 19 h 458"/>
                  <a:gd name="T42" fmla="*/ 252 w 580"/>
                  <a:gd name="T43" fmla="*/ 439 h 458"/>
                  <a:gd name="T44" fmla="*/ 0 w 580"/>
                  <a:gd name="T45" fmla="*/ 439 h 458"/>
                  <a:gd name="T46" fmla="*/ 28 w 580"/>
                  <a:gd name="T47" fmla="*/ 454 h 458"/>
                  <a:gd name="T48" fmla="*/ 56 w 580"/>
                  <a:gd name="T49" fmla="*/ 439 h 458"/>
                  <a:gd name="T50" fmla="*/ 56 w 580"/>
                  <a:gd name="T51" fmla="*/ 157 h 458"/>
                  <a:gd name="T52" fmla="*/ 165 w 580"/>
                  <a:gd name="T53" fmla="*/ 53 h 458"/>
                  <a:gd name="T54" fmla="*/ 180 w 580"/>
                  <a:gd name="T55" fmla="*/ 53 h 458"/>
                  <a:gd name="T56" fmla="*/ 196 w 580"/>
                  <a:gd name="T57" fmla="*/ 27 h 458"/>
                  <a:gd name="T58" fmla="*/ 154 w 580"/>
                  <a:gd name="T59" fmla="*/ 4 h 458"/>
                  <a:gd name="T60" fmla="*/ 0 w 580"/>
                  <a:gd name="T61" fmla="*/ 152 h 458"/>
                  <a:gd name="T62" fmla="*/ 0 w 580"/>
                  <a:gd name="T63" fmla="*/ 439 h 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80" h="458">
                    <a:moveTo>
                      <a:pt x="411" y="213"/>
                    </a:moveTo>
                    <a:cubicBezTo>
                      <a:pt x="570" y="37"/>
                      <a:pt x="570" y="37"/>
                      <a:pt x="570" y="37"/>
                    </a:cubicBezTo>
                    <a:cubicBezTo>
                      <a:pt x="576" y="30"/>
                      <a:pt x="580" y="25"/>
                      <a:pt x="580" y="20"/>
                    </a:cubicBezTo>
                    <a:cubicBezTo>
                      <a:pt x="580" y="10"/>
                      <a:pt x="559" y="0"/>
                      <a:pt x="545" y="0"/>
                    </a:cubicBezTo>
                    <a:cubicBezTo>
                      <a:pt x="535" y="0"/>
                      <a:pt x="526" y="8"/>
                      <a:pt x="519" y="16"/>
                    </a:cubicBezTo>
                    <a:cubicBezTo>
                      <a:pt x="344" y="210"/>
                      <a:pt x="344" y="210"/>
                      <a:pt x="344" y="210"/>
                    </a:cubicBezTo>
                    <a:cubicBezTo>
                      <a:pt x="336" y="219"/>
                      <a:pt x="334" y="224"/>
                      <a:pt x="334" y="229"/>
                    </a:cubicBezTo>
                    <a:cubicBezTo>
                      <a:pt x="334" y="234"/>
                      <a:pt x="336" y="239"/>
                      <a:pt x="344" y="248"/>
                    </a:cubicBezTo>
                    <a:cubicBezTo>
                      <a:pt x="519" y="442"/>
                      <a:pt x="519" y="442"/>
                      <a:pt x="519" y="442"/>
                    </a:cubicBezTo>
                    <a:cubicBezTo>
                      <a:pt x="526" y="450"/>
                      <a:pt x="535" y="458"/>
                      <a:pt x="545" y="458"/>
                    </a:cubicBezTo>
                    <a:cubicBezTo>
                      <a:pt x="559" y="458"/>
                      <a:pt x="580" y="448"/>
                      <a:pt x="580" y="438"/>
                    </a:cubicBezTo>
                    <a:cubicBezTo>
                      <a:pt x="580" y="433"/>
                      <a:pt x="576" y="428"/>
                      <a:pt x="570" y="421"/>
                    </a:cubicBezTo>
                    <a:cubicBezTo>
                      <a:pt x="411" y="245"/>
                      <a:pt x="411" y="245"/>
                      <a:pt x="411" y="245"/>
                    </a:cubicBezTo>
                    <a:cubicBezTo>
                      <a:pt x="403" y="236"/>
                      <a:pt x="399" y="232"/>
                      <a:pt x="399" y="229"/>
                    </a:cubicBezTo>
                    <a:cubicBezTo>
                      <a:pt x="399" y="226"/>
                      <a:pt x="403" y="222"/>
                      <a:pt x="411" y="213"/>
                    </a:cubicBezTo>
                    <a:moveTo>
                      <a:pt x="252" y="439"/>
                    </a:moveTo>
                    <a:cubicBezTo>
                      <a:pt x="252" y="449"/>
                      <a:pt x="261" y="454"/>
                      <a:pt x="281" y="454"/>
                    </a:cubicBezTo>
                    <a:cubicBezTo>
                      <a:pt x="300" y="454"/>
                      <a:pt x="309" y="449"/>
                      <a:pt x="309" y="439"/>
                    </a:cubicBezTo>
                    <a:cubicBezTo>
                      <a:pt x="309" y="19"/>
                      <a:pt x="309" y="19"/>
                      <a:pt x="309" y="19"/>
                    </a:cubicBezTo>
                    <a:cubicBezTo>
                      <a:pt x="309" y="9"/>
                      <a:pt x="300" y="4"/>
                      <a:pt x="281" y="4"/>
                    </a:cubicBezTo>
                    <a:cubicBezTo>
                      <a:pt x="261" y="4"/>
                      <a:pt x="252" y="9"/>
                      <a:pt x="252" y="19"/>
                    </a:cubicBezTo>
                    <a:lnTo>
                      <a:pt x="252" y="439"/>
                    </a:lnTo>
                    <a:close/>
                    <a:moveTo>
                      <a:pt x="0" y="439"/>
                    </a:moveTo>
                    <a:cubicBezTo>
                      <a:pt x="0" y="449"/>
                      <a:pt x="8" y="454"/>
                      <a:pt x="28" y="454"/>
                    </a:cubicBezTo>
                    <a:cubicBezTo>
                      <a:pt x="48" y="454"/>
                      <a:pt x="56" y="449"/>
                      <a:pt x="56" y="439"/>
                    </a:cubicBezTo>
                    <a:cubicBezTo>
                      <a:pt x="56" y="157"/>
                      <a:pt x="56" y="157"/>
                      <a:pt x="56" y="157"/>
                    </a:cubicBezTo>
                    <a:cubicBezTo>
                      <a:pt x="56" y="83"/>
                      <a:pt x="85" y="53"/>
                      <a:pt x="165" y="53"/>
                    </a:cubicBezTo>
                    <a:cubicBezTo>
                      <a:pt x="180" y="53"/>
                      <a:pt x="180" y="53"/>
                      <a:pt x="180" y="53"/>
                    </a:cubicBezTo>
                    <a:cubicBezTo>
                      <a:pt x="192" y="53"/>
                      <a:pt x="196" y="43"/>
                      <a:pt x="196" y="27"/>
                    </a:cubicBezTo>
                    <a:cubicBezTo>
                      <a:pt x="196" y="8"/>
                      <a:pt x="185" y="4"/>
                      <a:pt x="154" y="4"/>
                    </a:cubicBezTo>
                    <a:cubicBezTo>
                      <a:pt x="64" y="4"/>
                      <a:pt x="0" y="43"/>
                      <a:pt x="0" y="152"/>
                    </a:cubicBezTo>
                    <a:lnTo>
                      <a:pt x="0" y="43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sp>
            <p:nvSpPr>
              <p:cNvPr id="25" name="Freeform 10">
                <a:extLst>
                  <a:ext uri="{FF2B5EF4-FFF2-40B4-BE49-F238E27FC236}">
                    <a16:creationId xmlns:a16="http://schemas.microsoft.com/office/drawing/2014/main" id="{2B91B16B-BC11-E547-8FAC-B9B8D18EA449}"/>
                  </a:ext>
                </a:extLst>
              </p:cNvPr>
              <p:cNvSpPr>
                <a:spLocks/>
              </p:cNvSpPr>
              <p:nvPr/>
            </p:nvSpPr>
            <p:spPr bwMode="gray">
              <a:xfrm>
                <a:off x="2880" y="1704"/>
                <a:ext cx="618" cy="916"/>
              </a:xfrm>
              <a:custGeom>
                <a:avLst/>
                <a:gdLst>
                  <a:gd name="T0" fmla="*/ 307 w 307"/>
                  <a:gd name="T1" fmla="*/ 405 h 455"/>
                  <a:gd name="T2" fmla="*/ 307 w 307"/>
                  <a:gd name="T3" fmla="*/ 244 h 455"/>
                  <a:gd name="T4" fmla="*/ 279 w 307"/>
                  <a:gd name="T5" fmla="*/ 229 h 455"/>
                  <a:gd name="T6" fmla="*/ 250 w 307"/>
                  <a:gd name="T7" fmla="*/ 244 h 455"/>
                  <a:gd name="T8" fmla="*/ 250 w 307"/>
                  <a:gd name="T9" fmla="*/ 378 h 455"/>
                  <a:gd name="T10" fmla="*/ 199 w 307"/>
                  <a:gd name="T11" fmla="*/ 408 h 455"/>
                  <a:gd name="T12" fmla="*/ 61 w 307"/>
                  <a:gd name="T13" fmla="*/ 231 h 455"/>
                  <a:gd name="T14" fmla="*/ 238 w 307"/>
                  <a:gd name="T15" fmla="*/ 49 h 455"/>
                  <a:gd name="T16" fmla="*/ 270 w 307"/>
                  <a:gd name="T17" fmla="*/ 49 h 455"/>
                  <a:gd name="T18" fmla="*/ 286 w 307"/>
                  <a:gd name="T19" fmla="*/ 23 h 455"/>
                  <a:gd name="T20" fmla="*/ 244 w 307"/>
                  <a:gd name="T21" fmla="*/ 0 h 455"/>
                  <a:gd name="T22" fmla="*/ 231 w 307"/>
                  <a:gd name="T23" fmla="*/ 0 h 455"/>
                  <a:gd name="T24" fmla="*/ 0 w 307"/>
                  <a:gd name="T25" fmla="*/ 232 h 455"/>
                  <a:gd name="T26" fmla="*/ 198 w 307"/>
                  <a:gd name="T27" fmla="*/ 455 h 455"/>
                  <a:gd name="T28" fmla="*/ 307 w 307"/>
                  <a:gd name="T29" fmla="*/ 405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7" h="455">
                    <a:moveTo>
                      <a:pt x="307" y="405"/>
                    </a:moveTo>
                    <a:cubicBezTo>
                      <a:pt x="307" y="244"/>
                      <a:pt x="307" y="244"/>
                      <a:pt x="307" y="244"/>
                    </a:cubicBezTo>
                    <a:cubicBezTo>
                      <a:pt x="307" y="234"/>
                      <a:pt x="298" y="229"/>
                      <a:pt x="279" y="229"/>
                    </a:cubicBezTo>
                    <a:cubicBezTo>
                      <a:pt x="259" y="229"/>
                      <a:pt x="250" y="234"/>
                      <a:pt x="250" y="244"/>
                    </a:cubicBezTo>
                    <a:cubicBezTo>
                      <a:pt x="250" y="378"/>
                      <a:pt x="250" y="378"/>
                      <a:pt x="250" y="378"/>
                    </a:cubicBezTo>
                    <a:cubicBezTo>
                      <a:pt x="250" y="399"/>
                      <a:pt x="241" y="408"/>
                      <a:pt x="199" y="408"/>
                    </a:cubicBezTo>
                    <a:cubicBezTo>
                      <a:pt x="114" y="408"/>
                      <a:pt x="61" y="342"/>
                      <a:pt x="61" y="231"/>
                    </a:cubicBezTo>
                    <a:cubicBezTo>
                      <a:pt x="61" y="115"/>
                      <a:pt x="126" y="49"/>
                      <a:pt x="238" y="49"/>
                    </a:cubicBezTo>
                    <a:cubicBezTo>
                      <a:pt x="270" y="49"/>
                      <a:pt x="270" y="49"/>
                      <a:pt x="270" y="49"/>
                    </a:cubicBezTo>
                    <a:cubicBezTo>
                      <a:pt x="282" y="49"/>
                      <a:pt x="286" y="39"/>
                      <a:pt x="286" y="23"/>
                    </a:cubicBezTo>
                    <a:cubicBezTo>
                      <a:pt x="286" y="4"/>
                      <a:pt x="275" y="0"/>
                      <a:pt x="244" y="0"/>
                    </a:cubicBezTo>
                    <a:cubicBezTo>
                      <a:pt x="231" y="0"/>
                      <a:pt x="231" y="0"/>
                      <a:pt x="231" y="0"/>
                    </a:cubicBezTo>
                    <a:cubicBezTo>
                      <a:pt x="101" y="0"/>
                      <a:pt x="0" y="71"/>
                      <a:pt x="0" y="232"/>
                    </a:cubicBezTo>
                    <a:cubicBezTo>
                      <a:pt x="0" y="386"/>
                      <a:pt x="88" y="455"/>
                      <a:pt x="198" y="455"/>
                    </a:cubicBezTo>
                    <a:cubicBezTo>
                      <a:pt x="286" y="455"/>
                      <a:pt x="307" y="430"/>
                      <a:pt x="307" y="40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sp>
            <p:nvSpPr>
              <p:cNvPr id="26" name="Oval 11">
                <a:extLst>
                  <a:ext uri="{FF2B5EF4-FFF2-40B4-BE49-F238E27FC236}">
                    <a16:creationId xmlns:a16="http://schemas.microsoft.com/office/drawing/2014/main" id="{14F8C3C8-4888-7646-B9B4-64EB46A1DA23}"/>
                  </a:ext>
                </a:extLst>
              </p:cNvPr>
              <p:cNvSpPr>
                <a:spLocks noChangeArrowheads="1"/>
              </p:cNvSpPr>
              <p:nvPr/>
            </p:nvSpPr>
            <p:spPr bwMode="gray">
              <a:xfrm>
                <a:off x="3778" y="2099"/>
                <a:ext cx="122" cy="12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sp>
            <p:nvSpPr>
              <p:cNvPr id="27" name="Freeform 12">
                <a:extLst>
                  <a:ext uri="{FF2B5EF4-FFF2-40B4-BE49-F238E27FC236}">
                    <a16:creationId xmlns:a16="http://schemas.microsoft.com/office/drawing/2014/main" id="{D79D01D1-4E3E-F34B-97D7-2D387E68746E}"/>
                  </a:ext>
                </a:extLst>
              </p:cNvPr>
              <p:cNvSpPr>
                <a:spLocks/>
              </p:cNvSpPr>
              <p:nvPr/>
            </p:nvSpPr>
            <p:spPr bwMode="gray">
              <a:xfrm>
                <a:off x="4321" y="1029"/>
                <a:ext cx="648" cy="649"/>
              </a:xfrm>
              <a:custGeom>
                <a:avLst/>
                <a:gdLst>
                  <a:gd name="T0" fmla="*/ 0 w 648"/>
                  <a:gd name="T1" fmla="*/ 649 h 649"/>
                  <a:gd name="T2" fmla="*/ 2 w 648"/>
                  <a:gd name="T3" fmla="*/ 649 h 649"/>
                  <a:gd name="T4" fmla="*/ 648 w 648"/>
                  <a:gd name="T5" fmla="*/ 0 h 649"/>
                  <a:gd name="T6" fmla="*/ 423 w 648"/>
                  <a:gd name="T7" fmla="*/ 0 h 649"/>
                  <a:gd name="T8" fmla="*/ 0 w 648"/>
                  <a:gd name="T9" fmla="*/ 649 h 649"/>
                </a:gdLst>
                <a:ahLst/>
                <a:cxnLst>
                  <a:cxn ang="0">
                    <a:pos x="T0" y="T1"/>
                  </a:cxn>
                  <a:cxn ang="0">
                    <a:pos x="T2" y="T3"/>
                  </a:cxn>
                  <a:cxn ang="0">
                    <a:pos x="T4" y="T5"/>
                  </a:cxn>
                  <a:cxn ang="0">
                    <a:pos x="T6" y="T7"/>
                  </a:cxn>
                  <a:cxn ang="0">
                    <a:pos x="T8" y="T9"/>
                  </a:cxn>
                </a:cxnLst>
                <a:rect l="0" t="0" r="r" b="b"/>
                <a:pathLst>
                  <a:path w="648" h="649">
                    <a:moveTo>
                      <a:pt x="0" y="649"/>
                    </a:moveTo>
                    <a:lnTo>
                      <a:pt x="2" y="649"/>
                    </a:lnTo>
                    <a:lnTo>
                      <a:pt x="648" y="0"/>
                    </a:lnTo>
                    <a:lnTo>
                      <a:pt x="423" y="0"/>
                    </a:lnTo>
                    <a:lnTo>
                      <a:pt x="0" y="64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sp>
            <p:nvSpPr>
              <p:cNvPr id="28" name="Freeform 13">
                <a:extLst>
                  <a:ext uri="{FF2B5EF4-FFF2-40B4-BE49-F238E27FC236}">
                    <a16:creationId xmlns:a16="http://schemas.microsoft.com/office/drawing/2014/main" id="{46549898-6C52-B147-A8F6-A73FDBE6163B}"/>
                  </a:ext>
                </a:extLst>
              </p:cNvPr>
              <p:cNvSpPr>
                <a:spLocks/>
              </p:cNvSpPr>
              <p:nvPr/>
            </p:nvSpPr>
            <p:spPr bwMode="gray">
              <a:xfrm>
                <a:off x="4321" y="1029"/>
                <a:ext cx="648" cy="649"/>
              </a:xfrm>
              <a:custGeom>
                <a:avLst/>
                <a:gdLst>
                  <a:gd name="T0" fmla="*/ 0 w 648"/>
                  <a:gd name="T1" fmla="*/ 649 h 649"/>
                  <a:gd name="T2" fmla="*/ 2 w 648"/>
                  <a:gd name="T3" fmla="*/ 649 h 649"/>
                  <a:gd name="T4" fmla="*/ 648 w 648"/>
                  <a:gd name="T5" fmla="*/ 0 h 649"/>
                  <a:gd name="T6" fmla="*/ 423 w 648"/>
                  <a:gd name="T7" fmla="*/ 0 h 649"/>
                  <a:gd name="T8" fmla="*/ 0 w 648"/>
                  <a:gd name="T9" fmla="*/ 649 h 649"/>
                </a:gdLst>
                <a:ahLst/>
                <a:cxnLst>
                  <a:cxn ang="0">
                    <a:pos x="T0" y="T1"/>
                  </a:cxn>
                  <a:cxn ang="0">
                    <a:pos x="T2" y="T3"/>
                  </a:cxn>
                  <a:cxn ang="0">
                    <a:pos x="T4" y="T5"/>
                  </a:cxn>
                  <a:cxn ang="0">
                    <a:pos x="T6" y="T7"/>
                  </a:cxn>
                  <a:cxn ang="0">
                    <a:pos x="T8" y="T9"/>
                  </a:cxn>
                </a:cxnLst>
                <a:rect l="0" t="0" r="r" b="b"/>
                <a:pathLst>
                  <a:path w="648" h="649">
                    <a:moveTo>
                      <a:pt x="0" y="649"/>
                    </a:moveTo>
                    <a:lnTo>
                      <a:pt x="2" y="649"/>
                    </a:lnTo>
                    <a:lnTo>
                      <a:pt x="648" y="0"/>
                    </a:lnTo>
                    <a:lnTo>
                      <a:pt x="423" y="0"/>
                    </a:lnTo>
                    <a:lnTo>
                      <a:pt x="0" y="64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grpSp>
      </p:grpSp>
      <p:sp>
        <p:nvSpPr>
          <p:cNvPr id="7" name="Date Placeholder 6"/>
          <p:cNvSpPr>
            <a:spLocks noGrp="1"/>
          </p:cNvSpPr>
          <p:nvPr>
            <p:ph type="dt" sz="half" idx="10"/>
          </p:nvPr>
        </p:nvSpPr>
        <p:spPr>
          <a:xfrm>
            <a:off x="0" y="0"/>
            <a:ext cx="0" cy="0"/>
          </a:xfrm>
          <a:prstGeom prst="rect">
            <a:avLst/>
          </a:prstGeom>
        </p:spPr>
        <p:txBody>
          <a:bodyPr/>
          <a:lstStyle>
            <a:lvl1pPr>
              <a:defRPr sz="100">
                <a:noFill/>
              </a:defRPr>
            </a:lvl1pPr>
          </a:lstStyle>
          <a:p>
            <a:fld id="{D6D08F88-38D2-4786-82D6-89211B05083D}" type="datetime5">
              <a:rPr lang="en-US" smtClean="0"/>
              <a:t>26-Jun-20</a:t>
            </a:fld>
            <a:endParaRPr lang="en-US" dirty="0"/>
          </a:p>
        </p:txBody>
      </p:sp>
      <p:sp>
        <p:nvSpPr>
          <p:cNvPr id="8" name="Footer Placeholder 7"/>
          <p:cNvSpPr>
            <a:spLocks noGrp="1"/>
          </p:cNvSpPr>
          <p:nvPr>
            <p:ph type="ftr" sz="quarter" idx="11"/>
          </p:nvPr>
        </p:nvSpPr>
        <p:spPr>
          <a:xfrm>
            <a:off x="0" y="0"/>
            <a:ext cx="0" cy="0"/>
          </a:xfrm>
          <a:prstGeom prst="rect">
            <a:avLst/>
          </a:prstGeom>
        </p:spPr>
        <p:txBody>
          <a:bodyPr/>
          <a:lstStyle>
            <a:lvl1pPr marL="0" indent="0">
              <a:buNone/>
              <a:defRPr sz="100">
                <a:noFill/>
              </a:defRPr>
            </a:lvl1pPr>
          </a:lstStyle>
          <a:p>
            <a:r>
              <a:rPr lang="en-US"/>
              <a:t>Title of presentation (Insert / Header &amp; Footer / Apply to All)</a:t>
            </a:r>
            <a:endParaRPr lang="en-US" dirty="0"/>
          </a:p>
        </p:txBody>
      </p:sp>
      <p:sp>
        <p:nvSpPr>
          <p:cNvPr id="9" name="Slide Number Placeholder 8"/>
          <p:cNvSpPr>
            <a:spLocks noGrp="1"/>
          </p:cNvSpPr>
          <p:nvPr>
            <p:ph type="sldNum" sz="quarter" idx="12"/>
          </p:nvPr>
        </p:nvSpPr>
        <p:spPr>
          <a:xfrm>
            <a:off x="0" y="0"/>
            <a:ext cx="0" cy="0"/>
          </a:xfrm>
          <a:prstGeom prst="rect">
            <a:avLst/>
          </a:prstGeom>
        </p:spPr>
        <p:txBody>
          <a:bodyPr/>
          <a:lstStyle>
            <a:lvl1pPr>
              <a:defRPr sz="100">
                <a:noFill/>
              </a:defRPr>
            </a:lvl1pPr>
          </a:lstStyle>
          <a:p>
            <a:fld id="{8E3B25F7-8D1F-44B5-B485-EE3C438CFD7B}" type="slidenum">
              <a:rPr lang="en-US" smtClean="0"/>
              <a:pPr/>
              <a:t>‹#›</a:t>
            </a:fld>
            <a:endParaRPr lang="en-US"/>
          </a:p>
        </p:txBody>
      </p:sp>
      <p:sp>
        <p:nvSpPr>
          <p:cNvPr id="2" name="Title 1"/>
          <p:cNvSpPr>
            <a:spLocks noGrp="1"/>
          </p:cNvSpPr>
          <p:nvPr>
            <p:ph type="ctrTitle" hasCustomPrompt="1"/>
          </p:nvPr>
        </p:nvSpPr>
        <p:spPr>
          <a:xfrm>
            <a:off x="417600" y="1628775"/>
            <a:ext cx="3816000" cy="2236264"/>
          </a:xfrm>
        </p:spPr>
        <p:txBody>
          <a:bodyPr anchor="b"/>
          <a:lstStyle>
            <a:lvl1pPr algn="l">
              <a:defRPr sz="3600"/>
            </a:lvl1pPr>
          </a:lstStyle>
          <a:p>
            <a:r>
              <a:rPr lang="en-US" dirty="0"/>
              <a:t>Click to add presentation title</a:t>
            </a:r>
          </a:p>
        </p:txBody>
      </p:sp>
      <p:sp>
        <p:nvSpPr>
          <p:cNvPr id="3" name="Subtitle 2"/>
          <p:cNvSpPr>
            <a:spLocks noGrp="1"/>
          </p:cNvSpPr>
          <p:nvPr>
            <p:ph type="subTitle" idx="1" hasCustomPrompt="1"/>
          </p:nvPr>
        </p:nvSpPr>
        <p:spPr>
          <a:xfrm>
            <a:off x="417600" y="4094163"/>
            <a:ext cx="3816000" cy="1080000"/>
          </a:xfrm>
        </p:spPr>
        <p:txBody>
          <a:bodyPr/>
          <a:lstStyle>
            <a:lvl1pPr marL="0" indent="0" algn="l">
              <a:spcBef>
                <a:spcPts val="0"/>
              </a:spcBef>
              <a:buNone/>
              <a:defRPr sz="1800" b="1"/>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31" name="Text Placeholder 30"/>
          <p:cNvSpPr>
            <a:spLocks noGrp="1"/>
          </p:cNvSpPr>
          <p:nvPr>
            <p:ph type="body" sz="quarter" idx="14" hasCustomPrompt="1"/>
          </p:nvPr>
        </p:nvSpPr>
        <p:spPr>
          <a:xfrm>
            <a:off x="417600" y="5393268"/>
            <a:ext cx="3816000" cy="296332"/>
          </a:xfrm>
        </p:spPr>
        <p:txBody>
          <a:bodyPr wrap="none"/>
          <a:lstStyle>
            <a:lvl1pPr marL="0" indent="0">
              <a:spcBef>
                <a:spcPts val="0"/>
              </a:spcBef>
              <a:buNone/>
              <a:defRPr sz="1200"/>
            </a:lvl1pPr>
            <a:lvl2pPr marL="0" indent="0">
              <a:buNone/>
              <a:defRPr sz="1200"/>
            </a:lvl2pPr>
            <a:lvl3pPr marL="0" indent="0">
              <a:buNone/>
              <a:defRPr sz="1200"/>
            </a:lvl3pPr>
            <a:lvl4pPr marL="0">
              <a:buNone/>
              <a:defRPr sz="1200"/>
            </a:lvl4pPr>
            <a:lvl5pPr marL="0" indent="0">
              <a:buNone/>
              <a:defRPr sz="1200"/>
            </a:lvl5pPr>
          </a:lstStyle>
          <a:p>
            <a:pPr lvl="0"/>
            <a:r>
              <a:rPr lang="en-US" dirty="0"/>
              <a:t>Name</a:t>
            </a:r>
          </a:p>
        </p:txBody>
      </p:sp>
      <p:sp>
        <p:nvSpPr>
          <p:cNvPr id="34" name="Text Placeholder 30"/>
          <p:cNvSpPr>
            <a:spLocks noGrp="1"/>
          </p:cNvSpPr>
          <p:nvPr>
            <p:ph type="body" sz="quarter" idx="15" hasCustomPrompt="1"/>
          </p:nvPr>
        </p:nvSpPr>
        <p:spPr>
          <a:xfrm>
            <a:off x="417600" y="5691446"/>
            <a:ext cx="3816000" cy="296332"/>
          </a:xfrm>
        </p:spPr>
        <p:txBody>
          <a:bodyPr wrap="none"/>
          <a:lstStyle>
            <a:lvl1pPr marL="0" indent="0">
              <a:spcBef>
                <a:spcPts val="0"/>
              </a:spcBef>
              <a:buNone/>
              <a:defRPr sz="1200"/>
            </a:lvl1pPr>
            <a:lvl2pPr marL="0" indent="0">
              <a:buNone/>
              <a:defRPr sz="1200"/>
            </a:lvl2pPr>
            <a:lvl3pPr marL="0" indent="0">
              <a:buNone/>
              <a:defRPr sz="1200"/>
            </a:lvl3pPr>
            <a:lvl4pPr marL="0">
              <a:buNone/>
              <a:defRPr sz="1200"/>
            </a:lvl4pPr>
            <a:lvl5pPr marL="0" indent="0">
              <a:buNone/>
              <a:defRPr sz="1200"/>
            </a:lvl5pPr>
          </a:lstStyle>
          <a:p>
            <a:pPr lvl="0"/>
            <a:r>
              <a:rPr lang="en-US" dirty="0"/>
              <a:t>Department</a:t>
            </a:r>
          </a:p>
        </p:txBody>
      </p:sp>
    </p:spTree>
    <p:extLst>
      <p:ext uri="{BB962C8B-B14F-4D97-AF65-F5344CB8AC3E}">
        <p14:creationId xmlns:p14="http://schemas.microsoft.com/office/powerpoint/2010/main" val="185977177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with picture (1)">
    <p:spTree>
      <p:nvGrpSpPr>
        <p:cNvPr id="1" name=""/>
        <p:cNvGrpSpPr/>
        <p:nvPr/>
      </p:nvGrpSpPr>
      <p:grpSpPr>
        <a:xfrm>
          <a:off x="0" y="0"/>
          <a:ext cx="0" cy="0"/>
          <a:chOff x="0" y="0"/>
          <a:chExt cx="0" cy="0"/>
        </a:xfrm>
      </p:grpSpPr>
      <p:sp>
        <p:nvSpPr>
          <p:cNvPr id="6" name="Picture Placeholder 5"/>
          <p:cNvSpPr>
            <a:spLocks noGrp="1"/>
          </p:cNvSpPr>
          <p:nvPr>
            <p:ph type="pic" sz="quarter" idx="11" hasCustomPrompt="1"/>
          </p:nvPr>
        </p:nvSpPr>
        <p:spPr bwMode="gray">
          <a:xfrm>
            <a:off x="431213" y="1316707"/>
            <a:ext cx="11328987" cy="5280943"/>
          </a:xfrm>
        </p:spPr>
        <p:txBody>
          <a:bodyPr/>
          <a:lstStyle/>
          <a:p>
            <a:r>
              <a:rPr lang="en-US"/>
              <a:t>Click to the symbol to add a picture</a:t>
            </a:r>
          </a:p>
        </p:txBody>
      </p:sp>
      <p:sp>
        <p:nvSpPr>
          <p:cNvPr id="2" name="Title 1"/>
          <p:cNvSpPr>
            <a:spLocks noGrp="1"/>
          </p:cNvSpPr>
          <p:nvPr>
            <p:ph type="ctrTitle" hasCustomPrompt="1"/>
          </p:nvPr>
        </p:nvSpPr>
        <p:spPr bwMode="gray">
          <a:xfrm>
            <a:off x="623240" y="2372785"/>
            <a:ext cx="10945520" cy="1344257"/>
          </a:xfrm>
        </p:spPr>
        <p:txBody>
          <a:bodyPr anchor="b"/>
          <a:lstStyle>
            <a:lvl1pPr>
              <a:defRPr sz="4800" cap="none" baseline="0">
                <a:solidFill>
                  <a:schemeClr val="tx2"/>
                </a:solidFill>
              </a:defRPr>
            </a:lvl1pPr>
          </a:lstStyle>
          <a:p>
            <a:r>
              <a:rPr lang="en-US"/>
              <a:t>Click to add title of presentation</a:t>
            </a:r>
          </a:p>
        </p:txBody>
      </p:sp>
      <p:sp>
        <p:nvSpPr>
          <p:cNvPr id="3" name="Subtitle 2"/>
          <p:cNvSpPr>
            <a:spLocks noGrp="1"/>
          </p:cNvSpPr>
          <p:nvPr>
            <p:ph type="subTitle" idx="1" hasCustomPrompt="1"/>
          </p:nvPr>
        </p:nvSpPr>
        <p:spPr bwMode="gray">
          <a:xfrm>
            <a:off x="622495" y="3813054"/>
            <a:ext cx="10946245" cy="1536213"/>
          </a:xfrm>
        </p:spPr>
        <p:txBody>
          <a:bodyPr/>
          <a:lstStyle>
            <a:lvl1pPr marL="0" indent="0" algn="l">
              <a:spcBef>
                <a:spcPts val="800"/>
              </a:spcBef>
              <a:spcAft>
                <a:spcPts val="0"/>
              </a:spcAft>
              <a:buNone/>
              <a:defRPr sz="2667">
                <a:solidFill>
                  <a:schemeClr val="tx2"/>
                </a:solidFill>
              </a:defRPr>
            </a:lvl1pPr>
            <a:lvl2pPr marL="0" indent="0" algn="l">
              <a:spcBef>
                <a:spcPts val="800"/>
              </a:spcBef>
              <a:spcAft>
                <a:spcPts val="0"/>
              </a:spcAft>
              <a:buNone/>
              <a:defRPr sz="2667">
                <a:solidFill>
                  <a:schemeClr val="tx2"/>
                </a:solidFill>
              </a:defRPr>
            </a:lvl2pPr>
            <a:lvl3pPr marL="0" indent="0" algn="l">
              <a:spcBef>
                <a:spcPts val="800"/>
              </a:spcBef>
              <a:spcAft>
                <a:spcPts val="0"/>
              </a:spcAft>
              <a:buNone/>
              <a:defRPr sz="2667">
                <a:solidFill>
                  <a:schemeClr val="tx2"/>
                </a:solidFill>
              </a:defRPr>
            </a:lvl3pPr>
            <a:lvl4pPr marL="0" indent="0" algn="l">
              <a:spcBef>
                <a:spcPts val="800"/>
              </a:spcBef>
              <a:spcAft>
                <a:spcPts val="0"/>
              </a:spcAft>
              <a:buNone/>
              <a:defRPr sz="2667">
                <a:solidFill>
                  <a:schemeClr val="tx2"/>
                </a:solidFill>
              </a:defRPr>
            </a:lvl4pPr>
            <a:lvl5pPr marL="0" indent="0" algn="l">
              <a:spcBef>
                <a:spcPts val="800"/>
              </a:spcBef>
              <a:spcAft>
                <a:spcPts val="0"/>
              </a:spcAft>
              <a:buNone/>
              <a:defRPr sz="2667">
                <a:solidFill>
                  <a:schemeClr val="tx2"/>
                </a:solidFill>
              </a:defRPr>
            </a:lvl5pPr>
            <a:lvl6pPr marL="0" indent="0" algn="l">
              <a:spcBef>
                <a:spcPts val="800"/>
              </a:spcBef>
              <a:spcAft>
                <a:spcPts val="0"/>
              </a:spcAft>
              <a:buNone/>
              <a:defRPr sz="2667">
                <a:solidFill>
                  <a:schemeClr val="tx2"/>
                </a:solidFill>
              </a:defRPr>
            </a:lvl6pPr>
            <a:lvl7pPr marL="0" indent="0" algn="l">
              <a:spcBef>
                <a:spcPts val="800"/>
              </a:spcBef>
              <a:spcAft>
                <a:spcPts val="0"/>
              </a:spcAft>
              <a:buNone/>
              <a:defRPr sz="2667">
                <a:solidFill>
                  <a:schemeClr val="tx2"/>
                </a:solidFill>
              </a:defRPr>
            </a:lvl7pPr>
            <a:lvl8pPr marL="0" indent="0" algn="l">
              <a:spcAft>
                <a:spcPts val="0"/>
              </a:spcAft>
              <a:buNone/>
              <a:defRPr sz="2667">
                <a:solidFill>
                  <a:schemeClr val="bg1"/>
                </a:solidFill>
              </a:defRPr>
            </a:lvl8pPr>
            <a:lvl9pPr marL="0" indent="0" algn="l">
              <a:spcBef>
                <a:spcPts val="800"/>
              </a:spcBef>
              <a:spcAft>
                <a:spcPts val="0"/>
              </a:spcAft>
              <a:buNone/>
              <a:defRPr sz="2667">
                <a:solidFill>
                  <a:schemeClr val="tx2"/>
                </a:solidFill>
              </a:defRPr>
            </a:lvl9pPr>
          </a:lstStyle>
          <a:p>
            <a:pPr lvl="0"/>
            <a:r>
              <a:rPr lang="en-US" noProof="0"/>
              <a:t>Click to add subtitle of presentation</a:t>
            </a:r>
          </a:p>
        </p:txBody>
      </p:sp>
      <p:sp>
        <p:nvSpPr>
          <p:cNvPr id="7" name="Rechteck 6"/>
          <p:cNvSpPr/>
          <p:nvPr userDrawn="1"/>
        </p:nvSpPr>
        <p:spPr bwMode="gray">
          <a:xfrm>
            <a:off x="0" y="6570171"/>
            <a:ext cx="12192000" cy="287829"/>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indent="0" algn="ctr">
              <a:buFont typeface="Courier New" pitchFamily="49" charset="0"/>
              <a:buNone/>
            </a:pPr>
            <a:endParaRPr lang="en-US" sz="2133">
              <a:solidFill>
                <a:schemeClr val="tx1"/>
              </a:solidFill>
              <a:latin typeface="Arial" pitchFamily="34" charset="0"/>
            </a:endParaRPr>
          </a:p>
        </p:txBody>
      </p:sp>
      <p:sp>
        <p:nvSpPr>
          <p:cNvPr id="8" name="Text Placeholder 10"/>
          <p:cNvSpPr>
            <a:spLocks noGrp="1"/>
          </p:cNvSpPr>
          <p:nvPr>
            <p:ph type="body" sz="quarter" idx="10" hasCustomPrompt="1"/>
          </p:nvPr>
        </p:nvSpPr>
        <p:spPr bwMode="gray">
          <a:xfrm>
            <a:off x="623241" y="6117373"/>
            <a:ext cx="10945520" cy="288000"/>
          </a:xfrm>
        </p:spPr>
        <p:txBody>
          <a:bodyPr tIns="0" anchor="b" anchorCtr="0"/>
          <a:lstStyle>
            <a:lvl1pPr marL="0" indent="0">
              <a:lnSpc>
                <a:spcPct val="100000"/>
              </a:lnSpc>
              <a:spcBef>
                <a:spcPts val="0"/>
              </a:spcBef>
              <a:spcAft>
                <a:spcPts val="0"/>
              </a:spcAft>
              <a:buFontTx/>
              <a:buNone/>
              <a:defRPr sz="1600">
                <a:solidFill>
                  <a:schemeClr val="tx2"/>
                </a:solidFill>
              </a:defRPr>
            </a:lvl1pPr>
            <a:lvl2pPr marL="0" indent="0">
              <a:lnSpc>
                <a:spcPct val="100000"/>
              </a:lnSpc>
              <a:spcBef>
                <a:spcPts val="0"/>
              </a:spcBef>
              <a:spcAft>
                <a:spcPts val="0"/>
              </a:spcAft>
              <a:buFontTx/>
              <a:buNone/>
              <a:defRPr sz="1600">
                <a:solidFill>
                  <a:schemeClr val="tx2"/>
                </a:solidFill>
              </a:defRPr>
            </a:lvl2pPr>
            <a:lvl3pPr marL="0" indent="0">
              <a:lnSpc>
                <a:spcPct val="100000"/>
              </a:lnSpc>
              <a:spcBef>
                <a:spcPts val="0"/>
              </a:spcBef>
              <a:spcAft>
                <a:spcPts val="0"/>
              </a:spcAft>
              <a:buFontTx/>
              <a:buNone/>
              <a:defRPr sz="1600">
                <a:solidFill>
                  <a:schemeClr val="tx2"/>
                </a:solidFill>
              </a:defRPr>
            </a:lvl3pPr>
            <a:lvl4pPr marL="0" indent="0">
              <a:lnSpc>
                <a:spcPct val="100000"/>
              </a:lnSpc>
              <a:spcBef>
                <a:spcPts val="0"/>
              </a:spcBef>
              <a:spcAft>
                <a:spcPts val="0"/>
              </a:spcAft>
              <a:buFontTx/>
              <a:buNone/>
              <a:defRPr sz="1600">
                <a:solidFill>
                  <a:schemeClr val="tx2"/>
                </a:solidFill>
              </a:defRPr>
            </a:lvl4pPr>
            <a:lvl5pPr marL="0" indent="0">
              <a:lnSpc>
                <a:spcPct val="100000"/>
              </a:lnSpc>
              <a:spcBef>
                <a:spcPts val="0"/>
              </a:spcBef>
              <a:spcAft>
                <a:spcPts val="0"/>
              </a:spcAft>
              <a:buFontTx/>
              <a:buNone/>
              <a:defRPr sz="1600">
                <a:solidFill>
                  <a:schemeClr val="tx2"/>
                </a:solidFill>
              </a:defRPr>
            </a:lvl5pPr>
            <a:lvl6pPr marL="0" indent="0">
              <a:lnSpc>
                <a:spcPct val="100000"/>
              </a:lnSpc>
              <a:spcBef>
                <a:spcPts val="0"/>
              </a:spcBef>
              <a:spcAft>
                <a:spcPts val="0"/>
              </a:spcAft>
              <a:buFontTx/>
              <a:buNone/>
              <a:defRPr sz="1600">
                <a:solidFill>
                  <a:schemeClr val="tx2"/>
                </a:solidFill>
              </a:defRPr>
            </a:lvl6pPr>
            <a:lvl7pPr marL="0" indent="0">
              <a:lnSpc>
                <a:spcPct val="100000"/>
              </a:lnSpc>
              <a:spcBef>
                <a:spcPts val="0"/>
              </a:spcBef>
              <a:spcAft>
                <a:spcPts val="0"/>
              </a:spcAft>
              <a:buFontTx/>
              <a:buNone/>
              <a:defRPr sz="1600">
                <a:solidFill>
                  <a:schemeClr val="tx2"/>
                </a:solidFill>
              </a:defRPr>
            </a:lvl7pPr>
            <a:lvl8pPr marL="0" indent="0">
              <a:lnSpc>
                <a:spcPct val="100000"/>
              </a:lnSpc>
              <a:spcBef>
                <a:spcPts val="0"/>
              </a:spcBef>
              <a:spcAft>
                <a:spcPts val="0"/>
              </a:spcAft>
              <a:buFontTx/>
              <a:buNone/>
              <a:defRPr sz="1600">
                <a:solidFill>
                  <a:schemeClr val="bg1"/>
                </a:solidFill>
              </a:defRPr>
            </a:lvl8pPr>
            <a:lvl9pPr marL="0" indent="0">
              <a:lnSpc>
                <a:spcPct val="100000"/>
              </a:lnSpc>
              <a:spcBef>
                <a:spcPts val="0"/>
              </a:spcBef>
              <a:spcAft>
                <a:spcPts val="0"/>
              </a:spcAft>
              <a:buFontTx/>
              <a:buNone/>
              <a:defRPr sz="1600">
                <a:solidFill>
                  <a:schemeClr val="tx2"/>
                </a:solidFill>
              </a:defRPr>
            </a:lvl9pPr>
          </a:lstStyle>
          <a:p>
            <a:pPr lvl="0"/>
            <a:r>
              <a:rPr lang="en-US" noProof="0"/>
              <a:t>Click to add additional text, e.g. author, location, date</a:t>
            </a:r>
          </a:p>
        </p:txBody>
      </p:sp>
    </p:spTree>
    <p:extLst>
      <p:ext uri="{BB962C8B-B14F-4D97-AF65-F5344CB8AC3E}">
        <p14:creationId xmlns:p14="http://schemas.microsoft.com/office/powerpoint/2010/main" val="2521081195"/>
      </p:ext>
    </p:extLst>
  </p:cSld>
  <p:clrMapOvr>
    <a:masterClrMapping/>
  </p:clrMapOvr>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p:cSld name="Divider 1">
    <p:spTree>
      <p:nvGrpSpPr>
        <p:cNvPr id="1" name=""/>
        <p:cNvGrpSpPr/>
        <p:nvPr/>
      </p:nvGrpSpPr>
      <p:grpSpPr>
        <a:xfrm>
          <a:off x="0" y="0"/>
          <a:ext cx="0" cy="0"/>
          <a:chOff x="0" y="0"/>
          <a:chExt cx="0" cy="0"/>
        </a:xfrm>
      </p:grpSpPr>
      <p:sp>
        <p:nvSpPr>
          <p:cNvPr id="12" name="Picture Placeholder 11"/>
          <p:cNvSpPr>
            <a:spLocks noGrp="1"/>
          </p:cNvSpPr>
          <p:nvPr>
            <p:ph type="pic" sz="quarter" idx="17" hasCustomPrompt="1"/>
          </p:nvPr>
        </p:nvSpPr>
        <p:spPr>
          <a:xfrm>
            <a:off x="-1" y="0"/>
            <a:ext cx="8822478" cy="6858000"/>
          </a:xfrm>
          <a:custGeom>
            <a:avLst/>
            <a:gdLst>
              <a:gd name="connsiteX0" fmla="*/ 0 w 8822478"/>
              <a:gd name="connsiteY0" fmla="*/ 0 h 6858000"/>
              <a:gd name="connsiteX1" fmla="*/ 8477306 w 8822478"/>
              <a:gd name="connsiteY1" fmla="*/ 0 h 6858000"/>
              <a:gd name="connsiteX2" fmla="*/ 6998505 w 8822478"/>
              <a:gd name="connsiteY2" fmla="*/ 3834029 h 6858000"/>
              <a:gd name="connsiteX3" fmla="*/ 8822478 w 8822478"/>
              <a:gd name="connsiteY3" fmla="*/ 6858000 h 6858000"/>
              <a:gd name="connsiteX4" fmla="*/ 0 w 8822478"/>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22478" h="6858000">
                <a:moveTo>
                  <a:pt x="0" y="0"/>
                </a:moveTo>
                <a:lnTo>
                  <a:pt x="8477306" y="0"/>
                </a:lnTo>
                <a:lnTo>
                  <a:pt x="6998505" y="3834029"/>
                </a:lnTo>
                <a:lnTo>
                  <a:pt x="8822478" y="6858000"/>
                </a:lnTo>
                <a:lnTo>
                  <a:pt x="0" y="6858000"/>
                </a:lnTo>
                <a:close/>
              </a:path>
            </a:pathLst>
          </a:custGeom>
          <a:solidFill>
            <a:srgbClr val="D9DADB"/>
          </a:solidFill>
        </p:spPr>
        <p:txBody>
          <a:bodyPr wrap="square">
            <a:noAutofit/>
          </a:bodyPr>
          <a:lstStyle>
            <a:lvl1pPr marL="0" indent="0">
              <a:buNone/>
              <a:defRPr/>
            </a:lvl1pPr>
          </a:lstStyle>
          <a:p>
            <a:r>
              <a:rPr lang="en-US" dirty="0"/>
              <a:t>Insert picture</a:t>
            </a:r>
          </a:p>
        </p:txBody>
      </p:sp>
      <p:sp>
        <p:nvSpPr>
          <p:cNvPr id="21" name="Date Placeholder 20"/>
          <p:cNvSpPr>
            <a:spLocks noGrp="1"/>
          </p:cNvSpPr>
          <p:nvPr>
            <p:ph type="dt" sz="half" idx="14"/>
          </p:nvPr>
        </p:nvSpPr>
        <p:spPr/>
        <p:txBody>
          <a:bodyPr/>
          <a:lstStyle>
            <a:lvl1pPr>
              <a:defRPr>
                <a:solidFill>
                  <a:schemeClr val="bg1"/>
                </a:solidFill>
              </a:defRPr>
            </a:lvl1pPr>
          </a:lstStyle>
          <a:p>
            <a:fld id="{4A274CF1-226C-4201-826C-EA56EA2B3C12}" type="datetime5">
              <a:rPr lang="en-US" smtClean="0"/>
              <a:t>26-Jun-20</a:t>
            </a:fld>
            <a:endParaRPr lang="en-US"/>
          </a:p>
        </p:txBody>
      </p:sp>
      <p:sp>
        <p:nvSpPr>
          <p:cNvPr id="22" name="Footer Placeholder 21"/>
          <p:cNvSpPr>
            <a:spLocks noGrp="1"/>
          </p:cNvSpPr>
          <p:nvPr>
            <p:ph type="ftr" sz="quarter" idx="15"/>
          </p:nvPr>
        </p:nvSpPr>
        <p:spPr/>
        <p:txBody>
          <a:bodyPr/>
          <a:lstStyle>
            <a:lvl1pPr>
              <a:defRPr>
                <a:solidFill>
                  <a:schemeClr val="bg1"/>
                </a:solidFill>
              </a:defRPr>
            </a:lvl1pPr>
          </a:lstStyle>
          <a:p>
            <a:r>
              <a:rPr lang="en-US"/>
              <a:t>Title of presentation (Insert / Header &amp; Footer / Apply to All)</a:t>
            </a:r>
            <a:endParaRPr lang="en-US" dirty="0"/>
          </a:p>
        </p:txBody>
      </p:sp>
      <p:sp>
        <p:nvSpPr>
          <p:cNvPr id="23" name="Slide Number Placeholder 22"/>
          <p:cNvSpPr>
            <a:spLocks noGrp="1"/>
          </p:cNvSpPr>
          <p:nvPr>
            <p:ph type="sldNum" sz="quarter" idx="16"/>
          </p:nvPr>
        </p:nvSpPr>
        <p:spPr/>
        <p:txBody>
          <a:bodyPr/>
          <a:lstStyle>
            <a:lvl1pPr>
              <a:defRPr>
                <a:solidFill>
                  <a:schemeClr val="tx1"/>
                </a:solidFill>
              </a:defRPr>
            </a:lvl1pPr>
          </a:lstStyle>
          <a:p>
            <a:fld id="{5F3E29E4-0979-4FCA-B4C5-5FC6044C982A}" type="slidenum">
              <a:rPr lang="en-US" smtClean="0"/>
              <a:pPr/>
              <a:t>‹#›</a:t>
            </a:fld>
            <a:endParaRPr lang="en-US"/>
          </a:p>
        </p:txBody>
      </p:sp>
      <p:sp>
        <p:nvSpPr>
          <p:cNvPr id="2" name="Title 1"/>
          <p:cNvSpPr>
            <a:spLocks noGrp="1"/>
          </p:cNvSpPr>
          <p:nvPr>
            <p:ph type="title" hasCustomPrompt="1"/>
          </p:nvPr>
        </p:nvSpPr>
        <p:spPr>
          <a:xfrm>
            <a:off x="7737533" y="2908628"/>
            <a:ext cx="4082992" cy="2103640"/>
          </a:xfrm>
        </p:spPr>
        <p:txBody>
          <a:bodyPr/>
          <a:lstStyle>
            <a:lvl1pPr>
              <a:defRPr>
                <a:solidFill>
                  <a:schemeClr val="tx1"/>
                </a:solidFill>
              </a:defRPr>
            </a:lvl1pPr>
          </a:lstStyle>
          <a:p>
            <a:r>
              <a:rPr lang="en-US" dirty="0"/>
              <a:t>Click to add section title</a:t>
            </a:r>
          </a:p>
        </p:txBody>
      </p:sp>
    </p:spTree>
    <p:extLst>
      <p:ext uri="{BB962C8B-B14F-4D97-AF65-F5344CB8AC3E}">
        <p14:creationId xmlns:p14="http://schemas.microsoft.com/office/powerpoint/2010/main" val="3612767493"/>
      </p:ext>
    </p:extLst>
  </p:cSld>
  <p:clrMapOvr>
    <a:masterClrMapping/>
  </p:clrMapOvr>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p:cSld name="Divider 2">
    <p:spTree>
      <p:nvGrpSpPr>
        <p:cNvPr id="1" name=""/>
        <p:cNvGrpSpPr/>
        <p:nvPr/>
      </p:nvGrpSpPr>
      <p:grpSpPr>
        <a:xfrm>
          <a:off x="0" y="0"/>
          <a:ext cx="0" cy="0"/>
          <a:chOff x="0" y="0"/>
          <a:chExt cx="0" cy="0"/>
        </a:xfrm>
      </p:grpSpPr>
      <p:sp>
        <p:nvSpPr>
          <p:cNvPr id="4" name="shp2"/>
          <p:cNvSpPr/>
          <p:nvPr/>
        </p:nvSpPr>
        <p:spPr>
          <a:xfrm>
            <a:off x="0" y="0"/>
            <a:ext cx="121932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a:p>
        </p:txBody>
      </p:sp>
      <p:sp>
        <p:nvSpPr>
          <p:cNvPr id="21" name="Date Placeholder 20"/>
          <p:cNvSpPr>
            <a:spLocks noGrp="1"/>
          </p:cNvSpPr>
          <p:nvPr>
            <p:ph type="dt" sz="half" idx="14"/>
          </p:nvPr>
        </p:nvSpPr>
        <p:spPr bwMode="ltGray"/>
        <p:txBody>
          <a:bodyPr/>
          <a:lstStyle>
            <a:lvl1pPr>
              <a:defRPr>
                <a:solidFill>
                  <a:schemeClr val="bg1"/>
                </a:solidFill>
              </a:defRPr>
            </a:lvl1pPr>
          </a:lstStyle>
          <a:p>
            <a:fld id="{3869822F-F9F4-4987-AC88-332F892BB2CC}" type="datetime5">
              <a:rPr lang="en-US" smtClean="0"/>
              <a:t>26-Jun-20</a:t>
            </a:fld>
            <a:endParaRPr lang="en-US"/>
          </a:p>
        </p:txBody>
      </p:sp>
      <p:sp>
        <p:nvSpPr>
          <p:cNvPr id="22" name="Footer Placeholder 21"/>
          <p:cNvSpPr>
            <a:spLocks noGrp="1"/>
          </p:cNvSpPr>
          <p:nvPr>
            <p:ph type="ftr" sz="quarter" idx="15"/>
          </p:nvPr>
        </p:nvSpPr>
        <p:spPr bwMode="ltGray"/>
        <p:txBody>
          <a:bodyPr/>
          <a:lstStyle>
            <a:lvl1pPr>
              <a:defRPr>
                <a:solidFill>
                  <a:schemeClr val="bg1"/>
                </a:solidFill>
              </a:defRPr>
            </a:lvl1pPr>
          </a:lstStyle>
          <a:p>
            <a:r>
              <a:rPr lang="en-US"/>
              <a:t>Title of presentation (Insert / Header &amp; Footer / Apply to All)</a:t>
            </a:r>
            <a:endParaRPr lang="en-US" dirty="0"/>
          </a:p>
        </p:txBody>
      </p:sp>
      <p:sp>
        <p:nvSpPr>
          <p:cNvPr id="23" name="Slide Number Placeholder 22"/>
          <p:cNvSpPr>
            <a:spLocks noGrp="1"/>
          </p:cNvSpPr>
          <p:nvPr>
            <p:ph type="sldNum" sz="quarter" idx="16"/>
          </p:nvPr>
        </p:nvSpPr>
        <p:spPr bwMode="ltGray"/>
        <p:txBody>
          <a:bodyPr/>
          <a:lstStyle>
            <a:lvl1pPr>
              <a:defRPr>
                <a:solidFill>
                  <a:schemeClr val="bg1"/>
                </a:solidFill>
              </a:defRPr>
            </a:lvl1pPr>
          </a:lstStyle>
          <a:p>
            <a:fld id="{5F3E29E4-0979-4FCA-B4C5-5FC6044C982A}" type="slidenum">
              <a:rPr lang="en-US" smtClean="0"/>
              <a:pPr/>
              <a:t>‹#›</a:t>
            </a:fld>
            <a:endParaRPr lang="en-US"/>
          </a:p>
        </p:txBody>
      </p:sp>
      <p:sp>
        <p:nvSpPr>
          <p:cNvPr id="8" name="copyright"/>
          <p:cNvSpPr txBox="1"/>
          <p:nvPr/>
        </p:nvSpPr>
        <p:spPr>
          <a:xfrm>
            <a:off x="10672209" y="6237288"/>
            <a:ext cx="500617" cy="358173"/>
          </a:xfrm>
          <a:prstGeom prst="rect">
            <a:avLst/>
          </a:prstGeom>
          <a:noFill/>
        </p:spPr>
        <p:txBody>
          <a:bodyPr wrap="none" lIns="0" tIns="0" rIns="0" bIns="0" rtlCol="0" anchor="b" anchorCtr="0">
            <a:noAutofit/>
          </a:bodyPr>
          <a:lstStyle/>
          <a:p>
            <a:pPr marL="0" indent="0" algn="r">
              <a:lnSpc>
                <a:spcPct val="125000"/>
              </a:lnSpc>
              <a:buClr>
                <a:schemeClr val="tx2"/>
              </a:buClr>
              <a:buFont typeface="Wingdings" panose="05000000000000000000" pitchFamily="2" charset="2"/>
              <a:buNone/>
            </a:pPr>
            <a:r>
              <a:rPr lang="en-US" sz="800" dirty="0">
                <a:solidFill>
                  <a:schemeClr val="bg1"/>
                </a:solidFill>
              </a:rPr>
              <a:t>© GfK</a:t>
            </a:r>
          </a:p>
        </p:txBody>
      </p:sp>
      <p:sp>
        <p:nvSpPr>
          <p:cNvPr id="2" name="Title 1"/>
          <p:cNvSpPr>
            <a:spLocks noGrp="1"/>
          </p:cNvSpPr>
          <p:nvPr>
            <p:ph type="title" hasCustomPrompt="1"/>
          </p:nvPr>
        </p:nvSpPr>
        <p:spPr bwMode="ltGray">
          <a:xfrm>
            <a:off x="1075062" y="1519552"/>
            <a:ext cx="10097763" cy="2273171"/>
          </a:xfrm>
        </p:spPr>
        <p:txBody>
          <a:bodyPr/>
          <a:lstStyle>
            <a:lvl1pPr>
              <a:defRPr>
                <a:solidFill>
                  <a:schemeClr val="bg1"/>
                </a:solidFill>
              </a:defRPr>
            </a:lvl1pPr>
          </a:lstStyle>
          <a:p>
            <a:r>
              <a:rPr lang="en-US" dirty="0"/>
              <a:t>Click to add section title</a:t>
            </a:r>
          </a:p>
        </p:txBody>
      </p:sp>
      <p:grpSp>
        <p:nvGrpSpPr>
          <p:cNvPr id="9" name="logo">
            <a:extLst>
              <a:ext uri="{FF2B5EF4-FFF2-40B4-BE49-F238E27FC236}">
                <a16:creationId xmlns:a16="http://schemas.microsoft.com/office/drawing/2014/main" id="{57BD2C4C-DC67-B843-B26C-309622FC75F7}"/>
              </a:ext>
            </a:extLst>
          </p:cNvPr>
          <p:cNvGrpSpPr>
            <a:grpSpLocks noChangeAspect="1"/>
          </p:cNvGrpSpPr>
          <p:nvPr/>
        </p:nvGrpSpPr>
        <p:grpSpPr bwMode="gray">
          <a:xfrm>
            <a:off x="11174018" y="401441"/>
            <a:ext cx="644225" cy="646507"/>
            <a:chOff x="2711" y="1027"/>
            <a:chExt cx="2258" cy="2266"/>
          </a:xfrm>
        </p:grpSpPr>
        <p:sp>
          <p:nvSpPr>
            <p:cNvPr id="11" name="AutoShape 3">
              <a:extLst>
                <a:ext uri="{FF2B5EF4-FFF2-40B4-BE49-F238E27FC236}">
                  <a16:creationId xmlns:a16="http://schemas.microsoft.com/office/drawing/2014/main" id="{FE1DC41B-291E-574C-9F2C-874E70A40758}"/>
                </a:ext>
              </a:extLst>
            </p:cNvPr>
            <p:cNvSpPr>
              <a:spLocks noChangeAspect="1" noChangeArrowheads="1" noTextEdit="1"/>
            </p:cNvSpPr>
            <p:nvPr/>
          </p:nvSpPr>
          <p:spPr bwMode="gray">
            <a:xfrm>
              <a:off x="2711" y="1027"/>
              <a:ext cx="2258" cy="22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sp>
          <p:nvSpPr>
            <p:cNvPr id="12" name="Freeform 5">
              <a:extLst>
                <a:ext uri="{FF2B5EF4-FFF2-40B4-BE49-F238E27FC236}">
                  <a16:creationId xmlns:a16="http://schemas.microsoft.com/office/drawing/2014/main" id="{D4B633C8-F761-C54B-9BD2-EB59D49A2DBC}"/>
                </a:ext>
              </a:extLst>
            </p:cNvPr>
            <p:cNvSpPr>
              <a:spLocks/>
            </p:cNvSpPr>
            <p:nvPr/>
          </p:nvSpPr>
          <p:spPr bwMode="gray">
            <a:xfrm>
              <a:off x="2709" y="1029"/>
              <a:ext cx="2260" cy="2262"/>
            </a:xfrm>
            <a:custGeom>
              <a:avLst/>
              <a:gdLst>
                <a:gd name="T0" fmla="*/ 2260 w 2260"/>
                <a:gd name="T1" fmla="*/ 0 h 2262"/>
                <a:gd name="T2" fmla="*/ 1612 w 2260"/>
                <a:gd name="T3" fmla="*/ 649 h 2262"/>
                <a:gd name="T4" fmla="*/ 1612 w 2260"/>
                <a:gd name="T5" fmla="*/ 649 h 2262"/>
                <a:gd name="T6" fmla="*/ 2035 w 2260"/>
                <a:gd name="T7" fmla="*/ 0 h 2262"/>
                <a:gd name="T8" fmla="*/ 0 w 2260"/>
                <a:gd name="T9" fmla="*/ 0 h 2262"/>
                <a:gd name="T10" fmla="*/ 0 w 2260"/>
                <a:gd name="T11" fmla="*/ 2262 h 2262"/>
                <a:gd name="T12" fmla="*/ 2260 w 2260"/>
                <a:gd name="T13" fmla="*/ 2262 h 2262"/>
                <a:gd name="T14" fmla="*/ 2260 w 2260"/>
                <a:gd name="T15" fmla="*/ 0 h 2262"/>
                <a:gd name="T16" fmla="*/ 2260 w 2260"/>
                <a:gd name="T17" fmla="*/ 0 h 2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0" h="2262">
                  <a:moveTo>
                    <a:pt x="2260" y="0"/>
                  </a:moveTo>
                  <a:lnTo>
                    <a:pt x="1612" y="649"/>
                  </a:lnTo>
                  <a:lnTo>
                    <a:pt x="1612" y="649"/>
                  </a:lnTo>
                  <a:lnTo>
                    <a:pt x="2035" y="0"/>
                  </a:lnTo>
                  <a:lnTo>
                    <a:pt x="0" y="0"/>
                  </a:lnTo>
                  <a:lnTo>
                    <a:pt x="0" y="2262"/>
                  </a:lnTo>
                  <a:lnTo>
                    <a:pt x="2260" y="2262"/>
                  </a:lnTo>
                  <a:lnTo>
                    <a:pt x="2260" y="0"/>
                  </a:lnTo>
                  <a:lnTo>
                    <a:pt x="2260" y="0"/>
                  </a:lnTo>
                  <a:close/>
                </a:path>
              </a:pathLst>
            </a:custGeom>
            <a:solidFill>
              <a:srgbClr val="E55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sp>
          <p:nvSpPr>
            <p:cNvPr id="13" name="Freeform 6">
              <a:extLst>
                <a:ext uri="{FF2B5EF4-FFF2-40B4-BE49-F238E27FC236}">
                  <a16:creationId xmlns:a16="http://schemas.microsoft.com/office/drawing/2014/main" id="{B16BAAE4-1A41-C843-9754-490F7A1E1270}"/>
                </a:ext>
              </a:extLst>
            </p:cNvPr>
            <p:cNvSpPr>
              <a:spLocks noEditPoints="1"/>
            </p:cNvSpPr>
            <p:nvPr/>
          </p:nvSpPr>
          <p:spPr bwMode="gray">
            <a:xfrm>
              <a:off x="3623" y="1696"/>
              <a:ext cx="1167" cy="922"/>
            </a:xfrm>
            <a:custGeom>
              <a:avLst/>
              <a:gdLst>
                <a:gd name="T0" fmla="*/ 411 w 580"/>
                <a:gd name="T1" fmla="*/ 213 h 458"/>
                <a:gd name="T2" fmla="*/ 570 w 580"/>
                <a:gd name="T3" fmla="*/ 37 h 458"/>
                <a:gd name="T4" fmla="*/ 580 w 580"/>
                <a:gd name="T5" fmla="*/ 20 h 458"/>
                <a:gd name="T6" fmla="*/ 545 w 580"/>
                <a:gd name="T7" fmla="*/ 0 h 458"/>
                <a:gd name="T8" fmla="*/ 519 w 580"/>
                <a:gd name="T9" fmla="*/ 16 h 458"/>
                <a:gd name="T10" fmla="*/ 344 w 580"/>
                <a:gd name="T11" fmla="*/ 210 h 458"/>
                <a:gd name="T12" fmla="*/ 334 w 580"/>
                <a:gd name="T13" fmla="*/ 229 h 458"/>
                <a:gd name="T14" fmla="*/ 344 w 580"/>
                <a:gd name="T15" fmla="*/ 248 h 458"/>
                <a:gd name="T16" fmla="*/ 519 w 580"/>
                <a:gd name="T17" fmla="*/ 442 h 458"/>
                <a:gd name="T18" fmla="*/ 545 w 580"/>
                <a:gd name="T19" fmla="*/ 458 h 458"/>
                <a:gd name="T20" fmla="*/ 580 w 580"/>
                <a:gd name="T21" fmla="*/ 438 h 458"/>
                <a:gd name="T22" fmla="*/ 570 w 580"/>
                <a:gd name="T23" fmla="*/ 421 h 458"/>
                <a:gd name="T24" fmla="*/ 411 w 580"/>
                <a:gd name="T25" fmla="*/ 245 h 458"/>
                <a:gd name="T26" fmla="*/ 399 w 580"/>
                <a:gd name="T27" fmla="*/ 229 h 458"/>
                <a:gd name="T28" fmla="*/ 411 w 580"/>
                <a:gd name="T29" fmla="*/ 213 h 458"/>
                <a:gd name="T30" fmla="*/ 252 w 580"/>
                <a:gd name="T31" fmla="*/ 439 h 458"/>
                <a:gd name="T32" fmla="*/ 281 w 580"/>
                <a:gd name="T33" fmla="*/ 454 h 458"/>
                <a:gd name="T34" fmla="*/ 309 w 580"/>
                <a:gd name="T35" fmla="*/ 439 h 458"/>
                <a:gd name="T36" fmla="*/ 309 w 580"/>
                <a:gd name="T37" fmla="*/ 19 h 458"/>
                <a:gd name="T38" fmla="*/ 281 w 580"/>
                <a:gd name="T39" fmla="*/ 4 h 458"/>
                <a:gd name="T40" fmla="*/ 252 w 580"/>
                <a:gd name="T41" fmla="*/ 19 h 458"/>
                <a:gd name="T42" fmla="*/ 252 w 580"/>
                <a:gd name="T43" fmla="*/ 439 h 458"/>
                <a:gd name="T44" fmla="*/ 0 w 580"/>
                <a:gd name="T45" fmla="*/ 439 h 458"/>
                <a:gd name="T46" fmla="*/ 28 w 580"/>
                <a:gd name="T47" fmla="*/ 454 h 458"/>
                <a:gd name="T48" fmla="*/ 56 w 580"/>
                <a:gd name="T49" fmla="*/ 439 h 458"/>
                <a:gd name="T50" fmla="*/ 56 w 580"/>
                <a:gd name="T51" fmla="*/ 157 h 458"/>
                <a:gd name="T52" fmla="*/ 165 w 580"/>
                <a:gd name="T53" fmla="*/ 53 h 458"/>
                <a:gd name="T54" fmla="*/ 180 w 580"/>
                <a:gd name="T55" fmla="*/ 53 h 458"/>
                <a:gd name="T56" fmla="*/ 196 w 580"/>
                <a:gd name="T57" fmla="*/ 27 h 458"/>
                <a:gd name="T58" fmla="*/ 154 w 580"/>
                <a:gd name="T59" fmla="*/ 4 h 458"/>
                <a:gd name="T60" fmla="*/ 0 w 580"/>
                <a:gd name="T61" fmla="*/ 152 h 458"/>
                <a:gd name="T62" fmla="*/ 0 w 580"/>
                <a:gd name="T63" fmla="*/ 439 h 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80" h="458">
                  <a:moveTo>
                    <a:pt x="411" y="213"/>
                  </a:moveTo>
                  <a:cubicBezTo>
                    <a:pt x="570" y="37"/>
                    <a:pt x="570" y="37"/>
                    <a:pt x="570" y="37"/>
                  </a:cubicBezTo>
                  <a:cubicBezTo>
                    <a:pt x="576" y="30"/>
                    <a:pt x="580" y="25"/>
                    <a:pt x="580" y="20"/>
                  </a:cubicBezTo>
                  <a:cubicBezTo>
                    <a:pt x="580" y="10"/>
                    <a:pt x="559" y="0"/>
                    <a:pt x="545" y="0"/>
                  </a:cubicBezTo>
                  <a:cubicBezTo>
                    <a:pt x="535" y="0"/>
                    <a:pt x="526" y="8"/>
                    <a:pt x="519" y="16"/>
                  </a:cubicBezTo>
                  <a:cubicBezTo>
                    <a:pt x="344" y="210"/>
                    <a:pt x="344" y="210"/>
                    <a:pt x="344" y="210"/>
                  </a:cubicBezTo>
                  <a:cubicBezTo>
                    <a:pt x="336" y="219"/>
                    <a:pt x="334" y="224"/>
                    <a:pt x="334" y="229"/>
                  </a:cubicBezTo>
                  <a:cubicBezTo>
                    <a:pt x="334" y="234"/>
                    <a:pt x="336" y="239"/>
                    <a:pt x="344" y="248"/>
                  </a:cubicBezTo>
                  <a:cubicBezTo>
                    <a:pt x="519" y="442"/>
                    <a:pt x="519" y="442"/>
                    <a:pt x="519" y="442"/>
                  </a:cubicBezTo>
                  <a:cubicBezTo>
                    <a:pt x="526" y="450"/>
                    <a:pt x="535" y="458"/>
                    <a:pt x="545" y="458"/>
                  </a:cubicBezTo>
                  <a:cubicBezTo>
                    <a:pt x="559" y="458"/>
                    <a:pt x="580" y="448"/>
                    <a:pt x="580" y="438"/>
                  </a:cubicBezTo>
                  <a:cubicBezTo>
                    <a:pt x="580" y="433"/>
                    <a:pt x="576" y="428"/>
                    <a:pt x="570" y="421"/>
                  </a:cubicBezTo>
                  <a:cubicBezTo>
                    <a:pt x="411" y="245"/>
                    <a:pt x="411" y="245"/>
                    <a:pt x="411" y="245"/>
                  </a:cubicBezTo>
                  <a:cubicBezTo>
                    <a:pt x="403" y="236"/>
                    <a:pt x="399" y="232"/>
                    <a:pt x="399" y="229"/>
                  </a:cubicBezTo>
                  <a:cubicBezTo>
                    <a:pt x="399" y="226"/>
                    <a:pt x="403" y="222"/>
                    <a:pt x="411" y="213"/>
                  </a:cubicBezTo>
                  <a:moveTo>
                    <a:pt x="252" y="439"/>
                  </a:moveTo>
                  <a:cubicBezTo>
                    <a:pt x="252" y="449"/>
                    <a:pt x="261" y="454"/>
                    <a:pt x="281" y="454"/>
                  </a:cubicBezTo>
                  <a:cubicBezTo>
                    <a:pt x="300" y="454"/>
                    <a:pt x="309" y="449"/>
                    <a:pt x="309" y="439"/>
                  </a:cubicBezTo>
                  <a:cubicBezTo>
                    <a:pt x="309" y="19"/>
                    <a:pt x="309" y="19"/>
                    <a:pt x="309" y="19"/>
                  </a:cubicBezTo>
                  <a:cubicBezTo>
                    <a:pt x="309" y="9"/>
                    <a:pt x="300" y="4"/>
                    <a:pt x="281" y="4"/>
                  </a:cubicBezTo>
                  <a:cubicBezTo>
                    <a:pt x="261" y="4"/>
                    <a:pt x="252" y="9"/>
                    <a:pt x="252" y="19"/>
                  </a:cubicBezTo>
                  <a:lnTo>
                    <a:pt x="252" y="439"/>
                  </a:lnTo>
                  <a:close/>
                  <a:moveTo>
                    <a:pt x="0" y="439"/>
                  </a:moveTo>
                  <a:cubicBezTo>
                    <a:pt x="0" y="449"/>
                    <a:pt x="8" y="454"/>
                    <a:pt x="28" y="454"/>
                  </a:cubicBezTo>
                  <a:cubicBezTo>
                    <a:pt x="48" y="454"/>
                    <a:pt x="56" y="449"/>
                    <a:pt x="56" y="439"/>
                  </a:cubicBezTo>
                  <a:cubicBezTo>
                    <a:pt x="56" y="157"/>
                    <a:pt x="56" y="157"/>
                    <a:pt x="56" y="157"/>
                  </a:cubicBezTo>
                  <a:cubicBezTo>
                    <a:pt x="56" y="83"/>
                    <a:pt x="85" y="53"/>
                    <a:pt x="165" y="53"/>
                  </a:cubicBezTo>
                  <a:cubicBezTo>
                    <a:pt x="180" y="53"/>
                    <a:pt x="180" y="53"/>
                    <a:pt x="180" y="53"/>
                  </a:cubicBezTo>
                  <a:cubicBezTo>
                    <a:pt x="192" y="53"/>
                    <a:pt x="196" y="43"/>
                    <a:pt x="196" y="27"/>
                  </a:cubicBezTo>
                  <a:cubicBezTo>
                    <a:pt x="196" y="8"/>
                    <a:pt x="185" y="4"/>
                    <a:pt x="154" y="4"/>
                  </a:cubicBezTo>
                  <a:cubicBezTo>
                    <a:pt x="64" y="4"/>
                    <a:pt x="0" y="43"/>
                    <a:pt x="0" y="152"/>
                  </a:cubicBezTo>
                  <a:lnTo>
                    <a:pt x="0" y="43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sp>
          <p:nvSpPr>
            <p:cNvPr id="14" name="Freeform 7">
              <a:extLst>
                <a:ext uri="{FF2B5EF4-FFF2-40B4-BE49-F238E27FC236}">
                  <a16:creationId xmlns:a16="http://schemas.microsoft.com/office/drawing/2014/main" id="{2F32DCBD-8628-F245-85CD-97686A20ECFD}"/>
                </a:ext>
              </a:extLst>
            </p:cNvPr>
            <p:cNvSpPr>
              <a:spLocks/>
            </p:cNvSpPr>
            <p:nvPr/>
          </p:nvSpPr>
          <p:spPr bwMode="gray">
            <a:xfrm>
              <a:off x="2880" y="1704"/>
              <a:ext cx="618" cy="916"/>
            </a:xfrm>
            <a:custGeom>
              <a:avLst/>
              <a:gdLst>
                <a:gd name="T0" fmla="*/ 307 w 307"/>
                <a:gd name="T1" fmla="*/ 405 h 455"/>
                <a:gd name="T2" fmla="*/ 307 w 307"/>
                <a:gd name="T3" fmla="*/ 244 h 455"/>
                <a:gd name="T4" fmla="*/ 279 w 307"/>
                <a:gd name="T5" fmla="*/ 229 h 455"/>
                <a:gd name="T6" fmla="*/ 250 w 307"/>
                <a:gd name="T7" fmla="*/ 244 h 455"/>
                <a:gd name="T8" fmla="*/ 250 w 307"/>
                <a:gd name="T9" fmla="*/ 378 h 455"/>
                <a:gd name="T10" fmla="*/ 199 w 307"/>
                <a:gd name="T11" fmla="*/ 408 h 455"/>
                <a:gd name="T12" fmla="*/ 61 w 307"/>
                <a:gd name="T13" fmla="*/ 231 h 455"/>
                <a:gd name="T14" fmla="*/ 238 w 307"/>
                <a:gd name="T15" fmla="*/ 49 h 455"/>
                <a:gd name="T16" fmla="*/ 270 w 307"/>
                <a:gd name="T17" fmla="*/ 49 h 455"/>
                <a:gd name="T18" fmla="*/ 286 w 307"/>
                <a:gd name="T19" fmla="*/ 23 h 455"/>
                <a:gd name="T20" fmla="*/ 244 w 307"/>
                <a:gd name="T21" fmla="*/ 0 h 455"/>
                <a:gd name="T22" fmla="*/ 231 w 307"/>
                <a:gd name="T23" fmla="*/ 0 h 455"/>
                <a:gd name="T24" fmla="*/ 0 w 307"/>
                <a:gd name="T25" fmla="*/ 232 h 455"/>
                <a:gd name="T26" fmla="*/ 198 w 307"/>
                <a:gd name="T27" fmla="*/ 455 h 455"/>
                <a:gd name="T28" fmla="*/ 307 w 307"/>
                <a:gd name="T29" fmla="*/ 405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7" h="455">
                  <a:moveTo>
                    <a:pt x="307" y="405"/>
                  </a:moveTo>
                  <a:cubicBezTo>
                    <a:pt x="307" y="244"/>
                    <a:pt x="307" y="244"/>
                    <a:pt x="307" y="244"/>
                  </a:cubicBezTo>
                  <a:cubicBezTo>
                    <a:pt x="307" y="234"/>
                    <a:pt x="298" y="229"/>
                    <a:pt x="279" y="229"/>
                  </a:cubicBezTo>
                  <a:cubicBezTo>
                    <a:pt x="259" y="229"/>
                    <a:pt x="250" y="234"/>
                    <a:pt x="250" y="244"/>
                  </a:cubicBezTo>
                  <a:cubicBezTo>
                    <a:pt x="250" y="378"/>
                    <a:pt x="250" y="378"/>
                    <a:pt x="250" y="378"/>
                  </a:cubicBezTo>
                  <a:cubicBezTo>
                    <a:pt x="250" y="399"/>
                    <a:pt x="241" y="408"/>
                    <a:pt x="199" y="408"/>
                  </a:cubicBezTo>
                  <a:cubicBezTo>
                    <a:pt x="114" y="408"/>
                    <a:pt x="61" y="342"/>
                    <a:pt x="61" y="231"/>
                  </a:cubicBezTo>
                  <a:cubicBezTo>
                    <a:pt x="61" y="115"/>
                    <a:pt x="126" y="49"/>
                    <a:pt x="238" y="49"/>
                  </a:cubicBezTo>
                  <a:cubicBezTo>
                    <a:pt x="270" y="49"/>
                    <a:pt x="270" y="49"/>
                    <a:pt x="270" y="49"/>
                  </a:cubicBezTo>
                  <a:cubicBezTo>
                    <a:pt x="282" y="49"/>
                    <a:pt x="286" y="39"/>
                    <a:pt x="286" y="23"/>
                  </a:cubicBezTo>
                  <a:cubicBezTo>
                    <a:pt x="286" y="4"/>
                    <a:pt x="275" y="0"/>
                    <a:pt x="244" y="0"/>
                  </a:cubicBezTo>
                  <a:cubicBezTo>
                    <a:pt x="231" y="0"/>
                    <a:pt x="231" y="0"/>
                    <a:pt x="231" y="0"/>
                  </a:cubicBezTo>
                  <a:cubicBezTo>
                    <a:pt x="101" y="0"/>
                    <a:pt x="0" y="71"/>
                    <a:pt x="0" y="232"/>
                  </a:cubicBezTo>
                  <a:cubicBezTo>
                    <a:pt x="0" y="386"/>
                    <a:pt x="88" y="455"/>
                    <a:pt x="198" y="455"/>
                  </a:cubicBezTo>
                  <a:cubicBezTo>
                    <a:pt x="286" y="455"/>
                    <a:pt x="307" y="430"/>
                    <a:pt x="307" y="40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sp>
          <p:nvSpPr>
            <p:cNvPr id="15" name="Oval 8">
              <a:extLst>
                <a:ext uri="{FF2B5EF4-FFF2-40B4-BE49-F238E27FC236}">
                  <a16:creationId xmlns:a16="http://schemas.microsoft.com/office/drawing/2014/main" id="{60D97C11-1A3B-5449-A48D-98A3E79B3810}"/>
                </a:ext>
              </a:extLst>
            </p:cNvPr>
            <p:cNvSpPr>
              <a:spLocks noChangeArrowheads="1"/>
            </p:cNvSpPr>
            <p:nvPr/>
          </p:nvSpPr>
          <p:spPr bwMode="gray">
            <a:xfrm>
              <a:off x="3778" y="2099"/>
              <a:ext cx="122" cy="12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sp>
          <p:nvSpPr>
            <p:cNvPr id="16" name="Freeform 9">
              <a:extLst>
                <a:ext uri="{FF2B5EF4-FFF2-40B4-BE49-F238E27FC236}">
                  <a16:creationId xmlns:a16="http://schemas.microsoft.com/office/drawing/2014/main" id="{5856770D-B8F0-244E-A05D-AED190086F10}"/>
                </a:ext>
              </a:extLst>
            </p:cNvPr>
            <p:cNvSpPr>
              <a:spLocks noEditPoints="1"/>
            </p:cNvSpPr>
            <p:nvPr/>
          </p:nvSpPr>
          <p:spPr bwMode="gray">
            <a:xfrm>
              <a:off x="3623" y="1696"/>
              <a:ext cx="1167" cy="922"/>
            </a:xfrm>
            <a:custGeom>
              <a:avLst/>
              <a:gdLst>
                <a:gd name="T0" fmla="*/ 411 w 580"/>
                <a:gd name="T1" fmla="*/ 213 h 458"/>
                <a:gd name="T2" fmla="*/ 570 w 580"/>
                <a:gd name="T3" fmla="*/ 37 h 458"/>
                <a:gd name="T4" fmla="*/ 580 w 580"/>
                <a:gd name="T5" fmla="*/ 20 h 458"/>
                <a:gd name="T6" fmla="*/ 545 w 580"/>
                <a:gd name="T7" fmla="*/ 0 h 458"/>
                <a:gd name="T8" fmla="*/ 519 w 580"/>
                <a:gd name="T9" fmla="*/ 16 h 458"/>
                <a:gd name="T10" fmla="*/ 344 w 580"/>
                <a:gd name="T11" fmla="*/ 210 h 458"/>
                <a:gd name="T12" fmla="*/ 334 w 580"/>
                <a:gd name="T13" fmla="*/ 229 h 458"/>
                <a:gd name="T14" fmla="*/ 344 w 580"/>
                <a:gd name="T15" fmla="*/ 248 h 458"/>
                <a:gd name="T16" fmla="*/ 519 w 580"/>
                <a:gd name="T17" fmla="*/ 442 h 458"/>
                <a:gd name="T18" fmla="*/ 545 w 580"/>
                <a:gd name="T19" fmla="*/ 458 h 458"/>
                <a:gd name="T20" fmla="*/ 580 w 580"/>
                <a:gd name="T21" fmla="*/ 438 h 458"/>
                <a:gd name="T22" fmla="*/ 570 w 580"/>
                <a:gd name="T23" fmla="*/ 421 h 458"/>
                <a:gd name="T24" fmla="*/ 411 w 580"/>
                <a:gd name="T25" fmla="*/ 245 h 458"/>
                <a:gd name="T26" fmla="*/ 399 w 580"/>
                <a:gd name="T27" fmla="*/ 229 h 458"/>
                <a:gd name="T28" fmla="*/ 411 w 580"/>
                <a:gd name="T29" fmla="*/ 213 h 458"/>
                <a:gd name="T30" fmla="*/ 252 w 580"/>
                <a:gd name="T31" fmla="*/ 439 h 458"/>
                <a:gd name="T32" fmla="*/ 281 w 580"/>
                <a:gd name="T33" fmla="*/ 454 h 458"/>
                <a:gd name="T34" fmla="*/ 309 w 580"/>
                <a:gd name="T35" fmla="*/ 439 h 458"/>
                <a:gd name="T36" fmla="*/ 309 w 580"/>
                <a:gd name="T37" fmla="*/ 19 h 458"/>
                <a:gd name="T38" fmla="*/ 281 w 580"/>
                <a:gd name="T39" fmla="*/ 4 h 458"/>
                <a:gd name="T40" fmla="*/ 252 w 580"/>
                <a:gd name="T41" fmla="*/ 19 h 458"/>
                <a:gd name="T42" fmla="*/ 252 w 580"/>
                <a:gd name="T43" fmla="*/ 439 h 458"/>
                <a:gd name="T44" fmla="*/ 0 w 580"/>
                <a:gd name="T45" fmla="*/ 439 h 458"/>
                <a:gd name="T46" fmla="*/ 28 w 580"/>
                <a:gd name="T47" fmla="*/ 454 h 458"/>
                <a:gd name="T48" fmla="*/ 56 w 580"/>
                <a:gd name="T49" fmla="*/ 439 h 458"/>
                <a:gd name="T50" fmla="*/ 56 w 580"/>
                <a:gd name="T51" fmla="*/ 157 h 458"/>
                <a:gd name="T52" fmla="*/ 165 w 580"/>
                <a:gd name="T53" fmla="*/ 53 h 458"/>
                <a:gd name="T54" fmla="*/ 180 w 580"/>
                <a:gd name="T55" fmla="*/ 53 h 458"/>
                <a:gd name="T56" fmla="*/ 196 w 580"/>
                <a:gd name="T57" fmla="*/ 27 h 458"/>
                <a:gd name="T58" fmla="*/ 154 w 580"/>
                <a:gd name="T59" fmla="*/ 4 h 458"/>
                <a:gd name="T60" fmla="*/ 0 w 580"/>
                <a:gd name="T61" fmla="*/ 152 h 458"/>
                <a:gd name="T62" fmla="*/ 0 w 580"/>
                <a:gd name="T63" fmla="*/ 439 h 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80" h="458">
                  <a:moveTo>
                    <a:pt x="411" y="213"/>
                  </a:moveTo>
                  <a:cubicBezTo>
                    <a:pt x="570" y="37"/>
                    <a:pt x="570" y="37"/>
                    <a:pt x="570" y="37"/>
                  </a:cubicBezTo>
                  <a:cubicBezTo>
                    <a:pt x="576" y="30"/>
                    <a:pt x="580" y="25"/>
                    <a:pt x="580" y="20"/>
                  </a:cubicBezTo>
                  <a:cubicBezTo>
                    <a:pt x="580" y="10"/>
                    <a:pt x="559" y="0"/>
                    <a:pt x="545" y="0"/>
                  </a:cubicBezTo>
                  <a:cubicBezTo>
                    <a:pt x="535" y="0"/>
                    <a:pt x="526" y="8"/>
                    <a:pt x="519" y="16"/>
                  </a:cubicBezTo>
                  <a:cubicBezTo>
                    <a:pt x="344" y="210"/>
                    <a:pt x="344" y="210"/>
                    <a:pt x="344" y="210"/>
                  </a:cubicBezTo>
                  <a:cubicBezTo>
                    <a:pt x="336" y="219"/>
                    <a:pt x="334" y="224"/>
                    <a:pt x="334" y="229"/>
                  </a:cubicBezTo>
                  <a:cubicBezTo>
                    <a:pt x="334" y="234"/>
                    <a:pt x="336" y="239"/>
                    <a:pt x="344" y="248"/>
                  </a:cubicBezTo>
                  <a:cubicBezTo>
                    <a:pt x="519" y="442"/>
                    <a:pt x="519" y="442"/>
                    <a:pt x="519" y="442"/>
                  </a:cubicBezTo>
                  <a:cubicBezTo>
                    <a:pt x="526" y="450"/>
                    <a:pt x="535" y="458"/>
                    <a:pt x="545" y="458"/>
                  </a:cubicBezTo>
                  <a:cubicBezTo>
                    <a:pt x="559" y="458"/>
                    <a:pt x="580" y="448"/>
                    <a:pt x="580" y="438"/>
                  </a:cubicBezTo>
                  <a:cubicBezTo>
                    <a:pt x="580" y="433"/>
                    <a:pt x="576" y="428"/>
                    <a:pt x="570" y="421"/>
                  </a:cubicBezTo>
                  <a:cubicBezTo>
                    <a:pt x="411" y="245"/>
                    <a:pt x="411" y="245"/>
                    <a:pt x="411" y="245"/>
                  </a:cubicBezTo>
                  <a:cubicBezTo>
                    <a:pt x="403" y="236"/>
                    <a:pt x="399" y="232"/>
                    <a:pt x="399" y="229"/>
                  </a:cubicBezTo>
                  <a:cubicBezTo>
                    <a:pt x="399" y="226"/>
                    <a:pt x="403" y="222"/>
                    <a:pt x="411" y="213"/>
                  </a:cubicBezTo>
                  <a:moveTo>
                    <a:pt x="252" y="439"/>
                  </a:moveTo>
                  <a:cubicBezTo>
                    <a:pt x="252" y="449"/>
                    <a:pt x="261" y="454"/>
                    <a:pt x="281" y="454"/>
                  </a:cubicBezTo>
                  <a:cubicBezTo>
                    <a:pt x="300" y="454"/>
                    <a:pt x="309" y="449"/>
                    <a:pt x="309" y="439"/>
                  </a:cubicBezTo>
                  <a:cubicBezTo>
                    <a:pt x="309" y="19"/>
                    <a:pt x="309" y="19"/>
                    <a:pt x="309" y="19"/>
                  </a:cubicBezTo>
                  <a:cubicBezTo>
                    <a:pt x="309" y="9"/>
                    <a:pt x="300" y="4"/>
                    <a:pt x="281" y="4"/>
                  </a:cubicBezTo>
                  <a:cubicBezTo>
                    <a:pt x="261" y="4"/>
                    <a:pt x="252" y="9"/>
                    <a:pt x="252" y="19"/>
                  </a:cubicBezTo>
                  <a:lnTo>
                    <a:pt x="252" y="439"/>
                  </a:lnTo>
                  <a:close/>
                  <a:moveTo>
                    <a:pt x="0" y="439"/>
                  </a:moveTo>
                  <a:cubicBezTo>
                    <a:pt x="0" y="449"/>
                    <a:pt x="8" y="454"/>
                    <a:pt x="28" y="454"/>
                  </a:cubicBezTo>
                  <a:cubicBezTo>
                    <a:pt x="48" y="454"/>
                    <a:pt x="56" y="449"/>
                    <a:pt x="56" y="439"/>
                  </a:cubicBezTo>
                  <a:cubicBezTo>
                    <a:pt x="56" y="157"/>
                    <a:pt x="56" y="157"/>
                    <a:pt x="56" y="157"/>
                  </a:cubicBezTo>
                  <a:cubicBezTo>
                    <a:pt x="56" y="83"/>
                    <a:pt x="85" y="53"/>
                    <a:pt x="165" y="53"/>
                  </a:cubicBezTo>
                  <a:cubicBezTo>
                    <a:pt x="180" y="53"/>
                    <a:pt x="180" y="53"/>
                    <a:pt x="180" y="53"/>
                  </a:cubicBezTo>
                  <a:cubicBezTo>
                    <a:pt x="192" y="53"/>
                    <a:pt x="196" y="43"/>
                    <a:pt x="196" y="27"/>
                  </a:cubicBezTo>
                  <a:cubicBezTo>
                    <a:pt x="196" y="8"/>
                    <a:pt x="185" y="4"/>
                    <a:pt x="154" y="4"/>
                  </a:cubicBezTo>
                  <a:cubicBezTo>
                    <a:pt x="64" y="4"/>
                    <a:pt x="0" y="43"/>
                    <a:pt x="0" y="152"/>
                  </a:cubicBezTo>
                  <a:lnTo>
                    <a:pt x="0" y="43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sp>
          <p:nvSpPr>
            <p:cNvPr id="17" name="Freeform 10">
              <a:extLst>
                <a:ext uri="{FF2B5EF4-FFF2-40B4-BE49-F238E27FC236}">
                  <a16:creationId xmlns:a16="http://schemas.microsoft.com/office/drawing/2014/main" id="{2B91B16B-BC11-E547-8FAC-B9B8D18EA449}"/>
                </a:ext>
              </a:extLst>
            </p:cNvPr>
            <p:cNvSpPr>
              <a:spLocks/>
            </p:cNvSpPr>
            <p:nvPr/>
          </p:nvSpPr>
          <p:spPr bwMode="gray">
            <a:xfrm>
              <a:off x="2880" y="1704"/>
              <a:ext cx="618" cy="916"/>
            </a:xfrm>
            <a:custGeom>
              <a:avLst/>
              <a:gdLst>
                <a:gd name="T0" fmla="*/ 307 w 307"/>
                <a:gd name="T1" fmla="*/ 405 h 455"/>
                <a:gd name="T2" fmla="*/ 307 w 307"/>
                <a:gd name="T3" fmla="*/ 244 h 455"/>
                <a:gd name="T4" fmla="*/ 279 w 307"/>
                <a:gd name="T5" fmla="*/ 229 h 455"/>
                <a:gd name="T6" fmla="*/ 250 w 307"/>
                <a:gd name="T7" fmla="*/ 244 h 455"/>
                <a:gd name="T8" fmla="*/ 250 w 307"/>
                <a:gd name="T9" fmla="*/ 378 h 455"/>
                <a:gd name="T10" fmla="*/ 199 w 307"/>
                <a:gd name="T11" fmla="*/ 408 h 455"/>
                <a:gd name="T12" fmla="*/ 61 w 307"/>
                <a:gd name="T13" fmla="*/ 231 h 455"/>
                <a:gd name="T14" fmla="*/ 238 w 307"/>
                <a:gd name="T15" fmla="*/ 49 h 455"/>
                <a:gd name="T16" fmla="*/ 270 w 307"/>
                <a:gd name="T17" fmla="*/ 49 h 455"/>
                <a:gd name="T18" fmla="*/ 286 w 307"/>
                <a:gd name="T19" fmla="*/ 23 h 455"/>
                <a:gd name="T20" fmla="*/ 244 w 307"/>
                <a:gd name="T21" fmla="*/ 0 h 455"/>
                <a:gd name="T22" fmla="*/ 231 w 307"/>
                <a:gd name="T23" fmla="*/ 0 h 455"/>
                <a:gd name="T24" fmla="*/ 0 w 307"/>
                <a:gd name="T25" fmla="*/ 232 h 455"/>
                <a:gd name="T26" fmla="*/ 198 w 307"/>
                <a:gd name="T27" fmla="*/ 455 h 455"/>
                <a:gd name="T28" fmla="*/ 307 w 307"/>
                <a:gd name="T29" fmla="*/ 405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7" h="455">
                  <a:moveTo>
                    <a:pt x="307" y="405"/>
                  </a:moveTo>
                  <a:cubicBezTo>
                    <a:pt x="307" y="244"/>
                    <a:pt x="307" y="244"/>
                    <a:pt x="307" y="244"/>
                  </a:cubicBezTo>
                  <a:cubicBezTo>
                    <a:pt x="307" y="234"/>
                    <a:pt x="298" y="229"/>
                    <a:pt x="279" y="229"/>
                  </a:cubicBezTo>
                  <a:cubicBezTo>
                    <a:pt x="259" y="229"/>
                    <a:pt x="250" y="234"/>
                    <a:pt x="250" y="244"/>
                  </a:cubicBezTo>
                  <a:cubicBezTo>
                    <a:pt x="250" y="378"/>
                    <a:pt x="250" y="378"/>
                    <a:pt x="250" y="378"/>
                  </a:cubicBezTo>
                  <a:cubicBezTo>
                    <a:pt x="250" y="399"/>
                    <a:pt x="241" y="408"/>
                    <a:pt x="199" y="408"/>
                  </a:cubicBezTo>
                  <a:cubicBezTo>
                    <a:pt x="114" y="408"/>
                    <a:pt x="61" y="342"/>
                    <a:pt x="61" y="231"/>
                  </a:cubicBezTo>
                  <a:cubicBezTo>
                    <a:pt x="61" y="115"/>
                    <a:pt x="126" y="49"/>
                    <a:pt x="238" y="49"/>
                  </a:cubicBezTo>
                  <a:cubicBezTo>
                    <a:pt x="270" y="49"/>
                    <a:pt x="270" y="49"/>
                    <a:pt x="270" y="49"/>
                  </a:cubicBezTo>
                  <a:cubicBezTo>
                    <a:pt x="282" y="49"/>
                    <a:pt x="286" y="39"/>
                    <a:pt x="286" y="23"/>
                  </a:cubicBezTo>
                  <a:cubicBezTo>
                    <a:pt x="286" y="4"/>
                    <a:pt x="275" y="0"/>
                    <a:pt x="244" y="0"/>
                  </a:cubicBezTo>
                  <a:cubicBezTo>
                    <a:pt x="231" y="0"/>
                    <a:pt x="231" y="0"/>
                    <a:pt x="231" y="0"/>
                  </a:cubicBezTo>
                  <a:cubicBezTo>
                    <a:pt x="101" y="0"/>
                    <a:pt x="0" y="71"/>
                    <a:pt x="0" y="232"/>
                  </a:cubicBezTo>
                  <a:cubicBezTo>
                    <a:pt x="0" y="386"/>
                    <a:pt x="88" y="455"/>
                    <a:pt x="198" y="455"/>
                  </a:cubicBezTo>
                  <a:cubicBezTo>
                    <a:pt x="286" y="455"/>
                    <a:pt x="307" y="430"/>
                    <a:pt x="307" y="40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sp>
          <p:nvSpPr>
            <p:cNvPr id="18" name="Oval 11">
              <a:extLst>
                <a:ext uri="{FF2B5EF4-FFF2-40B4-BE49-F238E27FC236}">
                  <a16:creationId xmlns:a16="http://schemas.microsoft.com/office/drawing/2014/main" id="{14F8C3C8-4888-7646-B9B4-64EB46A1DA23}"/>
                </a:ext>
              </a:extLst>
            </p:cNvPr>
            <p:cNvSpPr>
              <a:spLocks noChangeArrowheads="1"/>
            </p:cNvSpPr>
            <p:nvPr/>
          </p:nvSpPr>
          <p:spPr bwMode="gray">
            <a:xfrm>
              <a:off x="3778" y="2099"/>
              <a:ext cx="122" cy="12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sp>
          <p:nvSpPr>
            <p:cNvPr id="19" name="Freeform 12">
              <a:extLst>
                <a:ext uri="{FF2B5EF4-FFF2-40B4-BE49-F238E27FC236}">
                  <a16:creationId xmlns:a16="http://schemas.microsoft.com/office/drawing/2014/main" id="{D79D01D1-4E3E-F34B-97D7-2D387E68746E}"/>
                </a:ext>
              </a:extLst>
            </p:cNvPr>
            <p:cNvSpPr>
              <a:spLocks/>
            </p:cNvSpPr>
            <p:nvPr/>
          </p:nvSpPr>
          <p:spPr bwMode="gray">
            <a:xfrm>
              <a:off x="4321" y="1029"/>
              <a:ext cx="648" cy="649"/>
            </a:xfrm>
            <a:custGeom>
              <a:avLst/>
              <a:gdLst>
                <a:gd name="T0" fmla="*/ 0 w 648"/>
                <a:gd name="T1" fmla="*/ 649 h 649"/>
                <a:gd name="T2" fmla="*/ 2 w 648"/>
                <a:gd name="T3" fmla="*/ 649 h 649"/>
                <a:gd name="T4" fmla="*/ 648 w 648"/>
                <a:gd name="T5" fmla="*/ 0 h 649"/>
                <a:gd name="T6" fmla="*/ 423 w 648"/>
                <a:gd name="T7" fmla="*/ 0 h 649"/>
                <a:gd name="T8" fmla="*/ 0 w 648"/>
                <a:gd name="T9" fmla="*/ 649 h 649"/>
              </a:gdLst>
              <a:ahLst/>
              <a:cxnLst>
                <a:cxn ang="0">
                  <a:pos x="T0" y="T1"/>
                </a:cxn>
                <a:cxn ang="0">
                  <a:pos x="T2" y="T3"/>
                </a:cxn>
                <a:cxn ang="0">
                  <a:pos x="T4" y="T5"/>
                </a:cxn>
                <a:cxn ang="0">
                  <a:pos x="T6" y="T7"/>
                </a:cxn>
                <a:cxn ang="0">
                  <a:pos x="T8" y="T9"/>
                </a:cxn>
              </a:cxnLst>
              <a:rect l="0" t="0" r="r" b="b"/>
              <a:pathLst>
                <a:path w="648" h="649">
                  <a:moveTo>
                    <a:pt x="0" y="649"/>
                  </a:moveTo>
                  <a:lnTo>
                    <a:pt x="2" y="649"/>
                  </a:lnTo>
                  <a:lnTo>
                    <a:pt x="648" y="0"/>
                  </a:lnTo>
                  <a:lnTo>
                    <a:pt x="423" y="0"/>
                  </a:lnTo>
                  <a:lnTo>
                    <a:pt x="0" y="64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sp>
          <p:nvSpPr>
            <p:cNvPr id="20" name="Freeform 13">
              <a:extLst>
                <a:ext uri="{FF2B5EF4-FFF2-40B4-BE49-F238E27FC236}">
                  <a16:creationId xmlns:a16="http://schemas.microsoft.com/office/drawing/2014/main" id="{46549898-6C52-B147-A8F6-A73FDBE6163B}"/>
                </a:ext>
              </a:extLst>
            </p:cNvPr>
            <p:cNvSpPr>
              <a:spLocks/>
            </p:cNvSpPr>
            <p:nvPr/>
          </p:nvSpPr>
          <p:spPr bwMode="gray">
            <a:xfrm>
              <a:off x="4321" y="1029"/>
              <a:ext cx="648" cy="649"/>
            </a:xfrm>
            <a:custGeom>
              <a:avLst/>
              <a:gdLst>
                <a:gd name="T0" fmla="*/ 0 w 648"/>
                <a:gd name="T1" fmla="*/ 649 h 649"/>
                <a:gd name="T2" fmla="*/ 2 w 648"/>
                <a:gd name="T3" fmla="*/ 649 h 649"/>
                <a:gd name="T4" fmla="*/ 648 w 648"/>
                <a:gd name="T5" fmla="*/ 0 h 649"/>
                <a:gd name="T6" fmla="*/ 423 w 648"/>
                <a:gd name="T7" fmla="*/ 0 h 649"/>
                <a:gd name="T8" fmla="*/ 0 w 648"/>
                <a:gd name="T9" fmla="*/ 649 h 649"/>
              </a:gdLst>
              <a:ahLst/>
              <a:cxnLst>
                <a:cxn ang="0">
                  <a:pos x="T0" y="T1"/>
                </a:cxn>
                <a:cxn ang="0">
                  <a:pos x="T2" y="T3"/>
                </a:cxn>
                <a:cxn ang="0">
                  <a:pos x="T4" y="T5"/>
                </a:cxn>
                <a:cxn ang="0">
                  <a:pos x="T6" y="T7"/>
                </a:cxn>
                <a:cxn ang="0">
                  <a:pos x="T8" y="T9"/>
                </a:cxn>
              </a:cxnLst>
              <a:rect l="0" t="0" r="r" b="b"/>
              <a:pathLst>
                <a:path w="648" h="649">
                  <a:moveTo>
                    <a:pt x="0" y="649"/>
                  </a:moveTo>
                  <a:lnTo>
                    <a:pt x="2" y="649"/>
                  </a:lnTo>
                  <a:lnTo>
                    <a:pt x="648" y="0"/>
                  </a:lnTo>
                  <a:lnTo>
                    <a:pt x="423" y="0"/>
                  </a:lnTo>
                  <a:lnTo>
                    <a:pt x="0" y="64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grpSp>
    </p:spTree>
    <p:extLst>
      <p:ext uri="{BB962C8B-B14F-4D97-AF65-F5344CB8AC3E}">
        <p14:creationId xmlns:p14="http://schemas.microsoft.com/office/powerpoint/2010/main" val="4213345142"/>
      </p:ext>
    </p:extLst>
  </p:cSld>
  <p:clrMapOvr>
    <a:masterClrMapping/>
  </p:clrMapOvr>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p:cSld name="Headline only">
    <p:spTree>
      <p:nvGrpSpPr>
        <p:cNvPr id="1" name=""/>
        <p:cNvGrpSpPr/>
        <p:nvPr/>
      </p:nvGrpSpPr>
      <p:grpSpPr>
        <a:xfrm>
          <a:off x="0" y="0"/>
          <a:ext cx="0" cy="0"/>
          <a:chOff x="0" y="0"/>
          <a:chExt cx="0" cy="0"/>
        </a:xfrm>
      </p:grpSpPr>
      <p:sp>
        <p:nvSpPr>
          <p:cNvPr id="21" name="Date Placeholder 20"/>
          <p:cNvSpPr>
            <a:spLocks noGrp="1"/>
          </p:cNvSpPr>
          <p:nvPr>
            <p:ph type="dt" sz="half" idx="14"/>
          </p:nvPr>
        </p:nvSpPr>
        <p:spPr/>
        <p:txBody>
          <a:bodyPr/>
          <a:lstStyle/>
          <a:p>
            <a:fld id="{7DCAAD07-09FD-49C1-9253-3DC58F499B21}" type="datetime5">
              <a:rPr lang="en-US" smtClean="0"/>
              <a:t>26-Jun-20</a:t>
            </a:fld>
            <a:endParaRPr lang="en-US"/>
          </a:p>
        </p:txBody>
      </p:sp>
      <p:sp>
        <p:nvSpPr>
          <p:cNvPr id="22" name="Footer Placeholder 21"/>
          <p:cNvSpPr>
            <a:spLocks noGrp="1"/>
          </p:cNvSpPr>
          <p:nvPr>
            <p:ph type="ftr" sz="quarter" idx="15"/>
          </p:nvPr>
        </p:nvSpPr>
        <p:spPr/>
        <p:txBody>
          <a:bodyPr/>
          <a:lstStyle/>
          <a:p>
            <a:r>
              <a:rPr lang="en-US"/>
              <a:t>Title of presentation (Insert / Header &amp; Footer / Apply to All)</a:t>
            </a:r>
            <a:endParaRPr lang="en-US" dirty="0"/>
          </a:p>
        </p:txBody>
      </p:sp>
      <p:sp>
        <p:nvSpPr>
          <p:cNvPr id="23" name="Slide Number Placeholder 22"/>
          <p:cNvSpPr>
            <a:spLocks noGrp="1"/>
          </p:cNvSpPr>
          <p:nvPr>
            <p:ph type="sldNum" sz="quarter" idx="16"/>
          </p:nvPr>
        </p:nvSpPr>
        <p:spPr/>
        <p:txBody>
          <a:bodyPr/>
          <a:lstStyle/>
          <a:p>
            <a:fld id="{5F3E29E4-0979-4FCA-B4C5-5FC6044C982A}" type="slidenum">
              <a:rPr lang="en-US" smtClean="0"/>
              <a:t>‹#›</a:t>
            </a:fld>
            <a:endParaRPr lang="en-US"/>
          </a:p>
        </p:txBody>
      </p:sp>
      <p:sp>
        <p:nvSpPr>
          <p:cNvPr id="2" name="Title 1"/>
          <p:cNvSpPr>
            <a:spLocks noGrp="1"/>
          </p:cNvSpPr>
          <p:nvPr>
            <p:ph type="title" hasCustomPrompt="1"/>
          </p:nvPr>
        </p:nvSpPr>
        <p:spPr/>
        <p:txBody>
          <a:bodyPr/>
          <a:lstStyle>
            <a:lvl1pPr>
              <a:defRPr/>
            </a:lvl1pPr>
          </a:lstStyle>
          <a:p>
            <a:r>
              <a:rPr lang="en-US" dirty="0"/>
              <a:t>Click to add slide title</a:t>
            </a:r>
          </a:p>
        </p:txBody>
      </p:sp>
      <p:sp>
        <p:nvSpPr>
          <p:cNvPr id="7" name="Subtitle 2"/>
          <p:cNvSpPr>
            <a:spLocks noGrp="1"/>
          </p:cNvSpPr>
          <p:nvPr>
            <p:ph type="subTitle" idx="13" hasCustomPrompt="1"/>
          </p:nvPr>
        </p:nvSpPr>
        <p:spPr>
          <a:xfrm>
            <a:off x="1075061" y="964671"/>
            <a:ext cx="7910158" cy="490042"/>
          </a:xfrm>
        </p:spPr>
        <p:txBody>
          <a:bodyPr wrap="none"/>
          <a:lstStyle>
            <a:lvl1pPr marL="0" indent="0" algn="l">
              <a:spcBef>
                <a:spcPts val="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9" name="Text Placeholder 4"/>
          <p:cNvSpPr>
            <a:spLocks noGrp="1"/>
          </p:cNvSpPr>
          <p:nvPr>
            <p:ph type="body" sz="quarter" idx="17" hasCustomPrompt="1"/>
          </p:nvPr>
        </p:nvSpPr>
        <p:spPr>
          <a:xfrm>
            <a:off x="1075063" y="6307665"/>
            <a:ext cx="8162717" cy="133200"/>
          </a:xfrm>
        </p:spPr>
        <p:txBody>
          <a:bodyPr lIns="0" tIns="0" rIns="0" bIns="0" anchor="b" anchorCtr="0"/>
          <a:lstStyle>
            <a:lvl1pPr marL="0" indent="0" algn="l">
              <a:lnSpc>
                <a:spcPct val="100000"/>
              </a:lnSpc>
              <a:spcBef>
                <a:spcPts val="0"/>
              </a:spcBef>
              <a:buNone/>
              <a:defRPr sz="800" baseline="0"/>
            </a:lvl1pPr>
            <a:lvl2pPr marL="0" indent="0" algn="l">
              <a:lnSpc>
                <a:spcPct val="100000"/>
              </a:lnSpc>
              <a:spcBef>
                <a:spcPts val="0"/>
              </a:spcBef>
              <a:buNone/>
              <a:defRPr sz="800"/>
            </a:lvl2pPr>
            <a:lvl3pPr marL="0" indent="0" algn="l">
              <a:lnSpc>
                <a:spcPct val="100000"/>
              </a:lnSpc>
              <a:spcBef>
                <a:spcPts val="0"/>
              </a:spcBef>
              <a:buNone/>
              <a:defRPr sz="800"/>
            </a:lvl3pPr>
            <a:lvl4pPr marL="0" algn="l">
              <a:lnSpc>
                <a:spcPct val="100000"/>
              </a:lnSpc>
              <a:spcBef>
                <a:spcPts val="0"/>
              </a:spcBef>
              <a:buNone/>
              <a:defRPr sz="800"/>
            </a:lvl4pPr>
            <a:lvl5pPr marL="0" indent="0" algn="l">
              <a:lnSpc>
                <a:spcPct val="100000"/>
              </a:lnSpc>
              <a:spcBef>
                <a:spcPts val="0"/>
              </a:spcBef>
              <a:buNone/>
              <a:defRPr sz="800"/>
            </a:lvl5pPr>
          </a:lstStyle>
          <a:p>
            <a:pPr lvl="0"/>
            <a:r>
              <a:rPr lang="en-US" dirty="0"/>
              <a:t>Source line</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928659828"/>
      </p:ext>
    </p:extLst>
  </p:cSld>
  <p:clrMapOvr>
    <a:masterClrMapping/>
  </p:clrMapOvr>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p:cSld name="One content">
    <p:spTree>
      <p:nvGrpSpPr>
        <p:cNvPr id="1" name=""/>
        <p:cNvGrpSpPr/>
        <p:nvPr/>
      </p:nvGrpSpPr>
      <p:grpSpPr>
        <a:xfrm>
          <a:off x="0" y="0"/>
          <a:ext cx="0" cy="0"/>
          <a:chOff x="0" y="0"/>
          <a:chExt cx="0" cy="0"/>
        </a:xfrm>
      </p:grpSpPr>
      <p:sp>
        <p:nvSpPr>
          <p:cNvPr id="21" name="Date Placeholder 20"/>
          <p:cNvSpPr>
            <a:spLocks noGrp="1"/>
          </p:cNvSpPr>
          <p:nvPr>
            <p:ph type="dt" sz="half" idx="14"/>
          </p:nvPr>
        </p:nvSpPr>
        <p:spPr/>
        <p:txBody>
          <a:bodyPr/>
          <a:lstStyle/>
          <a:p>
            <a:fld id="{4CC19292-71B2-4BF0-8023-C669B9188137}" type="datetime5">
              <a:rPr lang="en-US" smtClean="0"/>
              <a:t>26-Jun-20</a:t>
            </a:fld>
            <a:endParaRPr lang="en-US" dirty="0"/>
          </a:p>
        </p:txBody>
      </p:sp>
      <p:sp>
        <p:nvSpPr>
          <p:cNvPr id="22" name="Footer Placeholder 21"/>
          <p:cNvSpPr>
            <a:spLocks noGrp="1"/>
          </p:cNvSpPr>
          <p:nvPr>
            <p:ph type="ftr" sz="quarter" idx="15"/>
          </p:nvPr>
        </p:nvSpPr>
        <p:spPr/>
        <p:txBody>
          <a:bodyPr/>
          <a:lstStyle/>
          <a:p>
            <a:r>
              <a:rPr lang="en-US"/>
              <a:t>Title of presentation (Insert / Header &amp; Footer / Apply to All)</a:t>
            </a:r>
            <a:endParaRPr lang="en-US" dirty="0"/>
          </a:p>
        </p:txBody>
      </p:sp>
      <p:sp>
        <p:nvSpPr>
          <p:cNvPr id="23" name="Slide Number Placeholder 22"/>
          <p:cNvSpPr>
            <a:spLocks noGrp="1"/>
          </p:cNvSpPr>
          <p:nvPr>
            <p:ph type="sldNum" sz="quarter" idx="16"/>
          </p:nvPr>
        </p:nvSpPr>
        <p:spPr/>
        <p:txBody>
          <a:bodyPr/>
          <a:lstStyle/>
          <a:p>
            <a:fld id="{5F3E29E4-0979-4FCA-B4C5-5FC6044C982A}" type="slidenum">
              <a:rPr lang="en-US" smtClean="0"/>
              <a:t>‹#›</a:t>
            </a:fld>
            <a:endParaRPr lang="en-US"/>
          </a:p>
        </p:txBody>
      </p:sp>
      <p:sp>
        <p:nvSpPr>
          <p:cNvPr id="2" name="Title 1"/>
          <p:cNvSpPr>
            <a:spLocks noGrp="1"/>
          </p:cNvSpPr>
          <p:nvPr>
            <p:ph type="title" hasCustomPrompt="1"/>
          </p:nvPr>
        </p:nvSpPr>
        <p:spPr/>
        <p:txBody>
          <a:bodyPr/>
          <a:lstStyle>
            <a:lvl1pPr>
              <a:defRPr/>
            </a:lvl1pPr>
          </a:lstStyle>
          <a:p>
            <a:r>
              <a:rPr lang="en-US" dirty="0"/>
              <a:t>Click to add slide title</a:t>
            </a:r>
          </a:p>
        </p:txBody>
      </p:sp>
      <p:sp>
        <p:nvSpPr>
          <p:cNvPr id="7" name="Subtitle 2"/>
          <p:cNvSpPr>
            <a:spLocks noGrp="1"/>
          </p:cNvSpPr>
          <p:nvPr>
            <p:ph type="subTitle" idx="13" hasCustomPrompt="1"/>
          </p:nvPr>
        </p:nvSpPr>
        <p:spPr>
          <a:xfrm>
            <a:off x="1075061" y="964671"/>
            <a:ext cx="7910158" cy="490042"/>
          </a:xfrm>
        </p:spPr>
        <p:txBody>
          <a:bodyPr wrap="none"/>
          <a:lstStyle>
            <a:lvl1pPr marL="0" indent="0" algn="l">
              <a:spcBef>
                <a:spcPts val="0"/>
              </a:spcBef>
              <a:buNone/>
              <a:defRPr sz="2400" baseline="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3" name="Content Placeholder 2"/>
          <p:cNvSpPr>
            <a:spLocks noGrp="1"/>
          </p:cNvSpPr>
          <p:nvPr>
            <p:ph idx="1" hasCustomPrompt="1"/>
          </p:nvPr>
        </p:nvSpPr>
        <p:spPr/>
        <p:txBody>
          <a:bodyPr/>
          <a:lstStyle>
            <a:lvl1pPr>
              <a:defRPr baseline="0"/>
            </a:lvl1pPr>
          </a:lstStyle>
          <a:p>
            <a:pPr lvl="0"/>
            <a:r>
              <a:rPr lang="en-US" dirty="0"/>
              <a:t>Click to add text or conten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p:cNvSpPr>
            <a:spLocks noGrp="1"/>
          </p:cNvSpPr>
          <p:nvPr>
            <p:ph type="body" sz="quarter" idx="17" hasCustomPrompt="1"/>
          </p:nvPr>
        </p:nvSpPr>
        <p:spPr>
          <a:xfrm>
            <a:off x="1075063" y="6307665"/>
            <a:ext cx="8162717" cy="133200"/>
          </a:xfrm>
        </p:spPr>
        <p:txBody>
          <a:bodyPr lIns="0" tIns="0" rIns="0" bIns="0" anchor="b" anchorCtr="0"/>
          <a:lstStyle>
            <a:lvl1pPr marL="0" indent="0" algn="l">
              <a:lnSpc>
                <a:spcPct val="100000"/>
              </a:lnSpc>
              <a:spcBef>
                <a:spcPts val="0"/>
              </a:spcBef>
              <a:buNone/>
              <a:defRPr sz="800" baseline="0"/>
            </a:lvl1pPr>
            <a:lvl2pPr marL="0" indent="0" algn="l">
              <a:lnSpc>
                <a:spcPct val="100000"/>
              </a:lnSpc>
              <a:spcBef>
                <a:spcPts val="0"/>
              </a:spcBef>
              <a:buNone/>
              <a:defRPr sz="800"/>
            </a:lvl2pPr>
            <a:lvl3pPr marL="0" indent="0" algn="l">
              <a:lnSpc>
                <a:spcPct val="100000"/>
              </a:lnSpc>
              <a:spcBef>
                <a:spcPts val="0"/>
              </a:spcBef>
              <a:buNone/>
              <a:defRPr sz="800"/>
            </a:lvl3pPr>
            <a:lvl4pPr marL="0" algn="l">
              <a:lnSpc>
                <a:spcPct val="100000"/>
              </a:lnSpc>
              <a:spcBef>
                <a:spcPts val="0"/>
              </a:spcBef>
              <a:buNone/>
              <a:defRPr sz="800"/>
            </a:lvl4pPr>
            <a:lvl5pPr marL="0" indent="0" algn="l">
              <a:lnSpc>
                <a:spcPct val="100000"/>
              </a:lnSpc>
              <a:spcBef>
                <a:spcPts val="0"/>
              </a:spcBef>
              <a:buNone/>
              <a:defRPr sz="800"/>
            </a:lvl5pPr>
          </a:lstStyle>
          <a:p>
            <a:pPr lvl="0"/>
            <a:r>
              <a:rPr lang="en-US" dirty="0"/>
              <a:t>Source line</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647882376"/>
      </p:ext>
    </p:extLst>
  </p:cSld>
  <p:clrMapOvr>
    <a:masterClrMapping/>
  </p:clrMapOvr>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p:cSld name="Content and picture">
    <p:spTree>
      <p:nvGrpSpPr>
        <p:cNvPr id="1" name=""/>
        <p:cNvGrpSpPr/>
        <p:nvPr/>
      </p:nvGrpSpPr>
      <p:grpSpPr>
        <a:xfrm>
          <a:off x="0" y="0"/>
          <a:ext cx="0" cy="0"/>
          <a:chOff x="0" y="0"/>
          <a:chExt cx="0" cy="0"/>
        </a:xfrm>
      </p:grpSpPr>
      <p:sp>
        <p:nvSpPr>
          <p:cNvPr id="21" name="Date Placeholder 20"/>
          <p:cNvSpPr>
            <a:spLocks noGrp="1"/>
          </p:cNvSpPr>
          <p:nvPr>
            <p:ph type="dt" sz="half" idx="14"/>
          </p:nvPr>
        </p:nvSpPr>
        <p:spPr/>
        <p:txBody>
          <a:bodyPr/>
          <a:lstStyle/>
          <a:p>
            <a:fld id="{97AF90B7-6970-4C8C-AA59-7302F717A183}" type="datetime5">
              <a:rPr lang="en-US" smtClean="0"/>
              <a:t>26-Jun-20</a:t>
            </a:fld>
            <a:endParaRPr lang="en-US"/>
          </a:p>
        </p:txBody>
      </p:sp>
      <p:sp>
        <p:nvSpPr>
          <p:cNvPr id="22" name="Footer Placeholder 21"/>
          <p:cNvSpPr>
            <a:spLocks noGrp="1"/>
          </p:cNvSpPr>
          <p:nvPr>
            <p:ph type="ftr" sz="quarter" idx="15"/>
          </p:nvPr>
        </p:nvSpPr>
        <p:spPr/>
        <p:txBody>
          <a:bodyPr/>
          <a:lstStyle/>
          <a:p>
            <a:r>
              <a:rPr lang="en-US"/>
              <a:t>Title of presentation (Insert / Header &amp; Footer / Apply to All)</a:t>
            </a:r>
            <a:endParaRPr lang="en-US" dirty="0"/>
          </a:p>
        </p:txBody>
      </p:sp>
      <p:sp>
        <p:nvSpPr>
          <p:cNvPr id="23" name="Slide Number Placeholder 22"/>
          <p:cNvSpPr>
            <a:spLocks noGrp="1"/>
          </p:cNvSpPr>
          <p:nvPr>
            <p:ph type="sldNum" sz="quarter" idx="16"/>
          </p:nvPr>
        </p:nvSpPr>
        <p:spPr/>
        <p:txBody>
          <a:bodyPr/>
          <a:lstStyle/>
          <a:p>
            <a:fld id="{5F3E29E4-0979-4FCA-B4C5-5FC6044C982A}" type="slidenum">
              <a:rPr lang="en-US" smtClean="0"/>
              <a:t>‹#›</a:t>
            </a:fld>
            <a:endParaRPr lang="en-US"/>
          </a:p>
        </p:txBody>
      </p:sp>
      <p:sp>
        <p:nvSpPr>
          <p:cNvPr id="2" name="Title 1"/>
          <p:cNvSpPr>
            <a:spLocks noGrp="1"/>
          </p:cNvSpPr>
          <p:nvPr>
            <p:ph type="title" hasCustomPrompt="1"/>
          </p:nvPr>
        </p:nvSpPr>
        <p:spPr/>
        <p:txBody>
          <a:bodyPr/>
          <a:lstStyle>
            <a:lvl1pPr>
              <a:defRPr/>
            </a:lvl1pPr>
          </a:lstStyle>
          <a:p>
            <a:r>
              <a:rPr lang="en-US" dirty="0"/>
              <a:t>Click to add slide title</a:t>
            </a:r>
          </a:p>
        </p:txBody>
      </p:sp>
      <p:sp>
        <p:nvSpPr>
          <p:cNvPr id="7" name="Subtitle 2"/>
          <p:cNvSpPr>
            <a:spLocks noGrp="1"/>
          </p:cNvSpPr>
          <p:nvPr>
            <p:ph type="subTitle" idx="13" hasCustomPrompt="1"/>
          </p:nvPr>
        </p:nvSpPr>
        <p:spPr>
          <a:xfrm>
            <a:off x="1075061" y="964671"/>
            <a:ext cx="7910158" cy="490042"/>
          </a:xfrm>
        </p:spPr>
        <p:txBody>
          <a:bodyPr wrap="none"/>
          <a:lstStyle>
            <a:lvl1pPr marL="0" indent="0" algn="l">
              <a:spcBef>
                <a:spcPts val="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3" name="Content Placeholder 2"/>
          <p:cNvSpPr>
            <a:spLocks noGrp="1"/>
          </p:cNvSpPr>
          <p:nvPr>
            <p:ph idx="1" hasCustomPrompt="1"/>
          </p:nvPr>
        </p:nvSpPr>
        <p:spPr>
          <a:xfrm>
            <a:off x="1075062" y="1629618"/>
            <a:ext cx="5220000" cy="4139357"/>
          </a:xfrm>
        </p:spPr>
        <p:txBody>
          <a:bodyPr/>
          <a:lstStyle>
            <a:lvl1pPr>
              <a:defRPr/>
            </a:lvl1pPr>
          </a:lstStyle>
          <a:p>
            <a:pPr lvl="0"/>
            <a:r>
              <a:rPr lang="en-US" dirty="0"/>
              <a:t>Click to add text or conten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Picture Placeholder 4"/>
          <p:cNvSpPr>
            <a:spLocks noGrp="1"/>
          </p:cNvSpPr>
          <p:nvPr>
            <p:ph type="pic" sz="quarter" idx="17" hasCustomPrompt="1"/>
          </p:nvPr>
        </p:nvSpPr>
        <p:spPr>
          <a:xfrm>
            <a:off x="6600525" y="1637783"/>
            <a:ext cx="5220000" cy="4599506"/>
          </a:xfrm>
          <a:solidFill>
            <a:srgbClr val="D9DADB"/>
          </a:solidFill>
        </p:spPr>
        <p:txBody>
          <a:bodyPr/>
          <a:lstStyle>
            <a:lvl1pPr marL="0" indent="0">
              <a:buNone/>
              <a:defRPr/>
            </a:lvl1pPr>
          </a:lstStyle>
          <a:p>
            <a:r>
              <a:rPr lang="en-US" dirty="0"/>
              <a:t>Insert picture</a:t>
            </a:r>
          </a:p>
        </p:txBody>
      </p:sp>
      <p:sp>
        <p:nvSpPr>
          <p:cNvPr id="10" name="Text Placeholder 4"/>
          <p:cNvSpPr>
            <a:spLocks noGrp="1"/>
          </p:cNvSpPr>
          <p:nvPr>
            <p:ph type="body" sz="quarter" idx="18" hasCustomPrompt="1"/>
          </p:nvPr>
        </p:nvSpPr>
        <p:spPr>
          <a:xfrm>
            <a:off x="1075063" y="6307665"/>
            <a:ext cx="8162717" cy="133200"/>
          </a:xfrm>
        </p:spPr>
        <p:txBody>
          <a:bodyPr lIns="0" tIns="0" rIns="0" bIns="0" anchor="b" anchorCtr="0"/>
          <a:lstStyle>
            <a:lvl1pPr marL="0" indent="0" algn="l">
              <a:lnSpc>
                <a:spcPct val="100000"/>
              </a:lnSpc>
              <a:spcBef>
                <a:spcPts val="0"/>
              </a:spcBef>
              <a:buNone/>
              <a:defRPr sz="800" baseline="0"/>
            </a:lvl1pPr>
            <a:lvl2pPr marL="0" indent="0" algn="l">
              <a:lnSpc>
                <a:spcPct val="100000"/>
              </a:lnSpc>
              <a:spcBef>
                <a:spcPts val="0"/>
              </a:spcBef>
              <a:buNone/>
              <a:defRPr sz="800"/>
            </a:lvl2pPr>
            <a:lvl3pPr marL="0" indent="0" algn="l">
              <a:lnSpc>
                <a:spcPct val="100000"/>
              </a:lnSpc>
              <a:spcBef>
                <a:spcPts val="0"/>
              </a:spcBef>
              <a:buNone/>
              <a:defRPr sz="800"/>
            </a:lvl3pPr>
            <a:lvl4pPr marL="0" algn="l">
              <a:lnSpc>
                <a:spcPct val="100000"/>
              </a:lnSpc>
              <a:spcBef>
                <a:spcPts val="0"/>
              </a:spcBef>
              <a:buNone/>
              <a:defRPr sz="800"/>
            </a:lvl4pPr>
            <a:lvl5pPr marL="0" indent="0" algn="l">
              <a:lnSpc>
                <a:spcPct val="100000"/>
              </a:lnSpc>
              <a:spcBef>
                <a:spcPts val="0"/>
              </a:spcBef>
              <a:buNone/>
              <a:defRPr sz="800"/>
            </a:lvl5pPr>
          </a:lstStyle>
          <a:p>
            <a:pPr lvl="0"/>
            <a:r>
              <a:rPr lang="en-US" dirty="0"/>
              <a:t>Source line</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235312440"/>
      </p:ext>
    </p:extLst>
  </p:cSld>
  <p:clrMapOvr>
    <a:masterClrMapping/>
  </p:clrMapOvr>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p:cSld name="Content with full picture">
    <p:spTree>
      <p:nvGrpSpPr>
        <p:cNvPr id="1" name=""/>
        <p:cNvGrpSpPr/>
        <p:nvPr/>
      </p:nvGrpSpPr>
      <p:grpSpPr>
        <a:xfrm>
          <a:off x="0" y="0"/>
          <a:ext cx="0" cy="0"/>
          <a:chOff x="0" y="0"/>
          <a:chExt cx="0" cy="0"/>
        </a:xfrm>
      </p:grpSpPr>
      <p:sp>
        <p:nvSpPr>
          <p:cNvPr id="12" name="Picture Placeholder 11"/>
          <p:cNvSpPr>
            <a:spLocks noGrp="1"/>
          </p:cNvSpPr>
          <p:nvPr>
            <p:ph type="pic" sz="quarter" idx="17" hasCustomPrompt="1"/>
          </p:nvPr>
        </p:nvSpPr>
        <p:spPr>
          <a:xfrm>
            <a:off x="0" y="0"/>
            <a:ext cx="12193200" cy="6858000"/>
          </a:xfrm>
          <a:prstGeom prst="rect">
            <a:avLst/>
          </a:prstGeom>
          <a:solidFill>
            <a:srgbClr val="D9DADB"/>
          </a:solidFill>
        </p:spPr>
        <p:txBody>
          <a:bodyPr wrap="square">
            <a:noAutofit/>
          </a:bodyPr>
          <a:lstStyle>
            <a:lvl1pPr marL="0" indent="0">
              <a:buNone/>
              <a:defRPr/>
            </a:lvl1pPr>
          </a:lstStyle>
          <a:p>
            <a:r>
              <a:rPr lang="en-US" dirty="0"/>
              <a:t>Insert picture</a:t>
            </a:r>
          </a:p>
        </p:txBody>
      </p:sp>
      <p:sp>
        <p:nvSpPr>
          <p:cNvPr id="9" name="copyright"/>
          <p:cNvSpPr txBox="1"/>
          <p:nvPr/>
        </p:nvSpPr>
        <p:spPr>
          <a:xfrm>
            <a:off x="10672209" y="6237288"/>
            <a:ext cx="500617" cy="358173"/>
          </a:xfrm>
          <a:prstGeom prst="rect">
            <a:avLst/>
          </a:prstGeom>
          <a:noFill/>
        </p:spPr>
        <p:txBody>
          <a:bodyPr wrap="none" lIns="0" tIns="0" rIns="0" bIns="0" rtlCol="0" anchor="b" anchorCtr="0">
            <a:noAutofit/>
          </a:bodyPr>
          <a:lstStyle/>
          <a:p>
            <a:pPr marL="0" indent="0" algn="r">
              <a:lnSpc>
                <a:spcPct val="125000"/>
              </a:lnSpc>
              <a:buClr>
                <a:schemeClr val="tx2"/>
              </a:buClr>
              <a:buFont typeface="Wingdings" panose="05000000000000000000" pitchFamily="2" charset="2"/>
              <a:buNone/>
            </a:pPr>
            <a:r>
              <a:rPr lang="en-US" sz="800" dirty="0">
                <a:solidFill>
                  <a:schemeClr val="bg1"/>
                </a:solidFill>
              </a:rPr>
              <a:t>© GfK</a:t>
            </a:r>
          </a:p>
        </p:txBody>
      </p:sp>
      <p:sp>
        <p:nvSpPr>
          <p:cNvPr id="21" name="Date Placeholder 20"/>
          <p:cNvSpPr>
            <a:spLocks noGrp="1"/>
          </p:cNvSpPr>
          <p:nvPr>
            <p:ph type="dt" sz="half" idx="14"/>
          </p:nvPr>
        </p:nvSpPr>
        <p:spPr/>
        <p:txBody>
          <a:bodyPr/>
          <a:lstStyle>
            <a:lvl1pPr>
              <a:defRPr>
                <a:solidFill>
                  <a:schemeClr val="bg1"/>
                </a:solidFill>
              </a:defRPr>
            </a:lvl1pPr>
          </a:lstStyle>
          <a:p>
            <a:fld id="{50FDD96B-8754-4910-8CA2-9F882EDC331D}" type="datetime5">
              <a:rPr lang="en-US" smtClean="0"/>
              <a:t>26-Jun-20</a:t>
            </a:fld>
            <a:endParaRPr lang="en-US"/>
          </a:p>
        </p:txBody>
      </p:sp>
      <p:sp>
        <p:nvSpPr>
          <p:cNvPr id="22" name="Footer Placeholder 21"/>
          <p:cNvSpPr>
            <a:spLocks noGrp="1"/>
          </p:cNvSpPr>
          <p:nvPr>
            <p:ph type="ftr" sz="quarter" idx="15"/>
          </p:nvPr>
        </p:nvSpPr>
        <p:spPr/>
        <p:txBody>
          <a:bodyPr/>
          <a:lstStyle>
            <a:lvl1pPr>
              <a:defRPr>
                <a:solidFill>
                  <a:schemeClr val="bg1"/>
                </a:solidFill>
              </a:defRPr>
            </a:lvl1pPr>
          </a:lstStyle>
          <a:p>
            <a:r>
              <a:rPr lang="en-US"/>
              <a:t>Title of presentation (Insert / Header &amp; Footer / Apply to All)</a:t>
            </a:r>
            <a:endParaRPr lang="en-US" dirty="0"/>
          </a:p>
        </p:txBody>
      </p:sp>
      <p:sp>
        <p:nvSpPr>
          <p:cNvPr id="23" name="Slide Number Placeholder 22"/>
          <p:cNvSpPr>
            <a:spLocks noGrp="1"/>
          </p:cNvSpPr>
          <p:nvPr>
            <p:ph type="sldNum" sz="quarter" idx="16"/>
          </p:nvPr>
        </p:nvSpPr>
        <p:spPr/>
        <p:txBody>
          <a:bodyPr/>
          <a:lstStyle>
            <a:lvl1pPr>
              <a:defRPr>
                <a:solidFill>
                  <a:schemeClr val="bg1"/>
                </a:solidFill>
              </a:defRPr>
            </a:lvl1pPr>
          </a:lstStyle>
          <a:p>
            <a:fld id="{5F3E29E4-0979-4FCA-B4C5-5FC6044C982A}" type="slidenum">
              <a:rPr lang="en-US" smtClean="0"/>
              <a:pPr/>
              <a:t>‹#›</a:t>
            </a:fld>
            <a:endParaRPr lang="en-US"/>
          </a:p>
        </p:txBody>
      </p:sp>
      <p:sp>
        <p:nvSpPr>
          <p:cNvPr id="2" name="Title 1"/>
          <p:cNvSpPr>
            <a:spLocks noGrp="1"/>
          </p:cNvSpPr>
          <p:nvPr>
            <p:ph type="title" hasCustomPrompt="1"/>
          </p:nvPr>
        </p:nvSpPr>
        <p:spPr>
          <a:xfrm>
            <a:off x="6543675" y="1519552"/>
            <a:ext cx="4629150" cy="4249423"/>
          </a:xfrm>
        </p:spPr>
        <p:txBody>
          <a:bodyPr/>
          <a:lstStyle>
            <a:lvl1pPr>
              <a:defRPr>
                <a:solidFill>
                  <a:schemeClr val="bg1"/>
                </a:solidFill>
              </a:defRPr>
            </a:lvl1pPr>
          </a:lstStyle>
          <a:p>
            <a:r>
              <a:rPr lang="en-US" dirty="0"/>
              <a:t>Click to add text</a:t>
            </a:r>
          </a:p>
        </p:txBody>
      </p:sp>
      <p:sp>
        <p:nvSpPr>
          <p:cNvPr id="8" name="Text Placeholder 4"/>
          <p:cNvSpPr>
            <a:spLocks noGrp="1"/>
          </p:cNvSpPr>
          <p:nvPr>
            <p:ph type="body" sz="quarter" idx="18" hasCustomPrompt="1"/>
          </p:nvPr>
        </p:nvSpPr>
        <p:spPr>
          <a:xfrm>
            <a:off x="1075063" y="6307665"/>
            <a:ext cx="8162717" cy="133200"/>
          </a:xfrm>
        </p:spPr>
        <p:txBody>
          <a:bodyPr lIns="0" tIns="0" rIns="0" bIns="0" anchor="b" anchorCtr="0"/>
          <a:lstStyle>
            <a:lvl1pPr marL="0" indent="0" algn="l">
              <a:lnSpc>
                <a:spcPct val="100000"/>
              </a:lnSpc>
              <a:spcBef>
                <a:spcPts val="0"/>
              </a:spcBef>
              <a:buNone/>
              <a:defRPr sz="800" baseline="0">
                <a:solidFill>
                  <a:schemeClr val="bg1"/>
                </a:solidFill>
              </a:defRPr>
            </a:lvl1pPr>
            <a:lvl2pPr marL="0" indent="0" algn="l">
              <a:lnSpc>
                <a:spcPct val="100000"/>
              </a:lnSpc>
              <a:spcBef>
                <a:spcPts val="0"/>
              </a:spcBef>
              <a:buNone/>
              <a:defRPr sz="800">
                <a:solidFill>
                  <a:schemeClr val="bg1"/>
                </a:solidFill>
              </a:defRPr>
            </a:lvl2pPr>
            <a:lvl3pPr marL="0" indent="0" algn="l">
              <a:lnSpc>
                <a:spcPct val="100000"/>
              </a:lnSpc>
              <a:spcBef>
                <a:spcPts val="0"/>
              </a:spcBef>
              <a:buNone/>
              <a:defRPr sz="800">
                <a:solidFill>
                  <a:schemeClr val="bg1"/>
                </a:solidFill>
              </a:defRPr>
            </a:lvl3pPr>
            <a:lvl4pPr marL="0" algn="l">
              <a:lnSpc>
                <a:spcPct val="100000"/>
              </a:lnSpc>
              <a:spcBef>
                <a:spcPts val="0"/>
              </a:spcBef>
              <a:buNone/>
              <a:defRPr sz="800">
                <a:solidFill>
                  <a:schemeClr val="bg1"/>
                </a:solidFill>
              </a:defRPr>
            </a:lvl4pPr>
            <a:lvl5pPr marL="0" indent="0" algn="l">
              <a:lnSpc>
                <a:spcPct val="100000"/>
              </a:lnSpc>
              <a:spcBef>
                <a:spcPts val="0"/>
              </a:spcBef>
              <a:buNone/>
              <a:defRPr sz="800">
                <a:solidFill>
                  <a:schemeClr val="bg1"/>
                </a:solidFill>
              </a:defRPr>
            </a:lvl5pPr>
          </a:lstStyle>
          <a:p>
            <a:pPr lvl="0"/>
            <a:r>
              <a:rPr lang="en-US" dirty="0"/>
              <a:t>Source line</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729812166"/>
      </p:ext>
    </p:extLst>
  </p:cSld>
  <p:clrMapOvr>
    <a:masterClrMapping/>
  </p:clrMapOvr>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p:cSld name="Two pictures">
    <p:spTree>
      <p:nvGrpSpPr>
        <p:cNvPr id="1" name=""/>
        <p:cNvGrpSpPr/>
        <p:nvPr/>
      </p:nvGrpSpPr>
      <p:grpSpPr>
        <a:xfrm>
          <a:off x="0" y="0"/>
          <a:ext cx="0" cy="0"/>
          <a:chOff x="0" y="0"/>
          <a:chExt cx="0" cy="0"/>
        </a:xfrm>
      </p:grpSpPr>
      <p:sp>
        <p:nvSpPr>
          <p:cNvPr id="21" name="Date Placeholder 20"/>
          <p:cNvSpPr>
            <a:spLocks noGrp="1"/>
          </p:cNvSpPr>
          <p:nvPr>
            <p:ph type="dt" sz="half" idx="14"/>
          </p:nvPr>
        </p:nvSpPr>
        <p:spPr/>
        <p:txBody>
          <a:bodyPr/>
          <a:lstStyle/>
          <a:p>
            <a:fld id="{0C2FFEBC-2BB8-4026-95F3-22D358B37101}" type="datetime5">
              <a:rPr lang="en-US" smtClean="0"/>
              <a:t>26-Jun-20</a:t>
            </a:fld>
            <a:endParaRPr lang="en-US"/>
          </a:p>
        </p:txBody>
      </p:sp>
      <p:sp>
        <p:nvSpPr>
          <p:cNvPr id="22" name="Footer Placeholder 21"/>
          <p:cNvSpPr>
            <a:spLocks noGrp="1"/>
          </p:cNvSpPr>
          <p:nvPr>
            <p:ph type="ftr" sz="quarter" idx="15"/>
          </p:nvPr>
        </p:nvSpPr>
        <p:spPr/>
        <p:txBody>
          <a:bodyPr/>
          <a:lstStyle/>
          <a:p>
            <a:r>
              <a:rPr lang="en-US"/>
              <a:t>Title of presentation (Insert / Header &amp; Footer / Apply to All)</a:t>
            </a:r>
            <a:endParaRPr lang="en-US" dirty="0"/>
          </a:p>
        </p:txBody>
      </p:sp>
      <p:sp>
        <p:nvSpPr>
          <p:cNvPr id="23" name="Slide Number Placeholder 22"/>
          <p:cNvSpPr>
            <a:spLocks noGrp="1"/>
          </p:cNvSpPr>
          <p:nvPr>
            <p:ph type="sldNum" sz="quarter" idx="16"/>
          </p:nvPr>
        </p:nvSpPr>
        <p:spPr/>
        <p:txBody>
          <a:bodyPr/>
          <a:lstStyle/>
          <a:p>
            <a:fld id="{5F3E29E4-0979-4FCA-B4C5-5FC6044C982A}" type="slidenum">
              <a:rPr lang="en-US" smtClean="0"/>
              <a:t>‹#›</a:t>
            </a:fld>
            <a:endParaRPr lang="en-US"/>
          </a:p>
        </p:txBody>
      </p:sp>
      <p:sp>
        <p:nvSpPr>
          <p:cNvPr id="2" name="Title 1"/>
          <p:cNvSpPr>
            <a:spLocks noGrp="1"/>
          </p:cNvSpPr>
          <p:nvPr>
            <p:ph type="title" hasCustomPrompt="1"/>
          </p:nvPr>
        </p:nvSpPr>
        <p:spPr/>
        <p:txBody>
          <a:bodyPr/>
          <a:lstStyle>
            <a:lvl1pPr>
              <a:defRPr/>
            </a:lvl1pPr>
          </a:lstStyle>
          <a:p>
            <a:r>
              <a:rPr lang="en-US" dirty="0"/>
              <a:t>Click to add slide title</a:t>
            </a:r>
          </a:p>
        </p:txBody>
      </p:sp>
      <p:sp>
        <p:nvSpPr>
          <p:cNvPr id="7" name="Subtitle 2"/>
          <p:cNvSpPr>
            <a:spLocks noGrp="1"/>
          </p:cNvSpPr>
          <p:nvPr>
            <p:ph type="subTitle" idx="13" hasCustomPrompt="1"/>
          </p:nvPr>
        </p:nvSpPr>
        <p:spPr>
          <a:xfrm>
            <a:off x="1075061" y="964671"/>
            <a:ext cx="7910158" cy="490042"/>
          </a:xfrm>
        </p:spPr>
        <p:txBody>
          <a:bodyPr wrap="none"/>
          <a:lstStyle>
            <a:lvl1pPr marL="0" indent="0" algn="l">
              <a:spcBef>
                <a:spcPts val="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5" name="Picture Placeholder 4"/>
          <p:cNvSpPr>
            <a:spLocks noGrp="1"/>
          </p:cNvSpPr>
          <p:nvPr>
            <p:ph type="pic" sz="quarter" idx="17" hasCustomPrompt="1"/>
          </p:nvPr>
        </p:nvSpPr>
        <p:spPr>
          <a:xfrm>
            <a:off x="1075062" y="1637783"/>
            <a:ext cx="5220000" cy="4599506"/>
          </a:xfrm>
          <a:solidFill>
            <a:srgbClr val="D9DADB"/>
          </a:solidFill>
        </p:spPr>
        <p:txBody>
          <a:bodyPr/>
          <a:lstStyle>
            <a:lvl1pPr marL="0" indent="0">
              <a:buNone/>
              <a:defRPr/>
            </a:lvl1pPr>
          </a:lstStyle>
          <a:p>
            <a:r>
              <a:rPr lang="en-US" dirty="0"/>
              <a:t>Insert picture</a:t>
            </a:r>
          </a:p>
        </p:txBody>
      </p:sp>
      <p:sp>
        <p:nvSpPr>
          <p:cNvPr id="9" name="Picture Placeholder 4"/>
          <p:cNvSpPr>
            <a:spLocks noGrp="1"/>
          </p:cNvSpPr>
          <p:nvPr>
            <p:ph type="pic" sz="quarter" idx="18" hasCustomPrompt="1"/>
          </p:nvPr>
        </p:nvSpPr>
        <p:spPr>
          <a:xfrm>
            <a:off x="6600525" y="1637783"/>
            <a:ext cx="5220000" cy="4599506"/>
          </a:xfrm>
          <a:solidFill>
            <a:srgbClr val="D9DADB"/>
          </a:solidFill>
        </p:spPr>
        <p:txBody>
          <a:bodyPr/>
          <a:lstStyle>
            <a:lvl1pPr marL="0" indent="0">
              <a:buNone/>
              <a:defRPr/>
            </a:lvl1pPr>
          </a:lstStyle>
          <a:p>
            <a:r>
              <a:rPr lang="en-US" dirty="0"/>
              <a:t>Insert picture</a:t>
            </a:r>
          </a:p>
        </p:txBody>
      </p:sp>
      <p:sp>
        <p:nvSpPr>
          <p:cNvPr id="11" name="Text Placeholder 4"/>
          <p:cNvSpPr>
            <a:spLocks noGrp="1"/>
          </p:cNvSpPr>
          <p:nvPr>
            <p:ph type="body" sz="quarter" idx="19" hasCustomPrompt="1"/>
          </p:nvPr>
        </p:nvSpPr>
        <p:spPr>
          <a:xfrm>
            <a:off x="1075063" y="6307665"/>
            <a:ext cx="8162717" cy="133200"/>
          </a:xfrm>
        </p:spPr>
        <p:txBody>
          <a:bodyPr lIns="0" tIns="0" rIns="0" bIns="0" anchor="b" anchorCtr="0"/>
          <a:lstStyle>
            <a:lvl1pPr marL="0" indent="0" algn="l">
              <a:lnSpc>
                <a:spcPct val="100000"/>
              </a:lnSpc>
              <a:spcBef>
                <a:spcPts val="0"/>
              </a:spcBef>
              <a:buNone/>
              <a:defRPr sz="800" baseline="0"/>
            </a:lvl1pPr>
            <a:lvl2pPr marL="0" indent="0" algn="l">
              <a:lnSpc>
                <a:spcPct val="100000"/>
              </a:lnSpc>
              <a:spcBef>
                <a:spcPts val="0"/>
              </a:spcBef>
              <a:buNone/>
              <a:defRPr sz="800"/>
            </a:lvl2pPr>
            <a:lvl3pPr marL="0" indent="0" algn="l">
              <a:lnSpc>
                <a:spcPct val="100000"/>
              </a:lnSpc>
              <a:spcBef>
                <a:spcPts val="0"/>
              </a:spcBef>
              <a:buNone/>
              <a:defRPr sz="800"/>
            </a:lvl3pPr>
            <a:lvl4pPr marL="0" algn="l">
              <a:lnSpc>
                <a:spcPct val="100000"/>
              </a:lnSpc>
              <a:spcBef>
                <a:spcPts val="0"/>
              </a:spcBef>
              <a:buNone/>
              <a:defRPr sz="800"/>
            </a:lvl4pPr>
            <a:lvl5pPr marL="0" indent="0" algn="l">
              <a:lnSpc>
                <a:spcPct val="100000"/>
              </a:lnSpc>
              <a:spcBef>
                <a:spcPts val="0"/>
              </a:spcBef>
              <a:buNone/>
              <a:defRPr sz="800"/>
            </a:lvl5pPr>
          </a:lstStyle>
          <a:p>
            <a:pPr lvl="0"/>
            <a:r>
              <a:rPr lang="en-US" dirty="0"/>
              <a:t>Source line</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291579859"/>
      </p:ext>
    </p:extLst>
  </p:cSld>
  <p:clrMapOvr>
    <a:masterClrMapping/>
  </p:clrMapOvr>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p:cSld name="Two contents">
    <p:spTree>
      <p:nvGrpSpPr>
        <p:cNvPr id="1" name=""/>
        <p:cNvGrpSpPr/>
        <p:nvPr/>
      </p:nvGrpSpPr>
      <p:grpSpPr>
        <a:xfrm>
          <a:off x="0" y="0"/>
          <a:ext cx="0" cy="0"/>
          <a:chOff x="0" y="0"/>
          <a:chExt cx="0" cy="0"/>
        </a:xfrm>
      </p:grpSpPr>
      <p:sp>
        <p:nvSpPr>
          <p:cNvPr id="21" name="Date Placeholder 20"/>
          <p:cNvSpPr>
            <a:spLocks noGrp="1"/>
          </p:cNvSpPr>
          <p:nvPr>
            <p:ph type="dt" sz="half" idx="14"/>
          </p:nvPr>
        </p:nvSpPr>
        <p:spPr/>
        <p:txBody>
          <a:bodyPr/>
          <a:lstStyle/>
          <a:p>
            <a:fld id="{9D45F382-CD09-4611-8552-1549F9F12240}" type="datetime5">
              <a:rPr lang="en-US" smtClean="0"/>
              <a:t>26-Jun-20</a:t>
            </a:fld>
            <a:endParaRPr lang="en-US"/>
          </a:p>
        </p:txBody>
      </p:sp>
      <p:sp>
        <p:nvSpPr>
          <p:cNvPr id="22" name="Footer Placeholder 21"/>
          <p:cNvSpPr>
            <a:spLocks noGrp="1"/>
          </p:cNvSpPr>
          <p:nvPr>
            <p:ph type="ftr" sz="quarter" idx="15"/>
          </p:nvPr>
        </p:nvSpPr>
        <p:spPr/>
        <p:txBody>
          <a:bodyPr/>
          <a:lstStyle/>
          <a:p>
            <a:r>
              <a:rPr lang="en-US"/>
              <a:t>Title of presentation (Insert / Header &amp; Footer / Apply to All)</a:t>
            </a:r>
            <a:endParaRPr lang="en-US" dirty="0"/>
          </a:p>
        </p:txBody>
      </p:sp>
      <p:sp>
        <p:nvSpPr>
          <p:cNvPr id="23" name="Slide Number Placeholder 22"/>
          <p:cNvSpPr>
            <a:spLocks noGrp="1"/>
          </p:cNvSpPr>
          <p:nvPr>
            <p:ph type="sldNum" sz="quarter" idx="16"/>
          </p:nvPr>
        </p:nvSpPr>
        <p:spPr/>
        <p:txBody>
          <a:bodyPr/>
          <a:lstStyle/>
          <a:p>
            <a:fld id="{5F3E29E4-0979-4FCA-B4C5-5FC6044C982A}" type="slidenum">
              <a:rPr lang="en-US" smtClean="0"/>
              <a:t>‹#›</a:t>
            </a:fld>
            <a:endParaRPr lang="en-US"/>
          </a:p>
        </p:txBody>
      </p:sp>
      <p:sp>
        <p:nvSpPr>
          <p:cNvPr id="2" name="Title 1"/>
          <p:cNvSpPr>
            <a:spLocks noGrp="1"/>
          </p:cNvSpPr>
          <p:nvPr>
            <p:ph type="title" hasCustomPrompt="1"/>
          </p:nvPr>
        </p:nvSpPr>
        <p:spPr/>
        <p:txBody>
          <a:bodyPr/>
          <a:lstStyle>
            <a:lvl1pPr>
              <a:defRPr/>
            </a:lvl1pPr>
          </a:lstStyle>
          <a:p>
            <a:r>
              <a:rPr lang="en-US" dirty="0"/>
              <a:t>Click to add slide title</a:t>
            </a:r>
          </a:p>
        </p:txBody>
      </p:sp>
      <p:sp>
        <p:nvSpPr>
          <p:cNvPr id="7" name="Subtitle 2"/>
          <p:cNvSpPr>
            <a:spLocks noGrp="1"/>
          </p:cNvSpPr>
          <p:nvPr>
            <p:ph type="subTitle" idx="13" hasCustomPrompt="1"/>
          </p:nvPr>
        </p:nvSpPr>
        <p:spPr>
          <a:xfrm>
            <a:off x="1075061" y="964671"/>
            <a:ext cx="7910158" cy="490042"/>
          </a:xfrm>
        </p:spPr>
        <p:txBody>
          <a:bodyPr wrap="none"/>
          <a:lstStyle>
            <a:lvl1pPr marL="0" indent="0" algn="l">
              <a:spcBef>
                <a:spcPts val="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3" name="Content Placeholder 2"/>
          <p:cNvSpPr>
            <a:spLocks noGrp="1"/>
          </p:cNvSpPr>
          <p:nvPr>
            <p:ph idx="1" hasCustomPrompt="1"/>
          </p:nvPr>
        </p:nvSpPr>
        <p:spPr>
          <a:xfrm>
            <a:off x="1075062" y="1629618"/>
            <a:ext cx="5220000" cy="4139357"/>
          </a:xfrm>
        </p:spPr>
        <p:txBody>
          <a:bodyPr/>
          <a:lstStyle>
            <a:lvl1pPr>
              <a:defRPr/>
            </a:lvl1pPr>
          </a:lstStyle>
          <a:p>
            <a:pPr lvl="0"/>
            <a:r>
              <a:rPr lang="en-US" dirty="0"/>
              <a:t>Click to add text or conten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Content Placeholder 2"/>
          <p:cNvSpPr>
            <a:spLocks noGrp="1"/>
          </p:cNvSpPr>
          <p:nvPr>
            <p:ph idx="17" hasCustomPrompt="1"/>
          </p:nvPr>
        </p:nvSpPr>
        <p:spPr>
          <a:xfrm>
            <a:off x="6600525" y="1629618"/>
            <a:ext cx="5220000" cy="4139357"/>
          </a:xfrm>
        </p:spPr>
        <p:txBody>
          <a:bodyPr/>
          <a:lstStyle>
            <a:lvl1pPr>
              <a:defRPr/>
            </a:lvl1pPr>
          </a:lstStyle>
          <a:p>
            <a:pPr lvl="0"/>
            <a:r>
              <a:rPr lang="en-US" dirty="0"/>
              <a:t>Click to add text or conten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4"/>
          <p:cNvSpPr>
            <a:spLocks noGrp="1"/>
          </p:cNvSpPr>
          <p:nvPr>
            <p:ph type="body" sz="quarter" idx="18" hasCustomPrompt="1"/>
          </p:nvPr>
        </p:nvSpPr>
        <p:spPr>
          <a:xfrm>
            <a:off x="1075063" y="6307665"/>
            <a:ext cx="8162717" cy="133200"/>
          </a:xfrm>
        </p:spPr>
        <p:txBody>
          <a:bodyPr lIns="0" tIns="0" rIns="0" bIns="0" anchor="b" anchorCtr="0"/>
          <a:lstStyle>
            <a:lvl1pPr marL="0" indent="0" algn="l">
              <a:lnSpc>
                <a:spcPct val="100000"/>
              </a:lnSpc>
              <a:spcBef>
                <a:spcPts val="0"/>
              </a:spcBef>
              <a:buNone/>
              <a:defRPr sz="800" baseline="0"/>
            </a:lvl1pPr>
            <a:lvl2pPr marL="0" indent="0" algn="l">
              <a:lnSpc>
                <a:spcPct val="100000"/>
              </a:lnSpc>
              <a:spcBef>
                <a:spcPts val="0"/>
              </a:spcBef>
              <a:buNone/>
              <a:defRPr sz="800"/>
            </a:lvl2pPr>
            <a:lvl3pPr marL="0" indent="0" algn="l">
              <a:lnSpc>
                <a:spcPct val="100000"/>
              </a:lnSpc>
              <a:spcBef>
                <a:spcPts val="0"/>
              </a:spcBef>
              <a:buNone/>
              <a:defRPr sz="800"/>
            </a:lvl3pPr>
            <a:lvl4pPr marL="0" algn="l">
              <a:lnSpc>
                <a:spcPct val="100000"/>
              </a:lnSpc>
              <a:spcBef>
                <a:spcPts val="0"/>
              </a:spcBef>
              <a:buNone/>
              <a:defRPr sz="800"/>
            </a:lvl4pPr>
            <a:lvl5pPr marL="0" indent="0" algn="l">
              <a:lnSpc>
                <a:spcPct val="100000"/>
              </a:lnSpc>
              <a:spcBef>
                <a:spcPts val="0"/>
              </a:spcBef>
              <a:buNone/>
              <a:defRPr sz="800"/>
            </a:lvl5pPr>
          </a:lstStyle>
          <a:p>
            <a:pPr lvl="0"/>
            <a:r>
              <a:rPr lang="en-US" dirty="0"/>
              <a:t>Source line</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459907962"/>
      </p:ext>
    </p:extLst>
  </p:cSld>
  <p:clrMapOvr>
    <a:masterClrMapping/>
  </p:clrMapOvr>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p:cSld name="Three contents">
    <p:spTree>
      <p:nvGrpSpPr>
        <p:cNvPr id="1" name=""/>
        <p:cNvGrpSpPr/>
        <p:nvPr/>
      </p:nvGrpSpPr>
      <p:grpSpPr>
        <a:xfrm>
          <a:off x="0" y="0"/>
          <a:ext cx="0" cy="0"/>
          <a:chOff x="0" y="0"/>
          <a:chExt cx="0" cy="0"/>
        </a:xfrm>
      </p:grpSpPr>
      <p:sp>
        <p:nvSpPr>
          <p:cNvPr id="21" name="Date Placeholder 20"/>
          <p:cNvSpPr>
            <a:spLocks noGrp="1"/>
          </p:cNvSpPr>
          <p:nvPr>
            <p:ph type="dt" sz="half" idx="14"/>
          </p:nvPr>
        </p:nvSpPr>
        <p:spPr/>
        <p:txBody>
          <a:bodyPr/>
          <a:lstStyle/>
          <a:p>
            <a:fld id="{E67FA33E-39D1-4C68-AC07-495881E0A93B}" type="datetime5">
              <a:rPr lang="en-US" smtClean="0"/>
              <a:t>26-Jun-20</a:t>
            </a:fld>
            <a:endParaRPr lang="en-US"/>
          </a:p>
        </p:txBody>
      </p:sp>
      <p:sp>
        <p:nvSpPr>
          <p:cNvPr id="22" name="Footer Placeholder 21"/>
          <p:cNvSpPr>
            <a:spLocks noGrp="1"/>
          </p:cNvSpPr>
          <p:nvPr>
            <p:ph type="ftr" sz="quarter" idx="15"/>
          </p:nvPr>
        </p:nvSpPr>
        <p:spPr/>
        <p:txBody>
          <a:bodyPr/>
          <a:lstStyle/>
          <a:p>
            <a:r>
              <a:rPr lang="en-US"/>
              <a:t>Title of presentation (Insert / Header &amp; Footer / Apply to All)</a:t>
            </a:r>
            <a:endParaRPr lang="en-US" dirty="0"/>
          </a:p>
        </p:txBody>
      </p:sp>
      <p:sp>
        <p:nvSpPr>
          <p:cNvPr id="23" name="Slide Number Placeholder 22"/>
          <p:cNvSpPr>
            <a:spLocks noGrp="1"/>
          </p:cNvSpPr>
          <p:nvPr>
            <p:ph type="sldNum" sz="quarter" idx="16"/>
          </p:nvPr>
        </p:nvSpPr>
        <p:spPr/>
        <p:txBody>
          <a:bodyPr/>
          <a:lstStyle/>
          <a:p>
            <a:fld id="{5F3E29E4-0979-4FCA-B4C5-5FC6044C982A}" type="slidenum">
              <a:rPr lang="en-US" smtClean="0"/>
              <a:t>‹#›</a:t>
            </a:fld>
            <a:endParaRPr lang="en-US"/>
          </a:p>
        </p:txBody>
      </p:sp>
      <p:sp>
        <p:nvSpPr>
          <p:cNvPr id="2" name="Title 1"/>
          <p:cNvSpPr>
            <a:spLocks noGrp="1"/>
          </p:cNvSpPr>
          <p:nvPr>
            <p:ph type="title" hasCustomPrompt="1"/>
          </p:nvPr>
        </p:nvSpPr>
        <p:spPr/>
        <p:txBody>
          <a:bodyPr/>
          <a:lstStyle>
            <a:lvl1pPr>
              <a:defRPr/>
            </a:lvl1pPr>
          </a:lstStyle>
          <a:p>
            <a:r>
              <a:rPr lang="en-US" dirty="0"/>
              <a:t>Click to add slide title</a:t>
            </a:r>
          </a:p>
        </p:txBody>
      </p:sp>
      <p:sp>
        <p:nvSpPr>
          <p:cNvPr id="7" name="Subtitle 2"/>
          <p:cNvSpPr>
            <a:spLocks noGrp="1"/>
          </p:cNvSpPr>
          <p:nvPr>
            <p:ph type="subTitle" idx="13" hasCustomPrompt="1"/>
          </p:nvPr>
        </p:nvSpPr>
        <p:spPr>
          <a:xfrm>
            <a:off x="1075061" y="964671"/>
            <a:ext cx="7910158" cy="490042"/>
          </a:xfrm>
        </p:spPr>
        <p:txBody>
          <a:bodyPr wrap="none"/>
          <a:lstStyle>
            <a:lvl1pPr marL="0" indent="0" algn="l">
              <a:spcBef>
                <a:spcPts val="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3" name="Content Placeholder 2"/>
          <p:cNvSpPr>
            <a:spLocks noGrp="1"/>
          </p:cNvSpPr>
          <p:nvPr>
            <p:ph idx="1" hasCustomPrompt="1"/>
          </p:nvPr>
        </p:nvSpPr>
        <p:spPr>
          <a:xfrm>
            <a:off x="1075061" y="1629618"/>
            <a:ext cx="3384000" cy="4139357"/>
          </a:xfrm>
        </p:spPr>
        <p:txBody>
          <a:bodyPr/>
          <a:lstStyle>
            <a:lvl1pPr>
              <a:defRPr/>
            </a:lvl1pPr>
          </a:lstStyle>
          <a:p>
            <a:pPr lvl="0"/>
            <a:r>
              <a:rPr lang="en-US" dirty="0"/>
              <a:t>Click to add text or conten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Content Placeholder 2"/>
          <p:cNvSpPr>
            <a:spLocks noGrp="1"/>
          </p:cNvSpPr>
          <p:nvPr>
            <p:ph idx="17" hasCustomPrompt="1"/>
          </p:nvPr>
        </p:nvSpPr>
        <p:spPr>
          <a:xfrm>
            <a:off x="4755793" y="1629618"/>
            <a:ext cx="3384000" cy="4139357"/>
          </a:xfrm>
        </p:spPr>
        <p:txBody>
          <a:bodyPr/>
          <a:lstStyle>
            <a:lvl1pPr>
              <a:defRPr/>
            </a:lvl1pPr>
          </a:lstStyle>
          <a:p>
            <a:pPr lvl="0"/>
            <a:r>
              <a:rPr lang="en-US" dirty="0"/>
              <a:t>Click to add text or conten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Content Placeholder 2"/>
          <p:cNvSpPr>
            <a:spLocks noGrp="1"/>
          </p:cNvSpPr>
          <p:nvPr>
            <p:ph idx="18" hasCustomPrompt="1"/>
          </p:nvPr>
        </p:nvSpPr>
        <p:spPr>
          <a:xfrm>
            <a:off x="8436525" y="1629618"/>
            <a:ext cx="3384000" cy="4139357"/>
          </a:xfrm>
        </p:spPr>
        <p:txBody>
          <a:bodyPr/>
          <a:lstStyle>
            <a:lvl1pPr>
              <a:defRPr/>
            </a:lvl1pPr>
          </a:lstStyle>
          <a:p>
            <a:pPr lvl="0"/>
            <a:r>
              <a:rPr lang="en-US" dirty="0"/>
              <a:t>Click to add text or conten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4"/>
          <p:cNvSpPr>
            <a:spLocks noGrp="1"/>
          </p:cNvSpPr>
          <p:nvPr>
            <p:ph type="body" sz="quarter" idx="19" hasCustomPrompt="1"/>
          </p:nvPr>
        </p:nvSpPr>
        <p:spPr>
          <a:xfrm>
            <a:off x="1075063" y="6307665"/>
            <a:ext cx="8162717" cy="133200"/>
          </a:xfrm>
        </p:spPr>
        <p:txBody>
          <a:bodyPr lIns="0" tIns="0" rIns="0" bIns="0" anchor="b" anchorCtr="0"/>
          <a:lstStyle>
            <a:lvl1pPr marL="0" indent="0" algn="l">
              <a:lnSpc>
                <a:spcPct val="100000"/>
              </a:lnSpc>
              <a:spcBef>
                <a:spcPts val="0"/>
              </a:spcBef>
              <a:buNone/>
              <a:defRPr sz="800" baseline="0"/>
            </a:lvl1pPr>
            <a:lvl2pPr marL="0" indent="0" algn="l">
              <a:lnSpc>
                <a:spcPct val="100000"/>
              </a:lnSpc>
              <a:spcBef>
                <a:spcPts val="0"/>
              </a:spcBef>
              <a:buNone/>
              <a:defRPr sz="800"/>
            </a:lvl2pPr>
            <a:lvl3pPr marL="0" indent="0" algn="l">
              <a:lnSpc>
                <a:spcPct val="100000"/>
              </a:lnSpc>
              <a:spcBef>
                <a:spcPts val="0"/>
              </a:spcBef>
              <a:buNone/>
              <a:defRPr sz="800"/>
            </a:lvl3pPr>
            <a:lvl4pPr marL="0" algn="l">
              <a:lnSpc>
                <a:spcPct val="100000"/>
              </a:lnSpc>
              <a:spcBef>
                <a:spcPts val="0"/>
              </a:spcBef>
              <a:buNone/>
              <a:defRPr sz="800"/>
            </a:lvl4pPr>
            <a:lvl5pPr marL="0" indent="0" algn="l">
              <a:lnSpc>
                <a:spcPct val="100000"/>
              </a:lnSpc>
              <a:spcBef>
                <a:spcPts val="0"/>
              </a:spcBef>
              <a:buNone/>
              <a:defRPr sz="800"/>
            </a:lvl5pPr>
          </a:lstStyle>
          <a:p>
            <a:pPr lvl="0"/>
            <a:r>
              <a:rPr lang="en-US" dirty="0"/>
              <a:t>Source line</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881889969"/>
      </p:ext>
    </p:extLst>
  </p:cSld>
  <p:clrMapOvr>
    <a:masterClrMapping/>
  </p:clrMapOvr>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p:cSld name="Four contents 1">
    <p:spTree>
      <p:nvGrpSpPr>
        <p:cNvPr id="1" name=""/>
        <p:cNvGrpSpPr/>
        <p:nvPr/>
      </p:nvGrpSpPr>
      <p:grpSpPr>
        <a:xfrm>
          <a:off x="0" y="0"/>
          <a:ext cx="0" cy="0"/>
          <a:chOff x="0" y="0"/>
          <a:chExt cx="0" cy="0"/>
        </a:xfrm>
      </p:grpSpPr>
      <p:sp>
        <p:nvSpPr>
          <p:cNvPr id="21" name="Date Placeholder 20"/>
          <p:cNvSpPr>
            <a:spLocks noGrp="1"/>
          </p:cNvSpPr>
          <p:nvPr>
            <p:ph type="dt" sz="half" idx="14"/>
          </p:nvPr>
        </p:nvSpPr>
        <p:spPr/>
        <p:txBody>
          <a:bodyPr/>
          <a:lstStyle/>
          <a:p>
            <a:fld id="{C2672A55-7139-4AA9-8041-42818C956C2C}" type="datetime5">
              <a:rPr lang="en-US" smtClean="0"/>
              <a:t>26-Jun-20</a:t>
            </a:fld>
            <a:endParaRPr lang="en-US"/>
          </a:p>
        </p:txBody>
      </p:sp>
      <p:sp>
        <p:nvSpPr>
          <p:cNvPr id="22" name="Footer Placeholder 21"/>
          <p:cNvSpPr>
            <a:spLocks noGrp="1"/>
          </p:cNvSpPr>
          <p:nvPr>
            <p:ph type="ftr" sz="quarter" idx="15"/>
          </p:nvPr>
        </p:nvSpPr>
        <p:spPr/>
        <p:txBody>
          <a:bodyPr/>
          <a:lstStyle/>
          <a:p>
            <a:r>
              <a:rPr lang="en-US"/>
              <a:t>Title of presentation (Insert / Header &amp; Footer / Apply to All)</a:t>
            </a:r>
            <a:endParaRPr lang="en-US" dirty="0"/>
          </a:p>
        </p:txBody>
      </p:sp>
      <p:sp>
        <p:nvSpPr>
          <p:cNvPr id="23" name="Slide Number Placeholder 22"/>
          <p:cNvSpPr>
            <a:spLocks noGrp="1"/>
          </p:cNvSpPr>
          <p:nvPr>
            <p:ph type="sldNum" sz="quarter" idx="16"/>
          </p:nvPr>
        </p:nvSpPr>
        <p:spPr/>
        <p:txBody>
          <a:bodyPr/>
          <a:lstStyle/>
          <a:p>
            <a:fld id="{5F3E29E4-0979-4FCA-B4C5-5FC6044C982A}" type="slidenum">
              <a:rPr lang="en-US" smtClean="0"/>
              <a:t>‹#›</a:t>
            </a:fld>
            <a:endParaRPr lang="en-US"/>
          </a:p>
        </p:txBody>
      </p:sp>
      <p:sp>
        <p:nvSpPr>
          <p:cNvPr id="2" name="Title 1"/>
          <p:cNvSpPr>
            <a:spLocks noGrp="1"/>
          </p:cNvSpPr>
          <p:nvPr>
            <p:ph type="title" hasCustomPrompt="1"/>
          </p:nvPr>
        </p:nvSpPr>
        <p:spPr/>
        <p:txBody>
          <a:bodyPr/>
          <a:lstStyle>
            <a:lvl1pPr>
              <a:defRPr/>
            </a:lvl1pPr>
          </a:lstStyle>
          <a:p>
            <a:r>
              <a:rPr lang="en-US" dirty="0"/>
              <a:t>Click to add slide title</a:t>
            </a:r>
          </a:p>
        </p:txBody>
      </p:sp>
      <p:sp>
        <p:nvSpPr>
          <p:cNvPr id="7" name="Subtitle 2"/>
          <p:cNvSpPr>
            <a:spLocks noGrp="1"/>
          </p:cNvSpPr>
          <p:nvPr>
            <p:ph type="subTitle" idx="13" hasCustomPrompt="1"/>
          </p:nvPr>
        </p:nvSpPr>
        <p:spPr>
          <a:xfrm>
            <a:off x="1075061" y="964671"/>
            <a:ext cx="7910158" cy="490042"/>
          </a:xfrm>
        </p:spPr>
        <p:txBody>
          <a:bodyPr wrap="none"/>
          <a:lstStyle>
            <a:lvl1pPr marL="0" indent="0" algn="l">
              <a:spcBef>
                <a:spcPts val="0"/>
              </a:spcBef>
              <a:buNone/>
              <a:defRPr sz="2400" baseline="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3" name="Content Placeholder 2"/>
          <p:cNvSpPr>
            <a:spLocks noGrp="1"/>
          </p:cNvSpPr>
          <p:nvPr>
            <p:ph idx="1" hasCustomPrompt="1"/>
          </p:nvPr>
        </p:nvSpPr>
        <p:spPr>
          <a:xfrm>
            <a:off x="192088" y="1629618"/>
            <a:ext cx="2682000" cy="4139357"/>
          </a:xfrm>
        </p:spPr>
        <p:txBody>
          <a:bodyPr/>
          <a:lstStyle>
            <a:lvl1pPr>
              <a:defRPr/>
            </a:lvl1pPr>
          </a:lstStyle>
          <a:p>
            <a:pPr lvl="0"/>
            <a:r>
              <a:rPr lang="en-US" dirty="0"/>
              <a:t>Click to add text or conten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Content Placeholder 2"/>
          <p:cNvSpPr>
            <a:spLocks noGrp="1"/>
          </p:cNvSpPr>
          <p:nvPr>
            <p:ph idx="17" hasCustomPrompt="1"/>
          </p:nvPr>
        </p:nvSpPr>
        <p:spPr>
          <a:xfrm>
            <a:off x="3174234" y="1629618"/>
            <a:ext cx="2682000" cy="4139357"/>
          </a:xfrm>
        </p:spPr>
        <p:txBody>
          <a:bodyPr/>
          <a:lstStyle>
            <a:lvl1pPr>
              <a:defRPr/>
            </a:lvl1pPr>
          </a:lstStyle>
          <a:p>
            <a:pPr lvl="0"/>
            <a:r>
              <a:rPr lang="en-US" dirty="0"/>
              <a:t>Click to add text or conten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Content Placeholder 2"/>
          <p:cNvSpPr>
            <a:spLocks noGrp="1"/>
          </p:cNvSpPr>
          <p:nvPr>
            <p:ph idx="18" hasCustomPrompt="1"/>
          </p:nvPr>
        </p:nvSpPr>
        <p:spPr>
          <a:xfrm>
            <a:off x="6156380" y="1629618"/>
            <a:ext cx="2682000" cy="4139357"/>
          </a:xfrm>
        </p:spPr>
        <p:txBody>
          <a:bodyPr/>
          <a:lstStyle>
            <a:lvl1pPr>
              <a:defRPr/>
            </a:lvl1pPr>
          </a:lstStyle>
          <a:p>
            <a:pPr lvl="0"/>
            <a:r>
              <a:rPr lang="en-US" dirty="0"/>
              <a:t>Click to add text or conten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Content Placeholder 2"/>
          <p:cNvSpPr>
            <a:spLocks noGrp="1"/>
          </p:cNvSpPr>
          <p:nvPr>
            <p:ph idx="19" hasCustomPrompt="1"/>
          </p:nvPr>
        </p:nvSpPr>
        <p:spPr>
          <a:xfrm>
            <a:off x="9138525" y="1629618"/>
            <a:ext cx="2682000" cy="4139357"/>
          </a:xfrm>
        </p:spPr>
        <p:txBody>
          <a:bodyPr/>
          <a:lstStyle>
            <a:lvl1pPr>
              <a:defRPr/>
            </a:lvl1pPr>
          </a:lstStyle>
          <a:p>
            <a:pPr lvl="0"/>
            <a:r>
              <a:rPr lang="en-US" dirty="0"/>
              <a:t>Click to add text or conten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4"/>
          <p:cNvSpPr>
            <a:spLocks noGrp="1"/>
          </p:cNvSpPr>
          <p:nvPr>
            <p:ph type="body" sz="quarter" idx="20" hasCustomPrompt="1"/>
          </p:nvPr>
        </p:nvSpPr>
        <p:spPr>
          <a:xfrm>
            <a:off x="1075063" y="6307665"/>
            <a:ext cx="8162717" cy="133200"/>
          </a:xfrm>
        </p:spPr>
        <p:txBody>
          <a:bodyPr lIns="0" tIns="0" rIns="0" bIns="0" anchor="b" anchorCtr="0"/>
          <a:lstStyle>
            <a:lvl1pPr marL="0" indent="0" algn="l">
              <a:lnSpc>
                <a:spcPct val="100000"/>
              </a:lnSpc>
              <a:spcBef>
                <a:spcPts val="0"/>
              </a:spcBef>
              <a:buNone/>
              <a:defRPr sz="800" baseline="0"/>
            </a:lvl1pPr>
            <a:lvl2pPr marL="0" indent="0" algn="l">
              <a:lnSpc>
                <a:spcPct val="100000"/>
              </a:lnSpc>
              <a:spcBef>
                <a:spcPts val="0"/>
              </a:spcBef>
              <a:buNone/>
              <a:defRPr sz="800"/>
            </a:lvl2pPr>
            <a:lvl3pPr marL="0" indent="0" algn="l">
              <a:lnSpc>
                <a:spcPct val="100000"/>
              </a:lnSpc>
              <a:spcBef>
                <a:spcPts val="0"/>
              </a:spcBef>
              <a:buNone/>
              <a:defRPr sz="800"/>
            </a:lvl3pPr>
            <a:lvl4pPr marL="0" algn="l">
              <a:lnSpc>
                <a:spcPct val="100000"/>
              </a:lnSpc>
              <a:spcBef>
                <a:spcPts val="0"/>
              </a:spcBef>
              <a:buNone/>
              <a:defRPr sz="800"/>
            </a:lvl4pPr>
            <a:lvl5pPr marL="0" indent="0" algn="l">
              <a:lnSpc>
                <a:spcPct val="100000"/>
              </a:lnSpc>
              <a:spcBef>
                <a:spcPts val="0"/>
              </a:spcBef>
              <a:buNone/>
              <a:defRPr sz="800"/>
            </a:lvl5pPr>
          </a:lstStyle>
          <a:p>
            <a:pPr lvl="0"/>
            <a:r>
              <a:rPr lang="en-US" dirty="0"/>
              <a:t>Source line</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92703844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with picture (2)">
    <p:spTree>
      <p:nvGrpSpPr>
        <p:cNvPr id="1" name=""/>
        <p:cNvGrpSpPr/>
        <p:nvPr/>
      </p:nvGrpSpPr>
      <p:grpSpPr>
        <a:xfrm>
          <a:off x="0" y="0"/>
          <a:ext cx="0" cy="0"/>
          <a:chOff x="0" y="0"/>
          <a:chExt cx="0" cy="0"/>
        </a:xfrm>
      </p:grpSpPr>
      <p:sp>
        <p:nvSpPr>
          <p:cNvPr id="6" name="Picture Placeholder 5"/>
          <p:cNvSpPr>
            <a:spLocks noGrp="1"/>
          </p:cNvSpPr>
          <p:nvPr>
            <p:ph type="pic" sz="quarter" idx="11" hasCustomPrompt="1"/>
          </p:nvPr>
        </p:nvSpPr>
        <p:spPr bwMode="gray">
          <a:xfrm>
            <a:off x="431214" y="3429000"/>
            <a:ext cx="11329573" cy="2880400"/>
          </a:xfrm>
        </p:spPr>
        <p:txBody>
          <a:bodyPr/>
          <a:lstStyle>
            <a:lvl1pPr>
              <a:defRPr/>
            </a:lvl1pPr>
          </a:lstStyle>
          <a:p>
            <a:r>
              <a:rPr lang="de-DE"/>
              <a:t>Click </a:t>
            </a:r>
            <a:r>
              <a:rPr lang="de-DE" err="1"/>
              <a:t>to</a:t>
            </a:r>
            <a:r>
              <a:rPr lang="de-DE"/>
              <a:t> </a:t>
            </a:r>
            <a:r>
              <a:rPr lang="de-DE" err="1"/>
              <a:t>the</a:t>
            </a:r>
            <a:r>
              <a:rPr lang="de-DE"/>
              <a:t> </a:t>
            </a:r>
            <a:r>
              <a:rPr lang="de-DE" err="1"/>
              <a:t>symbol</a:t>
            </a:r>
            <a:r>
              <a:rPr lang="de-DE"/>
              <a:t> </a:t>
            </a:r>
            <a:r>
              <a:rPr lang="de-DE" err="1"/>
              <a:t>to</a:t>
            </a:r>
            <a:r>
              <a:rPr lang="de-DE"/>
              <a:t> </a:t>
            </a:r>
            <a:r>
              <a:rPr lang="de-DE" err="1"/>
              <a:t>add</a:t>
            </a:r>
            <a:r>
              <a:rPr lang="de-DE"/>
              <a:t> a </a:t>
            </a:r>
            <a:r>
              <a:rPr lang="de-DE" err="1"/>
              <a:t>picture</a:t>
            </a:r>
            <a:endParaRPr lang="en-GB"/>
          </a:p>
        </p:txBody>
      </p:sp>
      <p:sp>
        <p:nvSpPr>
          <p:cNvPr id="2" name="Title 1"/>
          <p:cNvSpPr>
            <a:spLocks noGrp="1"/>
          </p:cNvSpPr>
          <p:nvPr>
            <p:ph type="ctrTitle" hasCustomPrompt="1"/>
          </p:nvPr>
        </p:nvSpPr>
        <p:spPr bwMode="gray">
          <a:xfrm>
            <a:off x="431214" y="1220693"/>
            <a:ext cx="11329573" cy="1344187"/>
          </a:xfrm>
        </p:spPr>
        <p:txBody>
          <a:bodyPr anchor="b"/>
          <a:lstStyle>
            <a:lvl1pPr>
              <a:defRPr sz="4800" cap="none" baseline="0">
                <a:solidFill>
                  <a:schemeClr val="tx2"/>
                </a:solidFill>
              </a:defRPr>
            </a:lvl1pPr>
          </a:lstStyle>
          <a:p>
            <a:r>
              <a:rPr lang="en-US"/>
              <a:t>Click to add title of presentation</a:t>
            </a:r>
          </a:p>
        </p:txBody>
      </p:sp>
      <p:sp>
        <p:nvSpPr>
          <p:cNvPr id="3" name="Subtitle 2"/>
          <p:cNvSpPr>
            <a:spLocks noGrp="1"/>
          </p:cNvSpPr>
          <p:nvPr>
            <p:ph type="subTitle" idx="1" hasCustomPrompt="1"/>
          </p:nvPr>
        </p:nvSpPr>
        <p:spPr bwMode="gray">
          <a:xfrm>
            <a:off x="431214" y="2660893"/>
            <a:ext cx="11329573" cy="576080"/>
          </a:xfrm>
        </p:spPr>
        <p:txBody>
          <a:bodyPr tIns="0"/>
          <a:lstStyle>
            <a:lvl1pPr marL="0" indent="0" algn="l">
              <a:spcBef>
                <a:spcPts val="800"/>
              </a:spcBef>
              <a:spcAft>
                <a:spcPts val="0"/>
              </a:spcAft>
              <a:buNone/>
              <a:defRPr sz="2667">
                <a:solidFill>
                  <a:schemeClr val="tx2"/>
                </a:solidFill>
              </a:defRPr>
            </a:lvl1pPr>
            <a:lvl2pPr marL="0" indent="0" algn="l">
              <a:spcBef>
                <a:spcPts val="800"/>
              </a:spcBef>
              <a:spcAft>
                <a:spcPts val="0"/>
              </a:spcAft>
              <a:buNone/>
              <a:defRPr sz="2667">
                <a:solidFill>
                  <a:schemeClr val="tx2"/>
                </a:solidFill>
              </a:defRPr>
            </a:lvl2pPr>
            <a:lvl3pPr marL="0" indent="0" algn="l">
              <a:spcBef>
                <a:spcPts val="800"/>
              </a:spcBef>
              <a:spcAft>
                <a:spcPts val="0"/>
              </a:spcAft>
              <a:buNone/>
              <a:defRPr sz="2667">
                <a:solidFill>
                  <a:schemeClr val="tx2"/>
                </a:solidFill>
              </a:defRPr>
            </a:lvl3pPr>
            <a:lvl4pPr marL="0" indent="0" algn="l">
              <a:spcBef>
                <a:spcPts val="800"/>
              </a:spcBef>
              <a:spcAft>
                <a:spcPts val="0"/>
              </a:spcAft>
              <a:buNone/>
              <a:defRPr sz="2667">
                <a:solidFill>
                  <a:schemeClr val="tx2"/>
                </a:solidFill>
              </a:defRPr>
            </a:lvl4pPr>
            <a:lvl5pPr marL="0" indent="0" algn="l">
              <a:spcBef>
                <a:spcPts val="800"/>
              </a:spcBef>
              <a:spcAft>
                <a:spcPts val="0"/>
              </a:spcAft>
              <a:buNone/>
              <a:defRPr sz="2667">
                <a:solidFill>
                  <a:schemeClr val="tx2"/>
                </a:solidFill>
              </a:defRPr>
            </a:lvl5pPr>
            <a:lvl6pPr marL="0" indent="0" algn="l">
              <a:spcBef>
                <a:spcPts val="800"/>
              </a:spcBef>
              <a:spcAft>
                <a:spcPts val="0"/>
              </a:spcAft>
              <a:buNone/>
              <a:defRPr sz="2667">
                <a:solidFill>
                  <a:schemeClr val="tx2"/>
                </a:solidFill>
              </a:defRPr>
            </a:lvl6pPr>
            <a:lvl7pPr marL="0" indent="0" algn="l">
              <a:spcBef>
                <a:spcPts val="800"/>
              </a:spcBef>
              <a:spcAft>
                <a:spcPts val="0"/>
              </a:spcAft>
              <a:buNone/>
              <a:defRPr sz="2667">
                <a:solidFill>
                  <a:schemeClr val="tx2"/>
                </a:solidFill>
              </a:defRPr>
            </a:lvl7pPr>
            <a:lvl8pPr marL="0" indent="0" algn="l">
              <a:spcAft>
                <a:spcPts val="0"/>
              </a:spcAft>
              <a:buNone/>
              <a:defRPr sz="2667">
                <a:solidFill>
                  <a:schemeClr val="bg1"/>
                </a:solidFill>
              </a:defRPr>
            </a:lvl8pPr>
            <a:lvl9pPr marL="0" indent="0" algn="l">
              <a:spcBef>
                <a:spcPts val="800"/>
              </a:spcBef>
              <a:spcAft>
                <a:spcPts val="0"/>
              </a:spcAft>
              <a:buNone/>
              <a:defRPr sz="2667">
                <a:solidFill>
                  <a:schemeClr val="tx2"/>
                </a:solidFill>
              </a:defRPr>
            </a:lvl9pPr>
          </a:lstStyle>
          <a:p>
            <a:pPr lvl="0"/>
            <a:r>
              <a:rPr lang="en-US" noProof="0"/>
              <a:t>Click to add subtitle of presentation</a:t>
            </a:r>
          </a:p>
        </p:txBody>
      </p:sp>
      <p:sp>
        <p:nvSpPr>
          <p:cNvPr id="7" name="Rechteck 6"/>
          <p:cNvSpPr/>
          <p:nvPr userDrawn="1"/>
        </p:nvSpPr>
        <p:spPr bwMode="gray">
          <a:xfrm>
            <a:off x="0" y="6570171"/>
            <a:ext cx="12192000" cy="287829"/>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indent="0" algn="ctr">
              <a:buFont typeface="Courier New" pitchFamily="49" charset="0"/>
              <a:buNone/>
            </a:pPr>
            <a:endParaRPr lang="en-US" sz="2133">
              <a:solidFill>
                <a:schemeClr val="tx1"/>
              </a:solidFill>
              <a:latin typeface="Arial" pitchFamily="34" charset="0"/>
            </a:endParaRPr>
          </a:p>
        </p:txBody>
      </p:sp>
      <p:sp>
        <p:nvSpPr>
          <p:cNvPr id="8" name="Text Placeholder 10"/>
          <p:cNvSpPr>
            <a:spLocks noGrp="1"/>
          </p:cNvSpPr>
          <p:nvPr>
            <p:ph type="body" sz="quarter" idx="10" hasCustomPrompt="1"/>
          </p:nvPr>
        </p:nvSpPr>
        <p:spPr bwMode="gray">
          <a:xfrm>
            <a:off x="431371" y="6309400"/>
            <a:ext cx="11328829" cy="288000"/>
          </a:xfrm>
        </p:spPr>
        <p:txBody>
          <a:bodyPr tIns="0" anchor="b" anchorCtr="0"/>
          <a:lstStyle>
            <a:lvl1pPr marL="0" indent="0">
              <a:lnSpc>
                <a:spcPct val="100000"/>
              </a:lnSpc>
              <a:spcBef>
                <a:spcPts val="0"/>
              </a:spcBef>
              <a:spcAft>
                <a:spcPts val="0"/>
              </a:spcAft>
              <a:buFontTx/>
              <a:buNone/>
              <a:defRPr sz="1600">
                <a:solidFill>
                  <a:schemeClr val="tx2"/>
                </a:solidFill>
              </a:defRPr>
            </a:lvl1pPr>
            <a:lvl2pPr marL="0" indent="0">
              <a:lnSpc>
                <a:spcPct val="100000"/>
              </a:lnSpc>
              <a:spcBef>
                <a:spcPts val="0"/>
              </a:spcBef>
              <a:spcAft>
                <a:spcPts val="0"/>
              </a:spcAft>
              <a:buFontTx/>
              <a:buNone/>
              <a:defRPr sz="1600">
                <a:solidFill>
                  <a:schemeClr val="tx2"/>
                </a:solidFill>
              </a:defRPr>
            </a:lvl2pPr>
            <a:lvl3pPr marL="0" indent="0">
              <a:lnSpc>
                <a:spcPct val="100000"/>
              </a:lnSpc>
              <a:spcBef>
                <a:spcPts val="0"/>
              </a:spcBef>
              <a:spcAft>
                <a:spcPts val="0"/>
              </a:spcAft>
              <a:buFontTx/>
              <a:buNone/>
              <a:defRPr sz="1600">
                <a:solidFill>
                  <a:schemeClr val="tx2"/>
                </a:solidFill>
              </a:defRPr>
            </a:lvl3pPr>
            <a:lvl4pPr marL="0" indent="0">
              <a:lnSpc>
                <a:spcPct val="100000"/>
              </a:lnSpc>
              <a:spcBef>
                <a:spcPts val="0"/>
              </a:spcBef>
              <a:spcAft>
                <a:spcPts val="0"/>
              </a:spcAft>
              <a:buFontTx/>
              <a:buNone/>
              <a:defRPr sz="1600">
                <a:solidFill>
                  <a:schemeClr val="tx2"/>
                </a:solidFill>
              </a:defRPr>
            </a:lvl4pPr>
            <a:lvl5pPr marL="0" indent="0">
              <a:lnSpc>
                <a:spcPct val="100000"/>
              </a:lnSpc>
              <a:spcBef>
                <a:spcPts val="0"/>
              </a:spcBef>
              <a:spcAft>
                <a:spcPts val="0"/>
              </a:spcAft>
              <a:buFontTx/>
              <a:buNone/>
              <a:defRPr sz="1600">
                <a:solidFill>
                  <a:schemeClr val="tx2"/>
                </a:solidFill>
              </a:defRPr>
            </a:lvl5pPr>
            <a:lvl6pPr marL="0" indent="0">
              <a:lnSpc>
                <a:spcPct val="100000"/>
              </a:lnSpc>
              <a:spcBef>
                <a:spcPts val="0"/>
              </a:spcBef>
              <a:spcAft>
                <a:spcPts val="0"/>
              </a:spcAft>
              <a:buFontTx/>
              <a:buNone/>
              <a:defRPr sz="1600">
                <a:solidFill>
                  <a:schemeClr val="tx2"/>
                </a:solidFill>
              </a:defRPr>
            </a:lvl6pPr>
            <a:lvl7pPr marL="0" indent="0">
              <a:lnSpc>
                <a:spcPct val="100000"/>
              </a:lnSpc>
              <a:spcBef>
                <a:spcPts val="0"/>
              </a:spcBef>
              <a:spcAft>
                <a:spcPts val="0"/>
              </a:spcAft>
              <a:buFontTx/>
              <a:buNone/>
              <a:defRPr sz="1600">
                <a:solidFill>
                  <a:schemeClr val="tx2"/>
                </a:solidFill>
              </a:defRPr>
            </a:lvl7pPr>
            <a:lvl8pPr marL="0" indent="0">
              <a:lnSpc>
                <a:spcPct val="100000"/>
              </a:lnSpc>
              <a:spcBef>
                <a:spcPts val="0"/>
              </a:spcBef>
              <a:spcAft>
                <a:spcPts val="0"/>
              </a:spcAft>
              <a:buFontTx/>
              <a:buNone/>
              <a:defRPr sz="1600">
                <a:solidFill>
                  <a:schemeClr val="bg1"/>
                </a:solidFill>
              </a:defRPr>
            </a:lvl8pPr>
            <a:lvl9pPr marL="0" indent="0">
              <a:lnSpc>
                <a:spcPct val="100000"/>
              </a:lnSpc>
              <a:spcBef>
                <a:spcPts val="0"/>
              </a:spcBef>
              <a:spcAft>
                <a:spcPts val="0"/>
              </a:spcAft>
              <a:buFontTx/>
              <a:buNone/>
              <a:defRPr sz="1600">
                <a:solidFill>
                  <a:schemeClr val="tx2"/>
                </a:solidFill>
              </a:defRPr>
            </a:lvl9pPr>
          </a:lstStyle>
          <a:p>
            <a:pPr lvl="0"/>
            <a:r>
              <a:rPr lang="en-US" noProof="0"/>
              <a:t>Click to add additional text, e.g. author, location, date</a:t>
            </a:r>
          </a:p>
        </p:txBody>
      </p:sp>
    </p:spTree>
    <p:extLst>
      <p:ext uri="{BB962C8B-B14F-4D97-AF65-F5344CB8AC3E}">
        <p14:creationId xmlns:p14="http://schemas.microsoft.com/office/powerpoint/2010/main" val="238552828"/>
      </p:ext>
    </p:extLst>
  </p:cSld>
  <p:clrMapOvr>
    <a:masterClrMapping/>
  </p:clrMapOvr>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p:cSld name="Four contents 2">
    <p:spTree>
      <p:nvGrpSpPr>
        <p:cNvPr id="1" name=""/>
        <p:cNvGrpSpPr/>
        <p:nvPr/>
      </p:nvGrpSpPr>
      <p:grpSpPr>
        <a:xfrm>
          <a:off x="0" y="0"/>
          <a:ext cx="0" cy="0"/>
          <a:chOff x="0" y="0"/>
          <a:chExt cx="0" cy="0"/>
        </a:xfrm>
      </p:grpSpPr>
      <p:sp>
        <p:nvSpPr>
          <p:cNvPr id="21" name="Date Placeholder 20"/>
          <p:cNvSpPr>
            <a:spLocks noGrp="1"/>
          </p:cNvSpPr>
          <p:nvPr>
            <p:ph type="dt" sz="half" idx="14"/>
          </p:nvPr>
        </p:nvSpPr>
        <p:spPr/>
        <p:txBody>
          <a:bodyPr/>
          <a:lstStyle/>
          <a:p>
            <a:fld id="{C1A94770-6330-463A-BD32-DB4363F98C83}" type="datetime5">
              <a:rPr lang="en-US" smtClean="0"/>
              <a:t>26-Jun-20</a:t>
            </a:fld>
            <a:endParaRPr lang="en-US"/>
          </a:p>
        </p:txBody>
      </p:sp>
      <p:sp>
        <p:nvSpPr>
          <p:cNvPr id="22" name="Footer Placeholder 21"/>
          <p:cNvSpPr>
            <a:spLocks noGrp="1"/>
          </p:cNvSpPr>
          <p:nvPr>
            <p:ph type="ftr" sz="quarter" idx="15"/>
          </p:nvPr>
        </p:nvSpPr>
        <p:spPr/>
        <p:txBody>
          <a:bodyPr/>
          <a:lstStyle/>
          <a:p>
            <a:r>
              <a:rPr lang="en-US"/>
              <a:t>Title of presentation (Insert / Header &amp; Footer / Apply to All)</a:t>
            </a:r>
            <a:endParaRPr lang="en-US" dirty="0"/>
          </a:p>
        </p:txBody>
      </p:sp>
      <p:sp>
        <p:nvSpPr>
          <p:cNvPr id="23" name="Slide Number Placeholder 22"/>
          <p:cNvSpPr>
            <a:spLocks noGrp="1"/>
          </p:cNvSpPr>
          <p:nvPr>
            <p:ph type="sldNum" sz="quarter" idx="16"/>
          </p:nvPr>
        </p:nvSpPr>
        <p:spPr/>
        <p:txBody>
          <a:bodyPr/>
          <a:lstStyle/>
          <a:p>
            <a:fld id="{5F3E29E4-0979-4FCA-B4C5-5FC6044C982A}" type="slidenum">
              <a:rPr lang="en-US" smtClean="0"/>
              <a:t>‹#›</a:t>
            </a:fld>
            <a:endParaRPr lang="en-US"/>
          </a:p>
        </p:txBody>
      </p:sp>
      <p:sp>
        <p:nvSpPr>
          <p:cNvPr id="2" name="Title 1"/>
          <p:cNvSpPr>
            <a:spLocks noGrp="1"/>
          </p:cNvSpPr>
          <p:nvPr>
            <p:ph type="title" hasCustomPrompt="1"/>
          </p:nvPr>
        </p:nvSpPr>
        <p:spPr/>
        <p:txBody>
          <a:bodyPr/>
          <a:lstStyle>
            <a:lvl1pPr>
              <a:defRPr/>
            </a:lvl1pPr>
          </a:lstStyle>
          <a:p>
            <a:r>
              <a:rPr lang="en-US" dirty="0"/>
              <a:t>Click to add slide title</a:t>
            </a:r>
          </a:p>
        </p:txBody>
      </p:sp>
      <p:sp>
        <p:nvSpPr>
          <p:cNvPr id="7" name="Subtitle 2"/>
          <p:cNvSpPr>
            <a:spLocks noGrp="1"/>
          </p:cNvSpPr>
          <p:nvPr>
            <p:ph type="subTitle" idx="13" hasCustomPrompt="1"/>
          </p:nvPr>
        </p:nvSpPr>
        <p:spPr>
          <a:xfrm>
            <a:off x="1075061" y="964671"/>
            <a:ext cx="7910158" cy="490042"/>
          </a:xfrm>
        </p:spPr>
        <p:txBody>
          <a:bodyPr wrap="none"/>
          <a:lstStyle>
            <a:lvl1pPr marL="0" indent="0" algn="l">
              <a:spcBef>
                <a:spcPts val="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3" name="Content Placeholder 2"/>
          <p:cNvSpPr>
            <a:spLocks noGrp="1"/>
          </p:cNvSpPr>
          <p:nvPr>
            <p:ph idx="1" hasCustomPrompt="1"/>
          </p:nvPr>
        </p:nvSpPr>
        <p:spPr>
          <a:xfrm>
            <a:off x="192088" y="1629617"/>
            <a:ext cx="6102974" cy="2160000"/>
          </a:xfrm>
        </p:spPr>
        <p:txBody>
          <a:bodyPr/>
          <a:lstStyle>
            <a:lvl1pPr>
              <a:defRPr/>
            </a:lvl1pPr>
          </a:lstStyle>
          <a:p>
            <a:pPr lvl="0"/>
            <a:r>
              <a:rPr lang="en-US" dirty="0"/>
              <a:t>Click to add text or conten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Content Placeholder 2"/>
          <p:cNvSpPr>
            <a:spLocks noGrp="1"/>
          </p:cNvSpPr>
          <p:nvPr>
            <p:ph idx="17" hasCustomPrompt="1"/>
          </p:nvPr>
        </p:nvSpPr>
        <p:spPr>
          <a:xfrm>
            <a:off x="6600525" y="1629617"/>
            <a:ext cx="5234144" cy="2160000"/>
          </a:xfrm>
        </p:spPr>
        <p:txBody>
          <a:bodyPr/>
          <a:lstStyle>
            <a:lvl1pPr>
              <a:defRPr/>
            </a:lvl1pPr>
          </a:lstStyle>
          <a:p>
            <a:pPr lvl="0"/>
            <a:r>
              <a:rPr lang="en-US" dirty="0"/>
              <a:t>Click to add text or conten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Content Placeholder 2"/>
          <p:cNvSpPr>
            <a:spLocks noGrp="1"/>
          </p:cNvSpPr>
          <p:nvPr>
            <p:ph idx="18" hasCustomPrompt="1"/>
          </p:nvPr>
        </p:nvSpPr>
        <p:spPr>
          <a:xfrm>
            <a:off x="192088" y="4077289"/>
            <a:ext cx="6102974" cy="2160000"/>
          </a:xfrm>
        </p:spPr>
        <p:txBody>
          <a:bodyPr/>
          <a:lstStyle>
            <a:lvl1pPr>
              <a:defRPr/>
            </a:lvl1pPr>
          </a:lstStyle>
          <a:p>
            <a:pPr lvl="0"/>
            <a:r>
              <a:rPr lang="en-US" dirty="0"/>
              <a:t>Click to add text or conten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Content Placeholder 2"/>
          <p:cNvSpPr>
            <a:spLocks noGrp="1"/>
          </p:cNvSpPr>
          <p:nvPr>
            <p:ph idx="19" hasCustomPrompt="1"/>
          </p:nvPr>
        </p:nvSpPr>
        <p:spPr>
          <a:xfrm>
            <a:off x="6600525" y="4077289"/>
            <a:ext cx="5234144" cy="2160000"/>
          </a:xfrm>
        </p:spPr>
        <p:txBody>
          <a:bodyPr/>
          <a:lstStyle>
            <a:lvl1pPr>
              <a:defRPr/>
            </a:lvl1pPr>
          </a:lstStyle>
          <a:p>
            <a:pPr lvl="0"/>
            <a:r>
              <a:rPr lang="en-US" dirty="0"/>
              <a:t>Click to add text or conten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4"/>
          <p:cNvSpPr>
            <a:spLocks noGrp="1"/>
          </p:cNvSpPr>
          <p:nvPr>
            <p:ph type="body" sz="quarter" idx="20" hasCustomPrompt="1"/>
          </p:nvPr>
        </p:nvSpPr>
        <p:spPr>
          <a:xfrm>
            <a:off x="1075063" y="6307665"/>
            <a:ext cx="8162717" cy="133200"/>
          </a:xfrm>
        </p:spPr>
        <p:txBody>
          <a:bodyPr lIns="0" tIns="0" rIns="0" bIns="0" anchor="b" anchorCtr="0"/>
          <a:lstStyle>
            <a:lvl1pPr marL="0" indent="0" algn="l">
              <a:lnSpc>
                <a:spcPct val="100000"/>
              </a:lnSpc>
              <a:spcBef>
                <a:spcPts val="0"/>
              </a:spcBef>
              <a:buNone/>
              <a:defRPr sz="800" baseline="0"/>
            </a:lvl1pPr>
            <a:lvl2pPr marL="0" indent="0" algn="l">
              <a:lnSpc>
                <a:spcPct val="100000"/>
              </a:lnSpc>
              <a:spcBef>
                <a:spcPts val="0"/>
              </a:spcBef>
              <a:buNone/>
              <a:defRPr sz="800"/>
            </a:lvl2pPr>
            <a:lvl3pPr marL="0" indent="0" algn="l">
              <a:lnSpc>
                <a:spcPct val="100000"/>
              </a:lnSpc>
              <a:spcBef>
                <a:spcPts val="0"/>
              </a:spcBef>
              <a:buNone/>
              <a:defRPr sz="800"/>
            </a:lvl3pPr>
            <a:lvl4pPr marL="0" algn="l">
              <a:lnSpc>
                <a:spcPct val="100000"/>
              </a:lnSpc>
              <a:spcBef>
                <a:spcPts val="0"/>
              </a:spcBef>
              <a:buNone/>
              <a:defRPr sz="800"/>
            </a:lvl4pPr>
            <a:lvl5pPr marL="0" indent="0" algn="l">
              <a:lnSpc>
                <a:spcPct val="100000"/>
              </a:lnSpc>
              <a:spcBef>
                <a:spcPts val="0"/>
              </a:spcBef>
              <a:buNone/>
              <a:defRPr sz="800"/>
            </a:lvl5pPr>
          </a:lstStyle>
          <a:p>
            <a:pPr lvl="0"/>
            <a:r>
              <a:rPr lang="en-US" dirty="0"/>
              <a:t>Source line</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839907800"/>
      </p:ext>
    </p:extLst>
  </p:cSld>
  <p:clrMapOvr>
    <a:masterClrMapping/>
  </p:clrMapOvr>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p:cSld name="Large charts and tables">
    <p:spTree>
      <p:nvGrpSpPr>
        <p:cNvPr id="1" name=""/>
        <p:cNvGrpSpPr/>
        <p:nvPr/>
      </p:nvGrpSpPr>
      <p:grpSpPr>
        <a:xfrm>
          <a:off x="0" y="0"/>
          <a:ext cx="0" cy="0"/>
          <a:chOff x="0" y="0"/>
          <a:chExt cx="0" cy="0"/>
        </a:xfrm>
      </p:grpSpPr>
      <p:sp>
        <p:nvSpPr>
          <p:cNvPr id="21" name="Date Placeholder 20"/>
          <p:cNvSpPr>
            <a:spLocks noGrp="1"/>
          </p:cNvSpPr>
          <p:nvPr>
            <p:ph type="dt" sz="half" idx="14"/>
          </p:nvPr>
        </p:nvSpPr>
        <p:spPr/>
        <p:txBody>
          <a:bodyPr/>
          <a:lstStyle/>
          <a:p>
            <a:fld id="{C8265AAA-10E5-49CF-B48E-DC443F79F14E}" type="datetime5">
              <a:rPr lang="en-US" smtClean="0"/>
              <a:t>26-Jun-20</a:t>
            </a:fld>
            <a:endParaRPr lang="en-US"/>
          </a:p>
        </p:txBody>
      </p:sp>
      <p:sp>
        <p:nvSpPr>
          <p:cNvPr id="22" name="Footer Placeholder 21"/>
          <p:cNvSpPr>
            <a:spLocks noGrp="1"/>
          </p:cNvSpPr>
          <p:nvPr>
            <p:ph type="ftr" sz="quarter" idx="15"/>
          </p:nvPr>
        </p:nvSpPr>
        <p:spPr/>
        <p:txBody>
          <a:bodyPr/>
          <a:lstStyle/>
          <a:p>
            <a:r>
              <a:rPr lang="en-US"/>
              <a:t>Title of presentation (Insert / Header &amp; Footer / Apply to All)</a:t>
            </a:r>
            <a:endParaRPr lang="en-US" dirty="0"/>
          </a:p>
        </p:txBody>
      </p:sp>
      <p:sp>
        <p:nvSpPr>
          <p:cNvPr id="23" name="Slide Number Placeholder 22"/>
          <p:cNvSpPr>
            <a:spLocks noGrp="1"/>
          </p:cNvSpPr>
          <p:nvPr>
            <p:ph type="sldNum" sz="quarter" idx="16"/>
          </p:nvPr>
        </p:nvSpPr>
        <p:spPr/>
        <p:txBody>
          <a:bodyPr/>
          <a:lstStyle/>
          <a:p>
            <a:fld id="{5F3E29E4-0979-4FCA-B4C5-5FC6044C982A}" type="slidenum">
              <a:rPr lang="en-US" smtClean="0"/>
              <a:t>‹#›</a:t>
            </a:fld>
            <a:endParaRPr lang="en-US"/>
          </a:p>
        </p:txBody>
      </p:sp>
      <p:sp>
        <p:nvSpPr>
          <p:cNvPr id="2" name="Title 1"/>
          <p:cNvSpPr>
            <a:spLocks noGrp="1"/>
          </p:cNvSpPr>
          <p:nvPr>
            <p:ph type="title" hasCustomPrompt="1"/>
          </p:nvPr>
        </p:nvSpPr>
        <p:spPr/>
        <p:txBody>
          <a:bodyPr/>
          <a:lstStyle>
            <a:lvl1pPr>
              <a:defRPr/>
            </a:lvl1pPr>
          </a:lstStyle>
          <a:p>
            <a:r>
              <a:rPr lang="en-US" dirty="0"/>
              <a:t>Click to add slide title</a:t>
            </a:r>
          </a:p>
        </p:txBody>
      </p:sp>
      <p:sp>
        <p:nvSpPr>
          <p:cNvPr id="7" name="Subtitle 2"/>
          <p:cNvSpPr>
            <a:spLocks noGrp="1"/>
          </p:cNvSpPr>
          <p:nvPr>
            <p:ph type="subTitle" idx="13" hasCustomPrompt="1"/>
          </p:nvPr>
        </p:nvSpPr>
        <p:spPr>
          <a:xfrm>
            <a:off x="1075061" y="964671"/>
            <a:ext cx="7910158" cy="490042"/>
          </a:xfrm>
        </p:spPr>
        <p:txBody>
          <a:bodyPr wrap="none"/>
          <a:lstStyle>
            <a:lvl1pPr marL="0" indent="0" algn="l">
              <a:spcBef>
                <a:spcPts val="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3" name="Content Placeholder 2"/>
          <p:cNvSpPr>
            <a:spLocks noGrp="1"/>
          </p:cNvSpPr>
          <p:nvPr>
            <p:ph idx="1" hasCustomPrompt="1"/>
          </p:nvPr>
        </p:nvSpPr>
        <p:spPr>
          <a:xfrm>
            <a:off x="192088" y="1629617"/>
            <a:ext cx="11642581" cy="4599506"/>
          </a:xfrm>
        </p:spPr>
        <p:txBody>
          <a:bodyPr anchor="t"/>
          <a:lstStyle>
            <a:lvl1pPr marL="0" indent="0" algn="ctr">
              <a:spcBef>
                <a:spcPts val="1000"/>
              </a:spcBef>
              <a:buNone/>
              <a:defRPr sz="2800" baseline="0"/>
            </a:lvl1pPr>
            <a:lvl2pPr marL="0" indent="0">
              <a:spcBef>
                <a:spcPts val="1000"/>
              </a:spcBef>
              <a:buNone/>
              <a:defRPr sz="2800"/>
            </a:lvl2pPr>
            <a:lvl3pPr marL="0" indent="0">
              <a:spcBef>
                <a:spcPts val="1000"/>
              </a:spcBef>
              <a:buNone/>
              <a:defRPr sz="2800"/>
            </a:lvl3pPr>
            <a:lvl4pPr>
              <a:spcBef>
                <a:spcPts val="1000"/>
              </a:spcBef>
              <a:buNone/>
              <a:defRPr sz="2800"/>
            </a:lvl4pPr>
            <a:lvl5pPr marL="0" indent="0">
              <a:spcBef>
                <a:spcPts val="1000"/>
              </a:spcBef>
              <a:buNone/>
              <a:defRPr sz="2800"/>
            </a:lvl5pPr>
          </a:lstStyle>
          <a:p>
            <a:pPr lvl="0"/>
            <a:r>
              <a:rPr lang="en-US" dirty="0"/>
              <a:t>Use this layout for large charts and tables only. Please, do not use with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4"/>
          <p:cNvSpPr>
            <a:spLocks noGrp="1"/>
          </p:cNvSpPr>
          <p:nvPr>
            <p:ph type="body" sz="quarter" idx="17" hasCustomPrompt="1"/>
          </p:nvPr>
        </p:nvSpPr>
        <p:spPr>
          <a:xfrm>
            <a:off x="1075063" y="6307665"/>
            <a:ext cx="8162717" cy="133200"/>
          </a:xfrm>
        </p:spPr>
        <p:txBody>
          <a:bodyPr lIns="0" tIns="0" rIns="0" bIns="0" anchor="b" anchorCtr="0"/>
          <a:lstStyle>
            <a:lvl1pPr marL="0" indent="0" algn="l">
              <a:lnSpc>
                <a:spcPct val="100000"/>
              </a:lnSpc>
              <a:spcBef>
                <a:spcPts val="0"/>
              </a:spcBef>
              <a:buNone/>
              <a:defRPr sz="800" baseline="0"/>
            </a:lvl1pPr>
            <a:lvl2pPr marL="0" indent="0" algn="l">
              <a:lnSpc>
                <a:spcPct val="100000"/>
              </a:lnSpc>
              <a:spcBef>
                <a:spcPts val="0"/>
              </a:spcBef>
              <a:buNone/>
              <a:defRPr sz="800"/>
            </a:lvl2pPr>
            <a:lvl3pPr marL="0" indent="0" algn="l">
              <a:lnSpc>
                <a:spcPct val="100000"/>
              </a:lnSpc>
              <a:spcBef>
                <a:spcPts val="0"/>
              </a:spcBef>
              <a:buNone/>
              <a:defRPr sz="800"/>
            </a:lvl3pPr>
            <a:lvl4pPr marL="0" algn="l">
              <a:lnSpc>
                <a:spcPct val="100000"/>
              </a:lnSpc>
              <a:spcBef>
                <a:spcPts val="0"/>
              </a:spcBef>
              <a:buNone/>
              <a:defRPr sz="800"/>
            </a:lvl4pPr>
            <a:lvl5pPr marL="0" indent="0" algn="l">
              <a:lnSpc>
                <a:spcPct val="100000"/>
              </a:lnSpc>
              <a:spcBef>
                <a:spcPts val="0"/>
              </a:spcBef>
              <a:buNone/>
              <a:defRPr sz="800"/>
            </a:lvl5pPr>
          </a:lstStyle>
          <a:p>
            <a:pPr lvl="0"/>
            <a:r>
              <a:rPr lang="en-US" dirty="0"/>
              <a:t>Source line</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949390141"/>
      </p:ext>
    </p:extLst>
  </p:cSld>
  <p:clrMapOvr>
    <a:masterClrMapping/>
  </p:clrMapOvr>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p:cSld name="Chart with description">
    <p:spTree>
      <p:nvGrpSpPr>
        <p:cNvPr id="1" name=""/>
        <p:cNvGrpSpPr/>
        <p:nvPr/>
      </p:nvGrpSpPr>
      <p:grpSpPr>
        <a:xfrm>
          <a:off x="0" y="0"/>
          <a:ext cx="0" cy="0"/>
          <a:chOff x="0" y="0"/>
          <a:chExt cx="0" cy="0"/>
        </a:xfrm>
      </p:grpSpPr>
      <p:sp>
        <p:nvSpPr>
          <p:cNvPr id="21" name="Date Placeholder 20"/>
          <p:cNvSpPr>
            <a:spLocks noGrp="1"/>
          </p:cNvSpPr>
          <p:nvPr>
            <p:ph type="dt" sz="half" idx="14"/>
          </p:nvPr>
        </p:nvSpPr>
        <p:spPr/>
        <p:txBody>
          <a:bodyPr/>
          <a:lstStyle/>
          <a:p>
            <a:fld id="{7E0CC7EF-9DF0-4DDD-B873-4143C4455B77}" type="datetime5">
              <a:rPr lang="en-US" smtClean="0"/>
              <a:t>26-Jun-20</a:t>
            </a:fld>
            <a:endParaRPr lang="en-US"/>
          </a:p>
        </p:txBody>
      </p:sp>
      <p:sp>
        <p:nvSpPr>
          <p:cNvPr id="22" name="Footer Placeholder 21"/>
          <p:cNvSpPr>
            <a:spLocks noGrp="1"/>
          </p:cNvSpPr>
          <p:nvPr>
            <p:ph type="ftr" sz="quarter" idx="15"/>
          </p:nvPr>
        </p:nvSpPr>
        <p:spPr/>
        <p:txBody>
          <a:bodyPr/>
          <a:lstStyle/>
          <a:p>
            <a:r>
              <a:rPr lang="en-US"/>
              <a:t>Title of presentation (Insert / Header &amp; Footer / Apply to All)</a:t>
            </a:r>
            <a:endParaRPr lang="en-US" dirty="0"/>
          </a:p>
        </p:txBody>
      </p:sp>
      <p:sp>
        <p:nvSpPr>
          <p:cNvPr id="23" name="Slide Number Placeholder 22"/>
          <p:cNvSpPr>
            <a:spLocks noGrp="1"/>
          </p:cNvSpPr>
          <p:nvPr>
            <p:ph type="sldNum" sz="quarter" idx="16"/>
          </p:nvPr>
        </p:nvSpPr>
        <p:spPr/>
        <p:txBody>
          <a:bodyPr/>
          <a:lstStyle/>
          <a:p>
            <a:fld id="{5F3E29E4-0979-4FCA-B4C5-5FC6044C982A}" type="slidenum">
              <a:rPr lang="en-US" smtClean="0"/>
              <a:t>‹#›</a:t>
            </a:fld>
            <a:endParaRPr lang="en-US"/>
          </a:p>
        </p:txBody>
      </p:sp>
      <p:sp>
        <p:nvSpPr>
          <p:cNvPr id="2" name="Title 1"/>
          <p:cNvSpPr>
            <a:spLocks noGrp="1"/>
          </p:cNvSpPr>
          <p:nvPr>
            <p:ph type="title" hasCustomPrompt="1"/>
          </p:nvPr>
        </p:nvSpPr>
        <p:spPr/>
        <p:txBody>
          <a:bodyPr/>
          <a:lstStyle>
            <a:lvl1pPr>
              <a:defRPr/>
            </a:lvl1pPr>
          </a:lstStyle>
          <a:p>
            <a:r>
              <a:rPr lang="en-US" dirty="0"/>
              <a:t>Click to add slide title</a:t>
            </a:r>
          </a:p>
        </p:txBody>
      </p:sp>
      <p:sp>
        <p:nvSpPr>
          <p:cNvPr id="7" name="Subtitle 2"/>
          <p:cNvSpPr>
            <a:spLocks noGrp="1"/>
          </p:cNvSpPr>
          <p:nvPr>
            <p:ph type="subTitle" idx="13" hasCustomPrompt="1"/>
          </p:nvPr>
        </p:nvSpPr>
        <p:spPr>
          <a:xfrm>
            <a:off x="1075061" y="964671"/>
            <a:ext cx="7910158" cy="490042"/>
          </a:xfrm>
        </p:spPr>
        <p:txBody>
          <a:bodyPr wrap="none"/>
          <a:lstStyle>
            <a:lvl1pPr marL="0" indent="0" algn="l">
              <a:spcBef>
                <a:spcPts val="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4" name="Chart Placeholder 3"/>
          <p:cNvSpPr>
            <a:spLocks noGrp="1"/>
          </p:cNvSpPr>
          <p:nvPr>
            <p:ph type="chart" sz="quarter" idx="17" hasCustomPrompt="1"/>
          </p:nvPr>
        </p:nvSpPr>
        <p:spPr>
          <a:xfrm>
            <a:off x="192088" y="1629617"/>
            <a:ext cx="5903913" cy="4599506"/>
          </a:xfrm>
        </p:spPr>
        <p:txBody>
          <a:bodyPr/>
          <a:lstStyle>
            <a:lvl1pPr>
              <a:defRPr/>
            </a:lvl1pPr>
          </a:lstStyle>
          <a:p>
            <a:r>
              <a:rPr lang="en-US" dirty="0"/>
              <a:t>Click to add chart</a:t>
            </a:r>
          </a:p>
        </p:txBody>
      </p:sp>
      <p:sp>
        <p:nvSpPr>
          <p:cNvPr id="6" name="Text Placeholder 5"/>
          <p:cNvSpPr>
            <a:spLocks noGrp="1"/>
          </p:cNvSpPr>
          <p:nvPr>
            <p:ph type="body" sz="quarter" idx="18" hasCustomPrompt="1"/>
          </p:nvPr>
        </p:nvSpPr>
        <p:spPr>
          <a:xfrm>
            <a:off x="6206067" y="3393019"/>
            <a:ext cx="5628602" cy="2023841"/>
          </a:xfrm>
          <a:solidFill>
            <a:srgbClr val="D9DADB"/>
          </a:solidFill>
        </p:spPr>
        <p:txBody>
          <a:bodyPr lIns="108000" tIns="108000" rIns="108000" bIns="108000"/>
          <a:lstStyle>
            <a:lvl1pPr>
              <a:defRPr sz="1600"/>
            </a:lvl1pPr>
            <a:lvl2pPr>
              <a:defRPr sz="1600"/>
            </a:lvl2pPr>
            <a:lvl3pPr>
              <a:defRPr sz="1600"/>
            </a:lvl3pPr>
            <a:lvl4pPr>
              <a:defRPr sz="1600"/>
            </a:lvl4pPr>
            <a:lvl5pPr>
              <a:defRPr sz="1600"/>
            </a:lvl5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 Placeholder 4"/>
          <p:cNvSpPr>
            <a:spLocks noGrp="1"/>
          </p:cNvSpPr>
          <p:nvPr>
            <p:ph type="body" sz="quarter" idx="19" hasCustomPrompt="1"/>
          </p:nvPr>
        </p:nvSpPr>
        <p:spPr>
          <a:xfrm>
            <a:off x="1075063" y="6307665"/>
            <a:ext cx="8162717" cy="133200"/>
          </a:xfrm>
        </p:spPr>
        <p:txBody>
          <a:bodyPr lIns="0" tIns="0" rIns="0" bIns="0" anchor="b" anchorCtr="0"/>
          <a:lstStyle>
            <a:lvl1pPr marL="0" indent="0" algn="l">
              <a:lnSpc>
                <a:spcPct val="100000"/>
              </a:lnSpc>
              <a:spcBef>
                <a:spcPts val="0"/>
              </a:spcBef>
              <a:buNone/>
              <a:defRPr sz="800" baseline="0"/>
            </a:lvl1pPr>
            <a:lvl2pPr marL="0" indent="0" algn="l">
              <a:lnSpc>
                <a:spcPct val="100000"/>
              </a:lnSpc>
              <a:spcBef>
                <a:spcPts val="0"/>
              </a:spcBef>
              <a:buNone/>
              <a:defRPr sz="800"/>
            </a:lvl2pPr>
            <a:lvl3pPr marL="0" indent="0" algn="l">
              <a:lnSpc>
                <a:spcPct val="100000"/>
              </a:lnSpc>
              <a:spcBef>
                <a:spcPts val="0"/>
              </a:spcBef>
              <a:buNone/>
              <a:defRPr sz="800"/>
            </a:lvl3pPr>
            <a:lvl4pPr marL="0" algn="l">
              <a:lnSpc>
                <a:spcPct val="100000"/>
              </a:lnSpc>
              <a:spcBef>
                <a:spcPts val="0"/>
              </a:spcBef>
              <a:buNone/>
              <a:defRPr sz="800"/>
            </a:lvl4pPr>
            <a:lvl5pPr marL="0" indent="0" algn="l">
              <a:lnSpc>
                <a:spcPct val="100000"/>
              </a:lnSpc>
              <a:spcBef>
                <a:spcPts val="0"/>
              </a:spcBef>
              <a:buNone/>
              <a:defRPr sz="800"/>
            </a:lvl5pPr>
          </a:lstStyle>
          <a:p>
            <a:pPr lvl="0"/>
            <a:r>
              <a:rPr lang="en-US" dirty="0"/>
              <a:t>Source line</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619217080"/>
      </p:ext>
    </p:extLst>
  </p:cSld>
  <p:clrMapOvr>
    <a:masterClrMapping/>
  </p:clrMapOvr>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p:cSld name="Notebook">
    <p:spTree>
      <p:nvGrpSpPr>
        <p:cNvPr id="1" name=""/>
        <p:cNvGrpSpPr/>
        <p:nvPr/>
      </p:nvGrpSpPr>
      <p:grpSpPr>
        <a:xfrm>
          <a:off x="0" y="0"/>
          <a:ext cx="0" cy="0"/>
          <a:chOff x="0" y="0"/>
          <a:chExt cx="0" cy="0"/>
        </a:xfrm>
      </p:grpSpPr>
      <p:pic>
        <p:nvPicPr>
          <p:cNvPr id="13" name="Notebook">
            <a:extLst>
              <a:ext uri="{FF2B5EF4-FFF2-40B4-BE49-F238E27FC236}">
                <a16:creationId xmlns:a16="http://schemas.microsoft.com/office/drawing/2014/main" id="{6DEE1461-64EC-7246-8FA6-71C6BF497627}"/>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3651351" y="1267197"/>
            <a:ext cx="8528460" cy="5161713"/>
          </a:xfrm>
          <a:prstGeom prst="rect">
            <a:avLst/>
          </a:prstGeom>
        </p:spPr>
      </p:pic>
      <p:sp>
        <p:nvSpPr>
          <p:cNvPr id="21" name="Date Placeholder 20"/>
          <p:cNvSpPr>
            <a:spLocks noGrp="1"/>
          </p:cNvSpPr>
          <p:nvPr>
            <p:ph type="dt" sz="half" idx="14"/>
          </p:nvPr>
        </p:nvSpPr>
        <p:spPr/>
        <p:txBody>
          <a:bodyPr/>
          <a:lstStyle/>
          <a:p>
            <a:fld id="{DC5CC4D7-5797-439F-A8BE-F20DB0B4B50C}" type="datetime5">
              <a:rPr lang="en-US" smtClean="0"/>
              <a:t>26-Jun-20</a:t>
            </a:fld>
            <a:endParaRPr lang="en-US"/>
          </a:p>
        </p:txBody>
      </p:sp>
      <p:sp>
        <p:nvSpPr>
          <p:cNvPr id="22" name="Footer Placeholder 21"/>
          <p:cNvSpPr>
            <a:spLocks noGrp="1"/>
          </p:cNvSpPr>
          <p:nvPr>
            <p:ph type="ftr" sz="quarter" idx="15"/>
          </p:nvPr>
        </p:nvSpPr>
        <p:spPr/>
        <p:txBody>
          <a:bodyPr/>
          <a:lstStyle/>
          <a:p>
            <a:r>
              <a:rPr lang="en-US"/>
              <a:t>Title of presentation (Insert / Header &amp; Footer / Apply to All)</a:t>
            </a:r>
            <a:endParaRPr lang="en-US" dirty="0"/>
          </a:p>
        </p:txBody>
      </p:sp>
      <p:sp>
        <p:nvSpPr>
          <p:cNvPr id="23" name="Slide Number Placeholder 22"/>
          <p:cNvSpPr>
            <a:spLocks noGrp="1"/>
          </p:cNvSpPr>
          <p:nvPr>
            <p:ph type="sldNum" sz="quarter" idx="16"/>
          </p:nvPr>
        </p:nvSpPr>
        <p:spPr/>
        <p:txBody>
          <a:bodyPr/>
          <a:lstStyle/>
          <a:p>
            <a:fld id="{5F3E29E4-0979-4FCA-B4C5-5FC6044C982A}" type="slidenum">
              <a:rPr lang="en-US" smtClean="0"/>
              <a:t>‹#›</a:t>
            </a:fld>
            <a:endParaRPr lang="en-US"/>
          </a:p>
        </p:txBody>
      </p:sp>
      <p:sp>
        <p:nvSpPr>
          <p:cNvPr id="2" name="Title 1"/>
          <p:cNvSpPr>
            <a:spLocks noGrp="1"/>
          </p:cNvSpPr>
          <p:nvPr>
            <p:ph type="title" hasCustomPrompt="1"/>
          </p:nvPr>
        </p:nvSpPr>
        <p:spPr/>
        <p:txBody>
          <a:bodyPr/>
          <a:lstStyle>
            <a:lvl1pPr>
              <a:defRPr/>
            </a:lvl1pPr>
          </a:lstStyle>
          <a:p>
            <a:r>
              <a:rPr lang="en-US" dirty="0"/>
              <a:t>Click to add slide title</a:t>
            </a:r>
          </a:p>
        </p:txBody>
      </p:sp>
      <p:sp>
        <p:nvSpPr>
          <p:cNvPr id="7" name="Subtitle 2"/>
          <p:cNvSpPr>
            <a:spLocks noGrp="1"/>
          </p:cNvSpPr>
          <p:nvPr>
            <p:ph type="subTitle" idx="13" hasCustomPrompt="1"/>
          </p:nvPr>
        </p:nvSpPr>
        <p:spPr>
          <a:xfrm>
            <a:off x="1075061" y="964671"/>
            <a:ext cx="7910158" cy="490042"/>
          </a:xfrm>
        </p:spPr>
        <p:txBody>
          <a:bodyPr wrap="none"/>
          <a:lstStyle>
            <a:lvl1pPr marL="0" indent="0" algn="l">
              <a:spcBef>
                <a:spcPts val="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3" name="Content Placeholder 2"/>
          <p:cNvSpPr>
            <a:spLocks noGrp="1"/>
          </p:cNvSpPr>
          <p:nvPr>
            <p:ph idx="1" hasCustomPrompt="1"/>
          </p:nvPr>
        </p:nvSpPr>
        <p:spPr>
          <a:xfrm>
            <a:off x="1075062" y="1852623"/>
            <a:ext cx="3287388" cy="3658714"/>
          </a:xfrm>
        </p:spPr>
        <p:txBody>
          <a:bodyPr anchor="ctr"/>
          <a:lstStyle>
            <a:lvl1pPr>
              <a:defRPr sz="1600"/>
            </a:lvl1pPr>
            <a:lvl2pPr>
              <a:defRPr sz="1600"/>
            </a:lvl2pPr>
            <a:lvl3pPr>
              <a:defRPr sz="1600"/>
            </a:lvl3pPr>
            <a:lvl4pPr>
              <a:defRPr sz="1600"/>
            </a:lvl4pPr>
            <a:lvl5pPr>
              <a:defRPr sz="1600"/>
            </a:lvl5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Picture Placeholder 4"/>
          <p:cNvSpPr>
            <a:spLocks noGrp="1"/>
          </p:cNvSpPr>
          <p:nvPr>
            <p:ph type="pic" sz="quarter" idx="17" hasCustomPrompt="1"/>
          </p:nvPr>
        </p:nvSpPr>
        <p:spPr>
          <a:xfrm>
            <a:off x="4904507" y="1821610"/>
            <a:ext cx="6001200" cy="3664800"/>
          </a:xfrm>
          <a:solidFill>
            <a:srgbClr val="D9DADB"/>
          </a:solidFill>
        </p:spPr>
        <p:txBody>
          <a:bodyPr/>
          <a:lstStyle>
            <a:lvl1pPr marL="0" indent="0">
              <a:buNone/>
              <a:defRPr/>
            </a:lvl1pPr>
          </a:lstStyle>
          <a:p>
            <a:r>
              <a:rPr lang="en-US" dirty="0"/>
              <a:t>Insert picture</a:t>
            </a:r>
          </a:p>
        </p:txBody>
      </p:sp>
      <p:sp>
        <p:nvSpPr>
          <p:cNvPr id="11" name="Text Placeholder 4"/>
          <p:cNvSpPr>
            <a:spLocks noGrp="1"/>
          </p:cNvSpPr>
          <p:nvPr>
            <p:ph type="body" sz="quarter" idx="18" hasCustomPrompt="1"/>
          </p:nvPr>
        </p:nvSpPr>
        <p:spPr>
          <a:xfrm>
            <a:off x="1075063" y="6307665"/>
            <a:ext cx="8162717" cy="133200"/>
          </a:xfrm>
        </p:spPr>
        <p:txBody>
          <a:bodyPr lIns="0" tIns="0" rIns="0" bIns="0" anchor="b" anchorCtr="0"/>
          <a:lstStyle>
            <a:lvl1pPr marL="0" indent="0" algn="l">
              <a:lnSpc>
                <a:spcPct val="100000"/>
              </a:lnSpc>
              <a:spcBef>
                <a:spcPts val="0"/>
              </a:spcBef>
              <a:buNone/>
              <a:defRPr sz="800" baseline="0"/>
            </a:lvl1pPr>
            <a:lvl2pPr marL="0" indent="0" algn="l">
              <a:lnSpc>
                <a:spcPct val="100000"/>
              </a:lnSpc>
              <a:spcBef>
                <a:spcPts val="0"/>
              </a:spcBef>
              <a:buNone/>
              <a:defRPr sz="800"/>
            </a:lvl2pPr>
            <a:lvl3pPr marL="0" indent="0" algn="l">
              <a:lnSpc>
                <a:spcPct val="100000"/>
              </a:lnSpc>
              <a:spcBef>
                <a:spcPts val="0"/>
              </a:spcBef>
              <a:buNone/>
              <a:defRPr sz="800"/>
            </a:lvl3pPr>
            <a:lvl4pPr marL="0" algn="l">
              <a:lnSpc>
                <a:spcPct val="100000"/>
              </a:lnSpc>
              <a:spcBef>
                <a:spcPts val="0"/>
              </a:spcBef>
              <a:buNone/>
              <a:defRPr sz="800"/>
            </a:lvl4pPr>
            <a:lvl5pPr marL="0" indent="0" algn="l">
              <a:lnSpc>
                <a:spcPct val="100000"/>
              </a:lnSpc>
              <a:spcBef>
                <a:spcPts val="0"/>
              </a:spcBef>
              <a:buNone/>
              <a:defRPr sz="800"/>
            </a:lvl5pPr>
          </a:lstStyle>
          <a:p>
            <a:pPr lvl="0"/>
            <a:r>
              <a:rPr lang="en-US" dirty="0"/>
              <a:t>Source line</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271420714"/>
      </p:ext>
    </p:extLst>
  </p:cSld>
  <p:clrMapOvr>
    <a:masterClrMapping/>
  </p:clrMapOvr>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p:cSld name="Tablet">
    <p:spTree>
      <p:nvGrpSpPr>
        <p:cNvPr id="1" name=""/>
        <p:cNvGrpSpPr/>
        <p:nvPr/>
      </p:nvGrpSpPr>
      <p:grpSpPr>
        <a:xfrm>
          <a:off x="0" y="0"/>
          <a:ext cx="0" cy="0"/>
          <a:chOff x="0" y="0"/>
          <a:chExt cx="0" cy="0"/>
        </a:xfrm>
      </p:grpSpPr>
      <p:pic>
        <p:nvPicPr>
          <p:cNvPr id="12" name="Grafik 3">
            <a:extLst>
              <a:ext uri="{FF2B5EF4-FFF2-40B4-BE49-F238E27FC236}">
                <a16:creationId xmlns:a16="http://schemas.microsoft.com/office/drawing/2014/main" id="{1D97A272-8DE5-144D-9076-0F435EC79171}"/>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4422451" y="1441279"/>
            <a:ext cx="6858000" cy="5323585"/>
          </a:xfrm>
          <a:prstGeom prst="rect">
            <a:avLst/>
          </a:prstGeom>
        </p:spPr>
      </p:pic>
      <p:sp>
        <p:nvSpPr>
          <p:cNvPr id="21" name="Date Placeholder 20"/>
          <p:cNvSpPr>
            <a:spLocks noGrp="1"/>
          </p:cNvSpPr>
          <p:nvPr>
            <p:ph type="dt" sz="half" idx="14"/>
          </p:nvPr>
        </p:nvSpPr>
        <p:spPr/>
        <p:txBody>
          <a:bodyPr/>
          <a:lstStyle/>
          <a:p>
            <a:fld id="{22BF40EB-4E4B-4735-9535-C7494D4B38E6}" type="datetime5">
              <a:rPr lang="en-US" smtClean="0"/>
              <a:t>26-Jun-20</a:t>
            </a:fld>
            <a:endParaRPr lang="en-US"/>
          </a:p>
        </p:txBody>
      </p:sp>
      <p:sp>
        <p:nvSpPr>
          <p:cNvPr id="22" name="Footer Placeholder 21"/>
          <p:cNvSpPr>
            <a:spLocks noGrp="1"/>
          </p:cNvSpPr>
          <p:nvPr>
            <p:ph type="ftr" sz="quarter" idx="15"/>
          </p:nvPr>
        </p:nvSpPr>
        <p:spPr/>
        <p:txBody>
          <a:bodyPr/>
          <a:lstStyle/>
          <a:p>
            <a:r>
              <a:rPr lang="en-US"/>
              <a:t>Title of presentation (Insert / Header &amp; Footer / Apply to All)</a:t>
            </a:r>
            <a:endParaRPr lang="en-US" dirty="0"/>
          </a:p>
        </p:txBody>
      </p:sp>
      <p:sp>
        <p:nvSpPr>
          <p:cNvPr id="23" name="Slide Number Placeholder 22"/>
          <p:cNvSpPr>
            <a:spLocks noGrp="1"/>
          </p:cNvSpPr>
          <p:nvPr>
            <p:ph type="sldNum" sz="quarter" idx="16"/>
          </p:nvPr>
        </p:nvSpPr>
        <p:spPr/>
        <p:txBody>
          <a:bodyPr/>
          <a:lstStyle/>
          <a:p>
            <a:fld id="{5F3E29E4-0979-4FCA-B4C5-5FC6044C982A}" type="slidenum">
              <a:rPr lang="en-US" smtClean="0"/>
              <a:t>‹#›</a:t>
            </a:fld>
            <a:endParaRPr lang="en-US"/>
          </a:p>
        </p:txBody>
      </p:sp>
      <p:sp>
        <p:nvSpPr>
          <p:cNvPr id="2" name="Title 1"/>
          <p:cNvSpPr>
            <a:spLocks noGrp="1"/>
          </p:cNvSpPr>
          <p:nvPr>
            <p:ph type="title" hasCustomPrompt="1"/>
          </p:nvPr>
        </p:nvSpPr>
        <p:spPr/>
        <p:txBody>
          <a:bodyPr/>
          <a:lstStyle>
            <a:lvl1pPr>
              <a:defRPr/>
            </a:lvl1pPr>
          </a:lstStyle>
          <a:p>
            <a:r>
              <a:rPr lang="en-US" dirty="0"/>
              <a:t>Click to add slide title</a:t>
            </a:r>
          </a:p>
        </p:txBody>
      </p:sp>
      <p:sp>
        <p:nvSpPr>
          <p:cNvPr id="7" name="Subtitle 2"/>
          <p:cNvSpPr>
            <a:spLocks noGrp="1"/>
          </p:cNvSpPr>
          <p:nvPr>
            <p:ph type="subTitle" idx="13" hasCustomPrompt="1"/>
          </p:nvPr>
        </p:nvSpPr>
        <p:spPr>
          <a:xfrm>
            <a:off x="1075061" y="964671"/>
            <a:ext cx="7910158" cy="490042"/>
          </a:xfrm>
        </p:spPr>
        <p:txBody>
          <a:bodyPr wrap="none"/>
          <a:lstStyle>
            <a:lvl1pPr marL="0" indent="0" algn="l">
              <a:spcBef>
                <a:spcPts val="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3" name="Content Placeholder 2"/>
          <p:cNvSpPr>
            <a:spLocks noGrp="1"/>
          </p:cNvSpPr>
          <p:nvPr>
            <p:ph idx="1" hasCustomPrompt="1"/>
          </p:nvPr>
        </p:nvSpPr>
        <p:spPr>
          <a:xfrm>
            <a:off x="1075062" y="1852623"/>
            <a:ext cx="3287388" cy="3658714"/>
          </a:xfrm>
        </p:spPr>
        <p:txBody>
          <a:bodyPr anchor="ctr"/>
          <a:lstStyle>
            <a:lvl1pPr>
              <a:defRPr sz="1600"/>
            </a:lvl1pPr>
            <a:lvl2pPr>
              <a:defRPr sz="1600"/>
            </a:lvl2pPr>
            <a:lvl3pPr>
              <a:defRPr sz="1600"/>
            </a:lvl3pPr>
            <a:lvl4pPr>
              <a:defRPr sz="1600"/>
            </a:lvl4pPr>
            <a:lvl5pPr>
              <a:defRPr sz="1600"/>
            </a:lvl5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Picture Placeholder 4"/>
          <p:cNvSpPr>
            <a:spLocks noGrp="1"/>
          </p:cNvSpPr>
          <p:nvPr>
            <p:ph type="pic" sz="quarter" idx="17" hasCustomPrompt="1"/>
          </p:nvPr>
        </p:nvSpPr>
        <p:spPr>
          <a:xfrm>
            <a:off x="5135561" y="2010934"/>
            <a:ext cx="5491064" cy="3428280"/>
          </a:xfrm>
          <a:solidFill>
            <a:srgbClr val="D9DADB"/>
          </a:solidFill>
        </p:spPr>
        <p:txBody>
          <a:bodyPr/>
          <a:lstStyle>
            <a:lvl1pPr marL="0" indent="0">
              <a:buNone/>
              <a:defRPr/>
            </a:lvl1pPr>
          </a:lstStyle>
          <a:p>
            <a:r>
              <a:rPr lang="en-US" dirty="0"/>
              <a:t>Insert picture</a:t>
            </a:r>
          </a:p>
        </p:txBody>
      </p:sp>
      <p:sp>
        <p:nvSpPr>
          <p:cNvPr id="11" name="Text Placeholder 4"/>
          <p:cNvSpPr>
            <a:spLocks noGrp="1"/>
          </p:cNvSpPr>
          <p:nvPr>
            <p:ph type="body" sz="quarter" idx="18" hasCustomPrompt="1"/>
          </p:nvPr>
        </p:nvSpPr>
        <p:spPr>
          <a:xfrm>
            <a:off x="1075063" y="6307665"/>
            <a:ext cx="8162717" cy="133200"/>
          </a:xfrm>
        </p:spPr>
        <p:txBody>
          <a:bodyPr lIns="0" tIns="0" rIns="0" bIns="0" anchor="b" anchorCtr="0"/>
          <a:lstStyle>
            <a:lvl1pPr marL="0" indent="0" algn="l">
              <a:lnSpc>
                <a:spcPct val="100000"/>
              </a:lnSpc>
              <a:spcBef>
                <a:spcPts val="0"/>
              </a:spcBef>
              <a:buNone/>
              <a:defRPr sz="800" baseline="0"/>
            </a:lvl1pPr>
            <a:lvl2pPr marL="0" indent="0" algn="l">
              <a:lnSpc>
                <a:spcPct val="100000"/>
              </a:lnSpc>
              <a:spcBef>
                <a:spcPts val="0"/>
              </a:spcBef>
              <a:buNone/>
              <a:defRPr sz="800"/>
            </a:lvl2pPr>
            <a:lvl3pPr marL="0" indent="0" algn="l">
              <a:lnSpc>
                <a:spcPct val="100000"/>
              </a:lnSpc>
              <a:spcBef>
                <a:spcPts val="0"/>
              </a:spcBef>
              <a:buNone/>
              <a:defRPr sz="800"/>
            </a:lvl3pPr>
            <a:lvl4pPr marL="0" algn="l">
              <a:lnSpc>
                <a:spcPct val="100000"/>
              </a:lnSpc>
              <a:spcBef>
                <a:spcPts val="0"/>
              </a:spcBef>
              <a:buNone/>
              <a:defRPr sz="800"/>
            </a:lvl4pPr>
            <a:lvl5pPr marL="0" indent="0" algn="l">
              <a:lnSpc>
                <a:spcPct val="100000"/>
              </a:lnSpc>
              <a:spcBef>
                <a:spcPts val="0"/>
              </a:spcBef>
              <a:buNone/>
              <a:defRPr sz="800"/>
            </a:lvl5pPr>
          </a:lstStyle>
          <a:p>
            <a:pPr lvl="0"/>
            <a:r>
              <a:rPr lang="en-US" dirty="0"/>
              <a:t>Source line</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707789796"/>
      </p:ext>
    </p:extLst>
  </p:cSld>
  <p:clrMapOvr>
    <a:masterClrMapping/>
  </p:clrMapOvr>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p:cSld name="Smartphone">
    <p:spTree>
      <p:nvGrpSpPr>
        <p:cNvPr id="1" name=""/>
        <p:cNvGrpSpPr/>
        <p:nvPr/>
      </p:nvGrpSpPr>
      <p:grpSpPr>
        <a:xfrm>
          <a:off x="0" y="0"/>
          <a:ext cx="0" cy="0"/>
          <a:chOff x="0" y="0"/>
          <a:chExt cx="0" cy="0"/>
        </a:xfrm>
      </p:grpSpPr>
      <p:pic>
        <p:nvPicPr>
          <p:cNvPr id="10" name="Grafik 2">
            <a:extLst>
              <a:ext uri="{FF2B5EF4-FFF2-40B4-BE49-F238E27FC236}">
                <a16:creationId xmlns:a16="http://schemas.microsoft.com/office/drawing/2014/main" id="{6421FD8A-F5D4-E041-A727-98ABA693B1A7}"/>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5472449" y="1362516"/>
            <a:ext cx="4953000" cy="4865134"/>
          </a:xfrm>
          <a:prstGeom prst="rect">
            <a:avLst/>
          </a:prstGeom>
          <a:effectLst>
            <a:reflection blurRad="6350" stA="48000" endPos="6000" dir="5400000" sy="-100000" algn="bl" rotWithShape="0"/>
          </a:effectLst>
        </p:spPr>
      </p:pic>
      <p:sp>
        <p:nvSpPr>
          <p:cNvPr id="21" name="Date Placeholder 20"/>
          <p:cNvSpPr>
            <a:spLocks noGrp="1"/>
          </p:cNvSpPr>
          <p:nvPr>
            <p:ph type="dt" sz="half" idx="14"/>
          </p:nvPr>
        </p:nvSpPr>
        <p:spPr/>
        <p:txBody>
          <a:bodyPr/>
          <a:lstStyle/>
          <a:p>
            <a:fld id="{3A57DC1E-3194-45CD-A5C4-CC4893251E0F}" type="datetime5">
              <a:rPr lang="en-US" smtClean="0"/>
              <a:t>26-Jun-20</a:t>
            </a:fld>
            <a:endParaRPr lang="en-US"/>
          </a:p>
        </p:txBody>
      </p:sp>
      <p:sp>
        <p:nvSpPr>
          <p:cNvPr id="22" name="Footer Placeholder 21"/>
          <p:cNvSpPr>
            <a:spLocks noGrp="1"/>
          </p:cNvSpPr>
          <p:nvPr>
            <p:ph type="ftr" sz="quarter" idx="15"/>
          </p:nvPr>
        </p:nvSpPr>
        <p:spPr/>
        <p:txBody>
          <a:bodyPr/>
          <a:lstStyle/>
          <a:p>
            <a:r>
              <a:rPr lang="en-US"/>
              <a:t>Title of presentation (Insert / Header &amp; Footer / Apply to All)</a:t>
            </a:r>
            <a:endParaRPr lang="en-US" dirty="0"/>
          </a:p>
        </p:txBody>
      </p:sp>
      <p:sp>
        <p:nvSpPr>
          <p:cNvPr id="23" name="Slide Number Placeholder 22"/>
          <p:cNvSpPr>
            <a:spLocks noGrp="1"/>
          </p:cNvSpPr>
          <p:nvPr>
            <p:ph type="sldNum" sz="quarter" idx="16"/>
          </p:nvPr>
        </p:nvSpPr>
        <p:spPr/>
        <p:txBody>
          <a:bodyPr/>
          <a:lstStyle/>
          <a:p>
            <a:fld id="{5F3E29E4-0979-4FCA-B4C5-5FC6044C982A}" type="slidenum">
              <a:rPr lang="en-US" smtClean="0"/>
              <a:t>‹#›</a:t>
            </a:fld>
            <a:endParaRPr lang="en-US"/>
          </a:p>
        </p:txBody>
      </p:sp>
      <p:sp>
        <p:nvSpPr>
          <p:cNvPr id="2" name="Title 1"/>
          <p:cNvSpPr>
            <a:spLocks noGrp="1"/>
          </p:cNvSpPr>
          <p:nvPr>
            <p:ph type="title" hasCustomPrompt="1"/>
          </p:nvPr>
        </p:nvSpPr>
        <p:spPr/>
        <p:txBody>
          <a:bodyPr/>
          <a:lstStyle>
            <a:lvl1pPr>
              <a:defRPr/>
            </a:lvl1pPr>
          </a:lstStyle>
          <a:p>
            <a:r>
              <a:rPr lang="en-US" dirty="0"/>
              <a:t>Click to add slide title</a:t>
            </a:r>
          </a:p>
        </p:txBody>
      </p:sp>
      <p:sp>
        <p:nvSpPr>
          <p:cNvPr id="7" name="Subtitle 2"/>
          <p:cNvSpPr>
            <a:spLocks noGrp="1"/>
          </p:cNvSpPr>
          <p:nvPr>
            <p:ph type="subTitle" idx="13" hasCustomPrompt="1"/>
          </p:nvPr>
        </p:nvSpPr>
        <p:spPr>
          <a:xfrm>
            <a:off x="1075061" y="964671"/>
            <a:ext cx="7910158" cy="490042"/>
          </a:xfrm>
        </p:spPr>
        <p:txBody>
          <a:bodyPr wrap="none"/>
          <a:lstStyle>
            <a:lvl1pPr marL="0" indent="0" algn="l">
              <a:spcBef>
                <a:spcPts val="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3" name="Content Placeholder 2"/>
          <p:cNvSpPr>
            <a:spLocks noGrp="1"/>
          </p:cNvSpPr>
          <p:nvPr>
            <p:ph idx="1" hasCustomPrompt="1"/>
          </p:nvPr>
        </p:nvSpPr>
        <p:spPr>
          <a:xfrm>
            <a:off x="1075061" y="1852623"/>
            <a:ext cx="5241071" cy="3658714"/>
          </a:xfrm>
        </p:spPr>
        <p:txBody>
          <a:bodyPr anchor="ctr"/>
          <a:lstStyle>
            <a:lvl1pPr>
              <a:defRPr sz="1600"/>
            </a:lvl1pPr>
            <a:lvl2pPr>
              <a:defRPr sz="1600"/>
            </a:lvl2pPr>
            <a:lvl3pPr>
              <a:defRPr sz="1600"/>
            </a:lvl3pPr>
            <a:lvl4pPr>
              <a:defRPr sz="1600"/>
            </a:lvl4pPr>
            <a:lvl5pPr>
              <a:defRPr sz="1600"/>
            </a:lvl5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Picture Placeholder 4"/>
          <p:cNvSpPr>
            <a:spLocks noGrp="1"/>
          </p:cNvSpPr>
          <p:nvPr>
            <p:ph type="pic" sz="quarter" idx="17" hasCustomPrompt="1"/>
          </p:nvPr>
        </p:nvSpPr>
        <p:spPr>
          <a:xfrm>
            <a:off x="6923531" y="1784822"/>
            <a:ext cx="2006654" cy="4104000"/>
          </a:xfrm>
          <a:solidFill>
            <a:srgbClr val="D9DADB"/>
          </a:solidFill>
        </p:spPr>
        <p:txBody>
          <a:bodyPr/>
          <a:lstStyle>
            <a:lvl1pPr marL="0" indent="0">
              <a:buNone/>
              <a:defRPr/>
            </a:lvl1pPr>
          </a:lstStyle>
          <a:p>
            <a:r>
              <a:rPr lang="en-US" dirty="0"/>
              <a:t>Insert picture</a:t>
            </a:r>
          </a:p>
        </p:txBody>
      </p:sp>
      <p:sp>
        <p:nvSpPr>
          <p:cNvPr id="12" name="Text Placeholder 4"/>
          <p:cNvSpPr>
            <a:spLocks noGrp="1"/>
          </p:cNvSpPr>
          <p:nvPr>
            <p:ph type="body" sz="quarter" idx="18" hasCustomPrompt="1"/>
          </p:nvPr>
        </p:nvSpPr>
        <p:spPr>
          <a:xfrm>
            <a:off x="1075063" y="6307665"/>
            <a:ext cx="8162717" cy="133200"/>
          </a:xfrm>
        </p:spPr>
        <p:txBody>
          <a:bodyPr lIns="0" tIns="0" rIns="0" bIns="0" anchor="b" anchorCtr="0"/>
          <a:lstStyle>
            <a:lvl1pPr marL="0" indent="0" algn="l">
              <a:lnSpc>
                <a:spcPct val="100000"/>
              </a:lnSpc>
              <a:spcBef>
                <a:spcPts val="0"/>
              </a:spcBef>
              <a:buNone/>
              <a:defRPr sz="800" baseline="0"/>
            </a:lvl1pPr>
            <a:lvl2pPr marL="0" indent="0" algn="l">
              <a:lnSpc>
                <a:spcPct val="100000"/>
              </a:lnSpc>
              <a:spcBef>
                <a:spcPts val="0"/>
              </a:spcBef>
              <a:buNone/>
              <a:defRPr sz="800"/>
            </a:lvl2pPr>
            <a:lvl3pPr marL="0" indent="0" algn="l">
              <a:lnSpc>
                <a:spcPct val="100000"/>
              </a:lnSpc>
              <a:spcBef>
                <a:spcPts val="0"/>
              </a:spcBef>
              <a:buNone/>
              <a:defRPr sz="800"/>
            </a:lvl3pPr>
            <a:lvl4pPr marL="0" algn="l">
              <a:lnSpc>
                <a:spcPct val="100000"/>
              </a:lnSpc>
              <a:spcBef>
                <a:spcPts val="0"/>
              </a:spcBef>
              <a:buNone/>
              <a:defRPr sz="800"/>
            </a:lvl4pPr>
            <a:lvl5pPr marL="0" indent="0" algn="l">
              <a:lnSpc>
                <a:spcPct val="100000"/>
              </a:lnSpc>
              <a:spcBef>
                <a:spcPts val="0"/>
              </a:spcBef>
              <a:buNone/>
              <a:defRPr sz="800"/>
            </a:lvl5pPr>
          </a:lstStyle>
          <a:p>
            <a:pPr lvl="0"/>
            <a:r>
              <a:rPr lang="en-US" dirty="0"/>
              <a:t>Source line</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70390965"/>
      </p:ext>
    </p:extLst>
  </p:cSld>
  <p:clrMapOvr>
    <a:masterClrMapping/>
  </p:clrMapOvr>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p:cSld name="One contact">
    <p:spTree>
      <p:nvGrpSpPr>
        <p:cNvPr id="1" name=""/>
        <p:cNvGrpSpPr/>
        <p:nvPr/>
      </p:nvGrpSpPr>
      <p:grpSpPr>
        <a:xfrm>
          <a:off x="0" y="0"/>
          <a:ext cx="0" cy="0"/>
          <a:chOff x="0" y="0"/>
          <a:chExt cx="0" cy="0"/>
        </a:xfrm>
      </p:grpSpPr>
      <p:sp>
        <p:nvSpPr>
          <p:cNvPr id="4" name="Picture Placeholder 3"/>
          <p:cNvSpPr>
            <a:spLocks noGrp="1"/>
          </p:cNvSpPr>
          <p:nvPr>
            <p:ph type="pic" sz="quarter" idx="17" hasCustomPrompt="1"/>
          </p:nvPr>
        </p:nvSpPr>
        <p:spPr>
          <a:xfrm>
            <a:off x="1056217" y="1833656"/>
            <a:ext cx="3203503" cy="3935319"/>
          </a:xfrm>
          <a:solidFill>
            <a:srgbClr val="D9DADB"/>
          </a:solidFill>
        </p:spPr>
        <p:txBody>
          <a:bodyPr/>
          <a:lstStyle>
            <a:lvl1pPr marL="0" indent="0">
              <a:buNone/>
              <a:defRPr sz="1400"/>
            </a:lvl1pPr>
          </a:lstStyle>
          <a:p>
            <a:r>
              <a:rPr lang="en-US" dirty="0"/>
              <a:t>Insert picture</a:t>
            </a:r>
          </a:p>
        </p:txBody>
      </p:sp>
      <p:sp>
        <p:nvSpPr>
          <p:cNvPr id="21" name="Date Placeholder 20"/>
          <p:cNvSpPr>
            <a:spLocks noGrp="1"/>
          </p:cNvSpPr>
          <p:nvPr>
            <p:ph type="dt" sz="half" idx="14"/>
          </p:nvPr>
        </p:nvSpPr>
        <p:spPr/>
        <p:txBody>
          <a:bodyPr/>
          <a:lstStyle/>
          <a:p>
            <a:fld id="{59171ED9-6851-4525-A763-2524710A57F8}" type="datetime5">
              <a:rPr lang="en-US" smtClean="0"/>
              <a:t>26-Jun-20</a:t>
            </a:fld>
            <a:endParaRPr lang="en-US"/>
          </a:p>
        </p:txBody>
      </p:sp>
      <p:sp>
        <p:nvSpPr>
          <p:cNvPr id="22" name="Footer Placeholder 21"/>
          <p:cNvSpPr>
            <a:spLocks noGrp="1"/>
          </p:cNvSpPr>
          <p:nvPr>
            <p:ph type="ftr" sz="quarter" idx="15"/>
          </p:nvPr>
        </p:nvSpPr>
        <p:spPr/>
        <p:txBody>
          <a:bodyPr/>
          <a:lstStyle/>
          <a:p>
            <a:r>
              <a:rPr lang="en-US"/>
              <a:t>Title of presentation (Insert / Header &amp; Footer / Apply to All)</a:t>
            </a:r>
            <a:endParaRPr lang="en-US" dirty="0"/>
          </a:p>
        </p:txBody>
      </p:sp>
      <p:sp>
        <p:nvSpPr>
          <p:cNvPr id="23" name="Slide Number Placeholder 22"/>
          <p:cNvSpPr>
            <a:spLocks noGrp="1"/>
          </p:cNvSpPr>
          <p:nvPr>
            <p:ph type="sldNum" sz="quarter" idx="16"/>
          </p:nvPr>
        </p:nvSpPr>
        <p:spPr/>
        <p:txBody>
          <a:bodyPr/>
          <a:lstStyle/>
          <a:p>
            <a:fld id="{5F3E29E4-0979-4FCA-B4C5-5FC6044C982A}" type="slidenum">
              <a:rPr lang="en-US" smtClean="0"/>
              <a:t>‹#›</a:t>
            </a:fld>
            <a:endParaRPr lang="en-US"/>
          </a:p>
        </p:txBody>
      </p:sp>
      <p:sp>
        <p:nvSpPr>
          <p:cNvPr id="2" name="Title 1"/>
          <p:cNvSpPr>
            <a:spLocks noGrp="1"/>
          </p:cNvSpPr>
          <p:nvPr>
            <p:ph type="title" hasCustomPrompt="1"/>
          </p:nvPr>
        </p:nvSpPr>
        <p:spPr/>
        <p:txBody>
          <a:bodyPr/>
          <a:lstStyle>
            <a:lvl1pPr>
              <a:defRPr/>
            </a:lvl1pPr>
          </a:lstStyle>
          <a:p>
            <a:r>
              <a:rPr lang="en-US" dirty="0"/>
              <a:t>Click to add contact title</a:t>
            </a:r>
          </a:p>
        </p:txBody>
      </p:sp>
      <p:sp>
        <p:nvSpPr>
          <p:cNvPr id="7" name="Subtitle 2"/>
          <p:cNvSpPr>
            <a:spLocks noGrp="1"/>
          </p:cNvSpPr>
          <p:nvPr>
            <p:ph type="subTitle" idx="13" hasCustomPrompt="1"/>
          </p:nvPr>
        </p:nvSpPr>
        <p:spPr>
          <a:xfrm>
            <a:off x="1075061" y="964671"/>
            <a:ext cx="7910158" cy="490042"/>
          </a:xfrm>
        </p:spPr>
        <p:txBody>
          <a:bodyPr wrap="none"/>
          <a:lstStyle>
            <a:lvl1pPr marL="0" indent="0" algn="l">
              <a:spcBef>
                <a:spcPts val="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grpSp>
        <p:nvGrpSpPr>
          <p:cNvPr id="8" name="Gruppieren 80">
            <a:extLst>
              <a:ext uri="{FF2B5EF4-FFF2-40B4-BE49-F238E27FC236}">
                <a16:creationId xmlns:a16="http://schemas.microsoft.com/office/drawing/2014/main" id="{6B969E7B-9C39-4443-9B02-74C1E7C5CCAC}"/>
              </a:ext>
            </a:extLst>
          </p:cNvPr>
          <p:cNvGrpSpPr/>
          <p:nvPr/>
        </p:nvGrpSpPr>
        <p:grpSpPr>
          <a:xfrm>
            <a:off x="4451001" y="2884199"/>
            <a:ext cx="171180" cy="171180"/>
            <a:chOff x="3392092" y="1841122"/>
            <a:chExt cx="646508" cy="646508"/>
          </a:xfrm>
        </p:grpSpPr>
        <p:sp>
          <p:nvSpPr>
            <p:cNvPr id="9" name="Rechteck 14">
              <a:extLst>
                <a:ext uri="{FF2B5EF4-FFF2-40B4-BE49-F238E27FC236}">
                  <a16:creationId xmlns:a16="http://schemas.microsoft.com/office/drawing/2014/main" id="{D78F58EA-5525-8D43-8295-FEA52ECF6BFA}"/>
                </a:ext>
              </a:extLst>
            </p:cNvPr>
            <p:cNvSpPr>
              <a:spLocks noChangeAspect="1"/>
            </p:cNvSpPr>
            <p:nvPr/>
          </p:nvSpPr>
          <p:spPr bwMode="gray">
            <a:xfrm>
              <a:off x="3392092" y="1841122"/>
              <a:ext cx="646508" cy="646508"/>
            </a:xfrm>
            <a:prstGeom prst="rect">
              <a:avLst/>
            </a:prstGeom>
            <a:solidFill>
              <a:srgbClr val="E55A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pPr>
              <a:endParaRPr lang="en-US" sz="1000" dirty="0">
                <a:solidFill>
                  <a:schemeClr val="tx1"/>
                </a:solidFill>
                <a:latin typeface="Arial" pitchFamily="34" charset="0"/>
                <a:cs typeface="Arial" pitchFamily="34" charset="0"/>
              </a:endParaRPr>
            </a:p>
          </p:txBody>
        </p:sp>
        <p:sp>
          <p:nvSpPr>
            <p:cNvPr id="10" name="Freeform 67">
              <a:extLst>
                <a:ext uri="{FF2B5EF4-FFF2-40B4-BE49-F238E27FC236}">
                  <a16:creationId xmlns:a16="http://schemas.microsoft.com/office/drawing/2014/main" id="{D01A6292-2776-4945-B828-483D79DC4908}"/>
                </a:ext>
              </a:extLst>
            </p:cNvPr>
            <p:cNvSpPr>
              <a:spLocks noChangeAspect="1"/>
            </p:cNvSpPr>
            <p:nvPr/>
          </p:nvSpPr>
          <p:spPr bwMode="auto">
            <a:xfrm>
              <a:off x="3546638" y="1970424"/>
              <a:ext cx="337415" cy="387905"/>
            </a:xfrm>
            <a:custGeom>
              <a:avLst/>
              <a:gdLst>
                <a:gd name="T0" fmla="*/ 573 w 1624"/>
                <a:gd name="T1" fmla="*/ 1257 h 1867"/>
                <a:gd name="T2" fmla="*/ 662 w 1624"/>
                <a:gd name="T3" fmla="*/ 1288 h 1867"/>
                <a:gd name="T4" fmla="*/ 938 w 1624"/>
                <a:gd name="T5" fmla="*/ 1051 h 1867"/>
                <a:gd name="T6" fmla="*/ 1106 w 1624"/>
                <a:gd name="T7" fmla="*/ 731 h 1867"/>
                <a:gd name="T8" fmla="*/ 1059 w 1624"/>
                <a:gd name="T9" fmla="*/ 645 h 1867"/>
                <a:gd name="T10" fmla="*/ 1001 w 1624"/>
                <a:gd name="T11" fmla="*/ 613 h 1867"/>
                <a:gd name="T12" fmla="*/ 924 w 1624"/>
                <a:gd name="T13" fmla="*/ 432 h 1867"/>
                <a:gd name="T14" fmla="*/ 1114 w 1624"/>
                <a:gd name="T15" fmla="*/ 81 h 1867"/>
                <a:gd name="T16" fmla="*/ 1287 w 1624"/>
                <a:gd name="T17" fmla="*/ 35 h 1867"/>
                <a:gd name="T18" fmla="*/ 1350 w 1624"/>
                <a:gd name="T19" fmla="*/ 69 h 1867"/>
                <a:gd name="T20" fmla="*/ 1527 w 1624"/>
                <a:gd name="T21" fmla="*/ 235 h 1867"/>
                <a:gd name="T22" fmla="*/ 1583 w 1624"/>
                <a:gd name="T23" fmla="*/ 555 h 1867"/>
                <a:gd name="T24" fmla="*/ 1172 w 1624"/>
                <a:gd name="T25" fmla="*/ 1253 h 1867"/>
                <a:gd name="T26" fmla="*/ 586 w 1624"/>
                <a:gd name="T27" fmla="*/ 1803 h 1867"/>
                <a:gd name="T28" fmla="*/ 269 w 1624"/>
                <a:gd name="T29" fmla="*/ 1807 h 1867"/>
                <a:gd name="T30" fmla="*/ 33 w 1624"/>
                <a:gd name="T31" fmla="*/ 1602 h 1867"/>
                <a:gd name="T32" fmla="*/ 2 w 1624"/>
                <a:gd name="T33" fmla="*/ 1508 h 1867"/>
                <a:gd name="T34" fmla="*/ 45 w 1624"/>
                <a:gd name="T35" fmla="*/ 1421 h 1867"/>
                <a:gd name="T36" fmla="*/ 346 w 1624"/>
                <a:gd name="T37" fmla="*/ 1158 h 1867"/>
                <a:gd name="T38" fmla="*/ 448 w 1624"/>
                <a:gd name="T39" fmla="*/ 1145 h 1867"/>
                <a:gd name="T40" fmla="*/ 573 w 1624"/>
                <a:gd name="T41" fmla="*/ 1257 h 18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24" h="1867">
                  <a:moveTo>
                    <a:pt x="573" y="1257"/>
                  </a:moveTo>
                  <a:cubicBezTo>
                    <a:pt x="592" y="1282"/>
                    <a:pt x="630" y="1303"/>
                    <a:pt x="662" y="1288"/>
                  </a:cubicBezTo>
                  <a:cubicBezTo>
                    <a:pt x="753" y="1245"/>
                    <a:pt x="854" y="1156"/>
                    <a:pt x="938" y="1051"/>
                  </a:cubicBezTo>
                  <a:cubicBezTo>
                    <a:pt x="1020" y="948"/>
                    <a:pt x="1084" y="831"/>
                    <a:pt x="1106" y="731"/>
                  </a:cubicBezTo>
                  <a:cubicBezTo>
                    <a:pt x="1113" y="696"/>
                    <a:pt x="1089" y="661"/>
                    <a:pt x="1059" y="645"/>
                  </a:cubicBezTo>
                  <a:cubicBezTo>
                    <a:pt x="1001" y="613"/>
                    <a:pt x="1001" y="613"/>
                    <a:pt x="1001" y="613"/>
                  </a:cubicBezTo>
                  <a:cubicBezTo>
                    <a:pt x="942" y="580"/>
                    <a:pt x="888" y="499"/>
                    <a:pt x="924" y="432"/>
                  </a:cubicBezTo>
                  <a:cubicBezTo>
                    <a:pt x="1114" y="81"/>
                    <a:pt x="1114" y="81"/>
                    <a:pt x="1114" y="81"/>
                  </a:cubicBezTo>
                  <a:cubicBezTo>
                    <a:pt x="1150" y="16"/>
                    <a:pt x="1224" y="0"/>
                    <a:pt x="1287" y="35"/>
                  </a:cubicBezTo>
                  <a:cubicBezTo>
                    <a:pt x="1350" y="69"/>
                    <a:pt x="1350" y="69"/>
                    <a:pt x="1350" y="69"/>
                  </a:cubicBezTo>
                  <a:cubicBezTo>
                    <a:pt x="1415" y="105"/>
                    <a:pt x="1479" y="165"/>
                    <a:pt x="1527" y="235"/>
                  </a:cubicBezTo>
                  <a:cubicBezTo>
                    <a:pt x="1593" y="332"/>
                    <a:pt x="1624" y="442"/>
                    <a:pt x="1583" y="555"/>
                  </a:cubicBezTo>
                  <a:cubicBezTo>
                    <a:pt x="1500" y="781"/>
                    <a:pt x="1351" y="1030"/>
                    <a:pt x="1172" y="1253"/>
                  </a:cubicBezTo>
                  <a:cubicBezTo>
                    <a:pt x="994" y="1477"/>
                    <a:pt x="786" y="1676"/>
                    <a:pt x="586" y="1803"/>
                  </a:cubicBezTo>
                  <a:cubicBezTo>
                    <a:pt x="486" y="1867"/>
                    <a:pt x="375" y="1856"/>
                    <a:pt x="269" y="1807"/>
                  </a:cubicBezTo>
                  <a:cubicBezTo>
                    <a:pt x="157" y="1755"/>
                    <a:pt x="106" y="1695"/>
                    <a:pt x="33" y="1602"/>
                  </a:cubicBezTo>
                  <a:cubicBezTo>
                    <a:pt x="11" y="1573"/>
                    <a:pt x="0" y="1540"/>
                    <a:pt x="2" y="1508"/>
                  </a:cubicBezTo>
                  <a:cubicBezTo>
                    <a:pt x="4" y="1475"/>
                    <a:pt x="18" y="1444"/>
                    <a:pt x="45" y="1421"/>
                  </a:cubicBezTo>
                  <a:cubicBezTo>
                    <a:pt x="70" y="1399"/>
                    <a:pt x="346" y="1158"/>
                    <a:pt x="346" y="1158"/>
                  </a:cubicBezTo>
                  <a:cubicBezTo>
                    <a:pt x="376" y="1134"/>
                    <a:pt x="413" y="1133"/>
                    <a:pt x="448" y="1145"/>
                  </a:cubicBezTo>
                  <a:cubicBezTo>
                    <a:pt x="510" y="1166"/>
                    <a:pt x="536" y="1210"/>
                    <a:pt x="573" y="1257"/>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351" dirty="0"/>
            </a:p>
          </p:txBody>
        </p:sp>
      </p:grpSp>
      <p:grpSp>
        <p:nvGrpSpPr>
          <p:cNvPr id="11" name="Group 3">
            <a:extLst>
              <a:ext uri="{FF2B5EF4-FFF2-40B4-BE49-F238E27FC236}">
                <a16:creationId xmlns:a16="http://schemas.microsoft.com/office/drawing/2014/main" id="{DED6A25A-5DE2-1441-8BA2-C68D3B4F9209}"/>
              </a:ext>
            </a:extLst>
          </p:cNvPr>
          <p:cNvGrpSpPr>
            <a:grpSpLocks noChangeAspect="1"/>
          </p:cNvGrpSpPr>
          <p:nvPr>
            <p:custDataLst>
              <p:tags r:id="rId1"/>
            </p:custDataLst>
          </p:nvPr>
        </p:nvGrpSpPr>
        <p:grpSpPr>
          <a:xfrm>
            <a:off x="4451002" y="3169087"/>
            <a:ext cx="171180" cy="171180"/>
            <a:chOff x="328396" y="5313940"/>
            <a:chExt cx="720000" cy="720000"/>
          </a:xfrm>
        </p:grpSpPr>
        <p:sp>
          <p:nvSpPr>
            <p:cNvPr id="12" name="Rectangle 4">
              <a:extLst>
                <a:ext uri="{FF2B5EF4-FFF2-40B4-BE49-F238E27FC236}">
                  <a16:creationId xmlns:a16="http://schemas.microsoft.com/office/drawing/2014/main" id="{5F49E67F-D4FA-9D48-96BC-59AE946ECD15}"/>
                </a:ext>
              </a:extLst>
            </p:cNvPr>
            <p:cNvSpPr/>
            <p:nvPr/>
          </p:nvSpPr>
          <p:spPr bwMode="gray">
            <a:xfrm>
              <a:off x="328396" y="5313940"/>
              <a:ext cx="720000" cy="720000"/>
            </a:xfrm>
            <a:prstGeom prst="rect">
              <a:avLst/>
            </a:prstGeom>
            <a:solidFill>
              <a:srgbClr val="E55A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pPr>
              <a:endParaRPr lang="en-US" sz="1000" dirty="0">
                <a:solidFill>
                  <a:schemeClr val="tx1"/>
                </a:solidFill>
                <a:latin typeface="Arial" pitchFamily="34" charset="0"/>
                <a:cs typeface="Arial" pitchFamily="34" charset="0"/>
              </a:endParaRPr>
            </a:p>
          </p:txBody>
        </p:sp>
        <p:sp>
          <p:nvSpPr>
            <p:cNvPr id="13" name="Freeform 76">
              <a:extLst>
                <a:ext uri="{FF2B5EF4-FFF2-40B4-BE49-F238E27FC236}">
                  <a16:creationId xmlns:a16="http://schemas.microsoft.com/office/drawing/2014/main" id="{187E70E6-AF3F-2549-908E-DF4BA61040AA}"/>
                </a:ext>
              </a:extLst>
            </p:cNvPr>
            <p:cNvSpPr>
              <a:spLocks noChangeAspect="1" noEditPoints="1"/>
            </p:cNvSpPr>
            <p:nvPr/>
          </p:nvSpPr>
          <p:spPr bwMode="auto">
            <a:xfrm>
              <a:off x="456202" y="5509222"/>
              <a:ext cx="504000" cy="329436"/>
            </a:xfrm>
            <a:custGeom>
              <a:avLst/>
              <a:gdLst>
                <a:gd name="T0" fmla="*/ 0 w 2080"/>
                <a:gd name="T1" fmla="*/ 65 h 1360"/>
                <a:gd name="T2" fmla="*/ 0 w 2080"/>
                <a:gd name="T3" fmla="*/ 0 h 1360"/>
                <a:gd name="T4" fmla="*/ 2080 w 2080"/>
                <a:gd name="T5" fmla="*/ 0 h 1360"/>
                <a:gd name="T6" fmla="*/ 2080 w 2080"/>
                <a:gd name="T7" fmla="*/ 65 h 1360"/>
                <a:gd name="T8" fmla="*/ 1089 w 2080"/>
                <a:gd name="T9" fmla="*/ 862 h 1360"/>
                <a:gd name="T10" fmla="*/ 991 w 2080"/>
                <a:gd name="T11" fmla="*/ 862 h 1360"/>
                <a:gd name="T12" fmla="*/ 0 w 2080"/>
                <a:gd name="T13" fmla="*/ 65 h 1360"/>
                <a:gd name="T14" fmla="*/ 1139 w 2080"/>
                <a:gd name="T15" fmla="*/ 924 h 1360"/>
                <a:gd name="T16" fmla="*/ 1282 w 2080"/>
                <a:gd name="T17" fmla="*/ 810 h 1360"/>
                <a:gd name="T18" fmla="*/ 2076 w 2080"/>
                <a:gd name="T19" fmla="*/ 1360 h 1360"/>
                <a:gd name="T20" fmla="*/ 4 w 2080"/>
                <a:gd name="T21" fmla="*/ 1360 h 1360"/>
                <a:gd name="T22" fmla="*/ 798 w 2080"/>
                <a:gd name="T23" fmla="*/ 810 h 1360"/>
                <a:gd name="T24" fmla="*/ 941 w 2080"/>
                <a:gd name="T25" fmla="*/ 924 h 1360"/>
                <a:gd name="T26" fmla="*/ 1139 w 2080"/>
                <a:gd name="T27" fmla="*/ 924 h 1360"/>
                <a:gd name="T28" fmla="*/ 2 w 2080"/>
                <a:gd name="T29" fmla="*/ 137 h 1360"/>
                <a:gd name="T30" fmla="*/ 42 w 2080"/>
                <a:gd name="T31" fmla="*/ 201 h 1360"/>
                <a:gd name="T32" fmla="*/ 734 w 2080"/>
                <a:gd name="T33" fmla="*/ 758 h 1360"/>
                <a:gd name="T34" fmla="*/ 0 w 2080"/>
                <a:gd name="T35" fmla="*/ 1266 h 1360"/>
                <a:gd name="T36" fmla="*/ 0 w 2080"/>
                <a:gd name="T37" fmla="*/ 135 h 1360"/>
                <a:gd name="T38" fmla="*/ 2 w 2080"/>
                <a:gd name="T39" fmla="*/ 137 h 1360"/>
                <a:gd name="T40" fmla="*/ 2080 w 2080"/>
                <a:gd name="T41" fmla="*/ 136 h 1360"/>
                <a:gd name="T42" fmla="*/ 2080 w 2080"/>
                <a:gd name="T43" fmla="*/ 1265 h 1360"/>
                <a:gd name="T44" fmla="*/ 1346 w 2080"/>
                <a:gd name="T45" fmla="*/ 758 h 1360"/>
                <a:gd name="T46" fmla="*/ 2038 w 2080"/>
                <a:gd name="T47" fmla="*/ 201 h 1360"/>
                <a:gd name="T48" fmla="*/ 2080 w 2080"/>
                <a:gd name="T49" fmla="*/ 136 h 1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080" h="1360">
                  <a:moveTo>
                    <a:pt x="0" y="65"/>
                  </a:moveTo>
                  <a:cubicBezTo>
                    <a:pt x="0" y="0"/>
                    <a:pt x="0" y="0"/>
                    <a:pt x="0" y="0"/>
                  </a:cubicBezTo>
                  <a:cubicBezTo>
                    <a:pt x="2080" y="0"/>
                    <a:pt x="2080" y="0"/>
                    <a:pt x="2080" y="0"/>
                  </a:cubicBezTo>
                  <a:cubicBezTo>
                    <a:pt x="2080" y="65"/>
                    <a:pt x="2080" y="65"/>
                    <a:pt x="2080" y="65"/>
                  </a:cubicBezTo>
                  <a:cubicBezTo>
                    <a:pt x="1089" y="862"/>
                    <a:pt x="1089" y="862"/>
                    <a:pt x="1089" y="862"/>
                  </a:cubicBezTo>
                  <a:cubicBezTo>
                    <a:pt x="1060" y="886"/>
                    <a:pt x="1020" y="886"/>
                    <a:pt x="991" y="862"/>
                  </a:cubicBezTo>
                  <a:lnTo>
                    <a:pt x="0" y="65"/>
                  </a:lnTo>
                  <a:close/>
                  <a:moveTo>
                    <a:pt x="1139" y="924"/>
                  </a:moveTo>
                  <a:cubicBezTo>
                    <a:pt x="1282" y="810"/>
                    <a:pt x="1282" y="810"/>
                    <a:pt x="1282" y="810"/>
                  </a:cubicBezTo>
                  <a:cubicBezTo>
                    <a:pt x="2076" y="1360"/>
                    <a:pt x="2076" y="1360"/>
                    <a:pt x="2076" y="1360"/>
                  </a:cubicBezTo>
                  <a:cubicBezTo>
                    <a:pt x="4" y="1360"/>
                    <a:pt x="4" y="1360"/>
                    <a:pt x="4" y="1360"/>
                  </a:cubicBezTo>
                  <a:cubicBezTo>
                    <a:pt x="798" y="810"/>
                    <a:pt x="798" y="810"/>
                    <a:pt x="798" y="810"/>
                  </a:cubicBezTo>
                  <a:cubicBezTo>
                    <a:pt x="941" y="924"/>
                    <a:pt x="941" y="924"/>
                    <a:pt x="941" y="924"/>
                  </a:cubicBezTo>
                  <a:cubicBezTo>
                    <a:pt x="1000" y="972"/>
                    <a:pt x="1080" y="972"/>
                    <a:pt x="1139" y="924"/>
                  </a:cubicBezTo>
                  <a:close/>
                  <a:moveTo>
                    <a:pt x="2" y="137"/>
                  </a:moveTo>
                  <a:cubicBezTo>
                    <a:pt x="8" y="163"/>
                    <a:pt x="22" y="185"/>
                    <a:pt x="42" y="201"/>
                  </a:cubicBezTo>
                  <a:cubicBezTo>
                    <a:pt x="734" y="758"/>
                    <a:pt x="734" y="758"/>
                    <a:pt x="734" y="758"/>
                  </a:cubicBezTo>
                  <a:cubicBezTo>
                    <a:pt x="0" y="1266"/>
                    <a:pt x="0" y="1266"/>
                    <a:pt x="0" y="1266"/>
                  </a:cubicBezTo>
                  <a:cubicBezTo>
                    <a:pt x="0" y="135"/>
                    <a:pt x="0" y="135"/>
                    <a:pt x="0" y="135"/>
                  </a:cubicBezTo>
                  <a:lnTo>
                    <a:pt x="2" y="137"/>
                  </a:lnTo>
                  <a:close/>
                  <a:moveTo>
                    <a:pt x="2080" y="136"/>
                  </a:moveTo>
                  <a:cubicBezTo>
                    <a:pt x="2080" y="1265"/>
                    <a:pt x="2080" y="1265"/>
                    <a:pt x="2080" y="1265"/>
                  </a:cubicBezTo>
                  <a:cubicBezTo>
                    <a:pt x="1346" y="758"/>
                    <a:pt x="1346" y="758"/>
                    <a:pt x="1346" y="758"/>
                  </a:cubicBezTo>
                  <a:cubicBezTo>
                    <a:pt x="2038" y="201"/>
                    <a:pt x="2038" y="201"/>
                    <a:pt x="2038" y="201"/>
                  </a:cubicBezTo>
                  <a:cubicBezTo>
                    <a:pt x="2060" y="182"/>
                    <a:pt x="2072" y="162"/>
                    <a:pt x="2080" y="13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000"/>
            </a:p>
          </p:txBody>
        </p:sp>
      </p:grpSp>
      <p:cxnSp>
        <p:nvCxnSpPr>
          <p:cNvPr id="20" name="Straight Connector 19"/>
          <p:cNvCxnSpPr/>
          <p:nvPr/>
        </p:nvCxnSpPr>
        <p:spPr>
          <a:xfrm>
            <a:off x="4451001" y="3494093"/>
            <a:ext cx="2463190" cy="0"/>
          </a:xfrm>
          <a:prstGeom prst="line">
            <a:avLst/>
          </a:prstGeom>
          <a:ln w="6350">
            <a:solidFill>
              <a:schemeClr val="tx2"/>
            </a:solidFill>
            <a:prstDash val="dash"/>
          </a:ln>
        </p:spPr>
        <p:style>
          <a:lnRef idx="1">
            <a:schemeClr val="accent1"/>
          </a:lnRef>
          <a:fillRef idx="0">
            <a:schemeClr val="accent1"/>
          </a:fillRef>
          <a:effectRef idx="0">
            <a:schemeClr val="accent1"/>
          </a:effectRef>
          <a:fontRef idx="minor">
            <a:schemeClr val="tx1"/>
          </a:fontRef>
        </p:style>
      </p:cxnSp>
      <p:sp>
        <p:nvSpPr>
          <p:cNvPr id="6" name="Text Placeholder 5"/>
          <p:cNvSpPr>
            <a:spLocks noGrp="1"/>
          </p:cNvSpPr>
          <p:nvPr>
            <p:ph type="body" sz="quarter" idx="19" hasCustomPrompt="1"/>
          </p:nvPr>
        </p:nvSpPr>
        <p:spPr>
          <a:xfrm>
            <a:off x="4451001" y="1824401"/>
            <a:ext cx="2463190" cy="192360"/>
          </a:xfrm>
        </p:spPr>
        <p:txBody>
          <a:bodyPr lIns="0" tIns="0" rIns="0" bIns="0" anchor="ctr" anchorCtr="0"/>
          <a:lstStyle>
            <a:lvl1pPr marL="0" indent="0" algn="l">
              <a:lnSpc>
                <a:spcPct val="100000"/>
              </a:lnSpc>
              <a:buNone/>
              <a:defRPr sz="100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Country</a:t>
            </a:r>
          </a:p>
        </p:txBody>
      </p:sp>
      <p:sp>
        <p:nvSpPr>
          <p:cNvPr id="26" name="Text Placeholder 5"/>
          <p:cNvSpPr>
            <a:spLocks noGrp="1"/>
          </p:cNvSpPr>
          <p:nvPr>
            <p:ph type="body" sz="quarter" idx="20" hasCustomPrompt="1"/>
          </p:nvPr>
        </p:nvSpPr>
        <p:spPr>
          <a:xfrm>
            <a:off x="4451001" y="2036217"/>
            <a:ext cx="2463190" cy="266182"/>
          </a:xfrm>
        </p:spPr>
        <p:txBody>
          <a:bodyPr lIns="0" tIns="0" rIns="0" bIns="0" anchor="b" anchorCtr="0"/>
          <a:lstStyle>
            <a:lvl1pPr marL="0" indent="0" algn="l">
              <a:lnSpc>
                <a:spcPct val="100000"/>
              </a:lnSpc>
              <a:buNone/>
              <a:defRPr sz="1400" b="1" baseline="0">
                <a:solidFill>
                  <a:schemeClr val="tx2"/>
                </a:solidFill>
              </a:defRPr>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Name, Surname</a:t>
            </a:r>
          </a:p>
        </p:txBody>
      </p:sp>
      <p:sp>
        <p:nvSpPr>
          <p:cNvPr id="27" name="Text Placeholder 5"/>
          <p:cNvSpPr>
            <a:spLocks noGrp="1"/>
          </p:cNvSpPr>
          <p:nvPr>
            <p:ph type="body" sz="quarter" idx="21" hasCustomPrompt="1"/>
          </p:nvPr>
        </p:nvSpPr>
        <p:spPr>
          <a:xfrm>
            <a:off x="4451001" y="2332792"/>
            <a:ext cx="2463190"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Job Position</a:t>
            </a:r>
          </a:p>
        </p:txBody>
      </p:sp>
      <p:sp>
        <p:nvSpPr>
          <p:cNvPr id="28" name="Text Placeholder 5"/>
          <p:cNvSpPr>
            <a:spLocks noGrp="1"/>
          </p:cNvSpPr>
          <p:nvPr>
            <p:ph type="body" sz="quarter" idx="22" hasCustomPrompt="1"/>
          </p:nvPr>
        </p:nvSpPr>
        <p:spPr>
          <a:xfrm>
            <a:off x="4695884" y="2861468"/>
            <a:ext cx="2218307"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Phone number</a:t>
            </a:r>
          </a:p>
        </p:txBody>
      </p:sp>
      <p:sp>
        <p:nvSpPr>
          <p:cNvPr id="29" name="Text Placeholder 5"/>
          <p:cNvSpPr>
            <a:spLocks noGrp="1"/>
          </p:cNvSpPr>
          <p:nvPr>
            <p:ph type="body" sz="quarter" idx="23" hasCustomPrompt="1"/>
          </p:nvPr>
        </p:nvSpPr>
        <p:spPr>
          <a:xfrm>
            <a:off x="4695884" y="3144275"/>
            <a:ext cx="2218307"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Email address</a:t>
            </a:r>
          </a:p>
        </p:txBody>
      </p:sp>
      <p:sp>
        <p:nvSpPr>
          <p:cNvPr id="35" name="Text Placeholder 34"/>
          <p:cNvSpPr>
            <a:spLocks noGrp="1"/>
          </p:cNvSpPr>
          <p:nvPr>
            <p:ph type="body" sz="quarter" idx="24" hasCustomPrompt="1"/>
          </p:nvPr>
        </p:nvSpPr>
        <p:spPr>
          <a:xfrm>
            <a:off x="4492626" y="3681413"/>
            <a:ext cx="4492594" cy="2087562"/>
          </a:xfrm>
        </p:spPr>
        <p:txBody>
          <a:bodyPr/>
          <a:lstStyle>
            <a:lvl1pPr>
              <a:defRPr sz="1400" baseline="0"/>
            </a:lvl1pPr>
            <a:lvl2pPr>
              <a:defRPr sz="1400"/>
            </a:lvl2pPr>
            <a:lvl3pPr>
              <a:defRPr sz="1400"/>
            </a:lvl3pPr>
            <a:lvl4pPr>
              <a:defRPr sz="1400"/>
            </a:lvl4pPr>
            <a:lvl5pPr>
              <a:defRPr sz="1400"/>
            </a:lvl5pPr>
          </a:lstStyle>
          <a:p>
            <a:pPr lvl="0"/>
            <a:r>
              <a:rPr lang="en-US" dirty="0"/>
              <a:t>Additional information (if needed)</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724134527"/>
      </p:ext>
    </p:extLst>
  </p:cSld>
  <p:clrMapOvr>
    <a:masterClrMapping/>
  </p:clrMapOvr>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p:cSld name="Two contacts">
    <p:spTree>
      <p:nvGrpSpPr>
        <p:cNvPr id="1" name=""/>
        <p:cNvGrpSpPr/>
        <p:nvPr/>
      </p:nvGrpSpPr>
      <p:grpSpPr>
        <a:xfrm>
          <a:off x="0" y="0"/>
          <a:ext cx="0" cy="0"/>
          <a:chOff x="0" y="0"/>
          <a:chExt cx="0" cy="0"/>
        </a:xfrm>
      </p:grpSpPr>
      <p:sp>
        <p:nvSpPr>
          <p:cNvPr id="21" name="Date Placeholder 20"/>
          <p:cNvSpPr>
            <a:spLocks noGrp="1"/>
          </p:cNvSpPr>
          <p:nvPr>
            <p:ph type="dt" sz="half" idx="14"/>
          </p:nvPr>
        </p:nvSpPr>
        <p:spPr/>
        <p:txBody>
          <a:bodyPr/>
          <a:lstStyle/>
          <a:p>
            <a:fld id="{3F4603FF-FCF6-4AE0-9349-4AF38C1FF5B2}" type="datetime5">
              <a:rPr lang="en-US" smtClean="0"/>
              <a:t>26-Jun-20</a:t>
            </a:fld>
            <a:endParaRPr lang="en-US"/>
          </a:p>
        </p:txBody>
      </p:sp>
      <p:sp>
        <p:nvSpPr>
          <p:cNvPr id="22" name="Footer Placeholder 21"/>
          <p:cNvSpPr>
            <a:spLocks noGrp="1"/>
          </p:cNvSpPr>
          <p:nvPr>
            <p:ph type="ftr" sz="quarter" idx="15"/>
          </p:nvPr>
        </p:nvSpPr>
        <p:spPr/>
        <p:txBody>
          <a:bodyPr/>
          <a:lstStyle/>
          <a:p>
            <a:r>
              <a:rPr lang="en-US"/>
              <a:t>Title of presentation (Insert / Header &amp; Footer / Apply to All)</a:t>
            </a:r>
            <a:endParaRPr lang="en-US" dirty="0"/>
          </a:p>
        </p:txBody>
      </p:sp>
      <p:sp>
        <p:nvSpPr>
          <p:cNvPr id="23" name="Slide Number Placeholder 22"/>
          <p:cNvSpPr>
            <a:spLocks noGrp="1"/>
          </p:cNvSpPr>
          <p:nvPr>
            <p:ph type="sldNum" sz="quarter" idx="16"/>
          </p:nvPr>
        </p:nvSpPr>
        <p:spPr/>
        <p:txBody>
          <a:bodyPr/>
          <a:lstStyle/>
          <a:p>
            <a:fld id="{5F3E29E4-0979-4FCA-B4C5-5FC6044C982A}" type="slidenum">
              <a:rPr lang="en-US" smtClean="0"/>
              <a:t>‹#›</a:t>
            </a:fld>
            <a:endParaRPr lang="en-US"/>
          </a:p>
        </p:txBody>
      </p:sp>
      <p:sp>
        <p:nvSpPr>
          <p:cNvPr id="2" name="Title 1"/>
          <p:cNvSpPr>
            <a:spLocks noGrp="1"/>
          </p:cNvSpPr>
          <p:nvPr>
            <p:ph type="title" hasCustomPrompt="1"/>
          </p:nvPr>
        </p:nvSpPr>
        <p:spPr/>
        <p:txBody>
          <a:bodyPr/>
          <a:lstStyle>
            <a:lvl1pPr>
              <a:defRPr/>
            </a:lvl1pPr>
          </a:lstStyle>
          <a:p>
            <a:r>
              <a:rPr lang="en-US" dirty="0"/>
              <a:t>Click to add contact title</a:t>
            </a:r>
          </a:p>
        </p:txBody>
      </p:sp>
      <p:sp>
        <p:nvSpPr>
          <p:cNvPr id="7" name="Subtitle 2"/>
          <p:cNvSpPr>
            <a:spLocks noGrp="1"/>
          </p:cNvSpPr>
          <p:nvPr>
            <p:ph type="subTitle" idx="13" hasCustomPrompt="1"/>
          </p:nvPr>
        </p:nvSpPr>
        <p:spPr>
          <a:xfrm>
            <a:off x="1075061" y="964671"/>
            <a:ext cx="7910158" cy="490042"/>
          </a:xfrm>
        </p:spPr>
        <p:txBody>
          <a:bodyPr wrap="none"/>
          <a:lstStyle>
            <a:lvl1pPr marL="0" indent="0" algn="l">
              <a:spcBef>
                <a:spcPts val="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grpSp>
        <p:nvGrpSpPr>
          <p:cNvPr id="8" name="Gruppieren 80">
            <a:extLst>
              <a:ext uri="{FF2B5EF4-FFF2-40B4-BE49-F238E27FC236}">
                <a16:creationId xmlns:a16="http://schemas.microsoft.com/office/drawing/2014/main" id="{6B969E7B-9C39-4443-9B02-74C1E7C5CCAC}"/>
              </a:ext>
            </a:extLst>
          </p:cNvPr>
          <p:cNvGrpSpPr/>
          <p:nvPr/>
        </p:nvGrpSpPr>
        <p:grpSpPr>
          <a:xfrm>
            <a:off x="3770065" y="2868319"/>
            <a:ext cx="171180" cy="171180"/>
            <a:chOff x="3392092" y="1841122"/>
            <a:chExt cx="646508" cy="646508"/>
          </a:xfrm>
        </p:grpSpPr>
        <p:sp>
          <p:nvSpPr>
            <p:cNvPr id="9" name="Rechteck 14">
              <a:extLst>
                <a:ext uri="{FF2B5EF4-FFF2-40B4-BE49-F238E27FC236}">
                  <a16:creationId xmlns:a16="http://schemas.microsoft.com/office/drawing/2014/main" id="{D78F58EA-5525-8D43-8295-FEA52ECF6BFA}"/>
                </a:ext>
              </a:extLst>
            </p:cNvPr>
            <p:cNvSpPr>
              <a:spLocks noChangeAspect="1"/>
            </p:cNvSpPr>
            <p:nvPr/>
          </p:nvSpPr>
          <p:spPr bwMode="gray">
            <a:xfrm>
              <a:off x="3392092" y="1841122"/>
              <a:ext cx="646508" cy="646508"/>
            </a:xfrm>
            <a:prstGeom prst="rect">
              <a:avLst/>
            </a:prstGeom>
            <a:solidFill>
              <a:srgbClr val="E55A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pPr>
              <a:endParaRPr lang="en-US" sz="1000" dirty="0">
                <a:solidFill>
                  <a:schemeClr val="tx1"/>
                </a:solidFill>
                <a:latin typeface="Arial" pitchFamily="34" charset="0"/>
                <a:cs typeface="Arial" pitchFamily="34" charset="0"/>
              </a:endParaRPr>
            </a:p>
          </p:txBody>
        </p:sp>
        <p:sp>
          <p:nvSpPr>
            <p:cNvPr id="10" name="Freeform 67">
              <a:extLst>
                <a:ext uri="{FF2B5EF4-FFF2-40B4-BE49-F238E27FC236}">
                  <a16:creationId xmlns:a16="http://schemas.microsoft.com/office/drawing/2014/main" id="{D01A6292-2776-4945-B828-483D79DC4908}"/>
                </a:ext>
              </a:extLst>
            </p:cNvPr>
            <p:cNvSpPr>
              <a:spLocks noChangeAspect="1"/>
            </p:cNvSpPr>
            <p:nvPr/>
          </p:nvSpPr>
          <p:spPr bwMode="auto">
            <a:xfrm>
              <a:off x="3546638" y="1970424"/>
              <a:ext cx="337415" cy="387905"/>
            </a:xfrm>
            <a:custGeom>
              <a:avLst/>
              <a:gdLst>
                <a:gd name="T0" fmla="*/ 573 w 1624"/>
                <a:gd name="T1" fmla="*/ 1257 h 1867"/>
                <a:gd name="T2" fmla="*/ 662 w 1624"/>
                <a:gd name="T3" fmla="*/ 1288 h 1867"/>
                <a:gd name="T4" fmla="*/ 938 w 1624"/>
                <a:gd name="T5" fmla="*/ 1051 h 1867"/>
                <a:gd name="T6" fmla="*/ 1106 w 1624"/>
                <a:gd name="T7" fmla="*/ 731 h 1867"/>
                <a:gd name="T8" fmla="*/ 1059 w 1624"/>
                <a:gd name="T9" fmla="*/ 645 h 1867"/>
                <a:gd name="T10" fmla="*/ 1001 w 1624"/>
                <a:gd name="T11" fmla="*/ 613 h 1867"/>
                <a:gd name="T12" fmla="*/ 924 w 1624"/>
                <a:gd name="T13" fmla="*/ 432 h 1867"/>
                <a:gd name="T14" fmla="*/ 1114 w 1624"/>
                <a:gd name="T15" fmla="*/ 81 h 1867"/>
                <a:gd name="T16" fmla="*/ 1287 w 1624"/>
                <a:gd name="T17" fmla="*/ 35 h 1867"/>
                <a:gd name="T18" fmla="*/ 1350 w 1624"/>
                <a:gd name="T19" fmla="*/ 69 h 1867"/>
                <a:gd name="T20" fmla="*/ 1527 w 1624"/>
                <a:gd name="T21" fmla="*/ 235 h 1867"/>
                <a:gd name="T22" fmla="*/ 1583 w 1624"/>
                <a:gd name="T23" fmla="*/ 555 h 1867"/>
                <a:gd name="T24" fmla="*/ 1172 w 1624"/>
                <a:gd name="T25" fmla="*/ 1253 h 1867"/>
                <a:gd name="T26" fmla="*/ 586 w 1624"/>
                <a:gd name="T27" fmla="*/ 1803 h 1867"/>
                <a:gd name="T28" fmla="*/ 269 w 1624"/>
                <a:gd name="T29" fmla="*/ 1807 h 1867"/>
                <a:gd name="T30" fmla="*/ 33 w 1624"/>
                <a:gd name="T31" fmla="*/ 1602 h 1867"/>
                <a:gd name="T32" fmla="*/ 2 w 1624"/>
                <a:gd name="T33" fmla="*/ 1508 h 1867"/>
                <a:gd name="T34" fmla="*/ 45 w 1624"/>
                <a:gd name="T35" fmla="*/ 1421 h 1867"/>
                <a:gd name="T36" fmla="*/ 346 w 1624"/>
                <a:gd name="T37" fmla="*/ 1158 h 1867"/>
                <a:gd name="T38" fmla="*/ 448 w 1624"/>
                <a:gd name="T39" fmla="*/ 1145 h 1867"/>
                <a:gd name="T40" fmla="*/ 573 w 1624"/>
                <a:gd name="T41" fmla="*/ 1257 h 18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24" h="1867">
                  <a:moveTo>
                    <a:pt x="573" y="1257"/>
                  </a:moveTo>
                  <a:cubicBezTo>
                    <a:pt x="592" y="1282"/>
                    <a:pt x="630" y="1303"/>
                    <a:pt x="662" y="1288"/>
                  </a:cubicBezTo>
                  <a:cubicBezTo>
                    <a:pt x="753" y="1245"/>
                    <a:pt x="854" y="1156"/>
                    <a:pt x="938" y="1051"/>
                  </a:cubicBezTo>
                  <a:cubicBezTo>
                    <a:pt x="1020" y="948"/>
                    <a:pt x="1084" y="831"/>
                    <a:pt x="1106" y="731"/>
                  </a:cubicBezTo>
                  <a:cubicBezTo>
                    <a:pt x="1113" y="696"/>
                    <a:pt x="1089" y="661"/>
                    <a:pt x="1059" y="645"/>
                  </a:cubicBezTo>
                  <a:cubicBezTo>
                    <a:pt x="1001" y="613"/>
                    <a:pt x="1001" y="613"/>
                    <a:pt x="1001" y="613"/>
                  </a:cubicBezTo>
                  <a:cubicBezTo>
                    <a:pt x="942" y="580"/>
                    <a:pt x="888" y="499"/>
                    <a:pt x="924" y="432"/>
                  </a:cubicBezTo>
                  <a:cubicBezTo>
                    <a:pt x="1114" y="81"/>
                    <a:pt x="1114" y="81"/>
                    <a:pt x="1114" y="81"/>
                  </a:cubicBezTo>
                  <a:cubicBezTo>
                    <a:pt x="1150" y="16"/>
                    <a:pt x="1224" y="0"/>
                    <a:pt x="1287" y="35"/>
                  </a:cubicBezTo>
                  <a:cubicBezTo>
                    <a:pt x="1350" y="69"/>
                    <a:pt x="1350" y="69"/>
                    <a:pt x="1350" y="69"/>
                  </a:cubicBezTo>
                  <a:cubicBezTo>
                    <a:pt x="1415" y="105"/>
                    <a:pt x="1479" y="165"/>
                    <a:pt x="1527" y="235"/>
                  </a:cubicBezTo>
                  <a:cubicBezTo>
                    <a:pt x="1593" y="332"/>
                    <a:pt x="1624" y="442"/>
                    <a:pt x="1583" y="555"/>
                  </a:cubicBezTo>
                  <a:cubicBezTo>
                    <a:pt x="1500" y="781"/>
                    <a:pt x="1351" y="1030"/>
                    <a:pt x="1172" y="1253"/>
                  </a:cubicBezTo>
                  <a:cubicBezTo>
                    <a:pt x="994" y="1477"/>
                    <a:pt x="786" y="1676"/>
                    <a:pt x="586" y="1803"/>
                  </a:cubicBezTo>
                  <a:cubicBezTo>
                    <a:pt x="486" y="1867"/>
                    <a:pt x="375" y="1856"/>
                    <a:pt x="269" y="1807"/>
                  </a:cubicBezTo>
                  <a:cubicBezTo>
                    <a:pt x="157" y="1755"/>
                    <a:pt x="106" y="1695"/>
                    <a:pt x="33" y="1602"/>
                  </a:cubicBezTo>
                  <a:cubicBezTo>
                    <a:pt x="11" y="1573"/>
                    <a:pt x="0" y="1540"/>
                    <a:pt x="2" y="1508"/>
                  </a:cubicBezTo>
                  <a:cubicBezTo>
                    <a:pt x="4" y="1475"/>
                    <a:pt x="18" y="1444"/>
                    <a:pt x="45" y="1421"/>
                  </a:cubicBezTo>
                  <a:cubicBezTo>
                    <a:pt x="70" y="1399"/>
                    <a:pt x="346" y="1158"/>
                    <a:pt x="346" y="1158"/>
                  </a:cubicBezTo>
                  <a:cubicBezTo>
                    <a:pt x="376" y="1134"/>
                    <a:pt x="413" y="1133"/>
                    <a:pt x="448" y="1145"/>
                  </a:cubicBezTo>
                  <a:cubicBezTo>
                    <a:pt x="510" y="1166"/>
                    <a:pt x="536" y="1210"/>
                    <a:pt x="573" y="1257"/>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351" dirty="0"/>
            </a:p>
          </p:txBody>
        </p:sp>
      </p:grpSp>
      <p:grpSp>
        <p:nvGrpSpPr>
          <p:cNvPr id="11" name="Group 3">
            <a:extLst>
              <a:ext uri="{FF2B5EF4-FFF2-40B4-BE49-F238E27FC236}">
                <a16:creationId xmlns:a16="http://schemas.microsoft.com/office/drawing/2014/main" id="{DED6A25A-5DE2-1441-8BA2-C68D3B4F9209}"/>
              </a:ext>
            </a:extLst>
          </p:cNvPr>
          <p:cNvGrpSpPr>
            <a:grpSpLocks noChangeAspect="1"/>
          </p:cNvGrpSpPr>
          <p:nvPr>
            <p:custDataLst>
              <p:tags r:id="rId1"/>
            </p:custDataLst>
          </p:nvPr>
        </p:nvGrpSpPr>
        <p:grpSpPr>
          <a:xfrm>
            <a:off x="3770066" y="3153207"/>
            <a:ext cx="171180" cy="171180"/>
            <a:chOff x="328396" y="5313940"/>
            <a:chExt cx="720000" cy="720000"/>
          </a:xfrm>
        </p:grpSpPr>
        <p:sp>
          <p:nvSpPr>
            <p:cNvPr id="12" name="Rectangle 4">
              <a:extLst>
                <a:ext uri="{FF2B5EF4-FFF2-40B4-BE49-F238E27FC236}">
                  <a16:creationId xmlns:a16="http://schemas.microsoft.com/office/drawing/2014/main" id="{5F49E67F-D4FA-9D48-96BC-59AE946ECD15}"/>
                </a:ext>
              </a:extLst>
            </p:cNvPr>
            <p:cNvSpPr/>
            <p:nvPr/>
          </p:nvSpPr>
          <p:spPr bwMode="gray">
            <a:xfrm>
              <a:off x="328396" y="5313940"/>
              <a:ext cx="720000" cy="720000"/>
            </a:xfrm>
            <a:prstGeom prst="rect">
              <a:avLst/>
            </a:prstGeom>
            <a:solidFill>
              <a:srgbClr val="E55A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pPr>
              <a:endParaRPr lang="en-US" sz="1000" dirty="0">
                <a:solidFill>
                  <a:schemeClr val="tx1"/>
                </a:solidFill>
                <a:latin typeface="Arial" pitchFamily="34" charset="0"/>
                <a:cs typeface="Arial" pitchFamily="34" charset="0"/>
              </a:endParaRPr>
            </a:p>
          </p:txBody>
        </p:sp>
        <p:sp>
          <p:nvSpPr>
            <p:cNvPr id="13" name="Freeform 76">
              <a:extLst>
                <a:ext uri="{FF2B5EF4-FFF2-40B4-BE49-F238E27FC236}">
                  <a16:creationId xmlns:a16="http://schemas.microsoft.com/office/drawing/2014/main" id="{187E70E6-AF3F-2549-908E-DF4BA61040AA}"/>
                </a:ext>
              </a:extLst>
            </p:cNvPr>
            <p:cNvSpPr>
              <a:spLocks noChangeAspect="1" noEditPoints="1"/>
            </p:cNvSpPr>
            <p:nvPr/>
          </p:nvSpPr>
          <p:spPr bwMode="auto">
            <a:xfrm>
              <a:off x="456202" y="5509222"/>
              <a:ext cx="504000" cy="329436"/>
            </a:xfrm>
            <a:custGeom>
              <a:avLst/>
              <a:gdLst>
                <a:gd name="T0" fmla="*/ 0 w 2080"/>
                <a:gd name="T1" fmla="*/ 65 h 1360"/>
                <a:gd name="T2" fmla="*/ 0 w 2080"/>
                <a:gd name="T3" fmla="*/ 0 h 1360"/>
                <a:gd name="T4" fmla="*/ 2080 w 2080"/>
                <a:gd name="T5" fmla="*/ 0 h 1360"/>
                <a:gd name="T6" fmla="*/ 2080 w 2080"/>
                <a:gd name="T7" fmla="*/ 65 h 1360"/>
                <a:gd name="T8" fmla="*/ 1089 w 2080"/>
                <a:gd name="T9" fmla="*/ 862 h 1360"/>
                <a:gd name="T10" fmla="*/ 991 w 2080"/>
                <a:gd name="T11" fmla="*/ 862 h 1360"/>
                <a:gd name="T12" fmla="*/ 0 w 2080"/>
                <a:gd name="T13" fmla="*/ 65 h 1360"/>
                <a:gd name="T14" fmla="*/ 1139 w 2080"/>
                <a:gd name="T15" fmla="*/ 924 h 1360"/>
                <a:gd name="T16" fmla="*/ 1282 w 2080"/>
                <a:gd name="T17" fmla="*/ 810 h 1360"/>
                <a:gd name="T18" fmla="*/ 2076 w 2080"/>
                <a:gd name="T19" fmla="*/ 1360 h 1360"/>
                <a:gd name="T20" fmla="*/ 4 w 2080"/>
                <a:gd name="T21" fmla="*/ 1360 h 1360"/>
                <a:gd name="T22" fmla="*/ 798 w 2080"/>
                <a:gd name="T23" fmla="*/ 810 h 1360"/>
                <a:gd name="T24" fmla="*/ 941 w 2080"/>
                <a:gd name="T25" fmla="*/ 924 h 1360"/>
                <a:gd name="T26" fmla="*/ 1139 w 2080"/>
                <a:gd name="T27" fmla="*/ 924 h 1360"/>
                <a:gd name="T28" fmla="*/ 2 w 2080"/>
                <a:gd name="T29" fmla="*/ 137 h 1360"/>
                <a:gd name="T30" fmla="*/ 42 w 2080"/>
                <a:gd name="T31" fmla="*/ 201 h 1360"/>
                <a:gd name="T32" fmla="*/ 734 w 2080"/>
                <a:gd name="T33" fmla="*/ 758 h 1360"/>
                <a:gd name="T34" fmla="*/ 0 w 2080"/>
                <a:gd name="T35" fmla="*/ 1266 h 1360"/>
                <a:gd name="T36" fmla="*/ 0 w 2080"/>
                <a:gd name="T37" fmla="*/ 135 h 1360"/>
                <a:gd name="T38" fmla="*/ 2 w 2080"/>
                <a:gd name="T39" fmla="*/ 137 h 1360"/>
                <a:gd name="T40" fmla="*/ 2080 w 2080"/>
                <a:gd name="T41" fmla="*/ 136 h 1360"/>
                <a:gd name="T42" fmla="*/ 2080 w 2080"/>
                <a:gd name="T43" fmla="*/ 1265 h 1360"/>
                <a:gd name="T44" fmla="*/ 1346 w 2080"/>
                <a:gd name="T45" fmla="*/ 758 h 1360"/>
                <a:gd name="T46" fmla="*/ 2038 w 2080"/>
                <a:gd name="T47" fmla="*/ 201 h 1360"/>
                <a:gd name="T48" fmla="*/ 2080 w 2080"/>
                <a:gd name="T49" fmla="*/ 136 h 1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080" h="1360">
                  <a:moveTo>
                    <a:pt x="0" y="65"/>
                  </a:moveTo>
                  <a:cubicBezTo>
                    <a:pt x="0" y="0"/>
                    <a:pt x="0" y="0"/>
                    <a:pt x="0" y="0"/>
                  </a:cubicBezTo>
                  <a:cubicBezTo>
                    <a:pt x="2080" y="0"/>
                    <a:pt x="2080" y="0"/>
                    <a:pt x="2080" y="0"/>
                  </a:cubicBezTo>
                  <a:cubicBezTo>
                    <a:pt x="2080" y="65"/>
                    <a:pt x="2080" y="65"/>
                    <a:pt x="2080" y="65"/>
                  </a:cubicBezTo>
                  <a:cubicBezTo>
                    <a:pt x="1089" y="862"/>
                    <a:pt x="1089" y="862"/>
                    <a:pt x="1089" y="862"/>
                  </a:cubicBezTo>
                  <a:cubicBezTo>
                    <a:pt x="1060" y="886"/>
                    <a:pt x="1020" y="886"/>
                    <a:pt x="991" y="862"/>
                  </a:cubicBezTo>
                  <a:lnTo>
                    <a:pt x="0" y="65"/>
                  </a:lnTo>
                  <a:close/>
                  <a:moveTo>
                    <a:pt x="1139" y="924"/>
                  </a:moveTo>
                  <a:cubicBezTo>
                    <a:pt x="1282" y="810"/>
                    <a:pt x="1282" y="810"/>
                    <a:pt x="1282" y="810"/>
                  </a:cubicBezTo>
                  <a:cubicBezTo>
                    <a:pt x="2076" y="1360"/>
                    <a:pt x="2076" y="1360"/>
                    <a:pt x="2076" y="1360"/>
                  </a:cubicBezTo>
                  <a:cubicBezTo>
                    <a:pt x="4" y="1360"/>
                    <a:pt x="4" y="1360"/>
                    <a:pt x="4" y="1360"/>
                  </a:cubicBezTo>
                  <a:cubicBezTo>
                    <a:pt x="798" y="810"/>
                    <a:pt x="798" y="810"/>
                    <a:pt x="798" y="810"/>
                  </a:cubicBezTo>
                  <a:cubicBezTo>
                    <a:pt x="941" y="924"/>
                    <a:pt x="941" y="924"/>
                    <a:pt x="941" y="924"/>
                  </a:cubicBezTo>
                  <a:cubicBezTo>
                    <a:pt x="1000" y="972"/>
                    <a:pt x="1080" y="972"/>
                    <a:pt x="1139" y="924"/>
                  </a:cubicBezTo>
                  <a:close/>
                  <a:moveTo>
                    <a:pt x="2" y="137"/>
                  </a:moveTo>
                  <a:cubicBezTo>
                    <a:pt x="8" y="163"/>
                    <a:pt x="22" y="185"/>
                    <a:pt x="42" y="201"/>
                  </a:cubicBezTo>
                  <a:cubicBezTo>
                    <a:pt x="734" y="758"/>
                    <a:pt x="734" y="758"/>
                    <a:pt x="734" y="758"/>
                  </a:cubicBezTo>
                  <a:cubicBezTo>
                    <a:pt x="0" y="1266"/>
                    <a:pt x="0" y="1266"/>
                    <a:pt x="0" y="1266"/>
                  </a:cubicBezTo>
                  <a:cubicBezTo>
                    <a:pt x="0" y="135"/>
                    <a:pt x="0" y="135"/>
                    <a:pt x="0" y="135"/>
                  </a:cubicBezTo>
                  <a:lnTo>
                    <a:pt x="2" y="137"/>
                  </a:lnTo>
                  <a:close/>
                  <a:moveTo>
                    <a:pt x="2080" y="136"/>
                  </a:moveTo>
                  <a:cubicBezTo>
                    <a:pt x="2080" y="1265"/>
                    <a:pt x="2080" y="1265"/>
                    <a:pt x="2080" y="1265"/>
                  </a:cubicBezTo>
                  <a:cubicBezTo>
                    <a:pt x="1346" y="758"/>
                    <a:pt x="1346" y="758"/>
                    <a:pt x="1346" y="758"/>
                  </a:cubicBezTo>
                  <a:cubicBezTo>
                    <a:pt x="2038" y="201"/>
                    <a:pt x="2038" y="201"/>
                    <a:pt x="2038" y="201"/>
                  </a:cubicBezTo>
                  <a:cubicBezTo>
                    <a:pt x="2060" y="182"/>
                    <a:pt x="2072" y="162"/>
                    <a:pt x="2080" y="13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000"/>
            </a:p>
          </p:txBody>
        </p:sp>
      </p:grpSp>
      <p:grpSp>
        <p:nvGrpSpPr>
          <p:cNvPr id="14" name="Gruppieren 2">
            <a:extLst>
              <a:ext uri="{FF2B5EF4-FFF2-40B4-BE49-F238E27FC236}">
                <a16:creationId xmlns:a16="http://schemas.microsoft.com/office/drawing/2014/main" id="{BE697CE9-EBDE-6B4A-BE70-582D92A8A831}"/>
              </a:ext>
            </a:extLst>
          </p:cNvPr>
          <p:cNvGrpSpPr/>
          <p:nvPr/>
        </p:nvGrpSpPr>
        <p:grpSpPr>
          <a:xfrm>
            <a:off x="8701917" y="2868319"/>
            <a:ext cx="171180" cy="171180"/>
            <a:chOff x="3392092" y="1841122"/>
            <a:chExt cx="646508" cy="646508"/>
          </a:xfrm>
        </p:grpSpPr>
        <p:sp>
          <p:nvSpPr>
            <p:cNvPr id="15" name="Rechteck 14">
              <a:extLst>
                <a:ext uri="{FF2B5EF4-FFF2-40B4-BE49-F238E27FC236}">
                  <a16:creationId xmlns:a16="http://schemas.microsoft.com/office/drawing/2014/main" id="{E142A731-19B7-C34D-9534-9E05108F895F}"/>
                </a:ext>
              </a:extLst>
            </p:cNvPr>
            <p:cNvSpPr>
              <a:spLocks noChangeAspect="1"/>
            </p:cNvSpPr>
            <p:nvPr/>
          </p:nvSpPr>
          <p:spPr bwMode="gray">
            <a:xfrm>
              <a:off x="3392092" y="1841122"/>
              <a:ext cx="646508" cy="646508"/>
            </a:xfrm>
            <a:prstGeom prst="rect">
              <a:avLst/>
            </a:prstGeom>
            <a:solidFill>
              <a:srgbClr val="E55A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pPr>
              <a:endParaRPr lang="en-US" sz="1000" dirty="0">
                <a:solidFill>
                  <a:schemeClr val="tx1"/>
                </a:solidFill>
                <a:latin typeface="Arial" pitchFamily="34" charset="0"/>
                <a:cs typeface="Arial" pitchFamily="34" charset="0"/>
              </a:endParaRPr>
            </a:p>
          </p:txBody>
        </p:sp>
        <p:sp>
          <p:nvSpPr>
            <p:cNvPr id="16" name="Freeform 15">
              <a:extLst>
                <a:ext uri="{FF2B5EF4-FFF2-40B4-BE49-F238E27FC236}">
                  <a16:creationId xmlns:a16="http://schemas.microsoft.com/office/drawing/2014/main" id="{F97E84AE-4AD9-4B44-9AA1-F797FC373809}"/>
                </a:ext>
              </a:extLst>
            </p:cNvPr>
            <p:cNvSpPr>
              <a:spLocks noChangeAspect="1"/>
            </p:cNvSpPr>
            <p:nvPr/>
          </p:nvSpPr>
          <p:spPr bwMode="auto">
            <a:xfrm>
              <a:off x="3546638" y="1970424"/>
              <a:ext cx="337415" cy="387905"/>
            </a:xfrm>
            <a:custGeom>
              <a:avLst/>
              <a:gdLst>
                <a:gd name="T0" fmla="*/ 573 w 1624"/>
                <a:gd name="T1" fmla="*/ 1257 h 1867"/>
                <a:gd name="T2" fmla="*/ 662 w 1624"/>
                <a:gd name="T3" fmla="*/ 1288 h 1867"/>
                <a:gd name="T4" fmla="*/ 938 w 1624"/>
                <a:gd name="T5" fmla="*/ 1051 h 1867"/>
                <a:gd name="T6" fmla="*/ 1106 w 1624"/>
                <a:gd name="T7" fmla="*/ 731 h 1867"/>
                <a:gd name="T8" fmla="*/ 1059 w 1624"/>
                <a:gd name="T9" fmla="*/ 645 h 1867"/>
                <a:gd name="T10" fmla="*/ 1001 w 1624"/>
                <a:gd name="T11" fmla="*/ 613 h 1867"/>
                <a:gd name="T12" fmla="*/ 924 w 1624"/>
                <a:gd name="T13" fmla="*/ 432 h 1867"/>
                <a:gd name="T14" fmla="*/ 1114 w 1624"/>
                <a:gd name="T15" fmla="*/ 81 h 1867"/>
                <a:gd name="T16" fmla="*/ 1287 w 1624"/>
                <a:gd name="T17" fmla="*/ 35 h 1867"/>
                <a:gd name="T18" fmla="*/ 1350 w 1624"/>
                <a:gd name="T19" fmla="*/ 69 h 1867"/>
                <a:gd name="T20" fmla="*/ 1527 w 1624"/>
                <a:gd name="T21" fmla="*/ 235 h 1867"/>
                <a:gd name="T22" fmla="*/ 1583 w 1624"/>
                <a:gd name="T23" fmla="*/ 555 h 1867"/>
                <a:gd name="T24" fmla="*/ 1172 w 1624"/>
                <a:gd name="T25" fmla="*/ 1253 h 1867"/>
                <a:gd name="T26" fmla="*/ 586 w 1624"/>
                <a:gd name="T27" fmla="*/ 1803 h 1867"/>
                <a:gd name="T28" fmla="*/ 269 w 1624"/>
                <a:gd name="T29" fmla="*/ 1807 h 1867"/>
                <a:gd name="T30" fmla="*/ 33 w 1624"/>
                <a:gd name="T31" fmla="*/ 1602 h 1867"/>
                <a:gd name="T32" fmla="*/ 2 w 1624"/>
                <a:gd name="T33" fmla="*/ 1508 h 1867"/>
                <a:gd name="T34" fmla="*/ 45 w 1624"/>
                <a:gd name="T35" fmla="*/ 1421 h 1867"/>
                <a:gd name="T36" fmla="*/ 346 w 1624"/>
                <a:gd name="T37" fmla="*/ 1158 h 1867"/>
                <a:gd name="T38" fmla="*/ 448 w 1624"/>
                <a:gd name="T39" fmla="*/ 1145 h 1867"/>
                <a:gd name="T40" fmla="*/ 573 w 1624"/>
                <a:gd name="T41" fmla="*/ 1257 h 18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24" h="1867">
                  <a:moveTo>
                    <a:pt x="573" y="1257"/>
                  </a:moveTo>
                  <a:cubicBezTo>
                    <a:pt x="592" y="1282"/>
                    <a:pt x="630" y="1303"/>
                    <a:pt x="662" y="1288"/>
                  </a:cubicBezTo>
                  <a:cubicBezTo>
                    <a:pt x="753" y="1245"/>
                    <a:pt x="854" y="1156"/>
                    <a:pt x="938" y="1051"/>
                  </a:cubicBezTo>
                  <a:cubicBezTo>
                    <a:pt x="1020" y="948"/>
                    <a:pt x="1084" y="831"/>
                    <a:pt x="1106" y="731"/>
                  </a:cubicBezTo>
                  <a:cubicBezTo>
                    <a:pt x="1113" y="696"/>
                    <a:pt x="1089" y="661"/>
                    <a:pt x="1059" y="645"/>
                  </a:cubicBezTo>
                  <a:cubicBezTo>
                    <a:pt x="1001" y="613"/>
                    <a:pt x="1001" y="613"/>
                    <a:pt x="1001" y="613"/>
                  </a:cubicBezTo>
                  <a:cubicBezTo>
                    <a:pt x="942" y="580"/>
                    <a:pt x="888" y="499"/>
                    <a:pt x="924" y="432"/>
                  </a:cubicBezTo>
                  <a:cubicBezTo>
                    <a:pt x="1114" y="81"/>
                    <a:pt x="1114" y="81"/>
                    <a:pt x="1114" y="81"/>
                  </a:cubicBezTo>
                  <a:cubicBezTo>
                    <a:pt x="1150" y="16"/>
                    <a:pt x="1224" y="0"/>
                    <a:pt x="1287" y="35"/>
                  </a:cubicBezTo>
                  <a:cubicBezTo>
                    <a:pt x="1350" y="69"/>
                    <a:pt x="1350" y="69"/>
                    <a:pt x="1350" y="69"/>
                  </a:cubicBezTo>
                  <a:cubicBezTo>
                    <a:pt x="1415" y="105"/>
                    <a:pt x="1479" y="165"/>
                    <a:pt x="1527" y="235"/>
                  </a:cubicBezTo>
                  <a:cubicBezTo>
                    <a:pt x="1593" y="332"/>
                    <a:pt x="1624" y="442"/>
                    <a:pt x="1583" y="555"/>
                  </a:cubicBezTo>
                  <a:cubicBezTo>
                    <a:pt x="1500" y="781"/>
                    <a:pt x="1351" y="1030"/>
                    <a:pt x="1172" y="1253"/>
                  </a:cubicBezTo>
                  <a:cubicBezTo>
                    <a:pt x="994" y="1477"/>
                    <a:pt x="786" y="1676"/>
                    <a:pt x="586" y="1803"/>
                  </a:cubicBezTo>
                  <a:cubicBezTo>
                    <a:pt x="486" y="1867"/>
                    <a:pt x="375" y="1856"/>
                    <a:pt x="269" y="1807"/>
                  </a:cubicBezTo>
                  <a:cubicBezTo>
                    <a:pt x="157" y="1755"/>
                    <a:pt x="106" y="1695"/>
                    <a:pt x="33" y="1602"/>
                  </a:cubicBezTo>
                  <a:cubicBezTo>
                    <a:pt x="11" y="1573"/>
                    <a:pt x="0" y="1540"/>
                    <a:pt x="2" y="1508"/>
                  </a:cubicBezTo>
                  <a:cubicBezTo>
                    <a:pt x="4" y="1475"/>
                    <a:pt x="18" y="1444"/>
                    <a:pt x="45" y="1421"/>
                  </a:cubicBezTo>
                  <a:cubicBezTo>
                    <a:pt x="70" y="1399"/>
                    <a:pt x="346" y="1158"/>
                    <a:pt x="346" y="1158"/>
                  </a:cubicBezTo>
                  <a:cubicBezTo>
                    <a:pt x="376" y="1134"/>
                    <a:pt x="413" y="1133"/>
                    <a:pt x="448" y="1145"/>
                  </a:cubicBezTo>
                  <a:cubicBezTo>
                    <a:pt x="510" y="1166"/>
                    <a:pt x="536" y="1210"/>
                    <a:pt x="573" y="1257"/>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351" dirty="0"/>
            </a:p>
          </p:txBody>
        </p:sp>
      </p:grpSp>
      <p:grpSp>
        <p:nvGrpSpPr>
          <p:cNvPr id="17" name="Group 3">
            <a:extLst>
              <a:ext uri="{FF2B5EF4-FFF2-40B4-BE49-F238E27FC236}">
                <a16:creationId xmlns:a16="http://schemas.microsoft.com/office/drawing/2014/main" id="{7104BADD-8CD1-6F4A-B894-869C3BDB3EEB}"/>
              </a:ext>
            </a:extLst>
          </p:cNvPr>
          <p:cNvGrpSpPr>
            <a:grpSpLocks noChangeAspect="1"/>
          </p:cNvGrpSpPr>
          <p:nvPr>
            <p:custDataLst>
              <p:tags r:id="rId2"/>
            </p:custDataLst>
          </p:nvPr>
        </p:nvGrpSpPr>
        <p:grpSpPr>
          <a:xfrm>
            <a:off x="8701918" y="3153207"/>
            <a:ext cx="171180" cy="171180"/>
            <a:chOff x="328396" y="5313940"/>
            <a:chExt cx="720000" cy="720000"/>
          </a:xfrm>
        </p:grpSpPr>
        <p:sp>
          <p:nvSpPr>
            <p:cNvPr id="18" name="Rectangle 4">
              <a:extLst>
                <a:ext uri="{FF2B5EF4-FFF2-40B4-BE49-F238E27FC236}">
                  <a16:creationId xmlns:a16="http://schemas.microsoft.com/office/drawing/2014/main" id="{74BE3D5F-1445-6E40-8B49-72E15568383B}"/>
                </a:ext>
              </a:extLst>
            </p:cNvPr>
            <p:cNvSpPr/>
            <p:nvPr/>
          </p:nvSpPr>
          <p:spPr bwMode="gray">
            <a:xfrm>
              <a:off x="328396" y="5313940"/>
              <a:ext cx="720000" cy="720000"/>
            </a:xfrm>
            <a:prstGeom prst="rect">
              <a:avLst/>
            </a:prstGeom>
            <a:solidFill>
              <a:srgbClr val="E55A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pPr>
              <a:endParaRPr lang="en-US" sz="1000" dirty="0">
                <a:solidFill>
                  <a:schemeClr val="tx1"/>
                </a:solidFill>
                <a:latin typeface="Arial" pitchFamily="34" charset="0"/>
                <a:cs typeface="Arial" pitchFamily="34" charset="0"/>
              </a:endParaRPr>
            </a:p>
          </p:txBody>
        </p:sp>
        <p:sp>
          <p:nvSpPr>
            <p:cNvPr id="19" name="Freeform 76">
              <a:extLst>
                <a:ext uri="{FF2B5EF4-FFF2-40B4-BE49-F238E27FC236}">
                  <a16:creationId xmlns:a16="http://schemas.microsoft.com/office/drawing/2014/main" id="{55DB3C95-7D0C-D141-901E-96D692794D2B}"/>
                </a:ext>
              </a:extLst>
            </p:cNvPr>
            <p:cNvSpPr>
              <a:spLocks noChangeAspect="1" noEditPoints="1"/>
            </p:cNvSpPr>
            <p:nvPr/>
          </p:nvSpPr>
          <p:spPr bwMode="auto">
            <a:xfrm>
              <a:off x="456202" y="5509222"/>
              <a:ext cx="504000" cy="329436"/>
            </a:xfrm>
            <a:custGeom>
              <a:avLst/>
              <a:gdLst>
                <a:gd name="T0" fmla="*/ 0 w 2080"/>
                <a:gd name="T1" fmla="*/ 65 h 1360"/>
                <a:gd name="T2" fmla="*/ 0 w 2080"/>
                <a:gd name="T3" fmla="*/ 0 h 1360"/>
                <a:gd name="T4" fmla="*/ 2080 w 2080"/>
                <a:gd name="T5" fmla="*/ 0 h 1360"/>
                <a:gd name="T6" fmla="*/ 2080 w 2080"/>
                <a:gd name="T7" fmla="*/ 65 h 1360"/>
                <a:gd name="T8" fmla="*/ 1089 w 2080"/>
                <a:gd name="T9" fmla="*/ 862 h 1360"/>
                <a:gd name="T10" fmla="*/ 991 w 2080"/>
                <a:gd name="T11" fmla="*/ 862 h 1360"/>
                <a:gd name="T12" fmla="*/ 0 w 2080"/>
                <a:gd name="T13" fmla="*/ 65 h 1360"/>
                <a:gd name="T14" fmla="*/ 1139 w 2080"/>
                <a:gd name="T15" fmla="*/ 924 h 1360"/>
                <a:gd name="T16" fmla="*/ 1282 w 2080"/>
                <a:gd name="T17" fmla="*/ 810 h 1360"/>
                <a:gd name="T18" fmla="*/ 2076 w 2080"/>
                <a:gd name="T19" fmla="*/ 1360 h 1360"/>
                <a:gd name="T20" fmla="*/ 4 w 2080"/>
                <a:gd name="T21" fmla="*/ 1360 h 1360"/>
                <a:gd name="T22" fmla="*/ 798 w 2080"/>
                <a:gd name="T23" fmla="*/ 810 h 1360"/>
                <a:gd name="T24" fmla="*/ 941 w 2080"/>
                <a:gd name="T25" fmla="*/ 924 h 1360"/>
                <a:gd name="T26" fmla="*/ 1139 w 2080"/>
                <a:gd name="T27" fmla="*/ 924 h 1360"/>
                <a:gd name="T28" fmla="*/ 2 w 2080"/>
                <a:gd name="T29" fmla="*/ 137 h 1360"/>
                <a:gd name="T30" fmla="*/ 42 w 2080"/>
                <a:gd name="T31" fmla="*/ 201 h 1360"/>
                <a:gd name="T32" fmla="*/ 734 w 2080"/>
                <a:gd name="T33" fmla="*/ 758 h 1360"/>
                <a:gd name="T34" fmla="*/ 0 w 2080"/>
                <a:gd name="T35" fmla="*/ 1266 h 1360"/>
                <a:gd name="T36" fmla="*/ 0 w 2080"/>
                <a:gd name="T37" fmla="*/ 135 h 1360"/>
                <a:gd name="T38" fmla="*/ 2 w 2080"/>
                <a:gd name="T39" fmla="*/ 137 h 1360"/>
                <a:gd name="T40" fmla="*/ 2080 w 2080"/>
                <a:gd name="T41" fmla="*/ 136 h 1360"/>
                <a:gd name="T42" fmla="*/ 2080 w 2080"/>
                <a:gd name="T43" fmla="*/ 1265 h 1360"/>
                <a:gd name="T44" fmla="*/ 1346 w 2080"/>
                <a:gd name="T45" fmla="*/ 758 h 1360"/>
                <a:gd name="T46" fmla="*/ 2038 w 2080"/>
                <a:gd name="T47" fmla="*/ 201 h 1360"/>
                <a:gd name="T48" fmla="*/ 2080 w 2080"/>
                <a:gd name="T49" fmla="*/ 136 h 1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080" h="1360">
                  <a:moveTo>
                    <a:pt x="0" y="65"/>
                  </a:moveTo>
                  <a:cubicBezTo>
                    <a:pt x="0" y="0"/>
                    <a:pt x="0" y="0"/>
                    <a:pt x="0" y="0"/>
                  </a:cubicBezTo>
                  <a:cubicBezTo>
                    <a:pt x="2080" y="0"/>
                    <a:pt x="2080" y="0"/>
                    <a:pt x="2080" y="0"/>
                  </a:cubicBezTo>
                  <a:cubicBezTo>
                    <a:pt x="2080" y="65"/>
                    <a:pt x="2080" y="65"/>
                    <a:pt x="2080" y="65"/>
                  </a:cubicBezTo>
                  <a:cubicBezTo>
                    <a:pt x="1089" y="862"/>
                    <a:pt x="1089" y="862"/>
                    <a:pt x="1089" y="862"/>
                  </a:cubicBezTo>
                  <a:cubicBezTo>
                    <a:pt x="1060" y="886"/>
                    <a:pt x="1020" y="886"/>
                    <a:pt x="991" y="862"/>
                  </a:cubicBezTo>
                  <a:lnTo>
                    <a:pt x="0" y="65"/>
                  </a:lnTo>
                  <a:close/>
                  <a:moveTo>
                    <a:pt x="1139" y="924"/>
                  </a:moveTo>
                  <a:cubicBezTo>
                    <a:pt x="1282" y="810"/>
                    <a:pt x="1282" y="810"/>
                    <a:pt x="1282" y="810"/>
                  </a:cubicBezTo>
                  <a:cubicBezTo>
                    <a:pt x="2076" y="1360"/>
                    <a:pt x="2076" y="1360"/>
                    <a:pt x="2076" y="1360"/>
                  </a:cubicBezTo>
                  <a:cubicBezTo>
                    <a:pt x="4" y="1360"/>
                    <a:pt x="4" y="1360"/>
                    <a:pt x="4" y="1360"/>
                  </a:cubicBezTo>
                  <a:cubicBezTo>
                    <a:pt x="798" y="810"/>
                    <a:pt x="798" y="810"/>
                    <a:pt x="798" y="810"/>
                  </a:cubicBezTo>
                  <a:cubicBezTo>
                    <a:pt x="941" y="924"/>
                    <a:pt x="941" y="924"/>
                    <a:pt x="941" y="924"/>
                  </a:cubicBezTo>
                  <a:cubicBezTo>
                    <a:pt x="1000" y="972"/>
                    <a:pt x="1080" y="972"/>
                    <a:pt x="1139" y="924"/>
                  </a:cubicBezTo>
                  <a:close/>
                  <a:moveTo>
                    <a:pt x="2" y="137"/>
                  </a:moveTo>
                  <a:cubicBezTo>
                    <a:pt x="8" y="163"/>
                    <a:pt x="22" y="185"/>
                    <a:pt x="42" y="201"/>
                  </a:cubicBezTo>
                  <a:cubicBezTo>
                    <a:pt x="734" y="758"/>
                    <a:pt x="734" y="758"/>
                    <a:pt x="734" y="758"/>
                  </a:cubicBezTo>
                  <a:cubicBezTo>
                    <a:pt x="0" y="1266"/>
                    <a:pt x="0" y="1266"/>
                    <a:pt x="0" y="1266"/>
                  </a:cubicBezTo>
                  <a:cubicBezTo>
                    <a:pt x="0" y="135"/>
                    <a:pt x="0" y="135"/>
                    <a:pt x="0" y="135"/>
                  </a:cubicBezTo>
                  <a:lnTo>
                    <a:pt x="2" y="137"/>
                  </a:lnTo>
                  <a:close/>
                  <a:moveTo>
                    <a:pt x="2080" y="136"/>
                  </a:moveTo>
                  <a:cubicBezTo>
                    <a:pt x="2080" y="1265"/>
                    <a:pt x="2080" y="1265"/>
                    <a:pt x="2080" y="1265"/>
                  </a:cubicBezTo>
                  <a:cubicBezTo>
                    <a:pt x="1346" y="758"/>
                    <a:pt x="1346" y="758"/>
                    <a:pt x="1346" y="758"/>
                  </a:cubicBezTo>
                  <a:cubicBezTo>
                    <a:pt x="2038" y="201"/>
                    <a:pt x="2038" y="201"/>
                    <a:pt x="2038" y="201"/>
                  </a:cubicBezTo>
                  <a:cubicBezTo>
                    <a:pt x="2060" y="182"/>
                    <a:pt x="2072" y="162"/>
                    <a:pt x="2080" y="13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000"/>
            </a:p>
          </p:txBody>
        </p:sp>
      </p:grpSp>
      <p:cxnSp>
        <p:nvCxnSpPr>
          <p:cNvPr id="20" name="Straight Connector 19"/>
          <p:cNvCxnSpPr/>
          <p:nvPr/>
        </p:nvCxnSpPr>
        <p:spPr>
          <a:xfrm>
            <a:off x="2371725" y="3478213"/>
            <a:ext cx="3888000" cy="0"/>
          </a:xfrm>
          <a:prstGeom prst="line">
            <a:avLst/>
          </a:prstGeom>
          <a:ln w="6350">
            <a:solidFill>
              <a:schemeClr val="tx2"/>
            </a:solidFill>
            <a:prstDash val="dash"/>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p:nvCxnSpPr>
        <p:spPr>
          <a:xfrm>
            <a:off x="7287766" y="3478213"/>
            <a:ext cx="3888000" cy="0"/>
          </a:xfrm>
          <a:prstGeom prst="line">
            <a:avLst/>
          </a:prstGeom>
          <a:ln w="6350">
            <a:solidFill>
              <a:schemeClr val="tx2"/>
            </a:solidFill>
            <a:prstDash val="dash"/>
          </a:ln>
        </p:spPr>
        <p:style>
          <a:lnRef idx="1">
            <a:schemeClr val="accent1"/>
          </a:lnRef>
          <a:fillRef idx="0">
            <a:schemeClr val="accent1"/>
          </a:fillRef>
          <a:effectRef idx="0">
            <a:schemeClr val="accent1"/>
          </a:effectRef>
          <a:fontRef idx="minor">
            <a:schemeClr val="tx1"/>
          </a:fontRef>
        </p:style>
      </p:cxnSp>
      <p:sp>
        <p:nvSpPr>
          <p:cNvPr id="4" name="Picture Placeholder 3"/>
          <p:cNvSpPr>
            <a:spLocks noGrp="1"/>
          </p:cNvSpPr>
          <p:nvPr>
            <p:ph type="pic" sz="quarter" idx="17" hasCustomPrompt="1"/>
          </p:nvPr>
        </p:nvSpPr>
        <p:spPr>
          <a:xfrm>
            <a:off x="2355914" y="1808984"/>
            <a:ext cx="1188677" cy="1547840"/>
          </a:xfrm>
          <a:solidFill>
            <a:srgbClr val="D9DADB"/>
          </a:solidFill>
        </p:spPr>
        <p:txBody>
          <a:bodyPr/>
          <a:lstStyle>
            <a:lvl1pPr marL="0" indent="0">
              <a:buNone/>
              <a:defRPr sz="1400"/>
            </a:lvl1pPr>
          </a:lstStyle>
          <a:p>
            <a:r>
              <a:rPr lang="en-US" dirty="0"/>
              <a:t>Insert picture</a:t>
            </a:r>
          </a:p>
        </p:txBody>
      </p:sp>
      <p:sp>
        <p:nvSpPr>
          <p:cNvPr id="25" name="Picture Placeholder 3"/>
          <p:cNvSpPr>
            <a:spLocks noGrp="1"/>
          </p:cNvSpPr>
          <p:nvPr>
            <p:ph type="pic" sz="quarter" idx="18" hasCustomPrompt="1"/>
          </p:nvPr>
        </p:nvSpPr>
        <p:spPr>
          <a:xfrm>
            <a:off x="7287766" y="1808984"/>
            <a:ext cx="1188677" cy="1547840"/>
          </a:xfrm>
          <a:solidFill>
            <a:srgbClr val="D9DADB"/>
          </a:solidFill>
        </p:spPr>
        <p:txBody>
          <a:bodyPr/>
          <a:lstStyle>
            <a:lvl1pPr marL="0" indent="0">
              <a:buNone/>
              <a:defRPr sz="1400"/>
            </a:lvl1pPr>
          </a:lstStyle>
          <a:p>
            <a:r>
              <a:rPr lang="en-US" dirty="0"/>
              <a:t>Insert picture</a:t>
            </a:r>
          </a:p>
        </p:txBody>
      </p:sp>
      <p:sp>
        <p:nvSpPr>
          <p:cNvPr id="6" name="Text Placeholder 5"/>
          <p:cNvSpPr>
            <a:spLocks noGrp="1"/>
          </p:cNvSpPr>
          <p:nvPr>
            <p:ph type="body" sz="quarter" idx="19" hasCustomPrompt="1"/>
          </p:nvPr>
        </p:nvSpPr>
        <p:spPr>
          <a:xfrm>
            <a:off x="3770065" y="1808521"/>
            <a:ext cx="2463190" cy="192360"/>
          </a:xfrm>
        </p:spPr>
        <p:txBody>
          <a:bodyPr lIns="0" tIns="0" rIns="0" bIns="0" anchor="ctr" anchorCtr="0"/>
          <a:lstStyle>
            <a:lvl1pPr marL="0" indent="0" algn="l">
              <a:lnSpc>
                <a:spcPct val="100000"/>
              </a:lnSpc>
              <a:buNone/>
              <a:defRPr sz="100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Country</a:t>
            </a:r>
          </a:p>
        </p:txBody>
      </p:sp>
      <p:sp>
        <p:nvSpPr>
          <p:cNvPr id="26" name="Text Placeholder 5"/>
          <p:cNvSpPr>
            <a:spLocks noGrp="1"/>
          </p:cNvSpPr>
          <p:nvPr>
            <p:ph type="body" sz="quarter" idx="20" hasCustomPrompt="1"/>
          </p:nvPr>
        </p:nvSpPr>
        <p:spPr>
          <a:xfrm>
            <a:off x="3770065" y="2020337"/>
            <a:ext cx="2463190" cy="266182"/>
          </a:xfrm>
        </p:spPr>
        <p:txBody>
          <a:bodyPr lIns="0" tIns="0" rIns="0" bIns="0" anchor="b" anchorCtr="0"/>
          <a:lstStyle>
            <a:lvl1pPr marL="0" indent="0" algn="l">
              <a:lnSpc>
                <a:spcPct val="100000"/>
              </a:lnSpc>
              <a:buNone/>
              <a:defRPr sz="1400" b="1" baseline="0">
                <a:solidFill>
                  <a:schemeClr val="tx2"/>
                </a:solidFill>
              </a:defRPr>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Name, Surname</a:t>
            </a:r>
          </a:p>
        </p:txBody>
      </p:sp>
      <p:sp>
        <p:nvSpPr>
          <p:cNvPr id="27" name="Text Placeholder 5"/>
          <p:cNvSpPr>
            <a:spLocks noGrp="1"/>
          </p:cNvSpPr>
          <p:nvPr>
            <p:ph type="body" sz="quarter" idx="21" hasCustomPrompt="1"/>
          </p:nvPr>
        </p:nvSpPr>
        <p:spPr>
          <a:xfrm>
            <a:off x="3770065" y="2316912"/>
            <a:ext cx="2463190"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Job Position</a:t>
            </a:r>
          </a:p>
        </p:txBody>
      </p:sp>
      <p:sp>
        <p:nvSpPr>
          <p:cNvPr id="28" name="Text Placeholder 5"/>
          <p:cNvSpPr>
            <a:spLocks noGrp="1"/>
          </p:cNvSpPr>
          <p:nvPr>
            <p:ph type="body" sz="quarter" idx="22" hasCustomPrompt="1"/>
          </p:nvPr>
        </p:nvSpPr>
        <p:spPr>
          <a:xfrm>
            <a:off x="4014948" y="2845588"/>
            <a:ext cx="2218307"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Phone number</a:t>
            </a:r>
          </a:p>
        </p:txBody>
      </p:sp>
      <p:sp>
        <p:nvSpPr>
          <p:cNvPr id="29" name="Text Placeholder 5"/>
          <p:cNvSpPr>
            <a:spLocks noGrp="1"/>
          </p:cNvSpPr>
          <p:nvPr>
            <p:ph type="body" sz="quarter" idx="23" hasCustomPrompt="1"/>
          </p:nvPr>
        </p:nvSpPr>
        <p:spPr>
          <a:xfrm>
            <a:off x="4014948" y="3128395"/>
            <a:ext cx="2218307"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Email address</a:t>
            </a:r>
          </a:p>
        </p:txBody>
      </p:sp>
      <p:sp>
        <p:nvSpPr>
          <p:cNvPr id="30" name="Text Placeholder 5"/>
          <p:cNvSpPr>
            <a:spLocks noGrp="1"/>
          </p:cNvSpPr>
          <p:nvPr>
            <p:ph type="body" sz="quarter" idx="24" hasCustomPrompt="1"/>
          </p:nvPr>
        </p:nvSpPr>
        <p:spPr>
          <a:xfrm>
            <a:off x="8701917" y="1808521"/>
            <a:ext cx="2463190" cy="192360"/>
          </a:xfrm>
        </p:spPr>
        <p:txBody>
          <a:bodyPr lIns="0" tIns="0" rIns="0" bIns="0" anchor="ctr" anchorCtr="0"/>
          <a:lstStyle>
            <a:lvl1pPr marL="0" indent="0" algn="l">
              <a:lnSpc>
                <a:spcPct val="100000"/>
              </a:lnSpc>
              <a:buNone/>
              <a:defRPr sz="100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Country</a:t>
            </a:r>
          </a:p>
        </p:txBody>
      </p:sp>
      <p:sp>
        <p:nvSpPr>
          <p:cNvPr id="31" name="Text Placeholder 5"/>
          <p:cNvSpPr>
            <a:spLocks noGrp="1"/>
          </p:cNvSpPr>
          <p:nvPr>
            <p:ph type="body" sz="quarter" idx="25" hasCustomPrompt="1"/>
          </p:nvPr>
        </p:nvSpPr>
        <p:spPr>
          <a:xfrm>
            <a:off x="8701917" y="2020337"/>
            <a:ext cx="2463190" cy="266182"/>
          </a:xfrm>
        </p:spPr>
        <p:txBody>
          <a:bodyPr lIns="0" tIns="0" rIns="0" bIns="0" anchor="b" anchorCtr="0"/>
          <a:lstStyle>
            <a:lvl1pPr marL="0" indent="0" algn="l">
              <a:lnSpc>
                <a:spcPct val="100000"/>
              </a:lnSpc>
              <a:buNone/>
              <a:defRPr sz="1400" b="1" baseline="0">
                <a:solidFill>
                  <a:schemeClr val="tx2"/>
                </a:solidFill>
              </a:defRPr>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Name, Surname</a:t>
            </a:r>
          </a:p>
        </p:txBody>
      </p:sp>
      <p:sp>
        <p:nvSpPr>
          <p:cNvPr id="32" name="Text Placeholder 5"/>
          <p:cNvSpPr>
            <a:spLocks noGrp="1"/>
          </p:cNvSpPr>
          <p:nvPr>
            <p:ph type="body" sz="quarter" idx="26" hasCustomPrompt="1"/>
          </p:nvPr>
        </p:nvSpPr>
        <p:spPr>
          <a:xfrm>
            <a:off x="8701917" y="2316912"/>
            <a:ext cx="2463190"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Job Position</a:t>
            </a:r>
          </a:p>
        </p:txBody>
      </p:sp>
      <p:sp>
        <p:nvSpPr>
          <p:cNvPr id="33" name="Text Placeholder 5"/>
          <p:cNvSpPr>
            <a:spLocks noGrp="1"/>
          </p:cNvSpPr>
          <p:nvPr>
            <p:ph type="body" sz="quarter" idx="27" hasCustomPrompt="1"/>
          </p:nvPr>
        </p:nvSpPr>
        <p:spPr>
          <a:xfrm>
            <a:off x="8946800" y="2845588"/>
            <a:ext cx="2218307"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Phone number</a:t>
            </a:r>
          </a:p>
        </p:txBody>
      </p:sp>
      <p:sp>
        <p:nvSpPr>
          <p:cNvPr id="34" name="Text Placeholder 5"/>
          <p:cNvSpPr>
            <a:spLocks noGrp="1"/>
          </p:cNvSpPr>
          <p:nvPr>
            <p:ph type="body" sz="quarter" idx="28" hasCustomPrompt="1"/>
          </p:nvPr>
        </p:nvSpPr>
        <p:spPr>
          <a:xfrm>
            <a:off x="8946800" y="3128395"/>
            <a:ext cx="2218307"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Email address</a:t>
            </a:r>
          </a:p>
        </p:txBody>
      </p:sp>
    </p:spTree>
    <p:extLst>
      <p:ext uri="{BB962C8B-B14F-4D97-AF65-F5344CB8AC3E}">
        <p14:creationId xmlns:p14="http://schemas.microsoft.com/office/powerpoint/2010/main" val="2041822436"/>
      </p:ext>
    </p:extLst>
  </p:cSld>
  <p:clrMapOvr>
    <a:masterClrMapping/>
  </p:clrMapOvr>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p:cSld name="Three contacts">
    <p:spTree>
      <p:nvGrpSpPr>
        <p:cNvPr id="1" name=""/>
        <p:cNvGrpSpPr/>
        <p:nvPr/>
      </p:nvGrpSpPr>
      <p:grpSpPr>
        <a:xfrm>
          <a:off x="0" y="0"/>
          <a:ext cx="0" cy="0"/>
          <a:chOff x="0" y="0"/>
          <a:chExt cx="0" cy="0"/>
        </a:xfrm>
      </p:grpSpPr>
      <p:sp>
        <p:nvSpPr>
          <p:cNvPr id="21" name="Date Placeholder 20"/>
          <p:cNvSpPr>
            <a:spLocks noGrp="1"/>
          </p:cNvSpPr>
          <p:nvPr>
            <p:ph type="dt" sz="half" idx="14"/>
          </p:nvPr>
        </p:nvSpPr>
        <p:spPr/>
        <p:txBody>
          <a:bodyPr/>
          <a:lstStyle/>
          <a:p>
            <a:fld id="{6580B400-49DF-489E-B82C-8D138BFCC234}" type="datetime5">
              <a:rPr lang="en-US" smtClean="0"/>
              <a:t>26-Jun-20</a:t>
            </a:fld>
            <a:endParaRPr lang="en-US"/>
          </a:p>
        </p:txBody>
      </p:sp>
      <p:sp>
        <p:nvSpPr>
          <p:cNvPr id="22" name="Footer Placeholder 21"/>
          <p:cNvSpPr>
            <a:spLocks noGrp="1"/>
          </p:cNvSpPr>
          <p:nvPr>
            <p:ph type="ftr" sz="quarter" idx="15"/>
          </p:nvPr>
        </p:nvSpPr>
        <p:spPr/>
        <p:txBody>
          <a:bodyPr/>
          <a:lstStyle/>
          <a:p>
            <a:r>
              <a:rPr lang="en-US"/>
              <a:t>Title of presentation (Insert / Header &amp; Footer / Apply to All)</a:t>
            </a:r>
            <a:endParaRPr lang="en-US" dirty="0"/>
          </a:p>
        </p:txBody>
      </p:sp>
      <p:sp>
        <p:nvSpPr>
          <p:cNvPr id="23" name="Slide Number Placeholder 22"/>
          <p:cNvSpPr>
            <a:spLocks noGrp="1"/>
          </p:cNvSpPr>
          <p:nvPr>
            <p:ph type="sldNum" sz="quarter" idx="16"/>
          </p:nvPr>
        </p:nvSpPr>
        <p:spPr/>
        <p:txBody>
          <a:bodyPr/>
          <a:lstStyle/>
          <a:p>
            <a:fld id="{5F3E29E4-0979-4FCA-B4C5-5FC6044C982A}" type="slidenum">
              <a:rPr lang="en-US" smtClean="0"/>
              <a:t>‹#›</a:t>
            </a:fld>
            <a:endParaRPr lang="en-US"/>
          </a:p>
        </p:txBody>
      </p:sp>
      <p:sp>
        <p:nvSpPr>
          <p:cNvPr id="2" name="Title 1"/>
          <p:cNvSpPr>
            <a:spLocks noGrp="1"/>
          </p:cNvSpPr>
          <p:nvPr>
            <p:ph type="title" hasCustomPrompt="1"/>
          </p:nvPr>
        </p:nvSpPr>
        <p:spPr/>
        <p:txBody>
          <a:bodyPr/>
          <a:lstStyle>
            <a:lvl1pPr>
              <a:defRPr/>
            </a:lvl1pPr>
          </a:lstStyle>
          <a:p>
            <a:r>
              <a:rPr lang="en-US" dirty="0"/>
              <a:t>Click to add contact title</a:t>
            </a:r>
          </a:p>
        </p:txBody>
      </p:sp>
      <p:sp>
        <p:nvSpPr>
          <p:cNvPr id="7" name="Subtitle 2"/>
          <p:cNvSpPr>
            <a:spLocks noGrp="1"/>
          </p:cNvSpPr>
          <p:nvPr>
            <p:ph type="subTitle" idx="13" hasCustomPrompt="1"/>
          </p:nvPr>
        </p:nvSpPr>
        <p:spPr>
          <a:xfrm>
            <a:off x="1075061" y="964671"/>
            <a:ext cx="7910158" cy="490042"/>
          </a:xfrm>
        </p:spPr>
        <p:txBody>
          <a:bodyPr wrap="none"/>
          <a:lstStyle>
            <a:lvl1pPr marL="0" indent="0" algn="l">
              <a:spcBef>
                <a:spcPts val="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grpSp>
        <p:nvGrpSpPr>
          <p:cNvPr id="8" name="Gruppieren 80">
            <a:extLst>
              <a:ext uri="{FF2B5EF4-FFF2-40B4-BE49-F238E27FC236}">
                <a16:creationId xmlns:a16="http://schemas.microsoft.com/office/drawing/2014/main" id="{6B969E7B-9C39-4443-9B02-74C1E7C5CCAC}"/>
              </a:ext>
            </a:extLst>
          </p:cNvPr>
          <p:cNvGrpSpPr/>
          <p:nvPr/>
        </p:nvGrpSpPr>
        <p:grpSpPr>
          <a:xfrm>
            <a:off x="3770065" y="2868319"/>
            <a:ext cx="171180" cy="171180"/>
            <a:chOff x="3392092" y="1841122"/>
            <a:chExt cx="646508" cy="646508"/>
          </a:xfrm>
        </p:grpSpPr>
        <p:sp>
          <p:nvSpPr>
            <p:cNvPr id="9" name="Rechteck 14">
              <a:extLst>
                <a:ext uri="{FF2B5EF4-FFF2-40B4-BE49-F238E27FC236}">
                  <a16:creationId xmlns:a16="http://schemas.microsoft.com/office/drawing/2014/main" id="{D78F58EA-5525-8D43-8295-FEA52ECF6BFA}"/>
                </a:ext>
              </a:extLst>
            </p:cNvPr>
            <p:cNvSpPr>
              <a:spLocks noChangeAspect="1"/>
            </p:cNvSpPr>
            <p:nvPr/>
          </p:nvSpPr>
          <p:spPr bwMode="gray">
            <a:xfrm>
              <a:off x="3392092" y="1841122"/>
              <a:ext cx="646508" cy="646508"/>
            </a:xfrm>
            <a:prstGeom prst="rect">
              <a:avLst/>
            </a:prstGeom>
            <a:solidFill>
              <a:srgbClr val="E55A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pPr>
              <a:endParaRPr lang="en-US" sz="1000" dirty="0">
                <a:solidFill>
                  <a:schemeClr val="tx1"/>
                </a:solidFill>
                <a:latin typeface="Arial" pitchFamily="34" charset="0"/>
                <a:cs typeface="Arial" pitchFamily="34" charset="0"/>
              </a:endParaRPr>
            </a:p>
          </p:txBody>
        </p:sp>
        <p:sp>
          <p:nvSpPr>
            <p:cNvPr id="10" name="Freeform 67">
              <a:extLst>
                <a:ext uri="{FF2B5EF4-FFF2-40B4-BE49-F238E27FC236}">
                  <a16:creationId xmlns:a16="http://schemas.microsoft.com/office/drawing/2014/main" id="{D01A6292-2776-4945-B828-483D79DC4908}"/>
                </a:ext>
              </a:extLst>
            </p:cNvPr>
            <p:cNvSpPr>
              <a:spLocks noChangeAspect="1"/>
            </p:cNvSpPr>
            <p:nvPr/>
          </p:nvSpPr>
          <p:spPr bwMode="auto">
            <a:xfrm>
              <a:off x="3546638" y="1970424"/>
              <a:ext cx="337415" cy="387905"/>
            </a:xfrm>
            <a:custGeom>
              <a:avLst/>
              <a:gdLst>
                <a:gd name="T0" fmla="*/ 573 w 1624"/>
                <a:gd name="T1" fmla="*/ 1257 h 1867"/>
                <a:gd name="T2" fmla="*/ 662 w 1624"/>
                <a:gd name="T3" fmla="*/ 1288 h 1867"/>
                <a:gd name="T4" fmla="*/ 938 w 1624"/>
                <a:gd name="T5" fmla="*/ 1051 h 1867"/>
                <a:gd name="T6" fmla="*/ 1106 w 1624"/>
                <a:gd name="T7" fmla="*/ 731 h 1867"/>
                <a:gd name="T8" fmla="*/ 1059 w 1624"/>
                <a:gd name="T9" fmla="*/ 645 h 1867"/>
                <a:gd name="T10" fmla="*/ 1001 w 1624"/>
                <a:gd name="T11" fmla="*/ 613 h 1867"/>
                <a:gd name="T12" fmla="*/ 924 w 1624"/>
                <a:gd name="T13" fmla="*/ 432 h 1867"/>
                <a:gd name="T14" fmla="*/ 1114 w 1624"/>
                <a:gd name="T15" fmla="*/ 81 h 1867"/>
                <a:gd name="T16" fmla="*/ 1287 w 1624"/>
                <a:gd name="T17" fmla="*/ 35 h 1867"/>
                <a:gd name="T18" fmla="*/ 1350 w 1624"/>
                <a:gd name="T19" fmla="*/ 69 h 1867"/>
                <a:gd name="T20" fmla="*/ 1527 w 1624"/>
                <a:gd name="T21" fmla="*/ 235 h 1867"/>
                <a:gd name="T22" fmla="*/ 1583 w 1624"/>
                <a:gd name="T23" fmla="*/ 555 h 1867"/>
                <a:gd name="T24" fmla="*/ 1172 w 1624"/>
                <a:gd name="T25" fmla="*/ 1253 h 1867"/>
                <a:gd name="T26" fmla="*/ 586 w 1624"/>
                <a:gd name="T27" fmla="*/ 1803 h 1867"/>
                <a:gd name="T28" fmla="*/ 269 w 1624"/>
                <a:gd name="T29" fmla="*/ 1807 h 1867"/>
                <a:gd name="T30" fmla="*/ 33 w 1624"/>
                <a:gd name="T31" fmla="*/ 1602 h 1867"/>
                <a:gd name="T32" fmla="*/ 2 w 1624"/>
                <a:gd name="T33" fmla="*/ 1508 h 1867"/>
                <a:gd name="T34" fmla="*/ 45 w 1624"/>
                <a:gd name="T35" fmla="*/ 1421 h 1867"/>
                <a:gd name="T36" fmla="*/ 346 w 1624"/>
                <a:gd name="T37" fmla="*/ 1158 h 1867"/>
                <a:gd name="T38" fmla="*/ 448 w 1624"/>
                <a:gd name="T39" fmla="*/ 1145 h 1867"/>
                <a:gd name="T40" fmla="*/ 573 w 1624"/>
                <a:gd name="T41" fmla="*/ 1257 h 18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24" h="1867">
                  <a:moveTo>
                    <a:pt x="573" y="1257"/>
                  </a:moveTo>
                  <a:cubicBezTo>
                    <a:pt x="592" y="1282"/>
                    <a:pt x="630" y="1303"/>
                    <a:pt x="662" y="1288"/>
                  </a:cubicBezTo>
                  <a:cubicBezTo>
                    <a:pt x="753" y="1245"/>
                    <a:pt x="854" y="1156"/>
                    <a:pt x="938" y="1051"/>
                  </a:cubicBezTo>
                  <a:cubicBezTo>
                    <a:pt x="1020" y="948"/>
                    <a:pt x="1084" y="831"/>
                    <a:pt x="1106" y="731"/>
                  </a:cubicBezTo>
                  <a:cubicBezTo>
                    <a:pt x="1113" y="696"/>
                    <a:pt x="1089" y="661"/>
                    <a:pt x="1059" y="645"/>
                  </a:cubicBezTo>
                  <a:cubicBezTo>
                    <a:pt x="1001" y="613"/>
                    <a:pt x="1001" y="613"/>
                    <a:pt x="1001" y="613"/>
                  </a:cubicBezTo>
                  <a:cubicBezTo>
                    <a:pt x="942" y="580"/>
                    <a:pt x="888" y="499"/>
                    <a:pt x="924" y="432"/>
                  </a:cubicBezTo>
                  <a:cubicBezTo>
                    <a:pt x="1114" y="81"/>
                    <a:pt x="1114" y="81"/>
                    <a:pt x="1114" y="81"/>
                  </a:cubicBezTo>
                  <a:cubicBezTo>
                    <a:pt x="1150" y="16"/>
                    <a:pt x="1224" y="0"/>
                    <a:pt x="1287" y="35"/>
                  </a:cubicBezTo>
                  <a:cubicBezTo>
                    <a:pt x="1350" y="69"/>
                    <a:pt x="1350" y="69"/>
                    <a:pt x="1350" y="69"/>
                  </a:cubicBezTo>
                  <a:cubicBezTo>
                    <a:pt x="1415" y="105"/>
                    <a:pt x="1479" y="165"/>
                    <a:pt x="1527" y="235"/>
                  </a:cubicBezTo>
                  <a:cubicBezTo>
                    <a:pt x="1593" y="332"/>
                    <a:pt x="1624" y="442"/>
                    <a:pt x="1583" y="555"/>
                  </a:cubicBezTo>
                  <a:cubicBezTo>
                    <a:pt x="1500" y="781"/>
                    <a:pt x="1351" y="1030"/>
                    <a:pt x="1172" y="1253"/>
                  </a:cubicBezTo>
                  <a:cubicBezTo>
                    <a:pt x="994" y="1477"/>
                    <a:pt x="786" y="1676"/>
                    <a:pt x="586" y="1803"/>
                  </a:cubicBezTo>
                  <a:cubicBezTo>
                    <a:pt x="486" y="1867"/>
                    <a:pt x="375" y="1856"/>
                    <a:pt x="269" y="1807"/>
                  </a:cubicBezTo>
                  <a:cubicBezTo>
                    <a:pt x="157" y="1755"/>
                    <a:pt x="106" y="1695"/>
                    <a:pt x="33" y="1602"/>
                  </a:cubicBezTo>
                  <a:cubicBezTo>
                    <a:pt x="11" y="1573"/>
                    <a:pt x="0" y="1540"/>
                    <a:pt x="2" y="1508"/>
                  </a:cubicBezTo>
                  <a:cubicBezTo>
                    <a:pt x="4" y="1475"/>
                    <a:pt x="18" y="1444"/>
                    <a:pt x="45" y="1421"/>
                  </a:cubicBezTo>
                  <a:cubicBezTo>
                    <a:pt x="70" y="1399"/>
                    <a:pt x="346" y="1158"/>
                    <a:pt x="346" y="1158"/>
                  </a:cubicBezTo>
                  <a:cubicBezTo>
                    <a:pt x="376" y="1134"/>
                    <a:pt x="413" y="1133"/>
                    <a:pt x="448" y="1145"/>
                  </a:cubicBezTo>
                  <a:cubicBezTo>
                    <a:pt x="510" y="1166"/>
                    <a:pt x="536" y="1210"/>
                    <a:pt x="573" y="1257"/>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351" dirty="0"/>
            </a:p>
          </p:txBody>
        </p:sp>
      </p:grpSp>
      <p:grpSp>
        <p:nvGrpSpPr>
          <p:cNvPr id="11" name="Group 3">
            <a:extLst>
              <a:ext uri="{FF2B5EF4-FFF2-40B4-BE49-F238E27FC236}">
                <a16:creationId xmlns:a16="http://schemas.microsoft.com/office/drawing/2014/main" id="{DED6A25A-5DE2-1441-8BA2-C68D3B4F9209}"/>
              </a:ext>
            </a:extLst>
          </p:cNvPr>
          <p:cNvGrpSpPr>
            <a:grpSpLocks noChangeAspect="1"/>
          </p:cNvGrpSpPr>
          <p:nvPr>
            <p:custDataLst>
              <p:tags r:id="rId1"/>
            </p:custDataLst>
          </p:nvPr>
        </p:nvGrpSpPr>
        <p:grpSpPr>
          <a:xfrm>
            <a:off x="3770066" y="3153207"/>
            <a:ext cx="171180" cy="171180"/>
            <a:chOff x="328396" y="5313940"/>
            <a:chExt cx="720000" cy="720000"/>
          </a:xfrm>
        </p:grpSpPr>
        <p:sp>
          <p:nvSpPr>
            <p:cNvPr id="12" name="Rectangle 4">
              <a:extLst>
                <a:ext uri="{FF2B5EF4-FFF2-40B4-BE49-F238E27FC236}">
                  <a16:creationId xmlns:a16="http://schemas.microsoft.com/office/drawing/2014/main" id="{5F49E67F-D4FA-9D48-96BC-59AE946ECD15}"/>
                </a:ext>
              </a:extLst>
            </p:cNvPr>
            <p:cNvSpPr/>
            <p:nvPr/>
          </p:nvSpPr>
          <p:spPr bwMode="gray">
            <a:xfrm>
              <a:off x="328396" y="5313940"/>
              <a:ext cx="720000" cy="720000"/>
            </a:xfrm>
            <a:prstGeom prst="rect">
              <a:avLst/>
            </a:prstGeom>
            <a:solidFill>
              <a:srgbClr val="E55A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pPr>
              <a:endParaRPr lang="en-US" sz="1000" dirty="0">
                <a:solidFill>
                  <a:schemeClr val="tx1"/>
                </a:solidFill>
                <a:latin typeface="Arial" pitchFamily="34" charset="0"/>
                <a:cs typeface="Arial" pitchFamily="34" charset="0"/>
              </a:endParaRPr>
            </a:p>
          </p:txBody>
        </p:sp>
        <p:sp>
          <p:nvSpPr>
            <p:cNvPr id="13" name="Freeform 76">
              <a:extLst>
                <a:ext uri="{FF2B5EF4-FFF2-40B4-BE49-F238E27FC236}">
                  <a16:creationId xmlns:a16="http://schemas.microsoft.com/office/drawing/2014/main" id="{187E70E6-AF3F-2549-908E-DF4BA61040AA}"/>
                </a:ext>
              </a:extLst>
            </p:cNvPr>
            <p:cNvSpPr>
              <a:spLocks noChangeAspect="1" noEditPoints="1"/>
            </p:cNvSpPr>
            <p:nvPr/>
          </p:nvSpPr>
          <p:spPr bwMode="auto">
            <a:xfrm>
              <a:off x="456202" y="5509222"/>
              <a:ext cx="504000" cy="329436"/>
            </a:xfrm>
            <a:custGeom>
              <a:avLst/>
              <a:gdLst>
                <a:gd name="T0" fmla="*/ 0 w 2080"/>
                <a:gd name="T1" fmla="*/ 65 h 1360"/>
                <a:gd name="T2" fmla="*/ 0 w 2080"/>
                <a:gd name="T3" fmla="*/ 0 h 1360"/>
                <a:gd name="T4" fmla="*/ 2080 w 2080"/>
                <a:gd name="T5" fmla="*/ 0 h 1360"/>
                <a:gd name="T6" fmla="*/ 2080 w 2080"/>
                <a:gd name="T7" fmla="*/ 65 h 1360"/>
                <a:gd name="T8" fmla="*/ 1089 w 2080"/>
                <a:gd name="T9" fmla="*/ 862 h 1360"/>
                <a:gd name="T10" fmla="*/ 991 w 2080"/>
                <a:gd name="T11" fmla="*/ 862 h 1360"/>
                <a:gd name="T12" fmla="*/ 0 w 2080"/>
                <a:gd name="T13" fmla="*/ 65 h 1360"/>
                <a:gd name="T14" fmla="*/ 1139 w 2080"/>
                <a:gd name="T15" fmla="*/ 924 h 1360"/>
                <a:gd name="T16" fmla="*/ 1282 w 2080"/>
                <a:gd name="T17" fmla="*/ 810 h 1360"/>
                <a:gd name="T18" fmla="*/ 2076 w 2080"/>
                <a:gd name="T19" fmla="*/ 1360 h 1360"/>
                <a:gd name="T20" fmla="*/ 4 w 2080"/>
                <a:gd name="T21" fmla="*/ 1360 h 1360"/>
                <a:gd name="T22" fmla="*/ 798 w 2080"/>
                <a:gd name="T23" fmla="*/ 810 h 1360"/>
                <a:gd name="T24" fmla="*/ 941 w 2080"/>
                <a:gd name="T25" fmla="*/ 924 h 1360"/>
                <a:gd name="T26" fmla="*/ 1139 w 2080"/>
                <a:gd name="T27" fmla="*/ 924 h 1360"/>
                <a:gd name="T28" fmla="*/ 2 w 2080"/>
                <a:gd name="T29" fmla="*/ 137 h 1360"/>
                <a:gd name="T30" fmla="*/ 42 w 2080"/>
                <a:gd name="T31" fmla="*/ 201 h 1360"/>
                <a:gd name="T32" fmla="*/ 734 w 2080"/>
                <a:gd name="T33" fmla="*/ 758 h 1360"/>
                <a:gd name="T34" fmla="*/ 0 w 2080"/>
                <a:gd name="T35" fmla="*/ 1266 h 1360"/>
                <a:gd name="T36" fmla="*/ 0 w 2080"/>
                <a:gd name="T37" fmla="*/ 135 h 1360"/>
                <a:gd name="T38" fmla="*/ 2 w 2080"/>
                <a:gd name="T39" fmla="*/ 137 h 1360"/>
                <a:gd name="T40" fmla="*/ 2080 w 2080"/>
                <a:gd name="T41" fmla="*/ 136 h 1360"/>
                <a:gd name="T42" fmla="*/ 2080 w 2080"/>
                <a:gd name="T43" fmla="*/ 1265 h 1360"/>
                <a:gd name="T44" fmla="*/ 1346 w 2080"/>
                <a:gd name="T45" fmla="*/ 758 h 1360"/>
                <a:gd name="T46" fmla="*/ 2038 w 2080"/>
                <a:gd name="T47" fmla="*/ 201 h 1360"/>
                <a:gd name="T48" fmla="*/ 2080 w 2080"/>
                <a:gd name="T49" fmla="*/ 136 h 1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080" h="1360">
                  <a:moveTo>
                    <a:pt x="0" y="65"/>
                  </a:moveTo>
                  <a:cubicBezTo>
                    <a:pt x="0" y="0"/>
                    <a:pt x="0" y="0"/>
                    <a:pt x="0" y="0"/>
                  </a:cubicBezTo>
                  <a:cubicBezTo>
                    <a:pt x="2080" y="0"/>
                    <a:pt x="2080" y="0"/>
                    <a:pt x="2080" y="0"/>
                  </a:cubicBezTo>
                  <a:cubicBezTo>
                    <a:pt x="2080" y="65"/>
                    <a:pt x="2080" y="65"/>
                    <a:pt x="2080" y="65"/>
                  </a:cubicBezTo>
                  <a:cubicBezTo>
                    <a:pt x="1089" y="862"/>
                    <a:pt x="1089" y="862"/>
                    <a:pt x="1089" y="862"/>
                  </a:cubicBezTo>
                  <a:cubicBezTo>
                    <a:pt x="1060" y="886"/>
                    <a:pt x="1020" y="886"/>
                    <a:pt x="991" y="862"/>
                  </a:cubicBezTo>
                  <a:lnTo>
                    <a:pt x="0" y="65"/>
                  </a:lnTo>
                  <a:close/>
                  <a:moveTo>
                    <a:pt x="1139" y="924"/>
                  </a:moveTo>
                  <a:cubicBezTo>
                    <a:pt x="1282" y="810"/>
                    <a:pt x="1282" y="810"/>
                    <a:pt x="1282" y="810"/>
                  </a:cubicBezTo>
                  <a:cubicBezTo>
                    <a:pt x="2076" y="1360"/>
                    <a:pt x="2076" y="1360"/>
                    <a:pt x="2076" y="1360"/>
                  </a:cubicBezTo>
                  <a:cubicBezTo>
                    <a:pt x="4" y="1360"/>
                    <a:pt x="4" y="1360"/>
                    <a:pt x="4" y="1360"/>
                  </a:cubicBezTo>
                  <a:cubicBezTo>
                    <a:pt x="798" y="810"/>
                    <a:pt x="798" y="810"/>
                    <a:pt x="798" y="810"/>
                  </a:cubicBezTo>
                  <a:cubicBezTo>
                    <a:pt x="941" y="924"/>
                    <a:pt x="941" y="924"/>
                    <a:pt x="941" y="924"/>
                  </a:cubicBezTo>
                  <a:cubicBezTo>
                    <a:pt x="1000" y="972"/>
                    <a:pt x="1080" y="972"/>
                    <a:pt x="1139" y="924"/>
                  </a:cubicBezTo>
                  <a:close/>
                  <a:moveTo>
                    <a:pt x="2" y="137"/>
                  </a:moveTo>
                  <a:cubicBezTo>
                    <a:pt x="8" y="163"/>
                    <a:pt x="22" y="185"/>
                    <a:pt x="42" y="201"/>
                  </a:cubicBezTo>
                  <a:cubicBezTo>
                    <a:pt x="734" y="758"/>
                    <a:pt x="734" y="758"/>
                    <a:pt x="734" y="758"/>
                  </a:cubicBezTo>
                  <a:cubicBezTo>
                    <a:pt x="0" y="1266"/>
                    <a:pt x="0" y="1266"/>
                    <a:pt x="0" y="1266"/>
                  </a:cubicBezTo>
                  <a:cubicBezTo>
                    <a:pt x="0" y="135"/>
                    <a:pt x="0" y="135"/>
                    <a:pt x="0" y="135"/>
                  </a:cubicBezTo>
                  <a:lnTo>
                    <a:pt x="2" y="137"/>
                  </a:lnTo>
                  <a:close/>
                  <a:moveTo>
                    <a:pt x="2080" y="136"/>
                  </a:moveTo>
                  <a:cubicBezTo>
                    <a:pt x="2080" y="1265"/>
                    <a:pt x="2080" y="1265"/>
                    <a:pt x="2080" y="1265"/>
                  </a:cubicBezTo>
                  <a:cubicBezTo>
                    <a:pt x="1346" y="758"/>
                    <a:pt x="1346" y="758"/>
                    <a:pt x="1346" y="758"/>
                  </a:cubicBezTo>
                  <a:cubicBezTo>
                    <a:pt x="2038" y="201"/>
                    <a:pt x="2038" y="201"/>
                    <a:pt x="2038" y="201"/>
                  </a:cubicBezTo>
                  <a:cubicBezTo>
                    <a:pt x="2060" y="182"/>
                    <a:pt x="2072" y="162"/>
                    <a:pt x="2080" y="13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000"/>
            </a:p>
          </p:txBody>
        </p:sp>
      </p:grpSp>
      <p:grpSp>
        <p:nvGrpSpPr>
          <p:cNvPr id="14" name="Gruppieren 2">
            <a:extLst>
              <a:ext uri="{FF2B5EF4-FFF2-40B4-BE49-F238E27FC236}">
                <a16:creationId xmlns:a16="http://schemas.microsoft.com/office/drawing/2014/main" id="{BE697CE9-EBDE-6B4A-BE70-582D92A8A831}"/>
              </a:ext>
            </a:extLst>
          </p:cNvPr>
          <p:cNvGrpSpPr/>
          <p:nvPr/>
        </p:nvGrpSpPr>
        <p:grpSpPr>
          <a:xfrm>
            <a:off x="8701917" y="2868319"/>
            <a:ext cx="171180" cy="171180"/>
            <a:chOff x="3392092" y="1841122"/>
            <a:chExt cx="646508" cy="646508"/>
          </a:xfrm>
        </p:grpSpPr>
        <p:sp>
          <p:nvSpPr>
            <p:cNvPr id="15" name="Rechteck 14">
              <a:extLst>
                <a:ext uri="{FF2B5EF4-FFF2-40B4-BE49-F238E27FC236}">
                  <a16:creationId xmlns:a16="http://schemas.microsoft.com/office/drawing/2014/main" id="{E142A731-19B7-C34D-9534-9E05108F895F}"/>
                </a:ext>
              </a:extLst>
            </p:cNvPr>
            <p:cNvSpPr>
              <a:spLocks noChangeAspect="1"/>
            </p:cNvSpPr>
            <p:nvPr/>
          </p:nvSpPr>
          <p:spPr bwMode="gray">
            <a:xfrm>
              <a:off x="3392092" y="1841122"/>
              <a:ext cx="646508" cy="646508"/>
            </a:xfrm>
            <a:prstGeom prst="rect">
              <a:avLst/>
            </a:prstGeom>
            <a:solidFill>
              <a:srgbClr val="E55A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pPr>
              <a:endParaRPr lang="en-US" sz="1000" dirty="0">
                <a:solidFill>
                  <a:schemeClr val="tx1"/>
                </a:solidFill>
                <a:latin typeface="Arial" pitchFamily="34" charset="0"/>
                <a:cs typeface="Arial" pitchFamily="34" charset="0"/>
              </a:endParaRPr>
            </a:p>
          </p:txBody>
        </p:sp>
        <p:sp>
          <p:nvSpPr>
            <p:cNvPr id="16" name="Freeform 15">
              <a:extLst>
                <a:ext uri="{FF2B5EF4-FFF2-40B4-BE49-F238E27FC236}">
                  <a16:creationId xmlns:a16="http://schemas.microsoft.com/office/drawing/2014/main" id="{F97E84AE-4AD9-4B44-9AA1-F797FC373809}"/>
                </a:ext>
              </a:extLst>
            </p:cNvPr>
            <p:cNvSpPr>
              <a:spLocks noChangeAspect="1"/>
            </p:cNvSpPr>
            <p:nvPr/>
          </p:nvSpPr>
          <p:spPr bwMode="auto">
            <a:xfrm>
              <a:off x="3546638" y="1970424"/>
              <a:ext cx="337415" cy="387905"/>
            </a:xfrm>
            <a:custGeom>
              <a:avLst/>
              <a:gdLst>
                <a:gd name="T0" fmla="*/ 573 w 1624"/>
                <a:gd name="T1" fmla="*/ 1257 h 1867"/>
                <a:gd name="T2" fmla="*/ 662 w 1624"/>
                <a:gd name="T3" fmla="*/ 1288 h 1867"/>
                <a:gd name="T4" fmla="*/ 938 w 1624"/>
                <a:gd name="T5" fmla="*/ 1051 h 1867"/>
                <a:gd name="T6" fmla="*/ 1106 w 1624"/>
                <a:gd name="T7" fmla="*/ 731 h 1867"/>
                <a:gd name="T8" fmla="*/ 1059 w 1624"/>
                <a:gd name="T9" fmla="*/ 645 h 1867"/>
                <a:gd name="T10" fmla="*/ 1001 w 1624"/>
                <a:gd name="T11" fmla="*/ 613 h 1867"/>
                <a:gd name="T12" fmla="*/ 924 w 1624"/>
                <a:gd name="T13" fmla="*/ 432 h 1867"/>
                <a:gd name="T14" fmla="*/ 1114 w 1624"/>
                <a:gd name="T15" fmla="*/ 81 h 1867"/>
                <a:gd name="T16" fmla="*/ 1287 w 1624"/>
                <a:gd name="T17" fmla="*/ 35 h 1867"/>
                <a:gd name="T18" fmla="*/ 1350 w 1624"/>
                <a:gd name="T19" fmla="*/ 69 h 1867"/>
                <a:gd name="T20" fmla="*/ 1527 w 1624"/>
                <a:gd name="T21" fmla="*/ 235 h 1867"/>
                <a:gd name="T22" fmla="*/ 1583 w 1624"/>
                <a:gd name="T23" fmla="*/ 555 h 1867"/>
                <a:gd name="T24" fmla="*/ 1172 w 1624"/>
                <a:gd name="T25" fmla="*/ 1253 h 1867"/>
                <a:gd name="T26" fmla="*/ 586 w 1624"/>
                <a:gd name="T27" fmla="*/ 1803 h 1867"/>
                <a:gd name="T28" fmla="*/ 269 w 1624"/>
                <a:gd name="T29" fmla="*/ 1807 h 1867"/>
                <a:gd name="T30" fmla="*/ 33 w 1624"/>
                <a:gd name="T31" fmla="*/ 1602 h 1867"/>
                <a:gd name="T32" fmla="*/ 2 w 1624"/>
                <a:gd name="T33" fmla="*/ 1508 h 1867"/>
                <a:gd name="T34" fmla="*/ 45 w 1624"/>
                <a:gd name="T35" fmla="*/ 1421 h 1867"/>
                <a:gd name="T36" fmla="*/ 346 w 1624"/>
                <a:gd name="T37" fmla="*/ 1158 h 1867"/>
                <a:gd name="T38" fmla="*/ 448 w 1624"/>
                <a:gd name="T39" fmla="*/ 1145 h 1867"/>
                <a:gd name="T40" fmla="*/ 573 w 1624"/>
                <a:gd name="T41" fmla="*/ 1257 h 18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24" h="1867">
                  <a:moveTo>
                    <a:pt x="573" y="1257"/>
                  </a:moveTo>
                  <a:cubicBezTo>
                    <a:pt x="592" y="1282"/>
                    <a:pt x="630" y="1303"/>
                    <a:pt x="662" y="1288"/>
                  </a:cubicBezTo>
                  <a:cubicBezTo>
                    <a:pt x="753" y="1245"/>
                    <a:pt x="854" y="1156"/>
                    <a:pt x="938" y="1051"/>
                  </a:cubicBezTo>
                  <a:cubicBezTo>
                    <a:pt x="1020" y="948"/>
                    <a:pt x="1084" y="831"/>
                    <a:pt x="1106" y="731"/>
                  </a:cubicBezTo>
                  <a:cubicBezTo>
                    <a:pt x="1113" y="696"/>
                    <a:pt x="1089" y="661"/>
                    <a:pt x="1059" y="645"/>
                  </a:cubicBezTo>
                  <a:cubicBezTo>
                    <a:pt x="1001" y="613"/>
                    <a:pt x="1001" y="613"/>
                    <a:pt x="1001" y="613"/>
                  </a:cubicBezTo>
                  <a:cubicBezTo>
                    <a:pt x="942" y="580"/>
                    <a:pt x="888" y="499"/>
                    <a:pt x="924" y="432"/>
                  </a:cubicBezTo>
                  <a:cubicBezTo>
                    <a:pt x="1114" y="81"/>
                    <a:pt x="1114" y="81"/>
                    <a:pt x="1114" y="81"/>
                  </a:cubicBezTo>
                  <a:cubicBezTo>
                    <a:pt x="1150" y="16"/>
                    <a:pt x="1224" y="0"/>
                    <a:pt x="1287" y="35"/>
                  </a:cubicBezTo>
                  <a:cubicBezTo>
                    <a:pt x="1350" y="69"/>
                    <a:pt x="1350" y="69"/>
                    <a:pt x="1350" y="69"/>
                  </a:cubicBezTo>
                  <a:cubicBezTo>
                    <a:pt x="1415" y="105"/>
                    <a:pt x="1479" y="165"/>
                    <a:pt x="1527" y="235"/>
                  </a:cubicBezTo>
                  <a:cubicBezTo>
                    <a:pt x="1593" y="332"/>
                    <a:pt x="1624" y="442"/>
                    <a:pt x="1583" y="555"/>
                  </a:cubicBezTo>
                  <a:cubicBezTo>
                    <a:pt x="1500" y="781"/>
                    <a:pt x="1351" y="1030"/>
                    <a:pt x="1172" y="1253"/>
                  </a:cubicBezTo>
                  <a:cubicBezTo>
                    <a:pt x="994" y="1477"/>
                    <a:pt x="786" y="1676"/>
                    <a:pt x="586" y="1803"/>
                  </a:cubicBezTo>
                  <a:cubicBezTo>
                    <a:pt x="486" y="1867"/>
                    <a:pt x="375" y="1856"/>
                    <a:pt x="269" y="1807"/>
                  </a:cubicBezTo>
                  <a:cubicBezTo>
                    <a:pt x="157" y="1755"/>
                    <a:pt x="106" y="1695"/>
                    <a:pt x="33" y="1602"/>
                  </a:cubicBezTo>
                  <a:cubicBezTo>
                    <a:pt x="11" y="1573"/>
                    <a:pt x="0" y="1540"/>
                    <a:pt x="2" y="1508"/>
                  </a:cubicBezTo>
                  <a:cubicBezTo>
                    <a:pt x="4" y="1475"/>
                    <a:pt x="18" y="1444"/>
                    <a:pt x="45" y="1421"/>
                  </a:cubicBezTo>
                  <a:cubicBezTo>
                    <a:pt x="70" y="1399"/>
                    <a:pt x="346" y="1158"/>
                    <a:pt x="346" y="1158"/>
                  </a:cubicBezTo>
                  <a:cubicBezTo>
                    <a:pt x="376" y="1134"/>
                    <a:pt x="413" y="1133"/>
                    <a:pt x="448" y="1145"/>
                  </a:cubicBezTo>
                  <a:cubicBezTo>
                    <a:pt x="510" y="1166"/>
                    <a:pt x="536" y="1210"/>
                    <a:pt x="573" y="1257"/>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351" dirty="0"/>
            </a:p>
          </p:txBody>
        </p:sp>
      </p:grpSp>
      <p:grpSp>
        <p:nvGrpSpPr>
          <p:cNvPr id="17" name="Group 3">
            <a:extLst>
              <a:ext uri="{FF2B5EF4-FFF2-40B4-BE49-F238E27FC236}">
                <a16:creationId xmlns:a16="http://schemas.microsoft.com/office/drawing/2014/main" id="{7104BADD-8CD1-6F4A-B894-869C3BDB3EEB}"/>
              </a:ext>
            </a:extLst>
          </p:cNvPr>
          <p:cNvGrpSpPr>
            <a:grpSpLocks noChangeAspect="1"/>
          </p:cNvGrpSpPr>
          <p:nvPr>
            <p:custDataLst>
              <p:tags r:id="rId2"/>
            </p:custDataLst>
          </p:nvPr>
        </p:nvGrpSpPr>
        <p:grpSpPr>
          <a:xfrm>
            <a:off x="8701918" y="3153207"/>
            <a:ext cx="171180" cy="171180"/>
            <a:chOff x="328396" y="5313940"/>
            <a:chExt cx="720000" cy="720000"/>
          </a:xfrm>
        </p:grpSpPr>
        <p:sp>
          <p:nvSpPr>
            <p:cNvPr id="18" name="Rectangle 4">
              <a:extLst>
                <a:ext uri="{FF2B5EF4-FFF2-40B4-BE49-F238E27FC236}">
                  <a16:creationId xmlns:a16="http://schemas.microsoft.com/office/drawing/2014/main" id="{74BE3D5F-1445-6E40-8B49-72E15568383B}"/>
                </a:ext>
              </a:extLst>
            </p:cNvPr>
            <p:cNvSpPr/>
            <p:nvPr/>
          </p:nvSpPr>
          <p:spPr bwMode="gray">
            <a:xfrm>
              <a:off x="328396" y="5313940"/>
              <a:ext cx="720000" cy="720000"/>
            </a:xfrm>
            <a:prstGeom prst="rect">
              <a:avLst/>
            </a:prstGeom>
            <a:solidFill>
              <a:srgbClr val="E55A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pPr>
              <a:endParaRPr lang="en-US" sz="1000" dirty="0">
                <a:solidFill>
                  <a:schemeClr val="tx1"/>
                </a:solidFill>
                <a:latin typeface="Arial" pitchFamily="34" charset="0"/>
                <a:cs typeface="Arial" pitchFamily="34" charset="0"/>
              </a:endParaRPr>
            </a:p>
          </p:txBody>
        </p:sp>
        <p:sp>
          <p:nvSpPr>
            <p:cNvPr id="19" name="Freeform 76">
              <a:extLst>
                <a:ext uri="{FF2B5EF4-FFF2-40B4-BE49-F238E27FC236}">
                  <a16:creationId xmlns:a16="http://schemas.microsoft.com/office/drawing/2014/main" id="{55DB3C95-7D0C-D141-901E-96D692794D2B}"/>
                </a:ext>
              </a:extLst>
            </p:cNvPr>
            <p:cNvSpPr>
              <a:spLocks noChangeAspect="1" noEditPoints="1"/>
            </p:cNvSpPr>
            <p:nvPr/>
          </p:nvSpPr>
          <p:spPr bwMode="auto">
            <a:xfrm>
              <a:off x="456202" y="5509222"/>
              <a:ext cx="504000" cy="329436"/>
            </a:xfrm>
            <a:custGeom>
              <a:avLst/>
              <a:gdLst>
                <a:gd name="T0" fmla="*/ 0 w 2080"/>
                <a:gd name="T1" fmla="*/ 65 h 1360"/>
                <a:gd name="T2" fmla="*/ 0 w 2080"/>
                <a:gd name="T3" fmla="*/ 0 h 1360"/>
                <a:gd name="T4" fmla="*/ 2080 w 2080"/>
                <a:gd name="T5" fmla="*/ 0 h 1360"/>
                <a:gd name="T6" fmla="*/ 2080 w 2080"/>
                <a:gd name="T7" fmla="*/ 65 h 1360"/>
                <a:gd name="T8" fmla="*/ 1089 w 2080"/>
                <a:gd name="T9" fmla="*/ 862 h 1360"/>
                <a:gd name="T10" fmla="*/ 991 w 2080"/>
                <a:gd name="T11" fmla="*/ 862 h 1360"/>
                <a:gd name="T12" fmla="*/ 0 w 2080"/>
                <a:gd name="T13" fmla="*/ 65 h 1360"/>
                <a:gd name="T14" fmla="*/ 1139 w 2080"/>
                <a:gd name="T15" fmla="*/ 924 h 1360"/>
                <a:gd name="T16" fmla="*/ 1282 w 2080"/>
                <a:gd name="T17" fmla="*/ 810 h 1360"/>
                <a:gd name="T18" fmla="*/ 2076 w 2080"/>
                <a:gd name="T19" fmla="*/ 1360 h 1360"/>
                <a:gd name="T20" fmla="*/ 4 w 2080"/>
                <a:gd name="T21" fmla="*/ 1360 h 1360"/>
                <a:gd name="T22" fmla="*/ 798 w 2080"/>
                <a:gd name="T23" fmla="*/ 810 h 1360"/>
                <a:gd name="T24" fmla="*/ 941 w 2080"/>
                <a:gd name="T25" fmla="*/ 924 h 1360"/>
                <a:gd name="T26" fmla="*/ 1139 w 2080"/>
                <a:gd name="T27" fmla="*/ 924 h 1360"/>
                <a:gd name="T28" fmla="*/ 2 w 2080"/>
                <a:gd name="T29" fmla="*/ 137 h 1360"/>
                <a:gd name="T30" fmla="*/ 42 w 2080"/>
                <a:gd name="T31" fmla="*/ 201 h 1360"/>
                <a:gd name="T32" fmla="*/ 734 w 2080"/>
                <a:gd name="T33" fmla="*/ 758 h 1360"/>
                <a:gd name="T34" fmla="*/ 0 w 2080"/>
                <a:gd name="T35" fmla="*/ 1266 h 1360"/>
                <a:gd name="T36" fmla="*/ 0 w 2080"/>
                <a:gd name="T37" fmla="*/ 135 h 1360"/>
                <a:gd name="T38" fmla="*/ 2 w 2080"/>
                <a:gd name="T39" fmla="*/ 137 h 1360"/>
                <a:gd name="T40" fmla="*/ 2080 w 2080"/>
                <a:gd name="T41" fmla="*/ 136 h 1360"/>
                <a:gd name="T42" fmla="*/ 2080 w 2080"/>
                <a:gd name="T43" fmla="*/ 1265 h 1360"/>
                <a:gd name="T44" fmla="*/ 1346 w 2080"/>
                <a:gd name="T45" fmla="*/ 758 h 1360"/>
                <a:gd name="T46" fmla="*/ 2038 w 2080"/>
                <a:gd name="T47" fmla="*/ 201 h 1360"/>
                <a:gd name="T48" fmla="*/ 2080 w 2080"/>
                <a:gd name="T49" fmla="*/ 136 h 1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080" h="1360">
                  <a:moveTo>
                    <a:pt x="0" y="65"/>
                  </a:moveTo>
                  <a:cubicBezTo>
                    <a:pt x="0" y="0"/>
                    <a:pt x="0" y="0"/>
                    <a:pt x="0" y="0"/>
                  </a:cubicBezTo>
                  <a:cubicBezTo>
                    <a:pt x="2080" y="0"/>
                    <a:pt x="2080" y="0"/>
                    <a:pt x="2080" y="0"/>
                  </a:cubicBezTo>
                  <a:cubicBezTo>
                    <a:pt x="2080" y="65"/>
                    <a:pt x="2080" y="65"/>
                    <a:pt x="2080" y="65"/>
                  </a:cubicBezTo>
                  <a:cubicBezTo>
                    <a:pt x="1089" y="862"/>
                    <a:pt x="1089" y="862"/>
                    <a:pt x="1089" y="862"/>
                  </a:cubicBezTo>
                  <a:cubicBezTo>
                    <a:pt x="1060" y="886"/>
                    <a:pt x="1020" y="886"/>
                    <a:pt x="991" y="862"/>
                  </a:cubicBezTo>
                  <a:lnTo>
                    <a:pt x="0" y="65"/>
                  </a:lnTo>
                  <a:close/>
                  <a:moveTo>
                    <a:pt x="1139" y="924"/>
                  </a:moveTo>
                  <a:cubicBezTo>
                    <a:pt x="1282" y="810"/>
                    <a:pt x="1282" y="810"/>
                    <a:pt x="1282" y="810"/>
                  </a:cubicBezTo>
                  <a:cubicBezTo>
                    <a:pt x="2076" y="1360"/>
                    <a:pt x="2076" y="1360"/>
                    <a:pt x="2076" y="1360"/>
                  </a:cubicBezTo>
                  <a:cubicBezTo>
                    <a:pt x="4" y="1360"/>
                    <a:pt x="4" y="1360"/>
                    <a:pt x="4" y="1360"/>
                  </a:cubicBezTo>
                  <a:cubicBezTo>
                    <a:pt x="798" y="810"/>
                    <a:pt x="798" y="810"/>
                    <a:pt x="798" y="810"/>
                  </a:cubicBezTo>
                  <a:cubicBezTo>
                    <a:pt x="941" y="924"/>
                    <a:pt x="941" y="924"/>
                    <a:pt x="941" y="924"/>
                  </a:cubicBezTo>
                  <a:cubicBezTo>
                    <a:pt x="1000" y="972"/>
                    <a:pt x="1080" y="972"/>
                    <a:pt x="1139" y="924"/>
                  </a:cubicBezTo>
                  <a:close/>
                  <a:moveTo>
                    <a:pt x="2" y="137"/>
                  </a:moveTo>
                  <a:cubicBezTo>
                    <a:pt x="8" y="163"/>
                    <a:pt x="22" y="185"/>
                    <a:pt x="42" y="201"/>
                  </a:cubicBezTo>
                  <a:cubicBezTo>
                    <a:pt x="734" y="758"/>
                    <a:pt x="734" y="758"/>
                    <a:pt x="734" y="758"/>
                  </a:cubicBezTo>
                  <a:cubicBezTo>
                    <a:pt x="0" y="1266"/>
                    <a:pt x="0" y="1266"/>
                    <a:pt x="0" y="1266"/>
                  </a:cubicBezTo>
                  <a:cubicBezTo>
                    <a:pt x="0" y="135"/>
                    <a:pt x="0" y="135"/>
                    <a:pt x="0" y="135"/>
                  </a:cubicBezTo>
                  <a:lnTo>
                    <a:pt x="2" y="137"/>
                  </a:lnTo>
                  <a:close/>
                  <a:moveTo>
                    <a:pt x="2080" y="136"/>
                  </a:moveTo>
                  <a:cubicBezTo>
                    <a:pt x="2080" y="1265"/>
                    <a:pt x="2080" y="1265"/>
                    <a:pt x="2080" y="1265"/>
                  </a:cubicBezTo>
                  <a:cubicBezTo>
                    <a:pt x="1346" y="758"/>
                    <a:pt x="1346" y="758"/>
                    <a:pt x="1346" y="758"/>
                  </a:cubicBezTo>
                  <a:cubicBezTo>
                    <a:pt x="2038" y="201"/>
                    <a:pt x="2038" y="201"/>
                    <a:pt x="2038" y="201"/>
                  </a:cubicBezTo>
                  <a:cubicBezTo>
                    <a:pt x="2060" y="182"/>
                    <a:pt x="2072" y="162"/>
                    <a:pt x="2080" y="13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000"/>
            </a:p>
          </p:txBody>
        </p:sp>
      </p:grpSp>
      <p:cxnSp>
        <p:nvCxnSpPr>
          <p:cNvPr id="20" name="Straight Connector 19"/>
          <p:cNvCxnSpPr/>
          <p:nvPr/>
        </p:nvCxnSpPr>
        <p:spPr>
          <a:xfrm>
            <a:off x="2371725" y="3478213"/>
            <a:ext cx="3888000" cy="0"/>
          </a:xfrm>
          <a:prstGeom prst="line">
            <a:avLst/>
          </a:prstGeom>
          <a:ln w="6350">
            <a:solidFill>
              <a:schemeClr val="tx2"/>
            </a:solidFill>
            <a:prstDash val="dash"/>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p:nvCxnSpPr>
        <p:spPr>
          <a:xfrm>
            <a:off x="7287766" y="3478213"/>
            <a:ext cx="3888000" cy="0"/>
          </a:xfrm>
          <a:prstGeom prst="line">
            <a:avLst/>
          </a:prstGeom>
          <a:ln w="6350">
            <a:solidFill>
              <a:schemeClr val="tx2"/>
            </a:solidFill>
            <a:prstDash val="dash"/>
          </a:ln>
        </p:spPr>
        <p:style>
          <a:lnRef idx="1">
            <a:schemeClr val="accent1"/>
          </a:lnRef>
          <a:fillRef idx="0">
            <a:schemeClr val="accent1"/>
          </a:fillRef>
          <a:effectRef idx="0">
            <a:schemeClr val="accent1"/>
          </a:effectRef>
          <a:fontRef idx="minor">
            <a:schemeClr val="tx1"/>
          </a:fontRef>
        </p:style>
      </p:cxnSp>
      <p:sp>
        <p:nvSpPr>
          <p:cNvPr id="4" name="Picture Placeholder 3"/>
          <p:cNvSpPr>
            <a:spLocks noGrp="1"/>
          </p:cNvSpPr>
          <p:nvPr>
            <p:ph type="pic" sz="quarter" idx="17" hasCustomPrompt="1"/>
          </p:nvPr>
        </p:nvSpPr>
        <p:spPr>
          <a:xfrm>
            <a:off x="2355914" y="1808984"/>
            <a:ext cx="1188677" cy="1547840"/>
          </a:xfrm>
          <a:solidFill>
            <a:srgbClr val="D9DADB"/>
          </a:solidFill>
        </p:spPr>
        <p:txBody>
          <a:bodyPr/>
          <a:lstStyle>
            <a:lvl1pPr marL="0" indent="0">
              <a:buNone/>
              <a:defRPr sz="1400"/>
            </a:lvl1pPr>
          </a:lstStyle>
          <a:p>
            <a:r>
              <a:rPr lang="en-US" dirty="0"/>
              <a:t>Insert picture</a:t>
            </a:r>
          </a:p>
        </p:txBody>
      </p:sp>
      <p:sp>
        <p:nvSpPr>
          <p:cNvPr id="25" name="Picture Placeholder 3"/>
          <p:cNvSpPr>
            <a:spLocks noGrp="1"/>
          </p:cNvSpPr>
          <p:nvPr>
            <p:ph type="pic" sz="quarter" idx="18" hasCustomPrompt="1"/>
          </p:nvPr>
        </p:nvSpPr>
        <p:spPr>
          <a:xfrm>
            <a:off x="7287766" y="1808984"/>
            <a:ext cx="1188677" cy="1547840"/>
          </a:xfrm>
          <a:solidFill>
            <a:srgbClr val="D9DADB"/>
          </a:solidFill>
        </p:spPr>
        <p:txBody>
          <a:bodyPr/>
          <a:lstStyle>
            <a:lvl1pPr marL="0" indent="0">
              <a:buNone/>
              <a:defRPr sz="1400"/>
            </a:lvl1pPr>
          </a:lstStyle>
          <a:p>
            <a:r>
              <a:rPr lang="en-US" dirty="0"/>
              <a:t>Insert picture</a:t>
            </a:r>
          </a:p>
        </p:txBody>
      </p:sp>
      <p:sp>
        <p:nvSpPr>
          <p:cNvPr id="6" name="Text Placeholder 5"/>
          <p:cNvSpPr>
            <a:spLocks noGrp="1"/>
          </p:cNvSpPr>
          <p:nvPr>
            <p:ph type="body" sz="quarter" idx="19" hasCustomPrompt="1"/>
          </p:nvPr>
        </p:nvSpPr>
        <p:spPr>
          <a:xfrm>
            <a:off x="3770065" y="1808521"/>
            <a:ext cx="2463190" cy="192360"/>
          </a:xfrm>
        </p:spPr>
        <p:txBody>
          <a:bodyPr lIns="0" tIns="0" rIns="0" bIns="0" anchor="ctr" anchorCtr="0"/>
          <a:lstStyle>
            <a:lvl1pPr marL="0" indent="0" algn="l">
              <a:lnSpc>
                <a:spcPct val="100000"/>
              </a:lnSpc>
              <a:buNone/>
              <a:defRPr sz="100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Country</a:t>
            </a:r>
          </a:p>
        </p:txBody>
      </p:sp>
      <p:sp>
        <p:nvSpPr>
          <p:cNvPr id="26" name="Text Placeholder 5"/>
          <p:cNvSpPr>
            <a:spLocks noGrp="1"/>
          </p:cNvSpPr>
          <p:nvPr>
            <p:ph type="body" sz="quarter" idx="20" hasCustomPrompt="1"/>
          </p:nvPr>
        </p:nvSpPr>
        <p:spPr>
          <a:xfrm>
            <a:off x="3770065" y="2020337"/>
            <a:ext cx="2463190" cy="266182"/>
          </a:xfrm>
        </p:spPr>
        <p:txBody>
          <a:bodyPr lIns="0" tIns="0" rIns="0" bIns="0" anchor="b" anchorCtr="0"/>
          <a:lstStyle>
            <a:lvl1pPr marL="0" indent="0" algn="l">
              <a:lnSpc>
                <a:spcPct val="100000"/>
              </a:lnSpc>
              <a:buNone/>
              <a:defRPr sz="1400" b="1" baseline="0">
                <a:solidFill>
                  <a:schemeClr val="tx2"/>
                </a:solidFill>
              </a:defRPr>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Name, Surname</a:t>
            </a:r>
          </a:p>
        </p:txBody>
      </p:sp>
      <p:sp>
        <p:nvSpPr>
          <p:cNvPr id="27" name="Text Placeholder 5"/>
          <p:cNvSpPr>
            <a:spLocks noGrp="1"/>
          </p:cNvSpPr>
          <p:nvPr>
            <p:ph type="body" sz="quarter" idx="21" hasCustomPrompt="1"/>
          </p:nvPr>
        </p:nvSpPr>
        <p:spPr>
          <a:xfrm>
            <a:off x="3770065" y="2316912"/>
            <a:ext cx="2463190"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Job Position</a:t>
            </a:r>
          </a:p>
        </p:txBody>
      </p:sp>
      <p:sp>
        <p:nvSpPr>
          <p:cNvPr id="28" name="Text Placeholder 5"/>
          <p:cNvSpPr>
            <a:spLocks noGrp="1"/>
          </p:cNvSpPr>
          <p:nvPr>
            <p:ph type="body" sz="quarter" idx="22" hasCustomPrompt="1"/>
          </p:nvPr>
        </p:nvSpPr>
        <p:spPr>
          <a:xfrm>
            <a:off x="4014948" y="2845588"/>
            <a:ext cx="2218307"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Phone number</a:t>
            </a:r>
          </a:p>
        </p:txBody>
      </p:sp>
      <p:sp>
        <p:nvSpPr>
          <p:cNvPr id="29" name="Text Placeholder 5"/>
          <p:cNvSpPr>
            <a:spLocks noGrp="1"/>
          </p:cNvSpPr>
          <p:nvPr>
            <p:ph type="body" sz="quarter" idx="23" hasCustomPrompt="1"/>
          </p:nvPr>
        </p:nvSpPr>
        <p:spPr>
          <a:xfrm>
            <a:off x="4014948" y="3128395"/>
            <a:ext cx="2218307"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Email address</a:t>
            </a:r>
          </a:p>
        </p:txBody>
      </p:sp>
      <p:sp>
        <p:nvSpPr>
          <p:cNvPr id="30" name="Text Placeholder 5"/>
          <p:cNvSpPr>
            <a:spLocks noGrp="1"/>
          </p:cNvSpPr>
          <p:nvPr>
            <p:ph type="body" sz="quarter" idx="24" hasCustomPrompt="1"/>
          </p:nvPr>
        </p:nvSpPr>
        <p:spPr>
          <a:xfrm>
            <a:off x="8701917" y="1808521"/>
            <a:ext cx="2463190" cy="192360"/>
          </a:xfrm>
        </p:spPr>
        <p:txBody>
          <a:bodyPr lIns="0" tIns="0" rIns="0" bIns="0" anchor="ctr" anchorCtr="0"/>
          <a:lstStyle>
            <a:lvl1pPr marL="0" indent="0" algn="l">
              <a:lnSpc>
                <a:spcPct val="100000"/>
              </a:lnSpc>
              <a:buNone/>
              <a:defRPr sz="100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Country</a:t>
            </a:r>
          </a:p>
        </p:txBody>
      </p:sp>
      <p:sp>
        <p:nvSpPr>
          <p:cNvPr id="31" name="Text Placeholder 5"/>
          <p:cNvSpPr>
            <a:spLocks noGrp="1"/>
          </p:cNvSpPr>
          <p:nvPr>
            <p:ph type="body" sz="quarter" idx="25" hasCustomPrompt="1"/>
          </p:nvPr>
        </p:nvSpPr>
        <p:spPr>
          <a:xfrm>
            <a:off x="8701917" y="2020337"/>
            <a:ext cx="2463190" cy="266182"/>
          </a:xfrm>
        </p:spPr>
        <p:txBody>
          <a:bodyPr lIns="0" tIns="0" rIns="0" bIns="0" anchor="b" anchorCtr="0"/>
          <a:lstStyle>
            <a:lvl1pPr marL="0" indent="0" algn="l">
              <a:lnSpc>
                <a:spcPct val="100000"/>
              </a:lnSpc>
              <a:buNone/>
              <a:defRPr sz="1400" b="1" baseline="0">
                <a:solidFill>
                  <a:schemeClr val="tx2"/>
                </a:solidFill>
              </a:defRPr>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Name, Surname</a:t>
            </a:r>
          </a:p>
        </p:txBody>
      </p:sp>
      <p:sp>
        <p:nvSpPr>
          <p:cNvPr id="32" name="Text Placeholder 5"/>
          <p:cNvSpPr>
            <a:spLocks noGrp="1"/>
          </p:cNvSpPr>
          <p:nvPr>
            <p:ph type="body" sz="quarter" idx="26" hasCustomPrompt="1"/>
          </p:nvPr>
        </p:nvSpPr>
        <p:spPr>
          <a:xfrm>
            <a:off x="8701917" y="2316912"/>
            <a:ext cx="2463190"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Job Position</a:t>
            </a:r>
          </a:p>
        </p:txBody>
      </p:sp>
      <p:sp>
        <p:nvSpPr>
          <p:cNvPr id="33" name="Text Placeholder 5"/>
          <p:cNvSpPr>
            <a:spLocks noGrp="1"/>
          </p:cNvSpPr>
          <p:nvPr>
            <p:ph type="body" sz="quarter" idx="27" hasCustomPrompt="1"/>
          </p:nvPr>
        </p:nvSpPr>
        <p:spPr>
          <a:xfrm>
            <a:off x="8946800" y="2845588"/>
            <a:ext cx="2218307"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Phone number</a:t>
            </a:r>
          </a:p>
        </p:txBody>
      </p:sp>
      <p:sp>
        <p:nvSpPr>
          <p:cNvPr id="34" name="Text Placeholder 5"/>
          <p:cNvSpPr>
            <a:spLocks noGrp="1"/>
          </p:cNvSpPr>
          <p:nvPr>
            <p:ph type="body" sz="quarter" idx="28" hasCustomPrompt="1"/>
          </p:nvPr>
        </p:nvSpPr>
        <p:spPr>
          <a:xfrm>
            <a:off x="8946800" y="3128395"/>
            <a:ext cx="2218307"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Email address</a:t>
            </a:r>
          </a:p>
        </p:txBody>
      </p:sp>
      <p:grpSp>
        <p:nvGrpSpPr>
          <p:cNvPr id="35" name="Gruppieren 2">
            <a:extLst>
              <a:ext uri="{FF2B5EF4-FFF2-40B4-BE49-F238E27FC236}">
                <a16:creationId xmlns:a16="http://schemas.microsoft.com/office/drawing/2014/main" id="{BE697CE9-EBDE-6B4A-BE70-582D92A8A831}"/>
              </a:ext>
            </a:extLst>
          </p:cNvPr>
          <p:cNvGrpSpPr/>
          <p:nvPr/>
        </p:nvGrpSpPr>
        <p:grpSpPr>
          <a:xfrm>
            <a:off x="3770065" y="5045939"/>
            <a:ext cx="171180" cy="171180"/>
            <a:chOff x="3392092" y="1841122"/>
            <a:chExt cx="646508" cy="646508"/>
          </a:xfrm>
        </p:grpSpPr>
        <p:sp>
          <p:nvSpPr>
            <p:cNvPr id="36" name="Rechteck 14">
              <a:extLst>
                <a:ext uri="{FF2B5EF4-FFF2-40B4-BE49-F238E27FC236}">
                  <a16:creationId xmlns:a16="http://schemas.microsoft.com/office/drawing/2014/main" id="{E142A731-19B7-C34D-9534-9E05108F895F}"/>
                </a:ext>
              </a:extLst>
            </p:cNvPr>
            <p:cNvSpPr>
              <a:spLocks noChangeAspect="1"/>
            </p:cNvSpPr>
            <p:nvPr/>
          </p:nvSpPr>
          <p:spPr bwMode="gray">
            <a:xfrm>
              <a:off x="3392092" y="1841122"/>
              <a:ext cx="646508" cy="646508"/>
            </a:xfrm>
            <a:prstGeom prst="rect">
              <a:avLst/>
            </a:prstGeom>
            <a:solidFill>
              <a:srgbClr val="E55A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pPr>
              <a:endParaRPr lang="en-US" sz="1000" dirty="0">
                <a:solidFill>
                  <a:schemeClr val="tx1"/>
                </a:solidFill>
                <a:latin typeface="Arial" pitchFamily="34" charset="0"/>
                <a:cs typeface="Arial" pitchFamily="34" charset="0"/>
              </a:endParaRPr>
            </a:p>
          </p:txBody>
        </p:sp>
        <p:sp>
          <p:nvSpPr>
            <p:cNvPr id="37" name="Freeform 36">
              <a:extLst>
                <a:ext uri="{FF2B5EF4-FFF2-40B4-BE49-F238E27FC236}">
                  <a16:creationId xmlns:a16="http://schemas.microsoft.com/office/drawing/2014/main" id="{F97E84AE-4AD9-4B44-9AA1-F797FC373809}"/>
                </a:ext>
              </a:extLst>
            </p:cNvPr>
            <p:cNvSpPr>
              <a:spLocks noChangeAspect="1"/>
            </p:cNvSpPr>
            <p:nvPr/>
          </p:nvSpPr>
          <p:spPr bwMode="auto">
            <a:xfrm>
              <a:off x="3546638" y="1970424"/>
              <a:ext cx="337415" cy="387905"/>
            </a:xfrm>
            <a:custGeom>
              <a:avLst/>
              <a:gdLst>
                <a:gd name="T0" fmla="*/ 573 w 1624"/>
                <a:gd name="T1" fmla="*/ 1257 h 1867"/>
                <a:gd name="T2" fmla="*/ 662 w 1624"/>
                <a:gd name="T3" fmla="*/ 1288 h 1867"/>
                <a:gd name="T4" fmla="*/ 938 w 1624"/>
                <a:gd name="T5" fmla="*/ 1051 h 1867"/>
                <a:gd name="T6" fmla="*/ 1106 w 1624"/>
                <a:gd name="T7" fmla="*/ 731 h 1867"/>
                <a:gd name="T8" fmla="*/ 1059 w 1624"/>
                <a:gd name="T9" fmla="*/ 645 h 1867"/>
                <a:gd name="T10" fmla="*/ 1001 w 1624"/>
                <a:gd name="T11" fmla="*/ 613 h 1867"/>
                <a:gd name="T12" fmla="*/ 924 w 1624"/>
                <a:gd name="T13" fmla="*/ 432 h 1867"/>
                <a:gd name="T14" fmla="*/ 1114 w 1624"/>
                <a:gd name="T15" fmla="*/ 81 h 1867"/>
                <a:gd name="T16" fmla="*/ 1287 w 1624"/>
                <a:gd name="T17" fmla="*/ 35 h 1867"/>
                <a:gd name="T18" fmla="*/ 1350 w 1624"/>
                <a:gd name="T19" fmla="*/ 69 h 1867"/>
                <a:gd name="T20" fmla="*/ 1527 w 1624"/>
                <a:gd name="T21" fmla="*/ 235 h 1867"/>
                <a:gd name="T22" fmla="*/ 1583 w 1624"/>
                <a:gd name="T23" fmla="*/ 555 h 1867"/>
                <a:gd name="T24" fmla="*/ 1172 w 1624"/>
                <a:gd name="T25" fmla="*/ 1253 h 1867"/>
                <a:gd name="T26" fmla="*/ 586 w 1624"/>
                <a:gd name="T27" fmla="*/ 1803 h 1867"/>
                <a:gd name="T28" fmla="*/ 269 w 1624"/>
                <a:gd name="T29" fmla="*/ 1807 h 1867"/>
                <a:gd name="T30" fmla="*/ 33 w 1624"/>
                <a:gd name="T31" fmla="*/ 1602 h 1867"/>
                <a:gd name="T32" fmla="*/ 2 w 1624"/>
                <a:gd name="T33" fmla="*/ 1508 h 1867"/>
                <a:gd name="T34" fmla="*/ 45 w 1624"/>
                <a:gd name="T35" fmla="*/ 1421 h 1867"/>
                <a:gd name="T36" fmla="*/ 346 w 1624"/>
                <a:gd name="T37" fmla="*/ 1158 h 1867"/>
                <a:gd name="T38" fmla="*/ 448 w 1624"/>
                <a:gd name="T39" fmla="*/ 1145 h 1867"/>
                <a:gd name="T40" fmla="*/ 573 w 1624"/>
                <a:gd name="T41" fmla="*/ 1257 h 18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24" h="1867">
                  <a:moveTo>
                    <a:pt x="573" y="1257"/>
                  </a:moveTo>
                  <a:cubicBezTo>
                    <a:pt x="592" y="1282"/>
                    <a:pt x="630" y="1303"/>
                    <a:pt x="662" y="1288"/>
                  </a:cubicBezTo>
                  <a:cubicBezTo>
                    <a:pt x="753" y="1245"/>
                    <a:pt x="854" y="1156"/>
                    <a:pt x="938" y="1051"/>
                  </a:cubicBezTo>
                  <a:cubicBezTo>
                    <a:pt x="1020" y="948"/>
                    <a:pt x="1084" y="831"/>
                    <a:pt x="1106" y="731"/>
                  </a:cubicBezTo>
                  <a:cubicBezTo>
                    <a:pt x="1113" y="696"/>
                    <a:pt x="1089" y="661"/>
                    <a:pt x="1059" y="645"/>
                  </a:cubicBezTo>
                  <a:cubicBezTo>
                    <a:pt x="1001" y="613"/>
                    <a:pt x="1001" y="613"/>
                    <a:pt x="1001" y="613"/>
                  </a:cubicBezTo>
                  <a:cubicBezTo>
                    <a:pt x="942" y="580"/>
                    <a:pt x="888" y="499"/>
                    <a:pt x="924" y="432"/>
                  </a:cubicBezTo>
                  <a:cubicBezTo>
                    <a:pt x="1114" y="81"/>
                    <a:pt x="1114" y="81"/>
                    <a:pt x="1114" y="81"/>
                  </a:cubicBezTo>
                  <a:cubicBezTo>
                    <a:pt x="1150" y="16"/>
                    <a:pt x="1224" y="0"/>
                    <a:pt x="1287" y="35"/>
                  </a:cubicBezTo>
                  <a:cubicBezTo>
                    <a:pt x="1350" y="69"/>
                    <a:pt x="1350" y="69"/>
                    <a:pt x="1350" y="69"/>
                  </a:cubicBezTo>
                  <a:cubicBezTo>
                    <a:pt x="1415" y="105"/>
                    <a:pt x="1479" y="165"/>
                    <a:pt x="1527" y="235"/>
                  </a:cubicBezTo>
                  <a:cubicBezTo>
                    <a:pt x="1593" y="332"/>
                    <a:pt x="1624" y="442"/>
                    <a:pt x="1583" y="555"/>
                  </a:cubicBezTo>
                  <a:cubicBezTo>
                    <a:pt x="1500" y="781"/>
                    <a:pt x="1351" y="1030"/>
                    <a:pt x="1172" y="1253"/>
                  </a:cubicBezTo>
                  <a:cubicBezTo>
                    <a:pt x="994" y="1477"/>
                    <a:pt x="786" y="1676"/>
                    <a:pt x="586" y="1803"/>
                  </a:cubicBezTo>
                  <a:cubicBezTo>
                    <a:pt x="486" y="1867"/>
                    <a:pt x="375" y="1856"/>
                    <a:pt x="269" y="1807"/>
                  </a:cubicBezTo>
                  <a:cubicBezTo>
                    <a:pt x="157" y="1755"/>
                    <a:pt x="106" y="1695"/>
                    <a:pt x="33" y="1602"/>
                  </a:cubicBezTo>
                  <a:cubicBezTo>
                    <a:pt x="11" y="1573"/>
                    <a:pt x="0" y="1540"/>
                    <a:pt x="2" y="1508"/>
                  </a:cubicBezTo>
                  <a:cubicBezTo>
                    <a:pt x="4" y="1475"/>
                    <a:pt x="18" y="1444"/>
                    <a:pt x="45" y="1421"/>
                  </a:cubicBezTo>
                  <a:cubicBezTo>
                    <a:pt x="70" y="1399"/>
                    <a:pt x="346" y="1158"/>
                    <a:pt x="346" y="1158"/>
                  </a:cubicBezTo>
                  <a:cubicBezTo>
                    <a:pt x="376" y="1134"/>
                    <a:pt x="413" y="1133"/>
                    <a:pt x="448" y="1145"/>
                  </a:cubicBezTo>
                  <a:cubicBezTo>
                    <a:pt x="510" y="1166"/>
                    <a:pt x="536" y="1210"/>
                    <a:pt x="573" y="1257"/>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351" dirty="0"/>
            </a:p>
          </p:txBody>
        </p:sp>
      </p:grpSp>
      <p:grpSp>
        <p:nvGrpSpPr>
          <p:cNvPr id="38" name="Group 3">
            <a:extLst>
              <a:ext uri="{FF2B5EF4-FFF2-40B4-BE49-F238E27FC236}">
                <a16:creationId xmlns:a16="http://schemas.microsoft.com/office/drawing/2014/main" id="{7104BADD-8CD1-6F4A-B894-869C3BDB3EEB}"/>
              </a:ext>
            </a:extLst>
          </p:cNvPr>
          <p:cNvGrpSpPr>
            <a:grpSpLocks noChangeAspect="1"/>
          </p:cNvGrpSpPr>
          <p:nvPr>
            <p:custDataLst>
              <p:tags r:id="rId3"/>
            </p:custDataLst>
          </p:nvPr>
        </p:nvGrpSpPr>
        <p:grpSpPr>
          <a:xfrm>
            <a:off x="3770066" y="5330827"/>
            <a:ext cx="171180" cy="171180"/>
            <a:chOff x="328396" y="5313940"/>
            <a:chExt cx="720000" cy="720000"/>
          </a:xfrm>
        </p:grpSpPr>
        <p:sp>
          <p:nvSpPr>
            <p:cNvPr id="39" name="Rectangle 4">
              <a:extLst>
                <a:ext uri="{FF2B5EF4-FFF2-40B4-BE49-F238E27FC236}">
                  <a16:creationId xmlns:a16="http://schemas.microsoft.com/office/drawing/2014/main" id="{74BE3D5F-1445-6E40-8B49-72E15568383B}"/>
                </a:ext>
              </a:extLst>
            </p:cNvPr>
            <p:cNvSpPr/>
            <p:nvPr/>
          </p:nvSpPr>
          <p:spPr bwMode="gray">
            <a:xfrm>
              <a:off x="328396" y="5313940"/>
              <a:ext cx="720000" cy="720000"/>
            </a:xfrm>
            <a:prstGeom prst="rect">
              <a:avLst/>
            </a:prstGeom>
            <a:solidFill>
              <a:srgbClr val="E55A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pPr>
              <a:endParaRPr lang="en-US" sz="1000" dirty="0">
                <a:solidFill>
                  <a:schemeClr val="tx1"/>
                </a:solidFill>
                <a:latin typeface="Arial" pitchFamily="34" charset="0"/>
                <a:cs typeface="Arial" pitchFamily="34" charset="0"/>
              </a:endParaRPr>
            </a:p>
          </p:txBody>
        </p:sp>
        <p:sp>
          <p:nvSpPr>
            <p:cNvPr id="40" name="Freeform 76">
              <a:extLst>
                <a:ext uri="{FF2B5EF4-FFF2-40B4-BE49-F238E27FC236}">
                  <a16:creationId xmlns:a16="http://schemas.microsoft.com/office/drawing/2014/main" id="{55DB3C95-7D0C-D141-901E-96D692794D2B}"/>
                </a:ext>
              </a:extLst>
            </p:cNvPr>
            <p:cNvSpPr>
              <a:spLocks noChangeAspect="1" noEditPoints="1"/>
            </p:cNvSpPr>
            <p:nvPr/>
          </p:nvSpPr>
          <p:spPr bwMode="auto">
            <a:xfrm>
              <a:off x="456202" y="5509222"/>
              <a:ext cx="504000" cy="329436"/>
            </a:xfrm>
            <a:custGeom>
              <a:avLst/>
              <a:gdLst>
                <a:gd name="T0" fmla="*/ 0 w 2080"/>
                <a:gd name="T1" fmla="*/ 65 h 1360"/>
                <a:gd name="T2" fmla="*/ 0 w 2080"/>
                <a:gd name="T3" fmla="*/ 0 h 1360"/>
                <a:gd name="T4" fmla="*/ 2080 w 2080"/>
                <a:gd name="T5" fmla="*/ 0 h 1360"/>
                <a:gd name="T6" fmla="*/ 2080 w 2080"/>
                <a:gd name="T7" fmla="*/ 65 h 1360"/>
                <a:gd name="T8" fmla="*/ 1089 w 2080"/>
                <a:gd name="T9" fmla="*/ 862 h 1360"/>
                <a:gd name="T10" fmla="*/ 991 w 2080"/>
                <a:gd name="T11" fmla="*/ 862 h 1360"/>
                <a:gd name="T12" fmla="*/ 0 w 2080"/>
                <a:gd name="T13" fmla="*/ 65 h 1360"/>
                <a:gd name="T14" fmla="*/ 1139 w 2080"/>
                <a:gd name="T15" fmla="*/ 924 h 1360"/>
                <a:gd name="T16" fmla="*/ 1282 w 2080"/>
                <a:gd name="T17" fmla="*/ 810 h 1360"/>
                <a:gd name="T18" fmla="*/ 2076 w 2080"/>
                <a:gd name="T19" fmla="*/ 1360 h 1360"/>
                <a:gd name="T20" fmla="*/ 4 w 2080"/>
                <a:gd name="T21" fmla="*/ 1360 h 1360"/>
                <a:gd name="T22" fmla="*/ 798 w 2080"/>
                <a:gd name="T23" fmla="*/ 810 h 1360"/>
                <a:gd name="T24" fmla="*/ 941 w 2080"/>
                <a:gd name="T25" fmla="*/ 924 h 1360"/>
                <a:gd name="T26" fmla="*/ 1139 w 2080"/>
                <a:gd name="T27" fmla="*/ 924 h 1360"/>
                <a:gd name="T28" fmla="*/ 2 w 2080"/>
                <a:gd name="T29" fmla="*/ 137 h 1360"/>
                <a:gd name="T30" fmla="*/ 42 w 2080"/>
                <a:gd name="T31" fmla="*/ 201 h 1360"/>
                <a:gd name="T32" fmla="*/ 734 w 2080"/>
                <a:gd name="T33" fmla="*/ 758 h 1360"/>
                <a:gd name="T34" fmla="*/ 0 w 2080"/>
                <a:gd name="T35" fmla="*/ 1266 h 1360"/>
                <a:gd name="T36" fmla="*/ 0 w 2080"/>
                <a:gd name="T37" fmla="*/ 135 h 1360"/>
                <a:gd name="T38" fmla="*/ 2 w 2080"/>
                <a:gd name="T39" fmla="*/ 137 h 1360"/>
                <a:gd name="T40" fmla="*/ 2080 w 2080"/>
                <a:gd name="T41" fmla="*/ 136 h 1360"/>
                <a:gd name="T42" fmla="*/ 2080 w 2080"/>
                <a:gd name="T43" fmla="*/ 1265 h 1360"/>
                <a:gd name="T44" fmla="*/ 1346 w 2080"/>
                <a:gd name="T45" fmla="*/ 758 h 1360"/>
                <a:gd name="T46" fmla="*/ 2038 w 2080"/>
                <a:gd name="T47" fmla="*/ 201 h 1360"/>
                <a:gd name="T48" fmla="*/ 2080 w 2080"/>
                <a:gd name="T49" fmla="*/ 136 h 1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080" h="1360">
                  <a:moveTo>
                    <a:pt x="0" y="65"/>
                  </a:moveTo>
                  <a:cubicBezTo>
                    <a:pt x="0" y="0"/>
                    <a:pt x="0" y="0"/>
                    <a:pt x="0" y="0"/>
                  </a:cubicBezTo>
                  <a:cubicBezTo>
                    <a:pt x="2080" y="0"/>
                    <a:pt x="2080" y="0"/>
                    <a:pt x="2080" y="0"/>
                  </a:cubicBezTo>
                  <a:cubicBezTo>
                    <a:pt x="2080" y="65"/>
                    <a:pt x="2080" y="65"/>
                    <a:pt x="2080" y="65"/>
                  </a:cubicBezTo>
                  <a:cubicBezTo>
                    <a:pt x="1089" y="862"/>
                    <a:pt x="1089" y="862"/>
                    <a:pt x="1089" y="862"/>
                  </a:cubicBezTo>
                  <a:cubicBezTo>
                    <a:pt x="1060" y="886"/>
                    <a:pt x="1020" y="886"/>
                    <a:pt x="991" y="862"/>
                  </a:cubicBezTo>
                  <a:lnTo>
                    <a:pt x="0" y="65"/>
                  </a:lnTo>
                  <a:close/>
                  <a:moveTo>
                    <a:pt x="1139" y="924"/>
                  </a:moveTo>
                  <a:cubicBezTo>
                    <a:pt x="1282" y="810"/>
                    <a:pt x="1282" y="810"/>
                    <a:pt x="1282" y="810"/>
                  </a:cubicBezTo>
                  <a:cubicBezTo>
                    <a:pt x="2076" y="1360"/>
                    <a:pt x="2076" y="1360"/>
                    <a:pt x="2076" y="1360"/>
                  </a:cubicBezTo>
                  <a:cubicBezTo>
                    <a:pt x="4" y="1360"/>
                    <a:pt x="4" y="1360"/>
                    <a:pt x="4" y="1360"/>
                  </a:cubicBezTo>
                  <a:cubicBezTo>
                    <a:pt x="798" y="810"/>
                    <a:pt x="798" y="810"/>
                    <a:pt x="798" y="810"/>
                  </a:cubicBezTo>
                  <a:cubicBezTo>
                    <a:pt x="941" y="924"/>
                    <a:pt x="941" y="924"/>
                    <a:pt x="941" y="924"/>
                  </a:cubicBezTo>
                  <a:cubicBezTo>
                    <a:pt x="1000" y="972"/>
                    <a:pt x="1080" y="972"/>
                    <a:pt x="1139" y="924"/>
                  </a:cubicBezTo>
                  <a:close/>
                  <a:moveTo>
                    <a:pt x="2" y="137"/>
                  </a:moveTo>
                  <a:cubicBezTo>
                    <a:pt x="8" y="163"/>
                    <a:pt x="22" y="185"/>
                    <a:pt x="42" y="201"/>
                  </a:cubicBezTo>
                  <a:cubicBezTo>
                    <a:pt x="734" y="758"/>
                    <a:pt x="734" y="758"/>
                    <a:pt x="734" y="758"/>
                  </a:cubicBezTo>
                  <a:cubicBezTo>
                    <a:pt x="0" y="1266"/>
                    <a:pt x="0" y="1266"/>
                    <a:pt x="0" y="1266"/>
                  </a:cubicBezTo>
                  <a:cubicBezTo>
                    <a:pt x="0" y="135"/>
                    <a:pt x="0" y="135"/>
                    <a:pt x="0" y="135"/>
                  </a:cubicBezTo>
                  <a:lnTo>
                    <a:pt x="2" y="137"/>
                  </a:lnTo>
                  <a:close/>
                  <a:moveTo>
                    <a:pt x="2080" y="136"/>
                  </a:moveTo>
                  <a:cubicBezTo>
                    <a:pt x="2080" y="1265"/>
                    <a:pt x="2080" y="1265"/>
                    <a:pt x="2080" y="1265"/>
                  </a:cubicBezTo>
                  <a:cubicBezTo>
                    <a:pt x="1346" y="758"/>
                    <a:pt x="1346" y="758"/>
                    <a:pt x="1346" y="758"/>
                  </a:cubicBezTo>
                  <a:cubicBezTo>
                    <a:pt x="2038" y="201"/>
                    <a:pt x="2038" y="201"/>
                    <a:pt x="2038" y="201"/>
                  </a:cubicBezTo>
                  <a:cubicBezTo>
                    <a:pt x="2060" y="182"/>
                    <a:pt x="2072" y="162"/>
                    <a:pt x="2080" y="13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000"/>
            </a:p>
          </p:txBody>
        </p:sp>
      </p:grpSp>
      <p:cxnSp>
        <p:nvCxnSpPr>
          <p:cNvPr id="41" name="Straight Connector 40"/>
          <p:cNvCxnSpPr/>
          <p:nvPr/>
        </p:nvCxnSpPr>
        <p:spPr>
          <a:xfrm>
            <a:off x="2355914" y="5655833"/>
            <a:ext cx="3888000" cy="0"/>
          </a:xfrm>
          <a:prstGeom prst="line">
            <a:avLst/>
          </a:prstGeom>
          <a:ln w="6350">
            <a:solidFill>
              <a:schemeClr val="tx2"/>
            </a:solidFill>
            <a:prstDash val="dash"/>
          </a:ln>
        </p:spPr>
        <p:style>
          <a:lnRef idx="1">
            <a:schemeClr val="accent1"/>
          </a:lnRef>
          <a:fillRef idx="0">
            <a:schemeClr val="accent1"/>
          </a:fillRef>
          <a:effectRef idx="0">
            <a:schemeClr val="accent1"/>
          </a:effectRef>
          <a:fontRef idx="minor">
            <a:schemeClr val="tx1"/>
          </a:fontRef>
        </p:style>
      </p:cxnSp>
      <p:sp>
        <p:nvSpPr>
          <p:cNvPr id="42" name="Picture Placeholder 3"/>
          <p:cNvSpPr>
            <a:spLocks noGrp="1"/>
          </p:cNvSpPr>
          <p:nvPr>
            <p:ph type="pic" sz="quarter" idx="29" hasCustomPrompt="1"/>
          </p:nvPr>
        </p:nvSpPr>
        <p:spPr>
          <a:xfrm>
            <a:off x="2355914" y="3986604"/>
            <a:ext cx="1188677" cy="1547840"/>
          </a:xfrm>
          <a:solidFill>
            <a:srgbClr val="D9DADB"/>
          </a:solidFill>
        </p:spPr>
        <p:txBody>
          <a:bodyPr/>
          <a:lstStyle>
            <a:lvl1pPr marL="0" indent="0">
              <a:buNone/>
              <a:defRPr sz="1400"/>
            </a:lvl1pPr>
          </a:lstStyle>
          <a:p>
            <a:r>
              <a:rPr lang="en-US" dirty="0"/>
              <a:t>Insert picture</a:t>
            </a:r>
          </a:p>
        </p:txBody>
      </p:sp>
      <p:sp>
        <p:nvSpPr>
          <p:cNvPr id="43" name="Text Placeholder 5"/>
          <p:cNvSpPr>
            <a:spLocks noGrp="1"/>
          </p:cNvSpPr>
          <p:nvPr>
            <p:ph type="body" sz="quarter" idx="30" hasCustomPrompt="1"/>
          </p:nvPr>
        </p:nvSpPr>
        <p:spPr>
          <a:xfrm>
            <a:off x="3770065" y="3986141"/>
            <a:ext cx="2463190" cy="192360"/>
          </a:xfrm>
        </p:spPr>
        <p:txBody>
          <a:bodyPr lIns="0" tIns="0" rIns="0" bIns="0" anchor="ctr" anchorCtr="0"/>
          <a:lstStyle>
            <a:lvl1pPr marL="0" indent="0" algn="l">
              <a:lnSpc>
                <a:spcPct val="100000"/>
              </a:lnSpc>
              <a:buNone/>
              <a:defRPr sz="100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Country</a:t>
            </a:r>
          </a:p>
        </p:txBody>
      </p:sp>
      <p:sp>
        <p:nvSpPr>
          <p:cNvPr id="44" name="Text Placeholder 5"/>
          <p:cNvSpPr>
            <a:spLocks noGrp="1"/>
          </p:cNvSpPr>
          <p:nvPr>
            <p:ph type="body" sz="quarter" idx="31" hasCustomPrompt="1"/>
          </p:nvPr>
        </p:nvSpPr>
        <p:spPr>
          <a:xfrm>
            <a:off x="3770065" y="4197957"/>
            <a:ext cx="2463190" cy="266182"/>
          </a:xfrm>
        </p:spPr>
        <p:txBody>
          <a:bodyPr lIns="0" tIns="0" rIns="0" bIns="0" anchor="b" anchorCtr="0"/>
          <a:lstStyle>
            <a:lvl1pPr marL="0" indent="0" algn="l">
              <a:lnSpc>
                <a:spcPct val="100000"/>
              </a:lnSpc>
              <a:buNone/>
              <a:defRPr sz="1400" b="1" baseline="0">
                <a:solidFill>
                  <a:schemeClr val="tx2"/>
                </a:solidFill>
              </a:defRPr>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Name, Surname</a:t>
            </a:r>
          </a:p>
        </p:txBody>
      </p:sp>
      <p:sp>
        <p:nvSpPr>
          <p:cNvPr id="45" name="Text Placeholder 5"/>
          <p:cNvSpPr>
            <a:spLocks noGrp="1"/>
          </p:cNvSpPr>
          <p:nvPr>
            <p:ph type="body" sz="quarter" idx="32" hasCustomPrompt="1"/>
          </p:nvPr>
        </p:nvSpPr>
        <p:spPr>
          <a:xfrm>
            <a:off x="3770065" y="4494532"/>
            <a:ext cx="2463190"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Job Position</a:t>
            </a:r>
          </a:p>
        </p:txBody>
      </p:sp>
      <p:sp>
        <p:nvSpPr>
          <p:cNvPr id="46" name="Text Placeholder 5"/>
          <p:cNvSpPr>
            <a:spLocks noGrp="1"/>
          </p:cNvSpPr>
          <p:nvPr>
            <p:ph type="body" sz="quarter" idx="33" hasCustomPrompt="1"/>
          </p:nvPr>
        </p:nvSpPr>
        <p:spPr>
          <a:xfrm>
            <a:off x="4014948" y="5023208"/>
            <a:ext cx="2218307"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Phone number</a:t>
            </a:r>
          </a:p>
        </p:txBody>
      </p:sp>
      <p:sp>
        <p:nvSpPr>
          <p:cNvPr id="47" name="Text Placeholder 5"/>
          <p:cNvSpPr>
            <a:spLocks noGrp="1"/>
          </p:cNvSpPr>
          <p:nvPr>
            <p:ph type="body" sz="quarter" idx="34" hasCustomPrompt="1"/>
          </p:nvPr>
        </p:nvSpPr>
        <p:spPr>
          <a:xfrm>
            <a:off x="4014948" y="5306015"/>
            <a:ext cx="2218307"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Email address</a:t>
            </a:r>
          </a:p>
        </p:txBody>
      </p:sp>
    </p:spTree>
    <p:extLst>
      <p:ext uri="{BB962C8B-B14F-4D97-AF65-F5344CB8AC3E}">
        <p14:creationId xmlns:p14="http://schemas.microsoft.com/office/powerpoint/2010/main" val="1108217083"/>
      </p:ext>
    </p:extLst>
  </p:cSld>
  <p:clrMapOvr>
    <a:masterClrMapping/>
  </p:clrMapOvr>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p:cSld name="Four contacts">
    <p:spTree>
      <p:nvGrpSpPr>
        <p:cNvPr id="1" name=""/>
        <p:cNvGrpSpPr/>
        <p:nvPr/>
      </p:nvGrpSpPr>
      <p:grpSpPr>
        <a:xfrm>
          <a:off x="0" y="0"/>
          <a:ext cx="0" cy="0"/>
          <a:chOff x="0" y="0"/>
          <a:chExt cx="0" cy="0"/>
        </a:xfrm>
      </p:grpSpPr>
      <p:sp>
        <p:nvSpPr>
          <p:cNvPr id="21" name="Date Placeholder 20"/>
          <p:cNvSpPr>
            <a:spLocks noGrp="1"/>
          </p:cNvSpPr>
          <p:nvPr>
            <p:ph type="dt" sz="half" idx="14"/>
          </p:nvPr>
        </p:nvSpPr>
        <p:spPr/>
        <p:txBody>
          <a:bodyPr/>
          <a:lstStyle/>
          <a:p>
            <a:fld id="{279C7CF9-AE45-4637-9DF5-AFC713D6D2FE}" type="datetime5">
              <a:rPr lang="en-US" smtClean="0"/>
              <a:t>26-Jun-20</a:t>
            </a:fld>
            <a:endParaRPr lang="en-US"/>
          </a:p>
        </p:txBody>
      </p:sp>
      <p:sp>
        <p:nvSpPr>
          <p:cNvPr id="22" name="Footer Placeholder 21"/>
          <p:cNvSpPr>
            <a:spLocks noGrp="1"/>
          </p:cNvSpPr>
          <p:nvPr>
            <p:ph type="ftr" sz="quarter" idx="15"/>
          </p:nvPr>
        </p:nvSpPr>
        <p:spPr/>
        <p:txBody>
          <a:bodyPr/>
          <a:lstStyle/>
          <a:p>
            <a:r>
              <a:rPr lang="en-US"/>
              <a:t>Title of presentation (Insert / Header &amp; Footer / Apply to All)</a:t>
            </a:r>
            <a:endParaRPr lang="en-US" dirty="0"/>
          </a:p>
        </p:txBody>
      </p:sp>
      <p:sp>
        <p:nvSpPr>
          <p:cNvPr id="23" name="Slide Number Placeholder 22"/>
          <p:cNvSpPr>
            <a:spLocks noGrp="1"/>
          </p:cNvSpPr>
          <p:nvPr>
            <p:ph type="sldNum" sz="quarter" idx="16"/>
          </p:nvPr>
        </p:nvSpPr>
        <p:spPr/>
        <p:txBody>
          <a:bodyPr/>
          <a:lstStyle/>
          <a:p>
            <a:fld id="{5F3E29E4-0979-4FCA-B4C5-5FC6044C982A}" type="slidenum">
              <a:rPr lang="en-US" smtClean="0"/>
              <a:t>‹#›</a:t>
            </a:fld>
            <a:endParaRPr lang="en-US"/>
          </a:p>
        </p:txBody>
      </p:sp>
      <p:sp>
        <p:nvSpPr>
          <p:cNvPr id="2" name="Title 1"/>
          <p:cNvSpPr>
            <a:spLocks noGrp="1"/>
          </p:cNvSpPr>
          <p:nvPr>
            <p:ph type="title" hasCustomPrompt="1"/>
          </p:nvPr>
        </p:nvSpPr>
        <p:spPr/>
        <p:txBody>
          <a:bodyPr/>
          <a:lstStyle>
            <a:lvl1pPr>
              <a:defRPr/>
            </a:lvl1pPr>
          </a:lstStyle>
          <a:p>
            <a:r>
              <a:rPr lang="en-US" dirty="0"/>
              <a:t>Click to add contact title</a:t>
            </a:r>
          </a:p>
        </p:txBody>
      </p:sp>
      <p:sp>
        <p:nvSpPr>
          <p:cNvPr id="7" name="Subtitle 2"/>
          <p:cNvSpPr>
            <a:spLocks noGrp="1"/>
          </p:cNvSpPr>
          <p:nvPr>
            <p:ph type="subTitle" idx="13" hasCustomPrompt="1"/>
          </p:nvPr>
        </p:nvSpPr>
        <p:spPr>
          <a:xfrm>
            <a:off x="1075061" y="964671"/>
            <a:ext cx="7910158" cy="490042"/>
          </a:xfrm>
        </p:spPr>
        <p:txBody>
          <a:bodyPr wrap="none"/>
          <a:lstStyle>
            <a:lvl1pPr marL="0" indent="0" algn="l">
              <a:spcBef>
                <a:spcPts val="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grpSp>
        <p:nvGrpSpPr>
          <p:cNvPr id="8" name="Gruppieren 80">
            <a:extLst>
              <a:ext uri="{FF2B5EF4-FFF2-40B4-BE49-F238E27FC236}">
                <a16:creationId xmlns:a16="http://schemas.microsoft.com/office/drawing/2014/main" id="{6B969E7B-9C39-4443-9B02-74C1E7C5CCAC}"/>
              </a:ext>
            </a:extLst>
          </p:cNvPr>
          <p:cNvGrpSpPr/>
          <p:nvPr/>
        </p:nvGrpSpPr>
        <p:grpSpPr>
          <a:xfrm>
            <a:off x="3770065" y="2868319"/>
            <a:ext cx="171180" cy="171180"/>
            <a:chOff x="3392092" y="1841122"/>
            <a:chExt cx="646508" cy="646508"/>
          </a:xfrm>
        </p:grpSpPr>
        <p:sp>
          <p:nvSpPr>
            <p:cNvPr id="9" name="Rechteck 14">
              <a:extLst>
                <a:ext uri="{FF2B5EF4-FFF2-40B4-BE49-F238E27FC236}">
                  <a16:creationId xmlns:a16="http://schemas.microsoft.com/office/drawing/2014/main" id="{D78F58EA-5525-8D43-8295-FEA52ECF6BFA}"/>
                </a:ext>
              </a:extLst>
            </p:cNvPr>
            <p:cNvSpPr>
              <a:spLocks noChangeAspect="1"/>
            </p:cNvSpPr>
            <p:nvPr/>
          </p:nvSpPr>
          <p:spPr bwMode="gray">
            <a:xfrm>
              <a:off x="3392092" y="1841122"/>
              <a:ext cx="646508" cy="646508"/>
            </a:xfrm>
            <a:prstGeom prst="rect">
              <a:avLst/>
            </a:prstGeom>
            <a:solidFill>
              <a:srgbClr val="E55A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pPr>
              <a:endParaRPr lang="en-US" sz="1000" dirty="0">
                <a:solidFill>
                  <a:schemeClr val="tx1"/>
                </a:solidFill>
                <a:latin typeface="Arial" pitchFamily="34" charset="0"/>
                <a:cs typeface="Arial" pitchFamily="34" charset="0"/>
              </a:endParaRPr>
            </a:p>
          </p:txBody>
        </p:sp>
        <p:sp>
          <p:nvSpPr>
            <p:cNvPr id="10" name="Freeform 67">
              <a:extLst>
                <a:ext uri="{FF2B5EF4-FFF2-40B4-BE49-F238E27FC236}">
                  <a16:creationId xmlns:a16="http://schemas.microsoft.com/office/drawing/2014/main" id="{D01A6292-2776-4945-B828-483D79DC4908}"/>
                </a:ext>
              </a:extLst>
            </p:cNvPr>
            <p:cNvSpPr>
              <a:spLocks noChangeAspect="1"/>
            </p:cNvSpPr>
            <p:nvPr/>
          </p:nvSpPr>
          <p:spPr bwMode="auto">
            <a:xfrm>
              <a:off x="3546638" y="1970424"/>
              <a:ext cx="337415" cy="387905"/>
            </a:xfrm>
            <a:custGeom>
              <a:avLst/>
              <a:gdLst>
                <a:gd name="T0" fmla="*/ 573 w 1624"/>
                <a:gd name="T1" fmla="*/ 1257 h 1867"/>
                <a:gd name="T2" fmla="*/ 662 w 1624"/>
                <a:gd name="T3" fmla="*/ 1288 h 1867"/>
                <a:gd name="T4" fmla="*/ 938 w 1624"/>
                <a:gd name="T5" fmla="*/ 1051 h 1867"/>
                <a:gd name="T6" fmla="*/ 1106 w 1624"/>
                <a:gd name="T7" fmla="*/ 731 h 1867"/>
                <a:gd name="T8" fmla="*/ 1059 w 1624"/>
                <a:gd name="T9" fmla="*/ 645 h 1867"/>
                <a:gd name="T10" fmla="*/ 1001 w 1624"/>
                <a:gd name="T11" fmla="*/ 613 h 1867"/>
                <a:gd name="T12" fmla="*/ 924 w 1624"/>
                <a:gd name="T13" fmla="*/ 432 h 1867"/>
                <a:gd name="T14" fmla="*/ 1114 w 1624"/>
                <a:gd name="T15" fmla="*/ 81 h 1867"/>
                <a:gd name="T16" fmla="*/ 1287 w 1624"/>
                <a:gd name="T17" fmla="*/ 35 h 1867"/>
                <a:gd name="T18" fmla="*/ 1350 w 1624"/>
                <a:gd name="T19" fmla="*/ 69 h 1867"/>
                <a:gd name="T20" fmla="*/ 1527 w 1624"/>
                <a:gd name="T21" fmla="*/ 235 h 1867"/>
                <a:gd name="T22" fmla="*/ 1583 w 1624"/>
                <a:gd name="T23" fmla="*/ 555 h 1867"/>
                <a:gd name="T24" fmla="*/ 1172 w 1624"/>
                <a:gd name="T25" fmla="*/ 1253 h 1867"/>
                <a:gd name="T26" fmla="*/ 586 w 1624"/>
                <a:gd name="T27" fmla="*/ 1803 h 1867"/>
                <a:gd name="T28" fmla="*/ 269 w 1624"/>
                <a:gd name="T29" fmla="*/ 1807 h 1867"/>
                <a:gd name="T30" fmla="*/ 33 w 1624"/>
                <a:gd name="T31" fmla="*/ 1602 h 1867"/>
                <a:gd name="T32" fmla="*/ 2 w 1624"/>
                <a:gd name="T33" fmla="*/ 1508 h 1867"/>
                <a:gd name="T34" fmla="*/ 45 w 1624"/>
                <a:gd name="T35" fmla="*/ 1421 h 1867"/>
                <a:gd name="T36" fmla="*/ 346 w 1624"/>
                <a:gd name="T37" fmla="*/ 1158 h 1867"/>
                <a:gd name="T38" fmla="*/ 448 w 1624"/>
                <a:gd name="T39" fmla="*/ 1145 h 1867"/>
                <a:gd name="T40" fmla="*/ 573 w 1624"/>
                <a:gd name="T41" fmla="*/ 1257 h 18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24" h="1867">
                  <a:moveTo>
                    <a:pt x="573" y="1257"/>
                  </a:moveTo>
                  <a:cubicBezTo>
                    <a:pt x="592" y="1282"/>
                    <a:pt x="630" y="1303"/>
                    <a:pt x="662" y="1288"/>
                  </a:cubicBezTo>
                  <a:cubicBezTo>
                    <a:pt x="753" y="1245"/>
                    <a:pt x="854" y="1156"/>
                    <a:pt x="938" y="1051"/>
                  </a:cubicBezTo>
                  <a:cubicBezTo>
                    <a:pt x="1020" y="948"/>
                    <a:pt x="1084" y="831"/>
                    <a:pt x="1106" y="731"/>
                  </a:cubicBezTo>
                  <a:cubicBezTo>
                    <a:pt x="1113" y="696"/>
                    <a:pt x="1089" y="661"/>
                    <a:pt x="1059" y="645"/>
                  </a:cubicBezTo>
                  <a:cubicBezTo>
                    <a:pt x="1001" y="613"/>
                    <a:pt x="1001" y="613"/>
                    <a:pt x="1001" y="613"/>
                  </a:cubicBezTo>
                  <a:cubicBezTo>
                    <a:pt x="942" y="580"/>
                    <a:pt x="888" y="499"/>
                    <a:pt x="924" y="432"/>
                  </a:cubicBezTo>
                  <a:cubicBezTo>
                    <a:pt x="1114" y="81"/>
                    <a:pt x="1114" y="81"/>
                    <a:pt x="1114" y="81"/>
                  </a:cubicBezTo>
                  <a:cubicBezTo>
                    <a:pt x="1150" y="16"/>
                    <a:pt x="1224" y="0"/>
                    <a:pt x="1287" y="35"/>
                  </a:cubicBezTo>
                  <a:cubicBezTo>
                    <a:pt x="1350" y="69"/>
                    <a:pt x="1350" y="69"/>
                    <a:pt x="1350" y="69"/>
                  </a:cubicBezTo>
                  <a:cubicBezTo>
                    <a:pt x="1415" y="105"/>
                    <a:pt x="1479" y="165"/>
                    <a:pt x="1527" y="235"/>
                  </a:cubicBezTo>
                  <a:cubicBezTo>
                    <a:pt x="1593" y="332"/>
                    <a:pt x="1624" y="442"/>
                    <a:pt x="1583" y="555"/>
                  </a:cubicBezTo>
                  <a:cubicBezTo>
                    <a:pt x="1500" y="781"/>
                    <a:pt x="1351" y="1030"/>
                    <a:pt x="1172" y="1253"/>
                  </a:cubicBezTo>
                  <a:cubicBezTo>
                    <a:pt x="994" y="1477"/>
                    <a:pt x="786" y="1676"/>
                    <a:pt x="586" y="1803"/>
                  </a:cubicBezTo>
                  <a:cubicBezTo>
                    <a:pt x="486" y="1867"/>
                    <a:pt x="375" y="1856"/>
                    <a:pt x="269" y="1807"/>
                  </a:cubicBezTo>
                  <a:cubicBezTo>
                    <a:pt x="157" y="1755"/>
                    <a:pt x="106" y="1695"/>
                    <a:pt x="33" y="1602"/>
                  </a:cubicBezTo>
                  <a:cubicBezTo>
                    <a:pt x="11" y="1573"/>
                    <a:pt x="0" y="1540"/>
                    <a:pt x="2" y="1508"/>
                  </a:cubicBezTo>
                  <a:cubicBezTo>
                    <a:pt x="4" y="1475"/>
                    <a:pt x="18" y="1444"/>
                    <a:pt x="45" y="1421"/>
                  </a:cubicBezTo>
                  <a:cubicBezTo>
                    <a:pt x="70" y="1399"/>
                    <a:pt x="346" y="1158"/>
                    <a:pt x="346" y="1158"/>
                  </a:cubicBezTo>
                  <a:cubicBezTo>
                    <a:pt x="376" y="1134"/>
                    <a:pt x="413" y="1133"/>
                    <a:pt x="448" y="1145"/>
                  </a:cubicBezTo>
                  <a:cubicBezTo>
                    <a:pt x="510" y="1166"/>
                    <a:pt x="536" y="1210"/>
                    <a:pt x="573" y="1257"/>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351" dirty="0"/>
            </a:p>
          </p:txBody>
        </p:sp>
      </p:grpSp>
      <p:grpSp>
        <p:nvGrpSpPr>
          <p:cNvPr id="11" name="Group 3">
            <a:extLst>
              <a:ext uri="{FF2B5EF4-FFF2-40B4-BE49-F238E27FC236}">
                <a16:creationId xmlns:a16="http://schemas.microsoft.com/office/drawing/2014/main" id="{DED6A25A-5DE2-1441-8BA2-C68D3B4F9209}"/>
              </a:ext>
            </a:extLst>
          </p:cNvPr>
          <p:cNvGrpSpPr>
            <a:grpSpLocks noChangeAspect="1"/>
          </p:cNvGrpSpPr>
          <p:nvPr>
            <p:custDataLst>
              <p:tags r:id="rId1"/>
            </p:custDataLst>
          </p:nvPr>
        </p:nvGrpSpPr>
        <p:grpSpPr>
          <a:xfrm>
            <a:off x="3770066" y="3153207"/>
            <a:ext cx="171180" cy="171180"/>
            <a:chOff x="328396" y="5313940"/>
            <a:chExt cx="720000" cy="720000"/>
          </a:xfrm>
        </p:grpSpPr>
        <p:sp>
          <p:nvSpPr>
            <p:cNvPr id="12" name="Rectangle 4">
              <a:extLst>
                <a:ext uri="{FF2B5EF4-FFF2-40B4-BE49-F238E27FC236}">
                  <a16:creationId xmlns:a16="http://schemas.microsoft.com/office/drawing/2014/main" id="{5F49E67F-D4FA-9D48-96BC-59AE946ECD15}"/>
                </a:ext>
              </a:extLst>
            </p:cNvPr>
            <p:cNvSpPr/>
            <p:nvPr/>
          </p:nvSpPr>
          <p:spPr bwMode="gray">
            <a:xfrm>
              <a:off x="328396" y="5313940"/>
              <a:ext cx="720000" cy="720000"/>
            </a:xfrm>
            <a:prstGeom prst="rect">
              <a:avLst/>
            </a:prstGeom>
            <a:solidFill>
              <a:srgbClr val="E55A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pPr>
              <a:endParaRPr lang="en-US" sz="1000" dirty="0">
                <a:solidFill>
                  <a:schemeClr val="tx1"/>
                </a:solidFill>
                <a:latin typeface="Arial" pitchFamily="34" charset="0"/>
                <a:cs typeface="Arial" pitchFamily="34" charset="0"/>
              </a:endParaRPr>
            </a:p>
          </p:txBody>
        </p:sp>
        <p:sp>
          <p:nvSpPr>
            <p:cNvPr id="13" name="Freeform 76">
              <a:extLst>
                <a:ext uri="{FF2B5EF4-FFF2-40B4-BE49-F238E27FC236}">
                  <a16:creationId xmlns:a16="http://schemas.microsoft.com/office/drawing/2014/main" id="{187E70E6-AF3F-2549-908E-DF4BA61040AA}"/>
                </a:ext>
              </a:extLst>
            </p:cNvPr>
            <p:cNvSpPr>
              <a:spLocks noChangeAspect="1" noEditPoints="1"/>
            </p:cNvSpPr>
            <p:nvPr/>
          </p:nvSpPr>
          <p:spPr bwMode="auto">
            <a:xfrm>
              <a:off x="456202" y="5509222"/>
              <a:ext cx="504000" cy="329436"/>
            </a:xfrm>
            <a:custGeom>
              <a:avLst/>
              <a:gdLst>
                <a:gd name="T0" fmla="*/ 0 w 2080"/>
                <a:gd name="T1" fmla="*/ 65 h 1360"/>
                <a:gd name="T2" fmla="*/ 0 w 2080"/>
                <a:gd name="T3" fmla="*/ 0 h 1360"/>
                <a:gd name="T4" fmla="*/ 2080 w 2080"/>
                <a:gd name="T5" fmla="*/ 0 h 1360"/>
                <a:gd name="T6" fmla="*/ 2080 w 2080"/>
                <a:gd name="T7" fmla="*/ 65 h 1360"/>
                <a:gd name="T8" fmla="*/ 1089 w 2080"/>
                <a:gd name="T9" fmla="*/ 862 h 1360"/>
                <a:gd name="T10" fmla="*/ 991 w 2080"/>
                <a:gd name="T11" fmla="*/ 862 h 1360"/>
                <a:gd name="T12" fmla="*/ 0 w 2080"/>
                <a:gd name="T13" fmla="*/ 65 h 1360"/>
                <a:gd name="T14" fmla="*/ 1139 w 2080"/>
                <a:gd name="T15" fmla="*/ 924 h 1360"/>
                <a:gd name="T16" fmla="*/ 1282 w 2080"/>
                <a:gd name="T17" fmla="*/ 810 h 1360"/>
                <a:gd name="T18" fmla="*/ 2076 w 2080"/>
                <a:gd name="T19" fmla="*/ 1360 h 1360"/>
                <a:gd name="T20" fmla="*/ 4 w 2080"/>
                <a:gd name="T21" fmla="*/ 1360 h 1360"/>
                <a:gd name="T22" fmla="*/ 798 w 2080"/>
                <a:gd name="T23" fmla="*/ 810 h 1360"/>
                <a:gd name="T24" fmla="*/ 941 w 2080"/>
                <a:gd name="T25" fmla="*/ 924 h 1360"/>
                <a:gd name="T26" fmla="*/ 1139 w 2080"/>
                <a:gd name="T27" fmla="*/ 924 h 1360"/>
                <a:gd name="T28" fmla="*/ 2 w 2080"/>
                <a:gd name="T29" fmla="*/ 137 h 1360"/>
                <a:gd name="T30" fmla="*/ 42 w 2080"/>
                <a:gd name="T31" fmla="*/ 201 h 1360"/>
                <a:gd name="T32" fmla="*/ 734 w 2080"/>
                <a:gd name="T33" fmla="*/ 758 h 1360"/>
                <a:gd name="T34" fmla="*/ 0 w 2080"/>
                <a:gd name="T35" fmla="*/ 1266 h 1360"/>
                <a:gd name="T36" fmla="*/ 0 w 2080"/>
                <a:gd name="T37" fmla="*/ 135 h 1360"/>
                <a:gd name="T38" fmla="*/ 2 w 2080"/>
                <a:gd name="T39" fmla="*/ 137 h 1360"/>
                <a:gd name="T40" fmla="*/ 2080 w 2080"/>
                <a:gd name="T41" fmla="*/ 136 h 1360"/>
                <a:gd name="T42" fmla="*/ 2080 w 2080"/>
                <a:gd name="T43" fmla="*/ 1265 h 1360"/>
                <a:gd name="T44" fmla="*/ 1346 w 2080"/>
                <a:gd name="T45" fmla="*/ 758 h 1360"/>
                <a:gd name="T46" fmla="*/ 2038 w 2080"/>
                <a:gd name="T47" fmla="*/ 201 h 1360"/>
                <a:gd name="T48" fmla="*/ 2080 w 2080"/>
                <a:gd name="T49" fmla="*/ 136 h 1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080" h="1360">
                  <a:moveTo>
                    <a:pt x="0" y="65"/>
                  </a:moveTo>
                  <a:cubicBezTo>
                    <a:pt x="0" y="0"/>
                    <a:pt x="0" y="0"/>
                    <a:pt x="0" y="0"/>
                  </a:cubicBezTo>
                  <a:cubicBezTo>
                    <a:pt x="2080" y="0"/>
                    <a:pt x="2080" y="0"/>
                    <a:pt x="2080" y="0"/>
                  </a:cubicBezTo>
                  <a:cubicBezTo>
                    <a:pt x="2080" y="65"/>
                    <a:pt x="2080" y="65"/>
                    <a:pt x="2080" y="65"/>
                  </a:cubicBezTo>
                  <a:cubicBezTo>
                    <a:pt x="1089" y="862"/>
                    <a:pt x="1089" y="862"/>
                    <a:pt x="1089" y="862"/>
                  </a:cubicBezTo>
                  <a:cubicBezTo>
                    <a:pt x="1060" y="886"/>
                    <a:pt x="1020" y="886"/>
                    <a:pt x="991" y="862"/>
                  </a:cubicBezTo>
                  <a:lnTo>
                    <a:pt x="0" y="65"/>
                  </a:lnTo>
                  <a:close/>
                  <a:moveTo>
                    <a:pt x="1139" y="924"/>
                  </a:moveTo>
                  <a:cubicBezTo>
                    <a:pt x="1282" y="810"/>
                    <a:pt x="1282" y="810"/>
                    <a:pt x="1282" y="810"/>
                  </a:cubicBezTo>
                  <a:cubicBezTo>
                    <a:pt x="2076" y="1360"/>
                    <a:pt x="2076" y="1360"/>
                    <a:pt x="2076" y="1360"/>
                  </a:cubicBezTo>
                  <a:cubicBezTo>
                    <a:pt x="4" y="1360"/>
                    <a:pt x="4" y="1360"/>
                    <a:pt x="4" y="1360"/>
                  </a:cubicBezTo>
                  <a:cubicBezTo>
                    <a:pt x="798" y="810"/>
                    <a:pt x="798" y="810"/>
                    <a:pt x="798" y="810"/>
                  </a:cubicBezTo>
                  <a:cubicBezTo>
                    <a:pt x="941" y="924"/>
                    <a:pt x="941" y="924"/>
                    <a:pt x="941" y="924"/>
                  </a:cubicBezTo>
                  <a:cubicBezTo>
                    <a:pt x="1000" y="972"/>
                    <a:pt x="1080" y="972"/>
                    <a:pt x="1139" y="924"/>
                  </a:cubicBezTo>
                  <a:close/>
                  <a:moveTo>
                    <a:pt x="2" y="137"/>
                  </a:moveTo>
                  <a:cubicBezTo>
                    <a:pt x="8" y="163"/>
                    <a:pt x="22" y="185"/>
                    <a:pt x="42" y="201"/>
                  </a:cubicBezTo>
                  <a:cubicBezTo>
                    <a:pt x="734" y="758"/>
                    <a:pt x="734" y="758"/>
                    <a:pt x="734" y="758"/>
                  </a:cubicBezTo>
                  <a:cubicBezTo>
                    <a:pt x="0" y="1266"/>
                    <a:pt x="0" y="1266"/>
                    <a:pt x="0" y="1266"/>
                  </a:cubicBezTo>
                  <a:cubicBezTo>
                    <a:pt x="0" y="135"/>
                    <a:pt x="0" y="135"/>
                    <a:pt x="0" y="135"/>
                  </a:cubicBezTo>
                  <a:lnTo>
                    <a:pt x="2" y="137"/>
                  </a:lnTo>
                  <a:close/>
                  <a:moveTo>
                    <a:pt x="2080" y="136"/>
                  </a:moveTo>
                  <a:cubicBezTo>
                    <a:pt x="2080" y="1265"/>
                    <a:pt x="2080" y="1265"/>
                    <a:pt x="2080" y="1265"/>
                  </a:cubicBezTo>
                  <a:cubicBezTo>
                    <a:pt x="1346" y="758"/>
                    <a:pt x="1346" y="758"/>
                    <a:pt x="1346" y="758"/>
                  </a:cubicBezTo>
                  <a:cubicBezTo>
                    <a:pt x="2038" y="201"/>
                    <a:pt x="2038" y="201"/>
                    <a:pt x="2038" y="201"/>
                  </a:cubicBezTo>
                  <a:cubicBezTo>
                    <a:pt x="2060" y="182"/>
                    <a:pt x="2072" y="162"/>
                    <a:pt x="2080" y="13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000"/>
            </a:p>
          </p:txBody>
        </p:sp>
      </p:grpSp>
      <p:grpSp>
        <p:nvGrpSpPr>
          <p:cNvPr id="14" name="Gruppieren 2">
            <a:extLst>
              <a:ext uri="{FF2B5EF4-FFF2-40B4-BE49-F238E27FC236}">
                <a16:creationId xmlns:a16="http://schemas.microsoft.com/office/drawing/2014/main" id="{BE697CE9-EBDE-6B4A-BE70-582D92A8A831}"/>
              </a:ext>
            </a:extLst>
          </p:cNvPr>
          <p:cNvGrpSpPr/>
          <p:nvPr/>
        </p:nvGrpSpPr>
        <p:grpSpPr>
          <a:xfrm>
            <a:off x="8701917" y="2868319"/>
            <a:ext cx="171180" cy="171180"/>
            <a:chOff x="3392092" y="1841122"/>
            <a:chExt cx="646508" cy="646508"/>
          </a:xfrm>
        </p:grpSpPr>
        <p:sp>
          <p:nvSpPr>
            <p:cNvPr id="15" name="Rechteck 14">
              <a:extLst>
                <a:ext uri="{FF2B5EF4-FFF2-40B4-BE49-F238E27FC236}">
                  <a16:creationId xmlns:a16="http://schemas.microsoft.com/office/drawing/2014/main" id="{E142A731-19B7-C34D-9534-9E05108F895F}"/>
                </a:ext>
              </a:extLst>
            </p:cNvPr>
            <p:cNvSpPr>
              <a:spLocks noChangeAspect="1"/>
            </p:cNvSpPr>
            <p:nvPr/>
          </p:nvSpPr>
          <p:spPr bwMode="gray">
            <a:xfrm>
              <a:off x="3392092" y="1841122"/>
              <a:ext cx="646508" cy="646508"/>
            </a:xfrm>
            <a:prstGeom prst="rect">
              <a:avLst/>
            </a:prstGeom>
            <a:solidFill>
              <a:srgbClr val="E55A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pPr>
              <a:endParaRPr lang="en-US" sz="1000" dirty="0">
                <a:solidFill>
                  <a:schemeClr val="tx1"/>
                </a:solidFill>
                <a:latin typeface="Arial" pitchFamily="34" charset="0"/>
                <a:cs typeface="Arial" pitchFamily="34" charset="0"/>
              </a:endParaRPr>
            </a:p>
          </p:txBody>
        </p:sp>
        <p:sp>
          <p:nvSpPr>
            <p:cNvPr id="16" name="Freeform 15">
              <a:extLst>
                <a:ext uri="{FF2B5EF4-FFF2-40B4-BE49-F238E27FC236}">
                  <a16:creationId xmlns:a16="http://schemas.microsoft.com/office/drawing/2014/main" id="{F97E84AE-4AD9-4B44-9AA1-F797FC373809}"/>
                </a:ext>
              </a:extLst>
            </p:cNvPr>
            <p:cNvSpPr>
              <a:spLocks noChangeAspect="1"/>
            </p:cNvSpPr>
            <p:nvPr/>
          </p:nvSpPr>
          <p:spPr bwMode="auto">
            <a:xfrm>
              <a:off x="3546638" y="1970424"/>
              <a:ext cx="337415" cy="387905"/>
            </a:xfrm>
            <a:custGeom>
              <a:avLst/>
              <a:gdLst>
                <a:gd name="T0" fmla="*/ 573 w 1624"/>
                <a:gd name="T1" fmla="*/ 1257 h 1867"/>
                <a:gd name="T2" fmla="*/ 662 w 1624"/>
                <a:gd name="T3" fmla="*/ 1288 h 1867"/>
                <a:gd name="T4" fmla="*/ 938 w 1624"/>
                <a:gd name="T5" fmla="*/ 1051 h 1867"/>
                <a:gd name="T6" fmla="*/ 1106 w 1624"/>
                <a:gd name="T7" fmla="*/ 731 h 1867"/>
                <a:gd name="T8" fmla="*/ 1059 w 1624"/>
                <a:gd name="T9" fmla="*/ 645 h 1867"/>
                <a:gd name="T10" fmla="*/ 1001 w 1624"/>
                <a:gd name="T11" fmla="*/ 613 h 1867"/>
                <a:gd name="T12" fmla="*/ 924 w 1624"/>
                <a:gd name="T13" fmla="*/ 432 h 1867"/>
                <a:gd name="T14" fmla="*/ 1114 w 1624"/>
                <a:gd name="T15" fmla="*/ 81 h 1867"/>
                <a:gd name="T16" fmla="*/ 1287 w 1624"/>
                <a:gd name="T17" fmla="*/ 35 h 1867"/>
                <a:gd name="T18" fmla="*/ 1350 w 1624"/>
                <a:gd name="T19" fmla="*/ 69 h 1867"/>
                <a:gd name="T20" fmla="*/ 1527 w 1624"/>
                <a:gd name="T21" fmla="*/ 235 h 1867"/>
                <a:gd name="T22" fmla="*/ 1583 w 1624"/>
                <a:gd name="T23" fmla="*/ 555 h 1867"/>
                <a:gd name="T24" fmla="*/ 1172 w 1624"/>
                <a:gd name="T25" fmla="*/ 1253 h 1867"/>
                <a:gd name="T26" fmla="*/ 586 w 1624"/>
                <a:gd name="T27" fmla="*/ 1803 h 1867"/>
                <a:gd name="T28" fmla="*/ 269 w 1624"/>
                <a:gd name="T29" fmla="*/ 1807 h 1867"/>
                <a:gd name="T30" fmla="*/ 33 w 1624"/>
                <a:gd name="T31" fmla="*/ 1602 h 1867"/>
                <a:gd name="T32" fmla="*/ 2 w 1624"/>
                <a:gd name="T33" fmla="*/ 1508 h 1867"/>
                <a:gd name="T34" fmla="*/ 45 w 1624"/>
                <a:gd name="T35" fmla="*/ 1421 h 1867"/>
                <a:gd name="T36" fmla="*/ 346 w 1624"/>
                <a:gd name="T37" fmla="*/ 1158 h 1867"/>
                <a:gd name="T38" fmla="*/ 448 w 1624"/>
                <a:gd name="T39" fmla="*/ 1145 h 1867"/>
                <a:gd name="T40" fmla="*/ 573 w 1624"/>
                <a:gd name="T41" fmla="*/ 1257 h 18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24" h="1867">
                  <a:moveTo>
                    <a:pt x="573" y="1257"/>
                  </a:moveTo>
                  <a:cubicBezTo>
                    <a:pt x="592" y="1282"/>
                    <a:pt x="630" y="1303"/>
                    <a:pt x="662" y="1288"/>
                  </a:cubicBezTo>
                  <a:cubicBezTo>
                    <a:pt x="753" y="1245"/>
                    <a:pt x="854" y="1156"/>
                    <a:pt x="938" y="1051"/>
                  </a:cubicBezTo>
                  <a:cubicBezTo>
                    <a:pt x="1020" y="948"/>
                    <a:pt x="1084" y="831"/>
                    <a:pt x="1106" y="731"/>
                  </a:cubicBezTo>
                  <a:cubicBezTo>
                    <a:pt x="1113" y="696"/>
                    <a:pt x="1089" y="661"/>
                    <a:pt x="1059" y="645"/>
                  </a:cubicBezTo>
                  <a:cubicBezTo>
                    <a:pt x="1001" y="613"/>
                    <a:pt x="1001" y="613"/>
                    <a:pt x="1001" y="613"/>
                  </a:cubicBezTo>
                  <a:cubicBezTo>
                    <a:pt x="942" y="580"/>
                    <a:pt x="888" y="499"/>
                    <a:pt x="924" y="432"/>
                  </a:cubicBezTo>
                  <a:cubicBezTo>
                    <a:pt x="1114" y="81"/>
                    <a:pt x="1114" y="81"/>
                    <a:pt x="1114" y="81"/>
                  </a:cubicBezTo>
                  <a:cubicBezTo>
                    <a:pt x="1150" y="16"/>
                    <a:pt x="1224" y="0"/>
                    <a:pt x="1287" y="35"/>
                  </a:cubicBezTo>
                  <a:cubicBezTo>
                    <a:pt x="1350" y="69"/>
                    <a:pt x="1350" y="69"/>
                    <a:pt x="1350" y="69"/>
                  </a:cubicBezTo>
                  <a:cubicBezTo>
                    <a:pt x="1415" y="105"/>
                    <a:pt x="1479" y="165"/>
                    <a:pt x="1527" y="235"/>
                  </a:cubicBezTo>
                  <a:cubicBezTo>
                    <a:pt x="1593" y="332"/>
                    <a:pt x="1624" y="442"/>
                    <a:pt x="1583" y="555"/>
                  </a:cubicBezTo>
                  <a:cubicBezTo>
                    <a:pt x="1500" y="781"/>
                    <a:pt x="1351" y="1030"/>
                    <a:pt x="1172" y="1253"/>
                  </a:cubicBezTo>
                  <a:cubicBezTo>
                    <a:pt x="994" y="1477"/>
                    <a:pt x="786" y="1676"/>
                    <a:pt x="586" y="1803"/>
                  </a:cubicBezTo>
                  <a:cubicBezTo>
                    <a:pt x="486" y="1867"/>
                    <a:pt x="375" y="1856"/>
                    <a:pt x="269" y="1807"/>
                  </a:cubicBezTo>
                  <a:cubicBezTo>
                    <a:pt x="157" y="1755"/>
                    <a:pt x="106" y="1695"/>
                    <a:pt x="33" y="1602"/>
                  </a:cubicBezTo>
                  <a:cubicBezTo>
                    <a:pt x="11" y="1573"/>
                    <a:pt x="0" y="1540"/>
                    <a:pt x="2" y="1508"/>
                  </a:cubicBezTo>
                  <a:cubicBezTo>
                    <a:pt x="4" y="1475"/>
                    <a:pt x="18" y="1444"/>
                    <a:pt x="45" y="1421"/>
                  </a:cubicBezTo>
                  <a:cubicBezTo>
                    <a:pt x="70" y="1399"/>
                    <a:pt x="346" y="1158"/>
                    <a:pt x="346" y="1158"/>
                  </a:cubicBezTo>
                  <a:cubicBezTo>
                    <a:pt x="376" y="1134"/>
                    <a:pt x="413" y="1133"/>
                    <a:pt x="448" y="1145"/>
                  </a:cubicBezTo>
                  <a:cubicBezTo>
                    <a:pt x="510" y="1166"/>
                    <a:pt x="536" y="1210"/>
                    <a:pt x="573" y="1257"/>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351" dirty="0"/>
            </a:p>
          </p:txBody>
        </p:sp>
      </p:grpSp>
      <p:grpSp>
        <p:nvGrpSpPr>
          <p:cNvPr id="17" name="Group 3">
            <a:extLst>
              <a:ext uri="{FF2B5EF4-FFF2-40B4-BE49-F238E27FC236}">
                <a16:creationId xmlns:a16="http://schemas.microsoft.com/office/drawing/2014/main" id="{7104BADD-8CD1-6F4A-B894-869C3BDB3EEB}"/>
              </a:ext>
            </a:extLst>
          </p:cNvPr>
          <p:cNvGrpSpPr>
            <a:grpSpLocks noChangeAspect="1"/>
          </p:cNvGrpSpPr>
          <p:nvPr>
            <p:custDataLst>
              <p:tags r:id="rId2"/>
            </p:custDataLst>
          </p:nvPr>
        </p:nvGrpSpPr>
        <p:grpSpPr>
          <a:xfrm>
            <a:off x="8701918" y="3153207"/>
            <a:ext cx="171180" cy="171180"/>
            <a:chOff x="328396" y="5313940"/>
            <a:chExt cx="720000" cy="720000"/>
          </a:xfrm>
        </p:grpSpPr>
        <p:sp>
          <p:nvSpPr>
            <p:cNvPr id="18" name="Rectangle 4">
              <a:extLst>
                <a:ext uri="{FF2B5EF4-FFF2-40B4-BE49-F238E27FC236}">
                  <a16:creationId xmlns:a16="http://schemas.microsoft.com/office/drawing/2014/main" id="{74BE3D5F-1445-6E40-8B49-72E15568383B}"/>
                </a:ext>
              </a:extLst>
            </p:cNvPr>
            <p:cNvSpPr/>
            <p:nvPr/>
          </p:nvSpPr>
          <p:spPr bwMode="gray">
            <a:xfrm>
              <a:off x="328396" y="5313940"/>
              <a:ext cx="720000" cy="720000"/>
            </a:xfrm>
            <a:prstGeom prst="rect">
              <a:avLst/>
            </a:prstGeom>
            <a:solidFill>
              <a:srgbClr val="E55A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pPr>
              <a:endParaRPr lang="en-US" sz="1000" dirty="0">
                <a:solidFill>
                  <a:schemeClr val="tx1"/>
                </a:solidFill>
                <a:latin typeface="Arial" pitchFamily="34" charset="0"/>
                <a:cs typeface="Arial" pitchFamily="34" charset="0"/>
              </a:endParaRPr>
            </a:p>
          </p:txBody>
        </p:sp>
        <p:sp>
          <p:nvSpPr>
            <p:cNvPr id="19" name="Freeform 76">
              <a:extLst>
                <a:ext uri="{FF2B5EF4-FFF2-40B4-BE49-F238E27FC236}">
                  <a16:creationId xmlns:a16="http://schemas.microsoft.com/office/drawing/2014/main" id="{55DB3C95-7D0C-D141-901E-96D692794D2B}"/>
                </a:ext>
              </a:extLst>
            </p:cNvPr>
            <p:cNvSpPr>
              <a:spLocks noChangeAspect="1" noEditPoints="1"/>
            </p:cNvSpPr>
            <p:nvPr/>
          </p:nvSpPr>
          <p:spPr bwMode="auto">
            <a:xfrm>
              <a:off x="456202" y="5509222"/>
              <a:ext cx="504000" cy="329436"/>
            </a:xfrm>
            <a:custGeom>
              <a:avLst/>
              <a:gdLst>
                <a:gd name="T0" fmla="*/ 0 w 2080"/>
                <a:gd name="T1" fmla="*/ 65 h 1360"/>
                <a:gd name="T2" fmla="*/ 0 w 2080"/>
                <a:gd name="T3" fmla="*/ 0 h 1360"/>
                <a:gd name="T4" fmla="*/ 2080 w 2080"/>
                <a:gd name="T5" fmla="*/ 0 h 1360"/>
                <a:gd name="T6" fmla="*/ 2080 w 2080"/>
                <a:gd name="T7" fmla="*/ 65 h 1360"/>
                <a:gd name="T8" fmla="*/ 1089 w 2080"/>
                <a:gd name="T9" fmla="*/ 862 h 1360"/>
                <a:gd name="T10" fmla="*/ 991 w 2080"/>
                <a:gd name="T11" fmla="*/ 862 h 1360"/>
                <a:gd name="T12" fmla="*/ 0 w 2080"/>
                <a:gd name="T13" fmla="*/ 65 h 1360"/>
                <a:gd name="T14" fmla="*/ 1139 w 2080"/>
                <a:gd name="T15" fmla="*/ 924 h 1360"/>
                <a:gd name="T16" fmla="*/ 1282 w 2080"/>
                <a:gd name="T17" fmla="*/ 810 h 1360"/>
                <a:gd name="T18" fmla="*/ 2076 w 2080"/>
                <a:gd name="T19" fmla="*/ 1360 h 1360"/>
                <a:gd name="T20" fmla="*/ 4 w 2080"/>
                <a:gd name="T21" fmla="*/ 1360 h 1360"/>
                <a:gd name="T22" fmla="*/ 798 w 2080"/>
                <a:gd name="T23" fmla="*/ 810 h 1360"/>
                <a:gd name="T24" fmla="*/ 941 w 2080"/>
                <a:gd name="T25" fmla="*/ 924 h 1360"/>
                <a:gd name="T26" fmla="*/ 1139 w 2080"/>
                <a:gd name="T27" fmla="*/ 924 h 1360"/>
                <a:gd name="T28" fmla="*/ 2 w 2080"/>
                <a:gd name="T29" fmla="*/ 137 h 1360"/>
                <a:gd name="T30" fmla="*/ 42 w 2080"/>
                <a:gd name="T31" fmla="*/ 201 h 1360"/>
                <a:gd name="T32" fmla="*/ 734 w 2080"/>
                <a:gd name="T33" fmla="*/ 758 h 1360"/>
                <a:gd name="T34" fmla="*/ 0 w 2080"/>
                <a:gd name="T35" fmla="*/ 1266 h 1360"/>
                <a:gd name="T36" fmla="*/ 0 w 2080"/>
                <a:gd name="T37" fmla="*/ 135 h 1360"/>
                <a:gd name="T38" fmla="*/ 2 w 2080"/>
                <a:gd name="T39" fmla="*/ 137 h 1360"/>
                <a:gd name="T40" fmla="*/ 2080 w 2080"/>
                <a:gd name="T41" fmla="*/ 136 h 1360"/>
                <a:gd name="T42" fmla="*/ 2080 w 2080"/>
                <a:gd name="T43" fmla="*/ 1265 h 1360"/>
                <a:gd name="T44" fmla="*/ 1346 w 2080"/>
                <a:gd name="T45" fmla="*/ 758 h 1360"/>
                <a:gd name="T46" fmla="*/ 2038 w 2080"/>
                <a:gd name="T47" fmla="*/ 201 h 1360"/>
                <a:gd name="T48" fmla="*/ 2080 w 2080"/>
                <a:gd name="T49" fmla="*/ 136 h 1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080" h="1360">
                  <a:moveTo>
                    <a:pt x="0" y="65"/>
                  </a:moveTo>
                  <a:cubicBezTo>
                    <a:pt x="0" y="0"/>
                    <a:pt x="0" y="0"/>
                    <a:pt x="0" y="0"/>
                  </a:cubicBezTo>
                  <a:cubicBezTo>
                    <a:pt x="2080" y="0"/>
                    <a:pt x="2080" y="0"/>
                    <a:pt x="2080" y="0"/>
                  </a:cubicBezTo>
                  <a:cubicBezTo>
                    <a:pt x="2080" y="65"/>
                    <a:pt x="2080" y="65"/>
                    <a:pt x="2080" y="65"/>
                  </a:cubicBezTo>
                  <a:cubicBezTo>
                    <a:pt x="1089" y="862"/>
                    <a:pt x="1089" y="862"/>
                    <a:pt x="1089" y="862"/>
                  </a:cubicBezTo>
                  <a:cubicBezTo>
                    <a:pt x="1060" y="886"/>
                    <a:pt x="1020" y="886"/>
                    <a:pt x="991" y="862"/>
                  </a:cubicBezTo>
                  <a:lnTo>
                    <a:pt x="0" y="65"/>
                  </a:lnTo>
                  <a:close/>
                  <a:moveTo>
                    <a:pt x="1139" y="924"/>
                  </a:moveTo>
                  <a:cubicBezTo>
                    <a:pt x="1282" y="810"/>
                    <a:pt x="1282" y="810"/>
                    <a:pt x="1282" y="810"/>
                  </a:cubicBezTo>
                  <a:cubicBezTo>
                    <a:pt x="2076" y="1360"/>
                    <a:pt x="2076" y="1360"/>
                    <a:pt x="2076" y="1360"/>
                  </a:cubicBezTo>
                  <a:cubicBezTo>
                    <a:pt x="4" y="1360"/>
                    <a:pt x="4" y="1360"/>
                    <a:pt x="4" y="1360"/>
                  </a:cubicBezTo>
                  <a:cubicBezTo>
                    <a:pt x="798" y="810"/>
                    <a:pt x="798" y="810"/>
                    <a:pt x="798" y="810"/>
                  </a:cubicBezTo>
                  <a:cubicBezTo>
                    <a:pt x="941" y="924"/>
                    <a:pt x="941" y="924"/>
                    <a:pt x="941" y="924"/>
                  </a:cubicBezTo>
                  <a:cubicBezTo>
                    <a:pt x="1000" y="972"/>
                    <a:pt x="1080" y="972"/>
                    <a:pt x="1139" y="924"/>
                  </a:cubicBezTo>
                  <a:close/>
                  <a:moveTo>
                    <a:pt x="2" y="137"/>
                  </a:moveTo>
                  <a:cubicBezTo>
                    <a:pt x="8" y="163"/>
                    <a:pt x="22" y="185"/>
                    <a:pt x="42" y="201"/>
                  </a:cubicBezTo>
                  <a:cubicBezTo>
                    <a:pt x="734" y="758"/>
                    <a:pt x="734" y="758"/>
                    <a:pt x="734" y="758"/>
                  </a:cubicBezTo>
                  <a:cubicBezTo>
                    <a:pt x="0" y="1266"/>
                    <a:pt x="0" y="1266"/>
                    <a:pt x="0" y="1266"/>
                  </a:cubicBezTo>
                  <a:cubicBezTo>
                    <a:pt x="0" y="135"/>
                    <a:pt x="0" y="135"/>
                    <a:pt x="0" y="135"/>
                  </a:cubicBezTo>
                  <a:lnTo>
                    <a:pt x="2" y="137"/>
                  </a:lnTo>
                  <a:close/>
                  <a:moveTo>
                    <a:pt x="2080" y="136"/>
                  </a:moveTo>
                  <a:cubicBezTo>
                    <a:pt x="2080" y="1265"/>
                    <a:pt x="2080" y="1265"/>
                    <a:pt x="2080" y="1265"/>
                  </a:cubicBezTo>
                  <a:cubicBezTo>
                    <a:pt x="1346" y="758"/>
                    <a:pt x="1346" y="758"/>
                    <a:pt x="1346" y="758"/>
                  </a:cubicBezTo>
                  <a:cubicBezTo>
                    <a:pt x="2038" y="201"/>
                    <a:pt x="2038" y="201"/>
                    <a:pt x="2038" y="201"/>
                  </a:cubicBezTo>
                  <a:cubicBezTo>
                    <a:pt x="2060" y="182"/>
                    <a:pt x="2072" y="162"/>
                    <a:pt x="2080" y="13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000"/>
            </a:p>
          </p:txBody>
        </p:sp>
      </p:grpSp>
      <p:cxnSp>
        <p:nvCxnSpPr>
          <p:cNvPr id="20" name="Straight Connector 19"/>
          <p:cNvCxnSpPr/>
          <p:nvPr/>
        </p:nvCxnSpPr>
        <p:spPr>
          <a:xfrm>
            <a:off x="2371725" y="3478213"/>
            <a:ext cx="3888000" cy="0"/>
          </a:xfrm>
          <a:prstGeom prst="line">
            <a:avLst/>
          </a:prstGeom>
          <a:ln w="6350">
            <a:solidFill>
              <a:schemeClr val="tx2"/>
            </a:solidFill>
            <a:prstDash val="dash"/>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p:nvCxnSpPr>
        <p:spPr>
          <a:xfrm>
            <a:off x="7287766" y="3478213"/>
            <a:ext cx="3888000" cy="0"/>
          </a:xfrm>
          <a:prstGeom prst="line">
            <a:avLst/>
          </a:prstGeom>
          <a:ln w="6350">
            <a:solidFill>
              <a:schemeClr val="tx2"/>
            </a:solidFill>
            <a:prstDash val="dash"/>
          </a:ln>
        </p:spPr>
        <p:style>
          <a:lnRef idx="1">
            <a:schemeClr val="accent1"/>
          </a:lnRef>
          <a:fillRef idx="0">
            <a:schemeClr val="accent1"/>
          </a:fillRef>
          <a:effectRef idx="0">
            <a:schemeClr val="accent1"/>
          </a:effectRef>
          <a:fontRef idx="minor">
            <a:schemeClr val="tx1"/>
          </a:fontRef>
        </p:style>
      </p:cxnSp>
      <p:sp>
        <p:nvSpPr>
          <p:cNvPr id="4" name="Picture Placeholder 3"/>
          <p:cNvSpPr>
            <a:spLocks noGrp="1"/>
          </p:cNvSpPr>
          <p:nvPr>
            <p:ph type="pic" sz="quarter" idx="17" hasCustomPrompt="1"/>
          </p:nvPr>
        </p:nvSpPr>
        <p:spPr>
          <a:xfrm>
            <a:off x="2355914" y="1808984"/>
            <a:ext cx="1188677" cy="1547840"/>
          </a:xfrm>
          <a:solidFill>
            <a:srgbClr val="D9DADB"/>
          </a:solidFill>
        </p:spPr>
        <p:txBody>
          <a:bodyPr/>
          <a:lstStyle>
            <a:lvl1pPr marL="0" indent="0">
              <a:buNone/>
              <a:defRPr sz="1400"/>
            </a:lvl1pPr>
          </a:lstStyle>
          <a:p>
            <a:r>
              <a:rPr lang="en-US" dirty="0"/>
              <a:t>Insert picture</a:t>
            </a:r>
          </a:p>
        </p:txBody>
      </p:sp>
      <p:sp>
        <p:nvSpPr>
          <p:cNvPr id="25" name="Picture Placeholder 3"/>
          <p:cNvSpPr>
            <a:spLocks noGrp="1"/>
          </p:cNvSpPr>
          <p:nvPr>
            <p:ph type="pic" sz="quarter" idx="18" hasCustomPrompt="1"/>
          </p:nvPr>
        </p:nvSpPr>
        <p:spPr>
          <a:xfrm>
            <a:off x="7287766" y="1808984"/>
            <a:ext cx="1188677" cy="1547840"/>
          </a:xfrm>
          <a:solidFill>
            <a:srgbClr val="D9DADB"/>
          </a:solidFill>
        </p:spPr>
        <p:txBody>
          <a:bodyPr/>
          <a:lstStyle>
            <a:lvl1pPr marL="0" indent="0">
              <a:buNone/>
              <a:defRPr sz="1400"/>
            </a:lvl1pPr>
          </a:lstStyle>
          <a:p>
            <a:r>
              <a:rPr lang="en-US" dirty="0"/>
              <a:t>Insert picture</a:t>
            </a:r>
          </a:p>
        </p:txBody>
      </p:sp>
      <p:sp>
        <p:nvSpPr>
          <p:cNvPr id="6" name="Text Placeholder 5"/>
          <p:cNvSpPr>
            <a:spLocks noGrp="1"/>
          </p:cNvSpPr>
          <p:nvPr>
            <p:ph type="body" sz="quarter" idx="19" hasCustomPrompt="1"/>
          </p:nvPr>
        </p:nvSpPr>
        <p:spPr>
          <a:xfrm>
            <a:off x="3770065" y="1808521"/>
            <a:ext cx="2463190" cy="192360"/>
          </a:xfrm>
        </p:spPr>
        <p:txBody>
          <a:bodyPr lIns="0" tIns="0" rIns="0" bIns="0" anchor="ctr" anchorCtr="0"/>
          <a:lstStyle>
            <a:lvl1pPr marL="0" indent="0" algn="l">
              <a:lnSpc>
                <a:spcPct val="100000"/>
              </a:lnSpc>
              <a:buNone/>
              <a:defRPr sz="100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Country</a:t>
            </a:r>
          </a:p>
        </p:txBody>
      </p:sp>
      <p:sp>
        <p:nvSpPr>
          <p:cNvPr id="26" name="Text Placeholder 5"/>
          <p:cNvSpPr>
            <a:spLocks noGrp="1"/>
          </p:cNvSpPr>
          <p:nvPr>
            <p:ph type="body" sz="quarter" idx="20" hasCustomPrompt="1"/>
          </p:nvPr>
        </p:nvSpPr>
        <p:spPr>
          <a:xfrm>
            <a:off x="3770065" y="2020337"/>
            <a:ext cx="2463190" cy="266182"/>
          </a:xfrm>
        </p:spPr>
        <p:txBody>
          <a:bodyPr lIns="0" tIns="0" rIns="0" bIns="0" anchor="b" anchorCtr="0"/>
          <a:lstStyle>
            <a:lvl1pPr marL="0" indent="0" algn="l">
              <a:lnSpc>
                <a:spcPct val="100000"/>
              </a:lnSpc>
              <a:buNone/>
              <a:defRPr sz="1400" b="1" baseline="0">
                <a:solidFill>
                  <a:schemeClr val="tx2"/>
                </a:solidFill>
              </a:defRPr>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Name, Surname</a:t>
            </a:r>
          </a:p>
        </p:txBody>
      </p:sp>
      <p:sp>
        <p:nvSpPr>
          <p:cNvPr id="27" name="Text Placeholder 5"/>
          <p:cNvSpPr>
            <a:spLocks noGrp="1"/>
          </p:cNvSpPr>
          <p:nvPr>
            <p:ph type="body" sz="quarter" idx="21" hasCustomPrompt="1"/>
          </p:nvPr>
        </p:nvSpPr>
        <p:spPr>
          <a:xfrm>
            <a:off x="3770065" y="2316912"/>
            <a:ext cx="2463190"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Job Position</a:t>
            </a:r>
          </a:p>
        </p:txBody>
      </p:sp>
      <p:sp>
        <p:nvSpPr>
          <p:cNvPr id="28" name="Text Placeholder 5"/>
          <p:cNvSpPr>
            <a:spLocks noGrp="1"/>
          </p:cNvSpPr>
          <p:nvPr>
            <p:ph type="body" sz="quarter" idx="22" hasCustomPrompt="1"/>
          </p:nvPr>
        </p:nvSpPr>
        <p:spPr>
          <a:xfrm>
            <a:off x="4014948" y="2845588"/>
            <a:ext cx="2218307"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Phone number</a:t>
            </a:r>
          </a:p>
        </p:txBody>
      </p:sp>
      <p:sp>
        <p:nvSpPr>
          <p:cNvPr id="29" name="Text Placeholder 5"/>
          <p:cNvSpPr>
            <a:spLocks noGrp="1"/>
          </p:cNvSpPr>
          <p:nvPr>
            <p:ph type="body" sz="quarter" idx="23" hasCustomPrompt="1"/>
          </p:nvPr>
        </p:nvSpPr>
        <p:spPr>
          <a:xfrm>
            <a:off x="4014948" y="3128395"/>
            <a:ext cx="2218307"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Email address</a:t>
            </a:r>
          </a:p>
        </p:txBody>
      </p:sp>
      <p:sp>
        <p:nvSpPr>
          <p:cNvPr id="30" name="Text Placeholder 5"/>
          <p:cNvSpPr>
            <a:spLocks noGrp="1"/>
          </p:cNvSpPr>
          <p:nvPr>
            <p:ph type="body" sz="quarter" idx="24" hasCustomPrompt="1"/>
          </p:nvPr>
        </p:nvSpPr>
        <p:spPr>
          <a:xfrm>
            <a:off x="8701917" y="1808521"/>
            <a:ext cx="2463190" cy="192360"/>
          </a:xfrm>
        </p:spPr>
        <p:txBody>
          <a:bodyPr lIns="0" tIns="0" rIns="0" bIns="0" anchor="ctr" anchorCtr="0"/>
          <a:lstStyle>
            <a:lvl1pPr marL="0" indent="0" algn="l">
              <a:lnSpc>
                <a:spcPct val="100000"/>
              </a:lnSpc>
              <a:buNone/>
              <a:defRPr sz="100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Country</a:t>
            </a:r>
          </a:p>
        </p:txBody>
      </p:sp>
      <p:sp>
        <p:nvSpPr>
          <p:cNvPr id="31" name="Text Placeholder 5"/>
          <p:cNvSpPr>
            <a:spLocks noGrp="1"/>
          </p:cNvSpPr>
          <p:nvPr>
            <p:ph type="body" sz="quarter" idx="25" hasCustomPrompt="1"/>
          </p:nvPr>
        </p:nvSpPr>
        <p:spPr>
          <a:xfrm>
            <a:off x="8701917" y="2020337"/>
            <a:ext cx="2463190" cy="266182"/>
          </a:xfrm>
        </p:spPr>
        <p:txBody>
          <a:bodyPr lIns="0" tIns="0" rIns="0" bIns="0" anchor="b" anchorCtr="0"/>
          <a:lstStyle>
            <a:lvl1pPr marL="0" indent="0" algn="l">
              <a:lnSpc>
                <a:spcPct val="100000"/>
              </a:lnSpc>
              <a:buNone/>
              <a:defRPr sz="1400" b="1" baseline="0">
                <a:solidFill>
                  <a:schemeClr val="tx2"/>
                </a:solidFill>
              </a:defRPr>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Name, Surname</a:t>
            </a:r>
          </a:p>
        </p:txBody>
      </p:sp>
      <p:sp>
        <p:nvSpPr>
          <p:cNvPr id="32" name="Text Placeholder 5"/>
          <p:cNvSpPr>
            <a:spLocks noGrp="1"/>
          </p:cNvSpPr>
          <p:nvPr>
            <p:ph type="body" sz="quarter" idx="26" hasCustomPrompt="1"/>
          </p:nvPr>
        </p:nvSpPr>
        <p:spPr>
          <a:xfrm>
            <a:off x="8701917" y="2316912"/>
            <a:ext cx="2463190"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Job Position</a:t>
            </a:r>
          </a:p>
        </p:txBody>
      </p:sp>
      <p:sp>
        <p:nvSpPr>
          <p:cNvPr id="33" name="Text Placeholder 5"/>
          <p:cNvSpPr>
            <a:spLocks noGrp="1"/>
          </p:cNvSpPr>
          <p:nvPr>
            <p:ph type="body" sz="quarter" idx="27" hasCustomPrompt="1"/>
          </p:nvPr>
        </p:nvSpPr>
        <p:spPr>
          <a:xfrm>
            <a:off x="8946800" y="2845588"/>
            <a:ext cx="2218307"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Phone number</a:t>
            </a:r>
          </a:p>
        </p:txBody>
      </p:sp>
      <p:sp>
        <p:nvSpPr>
          <p:cNvPr id="34" name="Text Placeholder 5"/>
          <p:cNvSpPr>
            <a:spLocks noGrp="1"/>
          </p:cNvSpPr>
          <p:nvPr>
            <p:ph type="body" sz="quarter" idx="28" hasCustomPrompt="1"/>
          </p:nvPr>
        </p:nvSpPr>
        <p:spPr>
          <a:xfrm>
            <a:off x="8946800" y="3128395"/>
            <a:ext cx="2218307"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Email address</a:t>
            </a:r>
          </a:p>
        </p:txBody>
      </p:sp>
      <p:grpSp>
        <p:nvGrpSpPr>
          <p:cNvPr id="35" name="Gruppieren 2">
            <a:extLst>
              <a:ext uri="{FF2B5EF4-FFF2-40B4-BE49-F238E27FC236}">
                <a16:creationId xmlns:a16="http://schemas.microsoft.com/office/drawing/2014/main" id="{BE697CE9-EBDE-6B4A-BE70-582D92A8A831}"/>
              </a:ext>
            </a:extLst>
          </p:cNvPr>
          <p:cNvGrpSpPr/>
          <p:nvPr/>
        </p:nvGrpSpPr>
        <p:grpSpPr>
          <a:xfrm>
            <a:off x="3770065" y="5045939"/>
            <a:ext cx="171180" cy="171180"/>
            <a:chOff x="3392092" y="1841122"/>
            <a:chExt cx="646508" cy="646508"/>
          </a:xfrm>
        </p:grpSpPr>
        <p:sp>
          <p:nvSpPr>
            <p:cNvPr id="36" name="Rechteck 14">
              <a:extLst>
                <a:ext uri="{FF2B5EF4-FFF2-40B4-BE49-F238E27FC236}">
                  <a16:creationId xmlns:a16="http://schemas.microsoft.com/office/drawing/2014/main" id="{E142A731-19B7-C34D-9534-9E05108F895F}"/>
                </a:ext>
              </a:extLst>
            </p:cNvPr>
            <p:cNvSpPr>
              <a:spLocks noChangeAspect="1"/>
            </p:cNvSpPr>
            <p:nvPr/>
          </p:nvSpPr>
          <p:spPr bwMode="gray">
            <a:xfrm>
              <a:off x="3392092" y="1841122"/>
              <a:ext cx="646508" cy="646508"/>
            </a:xfrm>
            <a:prstGeom prst="rect">
              <a:avLst/>
            </a:prstGeom>
            <a:solidFill>
              <a:srgbClr val="E55A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pPr>
              <a:endParaRPr lang="en-US" sz="1000" dirty="0">
                <a:solidFill>
                  <a:schemeClr val="tx1"/>
                </a:solidFill>
                <a:latin typeface="Arial" pitchFamily="34" charset="0"/>
                <a:cs typeface="Arial" pitchFamily="34" charset="0"/>
              </a:endParaRPr>
            </a:p>
          </p:txBody>
        </p:sp>
        <p:sp>
          <p:nvSpPr>
            <p:cNvPr id="37" name="Freeform 36">
              <a:extLst>
                <a:ext uri="{FF2B5EF4-FFF2-40B4-BE49-F238E27FC236}">
                  <a16:creationId xmlns:a16="http://schemas.microsoft.com/office/drawing/2014/main" id="{F97E84AE-4AD9-4B44-9AA1-F797FC373809}"/>
                </a:ext>
              </a:extLst>
            </p:cNvPr>
            <p:cNvSpPr>
              <a:spLocks noChangeAspect="1"/>
            </p:cNvSpPr>
            <p:nvPr/>
          </p:nvSpPr>
          <p:spPr bwMode="auto">
            <a:xfrm>
              <a:off x="3546638" y="1970424"/>
              <a:ext cx="337415" cy="387905"/>
            </a:xfrm>
            <a:custGeom>
              <a:avLst/>
              <a:gdLst>
                <a:gd name="T0" fmla="*/ 573 w 1624"/>
                <a:gd name="T1" fmla="*/ 1257 h 1867"/>
                <a:gd name="T2" fmla="*/ 662 w 1624"/>
                <a:gd name="T3" fmla="*/ 1288 h 1867"/>
                <a:gd name="T4" fmla="*/ 938 w 1624"/>
                <a:gd name="T5" fmla="*/ 1051 h 1867"/>
                <a:gd name="T6" fmla="*/ 1106 w 1624"/>
                <a:gd name="T7" fmla="*/ 731 h 1867"/>
                <a:gd name="T8" fmla="*/ 1059 w 1624"/>
                <a:gd name="T9" fmla="*/ 645 h 1867"/>
                <a:gd name="T10" fmla="*/ 1001 w 1624"/>
                <a:gd name="T11" fmla="*/ 613 h 1867"/>
                <a:gd name="T12" fmla="*/ 924 w 1624"/>
                <a:gd name="T13" fmla="*/ 432 h 1867"/>
                <a:gd name="T14" fmla="*/ 1114 w 1624"/>
                <a:gd name="T15" fmla="*/ 81 h 1867"/>
                <a:gd name="T16" fmla="*/ 1287 w 1624"/>
                <a:gd name="T17" fmla="*/ 35 h 1867"/>
                <a:gd name="T18" fmla="*/ 1350 w 1624"/>
                <a:gd name="T19" fmla="*/ 69 h 1867"/>
                <a:gd name="T20" fmla="*/ 1527 w 1624"/>
                <a:gd name="T21" fmla="*/ 235 h 1867"/>
                <a:gd name="T22" fmla="*/ 1583 w 1624"/>
                <a:gd name="T23" fmla="*/ 555 h 1867"/>
                <a:gd name="T24" fmla="*/ 1172 w 1624"/>
                <a:gd name="T25" fmla="*/ 1253 h 1867"/>
                <a:gd name="T26" fmla="*/ 586 w 1624"/>
                <a:gd name="T27" fmla="*/ 1803 h 1867"/>
                <a:gd name="T28" fmla="*/ 269 w 1624"/>
                <a:gd name="T29" fmla="*/ 1807 h 1867"/>
                <a:gd name="T30" fmla="*/ 33 w 1624"/>
                <a:gd name="T31" fmla="*/ 1602 h 1867"/>
                <a:gd name="T32" fmla="*/ 2 w 1624"/>
                <a:gd name="T33" fmla="*/ 1508 h 1867"/>
                <a:gd name="T34" fmla="*/ 45 w 1624"/>
                <a:gd name="T35" fmla="*/ 1421 h 1867"/>
                <a:gd name="T36" fmla="*/ 346 w 1624"/>
                <a:gd name="T37" fmla="*/ 1158 h 1867"/>
                <a:gd name="T38" fmla="*/ 448 w 1624"/>
                <a:gd name="T39" fmla="*/ 1145 h 1867"/>
                <a:gd name="T40" fmla="*/ 573 w 1624"/>
                <a:gd name="T41" fmla="*/ 1257 h 18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24" h="1867">
                  <a:moveTo>
                    <a:pt x="573" y="1257"/>
                  </a:moveTo>
                  <a:cubicBezTo>
                    <a:pt x="592" y="1282"/>
                    <a:pt x="630" y="1303"/>
                    <a:pt x="662" y="1288"/>
                  </a:cubicBezTo>
                  <a:cubicBezTo>
                    <a:pt x="753" y="1245"/>
                    <a:pt x="854" y="1156"/>
                    <a:pt x="938" y="1051"/>
                  </a:cubicBezTo>
                  <a:cubicBezTo>
                    <a:pt x="1020" y="948"/>
                    <a:pt x="1084" y="831"/>
                    <a:pt x="1106" y="731"/>
                  </a:cubicBezTo>
                  <a:cubicBezTo>
                    <a:pt x="1113" y="696"/>
                    <a:pt x="1089" y="661"/>
                    <a:pt x="1059" y="645"/>
                  </a:cubicBezTo>
                  <a:cubicBezTo>
                    <a:pt x="1001" y="613"/>
                    <a:pt x="1001" y="613"/>
                    <a:pt x="1001" y="613"/>
                  </a:cubicBezTo>
                  <a:cubicBezTo>
                    <a:pt x="942" y="580"/>
                    <a:pt x="888" y="499"/>
                    <a:pt x="924" y="432"/>
                  </a:cubicBezTo>
                  <a:cubicBezTo>
                    <a:pt x="1114" y="81"/>
                    <a:pt x="1114" y="81"/>
                    <a:pt x="1114" y="81"/>
                  </a:cubicBezTo>
                  <a:cubicBezTo>
                    <a:pt x="1150" y="16"/>
                    <a:pt x="1224" y="0"/>
                    <a:pt x="1287" y="35"/>
                  </a:cubicBezTo>
                  <a:cubicBezTo>
                    <a:pt x="1350" y="69"/>
                    <a:pt x="1350" y="69"/>
                    <a:pt x="1350" y="69"/>
                  </a:cubicBezTo>
                  <a:cubicBezTo>
                    <a:pt x="1415" y="105"/>
                    <a:pt x="1479" y="165"/>
                    <a:pt x="1527" y="235"/>
                  </a:cubicBezTo>
                  <a:cubicBezTo>
                    <a:pt x="1593" y="332"/>
                    <a:pt x="1624" y="442"/>
                    <a:pt x="1583" y="555"/>
                  </a:cubicBezTo>
                  <a:cubicBezTo>
                    <a:pt x="1500" y="781"/>
                    <a:pt x="1351" y="1030"/>
                    <a:pt x="1172" y="1253"/>
                  </a:cubicBezTo>
                  <a:cubicBezTo>
                    <a:pt x="994" y="1477"/>
                    <a:pt x="786" y="1676"/>
                    <a:pt x="586" y="1803"/>
                  </a:cubicBezTo>
                  <a:cubicBezTo>
                    <a:pt x="486" y="1867"/>
                    <a:pt x="375" y="1856"/>
                    <a:pt x="269" y="1807"/>
                  </a:cubicBezTo>
                  <a:cubicBezTo>
                    <a:pt x="157" y="1755"/>
                    <a:pt x="106" y="1695"/>
                    <a:pt x="33" y="1602"/>
                  </a:cubicBezTo>
                  <a:cubicBezTo>
                    <a:pt x="11" y="1573"/>
                    <a:pt x="0" y="1540"/>
                    <a:pt x="2" y="1508"/>
                  </a:cubicBezTo>
                  <a:cubicBezTo>
                    <a:pt x="4" y="1475"/>
                    <a:pt x="18" y="1444"/>
                    <a:pt x="45" y="1421"/>
                  </a:cubicBezTo>
                  <a:cubicBezTo>
                    <a:pt x="70" y="1399"/>
                    <a:pt x="346" y="1158"/>
                    <a:pt x="346" y="1158"/>
                  </a:cubicBezTo>
                  <a:cubicBezTo>
                    <a:pt x="376" y="1134"/>
                    <a:pt x="413" y="1133"/>
                    <a:pt x="448" y="1145"/>
                  </a:cubicBezTo>
                  <a:cubicBezTo>
                    <a:pt x="510" y="1166"/>
                    <a:pt x="536" y="1210"/>
                    <a:pt x="573" y="1257"/>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351" dirty="0"/>
            </a:p>
          </p:txBody>
        </p:sp>
      </p:grpSp>
      <p:grpSp>
        <p:nvGrpSpPr>
          <p:cNvPr id="38" name="Group 3">
            <a:extLst>
              <a:ext uri="{FF2B5EF4-FFF2-40B4-BE49-F238E27FC236}">
                <a16:creationId xmlns:a16="http://schemas.microsoft.com/office/drawing/2014/main" id="{7104BADD-8CD1-6F4A-B894-869C3BDB3EEB}"/>
              </a:ext>
            </a:extLst>
          </p:cNvPr>
          <p:cNvGrpSpPr>
            <a:grpSpLocks noChangeAspect="1"/>
          </p:cNvGrpSpPr>
          <p:nvPr>
            <p:custDataLst>
              <p:tags r:id="rId3"/>
            </p:custDataLst>
          </p:nvPr>
        </p:nvGrpSpPr>
        <p:grpSpPr>
          <a:xfrm>
            <a:off x="3770066" y="5330827"/>
            <a:ext cx="171180" cy="171180"/>
            <a:chOff x="328396" y="5313940"/>
            <a:chExt cx="720000" cy="720000"/>
          </a:xfrm>
        </p:grpSpPr>
        <p:sp>
          <p:nvSpPr>
            <p:cNvPr id="39" name="Rectangle 4">
              <a:extLst>
                <a:ext uri="{FF2B5EF4-FFF2-40B4-BE49-F238E27FC236}">
                  <a16:creationId xmlns:a16="http://schemas.microsoft.com/office/drawing/2014/main" id="{74BE3D5F-1445-6E40-8B49-72E15568383B}"/>
                </a:ext>
              </a:extLst>
            </p:cNvPr>
            <p:cNvSpPr/>
            <p:nvPr/>
          </p:nvSpPr>
          <p:spPr bwMode="gray">
            <a:xfrm>
              <a:off x="328396" y="5313940"/>
              <a:ext cx="720000" cy="720000"/>
            </a:xfrm>
            <a:prstGeom prst="rect">
              <a:avLst/>
            </a:prstGeom>
            <a:solidFill>
              <a:srgbClr val="E55A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pPr>
              <a:endParaRPr lang="en-US" sz="1000" dirty="0">
                <a:solidFill>
                  <a:schemeClr val="tx1"/>
                </a:solidFill>
                <a:latin typeface="Arial" pitchFamily="34" charset="0"/>
                <a:cs typeface="Arial" pitchFamily="34" charset="0"/>
              </a:endParaRPr>
            </a:p>
          </p:txBody>
        </p:sp>
        <p:sp>
          <p:nvSpPr>
            <p:cNvPr id="40" name="Freeform 76">
              <a:extLst>
                <a:ext uri="{FF2B5EF4-FFF2-40B4-BE49-F238E27FC236}">
                  <a16:creationId xmlns:a16="http://schemas.microsoft.com/office/drawing/2014/main" id="{55DB3C95-7D0C-D141-901E-96D692794D2B}"/>
                </a:ext>
              </a:extLst>
            </p:cNvPr>
            <p:cNvSpPr>
              <a:spLocks noChangeAspect="1" noEditPoints="1"/>
            </p:cNvSpPr>
            <p:nvPr/>
          </p:nvSpPr>
          <p:spPr bwMode="auto">
            <a:xfrm>
              <a:off x="456202" y="5509222"/>
              <a:ext cx="504000" cy="329436"/>
            </a:xfrm>
            <a:custGeom>
              <a:avLst/>
              <a:gdLst>
                <a:gd name="T0" fmla="*/ 0 w 2080"/>
                <a:gd name="T1" fmla="*/ 65 h 1360"/>
                <a:gd name="T2" fmla="*/ 0 w 2080"/>
                <a:gd name="T3" fmla="*/ 0 h 1360"/>
                <a:gd name="T4" fmla="*/ 2080 w 2080"/>
                <a:gd name="T5" fmla="*/ 0 h 1360"/>
                <a:gd name="T6" fmla="*/ 2080 w 2080"/>
                <a:gd name="T7" fmla="*/ 65 h 1360"/>
                <a:gd name="T8" fmla="*/ 1089 w 2080"/>
                <a:gd name="T9" fmla="*/ 862 h 1360"/>
                <a:gd name="T10" fmla="*/ 991 w 2080"/>
                <a:gd name="T11" fmla="*/ 862 h 1360"/>
                <a:gd name="T12" fmla="*/ 0 w 2080"/>
                <a:gd name="T13" fmla="*/ 65 h 1360"/>
                <a:gd name="T14" fmla="*/ 1139 w 2080"/>
                <a:gd name="T15" fmla="*/ 924 h 1360"/>
                <a:gd name="T16" fmla="*/ 1282 w 2080"/>
                <a:gd name="T17" fmla="*/ 810 h 1360"/>
                <a:gd name="T18" fmla="*/ 2076 w 2080"/>
                <a:gd name="T19" fmla="*/ 1360 h 1360"/>
                <a:gd name="T20" fmla="*/ 4 w 2080"/>
                <a:gd name="T21" fmla="*/ 1360 h 1360"/>
                <a:gd name="T22" fmla="*/ 798 w 2080"/>
                <a:gd name="T23" fmla="*/ 810 h 1360"/>
                <a:gd name="T24" fmla="*/ 941 w 2080"/>
                <a:gd name="T25" fmla="*/ 924 h 1360"/>
                <a:gd name="T26" fmla="*/ 1139 w 2080"/>
                <a:gd name="T27" fmla="*/ 924 h 1360"/>
                <a:gd name="T28" fmla="*/ 2 w 2080"/>
                <a:gd name="T29" fmla="*/ 137 h 1360"/>
                <a:gd name="T30" fmla="*/ 42 w 2080"/>
                <a:gd name="T31" fmla="*/ 201 h 1360"/>
                <a:gd name="T32" fmla="*/ 734 w 2080"/>
                <a:gd name="T33" fmla="*/ 758 h 1360"/>
                <a:gd name="T34" fmla="*/ 0 w 2080"/>
                <a:gd name="T35" fmla="*/ 1266 h 1360"/>
                <a:gd name="T36" fmla="*/ 0 w 2080"/>
                <a:gd name="T37" fmla="*/ 135 h 1360"/>
                <a:gd name="T38" fmla="*/ 2 w 2080"/>
                <a:gd name="T39" fmla="*/ 137 h 1360"/>
                <a:gd name="T40" fmla="*/ 2080 w 2080"/>
                <a:gd name="T41" fmla="*/ 136 h 1360"/>
                <a:gd name="T42" fmla="*/ 2080 w 2080"/>
                <a:gd name="T43" fmla="*/ 1265 h 1360"/>
                <a:gd name="T44" fmla="*/ 1346 w 2080"/>
                <a:gd name="T45" fmla="*/ 758 h 1360"/>
                <a:gd name="T46" fmla="*/ 2038 w 2080"/>
                <a:gd name="T47" fmla="*/ 201 h 1360"/>
                <a:gd name="T48" fmla="*/ 2080 w 2080"/>
                <a:gd name="T49" fmla="*/ 136 h 1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080" h="1360">
                  <a:moveTo>
                    <a:pt x="0" y="65"/>
                  </a:moveTo>
                  <a:cubicBezTo>
                    <a:pt x="0" y="0"/>
                    <a:pt x="0" y="0"/>
                    <a:pt x="0" y="0"/>
                  </a:cubicBezTo>
                  <a:cubicBezTo>
                    <a:pt x="2080" y="0"/>
                    <a:pt x="2080" y="0"/>
                    <a:pt x="2080" y="0"/>
                  </a:cubicBezTo>
                  <a:cubicBezTo>
                    <a:pt x="2080" y="65"/>
                    <a:pt x="2080" y="65"/>
                    <a:pt x="2080" y="65"/>
                  </a:cubicBezTo>
                  <a:cubicBezTo>
                    <a:pt x="1089" y="862"/>
                    <a:pt x="1089" y="862"/>
                    <a:pt x="1089" y="862"/>
                  </a:cubicBezTo>
                  <a:cubicBezTo>
                    <a:pt x="1060" y="886"/>
                    <a:pt x="1020" y="886"/>
                    <a:pt x="991" y="862"/>
                  </a:cubicBezTo>
                  <a:lnTo>
                    <a:pt x="0" y="65"/>
                  </a:lnTo>
                  <a:close/>
                  <a:moveTo>
                    <a:pt x="1139" y="924"/>
                  </a:moveTo>
                  <a:cubicBezTo>
                    <a:pt x="1282" y="810"/>
                    <a:pt x="1282" y="810"/>
                    <a:pt x="1282" y="810"/>
                  </a:cubicBezTo>
                  <a:cubicBezTo>
                    <a:pt x="2076" y="1360"/>
                    <a:pt x="2076" y="1360"/>
                    <a:pt x="2076" y="1360"/>
                  </a:cubicBezTo>
                  <a:cubicBezTo>
                    <a:pt x="4" y="1360"/>
                    <a:pt x="4" y="1360"/>
                    <a:pt x="4" y="1360"/>
                  </a:cubicBezTo>
                  <a:cubicBezTo>
                    <a:pt x="798" y="810"/>
                    <a:pt x="798" y="810"/>
                    <a:pt x="798" y="810"/>
                  </a:cubicBezTo>
                  <a:cubicBezTo>
                    <a:pt x="941" y="924"/>
                    <a:pt x="941" y="924"/>
                    <a:pt x="941" y="924"/>
                  </a:cubicBezTo>
                  <a:cubicBezTo>
                    <a:pt x="1000" y="972"/>
                    <a:pt x="1080" y="972"/>
                    <a:pt x="1139" y="924"/>
                  </a:cubicBezTo>
                  <a:close/>
                  <a:moveTo>
                    <a:pt x="2" y="137"/>
                  </a:moveTo>
                  <a:cubicBezTo>
                    <a:pt x="8" y="163"/>
                    <a:pt x="22" y="185"/>
                    <a:pt x="42" y="201"/>
                  </a:cubicBezTo>
                  <a:cubicBezTo>
                    <a:pt x="734" y="758"/>
                    <a:pt x="734" y="758"/>
                    <a:pt x="734" y="758"/>
                  </a:cubicBezTo>
                  <a:cubicBezTo>
                    <a:pt x="0" y="1266"/>
                    <a:pt x="0" y="1266"/>
                    <a:pt x="0" y="1266"/>
                  </a:cubicBezTo>
                  <a:cubicBezTo>
                    <a:pt x="0" y="135"/>
                    <a:pt x="0" y="135"/>
                    <a:pt x="0" y="135"/>
                  </a:cubicBezTo>
                  <a:lnTo>
                    <a:pt x="2" y="137"/>
                  </a:lnTo>
                  <a:close/>
                  <a:moveTo>
                    <a:pt x="2080" y="136"/>
                  </a:moveTo>
                  <a:cubicBezTo>
                    <a:pt x="2080" y="1265"/>
                    <a:pt x="2080" y="1265"/>
                    <a:pt x="2080" y="1265"/>
                  </a:cubicBezTo>
                  <a:cubicBezTo>
                    <a:pt x="1346" y="758"/>
                    <a:pt x="1346" y="758"/>
                    <a:pt x="1346" y="758"/>
                  </a:cubicBezTo>
                  <a:cubicBezTo>
                    <a:pt x="2038" y="201"/>
                    <a:pt x="2038" y="201"/>
                    <a:pt x="2038" y="201"/>
                  </a:cubicBezTo>
                  <a:cubicBezTo>
                    <a:pt x="2060" y="182"/>
                    <a:pt x="2072" y="162"/>
                    <a:pt x="2080" y="13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000"/>
            </a:p>
          </p:txBody>
        </p:sp>
      </p:grpSp>
      <p:cxnSp>
        <p:nvCxnSpPr>
          <p:cNvPr id="41" name="Straight Connector 40"/>
          <p:cNvCxnSpPr/>
          <p:nvPr/>
        </p:nvCxnSpPr>
        <p:spPr>
          <a:xfrm>
            <a:off x="2355914" y="5655833"/>
            <a:ext cx="3888000" cy="0"/>
          </a:xfrm>
          <a:prstGeom prst="line">
            <a:avLst/>
          </a:prstGeom>
          <a:ln w="6350">
            <a:solidFill>
              <a:schemeClr val="tx2"/>
            </a:solidFill>
            <a:prstDash val="dash"/>
          </a:ln>
        </p:spPr>
        <p:style>
          <a:lnRef idx="1">
            <a:schemeClr val="accent1"/>
          </a:lnRef>
          <a:fillRef idx="0">
            <a:schemeClr val="accent1"/>
          </a:fillRef>
          <a:effectRef idx="0">
            <a:schemeClr val="accent1"/>
          </a:effectRef>
          <a:fontRef idx="minor">
            <a:schemeClr val="tx1"/>
          </a:fontRef>
        </p:style>
      </p:cxnSp>
      <p:sp>
        <p:nvSpPr>
          <p:cNvPr id="42" name="Picture Placeholder 3"/>
          <p:cNvSpPr>
            <a:spLocks noGrp="1"/>
          </p:cNvSpPr>
          <p:nvPr>
            <p:ph type="pic" sz="quarter" idx="29" hasCustomPrompt="1"/>
          </p:nvPr>
        </p:nvSpPr>
        <p:spPr>
          <a:xfrm>
            <a:off x="2355914" y="3986604"/>
            <a:ext cx="1188677" cy="1547840"/>
          </a:xfrm>
          <a:solidFill>
            <a:srgbClr val="D9DADB"/>
          </a:solidFill>
        </p:spPr>
        <p:txBody>
          <a:bodyPr/>
          <a:lstStyle>
            <a:lvl1pPr marL="0" indent="0">
              <a:buNone/>
              <a:defRPr sz="1400"/>
            </a:lvl1pPr>
          </a:lstStyle>
          <a:p>
            <a:r>
              <a:rPr lang="en-US" dirty="0"/>
              <a:t>Insert picture</a:t>
            </a:r>
          </a:p>
        </p:txBody>
      </p:sp>
      <p:sp>
        <p:nvSpPr>
          <p:cNvPr id="43" name="Text Placeholder 5"/>
          <p:cNvSpPr>
            <a:spLocks noGrp="1"/>
          </p:cNvSpPr>
          <p:nvPr>
            <p:ph type="body" sz="quarter" idx="30" hasCustomPrompt="1"/>
          </p:nvPr>
        </p:nvSpPr>
        <p:spPr>
          <a:xfrm>
            <a:off x="3770065" y="3986141"/>
            <a:ext cx="2463190" cy="192360"/>
          </a:xfrm>
        </p:spPr>
        <p:txBody>
          <a:bodyPr lIns="0" tIns="0" rIns="0" bIns="0" anchor="ctr" anchorCtr="0"/>
          <a:lstStyle>
            <a:lvl1pPr marL="0" indent="0" algn="l">
              <a:lnSpc>
                <a:spcPct val="100000"/>
              </a:lnSpc>
              <a:buNone/>
              <a:defRPr sz="100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Country</a:t>
            </a:r>
          </a:p>
        </p:txBody>
      </p:sp>
      <p:sp>
        <p:nvSpPr>
          <p:cNvPr id="44" name="Text Placeholder 5"/>
          <p:cNvSpPr>
            <a:spLocks noGrp="1"/>
          </p:cNvSpPr>
          <p:nvPr>
            <p:ph type="body" sz="quarter" idx="31" hasCustomPrompt="1"/>
          </p:nvPr>
        </p:nvSpPr>
        <p:spPr>
          <a:xfrm>
            <a:off x="3770065" y="4197957"/>
            <a:ext cx="2463190" cy="266182"/>
          </a:xfrm>
        </p:spPr>
        <p:txBody>
          <a:bodyPr lIns="0" tIns="0" rIns="0" bIns="0" anchor="b" anchorCtr="0"/>
          <a:lstStyle>
            <a:lvl1pPr marL="0" indent="0" algn="l">
              <a:lnSpc>
                <a:spcPct val="100000"/>
              </a:lnSpc>
              <a:buNone/>
              <a:defRPr sz="1400" b="1" baseline="0">
                <a:solidFill>
                  <a:schemeClr val="tx2"/>
                </a:solidFill>
              </a:defRPr>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Name, Surname</a:t>
            </a:r>
          </a:p>
        </p:txBody>
      </p:sp>
      <p:sp>
        <p:nvSpPr>
          <p:cNvPr id="45" name="Text Placeholder 5"/>
          <p:cNvSpPr>
            <a:spLocks noGrp="1"/>
          </p:cNvSpPr>
          <p:nvPr>
            <p:ph type="body" sz="quarter" idx="32" hasCustomPrompt="1"/>
          </p:nvPr>
        </p:nvSpPr>
        <p:spPr>
          <a:xfrm>
            <a:off x="3770065" y="4494532"/>
            <a:ext cx="2463190"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Job Position</a:t>
            </a:r>
          </a:p>
        </p:txBody>
      </p:sp>
      <p:sp>
        <p:nvSpPr>
          <p:cNvPr id="46" name="Text Placeholder 5"/>
          <p:cNvSpPr>
            <a:spLocks noGrp="1"/>
          </p:cNvSpPr>
          <p:nvPr>
            <p:ph type="body" sz="quarter" idx="33" hasCustomPrompt="1"/>
          </p:nvPr>
        </p:nvSpPr>
        <p:spPr>
          <a:xfrm>
            <a:off x="4014948" y="5023208"/>
            <a:ext cx="2218307"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Phone number</a:t>
            </a:r>
          </a:p>
        </p:txBody>
      </p:sp>
      <p:sp>
        <p:nvSpPr>
          <p:cNvPr id="47" name="Text Placeholder 5"/>
          <p:cNvSpPr>
            <a:spLocks noGrp="1"/>
          </p:cNvSpPr>
          <p:nvPr>
            <p:ph type="body" sz="quarter" idx="34" hasCustomPrompt="1"/>
          </p:nvPr>
        </p:nvSpPr>
        <p:spPr>
          <a:xfrm>
            <a:off x="4014948" y="5306015"/>
            <a:ext cx="2218307"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Email address</a:t>
            </a:r>
          </a:p>
        </p:txBody>
      </p:sp>
      <p:grpSp>
        <p:nvGrpSpPr>
          <p:cNvPr id="48" name="Gruppieren 2">
            <a:extLst>
              <a:ext uri="{FF2B5EF4-FFF2-40B4-BE49-F238E27FC236}">
                <a16:creationId xmlns:a16="http://schemas.microsoft.com/office/drawing/2014/main" id="{BE697CE9-EBDE-6B4A-BE70-582D92A8A831}"/>
              </a:ext>
            </a:extLst>
          </p:cNvPr>
          <p:cNvGrpSpPr/>
          <p:nvPr/>
        </p:nvGrpSpPr>
        <p:grpSpPr>
          <a:xfrm>
            <a:off x="8701917" y="5043528"/>
            <a:ext cx="171180" cy="171180"/>
            <a:chOff x="3392092" y="1841122"/>
            <a:chExt cx="646508" cy="646508"/>
          </a:xfrm>
        </p:grpSpPr>
        <p:sp>
          <p:nvSpPr>
            <p:cNvPr id="49" name="Rechteck 14">
              <a:extLst>
                <a:ext uri="{FF2B5EF4-FFF2-40B4-BE49-F238E27FC236}">
                  <a16:creationId xmlns:a16="http://schemas.microsoft.com/office/drawing/2014/main" id="{E142A731-19B7-C34D-9534-9E05108F895F}"/>
                </a:ext>
              </a:extLst>
            </p:cNvPr>
            <p:cNvSpPr>
              <a:spLocks noChangeAspect="1"/>
            </p:cNvSpPr>
            <p:nvPr/>
          </p:nvSpPr>
          <p:spPr bwMode="gray">
            <a:xfrm>
              <a:off x="3392092" y="1841122"/>
              <a:ext cx="646508" cy="646508"/>
            </a:xfrm>
            <a:prstGeom prst="rect">
              <a:avLst/>
            </a:prstGeom>
            <a:solidFill>
              <a:srgbClr val="E55A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pPr>
              <a:endParaRPr lang="en-US" sz="1000" dirty="0">
                <a:solidFill>
                  <a:schemeClr val="tx1"/>
                </a:solidFill>
                <a:latin typeface="Arial" pitchFamily="34" charset="0"/>
                <a:cs typeface="Arial" pitchFamily="34" charset="0"/>
              </a:endParaRPr>
            </a:p>
          </p:txBody>
        </p:sp>
        <p:sp>
          <p:nvSpPr>
            <p:cNvPr id="50" name="Freeform 49">
              <a:extLst>
                <a:ext uri="{FF2B5EF4-FFF2-40B4-BE49-F238E27FC236}">
                  <a16:creationId xmlns:a16="http://schemas.microsoft.com/office/drawing/2014/main" id="{F97E84AE-4AD9-4B44-9AA1-F797FC373809}"/>
                </a:ext>
              </a:extLst>
            </p:cNvPr>
            <p:cNvSpPr>
              <a:spLocks noChangeAspect="1"/>
            </p:cNvSpPr>
            <p:nvPr/>
          </p:nvSpPr>
          <p:spPr bwMode="auto">
            <a:xfrm>
              <a:off x="3546638" y="1970424"/>
              <a:ext cx="337415" cy="387905"/>
            </a:xfrm>
            <a:custGeom>
              <a:avLst/>
              <a:gdLst>
                <a:gd name="T0" fmla="*/ 573 w 1624"/>
                <a:gd name="T1" fmla="*/ 1257 h 1867"/>
                <a:gd name="T2" fmla="*/ 662 w 1624"/>
                <a:gd name="T3" fmla="*/ 1288 h 1867"/>
                <a:gd name="T4" fmla="*/ 938 w 1624"/>
                <a:gd name="T5" fmla="*/ 1051 h 1867"/>
                <a:gd name="T6" fmla="*/ 1106 w 1624"/>
                <a:gd name="T7" fmla="*/ 731 h 1867"/>
                <a:gd name="T8" fmla="*/ 1059 w 1624"/>
                <a:gd name="T9" fmla="*/ 645 h 1867"/>
                <a:gd name="T10" fmla="*/ 1001 w 1624"/>
                <a:gd name="T11" fmla="*/ 613 h 1867"/>
                <a:gd name="T12" fmla="*/ 924 w 1624"/>
                <a:gd name="T13" fmla="*/ 432 h 1867"/>
                <a:gd name="T14" fmla="*/ 1114 w 1624"/>
                <a:gd name="T15" fmla="*/ 81 h 1867"/>
                <a:gd name="T16" fmla="*/ 1287 w 1624"/>
                <a:gd name="T17" fmla="*/ 35 h 1867"/>
                <a:gd name="T18" fmla="*/ 1350 w 1624"/>
                <a:gd name="T19" fmla="*/ 69 h 1867"/>
                <a:gd name="T20" fmla="*/ 1527 w 1624"/>
                <a:gd name="T21" fmla="*/ 235 h 1867"/>
                <a:gd name="T22" fmla="*/ 1583 w 1624"/>
                <a:gd name="T23" fmla="*/ 555 h 1867"/>
                <a:gd name="T24" fmla="*/ 1172 w 1624"/>
                <a:gd name="T25" fmla="*/ 1253 h 1867"/>
                <a:gd name="T26" fmla="*/ 586 w 1624"/>
                <a:gd name="T27" fmla="*/ 1803 h 1867"/>
                <a:gd name="T28" fmla="*/ 269 w 1624"/>
                <a:gd name="T29" fmla="*/ 1807 h 1867"/>
                <a:gd name="T30" fmla="*/ 33 w 1624"/>
                <a:gd name="T31" fmla="*/ 1602 h 1867"/>
                <a:gd name="T32" fmla="*/ 2 w 1624"/>
                <a:gd name="T33" fmla="*/ 1508 h 1867"/>
                <a:gd name="T34" fmla="*/ 45 w 1624"/>
                <a:gd name="T35" fmla="*/ 1421 h 1867"/>
                <a:gd name="T36" fmla="*/ 346 w 1624"/>
                <a:gd name="T37" fmla="*/ 1158 h 1867"/>
                <a:gd name="T38" fmla="*/ 448 w 1624"/>
                <a:gd name="T39" fmla="*/ 1145 h 1867"/>
                <a:gd name="T40" fmla="*/ 573 w 1624"/>
                <a:gd name="T41" fmla="*/ 1257 h 18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24" h="1867">
                  <a:moveTo>
                    <a:pt x="573" y="1257"/>
                  </a:moveTo>
                  <a:cubicBezTo>
                    <a:pt x="592" y="1282"/>
                    <a:pt x="630" y="1303"/>
                    <a:pt x="662" y="1288"/>
                  </a:cubicBezTo>
                  <a:cubicBezTo>
                    <a:pt x="753" y="1245"/>
                    <a:pt x="854" y="1156"/>
                    <a:pt x="938" y="1051"/>
                  </a:cubicBezTo>
                  <a:cubicBezTo>
                    <a:pt x="1020" y="948"/>
                    <a:pt x="1084" y="831"/>
                    <a:pt x="1106" y="731"/>
                  </a:cubicBezTo>
                  <a:cubicBezTo>
                    <a:pt x="1113" y="696"/>
                    <a:pt x="1089" y="661"/>
                    <a:pt x="1059" y="645"/>
                  </a:cubicBezTo>
                  <a:cubicBezTo>
                    <a:pt x="1001" y="613"/>
                    <a:pt x="1001" y="613"/>
                    <a:pt x="1001" y="613"/>
                  </a:cubicBezTo>
                  <a:cubicBezTo>
                    <a:pt x="942" y="580"/>
                    <a:pt x="888" y="499"/>
                    <a:pt x="924" y="432"/>
                  </a:cubicBezTo>
                  <a:cubicBezTo>
                    <a:pt x="1114" y="81"/>
                    <a:pt x="1114" y="81"/>
                    <a:pt x="1114" y="81"/>
                  </a:cubicBezTo>
                  <a:cubicBezTo>
                    <a:pt x="1150" y="16"/>
                    <a:pt x="1224" y="0"/>
                    <a:pt x="1287" y="35"/>
                  </a:cubicBezTo>
                  <a:cubicBezTo>
                    <a:pt x="1350" y="69"/>
                    <a:pt x="1350" y="69"/>
                    <a:pt x="1350" y="69"/>
                  </a:cubicBezTo>
                  <a:cubicBezTo>
                    <a:pt x="1415" y="105"/>
                    <a:pt x="1479" y="165"/>
                    <a:pt x="1527" y="235"/>
                  </a:cubicBezTo>
                  <a:cubicBezTo>
                    <a:pt x="1593" y="332"/>
                    <a:pt x="1624" y="442"/>
                    <a:pt x="1583" y="555"/>
                  </a:cubicBezTo>
                  <a:cubicBezTo>
                    <a:pt x="1500" y="781"/>
                    <a:pt x="1351" y="1030"/>
                    <a:pt x="1172" y="1253"/>
                  </a:cubicBezTo>
                  <a:cubicBezTo>
                    <a:pt x="994" y="1477"/>
                    <a:pt x="786" y="1676"/>
                    <a:pt x="586" y="1803"/>
                  </a:cubicBezTo>
                  <a:cubicBezTo>
                    <a:pt x="486" y="1867"/>
                    <a:pt x="375" y="1856"/>
                    <a:pt x="269" y="1807"/>
                  </a:cubicBezTo>
                  <a:cubicBezTo>
                    <a:pt x="157" y="1755"/>
                    <a:pt x="106" y="1695"/>
                    <a:pt x="33" y="1602"/>
                  </a:cubicBezTo>
                  <a:cubicBezTo>
                    <a:pt x="11" y="1573"/>
                    <a:pt x="0" y="1540"/>
                    <a:pt x="2" y="1508"/>
                  </a:cubicBezTo>
                  <a:cubicBezTo>
                    <a:pt x="4" y="1475"/>
                    <a:pt x="18" y="1444"/>
                    <a:pt x="45" y="1421"/>
                  </a:cubicBezTo>
                  <a:cubicBezTo>
                    <a:pt x="70" y="1399"/>
                    <a:pt x="346" y="1158"/>
                    <a:pt x="346" y="1158"/>
                  </a:cubicBezTo>
                  <a:cubicBezTo>
                    <a:pt x="376" y="1134"/>
                    <a:pt x="413" y="1133"/>
                    <a:pt x="448" y="1145"/>
                  </a:cubicBezTo>
                  <a:cubicBezTo>
                    <a:pt x="510" y="1166"/>
                    <a:pt x="536" y="1210"/>
                    <a:pt x="573" y="1257"/>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351" dirty="0"/>
            </a:p>
          </p:txBody>
        </p:sp>
      </p:grpSp>
      <p:grpSp>
        <p:nvGrpSpPr>
          <p:cNvPr id="51" name="Group 3">
            <a:extLst>
              <a:ext uri="{FF2B5EF4-FFF2-40B4-BE49-F238E27FC236}">
                <a16:creationId xmlns:a16="http://schemas.microsoft.com/office/drawing/2014/main" id="{7104BADD-8CD1-6F4A-B894-869C3BDB3EEB}"/>
              </a:ext>
            </a:extLst>
          </p:cNvPr>
          <p:cNvGrpSpPr>
            <a:grpSpLocks noChangeAspect="1"/>
          </p:cNvGrpSpPr>
          <p:nvPr>
            <p:custDataLst>
              <p:tags r:id="rId4"/>
            </p:custDataLst>
          </p:nvPr>
        </p:nvGrpSpPr>
        <p:grpSpPr>
          <a:xfrm>
            <a:off x="8701918" y="5328416"/>
            <a:ext cx="171180" cy="171180"/>
            <a:chOff x="328396" y="5313940"/>
            <a:chExt cx="720000" cy="720000"/>
          </a:xfrm>
        </p:grpSpPr>
        <p:sp>
          <p:nvSpPr>
            <p:cNvPr id="52" name="Rectangle 4">
              <a:extLst>
                <a:ext uri="{FF2B5EF4-FFF2-40B4-BE49-F238E27FC236}">
                  <a16:creationId xmlns:a16="http://schemas.microsoft.com/office/drawing/2014/main" id="{74BE3D5F-1445-6E40-8B49-72E15568383B}"/>
                </a:ext>
              </a:extLst>
            </p:cNvPr>
            <p:cNvSpPr/>
            <p:nvPr/>
          </p:nvSpPr>
          <p:spPr bwMode="gray">
            <a:xfrm>
              <a:off x="328396" y="5313940"/>
              <a:ext cx="720000" cy="720000"/>
            </a:xfrm>
            <a:prstGeom prst="rect">
              <a:avLst/>
            </a:prstGeom>
            <a:solidFill>
              <a:srgbClr val="E55A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pPr>
              <a:endParaRPr lang="en-US" sz="1000" dirty="0">
                <a:solidFill>
                  <a:schemeClr val="tx1"/>
                </a:solidFill>
                <a:latin typeface="Arial" pitchFamily="34" charset="0"/>
                <a:cs typeface="Arial" pitchFamily="34" charset="0"/>
              </a:endParaRPr>
            </a:p>
          </p:txBody>
        </p:sp>
        <p:sp>
          <p:nvSpPr>
            <p:cNvPr id="53" name="Freeform 76">
              <a:extLst>
                <a:ext uri="{FF2B5EF4-FFF2-40B4-BE49-F238E27FC236}">
                  <a16:creationId xmlns:a16="http://schemas.microsoft.com/office/drawing/2014/main" id="{55DB3C95-7D0C-D141-901E-96D692794D2B}"/>
                </a:ext>
              </a:extLst>
            </p:cNvPr>
            <p:cNvSpPr>
              <a:spLocks noChangeAspect="1" noEditPoints="1"/>
            </p:cNvSpPr>
            <p:nvPr/>
          </p:nvSpPr>
          <p:spPr bwMode="auto">
            <a:xfrm>
              <a:off x="456202" y="5509222"/>
              <a:ext cx="504000" cy="329436"/>
            </a:xfrm>
            <a:custGeom>
              <a:avLst/>
              <a:gdLst>
                <a:gd name="T0" fmla="*/ 0 w 2080"/>
                <a:gd name="T1" fmla="*/ 65 h 1360"/>
                <a:gd name="T2" fmla="*/ 0 w 2080"/>
                <a:gd name="T3" fmla="*/ 0 h 1360"/>
                <a:gd name="T4" fmla="*/ 2080 w 2080"/>
                <a:gd name="T5" fmla="*/ 0 h 1360"/>
                <a:gd name="T6" fmla="*/ 2080 w 2080"/>
                <a:gd name="T7" fmla="*/ 65 h 1360"/>
                <a:gd name="T8" fmla="*/ 1089 w 2080"/>
                <a:gd name="T9" fmla="*/ 862 h 1360"/>
                <a:gd name="T10" fmla="*/ 991 w 2080"/>
                <a:gd name="T11" fmla="*/ 862 h 1360"/>
                <a:gd name="T12" fmla="*/ 0 w 2080"/>
                <a:gd name="T13" fmla="*/ 65 h 1360"/>
                <a:gd name="T14" fmla="*/ 1139 w 2080"/>
                <a:gd name="T15" fmla="*/ 924 h 1360"/>
                <a:gd name="T16" fmla="*/ 1282 w 2080"/>
                <a:gd name="T17" fmla="*/ 810 h 1360"/>
                <a:gd name="T18" fmla="*/ 2076 w 2080"/>
                <a:gd name="T19" fmla="*/ 1360 h 1360"/>
                <a:gd name="T20" fmla="*/ 4 w 2080"/>
                <a:gd name="T21" fmla="*/ 1360 h 1360"/>
                <a:gd name="T22" fmla="*/ 798 w 2080"/>
                <a:gd name="T23" fmla="*/ 810 h 1360"/>
                <a:gd name="T24" fmla="*/ 941 w 2080"/>
                <a:gd name="T25" fmla="*/ 924 h 1360"/>
                <a:gd name="T26" fmla="*/ 1139 w 2080"/>
                <a:gd name="T27" fmla="*/ 924 h 1360"/>
                <a:gd name="T28" fmla="*/ 2 w 2080"/>
                <a:gd name="T29" fmla="*/ 137 h 1360"/>
                <a:gd name="T30" fmla="*/ 42 w 2080"/>
                <a:gd name="T31" fmla="*/ 201 h 1360"/>
                <a:gd name="T32" fmla="*/ 734 w 2080"/>
                <a:gd name="T33" fmla="*/ 758 h 1360"/>
                <a:gd name="T34" fmla="*/ 0 w 2080"/>
                <a:gd name="T35" fmla="*/ 1266 h 1360"/>
                <a:gd name="T36" fmla="*/ 0 w 2080"/>
                <a:gd name="T37" fmla="*/ 135 h 1360"/>
                <a:gd name="T38" fmla="*/ 2 w 2080"/>
                <a:gd name="T39" fmla="*/ 137 h 1360"/>
                <a:gd name="T40" fmla="*/ 2080 w 2080"/>
                <a:gd name="T41" fmla="*/ 136 h 1360"/>
                <a:gd name="T42" fmla="*/ 2080 w 2080"/>
                <a:gd name="T43" fmla="*/ 1265 h 1360"/>
                <a:gd name="T44" fmla="*/ 1346 w 2080"/>
                <a:gd name="T45" fmla="*/ 758 h 1360"/>
                <a:gd name="T46" fmla="*/ 2038 w 2080"/>
                <a:gd name="T47" fmla="*/ 201 h 1360"/>
                <a:gd name="T48" fmla="*/ 2080 w 2080"/>
                <a:gd name="T49" fmla="*/ 136 h 1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080" h="1360">
                  <a:moveTo>
                    <a:pt x="0" y="65"/>
                  </a:moveTo>
                  <a:cubicBezTo>
                    <a:pt x="0" y="0"/>
                    <a:pt x="0" y="0"/>
                    <a:pt x="0" y="0"/>
                  </a:cubicBezTo>
                  <a:cubicBezTo>
                    <a:pt x="2080" y="0"/>
                    <a:pt x="2080" y="0"/>
                    <a:pt x="2080" y="0"/>
                  </a:cubicBezTo>
                  <a:cubicBezTo>
                    <a:pt x="2080" y="65"/>
                    <a:pt x="2080" y="65"/>
                    <a:pt x="2080" y="65"/>
                  </a:cubicBezTo>
                  <a:cubicBezTo>
                    <a:pt x="1089" y="862"/>
                    <a:pt x="1089" y="862"/>
                    <a:pt x="1089" y="862"/>
                  </a:cubicBezTo>
                  <a:cubicBezTo>
                    <a:pt x="1060" y="886"/>
                    <a:pt x="1020" y="886"/>
                    <a:pt x="991" y="862"/>
                  </a:cubicBezTo>
                  <a:lnTo>
                    <a:pt x="0" y="65"/>
                  </a:lnTo>
                  <a:close/>
                  <a:moveTo>
                    <a:pt x="1139" y="924"/>
                  </a:moveTo>
                  <a:cubicBezTo>
                    <a:pt x="1282" y="810"/>
                    <a:pt x="1282" y="810"/>
                    <a:pt x="1282" y="810"/>
                  </a:cubicBezTo>
                  <a:cubicBezTo>
                    <a:pt x="2076" y="1360"/>
                    <a:pt x="2076" y="1360"/>
                    <a:pt x="2076" y="1360"/>
                  </a:cubicBezTo>
                  <a:cubicBezTo>
                    <a:pt x="4" y="1360"/>
                    <a:pt x="4" y="1360"/>
                    <a:pt x="4" y="1360"/>
                  </a:cubicBezTo>
                  <a:cubicBezTo>
                    <a:pt x="798" y="810"/>
                    <a:pt x="798" y="810"/>
                    <a:pt x="798" y="810"/>
                  </a:cubicBezTo>
                  <a:cubicBezTo>
                    <a:pt x="941" y="924"/>
                    <a:pt x="941" y="924"/>
                    <a:pt x="941" y="924"/>
                  </a:cubicBezTo>
                  <a:cubicBezTo>
                    <a:pt x="1000" y="972"/>
                    <a:pt x="1080" y="972"/>
                    <a:pt x="1139" y="924"/>
                  </a:cubicBezTo>
                  <a:close/>
                  <a:moveTo>
                    <a:pt x="2" y="137"/>
                  </a:moveTo>
                  <a:cubicBezTo>
                    <a:pt x="8" y="163"/>
                    <a:pt x="22" y="185"/>
                    <a:pt x="42" y="201"/>
                  </a:cubicBezTo>
                  <a:cubicBezTo>
                    <a:pt x="734" y="758"/>
                    <a:pt x="734" y="758"/>
                    <a:pt x="734" y="758"/>
                  </a:cubicBezTo>
                  <a:cubicBezTo>
                    <a:pt x="0" y="1266"/>
                    <a:pt x="0" y="1266"/>
                    <a:pt x="0" y="1266"/>
                  </a:cubicBezTo>
                  <a:cubicBezTo>
                    <a:pt x="0" y="135"/>
                    <a:pt x="0" y="135"/>
                    <a:pt x="0" y="135"/>
                  </a:cubicBezTo>
                  <a:lnTo>
                    <a:pt x="2" y="137"/>
                  </a:lnTo>
                  <a:close/>
                  <a:moveTo>
                    <a:pt x="2080" y="136"/>
                  </a:moveTo>
                  <a:cubicBezTo>
                    <a:pt x="2080" y="1265"/>
                    <a:pt x="2080" y="1265"/>
                    <a:pt x="2080" y="1265"/>
                  </a:cubicBezTo>
                  <a:cubicBezTo>
                    <a:pt x="1346" y="758"/>
                    <a:pt x="1346" y="758"/>
                    <a:pt x="1346" y="758"/>
                  </a:cubicBezTo>
                  <a:cubicBezTo>
                    <a:pt x="2038" y="201"/>
                    <a:pt x="2038" y="201"/>
                    <a:pt x="2038" y="201"/>
                  </a:cubicBezTo>
                  <a:cubicBezTo>
                    <a:pt x="2060" y="182"/>
                    <a:pt x="2072" y="162"/>
                    <a:pt x="2080" y="13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000"/>
            </a:p>
          </p:txBody>
        </p:sp>
      </p:grpSp>
      <p:cxnSp>
        <p:nvCxnSpPr>
          <p:cNvPr id="54" name="Straight Connector 53"/>
          <p:cNvCxnSpPr/>
          <p:nvPr/>
        </p:nvCxnSpPr>
        <p:spPr>
          <a:xfrm>
            <a:off x="7287766" y="5653422"/>
            <a:ext cx="3888000" cy="0"/>
          </a:xfrm>
          <a:prstGeom prst="line">
            <a:avLst/>
          </a:prstGeom>
          <a:ln w="6350">
            <a:solidFill>
              <a:schemeClr val="tx2"/>
            </a:solidFill>
            <a:prstDash val="dash"/>
          </a:ln>
        </p:spPr>
        <p:style>
          <a:lnRef idx="1">
            <a:schemeClr val="accent1"/>
          </a:lnRef>
          <a:fillRef idx="0">
            <a:schemeClr val="accent1"/>
          </a:fillRef>
          <a:effectRef idx="0">
            <a:schemeClr val="accent1"/>
          </a:effectRef>
          <a:fontRef idx="minor">
            <a:schemeClr val="tx1"/>
          </a:fontRef>
        </p:style>
      </p:cxnSp>
      <p:sp>
        <p:nvSpPr>
          <p:cNvPr id="55" name="Picture Placeholder 3"/>
          <p:cNvSpPr>
            <a:spLocks noGrp="1"/>
          </p:cNvSpPr>
          <p:nvPr>
            <p:ph type="pic" sz="quarter" idx="35" hasCustomPrompt="1"/>
          </p:nvPr>
        </p:nvSpPr>
        <p:spPr>
          <a:xfrm>
            <a:off x="7287766" y="3984193"/>
            <a:ext cx="1188677" cy="1547840"/>
          </a:xfrm>
          <a:solidFill>
            <a:srgbClr val="D9DADB"/>
          </a:solidFill>
        </p:spPr>
        <p:txBody>
          <a:bodyPr/>
          <a:lstStyle>
            <a:lvl1pPr marL="0" indent="0">
              <a:buNone/>
              <a:defRPr sz="1400"/>
            </a:lvl1pPr>
          </a:lstStyle>
          <a:p>
            <a:r>
              <a:rPr lang="en-US" dirty="0"/>
              <a:t>Insert picture</a:t>
            </a:r>
          </a:p>
        </p:txBody>
      </p:sp>
      <p:sp>
        <p:nvSpPr>
          <p:cNvPr id="56" name="Text Placeholder 5"/>
          <p:cNvSpPr>
            <a:spLocks noGrp="1"/>
          </p:cNvSpPr>
          <p:nvPr>
            <p:ph type="body" sz="quarter" idx="36" hasCustomPrompt="1"/>
          </p:nvPr>
        </p:nvSpPr>
        <p:spPr>
          <a:xfrm>
            <a:off x="8701917" y="3983730"/>
            <a:ext cx="2463190" cy="192360"/>
          </a:xfrm>
        </p:spPr>
        <p:txBody>
          <a:bodyPr lIns="0" tIns="0" rIns="0" bIns="0" anchor="ctr" anchorCtr="0"/>
          <a:lstStyle>
            <a:lvl1pPr marL="0" indent="0" algn="l">
              <a:lnSpc>
                <a:spcPct val="100000"/>
              </a:lnSpc>
              <a:buNone/>
              <a:defRPr sz="100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Country</a:t>
            </a:r>
          </a:p>
        </p:txBody>
      </p:sp>
      <p:sp>
        <p:nvSpPr>
          <p:cNvPr id="57" name="Text Placeholder 5"/>
          <p:cNvSpPr>
            <a:spLocks noGrp="1"/>
          </p:cNvSpPr>
          <p:nvPr>
            <p:ph type="body" sz="quarter" idx="37" hasCustomPrompt="1"/>
          </p:nvPr>
        </p:nvSpPr>
        <p:spPr>
          <a:xfrm>
            <a:off x="8701917" y="4195546"/>
            <a:ext cx="2463190" cy="266182"/>
          </a:xfrm>
        </p:spPr>
        <p:txBody>
          <a:bodyPr lIns="0" tIns="0" rIns="0" bIns="0" anchor="b" anchorCtr="0"/>
          <a:lstStyle>
            <a:lvl1pPr marL="0" indent="0" algn="l">
              <a:lnSpc>
                <a:spcPct val="100000"/>
              </a:lnSpc>
              <a:buNone/>
              <a:defRPr sz="1400" b="1" baseline="0">
                <a:solidFill>
                  <a:schemeClr val="tx2"/>
                </a:solidFill>
              </a:defRPr>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Name, Surname</a:t>
            </a:r>
          </a:p>
        </p:txBody>
      </p:sp>
      <p:sp>
        <p:nvSpPr>
          <p:cNvPr id="58" name="Text Placeholder 5"/>
          <p:cNvSpPr>
            <a:spLocks noGrp="1"/>
          </p:cNvSpPr>
          <p:nvPr>
            <p:ph type="body" sz="quarter" idx="38" hasCustomPrompt="1"/>
          </p:nvPr>
        </p:nvSpPr>
        <p:spPr>
          <a:xfrm>
            <a:off x="8701917" y="4492121"/>
            <a:ext cx="2463190"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Job Position</a:t>
            </a:r>
          </a:p>
        </p:txBody>
      </p:sp>
      <p:sp>
        <p:nvSpPr>
          <p:cNvPr id="59" name="Text Placeholder 5"/>
          <p:cNvSpPr>
            <a:spLocks noGrp="1"/>
          </p:cNvSpPr>
          <p:nvPr>
            <p:ph type="body" sz="quarter" idx="39" hasCustomPrompt="1"/>
          </p:nvPr>
        </p:nvSpPr>
        <p:spPr>
          <a:xfrm>
            <a:off x="8946800" y="5020797"/>
            <a:ext cx="2218307"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Phone number</a:t>
            </a:r>
          </a:p>
        </p:txBody>
      </p:sp>
      <p:sp>
        <p:nvSpPr>
          <p:cNvPr id="60" name="Text Placeholder 5"/>
          <p:cNvSpPr>
            <a:spLocks noGrp="1"/>
          </p:cNvSpPr>
          <p:nvPr>
            <p:ph type="body" sz="quarter" idx="40" hasCustomPrompt="1"/>
          </p:nvPr>
        </p:nvSpPr>
        <p:spPr>
          <a:xfrm>
            <a:off x="8946800" y="5303604"/>
            <a:ext cx="2218307"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Email address</a:t>
            </a:r>
          </a:p>
        </p:txBody>
      </p:sp>
    </p:spTree>
    <p:extLst>
      <p:ext uri="{BB962C8B-B14F-4D97-AF65-F5344CB8AC3E}">
        <p14:creationId xmlns:p14="http://schemas.microsoft.com/office/powerpoint/2010/main" val="997573487"/>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Agenda">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p>
            <a:r>
              <a:rPr lang="en-US"/>
              <a:t>Click to add headline</a:t>
            </a:r>
          </a:p>
        </p:txBody>
      </p:sp>
      <p:sp>
        <p:nvSpPr>
          <p:cNvPr id="3" name="Content Placeholder 2"/>
          <p:cNvSpPr>
            <a:spLocks noGrp="1"/>
          </p:cNvSpPr>
          <p:nvPr>
            <p:ph idx="1" hasCustomPrompt="1"/>
          </p:nvPr>
        </p:nvSpPr>
        <p:spPr bwMode="gray"/>
        <p:txBody>
          <a:bodyPr/>
          <a:lstStyle>
            <a:lvl1pPr marL="479988" indent="-479988">
              <a:spcBef>
                <a:spcPts val="1600"/>
              </a:spcBef>
              <a:spcAft>
                <a:spcPts val="0"/>
              </a:spcAft>
              <a:buClr>
                <a:schemeClr val="tx2"/>
              </a:buClr>
              <a:buFont typeface="+mj-lt"/>
              <a:buAutoNum type="arabicPeriod"/>
              <a:tabLst>
                <a:tab pos="11327717" algn="r"/>
              </a:tabLst>
              <a:defRPr sz="2400">
                <a:solidFill>
                  <a:schemeClr val="tx1"/>
                </a:solidFill>
              </a:defRPr>
            </a:lvl1pPr>
            <a:lvl2pPr marL="478355" indent="0">
              <a:spcBef>
                <a:spcPts val="1600"/>
              </a:spcBef>
              <a:spcAft>
                <a:spcPts val="0"/>
              </a:spcAft>
              <a:buClr>
                <a:schemeClr val="bg2"/>
              </a:buClr>
              <a:buFont typeface="+mj-lt"/>
              <a:buNone/>
              <a:tabLst>
                <a:tab pos="11039724" algn="r"/>
              </a:tabLst>
              <a:defRPr sz="2400">
                <a:solidFill>
                  <a:schemeClr val="bg2"/>
                </a:solidFill>
              </a:defRPr>
            </a:lvl2pPr>
            <a:lvl3pPr marL="479988" indent="0">
              <a:spcBef>
                <a:spcPts val="1600"/>
              </a:spcBef>
              <a:spcAft>
                <a:spcPts val="0"/>
              </a:spcAft>
              <a:buFontTx/>
              <a:buNone/>
              <a:defRPr sz="2400">
                <a:solidFill>
                  <a:schemeClr val="bg2"/>
                </a:solidFill>
              </a:defRPr>
            </a:lvl3pPr>
            <a:lvl4pPr marL="479988" indent="0">
              <a:spcBef>
                <a:spcPts val="1600"/>
              </a:spcBef>
              <a:spcAft>
                <a:spcPts val="0"/>
              </a:spcAft>
              <a:buFontTx/>
              <a:buNone/>
              <a:defRPr sz="2400">
                <a:solidFill>
                  <a:schemeClr val="bg2"/>
                </a:solidFill>
              </a:defRPr>
            </a:lvl4pPr>
            <a:lvl5pPr marL="479988" indent="0">
              <a:spcBef>
                <a:spcPts val="1600"/>
              </a:spcBef>
              <a:spcAft>
                <a:spcPts val="0"/>
              </a:spcAft>
              <a:buFontTx/>
              <a:buNone/>
              <a:defRPr sz="2400">
                <a:solidFill>
                  <a:schemeClr val="bg2"/>
                </a:solidFill>
              </a:defRPr>
            </a:lvl5pPr>
            <a:lvl6pPr marL="479988" indent="0">
              <a:spcBef>
                <a:spcPts val="1600"/>
              </a:spcBef>
              <a:spcAft>
                <a:spcPts val="0"/>
              </a:spcAft>
              <a:buFontTx/>
              <a:buNone/>
              <a:defRPr sz="2400">
                <a:solidFill>
                  <a:schemeClr val="bg2"/>
                </a:solidFill>
              </a:defRPr>
            </a:lvl6pPr>
            <a:lvl7pPr marL="479988" indent="0">
              <a:spcBef>
                <a:spcPts val="1600"/>
              </a:spcBef>
              <a:spcAft>
                <a:spcPts val="0"/>
              </a:spcAft>
              <a:buFontTx/>
              <a:buNone/>
              <a:defRPr sz="2400">
                <a:solidFill>
                  <a:schemeClr val="bg2"/>
                </a:solidFill>
              </a:defRPr>
            </a:lvl7pPr>
            <a:lvl8pPr marL="479988" indent="0">
              <a:spcBef>
                <a:spcPts val="1600"/>
              </a:spcBef>
              <a:spcAft>
                <a:spcPts val="0"/>
              </a:spcAft>
              <a:buFontTx/>
              <a:buNone/>
              <a:defRPr sz="2400">
                <a:solidFill>
                  <a:schemeClr val="bg2"/>
                </a:solidFill>
              </a:defRPr>
            </a:lvl8pPr>
            <a:lvl9pPr marL="479988" indent="0">
              <a:spcBef>
                <a:spcPts val="1600"/>
              </a:spcBef>
              <a:spcAft>
                <a:spcPts val="0"/>
              </a:spcAft>
              <a:buFontTx/>
              <a:buNone/>
              <a:defRPr sz="2400">
                <a:solidFill>
                  <a:schemeClr val="bg2"/>
                </a:solidFill>
              </a:defRPr>
            </a:lvl9pPr>
          </a:lstStyle>
          <a:p>
            <a:pPr lvl="0"/>
            <a:r>
              <a:rPr lang="en-US"/>
              <a:t>Click to add agenda</a:t>
            </a:r>
          </a:p>
        </p:txBody>
      </p:sp>
    </p:spTree>
    <p:extLst>
      <p:ext uri="{BB962C8B-B14F-4D97-AF65-F5344CB8AC3E}">
        <p14:creationId xmlns:p14="http://schemas.microsoft.com/office/powerpoint/2010/main" val="1516744712"/>
      </p:ext>
    </p:extLst>
  </p:cSld>
  <p:clrMapOvr>
    <a:masterClrMapping/>
  </p:clrMapOvr>
</p:sldLayout>
</file>

<file path=ppt/slideLayouts/slideLayout270.xml><?xml version="1.0" encoding="utf-8"?>
<p:sldLayout xmlns:a="http://schemas.openxmlformats.org/drawingml/2006/main" xmlns:r="http://schemas.openxmlformats.org/officeDocument/2006/relationships" xmlns:p="http://schemas.openxmlformats.org/presentationml/2006/main" showMasterSp="0" preserve="1">
  <p:cSld name="End slide">
    <p:spTree>
      <p:nvGrpSpPr>
        <p:cNvPr id="1" name=""/>
        <p:cNvGrpSpPr/>
        <p:nvPr/>
      </p:nvGrpSpPr>
      <p:grpSpPr>
        <a:xfrm>
          <a:off x="0" y="0"/>
          <a:ext cx="0" cy="0"/>
          <a:chOff x="0" y="0"/>
          <a:chExt cx="0" cy="0"/>
        </a:xfrm>
      </p:grpSpPr>
      <p:pic>
        <p:nvPicPr>
          <p:cNvPr id="30" name="picture">
            <a:extLst>
              <a:ext uri="{FF2B5EF4-FFF2-40B4-BE49-F238E27FC236}">
                <a16:creationId xmlns:a16="http://schemas.microsoft.com/office/drawing/2014/main" id="{8BF907F5-A9CD-2740-AF54-6BACB62334AE}"/>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2620212" y="-8808"/>
            <a:ext cx="9697299" cy="6866807"/>
          </a:xfrm>
          <a:prstGeom prst="rect">
            <a:avLst/>
          </a:prstGeom>
        </p:spPr>
      </p:pic>
      <p:sp>
        <p:nvSpPr>
          <p:cNvPr id="29" name="shpPicture"/>
          <p:cNvSpPr/>
          <p:nvPr/>
        </p:nvSpPr>
        <p:spPr>
          <a:xfrm>
            <a:off x="0" y="0"/>
            <a:ext cx="4347306" cy="6858000"/>
          </a:xfrm>
          <a:custGeom>
            <a:avLst/>
            <a:gdLst>
              <a:gd name="connsiteX0" fmla="*/ 0 w 4347306"/>
              <a:gd name="connsiteY0" fmla="*/ 0 h 6858000"/>
              <a:gd name="connsiteX1" fmla="*/ 3252806 w 4347306"/>
              <a:gd name="connsiteY1" fmla="*/ 0 h 6858000"/>
              <a:gd name="connsiteX2" fmla="*/ 4347306 w 4347306"/>
              <a:gd name="connsiteY2" fmla="*/ 4140909 h 6858000"/>
              <a:gd name="connsiteX3" fmla="*/ 2943442 w 4347306"/>
              <a:gd name="connsiteY3" fmla="*/ 6858000 h 6858000"/>
              <a:gd name="connsiteX4" fmla="*/ 0 w 4347306"/>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47306" h="6858000">
                <a:moveTo>
                  <a:pt x="0" y="0"/>
                </a:moveTo>
                <a:lnTo>
                  <a:pt x="3252806" y="0"/>
                </a:lnTo>
                <a:lnTo>
                  <a:pt x="4347306" y="4140909"/>
                </a:lnTo>
                <a:lnTo>
                  <a:pt x="2943442"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US" sz="1600" dirty="0"/>
          </a:p>
        </p:txBody>
      </p:sp>
      <p:grpSp>
        <p:nvGrpSpPr>
          <p:cNvPr id="14" name="logo">
            <a:extLst>
              <a:ext uri="{FF2B5EF4-FFF2-40B4-BE49-F238E27FC236}">
                <a16:creationId xmlns:a16="http://schemas.microsoft.com/office/drawing/2014/main" id="{18C26D95-70F8-8A4D-9F18-DCCB92522AF8}"/>
              </a:ext>
            </a:extLst>
          </p:cNvPr>
          <p:cNvGrpSpPr/>
          <p:nvPr/>
        </p:nvGrpSpPr>
        <p:grpSpPr bwMode="gray">
          <a:xfrm>
            <a:off x="417363" y="407485"/>
            <a:ext cx="1518585" cy="646507"/>
            <a:chOff x="334963" y="296652"/>
            <a:chExt cx="1268411" cy="540000"/>
          </a:xfrm>
        </p:grpSpPr>
        <p:sp>
          <p:nvSpPr>
            <p:cNvPr id="17" name="Freeform 6">
              <a:extLst>
                <a:ext uri="{FF2B5EF4-FFF2-40B4-BE49-F238E27FC236}">
                  <a16:creationId xmlns:a16="http://schemas.microsoft.com/office/drawing/2014/main" id="{08737AD0-E375-E445-97E6-CD2E2DF60620}"/>
                </a:ext>
              </a:extLst>
            </p:cNvPr>
            <p:cNvSpPr>
              <a:spLocks noEditPoints="1"/>
            </p:cNvSpPr>
            <p:nvPr/>
          </p:nvSpPr>
          <p:spPr bwMode="gray">
            <a:xfrm>
              <a:off x="982662" y="360462"/>
              <a:ext cx="620712" cy="431800"/>
            </a:xfrm>
            <a:custGeom>
              <a:avLst/>
              <a:gdLst>
                <a:gd name="T0" fmla="*/ 19 w 1809"/>
                <a:gd name="T1" fmla="*/ 97 h 1253"/>
                <a:gd name="T2" fmla="*/ 165 w 1809"/>
                <a:gd name="T3" fmla="*/ 41 h 1253"/>
                <a:gd name="T4" fmla="*/ 211 w 1809"/>
                <a:gd name="T5" fmla="*/ 224 h 1253"/>
                <a:gd name="T6" fmla="*/ 248 w 1809"/>
                <a:gd name="T7" fmla="*/ 155 h 1253"/>
                <a:gd name="T8" fmla="*/ 931 w 1809"/>
                <a:gd name="T9" fmla="*/ 995 h 1253"/>
                <a:gd name="T10" fmla="*/ 858 w 1809"/>
                <a:gd name="T11" fmla="*/ 1115 h 1253"/>
                <a:gd name="T12" fmla="*/ 749 w 1809"/>
                <a:gd name="T13" fmla="*/ 1117 h 1253"/>
                <a:gd name="T14" fmla="*/ 681 w 1809"/>
                <a:gd name="T15" fmla="*/ 1055 h 1253"/>
                <a:gd name="T16" fmla="*/ 800 w 1809"/>
                <a:gd name="T17" fmla="*/ 1054 h 1253"/>
                <a:gd name="T18" fmla="*/ 884 w 1809"/>
                <a:gd name="T19" fmla="*/ 1181 h 1253"/>
                <a:gd name="T20" fmla="*/ 118 w 1809"/>
                <a:gd name="T21" fmla="*/ 1086 h 1253"/>
                <a:gd name="T22" fmla="*/ 147 w 1809"/>
                <a:gd name="T23" fmla="*/ 1026 h 1253"/>
                <a:gd name="T24" fmla="*/ 102 w 1809"/>
                <a:gd name="T25" fmla="*/ 1026 h 1253"/>
                <a:gd name="T26" fmla="*/ 639 w 1809"/>
                <a:gd name="T27" fmla="*/ 84 h 1253"/>
                <a:gd name="T28" fmla="*/ 763 w 1809"/>
                <a:gd name="T29" fmla="*/ 145 h 1253"/>
                <a:gd name="T30" fmla="*/ 863 w 1809"/>
                <a:gd name="T31" fmla="*/ 221 h 1253"/>
                <a:gd name="T32" fmla="*/ 834 w 1809"/>
                <a:gd name="T33" fmla="*/ 208 h 1253"/>
                <a:gd name="T34" fmla="*/ 719 w 1809"/>
                <a:gd name="T35" fmla="*/ 182 h 1253"/>
                <a:gd name="T36" fmla="*/ 507 w 1809"/>
                <a:gd name="T37" fmla="*/ 711 h 1253"/>
                <a:gd name="T38" fmla="*/ 614 w 1809"/>
                <a:gd name="T39" fmla="*/ 706 h 1253"/>
                <a:gd name="T40" fmla="*/ 736 w 1809"/>
                <a:gd name="T41" fmla="*/ 730 h 1253"/>
                <a:gd name="T42" fmla="*/ 607 w 1809"/>
                <a:gd name="T43" fmla="*/ 539 h 1253"/>
                <a:gd name="T44" fmla="*/ 1505 w 1809"/>
                <a:gd name="T45" fmla="*/ 1136 h 1253"/>
                <a:gd name="T46" fmla="*/ 1613 w 1809"/>
                <a:gd name="T47" fmla="*/ 1002 h 1253"/>
                <a:gd name="T48" fmla="*/ 1472 w 1809"/>
                <a:gd name="T49" fmla="*/ 1164 h 1253"/>
                <a:gd name="T50" fmla="*/ 1525 w 1809"/>
                <a:gd name="T51" fmla="*/ 1142 h 1253"/>
                <a:gd name="T52" fmla="*/ 1556 w 1809"/>
                <a:gd name="T53" fmla="*/ 1172 h 1253"/>
                <a:gd name="T54" fmla="*/ 1387 w 1809"/>
                <a:gd name="T55" fmla="*/ 910 h 1253"/>
                <a:gd name="T56" fmla="*/ 1261 w 1809"/>
                <a:gd name="T57" fmla="*/ 1157 h 1253"/>
                <a:gd name="T58" fmla="*/ 1413 w 1809"/>
                <a:gd name="T59" fmla="*/ 934 h 1253"/>
                <a:gd name="T60" fmla="*/ 1378 w 1809"/>
                <a:gd name="T61" fmla="*/ 1052 h 1253"/>
                <a:gd name="T62" fmla="*/ 488 w 1809"/>
                <a:gd name="T63" fmla="*/ 85 h 1253"/>
                <a:gd name="T64" fmla="*/ 509 w 1809"/>
                <a:gd name="T65" fmla="*/ 112 h 1253"/>
                <a:gd name="T66" fmla="*/ 548 w 1809"/>
                <a:gd name="T67" fmla="*/ 1187 h 1253"/>
                <a:gd name="T68" fmla="*/ 472 w 1809"/>
                <a:gd name="T69" fmla="*/ 1122 h 1253"/>
                <a:gd name="T70" fmla="*/ 558 w 1809"/>
                <a:gd name="T71" fmla="*/ 1157 h 1253"/>
                <a:gd name="T72" fmla="*/ 287 w 1809"/>
                <a:gd name="T73" fmla="*/ 654 h 1253"/>
                <a:gd name="T74" fmla="*/ 416 w 1809"/>
                <a:gd name="T75" fmla="*/ 684 h 1253"/>
                <a:gd name="T76" fmla="*/ 1106 w 1809"/>
                <a:gd name="T77" fmla="*/ 147 h 1253"/>
                <a:gd name="T78" fmla="*/ 1229 w 1809"/>
                <a:gd name="T79" fmla="*/ 258 h 1253"/>
                <a:gd name="T80" fmla="*/ 1106 w 1809"/>
                <a:gd name="T81" fmla="*/ 96 h 1253"/>
                <a:gd name="T82" fmla="*/ 1219 w 1809"/>
                <a:gd name="T83" fmla="*/ 1077 h 1253"/>
                <a:gd name="T84" fmla="*/ 1214 w 1809"/>
                <a:gd name="T85" fmla="*/ 1157 h 1253"/>
                <a:gd name="T86" fmla="*/ 1150 w 1809"/>
                <a:gd name="T87" fmla="*/ 1092 h 1253"/>
                <a:gd name="T88" fmla="*/ 1139 w 1809"/>
                <a:gd name="T89" fmla="*/ 1070 h 1253"/>
                <a:gd name="T90" fmla="*/ 1659 w 1809"/>
                <a:gd name="T91" fmla="*/ 1031 h 1253"/>
                <a:gd name="T92" fmla="*/ 1714 w 1809"/>
                <a:gd name="T93" fmla="*/ 1155 h 1253"/>
                <a:gd name="T94" fmla="*/ 1760 w 1809"/>
                <a:gd name="T95" fmla="*/ 1030 h 1253"/>
                <a:gd name="T96" fmla="*/ 111 w 1809"/>
                <a:gd name="T97" fmla="*/ 569 h 1253"/>
                <a:gd name="T98" fmla="*/ 109 w 1809"/>
                <a:gd name="T99" fmla="*/ 460 h 1253"/>
                <a:gd name="T100" fmla="*/ 32 w 1809"/>
                <a:gd name="T101" fmla="*/ 704 h 1253"/>
                <a:gd name="T102" fmla="*/ 310 w 1809"/>
                <a:gd name="T103" fmla="*/ 1058 h 1253"/>
                <a:gd name="T104" fmla="*/ 431 w 1809"/>
                <a:gd name="T105" fmla="*/ 1044 h 1253"/>
                <a:gd name="T106" fmla="*/ 278 w 1809"/>
                <a:gd name="T107" fmla="*/ 1165 h 1253"/>
                <a:gd name="T108" fmla="*/ 261 w 1809"/>
                <a:gd name="T109" fmla="*/ 540 h 1253"/>
                <a:gd name="T110" fmla="*/ 150 w 1809"/>
                <a:gd name="T111" fmla="*/ 635 h 1253"/>
                <a:gd name="T112" fmla="*/ 994 w 1809"/>
                <a:gd name="T113" fmla="*/ 1185 h 1253"/>
                <a:gd name="T114" fmla="*/ 331 w 1809"/>
                <a:gd name="T115" fmla="*/ 176 h 1253"/>
                <a:gd name="T116" fmla="*/ 333 w 1809"/>
                <a:gd name="T117" fmla="*/ 109 h 1253"/>
                <a:gd name="T118" fmla="*/ 946 w 1809"/>
                <a:gd name="T119" fmla="*/ 234 h 1253"/>
                <a:gd name="T120" fmla="*/ 1022 w 1809"/>
                <a:gd name="T121" fmla="*/ 113 h 1253"/>
                <a:gd name="T122" fmla="*/ 949 w 1809"/>
                <a:gd name="T123" fmla="*/ 65 h 1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09" h="1253">
                  <a:moveTo>
                    <a:pt x="248" y="198"/>
                  </a:moveTo>
                  <a:cubicBezTo>
                    <a:pt x="248" y="211"/>
                    <a:pt x="248" y="224"/>
                    <a:pt x="249" y="237"/>
                  </a:cubicBezTo>
                  <a:cubicBezTo>
                    <a:pt x="249" y="245"/>
                    <a:pt x="246" y="249"/>
                    <a:pt x="240" y="253"/>
                  </a:cubicBezTo>
                  <a:cubicBezTo>
                    <a:pt x="231" y="260"/>
                    <a:pt x="220" y="264"/>
                    <a:pt x="209" y="268"/>
                  </a:cubicBezTo>
                  <a:cubicBezTo>
                    <a:pt x="179" y="279"/>
                    <a:pt x="148" y="280"/>
                    <a:pt x="118" y="275"/>
                  </a:cubicBezTo>
                  <a:cubicBezTo>
                    <a:pt x="86" y="269"/>
                    <a:pt x="58" y="252"/>
                    <a:pt x="39" y="224"/>
                  </a:cubicBezTo>
                  <a:cubicBezTo>
                    <a:pt x="24" y="203"/>
                    <a:pt x="18" y="180"/>
                    <a:pt x="15" y="155"/>
                  </a:cubicBezTo>
                  <a:cubicBezTo>
                    <a:pt x="11" y="135"/>
                    <a:pt x="15" y="115"/>
                    <a:pt x="19" y="97"/>
                  </a:cubicBezTo>
                  <a:cubicBezTo>
                    <a:pt x="26" y="68"/>
                    <a:pt x="42" y="44"/>
                    <a:pt x="68" y="27"/>
                  </a:cubicBezTo>
                  <a:cubicBezTo>
                    <a:pt x="87" y="14"/>
                    <a:pt x="109" y="6"/>
                    <a:pt x="133" y="5"/>
                  </a:cubicBezTo>
                  <a:cubicBezTo>
                    <a:pt x="149" y="4"/>
                    <a:pt x="165" y="5"/>
                    <a:pt x="181" y="6"/>
                  </a:cubicBezTo>
                  <a:cubicBezTo>
                    <a:pt x="204" y="8"/>
                    <a:pt x="225" y="20"/>
                    <a:pt x="243" y="35"/>
                  </a:cubicBezTo>
                  <a:cubicBezTo>
                    <a:pt x="246" y="37"/>
                    <a:pt x="246" y="40"/>
                    <a:pt x="244" y="43"/>
                  </a:cubicBezTo>
                  <a:cubicBezTo>
                    <a:pt x="242" y="47"/>
                    <a:pt x="239" y="52"/>
                    <a:pt x="236" y="55"/>
                  </a:cubicBezTo>
                  <a:cubicBezTo>
                    <a:pt x="226" y="65"/>
                    <a:pt x="224" y="65"/>
                    <a:pt x="206" y="54"/>
                  </a:cubicBezTo>
                  <a:cubicBezTo>
                    <a:pt x="193" y="46"/>
                    <a:pt x="180" y="40"/>
                    <a:pt x="165" y="41"/>
                  </a:cubicBezTo>
                  <a:cubicBezTo>
                    <a:pt x="151" y="41"/>
                    <a:pt x="137" y="39"/>
                    <a:pt x="124" y="42"/>
                  </a:cubicBezTo>
                  <a:cubicBezTo>
                    <a:pt x="104" y="46"/>
                    <a:pt x="87" y="57"/>
                    <a:pt x="75" y="74"/>
                  </a:cubicBezTo>
                  <a:cubicBezTo>
                    <a:pt x="56" y="99"/>
                    <a:pt x="51" y="129"/>
                    <a:pt x="55" y="159"/>
                  </a:cubicBezTo>
                  <a:cubicBezTo>
                    <a:pt x="60" y="189"/>
                    <a:pt x="73" y="214"/>
                    <a:pt x="98" y="230"/>
                  </a:cubicBezTo>
                  <a:cubicBezTo>
                    <a:pt x="109" y="237"/>
                    <a:pt x="121" y="242"/>
                    <a:pt x="135" y="241"/>
                  </a:cubicBezTo>
                  <a:cubicBezTo>
                    <a:pt x="146" y="241"/>
                    <a:pt x="158" y="241"/>
                    <a:pt x="169" y="241"/>
                  </a:cubicBezTo>
                  <a:cubicBezTo>
                    <a:pt x="182" y="242"/>
                    <a:pt x="193" y="235"/>
                    <a:pt x="205" y="232"/>
                  </a:cubicBezTo>
                  <a:cubicBezTo>
                    <a:pt x="210" y="231"/>
                    <a:pt x="211" y="227"/>
                    <a:pt x="211" y="224"/>
                  </a:cubicBezTo>
                  <a:cubicBezTo>
                    <a:pt x="211" y="210"/>
                    <a:pt x="211" y="196"/>
                    <a:pt x="211" y="183"/>
                  </a:cubicBezTo>
                  <a:cubicBezTo>
                    <a:pt x="211" y="177"/>
                    <a:pt x="207" y="175"/>
                    <a:pt x="202" y="175"/>
                  </a:cubicBezTo>
                  <a:cubicBezTo>
                    <a:pt x="193" y="175"/>
                    <a:pt x="184" y="175"/>
                    <a:pt x="175" y="175"/>
                  </a:cubicBezTo>
                  <a:cubicBezTo>
                    <a:pt x="171" y="175"/>
                    <a:pt x="168" y="174"/>
                    <a:pt x="166" y="171"/>
                  </a:cubicBezTo>
                  <a:cubicBezTo>
                    <a:pt x="163" y="163"/>
                    <a:pt x="164" y="154"/>
                    <a:pt x="166" y="146"/>
                  </a:cubicBezTo>
                  <a:cubicBezTo>
                    <a:pt x="167" y="142"/>
                    <a:pt x="171" y="142"/>
                    <a:pt x="175" y="142"/>
                  </a:cubicBezTo>
                  <a:cubicBezTo>
                    <a:pt x="196" y="142"/>
                    <a:pt x="217" y="142"/>
                    <a:pt x="238" y="142"/>
                  </a:cubicBezTo>
                  <a:cubicBezTo>
                    <a:pt x="247" y="142"/>
                    <a:pt x="248" y="148"/>
                    <a:pt x="248" y="155"/>
                  </a:cubicBezTo>
                  <a:cubicBezTo>
                    <a:pt x="249" y="169"/>
                    <a:pt x="248" y="183"/>
                    <a:pt x="248" y="198"/>
                  </a:cubicBezTo>
                  <a:close/>
                  <a:moveTo>
                    <a:pt x="884" y="1181"/>
                  </a:moveTo>
                  <a:cubicBezTo>
                    <a:pt x="889" y="1167"/>
                    <a:pt x="894" y="1152"/>
                    <a:pt x="898" y="1137"/>
                  </a:cubicBezTo>
                  <a:cubicBezTo>
                    <a:pt x="901" y="1127"/>
                    <a:pt x="905" y="1116"/>
                    <a:pt x="908" y="1106"/>
                  </a:cubicBezTo>
                  <a:cubicBezTo>
                    <a:pt x="911" y="1098"/>
                    <a:pt x="912" y="1089"/>
                    <a:pt x="916" y="1081"/>
                  </a:cubicBezTo>
                  <a:cubicBezTo>
                    <a:pt x="921" y="1072"/>
                    <a:pt x="923" y="1060"/>
                    <a:pt x="927" y="1050"/>
                  </a:cubicBezTo>
                  <a:cubicBezTo>
                    <a:pt x="932" y="1037"/>
                    <a:pt x="934" y="1023"/>
                    <a:pt x="940" y="1010"/>
                  </a:cubicBezTo>
                  <a:cubicBezTo>
                    <a:pt x="945" y="1001"/>
                    <a:pt x="941" y="995"/>
                    <a:pt x="931" y="995"/>
                  </a:cubicBezTo>
                  <a:cubicBezTo>
                    <a:pt x="927" y="995"/>
                    <a:pt x="922" y="995"/>
                    <a:pt x="918" y="995"/>
                  </a:cubicBezTo>
                  <a:cubicBezTo>
                    <a:pt x="913" y="995"/>
                    <a:pt x="908" y="997"/>
                    <a:pt x="907" y="1001"/>
                  </a:cubicBezTo>
                  <a:cubicBezTo>
                    <a:pt x="904" y="1008"/>
                    <a:pt x="900" y="1015"/>
                    <a:pt x="899" y="1023"/>
                  </a:cubicBezTo>
                  <a:cubicBezTo>
                    <a:pt x="897" y="1034"/>
                    <a:pt x="893" y="1045"/>
                    <a:pt x="889" y="1055"/>
                  </a:cubicBezTo>
                  <a:cubicBezTo>
                    <a:pt x="887" y="1064"/>
                    <a:pt x="885" y="1072"/>
                    <a:pt x="882" y="1080"/>
                  </a:cubicBezTo>
                  <a:cubicBezTo>
                    <a:pt x="878" y="1091"/>
                    <a:pt x="874" y="1103"/>
                    <a:pt x="871" y="1115"/>
                  </a:cubicBezTo>
                  <a:cubicBezTo>
                    <a:pt x="870" y="1118"/>
                    <a:pt x="871" y="1124"/>
                    <a:pt x="866" y="1124"/>
                  </a:cubicBezTo>
                  <a:cubicBezTo>
                    <a:pt x="861" y="1125"/>
                    <a:pt x="859" y="1120"/>
                    <a:pt x="858" y="1115"/>
                  </a:cubicBezTo>
                  <a:cubicBezTo>
                    <a:pt x="856" y="1110"/>
                    <a:pt x="856" y="1104"/>
                    <a:pt x="854" y="1099"/>
                  </a:cubicBezTo>
                  <a:cubicBezTo>
                    <a:pt x="848" y="1080"/>
                    <a:pt x="841" y="1062"/>
                    <a:pt x="835" y="1044"/>
                  </a:cubicBezTo>
                  <a:cubicBezTo>
                    <a:pt x="831" y="1030"/>
                    <a:pt x="828" y="1016"/>
                    <a:pt x="822" y="1003"/>
                  </a:cubicBezTo>
                  <a:cubicBezTo>
                    <a:pt x="819" y="997"/>
                    <a:pt x="814" y="994"/>
                    <a:pt x="808" y="994"/>
                  </a:cubicBezTo>
                  <a:cubicBezTo>
                    <a:pt x="799" y="993"/>
                    <a:pt x="791" y="993"/>
                    <a:pt x="787" y="1001"/>
                  </a:cubicBezTo>
                  <a:cubicBezTo>
                    <a:pt x="783" y="1008"/>
                    <a:pt x="780" y="1015"/>
                    <a:pt x="779" y="1022"/>
                  </a:cubicBezTo>
                  <a:cubicBezTo>
                    <a:pt x="778" y="1034"/>
                    <a:pt x="772" y="1044"/>
                    <a:pt x="769" y="1055"/>
                  </a:cubicBezTo>
                  <a:cubicBezTo>
                    <a:pt x="762" y="1076"/>
                    <a:pt x="754" y="1096"/>
                    <a:pt x="749" y="1117"/>
                  </a:cubicBezTo>
                  <a:cubicBezTo>
                    <a:pt x="748" y="1120"/>
                    <a:pt x="747" y="1124"/>
                    <a:pt x="742" y="1124"/>
                  </a:cubicBezTo>
                  <a:cubicBezTo>
                    <a:pt x="737" y="1124"/>
                    <a:pt x="737" y="1120"/>
                    <a:pt x="736" y="1116"/>
                  </a:cubicBezTo>
                  <a:cubicBezTo>
                    <a:pt x="734" y="1104"/>
                    <a:pt x="730" y="1092"/>
                    <a:pt x="726" y="1080"/>
                  </a:cubicBezTo>
                  <a:cubicBezTo>
                    <a:pt x="720" y="1061"/>
                    <a:pt x="714" y="1040"/>
                    <a:pt x="708" y="1020"/>
                  </a:cubicBezTo>
                  <a:cubicBezTo>
                    <a:pt x="703" y="1000"/>
                    <a:pt x="698" y="994"/>
                    <a:pt x="676" y="995"/>
                  </a:cubicBezTo>
                  <a:cubicBezTo>
                    <a:pt x="665" y="996"/>
                    <a:pt x="661" y="1001"/>
                    <a:pt x="667" y="1011"/>
                  </a:cubicBezTo>
                  <a:cubicBezTo>
                    <a:pt x="669" y="1016"/>
                    <a:pt x="670" y="1021"/>
                    <a:pt x="672" y="1025"/>
                  </a:cubicBezTo>
                  <a:cubicBezTo>
                    <a:pt x="675" y="1035"/>
                    <a:pt x="678" y="1046"/>
                    <a:pt x="681" y="1055"/>
                  </a:cubicBezTo>
                  <a:cubicBezTo>
                    <a:pt x="685" y="1068"/>
                    <a:pt x="689" y="1080"/>
                    <a:pt x="693" y="1092"/>
                  </a:cubicBezTo>
                  <a:cubicBezTo>
                    <a:pt x="697" y="1103"/>
                    <a:pt x="699" y="1113"/>
                    <a:pt x="703" y="1124"/>
                  </a:cubicBezTo>
                  <a:cubicBezTo>
                    <a:pt x="707" y="1136"/>
                    <a:pt x="711" y="1147"/>
                    <a:pt x="715" y="1160"/>
                  </a:cubicBezTo>
                  <a:cubicBezTo>
                    <a:pt x="717" y="1168"/>
                    <a:pt x="720" y="1176"/>
                    <a:pt x="724" y="1183"/>
                  </a:cubicBezTo>
                  <a:cubicBezTo>
                    <a:pt x="728" y="1189"/>
                    <a:pt x="752" y="1185"/>
                    <a:pt x="757" y="1180"/>
                  </a:cubicBezTo>
                  <a:cubicBezTo>
                    <a:pt x="764" y="1173"/>
                    <a:pt x="762" y="1163"/>
                    <a:pt x="766" y="1156"/>
                  </a:cubicBezTo>
                  <a:cubicBezTo>
                    <a:pt x="774" y="1140"/>
                    <a:pt x="778" y="1122"/>
                    <a:pt x="784" y="1105"/>
                  </a:cubicBezTo>
                  <a:cubicBezTo>
                    <a:pt x="789" y="1088"/>
                    <a:pt x="796" y="1072"/>
                    <a:pt x="800" y="1054"/>
                  </a:cubicBezTo>
                  <a:cubicBezTo>
                    <a:pt x="800" y="1053"/>
                    <a:pt x="801" y="1050"/>
                    <a:pt x="803" y="1050"/>
                  </a:cubicBezTo>
                  <a:cubicBezTo>
                    <a:pt x="806" y="1050"/>
                    <a:pt x="806" y="1052"/>
                    <a:pt x="807" y="1055"/>
                  </a:cubicBezTo>
                  <a:cubicBezTo>
                    <a:pt x="807" y="1060"/>
                    <a:pt x="810" y="1066"/>
                    <a:pt x="811" y="1071"/>
                  </a:cubicBezTo>
                  <a:cubicBezTo>
                    <a:pt x="814" y="1081"/>
                    <a:pt x="818" y="1090"/>
                    <a:pt x="821" y="1099"/>
                  </a:cubicBezTo>
                  <a:cubicBezTo>
                    <a:pt x="824" y="1110"/>
                    <a:pt x="827" y="1120"/>
                    <a:pt x="831" y="1131"/>
                  </a:cubicBezTo>
                  <a:cubicBezTo>
                    <a:pt x="834" y="1142"/>
                    <a:pt x="839" y="1153"/>
                    <a:pt x="842" y="1164"/>
                  </a:cubicBezTo>
                  <a:cubicBezTo>
                    <a:pt x="846" y="1179"/>
                    <a:pt x="850" y="1188"/>
                    <a:pt x="869" y="1185"/>
                  </a:cubicBezTo>
                  <a:cubicBezTo>
                    <a:pt x="873" y="1184"/>
                    <a:pt x="881" y="1189"/>
                    <a:pt x="884" y="1181"/>
                  </a:cubicBezTo>
                  <a:close/>
                  <a:moveTo>
                    <a:pt x="33" y="1051"/>
                  </a:moveTo>
                  <a:cubicBezTo>
                    <a:pt x="33" y="1087"/>
                    <a:pt x="33" y="1124"/>
                    <a:pt x="33" y="1160"/>
                  </a:cubicBezTo>
                  <a:cubicBezTo>
                    <a:pt x="33" y="1188"/>
                    <a:pt x="29" y="1184"/>
                    <a:pt x="58" y="1185"/>
                  </a:cubicBezTo>
                  <a:cubicBezTo>
                    <a:pt x="72" y="1185"/>
                    <a:pt x="73" y="1184"/>
                    <a:pt x="73" y="1170"/>
                  </a:cubicBezTo>
                  <a:cubicBezTo>
                    <a:pt x="73" y="1138"/>
                    <a:pt x="73" y="1107"/>
                    <a:pt x="73" y="1076"/>
                  </a:cubicBezTo>
                  <a:cubicBezTo>
                    <a:pt x="73" y="1071"/>
                    <a:pt x="72" y="1067"/>
                    <a:pt x="78" y="1065"/>
                  </a:cubicBezTo>
                  <a:cubicBezTo>
                    <a:pt x="91" y="1062"/>
                    <a:pt x="102" y="1067"/>
                    <a:pt x="110" y="1076"/>
                  </a:cubicBezTo>
                  <a:cubicBezTo>
                    <a:pt x="112" y="1080"/>
                    <a:pt x="115" y="1083"/>
                    <a:pt x="118" y="1086"/>
                  </a:cubicBezTo>
                  <a:cubicBezTo>
                    <a:pt x="132" y="1103"/>
                    <a:pt x="146" y="1119"/>
                    <a:pt x="161" y="1136"/>
                  </a:cubicBezTo>
                  <a:cubicBezTo>
                    <a:pt x="173" y="1150"/>
                    <a:pt x="186" y="1165"/>
                    <a:pt x="198" y="1179"/>
                  </a:cubicBezTo>
                  <a:cubicBezTo>
                    <a:pt x="207" y="1188"/>
                    <a:pt x="218" y="1184"/>
                    <a:pt x="228" y="1185"/>
                  </a:cubicBezTo>
                  <a:cubicBezTo>
                    <a:pt x="233" y="1185"/>
                    <a:pt x="241" y="1188"/>
                    <a:pt x="244" y="1182"/>
                  </a:cubicBezTo>
                  <a:cubicBezTo>
                    <a:pt x="246" y="1178"/>
                    <a:pt x="239" y="1173"/>
                    <a:pt x="235" y="1169"/>
                  </a:cubicBezTo>
                  <a:cubicBezTo>
                    <a:pt x="206" y="1133"/>
                    <a:pt x="176" y="1098"/>
                    <a:pt x="146" y="1062"/>
                  </a:cubicBezTo>
                  <a:cubicBezTo>
                    <a:pt x="141" y="1056"/>
                    <a:pt x="131" y="1052"/>
                    <a:pt x="132" y="1044"/>
                  </a:cubicBezTo>
                  <a:cubicBezTo>
                    <a:pt x="132" y="1036"/>
                    <a:pt x="142" y="1032"/>
                    <a:pt x="147" y="1026"/>
                  </a:cubicBezTo>
                  <a:cubicBezTo>
                    <a:pt x="164" y="1006"/>
                    <a:pt x="182" y="988"/>
                    <a:pt x="198" y="968"/>
                  </a:cubicBezTo>
                  <a:cubicBezTo>
                    <a:pt x="209" y="954"/>
                    <a:pt x="221" y="942"/>
                    <a:pt x="234" y="929"/>
                  </a:cubicBezTo>
                  <a:cubicBezTo>
                    <a:pt x="236" y="926"/>
                    <a:pt x="238" y="923"/>
                    <a:pt x="237" y="920"/>
                  </a:cubicBezTo>
                  <a:cubicBezTo>
                    <a:pt x="235" y="915"/>
                    <a:pt x="231" y="917"/>
                    <a:pt x="228" y="917"/>
                  </a:cubicBezTo>
                  <a:cubicBezTo>
                    <a:pt x="224" y="918"/>
                    <a:pt x="221" y="918"/>
                    <a:pt x="217" y="918"/>
                  </a:cubicBezTo>
                  <a:cubicBezTo>
                    <a:pt x="204" y="917"/>
                    <a:pt x="193" y="922"/>
                    <a:pt x="185" y="931"/>
                  </a:cubicBezTo>
                  <a:cubicBezTo>
                    <a:pt x="172" y="946"/>
                    <a:pt x="158" y="961"/>
                    <a:pt x="145" y="977"/>
                  </a:cubicBezTo>
                  <a:cubicBezTo>
                    <a:pt x="131" y="993"/>
                    <a:pt x="117" y="1010"/>
                    <a:pt x="102" y="1026"/>
                  </a:cubicBezTo>
                  <a:cubicBezTo>
                    <a:pt x="96" y="1032"/>
                    <a:pt x="87" y="1037"/>
                    <a:pt x="78" y="1034"/>
                  </a:cubicBezTo>
                  <a:cubicBezTo>
                    <a:pt x="70" y="1030"/>
                    <a:pt x="73" y="1021"/>
                    <a:pt x="73" y="1015"/>
                  </a:cubicBezTo>
                  <a:cubicBezTo>
                    <a:pt x="73" y="991"/>
                    <a:pt x="73" y="967"/>
                    <a:pt x="73" y="944"/>
                  </a:cubicBezTo>
                  <a:cubicBezTo>
                    <a:pt x="73" y="916"/>
                    <a:pt x="75" y="917"/>
                    <a:pt x="46" y="918"/>
                  </a:cubicBezTo>
                  <a:cubicBezTo>
                    <a:pt x="33" y="918"/>
                    <a:pt x="33" y="918"/>
                    <a:pt x="33" y="931"/>
                  </a:cubicBezTo>
                  <a:cubicBezTo>
                    <a:pt x="33" y="971"/>
                    <a:pt x="33" y="1011"/>
                    <a:pt x="33" y="1051"/>
                  </a:cubicBezTo>
                  <a:cubicBezTo>
                    <a:pt x="33" y="1051"/>
                    <a:pt x="33" y="1051"/>
                    <a:pt x="33" y="1051"/>
                  </a:cubicBezTo>
                  <a:close/>
                  <a:moveTo>
                    <a:pt x="639" y="84"/>
                  </a:moveTo>
                  <a:cubicBezTo>
                    <a:pt x="627" y="84"/>
                    <a:pt x="626" y="84"/>
                    <a:pt x="629" y="95"/>
                  </a:cubicBezTo>
                  <a:cubicBezTo>
                    <a:pt x="634" y="113"/>
                    <a:pt x="640" y="131"/>
                    <a:pt x="646" y="148"/>
                  </a:cubicBezTo>
                  <a:cubicBezTo>
                    <a:pt x="652" y="166"/>
                    <a:pt x="658" y="185"/>
                    <a:pt x="664" y="203"/>
                  </a:cubicBezTo>
                  <a:cubicBezTo>
                    <a:pt x="671" y="223"/>
                    <a:pt x="676" y="244"/>
                    <a:pt x="684" y="264"/>
                  </a:cubicBezTo>
                  <a:cubicBezTo>
                    <a:pt x="688" y="274"/>
                    <a:pt x="694" y="274"/>
                    <a:pt x="702" y="274"/>
                  </a:cubicBezTo>
                  <a:cubicBezTo>
                    <a:pt x="711" y="274"/>
                    <a:pt x="719" y="272"/>
                    <a:pt x="723" y="263"/>
                  </a:cubicBezTo>
                  <a:cubicBezTo>
                    <a:pt x="733" y="236"/>
                    <a:pt x="741" y="208"/>
                    <a:pt x="750" y="181"/>
                  </a:cubicBezTo>
                  <a:cubicBezTo>
                    <a:pt x="754" y="169"/>
                    <a:pt x="757" y="156"/>
                    <a:pt x="763" y="145"/>
                  </a:cubicBezTo>
                  <a:cubicBezTo>
                    <a:pt x="764" y="143"/>
                    <a:pt x="764" y="140"/>
                    <a:pt x="767" y="140"/>
                  </a:cubicBezTo>
                  <a:cubicBezTo>
                    <a:pt x="770" y="140"/>
                    <a:pt x="770" y="143"/>
                    <a:pt x="771" y="145"/>
                  </a:cubicBezTo>
                  <a:cubicBezTo>
                    <a:pt x="771" y="156"/>
                    <a:pt x="777" y="165"/>
                    <a:pt x="780" y="175"/>
                  </a:cubicBezTo>
                  <a:cubicBezTo>
                    <a:pt x="782" y="184"/>
                    <a:pt x="785" y="193"/>
                    <a:pt x="788" y="201"/>
                  </a:cubicBezTo>
                  <a:cubicBezTo>
                    <a:pt x="794" y="219"/>
                    <a:pt x="801" y="237"/>
                    <a:pt x="806" y="255"/>
                  </a:cubicBezTo>
                  <a:cubicBezTo>
                    <a:pt x="811" y="272"/>
                    <a:pt x="825" y="280"/>
                    <a:pt x="842" y="273"/>
                  </a:cubicBezTo>
                  <a:cubicBezTo>
                    <a:pt x="845" y="271"/>
                    <a:pt x="847" y="269"/>
                    <a:pt x="848" y="266"/>
                  </a:cubicBezTo>
                  <a:cubicBezTo>
                    <a:pt x="853" y="251"/>
                    <a:pt x="859" y="236"/>
                    <a:pt x="863" y="221"/>
                  </a:cubicBezTo>
                  <a:cubicBezTo>
                    <a:pt x="867" y="202"/>
                    <a:pt x="875" y="185"/>
                    <a:pt x="880" y="166"/>
                  </a:cubicBezTo>
                  <a:cubicBezTo>
                    <a:pt x="886" y="144"/>
                    <a:pt x="895" y="123"/>
                    <a:pt x="900" y="101"/>
                  </a:cubicBezTo>
                  <a:cubicBezTo>
                    <a:pt x="901" y="96"/>
                    <a:pt x="909" y="91"/>
                    <a:pt x="904" y="86"/>
                  </a:cubicBezTo>
                  <a:cubicBezTo>
                    <a:pt x="900" y="81"/>
                    <a:pt x="892" y="84"/>
                    <a:pt x="886" y="84"/>
                  </a:cubicBezTo>
                  <a:cubicBezTo>
                    <a:pt x="885" y="84"/>
                    <a:pt x="883" y="84"/>
                    <a:pt x="881" y="84"/>
                  </a:cubicBezTo>
                  <a:cubicBezTo>
                    <a:pt x="875" y="84"/>
                    <a:pt x="872" y="86"/>
                    <a:pt x="869" y="91"/>
                  </a:cubicBezTo>
                  <a:cubicBezTo>
                    <a:pt x="860" y="110"/>
                    <a:pt x="856" y="131"/>
                    <a:pt x="850" y="151"/>
                  </a:cubicBezTo>
                  <a:cubicBezTo>
                    <a:pt x="844" y="170"/>
                    <a:pt x="836" y="188"/>
                    <a:pt x="834" y="208"/>
                  </a:cubicBezTo>
                  <a:cubicBezTo>
                    <a:pt x="833" y="211"/>
                    <a:pt x="831" y="214"/>
                    <a:pt x="827" y="214"/>
                  </a:cubicBezTo>
                  <a:cubicBezTo>
                    <a:pt x="823" y="214"/>
                    <a:pt x="822" y="210"/>
                    <a:pt x="822" y="207"/>
                  </a:cubicBezTo>
                  <a:cubicBezTo>
                    <a:pt x="817" y="188"/>
                    <a:pt x="811" y="170"/>
                    <a:pt x="805" y="152"/>
                  </a:cubicBezTo>
                  <a:cubicBezTo>
                    <a:pt x="799" y="133"/>
                    <a:pt x="794" y="114"/>
                    <a:pt x="786" y="96"/>
                  </a:cubicBezTo>
                  <a:cubicBezTo>
                    <a:pt x="783" y="87"/>
                    <a:pt x="779" y="84"/>
                    <a:pt x="770" y="84"/>
                  </a:cubicBezTo>
                  <a:cubicBezTo>
                    <a:pt x="761" y="84"/>
                    <a:pt x="752" y="82"/>
                    <a:pt x="748" y="94"/>
                  </a:cubicBezTo>
                  <a:cubicBezTo>
                    <a:pt x="744" y="109"/>
                    <a:pt x="738" y="123"/>
                    <a:pt x="734" y="138"/>
                  </a:cubicBezTo>
                  <a:cubicBezTo>
                    <a:pt x="729" y="153"/>
                    <a:pt x="724" y="167"/>
                    <a:pt x="719" y="182"/>
                  </a:cubicBezTo>
                  <a:cubicBezTo>
                    <a:pt x="716" y="192"/>
                    <a:pt x="715" y="203"/>
                    <a:pt x="708" y="212"/>
                  </a:cubicBezTo>
                  <a:cubicBezTo>
                    <a:pt x="707" y="214"/>
                    <a:pt x="707" y="217"/>
                    <a:pt x="704" y="217"/>
                  </a:cubicBezTo>
                  <a:cubicBezTo>
                    <a:pt x="701" y="217"/>
                    <a:pt x="701" y="213"/>
                    <a:pt x="700" y="211"/>
                  </a:cubicBezTo>
                  <a:cubicBezTo>
                    <a:pt x="699" y="198"/>
                    <a:pt x="694" y="186"/>
                    <a:pt x="690" y="174"/>
                  </a:cubicBezTo>
                  <a:cubicBezTo>
                    <a:pt x="684" y="153"/>
                    <a:pt x="677" y="131"/>
                    <a:pt x="672" y="110"/>
                  </a:cubicBezTo>
                  <a:cubicBezTo>
                    <a:pt x="667" y="88"/>
                    <a:pt x="663" y="84"/>
                    <a:pt x="645" y="84"/>
                  </a:cubicBezTo>
                  <a:cubicBezTo>
                    <a:pt x="643" y="84"/>
                    <a:pt x="641" y="84"/>
                    <a:pt x="639" y="84"/>
                  </a:cubicBezTo>
                  <a:close/>
                  <a:moveTo>
                    <a:pt x="507" y="711"/>
                  </a:moveTo>
                  <a:cubicBezTo>
                    <a:pt x="507" y="730"/>
                    <a:pt x="507" y="730"/>
                    <a:pt x="526" y="730"/>
                  </a:cubicBezTo>
                  <a:cubicBezTo>
                    <a:pt x="539" y="730"/>
                    <a:pt x="541" y="729"/>
                    <a:pt x="541" y="715"/>
                  </a:cubicBezTo>
                  <a:cubicBezTo>
                    <a:pt x="541" y="677"/>
                    <a:pt x="541" y="638"/>
                    <a:pt x="540" y="600"/>
                  </a:cubicBezTo>
                  <a:cubicBezTo>
                    <a:pt x="540" y="593"/>
                    <a:pt x="543" y="587"/>
                    <a:pt x="548" y="582"/>
                  </a:cubicBezTo>
                  <a:cubicBezTo>
                    <a:pt x="553" y="576"/>
                    <a:pt x="559" y="573"/>
                    <a:pt x="564" y="569"/>
                  </a:cubicBezTo>
                  <a:cubicBezTo>
                    <a:pt x="574" y="564"/>
                    <a:pt x="594" y="566"/>
                    <a:pt x="602" y="574"/>
                  </a:cubicBezTo>
                  <a:cubicBezTo>
                    <a:pt x="611" y="582"/>
                    <a:pt x="614" y="592"/>
                    <a:pt x="614" y="604"/>
                  </a:cubicBezTo>
                  <a:cubicBezTo>
                    <a:pt x="614" y="638"/>
                    <a:pt x="614" y="672"/>
                    <a:pt x="614" y="706"/>
                  </a:cubicBezTo>
                  <a:cubicBezTo>
                    <a:pt x="614" y="730"/>
                    <a:pt x="614" y="730"/>
                    <a:pt x="638" y="730"/>
                  </a:cubicBezTo>
                  <a:cubicBezTo>
                    <a:pt x="650" y="730"/>
                    <a:pt x="650" y="730"/>
                    <a:pt x="650" y="717"/>
                  </a:cubicBezTo>
                  <a:cubicBezTo>
                    <a:pt x="650" y="684"/>
                    <a:pt x="650" y="650"/>
                    <a:pt x="650" y="617"/>
                  </a:cubicBezTo>
                  <a:cubicBezTo>
                    <a:pt x="650" y="606"/>
                    <a:pt x="651" y="597"/>
                    <a:pt x="657" y="586"/>
                  </a:cubicBezTo>
                  <a:cubicBezTo>
                    <a:pt x="667" y="565"/>
                    <a:pt x="703" y="560"/>
                    <a:pt x="716" y="579"/>
                  </a:cubicBezTo>
                  <a:cubicBezTo>
                    <a:pt x="723" y="588"/>
                    <a:pt x="724" y="598"/>
                    <a:pt x="724" y="609"/>
                  </a:cubicBezTo>
                  <a:cubicBezTo>
                    <a:pt x="724" y="645"/>
                    <a:pt x="724" y="682"/>
                    <a:pt x="724" y="718"/>
                  </a:cubicBezTo>
                  <a:cubicBezTo>
                    <a:pt x="724" y="727"/>
                    <a:pt x="727" y="731"/>
                    <a:pt x="736" y="730"/>
                  </a:cubicBezTo>
                  <a:cubicBezTo>
                    <a:pt x="738" y="730"/>
                    <a:pt x="741" y="730"/>
                    <a:pt x="743" y="730"/>
                  </a:cubicBezTo>
                  <a:cubicBezTo>
                    <a:pt x="758" y="730"/>
                    <a:pt x="759" y="729"/>
                    <a:pt x="759" y="715"/>
                  </a:cubicBezTo>
                  <a:cubicBezTo>
                    <a:pt x="759" y="677"/>
                    <a:pt x="758" y="639"/>
                    <a:pt x="759" y="601"/>
                  </a:cubicBezTo>
                  <a:cubicBezTo>
                    <a:pt x="759" y="571"/>
                    <a:pt x="742" y="540"/>
                    <a:pt x="704" y="538"/>
                  </a:cubicBezTo>
                  <a:cubicBezTo>
                    <a:pt x="681" y="536"/>
                    <a:pt x="661" y="542"/>
                    <a:pt x="646" y="560"/>
                  </a:cubicBezTo>
                  <a:cubicBezTo>
                    <a:pt x="638" y="569"/>
                    <a:pt x="638" y="569"/>
                    <a:pt x="631" y="559"/>
                  </a:cubicBezTo>
                  <a:cubicBezTo>
                    <a:pt x="630" y="558"/>
                    <a:pt x="630" y="557"/>
                    <a:pt x="629" y="556"/>
                  </a:cubicBezTo>
                  <a:cubicBezTo>
                    <a:pt x="623" y="548"/>
                    <a:pt x="616" y="541"/>
                    <a:pt x="607" y="539"/>
                  </a:cubicBezTo>
                  <a:cubicBezTo>
                    <a:pt x="584" y="534"/>
                    <a:pt x="563" y="539"/>
                    <a:pt x="545" y="555"/>
                  </a:cubicBezTo>
                  <a:cubicBezTo>
                    <a:pt x="540" y="559"/>
                    <a:pt x="537" y="561"/>
                    <a:pt x="537" y="552"/>
                  </a:cubicBezTo>
                  <a:cubicBezTo>
                    <a:pt x="536" y="543"/>
                    <a:pt x="526" y="538"/>
                    <a:pt x="515" y="539"/>
                  </a:cubicBezTo>
                  <a:cubicBezTo>
                    <a:pt x="506" y="540"/>
                    <a:pt x="507" y="546"/>
                    <a:pt x="507" y="552"/>
                  </a:cubicBezTo>
                  <a:cubicBezTo>
                    <a:pt x="507" y="580"/>
                    <a:pt x="507" y="607"/>
                    <a:pt x="507" y="634"/>
                  </a:cubicBezTo>
                  <a:cubicBezTo>
                    <a:pt x="507" y="660"/>
                    <a:pt x="507" y="685"/>
                    <a:pt x="507" y="711"/>
                  </a:cubicBezTo>
                  <a:close/>
                  <a:moveTo>
                    <a:pt x="1525" y="1142"/>
                  </a:moveTo>
                  <a:cubicBezTo>
                    <a:pt x="1517" y="1143"/>
                    <a:pt x="1511" y="1141"/>
                    <a:pt x="1505" y="1136"/>
                  </a:cubicBezTo>
                  <a:cubicBezTo>
                    <a:pt x="1501" y="1133"/>
                    <a:pt x="1495" y="1130"/>
                    <a:pt x="1498" y="1124"/>
                  </a:cubicBezTo>
                  <a:cubicBezTo>
                    <a:pt x="1500" y="1118"/>
                    <a:pt x="1504" y="1114"/>
                    <a:pt x="1512" y="1114"/>
                  </a:cubicBezTo>
                  <a:cubicBezTo>
                    <a:pt x="1521" y="1115"/>
                    <a:pt x="1530" y="1114"/>
                    <a:pt x="1538" y="1115"/>
                  </a:cubicBezTo>
                  <a:cubicBezTo>
                    <a:pt x="1573" y="1117"/>
                    <a:pt x="1610" y="1084"/>
                    <a:pt x="1602" y="1044"/>
                  </a:cubicBezTo>
                  <a:cubicBezTo>
                    <a:pt x="1600" y="1035"/>
                    <a:pt x="1599" y="1028"/>
                    <a:pt x="1611" y="1027"/>
                  </a:cubicBezTo>
                  <a:cubicBezTo>
                    <a:pt x="1614" y="1027"/>
                    <a:pt x="1617" y="1024"/>
                    <a:pt x="1619" y="1023"/>
                  </a:cubicBezTo>
                  <a:cubicBezTo>
                    <a:pt x="1626" y="1019"/>
                    <a:pt x="1624" y="1013"/>
                    <a:pt x="1623" y="1008"/>
                  </a:cubicBezTo>
                  <a:cubicBezTo>
                    <a:pt x="1623" y="1002"/>
                    <a:pt x="1618" y="1003"/>
                    <a:pt x="1613" y="1002"/>
                  </a:cubicBezTo>
                  <a:cubicBezTo>
                    <a:pt x="1598" y="1002"/>
                    <a:pt x="1582" y="1004"/>
                    <a:pt x="1567" y="1000"/>
                  </a:cubicBezTo>
                  <a:cubicBezTo>
                    <a:pt x="1560" y="999"/>
                    <a:pt x="1554" y="993"/>
                    <a:pt x="1546" y="993"/>
                  </a:cubicBezTo>
                  <a:cubicBezTo>
                    <a:pt x="1536" y="994"/>
                    <a:pt x="1525" y="992"/>
                    <a:pt x="1515" y="993"/>
                  </a:cubicBezTo>
                  <a:cubicBezTo>
                    <a:pt x="1490" y="997"/>
                    <a:pt x="1469" y="1010"/>
                    <a:pt x="1462" y="1034"/>
                  </a:cubicBezTo>
                  <a:cubicBezTo>
                    <a:pt x="1455" y="1056"/>
                    <a:pt x="1457" y="1079"/>
                    <a:pt x="1476" y="1096"/>
                  </a:cubicBezTo>
                  <a:cubicBezTo>
                    <a:pt x="1483" y="1103"/>
                    <a:pt x="1483" y="1107"/>
                    <a:pt x="1476" y="1113"/>
                  </a:cubicBezTo>
                  <a:cubicBezTo>
                    <a:pt x="1462" y="1126"/>
                    <a:pt x="1462" y="1142"/>
                    <a:pt x="1473" y="1157"/>
                  </a:cubicBezTo>
                  <a:cubicBezTo>
                    <a:pt x="1476" y="1160"/>
                    <a:pt x="1476" y="1162"/>
                    <a:pt x="1472" y="1164"/>
                  </a:cubicBezTo>
                  <a:cubicBezTo>
                    <a:pt x="1470" y="1166"/>
                    <a:pt x="1468" y="1168"/>
                    <a:pt x="1466" y="1170"/>
                  </a:cubicBezTo>
                  <a:cubicBezTo>
                    <a:pt x="1449" y="1183"/>
                    <a:pt x="1444" y="1201"/>
                    <a:pt x="1454" y="1218"/>
                  </a:cubicBezTo>
                  <a:cubicBezTo>
                    <a:pt x="1464" y="1235"/>
                    <a:pt x="1479" y="1246"/>
                    <a:pt x="1499" y="1249"/>
                  </a:cubicBezTo>
                  <a:cubicBezTo>
                    <a:pt x="1517" y="1252"/>
                    <a:pt x="1535" y="1253"/>
                    <a:pt x="1553" y="1250"/>
                  </a:cubicBezTo>
                  <a:cubicBezTo>
                    <a:pt x="1584" y="1245"/>
                    <a:pt x="1607" y="1232"/>
                    <a:pt x="1619" y="1200"/>
                  </a:cubicBezTo>
                  <a:cubicBezTo>
                    <a:pt x="1627" y="1180"/>
                    <a:pt x="1611" y="1155"/>
                    <a:pt x="1593" y="1148"/>
                  </a:cubicBezTo>
                  <a:cubicBezTo>
                    <a:pt x="1578" y="1142"/>
                    <a:pt x="1563" y="1143"/>
                    <a:pt x="1549" y="1142"/>
                  </a:cubicBezTo>
                  <a:cubicBezTo>
                    <a:pt x="1540" y="1142"/>
                    <a:pt x="1532" y="1142"/>
                    <a:pt x="1525" y="1142"/>
                  </a:cubicBezTo>
                  <a:close/>
                  <a:moveTo>
                    <a:pt x="1556" y="1172"/>
                  </a:moveTo>
                  <a:cubicBezTo>
                    <a:pt x="1566" y="1172"/>
                    <a:pt x="1576" y="1176"/>
                    <a:pt x="1583" y="1183"/>
                  </a:cubicBezTo>
                  <a:cubicBezTo>
                    <a:pt x="1589" y="1190"/>
                    <a:pt x="1589" y="1198"/>
                    <a:pt x="1583" y="1205"/>
                  </a:cubicBezTo>
                  <a:cubicBezTo>
                    <a:pt x="1575" y="1215"/>
                    <a:pt x="1565" y="1220"/>
                    <a:pt x="1553" y="1223"/>
                  </a:cubicBezTo>
                  <a:cubicBezTo>
                    <a:pt x="1534" y="1228"/>
                    <a:pt x="1516" y="1225"/>
                    <a:pt x="1499" y="1219"/>
                  </a:cubicBezTo>
                  <a:cubicBezTo>
                    <a:pt x="1486" y="1214"/>
                    <a:pt x="1479" y="1203"/>
                    <a:pt x="1482" y="1193"/>
                  </a:cubicBezTo>
                  <a:cubicBezTo>
                    <a:pt x="1485" y="1182"/>
                    <a:pt x="1496" y="1168"/>
                    <a:pt x="1514" y="1171"/>
                  </a:cubicBezTo>
                  <a:cubicBezTo>
                    <a:pt x="1526" y="1173"/>
                    <a:pt x="1541" y="1171"/>
                    <a:pt x="1556" y="1172"/>
                  </a:cubicBezTo>
                  <a:close/>
                  <a:moveTo>
                    <a:pt x="1531" y="1019"/>
                  </a:moveTo>
                  <a:cubicBezTo>
                    <a:pt x="1553" y="1017"/>
                    <a:pt x="1570" y="1033"/>
                    <a:pt x="1570" y="1052"/>
                  </a:cubicBezTo>
                  <a:cubicBezTo>
                    <a:pt x="1570" y="1075"/>
                    <a:pt x="1554" y="1093"/>
                    <a:pt x="1532" y="1091"/>
                  </a:cubicBezTo>
                  <a:cubicBezTo>
                    <a:pt x="1508" y="1089"/>
                    <a:pt x="1494" y="1082"/>
                    <a:pt x="1493" y="1053"/>
                  </a:cubicBezTo>
                  <a:cubicBezTo>
                    <a:pt x="1494" y="1029"/>
                    <a:pt x="1508" y="1020"/>
                    <a:pt x="1531" y="1019"/>
                  </a:cubicBezTo>
                  <a:close/>
                  <a:moveTo>
                    <a:pt x="1413" y="934"/>
                  </a:moveTo>
                  <a:cubicBezTo>
                    <a:pt x="1413" y="909"/>
                    <a:pt x="1413" y="909"/>
                    <a:pt x="1389" y="910"/>
                  </a:cubicBezTo>
                  <a:cubicBezTo>
                    <a:pt x="1388" y="910"/>
                    <a:pt x="1387" y="910"/>
                    <a:pt x="1387" y="910"/>
                  </a:cubicBezTo>
                  <a:cubicBezTo>
                    <a:pt x="1379" y="910"/>
                    <a:pt x="1376" y="915"/>
                    <a:pt x="1376" y="921"/>
                  </a:cubicBezTo>
                  <a:cubicBezTo>
                    <a:pt x="1376" y="939"/>
                    <a:pt x="1377" y="956"/>
                    <a:pt x="1377" y="974"/>
                  </a:cubicBezTo>
                  <a:cubicBezTo>
                    <a:pt x="1377" y="983"/>
                    <a:pt x="1377" y="991"/>
                    <a:pt x="1377" y="1000"/>
                  </a:cubicBezTo>
                  <a:cubicBezTo>
                    <a:pt x="1377" y="1005"/>
                    <a:pt x="1374" y="1009"/>
                    <a:pt x="1369" y="1005"/>
                  </a:cubicBezTo>
                  <a:cubicBezTo>
                    <a:pt x="1352" y="990"/>
                    <a:pt x="1332" y="993"/>
                    <a:pt x="1312" y="993"/>
                  </a:cubicBezTo>
                  <a:cubicBezTo>
                    <a:pt x="1303" y="994"/>
                    <a:pt x="1294" y="998"/>
                    <a:pt x="1287" y="1003"/>
                  </a:cubicBezTo>
                  <a:cubicBezTo>
                    <a:pt x="1265" y="1017"/>
                    <a:pt x="1252" y="1039"/>
                    <a:pt x="1248" y="1065"/>
                  </a:cubicBezTo>
                  <a:cubicBezTo>
                    <a:pt x="1244" y="1096"/>
                    <a:pt x="1244" y="1128"/>
                    <a:pt x="1261" y="1157"/>
                  </a:cubicBezTo>
                  <a:cubicBezTo>
                    <a:pt x="1270" y="1170"/>
                    <a:pt x="1281" y="1181"/>
                    <a:pt x="1296" y="1185"/>
                  </a:cubicBezTo>
                  <a:cubicBezTo>
                    <a:pt x="1323" y="1191"/>
                    <a:pt x="1349" y="1188"/>
                    <a:pt x="1370" y="1167"/>
                  </a:cubicBezTo>
                  <a:cubicBezTo>
                    <a:pt x="1372" y="1165"/>
                    <a:pt x="1375" y="1162"/>
                    <a:pt x="1379" y="1163"/>
                  </a:cubicBezTo>
                  <a:cubicBezTo>
                    <a:pt x="1382" y="1165"/>
                    <a:pt x="1381" y="1169"/>
                    <a:pt x="1381" y="1172"/>
                  </a:cubicBezTo>
                  <a:cubicBezTo>
                    <a:pt x="1383" y="1181"/>
                    <a:pt x="1390" y="1186"/>
                    <a:pt x="1403" y="1186"/>
                  </a:cubicBezTo>
                  <a:cubicBezTo>
                    <a:pt x="1413" y="1185"/>
                    <a:pt x="1413" y="1178"/>
                    <a:pt x="1413" y="1172"/>
                  </a:cubicBezTo>
                  <a:cubicBezTo>
                    <a:pt x="1413" y="1131"/>
                    <a:pt x="1413" y="1090"/>
                    <a:pt x="1413" y="1049"/>
                  </a:cubicBezTo>
                  <a:cubicBezTo>
                    <a:pt x="1413" y="1010"/>
                    <a:pt x="1413" y="972"/>
                    <a:pt x="1413" y="934"/>
                  </a:cubicBezTo>
                  <a:close/>
                  <a:moveTo>
                    <a:pt x="1378" y="1113"/>
                  </a:moveTo>
                  <a:cubicBezTo>
                    <a:pt x="1378" y="1136"/>
                    <a:pt x="1360" y="1155"/>
                    <a:pt x="1337" y="1157"/>
                  </a:cubicBezTo>
                  <a:cubicBezTo>
                    <a:pt x="1319" y="1159"/>
                    <a:pt x="1304" y="1154"/>
                    <a:pt x="1294" y="1139"/>
                  </a:cubicBezTo>
                  <a:cubicBezTo>
                    <a:pt x="1286" y="1128"/>
                    <a:pt x="1283" y="1116"/>
                    <a:pt x="1283" y="1102"/>
                  </a:cubicBezTo>
                  <a:cubicBezTo>
                    <a:pt x="1282" y="1085"/>
                    <a:pt x="1282" y="1067"/>
                    <a:pt x="1290" y="1051"/>
                  </a:cubicBezTo>
                  <a:cubicBezTo>
                    <a:pt x="1297" y="1036"/>
                    <a:pt x="1308" y="1024"/>
                    <a:pt x="1325" y="1022"/>
                  </a:cubicBezTo>
                  <a:cubicBezTo>
                    <a:pt x="1342" y="1020"/>
                    <a:pt x="1358" y="1021"/>
                    <a:pt x="1371" y="1035"/>
                  </a:cubicBezTo>
                  <a:cubicBezTo>
                    <a:pt x="1376" y="1041"/>
                    <a:pt x="1378" y="1046"/>
                    <a:pt x="1378" y="1052"/>
                  </a:cubicBezTo>
                  <a:cubicBezTo>
                    <a:pt x="1378" y="1064"/>
                    <a:pt x="1378" y="1075"/>
                    <a:pt x="1378" y="1086"/>
                  </a:cubicBezTo>
                  <a:cubicBezTo>
                    <a:pt x="1378" y="1086"/>
                    <a:pt x="1378" y="1086"/>
                    <a:pt x="1378" y="1086"/>
                  </a:cubicBezTo>
                  <a:cubicBezTo>
                    <a:pt x="1378" y="1095"/>
                    <a:pt x="1378" y="1104"/>
                    <a:pt x="1378" y="1113"/>
                  </a:cubicBezTo>
                  <a:close/>
                  <a:moveTo>
                    <a:pt x="578" y="259"/>
                  </a:moveTo>
                  <a:cubicBezTo>
                    <a:pt x="603" y="241"/>
                    <a:pt x="611" y="213"/>
                    <a:pt x="614" y="183"/>
                  </a:cubicBezTo>
                  <a:cubicBezTo>
                    <a:pt x="615" y="171"/>
                    <a:pt x="610" y="159"/>
                    <a:pt x="609" y="147"/>
                  </a:cubicBezTo>
                  <a:cubicBezTo>
                    <a:pt x="608" y="137"/>
                    <a:pt x="603" y="129"/>
                    <a:pt x="599" y="121"/>
                  </a:cubicBezTo>
                  <a:cubicBezTo>
                    <a:pt x="579" y="87"/>
                    <a:pt x="527" y="70"/>
                    <a:pt x="488" y="85"/>
                  </a:cubicBezTo>
                  <a:cubicBezTo>
                    <a:pt x="453" y="99"/>
                    <a:pt x="436" y="127"/>
                    <a:pt x="431" y="163"/>
                  </a:cubicBezTo>
                  <a:cubicBezTo>
                    <a:pt x="429" y="180"/>
                    <a:pt x="430" y="196"/>
                    <a:pt x="436" y="213"/>
                  </a:cubicBezTo>
                  <a:cubicBezTo>
                    <a:pt x="439" y="222"/>
                    <a:pt x="442" y="232"/>
                    <a:pt x="447" y="239"/>
                  </a:cubicBezTo>
                  <a:cubicBezTo>
                    <a:pt x="465" y="265"/>
                    <a:pt x="491" y="277"/>
                    <a:pt x="525" y="276"/>
                  </a:cubicBezTo>
                  <a:cubicBezTo>
                    <a:pt x="543" y="278"/>
                    <a:pt x="562" y="271"/>
                    <a:pt x="578" y="259"/>
                  </a:cubicBezTo>
                  <a:close/>
                  <a:moveTo>
                    <a:pt x="471" y="205"/>
                  </a:moveTo>
                  <a:cubicBezTo>
                    <a:pt x="466" y="185"/>
                    <a:pt x="468" y="167"/>
                    <a:pt x="472" y="147"/>
                  </a:cubicBezTo>
                  <a:cubicBezTo>
                    <a:pt x="477" y="130"/>
                    <a:pt x="493" y="116"/>
                    <a:pt x="509" y="112"/>
                  </a:cubicBezTo>
                  <a:cubicBezTo>
                    <a:pt x="525" y="108"/>
                    <a:pt x="539" y="110"/>
                    <a:pt x="553" y="119"/>
                  </a:cubicBezTo>
                  <a:cubicBezTo>
                    <a:pt x="563" y="125"/>
                    <a:pt x="568" y="135"/>
                    <a:pt x="571" y="146"/>
                  </a:cubicBezTo>
                  <a:cubicBezTo>
                    <a:pt x="577" y="167"/>
                    <a:pt x="578" y="189"/>
                    <a:pt x="571" y="211"/>
                  </a:cubicBezTo>
                  <a:cubicBezTo>
                    <a:pt x="565" y="231"/>
                    <a:pt x="549" y="249"/>
                    <a:pt x="521" y="247"/>
                  </a:cubicBezTo>
                  <a:cubicBezTo>
                    <a:pt x="496" y="247"/>
                    <a:pt x="478" y="230"/>
                    <a:pt x="471" y="205"/>
                  </a:cubicBezTo>
                  <a:close/>
                  <a:moveTo>
                    <a:pt x="472" y="1122"/>
                  </a:moveTo>
                  <a:cubicBezTo>
                    <a:pt x="475" y="1136"/>
                    <a:pt x="481" y="1148"/>
                    <a:pt x="491" y="1158"/>
                  </a:cubicBezTo>
                  <a:cubicBezTo>
                    <a:pt x="506" y="1176"/>
                    <a:pt x="524" y="1185"/>
                    <a:pt x="548" y="1187"/>
                  </a:cubicBezTo>
                  <a:cubicBezTo>
                    <a:pt x="568" y="1188"/>
                    <a:pt x="587" y="1187"/>
                    <a:pt x="605" y="1177"/>
                  </a:cubicBezTo>
                  <a:cubicBezTo>
                    <a:pt x="632" y="1162"/>
                    <a:pt x="644" y="1136"/>
                    <a:pt x="649" y="1107"/>
                  </a:cubicBezTo>
                  <a:cubicBezTo>
                    <a:pt x="652" y="1089"/>
                    <a:pt x="649" y="1072"/>
                    <a:pt x="644" y="1054"/>
                  </a:cubicBezTo>
                  <a:cubicBezTo>
                    <a:pt x="638" y="1034"/>
                    <a:pt x="627" y="1019"/>
                    <a:pt x="610" y="1007"/>
                  </a:cubicBezTo>
                  <a:cubicBezTo>
                    <a:pt x="589" y="992"/>
                    <a:pt x="566" y="991"/>
                    <a:pt x="541" y="994"/>
                  </a:cubicBezTo>
                  <a:cubicBezTo>
                    <a:pt x="526" y="995"/>
                    <a:pt x="512" y="1002"/>
                    <a:pt x="500" y="1012"/>
                  </a:cubicBezTo>
                  <a:cubicBezTo>
                    <a:pt x="476" y="1032"/>
                    <a:pt x="469" y="1060"/>
                    <a:pt x="466" y="1095"/>
                  </a:cubicBezTo>
                  <a:cubicBezTo>
                    <a:pt x="465" y="1101"/>
                    <a:pt x="470" y="1111"/>
                    <a:pt x="472" y="1122"/>
                  </a:cubicBezTo>
                  <a:close/>
                  <a:moveTo>
                    <a:pt x="508" y="1113"/>
                  </a:moveTo>
                  <a:cubicBezTo>
                    <a:pt x="505" y="1095"/>
                    <a:pt x="506" y="1078"/>
                    <a:pt x="508" y="1061"/>
                  </a:cubicBezTo>
                  <a:cubicBezTo>
                    <a:pt x="511" y="1042"/>
                    <a:pt x="538" y="1021"/>
                    <a:pt x="554" y="1022"/>
                  </a:cubicBezTo>
                  <a:cubicBezTo>
                    <a:pt x="570" y="1022"/>
                    <a:pt x="586" y="1024"/>
                    <a:pt x="596" y="1037"/>
                  </a:cubicBezTo>
                  <a:cubicBezTo>
                    <a:pt x="602" y="1044"/>
                    <a:pt x="607" y="1052"/>
                    <a:pt x="608" y="1061"/>
                  </a:cubicBezTo>
                  <a:cubicBezTo>
                    <a:pt x="608" y="1064"/>
                    <a:pt x="609" y="1067"/>
                    <a:pt x="610" y="1070"/>
                  </a:cubicBezTo>
                  <a:cubicBezTo>
                    <a:pt x="618" y="1089"/>
                    <a:pt x="612" y="1107"/>
                    <a:pt x="607" y="1125"/>
                  </a:cubicBezTo>
                  <a:cubicBezTo>
                    <a:pt x="601" y="1143"/>
                    <a:pt x="588" y="1160"/>
                    <a:pt x="558" y="1157"/>
                  </a:cubicBezTo>
                  <a:cubicBezTo>
                    <a:pt x="530" y="1157"/>
                    <a:pt x="512" y="1141"/>
                    <a:pt x="508" y="1113"/>
                  </a:cubicBezTo>
                  <a:close/>
                  <a:moveTo>
                    <a:pt x="430" y="716"/>
                  </a:moveTo>
                  <a:cubicBezTo>
                    <a:pt x="450" y="703"/>
                    <a:pt x="459" y="683"/>
                    <a:pt x="464" y="661"/>
                  </a:cubicBezTo>
                  <a:cubicBezTo>
                    <a:pt x="468" y="648"/>
                    <a:pt x="467" y="635"/>
                    <a:pt x="466" y="621"/>
                  </a:cubicBezTo>
                  <a:cubicBezTo>
                    <a:pt x="463" y="592"/>
                    <a:pt x="453" y="567"/>
                    <a:pt x="427" y="550"/>
                  </a:cubicBezTo>
                  <a:cubicBezTo>
                    <a:pt x="401" y="534"/>
                    <a:pt x="372" y="532"/>
                    <a:pt x="345" y="541"/>
                  </a:cubicBezTo>
                  <a:cubicBezTo>
                    <a:pt x="310" y="552"/>
                    <a:pt x="291" y="580"/>
                    <a:pt x="287" y="617"/>
                  </a:cubicBezTo>
                  <a:cubicBezTo>
                    <a:pt x="286" y="629"/>
                    <a:pt x="286" y="641"/>
                    <a:pt x="287" y="654"/>
                  </a:cubicBezTo>
                  <a:cubicBezTo>
                    <a:pt x="289" y="671"/>
                    <a:pt x="295" y="686"/>
                    <a:pt x="306" y="700"/>
                  </a:cubicBezTo>
                  <a:cubicBezTo>
                    <a:pt x="324" y="722"/>
                    <a:pt x="348" y="733"/>
                    <a:pt x="378" y="731"/>
                  </a:cubicBezTo>
                  <a:cubicBezTo>
                    <a:pt x="396" y="733"/>
                    <a:pt x="414" y="727"/>
                    <a:pt x="430" y="716"/>
                  </a:cubicBezTo>
                  <a:close/>
                  <a:moveTo>
                    <a:pt x="331" y="592"/>
                  </a:moveTo>
                  <a:cubicBezTo>
                    <a:pt x="339" y="580"/>
                    <a:pt x="349" y="569"/>
                    <a:pt x="365" y="567"/>
                  </a:cubicBezTo>
                  <a:cubicBezTo>
                    <a:pt x="387" y="564"/>
                    <a:pt x="406" y="568"/>
                    <a:pt x="419" y="588"/>
                  </a:cubicBezTo>
                  <a:cubicBezTo>
                    <a:pt x="423" y="595"/>
                    <a:pt x="426" y="603"/>
                    <a:pt x="427" y="610"/>
                  </a:cubicBezTo>
                  <a:cubicBezTo>
                    <a:pt x="433" y="635"/>
                    <a:pt x="431" y="661"/>
                    <a:pt x="416" y="684"/>
                  </a:cubicBezTo>
                  <a:cubicBezTo>
                    <a:pt x="403" y="706"/>
                    <a:pt x="362" y="708"/>
                    <a:pt x="345" y="692"/>
                  </a:cubicBezTo>
                  <a:cubicBezTo>
                    <a:pt x="329" y="678"/>
                    <a:pt x="323" y="661"/>
                    <a:pt x="323" y="631"/>
                  </a:cubicBezTo>
                  <a:cubicBezTo>
                    <a:pt x="323" y="619"/>
                    <a:pt x="323" y="605"/>
                    <a:pt x="331" y="592"/>
                  </a:cubicBezTo>
                  <a:close/>
                  <a:moveTo>
                    <a:pt x="1073" y="259"/>
                  </a:moveTo>
                  <a:cubicBezTo>
                    <a:pt x="1073" y="269"/>
                    <a:pt x="1075" y="272"/>
                    <a:pt x="1086" y="272"/>
                  </a:cubicBezTo>
                  <a:cubicBezTo>
                    <a:pt x="1088" y="272"/>
                    <a:pt x="1090" y="272"/>
                    <a:pt x="1092" y="272"/>
                  </a:cubicBezTo>
                  <a:cubicBezTo>
                    <a:pt x="1105" y="272"/>
                    <a:pt x="1106" y="271"/>
                    <a:pt x="1106" y="258"/>
                  </a:cubicBezTo>
                  <a:cubicBezTo>
                    <a:pt x="1106" y="221"/>
                    <a:pt x="1106" y="184"/>
                    <a:pt x="1106" y="147"/>
                  </a:cubicBezTo>
                  <a:cubicBezTo>
                    <a:pt x="1106" y="143"/>
                    <a:pt x="1106" y="140"/>
                    <a:pt x="1107" y="137"/>
                  </a:cubicBezTo>
                  <a:cubicBezTo>
                    <a:pt x="1117" y="117"/>
                    <a:pt x="1157" y="104"/>
                    <a:pt x="1177" y="114"/>
                  </a:cubicBezTo>
                  <a:cubicBezTo>
                    <a:pt x="1179" y="115"/>
                    <a:pt x="1180" y="117"/>
                    <a:pt x="1182" y="118"/>
                  </a:cubicBezTo>
                  <a:cubicBezTo>
                    <a:pt x="1194" y="131"/>
                    <a:pt x="1196" y="147"/>
                    <a:pt x="1196" y="163"/>
                  </a:cubicBezTo>
                  <a:cubicBezTo>
                    <a:pt x="1197" y="195"/>
                    <a:pt x="1196" y="226"/>
                    <a:pt x="1196" y="258"/>
                  </a:cubicBezTo>
                  <a:cubicBezTo>
                    <a:pt x="1196" y="271"/>
                    <a:pt x="1197" y="272"/>
                    <a:pt x="1210" y="272"/>
                  </a:cubicBezTo>
                  <a:cubicBezTo>
                    <a:pt x="1212" y="272"/>
                    <a:pt x="1213" y="272"/>
                    <a:pt x="1215" y="272"/>
                  </a:cubicBezTo>
                  <a:cubicBezTo>
                    <a:pt x="1227" y="272"/>
                    <a:pt x="1229" y="270"/>
                    <a:pt x="1229" y="258"/>
                  </a:cubicBezTo>
                  <a:cubicBezTo>
                    <a:pt x="1229" y="222"/>
                    <a:pt x="1229" y="187"/>
                    <a:pt x="1229" y="151"/>
                  </a:cubicBezTo>
                  <a:cubicBezTo>
                    <a:pt x="1229" y="142"/>
                    <a:pt x="1228" y="132"/>
                    <a:pt x="1225" y="123"/>
                  </a:cubicBezTo>
                  <a:cubicBezTo>
                    <a:pt x="1219" y="105"/>
                    <a:pt x="1208" y="91"/>
                    <a:pt x="1189" y="85"/>
                  </a:cubicBezTo>
                  <a:cubicBezTo>
                    <a:pt x="1173" y="80"/>
                    <a:pt x="1156" y="84"/>
                    <a:pt x="1139" y="84"/>
                  </a:cubicBezTo>
                  <a:cubicBezTo>
                    <a:pt x="1137" y="84"/>
                    <a:pt x="1136" y="86"/>
                    <a:pt x="1134" y="87"/>
                  </a:cubicBezTo>
                  <a:cubicBezTo>
                    <a:pt x="1128" y="91"/>
                    <a:pt x="1121" y="96"/>
                    <a:pt x="1115" y="100"/>
                  </a:cubicBezTo>
                  <a:cubicBezTo>
                    <a:pt x="1113" y="102"/>
                    <a:pt x="1111" y="105"/>
                    <a:pt x="1108" y="103"/>
                  </a:cubicBezTo>
                  <a:cubicBezTo>
                    <a:pt x="1105" y="102"/>
                    <a:pt x="1106" y="98"/>
                    <a:pt x="1106" y="96"/>
                  </a:cubicBezTo>
                  <a:cubicBezTo>
                    <a:pt x="1106" y="69"/>
                    <a:pt x="1106" y="43"/>
                    <a:pt x="1106" y="17"/>
                  </a:cubicBezTo>
                  <a:cubicBezTo>
                    <a:pt x="1106" y="0"/>
                    <a:pt x="1106" y="0"/>
                    <a:pt x="1089" y="0"/>
                  </a:cubicBezTo>
                  <a:cubicBezTo>
                    <a:pt x="1074" y="0"/>
                    <a:pt x="1073" y="1"/>
                    <a:pt x="1073" y="16"/>
                  </a:cubicBezTo>
                  <a:cubicBezTo>
                    <a:pt x="1073" y="56"/>
                    <a:pt x="1073" y="96"/>
                    <a:pt x="1073" y="136"/>
                  </a:cubicBezTo>
                  <a:cubicBezTo>
                    <a:pt x="1073" y="177"/>
                    <a:pt x="1073" y="218"/>
                    <a:pt x="1073" y="259"/>
                  </a:cubicBezTo>
                  <a:close/>
                  <a:moveTo>
                    <a:pt x="1150" y="1092"/>
                  </a:moveTo>
                  <a:cubicBezTo>
                    <a:pt x="1168" y="1092"/>
                    <a:pt x="1186" y="1092"/>
                    <a:pt x="1204" y="1092"/>
                  </a:cubicBezTo>
                  <a:cubicBezTo>
                    <a:pt x="1215" y="1092"/>
                    <a:pt x="1218" y="1087"/>
                    <a:pt x="1219" y="1077"/>
                  </a:cubicBezTo>
                  <a:cubicBezTo>
                    <a:pt x="1220" y="1062"/>
                    <a:pt x="1216" y="1049"/>
                    <a:pt x="1210" y="1036"/>
                  </a:cubicBezTo>
                  <a:cubicBezTo>
                    <a:pt x="1204" y="1020"/>
                    <a:pt x="1193" y="1008"/>
                    <a:pt x="1177" y="1001"/>
                  </a:cubicBezTo>
                  <a:cubicBezTo>
                    <a:pt x="1155" y="992"/>
                    <a:pt x="1133" y="991"/>
                    <a:pt x="1109" y="999"/>
                  </a:cubicBezTo>
                  <a:cubicBezTo>
                    <a:pt x="1079" y="1010"/>
                    <a:pt x="1062" y="1031"/>
                    <a:pt x="1056" y="1061"/>
                  </a:cubicBezTo>
                  <a:cubicBezTo>
                    <a:pt x="1051" y="1090"/>
                    <a:pt x="1052" y="1120"/>
                    <a:pt x="1069" y="1148"/>
                  </a:cubicBezTo>
                  <a:cubicBezTo>
                    <a:pt x="1081" y="1169"/>
                    <a:pt x="1100" y="1180"/>
                    <a:pt x="1122" y="1185"/>
                  </a:cubicBezTo>
                  <a:cubicBezTo>
                    <a:pt x="1149" y="1190"/>
                    <a:pt x="1176" y="1186"/>
                    <a:pt x="1200" y="1171"/>
                  </a:cubicBezTo>
                  <a:cubicBezTo>
                    <a:pt x="1206" y="1168"/>
                    <a:pt x="1213" y="1165"/>
                    <a:pt x="1214" y="1157"/>
                  </a:cubicBezTo>
                  <a:cubicBezTo>
                    <a:pt x="1215" y="1147"/>
                    <a:pt x="1202" y="1139"/>
                    <a:pt x="1193" y="1144"/>
                  </a:cubicBezTo>
                  <a:cubicBezTo>
                    <a:pt x="1187" y="1147"/>
                    <a:pt x="1180" y="1150"/>
                    <a:pt x="1174" y="1153"/>
                  </a:cubicBezTo>
                  <a:cubicBezTo>
                    <a:pt x="1158" y="1161"/>
                    <a:pt x="1140" y="1161"/>
                    <a:pt x="1124" y="1155"/>
                  </a:cubicBezTo>
                  <a:cubicBezTo>
                    <a:pt x="1112" y="1151"/>
                    <a:pt x="1102" y="1142"/>
                    <a:pt x="1096" y="1129"/>
                  </a:cubicBezTo>
                  <a:cubicBezTo>
                    <a:pt x="1092" y="1121"/>
                    <a:pt x="1091" y="1112"/>
                    <a:pt x="1089" y="1104"/>
                  </a:cubicBezTo>
                  <a:cubicBezTo>
                    <a:pt x="1087" y="1093"/>
                    <a:pt x="1087" y="1092"/>
                    <a:pt x="1099" y="1092"/>
                  </a:cubicBezTo>
                  <a:cubicBezTo>
                    <a:pt x="1116" y="1092"/>
                    <a:pt x="1133" y="1092"/>
                    <a:pt x="1150" y="1092"/>
                  </a:cubicBezTo>
                  <a:cubicBezTo>
                    <a:pt x="1150" y="1092"/>
                    <a:pt x="1150" y="1092"/>
                    <a:pt x="1150" y="1092"/>
                  </a:cubicBezTo>
                  <a:close/>
                  <a:moveTo>
                    <a:pt x="1099" y="1070"/>
                  </a:moveTo>
                  <a:cubicBezTo>
                    <a:pt x="1092" y="1071"/>
                    <a:pt x="1089" y="1067"/>
                    <a:pt x="1091" y="1060"/>
                  </a:cubicBezTo>
                  <a:cubicBezTo>
                    <a:pt x="1094" y="1045"/>
                    <a:pt x="1108" y="1023"/>
                    <a:pt x="1128" y="1022"/>
                  </a:cubicBezTo>
                  <a:cubicBezTo>
                    <a:pt x="1142" y="1021"/>
                    <a:pt x="1156" y="1018"/>
                    <a:pt x="1168" y="1029"/>
                  </a:cubicBezTo>
                  <a:cubicBezTo>
                    <a:pt x="1181" y="1038"/>
                    <a:pt x="1185" y="1051"/>
                    <a:pt x="1187" y="1066"/>
                  </a:cubicBezTo>
                  <a:cubicBezTo>
                    <a:pt x="1188" y="1071"/>
                    <a:pt x="1183" y="1070"/>
                    <a:pt x="1180" y="1070"/>
                  </a:cubicBezTo>
                  <a:cubicBezTo>
                    <a:pt x="1166" y="1070"/>
                    <a:pt x="1153" y="1070"/>
                    <a:pt x="1139" y="1070"/>
                  </a:cubicBezTo>
                  <a:cubicBezTo>
                    <a:pt x="1139" y="1070"/>
                    <a:pt x="1139" y="1070"/>
                    <a:pt x="1139" y="1070"/>
                  </a:cubicBezTo>
                  <a:cubicBezTo>
                    <a:pt x="1126" y="1070"/>
                    <a:pt x="1113" y="1070"/>
                    <a:pt x="1099" y="1070"/>
                  </a:cubicBezTo>
                  <a:close/>
                  <a:moveTo>
                    <a:pt x="1741" y="1092"/>
                  </a:moveTo>
                  <a:cubicBezTo>
                    <a:pt x="1759" y="1092"/>
                    <a:pt x="1776" y="1092"/>
                    <a:pt x="1793" y="1092"/>
                  </a:cubicBezTo>
                  <a:cubicBezTo>
                    <a:pt x="1806" y="1092"/>
                    <a:pt x="1808" y="1089"/>
                    <a:pt x="1808" y="1076"/>
                  </a:cubicBezTo>
                  <a:cubicBezTo>
                    <a:pt x="1809" y="1063"/>
                    <a:pt x="1807" y="1051"/>
                    <a:pt x="1802" y="1038"/>
                  </a:cubicBezTo>
                  <a:cubicBezTo>
                    <a:pt x="1794" y="1021"/>
                    <a:pt x="1782" y="1008"/>
                    <a:pt x="1764" y="1000"/>
                  </a:cubicBezTo>
                  <a:cubicBezTo>
                    <a:pt x="1742" y="991"/>
                    <a:pt x="1720" y="991"/>
                    <a:pt x="1698" y="1000"/>
                  </a:cubicBezTo>
                  <a:cubicBezTo>
                    <a:pt x="1681" y="1006"/>
                    <a:pt x="1668" y="1016"/>
                    <a:pt x="1659" y="1031"/>
                  </a:cubicBezTo>
                  <a:cubicBezTo>
                    <a:pt x="1646" y="1050"/>
                    <a:pt x="1643" y="1071"/>
                    <a:pt x="1644" y="1094"/>
                  </a:cubicBezTo>
                  <a:cubicBezTo>
                    <a:pt x="1644" y="1110"/>
                    <a:pt x="1647" y="1127"/>
                    <a:pt x="1655" y="1141"/>
                  </a:cubicBezTo>
                  <a:cubicBezTo>
                    <a:pt x="1669" y="1168"/>
                    <a:pt x="1691" y="1183"/>
                    <a:pt x="1722" y="1186"/>
                  </a:cubicBezTo>
                  <a:cubicBezTo>
                    <a:pt x="1750" y="1188"/>
                    <a:pt x="1775" y="1183"/>
                    <a:pt x="1798" y="1165"/>
                  </a:cubicBezTo>
                  <a:cubicBezTo>
                    <a:pt x="1803" y="1161"/>
                    <a:pt x="1806" y="1157"/>
                    <a:pt x="1802" y="1151"/>
                  </a:cubicBezTo>
                  <a:cubicBezTo>
                    <a:pt x="1798" y="1144"/>
                    <a:pt x="1791" y="1140"/>
                    <a:pt x="1783" y="1144"/>
                  </a:cubicBezTo>
                  <a:cubicBezTo>
                    <a:pt x="1778" y="1147"/>
                    <a:pt x="1771" y="1149"/>
                    <a:pt x="1766" y="1152"/>
                  </a:cubicBezTo>
                  <a:cubicBezTo>
                    <a:pt x="1749" y="1161"/>
                    <a:pt x="1730" y="1162"/>
                    <a:pt x="1714" y="1155"/>
                  </a:cubicBezTo>
                  <a:cubicBezTo>
                    <a:pt x="1692" y="1145"/>
                    <a:pt x="1680" y="1127"/>
                    <a:pt x="1679" y="1102"/>
                  </a:cubicBezTo>
                  <a:cubicBezTo>
                    <a:pt x="1678" y="1095"/>
                    <a:pt x="1681" y="1092"/>
                    <a:pt x="1689" y="1092"/>
                  </a:cubicBezTo>
                  <a:cubicBezTo>
                    <a:pt x="1706" y="1092"/>
                    <a:pt x="1724" y="1092"/>
                    <a:pt x="1741" y="1092"/>
                  </a:cubicBezTo>
                  <a:cubicBezTo>
                    <a:pt x="1741" y="1092"/>
                    <a:pt x="1741" y="1092"/>
                    <a:pt x="1741" y="1092"/>
                  </a:cubicBezTo>
                  <a:close/>
                  <a:moveTo>
                    <a:pt x="1690" y="1070"/>
                  </a:moveTo>
                  <a:cubicBezTo>
                    <a:pt x="1683" y="1071"/>
                    <a:pt x="1680" y="1068"/>
                    <a:pt x="1681" y="1062"/>
                  </a:cubicBezTo>
                  <a:cubicBezTo>
                    <a:pt x="1683" y="1048"/>
                    <a:pt x="1697" y="1024"/>
                    <a:pt x="1716" y="1022"/>
                  </a:cubicBezTo>
                  <a:cubicBezTo>
                    <a:pt x="1731" y="1020"/>
                    <a:pt x="1747" y="1018"/>
                    <a:pt x="1760" y="1030"/>
                  </a:cubicBezTo>
                  <a:cubicBezTo>
                    <a:pt x="1771" y="1038"/>
                    <a:pt x="1775" y="1050"/>
                    <a:pt x="1778" y="1062"/>
                  </a:cubicBezTo>
                  <a:cubicBezTo>
                    <a:pt x="1780" y="1068"/>
                    <a:pt x="1775" y="1070"/>
                    <a:pt x="1769" y="1070"/>
                  </a:cubicBezTo>
                  <a:cubicBezTo>
                    <a:pt x="1756" y="1070"/>
                    <a:pt x="1742" y="1070"/>
                    <a:pt x="1729" y="1070"/>
                  </a:cubicBezTo>
                  <a:cubicBezTo>
                    <a:pt x="1729" y="1070"/>
                    <a:pt x="1729" y="1070"/>
                    <a:pt x="1729" y="1070"/>
                  </a:cubicBezTo>
                  <a:cubicBezTo>
                    <a:pt x="1716" y="1070"/>
                    <a:pt x="1703" y="1070"/>
                    <a:pt x="1690" y="1070"/>
                  </a:cubicBezTo>
                  <a:close/>
                  <a:moveTo>
                    <a:pt x="68" y="581"/>
                  </a:moveTo>
                  <a:cubicBezTo>
                    <a:pt x="68" y="573"/>
                    <a:pt x="70" y="568"/>
                    <a:pt x="80" y="569"/>
                  </a:cubicBezTo>
                  <a:cubicBezTo>
                    <a:pt x="90" y="570"/>
                    <a:pt x="101" y="570"/>
                    <a:pt x="111" y="569"/>
                  </a:cubicBezTo>
                  <a:cubicBezTo>
                    <a:pt x="120" y="569"/>
                    <a:pt x="120" y="563"/>
                    <a:pt x="120" y="556"/>
                  </a:cubicBezTo>
                  <a:cubicBezTo>
                    <a:pt x="120" y="549"/>
                    <a:pt x="119" y="544"/>
                    <a:pt x="111" y="544"/>
                  </a:cubicBezTo>
                  <a:cubicBezTo>
                    <a:pt x="104" y="544"/>
                    <a:pt x="97" y="544"/>
                    <a:pt x="91" y="544"/>
                  </a:cubicBezTo>
                  <a:cubicBezTo>
                    <a:pt x="66" y="544"/>
                    <a:pt x="65" y="543"/>
                    <a:pt x="68" y="518"/>
                  </a:cubicBezTo>
                  <a:cubicBezTo>
                    <a:pt x="69" y="504"/>
                    <a:pt x="83" y="487"/>
                    <a:pt x="99" y="489"/>
                  </a:cubicBezTo>
                  <a:cubicBezTo>
                    <a:pt x="103" y="489"/>
                    <a:pt x="107" y="489"/>
                    <a:pt x="110" y="488"/>
                  </a:cubicBezTo>
                  <a:cubicBezTo>
                    <a:pt x="118" y="487"/>
                    <a:pt x="123" y="479"/>
                    <a:pt x="123" y="471"/>
                  </a:cubicBezTo>
                  <a:cubicBezTo>
                    <a:pt x="123" y="461"/>
                    <a:pt x="116" y="462"/>
                    <a:pt x="109" y="460"/>
                  </a:cubicBezTo>
                  <a:cubicBezTo>
                    <a:pt x="100" y="458"/>
                    <a:pt x="92" y="460"/>
                    <a:pt x="84" y="460"/>
                  </a:cubicBezTo>
                  <a:cubicBezTo>
                    <a:pt x="68" y="461"/>
                    <a:pt x="56" y="469"/>
                    <a:pt x="47" y="480"/>
                  </a:cubicBezTo>
                  <a:cubicBezTo>
                    <a:pt x="34" y="493"/>
                    <a:pt x="32" y="511"/>
                    <a:pt x="32" y="529"/>
                  </a:cubicBezTo>
                  <a:cubicBezTo>
                    <a:pt x="32" y="544"/>
                    <a:pt x="32" y="544"/>
                    <a:pt x="17" y="544"/>
                  </a:cubicBezTo>
                  <a:cubicBezTo>
                    <a:pt x="4" y="543"/>
                    <a:pt x="0" y="548"/>
                    <a:pt x="4" y="561"/>
                  </a:cubicBezTo>
                  <a:cubicBezTo>
                    <a:pt x="6" y="569"/>
                    <a:pt x="13" y="568"/>
                    <a:pt x="19" y="569"/>
                  </a:cubicBezTo>
                  <a:cubicBezTo>
                    <a:pt x="32" y="571"/>
                    <a:pt x="32" y="571"/>
                    <a:pt x="32" y="584"/>
                  </a:cubicBezTo>
                  <a:cubicBezTo>
                    <a:pt x="32" y="624"/>
                    <a:pt x="32" y="664"/>
                    <a:pt x="32" y="704"/>
                  </a:cubicBezTo>
                  <a:cubicBezTo>
                    <a:pt x="32" y="731"/>
                    <a:pt x="32" y="730"/>
                    <a:pt x="57" y="731"/>
                  </a:cubicBezTo>
                  <a:cubicBezTo>
                    <a:pt x="66" y="731"/>
                    <a:pt x="68" y="727"/>
                    <a:pt x="68" y="720"/>
                  </a:cubicBezTo>
                  <a:cubicBezTo>
                    <a:pt x="68" y="697"/>
                    <a:pt x="68" y="674"/>
                    <a:pt x="68" y="651"/>
                  </a:cubicBezTo>
                  <a:cubicBezTo>
                    <a:pt x="68" y="628"/>
                    <a:pt x="68" y="605"/>
                    <a:pt x="68" y="581"/>
                  </a:cubicBezTo>
                  <a:close/>
                  <a:moveTo>
                    <a:pt x="278" y="1165"/>
                  </a:moveTo>
                  <a:cubicBezTo>
                    <a:pt x="278" y="1183"/>
                    <a:pt x="278" y="1183"/>
                    <a:pt x="296" y="1184"/>
                  </a:cubicBezTo>
                  <a:cubicBezTo>
                    <a:pt x="310" y="1184"/>
                    <a:pt x="310" y="1184"/>
                    <a:pt x="310" y="1169"/>
                  </a:cubicBezTo>
                  <a:cubicBezTo>
                    <a:pt x="310" y="1132"/>
                    <a:pt x="310" y="1095"/>
                    <a:pt x="310" y="1058"/>
                  </a:cubicBezTo>
                  <a:cubicBezTo>
                    <a:pt x="310" y="1052"/>
                    <a:pt x="312" y="1047"/>
                    <a:pt x="316" y="1042"/>
                  </a:cubicBezTo>
                  <a:cubicBezTo>
                    <a:pt x="324" y="1033"/>
                    <a:pt x="334" y="1027"/>
                    <a:pt x="345" y="1024"/>
                  </a:cubicBezTo>
                  <a:cubicBezTo>
                    <a:pt x="357" y="1020"/>
                    <a:pt x="371" y="1018"/>
                    <a:pt x="383" y="1028"/>
                  </a:cubicBezTo>
                  <a:cubicBezTo>
                    <a:pt x="397" y="1039"/>
                    <a:pt x="401" y="1054"/>
                    <a:pt x="401" y="1071"/>
                  </a:cubicBezTo>
                  <a:cubicBezTo>
                    <a:pt x="401" y="1102"/>
                    <a:pt x="401" y="1132"/>
                    <a:pt x="401" y="1163"/>
                  </a:cubicBezTo>
                  <a:cubicBezTo>
                    <a:pt x="401" y="1183"/>
                    <a:pt x="401" y="1182"/>
                    <a:pt x="420" y="1184"/>
                  </a:cubicBezTo>
                  <a:cubicBezTo>
                    <a:pt x="429" y="1185"/>
                    <a:pt x="433" y="1181"/>
                    <a:pt x="433" y="1173"/>
                  </a:cubicBezTo>
                  <a:cubicBezTo>
                    <a:pt x="432" y="1130"/>
                    <a:pt x="435" y="1087"/>
                    <a:pt x="431" y="1044"/>
                  </a:cubicBezTo>
                  <a:cubicBezTo>
                    <a:pt x="427" y="1014"/>
                    <a:pt x="404" y="996"/>
                    <a:pt x="376" y="994"/>
                  </a:cubicBezTo>
                  <a:cubicBezTo>
                    <a:pt x="353" y="992"/>
                    <a:pt x="333" y="1000"/>
                    <a:pt x="317" y="1017"/>
                  </a:cubicBezTo>
                  <a:cubicBezTo>
                    <a:pt x="312" y="1021"/>
                    <a:pt x="311" y="1019"/>
                    <a:pt x="309" y="1015"/>
                  </a:cubicBezTo>
                  <a:cubicBezTo>
                    <a:pt x="309" y="1013"/>
                    <a:pt x="308" y="1011"/>
                    <a:pt x="308" y="1008"/>
                  </a:cubicBezTo>
                  <a:cubicBezTo>
                    <a:pt x="306" y="1001"/>
                    <a:pt x="298" y="997"/>
                    <a:pt x="287" y="998"/>
                  </a:cubicBezTo>
                  <a:cubicBezTo>
                    <a:pt x="279" y="999"/>
                    <a:pt x="278" y="1004"/>
                    <a:pt x="278" y="1011"/>
                  </a:cubicBezTo>
                  <a:cubicBezTo>
                    <a:pt x="278" y="1037"/>
                    <a:pt x="278" y="1064"/>
                    <a:pt x="278" y="1091"/>
                  </a:cubicBezTo>
                  <a:cubicBezTo>
                    <a:pt x="278" y="1115"/>
                    <a:pt x="278" y="1140"/>
                    <a:pt x="278" y="1165"/>
                  </a:cubicBezTo>
                  <a:close/>
                  <a:moveTo>
                    <a:pt x="150" y="705"/>
                  </a:moveTo>
                  <a:cubicBezTo>
                    <a:pt x="150" y="734"/>
                    <a:pt x="145" y="730"/>
                    <a:pt x="176" y="731"/>
                  </a:cubicBezTo>
                  <a:cubicBezTo>
                    <a:pt x="185" y="731"/>
                    <a:pt x="187" y="727"/>
                    <a:pt x="187" y="719"/>
                  </a:cubicBezTo>
                  <a:cubicBezTo>
                    <a:pt x="187" y="685"/>
                    <a:pt x="187" y="651"/>
                    <a:pt x="187" y="618"/>
                  </a:cubicBezTo>
                  <a:cubicBezTo>
                    <a:pt x="187" y="597"/>
                    <a:pt x="204" y="578"/>
                    <a:pt x="225" y="574"/>
                  </a:cubicBezTo>
                  <a:cubicBezTo>
                    <a:pt x="232" y="572"/>
                    <a:pt x="240" y="574"/>
                    <a:pt x="247" y="575"/>
                  </a:cubicBezTo>
                  <a:cubicBezTo>
                    <a:pt x="257" y="576"/>
                    <a:pt x="261" y="572"/>
                    <a:pt x="265" y="564"/>
                  </a:cubicBezTo>
                  <a:cubicBezTo>
                    <a:pt x="269" y="556"/>
                    <a:pt x="267" y="542"/>
                    <a:pt x="261" y="540"/>
                  </a:cubicBezTo>
                  <a:cubicBezTo>
                    <a:pt x="253" y="538"/>
                    <a:pt x="244" y="534"/>
                    <a:pt x="237" y="536"/>
                  </a:cubicBezTo>
                  <a:cubicBezTo>
                    <a:pt x="228" y="537"/>
                    <a:pt x="217" y="537"/>
                    <a:pt x="209" y="544"/>
                  </a:cubicBezTo>
                  <a:cubicBezTo>
                    <a:pt x="204" y="549"/>
                    <a:pt x="198" y="553"/>
                    <a:pt x="194" y="558"/>
                  </a:cubicBezTo>
                  <a:cubicBezTo>
                    <a:pt x="192" y="561"/>
                    <a:pt x="189" y="563"/>
                    <a:pt x="185" y="562"/>
                  </a:cubicBezTo>
                  <a:cubicBezTo>
                    <a:pt x="182" y="561"/>
                    <a:pt x="182" y="558"/>
                    <a:pt x="182" y="556"/>
                  </a:cubicBezTo>
                  <a:cubicBezTo>
                    <a:pt x="180" y="539"/>
                    <a:pt x="179" y="539"/>
                    <a:pt x="162" y="539"/>
                  </a:cubicBezTo>
                  <a:cubicBezTo>
                    <a:pt x="151" y="539"/>
                    <a:pt x="150" y="540"/>
                    <a:pt x="150" y="551"/>
                  </a:cubicBezTo>
                  <a:cubicBezTo>
                    <a:pt x="150" y="579"/>
                    <a:pt x="150" y="607"/>
                    <a:pt x="150" y="635"/>
                  </a:cubicBezTo>
                  <a:cubicBezTo>
                    <a:pt x="150" y="658"/>
                    <a:pt x="149" y="682"/>
                    <a:pt x="150" y="705"/>
                  </a:cubicBezTo>
                  <a:close/>
                  <a:moveTo>
                    <a:pt x="1011" y="1049"/>
                  </a:moveTo>
                  <a:cubicBezTo>
                    <a:pt x="1011" y="1008"/>
                    <a:pt x="1011" y="966"/>
                    <a:pt x="1011" y="924"/>
                  </a:cubicBezTo>
                  <a:cubicBezTo>
                    <a:pt x="1011" y="913"/>
                    <a:pt x="1008" y="910"/>
                    <a:pt x="997" y="910"/>
                  </a:cubicBezTo>
                  <a:cubicBezTo>
                    <a:pt x="995" y="910"/>
                    <a:pt x="992" y="910"/>
                    <a:pt x="990" y="910"/>
                  </a:cubicBezTo>
                  <a:cubicBezTo>
                    <a:pt x="976" y="910"/>
                    <a:pt x="975" y="911"/>
                    <a:pt x="975" y="926"/>
                  </a:cubicBezTo>
                  <a:cubicBezTo>
                    <a:pt x="975" y="1006"/>
                    <a:pt x="975" y="1085"/>
                    <a:pt x="975" y="1165"/>
                  </a:cubicBezTo>
                  <a:cubicBezTo>
                    <a:pt x="975" y="1185"/>
                    <a:pt x="975" y="1185"/>
                    <a:pt x="994" y="1185"/>
                  </a:cubicBezTo>
                  <a:cubicBezTo>
                    <a:pt x="1009" y="1185"/>
                    <a:pt x="1011" y="1184"/>
                    <a:pt x="1011" y="1169"/>
                  </a:cubicBezTo>
                  <a:cubicBezTo>
                    <a:pt x="1011" y="1129"/>
                    <a:pt x="1011" y="1089"/>
                    <a:pt x="1011" y="1049"/>
                  </a:cubicBezTo>
                  <a:cubicBezTo>
                    <a:pt x="1011" y="1049"/>
                    <a:pt x="1011" y="1049"/>
                    <a:pt x="1011" y="1049"/>
                  </a:cubicBezTo>
                  <a:close/>
                  <a:moveTo>
                    <a:pt x="296" y="176"/>
                  </a:moveTo>
                  <a:cubicBezTo>
                    <a:pt x="296" y="201"/>
                    <a:pt x="296" y="226"/>
                    <a:pt x="296" y="251"/>
                  </a:cubicBezTo>
                  <a:cubicBezTo>
                    <a:pt x="295" y="276"/>
                    <a:pt x="296" y="274"/>
                    <a:pt x="318" y="274"/>
                  </a:cubicBezTo>
                  <a:cubicBezTo>
                    <a:pt x="330" y="274"/>
                    <a:pt x="331" y="274"/>
                    <a:pt x="331" y="260"/>
                  </a:cubicBezTo>
                  <a:cubicBezTo>
                    <a:pt x="331" y="232"/>
                    <a:pt x="331" y="204"/>
                    <a:pt x="331" y="176"/>
                  </a:cubicBezTo>
                  <a:cubicBezTo>
                    <a:pt x="331" y="165"/>
                    <a:pt x="331" y="155"/>
                    <a:pt x="337" y="145"/>
                  </a:cubicBezTo>
                  <a:cubicBezTo>
                    <a:pt x="349" y="123"/>
                    <a:pt x="359" y="117"/>
                    <a:pt x="377" y="118"/>
                  </a:cubicBezTo>
                  <a:cubicBezTo>
                    <a:pt x="383" y="118"/>
                    <a:pt x="389" y="119"/>
                    <a:pt x="395" y="120"/>
                  </a:cubicBezTo>
                  <a:cubicBezTo>
                    <a:pt x="401" y="120"/>
                    <a:pt x="407" y="118"/>
                    <a:pt x="408" y="112"/>
                  </a:cubicBezTo>
                  <a:cubicBezTo>
                    <a:pt x="409" y="103"/>
                    <a:pt x="415" y="93"/>
                    <a:pt x="407" y="85"/>
                  </a:cubicBezTo>
                  <a:cubicBezTo>
                    <a:pt x="406" y="84"/>
                    <a:pt x="404" y="84"/>
                    <a:pt x="402" y="84"/>
                  </a:cubicBezTo>
                  <a:cubicBezTo>
                    <a:pt x="376" y="78"/>
                    <a:pt x="353" y="82"/>
                    <a:pt x="337" y="106"/>
                  </a:cubicBezTo>
                  <a:cubicBezTo>
                    <a:pt x="336" y="108"/>
                    <a:pt x="335" y="110"/>
                    <a:pt x="333" y="109"/>
                  </a:cubicBezTo>
                  <a:cubicBezTo>
                    <a:pt x="331" y="109"/>
                    <a:pt x="330" y="107"/>
                    <a:pt x="330" y="105"/>
                  </a:cubicBezTo>
                  <a:cubicBezTo>
                    <a:pt x="329" y="101"/>
                    <a:pt x="329" y="97"/>
                    <a:pt x="328" y="94"/>
                  </a:cubicBezTo>
                  <a:cubicBezTo>
                    <a:pt x="325" y="85"/>
                    <a:pt x="318" y="82"/>
                    <a:pt x="303" y="84"/>
                  </a:cubicBezTo>
                  <a:cubicBezTo>
                    <a:pt x="297" y="84"/>
                    <a:pt x="295" y="86"/>
                    <a:pt x="295" y="92"/>
                  </a:cubicBezTo>
                  <a:cubicBezTo>
                    <a:pt x="296" y="120"/>
                    <a:pt x="295" y="148"/>
                    <a:pt x="295" y="176"/>
                  </a:cubicBezTo>
                  <a:cubicBezTo>
                    <a:pt x="296" y="176"/>
                    <a:pt x="296" y="176"/>
                    <a:pt x="296" y="176"/>
                  </a:cubicBezTo>
                  <a:close/>
                  <a:moveTo>
                    <a:pt x="946" y="179"/>
                  </a:moveTo>
                  <a:cubicBezTo>
                    <a:pt x="946" y="197"/>
                    <a:pt x="946" y="215"/>
                    <a:pt x="946" y="234"/>
                  </a:cubicBezTo>
                  <a:cubicBezTo>
                    <a:pt x="946" y="248"/>
                    <a:pt x="951" y="260"/>
                    <a:pt x="963" y="268"/>
                  </a:cubicBezTo>
                  <a:cubicBezTo>
                    <a:pt x="982" y="280"/>
                    <a:pt x="1011" y="277"/>
                    <a:pt x="1029" y="264"/>
                  </a:cubicBezTo>
                  <a:cubicBezTo>
                    <a:pt x="1036" y="259"/>
                    <a:pt x="1036" y="254"/>
                    <a:pt x="1032" y="248"/>
                  </a:cubicBezTo>
                  <a:cubicBezTo>
                    <a:pt x="1026" y="239"/>
                    <a:pt x="1020" y="238"/>
                    <a:pt x="1013" y="242"/>
                  </a:cubicBezTo>
                  <a:cubicBezTo>
                    <a:pt x="996" y="252"/>
                    <a:pt x="978" y="243"/>
                    <a:pt x="978" y="223"/>
                  </a:cubicBezTo>
                  <a:cubicBezTo>
                    <a:pt x="978" y="190"/>
                    <a:pt x="978" y="157"/>
                    <a:pt x="978" y="123"/>
                  </a:cubicBezTo>
                  <a:cubicBezTo>
                    <a:pt x="978" y="116"/>
                    <a:pt x="981" y="113"/>
                    <a:pt x="988" y="113"/>
                  </a:cubicBezTo>
                  <a:cubicBezTo>
                    <a:pt x="999" y="114"/>
                    <a:pt x="1011" y="113"/>
                    <a:pt x="1022" y="113"/>
                  </a:cubicBezTo>
                  <a:cubicBezTo>
                    <a:pt x="1028" y="113"/>
                    <a:pt x="1033" y="112"/>
                    <a:pt x="1033" y="104"/>
                  </a:cubicBezTo>
                  <a:cubicBezTo>
                    <a:pt x="1033" y="96"/>
                    <a:pt x="1032" y="90"/>
                    <a:pt x="1022" y="90"/>
                  </a:cubicBezTo>
                  <a:cubicBezTo>
                    <a:pt x="1011" y="90"/>
                    <a:pt x="1001" y="90"/>
                    <a:pt x="990" y="90"/>
                  </a:cubicBezTo>
                  <a:cubicBezTo>
                    <a:pt x="981" y="91"/>
                    <a:pt x="977" y="88"/>
                    <a:pt x="978" y="78"/>
                  </a:cubicBezTo>
                  <a:cubicBezTo>
                    <a:pt x="978" y="64"/>
                    <a:pt x="978" y="49"/>
                    <a:pt x="978" y="35"/>
                  </a:cubicBezTo>
                  <a:cubicBezTo>
                    <a:pt x="978" y="30"/>
                    <a:pt x="978" y="25"/>
                    <a:pt x="971" y="24"/>
                  </a:cubicBezTo>
                  <a:cubicBezTo>
                    <a:pt x="964" y="24"/>
                    <a:pt x="956" y="24"/>
                    <a:pt x="955" y="32"/>
                  </a:cubicBezTo>
                  <a:cubicBezTo>
                    <a:pt x="952" y="43"/>
                    <a:pt x="949" y="54"/>
                    <a:pt x="949" y="65"/>
                  </a:cubicBezTo>
                  <a:cubicBezTo>
                    <a:pt x="948" y="88"/>
                    <a:pt x="947" y="88"/>
                    <a:pt x="924" y="91"/>
                  </a:cubicBezTo>
                  <a:cubicBezTo>
                    <a:pt x="919" y="92"/>
                    <a:pt x="914" y="92"/>
                    <a:pt x="914" y="99"/>
                  </a:cubicBezTo>
                  <a:cubicBezTo>
                    <a:pt x="915" y="107"/>
                    <a:pt x="917" y="113"/>
                    <a:pt x="926" y="113"/>
                  </a:cubicBezTo>
                  <a:cubicBezTo>
                    <a:pt x="929" y="114"/>
                    <a:pt x="932" y="113"/>
                    <a:pt x="935" y="113"/>
                  </a:cubicBezTo>
                  <a:cubicBezTo>
                    <a:pt x="943" y="113"/>
                    <a:pt x="946" y="116"/>
                    <a:pt x="946" y="124"/>
                  </a:cubicBezTo>
                  <a:cubicBezTo>
                    <a:pt x="946" y="142"/>
                    <a:pt x="946" y="161"/>
                    <a:pt x="946" y="179"/>
                  </a:cubicBezTo>
                  <a:cubicBezTo>
                    <a:pt x="946" y="179"/>
                    <a:pt x="946" y="179"/>
                    <a:pt x="946" y="179"/>
                  </a:cubicBezTo>
                  <a:close/>
                </a:path>
              </a:pathLst>
            </a:custGeom>
            <a:solidFill>
              <a:srgbClr val="4C505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grpSp>
          <p:nvGrpSpPr>
            <p:cNvPr id="18" name="Group 4">
              <a:extLst>
                <a:ext uri="{FF2B5EF4-FFF2-40B4-BE49-F238E27FC236}">
                  <a16:creationId xmlns:a16="http://schemas.microsoft.com/office/drawing/2014/main" id="{57BD2C4C-DC67-B843-B26C-309622FC75F7}"/>
                </a:ext>
              </a:extLst>
            </p:cNvPr>
            <p:cNvGrpSpPr>
              <a:grpSpLocks noChangeAspect="1"/>
            </p:cNvGrpSpPr>
            <p:nvPr/>
          </p:nvGrpSpPr>
          <p:grpSpPr bwMode="gray">
            <a:xfrm>
              <a:off x="334963" y="296652"/>
              <a:ext cx="538094" cy="540000"/>
              <a:chOff x="2711" y="1027"/>
              <a:chExt cx="2258" cy="2266"/>
            </a:xfrm>
          </p:grpSpPr>
          <p:sp>
            <p:nvSpPr>
              <p:cNvPr id="19" name="AutoShape 3">
                <a:extLst>
                  <a:ext uri="{FF2B5EF4-FFF2-40B4-BE49-F238E27FC236}">
                    <a16:creationId xmlns:a16="http://schemas.microsoft.com/office/drawing/2014/main" id="{FE1DC41B-291E-574C-9F2C-874E70A40758}"/>
                  </a:ext>
                </a:extLst>
              </p:cNvPr>
              <p:cNvSpPr>
                <a:spLocks noChangeAspect="1" noChangeArrowheads="1" noTextEdit="1"/>
              </p:cNvSpPr>
              <p:nvPr/>
            </p:nvSpPr>
            <p:spPr bwMode="gray">
              <a:xfrm>
                <a:off x="2711" y="1027"/>
                <a:ext cx="2258" cy="22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sp>
            <p:nvSpPr>
              <p:cNvPr id="20" name="Freeform 5">
                <a:extLst>
                  <a:ext uri="{FF2B5EF4-FFF2-40B4-BE49-F238E27FC236}">
                    <a16:creationId xmlns:a16="http://schemas.microsoft.com/office/drawing/2014/main" id="{D4B633C8-F761-C54B-9BD2-EB59D49A2DBC}"/>
                  </a:ext>
                </a:extLst>
              </p:cNvPr>
              <p:cNvSpPr>
                <a:spLocks/>
              </p:cNvSpPr>
              <p:nvPr/>
            </p:nvSpPr>
            <p:spPr bwMode="gray">
              <a:xfrm>
                <a:off x="2709" y="1029"/>
                <a:ext cx="2260" cy="2262"/>
              </a:xfrm>
              <a:custGeom>
                <a:avLst/>
                <a:gdLst>
                  <a:gd name="T0" fmla="*/ 2260 w 2260"/>
                  <a:gd name="T1" fmla="*/ 0 h 2262"/>
                  <a:gd name="T2" fmla="*/ 1612 w 2260"/>
                  <a:gd name="T3" fmla="*/ 649 h 2262"/>
                  <a:gd name="T4" fmla="*/ 1612 w 2260"/>
                  <a:gd name="T5" fmla="*/ 649 h 2262"/>
                  <a:gd name="T6" fmla="*/ 2035 w 2260"/>
                  <a:gd name="T7" fmla="*/ 0 h 2262"/>
                  <a:gd name="T8" fmla="*/ 0 w 2260"/>
                  <a:gd name="T9" fmla="*/ 0 h 2262"/>
                  <a:gd name="T10" fmla="*/ 0 w 2260"/>
                  <a:gd name="T11" fmla="*/ 2262 h 2262"/>
                  <a:gd name="T12" fmla="*/ 2260 w 2260"/>
                  <a:gd name="T13" fmla="*/ 2262 h 2262"/>
                  <a:gd name="T14" fmla="*/ 2260 w 2260"/>
                  <a:gd name="T15" fmla="*/ 0 h 2262"/>
                  <a:gd name="T16" fmla="*/ 2260 w 2260"/>
                  <a:gd name="T17" fmla="*/ 0 h 2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0" h="2262">
                    <a:moveTo>
                      <a:pt x="2260" y="0"/>
                    </a:moveTo>
                    <a:lnTo>
                      <a:pt x="1612" y="649"/>
                    </a:lnTo>
                    <a:lnTo>
                      <a:pt x="1612" y="649"/>
                    </a:lnTo>
                    <a:lnTo>
                      <a:pt x="2035" y="0"/>
                    </a:lnTo>
                    <a:lnTo>
                      <a:pt x="0" y="0"/>
                    </a:lnTo>
                    <a:lnTo>
                      <a:pt x="0" y="2262"/>
                    </a:lnTo>
                    <a:lnTo>
                      <a:pt x="2260" y="2262"/>
                    </a:lnTo>
                    <a:lnTo>
                      <a:pt x="2260" y="0"/>
                    </a:lnTo>
                    <a:lnTo>
                      <a:pt x="2260" y="0"/>
                    </a:lnTo>
                    <a:close/>
                  </a:path>
                </a:pathLst>
              </a:custGeom>
              <a:solidFill>
                <a:srgbClr val="E55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sp>
            <p:nvSpPr>
              <p:cNvPr id="21" name="Freeform 6">
                <a:extLst>
                  <a:ext uri="{FF2B5EF4-FFF2-40B4-BE49-F238E27FC236}">
                    <a16:creationId xmlns:a16="http://schemas.microsoft.com/office/drawing/2014/main" id="{B16BAAE4-1A41-C843-9754-490F7A1E1270}"/>
                  </a:ext>
                </a:extLst>
              </p:cNvPr>
              <p:cNvSpPr>
                <a:spLocks noEditPoints="1"/>
              </p:cNvSpPr>
              <p:nvPr/>
            </p:nvSpPr>
            <p:spPr bwMode="gray">
              <a:xfrm>
                <a:off x="3623" y="1696"/>
                <a:ext cx="1167" cy="922"/>
              </a:xfrm>
              <a:custGeom>
                <a:avLst/>
                <a:gdLst>
                  <a:gd name="T0" fmla="*/ 411 w 580"/>
                  <a:gd name="T1" fmla="*/ 213 h 458"/>
                  <a:gd name="T2" fmla="*/ 570 w 580"/>
                  <a:gd name="T3" fmla="*/ 37 h 458"/>
                  <a:gd name="T4" fmla="*/ 580 w 580"/>
                  <a:gd name="T5" fmla="*/ 20 h 458"/>
                  <a:gd name="T6" fmla="*/ 545 w 580"/>
                  <a:gd name="T7" fmla="*/ 0 h 458"/>
                  <a:gd name="T8" fmla="*/ 519 w 580"/>
                  <a:gd name="T9" fmla="*/ 16 h 458"/>
                  <a:gd name="T10" fmla="*/ 344 w 580"/>
                  <a:gd name="T11" fmla="*/ 210 h 458"/>
                  <a:gd name="T12" fmla="*/ 334 w 580"/>
                  <a:gd name="T13" fmla="*/ 229 h 458"/>
                  <a:gd name="T14" fmla="*/ 344 w 580"/>
                  <a:gd name="T15" fmla="*/ 248 h 458"/>
                  <a:gd name="T16" fmla="*/ 519 w 580"/>
                  <a:gd name="T17" fmla="*/ 442 h 458"/>
                  <a:gd name="T18" fmla="*/ 545 w 580"/>
                  <a:gd name="T19" fmla="*/ 458 h 458"/>
                  <a:gd name="T20" fmla="*/ 580 w 580"/>
                  <a:gd name="T21" fmla="*/ 438 h 458"/>
                  <a:gd name="T22" fmla="*/ 570 w 580"/>
                  <a:gd name="T23" fmla="*/ 421 h 458"/>
                  <a:gd name="T24" fmla="*/ 411 w 580"/>
                  <a:gd name="T25" fmla="*/ 245 h 458"/>
                  <a:gd name="T26" fmla="*/ 399 w 580"/>
                  <a:gd name="T27" fmla="*/ 229 h 458"/>
                  <a:gd name="T28" fmla="*/ 411 w 580"/>
                  <a:gd name="T29" fmla="*/ 213 h 458"/>
                  <a:gd name="T30" fmla="*/ 252 w 580"/>
                  <a:gd name="T31" fmla="*/ 439 h 458"/>
                  <a:gd name="T32" fmla="*/ 281 w 580"/>
                  <a:gd name="T33" fmla="*/ 454 h 458"/>
                  <a:gd name="T34" fmla="*/ 309 w 580"/>
                  <a:gd name="T35" fmla="*/ 439 h 458"/>
                  <a:gd name="T36" fmla="*/ 309 w 580"/>
                  <a:gd name="T37" fmla="*/ 19 h 458"/>
                  <a:gd name="T38" fmla="*/ 281 w 580"/>
                  <a:gd name="T39" fmla="*/ 4 h 458"/>
                  <a:gd name="T40" fmla="*/ 252 w 580"/>
                  <a:gd name="T41" fmla="*/ 19 h 458"/>
                  <a:gd name="T42" fmla="*/ 252 w 580"/>
                  <a:gd name="T43" fmla="*/ 439 h 458"/>
                  <a:gd name="T44" fmla="*/ 0 w 580"/>
                  <a:gd name="T45" fmla="*/ 439 h 458"/>
                  <a:gd name="T46" fmla="*/ 28 w 580"/>
                  <a:gd name="T47" fmla="*/ 454 h 458"/>
                  <a:gd name="T48" fmla="*/ 56 w 580"/>
                  <a:gd name="T49" fmla="*/ 439 h 458"/>
                  <a:gd name="T50" fmla="*/ 56 w 580"/>
                  <a:gd name="T51" fmla="*/ 157 h 458"/>
                  <a:gd name="T52" fmla="*/ 165 w 580"/>
                  <a:gd name="T53" fmla="*/ 53 h 458"/>
                  <a:gd name="T54" fmla="*/ 180 w 580"/>
                  <a:gd name="T55" fmla="*/ 53 h 458"/>
                  <a:gd name="T56" fmla="*/ 196 w 580"/>
                  <a:gd name="T57" fmla="*/ 27 h 458"/>
                  <a:gd name="T58" fmla="*/ 154 w 580"/>
                  <a:gd name="T59" fmla="*/ 4 h 458"/>
                  <a:gd name="T60" fmla="*/ 0 w 580"/>
                  <a:gd name="T61" fmla="*/ 152 h 458"/>
                  <a:gd name="T62" fmla="*/ 0 w 580"/>
                  <a:gd name="T63" fmla="*/ 439 h 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80" h="458">
                    <a:moveTo>
                      <a:pt x="411" y="213"/>
                    </a:moveTo>
                    <a:cubicBezTo>
                      <a:pt x="570" y="37"/>
                      <a:pt x="570" y="37"/>
                      <a:pt x="570" y="37"/>
                    </a:cubicBezTo>
                    <a:cubicBezTo>
                      <a:pt x="576" y="30"/>
                      <a:pt x="580" y="25"/>
                      <a:pt x="580" y="20"/>
                    </a:cubicBezTo>
                    <a:cubicBezTo>
                      <a:pt x="580" y="10"/>
                      <a:pt x="559" y="0"/>
                      <a:pt x="545" y="0"/>
                    </a:cubicBezTo>
                    <a:cubicBezTo>
                      <a:pt x="535" y="0"/>
                      <a:pt x="526" y="8"/>
                      <a:pt x="519" y="16"/>
                    </a:cubicBezTo>
                    <a:cubicBezTo>
                      <a:pt x="344" y="210"/>
                      <a:pt x="344" y="210"/>
                      <a:pt x="344" y="210"/>
                    </a:cubicBezTo>
                    <a:cubicBezTo>
                      <a:pt x="336" y="219"/>
                      <a:pt x="334" y="224"/>
                      <a:pt x="334" y="229"/>
                    </a:cubicBezTo>
                    <a:cubicBezTo>
                      <a:pt x="334" y="234"/>
                      <a:pt x="336" y="239"/>
                      <a:pt x="344" y="248"/>
                    </a:cubicBezTo>
                    <a:cubicBezTo>
                      <a:pt x="519" y="442"/>
                      <a:pt x="519" y="442"/>
                      <a:pt x="519" y="442"/>
                    </a:cubicBezTo>
                    <a:cubicBezTo>
                      <a:pt x="526" y="450"/>
                      <a:pt x="535" y="458"/>
                      <a:pt x="545" y="458"/>
                    </a:cubicBezTo>
                    <a:cubicBezTo>
                      <a:pt x="559" y="458"/>
                      <a:pt x="580" y="448"/>
                      <a:pt x="580" y="438"/>
                    </a:cubicBezTo>
                    <a:cubicBezTo>
                      <a:pt x="580" y="433"/>
                      <a:pt x="576" y="428"/>
                      <a:pt x="570" y="421"/>
                    </a:cubicBezTo>
                    <a:cubicBezTo>
                      <a:pt x="411" y="245"/>
                      <a:pt x="411" y="245"/>
                      <a:pt x="411" y="245"/>
                    </a:cubicBezTo>
                    <a:cubicBezTo>
                      <a:pt x="403" y="236"/>
                      <a:pt x="399" y="232"/>
                      <a:pt x="399" y="229"/>
                    </a:cubicBezTo>
                    <a:cubicBezTo>
                      <a:pt x="399" y="226"/>
                      <a:pt x="403" y="222"/>
                      <a:pt x="411" y="213"/>
                    </a:cubicBezTo>
                    <a:moveTo>
                      <a:pt x="252" y="439"/>
                    </a:moveTo>
                    <a:cubicBezTo>
                      <a:pt x="252" y="449"/>
                      <a:pt x="261" y="454"/>
                      <a:pt x="281" y="454"/>
                    </a:cubicBezTo>
                    <a:cubicBezTo>
                      <a:pt x="300" y="454"/>
                      <a:pt x="309" y="449"/>
                      <a:pt x="309" y="439"/>
                    </a:cubicBezTo>
                    <a:cubicBezTo>
                      <a:pt x="309" y="19"/>
                      <a:pt x="309" y="19"/>
                      <a:pt x="309" y="19"/>
                    </a:cubicBezTo>
                    <a:cubicBezTo>
                      <a:pt x="309" y="9"/>
                      <a:pt x="300" y="4"/>
                      <a:pt x="281" y="4"/>
                    </a:cubicBezTo>
                    <a:cubicBezTo>
                      <a:pt x="261" y="4"/>
                      <a:pt x="252" y="9"/>
                      <a:pt x="252" y="19"/>
                    </a:cubicBezTo>
                    <a:lnTo>
                      <a:pt x="252" y="439"/>
                    </a:lnTo>
                    <a:close/>
                    <a:moveTo>
                      <a:pt x="0" y="439"/>
                    </a:moveTo>
                    <a:cubicBezTo>
                      <a:pt x="0" y="449"/>
                      <a:pt x="8" y="454"/>
                      <a:pt x="28" y="454"/>
                    </a:cubicBezTo>
                    <a:cubicBezTo>
                      <a:pt x="48" y="454"/>
                      <a:pt x="56" y="449"/>
                      <a:pt x="56" y="439"/>
                    </a:cubicBezTo>
                    <a:cubicBezTo>
                      <a:pt x="56" y="157"/>
                      <a:pt x="56" y="157"/>
                      <a:pt x="56" y="157"/>
                    </a:cubicBezTo>
                    <a:cubicBezTo>
                      <a:pt x="56" y="83"/>
                      <a:pt x="85" y="53"/>
                      <a:pt x="165" y="53"/>
                    </a:cubicBezTo>
                    <a:cubicBezTo>
                      <a:pt x="180" y="53"/>
                      <a:pt x="180" y="53"/>
                      <a:pt x="180" y="53"/>
                    </a:cubicBezTo>
                    <a:cubicBezTo>
                      <a:pt x="192" y="53"/>
                      <a:pt x="196" y="43"/>
                      <a:pt x="196" y="27"/>
                    </a:cubicBezTo>
                    <a:cubicBezTo>
                      <a:pt x="196" y="8"/>
                      <a:pt x="185" y="4"/>
                      <a:pt x="154" y="4"/>
                    </a:cubicBezTo>
                    <a:cubicBezTo>
                      <a:pt x="64" y="4"/>
                      <a:pt x="0" y="43"/>
                      <a:pt x="0" y="152"/>
                    </a:cubicBezTo>
                    <a:lnTo>
                      <a:pt x="0" y="43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sp>
            <p:nvSpPr>
              <p:cNvPr id="22" name="Freeform 7">
                <a:extLst>
                  <a:ext uri="{FF2B5EF4-FFF2-40B4-BE49-F238E27FC236}">
                    <a16:creationId xmlns:a16="http://schemas.microsoft.com/office/drawing/2014/main" id="{2F32DCBD-8628-F245-85CD-97686A20ECFD}"/>
                  </a:ext>
                </a:extLst>
              </p:cNvPr>
              <p:cNvSpPr>
                <a:spLocks/>
              </p:cNvSpPr>
              <p:nvPr/>
            </p:nvSpPr>
            <p:spPr bwMode="gray">
              <a:xfrm>
                <a:off x="2880" y="1704"/>
                <a:ext cx="618" cy="916"/>
              </a:xfrm>
              <a:custGeom>
                <a:avLst/>
                <a:gdLst>
                  <a:gd name="T0" fmla="*/ 307 w 307"/>
                  <a:gd name="T1" fmla="*/ 405 h 455"/>
                  <a:gd name="T2" fmla="*/ 307 w 307"/>
                  <a:gd name="T3" fmla="*/ 244 h 455"/>
                  <a:gd name="T4" fmla="*/ 279 w 307"/>
                  <a:gd name="T5" fmla="*/ 229 h 455"/>
                  <a:gd name="T6" fmla="*/ 250 w 307"/>
                  <a:gd name="T7" fmla="*/ 244 h 455"/>
                  <a:gd name="T8" fmla="*/ 250 w 307"/>
                  <a:gd name="T9" fmla="*/ 378 h 455"/>
                  <a:gd name="T10" fmla="*/ 199 w 307"/>
                  <a:gd name="T11" fmla="*/ 408 h 455"/>
                  <a:gd name="T12" fmla="*/ 61 w 307"/>
                  <a:gd name="T13" fmla="*/ 231 h 455"/>
                  <a:gd name="T14" fmla="*/ 238 w 307"/>
                  <a:gd name="T15" fmla="*/ 49 h 455"/>
                  <a:gd name="T16" fmla="*/ 270 w 307"/>
                  <a:gd name="T17" fmla="*/ 49 h 455"/>
                  <a:gd name="T18" fmla="*/ 286 w 307"/>
                  <a:gd name="T19" fmla="*/ 23 h 455"/>
                  <a:gd name="T20" fmla="*/ 244 w 307"/>
                  <a:gd name="T21" fmla="*/ 0 h 455"/>
                  <a:gd name="T22" fmla="*/ 231 w 307"/>
                  <a:gd name="T23" fmla="*/ 0 h 455"/>
                  <a:gd name="T24" fmla="*/ 0 w 307"/>
                  <a:gd name="T25" fmla="*/ 232 h 455"/>
                  <a:gd name="T26" fmla="*/ 198 w 307"/>
                  <a:gd name="T27" fmla="*/ 455 h 455"/>
                  <a:gd name="T28" fmla="*/ 307 w 307"/>
                  <a:gd name="T29" fmla="*/ 405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7" h="455">
                    <a:moveTo>
                      <a:pt x="307" y="405"/>
                    </a:moveTo>
                    <a:cubicBezTo>
                      <a:pt x="307" y="244"/>
                      <a:pt x="307" y="244"/>
                      <a:pt x="307" y="244"/>
                    </a:cubicBezTo>
                    <a:cubicBezTo>
                      <a:pt x="307" y="234"/>
                      <a:pt x="298" y="229"/>
                      <a:pt x="279" y="229"/>
                    </a:cubicBezTo>
                    <a:cubicBezTo>
                      <a:pt x="259" y="229"/>
                      <a:pt x="250" y="234"/>
                      <a:pt x="250" y="244"/>
                    </a:cubicBezTo>
                    <a:cubicBezTo>
                      <a:pt x="250" y="378"/>
                      <a:pt x="250" y="378"/>
                      <a:pt x="250" y="378"/>
                    </a:cubicBezTo>
                    <a:cubicBezTo>
                      <a:pt x="250" y="399"/>
                      <a:pt x="241" y="408"/>
                      <a:pt x="199" y="408"/>
                    </a:cubicBezTo>
                    <a:cubicBezTo>
                      <a:pt x="114" y="408"/>
                      <a:pt x="61" y="342"/>
                      <a:pt x="61" y="231"/>
                    </a:cubicBezTo>
                    <a:cubicBezTo>
                      <a:pt x="61" y="115"/>
                      <a:pt x="126" y="49"/>
                      <a:pt x="238" y="49"/>
                    </a:cubicBezTo>
                    <a:cubicBezTo>
                      <a:pt x="270" y="49"/>
                      <a:pt x="270" y="49"/>
                      <a:pt x="270" y="49"/>
                    </a:cubicBezTo>
                    <a:cubicBezTo>
                      <a:pt x="282" y="49"/>
                      <a:pt x="286" y="39"/>
                      <a:pt x="286" y="23"/>
                    </a:cubicBezTo>
                    <a:cubicBezTo>
                      <a:pt x="286" y="4"/>
                      <a:pt x="275" y="0"/>
                      <a:pt x="244" y="0"/>
                    </a:cubicBezTo>
                    <a:cubicBezTo>
                      <a:pt x="231" y="0"/>
                      <a:pt x="231" y="0"/>
                      <a:pt x="231" y="0"/>
                    </a:cubicBezTo>
                    <a:cubicBezTo>
                      <a:pt x="101" y="0"/>
                      <a:pt x="0" y="71"/>
                      <a:pt x="0" y="232"/>
                    </a:cubicBezTo>
                    <a:cubicBezTo>
                      <a:pt x="0" y="386"/>
                      <a:pt x="88" y="455"/>
                      <a:pt x="198" y="455"/>
                    </a:cubicBezTo>
                    <a:cubicBezTo>
                      <a:pt x="286" y="455"/>
                      <a:pt x="307" y="430"/>
                      <a:pt x="307" y="40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sp>
            <p:nvSpPr>
              <p:cNvPr id="23" name="Oval 8">
                <a:extLst>
                  <a:ext uri="{FF2B5EF4-FFF2-40B4-BE49-F238E27FC236}">
                    <a16:creationId xmlns:a16="http://schemas.microsoft.com/office/drawing/2014/main" id="{60D97C11-1A3B-5449-A48D-98A3E79B3810}"/>
                  </a:ext>
                </a:extLst>
              </p:cNvPr>
              <p:cNvSpPr>
                <a:spLocks noChangeArrowheads="1"/>
              </p:cNvSpPr>
              <p:nvPr/>
            </p:nvSpPr>
            <p:spPr bwMode="gray">
              <a:xfrm>
                <a:off x="3778" y="2099"/>
                <a:ext cx="122" cy="12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sp>
            <p:nvSpPr>
              <p:cNvPr id="24" name="Freeform 9">
                <a:extLst>
                  <a:ext uri="{FF2B5EF4-FFF2-40B4-BE49-F238E27FC236}">
                    <a16:creationId xmlns:a16="http://schemas.microsoft.com/office/drawing/2014/main" id="{5856770D-B8F0-244E-A05D-AED190086F10}"/>
                  </a:ext>
                </a:extLst>
              </p:cNvPr>
              <p:cNvSpPr>
                <a:spLocks noEditPoints="1"/>
              </p:cNvSpPr>
              <p:nvPr/>
            </p:nvSpPr>
            <p:spPr bwMode="gray">
              <a:xfrm>
                <a:off x="3623" y="1696"/>
                <a:ext cx="1167" cy="922"/>
              </a:xfrm>
              <a:custGeom>
                <a:avLst/>
                <a:gdLst>
                  <a:gd name="T0" fmla="*/ 411 w 580"/>
                  <a:gd name="T1" fmla="*/ 213 h 458"/>
                  <a:gd name="T2" fmla="*/ 570 w 580"/>
                  <a:gd name="T3" fmla="*/ 37 h 458"/>
                  <a:gd name="T4" fmla="*/ 580 w 580"/>
                  <a:gd name="T5" fmla="*/ 20 h 458"/>
                  <a:gd name="T6" fmla="*/ 545 w 580"/>
                  <a:gd name="T7" fmla="*/ 0 h 458"/>
                  <a:gd name="T8" fmla="*/ 519 w 580"/>
                  <a:gd name="T9" fmla="*/ 16 h 458"/>
                  <a:gd name="T10" fmla="*/ 344 w 580"/>
                  <a:gd name="T11" fmla="*/ 210 h 458"/>
                  <a:gd name="T12" fmla="*/ 334 w 580"/>
                  <a:gd name="T13" fmla="*/ 229 h 458"/>
                  <a:gd name="T14" fmla="*/ 344 w 580"/>
                  <a:gd name="T15" fmla="*/ 248 h 458"/>
                  <a:gd name="T16" fmla="*/ 519 w 580"/>
                  <a:gd name="T17" fmla="*/ 442 h 458"/>
                  <a:gd name="T18" fmla="*/ 545 w 580"/>
                  <a:gd name="T19" fmla="*/ 458 h 458"/>
                  <a:gd name="T20" fmla="*/ 580 w 580"/>
                  <a:gd name="T21" fmla="*/ 438 h 458"/>
                  <a:gd name="T22" fmla="*/ 570 w 580"/>
                  <a:gd name="T23" fmla="*/ 421 h 458"/>
                  <a:gd name="T24" fmla="*/ 411 w 580"/>
                  <a:gd name="T25" fmla="*/ 245 h 458"/>
                  <a:gd name="T26" fmla="*/ 399 w 580"/>
                  <a:gd name="T27" fmla="*/ 229 h 458"/>
                  <a:gd name="T28" fmla="*/ 411 w 580"/>
                  <a:gd name="T29" fmla="*/ 213 h 458"/>
                  <a:gd name="T30" fmla="*/ 252 w 580"/>
                  <a:gd name="T31" fmla="*/ 439 h 458"/>
                  <a:gd name="T32" fmla="*/ 281 w 580"/>
                  <a:gd name="T33" fmla="*/ 454 h 458"/>
                  <a:gd name="T34" fmla="*/ 309 w 580"/>
                  <a:gd name="T35" fmla="*/ 439 h 458"/>
                  <a:gd name="T36" fmla="*/ 309 w 580"/>
                  <a:gd name="T37" fmla="*/ 19 h 458"/>
                  <a:gd name="T38" fmla="*/ 281 w 580"/>
                  <a:gd name="T39" fmla="*/ 4 h 458"/>
                  <a:gd name="T40" fmla="*/ 252 w 580"/>
                  <a:gd name="T41" fmla="*/ 19 h 458"/>
                  <a:gd name="T42" fmla="*/ 252 w 580"/>
                  <a:gd name="T43" fmla="*/ 439 h 458"/>
                  <a:gd name="T44" fmla="*/ 0 w 580"/>
                  <a:gd name="T45" fmla="*/ 439 h 458"/>
                  <a:gd name="T46" fmla="*/ 28 w 580"/>
                  <a:gd name="T47" fmla="*/ 454 h 458"/>
                  <a:gd name="T48" fmla="*/ 56 w 580"/>
                  <a:gd name="T49" fmla="*/ 439 h 458"/>
                  <a:gd name="T50" fmla="*/ 56 w 580"/>
                  <a:gd name="T51" fmla="*/ 157 h 458"/>
                  <a:gd name="T52" fmla="*/ 165 w 580"/>
                  <a:gd name="T53" fmla="*/ 53 h 458"/>
                  <a:gd name="T54" fmla="*/ 180 w 580"/>
                  <a:gd name="T55" fmla="*/ 53 h 458"/>
                  <a:gd name="T56" fmla="*/ 196 w 580"/>
                  <a:gd name="T57" fmla="*/ 27 h 458"/>
                  <a:gd name="T58" fmla="*/ 154 w 580"/>
                  <a:gd name="T59" fmla="*/ 4 h 458"/>
                  <a:gd name="T60" fmla="*/ 0 w 580"/>
                  <a:gd name="T61" fmla="*/ 152 h 458"/>
                  <a:gd name="T62" fmla="*/ 0 w 580"/>
                  <a:gd name="T63" fmla="*/ 439 h 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80" h="458">
                    <a:moveTo>
                      <a:pt x="411" y="213"/>
                    </a:moveTo>
                    <a:cubicBezTo>
                      <a:pt x="570" y="37"/>
                      <a:pt x="570" y="37"/>
                      <a:pt x="570" y="37"/>
                    </a:cubicBezTo>
                    <a:cubicBezTo>
                      <a:pt x="576" y="30"/>
                      <a:pt x="580" y="25"/>
                      <a:pt x="580" y="20"/>
                    </a:cubicBezTo>
                    <a:cubicBezTo>
                      <a:pt x="580" y="10"/>
                      <a:pt x="559" y="0"/>
                      <a:pt x="545" y="0"/>
                    </a:cubicBezTo>
                    <a:cubicBezTo>
                      <a:pt x="535" y="0"/>
                      <a:pt x="526" y="8"/>
                      <a:pt x="519" y="16"/>
                    </a:cubicBezTo>
                    <a:cubicBezTo>
                      <a:pt x="344" y="210"/>
                      <a:pt x="344" y="210"/>
                      <a:pt x="344" y="210"/>
                    </a:cubicBezTo>
                    <a:cubicBezTo>
                      <a:pt x="336" y="219"/>
                      <a:pt x="334" y="224"/>
                      <a:pt x="334" y="229"/>
                    </a:cubicBezTo>
                    <a:cubicBezTo>
                      <a:pt x="334" y="234"/>
                      <a:pt x="336" y="239"/>
                      <a:pt x="344" y="248"/>
                    </a:cubicBezTo>
                    <a:cubicBezTo>
                      <a:pt x="519" y="442"/>
                      <a:pt x="519" y="442"/>
                      <a:pt x="519" y="442"/>
                    </a:cubicBezTo>
                    <a:cubicBezTo>
                      <a:pt x="526" y="450"/>
                      <a:pt x="535" y="458"/>
                      <a:pt x="545" y="458"/>
                    </a:cubicBezTo>
                    <a:cubicBezTo>
                      <a:pt x="559" y="458"/>
                      <a:pt x="580" y="448"/>
                      <a:pt x="580" y="438"/>
                    </a:cubicBezTo>
                    <a:cubicBezTo>
                      <a:pt x="580" y="433"/>
                      <a:pt x="576" y="428"/>
                      <a:pt x="570" y="421"/>
                    </a:cubicBezTo>
                    <a:cubicBezTo>
                      <a:pt x="411" y="245"/>
                      <a:pt x="411" y="245"/>
                      <a:pt x="411" y="245"/>
                    </a:cubicBezTo>
                    <a:cubicBezTo>
                      <a:pt x="403" y="236"/>
                      <a:pt x="399" y="232"/>
                      <a:pt x="399" y="229"/>
                    </a:cubicBezTo>
                    <a:cubicBezTo>
                      <a:pt x="399" y="226"/>
                      <a:pt x="403" y="222"/>
                      <a:pt x="411" y="213"/>
                    </a:cubicBezTo>
                    <a:moveTo>
                      <a:pt x="252" y="439"/>
                    </a:moveTo>
                    <a:cubicBezTo>
                      <a:pt x="252" y="449"/>
                      <a:pt x="261" y="454"/>
                      <a:pt x="281" y="454"/>
                    </a:cubicBezTo>
                    <a:cubicBezTo>
                      <a:pt x="300" y="454"/>
                      <a:pt x="309" y="449"/>
                      <a:pt x="309" y="439"/>
                    </a:cubicBezTo>
                    <a:cubicBezTo>
                      <a:pt x="309" y="19"/>
                      <a:pt x="309" y="19"/>
                      <a:pt x="309" y="19"/>
                    </a:cubicBezTo>
                    <a:cubicBezTo>
                      <a:pt x="309" y="9"/>
                      <a:pt x="300" y="4"/>
                      <a:pt x="281" y="4"/>
                    </a:cubicBezTo>
                    <a:cubicBezTo>
                      <a:pt x="261" y="4"/>
                      <a:pt x="252" y="9"/>
                      <a:pt x="252" y="19"/>
                    </a:cubicBezTo>
                    <a:lnTo>
                      <a:pt x="252" y="439"/>
                    </a:lnTo>
                    <a:close/>
                    <a:moveTo>
                      <a:pt x="0" y="439"/>
                    </a:moveTo>
                    <a:cubicBezTo>
                      <a:pt x="0" y="449"/>
                      <a:pt x="8" y="454"/>
                      <a:pt x="28" y="454"/>
                    </a:cubicBezTo>
                    <a:cubicBezTo>
                      <a:pt x="48" y="454"/>
                      <a:pt x="56" y="449"/>
                      <a:pt x="56" y="439"/>
                    </a:cubicBezTo>
                    <a:cubicBezTo>
                      <a:pt x="56" y="157"/>
                      <a:pt x="56" y="157"/>
                      <a:pt x="56" y="157"/>
                    </a:cubicBezTo>
                    <a:cubicBezTo>
                      <a:pt x="56" y="83"/>
                      <a:pt x="85" y="53"/>
                      <a:pt x="165" y="53"/>
                    </a:cubicBezTo>
                    <a:cubicBezTo>
                      <a:pt x="180" y="53"/>
                      <a:pt x="180" y="53"/>
                      <a:pt x="180" y="53"/>
                    </a:cubicBezTo>
                    <a:cubicBezTo>
                      <a:pt x="192" y="53"/>
                      <a:pt x="196" y="43"/>
                      <a:pt x="196" y="27"/>
                    </a:cubicBezTo>
                    <a:cubicBezTo>
                      <a:pt x="196" y="8"/>
                      <a:pt x="185" y="4"/>
                      <a:pt x="154" y="4"/>
                    </a:cubicBezTo>
                    <a:cubicBezTo>
                      <a:pt x="64" y="4"/>
                      <a:pt x="0" y="43"/>
                      <a:pt x="0" y="152"/>
                    </a:cubicBezTo>
                    <a:lnTo>
                      <a:pt x="0" y="43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sp>
            <p:nvSpPr>
              <p:cNvPr id="25" name="Freeform 10">
                <a:extLst>
                  <a:ext uri="{FF2B5EF4-FFF2-40B4-BE49-F238E27FC236}">
                    <a16:creationId xmlns:a16="http://schemas.microsoft.com/office/drawing/2014/main" id="{2B91B16B-BC11-E547-8FAC-B9B8D18EA449}"/>
                  </a:ext>
                </a:extLst>
              </p:cNvPr>
              <p:cNvSpPr>
                <a:spLocks/>
              </p:cNvSpPr>
              <p:nvPr/>
            </p:nvSpPr>
            <p:spPr bwMode="gray">
              <a:xfrm>
                <a:off x="2880" y="1704"/>
                <a:ext cx="618" cy="916"/>
              </a:xfrm>
              <a:custGeom>
                <a:avLst/>
                <a:gdLst>
                  <a:gd name="T0" fmla="*/ 307 w 307"/>
                  <a:gd name="T1" fmla="*/ 405 h 455"/>
                  <a:gd name="T2" fmla="*/ 307 w 307"/>
                  <a:gd name="T3" fmla="*/ 244 h 455"/>
                  <a:gd name="T4" fmla="*/ 279 w 307"/>
                  <a:gd name="T5" fmla="*/ 229 h 455"/>
                  <a:gd name="T6" fmla="*/ 250 w 307"/>
                  <a:gd name="T7" fmla="*/ 244 h 455"/>
                  <a:gd name="T8" fmla="*/ 250 w 307"/>
                  <a:gd name="T9" fmla="*/ 378 h 455"/>
                  <a:gd name="T10" fmla="*/ 199 w 307"/>
                  <a:gd name="T11" fmla="*/ 408 h 455"/>
                  <a:gd name="T12" fmla="*/ 61 w 307"/>
                  <a:gd name="T13" fmla="*/ 231 h 455"/>
                  <a:gd name="T14" fmla="*/ 238 w 307"/>
                  <a:gd name="T15" fmla="*/ 49 h 455"/>
                  <a:gd name="T16" fmla="*/ 270 w 307"/>
                  <a:gd name="T17" fmla="*/ 49 h 455"/>
                  <a:gd name="T18" fmla="*/ 286 w 307"/>
                  <a:gd name="T19" fmla="*/ 23 h 455"/>
                  <a:gd name="T20" fmla="*/ 244 w 307"/>
                  <a:gd name="T21" fmla="*/ 0 h 455"/>
                  <a:gd name="T22" fmla="*/ 231 w 307"/>
                  <a:gd name="T23" fmla="*/ 0 h 455"/>
                  <a:gd name="T24" fmla="*/ 0 w 307"/>
                  <a:gd name="T25" fmla="*/ 232 h 455"/>
                  <a:gd name="T26" fmla="*/ 198 w 307"/>
                  <a:gd name="T27" fmla="*/ 455 h 455"/>
                  <a:gd name="T28" fmla="*/ 307 w 307"/>
                  <a:gd name="T29" fmla="*/ 405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7" h="455">
                    <a:moveTo>
                      <a:pt x="307" y="405"/>
                    </a:moveTo>
                    <a:cubicBezTo>
                      <a:pt x="307" y="244"/>
                      <a:pt x="307" y="244"/>
                      <a:pt x="307" y="244"/>
                    </a:cubicBezTo>
                    <a:cubicBezTo>
                      <a:pt x="307" y="234"/>
                      <a:pt x="298" y="229"/>
                      <a:pt x="279" y="229"/>
                    </a:cubicBezTo>
                    <a:cubicBezTo>
                      <a:pt x="259" y="229"/>
                      <a:pt x="250" y="234"/>
                      <a:pt x="250" y="244"/>
                    </a:cubicBezTo>
                    <a:cubicBezTo>
                      <a:pt x="250" y="378"/>
                      <a:pt x="250" y="378"/>
                      <a:pt x="250" y="378"/>
                    </a:cubicBezTo>
                    <a:cubicBezTo>
                      <a:pt x="250" y="399"/>
                      <a:pt x="241" y="408"/>
                      <a:pt x="199" y="408"/>
                    </a:cubicBezTo>
                    <a:cubicBezTo>
                      <a:pt x="114" y="408"/>
                      <a:pt x="61" y="342"/>
                      <a:pt x="61" y="231"/>
                    </a:cubicBezTo>
                    <a:cubicBezTo>
                      <a:pt x="61" y="115"/>
                      <a:pt x="126" y="49"/>
                      <a:pt x="238" y="49"/>
                    </a:cubicBezTo>
                    <a:cubicBezTo>
                      <a:pt x="270" y="49"/>
                      <a:pt x="270" y="49"/>
                      <a:pt x="270" y="49"/>
                    </a:cubicBezTo>
                    <a:cubicBezTo>
                      <a:pt x="282" y="49"/>
                      <a:pt x="286" y="39"/>
                      <a:pt x="286" y="23"/>
                    </a:cubicBezTo>
                    <a:cubicBezTo>
                      <a:pt x="286" y="4"/>
                      <a:pt x="275" y="0"/>
                      <a:pt x="244" y="0"/>
                    </a:cubicBezTo>
                    <a:cubicBezTo>
                      <a:pt x="231" y="0"/>
                      <a:pt x="231" y="0"/>
                      <a:pt x="231" y="0"/>
                    </a:cubicBezTo>
                    <a:cubicBezTo>
                      <a:pt x="101" y="0"/>
                      <a:pt x="0" y="71"/>
                      <a:pt x="0" y="232"/>
                    </a:cubicBezTo>
                    <a:cubicBezTo>
                      <a:pt x="0" y="386"/>
                      <a:pt x="88" y="455"/>
                      <a:pt x="198" y="455"/>
                    </a:cubicBezTo>
                    <a:cubicBezTo>
                      <a:pt x="286" y="455"/>
                      <a:pt x="307" y="430"/>
                      <a:pt x="307" y="40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sp>
            <p:nvSpPr>
              <p:cNvPr id="26" name="Oval 11">
                <a:extLst>
                  <a:ext uri="{FF2B5EF4-FFF2-40B4-BE49-F238E27FC236}">
                    <a16:creationId xmlns:a16="http://schemas.microsoft.com/office/drawing/2014/main" id="{14F8C3C8-4888-7646-B9B4-64EB46A1DA23}"/>
                  </a:ext>
                </a:extLst>
              </p:cNvPr>
              <p:cNvSpPr>
                <a:spLocks noChangeArrowheads="1"/>
              </p:cNvSpPr>
              <p:nvPr/>
            </p:nvSpPr>
            <p:spPr bwMode="gray">
              <a:xfrm>
                <a:off x="3778" y="2099"/>
                <a:ext cx="122" cy="12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sp>
            <p:nvSpPr>
              <p:cNvPr id="27" name="Freeform 12">
                <a:extLst>
                  <a:ext uri="{FF2B5EF4-FFF2-40B4-BE49-F238E27FC236}">
                    <a16:creationId xmlns:a16="http://schemas.microsoft.com/office/drawing/2014/main" id="{D79D01D1-4E3E-F34B-97D7-2D387E68746E}"/>
                  </a:ext>
                </a:extLst>
              </p:cNvPr>
              <p:cNvSpPr>
                <a:spLocks/>
              </p:cNvSpPr>
              <p:nvPr/>
            </p:nvSpPr>
            <p:spPr bwMode="gray">
              <a:xfrm>
                <a:off x="4321" y="1029"/>
                <a:ext cx="648" cy="649"/>
              </a:xfrm>
              <a:custGeom>
                <a:avLst/>
                <a:gdLst>
                  <a:gd name="T0" fmla="*/ 0 w 648"/>
                  <a:gd name="T1" fmla="*/ 649 h 649"/>
                  <a:gd name="T2" fmla="*/ 2 w 648"/>
                  <a:gd name="T3" fmla="*/ 649 h 649"/>
                  <a:gd name="T4" fmla="*/ 648 w 648"/>
                  <a:gd name="T5" fmla="*/ 0 h 649"/>
                  <a:gd name="T6" fmla="*/ 423 w 648"/>
                  <a:gd name="T7" fmla="*/ 0 h 649"/>
                  <a:gd name="T8" fmla="*/ 0 w 648"/>
                  <a:gd name="T9" fmla="*/ 649 h 649"/>
                </a:gdLst>
                <a:ahLst/>
                <a:cxnLst>
                  <a:cxn ang="0">
                    <a:pos x="T0" y="T1"/>
                  </a:cxn>
                  <a:cxn ang="0">
                    <a:pos x="T2" y="T3"/>
                  </a:cxn>
                  <a:cxn ang="0">
                    <a:pos x="T4" y="T5"/>
                  </a:cxn>
                  <a:cxn ang="0">
                    <a:pos x="T6" y="T7"/>
                  </a:cxn>
                  <a:cxn ang="0">
                    <a:pos x="T8" y="T9"/>
                  </a:cxn>
                </a:cxnLst>
                <a:rect l="0" t="0" r="r" b="b"/>
                <a:pathLst>
                  <a:path w="648" h="649">
                    <a:moveTo>
                      <a:pt x="0" y="649"/>
                    </a:moveTo>
                    <a:lnTo>
                      <a:pt x="2" y="649"/>
                    </a:lnTo>
                    <a:lnTo>
                      <a:pt x="648" y="0"/>
                    </a:lnTo>
                    <a:lnTo>
                      <a:pt x="423" y="0"/>
                    </a:lnTo>
                    <a:lnTo>
                      <a:pt x="0" y="64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sp>
            <p:nvSpPr>
              <p:cNvPr id="28" name="Freeform 13">
                <a:extLst>
                  <a:ext uri="{FF2B5EF4-FFF2-40B4-BE49-F238E27FC236}">
                    <a16:creationId xmlns:a16="http://schemas.microsoft.com/office/drawing/2014/main" id="{46549898-6C52-B147-A8F6-A73FDBE6163B}"/>
                  </a:ext>
                </a:extLst>
              </p:cNvPr>
              <p:cNvSpPr>
                <a:spLocks/>
              </p:cNvSpPr>
              <p:nvPr/>
            </p:nvSpPr>
            <p:spPr bwMode="gray">
              <a:xfrm>
                <a:off x="4321" y="1029"/>
                <a:ext cx="648" cy="649"/>
              </a:xfrm>
              <a:custGeom>
                <a:avLst/>
                <a:gdLst>
                  <a:gd name="T0" fmla="*/ 0 w 648"/>
                  <a:gd name="T1" fmla="*/ 649 h 649"/>
                  <a:gd name="T2" fmla="*/ 2 w 648"/>
                  <a:gd name="T3" fmla="*/ 649 h 649"/>
                  <a:gd name="T4" fmla="*/ 648 w 648"/>
                  <a:gd name="T5" fmla="*/ 0 h 649"/>
                  <a:gd name="T6" fmla="*/ 423 w 648"/>
                  <a:gd name="T7" fmla="*/ 0 h 649"/>
                  <a:gd name="T8" fmla="*/ 0 w 648"/>
                  <a:gd name="T9" fmla="*/ 649 h 649"/>
                </a:gdLst>
                <a:ahLst/>
                <a:cxnLst>
                  <a:cxn ang="0">
                    <a:pos x="T0" y="T1"/>
                  </a:cxn>
                  <a:cxn ang="0">
                    <a:pos x="T2" y="T3"/>
                  </a:cxn>
                  <a:cxn ang="0">
                    <a:pos x="T4" y="T5"/>
                  </a:cxn>
                  <a:cxn ang="0">
                    <a:pos x="T6" y="T7"/>
                  </a:cxn>
                  <a:cxn ang="0">
                    <a:pos x="T8" y="T9"/>
                  </a:cxn>
                </a:cxnLst>
                <a:rect l="0" t="0" r="r" b="b"/>
                <a:pathLst>
                  <a:path w="648" h="649">
                    <a:moveTo>
                      <a:pt x="0" y="649"/>
                    </a:moveTo>
                    <a:lnTo>
                      <a:pt x="2" y="649"/>
                    </a:lnTo>
                    <a:lnTo>
                      <a:pt x="648" y="0"/>
                    </a:lnTo>
                    <a:lnTo>
                      <a:pt x="423" y="0"/>
                    </a:lnTo>
                    <a:lnTo>
                      <a:pt x="0" y="64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grpSp>
      </p:grpSp>
      <p:sp>
        <p:nvSpPr>
          <p:cNvPr id="7" name="Date Placeholder 6"/>
          <p:cNvSpPr>
            <a:spLocks noGrp="1"/>
          </p:cNvSpPr>
          <p:nvPr>
            <p:ph type="dt" sz="half" idx="10"/>
          </p:nvPr>
        </p:nvSpPr>
        <p:spPr>
          <a:xfrm>
            <a:off x="0" y="0"/>
            <a:ext cx="0" cy="0"/>
          </a:xfrm>
          <a:prstGeom prst="rect">
            <a:avLst/>
          </a:prstGeom>
        </p:spPr>
        <p:txBody>
          <a:bodyPr/>
          <a:lstStyle>
            <a:lvl1pPr>
              <a:defRPr sz="100">
                <a:noFill/>
              </a:defRPr>
            </a:lvl1pPr>
          </a:lstStyle>
          <a:p>
            <a:fld id="{D76217CC-534C-41BF-930C-27B1184E95F2}" type="datetime5">
              <a:rPr lang="en-US" smtClean="0"/>
              <a:t>26-Jun-20</a:t>
            </a:fld>
            <a:endParaRPr lang="en-US" dirty="0"/>
          </a:p>
        </p:txBody>
      </p:sp>
      <p:sp>
        <p:nvSpPr>
          <p:cNvPr id="8" name="Footer Placeholder 7"/>
          <p:cNvSpPr>
            <a:spLocks noGrp="1"/>
          </p:cNvSpPr>
          <p:nvPr>
            <p:ph type="ftr" sz="quarter" idx="11"/>
          </p:nvPr>
        </p:nvSpPr>
        <p:spPr>
          <a:xfrm>
            <a:off x="0" y="0"/>
            <a:ext cx="0" cy="0"/>
          </a:xfrm>
          <a:prstGeom prst="rect">
            <a:avLst/>
          </a:prstGeom>
        </p:spPr>
        <p:txBody>
          <a:bodyPr/>
          <a:lstStyle>
            <a:lvl1pPr marL="0" indent="0">
              <a:buNone/>
              <a:defRPr sz="100">
                <a:noFill/>
              </a:defRPr>
            </a:lvl1pPr>
          </a:lstStyle>
          <a:p>
            <a:r>
              <a:rPr lang="en-US"/>
              <a:t>Title of presentation (Insert / Header &amp; Footer / Apply to All)</a:t>
            </a:r>
            <a:endParaRPr lang="en-US" dirty="0"/>
          </a:p>
        </p:txBody>
      </p:sp>
      <p:sp>
        <p:nvSpPr>
          <p:cNvPr id="9" name="Slide Number Placeholder 8"/>
          <p:cNvSpPr>
            <a:spLocks noGrp="1"/>
          </p:cNvSpPr>
          <p:nvPr>
            <p:ph type="sldNum" sz="quarter" idx="12"/>
          </p:nvPr>
        </p:nvSpPr>
        <p:spPr>
          <a:xfrm>
            <a:off x="0" y="0"/>
            <a:ext cx="0" cy="0"/>
          </a:xfrm>
          <a:prstGeom prst="rect">
            <a:avLst/>
          </a:prstGeom>
        </p:spPr>
        <p:txBody>
          <a:bodyPr/>
          <a:lstStyle>
            <a:lvl1pPr>
              <a:defRPr sz="100">
                <a:noFill/>
              </a:defRPr>
            </a:lvl1pPr>
          </a:lstStyle>
          <a:p>
            <a:fld id="{8E3B25F7-8D1F-44B5-B485-EE3C438CFD7B}" type="slidenum">
              <a:rPr lang="en-US" smtClean="0"/>
              <a:pPr/>
              <a:t>‹#›</a:t>
            </a:fld>
            <a:endParaRPr lang="en-US"/>
          </a:p>
        </p:txBody>
      </p:sp>
      <p:sp>
        <p:nvSpPr>
          <p:cNvPr id="2" name="Title 1"/>
          <p:cNvSpPr>
            <a:spLocks noGrp="1"/>
          </p:cNvSpPr>
          <p:nvPr>
            <p:ph type="ctrTitle" hasCustomPrompt="1"/>
          </p:nvPr>
        </p:nvSpPr>
        <p:spPr>
          <a:xfrm>
            <a:off x="4777671" y="2019727"/>
            <a:ext cx="3816000" cy="2236264"/>
          </a:xfrm>
        </p:spPr>
        <p:txBody>
          <a:bodyPr anchor="b"/>
          <a:lstStyle>
            <a:lvl1pPr algn="l">
              <a:defRPr sz="3600"/>
            </a:lvl1pPr>
          </a:lstStyle>
          <a:p>
            <a:r>
              <a:rPr lang="en-US" dirty="0"/>
              <a:t>Click to add thank you</a:t>
            </a:r>
          </a:p>
        </p:txBody>
      </p:sp>
    </p:spTree>
    <p:extLst>
      <p:ext uri="{BB962C8B-B14F-4D97-AF65-F5344CB8AC3E}">
        <p14:creationId xmlns:p14="http://schemas.microsoft.com/office/powerpoint/2010/main" val="251992340"/>
      </p:ext>
    </p:extLst>
  </p:cSld>
  <p:clrMapOvr>
    <a:masterClrMapping/>
  </p:clrMapOvr>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p:cSld name="Empty">
    <p:spTree>
      <p:nvGrpSpPr>
        <p:cNvPr id="1" name=""/>
        <p:cNvGrpSpPr/>
        <p:nvPr/>
      </p:nvGrpSpPr>
      <p:grpSpPr>
        <a:xfrm>
          <a:off x="0" y="0"/>
          <a:ext cx="0" cy="0"/>
          <a:chOff x="0" y="0"/>
          <a:chExt cx="0" cy="0"/>
        </a:xfrm>
      </p:grpSpPr>
      <p:sp>
        <p:nvSpPr>
          <p:cNvPr id="5" name="Rectangle 4"/>
          <p:cNvSpPr/>
          <p:nvPr/>
        </p:nvSpPr>
        <p:spPr bwMode="white">
          <a:xfrm>
            <a:off x="0" y="0"/>
            <a:ext cx="514350" cy="16287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Date Placeholder 5"/>
          <p:cNvSpPr>
            <a:spLocks noGrp="1"/>
          </p:cNvSpPr>
          <p:nvPr>
            <p:ph type="dt" sz="half" idx="10"/>
          </p:nvPr>
        </p:nvSpPr>
        <p:spPr/>
        <p:txBody>
          <a:bodyPr/>
          <a:lstStyle/>
          <a:p>
            <a:fld id="{2DD22AFC-145E-4433-8756-926F8A0E61FA}" type="datetime5">
              <a:rPr lang="en-US" smtClean="0"/>
              <a:t>26-Jun-20</a:t>
            </a:fld>
            <a:endParaRPr lang="en-US" dirty="0"/>
          </a:p>
        </p:txBody>
      </p:sp>
      <p:sp>
        <p:nvSpPr>
          <p:cNvPr id="7" name="Footer Placeholder 6"/>
          <p:cNvSpPr>
            <a:spLocks noGrp="1"/>
          </p:cNvSpPr>
          <p:nvPr>
            <p:ph type="ftr" sz="quarter" idx="11"/>
          </p:nvPr>
        </p:nvSpPr>
        <p:spPr/>
        <p:txBody>
          <a:bodyPr/>
          <a:lstStyle/>
          <a:p>
            <a:r>
              <a:rPr lang="en-US"/>
              <a:t>Title of presentation (Insert / Header &amp; Footer / Apply to All)</a:t>
            </a:r>
            <a:endParaRPr lang="en-US" dirty="0"/>
          </a:p>
        </p:txBody>
      </p:sp>
      <p:sp>
        <p:nvSpPr>
          <p:cNvPr id="8" name="Slide Number Placeholder 7"/>
          <p:cNvSpPr>
            <a:spLocks noGrp="1"/>
          </p:cNvSpPr>
          <p:nvPr>
            <p:ph type="sldNum" sz="quarter" idx="12"/>
          </p:nvPr>
        </p:nvSpPr>
        <p:spPr/>
        <p:txBody>
          <a:bodyPr/>
          <a:lstStyle/>
          <a:p>
            <a:fld id="{5F3E29E4-0979-4FCA-B4C5-5FC6044C982A}" type="slidenum">
              <a:rPr lang="en-US" smtClean="0"/>
              <a:pPr/>
              <a:t>‹#›</a:t>
            </a:fld>
            <a:endParaRPr lang="en-US"/>
          </a:p>
        </p:txBody>
      </p:sp>
      <p:sp>
        <p:nvSpPr>
          <p:cNvPr id="10" name="Text Placeholder 4"/>
          <p:cNvSpPr>
            <a:spLocks noGrp="1"/>
          </p:cNvSpPr>
          <p:nvPr>
            <p:ph type="body" sz="quarter" idx="17" hasCustomPrompt="1"/>
          </p:nvPr>
        </p:nvSpPr>
        <p:spPr>
          <a:xfrm>
            <a:off x="1075063" y="6307665"/>
            <a:ext cx="8162717" cy="133200"/>
          </a:xfrm>
        </p:spPr>
        <p:txBody>
          <a:bodyPr lIns="0" tIns="0" rIns="0" bIns="0" anchor="b" anchorCtr="0"/>
          <a:lstStyle>
            <a:lvl1pPr marL="0" indent="0" algn="l">
              <a:lnSpc>
                <a:spcPct val="100000"/>
              </a:lnSpc>
              <a:spcBef>
                <a:spcPts val="0"/>
              </a:spcBef>
              <a:buNone/>
              <a:defRPr sz="800" baseline="0"/>
            </a:lvl1pPr>
            <a:lvl2pPr marL="0" indent="0" algn="l">
              <a:lnSpc>
                <a:spcPct val="100000"/>
              </a:lnSpc>
              <a:spcBef>
                <a:spcPts val="0"/>
              </a:spcBef>
              <a:buNone/>
              <a:defRPr sz="800"/>
            </a:lvl2pPr>
            <a:lvl3pPr marL="0" indent="0" algn="l">
              <a:lnSpc>
                <a:spcPct val="100000"/>
              </a:lnSpc>
              <a:spcBef>
                <a:spcPts val="0"/>
              </a:spcBef>
              <a:buNone/>
              <a:defRPr sz="800"/>
            </a:lvl3pPr>
            <a:lvl4pPr marL="0" algn="l">
              <a:lnSpc>
                <a:spcPct val="100000"/>
              </a:lnSpc>
              <a:spcBef>
                <a:spcPts val="0"/>
              </a:spcBef>
              <a:buNone/>
              <a:defRPr sz="800"/>
            </a:lvl4pPr>
            <a:lvl5pPr marL="0" indent="0" algn="l">
              <a:lnSpc>
                <a:spcPct val="100000"/>
              </a:lnSpc>
              <a:spcBef>
                <a:spcPts val="0"/>
              </a:spcBef>
              <a:buNone/>
              <a:defRPr sz="800"/>
            </a:lvl5pPr>
          </a:lstStyle>
          <a:p>
            <a:pPr lvl="0"/>
            <a:r>
              <a:rPr lang="en-US" dirty="0"/>
              <a:t>Source line</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602765136"/>
      </p:ext>
    </p:extLst>
  </p:cSld>
  <p:clrMapOvr>
    <a:masterClrMapping/>
  </p:clrMapOvr>
</p:sldLayout>
</file>

<file path=ppt/slideLayouts/slideLayout272.xml><?xml version="1.0" encoding="utf-8"?>
<p:sldLayout xmlns:a="http://schemas.openxmlformats.org/drawingml/2006/main" xmlns:r="http://schemas.openxmlformats.org/officeDocument/2006/relationships" xmlns:p="http://schemas.openxmlformats.org/presentationml/2006/main" type="vertTx" preserve="1">
  <p:cSld name="Заголовок и вертикальный текст">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ru-RU"/>
              <a:t>Образец заголовка</a:t>
            </a:r>
            <a:endParaRPr lang="en-US" dirty="0"/>
          </a:p>
        </p:txBody>
      </p:sp>
      <p:sp>
        <p:nvSpPr>
          <p:cNvPr id="3" name="Vertical Text Placeholder 2"/>
          <p:cNvSpPr>
            <a:spLocks noGrp="1"/>
          </p:cNvSpPr>
          <p:nvPr>
            <p:ph type="body" orient="vert" idx="1"/>
          </p:nvPr>
        </p:nvSpPr>
        <p:spPr/>
        <p:txBody>
          <a:bodyPr vert="eaVert"/>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endParaRPr lang="en-US" dirty="0"/>
          </a:p>
        </p:txBody>
      </p:sp>
      <p:sp>
        <p:nvSpPr>
          <p:cNvPr id="7" name="Date Placeholder 6"/>
          <p:cNvSpPr>
            <a:spLocks noGrp="1"/>
          </p:cNvSpPr>
          <p:nvPr>
            <p:ph type="dt" sz="half" idx="10"/>
          </p:nvPr>
        </p:nvSpPr>
        <p:spPr/>
        <p:txBody>
          <a:bodyPr/>
          <a:lstStyle/>
          <a:p>
            <a:fld id="{AF5B2FD7-A1C3-4F99-9996-6254468DC4CB}" type="datetime5">
              <a:rPr lang="en-US" smtClean="0"/>
              <a:t>26-Jun-20</a:t>
            </a:fld>
            <a:endParaRPr lang="en-US" dirty="0"/>
          </a:p>
        </p:txBody>
      </p:sp>
      <p:sp>
        <p:nvSpPr>
          <p:cNvPr id="8" name="Footer Placeholder 7"/>
          <p:cNvSpPr>
            <a:spLocks noGrp="1"/>
          </p:cNvSpPr>
          <p:nvPr>
            <p:ph type="ftr" sz="quarter" idx="11"/>
          </p:nvPr>
        </p:nvSpPr>
        <p:spPr/>
        <p:txBody>
          <a:bodyPr/>
          <a:lstStyle/>
          <a:p>
            <a:r>
              <a:rPr lang="en-US"/>
              <a:t>Title of presentation (Insert / Header &amp; Footer / Apply to All)</a:t>
            </a:r>
            <a:endParaRPr lang="en-US" dirty="0"/>
          </a:p>
        </p:txBody>
      </p:sp>
      <p:sp>
        <p:nvSpPr>
          <p:cNvPr id="9" name="Slide Number Placeholder 8"/>
          <p:cNvSpPr>
            <a:spLocks noGrp="1"/>
          </p:cNvSpPr>
          <p:nvPr>
            <p:ph type="sldNum" sz="quarter" idx="12"/>
          </p:nvPr>
        </p:nvSpPr>
        <p:spPr/>
        <p:txBody>
          <a:bodyPr/>
          <a:lstStyle/>
          <a:p>
            <a:fld id="{5F3E29E4-0979-4FCA-B4C5-5FC6044C982A}" type="slidenum">
              <a:rPr lang="en-US" smtClean="0"/>
              <a:pPr/>
              <a:t>‹#›</a:t>
            </a:fld>
            <a:endParaRPr lang="en-US"/>
          </a:p>
        </p:txBody>
      </p:sp>
    </p:spTree>
    <p:extLst>
      <p:ext uri="{BB962C8B-B14F-4D97-AF65-F5344CB8AC3E}">
        <p14:creationId xmlns:p14="http://schemas.microsoft.com/office/powerpoint/2010/main" val="4218091571"/>
      </p:ext>
    </p:extLst>
  </p:cSld>
  <p:clrMapOvr>
    <a:masterClrMapping/>
  </p:clrMapOvr>
</p:sldLayout>
</file>

<file path=ppt/slideLayouts/slideLayout273.xml><?xml version="1.0" encoding="utf-8"?>
<p:sldLayout xmlns:a="http://schemas.openxmlformats.org/drawingml/2006/main" xmlns:r="http://schemas.openxmlformats.org/officeDocument/2006/relationships" xmlns:p="http://schemas.openxmlformats.org/presentationml/2006/main" type="vertTitleAndTx" preserve="1">
  <p:cSld name="Вертикальный заголовок и текст">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196278" y="404813"/>
            <a:ext cx="1400175" cy="5832474"/>
          </a:xfrm>
        </p:spPr>
        <p:txBody>
          <a:bodyPr vert="eaVert"/>
          <a:lstStyle/>
          <a:p>
            <a:r>
              <a:rPr lang="ru-RU"/>
              <a:t>Образец заголовка</a:t>
            </a:r>
            <a:endParaRPr lang="en-US" dirty="0"/>
          </a:p>
        </p:txBody>
      </p:sp>
      <p:sp>
        <p:nvSpPr>
          <p:cNvPr id="3" name="Vertical Text Placeholder 2"/>
          <p:cNvSpPr>
            <a:spLocks noGrp="1"/>
          </p:cNvSpPr>
          <p:nvPr>
            <p:ph type="body" orient="vert" idx="1"/>
          </p:nvPr>
        </p:nvSpPr>
        <p:spPr>
          <a:xfrm>
            <a:off x="1076400" y="404813"/>
            <a:ext cx="5943525" cy="5832474"/>
          </a:xfrm>
        </p:spPr>
        <p:txBody>
          <a:bodyPr vert="eaVert"/>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endParaRPr lang="en-US"/>
          </a:p>
        </p:txBody>
      </p:sp>
      <p:sp>
        <p:nvSpPr>
          <p:cNvPr id="7" name="Date Placeholder 6"/>
          <p:cNvSpPr>
            <a:spLocks noGrp="1"/>
          </p:cNvSpPr>
          <p:nvPr>
            <p:ph type="dt" sz="half" idx="10"/>
          </p:nvPr>
        </p:nvSpPr>
        <p:spPr/>
        <p:txBody>
          <a:bodyPr/>
          <a:lstStyle/>
          <a:p>
            <a:fld id="{A1079567-0E61-4D85-B570-3273C3AD246A}" type="datetime5">
              <a:rPr lang="en-US" smtClean="0"/>
              <a:t>26-Jun-20</a:t>
            </a:fld>
            <a:endParaRPr lang="en-US" dirty="0"/>
          </a:p>
        </p:txBody>
      </p:sp>
      <p:sp>
        <p:nvSpPr>
          <p:cNvPr id="8" name="Footer Placeholder 7"/>
          <p:cNvSpPr>
            <a:spLocks noGrp="1"/>
          </p:cNvSpPr>
          <p:nvPr>
            <p:ph type="ftr" sz="quarter" idx="11"/>
          </p:nvPr>
        </p:nvSpPr>
        <p:spPr/>
        <p:txBody>
          <a:bodyPr/>
          <a:lstStyle/>
          <a:p>
            <a:r>
              <a:rPr lang="en-US"/>
              <a:t>Title of presentation (Insert / Header &amp; Footer / Apply to All)</a:t>
            </a:r>
            <a:endParaRPr lang="en-US" dirty="0"/>
          </a:p>
        </p:txBody>
      </p:sp>
      <p:sp>
        <p:nvSpPr>
          <p:cNvPr id="9" name="Slide Number Placeholder 8"/>
          <p:cNvSpPr>
            <a:spLocks noGrp="1"/>
          </p:cNvSpPr>
          <p:nvPr>
            <p:ph type="sldNum" sz="quarter" idx="12"/>
          </p:nvPr>
        </p:nvSpPr>
        <p:spPr/>
        <p:txBody>
          <a:bodyPr/>
          <a:lstStyle/>
          <a:p>
            <a:fld id="{5F3E29E4-0979-4FCA-B4C5-5FC6044C982A}" type="slidenum">
              <a:rPr lang="en-US" smtClean="0"/>
              <a:pPr/>
              <a:t>‹#›</a:t>
            </a:fld>
            <a:endParaRPr lang="en-US"/>
          </a:p>
        </p:txBody>
      </p:sp>
    </p:spTree>
    <p:extLst>
      <p:ext uri="{BB962C8B-B14F-4D97-AF65-F5344CB8AC3E}">
        <p14:creationId xmlns:p14="http://schemas.microsoft.com/office/powerpoint/2010/main" val="2915216648"/>
      </p:ext>
    </p:extLst>
  </p:cSld>
  <p:clrMapOvr>
    <a:masterClrMapping/>
  </p:clrMapOvr>
</p:sldLayout>
</file>

<file path=ppt/slideLayouts/slideLayout274.xml><?xml version="1.0" encoding="utf-8"?>
<p:sldLayout xmlns:a="http://schemas.openxmlformats.org/drawingml/2006/main" xmlns:r="http://schemas.openxmlformats.org/officeDocument/2006/relationships" xmlns:p="http://schemas.openxmlformats.org/presentationml/2006/main">
  <p:cSld name="4_Headline only">
    <p:spTree>
      <p:nvGrpSpPr>
        <p:cNvPr id="1" name=""/>
        <p:cNvGrpSpPr/>
        <p:nvPr/>
      </p:nvGrpSpPr>
      <p:grpSpPr>
        <a:xfrm>
          <a:off x="0" y="0"/>
          <a:ext cx="0" cy="0"/>
          <a:chOff x="0" y="0"/>
          <a:chExt cx="0" cy="0"/>
        </a:xfrm>
      </p:grpSpPr>
      <p:sp>
        <p:nvSpPr>
          <p:cNvPr id="3" name="Textplatzhalter 2"/>
          <p:cNvSpPr>
            <a:spLocks noGrp="1"/>
          </p:cNvSpPr>
          <p:nvPr>
            <p:ph type="body" sz="quarter" idx="10" hasCustomPrompt="1"/>
          </p:nvPr>
        </p:nvSpPr>
        <p:spPr bwMode="gray">
          <a:xfrm>
            <a:off x="431213" y="1220755"/>
            <a:ext cx="11328987" cy="384340"/>
          </a:xfrm>
        </p:spPr>
        <p:txBody>
          <a:bodyPr>
            <a:noAutofit/>
          </a:bodyPr>
          <a:lstStyle>
            <a:lvl1pPr marL="0" indent="0">
              <a:lnSpc>
                <a:spcPct val="100000"/>
              </a:lnSpc>
              <a:spcBef>
                <a:spcPts val="800"/>
              </a:spcBef>
              <a:buFont typeface="Arial" panose="020B0604020202020204" pitchFamily="34" charset="0"/>
              <a:buNone/>
              <a:defRPr lang="en-GB" sz="2399" kern="1200" noProof="0" smtClean="0">
                <a:solidFill>
                  <a:schemeClr val="tx2"/>
                </a:solidFill>
                <a:latin typeface="Arial" pitchFamily="34" charset="0"/>
                <a:ea typeface="+mn-ea"/>
                <a:cs typeface="Arial" pitchFamily="34" charset="0"/>
              </a:defRPr>
            </a:lvl1pPr>
            <a:lvl2pPr marL="0" indent="0">
              <a:lnSpc>
                <a:spcPct val="100000"/>
              </a:lnSpc>
              <a:spcBef>
                <a:spcPts val="800"/>
              </a:spcBef>
              <a:buFont typeface="Arial" panose="020B0604020202020204" pitchFamily="34" charset="0"/>
              <a:buNone/>
              <a:defRPr lang="en-GB" sz="2399" kern="1200" noProof="0" smtClean="0">
                <a:solidFill>
                  <a:schemeClr val="tx2"/>
                </a:solidFill>
                <a:latin typeface="Arial" pitchFamily="34" charset="0"/>
                <a:ea typeface="+mn-ea"/>
                <a:cs typeface="Arial" pitchFamily="34" charset="0"/>
              </a:defRPr>
            </a:lvl2pPr>
            <a:lvl3pPr marL="0" indent="0">
              <a:lnSpc>
                <a:spcPct val="100000"/>
              </a:lnSpc>
              <a:spcBef>
                <a:spcPts val="800"/>
              </a:spcBef>
              <a:buFont typeface="Arial" panose="020B0604020202020204" pitchFamily="34" charset="0"/>
              <a:buNone/>
              <a:defRPr lang="en-GB" sz="2399" kern="1200" noProof="0" smtClean="0">
                <a:solidFill>
                  <a:schemeClr val="tx2"/>
                </a:solidFill>
                <a:latin typeface="Arial" pitchFamily="34" charset="0"/>
                <a:ea typeface="+mn-ea"/>
                <a:cs typeface="Arial" pitchFamily="34" charset="0"/>
              </a:defRPr>
            </a:lvl3pPr>
            <a:lvl4pPr marL="0" indent="0">
              <a:lnSpc>
                <a:spcPct val="100000"/>
              </a:lnSpc>
              <a:spcBef>
                <a:spcPts val="800"/>
              </a:spcBef>
              <a:buFont typeface="Arial" panose="020B0604020202020204" pitchFamily="34" charset="0"/>
              <a:buNone/>
              <a:defRPr lang="en-GB" sz="2399" kern="1200" noProof="0" smtClean="0">
                <a:solidFill>
                  <a:schemeClr val="tx2"/>
                </a:solidFill>
                <a:latin typeface="Arial" pitchFamily="34" charset="0"/>
                <a:ea typeface="+mn-ea"/>
                <a:cs typeface="Arial" pitchFamily="34" charset="0"/>
              </a:defRPr>
            </a:lvl4pPr>
            <a:lvl5pPr marL="0" indent="0">
              <a:lnSpc>
                <a:spcPct val="100000"/>
              </a:lnSpc>
              <a:spcBef>
                <a:spcPts val="800"/>
              </a:spcBef>
              <a:buFont typeface="Arial" panose="020B0604020202020204" pitchFamily="34" charset="0"/>
              <a:buNone/>
              <a:defRPr lang="en-GB" sz="2399" kern="1200" noProof="0" smtClean="0">
                <a:solidFill>
                  <a:schemeClr val="tx2"/>
                </a:solidFill>
                <a:latin typeface="Arial" pitchFamily="34" charset="0"/>
                <a:ea typeface="+mn-ea"/>
                <a:cs typeface="Arial" pitchFamily="34" charset="0"/>
              </a:defRPr>
            </a:lvl5pPr>
            <a:lvl6pPr marL="0" indent="0">
              <a:lnSpc>
                <a:spcPct val="100000"/>
              </a:lnSpc>
              <a:spcBef>
                <a:spcPts val="800"/>
              </a:spcBef>
              <a:buNone/>
              <a:defRPr lang="en-GB" sz="2399" kern="1200" noProof="0" smtClean="0">
                <a:solidFill>
                  <a:schemeClr val="tx2"/>
                </a:solidFill>
                <a:latin typeface="Arial" pitchFamily="34" charset="0"/>
                <a:ea typeface="+mn-ea"/>
                <a:cs typeface="Arial" pitchFamily="34" charset="0"/>
              </a:defRPr>
            </a:lvl6pPr>
            <a:lvl7pPr marL="0" indent="0">
              <a:lnSpc>
                <a:spcPct val="100000"/>
              </a:lnSpc>
              <a:spcBef>
                <a:spcPts val="800"/>
              </a:spcBef>
              <a:buNone/>
              <a:defRPr lang="en-GB" sz="2399" kern="1200" noProof="0" smtClean="0">
                <a:solidFill>
                  <a:schemeClr val="tx2"/>
                </a:solidFill>
                <a:latin typeface="Arial" pitchFamily="34" charset="0"/>
                <a:ea typeface="+mn-ea"/>
                <a:cs typeface="Arial" pitchFamily="34" charset="0"/>
              </a:defRPr>
            </a:lvl7pPr>
            <a:lvl8pPr marL="0" indent="0">
              <a:lnSpc>
                <a:spcPct val="100000"/>
              </a:lnSpc>
              <a:spcBef>
                <a:spcPts val="800"/>
              </a:spcBef>
              <a:buNone/>
              <a:defRPr lang="en-GB" sz="2399" kern="1200" noProof="0" smtClean="0">
                <a:solidFill>
                  <a:schemeClr val="tx2"/>
                </a:solidFill>
                <a:latin typeface="Arial" pitchFamily="34" charset="0"/>
                <a:ea typeface="+mn-ea"/>
                <a:cs typeface="Arial" pitchFamily="34" charset="0"/>
              </a:defRPr>
            </a:lvl8pPr>
            <a:lvl9pPr marL="0" indent="0">
              <a:lnSpc>
                <a:spcPct val="100000"/>
              </a:lnSpc>
              <a:spcBef>
                <a:spcPts val="800"/>
              </a:spcBef>
              <a:buNone/>
              <a:defRPr lang="de-DE" sz="2399" kern="1200" noProof="0" smtClean="0">
                <a:solidFill>
                  <a:schemeClr val="tx2"/>
                </a:solidFill>
                <a:latin typeface="Arial" pitchFamily="34" charset="0"/>
                <a:ea typeface="+mn-ea"/>
                <a:cs typeface="Arial" pitchFamily="34" charset="0"/>
              </a:defRPr>
            </a:lvl9pPr>
          </a:lstStyle>
          <a:p>
            <a:pPr lvl="0"/>
            <a:r>
              <a:rPr lang="en-US" dirty="0"/>
              <a:t>Click to add </a:t>
            </a:r>
            <a:r>
              <a:rPr lang="en-US" dirty="0" err="1"/>
              <a:t>subheadline</a:t>
            </a:r>
            <a:endParaRPr lang="en-US" dirty="0"/>
          </a:p>
        </p:txBody>
      </p:sp>
      <p:sp>
        <p:nvSpPr>
          <p:cNvPr id="4" name="Textplatzhalter 3"/>
          <p:cNvSpPr>
            <a:spLocks noGrp="1"/>
          </p:cNvSpPr>
          <p:nvPr>
            <p:ph type="body" sz="quarter" idx="11" hasCustomPrompt="1"/>
          </p:nvPr>
        </p:nvSpPr>
        <p:spPr bwMode="gray">
          <a:xfrm>
            <a:off x="431371" y="6404736"/>
            <a:ext cx="11328400" cy="192617"/>
          </a:xfrm>
        </p:spPr>
        <p:txBody>
          <a:bodyPr tIns="0" bIns="36000" anchor="b" anchorCtr="0">
            <a:noAutofit/>
          </a:bodyPr>
          <a:lstStyle>
            <a:lvl1pPr marL="0" marR="0" indent="0" algn="l" defTabSz="1218804" rtl="0" eaLnBrk="1" fontAlgn="auto" latinLnBrk="0" hangingPunct="1">
              <a:lnSpc>
                <a:spcPct val="100000"/>
              </a:lnSpc>
              <a:spcBef>
                <a:spcPts val="0"/>
              </a:spcBef>
              <a:spcAft>
                <a:spcPts val="0"/>
              </a:spcAft>
              <a:buClrTx/>
              <a:buSzTx/>
              <a:buFont typeface="Arial" pitchFamily="34" charset="0"/>
              <a:buNone/>
              <a:tabLst/>
              <a:defRPr lang="de-DE" sz="1066" kern="1200" baseline="0" noProof="0" smtClean="0">
                <a:solidFill>
                  <a:schemeClr val="bg2"/>
                </a:solidFill>
                <a:latin typeface="Arial" pitchFamily="34" charset="0"/>
                <a:ea typeface="+mn-ea"/>
                <a:cs typeface="Arial" pitchFamily="34" charset="0"/>
              </a:defRPr>
            </a:lvl1pPr>
            <a:lvl2pPr marL="0" indent="0">
              <a:lnSpc>
                <a:spcPct val="100000"/>
              </a:lnSpc>
              <a:spcBef>
                <a:spcPts val="0"/>
              </a:spcBef>
              <a:buFont typeface="Arial" panose="020B0604020202020204" pitchFamily="34" charset="0"/>
              <a:buNone/>
              <a:defRPr lang="de-DE" sz="1066" kern="1200" baseline="0" noProof="0" smtClean="0">
                <a:solidFill>
                  <a:schemeClr val="bg2"/>
                </a:solidFill>
                <a:latin typeface="Arial" pitchFamily="34" charset="0"/>
                <a:ea typeface="+mn-ea"/>
                <a:cs typeface="Arial" pitchFamily="34" charset="0"/>
              </a:defRPr>
            </a:lvl2pPr>
            <a:lvl3pPr marL="0" indent="0">
              <a:lnSpc>
                <a:spcPct val="100000"/>
              </a:lnSpc>
              <a:spcBef>
                <a:spcPts val="0"/>
              </a:spcBef>
              <a:buNone/>
              <a:defRPr lang="de-DE" sz="1066" kern="1200" baseline="0" noProof="0" smtClean="0">
                <a:solidFill>
                  <a:schemeClr val="bg2"/>
                </a:solidFill>
                <a:latin typeface="Arial" pitchFamily="34" charset="0"/>
                <a:ea typeface="+mn-ea"/>
                <a:cs typeface="Arial" pitchFamily="34" charset="0"/>
              </a:defRPr>
            </a:lvl3pPr>
            <a:lvl4pPr marL="0" indent="0">
              <a:lnSpc>
                <a:spcPct val="100000"/>
              </a:lnSpc>
              <a:spcBef>
                <a:spcPts val="0"/>
              </a:spcBef>
              <a:buNone/>
              <a:defRPr lang="de-DE" sz="1066" kern="1200" baseline="0" noProof="0" smtClean="0">
                <a:solidFill>
                  <a:schemeClr val="bg2"/>
                </a:solidFill>
                <a:latin typeface="Arial" pitchFamily="34" charset="0"/>
                <a:ea typeface="+mn-ea"/>
                <a:cs typeface="Arial" pitchFamily="34" charset="0"/>
              </a:defRPr>
            </a:lvl4pPr>
            <a:lvl5pPr marL="0" indent="0">
              <a:lnSpc>
                <a:spcPct val="100000"/>
              </a:lnSpc>
              <a:spcBef>
                <a:spcPts val="0"/>
              </a:spcBef>
              <a:buNone/>
              <a:defRPr lang="de-DE" sz="1066" kern="1200" baseline="0" noProof="0" smtClean="0">
                <a:solidFill>
                  <a:schemeClr val="bg2"/>
                </a:solidFill>
                <a:latin typeface="Arial" pitchFamily="34" charset="0"/>
                <a:ea typeface="+mn-ea"/>
                <a:cs typeface="Arial" pitchFamily="34" charset="0"/>
              </a:defRPr>
            </a:lvl5pPr>
            <a:lvl6pPr marL="0" indent="0">
              <a:lnSpc>
                <a:spcPct val="100000"/>
              </a:lnSpc>
              <a:spcBef>
                <a:spcPts val="0"/>
              </a:spcBef>
              <a:buNone/>
              <a:defRPr lang="de-DE" sz="1066" kern="1200" baseline="0" noProof="0" smtClean="0">
                <a:solidFill>
                  <a:schemeClr val="bg2"/>
                </a:solidFill>
                <a:latin typeface="Arial" pitchFamily="34" charset="0"/>
                <a:ea typeface="+mn-ea"/>
                <a:cs typeface="Arial" pitchFamily="34" charset="0"/>
              </a:defRPr>
            </a:lvl6pPr>
            <a:lvl7pPr marL="0" indent="0">
              <a:lnSpc>
                <a:spcPct val="100000"/>
              </a:lnSpc>
              <a:spcBef>
                <a:spcPts val="0"/>
              </a:spcBef>
              <a:buNone/>
              <a:defRPr lang="de-DE" sz="1066" kern="1200" baseline="0" noProof="0" dirty="0" smtClean="0">
                <a:solidFill>
                  <a:schemeClr val="bg2"/>
                </a:solidFill>
                <a:latin typeface="Arial" pitchFamily="34" charset="0"/>
                <a:ea typeface="+mn-ea"/>
                <a:cs typeface="Arial" pitchFamily="34" charset="0"/>
              </a:defRPr>
            </a:lvl7pPr>
            <a:lvl8pPr marL="0" indent="0">
              <a:lnSpc>
                <a:spcPct val="100000"/>
              </a:lnSpc>
              <a:spcBef>
                <a:spcPts val="0"/>
              </a:spcBef>
              <a:buNone/>
              <a:defRPr lang="de-DE" sz="1066" kern="1200" baseline="0" noProof="0" smtClean="0">
                <a:solidFill>
                  <a:schemeClr val="bg2"/>
                </a:solidFill>
                <a:latin typeface="Arial" pitchFamily="34" charset="0"/>
                <a:ea typeface="+mn-ea"/>
                <a:cs typeface="Arial" pitchFamily="34" charset="0"/>
              </a:defRPr>
            </a:lvl8pPr>
            <a:lvl9pPr marL="0" indent="0">
              <a:lnSpc>
                <a:spcPct val="100000"/>
              </a:lnSpc>
              <a:spcBef>
                <a:spcPts val="0"/>
              </a:spcBef>
              <a:buNone/>
              <a:defRPr lang="de-DE" sz="1066" kern="1200" baseline="0" noProof="0" smtClean="0">
                <a:solidFill>
                  <a:schemeClr val="bg2"/>
                </a:solidFill>
                <a:latin typeface="Arial" pitchFamily="34" charset="0"/>
                <a:ea typeface="+mn-ea"/>
                <a:cs typeface="Arial" pitchFamily="34" charset="0"/>
              </a:defRPr>
            </a:lvl9pPr>
          </a:lstStyle>
          <a:p>
            <a:pPr lvl="0"/>
            <a:r>
              <a:rPr lang="en-US" dirty="0"/>
              <a:t>Click to add source information</a:t>
            </a:r>
          </a:p>
        </p:txBody>
      </p:sp>
      <p:sp>
        <p:nvSpPr>
          <p:cNvPr id="5" name="Title 4"/>
          <p:cNvSpPr>
            <a:spLocks noGrp="1"/>
          </p:cNvSpPr>
          <p:nvPr>
            <p:ph type="title" hasCustomPrompt="1"/>
          </p:nvPr>
        </p:nvSpPr>
        <p:spPr/>
        <p:txBody>
          <a:bodyPr/>
          <a:lstStyle/>
          <a:p>
            <a:r>
              <a:rPr lang="en-US" dirty="0"/>
              <a:t>Click to add headline</a:t>
            </a:r>
          </a:p>
        </p:txBody>
      </p:sp>
    </p:spTree>
    <p:extLst>
      <p:ext uri="{BB962C8B-B14F-4D97-AF65-F5344CB8AC3E}">
        <p14:creationId xmlns:p14="http://schemas.microsoft.com/office/powerpoint/2010/main" val="1806245379"/>
      </p:ext>
    </p:extLst>
  </p:cSld>
  <p:clrMapOvr>
    <a:masterClrMapping/>
  </p:clrMapOvr>
</p:sldLayout>
</file>

<file path=ppt/slideLayouts/slideLayout275.xml><?xml version="1.0" encoding="utf-8"?>
<p:sldLayout xmlns:a="http://schemas.openxmlformats.org/drawingml/2006/main" xmlns:r="http://schemas.openxmlformats.org/officeDocument/2006/relationships" xmlns:p="http://schemas.openxmlformats.org/presentationml/2006/main">
  <p:cSld name="5_Headline only">
    <p:spTree>
      <p:nvGrpSpPr>
        <p:cNvPr id="1" name=""/>
        <p:cNvGrpSpPr/>
        <p:nvPr/>
      </p:nvGrpSpPr>
      <p:grpSpPr>
        <a:xfrm>
          <a:off x="0" y="0"/>
          <a:ext cx="0" cy="0"/>
          <a:chOff x="0" y="0"/>
          <a:chExt cx="0" cy="0"/>
        </a:xfrm>
      </p:grpSpPr>
      <p:sp>
        <p:nvSpPr>
          <p:cNvPr id="3" name="Textplatzhalter 2"/>
          <p:cNvSpPr>
            <a:spLocks noGrp="1"/>
          </p:cNvSpPr>
          <p:nvPr>
            <p:ph type="body" sz="quarter" idx="10" hasCustomPrompt="1"/>
          </p:nvPr>
        </p:nvSpPr>
        <p:spPr bwMode="gray">
          <a:xfrm>
            <a:off x="431213" y="1220755"/>
            <a:ext cx="11328987" cy="384340"/>
          </a:xfrm>
        </p:spPr>
        <p:txBody>
          <a:bodyPr>
            <a:noAutofit/>
          </a:bodyPr>
          <a:lstStyle>
            <a:lvl1pPr marL="0" indent="0">
              <a:lnSpc>
                <a:spcPct val="100000"/>
              </a:lnSpc>
              <a:spcBef>
                <a:spcPts val="800"/>
              </a:spcBef>
              <a:buFont typeface="Arial" panose="020B0604020202020204" pitchFamily="34" charset="0"/>
              <a:buNone/>
              <a:defRPr lang="en-GB" sz="2399" kern="1200" noProof="0" smtClean="0">
                <a:solidFill>
                  <a:schemeClr val="tx2"/>
                </a:solidFill>
                <a:latin typeface="Arial" pitchFamily="34" charset="0"/>
                <a:ea typeface="+mn-ea"/>
                <a:cs typeface="Arial" pitchFamily="34" charset="0"/>
              </a:defRPr>
            </a:lvl1pPr>
            <a:lvl2pPr marL="0" indent="0">
              <a:lnSpc>
                <a:spcPct val="100000"/>
              </a:lnSpc>
              <a:spcBef>
                <a:spcPts val="800"/>
              </a:spcBef>
              <a:buFont typeface="Arial" panose="020B0604020202020204" pitchFamily="34" charset="0"/>
              <a:buNone/>
              <a:defRPr lang="en-GB" sz="2399" kern="1200" noProof="0" smtClean="0">
                <a:solidFill>
                  <a:schemeClr val="tx2"/>
                </a:solidFill>
                <a:latin typeface="Arial" pitchFamily="34" charset="0"/>
                <a:ea typeface="+mn-ea"/>
                <a:cs typeface="Arial" pitchFamily="34" charset="0"/>
              </a:defRPr>
            </a:lvl2pPr>
            <a:lvl3pPr marL="0" indent="0">
              <a:lnSpc>
                <a:spcPct val="100000"/>
              </a:lnSpc>
              <a:spcBef>
                <a:spcPts val="800"/>
              </a:spcBef>
              <a:buFont typeface="Arial" panose="020B0604020202020204" pitchFamily="34" charset="0"/>
              <a:buNone/>
              <a:defRPr lang="en-GB" sz="2399" kern="1200" noProof="0" smtClean="0">
                <a:solidFill>
                  <a:schemeClr val="tx2"/>
                </a:solidFill>
                <a:latin typeface="Arial" pitchFamily="34" charset="0"/>
                <a:ea typeface="+mn-ea"/>
                <a:cs typeface="Arial" pitchFamily="34" charset="0"/>
              </a:defRPr>
            </a:lvl3pPr>
            <a:lvl4pPr marL="0" indent="0">
              <a:lnSpc>
                <a:spcPct val="100000"/>
              </a:lnSpc>
              <a:spcBef>
                <a:spcPts val="800"/>
              </a:spcBef>
              <a:buFont typeface="Arial" panose="020B0604020202020204" pitchFamily="34" charset="0"/>
              <a:buNone/>
              <a:defRPr lang="en-GB" sz="2399" kern="1200" noProof="0" smtClean="0">
                <a:solidFill>
                  <a:schemeClr val="tx2"/>
                </a:solidFill>
                <a:latin typeface="Arial" pitchFamily="34" charset="0"/>
                <a:ea typeface="+mn-ea"/>
                <a:cs typeface="Arial" pitchFamily="34" charset="0"/>
              </a:defRPr>
            </a:lvl4pPr>
            <a:lvl5pPr marL="0" indent="0">
              <a:lnSpc>
                <a:spcPct val="100000"/>
              </a:lnSpc>
              <a:spcBef>
                <a:spcPts val="800"/>
              </a:spcBef>
              <a:buFont typeface="Arial" panose="020B0604020202020204" pitchFamily="34" charset="0"/>
              <a:buNone/>
              <a:defRPr lang="en-GB" sz="2399" kern="1200" noProof="0" smtClean="0">
                <a:solidFill>
                  <a:schemeClr val="tx2"/>
                </a:solidFill>
                <a:latin typeface="Arial" pitchFamily="34" charset="0"/>
                <a:ea typeface="+mn-ea"/>
                <a:cs typeface="Arial" pitchFamily="34" charset="0"/>
              </a:defRPr>
            </a:lvl5pPr>
            <a:lvl6pPr marL="0" indent="0">
              <a:lnSpc>
                <a:spcPct val="100000"/>
              </a:lnSpc>
              <a:spcBef>
                <a:spcPts val="800"/>
              </a:spcBef>
              <a:buNone/>
              <a:defRPr lang="en-GB" sz="2399" kern="1200" noProof="0" smtClean="0">
                <a:solidFill>
                  <a:schemeClr val="tx2"/>
                </a:solidFill>
                <a:latin typeface="Arial" pitchFamily="34" charset="0"/>
                <a:ea typeface="+mn-ea"/>
                <a:cs typeface="Arial" pitchFamily="34" charset="0"/>
              </a:defRPr>
            </a:lvl6pPr>
            <a:lvl7pPr marL="0" indent="0">
              <a:lnSpc>
                <a:spcPct val="100000"/>
              </a:lnSpc>
              <a:spcBef>
                <a:spcPts val="800"/>
              </a:spcBef>
              <a:buNone/>
              <a:defRPr lang="en-GB" sz="2399" kern="1200" noProof="0" smtClean="0">
                <a:solidFill>
                  <a:schemeClr val="tx2"/>
                </a:solidFill>
                <a:latin typeface="Arial" pitchFamily="34" charset="0"/>
                <a:ea typeface="+mn-ea"/>
                <a:cs typeface="Arial" pitchFamily="34" charset="0"/>
              </a:defRPr>
            </a:lvl7pPr>
            <a:lvl8pPr marL="0" indent="0">
              <a:lnSpc>
                <a:spcPct val="100000"/>
              </a:lnSpc>
              <a:spcBef>
                <a:spcPts val="800"/>
              </a:spcBef>
              <a:buNone/>
              <a:defRPr lang="en-GB" sz="2399" kern="1200" noProof="0" smtClean="0">
                <a:solidFill>
                  <a:schemeClr val="tx2"/>
                </a:solidFill>
                <a:latin typeface="Arial" pitchFamily="34" charset="0"/>
                <a:ea typeface="+mn-ea"/>
                <a:cs typeface="Arial" pitchFamily="34" charset="0"/>
              </a:defRPr>
            </a:lvl8pPr>
            <a:lvl9pPr marL="0" indent="0">
              <a:lnSpc>
                <a:spcPct val="100000"/>
              </a:lnSpc>
              <a:spcBef>
                <a:spcPts val="800"/>
              </a:spcBef>
              <a:buNone/>
              <a:defRPr lang="de-DE" sz="2399" kern="1200" noProof="0" smtClean="0">
                <a:solidFill>
                  <a:schemeClr val="tx2"/>
                </a:solidFill>
                <a:latin typeface="Arial" pitchFamily="34" charset="0"/>
                <a:ea typeface="+mn-ea"/>
                <a:cs typeface="Arial" pitchFamily="34" charset="0"/>
              </a:defRPr>
            </a:lvl9pPr>
          </a:lstStyle>
          <a:p>
            <a:pPr lvl="0"/>
            <a:r>
              <a:rPr lang="en-US" dirty="0"/>
              <a:t>Click to add </a:t>
            </a:r>
            <a:r>
              <a:rPr lang="en-US" dirty="0" err="1"/>
              <a:t>subheadline</a:t>
            </a:r>
            <a:endParaRPr lang="en-US" dirty="0"/>
          </a:p>
        </p:txBody>
      </p:sp>
      <p:sp>
        <p:nvSpPr>
          <p:cNvPr id="4" name="Textplatzhalter 3"/>
          <p:cNvSpPr>
            <a:spLocks noGrp="1"/>
          </p:cNvSpPr>
          <p:nvPr>
            <p:ph type="body" sz="quarter" idx="11" hasCustomPrompt="1"/>
          </p:nvPr>
        </p:nvSpPr>
        <p:spPr bwMode="gray">
          <a:xfrm>
            <a:off x="431371" y="6404736"/>
            <a:ext cx="11328400" cy="192617"/>
          </a:xfrm>
        </p:spPr>
        <p:txBody>
          <a:bodyPr tIns="0" bIns="36000" anchor="b" anchorCtr="0">
            <a:noAutofit/>
          </a:bodyPr>
          <a:lstStyle>
            <a:lvl1pPr marL="0" marR="0" indent="0" algn="l" defTabSz="1218804" rtl="0" eaLnBrk="1" fontAlgn="auto" latinLnBrk="0" hangingPunct="1">
              <a:lnSpc>
                <a:spcPct val="100000"/>
              </a:lnSpc>
              <a:spcBef>
                <a:spcPts val="0"/>
              </a:spcBef>
              <a:spcAft>
                <a:spcPts val="0"/>
              </a:spcAft>
              <a:buClrTx/>
              <a:buSzTx/>
              <a:buFont typeface="Arial" pitchFamily="34" charset="0"/>
              <a:buNone/>
              <a:tabLst/>
              <a:defRPr lang="de-DE" sz="1066" kern="1200" baseline="0" noProof="0" smtClean="0">
                <a:solidFill>
                  <a:schemeClr val="bg2"/>
                </a:solidFill>
                <a:latin typeface="Arial" pitchFamily="34" charset="0"/>
                <a:ea typeface="+mn-ea"/>
                <a:cs typeface="Arial" pitchFamily="34" charset="0"/>
              </a:defRPr>
            </a:lvl1pPr>
            <a:lvl2pPr marL="0" indent="0">
              <a:lnSpc>
                <a:spcPct val="100000"/>
              </a:lnSpc>
              <a:spcBef>
                <a:spcPts val="0"/>
              </a:spcBef>
              <a:buFont typeface="Arial" panose="020B0604020202020204" pitchFamily="34" charset="0"/>
              <a:buNone/>
              <a:defRPr lang="de-DE" sz="1066" kern="1200" baseline="0" noProof="0" smtClean="0">
                <a:solidFill>
                  <a:schemeClr val="bg2"/>
                </a:solidFill>
                <a:latin typeface="Arial" pitchFamily="34" charset="0"/>
                <a:ea typeface="+mn-ea"/>
                <a:cs typeface="Arial" pitchFamily="34" charset="0"/>
              </a:defRPr>
            </a:lvl2pPr>
            <a:lvl3pPr marL="0" indent="0">
              <a:lnSpc>
                <a:spcPct val="100000"/>
              </a:lnSpc>
              <a:spcBef>
                <a:spcPts val="0"/>
              </a:spcBef>
              <a:buNone/>
              <a:defRPr lang="de-DE" sz="1066" kern="1200" baseline="0" noProof="0" smtClean="0">
                <a:solidFill>
                  <a:schemeClr val="bg2"/>
                </a:solidFill>
                <a:latin typeface="Arial" pitchFamily="34" charset="0"/>
                <a:ea typeface="+mn-ea"/>
                <a:cs typeface="Arial" pitchFamily="34" charset="0"/>
              </a:defRPr>
            </a:lvl3pPr>
            <a:lvl4pPr marL="0" indent="0">
              <a:lnSpc>
                <a:spcPct val="100000"/>
              </a:lnSpc>
              <a:spcBef>
                <a:spcPts val="0"/>
              </a:spcBef>
              <a:buNone/>
              <a:defRPr lang="de-DE" sz="1066" kern="1200" baseline="0" noProof="0" smtClean="0">
                <a:solidFill>
                  <a:schemeClr val="bg2"/>
                </a:solidFill>
                <a:latin typeface="Arial" pitchFamily="34" charset="0"/>
                <a:ea typeface="+mn-ea"/>
                <a:cs typeface="Arial" pitchFamily="34" charset="0"/>
              </a:defRPr>
            </a:lvl4pPr>
            <a:lvl5pPr marL="0" indent="0">
              <a:lnSpc>
                <a:spcPct val="100000"/>
              </a:lnSpc>
              <a:spcBef>
                <a:spcPts val="0"/>
              </a:spcBef>
              <a:buNone/>
              <a:defRPr lang="de-DE" sz="1066" kern="1200" baseline="0" noProof="0" smtClean="0">
                <a:solidFill>
                  <a:schemeClr val="bg2"/>
                </a:solidFill>
                <a:latin typeface="Arial" pitchFamily="34" charset="0"/>
                <a:ea typeface="+mn-ea"/>
                <a:cs typeface="Arial" pitchFamily="34" charset="0"/>
              </a:defRPr>
            </a:lvl5pPr>
            <a:lvl6pPr marL="0" indent="0">
              <a:lnSpc>
                <a:spcPct val="100000"/>
              </a:lnSpc>
              <a:spcBef>
                <a:spcPts val="0"/>
              </a:spcBef>
              <a:buNone/>
              <a:defRPr lang="de-DE" sz="1066" kern="1200" baseline="0" noProof="0" smtClean="0">
                <a:solidFill>
                  <a:schemeClr val="bg2"/>
                </a:solidFill>
                <a:latin typeface="Arial" pitchFamily="34" charset="0"/>
                <a:ea typeface="+mn-ea"/>
                <a:cs typeface="Arial" pitchFamily="34" charset="0"/>
              </a:defRPr>
            </a:lvl6pPr>
            <a:lvl7pPr marL="0" indent="0">
              <a:lnSpc>
                <a:spcPct val="100000"/>
              </a:lnSpc>
              <a:spcBef>
                <a:spcPts val="0"/>
              </a:spcBef>
              <a:buNone/>
              <a:defRPr lang="de-DE" sz="1066" kern="1200" baseline="0" noProof="0" dirty="0" smtClean="0">
                <a:solidFill>
                  <a:schemeClr val="bg2"/>
                </a:solidFill>
                <a:latin typeface="Arial" pitchFamily="34" charset="0"/>
                <a:ea typeface="+mn-ea"/>
                <a:cs typeface="Arial" pitchFamily="34" charset="0"/>
              </a:defRPr>
            </a:lvl7pPr>
            <a:lvl8pPr marL="0" indent="0">
              <a:lnSpc>
                <a:spcPct val="100000"/>
              </a:lnSpc>
              <a:spcBef>
                <a:spcPts val="0"/>
              </a:spcBef>
              <a:buNone/>
              <a:defRPr lang="de-DE" sz="1066" kern="1200" baseline="0" noProof="0" smtClean="0">
                <a:solidFill>
                  <a:schemeClr val="bg2"/>
                </a:solidFill>
                <a:latin typeface="Arial" pitchFamily="34" charset="0"/>
                <a:ea typeface="+mn-ea"/>
                <a:cs typeface="Arial" pitchFamily="34" charset="0"/>
              </a:defRPr>
            </a:lvl8pPr>
            <a:lvl9pPr marL="0" indent="0">
              <a:lnSpc>
                <a:spcPct val="100000"/>
              </a:lnSpc>
              <a:spcBef>
                <a:spcPts val="0"/>
              </a:spcBef>
              <a:buNone/>
              <a:defRPr lang="de-DE" sz="1066" kern="1200" baseline="0" noProof="0" smtClean="0">
                <a:solidFill>
                  <a:schemeClr val="bg2"/>
                </a:solidFill>
                <a:latin typeface="Arial" pitchFamily="34" charset="0"/>
                <a:ea typeface="+mn-ea"/>
                <a:cs typeface="Arial" pitchFamily="34" charset="0"/>
              </a:defRPr>
            </a:lvl9pPr>
          </a:lstStyle>
          <a:p>
            <a:pPr lvl="0"/>
            <a:r>
              <a:rPr lang="en-US" dirty="0"/>
              <a:t>Click to add source information</a:t>
            </a:r>
          </a:p>
        </p:txBody>
      </p:sp>
      <p:sp>
        <p:nvSpPr>
          <p:cNvPr id="5" name="Title 4"/>
          <p:cNvSpPr>
            <a:spLocks noGrp="1"/>
          </p:cNvSpPr>
          <p:nvPr>
            <p:ph type="title" hasCustomPrompt="1"/>
          </p:nvPr>
        </p:nvSpPr>
        <p:spPr/>
        <p:txBody>
          <a:bodyPr/>
          <a:lstStyle/>
          <a:p>
            <a:r>
              <a:rPr lang="en-US" dirty="0"/>
              <a:t>Click to add headline</a:t>
            </a:r>
          </a:p>
        </p:txBody>
      </p:sp>
    </p:spTree>
    <p:extLst>
      <p:ext uri="{BB962C8B-B14F-4D97-AF65-F5344CB8AC3E}">
        <p14:creationId xmlns:p14="http://schemas.microsoft.com/office/powerpoint/2010/main" val="2177382219"/>
      </p:ext>
    </p:extLst>
  </p:cSld>
  <p:clrMapOvr>
    <a:masterClrMapping/>
  </p:clrMapOvr>
</p:sldLayout>
</file>

<file path=ppt/slideLayouts/slideLayout276.xml><?xml version="1.0" encoding="utf-8"?>
<p:sldLayout xmlns:a="http://schemas.openxmlformats.org/drawingml/2006/main" xmlns:r="http://schemas.openxmlformats.org/officeDocument/2006/relationships" xmlns:p="http://schemas.openxmlformats.org/presentationml/2006/main" showMasterSp="0" preserve="1">
  <p:cSld name="Title 1">
    <p:spTree>
      <p:nvGrpSpPr>
        <p:cNvPr id="1" name=""/>
        <p:cNvGrpSpPr/>
        <p:nvPr/>
      </p:nvGrpSpPr>
      <p:grpSpPr>
        <a:xfrm>
          <a:off x="0" y="0"/>
          <a:ext cx="0" cy="0"/>
          <a:chOff x="0" y="0"/>
          <a:chExt cx="0" cy="0"/>
        </a:xfrm>
      </p:grpSpPr>
      <p:pic>
        <p:nvPicPr>
          <p:cNvPr id="32" name="picture">
            <a:extLst>
              <a:ext uri="{FF2B5EF4-FFF2-40B4-BE49-F238E27FC236}">
                <a16:creationId xmlns:a16="http://schemas.microsoft.com/office/drawing/2014/main" id="{4F153214-AFE7-D540-937D-96E89FDAD54B}"/>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2620212" y="-8808"/>
            <a:ext cx="9697299" cy="6866807"/>
          </a:xfrm>
          <a:prstGeom prst="rect">
            <a:avLst/>
          </a:prstGeom>
        </p:spPr>
      </p:pic>
      <p:sp>
        <p:nvSpPr>
          <p:cNvPr id="29" name="shpPicture"/>
          <p:cNvSpPr/>
          <p:nvPr/>
        </p:nvSpPr>
        <p:spPr>
          <a:xfrm>
            <a:off x="0" y="0"/>
            <a:ext cx="4956718" cy="6858000"/>
          </a:xfrm>
          <a:custGeom>
            <a:avLst/>
            <a:gdLst>
              <a:gd name="connsiteX0" fmla="*/ 0 w 4956718"/>
              <a:gd name="connsiteY0" fmla="*/ 0 h 6858000"/>
              <a:gd name="connsiteX1" fmla="*/ 3707268 w 4956718"/>
              <a:gd name="connsiteY1" fmla="*/ 0 h 6858000"/>
              <a:gd name="connsiteX2" fmla="*/ 4956718 w 4956718"/>
              <a:gd name="connsiteY2" fmla="*/ 4163677 h 6858000"/>
              <a:gd name="connsiteX3" fmla="*/ 3376226 w 4956718"/>
              <a:gd name="connsiteY3" fmla="*/ 6858000 h 6858000"/>
              <a:gd name="connsiteX4" fmla="*/ 0 w 4956718"/>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56718" h="6858000">
                <a:moveTo>
                  <a:pt x="0" y="0"/>
                </a:moveTo>
                <a:lnTo>
                  <a:pt x="3707268" y="0"/>
                </a:lnTo>
                <a:lnTo>
                  <a:pt x="4956718" y="4163677"/>
                </a:lnTo>
                <a:lnTo>
                  <a:pt x="3376226"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125000"/>
              </a:lnSpc>
            </a:pPr>
            <a:endParaRPr lang="en-US" sz="1600"/>
          </a:p>
        </p:txBody>
      </p:sp>
      <p:grpSp>
        <p:nvGrpSpPr>
          <p:cNvPr id="14" name="logo">
            <a:extLst>
              <a:ext uri="{FF2B5EF4-FFF2-40B4-BE49-F238E27FC236}">
                <a16:creationId xmlns:a16="http://schemas.microsoft.com/office/drawing/2014/main" id="{18C26D95-70F8-8A4D-9F18-DCCB92522AF8}"/>
              </a:ext>
            </a:extLst>
          </p:cNvPr>
          <p:cNvGrpSpPr/>
          <p:nvPr/>
        </p:nvGrpSpPr>
        <p:grpSpPr bwMode="gray">
          <a:xfrm>
            <a:off x="417363" y="407485"/>
            <a:ext cx="1518585" cy="646507"/>
            <a:chOff x="334963" y="296652"/>
            <a:chExt cx="1268411" cy="540000"/>
          </a:xfrm>
        </p:grpSpPr>
        <p:sp>
          <p:nvSpPr>
            <p:cNvPr id="17" name="Freeform 6">
              <a:extLst>
                <a:ext uri="{FF2B5EF4-FFF2-40B4-BE49-F238E27FC236}">
                  <a16:creationId xmlns:a16="http://schemas.microsoft.com/office/drawing/2014/main" id="{08737AD0-E375-E445-97E6-CD2E2DF60620}"/>
                </a:ext>
              </a:extLst>
            </p:cNvPr>
            <p:cNvSpPr>
              <a:spLocks noEditPoints="1"/>
            </p:cNvSpPr>
            <p:nvPr/>
          </p:nvSpPr>
          <p:spPr bwMode="gray">
            <a:xfrm>
              <a:off x="982662" y="360462"/>
              <a:ext cx="620712" cy="431800"/>
            </a:xfrm>
            <a:custGeom>
              <a:avLst/>
              <a:gdLst>
                <a:gd name="T0" fmla="*/ 19 w 1809"/>
                <a:gd name="T1" fmla="*/ 97 h 1253"/>
                <a:gd name="T2" fmla="*/ 165 w 1809"/>
                <a:gd name="T3" fmla="*/ 41 h 1253"/>
                <a:gd name="T4" fmla="*/ 211 w 1809"/>
                <a:gd name="T5" fmla="*/ 224 h 1253"/>
                <a:gd name="T6" fmla="*/ 248 w 1809"/>
                <a:gd name="T7" fmla="*/ 155 h 1253"/>
                <a:gd name="T8" fmla="*/ 931 w 1809"/>
                <a:gd name="T9" fmla="*/ 995 h 1253"/>
                <a:gd name="T10" fmla="*/ 858 w 1809"/>
                <a:gd name="T11" fmla="*/ 1115 h 1253"/>
                <a:gd name="T12" fmla="*/ 749 w 1809"/>
                <a:gd name="T13" fmla="*/ 1117 h 1253"/>
                <a:gd name="T14" fmla="*/ 681 w 1809"/>
                <a:gd name="T15" fmla="*/ 1055 h 1253"/>
                <a:gd name="T16" fmla="*/ 800 w 1809"/>
                <a:gd name="T17" fmla="*/ 1054 h 1253"/>
                <a:gd name="T18" fmla="*/ 884 w 1809"/>
                <a:gd name="T19" fmla="*/ 1181 h 1253"/>
                <a:gd name="T20" fmla="*/ 118 w 1809"/>
                <a:gd name="T21" fmla="*/ 1086 h 1253"/>
                <a:gd name="T22" fmla="*/ 147 w 1809"/>
                <a:gd name="T23" fmla="*/ 1026 h 1253"/>
                <a:gd name="T24" fmla="*/ 102 w 1809"/>
                <a:gd name="T25" fmla="*/ 1026 h 1253"/>
                <a:gd name="T26" fmla="*/ 639 w 1809"/>
                <a:gd name="T27" fmla="*/ 84 h 1253"/>
                <a:gd name="T28" fmla="*/ 763 w 1809"/>
                <a:gd name="T29" fmla="*/ 145 h 1253"/>
                <a:gd name="T30" fmla="*/ 863 w 1809"/>
                <a:gd name="T31" fmla="*/ 221 h 1253"/>
                <a:gd name="T32" fmla="*/ 834 w 1809"/>
                <a:gd name="T33" fmla="*/ 208 h 1253"/>
                <a:gd name="T34" fmla="*/ 719 w 1809"/>
                <a:gd name="T35" fmla="*/ 182 h 1253"/>
                <a:gd name="T36" fmla="*/ 507 w 1809"/>
                <a:gd name="T37" fmla="*/ 711 h 1253"/>
                <a:gd name="T38" fmla="*/ 614 w 1809"/>
                <a:gd name="T39" fmla="*/ 706 h 1253"/>
                <a:gd name="T40" fmla="*/ 736 w 1809"/>
                <a:gd name="T41" fmla="*/ 730 h 1253"/>
                <a:gd name="T42" fmla="*/ 607 w 1809"/>
                <a:gd name="T43" fmla="*/ 539 h 1253"/>
                <a:gd name="T44" fmla="*/ 1505 w 1809"/>
                <a:gd name="T45" fmla="*/ 1136 h 1253"/>
                <a:gd name="T46" fmla="*/ 1613 w 1809"/>
                <a:gd name="T47" fmla="*/ 1002 h 1253"/>
                <a:gd name="T48" fmla="*/ 1472 w 1809"/>
                <a:gd name="T49" fmla="*/ 1164 h 1253"/>
                <a:gd name="T50" fmla="*/ 1525 w 1809"/>
                <a:gd name="T51" fmla="*/ 1142 h 1253"/>
                <a:gd name="T52" fmla="*/ 1556 w 1809"/>
                <a:gd name="T53" fmla="*/ 1172 h 1253"/>
                <a:gd name="T54" fmla="*/ 1387 w 1809"/>
                <a:gd name="T55" fmla="*/ 910 h 1253"/>
                <a:gd name="T56" fmla="*/ 1261 w 1809"/>
                <a:gd name="T57" fmla="*/ 1157 h 1253"/>
                <a:gd name="T58" fmla="*/ 1413 w 1809"/>
                <a:gd name="T59" fmla="*/ 934 h 1253"/>
                <a:gd name="T60" fmla="*/ 1378 w 1809"/>
                <a:gd name="T61" fmla="*/ 1052 h 1253"/>
                <a:gd name="T62" fmla="*/ 488 w 1809"/>
                <a:gd name="T63" fmla="*/ 85 h 1253"/>
                <a:gd name="T64" fmla="*/ 509 w 1809"/>
                <a:gd name="T65" fmla="*/ 112 h 1253"/>
                <a:gd name="T66" fmla="*/ 548 w 1809"/>
                <a:gd name="T67" fmla="*/ 1187 h 1253"/>
                <a:gd name="T68" fmla="*/ 472 w 1809"/>
                <a:gd name="T69" fmla="*/ 1122 h 1253"/>
                <a:gd name="T70" fmla="*/ 558 w 1809"/>
                <a:gd name="T71" fmla="*/ 1157 h 1253"/>
                <a:gd name="T72" fmla="*/ 287 w 1809"/>
                <a:gd name="T73" fmla="*/ 654 h 1253"/>
                <a:gd name="T74" fmla="*/ 416 w 1809"/>
                <a:gd name="T75" fmla="*/ 684 h 1253"/>
                <a:gd name="T76" fmla="*/ 1106 w 1809"/>
                <a:gd name="T77" fmla="*/ 147 h 1253"/>
                <a:gd name="T78" fmla="*/ 1229 w 1809"/>
                <a:gd name="T79" fmla="*/ 258 h 1253"/>
                <a:gd name="T80" fmla="*/ 1106 w 1809"/>
                <a:gd name="T81" fmla="*/ 96 h 1253"/>
                <a:gd name="T82" fmla="*/ 1219 w 1809"/>
                <a:gd name="T83" fmla="*/ 1077 h 1253"/>
                <a:gd name="T84" fmla="*/ 1214 w 1809"/>
                <a:gd name="T85" fmla="*/ 1157 h 1253"/>
                <a:gd name="T86" fmla="*/ 1150 w 1809"/>
                <a:gd name="T87" fmla="*/ 1092 h 1253"/>
                <a:gd name="T88" fmla="*/ 1139 w 1809"/>
                <a:gd name="T89" fmla="*/ 1070 h 1253"/>
                <a:gd name="T90" fmla="*/ 1659 w 1809"/>
                <a:gd name="T91" fmla="*/ 1031 h 1253"/>
                <a:gd name="T92" fmla="*/ 1714 w 1809"/>
                <a:gd name="T93" fmla="*/ 1155 h 1253"/>
                <a:gd name="T94" fmla="*/ 1760 w 1809"/>
                <a:gd name="T95" fmla="*/ 1030 h 1253"/>
                <a:gd name="T96" fmla="*/ 111 w 1809"/>
                <a:gd name="T97" fmla="*/ 569 h 1253"/>
                <a:gd name="T98" fmla="*/ 109 w 1809"/>
                <a:gd name="T99" fmla="*/ 460 h 1253"/>
                <a:gd name="T100" fmla="*/ 32 w 1809"/>
                <a:gd name="T101" fmla="*/ 704 h 1253"/>
                <a:gd name="T102" fmla="*/ 310 w 1809"/>
                <a:gd name="T103" fmla="*/ 1058 h 1253"/>
                <a:gd name="T104" fmla="*/ 431 w 1809"/>
                <a:gd name="T105" fmla="*/ 1044 h 1253"/>
                <a:gd name="T106" fmla="*/ 278 w 1809"/>
                <a:gd name="T107" fmla="*/ 1165 h 1253"/>
                <a:gd name="T108" fmla="*/ 261 w 1809"/>
                <a:gd name="T109" fmla="*/ 540 h 1253"/>
                <a:gd name="T110" fmla="*/ 150 w 1809"/>
                <a:gd name="T111" fmla="*/ 635 h 1253"/>
                <a:gd name="T112" fmla="*/ 994 w 1809"/>
                <a:gd name="T113" fmla="*/ 1185 h 1253"/>
                <a:gd name="T114" fmla="*/ 331 w 1809"/>
                <a:gd name="T115" fmla="*/ 176 h 1253"/>
                <a:gd name="T116" fmla="*/ 333 w 1809"/>
                <a:gd name="T117" fmla="*/ 109 h 1253"/>
                <a:gd name="T118" fmla="*/ 946 w 1809"/>
                <a:gd name="T119" fmla="*/ 234 h 1253"/>
                <a:gd name="T120" fmla="*/ 1022 w 1809"/>
                <a:gd name="T121" fmla="*/ 113 h 1253"/>
                <a:gd name="T122" fmla="*/ 949 w 1809"/>
                <a:gd name="T123" fmla="*/ 65 h 1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09" h="1253">
                  <a:moveTo>
                    <a:pt x="248" y="198"/>
                  </a:moveTo>
                  <a:cubicBezTo>
                    <a:pt x="248" y="211"/>
                    <a:pt x="248" y="224"/>
                    <a:pt x="249" y="237"/>
                  </a:cubicBezTo>
                  <a:cubicBezTo>
                    <a:pt x="249" y="245"/>
                    <a:pt x="246" y="249"/>
                    <a:pt x="240" y="253"/>
                  </a:cubicBezTo>
                  <a:cubicBezTo>
                    <a:pt x="231" y="260"/>
                    <a:pt x="220" y="264"/>
                    <a:pt x="209" y="268"/>
                  </a:cubicBezTo>
                  <a:cubicBezTo>
                    <a:pt x="179" y="279"/>
                    <a:pt x="148" y="280"/>
                    <a:pt x="118" y="275"/>
                  </a:cubicBezTo>
                  <a:cubicBezTo>
                    <a:pt x="86" y="269"/>
                    <a:pt x="58" y="252"/>
                    <a:pt x="39" y="224"/>
                  </a:cubicBezTo>
                  <a:cubicBezTo>
                    <a:pt x="24" y="203"/>
                    <a:pt x="18" y="180"/>
                    <a:pt x="15" y="155"/>
                  </a:cubicBezTo>
                  <a:cubicBezTo>
                    <a:pt x="11" y="135"/>
                    <a:pt x="15" y="115"/>
                    <a:pt x="19" y="97"/>
                  </a:cubicBezTo>
                  <a:cubicBezTo>
                    <a:pt x="26" y="68"/>
                    <a:pt x="42" y="44"/>
                    <a:pt x="68" y="27"/>
                  </a:cubicBezTo>
                  <a:cubicBezTo>
                    <a:pt x="87" y="14"/>
                    <a:pt x="109" y="6"/>
                    <a:pt x="133" y="5"/>
                  </a:cubicBezTo>
                  <a:cubicBezTo>
                    <a:pt x="149" y="4"/>
                    <a:pt x="165" y="5"/>
                    <a:pt x="181" y="6"/>
                  </a:cubicBezTo>
                  <a:cubicBezTo>
                    <a:pt x="204" y="8"/>
                    <a:pt x="225" y="20"/>
                    <a:pt x="243" y="35"/>
                  </a:cubicBezTo>
                  <a:cubicBezTo>
                    <a:pt x="246" y="37"/>
                    <a:pt x="246" y="40"/>
                    <a:pt x="244" y="43"/>
                  </a:cubicBezTo>
                  <a:cubicBezTo>
                    <a:pt x="242" y="47"/>
                    <a:pt x="239" y="52"/>
                    <a:pt x="236" y="55"/>
                  </a:cubicBezTo>
                  <a:cubicBezTo>
                    <a:pt x="226" y="65"/>
                    <a:pt x="224" y="65"/>
                    <a:pt x="206" y="54"/>
                  </a:cubicBezTo>
                  <a:cubicBezTo>
                    <a:pt x="193" y="46"/>
                    <a:pt x="180" y="40"/>
                    <a:pt x="165" y="41"/>
                  </a:cubicBezTo>
                  <a:cubicBezTo>
                    <a:pt x="151" y="41"/>
                    <a:pt x="137" y="39"/>
                    <a:pt x="124" y="42"/>
                  </a:cubicBezTo>
                  <a:cubicBezTo>
                    <a:pt x="104" y="46"/>
                    <a:pt x="87" y="57"/>
                    <a:pt x="75" y="74"/>
                  </a:cubicBezTo>
                  <a:cubicBezTo>
                    <a:pt x="56" y="99"/>
                    <a:pt x="51" y="129"/>
                    <a:pt x="55" y="159"/>
                  </a:cubicBezTo>
                  <a:cubicBezTo>
                    <a:pt x="60" y="189"/>
                    <a:pt x="73" y="214"/>
                    <a:pt x="98" y="230"/>
                  </a:cubicBezTo>
                  <a:cubicBezTo>
                    <a:pt x="109" y="237"/>
                    <a:pt x="121" y="242"/>
                    <a:pt x="135" y="241"/>
                  </a:cubicBezTo>
                  <a:cubicBezTo>
                    <a:pt x="146" y="241"/>
                    <a:pt x="158" y="241"/>
                    <a:pt x="169" y="241"/>
                  </a:cubicBezTo>
                  <a:cubicBezTo>
                    <a:pt x="182" y="242"/>
                    <a:pt x="193" y="235"/>
                    <a:pt x="205" y="232"/>
                  </a:cubicBezTo>
                  <a:cubicBezTo>
                    <a:pt x="210" y="231"/>
                    <a:pt x="211" y="227"/>
                    <a:pt x="211" y="224"/>
                  </a:cubicBezTo>
                  <a:cubicBezTo>
                    <a:pt x="211" y="210"/>
                    <a:pt x="211" y="196"/>
                    <a:pt x="211" y="183"/>
                  </a:cubicBezTo>
                  <a:cubicBezTo>
                    <a:pt x="211" y="177"/>
                    <a:pt x="207" y="175"/>
                    <a:pt x="202" y="175"/>
                  </a:cubicBezTo>
                  <a:cubicBezTo>
                    <a:pt x="193" y="175"/>
                    <a:pt x="184" y="175"/>
                    <a:pt x="175" y="175"/>
                  </a:cubicBezTo>
                  <a:cubicBezTo>
                    <a:pt x="171" y="175"/>
                    <a:pt x="168" y="174"/>
                    <a:pt x="166" y="171"/>
                  </a:cubicBezTo>
                  <a:cubicBezTo>
                    <a:pt x="163" y="163"/>
                    <a:pt x="164" y="154"/>
                    <a:pt x="166" y="146"/>
                  </a:cubicBezTo>
                  <a:cubicBezTo>
                    <a:pt x="167" y="142"/>
                    <a:pt x="171" y="142"/>
                    <a:pt x="175" y="142"/>
                  </a:cubicBezTo>
                  <a:cubicBezTo>
                    <a:pt x="196" y="142"/>
                    <a:pt x="217" y="142"/>
                    <a:pt x="238" y="142"/>
                  </a:cubicBezTo>
                  <a:cubicBezTo>
                    <a:pt x="247" y="142"/>
                    <a:pt x="248" y="148"/>
                    <a:pt x="248" y="155"/>
                  </a:cubicBezTo>
                  <a:cubicBezTo>
                    <a:pt x="249" y="169"/>
                    <a:pt x="248" y="183"/>
                    <a:pt x="248" y="198"/>
                  </a:cubicBezTo>
                  <a:close/>
                  <a:moveTo>
                    <a:pt x="884" y="1181"/>
                  </a:moveTo>
                  <a:cubicBezTo>
                    <a:pt x="889" y="1167"/>
                    <a:pt x="894" y="1152"/>
                    <a:pt x="898" y="1137"/>
                  </a:cubicBezTo>
                  <a:cubicBezTo>
                    <a:pt x="901" y="1127"/>
                    <a:pt x="905" y="1116"/>
                    <a:pt x="908" y="1106"/>
                  </a:cubicBezTo>
                  <a:cubicBezTo>
                    <a:pt x="911" y="1098"/>
                    <a:pt x="912" y="1089"/>
                    <a:pt x="916" y="1081"/>
                  </a:cubicBezTo>
                  <a:cubicBezTo>
                    <a:pt x="921" y="1072"/>
                    <a:pt x="923" y="1060"/>
                    <a:pt x="927" y="1050"/>
                  </a:cubicBezTo>
                  <a:cubicBezTo>
                    <a:pt x="932" y="1037"/>
                    <a:pt x="934" y="1023"/>
                    <a:pt x="940" y="1010"/>
                  </a:cubicBezTo>
                  <a:cubicBezTo>
                    <a:pt x="945" y="1001"/>
                    <a:pt x="941" y="995"/>
                    <a:pt x="931" y="995"/>
                  </a:cubicBezTo>
                  <a:cubicBezTo>
                    <a:pt x="927" y="995"/>
                    <a:pt x="922" y="995"/>
                    <a:pt x="918" y="995"/>
                  </a:cubicBezTo>
                  <a:cubicBezTo>
                    <a:pt x="913" y="995"/>
                    <a:pt x="908" y="997"/>
                    <a:pt x="907" y="1001"/>
                  </a:cubicBezTo>
                  <a:cubicBezTo>
                    <a:pt x="904" y="1008"/>
                    <a:pt x="900" y="1015"/>
                    <a:pt x="899" y="1023"/>
                  </a:cubicBezTo>
                  <a:cubicBezTo>
                    <a:pt x="897" y="1034"/>
                    <a:pt x="893" y="1045"/>
                    <a:pt x="889" y="1055"/>
                  </a:cubicBezTo>
                  <a:cubicBezTo>
                    <a:pt x="887" y="1064"/>
                    <a:pt x="885" y="1072"/>
                    <a:pt x="882" y="1080"/>
                  </a:cubicBezTo>
                  <a:cubicBezTo>
                    <a:pt x="878" y="1091"/>
                    <a:pt x="874" y="1103"/>
                    <a:pt x="871" y="1115"/>
                  </a:cubicBezTo>
                  <a:cubicBezTo>
                    <a:pt x="870" y="1118"/>
                    <a:pt x="871" y="1124"/>
                    <a:pt x="866" y="1124"/>
                  </a:cubicBezTo>
                  <a:cubicBezTo>
                    <a:pt x="861" y="1125"/>
                    <a:pt x="859" y="1120"/>
                    <a:pt x="858" y="1115"/>
                  </a:cubicBezTo>
                  <a:cubicBezTo>
                    <a:pt x="856" y="1110"/>
                    <a:pt x="856" y="1104"/>
                    <a:pt x="854" y="1099"/>
                  </a:cubicBezTo>
                  <a:cubicBezTo>
                    <a:pt x="848" y="1080"/>
                    <a:pt x="841" y="1062"/>
                    <a:pt x="835" y="1044"/>
                  </a:cubicBezTo>
                  <a:cubicBezTo>
                    <a:pt x="831" y="1030"/>
                    <a:pt x="828" y="1016"/>
                    <a:pt x="822" y="1003"/>
                  </a:cubicBezTo>
                  <a:cubicBezTo>
                    <a:pt x="819" y="997"/>
                    <a:pt x="814" y="994"/>
                    <a:pt x="808" y="994"/>
                  </a:cubicBezTo>
                  <a:cubicBezTo>
                    <a:pt x="799" y="993"/>
                    <a:pt x="791" y="993"/>
                    <a:pt x="787" y="1001"/>
                  </a:cubicBezTo>
                  <a:cubicBezTo>
                    <a:pt x="783" y="1008"/>
                    <a:pt x="780" y="1015"/>
                    <a:pt x="779" y="1022"/>
                  </a:cubicBezTo>
                  <a:cubicBezTo>
                    <a:pt x="778" y="1034"/>
                    <a:pt x="772" y="1044"/>
                    <a:pt x="769" y="1055"/>
                  </a:cubicBezTo>
                  <a:cubicBezTo>
                    <a:pt x="762" y="1076"/>
                    <a:pt x="754" y="1096"/>
                    <a:pt x="749" y="1117"/>
                  </a:cubicBezTo>
                  <a:cubicBezTo>
                    <a:pt x="748" y="1120"/>
                    <a:pt x="747" y="1124"/>
                    <a:pt x="742" y="1124"/>
                  </a:cubicBezTo>
                  <a:cubicBezTo>
                    <a:pt x="737" y="1124"/>
                    <a:pt x="737" y="1120"/>
                    <a:pt x="736" y="1116"/>
                  </a:cubicBezTo>
                  <a:cubicBezTo>
                    <a:pt x="734" y="1104"/>
                    <a:pt x="730" y="1092"/>
                    <a:pt x="726" y="1080"/>
                  </a:cubicBezTo>
                  <a:cubicBezTo>
                    <a:pt x="720" y="1061"/>
                    <a:pt x="714" y="1040"/>
                    <a:pt x="708" y="1020"/>
                  </a:cubicBezTo>
                  <a:cubicBezTo>
                    <a:pt x="703" y="1000"/>
                    <a:pt x="698" y="994"/>
                    <a:pt x="676" y="995"/>
                  </a:cubicBezTo>
                  <a:cubicBezTo>
                    <a:pt x="665" y="996"/>
                    <a:pt x="661" y="1001"/>
                    <a:pt x="667" y="1011"/>
                  </a:cubicBezTo>
                  <a:cubicBezTo>
                    <a:pt x="669" y="1016"/>
                    <a:pt x="670" y="1021"/>
                    <a:pt x="672" y="1025"/>
                  </a:cubicBezTo>
                  <a:cubicBezTo>
                    <a:pt x="675" y="1035"/>
                    <a:pt x="678" y="1046"/>
                    <a:pt x="681" y="1055"/>
                  </a:cubicBezTo>
                  <a:cubicBezTo>
                    <a:pt x="685" y="1068"/>
                    <a:pt x="689" y="1080"/>
                    <a:pt x="693" y="1092"/>
                  </a:cubicBezTo>
                  <a:cubicBezTo>
                    <a:pt x="697" y="1103"/>
                    <a:pt x="699" y="1113"/>
                    <a:pt x="703" y="1124"/>
                  </a:cubicBezTo>
                  <a:cubicBezTo>
                    <a:pt x="707" y="1136"/>
                    <a:pt x="711" y="1147"/>
                    <a:pt x="715" y="1160"/>
                  </a:cubicBezTo>
                  <a:cubicBezTo>
                    <a:pt x="717" y="1168"/>
                    <a:pt x="720" y="1176"/>
                    <a:pt x="724" y="1183"/>
                  </a:cubicBezTo>
                  <a:cubicBezTo>
                    <a:pt x="728" y="1189"/>
                    <a:pt x="752" y="1185"/>
                    <a:pt x="757" y="1180"/>
                  </a:cubicBezTo>
                  <a:cubicBezTo>
                    <a:pt x="764" y="1173"/>
                    <a:pt x="762" y="1163"/>
                    <a:pt x="766" y="1156"/>
                  </a:cubicBezTo>
                  <a:cubicBezTo>
                    <a:pt x="774" y="1140"/>
                    <a:pt x="778" y="1122"/>
                    <a:pt x="784" y="1105"/>
                  </a:cubicBezTo>
                  <a:cubicBezTo>
                    <a:pt x="789" y="1088"/>
                    <a:pt x="796" y="1072"/>
                    <a:pt x="800" y="1054"/>
                  </a:cubicBezTo>
                  <a:cubicBezTo>
                    <a:pt x="800" y="1053"/>
                    <a:pt x="801" y="1050"/>
                    <a:pt x="803" y="1050"/>
                  </a:cubicBezTo>
                  <a:cubicBezTo>
                    <a:pt x="806" y="1050"/>
                    <a:pt x="806" y="1052"/>
                    <a:pt x="807" y="1055"/>
                  </a:cubicBezTo>
                  <a:cubicBezTo>
                    <a:pt x="807" y="1060"/>
                    <a:pt x="810" y="1066"/>
                    <a:pt x="811" y="1071"/>
                  </a:cubicBezTo>
                  <a:cubicBezTo>
                    <a:pt x="814" y="1081"/>
                    <a:pt x="818" y="1090"/>
                    <a:pt x="821" y="1099"/>
                  </a:cubicBezTo>
                  <a:cubicBezTo>
                    <a:pt x="824" y="1110"/>
                    <a:pt x="827" y="1120"/>
                    <a:pt x="831" y="1131"/>
                  </a:cubicBezTo>
                  <a:cubicBezTo>
                    <a:pt x="834" y="1142"/>
                    <a:pt x="839" y="1153"/>
                    <a:pt x="842" y="1164"/>
                  </a:cubicBezTo>
                  <a:cubicBezTo>
                    <a:pt x="846" y="1179"/>
                    <a:pt x="850" y="1188"/>
                    <a:pt x="869" y="1185"/>
                  </a:cubicBezTo>
                  <a:cubicBezTo>
                    <a:pt x="873" y="1184"/>
                    <a:pt x="881" y="1189"/>
                    <a:pt x="884" y="1181"/>
                  </a:cubicBezTo>
                  <a:close/>
                  <a:moveTo>
                    <a:pt x="33" y="1051"/>
                  </a:moveTo>
                  <a:cubicBezTo>
                    <a:pt x="33" y="1087"/>
                    <a:pt x="33" y="1124"/>
                    <a:pt x="33" y="1160"/>
                  </a:cubicBezTo>
                  <a:cubicBezTo>
                    <a:pt x="33" y="1188"/>
                    <a:pt x="29" y="1184"/>
                    <a:pt x="58" y="1185"/>
                  </a:cubicBezTo>
                  <a:cubicBezTo>
                    <a:pt x="72" y="1185"/>
                    <a:pt x="73" y="1184"/>
                    <a:pt x="73" y="1170"/>
                  </a:cubicBezTo>
                  <a:cubicBezTo>
                    <a:pt x="73" y="1138"/>
                    <a:pt x="73" y="1107"/>
                    <a:pt x="73" y="1076"/>
                  </a:cubicBezTo>
                  <a:cubicBezTo>
                    <a:pt x="73" y="1071"/>
                    <a:pt x="72" y="1067"/>
                    <a:pt x="78" y="1065"/>
                  </a:cubicBezTo>
                  <a:cubicBezTo>
                    <a:pt x="91" y="1062"/>
                    <a:pt x="102" y="1067"/>
                    <a:pt x="110" y="1076"/>
                  </a:cubicBezTo>
                  <a:cubicBezTo>
                    <a:pt x="112" y="1080"/>
                    <a:pt x="115" y="1083"/>
                    <a:pt x="118" y="1086"/>
                  </a:cubicBezTo>
                  <a:cubicBezTo>
                    <a:pt x="132" y="1103"/>
                    <a:pt x="146" y="1119"/>
                    <a:pt x="161" y="1136"/>
                  </a:cubicBezTo>
                  <a:cubicBezTo>
                    <a:pt x="173" y="1150"/>
                    <a:pt x="186" y="1165"/>
                    <a:pt x="198" y="1179"/>
                  </a:cubicBezTo>
                  <a:cubicBezTo>
                    <a:pt x="207" y="1188"/>
                    <a:pt x="218" y="1184"/>
                    <a:pt x="228" y="1185"/>
                  </a:cubicBezTo>
                  <a:cubicBezTo>
                    <a:pt x="233" y="1185"/>
                    <a:pt x="241" y="1188"/>
                    <a:pt x="244" y="1182"/>
                  </a:cubicBezTo>
                  <a:cubicBezTo>
                    <a:pt x="246" y="1178"/>
                    <a:pt x="239" y="1173"/>
                    <a:pt x="235" y="1169"/>
                  </a:cubicBezTo>
                  <a:cubicBezTo>
                    <a:pt x="206" y="1133"/>
                    <a:pt x="176" y="1098"/>
                    <a:pt x="146" y="1062"/>
                  </a:cubicBezTo>
                  <a:cubicBezTo>
                    <a:pt x="141" y="1056"/>
                    <a:pt x="131" y="1052"/>
                    <a:pt x="132" y="1044"/>
                  </a:cubicBezTo>
                  <a:cubicBezTo>
                    <a:pt x="132" y="1036"/>
                    <a:pt x="142" y="1032"/>
                    <a:pt x="147" y="1026"/>
                  </a:cubicBezTo>
                  <a:cubicBezTo>
                    <a:pt x="164" y="1006"/>
                    <a:pt x="182" y="988"/>
                    <a:pt x="198" y="968"/>
                  </a:cubicBezTo>
                  <a:cubicBezTo>
                    <a:pt x="209" y="954"/>
                    <a:pt x="221" y="942"/>
                    <a:pt x="234" y="929"/>
                  </a:cubicBezTo>
                  <a:cubicBezTo>
                    <a:pt x="236" y="926"/>
                    <a:pt x="238" y="923"/>
                    <a:pt x="237" y="920"/>
                  </a:cubicBezTo>
                  <a:cubicBezTo>
                    <a:pt x="235" y="915"/>
                    <a:pt x="231" y="917"/>
                    <a:pt x="228" y="917"/>
                  </a:cubicBezTo>
                  <a:cubicBezTo>
                    <a:pt x="224" y="918"/>
                    <a:pt x="221" y="918"/>
                    <a:pt x="217" y="918"/>
                  </a:cubicBezTo>
                  <a:cubicBezTo>
                    <a:pt x="204" y="917"/>
                    <a:pt x="193" y="922"/>
                    <a:pt x="185" y="931"/>
                  </a:cubicBezTo>
                  <a:cubicBezTo>
                    <a:pt x="172" y="946"/>
                    <a:pt x="158" y="961"/>
                    <a:pt x="145" y="977"/>
                  </a:cubicBezTo>
                  <a:cubicBezTo>
                    <a:pt x="131" y="993"/>
                    <a:pt x="117" y="1010"/>
                    <a:pt x="102" y="1026"/>
                  </a:cubicBezTo>
                  <a:cubicBezTo>
                    <a:pt x="96" y="1032"/>
                    <a:pt x="87" y="1037"/>
                    <a:pt x="78" y="1034"/>
                  </a:cubicBezTo>
                  <a:cubicBezTo>
                    <a:pt x="70" y="1030"/>
                    <a:pt x="73" y="1021"/>
                    <a:pt x="73" y="1015"/>
                  </a:cubicBezTo>
                  <a:cubicBezTo>
                    <a:pt x="73" y="991"/>
                    <a:pt x="73" y="967"/>
                    <a:pt x="73" y="944"/>
                  </a:cubicBezTo>
                  <a:cubicBezTo>
                    <a:pt x="73" y="916"/>
                    <a:pt x="75" y="917"/>
                    <a:pt x="46" y="918"/>
                  </a:cubicBezTo>
                  <a:cubicBezTo>
                    <a:pt x="33" y="918"/>
                    <a:pt x="33" y="918"/>
                    <a:pt x="33" y="931"/>
                  </a:cubicBezTo>
                  <a:cubicBezTo>
                    <a:pt x="33" y="971"/>
                    <a:pt x="33" y="1011"/>
                    <a:pt x="33" y="1051"/>
                  </a:cubicBezTo>
                  <a:cubicBezTo>
                    <a:pt x="33" y="1051"/>
                    <a:pt x="33" y="1051"/>
                    <a:pt x="33" y="1051"/>
                  </a:cubicBezTo>
                  <a:close/>
                  <a:moveTo>
                    <a:pt x="639" y="84"/>
                  </a:moveTo>
                  <a:cubicBezTo>
                    <a:pt x="627" y="84"/>
                    <a:pt x="626" y="84"/>
                    <a:pt x="629" y="95"/>
                  </a:cubicBezTo>
                  <a:cubicBezTo>
                    <a:pt x="634" y="113"/>
                    <a:pt x="640" y="131"/>
                    <a:pt x="646" y="148"/>
                  </a:cubicBezTo>
                  <a:cubicBezTo>
                    <a:pt x="652" y="166"/>
                    <a:pt x="658" y="185"/>
                    <a:pt x="664" y="203"/>
                  </a:cubicBezTo>
                  <a:cubicBezTo>
                    <a:pt x="671" y="223"/>
                    <a:pt x="676" y="244"/>
                    <a:pt x="684" y="264"/>
                  </a:cubicBezTo>
                  <a:cubicBezTo>
                    <a:pt x="688" y="274"/>
                    <a:pt x="694" y="274"/>
                    <a:pt x="702" y="274"/>
                  </a:cubicBezTo>
                  <a:cubicBezTo>
                    <a:pt x="711" y="274"/>
                    <a:pt x="719" y="272"/>
                    <a:pt x="723" y="263"/>
                  </a:cubicBezTo>
                  <a:cubicBezTo>
                    <a:pt x="733" y="236"/>
                    <a:pt x="741" y="208"/>
                    <a:pt x="750" y="181"/>
                  </a:cubicBezTo>
                  <a:cubicBezTo>
                    <a:pt x="754" y="169"/>
                    <a:pt x="757" y="156"/>
                    <a:pt x="763" y="145"/>
                  </a:cubicBezTo>
                  <a:cubicBezTo>
                    <a:pt x="764" y="143"/>
                    <a:pt x="764" y="140"/>
                    <a:pt x="767" y="140"/>
                  </a:cubicBezTo>
                  <a:cubicBezTo>
                    <a:pt x="770" y="140"/>
                    <a:pt x="770" y="143"/>
                    <a:pt x="771" y="145"/>
                  </a:cubicBezTo>
                  <a:cubicBezTo>
                    <a:pt x="771" y="156"/>
                    <a:pt x="777" y="165"/>
                    <a:pt x="780" y="175"/>
                  </a:cubicBezTo>
                  <a:cubicBezTo>
                    <a:pt x="782" y="184"/>
                    <a:pt x="785" y="193"/>
                    <a:pt x="788" y="201"/>
                  </a:cubicBezTo>
                  <a:cubicBezTo>
                    <a:pt x="794" y="219"/>
                    <a:pt x="801" y="237"/>
                    <a:pt x="806" y="255"/>
                  </a:cubicBezTo>
                  <a:cubicBezTo>
                    <a:pt x="811" y="272"/>
                    <a:pt x="825" y="280"/>
                    <a:pt x="842" y="273"/>
                  </a:cubicBezTo>
                  <a:cubicBezTo>
                    <a:pt x="845" y="271"/>
                    <a:pt x="847" y="269"/>
                    <a:pt x="848" y="266"/>
                  </a:cubicBezTo>
                  <a:cubicBezTo>
                    <a:pt x="853" y="251"/>
                    <a:pt x="859" y="236"/>
                    <a:pt x="863" y="221"/>
                  </a:cubicBezTo>
                  <a:cubicBezTo>
                    <a:pt x="867" y="202"/>
                    <a:pt x="875" y="185"/>
                    <a:pt x="880" y="166"/>
                  </a:cubicBezTo>
                  <a:cubicBezTo>
                    <a:pt x="886" y="144"/>
                    <a:pt x="895" y="123"/>
                    <a:pt x="900" y="101"/>
                  </a:cubicBezTo>
                  <a:cubicBezTo>
                    <a:pt x="901" y="96"/>
                    <a:pt x="909" y="91"/>
                    <a:pt x="904" y="86"/>
                  </a:cubicBezTo>
                  <a:cubicBezTo>
                    <a:pt x="900" y="81"/>
                    <a:pt x="892" y="84"/>
                    <a:pt x="886" y="84"/>
                  </a:cubicBezTo>
                  <a:cubicBezTo>
                    <a:pt x="885" y="84"/>
                    <a:pt x="883" y="84"/>
                    <a:pt x="881" y="84"/>
                  </a:cubicBezTo>
                  <a:cubicBezTo>
                    <a:pt x="875" y="84"/>
                    <a:pt x="872" y="86"/>
                    <a:pt x="869" y="91"/>
                  </a:cubicBezTo>
                  <a:cubicBezTo>
                    <a:pt x="860" y="110"/>
                    <a:pt x="856" y="131"/>
                    <a:pt x="850" y="151"/>
                  </a:cubicBezTo>
                  <a:cubicBezTo>
                    <a:pt x="844" y="170"/>
                    <a:pt x="836" y="188"/>
                    <a:pt x="834" y="208"/>
                  </a:cubicBezTo>
                  <a:cubicBezTo>
                    <a:pt x="833" y="211"/>
                    <a:pt x="831" y="214"/>
                    <a:pt x="827" y="214"/>
                  </a:cubicBezTo>
                  <a:cubicBezTo>
                    <a:pt x="823" y="214"/>
                    <a:pt x="822" y="210"/>
                    <a:pt x="822" y="207"/>
                  </a:cubicBezTo>
                  <a:cubicBezTo>
                    <a:pt x="817" y="188"/>
                    <a:pt x="811" y="170"/>
                    <a:pt x="805" y="152"/>
                  </a:cubicBezTo>
                  <a:cubicBezTo>
                    <a:pt x="799" y="133"/>
                    <a:pt x="794" y="114"/>
                    <a:pt x="786" y="96"/>
                  </a:cubicBezTo>
                  <a:cubicBezTo>
                    <a:pt x="783" y="87"/>
                    <a:pt x="779" y="84"/>
                    <a:pt x="770" y="84"/>
                  </a:cubicBezTo>
                  <a:cubicBezTo>
                    <a:pt x="761" y="84"/>
                    <a:pt x="752" y="82"/>
                    <a:pt x="748" y="94"/>
                  </a:cubicBezTo>
                  <a:cubicBezTo>
                    <a:pt x="744" y="109"/>
                    <a:pt x="738" y="123"/>
                    <a:pt x="734" y="138"/>
                  </a:cubicBezTo>
                  <a:cubicBezTo>
                    <a:pt x="729" y="153"/>
                    <a:pt x="724" y="167"/>
                    <a:pt x="719" y="182"/>
                  </a:cubicBezTo>
                  <a:cubicBezTo>
                    <a:pt x="716" y="192"/>
                    <a:pt x="715" y="203"/>
                    <a:pt x="708" y="212"/>
                  </a:cubicBezTo>
                  <a:cubicBezTo>
                    <a:pt x="707" y="214"/>
                    <a:pt x="707" y="217"/>
                    <a:pt x="704" y="217"/>
                  </a:cubicBezTo>
                  <a:cubicBezTo>
                    <a:pt x="701" y="217"/>
                    <a:pt x="701" y="213"/>
                    <a:pt x="700" y="211"/>
                  </a:cubicBezTo>
                  <a:cubicBezTo>
                    <a:pt x="699" y="198"/>
                    <a:pt x="694" y="186"/>
                    <a:pt x="690" y="174"/>
                  </a:cubicBezTo>
                  <a:cubicBezTo>
                    <a:pt x="684" y="153"/>
                    <a:pt x="677" y="131"/>
                    <a:pt x="672" y="110"/>
                  </a:cubicBezTo>
                  <a:cubicBezTo>
                    <a:pt x="667" y="88"/>
                    <a:pt x="663" y="84"/>
                    <a:pt x="645" y="84"/>
                  </a:cubicBezTo>
                  <a:cubicBezTo>
                    <a:pt x="643" y="84"/>
                    <a:pt x="641" y="84"/>
                    <a:pt x="639" y="84"/>
                  </a:cubicBezTo>
                  <a:close/>
                  <a:moveTo>
                    <a:pt x="507" y="711"/>
                  </a:moveTo>
                  <a:cubicBezTo>
                    <a:pt x="507" y="730"/>
                    <a:pt x="507" y="730"/>
                    <a:pt x="526" y="730"/>
                  </a:cubicBezTo>
                  <a:cubicBezTo>
                    <a:pt x="539" y="730"/>
                    <a:pt x="541" y="729"/>
                    <a:pt x="541" y="715"/>
                  </a:cubicBezTo>
                  <a:cubicBezTo>
                    <a:pt x="541" y="677"/>
                    <a:pt x="541" y="638"/>
                    <a:pt x="540" y="600"/>
                  </a:cubicBezTo>
                  <a:cubicBezTo>
                    <a:pt x="540" y="593"/>
                    <a:pt x="543" y="587"/>
                    <a:pt x="548" y="582"/>
                  </a:cubicBezTo>
                  <a:cubicBezTo>
                    <a:pt x="553" y="576"/>
                    <a:pt x="559" y="573"/>
                    <a:pt x="564" y="569"/>
                  </a:cubicBezTo>
                  <a:cubicBezTo>
                    <a:pt x="574" y="564"/>
                    <a:pt x="594" y="566"/>
                    <a:pt x="602" y="574"/>
                  </a:cubicBezTo>
                  <a:cubicBezTo>
                    <a:pt x="611" y="582"/>
                    <a:pt x="614" y="592"/>
                    <a:pt x="614" y="604"/>
                  </a:cubicBezTo>
                  <a:cubicBezTo>
                    <a:pt x="614" y="638"/>
                    <a:pt x="614" y="672"/>
                    <a:pt x="614" y="706"/>
                  </a:cubicBezTo>
                  <a:cubicBezTo>
                    <a:pt x="614" y="730"/>
                    <a:pt x="614" y="730"/>
                    <a:pt x="638" y="730"/>
                  </a:cubicBezTo>
                  <a:cubicBezTo>
                    <a:pt x="650" y="730"/>
                    <a:pt x="650" y="730"/>
                    <a:pt x="650" y="717"/>
                  </a:cubicBezTo>
                  <a:cubicBezTo>
                    <a:pt x="650" y="684"/>
                    <a:pt x="650" y="650"/>
                    <a:pt x="650" y="617"/>
                  </a:cubicBezTo>
                  <a:cubicBezTo>
                    <a:pt x="650" y="606"/>
                    <a:pt x="651" y="597"/>
                    <a:pt x="657" y="586"/>
                  </a:cubicBezTo>
                  <a:cubicBezTo>
                    <a:pt x="667" y="565"/>
                    <a:pt x="703" y="560"/>
                    <a:pt x="716" y="579"/>
                  </a:cubicBezTo>
                  <a:cubicBezTo>
                    <a:pt x="723" y="588"/>
                    <a:pt x="724" y="598"/>
                    <a:pt x="724" y="609"/>
                  </a:cubicBezTo>
                  <a:cubicBezTo>
                    <a:pt x="724" y="645"/>
                    <a:pt x="724" y="682"/>
                    <a:pt x="724" y="718"/>
                  </a:cubicBezTo>
                  <a:cubicBezTo>
                    <a:pt x="724" y="727"/>
                    <a:pt x="727" y="731"/>
                    <a:pt x="736" y="730"/>
                  </a:cubicBezTo>
                  <a:cubicBezTo>
                    <a:pt x="738" y="730"/>
                    <a:pt x="741" y="730"/>
                    <a:pt x="743" y="730"/>
                  </a:cubicBezTo>
                  <a:cubicBezTo>
                    <a:pt x="758" y="730"/>
                    <a:pt x="759" y="729"/>
                    <a:pt x="759" y="715"/>
                  </a:cubicBezTo>
                  <a:cubicBezTo>
                    <a:pt x="759" y="677"/>
                    <a:pt x="758" y="639"/>
                    <a:pt x="759" y="601"/>
                  </a:cubicBezTo>
                  <a:cubicBezTo>
                    <a:pt x="759" y="571"/>
                    <a:pt x="742" y="540"/>
                    <a:pt x="704" y="538"/>
                  </a:cubicBezTo>
                  <a:cubicBezTo>
                    <a:pt x="681" y="536"/>
                    <a:pt x="661" y="542"/>
                    <a:pt x="646" y="560"/>
                  </a:cubicBezTo>
                  <a:cubicBezTo>
                    <a:pt x="638" y="569"/>
                    <a:pt x="638" y="569"/>
                    <a:pt x="631" y="559"/>
                  </a:cubicBezTo>
                  <a:cubicBezTo>
                    <a:pt x="630" y="558"/>
                    <a:pt x="630" y="557"/>
                    <a:pt x="629" y="556"/>
                  </a:cubicBezTo>
                  <a:cubicBezTo>
                    <a:pt x="623" y="548"/>
                    <a:pt x="616" y="541"/>
                    <a:pt x="607" y="539"/>
                  </a:cubicBezTo>
                  <a:cubicBezTo>
                    <a:pt x="584" y="534"/>
                    <a:pt x="563" y="539"/>
                    <a:pt x="545" y="555"/>
                  </a:cubicBezTo>
                  <a:cubicBezTo>
                    <a:pt x="540" y="559"/>
                    <a:pt x="537" y="561"/>
                    <a:pt x="537" y="552"/>
                  </a:cubicBezTo>
                  <a:cubicBezTo>
                    <a:pt x="536" y="543"/>
                    <a:pt x="526" y="538"/>
                    <a:pt x="515" y="539"/>
                  </a:cubicBezTo>
                  <a:cubicBezTo>
                    <a:pt x="506" y="540"/>
                    <a:pt x="507" y="546"/>
                    <a:pt x="507" y="552"/>
                  </a:cubicBezTo>
                  <a:cubicBezTo>
                    <a:pt x="507" y="580"/>
                    <a:pt x="507" y="607"/>
                    <a:pt x="507" y="634"/>
                  </a:cubicBezTo>
                  <a:cubicBezTo>
                    <a:pt x="507" y="660"/>
                    <a:pt x="507" y="685"/>
                    <a:pt x="507" y="711"/>
                  </a:cubicBezTo>
                  <a:close/>
                  <a:moveTo>
                    <a:pt x="1525" y="1142"/>
                  </a:moveTo>
                  <a:cubicBezTo>
                    <a:pt x="1517" y="1143"/>
                    <a:pt x="1511" y="1141"/>
                    <a:pt x="1505" y="1136"/>
                  </a:cubicBezTo>
                  <a:cubicBezTo>
                    <a:pt x="1501" y="1133"/>
                    <a:pt x="1495" y="1130"/>
                    <a:pt x="1498" y="1124"/>
                  </a:cubicBezTo>
                  <a:cubicBezTo>
                    <a:pt x="1500" y="1118"/>
                    <a:pt x="1504" y="1114"/>
                    <a:pt x="1512" y="1114"/>
                  </a:cubicBezTo>
                  <a:cubicBezTo>
                    <a:pt x="1521" y="1115"/>
                    <a:pt x="1530" y="1114"/>
                    <a:pt x="1538" y="1115"/>
                  </a:cubicBezTo>
                  <a:cubicBezTo>
                    <a:pt x="1573" y="1117"/>
                    <a:pt x="1610" y="1084"/>
                    <a:pt x="1602" y="1044"/>
                  </a:cubicBezTo>
                  <a:cubicBezTo>
                    <a:pt x="1600" y="1035"/>
                    <a:pt x="1599" y="1028"/>
                    <a:pt x="1611" y="1027"/>
                  </a:cubicBezTo>
                  <a:cubicBezTo>
                    <a:pt x="1614" y="1027"/>
                    <a:pt x="1617" y="1024"/>
                    <a:pt x="1619" y="1023"/>
                  </a:cubicBezTo>
                  <a:cubicBezTo>
                    <a:pt x="1626" y="1019"/>
                    <a:pt x="1624" y="1013"/>
                    <a:pt x="1623" y="1008"/>
                  </a:cubicBezTo>
                  <a:cubicBezTo>
                    <a:pt x="1623" y="1002"/>
                    <a:pt x="1618" y="1003"/>
                    <a:pt x="1613" y="1002"/>
                  </a:cubicBezTo>
                  <a:cubicBezTo>
                    <a:pt x="1598" y="1002"/>
                    <a:pt x="1582" y="1004"/>
                    <a:pt x="1567" y="1000"/>
                  </a:cubicBezTo>
                  <a:cubicBezTo>
                    <a:pt x="1560" y="999"/>
                    <a:pt x="1554" y="993"/>
                    <a:pt x="1546" y="993"/>
                  </a:cubicBezTo>
                  <a:cubicBezTo>
                    <a:pt x="1536" y="994"/>
                    <a:pt x="1525" y="992"/>
                    <a:pt x="1515" y="993"/>
                  </a:cubicBezTo>
                  <a:cubicBezTo>
                    <a:pt x="1490" y="997"/>
                    <a:pt x="1469" y="1010"/>
                    <a:pt x="1462" y="1034"/>
                  </a:cubicBezTo>
                  <a:cubicBezTo>
                    <a:pt x="1455" y="1056"/>
                    <a:pt x="1457" y="1079"/>
                    <a:pt x="1476" y="1096"/>
                  </a:cubicBezTo>
                  <a:cubicBezTo>
                    <a:pt x="1483" y="1103"/>
                    <a:pt x="1483" y="1107"/>
                    <a:pt x="1476" y="1113"/>
                  </a:cubicBezTo>
                  <a:cubicBezTo>
                    <a:pt x="1462" y="1126"/>
                    <a:pt x="1462" y="1142"/>
                    <a:pt x="1473" y="1157"/>
                  </a:cubicBezTo>
                  <a:cubicBezTo>
                    <a:pt x="1476" y="1160"/>
                    <a:pt x="1476" y="1162"/>
                    <a:pt x="1472" y="1164"/>
                  </a:cubicBezTo>
                  <a:cubicBezTo>
                    <a:pt x="1470" y="1166"/>
                    <a:pt x="1468" y="1168"/>
                    <a:pt x="1466" y="1170"/>
                  </a:cubicBezTo>
                  <a:cubicBezTo>
                    <a:pt x="1449" y="1183"/>
                    <a:pt x="1444" y="1201"/>
                    <a:pt x="1454" y="1218"/>
                  </a:cubicBezTo>
                  <a:cubicBezTo>
                    <a:pt x="1464" y="1235"/>
                    <a:pt x="1479" y="1246"/>
                    <a:pt x="1499" y="1249"/>
                  </a:cubicBezTo>
                  <a:cubicBezTo>
                    <a:pt x="1517" y="1252"/>
                    <a:pt x="1535" y="1253"/>
                    <a:pt x="1553" y="1250"/>
                  </a:cubicBezTo>
                  <a:cubicBezTo>
                    <a:pt x="1584" y="1245"/>
                    <a:pt x="1607" y="1232"/>
                    <a:pt x="1619" y="1200"/>
                  </a:cubicBezTo>
                  <a:cubicBezTo>
                    <a:pt x="1627" y="1180"/>
                    <a:pt x="1611" y="1155"/>
                    <a:pt x="1593" y="1148"/>
                  </a:cubicBezTo>
                  <a:cubicBezTo>
                    <a:pt x="1578" y="1142"/>
                    <a:pt x="1563" y="1143"/>
                    <a:pt x="1549" y="1142"/>
                  </a:cubicBezTo>
                  <a:cubicBezTo>
                    <a:pt x="1540" y="1142"/>
                    <a:pt x="1532" y="1142"/>
                    <a:pt x="1525" y="1142"/>
                  </a:cubicBezTo>
                  <a:close/>
                  <a:moveTo>
                    <a:pt x="1556" y="1172"/>
                  </a:moveTo>
                  <a:cubicBezTo>
                    <a:pt x="1566" y="1172"/>
                    <a:pt x="1576" y="1176"/>
                    <a:pt x="1583" y="1183"/>
                  </a:cubicBezTo>
                  <a:cubicBezTo>
                    <a:pt x="1589" y="1190"/>
                    <a:pt x="1589" y="1198"/>
                    <a:pt x="1583" y="1205"/>
                  </a:cubicBezTo>
                  <a:cubicBezTo>
                    <a:pt x="1575" y="1215"/>
                    <a:pt x="1565" y="1220"/>
                    <a:pt x="1553" y="1223"/>
                  </a:cubicBezTo>
                  <a:cubicBezTo>
                    <a:pt x="1534" y="1228"/>
                    <a:pt x="1516" y="1225"/>
                    <a:pt x="1499" y="1219"/>
                  </a:cubicBezTo>
                  <a:cubicBezTo>
                    <a:pt x="1486" y="1214"/>
                    <a:pt x="1479" y="1203"/>
                    <a:pt x="1482" y="1193"/>
                  </a:cubicBezTo>
                  <a:cubicBezTo>
                    <a:pt x="1485" y="1182"/>
                    <a:pt x="1496" y="1168"/>
                    <a:pt x="1514" y="1171"/>
                  </a:cubicBezTo>
                  <a:cubicBezTo>
                    <a:pt x="1526" y="1173"/>
                    <a:pt x="1541" y="1171"/>
                    <a:pt x="1556" y="1172"/>
                  </a:cubicBezTo>
                  <a:close/>
                  <a:moveTo>
                    <a:pt x="1531" y="1019"/>
                  </a:moveTo>
                  <a:cubicBezTo>
                    <a:pt x="1553" y="1017"/>
                    <a:pt x="1570" y="1033"/>
                    <a:pt x="1570" y="1052"/>
                  </a:cubicBezTo>
                  <a:cubicBezTo>
                    <a:pt x="1570" y="1075"/>
                    <a:pt x="1554" y="1093"/>
                    <a:pt x="1532" y="1091"/>
                  </a:cubicBezTo>
                  <a:cubicBezTo>
                    <a:pt x="1508" y="1089"/>
                    <a:pt x="1494" y="1082"/>
                    <a:pt x="1493" y="1053"/>
                  </a:cubicBezTo>
                  <a:cubicBezTo>
                    <a:pt x="1494" y="1029"/>
                    <a:pt x="1508" y="1020"/>
                    <a:pt x="1531" y="1019"/>
                  </a:cubicBezTo>
                  <a:close/>
                  <a:moveTo>
                    <a:pt x="1413" y="934"/>
                  </a:moveTo>
                  <a:cubicBezTo>
                    <a:pt x="1413" y="909"/>
                    <a:pt x="1413" y="909"/>
                    <a:pt x="1389" y="910"/>
                  </a:cubicBezTo>
                  <a:cubicBezTo>
                    <a:pt x="1388" y="910"/>
                    <a:pt x="1387" y="910"/>
                    <a:pt x="1387" y="910"/>
                  </a:cubicBezTo>
                  <a:cubicBezTo>
                    <a:pt x="1379" y="910"/>
                    <a:pt x="1376" y="915"/>
                    <a:pt x="1376" y="921"/>
                  </a:cubicBezTo>
                  <a:cubicBezTo>
                    <a:pt x="1376" y="939"/>
                    <a:pt x="1377" y="956"/>
                    <a:pt x="1377" y="974"/>
                  </a:cubicBezTo>
                  <a:cubicBezTo>
                    <a:pt x="1377" y="983"/>
                    <a:pt x="1377" y="991"/>
                    <a:pt x="1377" y="1000"/>
                  </a:cubicBezTo>
                  <a:cubicBezTo>
                    <a:pt x="1377" y="1005"/>
                    <a:pt x="1374" y="1009"/>
                    <a:pt x="1369" y="1005"/>
                  </a:cubicBezTo>
                  <a:cubicBezTo>
                    <a:pt x="1352" y="990"/>
                    <a:pt x="1332" y="993"/>
                    <a:pt x="1312" y="993"/>
                  </a:cubicBezTo>
                  <a:cubicBezTo>
                    <a:pt x="1303" y="994"/>
                    <a:pt x="1294" y="998"/>
                    <a:pt x="1287" y="1003"/>
                  </a:cubicBezTo>
                  <a:cubicBezTo>
                    <a:pt x="1265" y="1017"/>
                    <a:pt x="1252" y="1039"/>
                    <a:pt x="1248" y="1065"/>
                  </a:cubicBezTo>
                  <a:cubicBezTo>
                    <a:pt x="1244" y="1096"/>
                    <a:pt x="1244" y="1128"/>
                    <a:pt x="1261" y="1157"/>
                  </a:cubicBezTo>
                  <a:cubicBezTo>
                    <a:pt x="1270" y="1170"/>
                    <a:pt x="1281" y="1181"/>
                    <a:pt x="1296" y="1185"/>
                  </a:cubicBezTo>
                  <a:cubicBezTo>
                    <a:pt x="1323" y="1191"/>
                    <a:pt x="1349" y="1188"/>
                    <a:pt x="1370" y="1167"/>
                  </a:cubicBezTo>
                  <a:cubicBezTo>
                    <a:pt x="1372" y="1165"/>
                    <a:pt x="1375" y="1162"/>
                    <a:pt x="1379" y="1163"/>
                  </a:cubicBezTo>
                  <a:cubicBezTo>
                    <a:pt x="1382" y="1165"/>
                    <a:pt x="1381" y="1169"/>
                    <a:pt x="1381" y="1172"/>
                  </a:cubicBezTo>
                  <a:cubicBezTo>
                    <a:pt x="1383" y="1181"/>
                    <a:pt x="1390" y="1186"/>
                    <a:pt x="1403" y="1186"/>
                  </a:cubicBezTo>
                  <a:cubicBezTo>
                    <a:pt x="1413" y="1185"/>
                    <a:pt x="1413" y="1178"/>
                    <a:pt x="1413" y="1172"/>
                  </a:cubicBezTo>
                  <a:cubicBezTo>
                    <a:pt x="1413" y="1131"/>
                    <a:pt x="1413" y="1090"/>
                    <a:pt x="1413" y="1049"/>
                  </a:cubicBezTo>
                  <a:cubicBezTo>
                    <a:pt x="1413" y="1010"/>
                    <a:pt x="1413" y="972"/>
                    <a:pt x="1413" y="934"/>
                  </a:cubicBezTo>
                  <a:close/>
                  <a:moveTo>
                    <a:pt x="1378" y="1113"/>
                  </a:moveTo>
                  <a:cubicBezTo>
                    <a:pt x="1378" y="1136"/>
                    <a:pt x="1360" y="1155"/>
                    <a:pt x="1337" y="1157"/>
                  </a:cubicBezTo>
                  <a:cubicBezTo>
                    <a:pt x="1319" y="1159"/>
                    <a:pt x="1304" y="1154"/>
                    <a:pt x="1294" y="1139"/>
                  </a:cubicBezTo>
                  <a:cubicBezTo>
                    <a:pt x="1286" y="1128"/>
                    <a:pt x="1283" y="1116"/>
                    <a:pt x="1283" y="1102"/>
                  </a:cubicBezTo>
                  <a:cubicBezTo>
                    <a:pt x="1282" y="1085"/>
                    <a:pt x="1282" y="1067"/>
                    <a:pt x="1290" y="1051"/>
                  </a:cubicBezTo>
                  <a:cubicBezTo>
                    <a:pt x="1297" y="1036"/>
                    <a:pt x="1308" y="1024"/>
                    <a:pt x="1325" y="1022"/>
                  </a:cubicBezTo>
                  <a:cubicBezTo>
                    <a:pt x="1342" y="1020"/>
                    <a:pt x="1358" y="1021"/>
                    <a:pt x="1371" y="1035"/>
                  </a:cubicBezTo>
                  <a:cubicBezTo>
                    <a:pt x="1376" y="1041"/>
                    <a:pt x="1378" y="1046"/>
                    <a:pt x="1378" y="1052"/>
                  </a:cubicBezTo>
                  <a:cubicBezTo>
                    <a:pt x="1378" y="1064"/>
                    <a:pt x="1378" y="1075"/>
                    <a:pt x="1378" y="1086"/>
                  </a:cubicBezTo>
                  <a:cubicBezTo>
                    <a:pt x="1378" y="1086"/>
                    <a:pt x="1378" y="1086"/>
                    <a:pt x="1378" y="1086"/>
                  </a:cubicBezTo>
                  <a:cubicBezTo>
                    <a:pt x="1378" y="1095"/>
                    <a:pt x="1378" y="1104"/>
                    <a:pt x="1378" y="1113"/>
                  </a:cubicBezTo>
                  <a:close/>
                  <a:moveTo>
                    <a:pt x="578" y="259"/>
                  </a:moveTo>
                  <a:cubicBezTo>
                    <a:pt x="603" y="241"/>
                    <a:pt x="611" y="213"/>
                    <a:pt x="614" y="183"/>
                  </a:cubicBezTo>
                  <a:cubicBezTo>
                    <a:pt x="615" y="171"/>
                    <a:pt x="610" y="159"/>
                    <a:pt x="609" y="147"/>
                  </a:cubicBezTo>
                  <a:cubicBezTo>
                    <a:pt x="608" y="137"/>
                    <a:pt x="603" y="129"/>
                    <a:pt x="599" y="121"/>
                  </a:cubicBezTo>
                  <a:cubicBezTo>
                    <a:pt x="579" y="87"/>
                    <a:pt x="527" y="70"/>
                    <a:pt x="488" y="85"/>
                  </a:cubicBezTo>
                  <a:cubicBezTo>
                    <a:pt x="453" y="99"/>
                    <a:pt x="436" y="127"/>
                    <a:pt x="431" y="163"/>
                  </a:cubicBezTo>
                  <a:cubicBezTo>
                    <a:pt x="429" y="180"/>
                    <a:pt x="430" y="196"/>
                    <a:pt x="436" y="213"/>
                  </a:cubicBezTo>
                  <a:cubicBezTo>
                    <a:pt x="439" y="222"/>
                    <a:pt x="442" y="232"/>
                    <a:pt x="447" y="239"/>
                  </a:cubicBezTo>
                  <a:cubicBezTo>
                    <a:pt x="465" y="265"/>
                    <a:pt x="491" y="277"/>
                    <a:pt x="525" y="276"/>
                  </a:cubicBezTo>
                  <a:cubicBezTo>
                    <a:pt x="543" y="278"/>
                    <a:pt x="562" y="271"/>
                    <a:pt x="578" y="259"/>
                  </a:cubicBezTo>
                  <a:close/>
                  <a:moveTo>
                    <a:pt x="471" y="205"/>
                  </a:moveTo>
                  <a:cubicBezTo>
                    <a:pt x="466" y="185"/>
                    <a:pt x="468" y="167"/>
                    <a:pt x="472" y="147"/>
                  </a:cubicBezTo>
                  <a:cubicBezTo>
                    <a:pt x="477" y="130"/>
                    <a:pt x="493" y="116"/>
                    <a:pt x="509" y="112"/>
                  </a:cubicBezTo>
                  <a:cubicBezTo>
                    <a:pt x="525" y="108"/>
                    <a:pt x="539" y="110"/>
                    <a:pt x="553" y="119"/>
                  </a:cubicBezTo>
                  <a:cubicBezTo>
                    <a:pt x="563" y="125"/>
                    <a:pt x="568" y="135"/>
                    <a:pt x="571" y="146"/>
                  </a:cubicBezTo>
                  <a:cubicBezTo>
                    <a:pt x="577" y="167"/>
                    <a:pt x="578" y="189"/>
                    <a:pt x="571" y="211"/>
                  </a:cubicBezTo>
                  <a:cubicBezTo>
                    <a:pt x="565" y="231"/>
                    <a:pt x="549" y="249"/>
                    <a:pt x="521" y="247"/>
                  </a:cubicBezTo>
                  <a:cubicBezTo>
                    <a:pt x="496" y="247"/>
                    <a:pt x="478" y="230"/>
                    <a:pt x="471" y="205"/>
                  </a:cubicBezTo>
                  <a:close/>
                  <a:moveTo>
                    <a:pt x="472" y="1122"/>
                  </a:moveTo>
                  <a:cubicBezTo>
                    <a:pt x="475" y="1136"/>
                    <a:pt x="481" y="1148"/>
                    <a:pt x="491" y="1158"/>
                  </a:cubicBezTo>
                  <a:cubicBezTo>
                    <a:pt x="506" y="1176"/>
                    <a:pt x="524" y="1185"/>
                    <a:pt x="548" y="1187"/>
                  </a:cubicBezTo>
                  <a:cubicBezTo>
                    <a:pt x="568" y="1188"/>
                    <a:pt x="587" y="1187"/>
                    <a:pt x="605" y="1177"/>
                  </a:cubicBezTo>
                  <a:cubicBezTo>
                    <a:pt x="632" y="1162"/>
                    <a:pt x="644" y="1136"/>
                    <a:pt x="649" y="1107"/>
                  </a:cubicBezTo>
                  <a:cubicBezTo>
                    <a:pt x="652" y="1089"/>
                    <a:pt x="649" y="1072"/>
                    <a:pt x="644" y="1054"/>
                  </a:cubicBezTo>
                  <a:cubicBezTo>
                    <a:pt x="638" y="1034"/>
                    <a:pt x="627" y="1019"/>
                    <a:pt x="610" y="1007"/>
                  </a:cubicBezTo>
                  <a:cubicBezTo>
                    <a:pt x="589" y="992"/>
                    <a:pt x="566" y="991"/>
                    <a:pt x="541" y="994"/>
                  </a:cubicBezTo>
                  <a:cubicBezTo>
                    <a:pt x="526" y="995"/>
                    <a:pt x="512" y="1002"/>
                    <a:pt x="500" y="1012"/>
                  </a:cubicBezTo>
                  <a:cubicBezTo>
                    <a:pt x="476" y="1032"/>
                    <a:pt x="469" y="1060"/>
                    <a:pt x="466" y="1095"/>
                  </a:cubicBezTo>
                  <a:cubicBezTo>
                    <a:pt x="465" y="1101"/>
                    <a:pt x="470" y="1111"/>
                    <a:pt x="472" y="1122"/>
                  </a:cubicBezTo>
                  <a:close/>
                  <a:moveTo>
                    <a:pt x="508" y="1113"/>
                  </a:moveTo>
                  <a:cubicBezTo>
                    <a:pt x="505" y="1095"/>
                    <a:pt x="506" y="1078"/>
                    <a:pt x="508" y="1061"/>
                  </a:cubicBezTo>
                  <a:cubicBezTo>
                    <a:pt x="511" y="1042"/>
                    <a:pt x="538" y="1021"/>
                    <a:pt x="554" y="1022"/>
                  </a:cubicBezTo>
                  <a:cubicBezTo>
                    <a:pt x="570" y="1022"/>
                    <a:pt x="586" y="1024"/>
                    <a:pt x="596" y="1037"/>
                  </a:cubicBezTo>
                  <a:cubicBezTo>
                    <a:pt x="602" y="1044"/>
                    <a:pt x="607" y="1052"/>
                    <a:pt x="608" y="1061"/>
                  </a:cubicBezTo>
                  <a:cubicBezTo>
                    <a:pt x="608" y="1064"/>
                    <a:pt x="609" y="1067"/>
                    <a:pt x="610" y="1070"/>
                  </a:cubicBezTo>
                  <a:cubicBezTo>
                    <a:pt x="618" y="1089"/>
                    <a:pt x="612" y="1107"/>
                    <a:pt x="607" y="1125"/>
                  </a:cubicBezTo>
                  <a:cubicBezTo>
                    <a:pt x="601" y="1143"/>
                    <a:pt x="588" y="1160"/>
                    <a:pt x="558" y="1157"/>
                  </a:cubicBezTo>
                  <a:cubicBezTo>
                    <a:pt x="530" y="1157"/>
                    <a:pt x="512" y="1141"/>
                    <a:pt x="508" y="1113"/>
                  </a:cubicBezTo>
                  <a:close/>
                  <a:moveTo>
                    <a:pt x="430" y="716"/>
                  </a:moveTo>
                  <a:cubicBezTo>
                    <a:pt x="450" y="703"/>
                    <a:pt x="459" y="683"/>
                    <a:pt x="464" y="661"/>
                  </a:cubicBezTo>
                  <a:cubicBezTo>
                    <a:pt x="468" y="648"/>
                    <a:pt x="467" y="635"/>
                    <a:pt x="466" y="621"/>
                  </a:cubicBezTo>
                  <a:cubicBezTo>
                    <a:pt x="463" y="592"/>
                    <a:pt x="453" y="567"/>
                    <a:pt x="427" y="550"/>
                  </a:cubicBezTo>
                  <a:cubicBezTo>
                    <a:pt x="401" y="534"/>
                    <a:pt x="372" y="532"/>
                    <a:pt x="345" y="541"/>
                  </a:cubicBezTo>
                  <a:cubicBezTo>
                    <a:pt x="310" y="552"/>
                    <a:pt x="291" y="580"/>
                    <a:pt x="287" y="617"/>
                  </a:cubicBezTo>
                  <a:cubicBezTo>
                    <a:pt x="286" y="629"/>
                    <a:pt x="286" y="641"/>
                    <a:pt x="287" y="654"/>
                  </a:cubicBezTo>
                  <a:cubicBezTo>
                    <a:pt x="289" y="671"/>
                    <a:pt x="295" y="686"/>
                    <a:pt x="306" y="700"/>
                  </a:cubicBezTo>
                  <a:cubicBezTo>
                    <a:pt x="324" y="722"/>
                    <a:pt x="348" y="733"/>
                    <a:pt x="378" y="731"/>
                  </a:cubicBezTo>
                  <a:cubicBezTo>
                    <a:pt x="396" y="733"/>
                    <a:pt x="414" y="727"/>
                    <a:pt x="430" y="716"/>
                  </a:cubicBezTo>
                  <a:close/>
                  <a:moveTo>
                    <a:pt x="331" y="592"/>
                  </a:moveTo>
                  <a:cubicBezTo>
                    <a:pt x="339" y="580"/>
                    <a:pt x="349" y="569"/>
                    <a:pt x="365" y="567"/>
                  </a:cubicBezTo>
                  <a:cubicBezTo>
                    <a:pt x="387" y="564"/>
                    <a:pt x="406" y="568"/>
                    <a:pt x="419" y="588"/>
                  </a:cubicBezTo>
                  <a:cubicBezTo>
                    <a:pt x="423" y="595"/>
                    <a:pt x="426" y="603"/>
                    <a:pt x="427" y="610"/>
                  </a:cubicBezTo>
                  <a:cubicBezTo>
                    <a:pt x="433" y="635"/>
                    <a:pt x="431" y="661"/>
                    <a:pt x="416" y="684"/>
                  </a:cubicBezTo>
                  <a:cubicBezTo>
                    <a:pt x="403" y="706"/>
                    <a:pt x="362" y="708"/>
                    <a:pt x="345" y="692"/>
                  </a:cubicBezTo>
                  <a:cubicBezTo>
                    <a:pt x="329" y="678"/>
                    <a:pt x="323" y="661"/>
                    <a:pt x="323" y="631"/>
                  </a:cubicBezTo>
                  <a:cubicBezTo>
                    <a:pt x="323" y="619"/>
                    <a:pt x="323" y="605"/>
                    <a:pt x="331" y="592"/>
                  </a:cubicBezTo>
                  <a:close/>
                  <a:moveTo>
                    <a:pt x="1073" y="259"/>
                  </a:moveTo>
                  <a:cubicBezTo>
                    <a:pt x="1073" y="269"/>
                    <a:pt x="1075" y="272"/>
                    <a:pt x="1086" y="272"/>
                  </a:cubicBezTo>
                  <a:cubicBezTo>
                    <a:pt x="1088" y="272"/>
                    <a:pt x="1090" y="272"/>
                    <a:pt x="1092" y="272"/>
                  </a:cubicBezTo>
                  <a:cubicBezTo>
                    <a:pt x="1105" y="272"/>
                    <a:pt x="1106" y="271"/>
                    <a:pt x="1106" y="258"/>
                  </a:cubicBezTo>
                  <a:cubicBezTo>
                    <a:pt x="1106" y="221"/>
                    <a:pt x="1106" y="184"/>
                    <a:pt x="1106" y="147"/>
                  </a:cubicBezTo>
                  <a:cubicBezTo>
                    <a:pt x="1106" y="143"/>
                    <a:pt x="1106" y="140"/>
                    <a:pt x="1107" y="137"/>
                  </a:cubicBezTo>
                  <a:cubicBezTo>
                    <a:pt x="1117" y="117"/>
                    <a:pt x="1157" y="104"/>
                    <a:pt x="1177" y="114"/>
                  </a:cubicBezTo>
                  <a:cubicBezTo>
                    <a:pt x="1179" y="115"/>
                    <a:pt x="1180" y="117"/>
                    <a:pt x="1182" y="118"/>
                  </a:cubicBezTo>
                  <a:cubicBezTo>
                    <a:pt x="1194" y="131"/>
                    <a:pt x="1196" y="147"/>
                    <a:pt x="1196" y="163"/>
                  </a:cubicBezTo>
                  <a:cubicBezTo>
                    <a:pt x="1197" y="195"/>
                    <a:pt x="1196" y="226"/>
                    <a:pt x="1196" y="258"/>
                  </a:cubicBezTo>
                  <a:cubicBezTo>
                    <a:pt x="1196" y="271"/>
                    <a:pt x="1197" y="272"/>
                    <a:pt x="1210" y="272"/>
                  </a:cubicBezTo>
                  <a:cubicBezTo>
                    <a:pt x="1212" y="272"/>
                    <a:pt x="1213" y="272"/>
                    <a:pt x="1215" y="272"/>
                  </a:cubicBezTo>
                  <a:cubicBezTo>
                    <a:pt x="1227" y="272"/>
                    <a:pt x="1229" y="270"/>
                    <a:pt x="1229" y="258"/>
                  </a:cubicBezTo>
                  <a:cubicBezTo>
                    <a:pt x="1229" y="222"/>
                    <a:pt x="1229" y="187"/>
                    <a:pt x="1229" y="151"/>
                  </a:cubicBezTo>
                  <a:cubicBezTo>
                    <a:pt x="1229" y="142"/>
                    <a:pt x="1228" y="132"/>
                    <a:pt x="1225" y="123"/>
                  </a:cubicBezTo>
                  <a:cubicBezTo>
                    <a:pt x="1219" y="105"/>
                    <a:pt x="1208" y="91"/>
                    <a:pt x="1189" y="85"/>
                  </a:cubicBezTo>
                  <a:cubicBezTo>
                    <a:pt x="1173" y="80"/>
                    <a:pt x="1156" y="84"/>
                    <a:pt x="1139" y="84"/>
                  </a:cubicBezTo>
                  <a:cubicBezTo>
                    <a:pt x="1137" y="84"/>
                    <a:pt x="1136" y="86"/>
                    <a:pt x="1134" y="87"/>
                  </a:cubicBezTo>
                  <a:cubicBezTo>
                    <a:pt x="1128" y="91"/>
                    <a:pt x="1121" y="96"/>
                    <a:pt x="1115" y="100"/>
                  </a:cubicBezTo>
                  <a:cubicBezTo>
                    <a:pt x="1113" y="102"/>
                    <a:pt x="1111" y="105"/>
                    <a:pt x="1108" y="103"/>
                  </a:cubicBezTo>
                  <a:cubicBezTo>
                    <a:pt x="1105" y="102"/>
                    <a:pt x="1106" y="98"/>
                    <a:pt x="1106" y="96"/>
                  </a:cubicBezTo>
                  <a:cubicBezTo>
                    <a:pt x="1106" y="69"/>
                    <a:pt x="1106" y="43"/>
                    <a:pt x="1106" y="17"/>
                  </a:cubicBezTo>
                  <a:cubicBezTo>
                    <a:pt x="1106" y="0"/>
                    <a:pt x="1106" y="0"/>
                    <a:pt x="1089" y="0"/>
                  </a:cubicBezTo>
                  <a:cubicBezTo>
                    <a:pt x="1074" y="0"/>
                    <a:pt x="1073" y="1"/>
                    <a:pt x="1073" y="16"/>
                  </a:cubicBezTo>
                  <a:cubicBezTo>
                    <a:pt x="1073" y="56"/>
                    <a:pt x="1073" y="96"/>
                    <a:pt x="1073" y="136"/>
                  </a:cubicBezTo>
                  <a:cubicBezTo>
                    <a:pt x="1073" y="177"/>
                    <a:pt x="1073" y="218"/>
                    <a:pt x="1073" y="259"/>
                  </a:cubicBezTo>
                  <a:close/>
                  <a:moveTo>
                    <a:pt x="1150" y="1092"/>
                  </a:moveTo>
                  <a:cubicBezTo>
                    <a:pt x="1168" y="1092"/>
                    <a:pt x="1186" y="1092"/>
                    <a:pt x="1204" y="1092"/>
                  </a:cubicBezTo>
                  <a:cubicBezTo>
                    <a:pt x="1215" y="1092"/>
                    <a:pt x="1218" y="1087"/>
                    <a:pt x="1219" y="1077"/>
                  </a:cubicBezTo>
                  <a:cubicBezTo>
                    <a:pt x="1220" y="1062"/>
                    <a:pt x="1216" y="1049"/>
                    <a:pt x="1210" y="1036"/>
                  </a:cubicBezTo>
                  <a:cubicBezTo>
                    <a:pt x="1204" y="1020"/>
                    <a:pt x="1193" y="1008"/>
                    <a:pt x="1177" y="1001"/>
                  </a:cubicBezTo>
                  <a:cubicBezTo>
                    <a:pt x="1155" y="992"/>
                    <a:pt x="1133" y="991"/>
                    <a:pt x="1109" y="999"/>
                  </a:cubicBezTo>
                  <a:cubicBezTo>
                    <a:pt x="1079" y="1010"/>
                    <a:pt x="1062" y="1031"/>
                    <a:pt x="1056" y="1061"/>
                  </a:cubicBezTo>
                  <a:cubicBezTo>
                    <a:pt x="1051" y="1090"/>
                    <a:pt x="1052" y="1120"/>
                    <a:pt x="1069" y="1148"/>
                  </a:cubicBezTo>
                  <a:cubicBezTo>
                    <a:pt x="1081" y="1169"/>
                    <a:pt x="1100" y="1180"/>
                    <a:pt x="1122" y="1185"/>
                  </a:cubicBezTo>
                  <a:cubicBezTo>
                    <a:pt x="1149" y="1190"/>
                    <a:pt x="1176" y="1186"/>
                    <a:pt x="1200" y="1171"/>
                  </a:cubicBezTo>
                  <a:cubicBezTo>
                    <a:pt x="1206" y="1168"/>
                    <a:pt x="1213" y="1165"/>
                    <a:pt x="1214" y="1157"/>
                  </a:cubicBezTo>
                  <a:cubicBezTo>
                    <a:pt x="1215" y="1147"/>
                    <a:pt x="1202" y="1139"/>
                    <a:pt x="1193" y="1144"/>
                  </a:cubicBezTo>
                  <a:cubicBezTo>
                    <a:pt x="1187" y="1147"/>
                    <a:pt x="1180" y="1150"/>
                    <a:pt x="1174" y="1153"/>
                  </a:cubicBezTo>
                  <a:cubicBezTo>
                    <a:pt x="1158" y="1161"/>
                    <a:pt x="1140" y="1161"/>
                    <a:pt x="1124" y="1155"/>
                  </a:cubicBezTo>
                  <a:cubicBezTo>
                    <a:pt x="1112" y="1151"/>
                    <a:pt x="1102" y="1142"/>
                    <a:pt x="1096" y="1129"/>
                  </a:cubicBezTo>
                  <a:cubicBezTo>
                    <a:pt x="1092" y="1121"/>
                    <a:pt x="1091" y="1112"/>
                    <a:pt x="1089" y="1104"/>
                  </a:cubicBezTo>
                  <a:cubicBezTo>
                    <a:pt x="1087" y="1093"/>
                    <a:pt x="1087" y="1092"/>
                    <a:pt x="1099" y="1092"/>
                  </a:cubicBezTo>
                  <a:cubicBezTo>
                    <a:pt x="1116" y="1092"/>
                    <a:pt x="1133" y="1092"/>
                    <a:pt x="1150" y="1092"/>
                  </a:cubicBezTo>
                  <a:cubicBezTo>
                    <a:pt x="1150" y="1092"/>
                    <a:pt x="1150" y="1092"/>
                    <a:pt x="1150" y="1092"/>
                  </a:cubicBezTo>
                  <a:close/>
                  <a:moveTo>
                    <a:pt x="1099" y="1070"/>
                  </a:moveTo>
                  <a:cubicBezTo>
                    <a:pt x="1092" y="1071"/>
                    <a:pt x="1089" y="1067"/>
                    <a:pt x="1091" y="1060"/>
                  </a:cubicBezTo>
                  <a:cubicBezTo>
                    <a:pt x="1094" y="1045"/>
                    <a:pt x="1108" y="1023"/>
                    <a:pt x="1128" y="1022"/>
                  </a:cubicBezTo>
                  <a:cubicBezTo>
                    <a:pt x="1142" y="1021"/>
                    <a:pt x="1156" y="1018"/>
                    <a:pt x="1168" y="1029"/>
                  </a:cubicBezTo>
                  <a:cubicBezTo>
                    <a:pt x="1181" y="1038"/>
                    <a:pt x="1185" y="1051"/>
                    <a:pt x="1187" y="1066"/>
                  </a:cubicBezTo>
                  <a:cubicBezTo>
                    <a:pt x="1188" y="1071"/>
                    <a:pt x="1183" y="1070"/>
                    <a:pt x="1180" y="1070"/>
                  </a:cubicBezTo>
                  <a:cubicBezTo>
                    <a:pt x="1166" y="1070"/>
                    <a:pt x="1153" y="1070"/>
                    <a:pt x="1139" y="1070"/>
                  </a:cubicBezTo>
                  <a:cubicBezTo>
                    <a:pt x="1139" y="1070"/>
                    <a:pt x="1139" y="1070"/>
                    <a:pt x="1139" y="1070"/>
                  </a:cubicBezTo>
                  <a:cubicBezTo>
                    <a:pt x="1126" y="1070"/>
                    <a:pt x="1113" y="1070"/>
                    <a:pt x="1099" y="1070"/>
                  </a:cubicBezTo>
                  <a:close/>
                  <a:moveTo>
                    <a:pt x="1741" y="1092"/>
                  </a:moveTo>
                  <a:cubicBezTo>
                    <a:pt x="1759" y="1092"/>
                    <a:pt x="1776" y="1092"/>
                    <a:pt x="1793" y="1092"/>
                  </a:cubicBezTo>
                  <a:cubicBezTo>
                    <a:pt x="1806" y="1092"/>
                    <a:pt x="1808" y="1089"/>
                    <a:pt x="1808" y="1076"/>
                  </a:cubicBezTo>
                  <a:cubicBezTo>
                    <a:pt x="1809" y="1063"/>
                    <a:pt x="1807" y="1051"/>
                    <a:pt x="1802" y="1038"/>
                  </a:cubicBezTo>
                  <a:cubicBezTo>
                    <a:pt x="1794" y="1021"/>
                    <a:pt x="1782" y="1008"/>
                    <a:pt x="1764" y="1000"/>
                  </a:cubicBezTo>
                  <a:cubicBezTo>
                    <a:pt x="1742" y="991"/>
                    <a:pt x="1720" y="991"/>
                    <a:pt x="1698" y="1000"/>
                  </a:cubicBezTo>
                  <a:cubicBezTo>
                    <a:pt x="1681" y="1006"/>
                    <a:pt x="1668" y="1016"/>
                    <a:pt x="1659" y="1031"/>
                  </a:cubicBezTo>
                  <a:cubicBezTo>
                    <a:pt x="1646" y="1050"/>
                    <a:pt x="1643" y="1071"/>
                    <a:pt x="1644" y="1094"/>
                  </a:cubicBezTo>
                  <a:cubicBezTo>
                    <a:pt x="1644" y="1110"/>
                    <a:pt x="1647" y="1127"/>
                    <a:pt x="1655" y="1141"/>
                  </a:cubicBezTo>
                  <a:cubicBezTo>
                    <a:pt x="1669" y="1168"/>
                    <a:pt x="1691" y="1183"/>
                    <a:pt x="1722" y="1186"/>
                  </a:cubicBezTo>
                  <a:cubicBezTo>
                    <a:pt x="1750" y="1188"/>
                    <a:pt x="1775" y="1183"/>
                    <a:pt x="1798" y="1165"/>
                  </a:cubicBezTo>
                  <a:cubicBezTo>
                    <a:pt x="1803" y="1161"/>
                    <a:pt x="1806" y="1157"/>
                    <a:pt x="1802" y="1151"/>
                  </a:cubicBezTo>
                  <a:cubicBezTo>
                    <a:pt x="1798" y="1144"/>
                    <a:pt x="1791" y="1140"/>
                    <a:pt x="1783" y="1144"/>
                  </a:cubicBezTo>
                  <a:cubicBezTo>
                    <a:pt x="1778" y="1147"/>
                    <a:pt x="1771" y="1149"/>
                    <a:pt x="1766" y="1152"/>
                  </a:cubicBezTo>
                  <a:cubicBezTo>
                    <a:pt x="1749" y="1161"/>
                    <a:pt x="1730" y="1162"/>
                    <a:pt x="1714" y="1155"/>
                  </a:cubicBezTo>
                  <a:cubicBezTo>
                    <a:pt x="1692" y="1145"/>
                    <a:pt x="1680" y="1127"/>
                    <a:pt x="1679" y="1102"/>
                  </a:cubicBezTo>
                  <a:cubicBezTo>
                    <a:pt x="1678" y="1095"/>
                    <a:pt x="1681" y="1092"/>
                    <a:pt x="1689" y="1092"/>
                  </a:cubicBezTo>
                  <a:cubicBezTo>
                    <a:pt x="1706" y="1092"/>
                    <a:pt x="1724" y="1092"/>
                    <a:pt x="1741" y="1092"/>
                  </a:cubicBezTo>
                  <a:cubicBezTo>
                    <a:pt x="1741" y="1092"/>
                    <a:pt x="1741" y="1092"/>
                    <a:pt x="1741" y="1092"/>
                  </a:cubicBezTo>
                  <a:close/>
                  <a:moveTo>
                    <a:pt x="1690" y="1070"/>
                  </a:moveTo>
                  <a:cubicBezTo>
                    <a:pt x="1683" y="1071"/>
                    <a:pt x="1680" y="1068"/>
                    <a:pt x="1681" y="1062"/>
                  </a:cubicBezTo>
                  <a:cubicBezTo>
                    <a:pt x="1683" y="1048"/>
                    <a:pt x="1697" y="1024"/>
                    <a:pt x="1716" y="1022"/>
                  </a:cubicBezTo>
                  <a:cubicBezTo>
                    <a:pt x="1731" y="1020"/>
                    <a:pt x="1747" y="1018"/>
                    <a:pt x="1760" y="1030"/>
                  </a:cubicBezTo>
                  <a:cubicBezTo>
                    <a:pt x="1771" y="1038"/>
                    <a:pt x="1775" y="1050"/>
                    <a:pt x="1778" y="1062"/>
                  </a:cubicBezTo>
                  <a:cubicBezTo>
                    <a:pt x="1780" y="1068"/>
                    <a:pt x="1775" y="1070"/>
                    <a:pt x="1769" y="1070"/>
                  </a:cubicBezTo>
                  <a:cubicBezTo>
                    <a:pt x="1756" y="1070"/>
                    <a:pt x="1742" y="1070"/>
                    <a:pt x="1729" y="1070"/>
                  </a:cubicBezTo>
                  <a:cubicBezTo>
                    <a:pt x="1729" y="1070"/>
                    <a:pt x="1729" y="1070"/>
                    <a:pt x="1729" y="1070"/>
                  </a:cubicBezTo>
                  <a:cubicBezTo>
                    <a:pt x="1716" y="1070"/>
                    <a:pt x="1703" y="1070"/>
                    <a:pt x="1690" y="1070"/>
                  </a:cubicBezTo>
                  <a:close/>
                  <a:moveTo>
                    <a:pt x="68" y="581"/>
                  </a:moveTo>
                  <a:cubicBezTo>
                    <a:pt x="68" y="573"/>
                    <a:pt x="70" y="568"/>
                    <a:pt x="80" y="569"/>
                  </a:cubicBezTo>
                  <a:cubicBezTo>
                    <a:pt x="90" y="570"/>
                    <a:pt x="101" y="570"/>
                    <a:pt x="111" y="569"/>
                  </a:cubicBezTo>
                  <a:cubicBezTo>
                    <a:pt x="120" y="569"/>
                    <a:pt x="120" y="563"/>
                    <a:pt x="120" y="556"/>
                  </a:cubicBezTo>
                  <a:cubicBezTo>
                    <a:pt x="120" y="549"/>
                    <a:pt x="119" y="544"/>
                    <a:pt x="111" y="544"/>
                  </a:cubicBezTo>
                  <a:cubicBezTo>
                    <a:pt x="104" y="544"/>
                    <a:pt x="97" y="544"/>
                    <a:pt x="91" y="544"/>
                  </a:cubicBezTo>
                  <a:cubicBezTo>
                    <a:pt x="66" y="544"/>
                    <a:pt x="65" y="543"/>
                    <a:pt x="68" y="518"/>
                  </a:cubicBezTo>
                  <a:cubicBezTo>
                    <a:pt x="69" y="504"/>
                    <a:pt x="83" y="487"/>
                    <a:pt x="99" y="489"/>
                  </a:cubicBezTo>
                  <a:cubicBezTo>
                    <a:pt x="103" y="489"/>
                    <a:pt x="107" y="489"/>
                    <a:pt x="110" y="488"/>
                  </a:cubicBezTo>
                  <a:cubicBezTo>
                    <a:pt x="118" y="487"/>
                    <a:pt x="123" y="479"/>
                    <a:pt x="123" y="471"/>
                  </a:cubicBezTo>
                  <a:cubicBezTo>
                    <a:pt x="123" y="461"/>
                    <a:pt x="116" y="462"/>
                    <a:pt x="109" y="460"/>
                  </a:cubicBezTo>
                  <a:cubicBezTo>
                    <a:pt x="100" y="458"/>
                    <a:pt x="92" y="460"/>
                    <a:pt x="84" y="460"/>
                  </a:cubicBezTo>
                  <a:cubicBezTo>
                    <a:pt x="68" y="461"/>
                    <a:pt x="56" y="469"/>
                    <a:pt x="47" y="480"/>
                  </a:cubicBezTo>
                  <a:cubicBezTo>
                    <a:pt x="34" y="493"/>
                    <a:pt x="32" y="511"/>
                    <a:pt x="32" y="529"/>
                  </a:cubicBezTo>
                  <a:cubicBezTo>
                    <a:pt x="32" y="544"/>
                    <a:pt x="32" y="544"/>
                    <a:pt x="17" y="544"/>
                  </a:cubicBezTo>
                  <a:cubicBezTo>
                    <a:pt x="4" y="543"/>
                    <a:pt x="0" y="548"/>
                    <a:pt x="4" y="561"/>
                  </a:cubicBezTo>
                  <a:cubicBezTo>
                    <a:pt x="6" y="569"/>
                    <a:pt x="13" y="568"/>
                    <a:pt x="19" y="569"/>
                  </a:cubicBezTo>
                  <a:cubicBezTo>
                    <a:pt x="32" y="571"/>
                    <a:pt x="32" y="571"/>
                    <a:pt x="32" y="584"/>
                  </a:cubicBezTo>
                  <a:cubicBezTo>
                    <a:pt x="32" y="624"/>
                    <a:pt x="32" y="664"/>
                    <a:pt x="32" y="704"/>
                  </a:cubicBezTo>
                  <a:cubicBezTo>
                    <a:pt x="32" y="731"/>
                    <a:pt x="32" y="730"/>
                    <a:pt x="57" y="731"/>
                  </a:cubicBezTo>
                  <a:cubicBezTo>
                    <a:pt x="66" y="731"/>
                    <a:pt x="68" y="727"/>
                    <a:pt x="68" y="720"/>
                  </a:cubicBezTo>
                  <a:cubicBezTo>
                    <a:pt x="68" y="697"/>
                    <a:pt x="68" y="674"/>
                    <a:pt x="68" y="651"/>
                  </a:cubicBezTo>
                  <a:cubicBezTo>
                    <a:pt x="68" y="628"/>
                    <a:pt x="68" y="605"/>
                    <a:pt x="68" y="581"/>
                  </a:cubicBezTo>
                  <a:close/>
                  <a:moveTo>
                    <a:pt x="278" y="1165"/>
                  </a:moveTo>
                  <a:cubicBezTo>
                    <a:pt x="278" y="1183"/>
                    <a:pt x="278" y="1183"/>
                    <a:pt x="296" y="1184"/>
                  </a:cubicBezTo>
                  <a:cubicBezTo>
                    <a:pt x="310" y="1184"/>
                    <a:pt x="310" y="1184"/>
                    <a:pt x="310" y="1169"/>
                  </a:cubicBezTo>
                  <a:cubicBezTo>
                    <a:pt x="310" y="1132"/>
                    <a:pt x="310" y="1095"/>
                    <a:pt x="310" y="1058"/>
                  </a:cubicBezTo>
                  <a:cubicBezTo>
                    <a:pt x="310" y="1052"/>
                    <a:pt x="312" y="1047"/>
                    <a:pt x="316" y="1042"/>
                  </a:cubicBezTo>
                  <a:cubicBezTo>
                    <a:pt x="324" y="1033"/>
                    <a:pt x="334" y="1027"/>
                    <a:pt x="345" y="1024"/>
                  </a:cubicBezTo>
                  <a:cubicBezTo>
                    <a:pt x="357" y="1020"/>
                    <a:pt x="371" y="1018"/>
                    <a:pt x="383" y="1028"/>
                  </a:cubicBezTo>
                  <a:cubicBezTo>
                    <a:pt x="397" y="1039"/>
                    <a:pt x="401" y="1054"/>
                    <a:pt x="401" y="1071"/>
                  </a:cubicBezTo>
                  <a:cubicBezTo>
                    <a:pt x="401" y="1102"/>
                    <a:pt x="401" y="1132"/>
                    <a:pt x="401" y="1163"/>
                  </a:cubicBezTo>
                  <a:cubicBezTo>
                    <a:pt x="401" y="1183"/>
                    <a:pt x="401" y="1182"/>
                    <a:pt x="420" y="1184"/>
                  </a:cubicBezTo>
                  <a:cubicBezTo>
                    <a:pt x="429" y="1185"/>
                    <a:pt x="433" y="1181"/>
                    <a:pt x="433" y="1173"/>
                  </a:cubicBezTo>
                  <a:cubicBezTo>
                    <a:pt x="432" y="1130"/>
                    <a:pt x="435" y="1087"/>
                    <a:pt x="431" y="1044"/>
                  </a:cubicBezTo>
                  <a:cubicBezTo>
                    <a:pt x="427" y="1014"/>
                    <a:pt x="404" y="996"/>
                    <a:pt x="376" y="994"/>
                  </a:cubicBezTo>
                  <a:cubicBezTo>
                    <a:pt x="353" y="992"/>
                    <a:pt x="333" y="1000"/>
                    <a:pt x="317" y="1017"/>
                  </a:cubicBezTo>
                  <a:cubicBezTo>
                    <a:pt x="312" y="1021"/>
                    <a:pt x="311" y="1019"/>
                    <a:pt x="309" y="1015"/>
                  </a:cubicBezTo>
                  <a:cubicBezTo>
                    <a:pt x="309" y="1013"/>
                    <a:pt x="308" y="1011"/>
                    <a:pt x="308" y="1008"/>
                  </a:cubicBezTo>
                  <a:cubicBezTo>
                    <a:pt x="306" y="1001"/>
                    <a:pt x="298" y="997"/>
                    <a:pt x="287" y="998"/>
                  </a:cubicBezTo>
                  <a:cubicBezTo>
                    <a:pt x="279" y="999"/>
                    <a:pt x="278" y="1004"/>
                    <a:pt x="278" y="1011"/>
                  </a:cubicBezTo>
                  <a:cubicBezTo>
                    <a:pt x="278" y="1037"/>
                    <a:pt x="278" y="1064"/>
                    <a:pt x="278" y="1091"/>
                  </a:cubicBezTo>
                  <a:cubicBezTo>
                    <a:pt x="278" y="1115"/>
                    <a:pt x="278" y="1140"/>
                    <a:pt x="278" y="1165"/>
                  </a:cubicBezTo>
                  <a:close/>
                  <a:moveTo>
                    <a:pt x="150" y="705"/>
                  </a:moveTo>
                  <a:cubicBezTo>
                    <a:pt x="150" y="734"/>
                    <a:pt x="145" y="730"/>
                    <a:pt x="176" y="731"/>
                  </a:cubicBezTo>
                  <a:cubicBezTo>
                    <a:pt x="185" y="731"/>
                    <a:pt x="187" y="727"/>
                    <a:pt x="187" y="719"/>
                  </a:cubicBezTo>
                  <a:cubicBezTo>
                    <a:pt x="187" y="685"/>
                    <a:pt x="187" y="651"/>
                    <a:pt x="187" y="618"/>
                  </a:cubicBezTo>
                  <a:cubicBezTo>
                    <a:pt x="187" y="597"/>
                    <a:pt x="204" y="578"/>
                    <a:pt x="225" y="574"/>
                  </a:cubicBezTo>
                  <a:cubicBezTo>
                    <a:pt x="232" y="572"/>
                    <a:pt x="240" y="574"/>
                    <a:pt x="247" y="575"/>
                  </a:cubicBezTo>
                  <a:cubicBezTo>
                    <a:pt x="257" y="576"/>
                    <a:pt x="261" y="572"/>
                    <a:pt x="265" y="564"/>
                  </a:cubicBezTo>
                  <a:cubicBezTo>
                    <a:pt x="269" y="556"/>
                    <a:pt x="267" y="542"/>
                    <a:pt x="261" y="540"/>
                  </a:cubicBezTo>
                  <a:cubicBezTo>
                    <a:pt x="253" y="538"/>
                    <a:pt x="244" y="534"/>
                    <a:pt x="237" y="536"/>
                  </a:cubicBezTo>
                  <a:cubicBezTo>
                    <a:pt x="228" y="537"/>
                    <a:pt x="217" y="537"/>
                    <a:pt x="209" y="544"/>
                  </a:cubicBezTo>
                  <a:cubicBezTo>
                    <a:pt x="204" y="549"/>
                    <a:pt x="198" y="553"/>
                    <a:pt x="194" y="558"/>
                  </a:cubicBezTo>
                  <a:cubicBezTo>
                    <a:pt x="192" y="561"/>
                    <a:pt x="189" y="563"/>
                    <a:pt x="185" y="562"/>
                  </a:cubicBezTo>
                  <a:cubicBezTo>
                    <a:pt x="182" y="561"/>
                    <a:pt x="182" y="558"/>
                    <a:pt x="182" y="556"/>
                  </a:cubicBezTo>
                  <a:cubicBezTo>
                    <a:pt x="180" y="539"/>
                    <a:pt x="179" y="539"/>
                    <a:pt x="162" y="539"/>
                  </a:cubicBezTo>
                  <a:cubicBezTo>
                    <a:pt x="151" y="539"/>
                    <a:pt x="150" y="540"/>
                    <a:pt x="150" y="551"/>
                  </a:cubicBezTo>
                  <a:cubicBezTo>
                    <a:pt x="150" y="579"/>
                    <a:pt x="150" y="607"/>
                    <a:pt x="150" y="635"/>
                  </a:cubicBezTo>
                  <a:cubicBezTo>
                    <a:pt x="150" y="658"/>
                    <a:pt x="149" y="682"/>
                    <a:pt x="150" y="705"/>
                  </a:cubicBezTo>
                  <a:close/>
                  <a:moveTo>
                    <a:pt x="1011" y="1049"/>
                  </a:moveTo>
                  <a:cubicBezTo>
                    <a:pt x="1011" y="1008"/>
                    <a:pt x="1011" y="966"/>
                    <a:pt x="1011" y="924"/>
                  </a:cubicBezTo>
                  <a:cubicBezTo>
                    <a:pt x="1011" y="913"/>
                    <a:pt x="1008" y="910"/>
                    <a:pt x="997" y="910"/>
                  </a:cubicBezTo>
                  <a:cubicBezTo>
                    <a:pt x="995" y="910"/>
                    <a:pt x="992" y="910"/>
                    <a:pt x="990" y="910"/>
                  </a:cubicBezTo>
                  <a:cubicBezTo>
                    <a:pt x="976" y="910"/>
                    <a:pt x="975" y="911"/>
                    <a:pt x="975" y="926"/>
                  </a:cubicBezTo>
                  <a:cubicBezTo>
                    <a:pt x="975" y="1006"/>
                    <a:pt x="975" y="1085"/>
                    <a:pt x="975" y="1165"/>
                  </a:cubicBezTo>
                  <a:cubicBezTo>
                    <a:pt x="975" y="1185"/>
                    <a:pt x="975" y="1185"/>
                    <a:pt x="994" y="1185"/>
                  </a:cubicBezTo>
                  <a:cubicBezTo>
                    <a:pt x="1009" y="1185"/>
                    <a:pt x="1011" y="1184"/>
                    <a:pt x="1011" y="1169"/>
                  </a:cubicBezTo>
                  <a:cubicBezTo>
                    <a:pt x="1011" y="1129"/>
                    <a:pt x="1011" y="1089"/>
                    <a:pt x="1011" y="1049"/>
                  </a:cubicBezTo>
                  <a:cubicBezTo>
                    <a:pt x="1011" y="1049"/>
                    <a:pt x="1011" y="1049"/>
                    <a:pt x="1011" y="1049"/>
                  </a:cubicBezTo>
                  <a:close/>
                  <a:moveTo>
                    <a:pt x="296" y="176"/>
                  </a:moveTo>
                  <a:cubicBezTo>
                    <a:pt x="296" y="201"/>
                    <a:pt x="296" y="226"/>
                    <a:pt x="296" y="251"/>
                  </a:cubicBezTo>
                  <a:cubicBezTo>
                    <a:pt x="295" y="276"/>
                    <a:pt x="296" y="274"/>
                    <a:pt x="318" y="274"/>
                  </a:cubicBezTo>
                  <a:cubicBezTo>
                    <a:pt x="330" y="274"/>
                    <a:pt x="331" y="274"/>
                    <a:pt x="331" y="260"/>
                  </a:cubicBezTo>
                  <a:cubicBezTo>
                    <a:pt x="331" y="232"/>
                    <a:pt x="331" y="204"/>
                    <a:pt x="331" y="176"/>
                  </a:cubicBezTo>
                  <a:cubicBezTo>
                    <a:pt x="331" y="165"/>
                    <a:pt x="331" y="155"/>
                    <a:pt x="337" y="145"/>
                  </a:cubicBezTo>
                  <a:cubicBezTo>
                    <a:pt x="349" y="123"/>
                    <a:pt x="359" y="117"/>
                    <a:pt x="377" y="118"/>
                  </a:cubicBezTo>
                  <a:cubicBezTo>
                    <a:pt x="383" y="118"/>
                    <a:pt x="389" y="119"/>
                    <a:pt x="395" y="120"/>
                  </a:cubicBezTo>
                  <a:cubicBezTo>
                    <a:pt x="401" y="120"/>
                    <a:pt x="407" y="118"/>
                    <a:pt x="408" y="112"/>
                  </a:cubicBezTo>
                  <a:cubicBezTo>
                    <a:pt x="409" y="103"/>
                    <a:pt x="415" y="93"/>
                    <a:pt x="407" y="85"/>
                  </a:cubicBezTo>
                  <a:cubicBezTo>
                    <a:pt x="406" y="84"/>
                    <a:pt x="404" y="84"/>
                    <a:pt x="402" y="84"/>
                  </a:cubicBezTo>
                  <a:cubicBezTo>
                    <a:pt x="376" y="78"/>
                    <a:pt x="353" y="82"/>
                    <a:pt x="337" y="106"/>
                  </a:cubicBezTo>
                  <a:cubicBezTo>
                    <a:pt x="336" y="108"/>
                    <a:pt x="335" y="110"/>
                    <a:pt x="333" y="109"/>
                  </a:cubicBezTo>
                  <a:cubicBezTo>
                    <a:pt x="331" y="109"/>
                    <a:pt x="330" y="107"/>
                    <a:pt x="330" y="105"/>
                  </a:cubicBezTo>
                  <a:cubicBezTo>
                    <a:pt x="329" y="101"/>
                    <a:pt x="329" y="97"/>
                    <a:pt x="328" y="94"/>
                  </a:cubicBezTo>
                  <a:cubicBezTo>
                    <a:pt x="325" y="85"/>
                    <a:pt x="318" y="82"/>
                    <a:pt x="303" y="84"/>
                  </a:cubicBezTo>
                  <a:cubicBezTo>
                    <a:pt x="297" y="84"/>
                    <a:pt x="295" y="86"/>
                    <a:pt x="295" y="92"/>
                  </a:cubicBezTo>
                  <a:cubicBezTo>
                    <a:pt x="296" y="120"/>
                    <a:pt x="295" y="148"/>
                    <a:pt x="295" y="176"/>
                  </a:cubicBezTo>
                  <a:cubicBezTo>
                    <a:pt x="296" y="176"/>
                    <a:pt x="296" y="176"/>
                    <a:pt x="296" y="176"/>
                  </a:cubicBezTo>
                  <a:close/>
                  <a:moveTo>
                    <a:pt x="946" y="179"/>
                  </a:moveTo>
                  <a:cubicBezTo>
                    <a:pt x="946" y="197"/>
                    <a:pt x="946" y="215"/>
                    <a:pt x="946" y="234"/>
                  </a:cubicBezTo>
                  <a:cubicBezTo>
                    <a:pt x="946" y="248"/>
                    <a:pt x="951" y="260"/>
                    <a:pt x="963" y="268"/>
                  </a:cubicBezTo>
                  <a:cubicBezTo>
                    <a:pt x="982" y="280"/>
                    <a:pt x="1011" y="277"/>
                    <a:pt x="1029" y="264"/>
                  </a:cubicBezTo>
                  <a:cubicBezTo>
                    <a:pt x="1036" y="259"/>
                    <a:pt x="1036" y="254"/>
                    <a:pt x="1032" y="248"/>
                  </a:cubicBezTo>
                  <a:cubicBezTo>
                    <a:pt x="1026" y="239"/>
                    <a:pt x="1020" y="238"/>
                    <a:pt x="1013" y="242"/>
                  </a:cubicBezTo>
                  <a:cubicBezTo>
                    <a:pt x="996" y="252"/>
                    <a:pt x="978" y="243"/>
                    <a:pt x="978" y="223"/>
                  </a:cubicBezTo>
                  <a:cubicBezTo>
                    <a:pt x="978" y="190"/>
                    <a:pt x="978" y="157"/>
                    <a:pt x="978" y="123"/>
                  </a:cubicBezTo>
                  <a:cubicBezTo>
                    <a:pt x="978" y="116"/>
                    <a:pt x="981" y="113"/>
                    <a:pt x="988" y="113"/>
                  </a:cubicBezTo>
                  <a:cubicBezTo>
                    <a:pt x="999" y="114"/>
                    <a:pt x="1011" y="113"/>
                    <a:pt x="1022" y="113"/>
                  </a:cubicBezTo>
                  <a:cubicBezTo>
                    <a:pt x="1028" y="113"/>
                    <a:pt x="1033" y="112"/>
                    <a:pt x="1033" y="104"/>
                  </a:cubicBezTo>
                  <a:cubicBezTo>
                    <a:pt x="1033" y="96"/>
                    <a:pt x="1032" y="90"/>
                    <a:pt x="1022" y="90"/>
                  </a:cubicBezTo>
                  <a:cubicBezTo>
                    <a:pt x="1011" y="90"/>
                    <a:pt x="1001" y="90"/>
                    <a:pt x="990" y="90"/>
                  </a:cubicBezTo>
                  <a:cubicBezTo>
                    <a:pt x="981" y="91"/>
                    <a:pt x="977" y="88"/>
                    <a:pt x="978" y="78"/>
                  </a:cubicBezTo>
                  <a:cubicBezTo>
                    <a:pt x="978" y="64"/>
                    <a:pt x="978" y="49"/>
                    <a:pt x="978" y="35"/>
                  </a:cubicBezTo>
                  <a:cubicBezTo>
                    <a:pt x="978" y="30"/>
                    <a:pt x="978" y="25"/>
                    <a:pt x="971" y="24"/>
                  </a:cubicBezTo>
                  <a:cubicBezTo>
                    <a:pt x="964" y="24"/>
                    <a:pt x="956" y="24"/>
                    <a:pt x="955" y="32"/>
                  </a:cubicBezTo>
                  <a:cubicBezTo>
                    <a:pt x="952" y="43"/>
                    <a:pt x="949" y="54"/>
                    <a:pt x="949" y="65"/>
                  </a:cubicBezTo>
                  <a:cubicBezTo>
                    <a:pt x="948" y="88"/>
                    <a:pt x="947" y="88"/>
                    <a:pt x="924" y="91"/>
                  </a:cubicBezTo>
                  <a:cubicBezTo>
                    <a:pt x="919" y="92"/>
                    <a:pt x="914" y="92"/>
                    <a:pt x="914" y="99"/>
                  </a:cubicBezTo>
                  <a:cubicBezTo>
                    <a:pt x="915" y="107"/>
                    <a:pt x="917" y="113"/>
                    <a:pt x="926" y="113"/>
                  </a:cubicBezTo>
                  <a:cubicBezTo>
                    <a:pt x="929" y="114"/>
                    <a:pt x="932" y="113"/>
                    <a:pt x="935" y="113"/>
                  </a:cubicBezTo>
                  <a:cubicBezTo>
                    <a:pt x="943" y="113"/>
                    <a:pt x="946" y="116"/>
                    <a:pt x="946" y="124"/>
                  </a:cubicBezTo>
                  <a:cubicBezTo>
                    <a:pt x="946" y="142"/>
                    <a:pt x="946" y="161"/>
                    <a:pt x="946" y="179"/>
                  </a:cubicBezTo>
                  <a:cubicBezTo>
                    <a:pt x="946" y="179"/>
                    <a:pt x="946" y="179"/>
                    <a:pt x="946" y="179"/>
                  </a:cubicBezTo>
                  <a:close/>
                </a:path>
              </a:pathLst>
            </a:custGeom>
            <a:solidFill>
              <a:srgbClr val="4C505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grpSp>
          <p:nvGrpSpPr>
            <p:cNvPr id="18" name="Group 4">
              <a:extLst>
                <a:ext uri="{FF2B5EF4-FFF2-40B4-BE49-F238E27FC236}">
                  <a16:creationId xmlns:a16="http://schemas.microsoft.com/office/drawing/2014/main" id="{57BD2C4C-DC67-B843-B26C-309622FC75F7}"/>
                </a:ext>
              </a:extLst>
            </p:cNvPr>
            <p:cNvGrpSpPr>
              <a:grpSpLocks noChangeAspect="1"/>
            </p:cNvGrpSpPr>
            <p:nvPr/>
          </p:nvGrpSpPr>
          <p:grpSpPr bwMode="gray">
            <a:xfrm>
              <a:off x="334963" y="296652"/>
              <a:ext cx="538094" cy="540000"/>
              <a:chOff x="2711" y="1027"/>
              <a:chExt cx="2258" cy="2266"/>
            </a:xfrm>
          </p:grpSpPr>
          <p:sp>
            <p:nvSpPr>
              <p:cNvPr id="19" name="AutoShape 3">
                <a:extLst>
                  <a:ext uri="{FF2B5EF4-FFF2-40B4-BE49-F238E27FC236}">
                    <a16:creationId xmlns:a16="http://schemas.microsoft.com/office/drawing/2014/main" id="{FE1DC41B-291E-574C-9F2C-874E70A40758}"/>
                  </a:ext>
                </a:extLst>
              </p:cNvPr>
              <p:cNvSpPr>
                <a:spLocks noChangeAspect="1" noChangeArrowheads="1" noTextEdit="1"/>
              </p:cNvSpPr>
              <p:nvPr/>
            </p:nvSpPr>
            <p:spPr bwMode="gray">
              <a:xfrm>
                <a:off x="2711" y="1027"/>
                <a:ext cx="2258" cy="22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20" name="Freeform 5">
                <a:extLst>
                  <a:ext uri="{FF2B5EF4-FFF2-40B4-BE49-F238E27FC236}">
                    <a16:creationId xmlns:a16="http://schemas.microsoft.com/office/drawing/2014/main" id="{D4B633C8-F761-C54B-9BD2-EB59D49A2DBC}"/>
                  </a:ext>
                </a:extLst>
              </p:cNvPr>
              <p:cNvSpPr>
                <a:spLocks/>
              </p:cNvSpPr>
              <p:nvPr/>
            </p:nvSpPr>
            <p:spPr bwMode="gray">
              <a:xfrm>
                <a:off x="2709" y="1029"/>
                <a:ext cx="2260" cy="2262"/>
              </a:xfrm>
              <a:custGeom>
                <a:avLst/>
                <a:gdLst>
                  <a:gd name="T0" fmla="*/ 2260 w 2260"/>
                  <a:gd name="T1" fmla="*/ 0 h 2262"/>
                  <a:gd name="T2" fmla="*/ 1612 w 2260"/>
                  <a:gd name="T3" fmla="*/ 649 h 2262"/>
                  <a:gd name="T4" fmla="*/ 1612 w 2260"/>
                  <a:gd name="T5" fmla="*/ 649 h 2262"/>
                  <a:gd name="T6" fmla="*/ 2035 w 2260"/>
                  <a:gd name="T7" fmla="*/ 0 h 2262"/>
                  <a:gd name="T8" fmla="*/ 0 w 2260"/>
                  <a:gd name="T9" fmla="*/ 0 h 2262"/>
                  <a:gd name="T10" fmla="*/ 0 w 2260"/>
                  <a:gd name="T11" fmla="*/ 2262 h 2262"/>
                  <a:gd name="T12" fmla="*/ 2260 w 2260"/>
                  <a:gd name="T13" fmla="*/ 2262 h 2262"/>
                  <a:gd name="T14" fmla="*/ 2260 w 2260"/>
                  <a:gd name="T15" fmla="*/ 0 h 2262"/>
                  <a:gd name="T16" fmla="*/ 2260 w 2260"/>
                  <a:gd name="T17" fmla="*/ 0 h 2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0" h="2262">
                    <a:moveTo>
                      <a:pt x="2260" y="0"/>
                    </a:moveTo>
                    <a:lnTo>
                      <a:pt x="1612" y="649"/>
                    </a:lnTo>
                    <a:lnTo>
                      <a:pt x="1612" y="649"/>
                    </a:lnTo>
                    <a:lnTo>
                      <a:pt x="2035" y="0"/>
                    </a:lnTo>
                    <a:lnTo>
                      <a:pt x="0" y="0"/>
                    </a:lnTo>
                    <a:lnTo>
                      <a:pt x="0" y="2262"/>
                    </a:lnTo>
                    <a:lnTo>
                      <a:pt x="2260" y="2262"/>
                    </a:lnTo>
                    <a:lnTo>
                      <a:pt x="2260" y="0"/>
                    </a:lnTo>
                    <a:lnTo>
                      <a:pt x="2260" y="0"/>
                    </a:lnTo>
                    <a:close/>
                  </a:path>
                </a:pathLst>
              </a:custGeom>
              <a:solidFill>
                <a:srgbClr val="E55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21" name="Freeform 6">
                <a:extLst>
                  <a:ext uri="{FF2B5EF4-FFF2-40B4-BE49-F238E27FC236}">
                    <a16:creationId xmlns:a16="http://schemas.microsoft.com/office/drawing/2014/main" id="{B16BAAE4-1A41-C843-9754-490F7A1E1270}"/>
                  </a:ext>
                </a:extLst>
              </p:cNvPr>
              <p:cNvSpPr>
                <a:spLocks noEditPoints="1"/>
              </p:cNvSpPr>
              <p:nvPr/>
            </p:nvSpPr>
            <p:spPr bwMode="gray">
              <a:xfrm>
                <a:off x="3623" y="1696"/>
                <a:ext cx="1167" cy="922"/>
              </a:xfrm>
              <a:custGeom>
                <a:avLst/>
                <a:gdLst>
                  <a:gd name="T0" fmla="*/ 411 w 580"/>
                  <a:gd name="T1" fmla="*/ 213 h 458"/>
                  <a:gd name="T2" fmla="*/ 570 w 580"/>
                  <a:gd name="T3" fmla="*/ 37 h 458"/>
                  <a:gd name="T4" fmla="*/ 580 w 580"/>
                  <a:gd name="T5" fmla="*/ 20 h 458"/>
                  <a:gd name="T6" fmla="*/ 545 w 580"/>
                  <a:gd name="T7" fmla="*/ 0 h 458"/>
                  <a:gd name="T8" fmla="*/ 519 w 580"/>
                  <a:gd name="T9" fmla="*/ 16 h 458"/>
                  <a:gd name="T10" fmla="*/ 344 w 580"/>
                  <a:gd name="T11" fmla="*/ 210 h 458"/>
                  <a:gd name="T12" fmla="*/ 334 w 580"/>
                  <a:gd name="T13" fmla="*/ 229 h 458"/>
                  <a:gd name="T14" fmla="*/ 344 w 580"/>
                  <a:gd name="T15" fmla="*/ 248 h 458"/>
                  <a:gd name="T16" fmla="*/ 519 w 580"/>
                  <a:gd name="T17" fmla="*/ 442 h 458"/>
                  <a:gd name="T18" fmla="*/ 545 w 580"/>
                  <a:gd name="T19" fmla="*/ 458 h 458"/>
                  <a:gd name="T20" fmla="*/ 580 w 580"/>
                  <a:gd name="T21" fmla="*/ 438 h 458"/>
                  <a:gd name="T22" fmla="*/ 570 w 580"/>
                  <a:gd name="T23" fmla="*/ 421 h 458"/>
                  <a:gd name="T24" fmla="*/ 411 w 580"/>
                  <a:gd name="T25" fmla="*/ 245 h 458"/>
                  <a:gd name="T26" fmla="*/ 399 w 580"/>
                  <a:gd name="T27" fmla="*/ 229 h 458"/>
                  <a:gd name="T28" fmla="*/ 411 w 580"/>
                  <a:gd name="T29" fmla="*/ 213 h 458"/>
                  <a:gd name="T30" fmla="*/ 252 w 580"/>
                  <a:gd name="T31" fmla="*/ 439 h 458"/>
                  <a:gd name="T32" fmla="*/ 281 w 580"/>
                  <a:gd name="T33" fmla="*/ 454 h 458"/>
                  <a:gd name="T34" fmla="*/ 309 w 580"/>
                  <a:gd name="T35" fmla="*/ 439 h 458"/>
                  <a:gd name="T36" fmla="*/ 309 w 580"/>
                  <a:gd name="T37" fmla="*/ 19 h 458"/>
                  <a:gd name="T38" fmla="*/ 281 w 580"/>
                  <a:gd name="T39" fmla="*/ 4 h 458"/>
                  <a:gd name="T40" fmla="*/ 252 w 580"/>
                  <a:gd name="T41" fmla="*/ 19 h 458"/>
                  <a:gd name="T42" fmla="*/ 252 w 580"/>
                  <a:gd name="T43" fmla="*/ 439 h 458"/>
                  <a:gd name="T44" fmla="*/ 0 w 580"/>
                  <a:gd name="T45" fmla="*/ 439 h 458"/>
                  <a:gd name="T46" fmla="*/ 28 w 580"/>
                  <a:gd name="T47" fmla="*/ 454 h 458"/>
                  <a:gd name="T48" fmla="*/ 56 w 580"/>
                  <a:gd name="T49" fmla="*/ 439 h 458"/>
                  <a:gd name="T50" fmla="*/ 56 w 580"/>
                  <a:gd name="T51" fmla="*/ 157 h 458"/>
                  <a:gd name="T52" fmla="*/ 165 w 580"/>
                  <a:gd name="T53" fmla="*/ 53 h 458"/>
                  <a:gd name="T54" fmla="*/ 180 w 580"/>
                  <a:gd name="T55" fmla="*/ 53 h 458"/>
                  <a:gd name="T56" fmla="*/ 196 w 580"/>
                  <a:gd name="T57" fmla="*/ 27 h 458"/>
                  <a:gd name="T58" fmla="*/ 154 w 580"/>
                  <a:gd name="T59" fmla="*/ 4 h 458"/>
                  <a:gd name="T60" fmla="*/ 0 w 580"/>
                  <a:gd name="T61" fmla="*/ 152 h 458"/>
                  <a:gd name="T62" fmla="*/ 0 w 580"/>
                  <a:gd name="T63" fmla="*/ 439 h 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80" h="458">
                    <a:moveTo>
                      <a:pt x="411" y="213"/>
                    </a:moveTo>
                    <a:cubicBezTo>
                      <a:pt x="570" y="37"/>
                      <a:pt x="570" y="37"/>
                      <a:pt x="570" y="37"/>
                    </a:cubicBezTo>
                    <a:cubicBezTo>
                      <a:pt x="576" y="30"/>
                      <a:pt x="580" y="25"/>
                      <a:pt x="580" y="20"/>
                    </a:cubicBezTo>
                    <a:cubicBezTo>
                      <a:pt x="580" y="10"/>
                      <a:pt x="559" y="0"/>
                      <a:pt x="545" y="0"/>
                    </a:cubicBezTo>
                    <a:cubicBezTo>
                      <a:pt x="535" y="0"/>
                      <a:pt x="526" y="8"/>
                      <a:pt x="519" y="16"/>
                    </a:cubicBezTo>
                    <a:cubicBezTo>
                      <a:pt x="344" y="210"/>
                      <a:pt x="344" y="210"/>
                      <a:pt x="344" y="210"/>
                    </a:cubicBezTo>
                    <a:cubicBezTo>
                      <a:pt x="336" y="219"/>
                      <a:pt x="334" y="224"/>
                      <a:pt x="334" y="229"/>
                    </a:cubicBezTo>
                    <a:cubicBezTo>
                      <a:pt x="334" y="234"/>
                      <a:pt x="336" y="239"/>
                      <a:pt x="344" y="248"/>
                    </a:cubicBezTo>
                    <a:cubicBezTo>
                      <a:pt x="519" y="442"/>
                      <a:pt x="519" y="442"/>
                      <a:pt x="519" y="442"/>
                    </a:cubicBezTo>
                    <a:cubicBezTo>
                      <a:pt x="526" y="450"/>
                      <a:pt x="535" y="458"/>
                      <a:pt x="545" y="458"/>
                    </a:cubicBezTo>
                    <a:cubicBezTo>
                      <a:pt x="559" y="458"/>
                      <a:pt x="580" y="448"/>
                      <a:pt x="580" y="438"/>
                    </a:cubicBezTo>
                    <a:cubicBezTo>
                      <a:pt x="580" y="433"/>
                      <a:pt x="576" y="428"/>
                      <a:pt x="570" y="421"/>
                    </a:cubicBezTo>
                    <a:cubicBezTo>
                      <a:pt x="411" y="245"/>
                      <a:pt x="411" y="245"/>
                      <a:pt x="411" y="245"/>
                    </a:cubicBezTo>
                    <a:cubicBezTo>
                      <a:pt x="403" y="236"/>
                      <a:pt x="399" y="232"/>
                      <a:pt x="399" y="229"/>
                    </a:cubicBezTo>
                    <a:cubicBezTo>
                      <a:pt x="399" y="226"/>
                      <a:pt x="403" y="222"/>
                      <a:pt x="411" y="213"/>
                    </a:cubicBezTo>
                    <a:moveTo>
                      <a:pt x="252" y="439"/>
                    </a:moveTo>
                    <a:cubicBezTo>
                      <a:pt x="252" y="449"/>
                      <a:pt x="261" y="454"/>
                      <a:pt x="281" y="454"/>
                    </a:cubicBezTo>
                    <a:cubicBezTo>
                      <a:pt x="300" y="454"/>
                      <a:pt x="309" y="449"/>
                      <a:pt x="309" y="439"/>
                    </a:cubicBezTo>
                    <a:cubicBezTo>
                      <a:pt x="309" y="19"/>
                      <a:pt x="309" y="19"/>
                      <a:pt x="309" y="19"/>
                    </a:cubicBezTo>
                    <a:cubicBezTo>
                      <a:pt x="309" y="9"/>
                      <a:pt x="300" y="4"/>
                      <a:pt x="281" y="4"/>
                    </a:cubicBezTo>
                    <a:cubicBezTo>
                      <a:pt x="261" y="4"/>
                      <a:pt x="252" y="9"/>
                      <a:pt x="252" y="19"/>
                    </a:cubicBezTo>
                    <a:lnTo>
                      <a:pt x="252" y="439"/>
                    </a:lnTo>
                    <a:close/>
                    <a:moveTo>
                      <a:pt x="0" y="439"/>
                    </a:moveTo>
                    <a:cubicBezTo>
                      <a:pt x="0" y="449"/>
                      <a:pt x="8" y="454"/>
                      <a:pt x="28" y="454"/>
                    </a:cubicBezTo>
                    <a:cubicBezTo>
                      <a:pt x="48" y="454"/>
                      <a:pt x="56" y="449"/>
                      <a:pt x="56" y="439"/>
                    </a:cubicBezTo>
                    <a:cubicBezTo>
                      <a:pt x="56" y="157"/>
                      <a:pt x="56" y="157"/>
                      <a:pt x="56" y="157"/>
                    </a:cubicBezTo>
                    <a:cubicBezTo>
                      <a:pt x="56" y="83"/>
                      <a:pt x="85" y="53"/>
                      <a:pt x="165" y="53"/>
                    </a:cubicBezTo>
                    <a:cubicBezTo>
                      <a:pt x="180" y="53"/>
                      <a:pt x="180" y="53"/>
                      <a:pt x="180" y="53"/>
                    </a:cubicBezTo>
                    <a:cubicBezTo>
                      <a:pt x="192" y="53"/>
                      <a:pt x="196" y="43"/>
                      <a:pt x="196" y="27"/>
                    </a:cubicBezTo>
                    <a:cubicBezTo>
                      <a:pt x="196" y="8"/>
                      <a:pt x="185" y="4"/>
                      <a:pt x="154" y="4"/>
                    </a:cubicBezTo>
                    <a:cubicBezTo>
                      <a:pt x="64" y="4"/>
                      <a:pt x="0" y="43"/>
                      <a:pt x="0" y="152"/>
                    </a:cubicBezTo>
                    <a:lnTo>
                      <a:pt x="0" y="43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22" name="Freeform 7">
                <a:extLst>
                  <a:ext uri="{FF2B5EF4-FFF2-40B4-BE49-F238E27FC236}">
                    <a16:creationId xmlns:a16="http://schemas.microsoft.com/office/drawing/2014/main" id="{2F32DCBD-8628-F245-85CD-97686A20ECFD}"/>
                  </a:ext>
                </a:extLst>
              </p:cNvPr>
              <p:cNvSpPr>
                <a:spLocks/>
              </p:cNvSpPr>
              <p:nvPr/>
            </p:nvSpPr>
            <p:spPr bwMode="gray">
              <a:xfrm>
                <a:off x="2880" y="1704"/>
                <a:ext cx="618" cy="916"/>
              </a:xfrm>
              <a:custGeom>
                <a:avLst/>
                <a:gdLst>
                  <a:gd name="T0" fmla="*/ 307 w 307"/>
                  <a:gd name="T1" fmla="*/ 405 h 455"/>
                  <a:gd name="T2" fmla="*/ 307 w 307"/>
                  <a:gd name="T3" fmla="*/ 244 h 455"/>
                  <a:gd name="T4" fmla="*/ 279 w 307"/>
                  <a:gd name="T5" fmla="*/ 229 h 455"/>
                  <a:gd name="T6" fmla="*/ 250 w 307"/>
                  <a:gd name="T7" fmla="*/ 244 h 455"/>
                  <a:gd name="T8" fmla="*/ 250 w 307"/>
                  <a:gd name="T9" fmla="*/ 378 h 455"/>
                  <a:gd name="T10" fmla="*/ 199 w 307"/>
                  <a:gd name="T11" fmla="*/ 408 h 455"/>
                  <a:gd name="T12" fmla="*/ 61 w 307"/>
                  <a:gd name="T13" fmla="*/ 231 h 455"/>
                  <a:gd name="T14" fmla="*/ 238 w 307"/>
                  <a:gd name="T15" fmla="*/ 49 h 455"/>
                  <a:gd name="T16" fmla="*/ 270 w 307"/>
                  <a:gd name="T17" fmla="*/ 49 h 455"/>
                  <a:gd name="T18" fmla="*/ 286 w 307"/>
                  <a:gd name="T19" fmla="*/ 23 h 455"/>
                  <a:gd name="T20" fmla="*/ 244 w 307"/>
                  <a:gd name="T21" fmla="*/ 0 h 455"/>
                  <a:gd name="T22" fmla="*/ 231 w 307"/>
                  <a:gd name="T23" fmla="*/ 0 h 455"/>
                  <a:gd name="T24" fmla="*/ 0 w 307"/>
                  <a:gd name="T25" fmla="*/ 232 h 455"/>
                  <a:gd name="T26" fmla="*/ 198 w 307"/>
                  <a:gd name="T27" fmla="*/ 455 h 455"/>
                  <a:gd name="T28" fmla="*/ 307 w 307"/>
                  <a:gd name="T29" fmla="*/ 405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7" h="455">
                    <a:moveTo>
                      <a:pt x="307" y="405"/>
                    </a:moveTo>
                    <a:cubicBezTo>
                      <a:pt x="307" y="244"/>
                      <a:pt x="307" y="244"/>
                      <a:pt x="307" y="244"/>
                    </a:cubicBezTo>
                    <a:cubicBezTo>
                      <a:pt x="307" y="234"/>
                      <a:pt x="298" y="229"/>
                      <a:pt x="279" y="229"/>
                    </a:cubicBezTo>
                    <a:cubicBezTo>
                      <a:pt x="259" y="229"/>
                      <a:pt x="250" y="234"/>
                      <a:pt x="250" y="244"/>
                    </a:cubicBezTo>
                    <a:cubicBezTo>
                      <a:pt x="250" y="378"/>
                      <a:pt x="250" y="378"/>
                      <a:pt x="250" y="378"/>
                    </a:cubicBezTo>
                    <a:cubicBezTo>
                      <a:pt x="250" y="399"/>
                      <a:pt x="241" y="408"/>
                      <a:pt x="199" y="408"/>
                    </a:cubicBezTo>
                    <a:cubicBezTo>
                      <a:pt x="114" y="408"/>
                      <a:pt x="61" y="342"/>
                      <a:pt x="61" y="231"/>
                    </a:cubicBezTo>
                    <a:cubicBezTo>
                      <a:pt x="61" y="115"/>
                      <a:pt x="126" y="49"/>
                      <a:pt x="238" y="49"/>
                    </a:cubicBezTo>
                    <a:cubicBezTo>
                      <a:pt x="270" y="49"/>
                      <a:pt x="270" y="49"/>
                      <a:pt x="270" y="49"/>
                    </a:cubicBezTo>
                    <a:cubicBezTo>
                      <a:pt x="282" y="49"/>
                      <a:pt x="286" y="39"/>
                      <a:pt x="286" y="23"/>
                    </a:cubicBezTo>
                    <a:cubicBezTo>
                      <a:pt x="286" y="4"/>
                      <a:pt x="275" y="0"/>
                      <a:pt x="244" y="0"/>
                    </a:cubicBezTo>
                    <a:cubicBezTo>
                      <a:pt x="231" y="0"/>
                      <a:pt x="231" y="0"/>
                      <a:pt x="231" y="0"/>
                    </a:cubicBezTo>
                    <a:cubicBezTo>
                      <a:pt x="101" y="0"/>
                      <a:pt x="0" y="71"/>
                      <a:pt x="0" y="232"/>
                    </a:cubicBezTo>
                    <a:cubicBezTo>
                      <a:pt x="0" y="386"/>
                      <a:pt x="88" y="455"/>
                      <a:pt x="198" y="455"/>
                    </a:cubicBezTo>
                    <a:cubicBezTo>
                      <a:pt x="286" y="455"/>
                      <a:pt x="307" y="430"/>
                      <a:pt x="307" y="40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23" name="Oval 8">
                <a:extLst>
                  <a:ext uri="{FF2B5EF4-FFF2-40B4-BE49-F238E27FC236}">
                    <a16:creationId xmlns:a16="http://schemas.microsoft.com/office/drawing/2014/main" id="{60D97C11-1A3B-5449-A48D-98A3E79B3810}"/>
                  </a:ext>
                </a:extLst>
              </p:cNvPr>
              <p:cNvSpPr>
                <a:spLocks noChangeArrowheads="1"/>
              </p:cNvSpPr>
              <p:nvPr/>
            </p:nvSpPr>
            <p:spPr bwMode="gray">
              <a:xfrm>
                <a:off x="3778" y="2099"/>
                <a:ext cx="122" cy="12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24" name="Freeform 9">
                <a:extLst>
                  <a:ext uri="{FF2B5EF4-FFF2-40B4-BE49-F238E27FC236}">
                    <a16:creationId xmlns:a16="http://schemas.microsoft.com/office/drawing/2014/main" id="{5856770D-B8F0-244E-A05D-AED190086F10}"/>
                  </a:ext>
                </a:extLst>
              </p:cNvPr>
              <p:cNvSpPr>
                <a:spLocks noEditPoints="1"/>
              </p:cNvSpPr>
              <p:nvPr/>
            </p:nvSpPr>
            <p:spPr bwMode="gray">
              <a:xfrm>
                <a:off x="3623" y="1696"/>
                <a:ext cx="1167" cy="922"/>
              </a:xfrm>
              <a:custGeom>
                <a:avLst/>
                <a:gdLst>
                  <a:gd name="T0" fmla="*/ 411 w 580"/>
                  <a:gd name="T1" fmla="*/ 213 h 458"/>
                  <a:gd name="T2" fmla="*/ 570 w 580"/>
                  <a:gd name="T3" fmla="*/ 37 h 458"/>
                  <a:gd name="T4" fmla="*/ 580 w 580"/>
                  <a:gd name="T5" fmla="*/ 20 h 458"/>
                  <a:gd name="T6" fmla="*/ 545 w 580"/>
                  <a:gd name="T7" fmla="*/ 0 h 458"/>
                  <a:gd name="T8" fmla="*/ 519 w 580"/>
                  <a:gd name="T9" fmla="*/ 16 h 458"/>
                  <a:gd name="T10" fmla="*/ 344 w 580"/>
                  <a:gd name="T11" fmla="*/ 210 h 458"/>
                  <a:gd name="T12" fmla="*/ 334 w 580"/>
                  <a:gd name="T13" fmla="*/ 229 h 458"/>
                  <a:gd name="T14" fmla="*/ 344 w 580"/>
                  <a:gd name="T15" fmla="*/ 248 h 458"/>
                  <a:gd name="T16" fmla="*/ 519 w 580"/>
                  <a:gd name="T17" fmla="*/ 442 h 458"/>
                  <a:gd name="T18" fmla="*/ 545 w 580"/>
                  <a:gd name="T19" fmla="*/ 458 h 458"/>
                  <a:gd name="T20" fmla="*/ 580 w 580"/>
                  <a:gd name="T21" fmla="*/ 438 h 458"/>
                  <a:gd name="T22" fmla="*/ 570 w 580"/>
                  <a:gd name="T23" fmla="*/ 421 h 458"/>
                  <a:gd name="T24" fmla="*/ 411 w 580"/>
                  <a:gd name="T25" fmla="*/ 245 h 458"/>
                  <a:gd name="T26" fmla="*/ 399 w 580"/>
                  <a:gd name="T27" fmla="*/ 229 h 458"/>
                  <a:gd name="T28" fmla="*/ 411 w 580"/>
                  <a:gd name="T29" fmla="*/ 213 h 458"/>
                  <a:gd name="T30" fmla="*/ 252 w 580"/>
                  <a:gd name="T31" fmla="*/ 439 h 458"/>
                  <a:gd name="T32" fmla="*/ 281 w 580"/>
                  <a:gd name="T33" fmla="*/ 454 h 458"/>
                  <a:gd name="T34" fmla="*/ 309 w 580"/>
                  <a:gd name="T35" fmla="*/ 439 h 458"/>
                  <a:gd name="T36" fmla="*/ 309 w 580"/>
                  <a:gd name="T37" fmla="*/ 19 h 458"/>
                  <a:gd name="T38" fmla="*/ 281 w 580"/>
                  <a:gd name="T39" fmla="*/ 4 h 458"/>
                  <a:gd name="T40" fmla="*/ 252 w 580"/>
                  <a:gd name="T41" fmla="*/ 19 h 458"/>
                  <a:gd name="T42" fmla="*/ 252 w 580"/>
                  <a:gd name="T43" fmla="*/ 439 h 458"/>
                  <a:gd name="T44" fmla="*/ 0 w 580"/>
                  <a:gd name="T45" fmla="*/ 439 h 458"/>
                  <a:gd name="T46" fmla="*/ 28 w 580"/>
                  <a:gd name="T47" fmla="*/ 454 h 458"/>
                  <a:gd name="T48" fmla="*/ 56 w 580"/>
                  <a:gd name="T49" fmla="*/ 439 h 458"/>
                  <a:gd name="T50" fmla="*/ 56 w 580"/>
                  <a:gd name="T51" fmla="*/ 157 h 458"/>
                  <a:gd name="T52" fmla="*/ 165 w 580"/>
                  <a:gd name="T53" fmla="*/ 53 h 458"/>
                  <a:gd name="T54" fmla="*/ 180 w 580"/>
                  <a:gd name="T55" fmla="*/ 53 h 458"/>
                  <a:gd name="T56" fmla="*/ 196 w 580"/>
                  <a:gd name="T57" fmla="*/ 27 h 458"/>
                  <a:gd name="T58" fmla="*/ 154 w 580"/>
                  <a:gd name="T59" fmla="*/ 4 h 458"/>
                  <a:gd name="T60" fmla="*/ 0 w 580"/>
                  <a:gd name="T61" fmla="*/ 152 h 458"/>
                  <a:gd name="T62" fmla="*/ 0 w 580"/>
                  <a:gd name="T63" fmla="*/ 439 h 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80" h="458">
                    <a:moveTo>
                      <a:pt x="411" y="213"/>
                    </a:moveTo>
                    <a:cubicBezTo>
                      <a:pt x="570" y="37"/>
                      <a:pt x="570" y="37"/>
                      <a:pt x="570" y="37"/>
                    </a:cubicBezTo>
                    <a:cubicBezTo>
                      <a:pt x="576" y="30"/>
                      <a:pt x="580" y="25"/>
                      <a:pt x="580" y="20"/>
                    </a:cubicBezTo>
                    <a:cubicBezTo>
                      <a:pt x="580" y="10"/>
                      <a:pt x="559" y="0"/>
                      <a:pt x="545" y="0"/>
                    </a:cubicBezTo>
                    <a:cubicBezTo>
                      <a:pt x="535" y="0"/>
                      <a:pt x="526" y="8"/>
                      <a:pt x="519" y="16"/>
                    </a:cubicBezTo>
                    <a:cubicBezTo>
                      <a:pt x="344" y="210"/>
                      <a:pt x="344" y="210"/>
                      <a:pt x="344" y="210"/>
                    </a:cubicBezTo>
                    <a:cubicBezTo>
                      <a:pt x="336" y="219"/>
                      <a:pt x="334" y="224"/>
                      <a:pt x="334" y="229"/>
                    </a:cubicBezTo>
                    <a:cubicBezTo>
                      <a:pt x="334" y="234"/>
                      <a:pt x="336" y="239"/>
                      <a:pt x="344" y="248"/>
                    </a:cubicBezTo>
                    <a:cubicBezTo>
                      <a:pt x="519" y="442"/>
                      <a:pt x="519" y="442"/>
                      <a:pt x="519" y="442"/>
                    </a:cubicBezTo>
                    <a:cubicBezTo>
                      <a:pt x="526" y="450"/>
                      <a:pt x="535" y="458"/>
                      <a:pt x="545" y="458"/>
                    </a:cubicBezTo>
                    <a:cubicBezTo>
                      <a:pt x="559" y="458"/>
                      <a:pt x="580" y="448"/>
                      <a:pt x="580" y="438"/>
                    </a:cubicBezTo>
                    <a:cubicBezTo>
                      <a:pt x="580" y="433"/>
                      <a:pt x="576" y="428"/>
                      <a:pt x="570" y="421"/>
                    </a:cubicBezTo>
                    <a:cubicBezTo>
                      <a:pt x="411" y="245"/>
                      <a:pt x="411" y="245"/>
                      <a:pt x="411" y="245"/>
                    </a:cubicBezTo>
                    <a:cubicBezTo>
                      <a:pt x="403" y="236"/>
                      <a:pt x="399" y="232"/>
                      <a:pt x="399" y="229"/>
                    </a:cubicBezTo>
                    <a:cubicBezTo>
                      <a:pt x="399" y="226"/>
                      <a:pt x="403" y="222"/>
                      <a:pt x="411" y="213"/>
                    </a:cubicBezTo>
                    <a:moveTo>
                      <a:pt x="252" y="439"/>
                    </a:moveTo>
                    <a:cubicBezTo>
                      <a:pt x="252" y="449"/>
                      <a:pt x="261" y="454"/>
                      <a:pt x="281" y="454"/>
                    </a:cubicBezTo>
                    <a:cubicBezTo>
                      <a:pt x="300" y="454"/>
                      <a:pt x="309" y="449"/>
                      <a:pt x="309" y="439"/>
                    </a:cubicBezTo>
                    <a:cubicBezTo>
                      <a:pt x="309" y="19"/>
                      <a:pt x="309" y="19"/>
                      <a:pt x="309" y="19"/>
                    </a:cubicBezTo>
                    <a:cubicBezTo>
                      <a:pt x="309" y="9"/>
                      <a:pt x="300" y="4"/>
                      <a:pt x="281" y="4"/>
                    </a:cubicBezTo>
                    <a:cubicBezTo>
                      <a:pt x="261" y="4"/>
                      <a:pt x="252" y="9"/>
                      <a:pt x="252" y="19"/>
                    </a:cubicBezTo>
                    <a:lnTo>
                      <a:pt x="252" y="439"/>
                    </a:lnTo>
                    <a:close/>
                    <a:moveTo>
                      <a:pt x="0" y="439"/>
                    </a:moveTo>
                    <a:cubicBezTo>
                      <a:pt x="0" y="449"/>
                      <a:pt x="8" y="454"/>
                      <a:pt x="28" y="454"/>
                    </a:cubicBezTo>
                    <a:cubicBezTo>
                      <a:pt x="48" y="454"/>
                      <a:pt x="56" y="449"/>
                      <a:pt x="56" y="439"/>
                    </a:cubicBezTo>
                    <a:cubicBezTo>
                      <a:pt x="56" y="157"/>
                      <a:pt x="56" y="157"/>
                      <a:pt x="56" y="157"/>
                    </a:cubicBezTo>
                    <a:cubicBezTo>
                      <a:pt x="56" y="83"/>
                      <a:pt x="85" y="53"/>
                      <a:pt x="165" y="53"/>
                    </a:cubicBezTo>
                    <a:cubicBezTo>
                      <a:pt x="180" y="53"/>
                      <a:pt x="180" y="53"/>
                      <a:pt x="180" y="53"/>
                    </a:cubicBezTo>
                    <a:cubicBezTo>
                      <a:pt x="192" y="53"/>
                      <a:pt x="196" y="43"/>
                      <a:pt x="196" y="27"/>
                    </a:cubicBezTo>
                    <a:cubicBezTo>
                      <a:pt x="196" y="8"/>
                      <a:pt x="185" y="4"/>
                      <a:pt x="154" y="4"/>
                    </a:cubicBezTo>
                    <a:cubicBezTo>
                      <a:pt x="64" y="4"/>
                      <a:pt x="0" y="43"/>
                      <a:pt x="0" y="152"/>
                    </a:cubicBezTo>
                    <a:lnTo>
                      <a:pt x="0" y="43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25" name="Freeform 10">
                <a:extLst>
                  <a:ext uri="{FF2B5EF4-FFF2-40B4-BE49-F238E27FC236}">
                    <a16:creationId xmlns:a16="http://schemas.microsoft.com/office/drawing/2014/main" id="{2B91B16B-BC11-E547-8FAC-B9B8D18EA449}"/>
                  </a:ext>
                </a:extLst>
              </p:cNvPr>
              <p:cNvSpPr>
                <a:spLocks/>
              </p:cNvSpPr>
              <p:nvPr/>
            </p:nvSpPr>
            <p:spPr bwMode="gray">
              <a:xfrm>
                <a:off x="2880" y="1704"/>
                <a:ext cx="618" cy="916"/>
              </a:xfrm>
              <a:custGeom>
                <a:avLst/>
                <a:gdLst>
                  <a:gd name="T0" fmla="*/ 307 w 307"/>
                  <a:gd name="T1" fmla="*/ 405 h 455"/>
                  <a:gd name="T2" fmla="*/ 307 w 307"/>
                  <a:gd name="T3" fmla="*/ 244 h 455"/>
                  <a:gd name="T4" fmla="*/ 279 w 307"/>
                  <a:gd name="T5" fmla="*/ 229 h 455"/>
                  <a:gd name="T6" fmla="*/ 250 w 307"/>
                  <a:gd name="T7" fmla="*/ 244 h 455"/>
                  <a:gd name="T8" fmla="*/ 250 w 307"/>
                  <a:gd name="T9" fmla="*/ 378 h 455"/>
                  <a:gd name="T10" fmla="*/ 199 w 307"/>
                  <a:gd name="T11" fmla="*/ 408 h 455"/>
                  <a:gd name="T12" fmla="*/ 61 w 307"/>
                  <a:gd name="T13" fmla="*/ 231 h 455"/>
                  <a:gd name="T14" fmla="*/ 238 w 307"/>
                  <a:gd name="T15" fmla="*/ 49 h 455"/>
                  <a:gd name="T16" fmla="*/ 270 w 307"/>
                  <a:gd name="T17" fmla="*/ 49 h 455"/>
                  <a:gd name="T18" fmla="*/ 286 w 307"/>
                  <a:gd name="T19" fmla="*/ 23 h 455"/>
                  <a:gd name="T20" fmla="*/ 244 w 307"/>
                  <a:gd name="T21" fmla="*/ 0 h 455"/>
                  <a:gd name="T22" fmla="*/ 231 w 307"/>
                  <a:gd name="T23" fmla="*/ 0 h 455"/>
                  <a:gd name="T24" fmla="*/ 0 w 307"/>
                  <a:gd name="T25" fmla="*/ 232 h 455"/>
                  <a:gd name="T26" fmla="*/ 198 w 307"/>
                  <a:gd name="T27" fmla="*/ 455 h 455"/>
                  <a:gd name="T28" fmla="*/ 307 w 307"/>
                  <a:gd name="T29" fmla="*/ 405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7" h="455">
                    <a:moveTo>
                      <a:pt x="307" y="405"/>
                    </a:moveTo>
                    <a:cubicBezTo>
                      <a:pt x="307" y="244"/>
                      <a:pt x="307" y="244"/>
                      <a:pt x="307" y="244"/>
                    </a:cubicBezTo>
                    <a:cubicBezTo>
                      <a:pt x="307" y="234"/>
                      <a:pt x="298" y="229"/>
                      <a:pt x="279" y="229"/>
                    </a:cubicBezTo>
                    <a:cubicBezTo>
                      <a:pt x="259" y="229"/>
                      <a:pt x="250" y="234"/>
                      <a:pt x="250" y="244"/>
                    </a:cubicBezTo>
                    <a:cubicBezTo>
                      <a:pt x="250" y="378"/>
                      <a:pt x="250" y="378"/>
                      <a:pt x="250" y="378"/>
                    </a:cubicBezTo>
                    <a:cubicBezTo>
                      <a:pt x="250" y="399"/>
                      <a:pt x="241" y="408"/>
                      <a:pt x="199" y="408"/>
                    </a:cubicBezTo>
                    <a:cubicBezTo>
                      <a:pt x="114" y="408"/>
                      <a:pt x="61" y="342"/>
                      <a:pt x="61" y="231"/>
                    </a:cubicBezTo>
                    <a:cubicBezTo>
                      <a:pt x="61" y="115"/>
                      <a:pt x="126" y="49"/>
                      <a:pt x="238" y="49"/>
                    </a:cubicBezTo>
                    <a:cubicBezTo>
                      <a:pt x="270" y="49"/>
                      <a:pt x="270" y="49"/>
                      <a:pt x="270" y="49"/>
                    </a:cubicBezTo>
                    <a:cubicBezTo>
                      <a:pt x="282" y="49"/>
                      <a:pt x="286" y="39"/>
                      <a:pt x="286" y="23"/>
                    </a:cubicBezTo>
                    <a:cubicBezTo>
                      <a:pt x="286" y="4"/>
                      <a:pt x="275" y="0"/>
                      <a:pt x="244" y="0"/>
                    </a:cubicBezTo>
                    <a:cubicBezTo>
                      <a:pt x="231" y="0"/>
                      <a:pt x="231" y="0"/>
                      <a:pt x="231" y="0"/>
                    </a:cubicBezTo>
                    <a:cubicBezTo>
                      <a:pt x="101" y="0"/>
                      <a:pt x="0" y="71"/>
                      <a:pt x="0" y="232"/>
                    </a:cubicBezTo>
                    <a:cubicBezTo>
                      <a:pt x="0" y="386"/>
                      <a:pt x="88" y="455"/>
                      <a:pt x="198" y="455"/>
                    </a:cubicBezTo>
                    <a:cubicBezTo>
                      <a:pt x="286" y="455"/>
                      <a:pt x="307" y="430"/>
                      <a:pt x="307" y="40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26" name="Oval 11">
                <a:extLst>
                  <a:ext uri="{FF2B5EF4-FFF2-40B4-BE49-F238E27FC236}">
                    <a16:creationId xmlns:a16="http://schemas.microsoft.com/office/drawing/2014/main" id="{14F8C3C8-4888-7646-B9B4-64EB46A1DA23}"/>
                  </a:ext>
                </a:extLst>
              </p:cNvPr>
              <p:cNvSpPr>
                <a:spLocks noChangeArrowheads="1"/>
              </p:cNvSpPr>
              <p:nvPr/>
            </p:nvSpPr>
            <p:spPr bwMode="gray">
              <a:xfrm>
                <a:off x="3778" y="2099"/>
                <a:ext cx="122" cy="12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27" name="Freeform 12">
                <a:extLst>
                  <a:ext uri="{FF2B5EF4-FFF2-40B4-BE49-F238E27FC236}">
                    <a16:creationId xmlns:a16="http://schemas.microsoft.com/office/drawing/2014/main" id="{D79D01D1-4E3E-F34B-97D7-2D387E68746E}"/>
                  </a:ext>
                </a:extLst>
              </p:cNvPr>
              <p:cNvSpPr>
                <a:spLocks/>
              </p:cNvSpPr>
              <p:nvPr/>
            </p:nvSpPr>
            <p:spPr bwMode="gray">
              <a:xfrm>
                <a:off x="4321" y="1029"/>
                <a:ext cx="648" cy="649"/>
              </a:xfrm>
              <a:custGeom>
                <a:avLst/>
                <a:gdLst>
                  <a:gd name="T0" fmla="*/ 0 w 648"/>
                  <a:gd name="T1" fmla="*/ 649 h 649"/>
                  <a:gd name="T2" fmla="*/ 2 w 648"/>
                  <a:gd name="T3" fmla="*/ 649 h 649"/>
                  <a:gd name="T4" fmla="*/ 648 w 648"/>
                  <a:gd name="T5" fmla="*/ 0 h 649"/>
                  <a:gd name="T6" fmla="*/ 423 w 648"/>
                  <a:gd name="T7" fmla="*/ 0 h 649"/>
                  <a:gd name="T8" fmla="*/ 0 w 648"/>
                  <a:gd name="T9" fmla="*/ 649 h 649"/>
                </a:gdLst>
                <a:ahLst/>
                <a:cxnLst>
                  <a:cxn ang="0">
                    <a:pos x="T0" y="T1"/>
                  </a:cxn>
                  <a:cxn ang="0">
                    <a:pos x="T2" y="T3"/>
                  </a:cxn>
                  <a:cxn ang="0">
                    <a:pos x="T4" y="T5"/>
                  </a:cxn>
                  <a:cxn ang="0">
                    <a:pos x="T6" y="T7"/>
                  </a:cxn>
                  <a:cxn ang="0">
                    <a:pos x="T8" y="T9"/>
                  </a:cxn>
                </a:cxnLst>
                <a:rect l="0" t="0" r="r" b="b"/>
                <a:pathLst>
                  <a:path w="648" h="649">
                    <a:moveTo>
                      <a:pt x="0" y="649"/>
                    </a:moveTo>
                    <a:lnTo>
                      <a:pt x="2" y="649"/>
                    </a:lnTo>
                    <a:lnTo>
                      <a:pt x="648" y="0"/>
                    </a:lnTo>
                    <a:lnTo>
                      <a:pt x="423" y="0"/>
                    </a:lnTo>
                    <a:lnTo>
                      <a:pt x="0" y="64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28" name="Freeform 13">
                <a:extLst>
                  <a:ext uri="{FF2B5EF4-FFF2-40B4-BE49-F238E27FC236}">
                    <a16:creationId xmlns:a16="http://schemas.microsoft.com/office/drawing/2014/main" id="{46549898-6C52-B147-A8F6-A73FDBE6163B}"/>
                  </a:ext>
                </a:extLst>
              </p:cNvPr>
              <p:cNvSpPr>
                <a:spLocks/>
              </p:cNvSpPr>
              <p:nvPr/>
            </p:nvSpPr>
            <p:spPr bwMode="gray">
              <a:xfrm>
                <a:off x="4321" y="1029"/>
                <a:ext cx="648" cy="649"/>
              </a:xfrm>
              <a:custGeom>
                <a:avLst/>
                <a:gdLst>
                  <a:gd name="T0" fmla="*/ 0 w 648"/>
                  <a:gd name="T1" fmla="*/ 649 h 649"/>
                  <a:gd name="T2" fmla="*/ 2 w 648"/>
                  <a:gd name="T3" fmla="*/ 649 h 649"/>
                  <a:gd name="T4" fmla="*/ 648 w 648"/>
                  <a:gd name="T5" fmla="*/ 0 h 649"/>
                  <a:gd name="T6" fmla="*/ 423 w 648"/>
                  <a:gd name="T7" fmla="*/ 0 h 649"/>
                  <a:gd name="T8" fmla="*/ 0 w 648"/>
                  <a:gd name="T9" fmla="*/ 649 h 649"/>
                </a:gdLst>
                <a:ahLst/>
                <a:cxnLst>
                  <a:cxn ang="0">
                    <a:pos x="T0" y="T1"/>
                  </a:cxn>
                  <a:cxn ang="0">
                    <a:pos x="T2" y="T3"/>
                  </a:cxn>
                  <a:cxn ang="0">
                    <a:pos x="T4" y="T5"/>
                  </a:cxn>
                  <a:cxn ang="0">
                    <a:pos x="T6" y="T7"/>
                  </a:cxn>
                  <a:cxn ang="0">
                    <a:pos x="T8" y="T9"/>
                  </a:cxn>
                </a:cxnLst>
                <a:rect l="0" t="0" r="r" b="b"/>
                <a:pathLst>
                  <a:path w="648" h="649">
                    <a:moveTo>
                      <a:pt x="0" y="649"/>
                    </a:moveTo>
                    <a:lnTo>
                      <a:pt x="2" y="649"/>
                    </a:lnTo>
                    <a:lnTo>
                      <a:pt x="648" y="0"/>
                    </a:lnTo>
                    <a:lnTo>
                      <a:pt x="423" y="0"/>
                    </a:lnTo>
                    <a:lnTo>
                      <a:pt x="0" y="64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grpSp>
      </p:grpSp>
      <p:sp>
        <p:nvSpPr>
          <p:cNvPr id="7" name="Date Placeholder 6"/>
          <p:cNvSpPr>
            <a:spLocks noGrp="1"/>
          </p:cNvSpPr>
          <p:nvPr>
            <p:ph type="dt" sz="half" idx="10"/>
          </p:nvPr>
        </p:nvSpPr>
        <p:spPr>
          <a:xfrm>
            <a:off x="0" y="0"/>
            <a:ext cx="0" cy="0"/>
          </a:xfrm>
          <a:prstGeom prst="rect">
            <a:avLst/>
          </a:prstGeom>
        </p:spPr>
        <p:txBody>
          <a:bodyPr/>
          <a:lstStyle>
            <a:lvl1pPr>
              <a:defRPr sz="100">
                <a:noFill/>
              </a:defRPr>
            </a:lvl1pPr>
          </a:lstStyle>
          <a:p>
            <a:endParaRPr lang="en-US"/>
          </a:p>
        </p:txBody>
      </p:sp>
      <p:sp>
        <p:nvSpPr>
          <p:cNvPr id="8" name="Footer Placeholder 7"/>
          <p:cNvSpPr>
            <a:spLocks noGrp="1"/>
          </p:cNvSpPr>
          <p:nvPr>
            <p:ph type="ftr" sz="quarter" idx="11"/>
          </p:nvPr>
        </p:nvSpPr>
        <p:spPr>
          <a:xfrm>
            <a:off x="0" y="0"/>
            <a:ext cx="0" cy="0"/>
          </a:xfrm>
          <a:prstGeom prst="rect">
            <a:avLst/>
          </a:prstGeom>
        </p:spPr>
        <p:txBody>
          <a:bodyPr/>
          <a:lstStyle>
            <a:lvl1pPr marL="0" indent="0">
              <a:buNone/>
              <a:defRPr sz="100">
                <a:noFill/>
              </a:defRPr>
            </a:lvl1pPr>
          </a:lstStyle>
          <a:p>
            <a:endParaRPr lang="en-US"/>
          </a:p>
        </p:txBody>
      </p:sp>
      <p:sp>
        <p:nvSpPr>
          <p:cNvPr id="9" name="Slide Number Placeholder 8"/>
          <p:cNvSpPr>
            <a:spLocks noGrp="1"/>
          </p:cNvSpPr>
          <p:nvPr>
            <p:ph type="sldNum" sz="quarter" idx="12"/>
          </p:nvPr>
        </p:nvSpPr>
        <p:spPr>
          <a:xfrm>
            <a:off x="0" y="0"/>
            <a:ext cx="0" cy="0"/>
          </a:xfrm>
          <a:prstGeom prst="rect">
            <a:avLst/>
          </a:prstGeom>
        </p:spPr>
        <p:txBody>
          <a:bodyPr/>
          <a:lstStyle>
            <a:lvl1pPr>
              <a:defRPr sz="100">
                <a:noFill/>
              </a:defRPr>
            </a:lvl1pPr>
          </a:lstStyle>
          <a:p>
            <a:fld id="{8E3B25F7-8D1F-44B5-B485-EE3C438CFD7B}" type="slidenum">
              <a:rPr lang="en-US" smtClean="0"/>
              <a:pPr/>
              <a:t>‹#›</a:t>
            </a:fld>
            <a:endParaRPr lang="en-US"/>
          </a:p>
        </p:txBody>
      </p:sp>
      <p:sp>
        <p:nvSpPr>
          <p:cNvPr id="2" name="Title 1"/>
          <p:cNvSpPr>
            <a:spLocks noGrp="1"/>
          </p:cNvSpPr>
          <p:nvPr>
            <p:ph type="ctrTitle" hasCustomPrompt="1"/>
          </p:nvPr>
        </p:nvSpPr>
        <p:spPr>
          <a:xfrm>
            <a:off x="417600" y="1628775"/>
            <a:ext cx="3816000" cy="2236264"/>
          </a:xfrm>
        </p:spPr>
        <p:txBody>
          <a:bodyPr anchor="b"/>
          <a:lstStyle>
            <a:lvl1pPr algn="l">
              <a:defRPr sz="3600" baseline="0"/>
            </a:lvl1pPr>
          </a:lstStyle>
          <a:p>
            <a:r>
              <a:rPr lang="en-US"/>
              <a:t>Click to add presentation title</a:t>
            </a:r>
          </a:p>
        </p:txBody>
      </p:sp>
      <p:sp>
        <p:nvSpPr>
          <p:cNvPr id="3" name="Subtitle 2"/>
          <p:cNvSpPr>
            <a:spLocks noGrp="1"/>
          </p:cNvSpPr>
          <p:nvPr>
            <p:ph type="subTitle" idx="1" hasCustomPrompt="1"/>
          </p:nvPr>
        </p:nvSpPr>
        <p:spPr>
          <a:xfrm>
            <a:off x="417600" y="4094163"/>
            <a:ext cx="3816000" cy="1080000"/>
          </a:xfrm>
        </p:spPr>
        <p:txBody>
          <a:bodyPr/>
          <a:lstStyle>
            <a:lvl1pPr marL="0" indent="0" algn="l">
              <a:spcBef>
                <a:spcPts val="0"/>
              </a:spcBef>
              <a:buNone/>
              <a:defRPr sz="1800" b="1"/>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sp>
        <p:nvSpPr>
          <p:cNvPr id="31" name="Text Placeholder 30"/>
          <p:cNvSpPr>
            <a:spLocks noGrp="1"/>
          </p:cNvSpPr>
          <p:nvPr>
            <p:ph type="body" sz="quarter" idx="14" hasCustomPrompt="1"/>
          </p:nvPr>
        </p:nvSpPr>
        <p:spPr>
          <a:xfrm>
            <a:off x="417600" y="5393268"/>
            <a:ext cx="3816000" cy="296332"/>
          </a:xfrm>
        </p:spPr>
        <p:txBody>
          <a:bodyPr wrap="none"/>
          <a:lstStyle>
            <a:lvl1pPr marL="0" indent="0">
              <a:spcBef>
                <a:spcPts val="0"/>
              </a:spcBef>
              <a:buNone/>
              <a:defRPr sz="1200"/>
            </a:lvl1pPr>
            <a:lvl2pPr marL="0" indent="0">
              <a:buNone/>
              <a:defRPr sz="1200"/>
            </a:lvl2pPr>
            <a:lvl3pPr marL="0" indent="0">
              <a:buNone/>
              <a:defRPr sz="1200"/>
            </a:lvl3pPr>
            <a:lvl4pPr marL="0">
              <a:buNone/>
              <a:defRPr sz="1200"/>
            </a:lvl4pPr>
            <a:lvl5pPr marL="0" indent="0">
              <a:buNone/>
              <a:defRPr sz="1200"/>
            </a:lvl5pPr>
          </a:lstStyle>
          <a:p>
            <a:pPr lvl="0"/>
            <a:r>
              <a:rPr lang="en-US"/>
              <a:t>Name</a:t>
            </a:r>
          </a:p>
        </p:txBody>
      </p:sp>
      <p:sp>
        <p:nvSpPr>
          <p:cNvPr id="34" name="Text Placeholder 30"/>
          <p:cNvSpPr>
            <a:spLocks noGrp="1"/>
          </p:cNvSpPr>
          <p:nvPr>
            <p:ph type="body" sz="quarter" idx="15" hasCustomPrompt="1"/>
          </p:nvPr>
        </p:nvSpPr>
        <p:spPr>
          <a:xfrm>
            <a:off x="417600" y="5691446"/>
            <a:ext cx="3816000" cy="296332"/>
          </a:xfrm>
        </p:spPr>
        <p:txBody>
          <a:bodyPr wrap="none"/>
          <a:lstStyle>
            <a:lvl1pPr marL="0" indent="0">
              <a:spcBef>
                <a:spcPts val="0"/>
              </a:spcBef>
              <a:buNone/>
              <a:defRPr sz="1200"/>
            </a:lvl1pPr>
            <a:lvl2pPr marL="0" indent="0">
              <a:buNone/>
              <a:defRPr sz="1200"/>
            </a:lvl2pPr>
            <a:lvl3pPr marL="0" indent="0">
              <a:buNone/>
              <a:defRPr sz="1200"/>
            </a:lvl3pPr>
            <a:lvl4pPr marL="0">
              <a:buNone/>
              <a:defRPr sz="1200"/>
            </a:lvl4pPr>
            <a:lvl5pPr marL="0" indent="0">
              <a:buNone/>
              <a:defRPr sz="1200"/>
            </a:lvl5pPr>
          </a:lstStyle>
          <a:p>
            <a:pPr lvl="0"/>
            <a:r>
              <a:rPr lang="en-US"/>
              <a:t>Department</a:t>
            </a:r>
          </a:p>
        </p:txBody>
      </p:sp>
    </p:spTree>
    <p:extLst>
      <p:ext uri="{BB962C8B-B14F-4D97-AF65-F5344CB8AC3E}">
        <p14:creationId xmlns:p14="http://schemas.microsoft.com/office/powerpoint/2010/main" val="865784866"/>
      </p:ext>
    </p:extLst>
  </p:cSld>
  <p:clrMapOvr>
    <a:masterClrMapping/>
  </p:clrMapOvr>
</p:sldLayout>
</file>

<file path=ppt/slideLayouts/slideLayout277.xml><?xml version="1.0" encoding="utf-8"?>
<p:sldLayout xmlns:a="http://schemas.openxmlformats.org/drawingml/2006/main" xmlns:r="http://schemas.openxmlformats.org/officeDocument/2006/relationships" xmlns:p="http://schemas.openxmlformats.org/presentationml/2006/main" showMasterSp="0" preserve="1">
  <p:cSld name="Title 2">
    <p:spTree>
      <p:nvGrpSpPr>
        <p:cNvPr id="1" name=""/>
        <p:cNvGrpSpPr/>
        <p:nvPr/>
      </p:nvGrpSpPr>
      <p:grpSpPr>
        <a:xfrm>
          <a:off x="0" y="0"/>
          <a:ext cx="0" cy="0"/>
          <a:chOff x="0" y="0"/>
          <a:chExt cx="0" cy="0"/>
        </a:xfrm>
      </p:grpSpPr>
      <p:pic>
        <p:nvPicPr>
          <p:cNvPr id="29" name="picture">
            <a:extLst>
              <a:ext uri="{FF2B5EF4-FFF2-40B4-BE49-F238E27FC236}">
                <a16:creationId xmlns:a16="http://schemas.microsoft.com/office/drawing/2014/main" id="{8BF907F5-A9CD-2740-AF54-6BACB62334AE}"/>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2620212" y="-8808"/>
            <a:ext cx="9697299" cy="6866807"/>
          </a:xfrm>
          <a:prstGeom prst="rect">
            <a:avLst/>
          </a:prstGeom>
        </p:spPr>
      </p:pic>
      <p:sp>
        <p:nvSpPr>
          <p:cNvPr id="32" name="shpPicture"/>
          <p:cNvSpPr/>
          <p:nvPr/>
        </p:nvSpPr>
        <p:spPr>
          <a:xfrm>
            <a:off x="1" y="0"/>
            <a:ext cx="4112145" cy="6858000"/>
          </a:xfrm>
          <a:custGeom>
            <a:avLst/>
            <a:gdLst>
              <a:gd name="connsiteX0" fmla="*/ 0 w 4112145"/>
              <a:gd name="connsiteY0" fmla="*/ 0 h 6858000"/>
              <a:gd name="connsiteX1" fmla="*/ 2588964 w 4112145"/>
              <a:gd name="connsiteY1" fmla="*/ 0 h 6858000"/>
              <a:gd name="connsiteX2" fmla="*/ 4112145 w 4112145"/>
              <a:gd name="connsiteY2" fmla="*/ 3083531 h 6858000"/>
              <a:gd name="connsiteX3" fmla="*/ 2697661 w 4112145"/>
              <a:gd name="connsiteY3" fmla="*/ 6858000 h 6858000"/>
              <a:gd name="connsiteX4" fmla="*/ 0 w 4112145"/>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12145" h="6858000">
                <a:moveTo>
                  <a:pt x="0" y="0"/>
                </a:moveTo>
                <a:lnTo>
                  <a:pt x="2588964" y="0"/>
                </a:lnTo>
                <a:lnTo>
                  <a:pt x="4112145" y="3083531"/>
                </a:lnTo>
                <a:lnTo>
                  <a:pt x="2697661"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US" sz="1600"/>
          </a:p>
        </p:txBody>
      </p:sp>
      <p:grpSp>
        <p:nvGrpSpPr>
          <p:cNvPr id="14" name="logo">
            <a:extLst>
              <a:ext uri="{FF2B5EF4-FFF2-40B4-BE49-F238E27FC236}">
                <a16:creationId xmlns:a16="http://schemas.microsoft.com/office/drawing/2014/main" id="{18C26D95-70F8-8A4D-9F18-DCCB92522AF8}"/>
              </a:ext>
            </a:extLst>
          </p:cNvPr>
          <p:cNvGrpSpPr/>
          <p:nvPr/>
        </p:nvGrpSpPr>
        <p:grpSpPr bwMode="gray">
          <a:xfrm>
            <a:off x="417363" y="407485"/>
            <a:ext cx="1518585" cy="646507"/>
            <a:chOff x="334963" y="296652"/>
            <a:chExt cx="1268411" cy="540000"/>
          </a:xfrm>
        </p:grpSpPr>
        <p:sp>
          <p:nvSpPr>
            <p:cNvPr id="17" name="Freeform 6">
              <a:extLst>
                <a:ext uri="{FF2B5EF4-FFF2-40B4-BE49-F238E27FC236}">
                  <a16:creationId xmlns:a16="http://schemas.microsoft.com/office/drawing/2014/main" id="{08737AD0-E375-E445-97E6-CD2E2DF60620}"/>
                </a:ext>
              </a:extLst>
            </p:cNvPr>
            <p:cNvSpPr>
              <a:spLocks noEditPoints="1"/>
            </p:cNvSpPr>
            <p:nvPr/>
          </p:nvSpPr>
          <p:spPr bwMode="gray">
            <a:xfrm>
              <a:off x="982662" y="360462"/>
              <a:ext cx="620712" cy="431800"/>
            </a:xfrm>
            <a:custGeom>
              <a:avLst/>
              <a:gdLst>
                <a:gd name="T0" fmla="*/ 19 w 1809"/>
                <a:gd name="T1" fmla="*/ 97 h 1253"/>
                <a:gd name="T2" fmla="*/ 165 w 1809"/>
                <a:gd name="T3" fmla="*/ 41 h 1253"/>
                <a:gd name="T4" fmla="*/ 211 w 1809"/>
                <a:gd name="T5" fmla="*/ 224 h 1253"/>
                <a:gd name="T6" fmla="*/ 248 w 1809"/>
                <a:gd name="T7" fmla="*/ 155 h 1253"/>
                <a:gd name="T8" fmla="*/ 931 w 1809"/>
                <a:gd name="T9" fmla="*/ 995 h 1253"/>
                <a:gd name="T10" fmla="*/ 858 w 1809"/>
                <a:gd name="T11" fmla="*/ 1115 h 1253"/>
                <a:gd name="T12" fmla="*/ 749 w 1809"/>
                <a:gd name="T13" fmla="*/ 1117 h 1253"/>
                <a:gd name="T14" fmla="*/ 681 w 1809"/>
                <a:gd name="T15" fmla="*/ 1055 h 1253"/>
                <a:gd name="T16" fmla="*/ 800 w 1809"/>
                <a:gd name="T17" fmla="*/ 1054 h 1253"/>
                <a:gd name="T18" fmla="*/ 884 w 1809"/>
                <a:gd name="T19" fmla="*/ 1181 h 1253"/>
                <a:gd name="T20" fmla="*/ 118 w 1809"/>
                <a:gd name="T21" fmla="*/ 1086 h 1253"/>
                <a:gd name="T22" fmla="*/ 147 w 1809"/>
                <a:gd name="T23" fmla="*/ 1026 h 1253"/>
                <a:gd name="T24" fmla="*/ 102 w 1809"/>
                <a:gd name="T25" fmla="*/ 1026 h 1253"/>
                <a:gd name="T26" fmla="*/ 639 w 1809"/>
                <a:gd name="T27" fmla="*/ 84 h 1253"/>
                <a:gd name="T28" fmla="*/ 763 w 1809"/>
                <a:gd name="T29" fmla="*/ 145 h 1253"/>
                <a:gd name="T30" fmla="*/ 863 w 1809"/>
                <a:gd name="T31" fmla="*/ 221 h 1253"/>
                <a:gd name="T32" fmla="*/ 834 w 1809"/>
                <a:gd name="T33" fmla="*/ 208 h 1253"/>
                <a:gd name="T34" fmla="*/ 719 w 1809"/>
                <a:gd name="T35" fmla="*/ 182 h 1253"/>
                <a:gd name="T36" fmla="*/ 507 w 1809"/>
                <a:gd name="T37" fmla="*/ 711 h 1253"/>
                <a:gd name="T38" fmla="*/ 614 w 1809"/>
                <a:gd name="T39" fmla="*/ 706 h 1253"/>
                <a:gd name="T40" fmla="*/ 736 w 1809"/>
                <a:gd name="T41" fmla="*/ 730 h 1253"/>
                <a:gd name="T42" fmla="*/ 607 w 1809"/>
                <a:gd name="T43" fmla="*/ 539 h 1253"/>
                <a:gd name="T44" fmla="*/ 1505 w 1809"/>
                <a:gd name="T45" fmla="*/ 1136 h 1253"/>
                <a:gd name="T46" fmla="*/ 1613 w 1809"/>
                <a:gd name="T47" fmla="*/ 1002 h 1253"/>
                <a:gd name="T48" fmla="*/ 1472 w 1809"/>
                <a:gd name="T49" fmla="*/ 1164 h 1253"/>
                <a:gd name="T50" fmla="*/ 1525 w 1809"/>
                <a:gd name="T51" fmla="*/ 1142 h 1253"/>
                <a:gd name="T52" fmla="*/ 1556 w 1809"/>
                <a:gd name="T53" fmla="*/ 1172 h 1253"/>
                <a:gd name="T54" fmla="*/ 1387 w 1809"/>
                <a:gd name="T55" fmla="*/ 910 h 1253"/>
                <a:gd name="T56" fmla="*/ 1261 w 1809"/>
                <a:gd name="T57" fmla="*/ 1157 h 1253"/>
                <a:gd name="T58" fmla="*/ 1413 w 1809"/>
                <a:gd name="T59" fmla="*/ 934 h 1253"/>
                <a:gd name="T60" fmla="*/ 1378 w 1809"/>
                <a:gd name="T61" fmla="*/ 1052 h 1253"/>
                <a:gd name="T62" fmla="*/ 488 w 1809"/>
                <a:gd name="T63" fmla="*/ 85 h 1253"/>
                <a:gd name="T64" fmla="*/ 509 w 1809"/>
                <a:gd name="T65" fmla="*/ 112 h 1253"/>
                <a:gd name="T66" fmla="*/ 548 w 1809"/>
                <a:gd name="T67" fmla="*/ 1187 h 1253"/>
                <a:gd name="T68" fmla="*/ 472 w 1809"/>
                <a:gd name="T69" fmla="*/ 1122 h 1253"/>
                <a:gd name="T70" fmla="*/ 558 w 1809"/>
                <a:gd name="T71" fmla="*/ 1157 h 1253"/>
                <a:gd name="T72" fmla="*/ 287 w 1809"/>
                <a:gd name="T73" fmla="*/ 654 h 1253"/>
                <a:gd name="T74" fmla="*/ 416 w 1809"/>
                <a:gd name="T75" fmla="*/ 684 h 1253"/>
                <a:gd name="T76" fmla="*/ 1106 w 1809"/>
                <a:gd name="T77" fmla="*/ 147 h 1253"/>
                <a:gd name="T78" fmla="*/ 1229 w 1809"/>
                <a:gd name="T79" fmla="*/ 258 h 1253"/>
                <a:gd name="T80" fmla="*/ 1106 w 1809"/>
                <a:gd name="T81" fmla="*/ 96 h 1253"/>
                <a:gd name="T82" fmla="*/ 1219 w 1809"/>
                <a:gd name="T83" fmla="*/ 1077 h 1253"/>
                <a:gd name="T84" fmla="*/ 1214 w 1809"/>
                <a:gd name="T85" fmla="*/ 1157 h 1253"/>
                <a:gd name="T86" fmla="*/ 1150 w 1809"/>
                <a:gd name="T87" fmla="*/ 1092 h 1253"/>
                <a:gd name="T88" fmla="*/ 1139 w 1809"/>
                <a:gd name="T89" fmla="*/ 1070 h 1253"/>
                <a:gd name="T90" fmla="*/ 1659 w 1809"/>
                <a:gd name="T91" fmla="*/ 1031 h 1253"/>
                <a:gd name="T92" fmla="*/ 1714 w 1809"/>
                <a:gd name="T93" fmla="*/ 1155 h 1253"/>
                <a:gd name="T94" fmla="*/ 1760 w 1809"/>
                <a:gd name="T95" fmla="*/ 1030 h 1253"/>
                <a:gd name="T96" fmla="*/ 111 w 1809"/>
                <a:gd name="T97" fmla="*/ 569 h 1253"/>
                <a:gd name="T98" fmla="*/ 109 w 1809"/>
                <a:gd name="T99" fmla="*/ 460 h 1253"/>
                <a:gd name="T100" fmla="*/ 32 w 1809"/>
                <a:gd name="T101" fmla="*/ 704 h 1253"/>
                <a:gd name="T102" fmla="*/ 310 w 1809"/>
                <a:gd name="T103" fmla="*/ 1058 h 1253"/>
                <a:gd name="T104" fmla="*/ 431 w 1809"/>
                <a:gd name="T105" fmla="*/ 1044 h 1253"/>
                <a:gd name="T106" fmla="*/ 278 w 1809"/>
                <a:gd name="T107" fmla="*/ 1165 h 1253"/>
                <a:gd name="T108" fmla="*/ 261 w 1809"/>
                <a:gd name="T109" fmla="*/ 540 h 1253"/>
                <a:gd name="T110" fmla="*/ 150 w 1809"/>
                <a:gd name="T111" fmla="*/ 635 h 1253"/>
                <a:gd name="T112" fmla="*/ 994 w 1809"/>
                <a:gd name="T113" fmla="*/ 1185 h 1253"/>
                <a:gd name="T114" fmla="*/ 331 w 1809"/>
                <a:gd name="T115" fmla="*/ 176 h 1253"/>
                <a:gd name="T116" fmla="*/ 333 w 1809"/>
                <a:gd name="T117" fmla="*/ 109 h 1253"/>
                <a:gd name="T118" fmla="*/ 946 w 1809"/>
                <a:gd name="T119" fmla="*/ 234 h 1253"/>
                <a:gd name="T120" fmla="*/ 1022 w 1809"/>
                <a:gd name="T121" fmla="*/ 113 h 1253"/>
                <a:gd name="T122" fmla="*/ 949 w 1809"/>
                <a:gd name="T123" fmla="*/ 65 h 1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09" h="1253">
                  <a:moveTo>
                    <a:pt x="248" y="198"/>
                  </a:moveTo>
                  <a:cubicBezTo>
                    <a:pt x="248" y="211"/>
                    <a:pt x="248" y="224"/>
                    <a:pt x="249" y="237"/>
                  </a:cubicBezTo>
                  <a:cubicBezTo>
                    <a:pt x="249" y="245"/>
                    <a:pt x="246" y="249"/>
                    <a:pt x="240" y="253"/>
                  </a:cubicBezTo>
                  <a:cubicBezTo>
                    <a:pt x="231" y="260"/>
                    <a:pt x="220" y="264"/>
                    <a:pt x="209" y="268"/>
                  </a:cubicBezTo>
                  <a:cubicBezTo>
                    <a:pt x="179" y="279"/>
                    <a:pt x="148" y="280"/>
                    <a:pt x="118" y="275"/>
                  </a:cubicBezTo>
                  <a:cubicBezTo>
                    <a:pt x="86" y="269"/>
                    <a:pt x="58" y="252"/>
                    <a:pt x="39" y="224"/>
                  </a:cubicBezTo>
                  <a:cubicBezTo>
                    <a:pt x="24" y="203"/>
                    <a:pt x="18" y="180"/>
                    <a:pt x="15" y="155"/>
                  </a:cubicBezTo>
                  <a:cubicBezTo>
                    <a:pt x="11" y="135"/>
                    <a:pt x="15" y="115"/>
                    <a:pt x="19" y="97"/>
                  </a:cubicBezTo>
                  <a:cubicBezTo>
                    <a:pt x="26" y="68"/>
                    <a:pt x="42" y="44"/>
                    <a:pt x="68" y="27"/>
                  </a:cubicBezTo>
                  <a:cubicBezTo>
                    <a:pt x="87" y="14"/>
                    <a:pt x="109" y="6"/>
                    <a:pt x="133" y="5"/>
                  </a:cubicBezTo>
                  <a:cubicBezTo>
                    <a:pt x="149" y="4"/>
                    <a:pt x="165" y="5"/>
                    <a:pt x="181" y="6"/>
                  </a:cubicBezTo>
                  <a:cubicBezTo>
                    <a:pt x="204" y="8"/>
                    <a:pt x="225" y="20"/>
                    <a:pt x="243" y="35"/>
                  </a:cubicBezTo>
                  <a:cubicBezTo>
                    <a:pt x="246" y="37"/>
                    <a:pt x="246" y="40"/>
                    <a:pt x="244" y="43"/>
                  </a:cubicBezTo>
                  <a:cubicBezTo>
                    <a:pt x="242" y="47"/>
                    <a:pt x="239" y="52"/>
                    <a:pt x="236" y="55"/>
                  </a:cubicBezTo>
                  <a:cubicBezTo>
                    <a:pt x="226" y="65"/>
                    <a:pt x="224" y="65"/>
                    <a:pt x="206" y="54"/>
                  </a:cubicBezTo>
                  <a:cubicBezTo>
                    <a:pt x="193" y="46"/>
                    <a:pt x="180" y="40"/>
                    <a:pt x="165" y="41"/>
                  </a:cubicBezTo>
                  <a:cubicBezTo>
                    <a:pt x="151" y="41"/>
                    <a:pt x="137" y="39"/>
                    <a:pt x="124" y="42"/>
                  </a:cubicBezTo>
                  <a:cubicBezTo>
                    <a:pt x="104" y="46"/>
                    <a:pt x="87" y="57"/>
                    <a:pt x="75" y="74"/>
                  </a:cubicBezTo>
                  <a:cubicBezTo>
                    <a:pt x="56" y="99"/>
                    <a:pt x="51" y="129"/>
                    <a:pt x="55" y="159"/>
                  </a:cubicBezTo>
                  <a:cubicBezTo>
                    <a:pt x="60" y="189"/>
                    <a:pt x="73" y="214"/>
                    <a:pt x="98" y="230"/>
                  </a:cubicBezTo>
                  <a:cubicBezTo>
                    <a:pt x="109" y="237"/>
                    <a:pt x="121" y="242"/>
                    <a:pt x="135" y="241"/>
                  </a:cubicBezTo>
                  <a:cubicBezTo>
                    <a:pt x="146" y="241"/>
                    <a:pt x="158" y="241"/>
                    <a:pt x="169" y="241"/>
                  </a:cubicBezTo>
                  <a:cubicBezTo>
                    <a:pt x="182" y="242"/>
                    <a:pt x="193" y="235"/>
                    <a:pt x="205" y="232"/>
                  </a:cubicBezTo>
                  <a:cubicBezTo>
                    <a:pt x="210" y="231"/>
                    <a:pt x="211" y="227"/>
                    <a:pt x="211" y="224"/>
                  </a:cubicBezTo>
                  <a:cubicBezTo>
                    <a:pt x="211" y="210"/>
                    <a:pt x="211" y="196"/>
                    <a:pt x="211" y="183"/>
                  </a:cubicBezTo>
                  <a:cubicBezTo>
                    <a:pt x="211" y="177"/>
                    <a:pt x="207" y="175"/>
                    <a:pt x="202" y="175"/>
                  </a:cubicBezTo>
                  <a:cubicBezTo>
                    <a:pt x="193" y="175"/>
                    <a:pt x="184" y="175"/>
                    <a:pt x="175" y="175"/>
                  </a:cubicBezTo>
                  <a:cubicBezTo>
                    <a:pt x="171" y="175"/>
                    <a:pt x="168" y="174"/>
                    <a:pt x="166" y="171"/>
                  </a:cubicBezTo>
                  <a:cubicBezTo>
                    <a:pt x="163" y="163"/>
                    <a:pt x="164" y="154"/>
                    <a:pt x="166" y="146"/>
                  </a:cubicBezTo>
                  <a:cubicBezTo>
                    <a:pt x="167" y="142"/>
                    <a:pt x="171" y="142"/>
                    <a:pt x="175" y="142"/>
                  </a:cubicBezTo>
                  <a:cubicBezTo>
                    <a:pt x="196" y="142"/>
                    <a:pt x="217" y="142"/>
                    <a:pt x="238" y="142"/>
                  </a:cubicBezTo>
                  <a:cubicBezTo>
                    <a:pt x="247" y="142"/>
                    <a:pt x="248" y="148"/>
                    <a:pt x="248" y="155"/>
                  </a:cubicBezTo>
                  <a:cubicBezTo>
                    <a:pt x="249" y="169"/>
                    <a:pt x="248" y="183"/>
                    <a:pt x="248" y="198"/>
                  </a:cubicBezTo>
                  <a:close/>
                  <a:moveTo>
                    <a:pt x="884" y="1181"/>
                  </a:moveTo>
                  <a:cubicBezTo>
                    <a:pt x="889" y="1167"/>
                    <a:pt x="894" y="1152"/>
                    <a:pt x="898" y="1137"/>
                  </a:cubicBezTo>
                  <a:cubicBezTo>
                    <a:pt x="901" y="1127"/>
                    <a:pt x="905" y="1116"/>
                    <a:pt x="908" y="1106"/>
                  </a:cubicBezTo>
                  <a:cubicBezTo>
                    <a:pt x="911" y="1098"/>
                    <a:pt x="912" y="1089"/>
                    <a:pt x="916" y="1081"/>
                  </a:cubicBezTo>
                  <a:cubicBezTo>
                    <a:pt x="921" y="1072"/>
                    <a:pt x="923" y="1060"/>
                    <a:pt x="927" y="1050"/>
                  </a:cubicBezTo>
                  <a:cubicBezTo>
                    <a:pt x="932" y="1037"/>
                    <a:pt x="934" y="1023"/>
                    <a:pt x="940" y="1010"/>
                  </a:cubicBezTo>
                  <a:cubicBezTo>
                    <a:pt x="945" y="1001"/>
                    <a:pt x="941" y="995"/>
                    <a:pt x="931" y="995"/>
                  </a:cubicBezTo>
                  <a:cubicBezTo>
                    <a:pt x="927" y="995"/>
                    <a:pt x="922" y="995"/>
                    <a:pt x="918" y="995"/>
                  </a:cubicBezTo>
                  <a:cubicBezTo>
                    <a:pt x="913" y="995"/>
                    <a:pt x="908" y="997"/>
                    <a:pt x="907" y="1001"/>
                  </a:cubicBezTo>
                  <a:cubicBezTo>
                    <a:pt x="904" y="1008"/>
                    <a:pt x="900" y="1015"/>
                    <a:pt x="899" y="1023"/>
                  </a:cubicBezTo>
                  <a:cubicBezTo>
                    <a:pt x="897" y="1034"/>
                    <a:pt x="893" y="1045"/>
                    <a:pt x="889" y="1055"/>
                  </a:cubicBezTo>
                  <a:cubicBezTo>
                    <a:pt x="887" y="1064"/>
                    <a:pt x="885" y="1072"/>
                    <a:pt x="882" y="1080"/>
                  </a:cubicBezTo>
                  <a:cubicBezTo>
                    <a:pt x="878" y="1091"/>
                    <a:pt x="874" y="1103"/>
                    <a:pt x="871" y="1115"/>
                  </a:cubicBezTo>
                  <a:cubicBezTo>
                    <a:pt x="870" y="1118"/>
                    <a:pt x="871" y="1124"/>
                    <a:pt x="866" y="1124"/>
                  </a:cubicBezTo>
                  <a:cubicBezTo>
                    <a:pt x="861" y="1125"/>
                    <a:pt x="859" y="1120"/>
                    <a:pt x="858" y="1115"/>
                  </a:cubicBezTo>
                  <a:cubicBezTo>
                    <a:pt x="856" y="1110"/>
                    <a:pt x="856" y="1104"/>
                    <a:pt x="854" y="1099"/>
                  </a:cubicBezTo>
                  <a:cubicBezTo>
                    <a:pt x="848" y="1080"/>
                    <a:pt x="841" y="1062"/>
                    <a:pt x="835" y="1044"/>
                  </a:cubicBezTo>
                  <a:cubicBezTo>
                    <a:pt x="831" y="1030"/>
                    <a:pt x="828" y="1016"/>
                    <a:pt x="822" y="1003"/>
                  </a:cubicBezTo>
                  <a:cubicBezTo>
                    <a:pt x="819" y="997"/>
                    <a:pt x="814" y="994"/>
                    <a:pt x="808" y="994"/>
                  </a:cubicBezTo>
                  <a:cubicBezTo>
                    <a:pt x="799" y="993"/>
                    <a:pt x="791" y="993"/>
                    <a:pt x="787" y="1001"/>
                  </a:cubicBezTo>
                  <a:cubicBezTo>
                    <a:pt x="783" y="1008"/>
                    <a:pt x="780" y="1015"/>
                    <a:pt x="779" y="1022"/>
                  </a:cubicBezTo>
                  <a:cubicBezTo>
                    <a:pt x="778" y="1034"/>
                    <a:pt x="772" y="1044"/>
                    <a:pt x="769" y="1055"/>
                  </a:cubicBezTo>
                  <a:cubicBezTo>
                    <a:pt x="762" y="1076"/>
                    <a:pt x="754" y="1096"/>
                    <a:pt x="749" y="1117"/>
                  </a:cubicBezTo>
                  <a:cubicBezTo>
                    <a:pt x="748" y="1120"/>
                    <a:pt x="747" y="1124"/>
                    <a:pt x="742" y="1124"/>
                  </a:cubicBezTo>
                  <a:cubicBezTo>
                    <a:pt x="737" y="1124"/>
                    <a:pt x="737" y="1120"/>
                    <a:pt x="736" y="1116"/>
                  </a:cubicBezTo>
                  <a:cubicBezTo>
                    <a:pt x="734" y="1104"/>
                    <a:pt x="730" y="1092"/>
                    <a:pt x="726" y="1080"/>
                  </a:cubicBezTo>
                  <a:cubicBezTo>
                    <a:pt x="720" y="1061"/>
                    <a:pt x="714" y="1040"/>
                    <a:pt x="708" y="1020"/>
                  </a:cubicBezTo>
                  <a:cubicBezTo>
                    <a:pt x="703" y="1000"/>
                    <a:pt x="698" y="994"/>
                    <a:pt x="676" y="995"/>
                  </a:cubicBezTo>
                  <a:cubicBezTo>
                    <a:pt x="665" y="996"/>
                    <a:pt x="661" y="1001"/>
                    <a:pt x="667" y="1011"/>
                  </a:cubicBezTo>
                  <a:cubicBezTo>
                    <a:pt x="669" y="1016"/>
                    <a:pt x="670" y="1021"/>
                    <a:pt x="672" y="1025"/>
                  </a:cubicBezTo>
                  <a:cubicBezTo>
                    <a:pt x="675" y="1035"/>
                    <a:pt x="678" y="1046"/>
                    <a:pt x="681" y="1055"/>
                  </a:cubicBezTo>
                  <a:cubicBezTo>
                    <a:pt x="685" y="1068"/>
                    <a:pt x="689" y="1080"/>
                    <a:pt x="693" y="1092"/>
                  </a:cubicBezTo>
                  <a:cubicBezTo>
                    <a:pt x="697" y="1103"/>
                    <a:pt x="699" y="1113"/>
                    <a:pt x="703" y="1124"/>
                  </a:cubicBezTo>
                  <a:cubicBezTo>
                    <a:pt x="707" y="1136"/>
                    <a:pt x="711" y="1147"/>
                    <a:pt x="715" y="1160"/>
                  </a:cubicBezTo>
                  <a:cubicBezTo>
                    <a:pt x="717" y="1168"/>
                    <a:pt x="720" y="1176"/>
                    <a:pt x="724" y="1183"/>
                  </a:cubicBezTo>
                  <a:cubicBezTo>
                    <a:pt x="728" y="1189"/>
                    <a:pt x="752" y="1185"/>
                    <a:pt x="757" y="1180"/>
                  </a:cubicBezTo>
                  <a:cubicBezTo>
                    <a:pt x="764" y="1173"/>
                    <a:pt x="762" y="1163"/>
                    <a:pt x="766" y="1156"/>
                  </a:cubicBezTo>
                  <a:cubicBezTo>
                    <a:pt x="774" y="1140"/>
                    <a:pt x="778" y="1122"/>
                    <a:pt x="784" y="1105"/>
                  </a:cubicBezTo>
                  <a:cubicBezTo>
                    <a:pt x="789" y="1088"/>
                    <a:pt x="796" y="1072"/>
                    <a:pt x="800" y="1054"/>
                  </a:cubicBezTo>
                  <a:cubicBezTo>
                    <a:pt x="800" y="1053"/>
                    <a:pt x="801" y="1050"/>
                    <a:pt x="803" y="1050"/>
                  </a:cubicBezTo>
                  <a:cubicBezTo>
                    <a:pt x="806" y="1050"/>
                    <a:pt x="806" y="1052"/>
                    <a:pt x="807" y="1055"/>
                  </a:cubicBezTo>
                  <a:cubicBezTo>
                    <a:pt x="807" y="1060"/>
                    <a:pt x="810" y="1066"/>
                    <a:pt x="811" y="1071"/>
                  </a:cubicBezTo>
                  <a:cubicBezTo>
                    <a:pt x="814" y="1081"/>
                    <a:pt x="818" y="1090"/>
                    <a:pt x="821" y="1099"/>
                  </a:cubicBezTo>
                  <a:cubicBezTo>
                    <a:pt x="824" y="1110"/>
                    <a:pt x="827" y="1120"/>
                    <a:pt x="831" y="1131"/>
                  </a:cubicBezTo>
                  <a:cubicBezTo>
                    <a:pt x="834" y="1142"/>
                    <a:pt x="839" y="1153"/>
                    <a:pt x="842" y="1164"/>
                  </a:cubicBezTo>
                  <a:cubicBezTo>
                    <a:pt x="846" y="1179"/>
                    <a:pt x="850" y="1188"/>
                    <a:pt x="869" y="1185"/>
                  </a:cubicBezTo>
                  <a:cubicBezTo>
                    <a:pt x="873" y="1184"/>
                    <a:pt x="881" y="1189"/>
                    <a:pt x="884" y="1181"/>
                  </a:cubicBezTo>
                  <a:close/>
                  <a:moveTo>
                    <a:pt x="33" y="1051"/>
                  </a:moveTo>
                  <a:cubicBezTo>
                    <a:pt x="33" y="1087"/>
                    <a:pt x="33" y="1124"/>
                    <a:pt x="33" y="1160"/>
                  </a:cubicBezTo>
                  <a:cubicBezTo>
                    <a:pt x="33" y="1188"/>
                    <a:pt x="29" y="1184"/>
                    <a:pt x="58" y="1185"/>
                  </a:cubicBezTo>
                  <a:cubicBezTo>
                    <a:pt x="72" y="1185"/>
                    <a:pt x="73" y="1184"/>
                    <a:pt x="73" y="1170"/>
                  </a:cubicBezTo>
                  <a:cubicBezTo>
                    <a:pt x="73" y="1138"/>
                    <a:pt x="73" y="1107"/>
                    <a:pt x="73" y="1076"/>
                  </a:cubicBezTo>
                  <a:cubicBezTo>
                    <a:pt x="73" y="1071"/>
                    <a:pt x="72" y="1067"/>
                    <a:pt x="78" y="1065"/>
                  </a:cubicBezTo>
                  <a:cubicBezTo>
                    <a:pt x="91" y="1062"/>
                    <a:pt x="102" y="1067"/>
                    <a:pt x="110" y="1076"/>
                  </a:cubicBezTo>
                  <a:cubicBezTo>
                    <a:pt x="112" y="1080"/>
                    <a:pt x="115" y="1083"/>
                    <a:pt x="118" y="1086"/>
                  </a:cubicBezTo>
                  <a:cubicBezTo>
                    <a:pt x="132" y="1103"/>
                    <a:pt x="146" y="1119"/>
                    <a:pt x="161" y="1136"/>
                  </a:cubicBezTo>
                  <a:cubicBezTo>
                    <a:pt x="173" y="1150"/>
                    <a:pt x="186" y="1165"/>
                    <a:pt x="198" y="1179"/>
                  </a:cubicBezTo>
                  <a:cubicBezTo>
                    <a:pt x="207" y="1188"/>
                    <a:pt x="218" y="1184"/>
                    <a:pt x="228" y="1185"/>
                  </a:cubicBezTo>
                  <a:cubicBezTo>
                    <a:pt x="233" y="1185"/>
                    <a:pt x="241" y="1188"/>
                    <a:pt x="244" y="1182"/>
                  </a:cubicBezTo>
                  <a:cubicBezTo>
                    <a:pt x="246" y="1178"/>
                    <a:pt x="239" y="1173"/>
                    <a:pt x="235" y="1169"/>
                  </a:cubicBezTo>
                  <a:cubicBezTo>
                    <a:pt x="206" y="1133"/>
                    <a:pt x="176" y="1098"/>
                    <a:pt x="146" y="1062"/>
                  </a:cubicBezTo>
                  <a:cubicBezTo>
                    <a:pt x="141" y="1056"/>
                    <a:pt x="131" y="1052"/>
                    <a:pt x="132" y="1044"/>
                  </a:cubicBezTo>
                  <a:cubicBezTo>
                    <a:pt x="132" y="1036"/>
                    <a:pt x="142" y="1032"/>
                    <a:pt x="147" y="1026"/>
                  </a:cubicBezTo>
                  <a:cubicBezTo>
                    <a:pt x="164" y="1006"/>
                    <a:pt x="182" y="988"/>
                    <a:pt x="198" y="968"/>
                  </a:cubicBezTo>
                  <a:cubicBezTo>
                    <a:pt x="209" y="954"/>
                    <a:pt x="221" y="942"/>
                    <a:pt x="234" y="929"/>
                  </a:cubicBezTo>
                  <a:cubicBezTo>
                    <a:pt x="236" y="926"/>
                    <a:pt x="238" y="923"/>
                    <a:pt x="237" y="920"/>
                  </a:cubicBezTo>
                  <a:cubicBezTo>
                    <a:pt x="235" y="915"/>
                    <a:pt x="231" y="917"/>
                    <a:pt x="228" y="917"/>
                  </a:cubicBezTo>
                  <a:cubicBezTo>
                    <a:pt x="224" y="918"/>
                    <a:pt x="221" y="918"/>
                    <a:pt x="217" y="918"/>
                  </a:cubicBezTo>
                  <a:cubicBezTo>
                    <a:pt x="204" y="917"/>
                    <a:pt x="193" y="922"/>
                    <a:pt x="185" y="931"/>
                  </a:cubicBezTo>
                  <a:cubicBezTo>
                    <a:pt x="172" y="946"/>
                    <a:pt x="158" y="961"/>
                    <a:pt x="145" y="977"/>
                  </a:cubicBezTo>
                  <a:cubicBezTo>
                    <a:pt x="131" y="993"/>
                    <a:pt x="117" y="1010"/>
                    <a:pt x="102" y="1026"/>
                  </a:cubicBezTo>
                  <a:cubicBezTo>
                    <a:pt x="96" y="1032"/>
                    <a:pt x="87" y="1037"/>
                    <a:pt x="78" y="1034"/>
                  </a:cubicBezTo>
                  <a:cubicBezTo>
                    <a:pt x="70" y="1030"/>
                    <a:pt x="73" y="1021"/>
                    <a:pt x="73" y="1015"/>
                  </a:cubicBezTo>
                  <a:cubicBezTo>
                    <a:pt x="73" y="991"/>
                    <a:pt x="73" y="967"/>
                    <a:pt x="73" y="944"/>
                  </a:cubicBezTo>
                  <a:cubicBezTo>
                    <a:pt x="73" y="916"/>
                    <a:pt x="75" y="917"/>
                    <a:pt x="46" y="918"/>
                  </a:cubicBezTo>
                  <a:cubicBezTo>
                    <a:pt x="33" y="918"/>
                    <a:pt x="33" y="918"/>
                    <a:pt x="33" y="931"/>
                  </a:cubicBezTo>
                  <a:cubicBezTo>
                    <a:pt x="33" y="971"/>
                    <a:pt x="33" y="1011"/>
                    <a:pt x="33" y="1051"/>
                  </a:cubicBezTo>
                  <a:cubicBezTo>
                    <a:pt x="33" y="1051"/>
                    <a:pt x="33" y="1051"/>
                    <a:pt x="33" y="1051"/>
                  </a:cubicBezTo>
                  <a:close/>
                  <a:moveTo>
                    <a:pt x="639" y="84"/>
                  </a:moveTo>
                  <a:cubicBezTo>
                    <a:pt x="627" y="84"/>
                    <a:pt x="626" y="84"/>
                    <a:pt x="629" y="95"/>
                  </a:cubicBezTo>
                  <a:cubicBezTo>
                    <a:pt x="634" y="113"/>
                    <a:pt x="640" y="131"/>
                    <a:pt x="646" y="148"/>
                  </a:cubicBezTo>
                  <a:cubicBezTo>
                    <a:pt x="652" y="166"/>
                    <a:pt x="658" y="185"/>
                    <a:pt x="664" y="203"/>
                  </a:cubicBezTo>
                  <a:cubicBezTo>
                    <a:pt x="671" y="223"/>
                    <a:pt x="676" y="244"/>
                    <a:pt x="684" y="264"/>
                  </a:cubicBezTo>
                  <a:cubicBezTo>
                    <a:pt x="688" y="274"/>
                    <a:pt x="694" y="274"/>
                    <a:pt x="702" y="274"/>
                  </a:cubicBezTo>
                  <a:cubicBezTo>
                    <a:pt x="711" y="274"/>
                    <a:pt x="719" y="272"/>
                    <a:pt x="723" y="263"/>
                  </a:cubicBezTo>
                  <a:cubicBezTo>
                    <a:pt x="733" y="236"/>
                    <a:pt x="741" y="208"/>
                    <a:pt x="750" y="181"/>
                  </a:cubicBezTo>
                  <a:cubicBezTo>
                    <a:pt x="754" y="169"/>
                    <a:pt x="757" y="156"/>
                    <a:pt x="763" y="145"/>
                  </a:cubicBezTo>
                  <a:cubicBezTo>
                    <a:pt x="764" y="143"/>
                    <a:pt x="764" y="140"/>
                    <a:pt x="767" y="140"/>
                  </a:cubicBezTo>
                  <a:cubicBezTo>
                    <a:pt x="770" y="140"/>
                    <a:pt x="770" y="143"/>
                    <a:pt x="771" y="145"/>
                  </a:cubicBezTo>
                  <a:cubicBezTo>
                    <a:pt x="771" y="156"/>
                    <a:pt x="777" y="165"/>
                    <a:pt x="780" y="175"/>
                  </a:cubicBezTo>
                  <a:cubicBezTo>
                    <a:pt x="782" y="184"/>
                    <a:pt x="785" y="193"/>
                    <a:pt x="788" y="201"/>
                  </a:cubicBezTo>
                  <a:cubicBezTo>
                    <a:pt x="794" y="219"/>
                    <a:pt x="801" y="237"/>
                    <a:pt x="806" y="255"/>
                  </a:cubicBezTo>
                  <a:cubicBezTo>
                    <a:pt x="811" y="272"/>
                    <a:pt x="825" y="280"/>
                    <a:pt x="842" y="273"/>
                  </a:cubicBezTo>
                  <a:cubicBezTo>
                    <a:pt x="845" y="271"/>
                    <a:pt x="847" y="269"/>
                    <a:pt x="848" y="266"/>
                  </a:cubicBezTo>
                  <a:cubicBezTo>
                    <a:pt x="853" y="251"/>
                    <a:pt x="859" y="236"/>
                    <a:pt x="863" y="221"/>
                  </a:cubicBezTo>
                  <a:cubicBezTo>
                    <a:pt x="867" y="202"/>
                    <a:pt x="875" y="185"/>
                    <a:pt x="880" y="166"/>
                  </a:cubicBezTo>
                  <a:cubicBezTo>
                    <a:pt x="886" y="144"/>
                    <a:pt x="895" y="123"/>
                    <a:pt x="900" y="101"/>
                  </a:cubicBezTo>
                  <a:cubicBezTo>
                    <a:pt x="901" y="96"/>
                    <a:pt x="909" y="91"/>
                    <a:pt x="904" y="86"/>
                  </a:cubicBezTo>
                  <a:cubicBezTo>
                    <a:pt x="900" y="81"/>
                    <a:pt x="892" y="84"/>
                    <a:pt x="886" y="84"/>
                  </a:cubicBezTo>
                  <a:cubicBezTo>
                    <a:pt x="885" y="84"/>
                    <a:pt x="883" y="84"/>
                    <a:pt x="881" y="84"/>
                  </a:cubicBezTo>
                  <a:cubicBezTo>
                    <a:pt x="875" y="84"/>
                    <a:pt x="872" y="86"/>
                    <a:pt x="869" y="91"/>
                  </a:cubicBezTo>
                  <a:cubicBezTo>
                    <a:pt x="860" y="110"/>
                    <a:pt x="856" y="131"/>
                    <a:pt x="850" y="151"/>
                  </a:cubicBezTo>
                  <a:cubicBezTo>
                    <a:pt x="844" y="170"/>
                    <a:pt x="836" y="188"/>
                    <a:pt x="834" y="208"/>
                  </a:cubicBezTo>
                  <a:cubicBezTo>
                    <a:pt x="833" y="211"/>
                    <a:pt x="831" y="214"/>
                    <a:pt x="827" y="214"/>
                  </a:cubicBezTo>
                  <a:cubicBezTo>
                    <a:pt x="823" y="214"/>
                    <a:pt x="822" y="210"/>
                    <a:pt x="822" y="207"/>
                  </a:cubicBezTo>
                  <a:cubicBezTo>
                    <a:pt x="817" y="188"/>
                    <a:pt x="811" y="170"/>
                    <a:pt x="805" y="152"/>
                  </a:cubicBezTo>
                  <a:cubicBezTo>
                    <a:pt x="799" y="133"/>
                    <a:pt x="794" y="114"/>
                    <a:pt x="786" y="96"/>
                  </a:cubicBezTo>
                  <a:cubicBezTo>
                    <a:pt x="783" y="87"/>
                    <a:pt x="779" y="84"/>
                    <a:pt x="770" y="84"/>
                  </a:cubicBezTo>
                  <a:cubicBezTo>
                    <a:pt x="761" y="84"/>
                    <a:pt x="752" y="82"/>
                    <a:pt x="748" y="94"/>
                  </a:cubicBezTo>
                  <a:cubicBezTo>
                    <a:pt x="744" y="109"/>
                    <a:pt x="738" y="123"/>
                    <a:pt x="734" y="138"/>
                  </a:cubicBezTo>
                  <a:cubicBezTo>
                    <a:pt x="729" y="153"/>
                    <a:pt x="724" y="167"/>
                    <a:pt x="719" y="182"/>
                  </a:cubicBezTo>
                  <a:cubicBezTo>
                    <a:pt x="716" y="192"/>
                    <a:pt x="715" y="203"/>
                    <a:pt x="708" y="212"/>
                  </a:cubicBezTo>
                  <a:cubicBezTo>
                    <a:pt x="707" y="214"/>
                    <a:pt x="707" y="217"/>
                    <a:pt x="704" y="217"/>
                  </a:cubicBezTo>
                  <a:cubicBezTo>
                    <a:pt x="701" y="217"/>
                    <a:pt x="701" y="213"/>
                    <a:pt x="700" y="211"/>
                  </a:cubicBezTo>
                  <a:cubicBezTo>
                    <a:pt x="699" y="198"/>
                    <a:pt x="694" y="186"/>
                    <a:pt x="690" y="174"/>
                  </a:cubicBezTo>
                  <a:cubicBezTo>
                    <a:pt x="684" y="153"/>
                    <a:pt x="677" y="131"/>
                    <a:pt x="672" y="110"/>
                  </a:cubicBezTo>
                  <a:cubicBezTo>
                    <a:pt x="667" y="88"/>
                    <a:pt x="663" y="84"/>
                    <a:pt x="645" y="84"/>
                  </a:cubicBezTo>
                  <a:cubicBezTo>
                    <a:pt x="643" y="84"/>
                    <a:pt x="641" y="84"/>
                    <a:pt x="639" y="84"/>
                  </a:cubicBezTo>
                  <a:close/>
                  <a:moveTo>
                    <a:pt x="507" y="711"/>
                  </a:moveTo>
                  <a:cubicBezTo>
                    <a:pt x="507" y="730"/>
                    <a:pt x="507" y="730"/>
                    <a:pt x="526" y="730"/>
                  </a:cubicBezTo>
                  <a:cubicBezTo>
                    <a:pt x="539" y="730"/>
                    <a:pt x="541" y="729"/>
                    <a:pt x="541" y="715"/>
                  </a:cubicBezTo>
                  <a:cubicBezTo>
                    <a:pt x="541" y="677"/>
                    <a:pt x="541" y="638"/>
                    <a:pt x="540" y="600"/>
                  </a:cubicBezTo>
                  <a:cubicBezTo>
                    <a:pt x="540" y="593"/>
                    <a:pt x="543" y="587"/>
                    <a:pt x="548" y="582"/>
                  </a:cubicBezTo>
                  <a:cubicBezTo>
                    <a:pt x="553" y="576"/>
                    <a:pt x="559" y="573"/>
                    <a:pt x="564" y="569"/>
                  </a:cubicBezTo>
                  <a:cubicBezTo>
                    <a:pt x="574" y="564"/>
                    <a:pt x="594" y="566"/>
                    <a:pt x="602" y="574"/>
                  </a:cubicBezTo>
                  <a:cubicBezTo>
                    <a:pt x="611" y="582"/>
                    <a:pt x="614" y="592"/>
                    <a:pt x="614" y="604"/>
                  </a:cubicBezTo>
                  <a:cubicBezTo>
                    <a:pt x="614" y="638"/>
                    <a:pt x="614" y="672"/>
                    <a:pt x="614" y="706"/>
                  </a:cubicBezTo>
                  <a:cubicBezTo>
                    <a:pt x="614" y="730"/>
                    <a:pt x="614" y="730"/>
                    <a:pt x="638" y="730"/>
                  </a:cubicBezTo>
                  <a:cubicBezTo>
                    <a:pt x="650" y="730"/>
                    <a:pt x="650" y="730"/>
                    <a:pt x="650" y="717"/>
                  </a:cubicBezTo>
                  <a:cubicBezTo>
                    <a:pt x="650" y="684"/>
                    <a:pt x="650" y="650"/>
                    <a:pt x="650" y="617"/>
                  </a:cubicBezTo>
                  <a:cubicBezTo>
                    <a:pt x="650" y="606"/>
                    <a:pt x="651" y="597"/>
                    <a:pt x="657" y="586"/>
                  </a:cubicBezTo>
                  <a:cubicBezTo>
                    <a:pt x="667" y="565"/>
                    <a:pt x="703" y="560"/>
                    <a:pt x="716" y="579"/>
                  </a:cubicBezTo>
                  <a:cubicBezTo>
                    <a:pt x="723" y="588"/>
                    <a:pt x="724" y="598"/>
                    <a:pt x="724" y="609"/>
                  </a:cubicBezTo>
                  <a:cubicBezTo>
                    <a:pt x="724" y="645"/>
                    <a:pt x="724" y="682"/>
                    <a:pt x="724" y="718"/>
                  </a:cubicBezTo>
                  <a:cubicBezTo>
                    <a:pt x="724" y="727"/>
                    <a:pt x="727" y="731"/>
                    <a:pt x="736" y="730"/>
                  </a:cubicBezTo>
                  <a:cubicBezTo>
                    <a:pt x="738" y="730"/>
                    <a:pt x="741" y="730"/>
                    <a:pt x="743" y="730"/>
                  </a:cubicBezTo>
                  <a:cubicBezTo>
                    <a:pt x="758" y="730"/>
                    <a:pt x="759" y="729"/>
                    <a:pt x="759" y="715"/>
                  </a:cubicBezTo>
                  <a:cubicBezTo>
                    <a:pt x="759" y="677"/>
                    <a:pt x="758" y="639"/>
                    <a:pt x="759" y="601"/>
                  </a:cubicBezTo>
                  <a:cubicBezTo>
                    <a:pt x="759" y="571"/>
                    <a:pt x="742" y="540"/>
                    <a:pt x="704" y="538"/>
                  </a:cubicBezTo>
                  <a:cubicBezTo>
                    <a:pt x="681" y="536"/>
                    <a:pt x="661" y="542"/>
                    <a:pt x="646" y="560"/>
                  </a:cubicBezTo>
                  <a:cubicBezTo>
                    <a:pt x="638" y="569"/>
                    <a:pt x="638" y="569"/>
                    <a:pt x="631" y="559"/>
                  </a:cubicBezTo>
                  <a:cubicBezTo>
                    <a:pt x="630" y="558"/>
                    <a:pt x="630" y="557"/>
                    <a:pt x="629" y="556"/>
                  </a:cubicBezTo>
                  <a:cubicBezTo>
                    <a:pt x="623" y="548"/>
                    <a:pt x="616" y="541"/>
                    <a:pt x="607" y="539"/>
                  </a:cubicBezTo>
                  <a:cubicBezTo>
                    <a:pt x="584" y="534"/>
                    <a:pt x="563" y="539"/>
                    <a:pt x="545" y="555"/>
                  </a:cubicBezTo>
                  <a:cubicBezTo>
                    <a:pt x="540" y="559"/>
                    <a:pt x="537" y="561"/>
                    <a:pt x="537" y="552"/>
                  </a:cubicBezTo>
                  <a:cubicBezTo>
                    <a:pt x="536" y="543"/>
                    <a:pt x="526" y="538"/>
                    <a:pt x="515" y="539"/>
                  </a:cubicBezTo>
                  <a:cubicBezTo>
                    <a:pt x="506" y="540"/>
                    <a:pt x="507" y="546"/>
                    <a:pt x="507" y="552"/>
                  </a:cubicBezTo>
                  <a:cubicBezTo>
                    <a:pt x="507" y="580"/>
                    <a:pt x="507" y="607"/>
                    <a:pt x="507" y="634"/>
                  </a:cubicBezTo>
                  <a:cubicBezTo>
                    <a:pt x="507" y="660"/>
                    <a:pt x="507" y="685"/>
                    <a:pt x="507" y="711"/>
                  </a:cubicBezTo>
                  <a:close/>
                  <a:moveTo>
                    <a:pt x="1525" y="1142"/>
                  </a:moveTo>
                  <a:cubicBezTo>
                    <a:pt x="1517" y="1143"/>
                    <a:pt x="1511" y="1141"/>
                    <a:pt x="1505" y="1136"/>
                  </a:cubicBezTo>
                  <a:cubicBezTo>
                    <a:pt x="1501" y="1133"/>
                    <a:pt x="1495" y="1130"/>
                    <a:pt x="1498" y="1124"/>
                  </a:cubicBezTo>
                  <a:cubicBezTo>
                    <a:pt x="1500" y="1118"/>
                    <a:pt x="1504" y="1114"/>
                    <a:pt x="1512" y="1114"/>
                  </a:cubicBezTo>
                  <a:cubicBezTo>
                    <a:pt x="1521" y="1115"/>
                    <a:pt x="1530" y="1114"/>
                    <a:pt x="1538" y="1115"/>
                  </a:cubicBezTo>
                  <a:cubicBezTo>
                    <a:pt x="1573" y="1117"/>
                    <a:pt x="1610" y="1084"/>
                    <a:pt x="1602" y="1044"/>
                  </a:cubicBezTo>
                  <a:cubicBezTo>
                    <a:pt x="1600" y="1035"/>
                    <a:pt x="1599" y="1028"/>
                    <a:pt x="1611" y="1027"/>
                  </a:cubicBezTo>
                  <a:cubicBezTo>
                    <a:pt x="1614" y="1027"/>
                    <a:pt x="1617" y="1024"/>
                    <a:pt x="1619" y="1023"/>
                  </a:cubicBezTo>
                  <a:cubicBezTo>
                    <a:pt x="1626" y="1019"/>
                    <a:pt x="1624" y="1013"/>
                    <a:pt x="1623" y="1008"/>
                  </a:cubicBezTo>
                  <a:cubicBezTo>
                    <a:pt x="1623" y="1002"/>
                    <a:pt x="1618" y="1003"/>
                    <a:pt x="1613" y="1002"/>
                  </a:cubicBezTo>
                  <a:cubicBezTo>
                    <a:pt x="1598" y="1002"/>
                    <a:pt x="1582" y="1004"/>
                    <a:pt x="1567" y="1000"/>
                  </a:cubicBezTo>
                  <a:cubicBezTo>
                    <a:pt x="1560" y="999"/>
                    <a:pt x="1554" y="993"/>
                    <a:pt x="1546" y="993"/>
                  </a:cubicBezTo>
                  <a:cubicBezTo>
                    <a:pt x="1536" y="994"/>
                    <a:pt x="1525" y="992"/>
                    <a:pt x="1515" y="993"/>
                  </a:cubicBezTo>
                  <a:cubicBezTo>
                    <a:pt x="1490" y="997"/>
                    <a:pt x="1469" y="1010"/>
                    <a:pt x="1462" y="1034"/>
                  </a:cubicBezTo>
                  <a:cubicBezTo>
                    <a:pt x="1455" y="1056"/>
                    <a:pt x="1457" y="1079"/>
                    <a:pt x="1476" y="1096"/>
                  </a:cubicBezTo>
                  <a:cubicBezTo>
                    <a:pt x="1483" y="1103"/>
                    <a:pt x="1483" y="1107"/>
                    <a:pt x="1476" y="1113"/>
                  </a:cubicBezTo>
                  <a:cubicBezTo>
                    <a:pt x="1462" y="1126"/>
                    <a:pt x="1462" y="1142"/>
                    <a:pt x="1473" y="1157"/>
                  </a:cubicBezTo>
                  <a:cubicBezTo>
                    <a:pt x="1476" y="1160"/>
                    <a:pt x="1476" y="1162"/>
                    <a:pt x="1472" y="1164"/>
                  </a:cubicBezTo>
                  <a:cubicBezTo>
                    <a:pt x="1470" y="1166"/>
                    <a:pt x="1468" y="1168"/>
                    <a:pt x="1466" y="1170"/>
                  </a:cubicBezTo>
                  <a:cubicBezTo>
                    <a:pt x="1449" y="1183"/>
                    <a:pt x="1444" y="1201"/>
                    <a:pt x="1454" y="1218"/>
                  </a:cubicBezTo>
                  <a:cubicBezTo>
                    <a:pt x="1464" y="1235"/>
                    <a:pt x="1479" y="1246"/>
                    <a:pt x="1499" y="1249"/>
                  </a:cubicBezTo>
                  <a:cubicBezTo>
                    <a:pt x="1517" y="1252"/>
                    <a:pt x="1535" y="1253"/>
                    <a:pt x="1553" y="1250"/>
                  </a:cubicBezTo>
                  <a:cubicBezTo>
                    <a:pt x="1584" y="1245"/>
                    <a:pt x="1607" y="1232"/>
                    <a:pt x="1619" y="1200"/>
                  </a:cubicBezTo>
                  <a:cubicBezTo>
                    <a:pt x="1627" y="1180"/>
                    <a:pt x="1611" y="1155"/>
                    <a:pt x="1593" y="1148"/>
                  </a:cubicBezTo>
                  <a:cubicBezTo>
                    <a:pt x="1578" y="1142"/>
                    <a:pt x="1563" y="1143"/>
                    <a:pt x="1549" y="1142"/>
                  </a:cubicBezTo>
                  <a:cubicBezTo>
                    <a:pt x="1540" y="1142"/>
                    <a:pt x="1532" y="1142"/>
                    <a:pt x="1525" y="1142"/>
                  </a:cubicBezTo>
                  <a:close/>
                  <a:moveTo>
                    <a:pt x="1556" y="1172"/>
                  </a:moveTo>
                  <a:cubicBezTo>
                    <a:pt x="1566" y="1172"/>
                    <a:pt x="1576" y="1176"/>
                    <a:pt x="1583" y="1183"/>
                  </a:cubicBezTo>
                  <a:cubicBezTo>
                    <a:pt x="1589" y="1190"/>
                    <a:pt x="1589" y="1198"/>
                    <a:pt x="1583" y="1205"/>
                  </a:cubicBezTo>
                  <a:cubicBezTo>
                    <a:pt x="1575" y="1215"/>
                    <a:pt x="1565" y="1220"/>
                    <a:pt x="1553" y="1223"/>
                  </a:cubicBezTo>
                  <a:cubicBezTo>
                    <a:pt x="1534" y="1228"/>
                    <a:pt x="1516" y="1225"/>
                    <a:pt x="1499" y="1219"/>
                  </a:cubicBezTo>
                  <a:cubicBezTo>
                    <a:pt x="1486" y="1214"/>
                    <a:pt x="1479" y="1203"/>
                    <a:pt x="1482" y="1193"/>
                  </a:cubicBezTo>
                  <a:cubicBezTo>
                    <a:pt x="1485" y="1182"/>
                    <a:pt x="1496" y="1168"/>
                    <a:pt x="1514" y="1171"/>
                  </a:cubicBezTo>
                  <a:cubicBezTo>
                    <a:pt x="1526" y="1173"/>
                    <a:pt x="1541" y="1171"/>
                    <a:pt x="1556" y="1172"/>
                  </a:cubicBezTo>
                  <a:close/>
                  <a:moveTo>
                    <a:pt x="1531" y="1019"/>
                  </a:moveTo>
                  <a:cubicBezTo>
                    <a:pt x="1553" y="1017"/>
                    <a:pt x="1570" y="1033"/>
                    <a:pt x="1570" y="1052"/>
                  </a:cubicBezTo>
                  <a:cubicBezTo>
                    <a:pt x="1570" y="1075"/>
                    <a:pt x="1554" y="1093"/>
                    <a:pt x="1532" y="1091"/>
                  </a:cubicBezTo>
                  <a:cubicBezTo>
                    <a:pt x="1508" y="1089"/>
                    <a:pt x="1494" y="1082"/>
                    <a:pt x="1493" y="1053"/>
                  </a:cubicBezTo>
                  <a:cubicBezTo>
                    <a:pt x="1494" y="1029"/>
                    <a:pt x="1508" y="1020"/>
                    <a:pt x="1531" y="1019"/>
                  </a:cubicBezTo>
                  <a:close/>
                  <a:moveTo>
                    <a:pt x="1413" y="934"/>
                  </a:moveTo>
                  <a:cubicBezTo>
                    <a:pt x="1413" y="909"/>
                    <a:pt x="1413" y="909"/>
                    <a:pt x="1389" y="910"/>
                  </a:cubicBezTo>
                  <a:cubicBezTo>
                    <a:pt x="1388" y="910"/>
                    <a:pt x="1387" y="910"/>
                    <a:pt x="1387" y="910"/>
                  </a:cubicBezTo>
                  <a:cubicBezTo>
                    <a:pt x="1379" y="910"/>
                    <a:pt x="1376" y="915"/>
                    <a:pt x="1376" y="921"/>
                  </a:cubicBezTo>
                  <a:cubicBezTo>
                    <a:pt x="1376" y="939"/>
                    <a:pt x="1377" y="956"/>
                    <a:pt x="1377" y="974"/>
                  </a:cubicBezTo>
                  <a:cubicBezTo>
                    <a:pt x="1377" y="983"/>
                    <a:pt x="1377" y="991"/>
                    <a:pt x="1377" y="1000"/>
                  </a:cubicBezTo>
                  <a:cubicBezTo>
                    <a:pt x="1377" y="1005"/>
                    <a:pt x="1374" y="1009"/>
                    <a:pt x="1369" y="1005"/>
                  </a:cubicBezTo>
                  <a:cubicBezTo>
                    <a:pt x="1352" y="990"/>
                    <a:pt x="1332" y="993"/>
                    <a:pt x="1312" y="993"/>
                  </a:cubicBezTo>
                  <a:cubicBezTo>
                    <a:pt x="1303" y="994"/>
                    <a:pt x="1294" y="998"/>
                    <a:pt x="1287" y="1003"/>
                  </a:cubicBezTo>
                  <a:cubicBezTo>
                    <a:pt x="1265" y="1017"/>
                    <a:pt x="1252" y="1039"/>
                    <a:pt x="1248" y="1065"/>
                  </a:cubicBezTo>
                  <a:cubicBezTo>
                    <a:pt x="1244" y="1096"/>
                    <a:pt x="1244" y="1128"/>
                    <a:pt x="1261" y="1157"/>
                  </a:cubicBezTo>
                  <a:cubicBezTo>
                    <a:pt x="1270" y="1170"/>
                    <a:pt x="1281" y="1181"/>
                    <a:pt x="1296" y="1185"/>
                  </a:cubicBezTo>
                  <a:cubicBezTo>
                    <a:pt x="1323" y="1191"/>
                    <a:pt x="1349" y="1188"/>
                    <a:pt x="1370" y="1167"/>
                  </a:cubicBezTo>
                  <a:cubicBezTo>
                    <a:pt x="1372" y="1165"/>
                    <a:pt x="1375" y="1162"/>
                    <a:pt x="1379" y="1163"/>
                  </a:cubicBezTo>
                  <a:cubicBezTo>
                    <a:pt x="1382" y="1165"/>
                    <a:pt x="1381" y="1169"/>
                    <a:pt x="1381" y="1172"/>
                  </a:cubicBezTo>
                  <a:cubicBezTo>
                    <a:pt x="1383" y="1181"/>
                    <a:pt x="1390" y="1186"/>
                    <a:pt x="1403" y="1186"/>
                  </a:cubicBezTo>
                  <a:cubicBezTo>
                    <a:pt x="1413" y="1185"/>
                    <a:pt x="1413" y="1178"/>
                    <a:pt x="1413" y="1172"/>
                  </a:cubicBezTo>
                  <a:cubicBezTo>
                    <a:pt x="1413" y="1131"/>
                    <a:pt x="1413" y="1090"/>
                    <a:pt x="1413" y="1049"/>
                  </a:cubicBezTo>
                  <a:cubicBezTo>
                    <a:pt x="1413" y="1010"/>
                    <a:pt x="1413" y="972"/>
                    <a:pt x="1413" y="934"/>
                  </a:cubicBezTo>
                  <a:close/>
                  <a:moveTo>
                    <a:pt x="1378" y="1113"/>
                  </a:moveTo>
                  <a:cubicBezTo>
                    <a:pt x="1378" y="1136"/>
                    <a:pt x="1360" y="1155"/>
                    <a:pt x="1337" y="1157"/>
                  </a:cubicBezTo>
                  <a:cubicBezTo>
                    <a:pt x="1319" y="1159"/>
                    <a:pt x="1304" y="1154"/>
                    <a:pt x="1294" y="1139"/>
                  </a:cubicBezTo>
                  <a:cubicBezTo>
                    <a:pt x="1286" y="1128"/>
                    <a:pt x="1283" y="1116"/>
                    <a:pt x="1283" y="1102"/>
                  </a:cubicBezTo>
                  <a:cubicBezTo>
                    <a:pt x="1282" y="1085"/>
                    <a:pt x="1282" y="1067"/>
                    <a:pt x="1290" y="1051"/>
                  </a:cubicBezTo>
                  <a:cubicBezTo>
                    <a:pt x="1297" y="1036"/>
                    <a:pt x="1308" y="1024"/>
                    <a:pt x="1325" y="1022"/>
                  </a:cubicBezTo>
                  <a:cubicBezTo>
                    <a:pt x="1342" y="1020"/>
                    <a:pt x="1358" y="1021"/>
                    <a:pt x="1371" y="1035"/>
                  </a:cubicBezTo>
                  <a:cubicBezTo>
                    <a:pt x="1376" y="1041"/>
                    <a:pt x="1378" y="1046"/>
                    <a:pt x="1378" y="1052"/>
                  </a:cubicBezTo>
                  <a:cubicBezTo>
                    <a:pt x="1378" y="1064"/>
                    <a:pt x="1378" y="1075"/>
                    <a:pt x="1378" y="1086"/>
                  </a:cubicBezTo>
                  <a:cubicBezTo>
                    <a:pt x="1378" y="1086"/>
                    <a:pt x="1378" y="1086"/>
                    <a:pt x="1378" y="1086"/>
                  </a:cubicBezTo>
                  <a:cubicBezTo>
                    <a:pt x="1378" y="1095"/>
                    <a:pt x="1378" y="1104"/>
                    <a:pt x="1378" y="1113"/>
                  </a:cubicBezTo>
                  <a:close/>
                  <a:moveTo>
                    <a:pt x="578" y="259"/>
                  </a:moveTo>
                  <a:cubicBezTo>
                    <a:pt x="603" y="241"/>
                    <a:pt x="611" y="213"/>
                    <a:pt x="614" y="183"/>
                  </a:cubicBezTo>
                  <a:cubicBezTo>
                    <a:pt x="615" y="171"/>
                    <a:pt x="610" y="159"/>
                    <a:pt x="609" y="147"/>
                  </a:cubicBezTo>
                  <a:cubicBezTo>
                    <a:pt x="608" y="137"/>
                    <a:pt x="603" y="129"/>
                    <a:pt x="599" y="121"/>
                  </a:cubicBezTo>
                  <a:cubicBezTo>
                    <a:pt x="579" y="87"/>
                    <a:pt x="527" y="70"/>
                    <a:pt x="488" y="85"/>
                  </a:cubicBezTo>
                  <a:cubicBezTo>
                    <a:pt x="453" y="99"/>
                    <a:pt x="436" y="127"/>
                    <a:pt x="431" y="163"/>
                  </a:cubicBezTo>
                  <a:cubicBezTo>
                    <a:pt x="429" y="180"/>
                    <a:pt x="430" y="196"/>
                    <a:pt x="436" y="213"/>
                  </a:cubicBezTo>
                  <a:cubicBezTo>
                    <a:pt x="439" y="222"/>
                    <a:pt x="442" y="232"/>
                    <a:pt x="447" y="239"/>
                  </a:cubicBezTo>
                  <a:cubicBezTo>
                    <a:pt x="465" y="265"/>
                    <a:pt x="491" y="277"/>
                    <a:pt x="525" y="276"/>
                  </a:cubicBezTo>
                  <a:cubicBezTo>
                    <a:pt x="543" y="278"/>
                    <a:pt x="562" y="271"/>
                    <a:pt x="578" y="259"/>
                  </a:cubicBezTo>
                  <a:close/>
                  <a:moveTo>
                    <a:pt x="471" y="205"/>
                  </a:moveTo>
                  <a:cubicBezTo>
                    <a:pt x="466" y="185"/>
                    <a:pt x="468" y="167"/>
                    <a:pt x="472" y="147"/>
                  </a:cubicBezTo>
                  <a:cubicBezTo>
                    <a:pt x="477" y="130"/>
                    <a:pt x="493" y="116"/>
                    <a:pt x="509" y="112"/>
                  </a:cubicBezTo>
                  <a:cubicBezTo>
                    <a:pt x="525" y="108"/>
                    <a:pt x="539" y="110"/>
                    <a:pt x="553" y="119"/>
                  </a:cubicBezTo>
                  <a:cubicBezTo>
                    <a:pt x="563" y="125"/>
                    <a:pt x="568" y="135"/>
                    <a:pt x="571" y="146"/>
                  </a:cubicBezTo>
                  <a:cubicBezTo>
                    <a:pt x="577" y="167"/>
                    <a:pt x="578" y="189"/>
                    <a:pt x="571" y="211"/>
                  </a:cubicBezTo>
                  <a:cubicBezTo>
                    <a:pt x="565" y="231"/>
                    <a:pt x="549" y="249"/>
                    <a:pt x="521" y="247"/>
                  </a:cubicBezTo>
                  <a:cubicBezTo>
                    <a:pt x="496" y="247"/>
                    <a:pt x="478" y="230"/>
                    <a:pt x="471" y="205"/>
                  </a:cubicBezTo>
                  <a:close/>
                  <a:moveTo>
                    <a:pt x="472" y="1122"/>
                  </a:moveTo>
                  <a:cubicBezTo>
                    <a:pt x="475" y="1136"/>
                    <a:pt x="481" y="1148"/>
                    <a:pt x="491" y="1158"/>
                  </a:cubicBezTo>
                  <a:cubicBezTo>
                    <a:pt x="506" y="1176"/>
                    <a:pt x="524" y="1185"/>
                    <a:pt x="548" y="1187"/>
                  </a:cubicBezTo>
                  <a:cubicBezTo>
                    <a:pt x="568" y="1188"/>
                    <a:pt x="587" y="1187"/>
                    <a:pt x="605" y="1177"/>
                  </a:cubicBezTo>
                  <a:cubicBezTo>
                    <a:pt x="632" y="1162"/>
                    <a:pt x="644" y="1136"/>
                    <a:pt x="649" y="1107"/>
                  </a:cubicBezTo>
                  <a:cubicBezTo>
                    <a:pt x="652" y="1089"/>
                    <a:pt x="649" y="1072"/>
                    <a:pt x="644" y="1054"/>
                  </a:cubicBezTo>
                  <a:cubicBezTo>
                    <a:pt x="638" y="1034"/>
                    <a:pt x="627" y="1019"/>
                    <a:pt x="610" y="1007"/>
                  </a:cubicBezTo>
                  <a:cubicBezTo>
                    <a:pt x="589" y="992"/>
                    <a:pt x="566" y="991"/>
                    <a:pt x="541" y="994"/>
                  </a:cubicBezTo>
                  <a:cubicBezTo>
                    <a:pt x="526" y="995"/>
                    <a:pt x="512" y="1002"/>
                    <a:pt x="500" y="1012"/>
                  </a:cubicBezTo>
                  <a:cubicBezTo>
                    <a:pt x="476" y="1032"/>
                    <a:pt x="469" y="1060"/>
                    <a:pt x="466" y="1095"/>
                  </a:cubicBezTo>
                  <a:cubicBezTo>
                    <a:pt x="465" y="1101"/>
                    <a:pt x="470" y="1111"/>
                    <a:pt x="472" y="1122"/>
                  </a:cubicBezTo>
                  <a:close/>
                  <a:moveTo>
                    <a:pt x="508" y="1113"/>
                  </a:moveTo>
                  <a:cubicBezTo>
                    <a:pt x="505" y="1095"/>
                    <a:pt x="506" y="1078"/>
                    <a:pt x="508" y="1061"/>
                  </a:cubicBezTo>
                  <a:cubicBezTo>
                    <a:pt x="511" y="1042"/>
                    <a:pt x="538" y="1021"/>
                    <a:pt x="554" y="1022"/>
                  </a:cubicBezTo>
                  <a:cubicBezTo>
                    <a:pt x="570" y="1022"/>
                    <a:pt x="586" y="1024"/>
                    <a:pt x="596" y="1037"/>
                  </a:cubicBezTo>
                  <a:cubicBezTo>
                    <a:pt x="602" y="1044"/>
                    <a:pt x="607" y="1052"/>
                    <a:pt x="608" y="1061"/>
                  </a:cubicBezTo>
                  <a:cubicBezTo>
                    <a:pt x="608" y="1064"/>
                    <a:pt x="609" y="1067"/>
                    <a:pt x="610" y="1070"/>
                  </a:cubicBezTo>
                  <a:cubicBezTo>
                    <a:pt x="618" y="1089"/>
                    <a:pt x="612" y="1107"/>
                    <a:pt x="607" y="1125"/>
                  </a:cubicBezTo>
                  <a:cubicBezTo>
                    <a:pt x="601" y="1143"/>
                    <a:pt x="588" y="1160"/>
                    <a:pt x="558" y="1157"/>
                  </a:cubicBezTo>
                  <a:cubicBezTo>
                    <a:pt x="530" y="1157"/>
                    <a:pt x="512" y="1141"/>
                    <a:pt x="508" y="1113"/>
                  </a:cubicBezTo>
                  <a:close/>
                  <a:moveTo>
                    <a:pt x="430" y="716"/>
                  </a:moveTo>
                  <a:cubicBezTo>
                    <a:pt x="450" y="703"/>
                    <a:pt x="459" y="683"/>
                    <a:pt x="464" y="661"/>
                  </a:cubicBezTo>
                  <a:cubicBezTo>
                    <a:pt x="468" y="648"/>
                    <a:pt x="467" y="635"/>
                    <a:pt x="466" y="621"/>
                  </a:cubicBezTo>
                  <a:cubicBezTo>
                    <a:pt x="463" y="592"/>
                    <a:pt x="453" y="567"/>
                    <a:pt x="427" y="550"/>
                  </a:cubicBezTo>
                  <a:cubicBezTo>
                    <a:pt x="401" y="534"/>
                    <a:pt x="372" y="532"/>
                    <a:pt x="345" y="541"/>
                  </a:cubicBezTo>
                  <a:cubicBezTo>
                    <a:pt x="310" y="552"/>
                    <a:pt x="291" y="580"/>
                    <a:pt x="287" y="617"/>
                  </a:cubicBezTo>
                  <a:cubicBezTo>
                    <a:pt x="286" y="629"/>
                    <a:pt x="286" y="641"/>
                    <a:pt x="287" y="654"/>
                  </a:cubicBezTo>
                  <a:cubicBezTo>
                    <a:pt x="289" y="671"/>
                    <a:pt x="295" y="686"/>
                    <a:pt x="306" y="700"/>
                  </a:cubicBezTo>
                  <a:cubicBezTo>
                    <a:pt x="324" y="722"/>
                    <a:pt x="348" y="733"/>
                    <a:pt x="378" y="731"/>
                  </a:cubicBezTo>
                  <a:cubicBezTo>
                    <a:pt x="396" y="733"/>
                    <a:pt x="414" y="727"/>
                    <a:pt x="430" y="716"/>
                  </a:cubicBezTo>
                  <a:close/>
                  <a:moveTo>
                    <a:pt x="331" y="592"/>
                  </a:moveTo>
                  <a:cubicBezTo>
                    <a:pt x="339" y="580"/>
                    <a:pt x="349" y="569"/>
                    <a:pt x="365" y="567"/>
                  </a:cubicBezTo>
                  <a:cubicBezTo>
                    <a:pt x="387" y="564"/>
                    <a:pt x="406" y="568"/>
                    <a:pt x="419" y="588"/>
                  </a:cubicBezTo>
                  <a:cubicBezTo>
                    <a:pt x="423" y="595"/>
                    <a:pt x="426" y="603"/>
                    <a:pt x="427" y="610"/>
                  </a:cubicBezTo>
                  <a:cubicBezTo>
                    <a:pt x="433" y="635"/>
                    <a:pt x="431" y="661"/>
                    <a:pt x="416" y="684"/>
                  </a:cubicBezTo>
                  <a:cubicBezTo>
                    <a:pt x="403" y="706"/>
                    <a:pt x="362" y="708"/>
                    <a:pt x="345" y="692"/>
                  </a:cubicBezTo>
                  <a:cubicBezTo>
                    <a:pt x="329" y="678"/>
                    <a:pt x="323" y="661"/>
                    <a:pt x="323" y="631"/>
                  </a:cubicBezTo>
                  <a:cubicBezTo>
                    <a:pt x="323" y="619"/>
                    <a:pt x="323" y="605"/>
                    <a:pt x="331" y="592"/>
                  </a:cubicBezTo>
                  <a:close/>
                  <a:moveTo>
                    <a:pt x="1073" y="259"/>
                  </a:moveTo>
                  <a:cubicBezTo>
                    <a:pt x="1073" y="269"/>
                    <a:pt x="1075" y="272"/>
                    <a:pt x="1086" y="272"/>
                  </a:cubicBezTo>
                  <a:cubicBezTo>
                    <a:pt x="1088" y="272"/>
                    <a:pt x="1090" y="272"/>
                    <a:pt x="1092" y="272"/>
                  </a:cubicBezTo>
                  <a:cubicBezTo>
                    <a:pt x="1105" y="272"/>
                    <a:pt x="1106" y="271"/>
                    <a:pt x="1106" y="258"/>
                  </a:cubicBezTo>
                  <a:cubicBezTo>
                    <a:pt x="1106" y="221"/>
                    <a:pt x="1106" y="184"/>
                    <a:pt x="1106" y="147"/>
                  </a:cubicBezTo>
                  <a:cubicBezTo>
                    <a:pt x="1106" y="143"/>
                    <a:pt x="1106" y="140"/>
                    <a:pt x="1107" y="137"/>
                  </a:cubicBezTo>
                  <a:cubicBezTo>
                    <a:pt x="1117" y="117"/>
                    <a:pt x="1157" y="104"/>
                    <a:pt x="1177" y="114"/>
                  </a:cubicBezTo>
                  <a:cubicBezTo>
                    <a:pt x="1179" y="115"/>
                    <a:pt x="1180" y="117"/>
                    <a:pt x="1182" y="118"/>
                  </a:cubicBezTo>
                  <a:cubicBezTo>
                    <a:pt x="1194" y="131"/>
                    <a:pt x="1196" y="147"/>
                    <a:pt x="1196" y="163"/>
                  </a:cubicBezTo>
                  <a:cubicBezTo>
                    <a:pt x="1197" y="195"/>
                    <a:pt x="1196" y="226"/>
                    <a:pt x="1196" y="258"/>
                  </a:cubicBezTo>
                  <a:cubicBezTo>
                    <a:pt x="1196" y="271"/>
                    <a:pt x="1197" y="272"/>
                    <a:pt x="1210" y="272"/>
                  </a:cubicBezTo>
                  <a:cubicBezTo>
                    <a:pt x="1212" y="272"/>
                    <a:pt x="1213" y="272"/>
                    <a:pt x="1215" y="272"/>
                  </a:cubicBezTo>
                  <a:cubicBezTo>
                    <a:pt x="1227" y="272"/>
                    <a:pt x="1229" y="270"/>
                    <a:pt x="1229" y="258"/>
                  </a:cubicBezTo>
                  <a:cubicBezTo>
                    <a:pt x="1229" y="222"/>
                    <a:pt x="1229" y="187"/>
                    <a:pt x="1229" y="151"/>
                  </a:cubicBezTo>
                  <a:cubicBezTo>
                    <a:pt x="1229" y="142"/>
                    <a:pt x="1228" y="132"/>
                    <a:pt x="1225" y="123"/>
                  </a:cubicBezTo>
                  <a:cubicBezTo>
                    <a:pt x="1219" y="105"/>
                    <a:pt x="1208" y="91"/>
                    <a:pt x="1189" y="85"/>
                  </a:cubicBezTo>
                  <a:cubicBezTo>
                    <a:pt x="1173" y="80"/>
                    <a:pt x="1156" y="84"/>
                    <a:pt x="1139" y="84"/>
                  </a:cubicBezTo>
                  <a:cubicBezTo>
                    <a:pt x="1137" y="84"/>
                    <a:pt x="1136" y="86"/>
                    <a:pt x="1134" y="87"/>
                  </a:cubicBezTo>
                  <a:cubicBezTo>
                    <a:pt x="1128" y="91"/>
                    <a:pt x="1121" y="96"/>
                    <a:pt x="1115" y="100"/>
                  </a:cubicBezTo>
                  <a:cubicBezTo>
                    <a:pt x="1113" y="102"/>
                    <a:pt x="1111" y="105"/>
                    <a:pt x="1108" y="103"/>
                  </a:cubicBezTo>
                  <a:cubicBezTo>
                    <a:pt x="1105" y="102"/>
                    <a:pt x="1106" y="98"/>
                    <a:pt x="1106" y="96"/>
                  </a:cubicBezTo>
                  <a:cubicBezTo>
                    <a:pt x="1106" y="69"/>
                    <a:pt x="1106" y="43"/>
                    <a:pt x="1106" y="17"/>
                  </a:cubicBezTo>
                  <a:cubicBezTo>
                    <a:pt x="1106" y="0"/>
                    <a:pt x="1106" y="0"/>
                    <a:pt x="1089" y="0"/>
                  </a:cubicBezTo>
                  <a:cubicBezTo>
                    <a:pt x="1074" y="0"/>
                    <a:pt x="1073" y="1"/>
                    <a:pt x="1073" y="16"/>
                  </a:cubicBezTo>
                  <a:cubicBezTo>
                    <a:pt x="1073" y="56"/>
                    <a:pt x="1073" y="96"/>
                    <a:pt x="1073" y="136"/>
                  </a:cubicBezTo>
                  <a:cubicBezTo>
                    <a:pt x="1073" y="177"/>
                    <a:pt x="1073" y="218"/>
                    <a:pt x="1073" y="259"/>
                  </a:cubicBezTo>
                  <a:close/>
                  <a:moveTo>
                    <a:pt x="1150" y="1092"/>
                  </a:moveTo>
                  <a:cubicBezTo>
                    <a:pt x="1168" y="1092"/>
                    <a:pt x="1186" y="1092"/>
                    <a:pt x="1204" y="1092"/>
                  </a:cubicBezTo>
                  <a:cubicBezTo>
                    <a:pt x="1215" y="1092"/>
                    <a:pt x="1218" y="1087"/>
                    <a:pt x="1219" y="1077"/>
                  </a:cubicBezTo>
                  <a:cubicBezTo>
                    <a:pt x="1220" y="1062"/>
                    <a:pt x="1216" y="1049"/>
                    <a:pt x="1210" y="1036"/>
                  </a:cubicBezTo>
                  <a:cubicBezTo>
                    <a:pt x="1204" y="1020"/>
                    <a:pt x="1193" y="1008"/>
                    <a:pt x="1177" y="1001"/>
                  </a:cubicBezTo>
                  <a:cubicBezTo>
                    <a:pt x="1155" y="992"/>
                    <a:pt x="1133" y="991"/>
                    <a:pt x="1109" y="999"/>
                  </a:cubicBezTo>
                  <a:cubicBezTo>
                    <a:pt x="1079" y="1010"/>
                    <a:pt x="1062" y="1031"/>
                    <a:pt x="1056" y="1061"/>
                  </a:cubicBezTo>
                  <a:cubicBezTo>
                    <a:pt x="1051" y="1090"/>
                    <a:pt x="1052" y="1120"/>
                    <a:pt x="1069" y="1148"/>
                  </a:cubicBezTo>
                  <a:cubicBezTo>
                    <a:pt x="1081" y="1169"/>
                    <a:pt x="1100" y="1180"/>
                    <a:pt x="1122" y="1185"/>
                  </a:cubicBezTo>
                  <a:cubicBezTo>
                    <a:pt x="1149" y="1190"/>
                    <a:pt x="1176" y="1186"/>
                    <a:pt x="1200" y="1171"/>
                  </a:cubicBezTo>
                  <a:cubicBezTo>
                    <a:pt x="1206" y="1168"/>
                    <a:pt x="1213" y="1165"/>
                    <a:pt x="1214" y="1157"/>
                  </a:cubicBezTo>
                  <a:cubicBezTo>
                    <a:pt x="1215" y="1147"/>
                    <a:pt x="1202" y="1139"/>
                    <a:pt x="1193" y="1144"/>
                  </a:cubicBezTo>
                  <a:cubicBezTo>
                    <a:pt x="1187" y="1147"/>
                    <a:pt x="1180" y="1150"/>
                    <a:pt x="1174" y="1153"/>
                  </a:cubicBezTo>
                  <a:cubicBezTo>
                    <a:pt x="1158" y="1161"/>
                    <a:pt x="1140" y="1161"/>
                    <a:pt x="1124" y="1155"/>
                  </a:cubicBezTo>
                  <a:cubicBezTo>
                    <a:pt x="1112" y="1151"/>
                    <a:pt x="1102" y="1142"/>
                    <a:pt x="1096" y="1129"/>
                  </a:cubicBezTo>
                  <a:cubicBezTo>
                    <a:pt x="1092" y="1121"/>
                    <a:pt x="1091" y="1112"/>
                    <a:pt x="1089" y="1104"/>
                  </a:cubicBezTo>
                  <a:cubicBezTo>
                    <a:pt x="1087" y="1093"/>
                    <a:pt x="1087" y="1092"/>
                    <a:pt x="1099" y="1092"/>
                  </a:cubicBezTo>
                  <a:cubicBezTo>
                    <a:pt x="1116" y="1092"/>
                    <a:pt x="1133" y="1092"/>
                    <a:pt x="1150" y="1092"/>
                  </a:cubicBezTo>
                  <a:cubicBezTo>
                    <a:pt x="1150" y="1092"/>
                    <a:pt x="1150" y="1092"/>
                    <a:pt x="1150" y="1092"/>
                  </a:cubicBezTo>
                  <a:close/>
                  <a:moveTo>
                    <a:pt x="1099" y="1070"/>
                  </a:moveTo>
                  <a:cubicBezTo>
                    <a:pt x="1092" y="1071"/>
                    <a:pt x="1089" y="1067"/>
                    <a:pt x="1091" y="1060"/>
                  </a:cubicBezTo>
                  <a:cubicBezTo>
                    <a:pt x="1094" y="1045"/>
                    <a:pt x="1108" y="1023"/>
                    <a:pt x="1128" y="1022"/>
                  </a:cubicBezTo>
                  <a:cubicBezTo>
                    <a:pt x="1142" y="1021"/>
                    <a:pt x="1156" y="1018"/>
                    <a:pt x="1168" y="1029"/>
                  </a:cubicBezTo>
                  <a:cubicBezTo>
                    <a:pt x="1181" y="1038"/>
                    <a:pt x="1185" y="1051"/>
                    <a:pt x="1187" y="1066"/>
                  </a:cubicBezTo>
                  <a:cubicBezTo>
                    <a:pt x="1188" y="1071"/>
                    <a:pt x="1183" y="1070"/>
                    <a:pt x="1180" y="1070"/>
                  </a:cubicBezTo>
                  <a:cubicBezTo>
                    <a:pt x="1166" y="1070"/>
                    <a:pt x="1153" y="1070"/>
                    <a:pt x="1139" y="1070"/>
                  </a:cubicBezTo>
                  <a:cubicBezTo>
                    <a:pt x="1139" y="1070"/>
                    <a:pt x="1139" y="1070"/>
                    <a:pt x="1139" y="1070"/>
                  </a:cubicBezTo>
                  <a:cubicBezTo>
                    <a:pt x="1126" y="1070"/>
                    <a:pt x="1113" y="1070"/>
                    <a:pt x="1099" y="1070"/>
                  </a:cubicBezTo>
                  <a:close/>
                  <a:moveTo>
                    <a:pt x="1741" y="1092"/>
                  </a:moveTo>
                  <a:cubicBezTo>
                    <a:pt x="1759" y="1092"/>
                    <a:pt x="1776" y="1092"/>
                    <a:pt x="1793" y="1092"/>
                  </a:cubicBezTo>
                  <a:cubicBezTo>
                    <a:pt x="1806" y="1092"/>
                    <a:pt x="1808" y="1089"/>
                    <a:pt x="1808" y="1076"/>
                  </a:cubicBezTo>
                  <a:cubicBezTo>
                    <a:pt x="1809" y="1063"/>
                    <a:pt x="1807" y="1051"/>
                    <a:pt x="1802" y="1038"/>
                  </a:cubicBezTo>
                  <a:cubicBezTo>
                    <a:pt x="1794" y="1021"/>
                    <a:pt x="1782" y="1008"/>
                    <a:pt x="1764" y="1000"/>
                  </a:cubicBezTo>
                  <a:cubicBezTo>
                    <a:pt x="1742" y="991"/>
                    <a:pt x="1720" y="991"/>
                    <a:pt x="1698" y="1000"/>
                  </a:cubicBezTo>
                  <a:cubicBezTo>
                    <a:pt x="1681" y="1006"/>
                    <a:pt x="1668" y="1016"/>
                    <a:pt x="1659" y="1031"/>
                  </a:cubicBezTo>
                  <a:cubicBezTo>
                    <a:pt x="1646" y="1050"/>
                    <a:pt x="1643" y="1071"/>
                    <a:pt x="1644" y="1094"/>
                  </a:cubicBezTo>
                  <a:cubicBezTo>
                    <a:pt x="1644" y="1110"/>
                    <a:pt x="1647" y="1127"/>
                    <a:pt x="1655" y="1141"/>
                  </a:cubicBezTo>
                  <a:cubicBezTo>
                    <a:pt x="1669" y="1168"/>
                    <a:pt x="1691" y="1183"/>
                    <a:pt x="1722" y="1186"/>
                  </a:cubicBezTo>
                  <a:cubicBezTo>
                    <a:pt x="1750" y="1188"/>
                    <a:pt x="1775" y="1183"/>
                    <a:pt x="1798" y="1165"/>
                  </a:cubicBezTo>
                  <a:cubicBezTo>
                    <a:pt x="1803" y="1161"/>
                    <a:pt x="1806" y="1157"/>
                    <a:pt x="1802" y="1151"/>
                  </a:cubicBezTo>
                  <a:cubicBezTo>
                    <a:pt x="1798" y="1144"/>
                    <a:pt x="1791" y="1140"/>
                    <a:pt x="1783" y="1144"/>
                  </a:cubicBezTo>
                  <a:cubicBezTo>
                    <a:pt x="1778" y="1147"/>
                    <a:pt x="1771" y="1149"/>
                    <a:pt x="1766" y="1152"/>
                  </a:cubicBezTo>
                  <a:cubicBezTo>
                    <a:pt x="1749" y="1161"/>
                    <a:pt x="1730" y="1162"/>
                    <a:pt x="1714" y="1155"/>
                  </a:cubicBezTo>
                  <a:cubicBezTo>
                    <a:pt x="1692" y="1145"/>
                    <a:pt x="1680" y="1127"/>
                    <a:pt x="1679" y="1102"/>
                  </a:cubicBezTo>
                  <a:cubicBezTo>
                    <a:pt x="1678" y="1095"/>
                    <a:pt x="1681" y="1092"/>
                    <a:pt x="1689" y="1092"/>
                  </a:cubicBezTo>
                  <a:cubicBezTo>
                    <a:pt x="1706" y="1092"/>
                    <a:pt x="1724" y="1092"/>
                    <a:pt x="1741" y="1092"/>
                  </a:cubicBezTo>
                  <a:cubicBezTo>
                    <a:pt x="1741" y="1092"/>
                    <a:pt x="1741" y="1092"/>
                    <a:pt x="1741" y="1092"/>
                  </a:cubicBezTo>
                  <a:close/>
                  <a:moveTo>
                    <a:pt x="1690" y="1070"/>
                  </a:moveTo>
                  <a:cubicBezTo>
                    <a:pt x="1683" y="1071"/>
                    <a:pt x="1680" y="1068"/>
                    <a:pt x="1681" y="1062"/>
                  </a:cubicBezTo>
                  <a:cubicBezTo>
                    <a:pt x="1683" y="1048"/>
                    <a:pt x="1697" y="1024"/>
                    <a:pt x="1716" y="1022"/>
                  </a:cubicBezTo>
                  <a:cubicBezTo>
                    <a:pt x="1731" y="1020"/>
                    <a:pt x="1747" y="1018"/>
                    <a:pt x="1760" y="1030"/>
                  </a:cubicBezTo>
                  <a:cubicBezTo>
                    <a:pt x="1771" y="1038"/>
                    <a:pt x="1775" y="1050"/>
                    <a:pt x="1778" y="1062"/>
                  </a:cubicBezTo>
                  <a:cubicBezTo>
                    <a:pt x="1780" y="1068"/>
                    <a:pt x="1775" y="1070"/>
                    <a:pt x="1769" y="1070"/>
                  </a:cubicBezTo>
                  <a:cubicBezTo>
                    <a:pt x="1756" y="1070"/>
                    <a:pt x="1742" y="1070"/>
                    <a:pt x="1729" y="1070"/>
                  </a:cubicBezTo>
                  <a:cubicBezTo>
                    <a:pt x="1729" y="1070"/>
                    <a:pt x="1729" y="1070"/>
                    <a:pt x="1729" y="1070"/>
                  </a:cubicBezTo>
                  <a:cubicBezTo>
                    <a:pt x="1716" y="1070"/>
                    <a:pt x="1703" y="1070"/>
                    <a:pt x="1690" y="1070"/>
                  </a:cubicBezTo>
                  <a:close/>
                  <a:moveTo>
                    <a:pt x="68" y="581"/>
                  </a:moveTo>
                  <a:cubicBezTo>
                    <a:pt x="68" y="573"/>
                    <a:pt x="70" y="568"/>
                    <a:pt x="80" y="569"/>
                  </a:cubicBezTo>
                  <a:cubicBezTo>
                    <a:pt x="90" y="570"/>
                    <a:pt x="101" y="570"/>
                    <a:pt x="111" y="569"/>
                  </a:cubicBezTo>
                  <a:cubicBezTo>
                    <a:pt x="120" y="569"/>
                    <a:pt x="120" y="563"/>
                    <a:pt x="120" y="556"/>
                  </a:cubicBezTo>
                  <a:cubicBezTo>
                    <a:pt x="120" y="549"/>
                    <a:pt x="119" y="544"/>
                    <a:pt x="111" y="544"/>
                  </a:cubicBezTo>
                  <a:cubicBezTo>
                    <a:pt x="104" y="544"/>
                    <a:pt x="97" y="544"/>
                    <a:pt x="91" y="544"/>
                  </a:cubicBezTo>
                  <a:cubicBezTo>
                    <a:pt x="66" y="544"/>
                    <a:pt x="65" y="543"/>
                    <a:pt x="68" y="518"/>
                  </a:cubicBezTo>
                  <a:cubicBezTo>
                    <a:pt x="69" y="504"/>
                    <a:pt x="83" y="487"/>
                    <a:pt x="99" y="489"/>
                  </a:cubicBezTo>
                  <a:cubicBezTo>
                    <a:pt x="103" y="489"/>
                    <a:pt x="107" y="489"/>
                    <a:pt x="110" y="488"/>
                  </a:cubicBezTo>
                  <a:cubicBezTo>
                    <a:pt x="118" y="487"/>
                    <a:pt x="123" y="479"/>
                    <a:pt x="123" y="471"/>
                  </a:cubicBezTo>
                  <a:cubicBezTo>
                    <a:pt x="123" y="461"/>
                    <a:pt x="116" y="462"/>
                    <a:pt x="109" y="460"/>
                  </a:cubicBezTo>
                  <a:cubicBezTo>
                    <a:pt x="100" y="458"/>
                    <a:pt x="92" y="460"/>
                    <a:pt x="84" y="460"/>
                  </a:cubicBezTo>
                  <a:cubicBezTo>
                    <a:pt x="68" y="461"/>
                    <a:pt x="56" y="469"/>
                    <a:pt x="47" y="480"/>
                  </a:cubicBezTo>
                  <a:cubicBezTo>
                    <a:pt x="34" y="493"/>
                    <a:pt x="32" y="511"/>
                    <a:pt x="32" y="529"/>
                  </a:cubicBezTo>
                  <a:cubicBezTo>
                    <a:pt x="32" y="544"/>
                    <a:pt x="32" y="544"/>
                    <a:pt x="17" y="544"/>
                  </a:cubicBezTo>
                  <a:cubicBezTo>
                    <a:pt x="4" y="543"/>
                    <a:pt x="0" y="548"/>
                    <a:pt x="4" y="561"/>
                  </a:cubicBezTo>
                  <a:cubicBezTo>
                    <a:pt x="6" y="569"/>
                    <a:pt x="13" y="568"/>
                    <a:pt x="19" y="569"/>
                  </a:cubicBezTo>
                  <a:cubicBezTo>
                    <a:pt x="32" y="571"/>
                    <a:pt x="32" y="571"/>
                    <a:pt x="32" y="584"/>
                  </a:cubicBezTo>
                  <a:cubicBezTo>
                    <a:pt x="32" y="624"/>
                    <a:pt x="32" y="664"/>
                    <a:pt x="32" y="704"/>
                  </a:cubicBezTo>
                  <a:cubicBezTo>
                    <a:pt x="32" y="731"/>
                    <a:pt x="32" y="730"/>
                    <a:pt x="57" y="731"/>
                  </a:cubicBezTo>
                  <a:cubicBezTo>
                    <a:pt x="66" y="731"/>
                    <a:pt x="68" y="727"/>
                    <a:pt x="68" y="720"/>
                  </a:cubicBezTo>
                  <a:cubicBezTo>
                    <a:pt x="68" y="697"/>
                    <a:pt x="68" y="674"/>
                    <a:pt x="68" y="651"/>
                  </a:cubicBezTo>
                  <a:cubicBezTo>
                    <a:pt x="68" y="628"/>
                    <a:pt x="68" y="605"/>
                    <a:pt x="68" y="581"/>
                  </a:cubicBezTo>
                  <a:close/>
                  <a:moveTo>
                    <a:pt x="278" y="1165"/>
                  </a:moveTo>
                  <a:cubicBezTo>
                    <a:pt x="278" y="1183"/>
                    <a:pt x="278" y="1183"/>
                    <a:pt x="296" y="1184"/>
                  </a:cubicBezTo>
                  <a:cubicBezTo>
                    <a:pt x="310" y="1184"/>
                    <a:pt x="310" y="1184"/>
                    <a:pt x="310" y="1169"/>
                  </a:cubicBezTo>
                  <a:cubicBezTo>
                    <a:pt x="310" y="1132"/>
                    <a:pt x="310" y="1095"/>
                    <a:pt x="310" y="1058"/>
                  </a:cubicBezTo>
                  <a:cubicBezTo>
                    <a:pt x="310" y="1052"/>
                    <a:pt x="312" y="1047"/>
                    <a:pt x="316" y="1042"/>
                  </a:cubicBezTo>
                  <a:cubicBezTo>
                    <a:pt x="324" y="1033"/>
                    <a:pt x="334" y="1027"/>
                    <a:pt x="345" y="1024"/>
                  </a:cubicBezTo>
                  <a:cubicBezTo>
                    <a:pt x="357" y="1020"/>
                    <a:pt x="371" y="1018"/>
                    <a:pt x="383" y="1028"/>
                  </a:cubicBezTo>
                  <a:cubicBezTo>
                    <a:pt x="397" y="1039"/>
                    <a:pt x="401" y="1054"/>
                    <a:pt x="401" y="1071"/>
                  </a:cubicBezTo>
                  <a:cubicBezTo>
                    <a:pt x="401" y="1102"/>
                    <a:pt x="401" y="1132"/>
                    <a:pt x="401" y="1163"/>
                  </a:cubicBezTo>
                  <a:cubicBezTo>
                    <a:pt x="401" y="1183"/>
                    <a:pt x="401" y="1182"/>
                    <a:pt x="420" y="1184"/>
                  </a:cubicBezTo>
                  <a:cubicBezTo>
                    <a:pt x="429" y="1185"/>
                    <a:pt x="433" y="1181"/>
                    <a:pt x="433" y="1173"/>
                  </a:cubicBezTo>
                  <a:cubicBezTo>
                    <a:pt x="432" y="1130"/>
                    <a:pt x="435" y="1087"/>
                    <a:pt x="431" y="1044"/>
                  </a:cubicBezTo>
                  <a:cubicBezTo>
                    <a:pt x="427" y="1014"/>
                    <a:pt x="404" y="996"/>
                    <a:pt x="376" y="994"/>
                  </a:cubicBezTo>
                  <a:cubicBezTo>
                    <a:pt x="353" y="992"/>
                    <a:pt x="333" y="1000"/>
                    <a:pt x="317" y="1017"/>
                  </a:cubicBezTo>
                  <a:cubicBezTo>
                    <a:pt x="312" y="1021"/>
                    <a:pt x="311" y="1019"/>
                    <a:pt x="309" y="1015"/>
                  </a:cubicBezTo>
                  <a:cubicBezTo>
                    <a:pt x="309" y="1013"/>
                    <a:pt x="308" y="1011"/>
                    <a:pt x="308" y="1008"/>
                  </a:cubicBezTo>
                  <a:cubicBezTo>
                    <a:pt x="306" y="1001"/>
                    <a:pt x="298" y="997"/>
                    <a:pt x="287" y="998"/>
                  </a:cubicBezTo>
                  <a:cubicBezTo>
                    <a:pt x="279" y="999"/>
                    <a:pt x="278" y="1004"/>
                    <a:pt x="278" y="1011"/>
                  </a:cubicBezTo>
                  <a:cubicBezTo>
                    <a:pt x="278" y="1037"/>
                    <a:pt x="278" y="1064"/>
                    <a:pt x="278" y="1091"/>
                  </a:cubicBezTo>
                  <a:cubicBezTo>
                    <a:pt x="278" y="1115"/>
                    <a:pt x="278" y="1140"/>
                    <a:pt x="278" y="1165"/>
                  </a:cubicBezTo>
                  <a:close/>
                  <a:moveTo>
                    <a:pt x="150" y="705"/>
                  </a:moveTo>
                  <a:cubicBezTo>
                    <a:pt x="150" y="734"/>
                    <a:pt x="145" y="730"/>
                    <a:pt x="176" y="731"/>
                  </a:cubicBezTo>
                  <a:cubicBezTo>
                    <a:pt x="185" y="731"/>
                    <a:pt x="187" y="727"/>
                    <a:pt x="187" y="719"/>
                  </a:cubicBezTo>
                  <a:cubicBezTo>
                    <a:pt x="187" y="685"/>
                    <a:pt x="187" y="651"/>
                    <a:pt x="187" y="618"/>
                  </a:cubicBezTo>
                  <a:cubicBezTo>
                    <a:pt x="187" y="597"/>
                    <a:pt x="204" y="578"/>
                    <a:pt x="225" y="574"/>
                  </a:cubicBezTo>
                  <a:cubicBezTo>
                    <a:pt x="232" y="572"/>
                    <a:pt x="240" y="574"/>
                    <a:pt x="247" y="575"/>
                  </a:cubicBezTo>
                  <a:cubicBezTo>
                    <a:pt x="257" y="576"/>
                    <a:pt x="261" y="572"/>
                    <a:pt x="265" y="564"/>
                  </a:cubicBezTo>
                  <a:cubicBezTo>
                    <a:pt x="269" y="556"/>
                    <a:pt x="267" y="542"/>
                    <a:pt x="261" y="540"/>
                  </a:cubicBezTo>
                  <a:cubicBezTo>
                    <a:pt x="253" y="538"/>
                    <a:pt x="244" y="534"/>
                    <a:pt x="237" y="536"/>
                  </a:cubicBezTo>
                  <a:cubicBezTo>
                    <a:pt x="228" y="537"/>
                    <a:pt x="217" y="537"/>
                    <a:pt x="209" y="544"/>
                  </a:cubicBezTo>
                  <a:cubicBezTo>
                    <a:pt x="204" y="549"/>
                    <a:pt x="198" y="553"/>
                    <a:pt x="194" y="558"/>
                  </a:cubicBezTo>
                  <a:cubicBezTo>
                    <a:pt x="192" y="561"/>
                    <a:pt x="189" y="563"/>
                    <a:pt x="185" y="562"/>
                  </a:cubicBezTo>
                  <a:cubicBezTo>
                    <a:pt x="182" y="561"/>
                    <a:pt x="182" y="558"/>
                    <a:pt x="182" y="556"/>
                  </a:cubicBezTo>
                  <a:cubicBezTo>
                    <a:pt x="180" y="539"/>
                    <a:pt x="179" y="539"/>
                    <a:pt x="162" y="539"/>
                  </a:cubicBezTo>
                  <a:cubicBezTo>
                    <a:pt x="151" y="539"/>
                    <a:pt x="150" y="540"/>
                    <a:pt x="150" y="551"/>
                  </a:cubicBezTo>
                  <a:cubicBezTo>
                    <a:pt x="150" y="579"/>
                    <a:pt x="150" y="607"/>
                    <a:pt x="150" y="635"/>
                  </a:cubicBezTo>
                  <a:cubicBezTo>
                    <a:pt x="150" y="658"/>
                    <a:pt x="149" y="682"/>
                    <a:pt x="150" y="705"/>
                  </a:cubicBezTo>
                  <a:close/>
                  <a:moveTo>
                    <a:pt x="1011" y="1049"/>
                  </a:moveTo>
                  <a:cubicBezTo>
                    <a:pt x="1011" y="1008"/>
                    <a:pt x="1011" y="966"/>
                    <a:pt x="1011" y="924"/>
                  </a:cubicBezTo>
                  <a:cubicBezTo>
                    <a:pt x="1011" y="913"/>
                    <a:pt x="1008" y="910"/>
                    <a:pt x="997" y="910"/>
                  </a:cubicBezTo>
                  <a:cubicBezTo>
                    <a:pt x="995" y="910"/>
                    <a:pt x="992" y="910"/>
                    <a:pt x="990" y="910"/>
                  </a:cubicBezTo>
                  <a:cubicBezTo>
                    <a:pt x="976" y="910"/>
                    <a:pt x="975" y="911"/>
                    <a:pt x="975" y="926"/>
                  </a:cubicBezTo>
                  <a:cubicBezTo>
                    <a:pt x="975" y="1006"/>
                    <a:pt x="975" y="1085"/>
                    <a:pt x="975" y="1165"/>
                  </a:cubicBezTo>
                  <a:cubicBezTo>
                    <a:pt x="975" y="1185"/>
                    <a:pt x="975" y="1185"/>
                    <a:pt x="994" y="1185"/>
                  </a:cubicBezTo>
                  <a:cubicBezTo>
                    <a:pt x="1009" y="1185"/>
                    <a:pt x="1011" y="1184"/>
                    <a:pt x="1011" y="1169"/>
                  </a:cubicBezTo>
                  <a:cubicBezTo>
                    <a:pt x="1011" y="1129"/>
                    <a:pt x="1011" y="1089"/>
                    <a:pt x="1011" y="1049"/>
                  </a:cubicBezTo>
                  <a:cubicBezTo>
                    <a:pt x="1011" y="1049"/>
                    <a:pt x="1011" y="1049"/>
                    <a:pt x="1011" y="1049"/>
                  </a:cubicBezTo>
                  <a:close/>
                  <a:moveTo>
                    <a:pt x="296" y="176"/>
                  </a:moveTo>
                  <a:cubicBezTo>
                    <a:pt x="296" y="201"/>
                    <a:pt x="296" y="226"/>
                    <a:pt x="296" y="251"/>
                  </a:cubicBezTo>
                  <a:cubicBezTo>
                    <a:pt x="295" y="276"/>
                    <a:pt x="296" y="274"/>
                    <a:pt x="318" y="274"/>
                  </a:cubicBezTo>
                  <a:cubicBezTo>
                    <a:pt x="330" y="274"/>
                    <a:pt x="331" y="274"/>
                    <a:pt x="331" y="260"/>
                  </a:cubicBezTo>
                  <a:cubicBezTo>
                    <a:pt x="331" y="232"/>
                    <a:pt x="331" y="204"/>
                    <a:pt x="331" y="176"/>
                  </a:cubicBezTo>
                  <a:cubicBezTo>
                    <a:pt x="331" y="165"/>
                    <a:pt x="331" y="155"/>
                    <a:pt x="337" y="145"/>
                  </a:cubicBezTo>
                  <a:cubicBezTo>
                    <a:pt x="349" y="123"/>
                    <a:pt x="359" y="117"/>
                    <a:pt x="377" y="118"/>
                  </a:cubicBezTo>
                  <a:cubicBezTo>
                    <a:pt x="383" y="118"/>
                    <a:pt x="389" y="119"/>
                    <a:pt x="395" y="120"/>
                  </a:cubicBezTo>
                  <a:cubicBezTo>
                    <a:pt x="401" y="120"/>
                    <a:pt x="407" y="118"/>
                    <a:pt x="408" y="112"/>
                  </a:cubicBezTo>
                  <a:cubicBezTo>
                    <a:pt x="409" y="103"/>
                    <a:pt x="415" y="93"/>
                    <a:pt x="407" y="85"/>
                  </a:cubicBezTo>
                  <a:cubicBezTo>
                    <a:pt x="406" y="84"/>
                    <a:pt x="404" y="84"/>
                    <a:pt x="402" y="84"/>
                  </a:cubicBezTo>
                  <a:cubicBezTo>
                    <a:pt x="376" y="78"/>
                    <a:pt x="353" y="82"/>
                    <a:pt x="337" y="106"/>
                  </a:cubicBezTo>
                  <a:cubicBezTo>
                    <a:pt x="336" y="108"/>
                    <a:pt x="335" y="110"/>
                    <a:pt x="333" y="109"/>
                  </a:cubicBezTo>
                  <a:cubicBezTo>
                    <a:pt x="331" y="109"/>
                    <a:pt x="330" y="107"/>
                    <a:pt x="330" y="105"/>
                  </a:cubicBezTo>
                  <a:cubicBezTo>
                    <a:pt x="329" y="101"/>
                    <a:pt x="329" y="97"/>
                    <a:pt x="328" y="94"/>
                  </a:cubicBezTo>
                  <a:cubicBezTo>
                    <a:pt x="325" y="85"/>
                    <a:pt x="318" y="82"/>
                    <a:pt x="303" y="84"/>
                  </a:cubicBezTo>
                  <a:cubicBezTo>
                    <a:pt x="297" y="84"/>
                    <a:pt x="295" y="86"/>
                    <a:pt x="295" y="92"/>
                  </a:cubicBezTo>
                  <a:cubicBezTo>
                    <a:pt x="296" y="120"/>
                    <a:pt x="295" y="148"/>
                    <a:pt x="295" y="176"/>
                  </a:cubicBezTo>
                  <a:cubicBezTo>
                    <a:pt x="296" y="176"/>
                    <a:pt x="296" y="176"/>
                    <a:pt x="296" y="176"/>
                  </a:cubicBezTo>
                  <a:close/>
                  <a:moveTo>
                    <a:pt x="946" y="179"/>
                  </a:moveTo>
                  <a:cubicBezTo>
                    <a:pt x="946" y="197"/>
                    <a:pt x="946" y="215"/>
                    <a:pt x="946" y="234"/>
                  </a:cubicBezTo>
                  <a:cubicBezTo>
                    <a:pt x="946" y="248"/>
                    <a:pt x="951" y="260"/>
                    <a:pt x="963" y="268"/>
                  </a:cubicBezTo>
                  <a:cubicBezTo>
                    <a:pt x="982" y="280"/>
                    <a:pt x="1011" y="277"/>
                    <a:pt x="1029" y="264"/>
                  </a:cubicBezTo>
                  <a:cubicBezTo>
                    <a:pt x="1036" y="259"/>
                    <a:pt x="1036" y="254"/>
                    <a:pt x="1032" y="248"/>
                  </a:cubicBezTo>
                  <a:cubicBezTo>
                    <a:pt x="1026" y="239"/>
                    <a:pt x="1020" y="238"/>
                    <a:pt x="1013" y="242"/>
                  </a:cubicBezTo>
                  <a:cubicBezTo>
                    <a:pt x="996" y="252"/>
                    <a:pt x="978" y="243"/>
                    <a:pt x="978" y="223"/>
                  </a:cubicBezTo>
                  <a:cubicBezTo>
                    <a:pt x="978" y="190"/>
                    <a:pt x="978" y="157"/>
                    <a:pt x="978" y="123"/>
                  </a:cubicBezTo>
                  <a:cubicBezTo>
                    <a:pt x="978" y="116"/>
                    <a:pt x="981" y="113"/>
                    <a:pt x="988" y="113"/>
                  </a:cubicBezTo>
                  <a:cubicBezTo>
                    <a:pt x="999" y="114"/>
                    <a:pt x="1011" y="113"/>
                    <a:pt x="1022" y="113"/>
                  </a:cubicBezTo>
                  <a:cubicBezTo>
                    <a:pt x="1028" y="113"/>
                    <a:pt x="1033" y="112"/>
                    <a:pt x="1033" y="104"/>
                  </a:cubicBezTo>
                  <a:cubicBezTo>
                    <a:pt x="1033" y="96"/>
                    <a:pt x="1032" y="90"/>
                    <a:pt x="1022" y="90"/>
                  </a:cubicBezTo>
                  <a:cubicBezTo>
                    <a:pt x="1011" y="90"/>
                    <a:pt x="1001" y="90"/>
                    <a:pt x="990" y="90"/>
                  </a:cubicBezTo>
                  <a:cubicBezTo>
                    <a:pt x="981" y="91"/>
                    <a:pt x="977" y="88"/>
                    <a:pt x="978" y="78"/>
                  </a:cubicBezTo>
                  <a:cubicBezTo>
                    <a:pt x="978" y="64"/>
                    <a:pt x="978" y="49"/>
                    <a:pt x="978" y="35"/>
                  </a:cubicBezTo>
                  <a:cubicBezTo>
                    <a:pt x="978" y="30"/>
                    <a:pt x="978" y="25"/>
                    <a:pt x="971" y="24"/>
                  </a:cubicBezTo>
                  <a:cubicBezTo>
                    <a:pt x="964" y="24"/>
                    <a:pt x="956" y="24"/>
                    <a:pt x="955" y="32"/>
                  </a:cubicBezTo>
                  <a:cubicBezTo>
                    <a:pt x="952" y="43"/>
                    <a:pt x="949" y="54"/>
                    <a:pt x="949" y="65"/>
                  </a:cubicBezTo>
                  <a:cubicBezTo>
                    <a:pt x="948" y="88"/>
                    <a:pt x="947" y="88"/>
                    <a:pt x="924" y="91"/>
                  </a:cubicBezTo>
                  <a:cubicBezTo>
                    <a:pt x="919" y="92"/>
                    <a:pt x="914" y="92"/>
                    <a:pt x="914" y="99"/>
                  </a:cubicBezTo>
                  <a:cubicBezTo>
                    <a:pt x="915" y="107"/>
                    <a:pt x="917" y="113"/>
                    <a:pt x="926" y="113"/>
                  </a:cubicBezTo>
                  <a:cubicBezTo>
                    <a:pt x="929" y="114"/>
                    <a:pt x="932" y="113"/>
                    <a:pt x="935" y="113"/>
                  </a:cubicBezTo>
                  <a:cubicBezTo>
                    <a:pt x="943" y="113"/>
                    <a:pt x="946" y="116"/>
                    <a:pt x="946" y="124"/>
                  </a:cubicBezTo>
                  <a:cubicBezTo>
                    <a:pt x="946" y="142"/>
                    <a:pt x="946" y="161"/>
                    <a:pt x="946" y="179"/>
                  </a:cubicBezTo>
                  <a:cubicBezTo>
                    <a:pt x="946" y="179"/>
                    <a:pt x="946" y="179"/>
                    <a:pt x="946" y="179"/>
                  </a:cubicBezTo>
                  <a:close/>
                </a:path>
              </a:pathLst>
            </a:custGeom>
            <a:solidFill>
              <a:srgbClr val="4C505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grpSp>
          <p:nvGrpSpPr>
            <p:cNvPr id="18" name="Group 4">
              <a:extLst>
                <a:ext uri="{FF2B5EF4-FFF2-40B4-BE49-F238E27FC236}">
                  <a16:creationId xmlns:a16="http://schemas.microsoft.com/office/drawing/2014/main" id="{57BD2C4C-DC67-B843-B26C-309622FC75F7}"/>
                </a:ext>
              </a:extLst>
            </p:cNvPr>
            <p:cNvGrpSpPr>
              <a:grpSpLocks noChangeAspect="1"/>
            </p:cNvGrpSpPr>
            <p:nvPr/>
          </p:nvGrpSpPr>
          <p:grpSpPr bwMode="gray">
            <a:xfrm>
              <a:off x="334963" y="296652"/>
              <a:ext cx="538094" cy="540000"/>
              <a:chOff x="2711" y="1027"/>
              <a:chExt cx="2258" cy="2266"/>
            </a:xfrm>
          </p:grpSpPr>
          <p:sp>
            <p:nvSpPr>
              <p:cNvPr id="19" name="AutoShape 3">
                <a:extLst>
                  <a:ext uri="{FF2B5EF4-FFF2-40B4-BE49-F238E27FC236}">
                    <a16:creationId xmlns:a16="http://schemas.microsoft.com/office/drawing/2014/main" id="{FE1DC41B-291E-574C-9F2C-874E70A40758}"/>
                  </a:ext>
                </a:extLst>
              </p:cNvPr>
              <p:cNvSpPr>
                <a:spLocks noChangeAspect="1" noChangeArrowheads="1" noTextEdit="1"/>
              </p:cNvSpPr>
              <p:nvPr/>
            </p:nvSpPr>
            <p:spPr bwMode="gray">
              <a:xfrm>
                <a:off x="2711" y="1027"/>
                <a:ext cx="2258" cy="22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20" name="Freeform 5">
                <a:extLst>
                  <a:ext uri="{FF2B5EF4-FFF2-40B4-BE49-F238E27FC236}">
                    <a16:creationId xmlns:a16="http://schemas.microsoft.com/office/drawing/2014/main" id="{D4B633C8-F761-C54B-9BD2-EB59D49A2DBC}"/>
                  </a:ext>
                </a:extLst>
              </p:cNvPr>
              <p:cNvSpPr>
                <a:spLocks/>
              </p:cNvSpPr>
              <p:nvPr/>
            </p:nvSpPr>
            <p:spPr bwMode="gray">
              <a:xfrm>
                <a:off x="2709" y="1029"/>
                <a:ext cx="2260" cy="2262"/>
              </a:xfrm>
              <a:custGeom>
                <a:avLst/>
                <a:gdLst>
                  <a:gd name="T0" fmla="*/ 2260 w 2260"/>
                  <a:gd name="T1" fmla="*/ 0 h 2262"/>
                  <a:gd name="T2" fmla="*/ 1612 w 2260"/>
                  <a:gd name="T3" fmla="*/ 649 h 2262"/>
                  <a:gd name="T4" fmla="*/ 1612 w 2260"/>
                  <a:gd name="T5" fmla="*/ 649 h 2262"/>
                  <a:gd name="T6" fmla="*/ 2035 w 2260"/>
                  <a:gd name="T7" fmla="*/ 0 h 2262"/>
                  <a:gd name="T8" fmla="*/ 0 w 2260"/>
                  <a:gd name="T9" fmla="*/ 0 h 2262"/>
                  <a:gd name="T10" fmla="*/ 0 w 2260"/>
                  <a:gd name="T11" fmla="*/ 2262 h 2262"/>
                  <a:gd name="T12" fmla="*/ 2260 w 2260"/>
                  <a:gd name="T13" fmla="*/ 2262 h 2262"/>
                  <a:gd name="T14" fmla="*/ 2260 w 2260"/>
                  <a:gd name="T15" fmla="*/ 0 h 2262"/>
                  <a:gd name="T16" fmla="*/ 2260 w 2260"/>
                  <a:gd name="T17" fmla="*/ 0 h 2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0" h="2262">
                    <a:moveTo>
                      <a:pt x="2260" y="0"/>
                    </a:moveTo>
                    <a:lnTo>
                      <a:pt x="1612" y="649"/>
                    </a:lnTo>
                    <a:lnTo>
                      <a:pt x="1612" y="649"/>
                    </a:lnTo>
                    <a:lnTo>
                      <a:pt x="2035" y="0"/>
                    </a:lnTo>
                    <a:lnTo>
                      <a:pt x="0" y="0"/>
                    </a:lnTo>
                    <a:lnTo>
                      <a:pt x="0" y="2262"/>
                    </a:lnTo>
                    <a:lnTo>
                      <a:pt x="2260" y="2262"/>
                    </a:lnTo>
                    <a:lnTo>
                      <a:pt x="2260" y="0"/>
                    </a:lnTo>
                    <a:lnTo>
                      <a:pt x="2260" y="0"/>
                    </a:lnTo>
                    <a:close/>
                  </a:path>
                </a:pathLst>
              </a:custGeom>
              <a:solidFill>
                <a:srgbClr val="E55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21" name="Freeform 6">
                <a:extLst>
                  <a:ext uri="{FF2B5EF4-FFF2-40B4-BE49-F238E27FC236}">
                    <a16:creationId xmlns:a16="http://schemas.microsoft.com/office/drawing/2014/main" id="{B16BAAE4-1A41-C843-9754-490F7A1E1270}"/>
                  </a:ext>
                </a:extLst>
              </p:cNvPr>
              <p:cNvSpPr>
                <a:spLocks noEditPoints="1"/>
              </p:cNvSpPr>
              <p:nvPr/>
            </p:nvSpPr>
            <p:spPr bwMode="gray">
              <a:xfrm>
                <a:off x="3623" y="1696"/>
                <a:ext cx="1167" cy="922"/>
              </a:xfrm>
              <a:custGeom>
                <a:avLst/>
                <a:gdLst>
                  <a:gd name="T0" fmla="*/ 411 w 580"/>
                  <a:gd name="T1" fmla="*/ 213 h 458"/>
                  <a:gd name="T2" fmla="*/ 570 w 580"/>
                  <a:gd name="T3" fmla="*/ 37 h 458"/>
                  <a:gd name="T4" fmla="*/ 580 w 580"/>
                  <a:gd name="T5" fmla="*/ 20 h 458"/>
                  <a:gd name="T6" fmla="*/ 545 w 580"/>
                  <a:gd name="T7" fmla="*/ 0 h 458"/>
                  <a:gd name="T8" fmla="*/ 519 w 580"/>
                  <a:gd name="T9" fmla="*/ 16 h 458"/>
                  <a:gd name="T10" fmla="*/ 344 w 580"/>
                  <a:gd name="T11" fmla="*/ 210 h 458"/>
                  <a:gd name="T12" fmla="*/ 334 w 580"/>
                  <a:gd name="T13" fmla="*/ 229 h 458"/>
                  <a:gd name="T14" fmla="*/ 344 w 580"/>
                  <a:gd name="T15" fmla="*/ 248 h 458"/>
                  <a:gd name="T16" fmla="*/ 519 w 580"/>
                  <a:gd name="T17" fmla="*/ 442 h 458"/>
                  <a:gd name="T18" fmla="*/ 545 w 580"/>
                  <a:gd name="T19" fmla="*/ 458 h 458"/>
                  <a:gd name="T20" fmla="*/ 580 w 580"/>
                  <a:gd name="T21" fmla="*/ 438 h 458"/>
                  <a:gd name="T22" fmla="*/ 570 w 580"/>
                  <a:gd name="T23" fmla="*/ 421 h 458"/>
                  <a:gd name="T24" fmla="*/ 411 w 580"/>
                  <a:gd name="T25" fmla="*/ 245 h 458"/>
                  <a:gd name="T26" fmla="*/ 399 w 580"/>
                  <a:gd name="T27" fmla="*/ 229 h 458"/>
                  <a:gd name="T28" fmla="*/ 411 w 580"/>
                  <a:gd name="T29" fmla="*/ 213 h 458"/>
                  <a:gd name="T30" fmla="*/ 252 w 580"/>
                  <a:gd name="T31" fmla="*/ 439 h 458"/>
                  <a:gd name="T32" fmla="*/ 281 w 580"/>
                  <a:gd name="T33" fmla="*/ 454 h 458"/>
                  <a:gd name="T34" fmla="*/ 309 w 580"/>
                  <a:gd name="T35" fmla="*/ 439 h 458"/>
                  <a:gd name="T36" fmla="*/ 309 w 580"/>
                  <a:gd name="T37" fmla="*/ 19 h 458"/>
                  <a:gd name="T38" fmla="*/ 281 w 580"/>
                  <a:gd name="T39" fmla="*/ 4 h 458"/>
                  <a:gd name="T40" fmla="*/ 252 w 580"/>
                  <a:gd name="T41" fmla="*/ 19 h 458"/>
                  <a:gd name="T42" fmla="*/ 252 w 580"/>
                  <a:gd name="T43" fmla="*/ 439 h 458"/>
                  <a:gd name="T44" fmla="*/ 0 w 580"/>
                  <a:gd name="T45" fmla="*/ 439 h 458"/>
                  <a:gd name="T46" fmla="*/ 28 w 580"/>
                  <a:gd name="T47" fmla="*/ 454 h 458"/>
                  <a:gd name="T48" fmla="*/ 56 w 580"/>
                  <a:gd name="T49" fmla="*/ 439 h 458"/>
                  <a:gd name="T50" fmla="*/ 56 w 580"/>
                  <a:gd name="T51" fmla="*/ 157 h 458"/>
                  <a:gd name="T52" fmla="*/ 165 w 580"/>
                  <a:gd name="T53" fmla="*/ 53 h 458"/>
                  <a:gd name="T54" fmla="*/ 180 w 580"/>
                  <a:gd name="T55" fmla="*/ 53 h 458"/>
                  <a:gd name="T56" fmla="*/ 196 w 580"/>
                  <a:gd name="T57" fmla="*/ 27 h 458"/>
                  <a:gd name="T58" fmla="*/ 154 w 580"/>
                  <a:gd name="T59" fmla="*/ 4 h 458"/>
                  <a:gd name="T60" fmla="*/ 0 w 580"/>
                  <a:gd name="T61" fmla="*/ 152 h 458"/>
                  <a:gd name="T62" fmla="*/ 0 w 580"/>
                  <a:gd name="T63" fmla="*/ 439 h 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80" h="458">
                    <a:moveTo>
                      <a:pt x="411" y="213"/>
                    </a:moveTo>
                    <a:cubicBezTo>
                      <a:pt x="570" y="37"/>
                      <a:pt x="570" y="37"/>
                      <a:pt x="570" y="37"/>
                    </a:cubicBezTo>
                    <a:cubicBezTo>
                      <a:pt x="576" y="30"/>
                      <a:pt x="580" y="25"/>
                      <a:pt x="580" y="20"/>
                    </a:cubicBezTo>
                    <a:cubicBezTo>
                      <a:pt x="580" y="10"/>
                      <a:pt x="559" y="0"/>
                      <a:pt x="545" y="0"/>
                    </a:cubicBezTo>
                    <a:cubicBezTo>
                      <a:pt x="535" y="0"/>
                      <a:pt x="526" y="8"/>
                      <a:pt x="519" y="16"/>
                    </a:cubicBezTo>
                    <a:cubicBezTo>
                      <a:pt x="344" y="210"/>
                      <a:pt x="344" y="210"/>
                      <a:pt x="344" y="210"/>
                    </a:cubicBezTo>
                    <a:cubicBezTo>
                      <a:pt x="336" y="219"/>
                      <a:pt x="334" y="224"/>
                      <a:pt x="334" y="229"/>
                    </a:cubicBezTo>
                    <a:cubicBezTo>
                      <a:pt x="334" y="234"/>
                      <a:pt x="336" y="239"/>
                      <a:pt x="344" y="248"/>
                    </a:cubicBezTo>
                    <a:cubicBezTo>
                      <a:pt x="519" y="442"/>
                      <a:pt x="519" y="442"/>
                      <a:pt x="519" y="442"/>
                    </a:cubicBezTo>
                    <a:cubicBezTo>
                      <a:pt x="526" y="450"/>
                      <a:pt x="535" y="458"/>
                      <a:pt x="545" y="458"/>
                    </a:cubicBezTo>
                    <a:cubicBezTo>
                      <a:pt x="559" y="458"/>
                      <a:pt x="580" y="448"/>
                      <a:pt x="580" y="438"/>
                    </a:cubicBezTo>
                    <a:cubicBezTo>
                      <a:pt x="580" y="433"/>
                      <a:pt x="576" y="428"/>
                      <a:pt x="570" y="421"/>
                    </a:cubicBezTo>
                    <a:cubicBezTo>
                      <a:pt x="411" y="245"/>
                      <a:pt x="411" y="245"/>
                      <a:pt x="411" y="245"/>
                    </a:cubicBezTo>
                    <a:cubicBezTo>
                      <a:pt x="403" y="236"/>
                      <a:pt x="399" y="232"/>
                      <a:pt x="399" y="229"/>
                    </a:cubicBezTo>
                    <a:cubicBezTo>
                      <a:pt x="399" y="226"/>
                      <a:pt x="403" y="222"/>
                      <a:pt x="411" y="213"/>
                    </a:cubicBezTo>
                    <a:moveTo>
                      <a:pt x="252" y="439"/>
                    </a:moveTo>
                    <a:cubicBezTo>
                      <a:pt x="252" y="449"/>
                      <a:pt x="261" y="454"/>
                      <a:pt x="281" y="454"/>
                    </a:cubicBezTo>
                    <a:cubicBezTo>
                      <a:pt x="300" y="454"/>
                      <a:pt x="309" y="449"/>
                      <a:pt x="309" y="439"/>
                    </a:cubicBezTo>
                    <a:cubicBezTo>
                      <a:pt x="309" y="19"/>
                      <a:pt x="309" y="19"/>
                      <a:pt x="309" y="19"/>
                    </a:cubicBezTo>
                    <a:cubicBezTo>
                      <a:pt x="309" y="9"/>
                      <a:pt x="300" y="4"/>
                      <a:pt x="281" y="4"/>
                    </a:cubicBezTo>
                    <a:cubicBezTo>
                      <a:pt x="261" y="4"/>
                      <a:pt x="252" y="9"/>
                      <a:pt x="252" y="19"/>
                    </a:cubicBezTo>
                    <a:lnTo>
                      <a:pt x="252" y="439"/>
                    </a:lnTo>
                    <a:close/>
                    <a:moveTo>
                      <a:pt x="0" y="439"/>
                    </a:moveTo>
                    <a:cubicBezTo>
                      <a:pt x="0" y="449"/>
                      <a:pt x="8" y="454"/>
                      <a:pt x="28" y="454"/>
                    </a:cubicBezTo>
                    <a:cubicBezTo>
                      <a:pt x="48" y="454"/>
                      <a:pt x="56" y="449"/>
                      <a:pt x="56" y="439"/>
                    </a:cubicBezTo>
                    <a:cubicBezTo>
                      <a:pt x="56" y="157"/>
                      <a:pt x="56" y="157"/>
                      <a:pt x="56" y="157"/>
                    </a:cubicBezTo>
                    <a:cubicBezTo>
                      <a:pt x="56" y="83"/>
                      <a:pt x="85" y="53"/>
                      <a:pt x="165" y="53"/>
                    </a:cubicBezTo>
                    <a:cubicBezTo>
                      <a:pt x="180" y="53"/>
                      <a:pt x="180" y="53"/>
                      <a:pt x="180" y="53"/>
                    </a:cubicBezTo>
                    <a:cubicBezTo>
                      <a:pt x="192" y="53"/>
                      <a:pt x="196" y="43"/>
                      <a:pt x="196" y="27"/>
                    </a:cubicBezTo>
                    <a:cubicBezTo>
                      <a:pt x="196" y="8"/>
                      <a:pt x="185" y="4"/>
                      <a:pt x="154" y="4"/>
                    </a:cubicBezTo>
                    <a:cubicBezTo>
                      <a:pt x="64" y="4"/>
                      <a:pt x="0" y="43"/>
                      <a:pt x="0" y="152"/>
                    </a:cubicBezTo>
                    <a:lnTo>
                      <a:pt x="0" y="43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22" name="Freeform 7">
                <a:extLst>
                  <a:ext uri="{FF2B5EF4-FFF2-40B4-BE49-F238E27FC236}">
                    <a16:creationId xmlns:a16="http://schemas.microsoft.com/office/drawing/2014/main" id="{2F32DCBD-8628-F245-85CD-97686A20ECFD}"/>
                  </a:ext>
                </a:extLst>
              </p:cNvPr>
              <p:cNvSpPr>
                <a:spLocks/>
              </p:cNvSpPr>
              <p:nvPr/>
            </p:nvSpPr>
            <p:spPr bwMode="gray">
              <a:xfrm>
                <a:off x="2880" y="1704"/>
                <a:ext cx="618" cy="916"/>
              </a:xfrm>
              <a:custGeom>
                <a:avLst/>
                <a:gdLst>
                  <a:gd name="T0" fmla="*/ 307 w 307"/>
                  <a:gd name="T1" fmla="*/ 405 h 455"/>
                  <a:gd name="T2" fmla="*/ 307 w 307"/>
                  <a:gd name="T3" fmla="*/ 244 h 455"/>
                  <a:gd name="T4" fmla="*/ 279 w 307"/>
                  <a:gd name="T5" fmla="*/ 229 h 455"/>
                  <a:gd name="T6" fmla="*/ 250 w 307"/>
                  <a:gd name="T7" fmla="*/ 244 h 455"/>
                  <a:gd name="T8" fmla="*/ 250 w 307"/>
                  <a:gd name="T9" fmla="*/ 378 h 455"/>
                  <a:gd name="T10" fmla="*/ 199 w 307"/>
                  <a:gd name="T11" fmla="*/ 408 h 455"/>
                  <a:gd name="T12" fmla="*/ 61 w 307"/>
                  <a:gd name="T13" fmla="*/ 231 h 455"/>
                  <a:gd name="T14" fmla="*/ 238 w 307"/>
                  <a:gd name="T15" fmla="*/ 49 h 455"/>
                  <a:gd name="T16" fmla="*/ 270 w 307"/>
                  <a:gd name="T17" fmla="*/ 49 h 455"/>
                  <a:gd name="T18" fmla="*/ 286 w 307"/>
                  <a:gd name="T19" fmla="*/ 23 h 455"/>
                  <a:gd name="T20" fmla="*/ 244 w 307"/>
                  <a:gd name="T21" fmla="*/ 0 h 455"/>
                  <a:gd name="T22" fmla="*/ 231 w 307"/>
                  <a:gd name="T23" fmla="*/ 0 h 455"/>
                  <a:gd name="T24" fmla="*/ 0 w 307"/>
                  <a:gd name="T25" fmla="*/ 232 h 455"/>
                  <a:gd name="T26" fmla="*/ 198 w 307"/>
                  <a:gd name="T27" fmla="*/ 455 h 455"/>
                  <a:gd name="T28" fmla="*/ 307 w 307"/>
                  <a:gd name="T29" fmla="*/ 405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7" h="455">
                    <a:moveTo>
                      <a:pt x="307" y="405"/>
                    </a:moveTo>
                    <a:cubicBezTo>
                      <a:pt x="307" y="244"/>
                      <a:pt x="307" y="244"/>
                      <a:pt x="307" y="244"/>
                    </a:cubicBezTo>
                    <a:cubicBezTo>
                      <a:pt x="307" y="234"/>
                      <a:pt x="298" y="229"/>
                      <a:pt x="279" y="229"/>
                    </a:cubicBezTo>
                    <a:cubicBezTo>
                      <a:pt x="259" y="229"/>
                      <a:pt x="250" y="234"/>
                      <a:pt x="250" y="244"/>
                    </a:cubicBezTo>
                    <a:cubicBezTo>
                      <a:pt x="250" y="378"/>
                      <a:pt x="250" y="378"/>
                      <a:pt x="250" y="378"/>
                    </a:cubicBezTo>
                    <a:cubicBezTo>
                      <a:pt x="250" y="399"/>
                      <a:pt x="241" y="408"/>
                      <a:pt x="199" y="408"/>
                    </a:cubicBezTo>
                    <a:cubicBezTo>
                      <a:pt x="114" y="408"/>
                      <a:pt x="61" y="342"/>
                      <a:pt x="61" y="231"/>
                    </a:cubicBezTo>
                    <a:cubicBezTo>
                      <a:pt x="61" y="115"/>
                      <a:pt x="126" y="49"/>
                      <a:pt x="238" y="49"/>
                    </a:cubicBezTo>
                    <a:cubicBezTo>
                      <a:pt x="270" y="49"/>
                      <a:pt x="270" y="49"/>
                      <a:pt x="270" y="49"/>
                    </a:cubicBezTo>
                    <a:cubicBezTo>
                      <a:pt x="282" y="49"/>
                      <a:pt x="286" y="39"/>
                      <a:pt x="286" y="23"/>
                    </a:cubicBezTo>
                    <a:cubicBezTo>
                      <a:pt x="286" y="4"/>
                      <a:pt x="275" y="0"/>
                      <a:pt x="244" y="0"/>
                    </a:cubicBezTo>
                    <a:cubicBezTo>
                      <a:pt x="231" y="0"/>
                      <a:pt x="231" y="0"/>
                      <a:pt x="231" y="0"/>
                    </a:cubicBezTo>
                    <a:cubicBezTo>
                      <a:pt x="101" y="0"/>
                      <a:pt x="0" y="71"/>
                      <a:pt x="0" y="232"/>
                    </a:cubicBezTo>
                    <a:cubicBezTo>
                      <a:pt x="0" y="386"/>
                      <a:pt x="88" y="455"/>
                      <a:pt x="198" y="455"/>
                    </a:cubicBezTo>
                    <a:cubicBezTo>
                      <a:pt x="286" y="455"/>
                      <a:pt x="307" y="430"/>
                      <a:pt x="307" y="40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23" name="Oval 8">
                <a:extLst>
                  <a:ext uri="{FF2B5EF4-FFF2-40B4-BE49-F238E27FC236}">
                    <a16:creationId xmlns:a16="http://schemas.microsoft.com/office/drawing/2014/main" id="{60D97C11-1A3B-5449-A48D-98A3E79B3810}"/>
                  </a:ext>
                </a:extLst>
              </p:cNvPr>
              <p:cNvSpPr>
                <a:spLocks noChangeArrowheads="1"/>
              </p:cNvSpPr>
              <p:nvPr/>
            </p:nvSpPr>
            <p:spPr bwMode="gray">
              <a:xfrm>
                <a:off x="3778" y="2099"/>
                <a:ext cx="122" cy="12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24" name="Freeform 9">
                <a:extLst>
                  <a:ext uri="{FF2B5EF4-FFF2-40B4-BE49-F238E27FC236}">
                    <a16:creationId xmlns:a16="http://schemas.microsoft.com/office/drawing/2014/main" id="{5856770D-B8F0-244E-A05D-AED190086F10}"/>
                  </a:ext>
                </a:extLst>
              </p:cNvPr>
              <p:cNvSpPr>
                <a:spLocks noEditPoints="1"/>
              </p:cNvSpPr>
              <p:nvPr/>
            </p:nvSpPr>
            <p:spPr bwMode="gray">
              <a:xfrm>
                <a:off x="3623" y="1696"/>
                <a:ext cx="1167" cy="922"/>
              </a:xfrm>
              <a:custGeom>
                <a:avLst/>
                <a:gdLst>
                  <a:gd name="T0" fmla="*/ 411 w 580"/>
                  <a:gd name="T1" fmla="*/ 213 h 458"/>
                  <a:gd name="T2" fmla="*/ 570 w 580"/>
                  <a:gd name="T3" fmla="*/ 37 h 458"/>
                  <a:gd name="T4" fmla="*/ 580 w 580"/>
                  <a:gd name="T5" fmla="*/ 20 h 458"/>
                  <a:gd name="T6" fmla="*/ 545 w 580"/>
                  <a:gd name="T7" fmla="*/ 0 h 458"/>
                  <a:gd name="T8" fmla="*/ 519 w 580"/>
                  <a:gd name="T9" fmla="*/ 16 h 458"/>
                  <a:gd name="T10" fmla="*/ 344 w 580"/>
                  <a:gd name="T11" fmla="*/ 210 h 458"/>
                  <a:gd name="T12" fmla="*/ 334 w 580"/>
                  <a:gd name="T13" fmla="*/ 229 h 458"/>
                  <a:gd name="T14" fmla="*/ 344 w 580"/>
                  <a:gd name="T15" fmla="*/ 248 h 458"/>
                  <a:gd name="T16" fmla="*/ 519 w 580"/>
                  <a:gd name="T17" fmla="*/ 442 h 458"/>
                  <a:gd name="T18" fmla="*/ 545 w 580"/>
                  <a:gd name="T19" fmla="*/ 458 h 458"/>
                  <a:gd name="T20" fmla="*/ 580 w 580"/>
                  <a:gd name="T21" fmla="*/ 438 h 458"/>
                  <a:gd name="T22" fmla="*/ 570 w 580"/>
                  <a:gd name="T23" fmla="*/ 421 h 458"/>
                  <a:gd name="T24" fmla="*/ 411 w 580"/>
                  <a:gd name="T25" fmla="*/ 245 h 458"/>
                  <a:gd name="T26" fmla="*/ 399 w 580"/>
                  <a:gd name="T27" fmla="*/ 229 h 458"/>
                  <a:gd name="T28" fmla="*/ 411 w 580"/>
                  <a:gd name="T29" fmla="*/ 213 h 458"/>
                  <a:gd name="T30" fmla="*/ 252 w 580"/>
                  <a:gd name="T31" fmla="*/ 439 h 458"/>
                  <a:gd name="T32" fmla="*/ 281 w 580"/>
                  <a:gd name="T33" fmla="*/ 454 h 458"/>
                  <a:gd name="T34" fmla="*/ 309 w 580"/>
                  <a:gd name="T35" fmla="*/ 439 h 458"/>
                  <a:gd name="T36" fmla="*/ 309 w 580"/>
                  <a:gd name="T37" fmla="*/ 19 h 458"/>
                  <a:gd name="T38" fmla="*/ 281 w 580"/>
                  <a:gd name="T39" fmla="*/ 4 h 458"/>
                  <a:gd name="T40" fmla="*/ 252 w 580"/>
                  <a:gd name="T41" fmla="*/ 19 h 458"/>
                  <a:gd name="T42" fmla="*/ 252 w 580"/>
                  <a:gd name="T43" fmla="*/ 439 h 458"/>
                  <a:gd name="T44" fmla="*/ 0 w 580"/>
                  <a:gd name="T45" fmla="*/ 439 h 458"/>
                  <a:gd name="T46" fmla="*/ 28 w 580"/>
                  <a:gd name="T47" fmla="*/ 454 h 458"/>
                  <a:gd name="T48" fmla="*/ 56 w 580"/>
                  <a:gd name="T49" fmla="*/ 439 h 458"/>
                  <a:gd name="T50" fmla="*/ 56 w 580"/>
                  <a:gd name="T51" fmla="*/ 157 h 458"/>
                  <a:gd name="T52" fmla="*/ 165 w 580"/>
                  <a:gd name="T53" fmla="*/ 53 h 458"/>
                  <a:gd name="T54" fmla="*/ 180 w 580"/>
                  <a:gd name="T55" fmla="*/ 53 h 458"/>
                  <a:gd name="T56" fmla="*/ 196 w 580"/>
                  <a:gd name="T57" fmla="*/ 27 h 458"/>
                  <a:gd name="T58" fmla="*/ 154 w 580"/>
                  <a:gd name="T59" fmla="*/ 4 h 458"/>
                  <a:gd name="T60" fmla="*/ 0 w 580"/>
                  <a:gd name="T61" fmla="*/ 152 h 458"/>
                  <a:gd name="T62" fmla="*/ 0 w 580"/>
                  <a:gd name="T63" fmla="*/ 439 h 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80" h="458">
                    <a:moveTo>
                      <a:pt x="411" y="213"/>
                    </a:moveTo>
                    <a:cubicBezTo>
                      <a:pt x="570" y="37"/>
                      <a:pt x="570" y="37"/>
                      <a:pt x="570" y="37"/>
                    </a:cubicBezTo>
                    <a:cubicBezTo>
                      <a:pt x="576" y="30"/>
                      <a:pt x="580" y="25"/>
                      <a:pt x="580" y="20"/>
                    </a:cubicBezTo>
                    <a:cubicBezTo>
                      <a:pt x="580" y="10"/>
                      <a:pt x="559" y="0"/>
                      <a:pt x="545" y="0"/>
                    </a:cubicBezTo>
                    <a:cubicBezTo>
                      <a:pt x="535" y="0"/>
                      <a:pt x="526" y="8"/>
                      <a:pt x="519" y="16"/>
                    </a:cubicBezTo>
                    <a:cubicBezTo>
                      <a:pt x="344" y="210"/>
                      <a:pt x="344" y="210"/>
                      <a:pt x="344" y="210"/>
                    </a:cubicBezTo>
                    <a:cubicBezTo>
                      <a:pt x="336" y="219"/>
                      <a:pt x="334" y="224"/>
                      <a:pt x="334" y="229"/>
                    </a:cubicBezTo>
                    <a:cubicBezTo>
                      <a:pt x="334" y="234"/>
                      <a:pt x="336" y="239"/>
                      <a:pt x="344" y="248"/>
                    </a:cubicBezTo>
                    <a:cubicBezTo>
                      <a:pt x="519" y="442"/>
                      <a:pt x="519" y="442"/>
                      <a:pt x="519" y="442"/>
                    </a:cubicBezTo>
                    <a:cubicBezTo>
                      <a:pt x="526" y="450"/>
                      <a:pt x="535" y="458"/>
                      <a:pt x="545" y="458"/>
                    </a:cubicBezTo>
                    <a:cubicBezTo>
                      <a:pt x="559" y="458"/>
                      <a:pt x="580" y="448"/>
                      <a:pt x="580" y="438"/>
                    </a:cubicBezTo>
                    <a:cubicBezTo>
                      <a:pt x="580" y="433"/>
                      <a:pt x="576" y="428"/>
                      <a:pt x="570" y="421"/>
                    </a:cubicBezTo>
                    <a:cubicBezTo>
                      <a:pt x="411" y="245"/>
                      <a:pt x="411" y="245"/>
                      <a:pt x="411" y="245"/>
                    </a:cubicBezTo>
                    <a:cubicBezTo>
                      <a:pt x="403" y="236"/>
                      <a:pt x="399" y="232"/>
                      <a:pt x="399" y="229"/>
                    </a:cubicBezTo>
                    <a:cubicBezTo>
                      <a:pt x="399" y="226"/>
                      <a:pt x="403" y="222"/>
                      <a:pt x="411" y="213"/>
                    </a:cubicBezTo>
                    <a:moveTo>
                      <a:pt x="252" y="439"/>
                    </a:moveTo>
                    <a:cubicBezTo>
                      <a:pt x="252" y="449"/>
                      <a:pt x="261" y="454"/>
                      <a:pt x="281" y="454"/>
                    </a:cubicBezTo>
                    <a:cubicBezTo>
                      <a:pt x="300" y="454"/>
                      <a:pt x="309" y="449"/>
                      <a:pt x="309" y="439"/>
                    </a:cubicBezTo>
                    <a:cubicBezTo>
                      <a:pt x="309" y="19"/>
                      <a:pt x="309" y="19"/>
                      <a:pt x="309" y="19"/>
                    </a:cubicBezTo>
                    <a:cubicBezTo>
                      <a:pt x="309" y="9"/>
                      <a:pt x="300" y="4"/>
                      <a:pt x="281" y="4"/>
                    </a:cubicBezTo>
                    <a:cubicBezTo>
                      <a:pt x="261" y="4"/>
                      <a:pt x="252" y="9"/>
                      <a:pt x="252" y="19"/>
                    </a:cubicBezTo>
                    <a:lnTo>
                      <a:pt x="252" y="439"/>
                    </a:lnTo>
                    <a:close/>
                    <a:moveTo>
                      <a:pt x="0" y="439"/>
                    </a:moveTo>
                    <a:cubicBezTo>
                      <a:pt x="0" y="449"/>
                      <a:pt x="8" y="454"/>
                      <a:pt x="28" y="454"/>
                    </a:cubicBezTo>
                    <a:cubicBezTo>
                      <a:pt x="48" y="454"/>
                      <a:pt x="56" y="449"/>
                      <a:pt x="56" y="439"/>
                    </a:cubicBezTo>
                    <a:cubicBezTo>
                      <a:pt x="56" y="157"/>
                      <a:pt x="56" y="157"/>
                      <a:pt x="56" y="157"/>
                    </a:cubicBezTo>
                    <a:cubicBezTo>
                      <a:pt x="56" y="83"/>
                      <a:pt x="85" y="53"/>
                      <a:pt x="165" y="53"/>
                    </a:cubicBezTo>
                    <a:cubicBezTo>
                      <a:pt x="180" y="53"/>
                      <a:pt x="180" y="53"/>
                      <a:pt x="180" y="53"/>
                    </a:cubicBezTo>
                    <a:cubicBezTo>
                      <a:pt x="192" y="53"/>
                      <a:pt x="196" y="43"/>
                      <a:pt x="196" y="27"/>
                    </a:cubicBezTo>
                    <a:cubicBezTo>
                      <a:pt x="196" y="8"/>
                      <a:pt x="185" y="4"/>
                      <a:pt x="154" y="4"/>
                    </a:cubicBezTo>
                    <a:cubicBezTo>
                      <a:pt x="64" y="4"/>
                      <a:pt x="0" y="43"/>
                      <a:pt x="0" y="152"/>
                    </a:cubicBezTo>
                    <a:lnTo>
                      <a:pt x="0" y="43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25" name="Freeform 10">
                <a:extLst>
                  <a:ext uri="{FF2B5EF4-FFF2-40B4-BE49-F238E27FC236}">
                    <a16:creationId xmlns:a16="http://schemas.microsoft.com/office/drawing/2014/main" id="{2B91B16B-BC11-E547-8FAC-B9B8D18EA449}"/>
                  </a:ext>
                </a:extLst>
              </p:cNvPr>
              <p:cNvSpPr>
                <a:spLocks/>
              </p:cNvSpPr>
              <p:nvPr/>
            </p:nvSpPr>
            <p:spPr bwMode="gray">
              <a:xfrm>
                <a:off x="2880" y="1704"/>
                <a:ext cx="618" cy="916"/>
              </a:xfrm>
              <a:custGeom>
                <a:avLst/>
                <a:gdLst>
                  <a:gd name="T0" fmla="*/ 307 w 307"/>
                  <a:gd name="T1" fmla="*/ 405 h 455"/>
                  <a:gd name="T2" fmla="*/ 307 w 307"/>
                  <a:gd name="T3" fmla="*/ 244 h 455"/>
                  <a:gd name="T4" fmla="*/ 279 w 307"/>
                  <a:gd name="T5" fmla="*/ 229 h 455"/>
                  <a:gd name="T6" fmla="*/ 250 w 307"/>
                  <a:gd name="T7" fmla="*/ 244 h 455"/>
                  <a:gd name="T8" fmla="*/ 250 w 307"/>
                  <a:gd name="T9" fmla="*/ 378 h 455"/>
                  <a:gd name="T10" fmla="*/ 199 w 307"/>
                  <a:gd name="T11" fmla="*/ 408 h 455"/>
                  <a:gd name="T12" fmla="*/ 61 w 307"/>
                  <a:gd name="T13" fmla="*/ 231 h 455"/>
                  <a:gd name="T14" fmla="*/ 238 w 307"/>
                  <a:gd name="T15" fmla="*/ 49 h 455"/>
                  <a:gd name="T16" fmla="*/ 270 w 307"/>
                  <a:gd name="T17" fmla="*/ 49 h 455"/>
                  <a:gd name="T18" fmla="*/ 286 w 307"/>
                  <a:gd name="T19" fmla="*/ 23 h 455"/>
                  <a:gd name="T20" fmla="*/ 244 w 307"/>
                  <a:gd name="T21" fmla="*/ 0 h 455"/>
                  <a:gd name="T22" fmla="*/ 231 w 307"/>
                  <a:gd name="T23" fmla="*/ 0 h 455"/>
                  <a:gd name="T24" fmla="*/ 0 w 307"/>
                  <a:gd name="T25" fmla="*/ 232 h 455"/>
                  <a:gd name="T26" fmla="*/ 198 w 307"/>
                  <a:gd name="T27" fmla="*/ 455 h 455"/>
                  <a:gd name="T28" fmla="*/ 307 w 307"/>
                  <a:gd name="T29" fmla="*/ 405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7" h="455">
                    <a:moveTo>
                      <a:pt x="307" y="405"/>
                    </a:moveTo>
                    <a:cubicBezTo>
                      <a:pt x="307" y="244"/>
                      <a:pt x="307" y="244"/>
                      <a:pt x="307" y="244"/>
                    </a:cubicBezTo>
                    <a:cubicBezTo>
                      <a:pt x="307" y="234"/>
                      <a:pt x="298" y="229"/>
                      <a:pt x="279" y="229"/>
                    </a:cubicBezTo>
                    <a:cubicBezTo>
                      <a:pt x="259" y="229"/>
                      <a:pt x="250" y="234"/>
                      <a:pt x="250" y="244"/>
                    </a:cubicBezTo>
                    <a:cubicBezTo>
                      <a:pt x="250" y="378"/>
                      <a:pt x="250" y="378"/>
                      <a:pt x="250" y="378"/>
                    </a:cubicBezTo>
                    <a:cubicBezTo>
                      <a:pt x="250" y="399"/>
                      <a:pt x="241" y="408"/>
                      <a:pt x="199" y="408"/>
                    </a:cubicBezTo>
                    <a:cubicBezTo>
                      <a:pt x="114" y="408"/>
                      <a:pt x="61" y="342"/>
                      <a:pt x="61" y="231"/>
                    </a:cubicBezTo>
                    <a:cubicBezTo>
                      <a:pt x="61" y="115"/>
                      <a:pt x="126" y="49"/>
                      <a:pt x="238" y="49"/>
                    </a:cubicBezTo>
                    <a:cubicBezTo>
                      <a:pt x="270" y="49"/>
                      <a:pt x="270" y="49"/>
                      <a:pt x="270" y="49"/>
                    </a:cubicBezTo>
                    <a:cubicBezTo>
                      <a:pt x="282" y="49"/>
                      <a:pt x="286" y="39"/>
                      <a:pt x="286" y="23"/>
                    </a:cubicBezTo>
                    <a:cubicBezTo>
                      <a:pt x="286" y="4"/>
                      <a:pt x="275" y="0"/>
                      <a:pt x="244" y="0"/>
                    </a:cubicBezTo>
                    <a:cubicBezTo>
                      <a:pt x="231" y="0"/>
                      <a:pt x="231" y="0"/>
                      <a:pt x="231" y="0"/>
                    </a:cubicBezTo>
                    <a:cubicBezTo>
                      <a:pt x="101" y="0"/>
                      <a:pt x="0" y="71"/>
                      <a:pt x="0" y="232"/>
                    </a:cubicBezTo>
                    <a:cubicBezTo>
                      <a:pt x="0" y="386"/>
                      <a:pt x="88" y="455"/>
                      <a:pt x="198" y="455"/>
                    </a:cubicBezTo>
                    <a:cubicBezTo>
                      <a:pt x="286" y="455"/>
                      <a:pt x="307" y="430"/>
                      <a:pt x="307" y="40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26" name="Oval 11">
                <a:extLst>
                  <a:ext uri="{FF2B5EF4-FFF2-40B4-BE49-F238E27FC236}">
                    <a16:creationId xmlns:a16="http://schemas.microsoft.com/office/drawing/2014/main" id="{14F8C3C8-4888-7646-B9B4-64EB46A1DA23}"/>
                  </a:ext>
                </a:extLst>
              </p:cNvPr>
              <p:cNvSpPr>
                <a:spLocks noChangeArrowheads="1"/>
              </p:cNvSpPr>
              <p:nvPr/>
            </p:nvSpPr>
            <p:spPr bwMode="gray">
              <a:xfrm>
                <a:off x="3778" y="2099"/>
                <a:ext cx="122" cy="12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27" name="Freeform 12">
                <a:extLst>
                  <a:ext uri="{FF2B5EF4-FFF2-40B4-BE49-F238E27FC236}">
                    <a16:creationId xmlns:a16="http://schemas.microsoft.com/office/drawing/2014/main" id="{D79D01D1-4E3E-F34B-97D7-2D387E68746E}"/>
                  </a:ext>
                </a:extLst>
              </p:cNvPr>
              <p:cNvSpPr>
                <a:spLocks/>
              </p:cNvSpPr>
              <p:nvPr/>
            </p:nvSpPr>
            <p:spPr bwMode="gray">
              <a:xfrm>
                <a:off x="4321" y="1029"/>
                <a:ext cx="648" cy="649"/>
              </a:xfrm>
              <a:custGeom>
                <a:avLst/>
                <a:gdLst>
                  <a:gd name="T0" fmla="*/ 0 w 648"/>
                  <a:gd name="T1" fmla="*/ 649 h 649"/>
                  <a:gd name="T2" fmla="*/ 2 w 648"/>
                  <a:gd name="T3" fmla="*/ 649 h 649"/>
                  <a:gd name="T4" fmla="*/ 648 w 648"/>
                  <a:gd name="T5" fmla="*/ 0 h 649"/>
                  <a:gd name="T6" fmla="*/ 423 w 648"/>
                  <a:gd name="T7" fmla="*/ 0 h 649"/>
                  <a:gd name="T8" fmla="*/ 0 w 648"/>
                  <a:gd name="T9" fmla="*/ 649 h 649"/>
                </a:gdLst>
                <a:ahLst/>
                <a:cxnLst>
                  <a:cxn ang="0">
                    <a:pos x="T0" y="T1"/>
                  </a:cxn>
                  <a:cxn ang="0">
                    <a:pos x="T2" y="T3"/>
                  </a:cxn>
                  <a:cxn ang="0">
                    <a:pos x="T4" y="T5"/>
                  </a:cxn>
                  <a:cxn ang="0">
                    <a:pos x="T6" y="T7"/>
                  </a:cxn>
                  <a:cxn ang="0">
                    <a:pos x="T8" y="T9"/>
                  </a:cxn>
                </a:cxnLst>
                <a:rect l="0" t="0" r="r" b="b"/>
                <a:pathLst>
                  <a:path w="648" h="649">
                    <a:moveTo>
                      <a:pt x="0" y="649"/>
                    </a:moveTo>
                    <a:lnTo>
                      <a:pt x="2" y="649"/>
                    </a:lnTo>
                    <a:lnTo>
                      <a:pt x="648" y="0"/>
                    </a:lnTo>
                    <a:lnTo>
                      <a:pt x="423" y="0"/>
                    </a:lnTo>
                    <a:lnTo>
                      <a:pt x="0" y="64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28" name="Freeform 13">
                <a:extLst>
                  <a:ext uri="{FF2B5EF4-FFF2-40B4-BE49-F238E27FC236}">
                    <a16:creationId xmlns:a16="http://schemas.microsoft.com/office/drawing/2014/main" id="{46549898-6C52-B147-A8F6-A73FDBE6163B}"/>
                  </a:ext>
                </a:extLst>
              </p:cNvPr>
              <p:cNvSpPr>
                <a:spLocks/>
              </p:cNvSpPr>
              <p:nvPr/>
            </p:nvSpPr>
            <p:spPr bwMode="gray">
              <a:xfrm>
                <a:off x="4321" y="1029"/>
                <a:ext cx="648" cy="649"/>
              </a:xfrm>
              <a:custGeom>
                <a:avLst/>
                <a:gdLst>
                  <a:gd name="T0" fmla="*/ 0 w 648"/>
                  <a:gd name="T1" fmla="*/ 649 h 649"/>
                  <a:gd name="T2" fmla="*/ 2 w 648"/>
                  <a:gd name="T3" fmla="*/ 649 h 649"/>
                  <a:gd name="T4" fmla="*/ 648 w 648"/>
                  <a:gd name="T5" fmla="*/ 0 h 649"/>
                  <a:gd name="T6" fmla="*/ 423 w 648"/>
                  <a:gd name="T7" fmla="*/ 0 h 649"/>
                  <a:gd name="T8" fmla="*/ 0 w 648"/>
                  <a:gd name="T9" fmla="*/ 649 h 649"/>
                </a:gdLst>
                <a:ahLst/>
                <a:cxnLst>
                  <a:cxn ang="0">
                    <a:pos x="T0" y="T1"/>
                  </a:cxn>
                  <a:cxn ang="0">
                    <a:pos x="T2" y="T3"/>
                  </a:cxn>
                  <a:cxn ang="0">
                    <a:pos x="T4" y="T5"/>
                  </a:cxn>
                  <a:cxn ang="0">
                    <a:pos x="T6" y="T7"/>
                  </a:cxn>
                  <a:cxn ang="0">
                    <a:pos x="T8" y="T9"/>
                  </a:cxn>
                </a:cxnLst>
                <a:rect l="0" t="0" r="r" b="b"/>
                <a:pathLst>
                  <a:path w="648" h="649">
                    <a:moveTo>
                      <a:pt x="0" y="649"/>
                    </a:moveTo>
                    <a:lnTo>
                      <a:pt x="2" y="649"/>
                    </a:lnTo>
                    <a:lnTo>
                      <a:pt x="648" y="0"/>
                    </a:lnTo>
                    <a:lnTo>
                      <a:pt x="423" y="0"/>
                    </a:lnTo>
                    <a:lnTo>
                      <a:pt x="0" y="64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grpSp>
      </p:grpSp>
      <p:sp>
        <p:nvSpPr>
          <p:cNvPr id="7" name="Date Placeholder 6"/>
          <p:cNvSpPr>
            <a:spLocks noGrp="1"/>
          </p:cNvSpPr>
          <p:nvPr>
            <p:ph type="dt" sz="half" idx="10"/>
          </p:nvPr>
        </p:nvSpPr>
        <p:spPr>
          <a:xfrm>
            <a:off x="0" y="0"/>
            <a:ext cx="0" cy="0"/>
          </a:xfrm>
          <a:prstGeom prst="rect">
            <a:avLst/>
          </a:prstGeom>
        </p:spPr>
        <p:txBody>
          <a:bodyPr/>
          <a:lstStyle>
            <a:lvl1pPr>
              <a:defRPr sz="100">
                <a:noFill/>
              </a:defRPr>
            </a:lvl1pPr>
          </a:lstStyle>
          <a:p>
            <a:endParaRPr lang="en-US"/>
          </a:p>
        </p:txBody>
      </p:sp>
      <p:sp>
        <p:nvSpPr>
          <p:cNvPr id="8" name="Footer Placeholder 7"/>
          <p:cNvSpPr>
            <a:spLocks noGrp="1"/>
          </p:cNvSpPr>
          <p:nvPr>
            <p:ph type="ftr" sz="quarter" idx="11"/>
          </p:nvPr>
        </p:nvSpPr>
        <p:spPr>
          <a:xfrm>
            <a:off x="0" y="0"/>
            <a:ext cx="0" cy="0"/>
          </a:xfrm>
          <a:prstGeom prst="rect">
            <a:avLst/>
          </a:prstGeom>
        </p:spPr>
        <p:txBody>
          <a:bodyPr/>
          <a:lstStyle>
            <a:lvl1pPr marL="0" indent="0">
              <a:buNone/>
              <a:defRPr sz="100">
                <a:noFill/>
              </a:defRPr>
            </a:lvl1pPr>
          </a:lstStyle>
          <a:p>
            <a:endParaRPr lang="en-US"/>
          </a:p>
        </p:txBody>
      </p:sp>
      <p:sp>
        <p:nvSpPr>
          <p:cNvPr id="9" name="Slide Number Placeholder 8"/>
          <p:cNvSpPr>
            <a:spLocks noGrp="1"/>
          </p:cNvSpPr>
          <p:nvPr>
            <p:ph type="sldNum" sz="quarter" idx="12"/>
          </p:nvPr>
        </p:nvSpPr>
        <p:spPr>
          <a:xfrm>
            <a:off x="0" y="0"/>
            <a:ext cx="0" cy="0"/>
          </a:xfrm>
          <a:prstGeom prst="rect">
            <a:avLst/>
          </a:prstGeom>
        </p:spPr>
        <p:txBody>
          <a:bodyPr/>
          <a:lstStyle>
            <a:lvl1pPr>
              <a:defRPr sz="100">
                <a:noFill/>
              </a:defRPr>
            </a:lvl1pPr>
          </a:lstStyle>
          <a:p>
            <a:fld id="{8E3B25F7-8D1F-44B5-B485-EE3C438CFD7B}" type="slidenum">
              <a:rPr lang="en-US" smtClean="0"/>
              <a:pPr/>
              <a:t>‹#›</a:t>
            </a:fld>
            <a:endParaRPr lang="en-US"/>
          </a:p>
        </p:txBody>
      </p:sp>
      <p:sp>
        <p:nvSpPr>
          <p:cNvPr id="2" name="Title 1"/>
          <p:cNvSpPr>
            <a:spLocks noGrp="1"/>
          </p:cNvSpPr>
          <p:nvPr>
            <p:ph type="ctrTitle" hasCustomPrompt="1"/>
          </p:nvPr>
        </p:nvSpPr>
        <p:spPr>
          <a:xfrm>
            <a:off x="4524589" y="1628775"/>
            <a:ext cx="5707662" cy="2236264"/>
          </a:xfrm>
        </p:spPr>
        <p:txBody>
          <a:bodyPr anchor="b"/>
          <a:lstStyle>
            <a:lvl1pPr algn="l">
              <a:defRPr sz="3600" baseline="0"/>
            </a:lvl1pPr>
          </a:lstStyle>
          <a:p>
            <a:r>
              <a:rPr lang="en-US"/>
              <a:t>Click to add a longer presentation title</a:t>
            </a:r>
          </a:p>
        </p:txBody>
      </p:sp>
      <p:sp>
        <p:nvSpPr>
          <p:cNvPr id="3" name="Subtitle 2"/>
          <p:cNvSpPr>
            <a:spLocks noGrp="1"/>
          </p:cNvSpPr>
          <p:nvPr>
            <p:ph type="subTitle" idx="1" hasCustomPrompt="1"/>
          </p:nvPr>
        </p:nvSpPr>
        <p:spPr>
          <a:xfrm>
            <a:off x="4524589" y="4094163"/>
            <a:ext cx="5707662" cy="1080000"/>
          </a:xfrm>
        </p:spPr>
        <p:txBody>
          <a:bodyPr/>
          <a:lstStyle>
            <a:lvl1pPr marL="0" indent="0" algn="l">
              <a:spcBef>
                <a:spcPts val="0"/>
              </a:spcBef>
              <a:buNone/>
              <a:defRPr sz="1800" b="1"/>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sp>
        <p:nvSpPr>
          <p:cNvPr id="31" name="Text Placeholder 30"/>
          <p:cNvSpPr>
            <a:spLocks noGrp="1"/>
          </p:cNvSpPr>
          <p:nvPr>
            <p:ph type="body" sz="quarter" idx="14" hasCustomPrompt="1"/>
          </p:nvPr>
        </p:nvSpPr>
        <p:spPr>
          <a:xfrm>
            <a:off x="417600" y="5393268"/>
            <a:ext cx="2494933" cy="296332"/>
          </a:xfrm>
        </p:spPr>
        <p:txBody>
          <a:bodyPr wrap="none"/>
          <a:lstStyle>
            <a:lvl1pPr marL="0" indent="0">
              <a:spcBef>
                <a:spcPts val="0"/>
              </a:spcBef>
              <a:buNone/>
              <a:defRPr sz="1200"/>
            </a:lvl1pPr>
            <a:lvl2pPr marL="0" indent="0">
              <a:buNone/>
              <a:defRPr sz="1200"/>
            </a:lvl2pPr>
            <a:lvl3pPr marL="0" indent="0">
              <a:buNone/>
              <a:defRPr sz="1200"/>
            </a:lvl3pPr>
            <a:lvl4pPr marL="0">
              <a:buNone/>
              <a:defRPr sz="1200"/>
            </a:lvl4pPr>
            <a:lvl5pPr marL="0" indent="0">
              <a:buNone/>
              <a:defRPr sz="1200"/>
            </a:lvl5pPr>
          </a:lstStyle>
          <a:p>
            <a:pPr lvl="0"/>
            <a:r>
              <a:rPr lang="en-US"/>
              <a:t>Name</a:t>
            </a:r>
          </a:p>
        </p:txBody>
      </p:sp>
      <p:sp>
        <p:nvSpPr>
          <p:cNvPr id="34" name="Text Placeholder 30"/>
          <p:cNvSpPr>
            <a:spLocks noGrp="1"/>
          </p:cNvSpPr>
          <p:nvPr>
            <p:ph type="body" sz="quarter" idx="15" hasCustomPrompt="1"/>
          </p:nvPr>
        </p:nvSpPr>
        <p:spPr>
          <a:xfrm>
            <a:off x="417600" y="5691446"/>
            <a:ext cx="2494933" cy="296332"/>
          </a:xfrm>
        </p:spPr>
        <p:txBody>
          <a:bodyPr wrap="none"/>
          <a:lstStyle>
            <a:lvl1pPr marL="0" indent="0">
              <a:spcBef>
                <a:spcPts val="0"/>
              </a:spcBef>
              <a:buNone/>
              <a:defRPr sz="1200"/>
            </a:lvl1pPr>
            <a:lvl2pPr marL="0" indent="0">
              <a:buNone/>
              <a:defRPr sz="1200"/>
            </a:lvl2pPr>
            <a:lvl3pPr marL="0" indent="0">
              <a:buNone/>
              <a:defRPr sz="1200"/>
            </a:lvl3pPr>
            <a:lvl4pPr marL="0">
              <a:buNone/>
              <a:defRPr sz="1200"/>
            </a:lvl4pPr>
            <a:lvl5pPr marL="0" indent="0">
              <a:buNone/>
              <a:defRPr sz="1200"/>
            </a:lvl5pPr>
          </a:lstStyle>
          <a:p>
            <a:pPr lvl="0"/>
            <a:r>
              <a:rPr lang="en-US"/>
              <a:t>Department</a:t>
            </a:r>
          </a:p>
        </p:txBody>
      </p:sp>
    </p:spTree>
    <p:extLst>
      <p:ext uri="{BB962C8B-B14F-4D97-AF65-F5344CB8AC3E}">
        <p14:creationId xmlns:p14="http://schemas.microsoft.com/office/powerpoint/2010/main" val="10267254"/>
      </p:ext>
    </p:extLst>
  </p:cSld>
  <p:clrMapOvr>
    <a:masterClrMapping/>
  </p:clrMapOvr>
</p:sldLayout>
</file>

<file path=ppt/slideLayouts/slideLayout278.xml><?xml version="1.0" encoding="utf-8"?>
<p:sldLayout xmlns:a="http://schemas.openxmlformats.org/drawingml/2006/main" xmlns:r="http://schemas.openxmlformats.org/officeDocument/2006/relationships" xmlns:p="http://schemas.openxmlformats.org/presentationml/2006/main" showMasterSp="0" preserve="1">
  <p:cSld name="Title with picture">
    <p:spTree>
      <p:nvGrpSpPr>
        <p:cNvPr id="1" name=""/>
        <p:cNvGrpSpPr/>
        <p:nvPr/>
      </p:nvGrpSpPr>
      <p:grpSpPr>
        <a:xfrm>
          <a:off x="0" y="0"/>
          <a:ext cx="0" cy="0"/>
          <a:chOff x="0" y="0"/>
          <a:chExt cx="0" cy="0"/>
        </a:xfrm>
      </p:grpSpPr>
      <p:sp>
        <p:nvSpPr>
          <p:cNvPr id="12" name="Picture Placeholder 11"/>
          <p:cNvSpPr>
            <a:spLocks noGrp="1"/>
          </p:cNvSpPr>
          <p:nvPr>
            <p:ph type="pic" sz="quarter" idx="13" hasCustomPrompt="1"/>
          </p:nvPr>
        </p:nvSpPr>
        <p:spPr>
          <a:xfrm>
            <a:off x="3376226" y="0"/>
            <a:ext cx="8815774" cy="6858000"/>
          </a:xfrm>
          <a:custGeom>
            <a:avLst/>
            <a:gdLst>
              <a:gd name="connsiteX0" fmla="*/ 331042 w 8815774"/>
              <a:gd name="connsiteY0" fmla="*/ 0 h 6858000"/>
              <a:gd name="connsiteX1" fmla="*/ 8815774 w 8815774"/>
              <a:gd name="connsiteY1" fmla="*/ 0 h 6858000"/>
              <a:gd name="connsiteX2" fmla="*/ 8815774 w 8815774"/>
              <a:gd name="connsiteY2" fmla="*/ 6858000 h 6858000"/>
              <a:gd name="connsiteX3" fmla="*/ 0 w 8815774"/>
              <a:gd name="connsiteY3" fmla="*/ 6858000 h 6858000"/>
              <a:gd name="connsiteX4" fmla="*/ 1580491 w 8815774"/>
              <a:gd name="connsiteY4" fmla="*/ 4163677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15774" h="6858000">
                <a:moveTo>
                  <a:pt x="331042" y="0"/>
                </a:moveTo>
                <a:lnTo>
                  <a:pt x="8815774" y="0"/>
                </a:lnTo>
                <a:lnTo>
                  <a:pt x="8815774" y="6858000"/>
                </a:lnTo>
                <a:lnTo>
                  <a:pt x="0" y="6858000"/>
                </a:lnTo>
                <a:lnTo>
                  <a:pt x="1580491" y="4163677"/>
                </a:lnTo>
                <a:close/>
              </a:path>
            </a:pathLst>
          </a:custGeom>
          <a:solidFill>
            <a:srgbClr val="D9DADB"/>
          </a:solidFill>
        </p:spPr>
        <p:txBody>
          <a:bodyPr wrap="square">
            <a:noAutofit/>
          </a:bodyPr>
          <a:lstStyle>
            <a:lvl1pPr marL="0" indent="0" algn="ctr">
              <a:buNone/>
              <a:defRPr/>
            </a:lvl1pPr>
          </a:lstStyle>
          <a:p>
            <a:r>
              <a:rPr lang="en-US"/>
              <a:t>Insert picture</a:t>
            </a:r>
          </a:p>
        </p:txBody>
      </p:sp>
      <p:grpSp>
        <p:nvGrpSpPr>
          <p:cNvPr id="14" name="logo">
            <a:extLst>
              <a:ext uri="{FF2B5EF4-FFF2-40B4-BE49-F238E27FC236}">
                <a16:creationId xmlns:a16="http://schemas.microsoft.com/office/drawing/2014/main" id="{18C26D95-70F8-8A4D-9F18-DCCB92522AF8}"/>
              </a:ext>
            </a:extLst>
          </p:cNvPr>
          <p:cNvGrpSpPr/>
          <p:nvPr/>
        </p:nvGrpSpPr>
        <p:grpSpPr bwMode="gray">
          <a:xfrm>
            <a:off x="417363" y="407485"/>
            <a:ext cx="1518585" cy="646507"/>
            <a:chOff x="334963" y="296652"/>
            <a:chExt cx="1268411" cy="540000"/>
          </a:xfrm>
        </p:grpSpPr>
        <p:sp>
          <p:nvSpPr>
            <p:cNvPr id="17" name="Freeform 6">
              <a:extLst>
                <a:ext uri="{FF2B5EF4-FFF2-40B4-BE49-F238E27FC236}">
                  <a16:creationId xmlns:a16="http://schemas.microsoft.com/office/drawing/2014/main" id="{08737AD0-E375-E445-97E6-CD2E2DF60620}"/>
                </a:ext>
              </a:extLst>
            </p:cNvPr>
            <p:cNvSpPr>
              <a:spLocks noEditPoints="1"/>
            </p:cNvSpPr>
            <p:nvPr/>
          </p:nvSpPr>
          <p:spPr bwMode="gray">
            <a:xfrm>
              <a:off x="982662" y="360462"/>
              <a:ext cx="620712" cy="431800"/>
            </a:xfrm>
            <a:custGeom>
              <a:avLst/>
              <a:gdLst>
                <a:gd name="T0" fmla="*/ 19 w 1809"/>
                <a:gd name="T1" fmla="*/ 97 h 1253"/>
                <a:gd name="T2" fmla="*/ 165 w 1809"/>
                <a:gd name="T3" fmla="*/ 41 h 1253"/>
                <a:gd name="T4" fmla="*/ 211 w 1809"/>
                <a:gd name="T5" fmla="*/ 224 h 1253"/>
                <a:gd name="T6" fmla="*/ 248 w 1809"/>
                <a:gd name="T7" fmla="*/ 155 h 1253"/>
                <a:gd name="T8" fmla="*/ 931 w 1809"/>
                <a:gd name="T9" fmla="*/ 995 h 1253"/>
                <a:gd name="T10" fmla="*/ 858 w 1809"/>
                <a:gd name="T11" fmla="*/ 1115 h 1253"/>
                <a:gd name="T12" fmla="*/ 749 w 1809"/>
                <a:gd name="T13" fmla="*/ 1117 h 1253"/>
                <a:gd name="T14" fmla="*/ 681 w 1809"/>
                <a:gd name="T15" fmla="*/ 1055 h 1253"/>
                <a:gd name="T16" fmla="*/ 800 w 1809"/>
                <a:gd name="T17" fmla="*/ 1054 h 1253"/>
                <a:gd name="T18" fmla="*/ 884 w 1809"/>
                <a:gd name="T19" fmla="*/ 1181 h 1253"/>
                <a:gd name="T20" fmla="*/ 118 w 1809"/>
                <a:gd name="T21" fmla="*/ 1086 h 1253"/>
                <a:gd name="T22" fmla="*/ 147 w 1809"/>
                <a:gd name="T23" fmla="*/ 1026 h 1253"/>
                <a:gd name="T24" fmla="*/ 102 w 1809"/>
                <a:gd name="T25" fmla="*/ 1026 h 1253"/>
                <a:gd name="T26" fmla="*/ 639 w 1809"/>
                <a:gd name="T27" fmla="*/ 84 h 1253"/>
                <a:gd name="T28" fmla="*/ 763 w 1809"/>
                <a:gd name="T29" fmla="*/ 145 h 1253"/>
                <a:gd name="T30" fmla="*/ 863 w 1809"/>
                <a:gd name="T31" fmla="*/ 221 h 1253"/>
                <a:gd name="T32" fmla="*/ 834 w 1809"/>
                <a:gd name="T33" fmla="*/ 208 h 1253"/>
                <a:gd name="T34" fmla="*/ 719 w 1809"/>
                <a:gd name="T35" fmla="*/ 182 h 1253"/>
                <a:gd name="T36" fmla="*/ 507 w 1809"/>
                <a:gd name="T37" fmla="*/ 711 h 1253"/>
                <a:gd name="T38" fmla="*/ 614 w 1809"/>
                <a:gd name="T39" fmla="*/ 706 h 1253"/>
                <a:gd name="T40" fmla="*/ 736 w 1809"/>
                <a:gd name="T41" fmla="*/ 730 h 1253"/>
                <a:gd name="T42" fmla="*/ 607 w 1809"/>
                <a:gd name="T43" fmla="*/ 539 h 1253"/>
                <a:gd name="T44" fmla="*/ 1505 w 1809"/>
                <a:gd name="T45" fmla="*/ 1136 h 1253"/>
                <a:gd name="T46" fmla="*/ 1613 w 1809"/>
                <a:gd name="T47" fmla="*/ 1002 h 1253"/>
                <a:gd name="T48" fmla="*/ 1472 w 1809"/>
                <a:gd name="T49" fmla="*/ 1164 h 1253"/>
                <a:gd name="T50" fmla="*/ 1525 w 1809"/>
                <a:gd name="T51" fmla="*/ 1142 h 1253"/>
                <a:gd name="T52" fmla="*/ 1556 w 1809"/>
                <a:gd name="T53" fmla="*/ 1172 h 1253"/>
                <a:gd name="T54" fmla="*/ 1387 w 1809"/>
                <a:gd name="T55" fmla="*/ 910 h 1253"/>
                <a:gd name="T56" fmla="*/ 1261 w 1809"/>
                <a:gd name="T57" fmla="*/ 1157 h 1253"/>
                <a:gd name="T58" fmla="*/ 1413 w 1809"/>
                <a:gd name="T59" fmla="*/ 934 h 1253"/>
                <a:gd name="T60" fmla="*/ 1378 w 1809"/>
                <a:gd name="T61" fmla="*/ 1052 h 1253"/>
                <a:gd name="T62" fmla="*/ 488 w 1809"/>
                <a:gd name="T63" fmla="*/ 85 h 1253"/>
                <a:gd name="T64" fmla="*/ 509 w 1809"/>
                <a:gd name="T65" fmla="*/ 112 h 1253"/>
                <a:gd name="T66" fmla="*/ 548 w 1809"/>
                <a:gd name="T67" fmla="*/ 1187 h 1253"/>
                <a:gd name="T68" fmla="*/ 472 w 1809"/>
                <a:gd name="T69" fmla="*/ 1122 h 1253"/>
                <a:gd name="T70" fmla="*/ 558 w 1809"/>
                <a:gd name="T71" fmla="*/ 1157 h 1253"/>
                <a:gd name="T72" fmla="*/ 287 w 1809"/>
                <a:gd name="T73" fmla="*/ 654 h 1253"/>
                <a:gd name="T74" fmla="*/ 416 w 1809"/>
                <a:gd name="T75" fmla="*/ 684 h 1253"/>
                <a:gd name="T76" fmla="*/ 1106 w 1809"/>
                <a:gd name="T77" fmla="*/ 147 h 1253"/>
                <a:gd name="T78" fmla="*/ 1229 w 1809"/>
                <a:gd name="T79" fmla="*/ 258 h 1253"/>
                <a:gd name="T80" fmla="*/ 1106 w 1809"/>
                <a:gd name="T81" fmla="*/ 96 h 1253"/>
                <a:gd name="T82" fmla="*/ 1219 w 1809"/>
                <a:gd name="T83" fmla="*/ 1077 h 1253"/>
                <a:gd name="T84" fmla="*/ 1214 w 1809"/>
                <a:gd name="T85" fmla="*/ 1157 h 1253"/>
                <a:gd name="T86" fmla="*/ 1150 w 1809"/>
                <a:gd name="T87" fmla="*/ 1092 h 1253"/>
                <a:gd name="T88" fmla="*/ 1139 w 1809"/>
                <a:gd name="T89" fmla="*/ 1070 h 1253"/>
                <a:gd name="T90" fmla="*/ 1659 w 1809"/>
                <a:gd name="T91" fmla="*/ 1031 h 1253"/>
                <a:gd name="T92" fmla="*/ 1714 w 1809"/>
                <a:gd name="T93" fmla="*/ 1155 h 1253"/>
                <a:gd name="T94" fmla="*/ 1760 w 1809"/>
                <a:gd name="T95" fmla="*/ 1030 h 1253"/>
                <a:gd name="T96" fmla="*/ 111 w 1809"/>
                <a:gd name="T97" fmla="*/ 569 h 1253"/>
                <a:gd name="T98" fmla="*/ 109 w 1809"/>
                <a:gd name="T99" fmla="*/ 460 h 1253"/>
                <a:gd name="T100" fmla="*/ 32 w 1809"/>
                <a:gd name="T101" fmla="*/ 704 h 1253"/>
                <a:gd name="T102" fmla="*/ 310 w 1809"/>
                <a:gd name="T103" fmla="*/ 1058 h 1253"/>
                <a:gd name="T104" fmla="*/ 431 w 1809"/>
                <a:gd name="T105" fmla="*/ 1044 h 1253"/>
                <a:gd name="T106" fmla="*/ 278 w 1809"/>
                <a:gd name="T107" fmla="*/ 1165 h 1253"/>
                <a:gd name="T108" fmla="*/ 261 w 1809"/>
                <a:gd name="T109" fmla="*/ 540 h 1253"/>
                <a:gd name="T110" fmla="*/ 150 w 1809"/>
                <a:gd name="T111" fmla="*/ 635 h 1253"/>
                <a:gd name="T112" fmla="*/ 994 w 1809"/>
                <a:gd name="T113" fmla="*/ 1185 h 1253"/>
                <a:gd name="T114" fmla="*/ 331 w 1809"/>
                <a:gd name="T115" fmla="*/ 176 h 1253"/>
                <a:gd name="T116" fmla="*/ 333 w 1809"/>
                <a:gd name="T117" fmla="*/ 109 h 1253"/>
                <a:gd name="T118" fmla="*/ 946 w 1809"/>
                <a:gd name="T119" fmla="*/ 234 h 1253"/>
                <a:gd name="T120" fmla="*/ 1022 w 1809"/>
                <a:gd name="T121" fmla="*/ 113 h 1253"/>
                <a:gd name="T122" fmla="*/ 949 w 1809"/>
                <a:gd name="T123" fmla="*/ 65 h 1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09" h="1253">
                  <a:moveTo>
                    <a:pt x="248" y="198"/>
                  </a:moveTo>
                  <a:cubicBezTo>
                    <a:pt x="248" y="211"/>
                    <a:pt x="248" y="224"/>
                    <a:pt x="249" y="237"/>
                  </a:cubicBezTo>
                  <a:cubicBezTo>
                    <a:pt x="249" y="245"/>
                    <a:pt x="246" y="249"/>
                    <a:pt x="240" y="253"/>
                  </a:cubicBezTo>
                  <a:cubicBezTo>
                    <a:pt x="231" y="260"/>
                    <a:pt x="220" y="264"/>
                    <a:pt x="209" y="268"/>
                  </a:cubicBezTo>
                  <a:cubicBezTo>
                    <a:pt x="179" y="279"/>
                    <a:pt x="148" y="280"/>
                    <a:pt x="118" y="275"/>
                  </a:cubicBezTo>
                  <a:cubicBezTo>
                    <a:pt x="86" y="269"/>
                    <a:pt x="58" y="252"/>
                    <a:pt x="39" y="224"/>
                  </a:cubicBezTo>
                  <a:cubicBezTo>
                    <a:pt x="24" y="203"/>
                    <a:pt x="18" y="180"/>
                    <a:pt x="15" y="155"/>
                  </a:cubicBezTo>
                  <a:cubicBezTo>
                    <a:pt x="11" y="135"/>
                    <a:pt x="15" y="115"/>
                    <a:pt x="19" y="97"/>
                  </a:cubicBezTo>
                  <a:cubicBezTo>
                    <a:pt x="26" y="68"/>
                    <a:pt x="42" y="44"/>
                    <a:pt x="68" y="27"/>
                  </a:cubicBezTo>
                  <a:cubicBezTo>
                    <a:pt x="87" y="14"/>
                    <a:pt x="109" y="6"/>
                    <a:pt x="133" y="5"/>
                  </a:cubicBezTo>
                  <a:cubicBezTo>
                    <a:pt x="149" y="4"/>
                    <a:pt x="165" y="5"/>
                    <a:pt x="181" y="6"/>
                  </a:cubicBezTo>
                  <a:cubicBezTo>
                    <a:pt x="204" y="8"/>
                    <a:pt x="225" y="20"/>
                    <a:pt x="243" y="35"/>
                  </a:cubicBezTo>
                  <a:cubicBezTo>
                    <a:pt x="246" y="37"/>
                    <a:pt x="246" y="40"/>
                    <a:pt x="244" y="43"/>
                  </a:cubicBezTo>
                  <a:cubicBezTo>
                    <a:pt x="242" y="47"/>
                    <a:pt x="239" y="52"/>
                    <a:pt x="236" y="55"/>
                  </a:cubicBezTo>
                  <a:cubicBezTo>
                    <a:pt x="226" y="65"/>
                    <a:pt x="224" y="65"/>
                    <a:pt x="206" y="54"/>
                  </a:cubicBezTo>
                  <a:cubicBezTo>
                    <a:pt x="193" y="46"/>
                    <a:pt x="180" y="40"/>
                    <a:pt x="165" y="41"/>
                  </a:cubicBezTo>
                  <a:cubicBezTo>
                    <a:pt x="151" y="41"/>
                    <a:pt x="137" y="39"/>
                    <a:pt x="124" y="42"/>
                  </a:cubicBezTo>
                  <a:cubicBezTo>
                    <a:pt x="104" y="46"/>
                    <a:pt x="87" y="57"/>
                    <a:pt x="75" y="74"/>
                  </a:cubicBezTo>
                  <a:cubicBezTo>
                    <a:pt x="56" y="99"/>
                    <a:pt x="51" y="129"/>
                    <a:pt x="55" y="159"/>
                  </a:cubicBezTo>
                  <a:cubicBezTo>
                    <a:pt x="60" y="189"/>
                    <a:pt x="73" y="214"/>
                    <a:pt x="98" y="230"/>
                  </a:cubicBezTo>
                  <a:cubicBezTo>
                    <a:pt x="109" y="237"/>
                    <a:pt x="121" y="242"/>
                    <a:pt x="135" y="241"/>
                  </a:cubicBezTo>
                  <a:cubicBezTo>
                    <a:pt x="146" y="241"/>
                    <a:pt x="158" y="241"/>
                    <a:pt x="169" y="241"/>
                  </a:cubicBezTo>
                  <a:cubicBezTo>
                    <a:pt x="182" y="242"/>
                    <a:pt x="193" y="235"/>
                    <a:pt x="205" y="232"/>
                  </a:cubicBezTo>
                  <a:cubicBezTo>
                    <a:pt x="210" y="231"/>
                    <a:pt x="211" y="227"/>
                    <a:pt x="211" y="224"/>
                  </a:cubicBezTo>
                  <a:cubicBezTo>
                    <a:pt x="211" y="210"/>
                    <a:pt x="211" y="196"/>
                    <a:pt x="211" y="183"/>
                  </a:cubicBezTo>
                  <a:cubicBezTo>
                    <a:pt x="211" y="177"/>
                    <a:pt x="207" y="175"/>
                    <a:pt x="202" y="175"/>
                  </a:cubicBezTo>
                  <a:cubicBezTo>
                    <a:pt x="193" y="175"/>
                    <a:pt x="184" y="175"/>
                    <a:pt x="175" y="175"/>
                  </a:cubicBezTo>
                  <a:cubicBezTo>
                    <a:pt x="171" y="175"/>
                    <a:pt x="168" y="174"/>
                    <a:pt x="166" y="171"/>
                  </a:cubicBezTo>
                  <a:cubicBezTo>
                    <a:pt x="163" y="163"/>
                    <a:pt x="164" y="154"/>
                    <a:pt x="166" y="146"/>
                  </a:cubicBezTo>
                  <a:cubicBezTo>
                    <a:pt x="167" y="142"/>
                    <a:pt x="171" y="142"/>
                    <a:pt x="175" y="142"/>
                  </a:cubicBezTo>
                  <a:cubicBezTo>
                    <a:pt x="196" y="142"/>
                    <a:pt x="217" y="142"/>
                    <a:pt x="238" y="142"/>
                  </a:cubicBezTo>
                  <a:cubicBezTo>
                    <a:pt x="247" y="142"/>
                    <a:pt x="248" y="148"/>
                    <a:pt x="248" y="155"/>
                  </a:cubicBezTo>
                  <a:cubicBezTo>
                    <a:pt x="249" y="169"/>
                    <a:pt x="248" y="183"/>
                    <a:pt x="248" y="198"/>
                  </a:cubicBezTo>
                  <a:close/>
                  <a:moveTo>
                    <a:pt x="884" y="1181"/>
                  </a:moveTo>
                  <a:cubicBezTo>
                    <a:pt x="889" y="1167"/>
                    <a:pt x="894" y="1152"/>
                    <a:pt x="898" y="1137"/>
                  </a:cubicBezTo>
                  <a:cubicBezTo>
                    <a:pt x="901" y="1127"/>
                    <a:pt x="905" y="1116"/>
                    <a:pt x="908" y="1106"/>
                  </a:cubicBezTo>
                  <a:cubicBezTo>
                    <a:pt x="911" y="1098"/>
                    <a:pt x="912" y="1089"/>
                    <a:pt x="916" y="1081"/>
                  </a:cubicBezTo>
                  <a:cubicBezTo>
                    <a:pt x="921" y="1072"/>
                    <a:pt x="923" y="1060"/>
                    <a:pt x="927" y="1050"/>
                  </a:cubicBezTo>
                  <a:cubicBezTo>
                    <a:pt x="932" y="1037"/>
                    <a:pt x="934" y="1023"/>
                    <a:pt x="940" y="1010"/>
                  </a:cubicBezTo>
                  <a:cubicBezTo>
                    <a:pt x="945" y="1001"/>
                    <a:pt x="941" y="995"/>
                    <a:pt x="931" y="995"/>
                  </a:cubicBezTo>
                  <a:cubicBezTo>
                    <a:pt x="927" y="995"/>
                    <a:pt x="922" y="995"/>
                    <a:pt x="918" y="995"/>
                  </a:cubicBezTo>
                  <a:cubicBezTo>
                    <a:pt x="913" y="995"/>
                    <a:pt x="908" y="997"/>
                    <a:pt x="907" y="1001"/>
                  </a:cubicBezTo>
                  <a:cubicBezTo>
                    <a:pt x="904" y="1008"/>
                    <a:pt x="900" y="1015"/>
                    <a:pt x="899" y="1023"/>
                  </a:cubicBezTo>
                  <a:cubicBezTo>
                    <a:pt x="897" y="1034"/>
                    <a:pt x="893" y="1045"/>
                    <a:pt x="889" y="1055"/>
                  </a:cubicBezTo>
                  <a:cubicBezTo>
                    <a:pt x="887" y="1064"/>
                    <a:pt x="885" y="1072"/>
                    <a:pt x="882" y="1080"/>
                  </a:cubicBezTo>
                  <a:cubicBezTo>
                    <a:pt x="878" y="1091"/>
                    <a:pt x="874" y="1103"/>
                    <a:pt x="871" y="1115"/>
                  </a:cubicBezTo>
                  <a:cubicBezTo>
                    <a:pt x="870" y="1118"/>
                    <a:pt x="871" y="1124"/>
                    <a:pt x="866" y="1124"/>
                  </a:cubicBezTo>
                  <a:cubicBezTo>
                    <a:pt x="861" y="1125"/>
                    <a:pt x="859" y="1120"/>
                    <a:pt x="858" y="1115"/>
                  </a:cubicBezTo>
                  <a:cubicBezTo>
                    <a:pt x="856" y="1110"/>
                    <a:pt x="856" y="1104"/>
                    <a:pt x="854" y="1099"/>
                  </a:cubicBezTo>
                  <a:cubicBezTo>
                    <a:pt x="848" y="1080"/>
                    <a:pt x="841" y="1062"/>
                    <a:pt x="835" y="1044"/>
                  </a:cubicBezTo>
                  <a:cubicBezTo>
                    <a:pt x="831" y="1030"/>
                    <a:pt x="828" y="1016"/>
                    <a:pt x="822" y="1003"/>
                  </a:cubicBezTo>
                  <a:cubicBezTo>
                    <a:pt x="819" y="997"/>
                    <a:pt x="814" y="994"/>
                    <a:pt x="808" y="994"/>
                  </a:cubicBezTo>
                  <a:cubicBezTo>
                    <a:pt x="799" y="993"/>
                    <a:pt x="791" y="993"/>
                    <a:pt x="787" y="1001"/>
                  </a:cubicBezTo>
                  <a:cubicBezTo>
                    <a:pt x="783" y="1008"/>
                    <a:pt x="780" y="1015"/>
                    <a:pt x="779" y="1022"/>
                  </a:cubicBezTo>
                  <a:cubicBezTo>
                    <a:pt x="778" y="1034"/>
                    <a:pt x="772" y="1044"/>
                    <a:pt x="769" y="1055"/>
                  </a:cubicBezTo>
                  <a:cubicBezTo>
                    <a:pt x="762" y="1076"/>
                    <a:pt x="754" y="1096"/>
                    <a:pt x="749" y="1117"/>
                  </a:cubicBezTo>
                  <a:cubicBezTo>
                    <a:pt x="748" y="1120"/>
                    <a:pt x="747" y="1124"/>
                    <a:pt x="742" y="1124"/>
                  </a:cubicBezTo>
                  <a:cubicBezTo>
                    <a:pt x="737" y="1124"/>
                    <a:pt x="737" y="1120"/>
                    <a:pt x="736" y="1116"/>
                  </a:cubicBezTo>
                  <a:cubicBezTo>
                    <a:pt x="734" y="1104"/>
                    <a:pt x="730" y="1092"/>
                    <a:pt x="726" y="1080"/>
                  </a:cubicBezTo>
                  <a:cubicBezTo>
                    <a:pt x="720" y="1061"/>
                    <a:pt x="714" y="1040"/>
                    <a:pt x="708" y="1020"/>
                  </a:cubicBezTo>
                  <a:cubicBezTo>
                    <a:pt x="703" y="1000"/>
                    <a:pt x="698" y="994"/>
                    <a:pt x="676" y="995"/>
                  </a:cubicBezTo>
                  <a:cubicBezTo>
                    <a:pt x="665" y="996"/>
                    <a:pt x="661" y="1001"/>
                    <a:pt x="667" y="1011"/>
                  </a:cubicBezTo>
                  <a:cubicBezTo>
                    <a:pt x="669" y="1016"/>
                    <a:pt x="670" y="1021"/>
                    <a:pt x="672" y="1025"/>
                  </a:cubicBezTo>
                  <a:cubicBezTo>
                    <a:pt x="675" y="1035"/>
                    <a:pt x="678" y="1046"/>
                    <a:pt x="681" y="1055"/>
                  </a:cubicBezTo>
                  <a:cubicBezTo>
                    <a:pt x="685" y="1068"/>
                    <a:pt x="689" y="1080"/>
                    <a:pt x="693" y="1092"/>
                  </a:cubicBezTo>
                  <a:cubicBezTo>
                    <a:pt x="697" y="1103"/>
                    <a:pt x="699" y="1113"/>
                    <a:pt x="703" y="1124"/>
                  </a:cubicBezTo>
                  <a:cubicBezTo>
                    <a:pt x="707" y="1136"/>
                    <a:pt x="711" y="1147"/>
                    <a:pt x="715" y="1160"/>
                  </a:cubicBezTo>
                  <a:cubicBezTo>
                    <a:pt x="717" y="1168"/>
                    <a:pt x="720" y="1176"/>
                    <a:pt x="724" y="1183"/>
                  </a:cubicBezTo>
                  <a:cubicBezTo>
                    <a:pt x="728" y="1189"/>
                    <a:pt x="752" y="1185"/>
                    <a:pt x="757" y="1180"/>
                  </a:cubicBezTo>
                  <a:cubicBezTo>
                    <a:pt x="764" y="1173"/>
                    <a:pt x="762" y="1163"/>
                    <a:pt x="766" y="1156"/>
                  </a:cubicBezTo>
                  <a:cubicBezTo>
                    <a:pt x="774" y="1140"/>
                    <a:pt x="778" y="1122"/>
                    <a:pt x="784" y="1105"/>
                  </a:cubicBezTo>
                  <a:cubicBezTo>
                    <a:pt x="789" y="1088"/>
                    <a:pt x="796" y="1072"/>
                    <a:pt x="800" y="1054"/>
                  </a:cubicBezTo>
                  <a:cubicBezTo>
                    <a:pt x="800" y="1053"/>
                    <a:pt x="801" y="1050"/>
                    <a:pt x="803" y="1050"/>
                  </a:cubicBezTo>
                  <a:cubicBezTo>
                    <a:pt x="806" y="1050"/>
                    <a:pt x="806" y="1052"/>
                    <a:pt x="807" y="1055"/>
                  </a:cubicBezTo>
                  <a:cubicBezTo>
                    <a:pt x="807" y="1060"/>
                    <a:pt x="810" y="1066"/>
                    <a:pt x="811" y="1071"/>
                  </a:cubicBezTo>
                  <a:cubicBezTo>
                    <a:pt x="814" y="1081"/>
                    <a:pt x="818" y="1090"/>
                    <a:pt x="821" y="1099"/>
                  </a:cubicBezTo>
                  <a:cubicBezTo>
                    <a:pt x="824" y="1110"/>
                    <a:pt x="827" y="1120"/>
                    <a:pt x="831" y="1131"/>
                  </a:cubicBezTo>
                  <a:cubicBezTo>
                    <a:pt x="834" y="1142"/>
                    <a:pt x="839" y="1153"/>
                    <a:pt x="842" y="1164"/>
                  </a:cubicBezTo>
                  <a:cubicBezTo>
                    <a:pt x="846" y="1179"/>
                    <a:pt x="850" y="1188"/>
                    <a:pt x="869" y="1185"/>
                  </a:cubicBezTo>
                  <a:cubicBezTo>
                    <a:pt x="873" y="1184"/>
                    <a:pt x="881" y="1189"/>
                    <a:pt x="884" y="1181"/>
                  </a:cubicBezTo>
                  <a:close/>
                  <a:moveTo>
                    <a:pt x="33" y="1051"/>
                  </a:moveTo>
                  <a:cubicBezTo>
                    <a:pt x="33" y="1087"/>
                    <a:pt x="33" y="1124"/>
                    <a:pt x="33" y="1160"/>
                  </a:cubicBezTo>
                  <a:cubicBezTo>
                    <a:pt x="33" y="1188"/>
                    <a:pt x="29" y="1184"/>
                    <a:pt x="58" y="1185"/>
                  </a:cubicBezTo>
                  <a:cubicBezTo>
                    <a:pt x="72" y="1185"/>
                    <a:pt x="73" y="1184"/>
                    <a:pt x="73" y="1170"/>
                  </a:cubicBezTo>
                  <a:cubicBezTo>
                    <a:pt x="73" y="1138"/>
                    <a:pt x="73" y="1107"/>
                    <a:pt x="73" y="1076"/>
                  </a:cubicBezTo>
                  <a:cubicBezTo>
                    <a:pt x="73" y="1071"/>
                    <a:pt x="72" y="1067"/>
                    <a:pt x="78" y="1065"/>
                  </a:cubicBezTo>
                  <a:cubicBezTo>
                    <a:pt x="91" y="1062"/>
                    <a:pt x="102" y="1067"/>
                    <a:pt x="110" y="1076"/>
                  </a:cubicBezTo>
                  <a:cubicBezTo>
                    <a:pt x="112" y="1080"/>
                    <a:pt x="115" y="1083"/>
                    <a:pt x="118" y="1086"/>
                  </a:cubicBezTo>
                  <a:cubicBezTo>
                    <a:pt x="132" y="1103"/>
                    <a:pt x="146" y="1119"/>
                    <a:pt x="161" y="1136"/>
                  </a:cubicBezTo>
                  <a:cubicBezTo>
                    <a:pt x="173" y="1150"/>
                    <a:pt x="186" y="1165"/>
                    <a:pt x="198" y="1179"/>
                  </a:cubicBezTo>
                  <a:cubicBezTo>
                    <a:pt x="207" y="1188"/>
                    <a:pt x="218" y="1184"/>
                    <a:pt x="228" y="1185"/>
                  </a:cubicBezTo>
                  <a:cubicBezTo>
                    <a:pt x="233" y="1185"/>
                    <a:pt x="241" y="1188"/>
                    <a:pt x="244" y="1182"/>
                  </a:cubicBezTo>
                  <a:cubicBezTo>
                    <a:pt x="246" y="1178"/>
                    <a:pt x="239" y="1173"/>
                    <a:pt x="235" y="1169"/>
                  </a:cubicBezTo>
                  <a:cubicBezTo>
                    <a:pt x="206" y="1133"/>
                    <a:pt x="176" y="1098"/>
                    <a:pt x="146" y="1062"/>
                  </a:cubicBezTo>
                  <a:cubicBezTo>
                    <a:pt x="141" y="1056"/>
                    <a:pt x="131" y="1052"/>
                    <a:pt x="132" y="1044"/>
                  </a:cubicBezTo>
                  <a:cubicBezTo>
                    <a:pt x="132" y="1036"/>
                    <a:pt x="142" y="1032"/>
                    <a:pt x="147" y="1026"/>
                  </a:cubicBezTo>
                  <a:cubicBezTo>
                    <a:pt x="164" y="1006"/>
                    <a:pt x="182" y="988"/>
                    <a:pt x="198" y="968"/>
                  </a:cubicBezTo>
                  <a:cubicBezTo>
                    <a:pt x="209" y="954"/>
                    <a:pt x="221" y="942"/>
                    <a:pt x="234" y="929"/>
                  </a:cubicBezTo>
                  <a:cubicBezTo>
                    <a:pt x="236" y="926"/>
                    <a:pt x="238" y="923"/>
                    <a:pt x="237" y="920"/>
                  </a:cubicBezTo>
                  <a:cubicBezTo>
                    <a:pt x="235" y="915"/>
                    <a:pt x="231" y="917"/>
                    <a:pt x="228" y="917"/>
                  </a:cubicBezTo>
                  <a:cubicBezTo>
                    <a:pt x="224" y="918"/>
                    <a:pt x="221" y="918"/>
                    <a:pt x="217" y="918"/>
                  </a:cubicBezTo>
                  <a:cubicBezTo>
                    <a:pt x="204" y="917"/>
                    <a:pt x="193" y="922"/>
                    <a:pt x="185" y="931"/>
                  </a:cubicBezTo>
                  <a:cubicBezTo>
                    <a:pt x="172" y="946"/>
                    <a:pt x="158" y="961"/>
                    <a:pt x="145" y="977"/>
                  </a:cubicBezTo>
                  <a:cubicBezTo>
                    <a:pt x="131" y="993"/>
                    <a:pt x="117" y="1010"/>
                    <a:pt x="102" y="1026"/>
                  </a:cubicBezTo>
                  <a:cubicBezTo>
                    <a:pt x="96" y="1032"/>
                    <a:pt x="87" y="1037"/>
                    <a:pt x="78" y="1034"/>
                  </a:cubicBezTo>
                  <a:cubicBezTo>
                    <a:pt x="70" y="1030"/>
                    <a:pt x="73" y="1021"/>
                    <a:pt x="73" y="1015"/>
                  </a:cubicBezTo>
                  <a:cubicBezTo>
                    <a:pt x="73" y="991"/>
                    <a:pt x="73" y="967"/>
                    <a:pt x="73" y="944"/>
                  </a:cubicBezTo>
                  <a:cubicBezTo>
                    <a:pt x="73" y="916"/>
                    <a:pt x="75" y="917"/>
                    <a:pt x="46" y="918"/>
                  </a:cubicBezTo>
                  <a:cubicBezTo>
                    <a:pt x="33" y="918"/>
                    <a:pt x="33" y="918"/>
                    <a:pt x="33" y="931"/>
                  </a:cubicBezTo>
                  <a:cubicBezTo>
                    <a:pt x="33" y="971"/>
                    <a:pt x="33" y="1011"/>
                    <a:pt x="33" y="1051"/>
                  </a:cubicBezTo>
                  <a:cubicBezTo>
                    <a:pt x="33" y="1051"/>
                    <a:pt x="33" y="1051"/>
                    <a:pt x="33" y="1051"/>
                  </a:cubicBezTo>
                  <a:close/>
                  <a:moveTo>
                    <a:pt x="639" y="84"/>
                  </a:moveTo>
                  <a:cubicBezTo>
                    <a:pt x="627" y="84"/>
                    <a:pt x="626" y="84"/>
                    <a:pt x="629" y="95"/>
                  </a:cubicBezTo>
                  <a:cubicBezTo>
                    <a:pt x="634" y="113"/>
                    <a:pt x="640" y="131"/>
                    <a:pt x="646" y="148"/>
                  </a:cubicBezTo>
                  <a:cubicBezTo>
                    <a:pt x="652" y="166"/>
                    <a:pt x="658" y="185"/>
                    <a:pt x="664" y="203"/>
                  </a:cubicBezTo>
                  <a:cubicBezTo>
                    <a:pt x="671" y="223"/>
                    <a:pt x="676" y="244"/>
                    <a:pt x="684" y="264"/>
                  </a:cubicBezTo>
                  <a:cubicBezTo>
                    <a:pt x="688" y="274"/>
                    <a:pt x="694" y="274"/>
                    <a:pt x="702" y="274"/>
                  </a:cubicBezTo>
                  <a:cubicBezTo>
                    <a:pt x="711" y="274"/>
                    <a:pt x="719" y="272"/>
                    <a:pt x="723" y="263"/>
                  </a:cubicBezTo>
                  <a:cubicBezTo>
                    <a:pt x="733" y="236"/>
                    <a:pt x="741" y="208"/>
                    <a:pt x="750" y="181"/>
                  </a:cubicBezTo>
                  <a:cubicBezTo>
                    <a:pt x="754" y="169"/>
                    <a:pt x="757" y="156"/>
                    <a:pt x="763" y="145"/>
                  </a:cubicBezTo>
                  <a:cubicBezTo>
                    <a:pt x="764" y="143"/>
                    <a:pt x="764" y="140"/>
                    <a:pt x="767" y="140"/>
                  </a:cubicBezTo>
                  <a:cubicBezTo>
                    <a:pt x="770" y="140"/>
                    <a:pt x="770" y="143"/>
                    <a:pt x="771" y="145"/>
                  </a:cubicBezTo>
                  <a:cubicBezTo>
                    <a:pt x="771" y="156"/>
                    <a:pt x="777" y="165"/>
                    <a:pt x="780" y="175"/>
                  </a:cubicBezTo>
                  <a:cubicBezTo>
                    <a:pt x="782" y="184"/>
                    <a:pt x="785" y="193"/>
                    <a:pt x="788" y="201"/>
                  </a:cubicBezTo>
                  <a:cubicBezTo>
                    <a:pt x="794" y="219"/>
                    <a:pt x="801" y="237"/>
                    <a:pt x="806" y="255"/>
                  </a:cubicBezTo>
                  <a:cubicBezTo>
                    <a:pt x="811" y="272"/>
                    <a:pt x="825" y="280"/>
                    <a:pt x="842" y="273"/>
                  </a:cubicBezTo>
                  <a:cubicBezTo>
                    <a:pt x="845" y="271"/>
                    <a:pt x="847" y="269"/>
                    <a:pt x="848" y="266"/>
                  </a:cubicBezTo>
                  <a:cubicBezTo>
                    <a:pt x="853" y="251"/>
                    <a:pt x="859" y="236"/>
                    <a:pt x="863" y="221"/>
                  </a:cubicBezTo>
                  <a:cubicBezTo>
                    <a:pt x="867" y="202"/>
                    <a:pt x="875" y="185"/>
                    <a:pt x="880" y="166"/>
                  </a:cubicBezTo>
                  <a:cubicBezTo>
                    <a:pt x="886" y="144"/>
                    <a:pt x="895" y="123"/>
                    <a:pt x="900" y="101"/>
                  </a:cubicBezTo>
                  <a:cubicBezTo>
                    <a:pt x="901" y="96"/>
                    <a:pt x="909" y="91"/>
                    <a:pt x="904" y="86"/>
                  </a:cubicBezTo>
                  <a:cubicBezTo>
                    <a:pt x="900" y="81"/>
                    <a:pt x="892" y="84"/>
                    <a:pt x="886" y="84"/>
                  </a:cubicBezTo>
                  <a:cubicBezTo>
                    <a:pt x="885" y="84"/>
                    <a:pt x="883" y="84"/>
                    <a:pt x="881" y="84"/>
                  </a:cubicBezTo>
                  <a:cubicBezTo>
                    <a:pt x="875" y="84"/>
                    <a:pt x="872" y="86"/>
                    <a:pt x="869" y="91"/>
                  </a:cubicBezTo>
                  <a:cubicBezTo>
                    <a:pt x="860" y="110"/>
                    <a:pt x="856" y="131"/>
                    <a:pt x="850" y="151"/>
                  </a:cubicBezTo>
                  <a:cubicBezTo>
                    <a:pt x="844" y="170"/>
                    <a:pt x="836" y="188"/>
                    <a:pt x="834" y="208"/>
                  </a:cubicBezTo>
                  <a:cubicBezTo>
                    <a:pt x="833" y="211"/>
                    <a:pt x="831" y="214"/>
                    <a:pt x="827" y="214"/>
                  </a:cubicBezTo>
                  <a:cubicBezTo>
                    <a:pt x="823" y="214"/>
                    <a:pt x="822" y="210"/>
                    <a:pt x="822" y="207"/>
                  </a:cubicBezTo>
                  <a:cubicBezTo>
                    <a:pt x="817" y="188"/>
                    <a:pt x="811" y="170"/>
                    <a:pt x="805" y="152"/>
                  </a:cubicBezTo>
                  <a:cubicBezTo>
                    <a:pt x="799" y="133"/>
                    <a:pt x="794" y="114"/>
                    <a:pt x="786" y="96"/>
                  </a:cubicBezTo>
                  <a:cubicBezTo>
                    <a:pt x="783" y="87"/>
                    <a:pt x="779" y="84"/>
                    <a:pt x="770" y="84"/>
                  </a:cubicBezTo>
                  <a:cubicBezTo>
                    <a:pt x="761" y="84"/>
                    <a:pt x="752" y="82"/>
                    <a:pt x="748" y="94"/>
                  </a:cubicBezTo>
                  <a:cubicBezTo>
                    <a:pt x="744" y="109"/>
                    <a:pt x="738" y="123"/>
                    <a:pt x="734" y="138"/>
                  </a:cubicBezTo>
                  <a:cubicBezTo>
                    <a:pt x="729" y="153"/>
                    <a:pt x="724" y="167"/>
                    <a:pt x="719" y="182"/>
                  </a:cubicBezTo>
                  <a:cubicBezTo>
                    <a:pt x="716" y="192"/>
                    <a:pt x="715" y="203"/>
                    <a:pt x="708" y="212"/>
                  </a:cubicBezTo>
                  <a:cubicBezTo>
                    <a:pt x="707" y="214"/>
                    <a:pt x="707" y="217"/>
                    <a:pt x="704" y="217"/>
                  </a:cubicBezTo>
                  <a:cubicBezTo>
                    <a:pt x="701" y="217"/>
                    <a:pt x="701" y="213"/>
                    <a:pt x="700" y="211"/>
                  </a:cubicBezTo>
                  <a:cubicBezTo>
                    <a:pt x="699" y="198"/>
                    <a:pt x="694" y="186"/>
                    <a:pt x="690" y="174"/>
                  </a:cubicBezTo>
                  <a:cubicBezTo>
                    <a:pt x="684" y="153"/>
                    <a:pt x="677" y="131"/>
                    <a:pt x="672" y="110"/>
                  </a:cubicBezTo>
                  <a:cubicBezTo>
                    <a:pt x="667" y="88"/>
                    <a:pt x="663" y="84"/>
                    <a:pt x="645" y="84"/>
                  </a:cubicBezTo>
                  <a:cubicBezTo>
                    <a:pt x="643" y="84"/>
                    <a:pt x="641" y="84"/>
                    <a:pt x="639" y="84"/>
                  </a:cubicBezTo>
                  <a:close/>
                  <a:moveTo>
                    <a:pt x="507" y="711"/>
                  </a:moveTo>
                  <a:cubicBezTo>
                    <a:pt x="507" y="730"/>
                    <a:pt x="507" y="730"/>
                    <a:pt x="526" y="730"/>
                  </a:cubicBezTo>
                  <a:cubicBezTo>
                    <a:pt x="539" y="730"/>
                    <a:pt x="541" y="729"/>
                    <a:pt x="541" y="715"/>
                  </a:cubicBezTo>
                  <a:cubicBezTo>
                    <a:pt x="541" y="677"/>
                    <a:pt x="541" y="638"/>
                    <a:pt x="540" y="600"/>
                  </a:cubicBezTo>
                  <a:cubicBezTo>
                    <a:pt x="540" y="593"/>
                    <a:pt x="543" y="587"/>
                    <a:pt x="548" y="582"/>
                  </a:cubicBezTo>
                  <a:cubicBezTo>
                    <a:pt x="553" y="576"/>
                    <a:pt x="559" y="573"/>
                    <a:pt x="564" y="569"/>
                  </a:cubicBezTo>
                  <a:cubicBezTo>
                    <a:pt x="574" y="564"/>
                    <a:pt x="594" y="566"/>
                    <a:pt x="602" y="574"/>
                  </a:cubicBezTo>
                  <a:cubicBezTo>
                    <a:pt x="611" y="582"/>
                    <a:pt x="614" y="592"/>
                    <a:pt x="614" y="604"/>
                  </a:cubicBezTo>
                  <a:cubicBezTo>
                    <a:pt x="614" y="638"/>
                    <a:pt x="614" y="672"/>
                    <a:pt x="614" y="706"/>
                  </a:cubicBezTo>
                  <a:cubicBezTo>
                    <a:pt x="614" y="730"/>
                    <a:pt x="614" y="730"/>
                    <a:pt x="638" y="730"/>
                  </a:cubicBezTo>
                  <a:cubicBezTo>
                    <a:pt x="650" y="730"/>
                    <a:pt x="650" y="730"/>
                    <a:pt x="650" y="717"/>
                  </a:cubicBezTo>
                  <a:cubicBezTo>
                    <a:pt x="650" y="684"/>
                    <a:pt x="650" y="650"/>
                    <a:pt x="650" y="617"/>
                  </a:cubicBezTo>
                  <a:cubicBezTo>
                    <a:pt x="650" y="606"/>
                    <a:pt x="651" y="597"/>
                    <a:pt x="657" y="586"/>
                  </a:cubicBezTo>
                  <a:cubicBezTo>
                    <a:pt x="667" y="565"/>
                    <a:pt x="703" y="560"/>
                    <a:pt x="716" y="579"/>
                  </a:cubicBezTo>
                  <a:cubicBezTo>
                    <a:pt x="723" y="588"/>
                    <a:pt x="724" y="598"/>
                    <a:pt x="724" y="609"/>
                  </a:cubicBezTo>
                  <a:cubicBezTo>
                    <a:pt x="724" y="645"/>
                    <a:pt x="724" y="682"/>
                    <a:pt x="724" y="718"/>
                  </a:cubicBezTo>
                  <a:cubicBezTo>
                    <a:pt x="724" y="727"/>
                    <a:pt x="727" y="731"/>
                    <a:pt x="736" y="730"/>
                  </a:cubicBezTo>
                  <a:cubicBezTo>
                    <a:pt x="738" y="730"/>
                    <a:pt x="741" y="730"/>
                    <a:pt x="743" y="730"/>
                  </a:cubicBezTo>
                  <a:cubicBezTo>
                    <a:pt x="758" y="730"/>
                    <a:pt x="759" y="729"/>
                    <a:pt x="759" y="715"/>
                  </a:cubicBezTo>
                  <a:cubicBezTo>
                    <a:pt x="759" y="677"/>
                    <a:pt x="758" y="639"/>
                    <a:pt x="759" y="601"/>
                  </a:cubicBezTo>
                  <a:cubicBezTo>
                    <a:pt x="759" y="571"/>
                    <a:pt x="742" y="540"/>
                    <a:pt x="704" y="538"/>
                  </a:cubicBezTo>
                  <a:cubicBezTo>
                    <a:pt x="681" y="536"/>
                    <a:pt x="661" y="542"/>
                    <a:pt x="646" y="560"/>
                  </a:cubicBezTo>
                  <a:cubicBezTo>
                    <a:pt x="638" y="569"/>
                    <a:pt x="638" y="569"/>
                    <a:pt x="631" y="559"/>
                  </a:cubicBezTo>
                  <a:cubicBezTo>
                    <a:pt x="630" y="558"/>
                    <a:pt x="630" y="557"/>
                    <a:pt x="629" y="556"/>
                  </a:cubicBezTo>
                  <a:cubicBezTo>
                    <a:pt x="623" y="548"/>
                    <a:pt x="616" y="541"/>
                    <a:pt x="607" y="539"/>
                  </a:cubicBezTo>
                  <a:cubicBezTo>
                    <a:pt x="584" y="534"/>
                    <a:pt x="563" y="539"/>
                    <a:pt x="545" y="555"/>
                  </a:cubicBezTo>
                  <a:cubicBezTo>
                    <a:pt x="540" y="559"/>
                    <a:pt x="537" y="561"/>
                    <a:pt x="537" y="552"/>
                  </a:cubicBezTo>
                  <a:cubicBezTo>
                    <a:pt x="536" y="543"/>
                    <a:pt x="526" y="538"/>
                    <a:pt x="515" y="539"/>
                  </a:cubicBezTo>
                  <a:cubicBezTo>
                    <a:pt x="506" y="540"/>
                    <a:pt x="507" y="546"/>
                    <a:pt x="507" y="552"/>
                  </a:cubicBezTo>
                  <a:cubicBezTo>
                    <a:pt x="507" y="580"/>
                    <a:pt x="507" y="607"/>
                    <a:pt x="507" y="634"/>
                  </a:cubicBezTo>
                  <a:cubicBezTo>
                    <a:pt x="507" y="660"/>
                    <a:pt x="507" y="685"/>
                    <a:pt x="507" y="711"/>
                  </a:cubicBezTo>
                  <a:close/>
                  <a:moveTo>
                    <a:pt x="1525" y="1142"/>
                  </a:moveTo>
                  <a:cubicBezTo>
                    <a:pt x="1517" y="1143"/>
                    <a:pt x="1511" y="1141"/>
                    <a:pt x="1505" y="1136"/>
                  </a:cubicBezTo>
                  <a:cubicBezTo>
                    <a:pt x="1501" y="1133"/>
                    <a:pt x="1495" y="1130"/>
                    <a:pt x="1498" y="1124"/>
                  </a:cubicBezTo>
                  <a:cubicBezTo>
                    <a:pt x="1500" y="1118"/>
                    <a:pt x="1504" y="1114"/>
                    <a:pt x="1512" y="1114"/>
                  </a:cubicBezTo>
                  <a:cubicBezTo>
                    <a:pt x="1521" y="1115"/>
                    <a:pt x="1530" y="1114"/>
                    <a:pt x="1538" y="1115"/>
                  </a:cubicBezTo>
                  <a:cubicBezTo>
                    <a:pt x="1573" y="1117"/>
                    <a:pt x="1610" y="1084"/>
                    <a:pt x="1602" y="1044"/>
                  </a:cubicBezTo>
                  <a:cubicBezTo>
                    <a:pt x="1600" y="1035"/>
                    <a:pt x="1599" y="1028"/>
                    <a:pt x="1611" y="1027"/>
                  </a:cubicBezTo>
                  <a:cubicBezTo>
                    <a:pt x="1614" y="1027"/>
                    <a:pt x="1617" y="1024"/>
                    <a:pt x="1619" y="1023"/>
                  </a:cubicBezTo>
                  <a:cubicBezTo>
                    <a:pt x="1626" y="1019"/>
                    <a:pt x="1624" y="1013"/>
                    <a:pt x="1623" y="1008"/>
                  </a:cubicBezTo>
                  <a:cubicBezTo>
                    <a:pt x="1623" y="1002"/>
                    <a:pt x="1618" y="1003"/>
                    <a:pt x="1613" y="1002"/>
                  </a:cubicBezTo>
                  <a:cubicBezTo>
                    <a:pt x="1598" y="1002"/>
                    <a:pt x="1582" y="1004"/>
                    <a:pt x="1567" y="1000"/>
                  </a:cubicBezTo>
                  <a:cubicBezTo>
                    <a:pt x="1560" y="999"/>
                    <a:pt x="1554" y="993"/>
                    <a:pt x="1546" y="993"/>
                  </a:cubicBezTo>
                  <a:cubicBezTo>
                    <a:pt x="1536" y="994"/>
                    <a:pt x="1525" y="992"/>
                    <a:pt x="1515" y="993"/>
                  </a:cubicBezTo>
                  <a:cubicBezTo>
                    <a:pt x="1490" y="997"/>
                    <a:pt x="1469" y="1010"/>
                    <a:pt x="1462" y="1034"/>
                  </a:cubicBezTo>
                  <a:cubicBezTo>
                    <a:pt x="1455" y="1056"/>
                    <a:pt x="1457" y="1079"/>
                    <a:pt x="1476" y="1096"/>
                  </a:cubicBezTo>
                  <a:cubicBezTo>
                    <a:pt x="1483" y="1103"/>
                    <a:pt x="1483" y="1107"/>
                    <a:pt x="1476" y="1113"/>
                  </a:cubicBezTo>
                  <a:cubicBezTo>
                    <a:pt x="1462" y="1126"/>
                    <a:pt x="1462" y="1142"/>
                    <a:pt x="1473" y="1157"/>
                  </a:cubicBezTo>
                  <a:cubicBezTo>
                    <a:pt x="1476" y="1160"/>
                    <a:pt x="1476" y="1162"/>
                    <a:pt x="1472" y="1164"/>
                  </a:cubicBezTo>
                  <a:cubicBezTo>
                    <a:pt x="1470" y="1166"/>
                    <a:pt x="1468" y="1168"/>
                    <a:pt x="1466" y="1170"/>
                  </a:cubicBezTo>
                  <a:cubicBezTo>
                    <a:pt x="1449" y="1183"/>
                    <a:pt x="1444" y="1201"/>
                    <a:pt x="1454" y="1218"/>
                  </a:cubicBezTo>
                  <a:cubicBezTo>
                    <a:pt x="1464" y="1235"/>
                    <a:pt x="1479" y="1246"/>
                    <a:pt x="1499" y="1249"/>
                  </a:cubicBezTo>
                  <a:cubicBezTo>
                    <a:pt x="1517" y="1252"/>
                    <a:pt x="1535" y="1253"/>
                    <a:pt x="1553" y="1250"/>
                  </a:cubicBezTo>
                  <a:cubicBezTo>
                    <a:pt x="1584" y="1245"/>
                    <a:pt x="1607" y="1232"/>
                    <a:pt x="1619" y="1200"/>
                  </a:cubicBezTo>
                  <a:cubicBezTo>
                    <a:pt x="1627" y="1180"/>
                    <a:pt x="1611" y="1155"/>
                    <a:pt x="1593" y="1148"/>
                  </a:cubicBezTo>
                  <a:cubicBezTo>
                    <a:pt x="1578" y="1142"/>
                    <a:pt x="1563" y="1143"/>
                    <a:pt x="1549" y="1142"/>
                  </a:cubicBezTo>
                  <a:cubicBezTo>
                    <a:pt x="1540" y="1142"/>
                    <a:pt x="1532" y="1142"/>
                    <a:pt x="1525" y="1142"/>
                  </a:cubicBezTo>
                  <a:close/>
                  <a:moveTo>
                    <a:pt x="1556" y="1172"/>
                  </a:moveTo>
                  <a:cubicBezTo>
                    <a:pt x="1566" y="1172"/>
                    <a:pt x="1576" y="1176"/>
                    <a:pt x="1583" y="1183"/>
                  </a:cubicBezTo>
                  <a:cubicBezTo>
                    <a:pt x="1589" y="1190"/>
                    <a:pt x="1589" y="1198"/>
                    <a:pt x="1583" y="1205"/>
                  </a:cubicBezTo>
                  <a:cubicBezTo>
                    <a:pt x="1575" y="1215"/>
                    <a:pt x="1565" y="1220"/>
                    <a:pt x="1553" y="1223"/>
                  </a:cubicBezTo>
                  <a:cubicBezTo>
                    <a:pt x="1534" y="1228"/>
                    <a:pt x="1516" y="1225"/>
                    <a:pt x="1499" y="1219"/>
                  </a:cubicBezTo>
                  <a:cubicBezTo>
                    <a:pt x="1486" y="1214"/>
                    <a:pt x="1479" y="1203"/>
                    <a:pt x="1482" y="1193"/>
                  </a:cubicBezTo>
                  <a:cubicBezTo>
                    <a:pt x="1485" y="1182"/>
                    <a:pt x="1496" y="1168"/>
                    <a:pt x="1514" y="1171"/>
                  </a:cubicBezTo>
                  <a:cubicBezTo>
                    <a:pt x="1526" y="1173"/>
                    <a:pt x="1541" y="1171"/>
                    <a:pt x="1556" y="1172"/>
                  </a:cubicBezTo>
                  <a:close/>
                  <a:moveTo>
                    <a:pt x="1531" y="1019"/>
                  </a:moveTo>
                  <a:cubicBezTo>
                    <a:pt x="1553" y="1017"/>
                    <a:pt x="1570" y="1033"/>
                    <a:pt x="1570" y="1052"/>
                  </a:cubicBezTo>
                  <a:cubicBezTo>
                    <a:pt x="1570" y="1075"/>
                    <a:pt x="1554" y="1093"/>
                    <a:pt x="1532" y="1091"/>
                  </a:cubicBezTo>
                  <a:cubicBezTo>
                    <a:pt x="1508" y="1089"/>
                    <a:pt x="1494" y="1082"/>
                    <a:pt x="1493" y="1053"/>
                  </a:cubicBezTo>
                  <a:cubicBezTo>
                    <a:pt x="1494" y="1029"/>
                    <a:pt x="1508" y="1020"/>
                    <a:pt x="1531" y="1019"/>
                  </a:cubicBezTo>
                  <a:close/>
                  <a:moveTo>
                    <a:pt x="1413" y="934"/>
                  </a:moveTo>
                  <a:cubicBezTo>
                    <a:pt x="1413" y="909"/>
                    <a:pt x="1413" y="909"/>
                    <a:pt x="1389" y="910"/>
                  </a:cubicBezTo>
                  <a:cubicBezTo>
                    <a:pt x="1388" y="910"/>
                    <a:pt x="1387" y="910"/>
                    <a:pt x="1387" y="910"/>
                  </a:cubicBezTo>
                  <a:cubicBezTo>
                    <a:pt x="1379" y="910"/>
                    <a:pt x="1376" y="915"/>
                    <a:pt x="1376" y="921"/>
                  </a:cubicBezTo>
                  <a:cubicBezTo>
                    <a:pt x="1376" y="939"/>
                    <a:pt x="1377" y="956"/>
                    <a:pt x="1377" y="974"/>
                  </a:cubicBezTo>
                  <a:cubicBezTo>
                    <a:pt x="1377" y="983"/>
                    <a:pt x="1377" y="991"/>
                    <a:pt x="1377" y="1000"/>
                  </a:cubicBezTo>
                  <a:cubicBezTo>
                    <a:pt x="1377" y="1005"/>
                    <a:pt x="1374" y="1009"/>
                    <a:pt x="1369" y="1005"/>
                  </a:cubicBezTo>
                  <a:cubicBezTo>
                    <a:pt x="1352" y="990"/>
                    <a:pt x="1332" y="993"/>
                    <a:pt x="1312" y="993"/>
                  </a:cubicBezTo>
                  <a:cubicBezTo>
                    <a:pt x="1303" y="994"/>
                    <a:pt x="1294" y="998"/>
                    <a:pt x="1287" y="1003"/>
                  </a:cubicBezTo>
                  <a:cubicBezTo>
                    <a:pt x="1265" y="1017"/>
                    <a:pt x="1252" y="1039"/>
                    <a:pt x="1248" y="1065"/>
                  </a:cubicBezTo>
                  <a:cubicBezTo>
                    <a:pt x="1244" y="1096"/>
                    <a:pt x="1244" y="1128"/>
                    <a:pt x="1261" y="1157"/>
                  </a:cubicBezTo>
                  <a:cubicBezTo>
                    <a:pt x="1270" y="1170"/>
                    <a:pt x="1281" y="1181"/>
                    <a:pt x="1296" y="1185"/>
                  </a:cubicBezTo>
                  <a:cubicBezTo>
                    <a:pt x="1323" y="1191"/>
                    <a:pt x="1349" y="1188"/>
                    <a:pt x="1370" y="1167"/>
                  </a:cubicBezTo>
                  <a:cubicBezTo>
                    <a:pt x="1372" y="1165"/>
                    <a:pt x="1375" y="1162"/>
                    <a:pt x="1379" y="1163"/>
                  </a:cubicBezTo>
                  <a:cubicBezTo>
                    <a:pt x="1382" y="1165"/>
                    <a:pt x="1381" y="1169"/>
                    <a:pt x="1381" y="1172"/>
                  </a:cubicBezTo>
                  <a:cubicBezTo>
                    <a:pt x="1383" y="1181"/>
                    <a:pt x="1390" y="1186"/>
                    <a:pt x="1403" y="1186"/>
                  </a:cubicBezTo>
                  <a:cubicBezTo>
                    <a:pt x="1413" y="1185"/>
                    <a:pt x="1413" y="1178"/>
                    <a:pt x="1413" y="1172"/>
                  </a:cubicBezTo>
                  <a:cubicBezTo>
                    <a:pt x="1413" y="1131"/>
                    <a:pt x="1413" y="1090"/>
                    <a:pt x="1413" y="1049"/>
                  </a:cubicBezTo>
                  <a:cubicBezTo>
                    <a:pt x="1413" y="1010"/>
                    <a:pt x="1413" y="972"/>
                    <a:pt x="1413" y="934"/>
                  </a:cubicBezTo>
                  <a:close/>
                  <a:moveTo>
                    <a:pt x="1378" y="1113"/>
                  </a:moveTo>
                  <a:cubicBezTo>
                    <a:pt x="1378" y="1136"/>
                    <a:pt x="1360" y="1155"/>
                    <a:pt x="1337" y="1157"/>
                  </a:cubicBezTo>
                  <a:cubicBezTo>
                    <a:pt x="1319" y="1159"/>
                    <a:pt x="1304" y="1154"/>
                    <a:pt x="1294" y="1139"/>
                  </a:cubicBezTo>
                  <a:cubicBezTo>
                    <a:pt x="1286" y="1128"/>
                    <a:pt x="1283" y="1116"/>
                    <a:pt x="1283" y="1102"/>
                  </a:cubicBezTo>
                  <a:cubicBezTo>
                    <a:pt x="1282" y="1085"/>
                    <a:pt x="1282" y="1067"/>
                    <a:pt x="1290" y="1051"/>
                  </a:cubicBezTo>
                  <a:cubicBezTo>
                    <a:pt x="1297" y="1036"/>
                    <a:pt x="1308" y="1024"/>
                    <a:pt x="1325" y="1022"/>
                  </a:cubicBezTo>
                  <a:cubicBezTo>
                    <a:pt x="1342" y="1020"/>
                    <a:pt x="1358" y="1021"/>
                    <a:pt x="1371" y="1035"/>
                  </a:cubicBezTo>
                  <a:cubicBezTo>
                    <a:pt x="1376" y="1041"/>
                    <a:pt x="1378" y="1046"/>
                    <a:pt x="1378" y="1052"/>
                  </a:cubicBezTo>
                  <a:cubicBezTo>
                    <a:pt x="1378" y="1064"/>
                    <a:pt x="1378" y="1075"/>
                    <a:pt x="1378" y="1086"/>
                  </a:cubicBezTo>
                  <a:cubicBezTo>
                    <a:pt x="1378" y="1086"/>
                    <a:pt x="1378" y="1086"/>
                    <a:pt x="1378" y="1086"/>
                  </a:cubicBezTo>
                  <a:cubicBezTo>
                    <a:pt x="1378" y="1095"/>
                    <a:pt x="1378" y="1104"/>
                    <a:pt x="1378" y="1113"/>
                  </a:cubicBezTo>
                  <a:close/>
                  <a:moveTo>
                    <a:pt x="578" y="259"/>
                  </a:moveTo>
                  <a:cubicBezTo>
                    <a:pt x="603" y="241"/>
                    <a:pt x="611" y="213"/>
                    <a:pt x="614" y="183"/>
                  </a:cubicBezTo>
                  <a:cubicBezTo>
                    <a:pt x="615" y="171"/>
                    <a:pt x="610" y="159"/>
                    <a:pt x="609" y="147"/>
                  </a:cubicBezTo>
                  <a:cubicBezTo>
                    <a:pt x="608" y="137"/>
                    <a:pt x="603" y="129"/>
                    <a:pt x="599" y="121"/>
                  </a:cubicBezTo>
                  <a:cubicBezTo>
                    <a:pt x="579" y="87"/>
                    <a:pt x="527" y="70"/>
                    <a:pt x="488" y="85"/>
                  </a:cubicBezTo>
                  <a:cubicBezTo>
                    <a:pt x="453" y="99"/>
                    <a:pt x="436" y="127"/>
                    <a:pt x="431" y="163"/>
                  </a:cubicBezTo>
                  <a:cubicBezTo>
                    <a:pt x="429" y="180"/>
                    <a:pt x="430" y="196"/>
                    <a:pt x="436" y="213"/>
                  </a:cubicBezTo>
                  <a:cubicBezTo>
                    <a:pt x="439" y="222"/>
                    <a:pt x="442" y="232"/>
                    <a:pt x="447" y="239"/>
                  </a:cubicBezTo>
                  <a:cubicBezTo>
                    <a:pt x="465" y="265"/>
                    <a:pt x="491" y="277"/>
                    <a:pt x="525" y="276"/>
                  </a:cubicBezTo>
                  <a:cubicBezTo>
                    <a:pt x="543" y="278"/>
                    <a:pt x="562" y="271"/>
                    <a:pt x="578" y="259"/>
                  </a:cubicBezTo>
                  <a:close/>
                  <a:moveTo>
                    <a:pt x="471" y="205"/>
                  </a:moveTo>
                  <a:cubicBezTo>
                    <a:pt x="466" y="185"/>
                    <a:pt x="468" y="167"/>
                    <a:pt x="472" y="147"/>
                  </a:cubicBezTo>
                  <a:cubicBezTo>
                    <a:pt x="477" y="130"/>
                    <a:pt x="493" y="116"/>
                    <a:pt x="509" y="112"/>
                  </a:cubicBezTo>
                  <a:cubicBezTo>
                    <a:pt x="525" y="108"/>
                    <a:pt x="539" y="110"/>
                    <a:pt x="553" y="119"/>
                  </a:cubicBezTo>
                  <a:cubicBezTo>
                    <a:pt x="563" y="125"/>
                    <a:pt x="568" y="135"/>
                    <a:pt x="571" y="146"/>
                  </a:cubicBezTo>
                  <a:cubicBezTo>
                    <a:pt x="577" y="167"/>
                    <a:pt x="578" y="189"/>
                    <a:pt x="571" y="211"/>
                  </a:cubicBezTo>
                  <a:cubicBezTo>
                    <a:pt x="565" y="231"/>
                    <a:pt x="549" y="249"/>
                    <a:pt x="521" y="247"/>
                  </a:cubicBezTo>
                  <a:cubicBezTo>
                    <a:pt x="496" y="247"/>
                    <a:pt x="478" y="230"/>
                    <a:pt x="471" y="205"/>
                  </a:cubicBezTo>
                  <a:close/>
                  <a:moveTo>
                    <a:pt x="472" y="1122"/>
                  </a:moveTo>
                  <a:cubicBezTo>
                    <a:pt x="475" y="1136"/>
                    <a:pt x="481" y="1148"/>
                    <a:pt x="491" y="1158"/>
                  </a:cubicBezTo>
                  <a:cubicBezTo>
                    <a:pt x="506" y="1176"/>
                    <a:pt x="524" y="1185"/>
                    <a:pt x="548" y="1187"/>
                  </a:cubicBezTo>
                  <a:cubicBezTo>
                    <a:pt x="568" y="1188"/>
                    <a:pt x="587" y="1187"/>
                    <a:pt x="605" y="1177"/>
                  </a:cubicBezTo>
                  <a:cubicBezTo>
                    <a:pt x="632" y="1162"/>
                    <a:pt x="644" y="1136"/>
                    <a:pt x="649" y="1107"/>
                  </a:cubicBezTo>
                  <a:cubicBezTo>
                    <a:pt x="652" y="1089"/>
                    <a:pt x="649" y="1072"/>
                    <a:pt x="644" y="1054"/>
                  </a:cubicBezTo>
                  <a:cubicBezTo>
                    <a:pt x="638" y="1034"/>
                    <a:pt x="627" y="1019"/>
                    <a:pt x="610" y="1007"/>
                  </a:cubicBezTo>
                  <a:cubicBezTo>
                    <a:pt x="589" y="992"/>
                    <a:pt x="566" y="991"/>
                    <a:pt x="541" y="994"/>
                  </a:cubicBezTo>
                  <a:cubicBezTo>
                    <a:pt x="526" y="995"/>
                    <a:pt x="512" y="1002"/>
                    <a:pt x="500" y="1012"/>
                  </a:cubicBezTo>
                  <a:cubicBezTo>
                    <a:pt x="476" y="1032"/>
                    <a:pt x="469" y="1060"/>
                    <a:pt x="466" y="1095"/>
                  </a:cubicBezTo>
                  <a:cubicBezTo>
                    <a:pt x="465" y="1101"/>
                    <a:pt x="470" y="1111"/>
                    <a:pt x="472" y="1122"/>
                  </a:cubicBezTo>
                  <a:close/>
                  <a:moveTo>
                    <a:pt x="508" y="1113"/>
                  </a:moveTo>
                  <a:cubicBezTo>
                    <a:pt x="505" y="1095"/>
                    <a:pt x="506" y="1078"/>
                    <a:pt x="508" y="1061"/>
                  </a:cubicBezTo>
                  <a:cubicBezTo>
                    <a:pt x="511" y="1042"/>
                    <a:pt x="538" y="1021"/>
                    <a:pt x="554" y="1022"/>
                  </a:cubicBezTo>
                  <a:cubicBezTo>
                    <a:pt x="570" y="1022"/>
                    <a:pt x="586" y="1024"/>
                    <a:pt x="596" y="1037"/>
                  </a:cubicBezTo>
                  <a:cubicBezTo>
                    <a:pt x="602" y="1044"/>
                    <a:pt x="607" y="1052"/>
                    <a:pt x="608" y="1061"/>
                  </a:cubicBezTo>
                  <a:cubicBezTo>
                    <a:pt x="608" y="1064"/>
                    <a:pt x="609" y="1067"/>
                    <a:pt x="610" y="1070"/>
                  </a:cubicBezTo>
                  <a:cubicBezTo>
                    <a:pt x="618" y="1089"/>
                    <a:pt x="612" y="1107"/>
                    <a:pt x="607" y="1125"/>
                  </a:cubicBezTo>
                  <a:cubicBezTo>
                    <a:pt x="601" y="1143"/>
                    <a:pt x="588" y="1160"/>
                    <a:pt x="558" y="1157"/>
                  </a:cubicBezTo>
                  <a:cubicBezTo>
                    <a:pt x="530" y="1157"/>
                    <a:pt x="512" y="1141"/>
                    <a:pt x="508" y="1113"/>
                  </a:cubicBezTo>
                  <a:close/>
                  <a:moveTo>
                    <a:pt x="430" y="716"/>
                  </a:moveTo>
                  <a:cubicBezTo>
                    <a:pt x="450" y="703"/>
                    <a:pt x="459" y="683"/>
                    <a:pt x="464" y="661"/>
                  </a:cubicBezTo>
                  <a:cubicBezTo>
                    <a:pt x="468" y="648"/>
                    <a:pt x="467" y="635"/>
                    <a:pt x="466" y="621"/>
                  </a:cubicBezTo>
                  <a:cubicBezTo>
                    <a:pt x="463" y="592"/>
                    <a:pt x="453" y="567"/>
                    <a:pt x="427" y="550"/>
                  </a:cubicBezTo>
                  <a:cubicBezTo>
                    <a:pt x="401" y="534"/>
                    <a:pt x="372" y="532"/>
                    <a:pt x="345" y="541"/>
                  </a:cubicBezTo>
                  <a:cubicBezTo>
                    <a:pt x="310" y="552"/>
                    <a:pt x="291" y="580"/>
                    <a:pt x="287" y="617"/>
                  </a:cubicBezTo>
                  <a:cubicBezTo>
                    <a:pt x="286" y="629"/>
                    <a:pt x="286" y="641"/>
                    <a:pt x="287" y="654"/>
                  </a:cubicBezTo>
                  <a:cubicBezTo>
                    <a:pt x="289" y="671"/>
                    <a:pt x="295" y="686"/>
                    <a:pt x="306" y="700"/>
                  </a:cubicBezTo>
                  <a:cubicBezTo>
                    <a:pt x="324" y="722"/>
                    <a:pt x="348" y="733"/>
                    <a:pt x="378" y="731"/>
                  </a:cubicBezTo>
                  <a:cubicBezTo>
                    <a:pt x="396" y="733"/>
                    <a:pt x="414" y="727"/>
                    <a:pt x="430" y="716"/>
                  </a:cubicBezTo>
                  <a:close/>
                  <a:moveTo>
                    <a:pt x="331" y="592"/>
                  </a:moveTo>
                  <a:cubicBezTo>
                    <a:pt x="339" y="580"/>
                    <a:pt x="349" y="569"/>
                    <a:pt x="365" y="567"/>
                  </a:cubicBezTo>
                  <a:cubicBezTo>
                    <a:pt x="387" y="564"/>
                    <a:pt x="406" y="568"/>
                    <a:pt x="419" y="588"/>
                  </a:cubicBezTo>
                  <a:cubicBezTo>
                    <a:pt x="423" y="595"/>
                    <a:pt x="426" y="603"/>
                    <a:pt x="427" y="610"/>
                  </a:cubicBezTo>
                  <a:cubicBezTo>
                    <a:pt x="433" y="635"/>
                    <a:pt x="431" y="661"/>
                    <a:pt x="416" y="684"/>
                  </a:cubicBezTo>
                  <a:cubicBezTo>
                    <a:pt x="403" y="706"/>
                    <a:pt x="362" y="708"/>
                    <a:pt x="345" y="692"/>
                  </a:cubicBezTo>
                  <a:cubicBezTo>
                    <a:pt x="329" y="678"/>
                    <a:pt x="323" y="661"/>
                    <a:pt x="323" y="631"/>
                  </a:cubicBezTo>
                  <a:cubicBezTo>
                    <a:pt x="323" y="619"/>
                    <a:pt x="323" y="605"/>
                    <a:pt x="331" y="592"/>
                  </a:cubicBezTo>
                  <a:close/>
                  <a:moveTo>
                    <a:pt x="1073" y="259"/>
                  </a:moveTo>
                  <a:cubicBezTo>
                    <a:pt x="1073" y="269"/>
                    <a:pt x="1075" y="272"/>
                    <a:pt x="1086" y="272"/>
                  </a:cubicBezTo>
                  <a:cubicBezTo>
                    <a:pt x="1088" y="272"/>
                    <a:pt x="1090" y="272"/>
                    <a:pt x="1092" y="272"/>
                  </a:cubicBezTo>
                  <a:cubicBezTo>
                    <a:pt x="1105" y="272"/>
                    <a:pt x="1106" y="271"/>
                    <a:pt x="1106" y="258"/>
                  </a:cubicBezTo>
                  <a:cubicBezTo>
                    <a:pt x="1106" y="221"/>
                    <a:pt x="1106" y="184"/>
                    <a:pt x="1106" y="147"/>
                  </a:cubicBezTo>
                  <a:cubicBezTo>
                    <a:pt x="1106" y="143"/>
                    <a:pt x="1106" y="140"/>
                    <a:pt x="1107" y="137"/>
                  </a:cubicBezTo>
                  <a:cubicBezTo>
                    <a:pt x="1117" y="117"/>
                    <a:pt x="1157" y="104"/>
                    <a:pt x="1177" y="114"/>
                  </a:cubicBezTo>
                  <a:cubicBezTo>
                    <a:pt x="1179" y="115"/>
                    <a:pt x="1180" y="117"/>
                    <a:pt x="1182" y="118"/>
                  </a:cubicBezTo>
                  <a:cubicBezTo>
                    <a:pt x="1194" y="131"/>
                    <a:pt x="1196" y="147"/>
                    <a:pt x="1196" y="163"/>
                  </a:cubicBezTo>
                  <a:cubicBezTo>
                    <a:pt x="1197" y="195"/>
                    <a:pt x="1196" y="226"/>
                    <a:pt x="1196" y="258"/>
                  </a:cubicBezTo>
                  <a:cubicBezTo>
                    <a:pt x="1196" y="271"/>
                    <a:pt x="1197" y="272"/>
                    <a:pt x="1210" y="272"/>
                  </a:cubicBezTo>
                  <a:cubicBezTo>
                    <a:pt x="1212" y="272"/>
                    <a:pt x="1213" y="272"/>
                    <a:pt x="1215" y="272"/>
                  </a:cubicBezTo>
                  <a:cubicBezTo>
                    <a:pt x="1227" y="272"/>
                    <a:pt x="1229" y="270"/>
                    <a:pt x="1229" y="258"/>
                  </a:cubicBezTo>
                  <a:cubicBezTo>
                    <a:pt x="1229" y="222"/>
                    <a:pt x="1229" y="187"/>
                    <a:pt x="1229" y="151"/>
                  </a:cubicBezTo>
                  <a:cubicBezTo>
                    <a:pt x="1229" y="142"/>
                    <a:pt x="1228" y="132"/>
                    <a:pt x="1225" y="123"/>
                  </a:cubicBezTo>
                  <a:cubicBezTo>
                    <a:pt x="1219" y="105"/>
                    <a:pt x="1208" y="91"/>
                    <a:pt x="1189" y="85"/>
                  </a:cubicBezTo>
                  <a:cubicBezTo>
                    <a:pt x="1173" y="80"/>
                    <a:pt x="1156" y="84"/>
                    <a:pt x="1139" y="84"/>
                  </a:cubicBezTo>
                  <a:cubicBezTo>
                    <a:pt x="1137" y="84"/>
                    <a:pt x="1136" y="86"/>
                    <a:pt x="1134" y="87"/>
                  </a:cubicBezTo>
                  <a:cubicBezTo>
                    <a:pt x="1128" y="91"/>
                    <a:pt x="1121" y="96"/>
                    <a:pt x="1115" y="100"/>
                  </a:cubicBezTo>
                  <a:cubicBezTo>
                    <a:pt x="1113" y="102"/>
                    <a:pt x="1111" y="105"/>
                    <a:pt x="1108" y="103"/>
                  </a:cubicBezTo>
                  <a:cubicBezTo>
                    <a:pt x="1105" y="102"/>
                    <a:pt x="1106" y="98"/>
                    <a:pt x="1106" y="96"/>
                  </a:cubicBezTo>
                  <a:cubicBezTo>
                    <a:pt x="1106" y="69"/>
                    <a:pt x="1106" y="43"/>
                    <a:pt x="1106" y="17"/>
                  </a:cubicBezTo>
                  <a:cubicBezTo>
                    <a:pt x="1106" y="0"/>
                    <a:pt x="1106" y="0"/>
                    <a:pt x="1089" y="0"/>
                  </a:cubicBezTo>
                  <a:cubicBezTo>
                    <a:pt x="1074" y="0"/>
                    <a:pt x="1073" y="1"/>
                    <a:pt x="1073" y="16"/>
                  </a:cubicBezTo>
                  <a:cubicBezTo>
                    <a:pt x="1073" y="56"/>
                    <a:pt x="1073" y="96"/>
                    <a:pt x="1073" y="136"/>
                  </a:cubicBezTo>
                  <a:cubicBezTo>
                    <a:pt x="1073" y="177"/>
                    <a:pt x="1073" y="218"/>
                    <a:pt x="1073" y="259"/>
                  </a:cubicBezTo>
                  <a:close/>
                  <a:moveTo>
                    <a:pt x="1150" y="1092"/>
                  </a:moveTo>
                  <a:cubicBezTo>
                    <a:pt x="1168" y="1092"/>
                    <a:pt x="1186" y="1092"/>
                    <a:pt x="1204" y="1092"/>
                  </a:cubicBezTo>
                  <a:cubicBezTo>
                    <a:pt x="1215" y="1092"/>
                    <a:pt x="1218" y="1087"/>
                    <a:pt x="1219" y="1077"/>
                  </a:cubicBezTo>
                  <a:cubicBezTo>
                    <a:pt x="1220" y="1062"/>
                    <a:pt x="1216" y="1049"/>
                    <a:pt x="1210" y="1036"/>
                  </a:cubicBezTo>
                  <a:cubicBezTo>
                    <a:pt x="1204" y="1020"/>
                    <a:pt x="1193" y="1008"/>
                    <a:pt x="1177" y="1001"/>
                  </a:cubicBezTo>
                  <a:cubicBezTo>
                    <a:pt x="1155" y="992"/>
                    <a:pt x="1133" y="991"/>
                    <a:pt x="1109" y="999"/>
                  </a:cubicBezTo>
                  <a:cubicBezTo>
                    <a:pt x="1079" y="1010"/>
                    <a:pt x="1062" y="1031"/>
                    <a:pt x="1056" y="1061"/>
                  </a:cubicBezTo>
                  <a:cubicBezTo>
                    <a:pt x="1051" y="1090"/>
                    <a:pt x="1052" y="1120"/>
                    <a:pt x="1069" y="1148"/>
                  </a:cubicBezTo>
                  <a:cubicBezTo>
                    <a:pt x="1081" y="1169"/>
                    <a:pt x="1100" y="1180"/>
                    <a:pt x="1122" y="1185"/>
                  </a:cubicBezTo>
                  <a:cubicBezTo>
                    <a:pt x="1149" y="1190"/>
                    <a:pt x="1176" y="1186"/>
                    <a:pt x="1200" y="1171"/>
                  </a:cubicBezTo>
                  <a:cubicBezTo>
                    <a:pt x="1206" y="1168"/>
                    <a:pt x="1213" y="1165"/>
                    <a:pt x="1214" y="1157"/>
                  </a:cubicBezTo>
                  <a:cubicBezTo>
                    <a:pt x="1215" y="1147"/>
                    <a:pt x="1202" y="1139"/>
                    <a:pt x="1193" y="1144"/>
                  </a:cubicBezTo>
                  <a:cubicBezTo>
                    <a:pt x="1187" y="1147"/>
                    <a:pt x="1180" y="1150"/>
                    <a:pt x="1174" y="1153"/>
                  </a:cubicBezTo>
                  <a:cubicBezTo>
                    <a:pt x="1158" y="1161"/>
                    <a:pt x="1140" y="1161"/>
                    <a:pt x="1124" y="1155"/>
                  </a:cubicBezTo>
                  <a:cubicBezTo>
                    <a:pt x="1112" y="1151"/>
                    <a:pt x="1102" y="1142"/>
                    <a:pt x="1096" y="1129"/>
                  </a:cubicBezTo>
                  <a:cubicBezTo>
                    <a:pt x="1092" y="1121"/>
                    <a:pt x="1091" y="1112"/>
                    <a:pt x="1089" y="1104"/>
                  </a:cubicBezTo>
                  <a:cubicBezTo>
                    <a:pt x="1087" y="1093"/>
                    <a:pt x="1087" y="1092"/>
                    <a:pt x="1099" y="1092"/>
                  </a:cubicBezTo>
                  <a:cubicBezTo>
                    <a:pt x="1116" y="1092"/>
                    <a:pt x="1133" y="1092"/>
                    <a:pt x="1150" y="1092"/>
                  </a:cubicBezTo>
                  <a:cubicBezTo>
                    <a:pt x="1150" y="1092"/>
                    <a:pt x="1150" y="1092"/>
                    <a:pt x="1150" y="1092"/>
                  </a:cubicBezTo>
                  <a:close/>
                  <a:moveTo>
                    <a:pt x="1099" y="1070"/>
                  </a:moveTo>
                  <a:cubicBezTo>
                    <a:pt x="1092" y="1071"/>
                    <a:pt x="1089" y="1067"/>
                    <a:pt x="1091" y="1060"/>
                  </a:cubicBezTo>
                  <a:cubicBezTo>
                    <a:pt x="1094" y="1045"/>
                    <a:pt x="1108" y="1023"/>
                    <a:pt x="1128" y="1022"/>
                  </a:cubicBezTo>
                  <a:cubicBezTo>
                    <a:pt x="1142" y="1021"/>
                    <a:pt x="1156" y="1018"/>
                    <a:pt x="1168" y="1029"/>
                  </a:cubicBezTo>
                  <a:cubicBezTo>
                    <a:pt x="1181" y="1038"/>
                    <a:pt x="1185" y="1051"/>
                    <a:pt x="1187" y="1066"/>
                  </a:cubicBezTo>
                  <a:cubicBezTo>
                    <a:pt x="1188" y="1071"/>
                    <a:pt x="1183" y="1070"/>
                    <a:pt x="1180" y="1070"/>
                  </a:cubicBezTo>
                  <a:cubicBezTo>
                    <a:pt x="1166" y="1070"/>
                    <a:pt x="1153" y="1070"/>
                    <a:pt x="1139" y="1070"/>
                  </a:cubicBezTo>
                  <a:cubicBezTo>
                    <a:pt x="1139" y="1070"/>
                    <a:pt x="1139" y="1070"/>
                    <a:pt x="1139" y="1070"/>
                  </a:cubicBezTo>
                  <a:cubicBezTo>
                    <a:pt x="1126" y="1070"/>
                    <a:pt x="1113" y="1070"/>
                    <a:pt x="1099" y="1070"/>
                  </a:cubicBezTo>
                  <a:close/>
                  <a:moveTo>
                    <a:pt x="1741" y="1092"/>
                  </a:moveTo>
                  <a:cubicBezTo>
                    <a:pt x="1759" y="1092"/>
                    <a:pt x="1776" y="1092"/>
                    <a:pt x="1793" y="1092"/>
                  </a:cubicBezTo>
                  <a:cubicBezTo>
                    <a:pt x="1806" y="1092"/>
                    <a:pt x="1808" y="1089"/>
                    <a:pt x="1808" y="1076"/>
                  </a:cubicBezTo>
                  <a:cubicBezTo>
                    <a:pt x="1809" y="1063"/>
                    <a:pt x="1807" y="1051"/>
                    <a:pt x="1802" y="1038"/>
                  </a:cubicBezTo>
                  <a:cubicBezTo>
                    <a:pt x="1794" y="1021"/>
                    <a:pt x="1782" y="1008"/>
                    <a:pt x="1764" y="1000"/>
                  </a:cubicBezTo>
                  <a:cubicBezTo>
                    <a:pt x="1742" y="991"/>
                    <a:pt x="1720" y="991"/>
                    <a:pt x="1698" y="1000"/>
                  </a:cubicBezTo>
                  <a:cubicBezTo>
                    <a:pt x="1681" y="1006"/>
                    <a:pt x="1668" y="1016"/>
                    <a:pt x="1659" y="1031"/>
                  </a:cubicBezTo>
                  <a:cubicBezTo>
                    <a:pt x="1646" y="1050"/>
                    <a:pt x="1643" y="1071"/>
                    <a:pt x="1644" y="1094"/>
                  </a:cubicBezTo>
                  <a:cubicBezTo>
                    <a:pt x="1644" y="1110"/>
                    <a:pt x="1647" y="1127"/>
                    <a:pt x="1655" y="1141"/>
                  </a:cubicBezTo>
                  <a:cubicBezTo>
                    <a:pt x="1669" y="1168"/>
                    <a:pt x="1691" y="1183"/>
                    <a:pt x="1722" y="1186"/>
                  </a:cubicBezTo>
                  <a:cubicBezTo>
                    <a:pt x="1750" y="1188"/>
                    <a:pt x="1775" y="1183"/>
                    <a:pt x="1798" y="1165"/>
                  </a:cubicBezTo>
                  <a:cubicBezTo>
                    <a:pt x="1803" y="1161"/>
                    <a:pt x="1806" y="1157"/>
                    <a:pt x="1802" y="1151"/>
                  </a:cubicBezTo>
                  <a:cubicBezTo>
                    <a:pt x="1798" y="1144"/>
                    <a:pt x="1791" y="1140"/>
                    <a:pt x="1783" y="1144"/>
                  </a:cubicBezTo>
                  <a:cubicBezTo>
                    <a:pt x="1778" y="1147"/>
                    <a:pt x="1771" y="1149"/>
                    <a:pt x="1766" y="1152"/>
                  </a:cubicBezTo>
                  <a:cubicBezTo>
                    <a:pt x="1749" y="1161"/>
                    <a:pt x="1730" y="1162"/>
                    <a:pt x="1714" y="1155"/>
                  </a:cubicBezTo>
                  <a:cubicBezTo>
                    <a:pt x="1692" y="1145"/>
                    <a:pt x="1680" y="1127"/>
                    <a:pt x="1679" y="1102"/>
                  </a:cubicBezTo>
                  <a:cubicBezTo>
                    <a:pt x="1678" y="1095"/>
                    <a:pt x="1681" y="1092"/>
                    <a:pt x="1689" y="1092"/>
                  </a:cubicBezTo>
                  <a:cubicBezTo>
                    <a:pt x="1706" y="1092"/>
                    <a:pt x="1724" y="1092"/>
                    <a:pt x="1741" y="1092"/>
                  </a:cubicBezTo>
                  <a:cubicBezTo>
                    <a:pt x="1741" y="1092"/>
                    <a:pt x="1741" y="1092"/>
                    <a:pt x="1741" y="1092"/>
                  </a:cubicBezTo>
                  <a:close/>
                  <a:moveTo>
                    <a:pt x="1690" y="1070"/>
                  </a:moveTo>
                  <a:cubicBezTo>
                    <a:pt x="1683" y="1071"/>
                    <a:pt x="1680" y="1068"/>
                    <a:pt x="1681" y="1062"/>
                  </a:cubicBezTo>
                  <a:cubicBezTo>
                    <a:pt x="1683" y="1048"/>
                    <a:pt x="1697" y="1024"/>
                    <a:pt x="1716" y="1022"/>
                  </a:cubicBezTo>
                  <a:cubicBezTo>
                    <a:pt x="1731" y="1020"/>
                    <a:pt x="1747" y="1018"/>
                    <a:pt x="1760" y="1030"/>
                  </a:cubicBezTo>
                  <a:cubicBezTo>
                    <a:pt x="1771" y="1038"/>
                    <a:pt x="1775" y="1050"/>
                    <a:pt x="1778" y="1062"/>
                  </a:cubicBezTo>
                  <a:cubicBezTo>
                    <a:pt x="1780" y="1068"/>
                    <a:pt x="1775" y="1070"/>
                    <a:pt x="1769" y="1070"/>
                  </a:cubicBezTo>
                  <a:cubicBezTo>
                    <a:pt x="1756" y="1070"/>
                    <a:pt x="1742" y="1070"/>
                    <a:pt x="1729" y="1070"/>
                  </a:cubicBezTo>
                  <a:cubicBezTo>
                    <a:pt x="1729" y="1070"/>
                    <a:pt x="1729" y="1070"/>
                    <a:pt x="1729" y="1070"/>
                  </a:cubicBezTo>
                  <a:cubicBezTo>
                    <a:pt x="1716" y="1070"/>
                    <a:pt x="1703" y="1070"/>
                    <a:pt x="1690" y="1070"/>
                  </a:cubicBezTo>
                  <a:close/>
                  <a:moveTo>
                    <a:pt x="68" y="581"/>
                  </a:moveTo>
                  <a:cubicBezTo>
                    <a:pt x="68" y="573"/>
                    <a:pt x="70" y="568"/>
                    <a:pt x="80" y="569"/>
                  </a:cubicBezTo>
                  <a:cubicBezTo>
                    <a:pt x="90" y="570"/>
                    <a:pt x="101" y="570"/>
                    <a:pt x="111" y="569"/>
                  </a:cubicBezTo>
                  <a:cubicBezTo>
                    <a:pt x="120" y="569"/>
                    <a:pt x="120" y="563"/>
                    <a:pt x="120" y="556"/>
                  </a:cubicBezTo>
                  <a:cubicBezTo>
                    <a:pt x="120" y="549"/>
                    <a:pt x="119" y="544"/>
                    <a:pt x="111" y="544"/>
                  </a:cubicBezTo>
                  <a:cubicBezTo>
                    <a:pt x="104" y="544"/>
                    <a:pt x="97" y="544"/>
                    <a:pt x="91" y="544"/>
                  </a:cubicBezTo>
                  <a:cubicBezTo>
                    <a:pt x="66" y="544"/>
                    <a:pt x="65" y="543"/>
                    <a:pt x="68" y="518"/>
                  </a:cubicBezTo>
                  <a:cubicBezTo>
                    <a:pt x="69" y="504"/>
                    <a:pt x="83" y="487"/>
                    <a:pt x="99" y="489"/>
                  </a:cubicBezTo>
                  <a:cubicBezTo>
                    <a:pt x="103" y="489"/>
                    <a:pt x="107" y="489"/>
                    <a:pt x="110" y="488"/>
                  </a:cubicBezTo>
                  <a:cubicBezTo>
                    <a:pt x="118" y="487"/>
                    <a:pt x="123" y="479"/>
                    <a:pt x="123" y="471"/>
                  </a:cubicBezTo>
                  <a:cubicBezTo>
                    <a:pt x="123" y="461"/>
                    <a:pt x="116" y="462"/>
                    <a:pt x="109" y="460"/>
                  </a:cubicBezTo>
                  <a:cubicBezTo>
                    <a:pt x="100" y="458"/>
                    <a:pt x="92" y="460"/>
                    <a:pt x="84" y="460"/>
                  </a:cubicBezTo>
                  <a:cubicBezTo>
                    <a:pt x="68" y="461"/>
                    <a:pt x="56" y="469"/>
                    <a:pt x="47" y="480"/>
                  </a:cubicBezTo>
                  <a:cubicBezTo>
                    <a:pt x="34" y="493"/>
                    <a:pt x="32" y="511"/>
                    <a:pt x="32" y="529"/>
                  </a:cubicBezTo>
                  <a:cubicBezTo>
                    <a:pt x="32" y="544"/>
                    <a:pt x="32" y="544"/>
                    <a:pt x="17" y="544"/>
                  </a:cubicBezTo>
                  <a:cubicBezTo>
                    <a:pt x="4" y="543"/>
                    <a:pt x="0" y="548"/>
                    <a:pt x="4" y="561"/>
                  </a:cubicBezTo>
                  <a:cubicBezTo>
                    <a:pt x="6" y="569"/>
                    <a:pt x="13" y="568"/>
                    <a:pt x="19" y="569"/>
                  </a:cubicBezTo>
                  <a:cubicBezTo>
                    <a:pt x="32" y="571"/>
                    <a:pt x="32" y="571"/>
                    <a:pt x="32" y="584"/>
                  </a:cubicBezTo>
                  <a:cubicBezTo>
                    <a:pt x="32" y="624"/>
                    <a:pt x="32" y="664"/>
                    <a:pt x="32" y="704"/>
                  </a:cubicBezTo>
                  <a:cubicBezTo>
                    <a:pt x="32" y="731"/>
                    <a:pt x="32" y="730"/>
                    <a:pt x="57" y="731"/>
                  </a:cubicBezTo>
                  <a:cubicBezTo>
                    <a:pt x="66" y="731"/>
                    <a:pt x="68" y="727"/>
                    <a:pt x="68" y="720"/>
                  </a:cubicBezTo>
                  <a:cubicBezTo>
                    <a:pt x="68" y="697"/>
                    <a:pt x="68" y="674"/>
                    <a:pt x="68" y="651"/>
                  </a:cubicBezTo>
                  <a:cubicBezTo>
                    <a:pt x="68" y="628"/>
                    <a:pt x="68" y="605"/>
                    <a:pt x="68" y="581"/>
                  </a:cubicBezTo>
                  <a:close/>
                  <a:moveTo>
                    <a:pt x="278" y="1165"/>
                  </a:moveTo>
                  <a:cubicBezTo>
                    <a:pt x="278" y="1183"/>
                    <a:pt x="278" y="1183"/>
                    <a:pt x="296" y="1184"/>
                  </a:cubicBezTo>
                  <a:cubicBezTo>
                    <a:pt x="310" y="1184"/>
                    <a:pt x="310" y="1184"/>
                    <a:pt x="310" y="1169"/>
                  </a:cubicBezTo>
                  <a:cubicBezTo>
                    <a:pt x="310" y="1132"/>
                    <a:pt x="310" y="1095"/>
                    <a:pt x="310" y="1058"/>
                  </a:cubicBezTo>
                  <a:cubicBezTo>
                    <a:pt x="310" y="1052"/>
                    <a:pt x="312" y="1047"/>
                    <a:pt x="316" y="1042"/>
                  </a:cubicBezTo>
                  <a:cubicBezTo>
                    <a:pt x="324" y="1033"/>
                    <a:pt x="334" y="1027"/>
                    <a:pt x="345" y="1024"/>
                  </a:cubicBezTo>
                  <a:cubicBezTo>
                    <a:pt x="357" y="1020"/>
                    <a:pt x="371" y="1018"/>
                    <a:pt x="383" y="1028"/>
                  </a:cubicBezTo>
                  <a:cubicBezTo>
                    <a:pt x="397" y="1039"/>
                    <a:pt x="401" y="1054"/>
                    <a:pt x="401" y="1071"/>
                  </a:cubicBezTo>
                  <a:cubicBezTo>
                    <a:pt x="401" y="1102"/>
                    <a:pt x="401" y="1132"/>
                    <a:pt x="401" y="1163"/>
                  </a:cubicBezTo>
                  <a:cubicBezTo>
                    <a:pt x="401" y="1183"/>
                    <a:pt x="401" y="1182"/>
                    <a:pt x="420" y="1184"/>
                  </a:cubicBezTo>
                  <a:cubicBezTo>
                    <a:pt x="429" y="1185"/>
                    <a:pt x="433" y="1181"/>
                    <a:pt x="433" y="1173"/>
                  </a:cubicBezTo>
                  <a:cubicBezTo>
                    <a:pt x="432" y="1130"/>
                    <a:pt x="435" y="1087"/>
                    <a:pt x="431" y="1044"/>
                  </a:cubicBezTo>
                  <a:cubicBezTo>
                    <a:pt x="427" y="1014"/>
                    <a:pt x="404" y="996"/>
                    <a:pt x="376" y="994"/>
                  </a:cubicBezTo>
                  <a:cubicBezTo>
                    <a:pt x="353" y="992"/>
                    <a:pt x="333" y="1000"/>
                    <a:pt x="317" y="1017"/>
                  </a:cubicBezTo>
                  <a:cubicBezTo>
                    <a:pt x="312" y="1021"/>
                    <a:pt x="311" y="1019"/>
                    <a:pt x="309" y="1015"/>
                  </a:cubicBezTo>
                  <a:cubicBezTo>
                    <a:pt x="309" y="1013"/>
                    <a:pt x="308" y="1011"/>
                    <a:pt x="308" y="1008"/>
                  </a:cubicBezTo>
                  <a:cubicBezTo>
                    <a:pt x="306" y="1001"/>
                    <a:pt x="298" y="997"/>
                    <a:pt x="287" y="998"/>
                  </a:cubicBezTo>
                  <a:cubicBezTo>
                    <a:pt x="279" y="999"/>
                    <a:pt x="278" y="1004"/>
                    <a:pt x="278" y="1011"/>
                  </a:cubicBezTo>
                  <a:cubicBezTo>
                    <a:pt x="278" y="1037"/>
                    <a:pt x="278" y="1064"/>
                    <a:pt x="278" y="1091"/>
                  </a:cubicBezTo>
                  <a:cubicBezTo>
                    <a:pt x="278" y="1115"/>
                    <a:pt x="278" y="1140"/>
                    <a:pt x="278" y="1165"/>
                  </a:cubicBezTo>
                  <a:close/>
                  <a:moveTo>
                    <a:pt x="150" y="705"/>
                  </a:moveTo>
                  <a:cubicBezTo>
                    <a:pt x="150" y="734"/>
                    <a:pt x="145" y="730"/>
                    <a:pt x="176" y="731"/>
                  </a:cubicBezTo>
                  <a:cubicBezTo>
                    <a:pt x="185" y="731"/>
                    <a:pt x="187" y="727"/>
                    <a:pt x="187" y="719"/>
                  </a:cubicBezTo>
                  <a:cubicBezTo>
                    <a:pt x="187" y="685"/>
                    <a:pt x="187" y="651"/>
                    <a:pt x="187" y="618"/>
                  </a:cubicBezTo>
                  <a:cubicBezTo>
                    <a:pt x="187" y="597"/>
                    <a:pt x="204" y="578"/>
                    <a:pt x="225" y="574"/>
                  </a:cubicBezTo>
                  <a:cubicBezTo>
                    <a:pt x="232" y="572"/>
                    <a:pt x="240" y="574"/>
                    <a:pt x="247" y="575"/>
                  </a:cubicBezTo>
                  <a:cubicBezTo>
                    <a:pt x="257" y="576"/>
                    <a:pt x="261" y="572"/>
                    <a:pt x="265" y="564"/>
                  </a:cubicBezTo>
                  <a:cubicBezTo>
                    <a:pt x="269" y="556"/>
                    <a:pt x="267" y="542"/>
                    <a:pt x="261" y="540"/>
                  </a:cubicBezTo>
                  <a:cubicBezTo>
                    <a:pt x="253" y="538"/>
                    <a:pt x="244" y="534"/>
                    <a:pt x="237" y="536"/>
                  </a:cubicBezTo>
                  <a:cubicBezTo>
                    <a:pt x="228" y="537"/>
                    <a:pt x="217" y="537"/>
                    <a:pt x="209" y="544"/>
                  </a:cubicBezTo>
                  <a:cubicBezTo>
                    <a:pt x="204" y="549"/>
                    <a:pt x="198" y="553"/>
                    <a:pt x="194" y="558"/>
                  </a:cubicBezTo>
                  <a:cubicBezTo>
                    <a:pt x="192" y="561"/>
                    <a:pt x="189" y="563"/>
                    <a:pt x="185" y="562"/>
                  </a:cubicBezTo>
                  <a:cubicBezTo>
                    <a:pt x="182" y="561"/>
                    <a:pt x="182" y="558"/>
                    <a:pt x="182" y="556"/>
                  </a:cubicBezTo>
                  <a:cubicBezTo>
                    <a:pt x="180" y="539"/>
                    <a:pt x="179" y="539"/>
                    <a:pt x="162" y="539"/>
                  </a:cubicBezTo>
                  <a:cubicBezTo>
                    <a:pt x="151" y="539"/>
                    <a:pt x="150" y="540"/>
                    <a:pt x="150" y="551"/>
                  </a:cubicBezTo>
                  <a:cubicBezTo>
                    <a:pt x="150" y="579"/>
                    <a:pt x="150" y="607"/>
                    <a:pt x="150" y="635"/>
                  </a:cubicBezTo>
                  <a:cubicBezTo>
                    <a:pt x="150" y="658"/>
                    <a:pt x="149" y="682"/>
                    <a:pt x="150" y="705"/>
                  </a:cubicBezTo>
                  <a:close/>
                  <a:moveTo>
                    <a:pt x="1011" y="1049"/>
                  </a:moveTo>
                  <a:cubicBezTo>
                    <a:pt x="1011" y="1008"/>
                    <a:pt x="1011" y="966"/>
                    <a:pt x="1011" y="924"/>
                  </a:cubicBezTo>
                  <a:cubicBezTo>
                    <a:pt x="1011" y="913"/>
                    <a:pt x="1008" y="910"/>
                    <a:pt x="997" y="910"/>
                  </a:cubicBezTo>
                  <a:cubicBezTo>
                    <a:pt x="995" y="910"/>
                    <a:pt x="992" y="910"/>
                    <a:pt x="990" y="910"/>
                  </a:cubicBezTo>
                  <a:cubicBezTo>
                    <a:pt x="976" y="910"/>
                    <a:pt x="975" y="911"/>
                    <a:pt x="975" y="926"/>
                  </a:cubicBezTo>
                  <a:cubicBezTo>
                    <a:pt x="975" y="1006"/>
                    <a:pt x="975" y="1085"/>
                    <a:pt x="975" y="1165"/>
                  </a:cubicBezTo>
                  <a:cubicBezTo>
                    <a:pt x="975" y="1185"/>
                    <a:pt x="975" y="1185"/>
                    <a:pt x="994" y="1185"/>
                  </a:cubicBezTo>
                  <a:cubicBezTo>
                    <a:pt x="1009" y="1185"/>
                    <a:pt x="1011" y="1184"/>
                    <a:pt x="1011" y="1169"/>
                  </a:cubicBezTo>
                  <a:cubicBezTo>
                    <a:pt x="1011" y="1129"/>
                    <a:pt x="1011" y="1089"/>
                    <a:pt x="1011" y="1049"/>
                  </a:cubicBezTo>
                  <a:cubicBezTo>
                    <a:pt x="1011" y="1049"/>
                    <a:pt x="1011" y="1049"/>
                    <a:pt x="1011" y="1049"/>
                  </a:cubicBezTo>
                  <a:close/>
                  <a:moveTo>
                    <a:pt x="296" y="176"/>
                  </a:moveTo>
                  <a:cubicBezTo>
                    <a:pt x="296" y="201"/>
                    <a:pt x="296" y="226"/>
                    <a:pt x="296" y="251"/>
                  </a:cubicBezTo>
                  <a:cubicBezTo>
                    <a:pt x="295" y="276"/>
                    <a:pt x="296" y="274"/>
                    <a:pt x="318" y="274"/>
                  </a:cubicBezTo>
                  <a:cubicBezTo>
                    <a:pt x="330" y="274"/>
                    <a:pt x="331" y="274"/>
                    <a:pt x="331" y="260"/>
                  </a:cubicBezTo>
                  <a:cubicBezTo>
                    <a:pt x="331" y="232"/>
                    <a:pt x="331" y="204"/>
                    <a:pt x="331" y="176"/>
                  </a:cubicBezTo>
                  <a:cubicBezTo>
                    <a:pt x="331" y="165"/>
                    <a:pt x="331" y="155"/>
                    <a:pt x="337" y="145"/>
                  </a:cubicBezTo>
                  <a:cubicBezTo>
                    <a:pt x="349" y="123"/>
                    <a:pt x="359" y="117"/>
                    <a:pt x="377" y="118"/>
                  </a:cubicBezTo>
                  <a:cubicBezTo>
                    <a:pt x="383" y="118"/>
                    <a:pt x="389" y="119"/>
                    <a:pt x="395" y="120"/>
                  </a:cubicBezTo>
                  <a:cubicBezTo>
                    <a:pt x="401" y="120"/>
                    <a:pt x="407" y="118"/>
                    <a:pt x="408" y="112"/>
                  </a:cubicBezTo>
                  <a:cubicBezTo>
                    <a:pt x="409" y="103"/>
                    <a:pt x="415" y="93"/>
                    <a:pt x="407" y="85"/>
                  </a:cubicBezTo>
                  <a:cubicBezTo>
                    <a:pt x="406" y="84"/>
                    <a:pt x="404" y="84"/>
                    <a:pt x="402" y="84"/>
                  </a:cubicBezTo>
                  <a:cubicBezTo>
                    <a:pt x="376" y="78"/>
                    <a:pt x="353" y="82"/>
                    <a:pt x="337" y="106"/>
                  </a:cubicBezTo>
                  <a:cubicBezTo>
                    <a:pt x="336" y="108"/>
                    <a:pt x="335" y="110"/>
                    <a:pt x="333" y="109"/>
                  </a:cubicBezTo>
                  <a:cubicBezTo>
                    <a:pt x="331" y="109"/>
                    <a:pt x="330" y="107"/>
                    <a:pt x="330" y="105"/>
                  </a:cubicBezTo>
                  <a:cubicBezTo>
                    <a:pt x="329" y="101"/>
                    <a:pt x="329" y="97"/>
                    <a:pt x="328" y="94"/>
                  </a:cubicBezTo>
                  <a:cubicBezTo>
                    <a:pt x="325" y="85"/>
                    <a:pt x="318" y="82"/>
                    <a:pt x="303" y="84"/>
                  </a:cubicBezTo>
                  <a:cubicBezTo>
                    <a:pt x="297" y="84"/>
                    <a:pt x="295" y="86"/>
                    <a:pt x="295" y="92"/>
                  </a:cubicBezTo>
                  <a:cubicBezTo>
                    <a:pt x="296" y="120"/>
                    <a:pt x="295" y="148"/>
                    <a:pt x="295" y="176"/>
                  </a:cubicBezTo>
                  <a:cubicBezTo>
                    <a:pt x="296" y="176"/>
                    <a:pt x="296" y="176"/>
                    <a:pt x="296" y="176"/>
                  </a:cubicBezTo>
                  <a:close/>
                  <a:moveTo>
                    <a:pt x="946" y="179"/>
                  </a:moveTo>
                  <a:cubicBezTo>
                    <a:pt x="946" y="197"/>
                    <a:pt x="946" y="215"/>
                    <a:pt x="946" y="234"/>
                  </a:cubicBezTo>
                  <a:cubicBezTo>
                    <a:pt x="946" y="248"/>
                    <a:pt x="951" y="260"/>
                    <a:pt x="963" y="268"/>
                  </a:cubicBezTo>
                  <a:cubicBezTo>
                    <a:pt x="982" y="280"/>
                    <a:pt x="1011" y="277"/>
                    <a:pt x="1029" y="264"/>
                  </a:cubicBezTo>
                  <a:cubicBezTo>
                    <a:pt x="1036" y="259"/>
                    <a:pt x="1036" y="254"/>
                    <a:pt x="1032" y="248"/>
                  </a:cubicBezTo>
                  <a:cubicBezTo>
                    <a:pt x="1026" y="239"/>
                    <a:pt x="1020" y="238"/>
                    <a:pt x="1013" y="242"/>
                  </a:cubicBezTo>
                  <a:cubicBezTo>
                    <a:pt x="996" y="252"/>
                    <a:pt x="978" y="243"/>
                    <a:pt x="978" y="223"/>
                  </a:cubicBezTo>
                  <a:cubicBezTo>
                    <a:pt x="978" y="190"/>
                    <a:pt x="978" y="157"/>
                    <a:pt x="978" y="123"/>
                  </a:cubicBezTo>
                  <a:cubicBezTo>
                    <a:pt x="978" y="116"/>
                    <a:pt x="981" y="113"/>
                    <a:pt x="988" y="113"/>
                  </a:cubicBezTo>
                  <a:cubicBezTo>
                    <a:pt x="999" y="114"/>
                    <a:pt x="1011" y="113"/>
                    <a:pt x="1022" y="113"/>
                  </a:cubicBezTo>
                  <a:cubicBezTo>
                    <a:pt x="1028" y="113"/>
                    <a:pt x="1033" y="112"/>
                    <a:pt x="1033" y="104"/>
                  </a:cubicBezTo>
                  <a:cubicBezTo>
                    <a:pt x="1033" y="96"/>
                    <a:pt x="1032" y="90"/>
                    <a:pt x="1022" y="90"/>
                  </a:cubicBezTo>
                  <a:cubicBezTo>
                    <a:pt x="1011" y="90"/>
                    <a:pt x="1001" y="90"/>
                    <a:pt x="990" y="90"/>
                  </a:cubicBezTo>
                  <a:cubicBezTo>
                    <a:pt x="981" y="91"/>
                    <a:pt x="977" y="88"/>
                    <a:pt x="978" y="78"/>
                  </a:cubicBezTo>
                  <a:cubicBezTo>
                    <a:pt x="978" y="64"/>
                    <a:pt x="978" y="49"/>
                    <a:pt x="978" y="35"/>
                  </a:cubicBezTo>
                  <a:cubicBezTo>
                    <a:pt x="978" y="30"/>
                    <a:pt x="978" y="25"/>
                    <a:pt x="971" y="24"/>
                  </a:cubicBezTo>
                  <a:cubicBezTo>
                    <a:pt x="964" y="24"/>
                    <a:pt x="956" y="24"/>
                    <a:pt x="955" y="32"/>
                  </a:cubicBezTo>
                  <a:cubicBezTo>
                    <a:pt x="952" y="43"/>
                    <a:pt x="949" y="54"/>
                    <a:pt x="949" y="65"/>
                  </a:cubicBezTo>
                  <a:cubicBezTo>
                    <a:pt x="948" y="88"/>
                    <a:pt x="947" y="88"/>
                    <a:pt x="924" y="91"/>
                  </a:cubicBezTo>
                  <a:cubicBezTo>
                    <a:pt x="919" y="92"/>
                    <a:pt x="914" y="92"/>
                    <a:pt x="914" y="99"/>
                  </a:cubicBezTo>
                  <a:cubicBezTo>
                    <a:pt x="915" y="107"/>
                    <a:pt x="917" y="113"/>
                    <a:pt x="926" y="113"/>
                  </a:cubicBezTo>
                  <a:cubicBezTo>
                    <a:pt x="929" y="114"/>
                    <a:pt x="932" y="113"/>
                    <a:pt x="935" y="113"/>
                  </a:cubicBezTo>
                  <a:cubicBezTo>
                    <a:pt x="943" y="113"/>
                    <a:pt x="946" y="116"/>
                    <a:pt x="946" y="124"/>
                  </a:cubicBezTo>
                  <a:cubicBezTo>
                    <a:pt x="946" y="142"/>
                    <a:pt x="946" y="161"/>
                    <a:pt x="946" y="179"/>
                  </a:cubicBezTo>
                  <a:cubicBezTo>
                    <a:pt x="946" y="179"/>
                    <a:pt x="946" y="179"/>
                    <a:pt x="946" y="179"/>
                  </a:cubicBezTo>
                  <a:close/>
                </a:path>
              </a:pathLst>
            </a:custGeom>
            <a:solidFill>
              <a:srgbClr val="4C505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grpSp>
          <p:nvGrpSpPr>
            <p:cNvPr id="18" name="Group 4">
              <a:extLst>
                <a:ext uri="{FF2B5EF4-FFF2-40B4-BE49-F238E27FC236}">
                  <a16:creationId xmlns:a16="http://schemas.microsoft.com/office/drawing/2014/main" id="{57BD2C4C-DC67-B843-B26C-309622FC75F7}"/>
                </a:ext>
              </a:extLst>
            </p:cNvPr>
            <p:cNvGrpSpPr>
              <a:grpSpLocks noChangeAspect="1"/>
            </p:cNvGrpSpPr>
            <p:nvPr/>
          </p:nvGrpSpPr>
          <p:grpSpPr bwMode="gray">
            <a:xfrm>
              <a:off x="334963" y="296652"/>
              <a:ext cx="538094" cy="540000"/>
              <a:chOff x="2711" y="1027"/>
              <a:chExt cx="2258" cy="2266"/>
            </a:xfrm>
          </p:grpSpPr>
          <p:sp>
            <p:nvSpPr>
              <p:cNvPr id="19" name="AutoShape 3">
                <a:extLst>
                  <a:ext uri="{FF2B5EF4-FFF2-40B4-BE49-F238E27FC236}">
                    <a16:creationId xmlns:a16="http://schemas.microsoft.com/office/drawing/2014/main" id="{FE1DC41B-291E-574C-9F2C-874E70A40758}"/>
                  </a:ext>
                </a:extLst>
              </p:cNvPr>
              <p:cNvSpPr>
                <a:spLocks noChangeAspect="1" noChangeArrowheads="1" noTextEdit="1"/>
              </p:cNvSpPr>
              <p:nvPr/>
            </p:nvSpPr>
            <p:spPr bwMode="gray">
              <a:xfrm>
                <a:off x="2711" y="1027"/>
                <a:ext cx="2258" cy="22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20" name="Freeform 5">
                <a:extLst>
                  <a:ext uri="{FF2B5EF4-FFF2-40B4-BE49-F238E27FC236}">
                    <a16:creationId xmlns:a16="http://schemas.microsoft.com/office/drawing/2014/main" id="{D4B633C8-F761-C54B-9BD2-EB59D49A2DBC}"/>
                  </a:ext>
                </a:extLst>
              </p:cNvPr>
              <p:cNvSpPr>
                <a:spLocks/>
              </p:cNvSpPr>
              <p:nvPr/>
            </p:nvSpPr>
            <p:spPr bwMode="gray">
              <a:xfrm>
                <a:off x="2709" y="1029"/>
                <a:ext cx="2260" cy="2262"/>
              </a:xfrm>
              <a:custGeom>
                <a:avLst/>
                <a:gdLst>
                  <a:gd name="T0" fmla="*/ 2260 w 2260"/>
                  <a:gd name="T1" fmla="*/ 0 h 2262"/>
                  <a:gd name="T2" fmla="*/ 1612 w 2260"/>
                  <a:gd name="T3" fmla="*/ 649 h 2262"/>
                  <a:gd name="T4" fmla="*/ 1612 w 2260"/>
                  <a:gd name="T5" fmla="*/ 649 h 2262"/>
                  <a:gd name="T6" fmla="*/ 2035 w 2260"/>
                  <a:gd name="T7" fmla="*/ 0 h 2262"/>
                  <a:gd name="T8" fmla="*/ 0 w 2260"/>
                  <a:gd name="T9" fmla="*/ 0 h 2262"/>
                  <a:gd name="T10" fmla="*/ 0 w 2260"/>
                  <a:gd name="T11" fmla="*/ 2262 h 2262"/>
                  <a:gd name="T12" fmla="*/ 2260 w 2260"/>
                  <a:gd name="T13" fmla="*/ 2262 h 2262"/>
                  <a:gd name="T14" fmla="*/ 2260 w 2260"/>
                  <a:gd name="T15" fmla="*/ 0 h 2262"/>
                  <a:gd name="T16" fmla="*/ 2260 w 2260"/>
                  <a:gd name="T17" fmla="*/ 0 h 2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0" h="2262">
                    <a:moveTo>
                      <a:pt x="2260" y="0"/>
                    </a:moveTo>
                    <a:lnTo>
                      <a:pt x="1612" y="649"/>
                    </a:lnTo>
                    <a:lnTo>
                      <a:pt x="1612" y="649"/>
                    </a:lnTo>
                    <a:lnTo>
                      <a:pt x="2035" y="0"/>
                    </a:lnTo>
                    <a:lnTo>
                      <a:pt x="0" y="0"/>
                    </a:lnTo>
                    <a:lnTo>
                      <a:pt x="0" y="2262"/>
                    </a:lnTo>
                    <a:lnTo>
                      <a:pt x="2260" y="2262"/>
                    </a:lnTo>
                    <a:lnTo>
                      <a:pt x="2260" y="0"/>
                    </a:lnTo>
                    <a:lnTo>
                      <a:pt x="2260" y="0"/>
                    </a:lnTo>
                    <a:close/>
                  </a:path>
                </a:pathLst>
              </a:custGeom>
              <a:solidFill>
                <a:srgbClr val="E55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21" name="Freeform 6">
                <a:extLst>
                  <a:ext uri="{FF2B5EF4-FFF2-40B4-BE49-F238E27FC236}">
                    <a16:creationId xmlns:a16="http://schemas.microsoft.com/office/drawing/2014/main" id="{B16BAAE4-1A41-C843-9754-490F7A1E1270}"/>
                  </a:ext>
                </a:extLst>
              </p:cNvPr>
              <p:cNvSpPr>
                <a:spLocks noEditPoints="1"/>
              </p:cNvSpPr>
              <p:nvPr/>
            </p:nvSpPr>
            <p:spPr bwMode="gray">
              <a:xfrm>
                <a:off x="3623" y="1696"/>
                <a:ext cx="1167" cy="922"/>
              </a:xfrm>
              <a:custGeom>
                <a:avLst/>
                <a:gdLst>
                  <a:gd name="T0" fmla="*/ 411 w 580"/>
                  <a:gd name="T1" fmla="*/ 213 h 458"/>
                  <a:gd name="T2" fmla="*/ 570 w 580"/>
                  <a:gd name="T3" fmla="*/ 37 h 458"/>
                  <a:gd name="T4" fmla="*/ 580 w 580"/>
                  <a:gd name="T5" fmla="*/ 20 h 458"/>
                  <a:gd name="T6" fmla="*/ 545 w 580"/>
                  <a:gd name="T7" fmla="*/ 0 h 458"/>
                  <a:gd name="T8" fmla="*/ 519 w 580"/>
                  <a:gd name="T9" fmla="*/ 16 h 458"/>
                  <a:gd name="T10" fmla="*/ 344 w 580"/>
                  <a:gd name="T11" fmla="*/ 210 h 458"/>
                  <a:gd name="T12" fmla="*/ 334 w 580"/>
                  <a:gd name="T13" fmla="*/ 229 h 458"/>
                  <a:gd name="T14" fmla="*/ 344 w 580"/>
                  <a:gd name="T15" fmla="*/ 248 h 458"/>
                  <a:gd name="T16" fmla="*/ 519 w 580"/>
                  <a:gd name="T17" fmla="*/ 442 h 458"/>
                  <a:gd name="T18" fmla="*/ 545 w 580"/>
                  <a:gd name="T19" fmla="*/ 458 h 458"/>
                  <a:gd name="T20" fmla="*/ 580 w 580"/>
                  <a:gd name="T21" fmla="*/ 438 h 458"/>
                  <a:gd name="T22" fmla="*/ 570 w 580"/>
                  <a:gd name="T23" fmla="*/ 421 h 458"/>
                  <a:gd name="T24" fmla="*/ 411 w 580"/>
                  <a:gd name="T25" fmla="*/ 245 h 458"/>
                  <a:gd name="T26" fmla="*/ 399 w 580"/>
                  <a:gd name="T27" fmla="*/ 229 h 458"/>
                  <a:gd name="T28" fmla="*/ 411 w 580"/>
                  <a:gd name="T29" fmla="*/ 213 h 458"/>
                  <a:gd name="T30" fmla="*/ 252 w 580"/>
                  <a:gd name="T31" fmla="*/ 439 h 458"/>
                  <a:gd name="T32" fmla="*/ 281 w 580"/>
                  <a:gd name="T33" fmla="*/ 454 h 458"/>
                  <a:gd name="T34" fmla="*/ 309 w 580"/>
                  <a:gd name="T35" fmla="*/ 439 h 458"/>
                  <a:gd name="T36" fmla="*/ 309 w 580"/>
                  <a:gd name="T37" fmla="*/ 19 h 458"/>
                  <a:gd name="T38" fmla="*/ 281 w 580"/>
                  <a:gd name="T39" fmla="*/ 4 h 458"/>
                  <a:gd name="T40" fmla="*/ 252 w 580"/>
                  <a:gd name="T41" fmla="*/ 19 h 458"/>
                  <a:gd name="T42" fmla="*/ 252 w 580"/>
                  <a:gd name="T43" fmla="*/ 439 h 458"/>
                  <a:gd name="T44" fmla="*/ 0 w 580"/>
                  <a:gd name="T45" fmla="*/ 439 h 458"/>
                  <a:gd name="T46" fmla="*/ 28 w 580"/>
                  <a:gd name="T47" fmla="*/ 454 h 458"/>
                  <a:gd name="T48" fmla="*/ 56 w 580"/>
                  <a:gd name="T49" fmla="*/ 439 h 458"/>
                  <a:gd name="T50" fmla="*/ 56 w 580"/>
                  <a:gd name="T51" fmla="*/ 157 h 458"/>
                  <a:gd name="T52" fmla="*/ 165 w 580"/>
                  <a:gd name="T53" fmla="*/ 53 h 458"/>
                  <a:gd name="T54" fmla="*/ 180 w 580"/>
                  <a:gd name="T55" fmla="*/ 53 h 458"/>
                  <a:gd name="T56" fmla="*/ 196 w 580"/>
                  <a:gd name="T57" fmla="*/ 27 h 458"/>
                  <a:gd name="T58" fmla="*/ 154 w 580"/>
                  <a:gd name="T59" fmla="*/ 4 h 458"/>
                  <a:gd name="T60" fmla="*/ 0 w 580"/>
                  <a:gd name="T61" fmla="*/ 152 h 458"/>
                  <a:gd name="T62" fmla="*/ 0 w 580"/>
                  <a:gd name="T63" fmla="*/ 439 h 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80" h="458">
                    <a:moveTo>
                      <a:pt x="411" y="213"/>
                    </a:moveTo>
                    <a:cubicBezTo>
                      <a:pt x="570" y="37"/>
                      <a:pt x="570" y="37"/>
                      <a:pt x="570" y="37"/>
                    </a:cubicBezTo>
                    <a:cubicBezTo>
                      <a:pt x="576" y="30"/>
                      <a:pt x="580" y="25"/>
                      <a:pt x="580" y="20"/>
                    </a:cubicBezTo>
                    <a:cubicBezTo>
                      <a:pt x="580" y="10"/>
                      <a:pt x="559" y="0"/>
                      <a:pt x="545" y="0"/>
                    </a:cubicBezTo>
                    <a:cubicBezTo>
                      <a:pt x="535" y="0"/>
                      <a:pt x="526" y="8"/>
                      <a:pt x="519" y="16"/>
                    </a:cubicBezTo>
                    <a:cubicBezTo>
                      <a:pt x="344" y="210"/>
                      <a:pt x="344" y="210"/>
                      <a:pt x="344" y="210"/>
                    </a:cubicBezTo>
                    <a:cubicBezTo>
                      <a:pt x="336" y="219"/>
                      <a:pt x="334" y="224"/>
                      <a:pt x="334" y="229"/>
                    </a:cubicBezTo>
                    <a:cubicBezTo>
                      <a:pt x="334" y="234"/>
                      <a:pt x="336" y="239"/>
                      <a:pt x="344" y="248"/>
                    </a:cubicBezTo>
                    <a:cubicBezTo>
                      <a:pt x="519" y="442"/>
                      <a:pt x="519" y="442"/>
                      <a:pt x="519" y="442"/>
                    </a:cubicBezTo>
                    <a:cubicBezTo>
                      <a:pt x="526" y="450"/>
                      <a:pt x="535" y="458"/>
                      <a:pt x="545" y="458"/>
                    </a:cubicBezTo>
                    <a:cubicBezTo>
                      <a:pt x="559" y="458"/>
                      <a:pt x="580" y="448"/>
                      <a:pt x="580" y="438"/>
                    </a:cubicBezTo>
                    <a:cubicBezTo>
                      <a:pt x="580" y="433"/>
                      <a:pt x="576" y="428"/>
                      <a:pt x="570" y="421"/>
                    </a:cubicBezTo>
                    <a:cubicBezTo>
                      <a:pt x="411" y="245"/>
                      <a:pt x="411" y="245"/>
                      <a:pt x="411" y="245"/>
                    </a:cubicBezTo>
                    <a:cubicBezTo>
                      <a:pt x="403" y="236"/>
                      <a:pt x="399" y="232"/>
                      <a:pt x="399" y="229"/>
                    </a:cubicBezTo>
                    <a:cubicBezTo>
                      <a:pt x="399" y="226"/>
                      <a:pt x="403" y="222"/>
                      <a:pt x="411" y="213"/>
                    </a:cubicBezTo>
                    <a:moveTo>
                      <a:pt x="252" y="439"/>
                    </a:moveTo>
                    <a:cubicBezTo>
                      <a:pt x="252" y="449"/>
                      <a:pt x="261" y="454"/>
                      <a:pt x="281" y="454"/>
                    </a:cubicBezTo>
                    <a:cubicBezTo>
                      <a:pt x="300" y="454"/>
                      <a:pt x="309" y="449"/>
                      <a:pt x="309" y="439"/>
                    </a:cubicBezTo>
                    <a:cubicBezTo>
                      <a:pt x="309" y="19"/>
                      <a:pt x="309" y="19"/>
                      <a:pt x="309" y="19"/>
                    </a:cubicBezTo>
                    <a:cubicBezTo>
                      <a:pt x="309" y="9"/>
                      <a:pt x="300" y="4"/>
                      <a:pt x="281" y="4"/>
                    </a:cubicBezTo>
                    <a:cubicBezTo>
                      <a:pt x="261" y="4"/>
                      <a:pt x="252" y="9"/>
                      <a:pt x="252" y="19"/>
                    </a:cubicBezTo>
                    <a:lnTo>
                      <a:pt x="252" y="439"/>
                    </a:lnTo>
                    <a:close/>
                    <a:moveTo>
                      <a:pt x="0" y="439"/>
                    </a:moveTo>
                    <a:cubicBezTo>
                      <a:pt x="0" y="449"/>
                      <a:pt x="8" y="454"/>
                      <a:pt x="28" y="454"/>
                    </a:cubicBezTo>
                    <a:cubicBezTo>
                      <a:pt x="48" y="454"/>
                      <a:pt x="56" y="449"/>
                      <a:pt x="56" y="439"/>
                    </a:cubicBezTo>
                    <a:cubicBezTo>
                      <a:pt x="56" y="157"/>
                      <a:pt x="56" y="157"/>
                      <a:pt x="56" y="157"/>
                    </a:cubicBezTo>
                    <a:cubicBezTo>
                      <a:pt x="56" y="83"/>
                      <a:pt x="85" y="53"/>
                      <a:pt x="165" y="53"/>
                    </a:cubicBezTo>
                    <a:cubicBezTo>
                      <a:pt x="180" y="53"/>
                      <a:pt x="180" y="53"/>
                      <a:pt x="180" y="53"/>
                    </a:cubicBezTo>
                    <a:cubicBezTo>
                      <a:pt x="192" y="53"/>
                      <a:pt x="196" y="43"/>
                      <a:pt x="196" y="27"/>
                    </a:cubicBezTo>
                    <a:cubicBezTo>
                      <a:pt x="196" y="8"/>
                      <a:pt x="185" y="4"/>
                      <a:pt x="154" y="4"/>
                    </a:cubicBezTo>
                    <a:cubicBezTo>
                      <a:pt x="64" y="4"/>
                      <a:pt x="0" y="43"/>
                      <a:pt x="0" y="152"/>
                    </a:cubicBezTo>
                    <a:lnTo>
                      <a:pt x="0" y="43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22" name="Freeform 7">
                <a:extLst>
                  <a:ext uri="{FF2B5EF4-FFF2-40B4-BE49-F238E27FC236}">
                    <a16:creationId xmlns:a16="http://schemas.microsoft.com/office/drawing/2014/main" id="{2F32DCBD-8628-F245-85CD-97686A20ECFD}"/>
                  </a:ext>
                </a:extLst>
              </p:cNvPr>
              <p:cNvSpPr>
                <a:spLocks/>
              </p:cNvSpPr>
              <p:nvPr/>
            </p:nvSpPr>
            <p:spPr bwMode="gray">
              <a:xfrm>
                <a:off x="2880" y="1704"/>
                <a:ext cx="618" cy="916"/>
              </a:xfrm>
              <a:custGeom>
                <a:avLst/>
                <a:gdLst>
                  <a:gd name="T0" fmla="*/ 307 w 307"/>
                  <a:gd name="T1" fmla="*/ 405 h 455"/>
                  <a:gd name="T2" fmla="*/ 307 w 307"/>
                  <a:gd name="T3" fmla="*/ 244 h 455"/>
                  <a:gd name="T4" fmla="*/ 279 w 307"/>
                  <a:gd name="T5" fmla="*/ 229 h 455"/>
                  <a:gd name="T6" fmla="*/ 250 w 307"/>
                  <a:gd name="T7" fmla="*/ 244 h 455"/>
                  <a:gd name="T8" fmla="*/ 250 w 307"/>
                  <a:gd name="T9" fmla="*/ 378 h 455"/>
                  <a:gd name="T10" fmla="*/ 199 w 307"/>
                  <a:gd name="T11" fmla="*/ 408 h 455"/>
                  <a:gd name="T12" fmla="*/ 61 w 307"/>
                  <a:gd name="T13" fmla="*/ 231 h 455"/>
                  <a:gd name="T14" fmla="*/ 238 w 307"/>
                  <a:gd name="T15" fmla="*/ 49 h 455"/>
                  <a:gd name="T16" fmla="*/ 270 w 307"/>
                  <a:gd name="T17" fmla="*/ 49 h 455"/>
                  <a:gd name="T18" fmla="*/ 286 w 307"/>
                  <a:gd name="T19" fmla="*/ 23 h 455"/>
                  <a:gd name="T20" fmla="*/ 244 w 307"/>
                  <a:gd name="T21" fmla="*/ 0 h 455"/>
                  <a:gd name="T22" fmla="*/ 231 w 307"/>
                  <a:gd name="T23" fmla="*/ 0 h 455"/>
                  <a:gd name="T24" fmla="*/ 0 w 307"/>
                  <a:gd name="T25" fmla="*/ 232 h 455"/>
                  <a:gd name="T26" fmla="*/ 198 w 307"/>
                  <a:gd name="T27" fmla="*/ 455 h 455"/>
                  <a:gd name="T28" fmla="*/ 307 w 307"/>
                  <a:gd name="T29" fmla="*/ 405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7" h="455">
                    <a:moveTo>
                      <a:pt x="307" y="405"/>
                    </a:moveTo>
                    <a:cubicBezTo>
                      <a:pt x="307" y="244"/>
                      <a:pt x="307" y="244"/>
                      <a:pt x="307" y="244"/>
                    </a:cubicBezTo>
                    <a:cubicBezTo>
                      <a:pt x="307" y="234"/>
                      <a:pt x="298" y="229"/>
                      <a:pt x="279" y="229"/>
                    </a:cubicBezTo>
                    <a:cubicBezTo>
                      <a:pt x="259" y="229"/>
                      <a:pt x="250" y="234"/>
                      <a:pt x="250" y="244"/>
                    </a:cubicBezTo>
                    <a:cubicBezTo>
                      <a:pt x="250" y="378"/>
                      <a:pt x="250" y="378"/>
                      <a:pt x="250" y="378"/>
                    </a:cubicBezTo>
                    <a:cubicBezTo>
                      <a:pt x="250" y="399"/>
                      <a:pt x="241" y="408"/>
                      <a:pt x="199" y="408"/>
                    </a:cubicBezTo>
                    <a:cubicBezTo>
                      <a:pt x="114" y="408"/>
                      <a:pt x="61" y="342"/>
                      <a:pt x="61" y="231"/>
                    </a:cubicBezTo>
                    <a:cubicBezTo>
                      <a:pt x="61" y="115"/>
                      <a:pt x="126" y="49"/>
                      <a:pt x="238" y="49"/>
                    </a:cubicBezTo>
                    <a:cubicBezTo>
                      <a:pt x="270" y="49"/>
                      <a:pt x="270" y="49"/>
                      <a:pt x="270" y="49"/>
                    </a:cubicBezTo>
                    <a:cubicBezTo>
                      <a:pt x="282" y="49"/>
                      <a:pt x="286" y="39"/>
                      <a:pt x="286" y="23"/>
                    </a:cubicBezTo>
                    <a:cubicBezTo>
                      <a:pt x="286" y="4"/>
                      <a:pt x="275" y="0"/>
                      <a:pt x="244" y="0"/>
                    </a:cubicBezTo>
                    <a:cubicBezTo>
                      <a:pt x="231" y="0"/>
                      <a:pt x="231" y="0"/>
                      <a:pt x="231" y="0"/>
                    </a:cubicBezTo>
                    <a:cubicBezTo>
                      <a:pt x="101" y="0"/>
                      <a:pt x="0" y="71"/>
                      <a:pt x="0" y="232"/>
                    </a:cubicBezTo>
                    <a:cubicBezTo>
                      <a:pt x="0" y="386"/>
                      <a:pt x="88" y="455"/>
                      <a:pt x="198" y="455"/>
                    </a:cubicBezTo>
                    <a:cubicBezTo>
                      <a:pt x="286" y="455"/>
                      <a:pt x="307" y="430"/>
                      <a:pt x="307" y="40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23" name="Oval 8">
                <a:extLst>
                  <a:ext uri="{FF2B5EF4-FFF2-40B4-BE49-F238E27FC236}">
                    <a16:creationId xmlns:a16="http://schemas.microsoft.com/office/drawing/2014/main" id="{60D97C11-1A3B-5449-A48D-98A3E79B3810}"/>
                  </a:ext>
                </a:extLst>
              </p:cNvPr>
              <p:cNvSpPr>
                <a:spLocks noChangeArrowheads="1"/>
              </p:cNvSpPr>
              <p:nvPr/>
            </p:nvSpPr>
            <p:spPr bwMode="gray">
              <a:xfrm>
                <a:off x="3778" y="2099"/>
                <a:ext cx="122" cy="12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24" name="Freeform 9">
                <a:extLst>
                  <a:ext uri="{FF2B5EF4-FFF2-40B4-BE49-F238E27FC236}">
                    <a16:creationId xmlns:a16="http://schemas.microsoft.com/office/drawing/2014/main" id="{5856770D-B8F0-244E-A05D-AED190086F10}"/>
                  </a:ext>
                </a:extLst>
              </p:cNvPr>
              <p:cNvSpPr>
                <a:spLocks noEditPoints="1"/>
              </p:cNvSpPr>
              <p:nvPr/>
            </p:nvSpPr>
            <p:spPr bwMode="gray">
              <a:xfrm>
                <a:off x="3623" y="1696"/>
                <a:ext cx="1167" cy="922"/>
              </a:xfrm>
              <a:custGeom>
                <a:avLst/>
                <a:gdLst>
                  <a:gd name="T0" fmla="*/ 411 w 580"/>
                  <a:gd name="T1" fmla="*/ 213 h 458"/>
                  <a:gd name="T2" fmla="*/ 570 w 580"/>
                  <a:gd name="T3" fmla="*/ 37 h 458"/>
                  <a:gd name="T4" fmla="*/ 580 w 580"/>
                  <a:gd name="T5" fmla="*/ 20 h 458"/>
                  <a:gd name="T6" fmla="*/ 545 w 580"/>
                  <a:gd name="T7" fmla="*/ 0 h 458"/>
                  <a:gd name="T8" fmla="*/ 519 w 580"/>
                  <a:gd name="T9" fmla="*/ 16 h 458"/>
                  <a:gd name="T10" fmla="*/ 344 w 580"/>
                  <a:gd name="T11" fmla="*/ 210 h 458"/>
                  <a:gd name="T12" fmla="*/ 334 w 580"/>
                  <a:gd name="T13" fmla="*/ 229 h 458"/>
                  <a:gd name="T14" fmla="*/ 344 w 580"/>
                  <a:gd name="T15" fmla="*/ 248 h 458"/>
                  <a:gd name="T16" fmla="*/ 519 w 580"/>
                  <a:gd name="T17" fmla="*/ 442 h 458"/>
                  <a:gd name="T18" fmla="*/ 545 w 580"/>
                  <a:gd name="T19" fmla="*/ 458 h 458"/>
                  <a:gd name="T20" fmla="*/ 580 w 580"/>
                  <a:gd name="T21" fmla="*/ 438 h 458"/>
                  <a:gd name="T22" fmla="*/ 570 w 580"/>
                  <a:gd name="T23" fmla="*/ 421 h 458"/>
                  <a:gd name="T24" fmla="*/ 411 w 580"/>
                  <a:gd name="T25" fmla="*/ 245 h 458"/>
                  <a:gd name="T26" fmla="*/ 399 w 580"/>
                  <a:gd name="T27" fmla="*/ 229 h 458"/>
                  <a:gd name="T28" fmla="*/ 411 w 580"/>
                  <a:gd name="T29" fmla="*/ 213 h 458"/>
                  <a:gd name="T30" fmla="*/ 252 w 580"/>
                  <a:gd name="T31" fmla="*/ 439 h 458"/>
                  <a:gd name="T32" fmla="*/ 281 w 580"/>
                  <a:gd name="T33" fmla="*/ 454 h 458"/>
                  <a:gd name="T34" fmla="*/ 309 w 580"/>
                  <a:gd name="T35" fmla="*/ 439 h 458"/>
                  <a:gd name="T36" fmla="*/ 309 w 580"/>
                  <a:gd name="T37" fmla="*/ 19 h 458"/>
                  <a:gd name="T38" fmla="*/ 281 w 580"/>
                  <a:gd name="T39" fmla="*/ 4 h 458"/>
                  <a:gd name="T40" fmla="*/ 252 w 580"/>
                  <a:gd name="T41" fmla="*/ 19 h 458"/>
                  <a:gd name="T42" fmla="*/ 252 w 580"/>
                  <a:gd name="T43" fmla="*/ 439 h 458"/>
                  <a:gd name="T44" fmla="*/ 0 w 580"/>
                  <a:gd name="T45" fmla="*/ 439 h 458"/>
                  <a:gd name="T46" fmla="*/ 28 w 580"/>
                  <a:gd name="T47" fmla="*/ 454 h 458"/>
                  <a:gd name="T48" fmla="*/ 56 w 580"/>
                  <a:gd name="T49" fmla="*/ 439 h 458"/>
                  <a:gd name="T50" fmla="*/ 56 w 580"/>
                  <a:gd name="T51" fmla="*/ 157 h 458"/>
                  <a:gd name="T52" fmla="*/ 165 w 580"/>
                  <a:gd name="T53" fmla="*/ 53 h 458"/>
                  <a:gd name="T54" fmla="*/ 180 w 580"/>
                  <a:gd name="T55" fmla="*/ 53 h 458"/>
                  <a:gd name="T56" fmla="*/ 196 w 580"/>
                  <a:gd name="T57" fmla="*/ 27 h 458"/>
                  <a:gd name="T58" fmla="*/ 154 w 580"/>
                  <a:gd name="T59" fmla="*/ 4 h 458"/>
                  <a:gd name="T60" fmla="*/ 0 w 580"/>
                  <a:gd name="T61" fmla="*/ 152 h 458"/>
                  <a:gd name="T62" fmla="*/ 0 w 580"/>
                  <a:gd name="T63" fmla="*/ 439 h 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80" h="458">
                    <a:moveTo>
                      <a:pt x="411" y="213"/>
                    </a:moveTo>
                    <a:cubicBezTo>
                      <a:pt x="570" y="37"/>
                      <a:pt x="570" y="37"/>
                      <a:pt x="570" y="37"/>
                    </a:cubicBezTo>
                    <a:cubicBezTo>
                      <a:pt x="576" y="30"/>
                      <a:pt x="580" y="25"/>
                      <a:pt x="580" y="20"/>
                    </a:cubicBezTo>
                    <a:cubicBezTo>
                      <a:pt x="580" y="10"/>
                      <a:pt x="559" y="0"/>
                      <a:pt x="545" y="0"/>
                    </a:cubicBezTo>
                    <a:cubicBezTo>
                      <a:pt x="535" y="0"/>
                      <a:pt x="526" y="8"/>
                      <a:pt x="519" y="16"/>
                    </a:cubicBezTo>
                    <a:cubicBezTo>
                      <a:pt x="344" y="210"/>
                      <a:pt x="344" y="210"/>
                      <a:pt x="344" y="210"/>
                    </a:cubicBezTo>
                    <a:cubicBezTo>
                      <a:pt x="336" y="219"/>
                      <a:pt x="334" y="224"/>
                      <a:pt x="334" y="229"/>
                    </a:cubicBezTo>
                    <a:cubicBezTo>
                      <a:pt x="334" y="234"/>
                      <a:pt x="336" y="239"/>
                      <a:pt x="344" y="248"/>
                    </a:cubicBezTo>
                    <a:cubicBezTo>
                      <a:pt x="519" y="442"/>
                      <a:pt x="519" y="442"/>
                      <a:pt x="519" y="442"/>
                    </a:cubicBezTo>
                    <a:cubicBezTo>
                      <a:pt x="526" y="450"/>
                      <a:pt x="535" y="458"/>
                      <a:pt x="545" y="458"/>
                    </a:cubicBezTo>
                    <a:cubicBezTo>
                      <a:pt x="559" y="458"/>
                      <a:pt x="580" y="448"/>
                      <a:pt x="580" y="438"/>
                    </a:cubicBezTo>
                    <a:cubicBezTo>
                      <a:pt x="580" y="433"/>
                      <a:pt x="576" y="428"/>
                      <a:pt x="570" y="421"/>
                    </a:cubicBezTo>
                    <a:cubicBezTo>
                      <a:pt x="411" y="245"/>
                      <a:pt x="411" y="245"/>
                      <a:pt x="411" y="245"/>
                    </a:cubicBezTo>
                    <a:cubicBezTo>
                      <a:pt x="403" y="236"/>
                      <a:pt x="399" y="232"/>
                      <a:pt x="399" y="229"/>
                    </a:cubicBezTo>
                    <a:cubicBezTo>
                      <a:pt x="399" y="226"/>
                      <a:pt x="403" y="222"/>
                      <a:pt x="411" y="213"/>
                    </a:cubicBezTo>
                    <a:moveTo>
                      <a:pt x="252" y="439"/>
                    </a:moveTo>
                    <a:cubicBezTo>
                      <a:pt x="252" y="449"/>
                      <a:pt x="261" y="454"/>
                      <a:pt x="281" y="454"/>
                    </a:cubicBezTo>
                    <a:cubicBezTo>
                      <a:pt x="300" y="454"/>
                      <a:pt x="309" y="449"/>
                      <a:pt x="309" y="439"/>
                    </a:cubicBezTo>
                    <a:cubicBezTo>
                      <a:pt x="309" y="19"/>
                      <a:pt x="309" y="19"/>
                      <a:pt x="309" y="19"/>
                    </a:cubicBezTo>
                    <a:cubicBezTo>
                      <a:pt x="309" y="9"/>
                      <a:pt x="300" y="4"/>
                      <a:pt x="281" y="4"/>
                    </a:cubicBezTo>
                    <a:cubicBezTo>
                      <a:pt x="261" y="4"/>
                      <a:pt x="252" y="9"/>
                      <a:pt x="252" y="19"/>
                    </a:cubicBezTo>
                    <a:lnTo>
                      <a:pt x="252" y="439"/>
                    </a:lnTo>
                    <a:close/>
                    <a:moveTo>
                      <a:pt x="0" y="439"/>
                    </a:moveTo>
                    <a:cubicBezTo>
                      <a:pt x="0" y="449"/>
                      <a:pt x="8" y="454"/>
                      <a:pt x="28" y="454"/>
                    </a:cubicBezTo>
                    <a:cubicBezTo>
                      <a:pt x="48" y="454"/>
                      <a:pt x="56" y="449"/>
                      <a:pt x="56" y="439"/>
                    </a:cubicBezTo>
                    <a:cubicBezTo>
                      <a:pt x="56" y="157"/>
                      <a:pt x="56" y="157"/>
                      <a:pt x="56" y="157"/>
                    </a:cubicBezTo>
                    <a:cubicBezTo>
                      <a:pt x="56" y="83"/>
                      <a:pt x="85" y="53"/>
                      <a:pt x="165" y="53"/>
                    </a:cubicBezTo>
                    <a:cubicBezTo>
                      <a:pt x="180" y="53"/>
                      <a:pt x="180" y="53"/>
                      <a:pt x="180" y="53"/>
                    </a:cubicBezTo>
                    <a:cubicBezTo>
                      <a:pt x="192" y="53"/>
                      <a:pt x="196" y="43"/>
                      <a:pt x="196" y="27"/>
                    </a:cubicBezTo>
                    <a:cubicBezTo>
                      <a:pt x="196" y="8"/>
                      <a:pt x="185" y="4"/>
                      <a:pt x="154" y="4"/>
                    </a:cubicBezTo>
                    <a:cubicBezTo>
                      <a:pt x="64" y="4"/>
                      <a:pt x="0" y="43"/>
                      <a:pt x="0" y="152"/>
                    </a:cubicBezTo>
                    <a:lnTo>
                      <a:pt x="0" y="43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25" name="Freeform 10">
                <a:extLst>
                  <a:ext uri="{FF2B5EF4-FFF2-40B4-BE49-F238E27FC236}">
                    <a16:creationId xmlns:a16="http://schemas.microsoft.com/office/drawing/2014/main" id="{2B91B16B-BC11-E547-8FAC-B9B8D18EA449}"/>
                  </a:ext>
                </a:extLst>
              </p:cNvPr>
              <p:cNvSpPr>
                <a:spLocks/>
              </p:cNvSpPr>
              <p:nvPr/>
            </p:nvSpPr>
            <p:spPr bwMode="gray">
              <a:xfrm>
                <a:off x="2880" y="1704"/>
                <a:ext cx="618" cy="916"/>
              </a:xfrm>
              <a:custGeom>
                <a:avLst/>
                <a:gdLst>
                  <a:gd name="T0" fmla="*/ 307 w 307"/>
                  <a:gd name="T1" fmla="*/ 405 h 455"/>
                  <a:gd name="T2" fmla="*/ 307 w 307"/>
                  <a:gd name="T3" fmla="*/ 244 h 455"/>
                  <a:gd name="T4" fmla="*/ 279 w 307"/>
                  <a:gd name="T5" fmla="*/ 229 h 455"/>
                  <a:gd name="T6" fmla="*/ 250 w 307"/>
                  <a:gd name="T7" fmla="*/ 244 h 455"/>
                  <a:gd name="T8" fmla="*/ 250 w 307"/>
                  <a:gd name="T9" fmla="*/ 378 h 455"/>
                  <a:gd name="T10" fmla="*/ 199 w 307"/>
                  <a:gd name="T11" fmla="*/ 408 h 455"/>
                  <a:gd name="T12" fmla="*/ 61 w 307"/>
                  <a:gd name="T13" fmla="*/ 231 h 455"/>
                  <a:gd name="T14" fmla="*/ 238 w 307"/>
                  <a:gd name="T15" fmla="*/ 49 h 455"/>
                  <a:gd name="T16" fmla="*/ 270 w 307"/>
                  <a:gd name="T17" fmla="*/ 49 h 455"/>
                  <a:gd name="T18" fmla="*/ 286 w 307"/>
                  <a:gd name="T19" fmla="*/ 23 h 455"/>
                  <a:gd name="T20" fmla="*/ 244 w 307"/>
                  <a:gd name="T21" fmla="*/ 0 h 455"/>
                  <a:gd name="T22" fmla="*/ 231 w 307"/>
                  <a:gd name="T23" fmla="*/ 0 h 455"/>
                  <a:gd name="T24" fmla="*/ 0 w 307"/>
                  <a:gd name="T25" fmla="*/ 232 h 455"/>
                  <a:gd name="T26" fmla="*/ 198 w 307"/>
                  <a:gd name="T27" fmla="*/ 455 h 455"/>
                  <a:gd name="T28" fmla="*/ 307 w 307"/>
                  <a:gd name="T29" fmla="*/ 405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7" h="455">
                    <a:moveTo>
                      <a:pt x="307" y="405"/>
                    </a:moveTo>
                    <a:cubicBezTo>
                      <a:pt x="307" y="244"/>
                      <a:pt x="307" y="244"/>
                      <a:pt x="307" y="244"/>
                    </a:cubicBezTo>
                    <a:cubicBezTo>
                      <a:pt x="307" y="234"/>
                      <a:pt x="298" y="229"/>
                      <a:pt x="279" y="229"/>
                    </a:cubicBezTo>
                    <a:cubicBezTo>
                      <a:pt x="259" y="229"/>
                      <a:pt x="250" y="234"/>
                      <a:pt x="250" y="244"/>
                    </a:cubicBezTo>
                    <a:cubicBezTo>
                      <a:pt x="250" y="378"/>
                      <a:pt x="250" y="378"/>
                      <a:pt x="250" y="378"/>
                    </a:cubicBezTo>
                    <a:cubicBezTo>
                      <a:pt x="250" y="399"/>
                      <a:pt x="241" y="408"/>
                      <a:pt x="199" y="408"/>
                    </a:cubicBezTo>
                    <a:cubicBezTo>
                      <a:pt x="114" y="408"/>
                      <a:pt x="61" y="342"/>
                      <a:pt x="61" y="231"/>
                    </a:cubicBezTo>
                    <a:cubicBezTo>
                      <a:pt x="61" y="115"/>
                      <a:pt x="126" y="49"/>
                      <a:pt x="238" y="49"/>
                    </a:cubicBezTo>
                    <a:cubicBezTo>
                      <a:pt x="270" y="49"/>
                      <a:pt x="270" y="49"/>
                      <a:pt x="270" y="49"/>
                    </a:cubicBezTo>
                    <a:cubicBezTo>
                      <a:pt x="282" y="49"/>
                      <a:pt x="286" y="39"/>
                      <a:pt x="286" y="23"/>
                    </a:cubicBezTo>
                    <a:cubicBezTo>
                      <a:pt x="286" y="4"/>
                      <a:pt x="275" y="0"/>
                      <a:pt x="244" y="0"/>
                    </a:cubicBezTo>
                    <a:cubicBezTo>
                      <a:pt x="231" y="0"/>
                      <a:pt x="231" y="0"/>
                      <a:pt x="231" y="0"/>
                    </a:cubicBezTo>
                    <a:cubicBezTo>
                      <a:pt x="101" y="0"/>
                      <a:pt x="0" y="71"/>
                      <a:pt x="0" y="232"/>
                    </a:cubicBezTo>
                    <a:cubicBezTo>
                      <a:pt x="0" y="386"/>
                      <a:pt x="88" y="455"/>
                      <a:pt x="198" y="455"/>
                    </a:cubicBezTo>
                    <a:cubicBezTo>
                      <a:pt x="286" y="455"/>
                      <a:pt x="307" y="430"/>
                      <a:pt x="307" y="40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26" name="Oval 11">
                <a:extLst>
                  <a:ext uri="{FF2B5EF4-FFF2-40B4-BE49-F238E27FC236}">
                    <a16:creationId xmlns:a16="http://schemas.microsoft.com/office/drawing/2014/main" id="{14F8C3C8-4888-7646-B9B4-64EB46A1DA23}"/>
                  </a:ext>
                </a:extLst>
              </p:cNvPr>
              <p:cNvSpPr>
                <a:spLocks noChangeArrowheads="1"/>
              </p:cNvSpPr>
              <p:nvPr/>
            </p:nvSpPr>
            <p:spPr bwMode="gray">
              <a:xfrm>
                <a:off x="3778" y="2099"/>
                <a:ext cx="122" cy="12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27" name="Freeform 12">
                <a:extLst>
                  <a:ext uri="{FF2B5EF4-FFF2-40B4-BE49-F238E27FC236}">
                    <a16:creationId xmlns:a16="http://schemas.microsoft.com/office/drawing/2014/main" id="{D79D01D1-4E3E-F34B-97D7-2D387E68746E}"/>
                  </a:ext>
                </a:extLst>
              </p:cNvPr>
              <p:cNvSpPr>
                <a:spLocks/>
              </p:cNvSpPr>
              <p:nvPr/>
            </p:nvSpPr>
            <p:spPr bwMode="gray">
              <a:xfrm>
                <a:off x="4321" y="1029"/>
                <a:ext cx="648" cy="649"/>
              </a:xfrm>
              <a:custGeom>
                <a:avLst/>
                <a:gdLst>
                  <a:gd name="T0" fmla="*/ 0 w 648"/>
                  <a:gd name="T1" fmla="*/ 649 h 649"/>
                  <a:gd name="T2" fmla="*/ 2 w 648"/>
                  <a:gd name="T3" fmla="*/ 649 h 649"/>
                  <a:gd name="T4" fmla="*/ 648 w 648"/>
                  <a:gd name="T5" fmla="*/ 0 h 649"/>
                  <a:gd name="T6" fmla="*/ 423 w 648"/>
                  <a:gd name="T7" fmla="*/ 0 h 649"/>
                  <a:gd name="T8" fmla="*/ 0 w 648"/>
                  <a:gd name="T9" fmla="*/ 649 h 649"/>
                </a:gdLst>
                <a:ahLst/>
                <a:cxnLst>
                  <a:cxn ang="0">
                    <a:pos x="T0" y="T1"/>
                  </a:cxn>
                  <a:cxn ang="0">
                    <a:pos x="T2" y="T3"/>
                  </a:cxn>
                  <a:cxn ang="0">
                    <a:pos x="T4" y="T5"/>
                  </a:cxn>
                  <a:cxn ang="0">
                    <a:pos x="T6" y="T7"/>
                  </a:cxn>
                  <a:cxn ang="0">
                    <a:pos x="T8" y="T9"/>
                  </a:cxn>
                </a:cxnLst>
                <a:rect l="0" t="0" r="r" b="b"/>
                <a:pathLst>
                  <a:path w="648" h="649">
                    <a:moveTo>
                      <a:pt x="0" y="649"/>
                    </a:moveTo>
                    <a:lnTo>
                      <a:pt x="2" y="649"/>
                    </a:lnTo>
                    <a:lnTo>
                      <a:pt x="648" y="0"/>
                    </a:lnTo>
                    <a:lnTo>
                      <a:pt x="423" y="0"/>
                    </a:lnTo>
                    <a:lnTo>
                      <a:pt x="0" y="64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28" name="Freeform 13">
                <a:extLst>
                  <a:ext uri="{FF2B5EF4-FFF2-40B4-BE49-F238E27FC236}">
                    <a16:creationId xmlns:a16="http://schemas.microsoft.com/office/drawing/2014/main" id="{46549898-6C52-B147-A8F6-A73FDBE6163B}"/>
                  </a:ext>
                </a:extLst>
              </p:cNvPr>
              <p:cNvSpPr>
                <a:spLocks/>
              </p:cNvSpPr>
              <p:nvPr/>
            </p:nvSpPr>
            <p:spPr bwMode="gray">
              <a:xfrm>
                <a:off x="4321" y="1029"/>
                <a:ext cx="648" cy="649"/>
              </a:xfrm>
              <a:custGeom>
                <a:avLst/>
                <a:gdLst>
                  <a:gd name="T0" fmla="*/ 0 w 648"/>
                  <a:gd name="T1" fmla="*/ 649 h 649"/>
                  <a:gd name="T2" fmla="*/ 2 w 648"/>
                  <a:gd name="T3" fmla="*/ 649 h 649"/>
                  <a:gd name="T4" fmla="*/ 648 w 648"/>
                  <a:gd name="T5" fmla="*/ 0 h 649"/>
                  <a:gd name="T6" fmla="*/ 423 w 648"/>
                  <a:gd name="T7" fmla="*/ 0 h 649"/>
                  <a:gd name="T8" fmla="*/ 0 w 648"/>
                  <a:gd name="T9" fmla="*/ 649 h 649"/>
                </a:gdLst>
                <a:ahLst/>
                <a:cxnLst>
                  <a:cxn ang="0">
                    <a:pos x="T0" y="T1"/>
                  </a:cxn>
                  <a:cxn ang="0">
                    <a:pos x="T2" y="T3"/>
                  </a:cxn>
                  <a:cxn ang="0">
                    <a:pos x="T4" y="T5"/>
                  </a:cxn>
                  <a:cxn ang="0">
                    <a:pos x="T6" y="T7"/>
                  </a:cxn>
                  <a:cxn ang="0">
                    <a:pos x="T8" y="T9"/>
                  </a:cxn>
                </a:cxnLst>
                <a:rect l="0" t="0" r="r" b="b"/>
                <a:pathLst>
                  <a:path w="648" h="649">
                    <a:moveTo>
                      <a:pt x="0" y="649"/>
                    </a:moveTo>
                    <a:lnTo>
                      <a:pt x="2" y="649"/>
                    </a:lnTo>
                    <a:lnTo>
                      <a:pt x="648" y="0"/>
                    </a:lnTo>
                    <a:lnTo>
                      <a:pt x="423" y="0"/>
                    </a:lnTo>
                    <a:lnTo>
                      <a:pt x="0" y="64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grpSp>
      </p:grpSp>
      <p:sp>
        <p:nvSpPr>
          <p:cNvPr id="7" name="Date Placeholder 6"/>
          <p:cNvSpPr>
            <a:spLocks noGrp="1"/>
          </p:cNvSpPr>
          <p:nvPr>
            <p:ph type="dt" sz="half" idx="10"/>
          </p:nvPr>
        </p:nvSpPr>
        <p:spPr>
          <a:xfrm>
            <a:off x="0" y="0"/>
            <a:ext cx="0" cy="0"/>
          </a:xfrm>
          <a:prstGeom prst="rect">
            <a:avLst/>
          </a:prstGeom>
        </p:spPr>
        <p:txBody>
          <a:bodyPr/>
          <a:lstStyle>
            <a:lvl1pPr>
              <a:defRPr sz="100">
                <a:noFill/>
              </a:defRPr>
            </a:lvl1pPr>
          </a:lstStyle>
          <a:p>
            <a:endParaRPr lang="en-US"/>
          </a:p>
        </p:txBody>
      </p:sp>
      <p:sp>
        <p:nvSpPr>
          <p:cNvPr id="8" name="Footer Placeholder 7"/>
          <p:cNvSpPr>
            <a:spLocks noGrp="1"/>
          </p:cNvSpPr>
          <p:nvPr>
            <p:ph type="ftr" sz="quarter" idx="11"/>
          </p:nvPr>
        </p:nvSpPr>
        <p:spPr>
          <a:xfrm>
            <a:off x="0" y="0"/>
            <a:ext cx="0" cy="0"/>
          </a:xfrm>
          <a:prstGeom prst="rect">
            <a:avLst/>
          </a:prstGeom>
        </p:spPr>
        <p:txBody>
          <a:bodyPr/>
          <a:lstStyle>
            <a:lvl1pPr marL="0" indent="0">
              <a:buNone/>
              <a:defRPr sz="100">
                <a:noFill/>
              </a:defRPr>
            </a:lvl1pPr>
          </a:lstStyle>
          <a:p>
            <a:endParaRPr lang="en-US"/>
          </a:p>
        </p:txBody>
      </p:sp>
      <p:sp>
        <p:nvSpPr>
          <p:cNvPr id="9" name="Slide Number Placeholder 8"/>
          <p:cNvSpPr>
            <a:spLocks noGrp="1"/>
          </p:cNvSpPr>
          <p:nvPr>
            <p:ph type="sldNum" sz="quarter" idx="12"/>
          </p:nvPr>
        </p:nvSpPr>
        <p:spPr>
          <a:xfrm>
            <a:off x="0" y="0"/>
            <a:ext cx="0" cy="0"/>
          </a:xfrm>
          <a:prstGeom prst="rect">
            <a:avLst/>
          </a:prstGeom>
        </p:spPr>
        <p:txBody>
          <a:bodyPr/>
          <a:lstStyle>
            <a:lvl1pPr>
              <a:defRPr sz="100">
                <a:noFill/>
              </a:defRPr>
            </a:lvl1pPr>
          </a:lstStyle>
          <a:p>
            <a:fld id="{8E3B25F7-8D1F-44B5-B485-EE3C438CFD7B}" type="slidenum">
              <a:rPr lang="en-US" smtClean="0"/>
              <a:pPr/>
              <a:t>‹#›</a:t>
            </a:fld>
            <a:endParaRPr lang="en-US"/>
          </a:p>
        </p:txBody>
      </p:sp>
      <p:sp>
        <p:nvSpPr>
          <p:cNvPr id="2" name="Title 1"/>
          <p:cNvSpPr>
            <a:spLocks noGrp="1"/>
          </p:cNvSpPr>
          <p:nvPr>
            <p:ph type="ctrTitle" hasCustomPrompt="1"/>
          </p:nvPr>
        </p:nvSpPr>
        <p:spPr>
          <a:xfrm>
            <a:off x="417600" y="1628775"/>
            <a:ext cx="3816000" cy="2236264"/>
          </a:xfrm>
        </p:spPr>
        <p:txBody>
          <a:bodyPr anchor="b"/>
          <a:lstStyle>
            <a:lvl1pPr algn="l">
              <a:defRPr sz="3600"/>
            </a:lvl1pPr>
          </a:lstStyle>
          <a:p>
            <a:r>
              <a:rPr lang="en-US"/>
              <a:t>Click to add presentation title</a:t>
            </a:r>
          </a:p>
        </p:txBody>
      </p:sp>
      <p:sp>
        <p:nvSpPr>
          <p:cNvPr id="3" name="Subtitle 2"/>
          <p:cNvSpPr>
            <a:spLocks noGrp="1"/>
          </p:cNvSpPr>
          <p:nvPr>
            <p:ph type="subTitle" idx="1" hasCustomPrompt="1"/>
          </p:nvPr>
        </p:nvSpPr>
        <p:spPr>
          <a:xfrm>
            <a:off x="417600" y="4094163"/>
            <a:ext cx="3816000" cy="1080000"/>
          </a:xfrm>
        </p:spPr>
        <p:txBody>
          <a:bodyPr/>
          <a:lstStyle>
            <a:lvl1pPr marL="0" indent="0" algn="l">
              <a:spcBef>
                <a:spcPts val="0"/>
              </a:spcBef>
              <a:buNone/>
              <a:defRPr sz="1800" b="1"/>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sp>
        <p:nvSpPr>
          <p:cNvPr id="31" name="Text Placeholder 30"/>
          <p:cNvSpPr>
            <a:spLocks noGrp="1"/>
          </p:cNvSpPr>
          <p:nvPr>
            <p:ph type="body" sz="quarter" idx="14" hasCustomPrompt="1"/>
          </p:nvPr>
        </p:nvSpPr>
        <p:spPr>
          <a:xfrm>
            <a:off x="417600" y="5393268"/>
            <a:ext cx="3816000" cy="296332"/>
          </a:xfrm>
        </p:spPr>
        <p:txBody>
          <a:bodyPr wrap="none"/>
          <a:lstStyle>
            <a:lvl1pPr marL="0" indent="0">
              <a:spcBef>
                <a:spcPts val="0"/>
              </a:spcBef>
              <a:buNone/>
              <a:defRPr sz="1200"/>
            </a:lvl1pPr>
            <a:lvl2pPr marL="0" indent="0">
              <a:buNone/>
              <a:defRPr sz="1200"/>
            </a:lvl2pPr>
            <a:lvl3pPr marL="0" indent="0">
              <a:buNone/>
              <a:defRPr sz="1200"/>
            </a:lvl3pPr>
            <a:lvl4pPr marL="0">
              <a:buNone/>
              <a:defRPr sz="1200"/>
            </a:lvl4pPr>
            <a:lvl5pPr marL="0" indent="0">
              <a:buNone/>
              <a:defRPr sz="1200"/>
            </a:lvl5pPr>
          </a:lstStyle>
          <a:p>
            <a:pPr lvl="0"/>
            <a:r>
              <a:rPr lang="en-US"/>
              <a:t>Name</a:t>
            </a:r>
          </a:p>
        </p:txBody>
      </p:sp>
      <p:sp>
        <p:nvSpPr>
          <p:cNvPr id="34" name="Text Placeholder 30"/>
          <p:cNvSpPr>
            <a:spLocks noGrp="1"/>
          </p:cNvSpPr>
          <p:nvPr>
            <p:ph type="body" sz="quarter" idx="15" hasCustomPrompt="1"/>
          </p:nvPr>
        </p:nvSpPr>
        <p:spPr>
          <a:xfrm>
            <a:off x="417600" y="5691446"/>
            <a:ext cx="3816000" cy="296332"/>
          </a:xfrm>
        </p:spPr>
        <p:txBody>
          <a:bodyPr wrap="none"/>
          <a:lstStyle>
            <a:lvl1pPr marL="0" indent="0">
              <a:spcBef>
                <a:spcPts val="0"/>
              </a:spcBef>
              <a:buNone/>
              <a:defRPr sz="1200"/>
            </a:lvl1pPr>
            <a:lvl2pPr marL="0" indent="0">
              <a:buNone/>
              <a:defRPr sz="1200"/>
            </a:lvl2pPr>
            <a:lvl3pPr marL="0" indent="0">
              <a:buNone/>
              <a:defRPr sz="1200"/>
            </a:lvl3pPr>
            <a:lvl4pPr marL="0">
              <a:buNone/>
              <a:defRPr sz="1200"/>
            </a:lvl4pPr>
            <a:lvl5pPr marL="0" indent="0">
              <a:buNone/>
              <a:defRPr sz="1200"/>
            </a:lvl5pPr>
          </a:lstStyle>
          <a:p>
            <a:pPr lvl="0"/>
            <a:r>
              <a:rPr lang="en-US"/>
              <a:t>Department</a:t>
            </a:r>
          </a:p>
        </p:txBody>
      </p:sp>
    </p:spTree>
    <p:extLst>
      <p:ext uri="{BB962C8B-B14F-4D97-AF65-F5344CB8AC3E}">
        <p14:creationId xmlns:p14="http://schemas.microsoft.com/office/powerpoint/2010/main" val="1430748548"/>
      </p:ext>
    </p:extLst>
  </p:cSld>
  <p:clrMapOvr>
    <a:masterClrMapping/>
  </p:clrMapOvr>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p:cSld name="Divider 1">
    <p:spTree>
      <p:nvGrpSpPr>
        <p:cNvPr id="1" name=""/>
        <p:cNvGrpSpPr/>
        <p:nvPr/>
      </p:nvGrpSpPr>
      <p:grpSpPr>
        <a:xfrm>
          <a:off x="0" y="0"/>
          <a:ext cx="0" cy="0"/>
          <a:chOff x="0" y="0"/>
          <a:chExt cx="0" cy="0"/>
        </a:xfrm>
      </p:grpSpPr>
      <p:sp>
        <p:nvSpPr>
          <p:cNvPr id="12" name="Picture Placeholder 11"/>
          <p:cNvSpPr>
            <a:spLocks noGrp="1"/>
          </p:cNvSpPr>
          <p:nvPr>
            <p:ph type="pic" sz="quarter" idx="17" hasCustomPrompt="1"/>
          </p:nvPr>
        </p:nvSpPr>
        <p:spPr>
          <a:xfrm>
            <a:off x="-1" y="0"/>
            <a:ext cx="8822478" cy="6858000"/>
          </a:xfrm>
          <a:custGeom>
            <a:avLst/>
            <a:gdLst>
              <a:gd name="connsiteX0" fmla="*/ 0 w 8822478"/>
              <a:gd name="connsiteY0" fmla="*/ 0 h 6858000"/>
              <a:gd name="connsiteX1" fmla="*/ 8477306 w 8822478"/>
              <a:gd name="connsiteY1" fmla="*/ 0 h 6858000"/>
              <a:gd name="connsiteX2" fmla="*/ 6998505 w 8822478"/>
              <a:gd name="connsiteY2" fmla="*/ 3834029 h 6858000"/>
              <a:gd name="connsiteX3" fmla="*/ 8822478 w 8822478"/>
              <a:gd name="connsiteY3" fmla="*/ 6858000 h 6858000"/>
              <a:gd name="connsiteX4" fmla="*/ 0 w 8822478"/>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22478" h="6858000">
                <a:moveTo>
                  <a:pt x="0" y="0"/>
                </a:moveTo>
                <a:lnTo>
                  <a:pt x="8477306" y="0"/>
                </a:lnTo>
                <a:lnTo>
                  <a:pt x="6998505" y="3834029"/>
                </a:lnTo>
                <a:lnTo>
                  <a:pt x="8822478" y="6858000"/>
                </a:lnTo>
                <a:lnTo>
                  <a:pt x="0" y="6858000"/>
                </a:lnTo>
                <a:close/>
              </a:path>
            </a:pathLst>
          </a:custGeom>
          <a:solidFill>
            <a:srgbClr val="D9DADB"/>
          </a:solidFill>
        </p:spPr>
        <p:txBody>
          <a:bodyPr wrap="square">
            <a:noAutofit/>
          </a:bodyPr>
          <a:lstStyle>
            <a:lvl1pPr marL="0" indent="0">
              <a:buNone/>
              <a:defRPr/>
            </a:lvl1pPr>
          </a:lstStyle>
          <a:p>
            <a:r>
              <a:rPr lang="en-US"/>
              <a:t>Insert picture</a:t>
            </a:r>
          </a:p>
        </p:txBody>
      </p:sp>
      <p:sp>
        <p:nvSpPr>
          <p:cNvPr id="21" name="Date Placeholder 20"/>
          <p:cNvSpPr>
            <a:spLocks noGrp="1"/>
          </p:cNvSpPr>
          <p:nvPr>
            <p:ph type="dt" sz="half" idx="14"/>
          </p:nvPr>
        </p:nvSpPr>
        <p:spPr/>
        <p:txBody>
          <a:bodyPr/>
          <a:lstStyle>
            <a:lvl1pPr>
              <a:defRPr>
                <a:solidFill>
                  <a:schemeClr val="bg1"/>
                </a:solidFill>
              </a:defRPr>
            </a:lvl1pPr>
          </a:lstStyle>
          <a:p>
            <a:endParaRPr lang="en-US"/>
          </a:p>
        </p:txBody>
      </p:sp>
      <p:sp>
        <p:nvSpPr>
          <p:cNvPr id="22" name="Footer Placeholder 21"/>
          <p:cNvSpPr>
            <a:spLocks noGrp="1"/>
          </p:cNvSpPr>
          <p:nvPr>
            <p:ph type="ftr" sz="quarter" idx="15"/>
          </p:nvPr>
        </p:nvSpPr>
        <p:spPr/>
        <p:txBody>
          <a:bodyPr/>
          <a:lstStyle>
            <a:lvl1pPr>
              <a:defRPr>
                <a:solidFill>
                  <a:schemeClr val="bg1"/>
                </a:solidFill>
              </a:defRPr>
            </a:lvl1pPr>
          </a:lstStyle>
          <a:p>
            <a:endParaRPr lang="en-US"/>
          </a:p>
        </p:txBody>
      </p:sp>
      <p:sp>
        <p:nvSpPr>
          <p:cNvPr id="23" name="Slide Number Placeholder 22"/>
          <p:cNvSpPr>
            <a:spLocks noGrp="1"/>
          </p:cNvSpPr>
          <p:nvPr>
            <p:ph type="sldNum" sz="quarter" idx="16"/>
          </p:nvPr>
        </p:nvSpPr>
        <p:spPr/>
        <p:txBody>
          <a:bodyPr/>
          <a:lstStyle>
            <a:lvl1pPr>
              <a:defRPr>
                <a:solidFill>
                  <a:schemeClr val="tx1"/>
                </a:solidFill>
              </a:defRPr>
            </a:lvl1pPr>
          </a:lstStyle>
          <a:p>
            <a:fld id="{5F3E29E4-0979-4FCA-B4C5-5FC6044C982A}" type="slidenum">
              <a:rPr lang="en-US" smtClean="0"/>
              <a:pPr/>
              <a:t>‹#›</a:t>
            </a:fld>
            <a:endParaRPr lang="en-US"/>
          </a:p>
        </p:txBody>
      </p:sp>
      <p:sp>
        <p:nvSpPr>
          <p:cNvPr id="2" name="Title 1"/>
          <p:cNvSpPr>
            <a:spLocks noGrp="1"/>
          </p:cNvSpPr>
          <p:nvPr>
            <p:ph type="title" hasCustomPrompt="1"/>
          </p:nvPr>
        </p:nvSpPr>
        <p:spPr>
          <a:xfrm>
            <a:off x="7737533" y="2908628"/>
            <a:ext cx="4082992" cy="2103640"/>
          </a:xfrm>
        </p:spPr>
        <p:txBody>
          <a:bodyPr/>
          <a:lstStyle>
            <a:lvl1pPr>
              <a:defRPr>
                <a:solidFill>
                  <a:schemeClr val="tx1"/>
                </a:solidFill>
              </a:defRPr>
            </a:lvl1pPr>
          </a:lstStyle>
          <a:p>
            <a:r>
              <a:rPr lang="en-US"/>
              <a:t>Click to add section title</a:t>
            </a:r>
          </a:p>
        </p:txBody>
      </p:sp>
    </p:spTree>
    <p:extLst>
      <p:ext uri="{BB962C8B-B14F-4D97-AF65-F5344CB8AC3E}">
        <p14:creationId xmlns:p14="http://schemas.microsoft.com/office/powerpoint/2010/main" val="1794235645"/>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Divider (1)">
    <p:bg>
      <p:bgPr>
        <a:solidFill>
          <a:schemeClr val="bg1"/>
        </a:solidFill>
        <a:effectLst/>
      </p:bgPr>
    </p:bg>
    <p:spTree>
      <p:nvGrpSpPr>
        <p:cNvPr id="1" name=""/>
        <p:cNvGrpSpPr/>
        <p:nvPr/>
      </p:nvGrpSpPr>
      <p:grpSpPr>
        <a:xfrm>
          <a:off x="0" y="0"/>
          <a:ext cx="0" cy="0"/>
          <a:chOff x="0" y="0"/>
          <a:chExt cx="0" cy="0"/>
        </a:xfrm>
      </p:grpSpPr>
      <p:sp>
        <p:nvSpPr>
          <p:cNvPr id="2" name="Titel 1"/>
          <p:cNvSpPr>
            <a:spLocks noGrp="1"/>
          </p:cNvSpPr>
          <p:nvPr>
            <p:ph type="title" hasCustomPrompt="1"/>
          </p:nvPr>
        </p:nvSpPr>
        <p:spPr bwMode="gray">
          <a:xfrm>
            <a:off x="431214" y="2372883"/>
            <a:ext cx="11329573" cy="1919747"/>
          </a:xfrm>
          <a:gradFill>
            <a:gsLst>
              <a:gs pos="2000">
                <a:schemeClr val="accent6"/>
              </a:gs>
              <a:gs pos="100000">
                <a:srgbClr val="F9B200"/>
              </a:gs>
            </a:gsLst>
            <a:lin ang="0" scaled="0"/>
          </a:gra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24000" tIns="0" rIns="324000" bIns="0" numCol="1" spcCol="0" rtlCol="0" fromWordArt="0" anchor="ctr" anchorCtr="0" forceAA="0" compatLnSpc="1">
            <a:prstTxWarp prst="textNoShape">
              <a:avLst/>
            </a:prstTxWarp>
            <a:noAutofit/>
          </a:bodyPr>
          <a:lstStyle>
            <a:lvl1pPr>
              <a:defRPr lang="de-DE" sz="4000" kern="1200" dirty="0">
                <a:solidFill>
                  <a:schemeClr val="bg1"/>
                </a:solidFill>
                <a:latin typeface="Arial" pitchFamily="34" charset="0"/>
                <a:ea typeface="+mn-ea"/>
                <a:cs typeface="+mn-cs"/>
              </a:defRPr>
            </a:lvl1pPr>
          </a:lstStyle>
          <a:p>
            <a:pPr lvl="0"/>
            <a:r>
              <a:rPr lang="en-US"/>
              <a:t>Click to add text for divider slide</a:t>
            </a:r>
          </a:p>
        </p:txBody>
      </p:sp>
      <p:sp>
        <p:nvSpPr>
          <p:cNvPr id="3" name="Rechteck 2"/>
          <p:cNvSpPr/>
          <p:nvPr userDrawn="1"/>
        </p:nvSpPr>
        <p:spPr bwMode="gray">
          <a:xfrm>
            <a:off x="0" y="1"/>
            <a:ext cx="12192000" cy="2180167"/>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indent="0" algn="ctr">
              <a:buFont typeface="Courier New" pitchFamily="49" charset="0"/>
              <a:buNone/>
            </a:pPr>
            <a:endParaRPr lang="en-US" sz="2133">
              <a:solidFill>
                <a:schemeClr val="tx1"/>
              </a:solidFill>
              <a:latin typeface="Arial" pitchFamily="34" charset="0"/>
            </a:endParaRPr>
          </a:p>
        </p:txBody>
      </p:sp>
    </p:spTree>
    <p:extLst>
      <p:ext uri="{BB962C8B-B14F-4D97-AF65-F5344CB8AC3E}">
        <p14:creationId xmlns:p14="http://schemas.microsoft.com/office/powerpoint/2010/main" val="4007904659"/>
      </p:ext>
    </p:extLst>
  </p:cSld>
  <p:clrMapOvr>
    <a:masterClrMapping/>
  </p:clrMapOvr>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p:cSld name="Divider 2">
    <p:spTree>
      <p:nvGrpSpPr>
        <p:cNvPr id="1" name=""/>
        <p:cNvGrpSpPr/>
        <p:nvPr/>
      </p:nvGrpSpPr>
      <p:grpSpPr>
        <a:xfrm>
          <a:off x="0" y="0"/>
          <a:ext cx="0" cy="0"/>
          <a:chOff x="0" y="0"/>
          <a:chExt cx="0" cy="0"/>
        </a:xfrm>
      </p:grpSpPr>
      <p:sp>
        <p:nvSpPr>
          <p:cNvPr id="4" name="shp2"/>
          <p:cNvSpPr/>
          <p:nvPr/>
        </p:nvSpPr>
        <p:spPr>
          <a:xfrm>
            <a:off x="0" y="0"/>
            <a:ext cx="121932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a:p>
        </p:txBody>
      </p:sp>
      <p:sp>
        <p:nvSpPr>
          <p:cNvPr id="21" name="Date Placeholder 20"/>
          <p:cNvSpPr>
            <a:spLocks noGrp="1"/>
          </p:cNvSpPr>
          <p:nvPr>
            <p:ph type="dt" sz="half" idx="14"/>
          </p:nvPr>
        </p:nvSpPr>
        <p:spPr bwMode="ltGray"/>
        <p:txBody>
          <a:bodyPr/>
          <a:lstStyle>
            <a:lvl1pPr>
              <a:defRPr>
                <a:solidFill>
                  <a:schemeClr val="bg1"/>
                </a:solidFill>
              </a:defRPr>
            </a:lvl1pPr>
          </a:lstStyle>
          <a:p>
            <a:endParaRPr lang="en-US"/>
          </a:p>
        </p:txBody>
      </p:sp>
      <p:sp>
        <p:nvSpPr>
          <p:cNvPr id="22" name="Footer Placeholder 21"/>
          <p:cNvSpPr>
            <a:spLocks noGrp="1"/>
          </p:cNvSpPr>
          <p:nvPr>
            <p:ph type="ftr" sz="quarter" idx="15"/>
          </p:nvPr>
        </p:nvSpPr>
        <p:spPr bwMode="ltGray"/>
        <p:txBody>
          <a:bodyPr/>
          <a:lstStyle>
            <a:lvl1pPr>
              <a:defRPr>
                <a:solidFill>
                  <a:schemeClr val="bg1"/>
                </a:solidFill>
              </a:defRPr>
            </a:lvl1pPr>
          </a:lstStyle>
          <a:p>
            <a:endParaRPr lang="en-US"/>
          </a:p>
        </p:txBody>
      </p:sp>
      <p:sp>
        <p:nvSpPr>
          <p:cNvPr id="23" name="Slide Number Placeholder 22"/>
          <p:cNvSpPr>
            <a:spLocks noGrp="1"/>
          </p:cNvSpPr>
          <p:nvPr>
            <p:ph type="sldNum" sz="quarter" idx="16"/>
          </p:nvPr>
        </p:nvSpPr>
        <p:spPr bwMode="ltGray"/>
        <p:txBody>
          <a:bodyPr/>
          <a:lstStyle>
            <a:lvl1pPr>
              <a:defRPr>
                <a:solidFill>
                  <a:schemeClr val="bg1"/>
                </a:solidFill>
              </a:defRPr>
            </a:lvl1pPr>
          </a:lstStyle>
          <a:p>
            <a:fld id="{5F3E29E4-0979-4FCA-B4C5-5FC6044C982A}" type="slidenum">
              <a:rPr lang="en-US" smtClean="0"/>
              <a:pPr/>
              <a:t>‹#›</a:t>
            </a:fld>
            <a:endParaRPr lang="en-US"/>
          </a:p>
        </p:txBody>
      </p:sp>
      <p:sp>
        <p:nvSpPr>
          <p:cNvPr id="8" name="copyright"/>
          <p:cNvSpPr txBox="1"/>
          <p:nvPr/>
        </p:nvSpPr>
        <p:spPr>
          <a:xfrm>
            <a:off x="10672209" y="6237288"/>
            <a:ext cx="500617" cy="358173"/>
          </a:xfrm>
          <a:prstGeom prst="rect">
            <a:avLst/>
          </a:prstGeom>
          <a:noFill/>
        </p:spPr>
        <p:txBody>
          <a:bodyPr wrap="none" lIns="0" tIns="0" rIns="0" bIns="0" rtlCol="0" anchor="b" anchorCtr="0">
            <a:noAutofit/>
          </a:bodyPr>
          <a:lstStyle/>
          <a:p>
            <a:pPr marL="0" indent="0" algn="r">
              <a:lnSpc>
                <a:spcPct val="125000"/>
              </a:lnSpc>
              <a:buClr>
                <a:schemeClr val="tx2"/>
              </a:buClr>
              <a:buFont typeface="Wingdings" panose="05000000000000000000" pitchFamily="2" charset="2"/>
              <a:buNone/>
            </a:pPr>
            <a:r>
              <a:rPr lang="en-US" sz="800">
                <a:solidFill>
                  <a:schemeClr val="bg1"/>
                </a:solidFill>
              </a:rPr>
              <a:t>© GfK</a:t>
            </a:r>
          </a:p>
        </p:txBody>
      </p:sp>
      <p:sp>
        <p:nvSpPr>
          <p:cNvPr id="2" name="Title 1"/>
          <p:cNvSpPr>
            <a:spLocks noGrp="1"/>
          </p:cNvSpPr>
          <p:nvPr>
            <p:ph type="title" hasCustomPrompt="1"/>
          </p:nvPr>
        </p:nvSpPr>
        <p:spPr bwMode="ltGray">
          <a:xfrm>
            <a:off x="1075062" y="1519552"/>
            <a:ext cx="10097763" cy="2273171"/>
          </a:xfrm>
        </p:spPr>
        <p:txBody>
          <a:bodyPr/>
          <a:lstStyle>
            <a:lvl1pPr>
              <a:defRPr>
                <a:solidFill>
                  <a:schemeClr val="bg1"/>
                </a:solidFill>
              </a:defRPr>
            </a:lvl1pPr>
          </a:lstStyle>
          <a:p>
            <a:r>
              <a:rPr lang="en-US"/>
              <a:t>Click to add section title</a:t>
            </a:r>
          </a:p>
        </p:txBody>
      </p:sp>
      <p:grpSp>
        <p:nvGrpSpPr>
          <p:cNvPr id="9" name="logo">
            <a:extLst>
              <a:ext uri="{FF2B5EF4-FFF2-40B4-BE49-F238E27FC236}">
                <a16:creationId xmlns:a16="http://schemas.microsoft.com/office/drawing/2014/main" id="{57BD2C4C-DC67-B843-B26C-309622FC75F7}"/>
              </a:ext>
            </a:extLst>
          </p:cNvPr>
          <p:cNvGrpSpPr>
            <a:grpSpLocks noChangeAspect="1"/>
          </p:cNvGrpSpPr>
          <p:nvPr/>
        </p:nvGrpSpPr>
        <p:grpSpPr bwMode="gray">
          <a:xfrm>
            <a:off x="11174018" y="401441"/>
            <a:ext cx="644225" cy="646507"/>
            <a:chOff x="2711" y="1027"/>
            <a:chExt cx="2258" cy="2266"/>
          </a:xfrm>
        </p:grpSpPr>
        <p:sp>
          <p:nvSpPr>
            <p:cNvPr id="11" name="AutoShape 3">
              <a:extLst>
                <a:ext uri="{FF2B5EF4-FFF2-40B4-BE49-F238E27FC236}">
                  <a16:creationId xmlns:a16="http://schemas.microsoft.com/office/drawing/2014/main" id="{FE1DC41B-291E-574C-9F2C-874E70A40758}"/>
                </a:ext>
              </a:extLst>
            </p:cNvPr>
            <p:cNvSpPr>
              <a:spLocks noChangeAspect="1" noChangeArrowheads="1" noTextEdit="1"/>
            </p:cNvSpPr>
            <p:nvPr/>
          </p:nvSpPr>
          <p:spPr bwMode="gray">
            <a:xfrm>
              <a:off x="2711" y="1027"/>
              <a:ext cx="2258" cy="22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12" name="Freeform 5">
              <a:extLst>
                <a:ext uri="{FF2B5EF4-FFF2-40B4-BE49-F238E27FC236}">
                  <a16:creationId xmlns:a16="http://schemas.microsoft.com/office/drawing/2014/main" id="{D4B633C8-F761-C54B-9BD2-EB59D49A2DBC}"/>
                </a:ext>
              </a:extLst>
            </p:cNvPr>
            <p:cNvSpPr>
              <a:spLocks/>
            </p:cNvSpPr>
            <p:nvPr/>
          </p:nvSpPr>
          <p:spPr bwMode="gray">
            <a:xfrm>
              <a:off x="2709" y="1029"/>
              <a:ext cx="2260" cy="2262"/>
            </a:xfrm>
            <a:custGeom>
              <a:avLst/>
              <a:gdLst>
                <a:gd name="T0" fmla="*/ 2260 w 2260"/>
                <a:gd name="T1" fmla="*/ 0 h 2262"/>
                <a:gd name="T2" fmla="*/ 1612 w 2260"/>
                <a:gd name="T3" fmla="*/ 649 h 2262"/>
                <a:gd name="T4" fmla="*/ 1612 w 2260"/>
                <a:gd name="T5" fmla="*/ 649 h 2262"/>
                <a:gd name="T6" fmla="*/ 2035 w 2260"/>
                <a:gd name="T7" fmla="*/ 0 h 2262"/>
                <a:gd name="T8" fmla="*/ 0 w 2260"/>
                <a:gd name="T9" fmla="*/ 0 h 2262"/>
                <a:gd name="T10" fmla="*/ 0 w 2260"/>
                <a:gd name="T11" fmla="*/ 2262 h 2262"/>
                <a:gd name="T12" fmla="*/ 2260 w 2260"/>
                <a:gd name="T13" fmla="*/ 2262 h 2262"/>
                <a:gd name="T14" fmla="*/ 2260 w 2260"/>
                <a:gd name="T15" fmla="*/ 0 h 2262"/>
                <a:gd name="T16" fmla="*/ 2260 w 2260"/>
                <a:gd name="T17" fmla="*/ 0 h 2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0" h="2262">
                  <a:moveTo>
                    <a:pt x="2260" y="0"/>
                  </a:moveTo>
                  <a:lnTo>
                    <a:pt x="1612" y="649"/>
                  </a:lnTo>
                  <a:lnTo>
                    <a:pt x="1612" y="649"/>
                  </a:lnTo>
                  <a:lnTo>
                    <a:pt x="2035" y="0"/>
                  </a:lnTo>
                  <a:lnTo>
                    <a:pt x="0" y="0"/>
                  </a:lnTo>
                  <a:lnTo>
                    <a:pt x="0" y="2262"/>
                  </a:lnTo>
                  <a:lnTo>
                    <a:pt x="2260" y="2262"/>
                  </a:lnTo>
                  <a:lnTo>
                    <a:pt x="2260" y="0"/>
                  </a:lnTo>
                  <a:lnTo>
                    <a:pt x="2260" y="0"/>
                  </a:lnTo>
                  <a:close/>
                </a:path>
              </a:pathLst>
            </a:custGeom>
            <a:solidFill>
              <a:srgbClr val="E55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13" name="Freeform 6">
              <a:extLst>
                <a:ext uri="{FF2B5EF4-FFF2-40B4-BE49-F238E27FC236}">
                  <a16:creationId xmlns:a16="http://schemas.microsoft.com/office/drawing/2014/main" id="{B16BAAE4-1A41-C843-9754-490F7A1E1270}"/>
                </a:ext>
              </a:extLst>
            </p:cNvPr>
            <p:cNvSpPr>
              <a:spLocks noEditPoints="1"/>
            </p:cNvSpPr>
            <p:nvPr/>
          </p:nvSpPr>
          <p:spPr bwMode="gray">
            <a:xfrm>
              <a:off x="3623" y="1696"/>
              <a:ext cx="1167" cy="922"/>
            </a:xfrm>
            <a:custGeom>
              <a:avLst/>
              <a:gdLst>
                <a:gd name="T0" fmla="*/ 411 w 580"/>
                <a:gd name="T1" fmla="*/ 213 h 458"/>
                <a:gd name="T2" fmla="*/ 570 w 580"/>
                <a:gd name="T3" fmla="*/ 37 h 458"/>
                <a:gd name="T4" fmla="*/ 580 w 580"/>
                <a:gd name="T5" fmla="*/ 20 h 458"/>
                <a:gd name="T6" fmla="*/ 545 w 580"/>
                <a:gd name="T7" fmla="*/ 0 h 458"/>
                <a:gd name="T8" fmla="*/ 519 w 580"/>
                <a:gd name="T9" fmla="*/ 16 h 458"/>
                <a:gd name="T10" fmla="*/ 344 w 580"/>
                <a:gd name="T11" fmla="*/ 210 h 458"/>
                <a:gd name="T12" fmla="*/ 334 w 580"/>
                <a:gd name="T13" fmla="*/ 229 h 458"/>
                <a:gd name="T14" fmla="*/ 344 w 580"/>
                <a:gd name="T15" fmla="*/ 248 h 458"/>
                <a:gd name="T16" fmla="*/ 519 w 580"/>
                <a:gd name="T17" fmla="*/ 442 h 458"/>
                <a:gd name="T18" fmla="*/ 545 w 580"/>
                <a:gd name="T19" fmla="*/ 458 h 458"/>
                <a:gd name="T20" fmla="*/ 580 w 580"/>
                <a:gd name="T21" fmla="*/ 438 h 458"/>
                <a:gd name="T22" fmla="*/ 570 w 580"/>
                <a:gd name="T23" fmla="*/ 421 h 458"/>
                <a:gd name="T24" fmla="*/ 411 w 580"/>
                <a:gd name="T25" fmla="*/ 245 h 458"/>
                <a:gd name="T26" fmla="*/ 399 w 580"/>
                <a:gd name="T27" fmla="*/ 229 h 458"/>
                <a:gd name="T28" fmla="*/ 411 w 580"/>
                <a:gd name="T29" fmla="*/ 213 h 458"/>
                <a:gd name="T30" fmla="*/ 252 w 580"/>
                <a:gd name="T31" fmla="*/ 439 h 458"/>
                <a:gd name="T32" fmla="*/ 281 w 580"/>
                <a:gd name="T33" fmla="*/ 454 h 458"/>
                <a:gd name="T34" fmla="*/ 309 w 580"/>
                <a:gd name="T35" fmla="*/ 439 h 458"/>
                <a:gd name="T36" fmla="*/ 309 w 580"/>
                <a:gd name="T37" fmla="*/ 19 h 458"/>
                <a:gd name="T38" fmla="*/ 281 w 580"/>
                <a:gd name="T39" fmla="*/ 4 h 458"/>
                <a:gd name="T40" fmla="*/ 252 w 580"/>
                <a:gd name="T41" fmla="*/ 19 h 458"/>
                <a:gd name="T42" fmla="*/ 252 w 580"/>
                <a:gd name="T43" fmla="*/ 439 h 458"/>
                <a:gd name="T44" fmla="*/ 0 w 580"/>
                <a:gd name="T45" fmla="*/ 439 h 458"/>
                <a:gd name="T46" fmla="*/ 28 w 580"/>
                <a:gd name="T47" fmla="*/ 454 h 458"/>
                <a:gd name="T48" fmla="*/ 56 w 580"/>
                <a:gd name="T49" fmla="*/ 439 h 458"/>
                <a:gd name="T50" fmla="*/ 56 w 580"/>
                <a:gd name="T51" fmla="*/ 157 h 458"/>
                <a:gd name="T52" fmla="*/ 165 w 580"/>
                <a:gd name="T53" fmla="*/ 53 h 458"/>
                <a:gd name="T54" fmla="*/ 180 w 580"/>
                <a:gd name="T55" fmla="*/ 53 h 458"/>
                <a:gd name="T56" fmla="*/ 196 w 580"/>
                <a:gd name="T57" fmla="*/ 27 h 458"/>
                <a:gd name="T58" fmla="*/ 154 w 580"/>
                <a:gd name="T59" fmla="*/ 4 h 458"/>
                <a:gd name="T60" fmla="*/ 0 w 580"/>
                <a:gd name="T61" fmla="*/ 152 h 458"/>
                <a:gd name="T62" fmla="*/ 0 w 580"/>
                <a:gd name="T63" fmla="*/ 439 h 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80" h="458">
                  <a:moveTo>
                    <a:pt x="411" y="213"/>
                  </a:moveTo>
                  <a:cubicBezTo>
                    <a:pt x="570" y="37"/>
                    <a:pt x="570" y="37"/>
                    <a:pt x="570" y="37"/>
                  </a:cubicBezTo>
                  <a:cubicBezTo>
                    <a:pt x="576" y="30"/>
                    <a:pt x="580" y="25"/>
                    <a:pt x="580" y="20"/>
                  </a:cubicBezTo>
                  <a:cubicBezTo>
                    <a:pt x="580" y="10"/>
                    <a:pt x="559" y="0"/>
                    <a:pt x="545" y="0"/>
                  </a:cubicBezTo>
                  <a:cubicBezTo>
                    <a:pt x="535" y="0"/>
                    <a:pt x="526" y="8"/>
                    <a:pt x="519" y="16"/>
                  </a:cubicBezTo>
                  <a:cubicBezTo>
                    <a:pt x="344" y="210"/>
                    <a:pt x="344" y="210"/>
                    <a:pt x="344" y="210"/>
                  </a:cubicBezTo>
                  <a:cubicBezTo>
                    <a:pt x="336" y="219"/>
                    <a:pt x="334" y="224"/>
                    <a:pt x="334" y="229"/>
                  </a:cubicBezTo>
                  <a:cubicBezTo>
                    <a:pt x="334" y="234"/>
                    <a:pt x="336" y="239"/>
                    <a:pt x="344" y="248"/>
                  </a:cubicBezTo>
                  <a:cubicBezTo>
                    <a:pt x="519" y="442"/>
                    <a:pt x="519" y="442"/>
                    <a:pt x="519" y="442"/>
                  </a:cubicBezTo>
                  <a:cubicBezTo>
                    <a:pt x="526" y="450"/>
                    <a:pt x="535" y="458"/>
                    <a:pt x="545" y="458"/>
                  </a:cubicBezTo>
                  <a:cubicBezTo>
                    <a:pt x="559" y="458"/>
                    <a:pt x="580" y="448"/>
                    <a:pt x="580" y="438"/>
                  </a:cubicBezTo>
                  <a:cubicBezTo>
                    <a:pt x="580" y="433"/>
                    <a:pt x="576" y="428"/>
                    <a:pt x="570" y="421"/>
                  </a:cubicBezTo>
                  <a:cubicBezTo>
                    <a:pt x="411" y="245"/>
                    <a:pt x="411" y="245"/>
                    <a:pt x="411" y="245"/>
                  </a:cubicBezTo>
                  <a:cubicBezTo>
                    <a:pt x="403" y="236"/>
                    <a:pt x="399" y="232"/>
                    <a:pt x="399" y="229"/>
                  </a:cubicBezTo>
                  <a:cubicBezTo>
                    <a:pt x="399" y="226"/>
                    <a:pt x="403" y="222"/>
                    <a:pt x="411" y="213"/>
                  </a:cubicBezTo>
                  <a:moveTo>
                    <a:pt x="252" y="439"/>
                  </a:moveTo>
                  <a:cubicBezTo>
                    <a:pt x="252" y="449"/>
                    <a:pt x="261" y="454"/>
                    <a:pt x="281" y="454"/>
                  </a:cubicBezTo>
                  <a:cubicBezTo>
                    <a:pt x="300" y="454"/>
                    <a:pt x="309" y="449"/>
                    <a:pt x="309" y="439"/>
                  </a:cubicBezTo>
                  <a:cubicBezTo>
                    <a:pt x="309" y="19"/>
                    <a:pt x="309" y="19"/>
                    <a:pt x="309" y="19"/>
                  </a:cubicBezTo>
                  <a:cubicBezTo>
                    <a:pt x="309" y="9"/>
                    <a:pt x="300" y="4"/>
                    <a:pt x="281" y="4"/>
                  </a:cubicBezTo>
                  <a:cubicBezTo>
                    <a:pt x="261" y="4"/>
                    <a:pt x="252" y="9"/>
                    <a:pt x="252" y="19"/>
                  </a:cubicBezTo>
                  <a:lnTo>
                    <a:pt x="252" y="439"/>
                  </a:lnTo>
                  <a:close/>
                  <a:moveTo>
                    <a:pt x="0" y="439"/>
                  </a:moveTo>
                  <a:cubicBezTo>
                    <a:pt x="0" y="449"/>
                    <a:pt x="8" y="454"/>
                    <a:pt x="28" y="454"/>
                  </a:cubicBezTo>
                  <a:cubicBezTo>
                    <a:pt x="48" y="454"/>
                    <a:pt x="56" y="449"/>
                    <a:pt x="56" y="439"/>
                  </a:cubicBezTo>
                  <a:cubicBezTo>
                    <a:pt x="56" y="157"/>
                    <a:pt x="56" y="157"/>
                    <a:pt x="56" y="157"/>
                  </a:cubicBezTo>
                  <a:cubicBezTo>
                    <a:pt x="56" y="83"/>
                    <a:pt x="85" y="53"/>
                    <a:pt x="165" y="53"/>
                  </a:cubicBezTo>
                  <a:cubicBezTo>
                    <a:pt x="180" y="53"/>
                    <a:pt x="180" y="53"/>
                    <a:pt x="180" y="53"/>
                  </a:cubicBezTo>
                  <a:cubicBezTo>
                    <a:pt x="192" y="53"/>
                    <a:pt x="196" y="43"/>
                    <a:pt x="196" y="27"/>
                  </a:cubicBezTo>
                  <a:cubicBezTo>
                    <a:pt x="196" y="8"/>
                    <a:pt x="185" y="4"/>
                    <a:pt x="154" y="4"/>
                  </a:cubicBezTo>
                  <a:cubicBezTo>
                    <a:pt x="64" y="4"/>
                    <a:pt x="0" y="43"/>
                    <a:pt x="0" y="152"/>
                  </a:cubicBezTo>
                  <a:lnTo>
                    <a:pt x="0" y="43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14" name="Freeform 7">
              <a:extLst>
                <a:ext uri="{FF2B5EF4-FFF2-40B4-BE49-F238E27FC236}">
                  <a16:creationId xmlns:a16="http://schemas.microsoft.com/office/drawing/2014/main" id="{2F32DCBD-8628-F245-85CD-97686A20ECFD}"/>
                </a:ext>
              </a:extLst>
            </p:cNvPr>
            <p:cNvSpPr>
              <a:spLocks/>
            </p:cNvSpPr>
            <p:nvPr/>
          </p:nvSpPr>
          <p:spPr bwMode="gray">
            <a:xfrm>
              <a:off x="2880" y="1704"/>
              <a:ext cx="618" cy="916"/>
            </a:xfrm>
            <a:custGeom>
              <a:avLst/>
              <a:gdLst>
                <a:gd name="T0" fmla="*/ 307 w 307"/>
                <a:gd name="T1" fmla="*/ 405 h 455"/>
                <a:gd name="T2" fmla="*/ 307 w 307"/>
                <a:gd name="T3" fmla="*/ 244 h 455"/>
                <a:gd name="T4" fmla="*/ 279 w 307"/>
                <a:gd name="T5" fmla="*/ 229 h 455"/>
                <a:gd name="T6" fmla="*/ 250 w 307"/>
                <a:gd name="T7" fmla="*/ 244 h 455"/>
                <a:gd name="T8" fmla="*/ 250 w 307"/>
                <a:gd name="T9" fmla="*/ 378 h 455"/>
                <a:gd name="T10" fmla="*/ 199 w 307"/>
                <a:gd name="T11" fmla="*/ 408 h 455"/>
                <a:gd name="T12" fmla="*/ 61 w 307"/>
                <a:gd name="T13" fmla="*/ 231 h 455"/>
                <a:gd name="T14" fmla="*/ 238 w 307"/>
                <a:gd name="T15" fmla="*/ 49 h 455"/>
                <a:gd name="T16" fmla="*/ 270 w 307"/>
                <a:gd name="T17" fmla="*/ 49 h 455"/>
                <a:gd name="T18" fmla="*/ 286 w 307"/>
                <a:gd name="T19" fmla="*/ 23 h 455"/>
                <a:gd name="T20" fmla="*/ 244 w 307"/>
                <a:gd name="T21" fmla="*/ 0 h 455"/>
                <a:gd name="T22" fmla="*/ 231 w 307"/>
                <a:gd name="T23" fmla="*/ 0 h 455"/>
                <a:gd name="T24" fmla="*/ 0 w 307"/>
                <a:gd name="T25" fmla="*/ 232 h 455"/>
                <a:gd name="T26" fmla="*/ 198 w 307"/>
                <a:gd name="T27" fmla="*/ 455 h 455"/>
                <a:gd name="T28" fmla="*/ 307 w 307"/>
                <a:gd name="T29" fmla="*/ 405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7" h="455">
                  <a:moveTo>
                    <a:pt x="307" y="405"/>
                  </a:moveTo>
                  <a:cubicBezTo>
                    <a:pt x="307" y="244"/>
                    <a:pt x="307" y="244"/>
                    <a:pt x="307" y="244"/>
                  </a:cubicBezTo>
                  <a:cubicBezTo>
                    <a:pt x="307" y="234"/>
                    <a:pt x="298" y="229"/>
                    <a:pt x="279" y="229"/>
                  </a:cubicBezTo>
                  <a:cubicBezTo>
                    <a:pt x="259" y="229"/>
                    <a:pt x="250" y="234"/>
                    <a:pt x="250" y="244"/>
                  </a:cubicBezTo>
                  <a:cubicBezTo>
                    <a:pt x="250" y="378"/>
                    <a:pt x="250" y="378"/>
                    <a:pt x="250" y="378"/>
                  </a:cubicBezTo>
                  <a:cubicBezTo>
                    <a:pt x="250" y="399"/>
                    <a:pt x="241" y="408"/>
                    <a:pt x="199" y="408"/>
                  </a:cubicBezTo>
                  <a:cubicBezTo>
                    <a:pt x="114" y="408"/>
                    <a:pt x="61" y="342"/>
                    <a:pt x="61" y="231"/>
                  </a:cubicBezTo>
                  <a:cubicBezTo>
                    <a:pt x="61" y="115"/>
                    <a:pt x="126" y="49"/>
                    <a:pt x="238" y="49"/>
                  </a:cubicBezTo>
                  <a:cubicBezTo>
                    <a:pt x="270" y="49"/>
                    <a:pt x="270" y="49"/>
                    <a:pt x="270" y="49"/>
                  </a:cubicBezTo>
                  <a:cubicBezTo>
                    <a:pt x="282" y="49"/>
                    <a:pt x="286" y="39"/>
                    <a:pt x="286" y="23"/>
                  </a:cubicBezTo>
                  <a:cubicBezTo>
                    <a:pt x="286" y="4"/>
                    <a:pt x="275" y="0"/>
                    <a:pt x="244" y="0"/>
                  </a:cubicBezTo>
                  <a:cubicBezTo>
                    <a:pt x="231" y="0"/>
                    <a:pt x="231" y="0"/>
                    <a:pt x="231" y="0"/>
                  </a:cubicBezTo>
                  <a:cubicBezTo>
                    <a:pt x="101" y="0"/>
                    <a:pt x="0" y="71"/>
                    <a:pt x="0" y="232"/>
                  </a:cubicBezTo>
                  <a:cubicBezTo>
                    <a:pt x="0" y="386"/>
                    <a:pt x="88" y="455"/>
                    <a:pt x="198" y="455"/>
                  </a:cubicBezTo>
                  <a:cubicBezTo>
                    <a:pt x="286" y="455"/>
                    <a:pt x="307" y="430"/>
                    <a:pt x="307" y="40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15" name="Oval 8">
              <a:extLst>
                <a:ext uri="{FF2B5EF4-FFF2-40B4-BE49-F238E27FC236}">
                  <a16:creationId xmlns:a16="http://schemas.microsoft.com/office/drawing/2014/main" id="{60D97C11-1A3B-5449-A48D-98A3E79B3810}"/>
                </a:ext>
              </a:extLst>
            </p:cNvPr>
            <p:cNvSpPr>
              <a:spLocks noChangeArrowheads="1"/>
            </p:cNvSpPr>
            <p:nvPr/>
          </p:nvSpPr>
          <p:spPr bwMode="gray">
            <a:xfrm>
              <a:off x="3778" y="2099"/>
              <a:ext cx="122" cy="12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16" name="Freeform 9">
              <a:extLst>
                <a:ext uri="{FF2B5EF4-FFF2-40B4-BE49-F238E27FC236}">
                  <a16:creationId xmlns:a16="http://schemas.microsoft.com/office/drawing/2014/main" id="{5856770D-B8F0-244E-A05D-AED190086F10}"/>
                </a:ext>
              </a:extLst>
            </p:cNvPr>
            <p:cNvSpPr>
              <a:spLocks noEditPoints="1"/>
            </p:cNvSpPr>
            <p:nvPr/>
          </p:nvSpPr>
          <p:spPr bwMode="gray">
            <a:xfrm>
              <a:off x="3623" y="1696"/>
              <a:ext cx="1167" cy="922"/>
            </a:xfrm>
            <a:custGeom>
              <a:avLst/>
              <a:gdLst>
                <a:gd name="T0" fmla="*/ 411 w 580"/>
                <a:gd name="T1" fmla="*/ 213 h 458"/>
                <a:gd name="T2" fmla="*/ 570 w 580"/>
                <a:gd name="T3" fmla="*/ 37 h 458"/>
                <a:gd name="T4" fmla="*/ 580 w 580"/>
                <a:gd name="T5" fmla="*/ 20 h 458"/>
                <a:gd name="T6" fmla="*/ 545 w 580"/>
                <a:gd name="T7" fmla="*/ 0 h 458"/>
                <a:gd name="T8" fmla="*/ 519 w 580"/>
                <a:gd name="T9" fmla="*/ 16 h 458"/>
                <a:gd name="T10" fmla="*/ 344 w 580"/>
                <a:gd name="T11" fmla="*/ 210 h 458"/>
                <a:gd name="T12" fmla="*/ 334 w 580"/>
                <a:gd name="T13" fmla="*/ 229 h 458"/>
                <a:gd name="T14" fmla="*/ 344 w 580"/>
                <a:gd name="T15" fmla="*/ 248 h 458"/>
                <a:gd name="T16" fmla="*/ 519 w 580"/>
                <a:gd name="T17" fmla="*/ 442 h 458"/>
                <a:gd name="T18" fmla="*/ 545 w 580"/>
                <a:gd name="T19" fmla="*/ 458 h 458"/>
                <a:gd name="T20" fmla="*/ 580 w 580"/>
                <a:gd name="T21" fmla="*/ 438 h 458"/>
                <a:gd name="T22" fmla="*/ 570 w 580"/>
                <a:gd name="T23" fmla="*/ 421 h 458"/>
                <a:gd name="T24" fmla="*/ 411 w 580"/>
                <a:gd name="T25" fmla="*/ 245 h 458"/>
                <a:gd name="T26" fmla="*/ 399 w 580"/>
                <a:gd name="T27" fmla="*/ 229 h 458"/>
                <a:gd name="T28" fmla="*/ 411 w 580"/>
                <a:gd name="T29" fmla="*/ 213 h 458"/>
                <a:gd name="T30" fmla="*/ 252 w 580"/>
                <a:gd name="T31" fmla="*/ 439 h 458"/>
                <a:gd name="T32" fmla="*/ 281 w 580"/>
                <a:gd name="T33" fmla="*/ 454 h 458"/>
                <a:gd name="T34" fmla="*/ 309 w 580"/>
                <a:gd name="T35" fmla="*/ 439 h 458"/>
                <a:gd name="T36" fmla="*/ 309 w 580"/>
                <a:gd name="T37" fmla="*/ 19 h 458"/>
                <a:gd name="T38" fmla="*/ 281 w 580"/>
                <a:gd name="T39" fmla="*/ 4 h 458"/>
                <a:gd name="T40" fmla="*/ 252 w 580"/>
                <a:gd name="T41" fmla="*/ 19 h 458"/>
                <a:gd name="T42" fmla="*/ 252 w 580"/>
                <a:gd name="T43" fmla="*/ 439 h 458"/>
                <a:gd name="T44" fmla="*/ 0 w 580"/>
                <a:gd name="T45" fmla="*/ 439 h 458"/>
                <a:gd name="T46" fmla="*/ 28 w 580"/>
                <a:gd name="T47" fmla="*/ 454 h 458"/>
                <a:gd name="T48" fmla="*/ 56 w 580"/>
                <a:gd name="T49" fmla="*/ 439 h 458"/>
                <a:gd name="T50" fmla="*/ 56 w 580"/>
                <a:gd name="T51" fmla="*/ 157 h 458"/>
                <a:gd name="T52" fmla="*/ 165 w 580"/>
                <a:gd name="T53" fmla="*/ 53 h 458"/>
                <a:gd name="T54" fmla="*/ 180 w 580"/>
                <a:gd name="T55" fmla="*/ 53 h 458"/>
                <a:gd name="T56" fmla="*/ 196 w 580"/>
                <a:gd name="T57" fmla="*/ 27 h 458"/>
                <a:gd name="T58" fmla="*/ 154 w 580"/>
                <a:gd name="T59" fmla="*/ 4 h 458"/>
                <a:gd name="T60" fmla="*/ 0 w 580"/>
                <a:gd name="T61" fmla="*/ 152 h 458"/>
                <a:gd name="T62" fmla="*/ 0 w 580"/>
                <a:gd name="T63" fmla="*/ 439 h 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80" h="458">
                  <a:moveTo>
                    <a:pt x="411" y="213"/>
                  </a:moveTo>
                  <a:cubicBezTo>
                    <a:pt x="570" y="37"/>
                    <a:pt x="570" y="37"/>
                    <a:pt x="570" y="37"/>
                  </a:cubicBezTo>
                  <a:cubicBezTo>
                    <a:pt x="576" y="30"/>
                    <a:pt x="580" y="25"/>
                    <a:pt x="580" y="20"/>
                  </a:cubicBezTo>
                  <a:cubicBezTo>
                    <a:pt x="580" y="10"/>
                    <a:pt x="559" y="0"/>
                    <a:pt x="545" y="0"/>
                  </a:cubicBezTo>
                  <a:cubicBezTo>
                    <a:pt x="535" y="0"/>
                    <a:pt x="526" y="8"/>
                    <a:pt x="519" y="16"/>
                  </a:cubicBezTo>
                  <a:cubicBezTo>
                    <a:pt x="344" y="210"/>
                    <a:pt x="344" y="210"/>
                    <a:pt x="344" y="210"/>
                  </a:cubicBezTo>
                  <a:cubicBezTo>
                    <a:pt x="336" y="219"/>
                    <a:pt x="334" y="224"/>
                    <a:pt x="334" y="229"/>
                  </a:cubicBezTo>
                  <a:cubicBezTo>
                    <a:pt x="334" y="234"/>
                    <a:pt x="336" y="239"/>
                    <a:pt x="344" y="248"/>
                  </a:cubicBezTo>
                  <a:cubicBezTo>
                    <a:pt x="519" y="442"/>
                    <a:pt x="519" y="442"/>
                    <a:pt x="519" y="442"/>
                  </a:cubicBezTo>
                  <a:cubicBezTo>
                    <a:pt x="526" y="450"/>
                    <a:pt x="535" y="458"/>
                    <a:pt x="545" y="458"/>
                  </a:cubicBezTo>
                  <a:cubicBezTo>
                    <a:pt x="559" y="458"/>
                    <a:pt x="580" y="448"/>
                    <a:pt x="580" y="438"/>
                  </a:cubicBezTo>
                  <a:cubicBezTo>
                    <a:pt x="580" y="433"/>
                    <a:pt x="576" y="428"/>
                    <a:pt x="570" y="421"/>
                  </a:cubicBezTo>
                  <a:cubicBezTo>
                    <a:pt x="411" y="245"/>
                    <a:pt x="411" y="245"/>
                    <a:pt x="411" y="245"/>
                  </a:cubicBezTo>
                  <a:cubicBezTo>
                    <a:pt x="403" y="236"/>
                    <a:pt x="399" y="232"/>
                    <a:pt x="399" y="229"/>
                  </a:cubicBezTo>
                  <a:cubicBezTo>
                    <a:pt x="399" y="226"/>
                    <a:pt x="403" y="222"/>
                    <a:pt x="411" y="213"/>
                  </a:cubicBezTo>
                  <a:moveTo>
                    <a:pt x="252" y="439"/>
                  </a:moveTo>
                  <a:cubicBezTo>
                    <a:pt x="252" y="449"/>
                    <a:pt x="261" y="454"/>
                    <a:pt x="281" y="454"/>
                  </a:cubicBezTo>
                  <a:cubicBezTo>
                    <a:pt x="300" y="454"/>
                    <a:pt x="309" y="449"/>
                    <a:pt x="309" y="439"/>
                  </a:cubicBezTo>
                  <a:cubicBezTo>
                    <a:pt x="309" y="19"/>
                    <a:pt x="309" y="19"/>
                    <a:pt x="309" y="19"/>
                  </a:cubicBezTo>
                  <a:cubicBezTo>
                    <a:pt x="309" y="9"/>
                    <a:pt x="300" y="4"/>
                    <a:pt x="281" y="4"/>
                  </a:cubicBezTo>
                  <a:cubicBezTo>
                    <a:pt x="261" y="4"/>
                    <a:pt x="252" y="9"/>
                    <a:pt x="252" y="19"/>
                  </a:cubicBezTo>
                  <a:lnTo>
                    <a:pt x="252" y="439"/>
                  </a:lnTo>
                  <a:close/>
                  <a:moveTo>
                    <a:pt x="0" y="439"/>
                  </a:moveTo>
                  <a:cubicBezTo>
                    <a:pt x="0" y="449"/>
                    <a:pt x="8" y="454"/>
                    <a:pt x="28" y="454"/>
                  </a:cubicBezTo>
                  <a:cubicBezTo>
                    <a:pt x="48" y="454"/>
                    <a:pt x="56" y="449"/>
                    <a:pt x="56" y="439"/>
                  </a:cubicBezTo>
                  <a:cubicBezTo>
                    <a:pt x="56" y="157"/>
                    <a:pt x="56" y="157"/>
                    <a:pt x="56" y="157"/>
                  </a:cubicBezTo>
                  <a:cubicBezTo>
                    <a:pt x="56" y="83"/>
                    <a:pt x="85" y="53"/>
                    <a:pt x="165" y="53"/>
                  </a:cubicBezTo>
                  <a:cubicBezTo>
                    <a:pt x="180" y="53"/>
                    <a:pt x="180" y="53"/>
                    <a:pt x="180" y="53"/>
                  </a:cubicBezTo>
                  <a:cubicBezTo>
                    <a:pt x="192" y="53"/>
                    <a:pt x="196" y="43"/>
                    <a:pt x="196" y="27"/>
                  </a:cubicBezTo>
                  <a:cubicBezTo>
                    <a:pt x="196" y="8"/>
                    <a:pt x="185" y="4"/>
                    <a:pt x="154" y="4"/>
                  </a:cubicBezTo>
                  <a:cubicBezTo>
                    <a:pt x="64" y="4"/>
                    <a:pt x="0" y="43"/>
                    <a:pt x="0" y="152"/>
                  </a:cubicBezTo>
                  <a:lnTo>
                    <a:pt x="0" y="43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17" name="Freeform 10">
              <a:extLst>
                <a:ext uri="{FF2B5EF4-FFF2-40B4-BE49-F238E27FC236}">
                  <a16:creationId xmlns:a16="http://schemas.microsoft.com/office/drawing/2014/main" id="{2B91B16B-BC11-E547-8FAC-B9B8D18EA449}"/>
                </a:ext>
              </a:extLst>
            </p:cNvPr>
            <p:cNvSpPr>
              <a:spLocks/>
            </p:cNvSpPr>
            <p:nvPr/>
          </p:nvSpPr>
          <p:spPr bwMode="gray">
            <a:xfrm>
              <a:off x="2880" y="1704"/>
              <a:ext cx="618" cy="916"/>
            </a:xfrm>
            <a:custGeom>
              <a:avLst/>
              <a:gdLst>
                <a:gd name="T0" fmla="*/ 307 w 307"/>
                <a:gd name="T1" fmla="*/ 405 h 455"/>
                <a:gd name="T2" fmla="*/ 307 w 307"/>
                <a:gd name="T3" fmla="*/ 244 h 455"/>
                <a:gd name="T4" fmla="*/ 279 w 307"/>
                <a:gd name="T5" fmla="*/ 229 h 455"/>
                <a:gd name="T6" fmla="*/ 250 w 307"/>
                <a:gd name="T7" fmla="*/ 244 h 455"/>
                <a:gd name="T8" fmla="*/ 250 w 307"/>
                <a:gd name="T9" fmla="*/ 378 h 455"/>
                <a:gd name="T10" fmla="*/ 199 w 307"/>
                <a:gd name="T11" fmla="*/ 408 h 455"/>
                <a:gd name="T12" fmla="*/ 61 w 307"/>
                <a:gd name="T13" fmla="*/ 231 h 455"/>
                <a:gd name="T14" fmla="*/ 238 w 307"/>
                <a:gd name="T15" fmla="*/ 49 h 455"/>
                <a:gd name="T16" fmla="*/ 270 w 307"/>
                <a:gd name="T17" fmla="*/ 49 h 455"/>
                <a:gd name="T18" fmla="*/ 286 w 307"/>
                <a:gd name="T19" fmla="*/ 23 h 455"/>
                <a:gd name="T20" fmla="*/ 244 w 307"/>
                <a:gd name="T21" fmla="*/ 0 h 455"/>
                <a:gd name="T22" fmla="*/ 231 w 307"/>
                <a:gd name="T23" fmla="*/ 0 h 455"/>
                <a:gd name="T24" fmla="*/ 0 w 307"/>
                <a:gd name="T25" fmla="*/ 232 h 455"/>
                <a:gd name="T26" fmla="*/ 198 w 307"/>
                <a:gd name="T27" fmla="*/ 455 h 455"/>
                <a:gd name="T28" fmla="*/ 307 w 307"/>
                <a:gd name="T29" fmla="*/ 405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7" h="455">
                  <a:moveTo>
                    <a:pt x="307" y="405"/>
                  </a:moveTo>
                  <a:cubicBezTo>
                    <a:pt x="307" y="244"/>
                    <a:pt x="307" y="244"/>
                    <a:pt x="307" y="244"/>
                  </a:cubicBezTo>
                  <a:cubicBezTo>
                    <a:pt x="307" y="234"/>
                    <a:pt x="298" y="229"/>
                    <a:pt x="279" y="229"/>
                  </a:cubicBezTo>
                  <a:cubicBezTo>
                    <a:pt x="259" y="229"/>
                    <a:pt x="250" y="234"/>
                    <a:pt x="250" y="244"/>
                  </a:cubicBezTo>
                  <a:cubicBezTo>
                    <a:pt x="250" y="378"/>
                    <a:pt x="250" y="378"/>
                    <a:pt x="250" y="378"/>
                  </a:cubicBezTo>
                  <a:cubicBezTo>
                    <a:pt x="250" y="399"/>
                    <a:pt x="241" y="408"/>
                    <a:pt x="199" y="408"/>
                  </a:cubicBezTo>
                  <a:cubicBezTo>
                    <a:pt x="114" y="408"/>
                    <a:pt x="61" y="342"/>
                    <a:pt x="61" y="231"/>
                  </a:cubicBezTo>
                  <a:cubicBezTo>
                    <a:pt x="61" y="115"/>
                    <a:pt x="126" y="49"/>
                    <a:pt x="238" y="49"/>
                  </a:cubicBezTo>
                  <a:cubicBezTo>
                    <a:pt x="270" y="49"/>
                    <a:pt x="270" y="49"/>
                    <a:pt x="270" y="49"/>
                  </a:cubicBezTo>
                  <a:cubicBezTo>
                    <a:pt x="282" y="49"/>
                    <a:pt x="286" y="39"/>
                    <a:pt x="286" y="23"/>
                  </a:cubicBezTo>
                  <a:cubicBezTo>
                    <a:pt x="286" y="4"/>
                    <a:pt x="275" y="0"/>
                    <a:pt x="244" y="0"/>
                  </a:cubicBezTo>
                  <a:cubicBezTo>
                    <a:pt x="231" y="0"/>
                    <a:pt x="231" y="0"/>
                    <a:pt x="231" y="0"/>
                  </a:cubicBezTo>
                  <a:cubicBezTo>
                    <a:pt x="101" y="0"/>
                    <a:pt x="0" y="71"/>
                    <a:pt x="0" y="232"/>
                  </a:cubicBezTo>
                  <a:cubicBezTo>
                    <a:pt x="0" y="386"/>
                    <a:pt x="88" y="455"/>
                    <a:pt x="198" y="455"/>
                  </a:cubicBezTo>
                  <a:cubicBezTo>
                    <a:pt x="286" y="455"/>
                    <a:pt x="307" y="430"/>
                    <a:pt x="307" y="40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18" name="Oval 11">
              <a:extLst>
                <a:ext uri="{FF2B5EF4-FFF2-40B4-BE49-F238E27FC236}">
                  <a16:creationId xmlns:a16="http://schemas.microsoft.com/office/drawing/2014/main" id="{14F8C3C8-4888-7646-B9B4-64EB46A1DA23}"/>
                </a:ext>
              </a:extLst>
            </p:cNvPr>
            <p:cNvSpPr>
              <a:spLocks noChangeArrowheads="1"/>
            </p:cNvSpPr>
            <p:nvPr/>
          </p:nvSpPr>
          <p:spPr bwMode="gray">
            <a:xfrm>
              <a:off x="3778" y="2099"/>
              <a:ext cx="122" cy="12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19" name="Freeform 12">
              <a:extLst>
                <a:ext uri="{FF2B5EF4-FFF2-40B4-BE49-F238E27FC236}">
                  <a16:creationId xmlns:a16="http://schemas.microsoft.com/office/drawing/2014/main" id="{D79D01D1-4E3E-F34B-97D7-2D387E68746E}"/>
                </a:ext>
              </a:extLst>
            </p:cNvPr>
            <p:cNvSpPr>
              <a:spLocks/>
            </p:cNvSpPr>
            <p:nvPr/>
          </p:nvSpPr>
          <p:spPr bwMode="gray">
            <a:xfrm>
              <a:off x="4321" y="1029"/>
              <a:ext cx="648" cy="649"/>
            </a:xfrm>
            <a:custGeom>
              <a:avLst/>
              <a:gdLst>
                <a:gd name="T0" fmla="*/ 0 w 648"/>
                <a:gd name="T1" fmla="*/ 649 h 649"/>
                <a:gd name="T2" fmla="*/ 2 w 648"/>
                <a:gd name="T3" fmla="*/ 649 h 649"/>
                <a:gd name="T4" fmla="*/ 648 w 648"/>
                <a:gd name="T5" fmla="*/ 0 h 649"/>
                <a:gd name="T6" fmla="*/ 423 w 648"/>
                <a:gd name="T7" fmla="*/ 0 h 649"/>
                <a:gd name="T8" fmla="*/ 0 w 648"/>
                <a:gd name="T9" fmla="*/ 649 h 649"/>
              </a:gdLst>
              <a:ahLst/>
              <a:cxnLst>
                <a:cxn ang="0">
                  <a:pos x="T0" y="T1"/>
                </a:cxn>
                <a:cxn ang="0">
                  <a:pos x="T2" y="T3"/>
                </a:cxn>
                <a:cxn ang="0">
                  <a:pos x="T4" y="T5"/>
                </a:cxn>
                <a:cxn ang="0">
                  <a:pos x="T6" y="T7"/>
                </a:cxn>
                <a:cxn ang="0">
                  <a:pos x="T8" y="T9"/>
                </a:cxn>
              </a:cxnLst>
              <a:rect l="0" t="0" r="r" b="b"/>
              <a:pathLst>
                <a:path w="648" h="649">
                  <a:moveTo>
                    <a:pt x="0" y="649"/>
                  </a:moveTo>
                  <a:lnTo>
                    <a:pt x="2" y="649"/>
                  </a:lnTo>
                  <a:lnTo>
                    <a:pt x="648" y="0"/>
                  </a:lnTo>
                  <a:lnTo>
                    <a:pt x="423" y="0"/>
                  </a:lnTo>
                  <a:lnTo>
                    <a:pt x="0" y="64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20" name="Freeform 13">
              <a:extLst>
                <a:ext uri="{FF2B5EF4-FFF2-40B4-BE49-F238E27FC236}">
                  <a16:creationId xmlns:a16="http://schemas.microsoft.com/office/drawing/2014/main" id="{46549898-6C52-B147-A8F6-A73FDBE6163B}"/>
                </a:ext>
              </a:extLst>
            </p:cNvPr>
            <p:cNvSpPr>
              <a:spLocks/>
            </p:cNvSpPr>
            <p:nvPr/>
          </p:nvSpPr>
          <p:spPr bwMode="gray">
            <a:xfrm>
              <a:off x="4321" y="1029"/>
              <a:ext cx="648" cy="649"/>
            </a:xfrm>
            <a:custGeom>
              <a:avLst/>
              <a:gdLst>
                <a:gd name="T0" fmla="*/ 0 w 648"/>
                <a:gd name="T1" fmla="*/ 649 h 649"/>
                <a:gd name="T2" fmla="*/ 2 w 648"/>
                <a:gd name="T3" fmla="*/ 649 h 649"/>
                <a:gd name="T4" fmla="*/ 648 w 648"/>
                <a:gd name="T5" fmla="*/ 0 h 649"/>
                <a:gd name="T6" fmla="*/ 423 w 648"/>
                <a:gd name="T7" fmla="*/ 0 h 649"/>
                <a:gd name="T8" fmla="*/ 0 w 648"/>
                <a:gd name="T9" fmla="*/ 649 h 649"/>
              </a:gdLst>
              <a:ahLst/>
              <a:cxnLst>
                <a:cxn ang="0">
                  <a:pos x="T0" y="T1"/>
                </a:cxn>
                <a:cxn ang="0">
                  <a:pos x="T2" y="T3"/>
                </a:cxn>
                <a:cxn ang="0">
                  <a:pos x="T4" y="T5"/>
                </a:cxn>
                <a:cxn ang="0">
                  <a:pos x="T6" y="T7"/>
                </a:cxn>
                <a:cxn ang="0">
                  <a:pos x="T8" y="T9"/>
                </a:cxn>
              </a:cxnLst>
              <a:rect l="0" t="0" r="r" b="b"/>
              <a:pathLst>
                <a:path w="648" h="649">
                  <a:moveTo>
                    <a:pt x="0" y="649"/>
                  </a:moveTo>
                  <a:lnTo>
                    <a:pt x="2" y="649"/>
                  </a:lnTo>
                  <a:lnTo>
                    <a:pt x="648" y="0"/>
                  </a:lnTo>
                  <a:lnTo>
                    <a:pt x="423" y="0"/>
                  </a:lnTo>
                  <a:lnTo>
                    <a:pt x="0" y="64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grpSp>
    </p:spTree>
    <p:extLst>
      <p:ext uri="{BB962C8B-B14F-4D97-AF65-F5344CB8AC3E}">
        <p14:creationId xmlns:p14="http://schemas.microsoft.com/office/powerpoint/2010/main" val="3567568609"/>
      </p:ext>
    </p:extLst>
  </p:cSld>
  <p:clrMapOvr>
    <a:masterClrMapping/>
  </p:clrMapOvr>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p:cSld name="Headline only">
    <p:spTree>
      <p:nvGrpSpPr>
        <p:cNvPr id="1" name=""/>
        <p:cNvGrpSpPr/>
        <p:nvPr/>
      </p:nvGrpSpPr>
      <p:grpSpPr>
        <a:xfrm>
          <a:off x="0" y="0"/>
          <a:ext cx="0" cy="0"/>
          <a:chOff x="0" y="0"/>
          <a:chExt cx="0" cy="0"/>
        </a:xfrm>
      </p:grpSpPr>
      <p:sp>
        <p:nvSpPr>
          <p:cNvPr id="21" name="Date Placeholder 20"/>
          <p:cNvSpPr>
            <a:spLocks noGrp="1"/>
          </p:cNvSpPr>
          <p:nvPr>
            <p:ph type="dt" sz="half" idx="14"/>
          </p:nvPr>
        </p:nvSpPr>
        <p:spPr/>
        <p:txBody>
          <a:bodyPr/>
          <a:lstStyle/>
          <a:p>
            <a:endParaRPr lang="en-US"/>
          </a:p>
        </p:txBody>
      </p:sp>
      <p:sp>
        <p:nvSpPr>
          <p:cNvPr id="22" name="Footer Placeholder 21"/>
          <p:cNvSpPr>
            <a:spLocks noGrp="1"/>
          </p:cNvSpPr>
          <p:nvPr>
            <p:ph type="ftr" sz="quarter" idx="15"/>
          </p:nvPr>
        </p:nvSpPr>
        <p:spPr/>
        <p:txBody>
          <a:bodyPr/>
          <a:lstStyle/>
          <a:p>
            <a:endParaRPr lang="en-US"/>
          </a:p>
        </p:txBody>
      </p:sp>
      <p:sp>
        <p:nvSpPr>
          <p:cNvPr id="23" name="Slide Number Placeholder 22"/>
          <p:cNvSpPr>
            <a:spLocks noGrp="1"/>
          </p:cNvSpPr>
          <p:nvPr>
            <p:ph type="sldNum" sz="quarter" idx="16"/>
          </p:nvPr>
        </p:nvSpPr>
        <p:spPr/>
        <p:txBody>
          <a:bodyPr/>
          <a:lstStyle/>
          <a:p>
            <a:fld id="{5F3E29E4-0979-4FCA-B4C5-5FC6044C982A}" type="slidenum">
              <a:rPr lang="en-US" smtClean="0"/>
              <a:t>‹#›</a:t>
            </a:fld>
            <a:endParaRPr lang="en-US"/>
          </a:p>
        </p:txBody>
      </p:sp>
      <p:sp>
        <p:nvSpPr>
          <p:cNvPr id="2" name="Title 1"/>
          <p:cNvSpPr>
            <a:spLocks noGrp="1"/>
          </p:cNvSpPr>
          <p:nvPr>
            <p:ph type="title" hasCustomPrompt="1"/>
          </p:nvPr>
        </p:nvSpPr>
        <p:spPr/>
        <p:txBody>
          <a:bodyPr/>
          <a:lstStyle>
            <a:lvl1pPr>
              <a:defRPr/>
            </a:lvl1pPr>
          </a:lstStyle>
          <a:p>
            <a:r>
              <a:rPr lang="en-US"/>
              <a:t>Click to add slide title</a:t>
            </a:r>
          </a:p>
        </p:txBody>
      </p:sp>
      <p:sp>
        <p:nvSpPr>
          <p:cNvPr id="7" name="Subtitle 2"/>
          <p:cNvSpPr>
            <a:spLocks noGrp="1"/>
          </p:cNvSpPr>
          <p:nvPr>
            <p:ph type="subTitle" idx="13" hasCustomPrompt="1"/>
          </p:nvPr>
        </p:nvSpPr>
        <p:spPr>
          <a:xfrm>
            <a:off x="1075061" y="964671"/>
            <a:ext cx="7910158" cy="490042"/>
          </a:xfrm>
        </p:spPr>
        <p:txBody>
          <a:bodyPr wrap="none"/>
          <a:lstStyle>
            <a:lvl1pPr marL="0" indent="0" algn="l">
              <a:spcBef>
                <a:spcPts val="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sp>
        <p:nvSpPr>
          <p:cNvPr id="9" name="Text Placeholder 4"/>
          <p:cNvSpPr>
            <a:spLocks noGrp="1"/>
          </p:cNvSpPr>
          <p:nvPr>
            <p:ph type="body" sz="quarter" idx="17" hasCustomPrompt="1"/>
          </p:nvPr>
        </p:nvSpPr>
        <p:spPr>
          <a:xfrm>
            <a:off x="1075063" y="6307665"/>
            <a:ext cx="8162717" cy="133200"/>
          </a:xfrm>
        </p:spPr>
        <p:txBody>
          <a:bodyPr lIns="0" tIns="0" rIns="0" bIns="0" anchor="b" anchorCtr="0"/>
          <a:lstStyle>
            <a:lvl1pPr marL="0" indent="0" algn="l">
              <a:lnSpc>
                <a:spcPct val="100000"/>
              </a:lnSpc>
              <a:spcBef>
                <a:spcPts val="0"/>
              </a:spcBef>
              <a:buNone/>
              <a:defRPr sz="800" baseline="0"/>
            </a:lvl1pPr>
            <a:lvl2pPr marL="0" indent="0" algn="l">
              <a:lnSpc>
                <a:spcPct val="100000"/>
              </a:lnSpc>
              <a:spcBef>
                <a:spcPts val="0"/>
              </a:spcBef>
              <a:buNone/>
              <a:defRPr sz="800"/>
            </a:lvl2pPr>
            <a:lvl3pPr marL="0" indent="0" algn="l">
              <a:lnSpc>
                <a:spcPct val="100000"/>
              </a:lnSpc>
              <a:spcBef>
                <a:spcPts val="0"/>
              </a:spcBef>
              <a:buNone/>
              <a:defRPr sz="800"/>
            </a:lvl3pPr>
            <a:lvl4pPr marL="0" algn="l">
              <a:lnSpc>
                <a:spcPct val="100000"/>
              </a:lnSpc>
              <a:spcBef>
                <a:spcPts val="0"/>
              </a:spcBef>
              <a:buNone/>
              <a:defRPr sz="800"/>
            </a:lvl4pPr>
            <a:lvl5pPr marL="0" indent="0" algn="l">
              <a:lnSpc>
                <a:spcPct val="100000"/>
              </a:lnSpc>
              <a:spcBef>
                <a:spcPts val="0"/>
              </a:spcBef>
              <a:buNone/>
              <a:defRPr sz="800"/>
            </a:lvl5pPr>
          </a:lstStyle>
          <a:p>
            <a:pPr lvl="0"/>
            <a:r>
              <a:rPr lang="en-US"/>
              <a:t>Source line</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48203040"/>
      </p:ext>
    </p:extLst>
  </p:cSld>
  <p:clrMapOvr>
    <a:masterClrMapping/>
  </p:clrMapOvr>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p:cSld name="One content">
    <p:spTree>
      <p:nvGrpSpPr>
        <p:cNvPr id="1" name=""/>
        <p:cNvGrpSpPr/>
        <p:nvPr/>
      </p:nvGrpSpPr>
      <p:grpSpPr>
        <a:xfrm>
          <a:off x="0" y="0"/>
          <a:ext cx="0" cy="0"/>
          <a:chOff x="0" y="0"/>
          <a:chExt cx="0" cy="0"/>
        </a:xfrm>
      </p:grpSpPr>
      <p:sp>
        <p:nvSpPr>
          <p:cNvPr id="21" name="Date Placeholder 20"/>
          <p:cNvSpPr>
            <a:spLocks noGrp="1"/>
          </p:cNvSpPr>
          <p:nvPr>
            <p:ph type="dt" sz="half" idx="14"/>
          </p:nvPr>
        </p:nvSpPr>
        <p:spPr/>
        <p:txBody>
          <a:bodyPr/>
          <a:lstStyle/>
          <a:p>
            <a:endParaRPr lang="en-US"/>
          </a:p>
        </p:txBody>
      </p:sp>
      <p:sp>
        <p:nvSpPr>
          <p:cNvPr id="22" name="Footer Placeholder 21"/>
          <p:cNvSpPr>
            <a:spLocks noGrp="1"/>
          </p:cNvSpPr>
          <p:nvPr>
            <p:ph type="ftr" sz="quarter" idx="15"/>
          </p:nvPr>
        </p:nvSpPr>
        <p:spPr/>
        <p:txBody>
          <a:bodyPr/>
          <a:lstStyle/>
          <a:p>
            <a:endParaRPr lang="en-US"/>
          </a:p>
        </p:txBody>
      </p:sp>
      <p:sp>
        <p:nvSpPr>
          <p:cNvPr id="23" name="Slide Number Placeholder 22"/>
          <p:cNvSpPr>
            <a:spLocks noGrp="1"/>
          </p:cNvSpPr>
          <p:nvPr>
            <p:ph type="sldNum" sz="quarter" idx="16"/>
          </p:nvPr>
        </p:nvSpPr>
        <p:spPr/>
        <p:txBody>
          <a:bodyPr/>
          <a:lstStyle/>
          <a:p>
            <a:fld id="{5F3E29E4-0979-4FCA-B4C5-5FC6044C982A}" type="slidenum">
              <a:rPr lang="en-US" smtClean="0"/>
              <a:t>‹#›</a:t>
            </a:fld>
            <a:endParaRPr lang="en-US"/>
          </a:p>
        </p:txBody>
      </p:sp>
      <p:sp>
        <p:nvSpPr>
          <p:cNvPr id="2" name="Title 1"/>
          <p:cNvSpPr>
            <a:spLocks noGrp="1"/>
          </p:cNvSpPr>
          <p:nvPr>
            <p:ph type="title" hasCustomPrompt="1"/>
          </p:nvPr>
        </p:nvSpPr>
        <p:spPr/>
        <p:txBody>
          <a:bodyPr/>
          <a:lstStyle>
            <a:lvl1pPr>
              <a:defRPr/>
            </a:lvl1pPr>
          </a:lstStyle>
          <a:p>
            <a:r>
              <a:rPr lang="en-US"/>
              <a:t>Click to add slide title</a:t>
            </a:r>
          </a:p>
        </p:txBody>
      </p:sp>
      <p:sp>
        <p:nvSpPr>
          <p:cNvPr id="7" name="Subtitle 2"/>
          <p:cNvSpPr>
            <a:spLocks noGrp="1"/>
          </p:cNvSpPr>
          <p:nvPr>
            <p:ph type="subTitle" idx="13" hasCustomPrompt="1"/>
          </p:nvPr>
        </p:nvSpPr>
        <p:spPr>
          <a:xfrm>
            <a:off x="1075061" y="964671"/>
            <a:ext cx="7910158" cy="490042"/>
          </a:xfrm>
        </p:spPr>
        <p:txBody>
          <a:bodyPr wrap="none"/>
          <a:lstStyle>
            <a:lvl1pPr marL="0" indent="0" algn="l">
              <a:spcBef>
                <a:spcPts val="0"/>
              </a:spcBef>
              <a:buNone/>
              <a:defRPr sz="2400" baseline="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sp>
        <p:nvSpPr>
          <p:cNvPr id="3" name="Content Placeholder 2"/>
          <p:cNvSpPr>
            <a:spLocks noGrp="1"/>
          </p:cNvSpPr>
          <p:nvPr>
            <p:ph idx="1" hasCustomPrompt="1"/>
          </p:nvPr>
        </p:nvSpPr>
        <p:spPr/>
        <p:txBody>
          <a:bodyPr/>
          <a:lstStyle>
            <a:lvl1pPr>
              <a:defRPr baseline="0"/>
            </a:lvl1pPr>
          </a:lstStyle>
          <a:p>
            <a:pPr lvl="0"/>
            <a:r>
              <a:rPr lang="en-US"/>
              <a:t>Click to add text or content</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17" hasCustomPrompt="1"/>
          </p:nvPr>
        </p:nvSpPr>
        <p:spPr>
          <a:xfrm>
            <a:off x="1075063" y="6307665"/>
            <a:ext cx="8162717" cy="133200"/>
          </a:xfrm>
        </p:spPr>
        <p:txBody>
          <a:bodyPr lIns="0" tIns="0" rIns="0" bIns="0" anchor="b" anchorCtr="0"/>
          <a:lstStyle>
            <a:lvl1pPr marL="0" indent="0" algn="l">
              <a:lnSpc>
                <a:spcPct val="100000"/>
              </a:lnSpc>
              <a:spcBef>
                <a:spcPts val="0"/>
              </a:spcBef>
              <a:buNone/>
              <a:defRPr sz="800" baseline="0"/>
            </a:lvl1pPr>
            <a:lvl2pPr marL="0" indent="0" algn="l">
              <a:lnSpc>
                <a:spcPct val="100000"/>
              </a:lnSpc>
              <a:spcBef>
                <a:spcPts val="0"/>
              </a:spcBef>
              <a:buNone/>
              <a:defRPr sz="800"/>
            </a:lvl2pPr>
            <a:lvl3pPr marL="0" indent="0" algn="l">
              <a:lnSpc>
                <a:spcPct val="100000"/>
              </a:lnSpc>
              <a:spcBef>
                <a:spcPts val="0"/>
              </a:spcBef>
              <a:buNone/>
              <a:defRPr sz="800"/>
            </a:lvl3pPr>
            <a:lvl4pPr marL="0" algn="l">
              <a:lnSpc>
                <a:spcPct val="100000"/>
              </a:lnSpc>
              <a:spcBef>
                <a:spcPts val="0"/>
              </a:spcBef>
              <a:buNone/>
              <a:defRPr sz="800"/>
            </a:lvl4pPr>
            <a:lvl5pPr marL="0" indent="0" algn="l">
              <a:lnSpc>
                <a:spcPct val="100000"/>
              </a:lnSpc>
              <a:spcBef>
                <a:spcPts val="0"/>
              </a:spcBef>
              <a:buNone/>
              <a:defRPr sz="800"/>
            </a:lvl5pPr>
          </a:lstStyle>
          <a:p>
            <a:pPr lvl="0"/>
            <a:r>
              <a:rPr lang="en-US"/>
              <a:t>Source line</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41413426"/>
      </p:ext>
    </p:extLst>
  </p:cSld>
  <p:clrMapOvr>
    <a:masterClrMapping/>
  </p:clrMapOvr>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p:cSld name="Content and picture">
    <p:spTree>
      <p:nvGrpSpPr>
        <p:cNvPr id="1" name=""/>
        <p:cNvGrpSpPr/>
        <p:nvPr/>
      </p:nvGrpSpPr>
      <p:grpSpPr>
        <a:xfrm>
          <a:off x="0" y="0"/>
          <a:ext cx="0" cy="0"/>
          <a:chOff x="0" y="0"/>
          <a:chExt cx="0" cy="0"/>
        </a:xfrm>
      </p:grpSpPr>
      <p:sp>
        <p:nvSpPr>
          <p:cNvPr id="21" name="Date Placeholder 20"/>
          <p:cNvSpPr>
            <a:spLocks noGrp="1"/>
          </p:cNvSpPr>
          <p:nvPr>
            <p:ph type="dt" sz="half" idx="14"/>
          </p:nvPr>
        </p:nvSpPr>
        <p:spPr/>
        <p:txBody>
          <a:bodyPr/>
          <a:lstStyle/>
          <a:p>
            <a:endParaRPr lang="en-US"/>
          </a:p>
        </p:txBody>
      </p:sp>
      <p:sp>
        <p:nvSpPr>
          <p:cNvPr id="22" name="Footer Placeholder 21"/>
          <p:cNvSpPr>
            <a:spLocks noGrp="1"/>
          </p:cNvSpPr>
          <p:nvPr>
            <p:ph type="ftr" sz="quarter" idx="15"/>
          </p:nvPr>
        </p:nvSpPr>
        <p:spPr/>
        <p:txBody>
          <a:bodyPr/>
          <a:lstStyle/>
          <a:p>
            <a:endParaRPr lang="en-US"/>
          </a:p>
        </p:txBody>
      </p:sp>
      <p:sp>
        <p:nvSpPr>
          <p:cNvPr id="23" name="Slide Number Placeholder 22"/>
          <p:cNvSpPr>
            <a:spLocks noGrp="1"/>
          </p:cNvSpPr>
          <p:nvPr>
            <p:ph type="sldNum" sz="quarter" idx="16"/>
          </p:nvPr>
        </p:nvSpPr>
        <p:spPr/>
        <p:txBody>
          <a:bodyPr/>
          <a:lstStyle/>
          <a:p>
            <a:fld id="{5F3E29E4-0979-4FCA-B4C5-5FC6044C982A}" type="slidenum">
              <a:rPr lang="en-US" smtClean="0"/>
              <a:t>‹#›</a:t>
            </a:fld>
            <a:endParaRPr lang="en-US"/>
          </a:p>
        </p:txBody>
      </p:sp>
      <p:sp>
        <p:nvSpPr>
          <p:cNvPr id="2" name="Title 1"/>
          <p:cNvSpPr>
            <a:spLocks noGrp="1"/>
          </p:cNvSpPr>
          <p:nvPr>
            <p:ph type="title" hasCustomPrompt="1"/>
          </p:nvPr>
        </p:nvSpPr>
        <p:spPr/>
        <p:txBody>
          <a:bodyPr/>
          <a:lstStyle>
            <a:lvl1pPr>
              <a:defRPr/>
            </a:lvl1pPr>
          </a:lstStyle>
          <a:p>
            <a:r>
              <a:rPr lang="en-US"/>
              <a:t>Click to add slide title</a:t>
            </a:r>
          </a:p>
        </p:txBody>
      </p:sp>
      <p:sp>
        <p:nvSpPr>
          <p:cNvPr id="7" name="Subtitle 2"/>
          <p:cNvSpPr>
            <a:spLocks noGrp="1"/>
          </p:cNvSpPr>
          <p:nvPr>
            <p:ph type="subTitle" idx="13" hasCustomPrompt="1"/>
          </p:nvPr>
        </p:nvSpPr>
        <p:spPr>
          <a:xfrm>
            <a:off x="1075061" y="964671"/>
            <a:ext cx="7910158" cy="490042"/>
          </a:xfrm>
        </p:spPr>
        <p:txBody>
          <a:bodyPr wrap="none"/>
          <a:lstStyle>
            <a:lvl1pPr marL="0" indent="0" algn="l">
              <a:spcBef>
                <a:spcPts val="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sp>
        <p:nvSpPr>
          <p:cNvPr id="3" name="Content Placeholder 2"/>
          <p:cNvSpPr>
            <a:spLocks noGrp="1"/>
          </p:cNvSpPr>
          <p:nvPr>
            <p:ph idx="1" hasCustomPrompt="1"/>
          </p:nvPr>
        </p:nvSpPr>
        <p:spPr>
          <a:xfrm>
            <a:off x="1075062" y="1629618"/>
            <a:ext cx="5220000" cy="4139357"/>
          </a:xfrm>
        </p:spPr>
        <p:txBody>
          <a:bodyPr/>
          <a:lstStyle>
            <a:lvl1pPr>
              <a:defRPr/>
            </a:lvl1pPr>
          </a:lstStyle>
          <a:p>
            <a:pPr lvl="0"/>
            <a:r>
              <a:rPr lang="en-US"/>
              <a:t>Click to add text or content</a:t>
            </a:r>
          </a:p>
          <a:p>
            <a:pPr lvl="1"/>
            <a:r>
              <a:rPr lang="en-US"/>
              <a:t>Second level</a:t>
            </a:r>
          </a:p>
          <a:p>
            <a:pPr lvl="2"/>
            <a:r>
              <a:rPr lang="en-US"/>
              <a:t>Third level</a:t>
            </a:r>
          </a:p>
          <a:p>
            <a:pPr lvl="3"/>
            <a:r>
              <a:rPr lang="en-US"/>
              <a:t>Fourth level</a:t>
            </a:r>
          </a:p>
          <a:p>
            <a:pPr lvl="4"/>
            <a:r>
              <a:rPr lang="en-US"/>
              <a:t>Fifth level</a:t>
            </a:r>
          </a:p>
        </p:txBody>
      </p:sp>
      <p:sp>
        <p:nvSpPr>
          <p:cNvPr id="5" name="Picture Placeholder 4"/>
          <p:cNvSpPr>
            <a:spLocks noGrp="1"/>
          </p:cNvSpPr>
          <p:nvPr>
            <p:ph type="pic" sz="quarter" idx="17" hasCustomPrompt="1"/>
          </p:nvPr>
        </p:nvSpPr>
        <p:spPr>
          <a:xfrm>
            <a:off x="6600525" y="1637783"/>
            <a:ext cx="5220000" cy="4599506"/>
          </a:xfrm>
          <a:solidFill>
            <a:srgbClr val="D9DADB"/>
          </a:solidFill>
        </p:spPr>
        <p:txBody>
          <a:bodyPr/>
          <a:lstStyle>
            <a:lvl1pPr marL="0" indent="0">
              <a:buNone/>
              <a:defRPr/>
            </a:lvl1pPr>
          </a:lstStyle>
          <a:p>
            <a:r>
              <a:rPr lang="en-US"/>
              <a:t>Insert picture</a:t>
            </a:r>
          </a:p>
        </p:txBody>
      </p:sp>
      <p:sp>
        <p:nvSpPr>
          <p:cNvPr id="10" name="Text Placeholder 4"/>
          <p:cNvSpPr>
            <a:spLocks noGrp="1"/>
          </p:cNvSpPr>
          <p:nvPr>
            <p:ph type="body" sz="quarter" idx="18" hasCustomPrompt="1"/>
          </p:nvPr>
        </p:nvSpPr>
        <p:spPr>
          <a:xfrm>
            <a:off x="1075063" y="6307665"/>
            <a:ext cx="8162717" cy="133200"/>
          </a:xfrm>
        </p:spPr>
        <p:txBody>
          <a:bodyPr lIns="0" tIns="0" rIns="0" bIns="0" anchor="b" anchorCtr="0"/>
          <a:lstStyle>
            <a:lvl1pPr marL="0" indent="0" algn="l">
              <a:lnSpc>
                <a:spcPct val="100000"/>
              </a:lnSpc>
              <a:spcBef>
                <a:spcPts val="0"/>
              </a:spcBef>
              <a:buNone/>
              <a:defRPr sz="800" baseline="0"/>
            </a:lvl1pPr>
            <a:lvl2pPr marL="0" indent="0" algn="l">
              <a:lnSpc>
                <a:spcPct val="100000"/>
              </a:lnSpc>
              <a:spcBef>
                <a:spcPts val="0"/>
              </a:spcBef>
              <a:buNone/>
              <a:defRPr sz="800"/>
            </a:lvl2pPr>
            <a:lvl3pPr marL="0" indent="0" algn="l">
              <a:lnSpc>
                <a:spcPct val="100000"/>
              </a:lnSpc>
              <a:spcBef>
                <a:spcPts val="0"/>
              </a:spcBef>
              <a:buNone/>
              <a:defRPr sz="800"/>
            </a:lvl3pPr>
            <a:lvl4pPr marL="0" algn="l">
              <a:lnSpc>
                <a:spcPct val="100000"/>
              </a:lnSpc>
              <a:spcBef>
                <a:spcPts val="0"/>
              </a:spcBef>
              <a:buNone/>
              <a:defRPr sz="800"/>
            </a:lvl4pPr>
            <a:lvl5pPr marL="0" indent="0" algn="l">
              <a:lnSpc>
                <a:spcPct val="100000"/>
              </a:lnSpc>
              <a:spcBef>
                <a:spcPts val="0"/>
              </a:spcBef>
              <a:buNone/>
              <a:defRPr sz="800"/>
            </a:lvl5pPr>
          </a:lstStyle>
          <a:p>
            <a:pPr lvl="0"/>
            <a:r>
              <a:rPr lang="en-US"/>
              <a:t>Source line</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32404619"/>
      </p:ext>
    </p:extLst>
  </p:cSld>
  <p:clrMapOvr>
    <a:masterClrMapping/>
  </p:clrMapOvr>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p:cSld name="Content with full picture">
    <p:spTree>
      <p:nvGrpSpPr>
        <p:cNvPr id="1" name=""/>
        <p:cNvGrpSpPr/>
        <p:nvPr/>
      </p:nvGrpSpPr>
      <p:grpSpPr>
        <a:xfrm>
          <a:off x="0" y="0"/>
          <a:ext cx="0" cy="0"/>
          <a:chOff x="0" y="0"/>
          <a:chExt cx="0" cy="0"/>
        </a:xfrm>
      </p:grpSpPr>
      <p:sp>
        <p:nvSpPr>
          <p:cNvPr id="12" name="Picture Placeholder 11"/>
          <p:cNvSpPr>
            <a:spLocks noGrp="1"/>
          </p:cNvSpPr>
          <p:nvPr>
            <p:ph type="pic" sz="quarter" idx="17" hasCustomPrompt="1"/>
          </p:nvPr>
        </p:nvSpPr>
        <p:spPr>
          <a:xfrm>
            <a:off x="0" y="0"/>
            <a:ext cx="12193200" cy="6858000"/>
          </a:xfrm>
          <a:prstGeom prst="rect">
            <a:avLst/>
          </a:prstGeom>
          <a:solidFill>
            <a:srgbClr val="D9DADB"/>
          </a:solidFill>
        </p:spPr>
        <p:txBody>
          <a:bodyPr wrap="square">
            <a:noAutofit/>
          </a:bodyPr>
          <a:lstStyle>
            <a:lvl1pPr marL="0" indent="0">
              <a:buNone/>
              <a:defRPr/>
            </a:lvl1pPr>
          </a:lstStyle>
          <a:p>
            <a:r>
              <a:rPr lang="en-US"/>
              <a:t>Insert picture</a:t>
            </a:r>
          </a:p>
        </p:txBody>
      </p:sp>
      <p:sp>
        <p:nvSpPr>
          <p:cNvPr id="9" name="copyright"/>
          <p:cNvSpPr txBox="1"/>
          <p:nvPr/>
        </p:nvSpPr>
        <p:spPr>
          <a:xfrm>
            <a:off x="10672209" y="6237288"/>
            <a:ext cx="500617" cy="358173"/>
          </a:xfrm>
          <a:prstGeom prst="rect">
            <a:avLst/>
          </a:prstGeom>
          <a:noFill/>
        </p:spPr>
        <p:txBody>
          <a:bodyPr wrap="none" lIns="0" tIns="0" rIns="0" bIns="0" rtlCol="0" anchor="b" anchorCtr="0">
            <a:noAutofit/>
          </a:bodyPr>
          <a:lstStyle/>
          <a:p>
            <a:pPr marL="0" indent="0" algn="r">
              <a:lnSpc>
                <a:spcPct val="125000"/>
              </a:lnSpc>
              <a:buClr>
                <a:schemeClr val="tx2"/>
              </a:buClr>
              <a:buFont typeface="Wingdings" panose="05000000000000000000" pitchFamily="2" charset="2"/>
              <a:buNone/>
            </a:pPr>
            <a:r>
              <a:rPr lang="en-US" sz="800">
                <a:solidFill>
                  <a:schemeClr val="bg1"/>
                </a:solidFill>
              </a:rPr>
              <a:t>© GfK</a:t>
            </a:r>
          </a:p>
        </p:txBody>
      </p:sp>
      <p:sp>
        <p:nvSpPr>
          <p:cNvPr id="21" name="Date Placeholder 20"/>
          <p:cNvSpPr>
            <a:spLocks noGrp="1"/>
          </p:cNvSpPr>
          <p:nvPr>
            <p:ph type="dt" sz="half" idx="14"/>
          </p:nvPr>
        </p:nvSpPr>
        <p:spPr/>
        <p:txBody>
          <a:bodyPr/>
          <a:lstStyle>
            <a:lvl1pPr>
              <a:defRPr>
                <a:solidFill>
                  <a:schemeClr val="bg1"/>
                </a:solidFill>
              </a:defRPr>
            </a:lvl1pPr>
          </a:lstStyle>
          <a:p>
            <a:endParaRPr lang="en-US"/>
          </a:p>
        </p:txBody>
      </p:sp>
      <p:sp>
        <p:nvSpPr>
          <p:cNvPr id="22" name="Footer Placeholder 21"/>
          <p:cNvSpPr>
            <a:spLocks noGrp="1"/>
          </p:cNvSpPr>
          <p:nvPr>
            <p:ph type="ftr" sz="quarter" idx="15"/>
          </p:nvPr>
        </p:nvSpPr>
        <p:spPr/>
        <p:txBody>
          <a:bodyPr/>
          <a:lstStyle>
            <a:lvl1pPr>
              <a:defRPr>
                <a:solidFill>
                  <a:schemeClr val="bg1"/>
                </a:solidFill>
              </a:defRPr>
            </a:lvl1pPr>
          </a:lstStyle>
          <a:p>
            <a:endParaRPr lang="en-US"/>
          </a:p>
        </p:txBody>
      </p:sp>
      <p:sp>
        <p:nvSpPr>
          <p:cNvPr id="23" name="Slide Number Placeholder 22"/>
          <p:cNvSpPr>
            <a:spLocks noGrp="1"/>
          </p:cNvSpPr>
          <p:nvPr>
            <p:ph type="sldNum" sz="quarter" idx="16"/>
          </p:nvPr>
        </p:nvSpPr>
        <p:spPr/>
        <p:txBody>
          <a:bodyPr/>
          <a:lstStyle>
            <a:lvl1pPr>
              <a:defRPr>
                <a:solidFill>
                  <a:schemeClr val="bg1"/>
                </a:solidFill>
              </a:defRPr>
            </a:lvl1pPr>
          </a:lstStyle>
          <a:p>
            <a:fld id="{5F3E29E4-0979-4FCA-B4C5-5FC6044C982A}" type="slidenum">
              <a:rPr lang="en-US" smtClean="0"/>
              <a:pPr/>
              <a:t>‹#›</a:t>
            </a:fld>
            <a:endParaRPr lang="en-US"/>
          </a:p>
        </p:txBody>
      </p:sp>
      <p:sp>
        <p:nvSpPr>
          <p:cNvPr id="2" name="Title 1"/>
          <p:cNvSpPr>
            <a:spLocks noGrp="1"/>
          </p:cNvSpPr>
          <p:nvPr>
            <p:ph type="title" hasCustomPrompt="1"/>
          </p:nvPr>
        </p:nvSpPr>
        <p:spPr>
          <a:xfrm>
            <a:off x="6543675" y="1519552"/>
            <a:ext cx="4629150" cy="4249423"/>
          </a:xfrm>
        </p:spPr>
        <p:txBody>
          <a:bodyPr/>
          <a:lstStyle>
            <a:lvl1pPr>
              <a:defRPr>
                <a:solidFill>
                  <a:schemeClr val="bg1"/>
                </a:solidFill>
              </a:defRPr>
            </a:lvl1pPr>
          </a:lstStyle>
          <a:p>
            <a:r>
              <a:rPr lang="en-US"/>
              <a:t>Click to add text</a:t>
            </a:r>
          </a:p>
        </p:txBody>
      </p:sp>
      <p:sp>
        <p:nvSpPr>
          <p:cNvPr id="8" name="Text Placeholder 4"/>
          <p:cNvSpPr>
            <a:spLocks noGrp="1"/>
          </p:cNvSpPr>
          <p:nvPr>
            <p:ph type="body" sz="quarter" idx="18" hasCustomPrompt="1"/>
          </p:nvPr>
        </p:nvSpPr>
        <p:spPr>
          <a:xfrm>
            <a:off x="1075063" y="6307665"/>
            <a:ext cx="8162717" cy="133200"/>
          </a:xfrm>
        </p:spPr>
        <p:txBody>
          <a:bodyPr lIns="0" tIns="0" rIns="0" bIns="0" anchor="b" anchorCtr="0"/>
          <a:lstStyle>
            <a:lvl1pPr marL="0" indent="0" algn="l">
              <a:lnSpc>
                <a:spcPct val="100000"/>
              </a:lnSpc>
              <a:spcBef>
                <a:spcPts val="0"/>
              </a:spcBef>
              <a:buNone/>
              <a:defRPr sz="800" baseline="0">
                <a:solidFill>
                  <a:schemeClr val="bg1"/>
                </a:solidFill>
              </a:defRPr>
            </a:lvl1pPr>
            <a:lvl2pPr marL="0" indent="0" algn="l">
              <a:lnSpc>
                <a:spcPct val="100000"/>
              </a:lnSpc>
              <a:spcBef>
                <a:spcPts val="0"/>
              </a:spcBef>
              <a:buNone/>
              <a:defRPr sz="800">
                <a:solidFill>
                  <a:schemeClr val="bg1"/>
                </a:solidFill>
              </a:defRPr>
            </a:lvl2pPr>
            <a:lvl3pPr marL="0" indent="0" algn="l">
              <a:lnSpc>
                <a:spcPct val="100000"/>
              </a:lnSpc>
              <a:spcBef>
                <a:spcPts val="0"/>
              </a:spcBef>
              <a:buNone/>
              <a:defRPr sz="800">
                <a:solidFill>
                  <a:schemeClr val="bg1"/>
                </a:solidFill>
              </a:defRPr>
            </a:lvl3pPr>
            <a:lvl4pPr marL="0" algn="l">
              <a:lnSpc>
                <a:spcPct val="100000"/>
              </a:lnSpc>
              <a:spcBef>
                <a:spcPts val="0"/>
              </a:spcBef>
              <a:buNone/>
              <a:defRPr sz="800">
                <a:solidFill>
                  <a:schemeClr val="bg1"/>
                </a:solidFill>
              </a:defRPr>
            </a:lvl4pPr>
            <a:lvl5pPr marL="0" indent="0" algn="l">
              <a:lnSpc>
                <a:spcPct val="100000"/>
              </a:lnSpc>
              <a:spcBef>
                <a:spcPts val="0"/>
              </a:spcBef>
              <a:buNone/>
              <a:defRPr sz="800">
                <a:solidFill>
                  <a:schemeClr val="bg1"/>
                </a:solidFill>
              </a:defRPr>
            </a:lvl5pPr>
          </a:lstStyle>
          <a:p>
            <a:pPr lvl="0"/>
            <a:r>
              <a:rPr lang="en-US"/>
              <a:t>Source line</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55208359"/>
      </p:ext>
    </p:extLst>
  </p:cSld>
  <p:clrMapOvr>
    <a:masterClrMapping/>
  </p:clrMapOvr>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p:cSld name="Two pictures">
    <p:spTree>
      <p:nvGrpSpPr>
        <p:cNvPr id="1" name=""/>
        <p:cNvGrpSpPr/>
        <p:nvPr/>
      </p:nvGrpSpPr>
      <p:grpSpPr>
        <a:xfrm>
          <a:off x="0" y="0"/>
          <a:ext cx="0" cy="0"/>
          <a:chOff x="0" y="0"/>
          <a:chExt cx="0" cy="0"/>
        </a:xfrm>
      </p:grpSpPr>
      <p:sp>
        <p:nvSpPr>
          <p:cNvPr id="21" name="Date Placeholder 20"/>
          <p:cNvSpPr>
            <a:spLocks noGrp="1"/>
          </p:cNvSpPr>
          <p:nvPr>
            <p:ph type="dt" sz="half" idx="14"/>
          </p:nvPr>
        </p:nvSpPr>
        <p:spPr/>
        <p:txBody>
          <a:bodyPr/>
          <a:lstStyle/>
          <a:p>
            <a:endParaRPr lang="en-US"/>
          </a:p>
        </p:txBody>
      </p:sp>
      <p:sp>
        <p:nvSpPr>
          <p:cNvPr id="22" name="Footer Placeholder 21"/>
          <p:cNvSpPr>
            <a:spLocks noGrp="1"/>
          </p:cNvSpPr>
          <p:nvPr>
            <p:ph type="ftr" sz="quarter" idx="15"/>
          </p:nvPr>
        </p:nvSpPr>
        <p:spPr/>
        <p:txBody>
          <a:bodyPr/>
          <a:lstStyle/>
          <a:p>
            <a:endParaRPr lang="en-US"/>
          </a:p>
        </p:txBody>
      </p:sp>
      <p:sp>
        <p:nvSpPr>
          <p:cNvPr id="23" name="Slide Number Placeholder 22"/>
          <p:cNvSpPr>
            <a:spLocks noGrp="1"/>
          </p:cNvSpPr>
          <p:nvPr>
            <p:ph type="sldNum" sz="quarter" idx="16"/>
          </p:nvPr>
        </p:nvSpPr>
        <p:spPr/>
        <p:txBody>
          <a:bodyPr/>
          <a:lstStyle/>
          <a:p>
            <a:fld id="{5F3E29E4-0979-4FCA-B4C5-5FC6044C982A}" type="slidenum">
              <a:rPr lang="en-US" smtClean="0"/>
              <a:t>‹#›</a:t>
            </a:fld>
            <a:endParaRPr lang="en-US"/>
          </a:p>
        </p:txBody>
      </p:sp>
      <p:sp>
        <p:nvSpPr>
          <p:cNvPr id="2" name="Title 1"/>
          <p:cNvSpPr>
            <a:spLocks noGrp="1"/>
          </p:cNvSpPr>
          <p:nvPr>
            <p:ph type="title" hasCustomPrompt="1"/>
          </p:nvPr>
        </p:nvSpPr>
        <p:spPr/>
        <p:txBody>
          <a:bodyPr/>
          <a:lstStyle>
            <a:lvl1pPr>
              <a:defRPr/>
            </a:lvl1pPr>
          </a:lstStyle>
          <a:p>
            <a:r>
              <a:rPr lang="en-US"/>
              <a:t>Click to add slide title</a:t>
            </a:r>
          </a:p>
        </p:txBody>
      </p:sp>
      <p:sp>
        <p:nvSpPr>
          <p:cNvPr id="7" name="Subtitle 2"/>
          <p:cNvSpPr>
            <a:spLocks noGrp="1"/>
          </p:cNvSpPr>
          <p:nvPr>
            <p:ph type="subTitle" idx="13" hasCustomPrompt="1"/>
          </p:nvPr>
        </p:nvSpPr>
        <p:spPr>
          <a:xfrm>
            <a:off x="1075061" y="964671"/>
            <a:ext cx="7910158" cy="490042"/>
          </a:xfrm>
        </p:spPr>
        <p:txBody>
          <a:bodyPr wrap="none"/>
          <a:lstStyle>
            <a:lvl1pPr marL="0" indent="0" algn="l">
              <a:spcBef>
                <a:spcPts val="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sp>
        <p:nvSpPr>
          <p:cNvPr id="5" name="Picture Placeholder 4"/>
          <p:cNvSpPr>
            <a:spLocks noGrp="1"/>
          </p:cNvSpPr>
          <p:nvPr>
            <p:ph type="pic" sz="quarter" idx="17" hasCustomPrompt="1"/>
          </p:nvPr>
        </p:nvSpPr>
        <p:spPr>
          <a:xfrm>
            <a:off x="1075062" y="1637783"/>
            <a:ext cx="5220000" cy="4599506"/>
          </a:xfrm>
          <a:solidFill>
            <a:srgbClr val="D9DADB"/>
          </a:solidFill>
        </p:spPr>
        <p:txBody>
          <a:bodyPr/>
          <a:lstStyle>
            <a:lvl1pPr marL="0" indent="0">
              <a:buNone/>
              <a:defRPr/>
            </a:lvl1pPr>
          </a:lstStyle>
          <a:p>
            <a:r>
              <a:rPr lang="en-US"/>
              <a:t>Insert picture</a:t>
            </a:r>
          </a:p>
        </p:txBody>
      </p:sp>
      <p:sp>
        <p:nvSpPr>
          <p:cNvPr id="9" name="Picture Placeholder 4"/>
          <p:cNvSpPr>
            <a:spLocks noGrp="1"/>
          </p:cNvSpPr>
          <p:nvPr>
            <p:ph type="pic" sz="quarter" idx="18" hasCustomPrompt="1"/>
          </p:nvPr>
        </p:nvSpPr>
        <p:spPr>
          <a:xfrm>
            <a:off x="6600525" y="1637783"/>
            <a:ext cx="5220000" cy="4599506"/>
          </a:xfrm>
          <a:solidFill>
            <a:srgbClr val="D9DADB"/>
          </a:solidFill>
        </p:spPr>
        <p:txBody>
          <a:bodyPr/>
          <a:lstStyle>
            <a:lvl1pPr marL="0" indent="0">
              <a:buNone/>
              <a:defRPr/>
            </a:lvl1pPr>
          </a:lstStyle>
          <a:p>
            <a:r>
              <a:rPr lang="en-US"/>
              <a:t>Insert picture</a:t>
            </a:r>
          </a:p>
        </p:txBody>
      </p:sp>
      <p:sp>
        <p:nvSpPr>
          <p:cNvPr id="11" name="Text Placeholder 4"/>
          <p:cNvSpPr>
            <a:spLocks noGrp="1"/>
          </p:cNvSpPr>
          <p:nvPr>
            <p:ph type="body" sz="quarter" idx="19" hasCustomPrompt="1"/>
          </p:nvPr>
        </p:nvSpPr>
        <p:spPr>
          <a:xfrm>
            <a:off x="1075063" y="6307665"/>
            <a:ext cx="8162717" cy="133200"/>
          </a:xfrm>
        </p:spPr>
        <p:txBody>
          <a:bodyPr lIns="0" tIns="0" rIns="0" bIns="0" anchor="b" anchorCtr="0"/>
          <a:lstStyle>
            <a:lvl1pPr marL="0" indent="0" algn="l">
              <a:lnSpc>
                <a:spcPct val="100000"/>
              </a:lnSpc>
              <a:spcBef>
                <a:spcPts val="0"/>
              </a:spcBef>
              <a:buNone/>
              <a:defRPr sz="800" baseline="0"/>
            </a:lvl1pPr>
            <a:lvl2pPr marL="0" indent="0" algn="l">
              <a:lnSpc>
                <a:spcPct val="100000"/>
              </a:lnSpc>
              <a:spcBef>
                <a:spcPts val="0"/>
              </a:spcBef>
              <a:buNone/>
              <a:defRPr sz="800"/>
            </a:lvl2pPr>
            <a:lvl3pPr marL="0" indent="0" algn="l">
              <a:lnSpc>
                <a:spcPct val="100000"/>
              </a:lnSpc>
              <a:spcBef>
                <a:spcPts val="0"/>
              </a:spcBef>
              <a:buNone/>
              <a:defRPr sz="800"/>
            </a:lvl3pPr>
            <a:lvl4pPr marL="0" algn="l">
              <a:lnSpc>
                <a:spcPct val="100000"/>
              </a:lnSpc>
              <a:spcBef>
                <a:spcPts val="0"/>
              </a:spcBef>
              <a:buNone/>
              <a:defRPr sz="800"/>
            </a:lvl4pPr>
            <a:lvl5pPr marL="0" indent="0" algn="l">
              <a:lnSpc>
                <a:spcPct val="100000"/>
              </a:lnSpc>
              <a:spcBef>
                <a:spcPts val="0"/>
              </a:spcBef>
              <a:buNone/>
              <a:defRPr sz="800"/>
            </a:lvl5pPr>
          </a:lstStyle>
          <a:p>
            <a:pPr lvl="0"/>
            <a:r>
              <a:rPr lang="en-US"/>
              <a:t>Source line</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38781707"/>
      </p:ext>
    </p:extLst>
  </p:cSld>
  <p:clrMapOvr>
    <a:masterClrMapping/>
  </p:clrMapOvr>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p:cSld name="Two contents">
    <p:spTree>
      <p:nvGrpSpPr>
        <p:cNvPr id="1" name=""/>
        <p:cNvGrpSpPr/>
        <p:nvPr/>
      </p:nvGrpSpPr>
      <p:grpSpPr>
        <a:xfrm>
          <a:off x="0" y="0"/>
          <a:ext cx="0" cy="0"/>
          <a:chOff x="0" y="0"/>
          <a:chExt cx="0" cy="0"/>
        </a:xfrm>
      </p:grpSpPr>
      <p:sp>
        <p:nvSpPr>
          <p:cNvPr id="21" name="Date Placeholder 20"/>
          <p:cNvSpPr>
            <a:spLocks noGrp="1"/>
          </p:cNvSpPr>
          <p:nvPr>
            <p:ph type="dt" sz="half" idx="14"/>
          </p:nvPr>
        </p:nvSpPr>
        <p:spPr/>
        <p:txBody>
          <a:bodyPr/>
          <a:lstStyle/>
          <a:p>
            <a:endParaRPr lang="en-US"/>
          </a:p>
        </p:txBody>
      </p:sp>
      <p:sp>
        <p:nvSpPr>
          <p:cNvPr id="22" name="Footer Placeholder 21"/>
          <p:cNvSpPr>
            <a:spLocks noGrp="1"/>
          </p:cNvSpPr>
          <p:nvPr>
            <p:ph type="ftr" sz="quarter" idx="15"/>
          </p:nvPr>
        </p:nvSpPr>
        <p:spPr/>
        <p:txBody>
          <a:bodyPr/>
          <a:lstStyle/>
          <a:p>
            <a:endParaRPr lang="en-US"/>
          </a:p>
        </p:txBody>
      </p:sp>
      <p:sp>
        <p:nvSpPr>
          <p:cNvPr id="23" name="Slide Number Placeholder 22"/>
          <p:cNvSpPr>
            <a:spLocks noGrp="1"/>
          </p:cNvSpPr>
          <p:nvPr>
            <p:ph type="sldNum" sz="quarter" idx="16"/>
          </p:nvPr>
        </p:nvSpPr>
        <p:spPr/>
        <p:txBody>
          <a:bodyPr/>
          <a:lstStyle/>
          <a:p>
            <a:fld id="{5F3E29E4-0979-4FCA-B4C5-5FC6044C982A}" type="slidenum">
              <a:rPr lang="en-US" smtClean="0"/>
              <a:t>‹#›</a:t>
            </a:fld>
            <a:endParaRPr lang="en-US"/>
          </a:p>
        </p:txBody>
      </p:sp>
      <p:sp>
        <p:nvSpPr>
          <p:cNvPr id="2" name="Title 1"/>
          <p:cNvSpPr>
            <a:spLocks noGrp="1"/>
          </p:cNvSpPr>
          <p:nvPr>
            <p:ph type="title" hasCustomPrompt="1"/>
          </p:nvPr>
        </p:nvSpPr>
        <p:spPr/>
        <p:txBody>
          <a:bodyPr/>
          <a:lstStyle>
            <a:lvl1pPr>
              <a:defRPr/>
            </a:lvl1pPr>
          </a:lstStyle>
          <a:p>
            <a:r>
              <a:rPr lang="en-US"/>
              <a:t>Click to add slide title</a:t>
            </a:r>
          </a:p>
        </p:txBody>
      </p:sp>
      <p:sp>
        <p:nvSpPr>
          <p:cNvPr id="7" name="Subtitle 2"/>
          <p:cNvSpPr>
            <a:spLocks noGrp="1"/>
          </p:cNvSpPr>
          <p:nvPr>
            <p:ph type="subTitle" idx="13" hasCustomPrompt="1"/>
          </p:nvPr>
        </p:nvSpPr>
        <p:spPr>
          <a:xfrm>
            <a:off x="1075061" y="964671"/>
            <a:ext cx="7910158" cy="490042"/>
          </a:xfrm>
        </p:spPr>
        <p:txBody>
          <a:bodyPr wrap="none"/>
          <a:lstStyle>
            <a:lvl1pPr marL="0" indent="0" algn="l">
              <a:spcBef>
                <a:spcPts val="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sp>
        <p:nvSpPr>
          <p:cNvPr id="3" name="Content Placeholder 2"/>
          <p:cNvSpPr>
            <a:spLocks noGrp="1"/>
          </p:cNvSpPr>
          <p:nvPr>
            <p:ph idx="1" hasCustomPrompt="1"/>
          </p:nvPr>
        </p:nvSpPr>
        <p:spPr>
          <a:xfrm>
            <a:off x="1075062" y="1629618"/>
            <a:ext cx="5220000" cy="4139357"/>
          </a:xfrm>
        </p:spPr>
        <p:txBody>
          <a:bodyPr/>
          <a:lstStyle>
            <a:lvl1pPr>
              <a:defRPr/>
            </a:lvl1pPr>
          </a:lstStyle>
          <a:p>
            <a:pPr lvl="0"/>
            <a:r>
              <a:rPr lang="en-US"/>
              <a:t>Click to add text or content</a:t>
            </a:r>
          </a:p>
          <a:p>
            <a:pPr lvl="1"/>
            <a:r>
              <a:rPr lang="en-US"/>
              <a:t>Second level</a:t>
            </a:r>
          </a:p>
          <a:p>
            <a:pPr lvl="2"/>
            <a:r>
              <a:rPr lang="en-US"/>
              <a:t>Third level</a:t>
            </a:r>
          </a:p>
          <a:p>
            <a:pPr lvl="3"/>
            <a:r>
              <a:rPr lang="en-US"/>
              <a:t>Fourth level</a:t>
            </a:r>
          </a:p>
          <a:p>
            <a:pPr lvl="4"/>
            <a:r>
              <a:rPr lang="en-US"/>
              <a:t>Fifth level</a:t>
            </a:r>
          </a:p>
        </p:txBody>
      </p:sp>
      <p:sp>
        <p:nvSpPr>
          <p:cNvPr id="9" name="Content Placeholder 2"/>
          <p:cNvSpPr>
            <a:spLocks noGrp="1"/>
          </p:cNvSpPr>
          <p:nvPr>
            <p:ph idx="17" hasCustomPrompt="1"/>
          </p:nvPr>
        </p:nvSpPr>
        <p:spPr>
          <a:xfrm>
            <a:off x="6600525" y="1629618"/>
            <a:ext cx="5220000" cy="4139357"/>
          </a:xfrm>
        </p:spPr>
        <p:txBody>
          <a:bodyPr/>
          <a:lstStyle>
            <a:lvl1pPr>
              <a:defRPr/>
            </a:lvl1pPr>
          </a:lstStyle>
          <a:p>
            <a:pPr lvl="0"/>
            <a:r>
              <a:rPr lang="en-US"/>
              <a:t>Click to add text or content</a:t>
            </a:r>
          </a:p>
          <a:p>
            <a:pPr lvl="1"/>
            <a:r>
              <a:rPr lang="en-US"/>
              <a:t>Second level</a:t>
            </a:r>
          </a:p>
          <a:p>
            <a:pPr lvl="2"/>
            <a:r>
              <a:rPr lang="en-US"/>
              <a:t>Third level</a:t>
            </a:r>
          </a:p>
          <a:p>
            <a:pPr lvl="3"/>
            <a:r>
              <a:rPr lang="en-US"/>
              <a:t>Fourth level</a:t>
            </a:r>
          </a:p>
          <a:p>
            <a:pPr lvl="4"/>
            <a:r>
              <a:rPr lang="en-US"/>
              <a:t>Fifth level</a:t>
            </a:r>
          </a:p>
        </p:txBody>
      </p:sp>
      <p:sp>
        <p:nvSpPr>
          <p:cNvPr id="11" name="Text Placeholder 4"/>
          <p:cNvSpPr>
            <a:spLocks noGrp="1"/>
          </p:cNvSpPr>
          <p:nvPr>
            <p:ph type="body" sz="quarter" idx="18" hasCustomPrompt="1"/>
          </p:nvPr>
        </p:nvSpPr>
        <p:spPr>
          <a:xfrm>
            <a:off x="1075063" y="6307665"/>
            <a:ext cx="8162717" cy="133200"/>
          </a:xfrm>
        </p:spPr>
        <p:txBody>
          <a:bodyPr lIns="0" tIns="0" rIns="0" bIns="0" anchor="b" anchorCtr="0"/>
          <a:lstStyle>
            <a:lvl1pPr marL="0" indent="0" algn="l">
              <a:lnSpc>
                <a:spcPct val="100000"/>
              </a:lnSpc>
              <a:spcBef>
                <a:spcPts val="0"/>
              </a:spcBef>
              <a:buNone/>
              <a:defRPr sz="800" baseline="0"/>
            </a:lvl1pPr>
            <a:lvl2pPr marL="0" indent="0" algn="l">
              <a:lnSpc>
                <a:spcPct val="100000"/>
              </a:lnSpc>
              <a:spcBef>
                <a:spcPts val="0"/>
              </a:spcBef>
              <a:buNone/>
              <a:defRPr sz="800"/>
            </a:lvl2pPr>
            <a:lvl3pPr marL="0" indent="0" algn="l">
              <a:lnSpc>
                <a:spcPct val="100000"/>
              </a:lnSpc>
              <a:spcBef>
                <a:spcPts val="0"/>
              </a:spcBef>
              <a:buNone/>
              <a:defRPr sz="800"/>
            </a:lvl3pPr>
            <a:lvl4pPr marL="0" algn="l">
              <a:lnSpc>
                <a:spcPct val="100000"/>
              </a:lnSpc>
              <a:spcBef>
                <a:spcPts val="0"/>
              </a:spcBef>
              <a:buNone/>
              <a:defRPr sz="800"/>
            </a:lvl4pPr>
            <a:lvl5pPr marL="0" indent="0" algn="l">
              <a:lnSpc>
                <a:spcPct val="100000"/>
              </a:lnSpc>
              <a:spcBef>
                <a:spcPts val="0"/>
              </a:spcBef>
              <a:buNone/>
              <a:defRPr sz="800"/>
            </a:lvl5pPr>
          </a:lstStyle>
          <a:p>
            <a:pPr lvl="0"/>
            <a:r>
              <a:rPr lang="en-US"/>
              <a:t>Source line</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76433828"/>
      </p:ext>
    </p:extLst>
  </p:cSld>
  <p:clrMapOvr>
    <a:masterClrMapping/>
  </p:clrMapOvr>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p:cSld name="Three contents">
    <p:spTree>
      <p:nvGrpSpPr>
        <p:cNvPr id="1" name=""/>
        <p:cNvGrpSpPr/>
        <p:nvPr/>
      </p:nvGrpSpPr>
      <p:grpSpPr>
        <a:xfrm>
          <a:off x="0" y="0"/>
          <a:ext cx="0" cy="0"/>
          <a:chOff x="0" y="0"/>
          <a:chExt cx="0" cy="0"/>
        </a:xfrm>
      </p:grpSpPr>
      <p:sp>
        <p:nvSpPr>
          <p:cNvPr id="21" name="Date Placeholder 20"/>
          <p:cNvSpPr>
            <a:spLocks noGrp="1"/>
          </p:cNvSpPr>
          <p:nvPr>
            <p:ph type="dt" sz="half" idx="14"/>
          </p:nvPr>
        </p:nvSpPr>
        <p:spPr/>
        <p:txBody>
          <a:bodyPr/>
          <a:lstStyle/>
          <a:p>
            <a:endParaRPr lang="en-US"/>
          </a:p>
        </p:txBody>
      </p:sp>
      <p:sp>
        <p:nvSpPr>
          <p:cNvPr id="22" name="Footer Placeholder 21"/>
          <p:cNvSpPr>
            <a:spLocks noGrp="1"/>
          </p:cNvSpPr>
          <p:nvPr>
            <p:ph type="ftr" sz="quarter" idx="15"/>
          </p:nvPr>
        </p:nvSpPr>
        <p:spPr/>
        <p:txBody>
          <a:bodyPr/>
          <a:lstStyle/>
          <a:p>
            <a:endParaRPr lang="en-US"/>
          </a:p>
        </p:txBody>
      </p:sp>
      <p:sp>
        <p:nvSpPr>
          <p:cNvPr id="23" name="Slide Number Placeholder 22"/>
          <p:cNvSpPr>
            <a:spLocks noGrp="1"/>
          </p:cNvSpPr>
          <p:nvPr>
            <p:ph type="sldNum" sz="quarter" idx="16"/>
          </p:nvPr>
        </p:nvSpPr>
        <p:spPr/>
        <p:txBody>
          <a:bodyPr/>
          <a:lstStyle/>
          <a:p>
            <a:fld id="{5F3E29E4-0979-4FCA-B4C5-5FC6044C982A}" type="slidenum">
              <a:rPr lang="en-US" smtClean="0"/>
              <a:t>‹#›</a:t>
            </a:fld>
            <a:endParaRPr lang="en-US"/>
          </a:p>
        </p:txBody>
      </p:sp>
      <p:sp>
        <p:nvSpPr>
          <p:cNvPr id="2" name="Title 1"/>
          <p:cNvSpPr>
            <a:spLocks noGrp="1"/>
          </p:cNvSpPr>
          <p:nvPr>
            <p:ph type="title" hasCustomPrompt="1"/>
          </p:nvPr>
        </p:nvSpPr>
        <p:spPr/>
        <p:txBody>
          <a:bodyPr/>
          <a:lstStyle>
            <a:lvl1pPr>
              <a:defRPr/>
            </a:lvl1pPr>
          </a:lstStyle>
          <a:p>
            <a:r>
              <a:rPr lang="en-US"/>
              <a:t>Click to add slide title</a:t>
            </a:r>
          </a:p>
        </p:txBody>
      </p:sp>
      <p:sp>
        <p:nvSpPr>
          <p:cNvPr id="7" name="Subtitle 2"/>
          <p:cNvSpPr>
            <a:spLocks noGrp="1"/>
          </p:cNvSpPr>
          <p:nvPr>
            <p:ph type="subTitle" idx="13" hasCustomPrompt="1"/>
          </p:nvPr>
        </p:nvSpPr>
        <p:spPr>
          <a:xfrm>
            <a:off x="1075061" y="964671"/>
            <a:ext cx="7910158" cy="490042"/>
          </a:xfrm>
        </p:spPr>
        <p:txBody>
          <a:bodyPr wrap="none"/>
          <a:lstStyle>
            <a:lvl1pPr marL="0" indent="0" algn="l">
              <a:spcBef>
                <a:spcPts val="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sp>
        <p:nvSpPr>
          <p:cNvPr id="3" name="Content Placeholder 2"/>
          <p:cNvSpPr>
            <a:spLocks noGrp="1"/>
          </p:cNvSpPr>
          <p:nvPr>
            <p:ph idx="1" hasCustomPrompt="1"/>
          </p:nvPr>
        </p:nvSpPr>
        <p:spPr>
          <a:xfrm>
            <a:off x="1075061" y="1629618"/>
            <a:ext cx="3384000" cy="4139357"/>
          </a:xfrm>
        </p:spPr>
        <p:txBody>
          <a:bodyPr/>
          <a:lstStyle>
            <a:lvl1pPr>
              <a:defRPr/>
            </a:lvl1pPr>
          </a:lstStyle>
          <a:p>
            <a:pPr lvl="0"/>
            <a:r>
              <a:rPr lang="en-US"/>
              <a:t>Click to add text or content</a:t>
            </a:r>
          </a:p>
          <a:p>
            <a:pPr lvl="1"/>
            <a:r>
              <a:rPr lang="en-US"/>
              <a:t>Second level</a:t>
            </a:r>
          </a:p>
          <a:p>
            <a:pPr lvl="2"/>
            <a:r>
              <a:rPr lang="en-US"/>
              <a:t>Third level</a:t>
            </a:r>
          </a:p>
          <a:p>
            <a:pPr lvl="3"/>
            <a:r>
              <a:rPr lang="en-US"/>
              <a:t>Fourth level</a:t>
            </a:r>
          </a:p>
          <a:p>
            <a:pPr lvl="4"/>
            <a:r>
              <a:rPr lang="en-US"/>
              <a:t>Fifth level</a:t>
            </a:r>
          </a:p>
        </p:txBody>
      </p:sp>
      <p:sp>
        <p:nvSpPr>
          <p:cNvPr id="9" name="Content Placeholder 2"/>
          <p:cNvSpPr>
            <a:spLocks noGrp="1"/>
          </p:cNvSpPr>
          <p:nvPr>
            <p:ph idx="17" hasCustomPrompt="1"/>
          </p:nvPr>
        </p:nvSpPr>
        <p:spPr>
          <a:xfrm>
            <a:off x="4755793" y="1629618"/>
            <a:ext cx="3384000" cy="4139357"/>
          </a:xfrm>
        </p:spPr>
        <p:txBody>
          <a:bodyPr/>
          <a:lstStyle>
            <a:lvl1pPr>
              <a:defRPr/>
            </a:lvl1pPr>
          </a:lstStyle>
          <a:p>
            <a:pPr lvl="0"/>
            <a:r>
              <a:rPr lang="en-US"/>
              <a:t>Click to add text or content</a:t>
            </a:r>
          </a:p>
          <a:p>
            <a:pPr lvl="1"/>
            <a:r>
              <a:rPr lang="en-US"/>
              <a:t>Second level</a:t>
            </a:r>
          </a:p>
          <a:p>
            <a:pPr lvl="2"/>
            <a:r>
              <a:rPr lang="en-US"/>
              <a:t>Third level</a:t>
            </a:r>
          </a:p>
          <a:p>
            <a:pPr lvl="3"/>
            <a:r>
              <a:rPr lang="en-US"/>
              <a:t>Fourth level</a:t>
            </a:r>
          </a:p>
          <a:p>
            <a:pPr lvl="4"/>
            <a:r>
              <a:rPr lang="en-US"/>
              <a:t>Fifth level</a:t>
            </a:r>
          </a:p>
        </p:txBody>
      </p:sp>
      <p:sp>
        <p:nvSpPr>
          <p:cNvPr id="10" name="Content Placeholder 2"/>
          <p:cNvSpPr>
            <a:spLocks noGrp="1"/>
          </p:cNvSpPr>
          <p:nvPr>
            <p:ph idx="18" hasCustomPrompt="1"/>
          </p:nvPr>
        </p:nvSpPr>
        <p:spPr>
          <a:xfrm>
            <a:off x="8436525" y="1629618"/>
            <a:ext cx="3384000" cy="4139357"/>
          </a:xfrm>
        </p:spPr>
        <p:txBody>
          <a:bodyPr/>
          <a:lstStyle>
            <a:lvl1pPr>
              <a:defRPr/>
            </a:lvl1pPr>
          </a:lstStyle>
          <a:p>
            <a:pPr lvl="0"/>
            <a:r>
              <a:rPr lang="en-US"/>
              <a:t>Click to add text or content</a:t>
            </a:r>
          </a:p>
          <a:p>
            <a:pPr lvl="1"/>
            <a:r>
              <a:rPr lang="en-US"/>
              <a:t>Second level</a:t>
            </a:r>
          </a:p>
          <a:p>
            <a:pPr lvl="2"/>
            <a:r>
              <a:rPr lang="en-US"/>
              <a:t>Third level</a:t>
            </a:r>
          </a:p>
          <a:p>
            <a:pPr lvl="3"/>
            <a:r>
              <a:rPr lang="en-US"/>
              <a:t>Fourth level</a:t>
            </a:r>
          </a:p>
          <a:p>
            <a:pPr lvl="4"/>
            <a:r>
              <a:rPr lang="en-US"/>
              <a:t>Fifth level</a:t>
            </a:r>
          </a:p>
        </p:txBody>
      </p:sp>
      <p:sp>
        <p:nvSpPr>
          <p:cNvPr id="12" name="Text Placeholder 4"/>
          <p:cNvSpPr>
            <a:spLocks noGrp="1"/>
          </p:cNvSpPr>
          <p:nvPr>
            <p:ph type="body" sz="quarter" idx="19" hasCustomPrompt="1"/>
          </p:nvPr>
        </p:nvSpPr>
        <p:spPr>
          <a:xfrm>
            <a:off x="1075063" y="6307665"/>
            <a:ext cx="8162717" cy="133200"/>
          </a:xfrm>
        </p:spPr>
        <p:txBody>
          <a:bodyPr lIns="0" tIns="0" rIns="0" bIns="0" anchor="b" anchorCtr="0"/>
          <a:lstStyle>
            <a:lvl1pPr marL="0" indent="0" algn="l">
              <a:lnSpc>
                <a:spcPct val="100000"/>
              </a:lnSpc>
              <a:spcBef>
                <a:spcPts val="0"/>
              </a:spcBef>
              <a:buNone/>
              <a:defRPr sz="800" baseline="0"/>
            </a:lvl1pPr>
            <a:lvl2pPr marL="0" indent="0" algn="l">
              <a:lnSpc>
                <a:spcPct val="100000"/>
              </a:lnSpc>
              <a:spcBef>
                <a:spcPts val="0"/>
              </a:spcBef>
              <a:buNone/>
              <a:defRPr sz="800"/>
            </a:lvl2pPr>
            <a:lvl3pPr marL="0" indent="0" algn="l">
              <a:lnSpc>
                <a:spcPct val="100000"/>
              </a:lnSpc>
              <a:spcBef>
                <a:spcPts val="0"/>
              </a:spcBef>
              <a:buNone/>
              <a:defRPr sz="800"/>
            </a:lvl3pPr>
            <a:lvl4pPr marL="0" algn="l">
              <a:lnSpc>
                <a:spcPct val="100000"/>
              </a:lnSpc>
              <a:spcBef>
                <a:spcPts val="0"/>
              </a:spcBef>
              <a:buNone/>
              <a:defRPr sz="800"/>
            </a:lvl4pPr>
            <a:lvl5pPr marL="0" indent="0" algn="l">
              <a:lnSpc>
                <a:spcPct val="100000"/>
              </a:lnSpc>
              <a:spcBef>
                <a:spcPts val="0"/>
              </a:spcBef>
              <a:buNone/>
              <a:defRPr sz="800"/>
            </a:lvl5pPr>
          </a:lstStyle>
          <a:p>
            <a:pPr lvl="0"/>
            <a:r>
              <a:rPr lang="en-US"/>
              <a:t>Source line</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09958849"/>
      </p:ext>
    </p:extLst>
  </p:cSld>
  <p:clrMapOvr>
    <a:masterClrMapping/>
  </p:clrMapOvr>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p:cSld name="Four contents 1">
    <p:spTree>
      <p:nvGrpSpPr>
        <p:cNvPr id="1" name=""/>
        <p:cNvGrpSpPr/>
        <p:nvPr/>
      </p:nvGrpSpPr>
      <p:grpSpPr>
        <a:xfrm>
          <a:off x="0" y="0"/>
          <a:ext cx="0" cy="0"/>
          <a:chOff x="0" y="0"/>
          <a:chExt cx="0" cy="0"/>
        </a:xfrm>
      </p:grpSpPr>
      <p:sp>
        <p:nvSpPr>
          <p:cNvPr id="21" name="Date Placeholder 20"/>
          <p:cNvSpPr>
            <a:spLocks noGrp="1"/>
          </p:cNvSpPr>
          <p:nvPr>
            <p:ph type="dt" sz="half" idx="14"/>
          </p:nvPr>
        </p:nvSpPr>
        <p:spPr/>
        <p:txBody>
          <a:bodyPr/>
          <a:lstStyle/>
          <a:p>
            <a:endParaRPr lang="en-US"/>
          </a:p>
        </p:txBody>
      </p:sp>
      <p:sp>
        <p:nvSpPr>
          <p:cNvPr id="22" name="Footer Placeholder 21"/>
          <p:cNvSpPr>
            <a:spLocks noGrp="1"/>
          </p:cNvSpPr>
          <p:nvPr>
            <p:ph type="ftr" sz="quarter" idx="15"/>
          </p:nvPr>
        </p:nvSpPr>
        <p:spPr/>
        <p:txBody>
          <a:bodyPr/>
          <a:lstStyle/>
          <a:p>
            <a:endParaRPr lang="en-US"/>
          </a:p>
        </p:txBody>
      </p:sp>
      <p:sp>
        <p:nvSpPr>
          <p:cNvPr id="23" name="Slide Number Placeholder 22"/>
          <p:cNvSpPr>
            <a:spLocks noGrp="1"/>
          </p:cNvSpPr>
          <p:nvPr>
            <p:ph type="sldNum" sz="quarter" idx="16"/>
          </p:nvPr>
        </p:nvSpPr>
        <p:spPr/>
        <p:txBody>
          <a:bodyPr/>
          <a:lstStyle/>
          <a:p>
            <a:fld id="{5F3E29E4-0979-4FCA-B4C5-5FC6044C982A}" type="slidenum">
              <a:rPr lang="en-US" smtClean="0"/>
              <a:t>‹#›</a:t>
            </a:fld>
            <a:endParaRPr lang="en-US"/>
          </a:p>
        </p:txBody>
      </p:sp>
      <p:sp>
        <p:nvSpPr>
          <p:cNvPr id="2" name="Title 1"/>
          <p:cNvSpPr>
            <a:spLocks noGrp="1"/>
          </p:cNvSpPr>
          <p:nvPr>
            <p:ph type="title" hasCustomPrompt="1"/>
          </p:nvPr>
        </p:nvSpPr>
        <p:spPr/>
        <p:txBody>
          <a:bodyPr/>
          <a:lstStyle>
            <a:lvl1pPr>
              <a:defRPr/>
            </a:lvl1pPr>
          </a:lstStyle>
          <a:p>
            <a:r>
              <a:rPr lang="en-US"/>
              <a:t>Click to add slide title</a:t>
            </a:r>
          </a:p>
        </p:txBody>
      </p:sp>
      <p:sp>
        <p:nvSpPr>
          <p:cNvPr id="7" name="Subtitle 2"/>
          <p:cNvSpPr>
            <a:spLocks noGrp="1"/>
          </p:cNvSpPr>
          <p:nvPr>
            <p:ph type="subTitle" idx="13" hasCustomPrompt="1"/>
          </p:nvPr>
        </p:nvSpPr>
        <p:spPr>
          <a:xfrm>
            <a:off x="1075061" y="964671"/>
            <a:ext cx="7910158" cy="490042"/>
          </a:xfrm>
        </p:spPr>
        <p:txBody>
          <a:bodyPr wrap="none"/>
          <a:lstStyle>
            <a:lvl1pPr marL="0" indent="0" algn="l">
              <a:spcBef>
                <a:spcPts val="0"/>
              </a:spcBef>
              <a:buNone/>
              <a:defRPr sz="2400" baseline="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sp>
        <p:nvSpPr>
          <p:cNvPr id="3" name="Content Placeholder 2"/>
          <p:cNvSpPr>
            <a:spLocks noGrp="1"/>
          </p:cNvSpPr>
          <p:nvPr>
            <p:ph idx="1" hasCustomPrompt="1"/>
          </p:nvPr>
        </p:nvSpPr>
        <p:spPr>
          <a:xfrm>
            <a:off x="192088" y="1629618"/>
            <a:ext cx="2682000" cy="4139357"/>
          </a:xfrm>
        </p:spPr>
        <p:txBody>
          <a:bodyPr/>
          <a:lstStyle>
            <a:lvl1pPr>
              <a:defRPr/>
            </a:lvl1pPr>
          </a:lstStyle>
          <a:p>
            <a:pPr lvl="0"/>
            <a:r>
              <a:rPr lang="en-US"/>
              <a:t>Click to add text or content</a:t>
            </a:r>
          </a:p>
          <a:p>
            <a:pPr lvl="1"/>
            <a:r>
              <a:rPr lang="en-US"/>
              <a:t>Second level</a:t>
            </a:r>
          </a:p>
          <a:p>
            <a:pPr lvl="2"/>
            <a:r>
              <a:rPr lang="en-US"/>
              <a:t>Third level</a:t>
            </a:r>
          </a:p>
          <a:p>
            <a:pPr lvl="3"/>
            <a:r>
              <a:rPr lang="en-US"/>
              <a:t>Fourth level</a:t>
            </a:r>
          </a:p>
          <a:p>
            <a:pPr lvl="4"/>
            <a:r>
              <a:rPr lang="en-US"/>
              <a:t>Fifth level</a:t>
            </a:r>
          </a:p>
        </p:txBody>
      </p:sp>
      <p:sp>
        <p:nvSpPr>
          <p:cNvPr id="9" name="Content Placeholder 2"/>
          <p:cNvSpPr>
            <a:spLocks noGrp="1"/>
          </p:cNvSpPr>
          <p:nvPr>
            <p:ph idx="17" hasCustomPrompt="1"/>
          </p:nvPr>
        </p:nvSpPr>
        <p:spPr>
          <a:xfrm>
            <a:off x="3174234" y="1629618"/>
            <a:ext cx="2682000" cy="4139357"/>
          </a:xfrm>
        </p:spPr>
        <p:txBody>
          <a:bodyPr/>
          <a:lstStyle>
            <a:lvl1pPr>
              <a:defRPr/>
            </a:lvl1pPr>
          </a:lstStyle>
          <a:p>
            <a:pPr lvl="0"/>
            <a:r>
              <a:rPr lang="en-US"/>
              <a:t>Click to add text or content</a:t>
            </a:r>
          </a:p>
          <a:p>
            <a:pPr lvl="1"/>
            <a:r>
              <a:rPr lang="en-US"/>
              <a:t>Second level</a:t>
            </a:r>
          </a:p>
          <a:p>
            <a:pPr lvl="2"/>
            <a:r>
              <a:rPr lang="en-US"/>
              <a:t>Third level</a:t>
            </a:r>
          </a:p>
          <a:p>
            <a:pPr lvl="3"/>
            <a:r>
              <a:rPr lang="en-US"/>
              <a:t>Fourth level</a:t>
            </a:r>
          </a:p>
          <a:p>
            <a:pPr lvl="4"/>
            <a:r>
              <a:rPr lang="en-US"/>
              <a:t>Fifth level</a:t>
            </a:r>
          </a:p>
        </p:txBody>
      </p:sp>
      <p:sp>
        <p:nvSpPr>
          <p:cNvPr id="10" name="Content Placeholder 2"/>
          <p:cNvSpPr>
            <a:spLocks noGrp="1"/>
          </p:cNvSpPr>
          <p:nvPr>
            <p:ph idx="18" hasCustomPrompt="1"/>
          </p:nvPr>
        </p:nvSpPr>
        <p:spPr>
          <a:xfrm>
            <a:off x="6156380" y="1629618"/>
            <a:ext cx="2682000" cy="4139357"/>
          </a:xfrm>
        </p:spPr>
        <p:txBody>
          <a:bodyPr/>
          <a:lstStyle>
            <a:lvl1pPr>
              <a:defRPr/>
            </a:lvl1pPr>
          </a:lstStyle>
          <a:p>
            <a:pPr lvl="0"/>
            <a:r>
              <a:rPr lang="en-US"/>
              <a:t>Click to add text or content</a:t>
            </a:r>
          </a:p>
          <a:p>
            <a:pPr lvl="1"/>
            <a:r>
              <a:rPr lang="en-US"/>
              <a:t>Second level</a:t>
            </a:r>
          </a:p>
          <a:p>
            <a:pPr lvl="2"/>
            <a:r>
              <a:rPr lang="en-US"/>
              <a:t>Third level</a:t>
            </a:r>
          </a:p>
          <a:p>
            <a:pPr lvl="3"/>
            <a:r>
              <a:rPr lang="en-US"/>
              <a:t>Fourth level</a:t>
            </a:r>
          </a:p>
          <a:p>
            <a:pPr lvl="4"/>
            <a:r>
              <a:rPr lang="en-US"/>
              <a:t>Fifth level</a:t>
            </a:r>
          </a:p>
        </p:txBody>
      </p:sp>
      <p:sp>
        <p:nvSpPr>
          <p:cNvPr id="13" name="Content Placeholder 2"/>
          <p:cNvSpPr>
            <a:spLocks noGrp="1"/>
          </p:cNvSpPr>
          <p:nvPr>
            <p:ph idx="19" hasCustomPrompt="1"/>
          </p:nvPr>
        </p:nvSpPr>
        <p:spPr>
          <a:xfrm>
            <a:off x="9138525" y="1629618"/>
            <a:ext cx="2682000" cy="4139357"/>
          </a:xfrm>
        </p:spPr>
        <p:txBody>
          <a:bodyPr/>
          <a:lstStyle>
            <a:lvl1pPr>
              <a:defRPr/>
            </a:lvl1pPr>
          </a:lstStyle>
          <a:p>
            <a:pPr lvl="0"/>
            <a:r>
              <a:rPr lang="en-US"/>
              <a:t>Click to add text or content</a:t>
            </a:r>
          </a:p>
          <a:p>
            <a:pPr lvl="1"/>
            <a:r>
              <a:rPr lang="en-US"/>
              <a:t>Second level</a:t>
            </a:r>
          </a:p>
          <a:p>
            <a:pPr lvl="2"/>
            <a:r>
              <a:rPr lang="en-US"/>
              <a:t>Third level</a:t>
            </a:r>
          </a:p>
          <a:p>
            <a:pPr lvl="3"/>
            <a:r>
              <a:rPr lang="en-US"/>
              <a:t>Fourth level</a:t>
            </a:r>
          </a:p>
          <a:p>
            <a:pPr lvl="4"/>
            <a:r>
              <a:rPr lang="en-US"/>
              <a:t>Fifth level</a:t>
            </a:r>
          </a:p>
        </p:txBody>
      </p:sp>
      <p:sp>
        <p:nvSpPr>
          <p:cNvPr id="12" name="Text Placeholder 4"/>
          <p:cNvSpPr>
            <a:spLocks noGrp="1"/>
          </p:cNvSpPr>
          <p:nvPr>
            <p:ph type="body" sz="quarter" idx="20" hasCustomPrompt="1"/>
          </p:nvPr>
        </p:nvSpPr>
        <p:spPr>
          <a:xfrm>
            <a:off x="1075063" y="6307665"/>
            <a:ext cx="8162717" cy="133200"/>
          </a:xfrm>
        </p:spPr>
        <p:txBody>
          <a:bodyPr lIns="0" tIns="0" rIns="0" bIns="0" anchor="b" anchorCtr="0"/>
          <a:lstStyle>
            <a:lvl1pPr marL="0" indent="0" algn="l">
              <a:lnSpc>
                <a:spcPct val="100000"/>
              </a:lnSpc>
              <a:spcBef>
                <a:spcPts val="0"/>
              </a:spcBef>
              <a:buNone/>
              <a:defRPr sz="800" baseline="0"/>
            </a:lvl1pPr>
            <a:lvl2pPr marL="0" indent="0" algn="l">
              <a:lnSpc>
                <a:spcPct val="100000"/>
              </a:lnSpc>
              <a:spcBef>
                <a:spcPts val="0"/>
              </a:spcBef>
              <a:buNone/>
              <a:defRPr sz="800"/>
            </a:lvl2pPr>
            <a:lvl3pPr marL="0" indent="0" algn="l">
              <a:lnSpc>
                <a:spcPct val="100000"/>
              </a:lnSpc>
              <a:spcBef>
                <a:spcPts val="0"/>
              </a:spcBef>
              <a:buNone/>
              <a:defRPr sz="800"/>
            </a:lvl3pPr>
            <a:lvl4pPr marL="0" algn="l">
              <a:lnSpc>
                <a:spcPct val="100000"/>
              </a:lnSpc>
              <a:spcBef>
                <a:spcPts val="0"/>
              </a:spcBef>
              <a:buNone/>
              <a:defRPr sz="800"/>
            </a:lvl4pPr>
            <a:lvl5pPr marL="0" indent="0" algn="l">
              <a:lnSpc>
                <a:spcPct val="100000"/>
              </a:lnSpc>
              <a:spcBef>
                <a:spcPts val="0"/>
              </a:spcBef>
              <a:buNone/>
              <a:defRPr sz="800"/>
            </a:lvl5pPr>
          </a:lstStyle>
          <a:p>
            <a:pPr lvl="0"/>
            <a:r>
              <a:rPr lang="en-US"/>
              <a:t>Source line</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89509137"/>
      </p:ext>
    </p:extLst>
  </p:cSld>
  <p:clrMapOvr>
    <a:masterClrMapping/>
  </p:clrMapOvr>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p:cSld name="Four contents 2">
    <p:spTree>
      <p:nvGrpSpPr>
        <p:cNvPr id="1" name=""/>
        <p:cNvGrpSpPr/>
        <p:nvPr/>
      </p:nvGrpSpPr>
      <p:grpSpPr>
        <a:xfrm>
          <a:off x="0" y="0"/>
          <a:ext cx="0" cy="0"/>
          <a:chOff x="0" y="0"/>
          <a:chExt cx="0" cy="0"/>
        </a:xfrm>
      </p:grpSpPr>
      <p:sp>
        <p:nvSpPr>
          <p:cNvPr id="21" name="Date Placeholder 20"/>
          <p:cNvSpPr>
            <a:spLocks noGrp="1"/>
          </p:cNvSpPr>
          <p:nvPr>
            <p:ph type="dt" sz="half" idx="14"/>
          </p:nvPr>
        </p:nvSpPr>
        <p:spPr/>
        <p:txBody>
          <a:bodyPr/>
          <a:lstStyle/>
          <a:p>
            <a:endParaRPr lang="en-US"/>
          </a:p>
        </p:txBody>
      </p:sp>
      <p:sp>
        <p:nvSpPr>
          <p:cNvPr id="22" name="Footer Placeholder 21"/>
          <p:cNvSpPr>
            <a:spLocks noGrp="1"/>
          </p:cNvSpPr>
          <p:nvPr>
            <p:ph type="ftr" sz="quarter" idx="15"/>
          </p:nvPr>
        </p:nvSpPr>
        <p:spPr/>
        <p:txBody>
          <a:bodyPr/>
          <a:lstStyle/>
          <a:p>
            <a:endParaRPr lang="en-US"/>
          </a:p>
        </p:txBody>
      </p:sp>
      <p:sp>
        <p:nvSpPr>
          <p:cNvPr id="23" name="Slide Number Placeholder 22"/>
          <p:cNvSpPr>
            <a:spLocks noGrp="1"/>
          </p:cNvSpPr>
          <p:nvPr>
            <p:ph type="sldNum" sz="quarter" idx="16"/>
          </p:nvPr>
        </p:nvSpPr>
        <p:spPr/>
        <p:txBody>
          <a:bodyPr/>
          <a:lstStyle/>
          <a:p>
            <a:fld id="{5F3E29E4-0979-4FCA-B4C5-5FC6044C982A}" type="slidenum">
              <a:rPr lang="en-US" smtClean="0"/>
              <a:t>‹#›</a:t>
            </a:fld>
            <a:endParaRPr lang="en-US"/>
          </a:p>
        </p:txBody>
      </p:sp>
      <p:sp>
        <p:nvSpPr>
          <p:cNvPr id="2" name="Title 1"/>
          <p:cNvSpPr>
            <a:spLocks noGrp="1"/>
          </p:cNvSpPr>
          <p:nvPr>
            <p:ph type="title" hasCustomPrompt="1"/>
          </p:nvPr>
        </p:nvSpPr>
        <p:spPr/>
        <p:txBody>
          <a:bodyPr/>
          <a:lstStyle>
            <a:lvl1pPr>
              <a:defRPr/>
            </a:lvl1pPr>
          </a:lstStyle>
          <a:p>
            <a:r>
              <a:rPr lang="en-US"/>
              <a:t>Click to add slide title</a:t>
            </a:r>
          </a:p>
        </p:txBody>
      </p:sp>
      <p:sp>
        <p:nvSpPr>
          <p:cNvPr id="7" name="Subtitle 2"/>
          <p:cNvSpPr>
            <a:spLocks noGrp="1"/>
          </p:cNvSpPr>
          <p:nvPr>
            <p:ph type="subTitle" idx="13" hasCustomPrompt="1"/>
          </p:nvPr>
        </p:nvSpPr>
        <p:spPr>
          <a:xfrm>
            <a:off x="1075061" y="964671"/>
            <a:ext cx="7910158" cy="490042"/>
          </a:xfrm>
        </p:spPr>
        <p:txBody>
          <a:bodyPr wrap="none"/>
          <a:lstStyle>
            <a:lvl1pPr marL="0" indent="0" algn="l">
              <a:spcBef>
                <a:spcPts val="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sp>
        <p:nvSpPr>
          <p:cNvPr id="3" name="Content Placeholder 2"/>
          <p:cNvSpPr>
            <a:spLocks noGrp="1"/>
          </p:cNvSpPr>
          <p:nvPr>
            <p:ph idx="1" hasCustomPrompt="1"/>
          </p:nvPr>
        </p:nvSpPr>
        <p:spPr>
          <a:xfrm>
            <a:off x="192088" y="1629617"/>
            <a:ext cx="6102974" cy="2160000"/>
          </a:xfrm>
        </p:spPr>
        <p:txBody>
          <a:bodyPr/>
          <a:lstStyle>
            <a:lvl1pPr>
              <a:defRPr/>
            </a:lvl1pPr>
          </a:lstStyle>
          <a:p>
            <a:pPr lvl="0"/>
            <a:r>
              <a:rPr lang="en-US"/>
              <a:t>Click to add text or content</a:t>
            </a:r>
          </a:p>
          <a:p>
            <a:pPr lvl="1"/>
            <a:r>
              <a:rPr lang="en-US"/>
              <a:t>Second level</a:t>
            </a:r>
          </a:p>
          <a:p>
            <a:pPr lvl="2"/>
            <a:r>
              <a:rPr lang="en-US"/>
              <a:t>Third level</a:t>
            </a:r>
          </a:p>
          <a:p>
            <a:pPr lvl="3"/>
            <a:r>
              <a:rPr lang="en-US"/>
              <a:t>Fourth level</a:t>
            </a:r>
          </a:p>
          <a:p>
            <a:pPr lvl="4"/>
            <a:r>
              <a:rPr lang="en-US"/>
              <a:t>Fifth level</a:t>
            </a:r>
          </a:p>
        </p:txBody>
      </p:sp>
      <p:sp>
        <p:nvSpPr>
          <p:cNvPr id="9" name="Content Placeholder 2"/>
          <p:cNvSpPr>
            <a:spLocks noGrp="1"/>
          </p:cNvSpPr>
          <p:nvPr>
            <p:ph idx="17" hasCustomPrompt="1"/>
          </p:nvPr>
        </p:nvSpPr>
        <p:spPr>
          <a:xfrm>
            <a:off x="6600525" y="1629617"/>
            <a:ext cx="5234144" cy="2160000"/>
          </a:xfrm>
        </p:spPr>
        <p:txBody>
          <a:bodyPr/>
          <a:lstStyle>
            <a:lvl1pPr>
              <a:defRPr/>
            </a:lvl1pPr>
          </a:lstStyle>
          <a:p>
            <a:pPr lvl="0"/>
            <a:r>
              <a:rPr lang="en-US"/>
              <a:t>Click to add text or content</a:t>
            </a:r>
          </a:p>
          <a:p>
            <a:pPr lvl="1"/>
            <a:r>
              <a:rPr lang="en-US"/>
              <a:t>Second level</a:t>
            </a:r>
          </a:p>
          <a:p>
            <a:pPr lvl="2"/>
            <a:r>
              <a:rPr lang="en-US"/>
              <a:t>Third level</a:t>
            </a:r>
          </a:p>
          <a:p>
            <a:pPr lvl="3"/>
            <a:r>
              <a:rPr lang="en-US"/>
              <a:t>Fourth level</a:t>
            </a:r>
          </a:p>
          <a:p>
            <a:pPr lvl="4"/>
            <a:r>
              <a:rPr lang="en-US"/>
              <a:t>Fifth level</a:t>
            </a:r>
          </a:p>
        </p:txBody>
      </p:sp>
      <p:sp>
        <p:nvSpPr>
          <p:cNvPr id="10" name="Content Placeholder 2"/>
          <p:cNvSpPr>
            <a:spLocks noGrp="1"/>
          </p:cNvSpPr>
          <p:nvPr>
            <p:ph idx="18" hasCustomPrompt="1"/>
          </p:nvPr>
        </p:nvSpPr>
        <p:spPr>
          <a:xfrm>
            <a:off x="192088" y="4077289"/>
            <a:ext cx="6102974" cy="2160000"/>
          </a:xfrm>
        </p:spPr>
        <p:txBody>
          <a:bodyPr/>
          <a:lstStyle>
            <a:lvl1pPr>
              <a:defRPr/>
            </a:lvl1pPr>
          </a:lstStyle>
          <a:p>
            <a:pPr lvl="0"/>
            <a:r>
              <a:rPr lang="en-US"/>
              <a:t>Click to add text or content</a:t>
            </a:r>
          </a:p>
          <a:p>
            <a:pPr lvl="1"/>
            <a:r>
              <a:rPr lang="en-US"/>
              <a:t>Second level</a:t>
            </a:r>
          </a:p>
          <a:p>
            <a:pPr lvl="2"/>
            <a:r>
              <a:rPr lang="en-US"/>
              <a:t>Third level</a:t>
            </a:r>
          </a:p>
          <a:p>
            <a:pPr lvl="3"/>
            <a:r>
              <a:rPr lang="en-US"/>
              <a:t>Fourth level</a:t>
            </a:r>
          </a:p>
          <a:p>
            <a:pPr lvl="4"/>
            <a:r>
              <a:rPr lang="en-US"/>
              <a:t>Fifth level</a:t>
            </a:r>
          </a:p>
        </p:txBody>
      </p:sp>
      <p:sp>
        <p:nvSpPr>
          <p:cNvPr id="13" name="Content Placeholder 2"/>
          <p:cNvSpPr>
            <a:spLocks noGrp="1"/>
          </p:cNvSpPr>
          <p:nvPr>
            <p:ph idx="19" hasCustomPrompt="1"/>
          </p:nvPr>
        </p:nvSpPr>
        <p:spPr>
          <a:xfrm>
            <a:off x="6600525" y="4077289"/>
            <a:ext cx="5234144" cy="2160000"/>
          </a:xfrm>
        </p:spPr>
        <p:txBody>
          <a:bodyPr/>
          <a:lstStyle>
            <a:lvl1pPr>
              <a:defRPr/>
            </a:lvl1pPr>
          </a:lstStyle>
          <a:p>
            <a:pPr lvl="0"/>
            <a:r>
              <a:rPr lang="en-US"/>
              <a:t>Click to add text or content</a:t>
            </a:r>
          </a:p>
          <a:p>
            <a:pPr lvl="1"/>
            <a:r>
              <a:rPr lang="en-US"/>
              <a:t>Second level</a:t>
            </a:r>
          </a:p>
          <a:p>
            <a:pPr lvl="2"/>
            <a:r>
              <a:rPr lang="en-US"/>
              <a:t>Third level</a:t>
            </a:r>
          </a:p>
          <a:p>
            <a:pPr lvl="3"/>
            <a:r>
              <a:rPr lang="en-US"/>
              <a:t>Fourth level</a:t>
            </a:r>
          </a:p>
          <a:p>
            <a:pPr lvl="4"/>
            <a:r>
              <a:rPr lang="en-US"/>
              <a:t>Fifth level</a:t>
            </a:r>
          </a:p>
        </p:txBody>
      </p:sp>
      <p:sp>
        <p:nvSpPr>
          <p:cNvPr id="12" name="Text Placeholder 4"/>
          <p:cNvSpPr>
            <a:spLocks noGrp="1"/>
          </p:cNvSpPr>
          <p:nvPr>
            <p:ph type="body" sz="quarter" idx="20" hasCustomPrompt="1"/>
          </p:nvPr>
        </p:nvSpPr>
        <p:spPr>
          <a:xfrm>
            <a:off x="1075063" y="6307665"/>
            <a:ext cx="8162717" cy="133200"/>
          </a:xfrm>
        </p:spPr>
        <p:txBody>
          <a:bodyPr lIns="0" tIns="0" rIns="0" bIns="0" anchor="b" anchorCtr="0"/>
          <a:lstStyle>
            <a:lvl1pPr marL="0" indent="0" algn="l">
              <a:lnSpc>
                <a:spcPct val="100000"/>
              </a:lnSpc>
              <a:spcBef>
                <a:spcPts val="0"/>
              </a:spcBef>
              <a:buNone/>
              <a:defRPr sz="800" baseline="0"/>
            </a:lvl1pPr>
            <a:lvl2pPr marL="0" indent="0" algn="l">
              <a:lnSpc>
                <a:spcPct val="100000"/>
              </a:lnSpc>
              <a:spcBef>
                <a:spcPts val="0"/>
              </a:spcBef>
              <a:buNone/>
              <a:defRPr sz="800"/>
            </a:lvl2pPr>
            <a:lvl3pPr marL="0" indent="0" algn="l">
              <a:lnSpc>
                <a:spcPct val="100000"/>
              </a:lnSpc>
              <a:spcBef>
                <a:spcPts val="0"/>
              </a:spcBef>
              <a:buNone/>
              <a:defRPr sz="800"/>
            </a:lvl3pPr>
            <a:lvl4pPr marL="0" algn="l">
              <a:lnSpc>
                <a:spcPct val="100000"/>
              </a:lnSpc>
              <a:spcBef>
                <a:spcPts val="0"/>
              </a:spcBef>
              <a:buNone/>
              <a:defRPr sz="800"/>
            </a:lvl4pPr>
            <a:lvl5pPr marL="0" indent="0" algn="l">
              <a:lnSpc>
                <a:spcPct val="100000"/>
              </a:lnSpc>
              <a:spcBef>
                <a:spcPts val="0"/>
              </a:spcBef>
              <a:buNone/>
              <a:defRPr sz="800"/>
            </a:lvl5pPr>
          </a:lstStyle>
          <a:p>
            <a:pPr lvl="0"/>
            <a:r>
              <a:rPr lang="en-US"/>
              <a:t>Source line</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6129203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Divider (2)">
    <p:bg>
      <p:bgPr>
        <a:solidFill>
          <a:schemeClr val="bg1"/>
        </a:solidFill>
        <a:effectLst/>
      </p:bgPr>
    </p:bg>
    <p:spTree>
      <p:nvGrpSpPr>
        <p:cNvPr id="1" name=""/>
        <p:cNvGrpSpPr/>
        <p:nvPr/>
      </p:nvGrpSpPr>
      <p:grpSpPr>
        <a:xfrm>
          <a:off x="0" y="0"/>
          <a:ext cx="0" cy="0"/>
          <a:chOff x="0" y="0"/>
          <a:chExt cx="0" cy="0"/>
        </a:xfrm>
      </p:grpSpPr>
      <p:sp>
        <p:nvSpPr>
          <p:cNvPr id="3" name="Rechteck 2"/>
          <p:cNvSpPr/>
          <p:nvPr userDrawn="1"/>
        </p:nvSpPr>
        <p:spPr bwMode="gray">
          <a:xfrm>
            <a:off x="0" y="99"/>
            <a:ext cx="12192000" cy="2180068"/>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indent="0" algn="ctr">
              <a:buFont typeface="Courier New" pitchFamily="49" charset="0"/>
              <a:buNone/>
            </a:pPr>
            <a:endParaRPr lang="en-US" sz="2133">
              <a:solidFill>
                <a:schemeClr val="tx1"/>
              </a:solidFill>
              <a:latin typeface="Arial" pitchFamily="34" charset="0"/>
            </a:endParaRPr>
          </a:p>
        </p:txBody>
      </p:sp>
      <p:sp>
        <p:nvSpPr>
          <p:cNvPr id="2" name="Titel 1"/>
          <p:cNvSpPr>
            <a:spLocks noGrp="1"/>
          </p:cNvSpPr>
          <p:nvPr>
            <p:ph type="title" hasCustomPrompt="1"/>
          </p:nvPr>
        </p:nvSpPr>
        <p:spPr bwMode="gray">
          <a:xfrm>
            <a:off x="431214" y="2372784"/>
            <a:ext cx="11328557" cy="1919816"/>
          </a:xfr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24000" tIns="0" rIns="324000" bIns="0" numCol="1" spcCol="0" rtlCol="0" fromWordArt="0" anchor="ctr" anchorCtr="0" forceAA="0" compatLnSpc="1">
            <a:prstTxWarp prst="textNoShape">
              <a:avLst/>
            </a:prstTxWarp>
            <a:noAutofit/>
          </a:bodyPr>
          <a:lstStyle>
            <a:lvl1pPr>
              <a:defRPr lang="de-DE" sz="4000" kern="1200" dirty="0">
                <a:solidFill>
                  <a:schemeClr val="tx1"/>
                </a:solidFill>
                <a:latin typeface="Arial" pitchFamily="34" charset="0"/>
                <a:ea typeface="+mn-ea"/>
                <a:cs typeface="+mn-cs"/>
              </a:defRPr>
            </a:lvl1pPr>
          </a:lstStyle>
          <a:p>
            <a:pPr lvl="0"/>
            <a:r>
              <a:rPr lang="en-US"/>
              <a:t>Click to add text for divider slide</a:t>
            </a:r>
          </a:p>
        </p:txBody>
      </p:sp>
      <p:sp>
        <p:nvSpPr>
          <p:cNvPr id="59" name="Rechteck 58"/>
          <p:cNvSpPr/>
          <p:nvPr userDrawn="1"/>
        </p:nvSpPr>
        <p:spPr bwMode="gray">
          <a:xfrm>
            <a:off x="431213" y="2372883"/>
            <a:ext cx="11329512" cy="96000"/>
          </a:xfrm>
          <a:prstGeom prst="rect">
            <a:avLst/>
          </a:prstGeom>
          <a:gradFill>
            <a:gsLst>
              <a:gs pos="2000">
                <a:schemeClr val="accent6"/>
              </a:gs>
              <a:gs pos="100000">
                <a:srgbClr val="F9B200"/>
              </a:gs>
            </a:gsLst>
            <a:lin ang="0" scaled="0"/>
          </a:gra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US" sz="2133" err="1">
              <a:solidFill>
                <a:schemeClr val="tx1"/>
              </a:solidFill>
              <a:latin typeface="Arial" pitchFamily="34" charset="0"/>
            </a:endParaRPr>
          </a:p>
        </p:txBody>
      </p:sp>
      <p:sp>
        <p:nvSpPr>
          <p:cNvPr id="60" name="Rechteck 59"/>
          <p:cNvSpPr/>
          <p:nvPr userDrawn="1"/>
        </p:nvSpPr>
        <p:spPr bwMode="gray">
          <a:xfrm>
            <a:off x="431214" y="4197085"/>
            <a:ext cx="11328157" cy="96000"/>
          </a:xfrm>
          <a:prstGeom prst="rect">
            <a:avLst/>
          </a:prstGeom>
          <a:gradFill>
            <a:gsLst>
              <a:gs pos="2000">
                <a:schemeClr val="accent6"/>
              </a:gs>
              <a:gs pos="100000">
                <a:srgbClr val="F9B200"/>
              </a:gs>
            </a:gsLst>
            <a:lin ang="0" scaled="0"/>
          </a:gra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US" sz="2133" err="1">
              <a:solidFill>
                <a:schemeClr val="tx1"/>
              </a:solidFill>
              <a:latin typeface="Arial" pitchFamily="34" charset="0"/>
            </a:endParaRPr>
          </a:p>
        </p:txBody>
      </p:sp>
    </p:spTree>
    <p:extLst>
      <p:ext uri="{BB962C8B-B14F-4D97-AF65-F5344CB8AC3E}">
        <p14:creationId xmlns:p14="http://schemas.microsoft.com/office/powerpoint/2010/main" val="3599536752"/>
      </p:ext>
    </p:extLst>
  </p:cSld>
  <p:clrMapOvr>
    <a:masterClrMapping/>
  </p:clrMapOvr>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p:cSld name="Large charts and tables">
    <p:spTree>
      <p:nvGrpSpPr>
        <p:cNvPr id="1" name=""/>
        <p:cNvGrpSpPr/>
        <p:nvPr/>
      </p:nvGrpSpPr>
      <p:grpSpPr>
        <a:xfrm>
          <a:off x="0" y="0"/>
          <a:ext cx="0" cy="0"/>
          <a:chOff x="0" y="0"/>
          <a:chExt cx="0" cy="0"/>
        </a:xfrm>
      </p:grpSpPr>
      <p:sp>
        <p:nvSpPr>
          <p:cNvPr id="21" name="Date Placeholder 20"/>
          <p:cNvSpPr>
            <a:spLocks noGrp="1"/>
          </p:cNvSpPr>
          <p:nvPr>
            <p:ph type="dt" sz="half" idx="14"/>
          </p:nvPr>
        </p:nvSpPr>
        <p:spPr/>
        <p:txBody>
          <a:bodyPr/>
          <a:lstStyle/>
          <a:p>
            <a:endParaRPr lang="en-US"/>
          </a:p>
        </p:txBody>
      </p:sp>
      <p:sp>
        <p:nvSpPr>
          <p:cNvPr id="22" name="Footer Placeholder 21"/>
          <p:cNvSpPr>
            <a:spLocks noGrp="1"/>
          </p:cNvSpPr>
          <p:nvPr>
            <p:ph type="ftr" sz="quarter" idx="15"/>
          </p:nvPr>
        </p:nvSpPr>
        <p:spPr/>
        <p:txBody>
          <a:bodyPr/>
          <a:lstStyle/>
          <a:p>
            <a:endParaRPr lang="en-US"/>
          </a:p>
        </p:txBody>
      </p:sp>
      <p:sp>
        <p:nvSpPr>
          <p:cNvPr id="23" name="Slide Number Placeholder 22"/>
          <p:cNvSpPr>
            <a:spLocks noGrp="1"/>
          </p:cNvSpPr>
          <p:nvPr>
            <p:ph type="sldNum" sz="quarter" idx="16"/>
          </p:nvPr>
        </p:nvSpPr>
        <p:spPr/>
        <p:txBody>
          <a:bodyPr/>
          <a:lstStyle/>
          <a:p>
            <a:fld id="{5F3E29E4-0979-4FCA-B4C5-5FC6044C982A}" type="slidenum">
              <a:rPr lang="en-US" smtClean="0"/>
              <a:t>‹#›</a:t>
            </a:fld>
            <a:endParaRPr lang="en-US"/>
          </a:p>
        </p:txBody>
      </p:sp>
      <p:sp>
        <p:nvSpPr>
          <p:cNvPr id="2" name="Title 1"/>
          <p:cNvSpPr>
            <a:spLocks noGrp="1"/>
          </p:cNvSpPr>
          <p:nvPr>
            <p:ph type="title" hasCustomPrompt="1"/>
          </p:nvPr>
        </p:nvSpPr>
        <p:spPr/>
        <p:txBody>
          <a:bodyPr/>
          <a:lstStyle>
            <a:lvl1pPr>
              <a:defRPr/>
            </a:lvl1pPr>
          </a:lstStyle>
          <a:p>
            <a:r>
              <a:rPr lang="en-US"/>
              <a:t>Click to add slide title</a:t>
            </a:r>
          </a:p>
        </p:txBody>
      </p:sp>
      <p:sp>
        <p:nvSpPr>
          <p:cNvPr id="7" name="Subtitle 2"/>
          <p:cNvSpPr>
            <a:spLocks noGrp="1"/>
          </p:cNvSpPr>
          <p:nvPr>
            <p:ph type="subTitle" idx="13" hasCustomPrompt="1"/>
          </p:nvPr>
        </p:nvSpPr>
        <p:spPr>
          <a:xfrm>
            <a:off x="1075061" y="964671"/>
            <a:ext cx="7910158" cy="490042"/>
          </a:xfrm>
        </p:spPr>
        <p:txBody>
          <a:bodyPr wrap="none"/>
          <a:lstStyle>
            <a:lvl1pPr marL="0" indent="0" algn="l">
              <a:spcBef>
                <a:spcPts val="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sp>
        <p:nvSpPr>
          <p:cNvPr id="3" name="Content Placeholder 2"/>
          <p:cNvSpPr>
            <a:spLocks noGrp="1"/>
          </p:cNvSpPr>
          <p:nvPr>
            <p:ph idx="1" hasCustomPrompt="1"/>
          </p:nvPr>
        </p:nvSpPr>
        <p:spPr>
          <a:xfrm>
            <a:off x="192088" y="1629617"/>
            <a:ext cx="11642581" cy="4599506"/>
          </a:xfrm>
        </p:spPr>
        <p:txBody>
          <a:bodyPr anchor="t"/>
          <a:lstStyle>
            <a:lvl1pPr marL="0" indent="0" algn="ctr">
              <a:spcBef>
                <a:spcPts val="1000"/>
              </a:spcBef>
              <a:buNone/>
              <a:defRPr sz="2800" baseline="0"/>
            </a:lvl1pPr>
            <a:lvl2pPr marL="0" indent="0">
              <a:spcBef>
                <a:spcPts val="1000"/>
              </a:spcBef>
              <a:buNone/>
              <a:defRPr sz="2800"/>
            </a:lvl2pPr>
            <a:lvl3pPr marL="0" indent="0">
              <a:spcBef>
                <a:spcPts val="1000"/>
              </a:spcBef>
              <a:buNone/>
              <a:defRPr sz="2800"/>
            </a:lvl3pPr>
            <a:lvl4pPr>
              <a:spcBef>
                <a:spcPts val="1000"/>
              </a:spcBef>
              <a:buNone/>
              <a:defRPr sz="2800"/>
            </a:lvl4pPr>
            <a:lvl5pPr marL="0" indent="0">
              <a:spcBef>
                <a:spcPts val="1000"/>
              </a:spcBef>
              <a:buNone/>
              <a:defRPr sz="2800"/>
            </a:lvl5pPr>
          </a:lstStyle>
          <a:p>
            <a:pPr lvl="0"/>
            <a:r>
              <a:rPr lang="en-US"/>
              <a:t>Use this layout for large charts and tables only. Please, do not use with text.</a:t>
            </a:r>
          </a:p>
          <a:p>
            <a:pPr lvl="1"/>
            <a:r>
              <a:rPr lang="en-US"/>
              <a:t>Second level</a:t>
            </a:r>
          </a:p>
          <a:p>
            <a:pPr lvl="2"/>
            <a:r>
              <a:rPr lang="en-US"/>
              <a:t>Third level</a:t>
            </a:r>
          </a:p>
          <a:p>
            <a:pPr lvl="3"/>
            <a:r>
              <a:rPr lang="en-US"/>
              <a:t>Fourth level</a:t>
            </a:r>
          </a:p>
          <a:p>
            <a:pPr lvl="4"/>
            <a:r>
              <a:rPr lang="en-US"/>
              <a:t>Fifth level</a:t>
            </a:r>
          </a:p>
        </p:txBody>
      </p:sp>
      <p:sp>
        <p:nvSpPr>
          <p:cNvPr id="9" name="Text Placeholder 4"/>
          <p:cNvSpPr>
            <a:spLocks noGrp="1"/>
          </p:cNvSpPr>
          <p:nvPr>
            <p:ph type="body" sz="quarter" idx="17" hasCustomPrompt="1"/>
          </p:nvPr>
        </p:nvSpPr>
        <p:spPr>
          <a:xfrm>
            <a:off x="1075063" y="6307665"/>
            <a:ext cx="8162717" cy="133200"/>
          </a:xfrm>
        </p:spPr>
        <p:txBody>
          <a:bodyPr lIns="0" tIns="0" rIns="0" bIns="0" anchor="b" anchorCtr="0"/>
          <a:lstStyle>
            <a:lvl1pPr marL="0" indent="0" algn="l">
              <a:lnSpc>
                <a:spcPct val="100000"/>
              </a:lnSpc>
              <a:spcBef>
                <a:spcPts val="0"/>
              </a:spcBef>
              <a:buNone/>
              <a:defRPr sz="800" baseline="0"/>
            </a:lvl1pPr>
            <a:lvl2pPr marL="0" indent="0" algn="l">
              <a:lnSpc>
                <a:spcPct val="100000"/>
              </a:lnSpc>
              <a:spcBef>
                <a:spcPts val="0"/>
              </a:spcBef>
              <a:buNone/>
              <a:defRPr sz="800"/>
            </a:lvl2pPr>
            <a:lvl3pPr marL="0" indent="0" algn="l">
              <a:lnSpc>
                <a:spcPct val="100000"/>
              </a:lnSpc>
              <a:spcBef>
                <a:spcPts val="0"/>
              </a:spcBef>
              <a:buNone/>
              <a:defRPr sz="800"/>
            </a:lvl3pPr>
            <a:lvl4pPr marL="0" algn="l">
              <a:lnSpc>
                <a:spcPct val="100000"/>
              </a:lnSpc>
              <a:spcBef>
                <a:spcPts val="0"/>
              </a:spcBef>
              <a:buNone/>
              <a:defRPr sz="800"/>
            </a:lvl4pPr>
            <a:lvl5pPr marL="0" indent="0" algn="l">
              <a:lnSpc>
                <a:spcPct val="100000"/>
              </a:lnSpc>
              <a:spcBef>
                <a:spcPts val="0"/>
              </a:spcBef>
              <a:buNone/>
              <a:defRPr sz="800"/>
            </a:lvl5pPr>
          </a:lstStyle>
          <a:p>
            <a:pPr lvl="0"/>
            <a:r>
              <a:rPr lang="en-US"/>
              <a:t>Source line</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05551263"/>
      </p:ext>
    </p:extLst>
  </p:cSld>
  <p:clrMapOvr>
    <a:masterClrMapping/>
  </p:clrMapOvr>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p:cSld name="Chart with description">
    <p:spTree>
      <p:nvGrpSpPr>
        <p:cNvPr id="1" name=""/>
        <p:cNvGrpSpPr/>
        <p:nvPr/>
      </p:nvGrpSpPr>
      <p:grpSpPr>
        <a:xfrm>
          <a:off x="0" y="0"/>
          <a:ext cx="0" cy="0"/>
          <a:chOff x="0" y="0"/>
          <a:chExt cx="0" cy="0"/>
        </a:xfrm>
      </p:grpSpPr>
      <p:sp>
        <p:nvSpPr>
          <p:cNvPr id="21" name="Date Placeholder 20"/>
          <p:cNvSpPr>
            <a:spLocks noGrp="1"/>
          </p:cNvSpPr>
          <p:nvPr>
            <p:ph type="dt" sz="half" idx="14"/>
          </p:nvPr>
        </p:nvSpPr>
        <p:spPr/>
        <p:txBody>
          <a:bodyPr/>
          <a:lstStyle/>
          <a:p>
            <a:endParaRPr lang="en-US"/>
          </a:p>
        </p:txBody>
      </p:sp>
      <p:sp>
        <p:nvSpPr>
          <p:cNvPr id="22" name="Footer Placeholder 21"/>
          <p:cNvSpPr>
            <a:spLocks noGrp="1"/>
          </p:cNvSpPr>
          <p:nvPr>
            <p:ph type="ftr" sz="quarter" idx="15"/>
          </p:nvPr>
        </p:nvSpPr>
        <p:spPr/>
        <p:txBody>
          <a:bodyPr/>
          <a:lstStyle/>
          <a:p>
            <a:endParaRPr lang="en-US"/>
          </a:p>
        </p:txBody>
      </p:sp>
      <p:sp>
        <p:nvSpPr>
          <p:cNvPr id="23" name="Slide Number Placeholder 22"/>
          <p:cNvSpPr>
            <a:spLocks noGrp="1"/>
          </p:cNvSpPr>
          <p:nvPr>
            <p:ph type="sldNum" sz="quarter" idx="16"/>
          </p:nvPr>
        </p:nvSpPr>
        <p:spPr/>
        <p:txBody>
          <a:bodyPr/>
          <a:lstStyle/>
          <a:p>
            <a:fld id="{5F3E29E4-0979-4FCA-B4C5-5FC6044C982A}" type="slidenum">
              <a:rPr lang="en-US" smtClean="0"/>
              <a:t>‹#›</a:t>
            </a:fld>
            <a:endParaRPr lang="en-US"/>
          </a:p>
        </p:txBody>
      </p:sp>
      <p:sp>
        <p:nvSpPr>
          <p:cNvPr id="2" name="Title 1"/>
          <p:cNvSpPr>
            <a:spLocks noGrp="1"/>
          </p:cNvSpPr>
          <p:nvPr>
            <p:ph type="title" hasCustomPrompt="1"/>
          </p:nvPr>
        </p:nvSpPr>
        <p:spPr/>
        <p:txBody>
          <a:bodyPr/>
          <a:lstStyle>
            <a:lvl1pPr>
              <a:defRPr/>
            </a:lvl1pPr>
          </a:lstStyle>
          <a:p>
            <a:r>
              <a:rPr lang="en-US"/>
              <a:t>Click to add slide title</a:t>
            </a:r>
          </a:p>
        </p:txBody>
      </p:sp>
      <p:sp>
        <p:nvSpPr>
          <p:cNvPr id="7" name="Subtitle 2"/>
          <p:cNvSpPr>
            <a:spLocks noGrp="1"/>
          </p:cNvSpPr>
          <p:nvPr>
            <p:ph type="subTitle" idx="13" hasCustomPrompt="1"/>
          </p:nvPr>
        </p:nvSpPr>
        <p:spPr>
          <a:xfrm>
            <a:off x="1075061" y="964671"/>
            <a:ext cx="7910158" cy="490042"/>
          </a:xfrm>
        </p:spPr>
        <p:txBody>
          <a:bodyPr wrap="none"/>
          <a:lstStyle>
            <a:lvl1pPr marL="0" indent="0" algn="l">
              <a:spcBef>
                <a:spcPts val="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sp>
        <p:nvSpPr>
          <p:cNvPr id="4" name="Chart Placeholder 3"/>
          <p:cNvSpPr>
            <a:spLocks noGrp="1"/>
          </p:cNvSpPr>
          <p:nvPr>
            <p:ph type="chart" sz="quarter" idx="17" hasCustomPrompt="1"/>
          </p:nvPr>
        </p:nvSpPr>
        <p:spPr>
          <a:xfrm>
            <a:off x="192088" y="1629617"/>
            <a:ext cx="5903913" cy="4599506"/>
          </a:xfrm>
        </p:spPr>
        <p:txBody>
          <a:bodyPr/>
          <a:lstStyle>
            <a:lvl1pPr>
              <a:defRPr/>
            </a:lvl1pPr>
          </a:lstStyle>
          <a:p>
            <a:r>
              <a:rPr lang="en-US"/>
              <a:t>Click to add chart</a:t>
            </a:r>
          </a:p>
        </p:txBody>
      </p:sp>
      <p:sp>
        <p:nvSpPr>
          <p:cNvPr id="6" name="Text Placeholder 5"/>
          <p:cNvSpPr>
            <a:spLocks noGrp="1"/>
          </p:cNvSpPr>
          <p:nvPr>
            <p:ph type="body" sz="quarter" idx="18" hasCustomPrompt="1"/>
          </p:nvPr>
        </p:nvSpPr>
        <p:spPr>
          <a:xfrm>
            <a:off x="6206067" y="3393019"/>
            <a:ext cx="5628602" cy="2023841"/>
          </a:xfrm>
          <a:solidFill>
            <a:srgbClr val="D9DADB"/>
          </a:solidFill>
        </p:spPr>
        <p:txBody>
          <a:bodyPr lIns="108000" tIns="108000" rIns="108000" bIns="108000"/>
          <a:lstStyle>
            <a:lvl1pPr>
              <a:defRPr sz="1600"/>
            </a:lvl1pPr>
            <a:lvl2pPr>
              <a:defRPr sz="1600"/>
            </a:lvl2pPr>
            <a:lvl3pPr>
              <a:defRPr sz="1600"/>
            </a:lvl3pPr>
            <a:lvl4pPr>
              <a:defRPr sz="1600"/>
            </a:lvl4pPr>
            <a:lvl5pPr>
              <a:defRPr sz="1600"/>
            </a:lvl5pPr>
          </a:lstStyle>
          <a:p>
            <a:pPr lvl="0"/>
            <a:r>
              <a:rPr lang="en-US"/>
              <a:t>Click to add text</a:t>
            </a:r>
          </a:p>
          <a:p>
            <a:pPr lvl="1"/>
            <a:r>
              <a:rPr lang="en-US"/>
              <a:t>Second level</a:t>
            </a:r>
          </a:p>
          <a:p>
            <a:pPr lvl="2"/>
            <a:r>
              <a:rPr lang="en-US"/>
              <a:t>Third level</a:t>
            </a:r>
          </a:p>
          <a:p>
            <a:pPr lvl="3"/>
            <a:r>
              <a:rPr lang="en-US"/>
              <a:t>Fourth level</a:t>
            </a:r>
          </a:p>
          <a:p>
            <a:pPr lvl="4"/>
            <a:r>
              <a:rPr lang="en-US"/>
              <a:t>Fifth level</a:t>
            </a:r>
          </a:p>
        </p:txBody>
      </p:sp>
      <p:sp>
        <p:nvSpPr>
          <p:cNvPr id="10" name="Text Placeholder 4"/>
          <p:cNvSpPr>
            <a:spLocks noGrp="1"/>
          </p:cNvSpPr>
          <p:nvPr>
            <p:ph type="body" sz="quarter" idx="19" hasCustomPrompt="1"/>
          </p:nvPr>
        </p:nvSpPr>
        <p:spPr>
          <a:xfrm>
            <a:off x="1075063" y="6307665"/>
            <a:ext cx="8162717" cy="133200"/>
          </a:xfrm>
        </p:spPr>
        <p:txBody>
          <a:bodyPr lIns="0" tIns="0" rIns="0" bIns="0" anchor="b" anchorCtr="0"/>
          <a:lstStyle>
            <a:lvl1pPr marL="0" indent="0" algn="l">
              <a:lnSpc>
                <a:spcPct val="100000"/>
              </a:lnSpc>
              <a:spcBef>
                <a:spcPts val="0"/>
              </a:spcBef>
              <a:buNone/>
              <a:defRPr sz="800" baseline="0"/>
            </a:lvl1pPr>
            <a:lvl2pPr marL="0" indent="0" algn="l">
              <a:lnSpc>
                <a:spcPct val="100000"/>
              </a:lnSpc>
              <a:spcBef>
                <a:spcPts val="0"/>
              </a:spcBef>
              <a:buNone/>
              <a:defRPr sz="800"/>
            </a:lvl2pPr>
            <a:lvl3pPr marL="0" indent="0" algn="l">
              <a:lnSpc>
                <a:spcPct val="100000"/>
              </a:lnSpc>
              <a:spcBef>
                <a:spcPts val="0"/>
              </a:spcBef>
              <a:buNone/>
              <a:defRPr sz="800"/>
            </a:lvl3pPr>
            <a:lvl4pPr marL="0" algn="l">
              <a:lnSpc>
                <a:spcPct val="100000"/>
              </a:lnSpc>
              <a:spcBef>
                <a:spcPts val="0"/>
              </a:spcBef>
              <a:buNone/>
              <a:defRPr sz="800"/>
            </a:lvl4pPr>
            <a:lvl5pPr marL="0" indent="0" algn="l">
              <a:lnSpc>
                <a:spcPct val="100000"/>
              </a:lnSpc>
              <a:spcBef>
                <a:spcPts val="0"/>
              </a:spcBef>
              <a:buNone/>
              <a:defRPr sz="800"/>
            </a:lvl5pPr>
          </a:lstStyle>
          <a:p>
            <a:pPr lvl="0"/>
            <a:r>
              <a:rPr lang="en-US"/>
              <a:t>Source line</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43806132"/>
      </p:ext>
    </p:extLst>
  </p:cSld>
  <p:clrMapOvr>
    <a:masterClrMapping/>
  </p:clrMapOvr>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p:cSld name="Notebook">
    <p:spTree>
      <p:nvGrpSpPr>
        <p:cNvPr id="1" name=""/>
        <p:cNvGrpSpPr/>
        <p:nvPr/>
      </p:nvGrpSpPr>
      <p:grpSpPr>
        <a:xfrm>
          <a:off x="0" y="0"/>
          <a:ext cx="0" cy="0"/>
          <a:chOff x="0" y="0"/>
          <a:chExt cx="0" cy="0"/>
        </a:xfrm>
      </p:grpSpPr>
      <p:pic>
        <p:nvPicPr>
          <p:cNvPr id="13" name="Notebook">
            <a:extLst>
              <a:ext uri="{FF2B5EF4-FFF2-40B4-BE49-F238E27FC236}">
                <a16:creationId xmlns:a16="http://schemas.microsoft.com/office/drawing/2014/main" id="{6DEE1461-64EC-7246-8FA6-71C6BF497627}"/>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3651351" y="1267197"/>
            <a:ext cx="8528460" cy="5161713"/>
          </a:xfrm>
          <a:prstGeom prst="rect">
            <a:avLst/>
          </a:prstGeom>
        </p:spPr>
      </p:pic>
      <p:sp>
        <p:nvSpPr>
          <p:cNvPr id="21" name="Date Placeholder 20"/>
          <p:cNvSpPr>
            <a:spLocks noGrp="1"/>
          </p:cNvSpPr>
          <p:nvPr>
            <p:ph type="dt" sz="half" idx="14"/>
          </p:nvPr>
        </p:nvSpPr>
        <p:spPr/>
        <p:txBody>
          <a:bodyPr/>
          <a:lstStyle/>
          <a:p>
            <a:endParaRPr lang="en-US"/>
          </a:p>
        </p:txBody>
      </p:sp>
      <p:sp>
        <p:nvSpPr>
          <p:cNvPr id="22" name="Footer Placeholder 21"/>
          <p:cNvSpPr>
            <a:spLocks noGrp="1"/>
          </p:cNvSpPr>
          <p:nvPr>
            <p:ph type="ftr" sz="quarter" idx="15"/>
          </p:nvPr>
        </p:nvSpPr>
        <p:spPr/>
        <p:txBody>
          <a:bodyPr/>
          <a:lstStyle/>
          <a:p>
            <a:endParaRPr lang="en-US"/>
          </a:p>
        </p:txBody>
      </p:sp>
      <p:sp>
        <p:nvSpPr>
          <p:cNvPr id="23" name="Slide Number Placeholder 22"/>
          <p:cNvSpPr>
            <a:spLocks noGrp="1"/>
          </p:cNvSpPr>
          <p:nvPr>
            <p:ph type="sldNum" sz="quarter" idx="16"/>
          </p:nvPr>
        </p:nvSpPr>
        <p:spPr/>
        <p:txBody>
          <a:bodyPr/>
          <a:lstStyle/>
          <a:p>
            <a:fld id="{5F3E29E4-0979-4FCA-B4C5-5FC6044C982A}" type="slidenum">
              <a:rPr lang="en-US" smtClean="0"/>
              <a:t>‹#›</a:t>
            </a:fld>
            <a:endParaRPr lang="en-US"/>
          </a:p>
        </p:txBody>
      </p:sp>
      <p:sp>
        <p:nvSpPr>
          <p:cNvPr id="2" name="Title 1"/>
          <p:cNvSpPr>
            <a:spLocks noGrp="1"/>
          </p:cNvSpPr>
          <p:nvPr>
            <p:ph type="title" hasCustomPrompt="1"/>
          </p:nvPr>
        </p:nvSpPr>
        <p:spPr/>
        <p:txBody>
          <a:bodyPr/>
          <a:lstStyle>
            <a:lvl1pPr>
              <a:defRPr/>
            </a:lvl1pPr>
          </a:lstStyle>
          <a:p>
            <a:r>
              <a:rPr lang="en-US"/>
              <a:t>Click to add slide title</a:t>
            </a:r>
          </a:p>
        </p:txBody>
      </p:sp>
      <p:sp>
        <p:nvSpPr>
          <p:cNvPr id="7" name="Subtitle 2"/>
          <p:cNvSpPr>
            <a:spLocks noGrp="1"/>
          </p:cNvSpPr>
          <p:nvPr>
            <p:ph type="subTitle" idx="13" hasCustomPrompt="1"/>
          </p:nvPr>
        </p:nvSpPr>
        <p:spPr>
          <a:xfrm>
            <a:off x="1075061" y="964671"/>
            <a:ext cx="7910158" cy="490042"/>
          </a:xfrm>
        </p:spPr>
        <p:txBody>
          <a:bodyPr wrap="none"/>
          <a:lstStyle>
            <a:lvl1pPr marL="0" indent="0" algn="l">
              <a:spcBef>
                <a:spcPts val="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sp>
        <p:nvSpPr>
          <p:cNvPr id="3" name="Content Placeholder 2"/>
          <p:cNvSpPr>
            <a:spLocks noGrp="1"/>
          </p:cNvSpPr>
          <p:nvPr>
            <p:ph idx="1" hasCustomPrompt="1"/>
          </p:nvPr>
        </p:nvSpPr>
        <p:spPr>
          <a:xfrm>
            <a:off x="1075062" y="1852623"/>
            <a:ext cx="3287388" cy="3658714"/>
          </a:xfrm>
        </p:spPr>
        <p:txBody>
          <a:bodyPr anchor="ctr"/>
          <a:lstStyle>
            <a:lvl1pPr>
              <a:defRPr sz="1600"/>
            </a:lvl1pPr>
            <a:lvl2pPr>
              <a:defRPr sz="1600"/>
            </a:lvl2pPr>
            <a:lvl3pPr>
              <a:defRPr sz="1600"/>
            </a:lvl3pPr>
            <a:lvl4pPr>
              <a:defRPr sz="1600"/>
            </a:lvl4pPr>
            <a:lvl5pPr>
              <a:defRPr sz="1600"/>
            </a:lvl5pPr>
          </a:lstStyle>
          <a:p>
            <a:pPr lvl="0"/>
            <a:r>
              <a:rPr lang="en-US"/>
              <a:t>Click to add text</a:t>
            </a:r>
          </a:p>
          <a:p>
            <a:pPr lvl="1"/>
            <a:r>
              <a:rPr lang="en-US"/>
              <a:t>Second level</a:t>
            </a:r>
          </a:p>
          <a:p>
            <a:pPr lvl="2"/>
            <a:r>
              <a:rPr lang="en-US"/>
              <a:t>Third level</a:t>
            </a:r>
          </a:p>
          <a:p>
            <a:pPr lvl="3"/>
            <a:r>
              <a:rPr lang="en-US"/>
              <a:t>Fourth level</a:t>
            </a:r>
          </a:p>
          <a:p>
            <a:pPr lvl="4"/>
            <a:r>
              <a:rPr lang="en-US"/>
              <a:t>Fifth level</a:t>
            </a:r>
          </a:p>
        </p:txBody>
      </p:sp>
      <p:sp>
        <p:nvSpPr>
          <p:cNvPr id="5" name="Picture Placeholder 4"/>
          <p:cNvSpPr>
            <a:spLocks noGrp="1"/>
          </p:cNvSpPr>
          <p:nvPr>
            <p:ph type="pic" sz="quarter" idx="17" hasCustomPrompt="1"/>
          </p:nvPr>
        </p:nvSpPr>
        <p:spPr>
          <a:xfrm>
            <a:off x="4904507" y="1821610"/>
            <a:ext cx="6001200" cy="3664800"/>
          </a:xfrm>
          <a:solidFill>
            <a:srgbClr val="D9DADB"/>
          </a:solidFill>
        </p:spPr>
        <p:txBody>
          <a:bodyPr/>
          <a:lstStyle>
            <a:lvl1pPr marL="0" indent="0">
              <a:buNone/>
              <a:defRPr/>
            </a:lvl1pPr>
          </a:lstStyle>
          <a:p>
            <a:r>
              <a:rPr lang="en-US"/>
              <a:t>Insert picture</a:t>
            </a:r>
          </a:p>
        </p:txBody>
      </p:sp>
      <p:sp>
        <p:nvSpPr>
          <p:cNvPr id="11" name="Text Placeholder 4"/>
          <p:cNvSpPr>
            <a:spLocks noGrp="1"/>
          </p:cNvSpPr>
          <p:nvPr>
            <p:ph type="body" sz="quarter" idx="18" hasCustomPrompt="1"/>
          </p:nvPr>
        </p:nvSpPr>
        <p:spPr>
          <a:xfrm>
            <a:off x="1075063" y="6307665"/>
            <a:ext cx="8162717" cy="133200"/>
          </a:xfrm>
        </p:spPr>
        <p:txBody>
          <a:bodyPr lIns="0" tIns="0" rIns="0" bIns="0" anchor="b" anchorCtr="0"/>
          <a:lstStyle>
            <a:lvl1pPr marL="0" indent="0" algn="l">
              <a:lnSpc>
                <a:spcPct val="100000"/>
              </a:lnSpc>
              <a:spcBef>
                <a:spcPts val="0"/>
              </a:spcBef>
              <a:buNone/>
              <a:defRPr sz="800" baseline="0"/>
            </a:lvl1pPr>
            <a:lvl2pPr marL="0" indent="0" algn="l">
              <a:lnSpc>
                <a:spcPct val="100000"/>
              </a:lnSpc>
              <a:spcBef>
                <a:spcPts val="0"/>
              </a:spcBef>
              <a:buNone/>
              <a:defRPr sz="800"/>
            </a:lvl2pPr>
            <a:lvl3pPr marL="0" indent="0" algn="l">
              <a:lnSpc>
                <a:spcPct val="100000"/>
              </a:lnSpc>
              <a:spcBef>
                <a:spcPts val="0"/>
              </a:spcBef>
              <a:buNone/>
              <a:defRPr sz="800"/>
            </a:lvl3pPr>
            <a:lvl4pPr marL="0" algn="l">
              <a:lnSpc>
                <a:spcPct val="100000"/>
              </a:lnSpc>
              <a:spcBef>
                <a:spcPts val="0"/>
              </a:spcBef>
              <a:buNone/>
              <a:defRPr sz="800"/>
            </a:lvl4pPr>
            <a:lvl5pPr marL="0" indent="0" algn="l">
              <a:lnSpc>
                <a:spcPct val="100000"/>
              </a:lnSpc>
              <a:spcBef>
                <a:spcPts val="0"/>
              </a:spcBef>
              <a:buNone/>
              <a:defRPr sz="800"/>
            </a:lvl5pPr>
          </a:lstStyle>
          <a:p>
            <a:pPr lvl="0"/>
            <a:r>
              <a:rPr lang="en-US"/>
              <a:t>Source line</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12492086"/>
      </p:ext>
    </p:extLst>
  </p:cSld>
  <p:clrMapOvr>
    <a:masterClrMapping/>
  </p:clrMapOvr>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p:cSld name="Tablet">
    <p:spTree>
      <p:nvGrpSpPr>
        <p:cNvPr id="1" name=""/>
        <p:cNvGrpSpPr/>
        <p:nvPr/>
      </p:nvGrpSpPr>
      <p:grpSpPr>
        <a:xfrm>
          <a:off x="0" y="0"/>
          <a:ext cx="0" cy="0"/>
          <a:chOff x="0" y="0"/>
          <a:chExt cx="0" cy="0"/>
        </a:xfrm>
      </p:grpSpPr>
      <p:pic>
        <p:nvPicPr>
          <p:cNvPr id="12" name="Grafik 3">
            <a:extLst>
              <a:ext uri="{FF2B5EF4-FFF2-40B4-BE49-F238E27FC236}">
                <a16:creationId xmlns:a16="http://schemas.microsoft.com/office/drawing/2014/main" id="{1D97A272-8DE5-144D-9076-0F435EC79171}"/>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4422451" y="1441279"/>
            <a:ext cx="6858000" cy="5323585"/>
          </a:xfrm>
          <a:prstGeom prst="rect">
            <a:avLst/>
          </a:prstGeom>
        </p:spPr>
      </p:pic>
      <p:sp>
        <p:nvSpPr>
          <p:cNvPr id="21" name="Date Placeholder 20"/>
          <p:cNvSpPr>
            <a:spLocks noGrp="1"/>
          </p:cNvSpPr>
          <p:nvPr>
            <p:ph type="dt" sz="half" idx="14"/>
          </p:nvPr>
        </p:nvSpPr>
        <p:spPr/>
        <p:txBody>
          <a:bodyPr/>
          <a:lstStyle/>
          <a:p>
            <a:endParaRPr lang="en-US"/>
          </a:p>
        </p:txBody>
      </p:sp>
      <p:sp>
        <p:nvSpPr>
          <p:cNvPr id="22" name="Footer Placeholder 21"/>
          <p:cNvSpPr>
            <a:spLocks noGrp="1"/>
          </p:cNvSpPr>
          <p:nvPr>
            <p:ph type="ftr" sz="quarter" idx="15"/>
          </p:nvPr>
        </p:nvSpPr>
        <p:spPr/>
        <p:txBody>
          <a:bodyPr/>
          <a:lstStyle/>
          <a:p>
            <a:endParaRPr lang="en-US"/>
          </a:p>
        </p:txBody>
      </p:sp>
      <p:sp>
        <p:nvSpPr>
          <p:cNvPr id="23" name="Slide Number Placeholder 22"/>
          <p:cNvSpPr>
            <a:spLocks noGrp="1"/>
          </p:cNvSpPr>
          <p:nvPr>
            <p:ph type="sldNum" sz="quarter" idx="16"/>
          </p:nvPr>
        </p:nvSpPr>
        <p:spPr/>
        <p:txBody>
          <a:bodyPr/>
          <a:lstStyle/>
          <a:p>
            <a:fld id="{5F3E29E4-0979-4FCA-B4C5-5FC6044C982A}" type="slidenum">
              <a:rPr lang="en-US" smtClean="0"/>
              <a:t>‹#›</a:t>
            </a:fld>
            <a:endParaRPr lang="en-US"/>
          </a:p>
        </p:txBody>
      </p:sp>
      <p:sp>
        <p:nvSpPr>
          <p:cNvPr id="2" name="Title 1"/>
          <p:cNvSpPr>
            <a:spLocks noGrp="1"/>
          </p:cNvSpPr>
          <p:nvPr>
            <p:ph type="title" hasCustomPrompt="1"/>
          </p:nvPr>
        </p:nvSpPr>
        <p:spPr/>
        <p:txBody>
          <a:bodyPr/>
          <a:lstStyle>
            <a:lvl1pPr>
              <a:defRPr/>
            </a:lvl1pPr>
          </a:lstStyle>
          <a:p>
            <a:r>
              <a:rPr lang="en-US"/>
              <a:t>Click to add slide title</a:t>
            </a:r>
          </a:p>
        </p:txBody>
      </p:sp>
      <p:sp>
        <p:nvSpPr>
          <p:cNvPr id="7" name="Subtitle 2"/>
          <p:cNvSpPr>
            <a:spLocks noGrp="1"/>
          </p:cNvSpPr>
          <p:nvPr>
            <p:ph type="subTitle" idx="13" hasCustomPrompt="1"/>
          </p:nvPr>
        </p:nvSpPr>
        <p:spPr>
          <a:xfrm>
            <a:off x="1075061" y="964671"/>
            <a:ext cx="7910158" cy="490042"/>
          </a:xfrm>
        </p:spPr>
        <p:txBody>
          <a:bodyPr wrap="none"/>
          <a:lstStyle>
            <a:lvl1pPr marL="0" indent="0" algn="l">
              <a:spcBef>
                <a:spcPts val="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sp>
        <p:nvSpPr>
          <p:cNvPr id="3" name="Content Placeholder 2"/>
          <p:cNvSpPr>
            <a:spLocks noGrp="1"/>
          </p:cNvSpPr>
          <p:nvPr>
            <p:ph idx="1" hasCustomPrompt="1"/>
          </p:nvPr>
        </p:nvSpPr>
        <p:spPr>
          <a:xfrm>
            <a:off x="1075062" y="1852623"/>
            <a:ext cx="3287388" cy="3658714"/>
          </a:xfrm>
        </p:spPr>
        <p:txBody>
          <a:bodyPr anchor="ctr"/>
          <a:lstStyle>
            <a:lvl1pPr>
              <a:defRPr sz="1600"/>
            </a:lvl1pPr>
            <a:lvl2pPr>
              <a:defRPr sz="1600"/>
            </a:lvl2pPr>
            <a:lvl3pPr>
              <a:defRPr sz="1600"/>
            </a:lvl3pPr>
            <a:lvl4pPr>
              <a:defRPr sz="1600"/>
            </a:lvl4pPr>
            <a:lvl5pPr>
              <a:defRPr sz="1600"/>
            </a:lvl5pPr>
          </a:lstStyle>
          <a:p>
            <a:pPr lvl="0"/>
            <a:r>
              <a:rPr lang="en-US"/>
              <a:t>Click to add text</a:t>
            </a:r>
          </a:p>
          <a:p>
            <a:pPr lvl="1"/>
            <a:r>
              <a:rPr lang="en-US"/>
              <a:t>Second level</a:t>
            </a:r>
          </a:p>
          <a:p>
            <a:pPr lvl="2"/>
            <a:r>
              <a:rPr lang="en-US"/>
              <a:t>Third level</a:t>
            </a:r>
          </a:p>
          <a:p>
            <a:pPr lvl="3"/>
            <a:r>
              <a:rPr lang="en-US"/>
              <a:t>Fourth level</a:t>
            </a:r>
          </a:p>
          <a:p>
            <a:pPr lvl="4"/>
            <a:r>
              <a:rPr lang="en-US"/>
              <a:t>Fifth level</a:t>
            </a:r>
          </a:p>
        </p:txBody>
      </p:sp>
      <p:sp>
        <p:nvSpPr>
          <p:cNvPr id="5" name="Picture Placeholder 4"/>
          <p:cNvSpPr>
            <a:spLocks noGrp="1"/>
          </p:cNvSpPr>
          <p:nvPr>
            <p:ph type="pic" sz="quarter" idx="17" hasCustomPrompt="1"/>
          </p:nvPr>
        </p:nvSpPr>
        <p:spPr>
          <a:xfrm>
            <a:off x="5135561" y="2010934"/>
            <a:ext cx="5491064" cy="3428280"/>
          </a:xfrm>
          <a:solidFill>
            <a:srgbClr val="D9DADB"/>
          </a:solidFill>
        </p:spPr>
        <p:txBody>
          <a:bodyPr/>
          <a:lstStyle>
            <a:lvl1pPr marL="0" indent="0">
              <a:buNone/>
              <a:defRPr/>
            </a:lvl1pPr>
          </a:lstStyle>
          <a:p>
            <a:r>
              <a:rPr lang="en-US"/>
              <a:t>Insert picture</a:t>
            </a:r>
          </a:p>
        </p:txBody>
      </p:sp>
      <p:sp>
        <p:nvSpPr>
          <p:cNvPr id="11" name="Text Placeholder 4"/>
          <p:cNvSpPr>
            <a:spLocks noGrp="1"/>
          </p:cNvSpPr>
          <p:nvPr>
            <p:ph type="body" sz="quarter" idx="18" hasCustomPrompt="1"/>
          </p:nvPr>
        </p:nvSpPr>
        <p:spPr>
          <a:xfrm>
            <a:off x="1075063" y="6307665"/>
            <a:ext cx="8162717" cy="133200"/>
          </a:xfrm>
        </p:spPr>
        <p:txBody>
          <a:bodyPr lIns="0" tIns="0" rIns="0" bIns="0" anchor="b" anchorCtr="0"/>
          <a:lstStyle>
            <a:lvl1pPr marL="0" indent="0" algn="l">
              <a:lnSpc>
                <a:spcPct val="100000"/>
              </a:lnSpc>
              <a:spcBef>
                <a:spcPts val="0"/>
              </a:spcBef>
              <a:buNone/>
              <a:defRPr sz="800" baseline="0"/>
            </a:lvl1pPr>
            <a:lvl2pPr marL="0" indent="0" algn="l">
              <a:lnSpc>
                <a:spcPct val="100000"/>
              </a:lnSpc>
              <a:spcBef>
                <a:spcPts val="0"/>
              </a:spcBef>
              <a:buNone/>
              <a:defRPr sz="800"/>
            </a:lvl2pPr>
            <a:lvl3pPr marL="0" indent="0" algn="l">
              <a:lnSpc>
                <a:spcPct val="100000"/>
              </a:lnSpc>
              <a:spcBef>
                <a:spcPts val="0"/>
              </a:spcBef>
              <a:buNone/>
              <a:defRPr sz="800"/>
            </a:lvl3pPr>
            <a:lvl4pPr marL="0" algn="l">
              <a:lnSpc>
                <a:spcPct val="100000"/>
              </a:lnSpc>
              <a:spcBef>
                <a:spcPts val="0"/>
              </a:spcBef>
              <a:buNone/>
              <a:defRPr sz="800"/>
            </a:lvl4pPr>
            <a:lvl5pPr marL="0" indent="0" algn="l">
              <a:lnSpc>
                <a:spcPct val="100000"/>
              </a:lnSpc>
              <a:spcBef>
                <a:spcPts val="0"/>
              </a:spcBef>
              <a:buNone/>
              <a:defRPr sz="800"/>
            </a:lvl5pPr>
          </a:lstStyle>
          <a:p>
            <a:pPr lvl="0"/>
            <a:r>
              <a:rPr lang="en-US"/>
              <a:t>Source line</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86834858"/>
      </p:ext>
    </p:extLst>
  </p:cSld>
  <p:clrMapOvr>
    <a:masterClrMapping/>
  </p:clrMapOvr>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p:cSld name="Smartphone">
    <p:spTree>
      <p:nvGrpSpPr>
        <p:cNvPr id="1" name=""/>
        <p:cNvGrpSpPr/>
        <p:nvPr/>
      </p:nvGrpSpPr>
      <p:grpSpPr>
        <a:xfrm>
          <a:off x="0" y="0"/>
          <a:ext cx="0" cy="0"/>
          <a:chOff x="0" y="0"/>
          <a:chExt cx="0" cy="0"/>
        </a:xfrm>
      </p:grpSpPr>
      <p:pic>
        <p:nvPicPr>
          <p:cNvPr id="10" name="Grafik 2">
            <a:extLst>
              <a:ext uri="{FF2B5EF4-FFF2-40B4-BE49-F238E27FC236}">
                <a16:creationId xmlns:a16="http://schemas.microsoft.com/office/drawing/2014/main" id="{6421FD8A-F5D4-E041-A727-98ABA693B1A7}"/>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5472449" y="1362516"/>
            <a:ext cx="4953000" cy="4865134"/>
          </a:xfrm>
          <a:prstGeom prst="rect">
            <a:avLst/>
          </a:prstGeom>
          <a:effectLst>
            <a:reflection blurRad="6350" stA="48000" endPos="6000" dir="5400000" sy="-100000" algn="bl" rotWithShape="0"/>
          </a:effectLst>
        </p:spPr>
      </p:pic>
      <p:sp>
        <p:nvSpPr>
          <p:cNvPr id="21" name="Date Placeholder 20"/>
          <p:cNvSpPr>
            <a:spLocks noGrp="1"/>
          </p:cNvSpPr>
          <p:nvPr>
            <p:ph type="dt" sz="half" idx="14"/>
          </p:nvPr>
        </p:nvSpPr>
        <p:spPr/>
        <p:txBody>
          <a:bodyPr/>
          <a:lstStyle/>
          <a:p>
            <a:endParaRPr lang="en-US"/>
          </a:p>
        </p:txBody>
      </p:sp>
      <p:sp>
        <p:nvSpPr>
          <p:cNvPr id="22" name="Footer Placeholder 21"/>
          <p:cNvSpPr>
            <a:spLocks noGrp="1"/>
          </p:cNvSpPr>
          <p:nvPr>
            <p:ph type="ftr" sz="quarter" idx="15"/>
          </p:nvPr>
        </p:nvSpPr>
        <p:spPr/>
        <p:txBody>
          <a:bodyPr/>
          <a:lstStyle/>
          <a:p>
            <a:endParaRPr lang="en-US"/>
          </a:p>
        </p:txBody>
      </p:sp>
      <p:sp>
        <p:nvSpPr>
          <p:cNvPr id="23" name="Slide Number Placeholder 22"/>
          <p:cNvSpPr>
            <a:spLocks noGrp="1"/>
          </p:cNvSpPr>
          <p:nvPr>
            <p:ph type="sldNum" sz="quarter" idx="16"/>
          </p:nvPr>
        </p:nvSpPr>
        <p:spPr/>
        <p:txBody>
          <a:bodyPr/>
          <a:lstStyle/>
          <a:p>
            <a:fld id="{5F3E29E4-0979-4FCA-B4C5-5FC6044C982A}" type="slidenum">
              <a:rPr lang="en-US" smtClean="0"/>
              <a:t>‹#›</a:t>
            </a:fld>
            <a:endParaRPr lang="en-US"/>
          </a:p>
        </p:txBody>
      </p:sp>
      <p:sp>
        <p:nvSpPr>
          <p:cNvPr id="2" name="Title 1"/>
          <p:cNvSpPr>
            <a:spLocks noGrp="1"/>
          </p:cNvSpPr>
          <p:nvPr>
            <p:ph type="title" hasCustomPrompt="1"/>
          </p:nvPr>
        </p:nvSpPr>
        <p:spPr/>
        <p:txBody>
          <a:bodyPr/>
          <a:lstStyle>
            <a:lvl1pPr>
              <a:defRPr/>
            </a:lvl1pPr>
          </a:lstStyle>
          <a:p>
            <a:r>
              <a:rPr lang="en-US"/>
              <a:t>Click to add slide title</a:t>
            </a:r>
          </a:p>
        </p:txBody>
      </p:sp>
      <p:sp>
        <p:nvSpPr>
          <p:cNvPr id="7" name="Subtitle 2"/>
          <p:cNvSpPr>
            <a:spLocks noGrp="1"/>
          </p:cNvSpPr>
          <p:nvPr>
            <p:ph type="subTitle" idx="13" hasCustomPrompt="1"/>
          </p:nvPr>
        </p:nvSpPr>
        <p:spPr>
          <a:xfrm>
            <a:off x="1075061" y="964671"/>
            <a:ext cx="7910158" cy="490042"/>
          </a:xfrm>
        </p:spPr>
        <p:txBody>
          <a:bodyPr wrap="none"/>
          <a:lstStyle>
            <a:lvl1pPr marL="0" indent="0" algn="l">
              <a:spcBef>
                <a:spcPts val="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sp>
        <p:nvSpPr>
          <p:cNvPr id="3" name="Content Placeholder 2"/>
          <p:cNvSpPr>
            <a:spLocks noGrp="1"/>
          </p:cNvSpPr>
          <p:nvPr>
            <p:ph idx="1" hasCustomPrompt="1"/>
          </p:nvPr>
        </p:nvSpPr>
        <p:spPr>
          <a:xfrm>
            <a:off x="1075061" y="1852623"/>
            <a:ext cx="5241071" cy="3658714"/>
          </a:xfrm>
        </p:spPr>
        <p:txBody>
          <a:bodyPr anchor="ctr"/>
          <a:lstStyle>
            <a:lvl1pPr>
              <a:defRPr sz="1600"/>
            </a:lvl1pPr>
            <a:lvl2pPr>
              <a:defRPr sz="1600"/>
            </a:lvl2pPr>
            <a:lvl3pPr>
              <a:defRPr sz="1600"/>
            </a:lvl3pPr>
            <a:lvl4pPr>
              <a:defRPr sz="1600"/>
            </a:lvl4pPr>
            <a:lvl5pPr>
              <a:defRPr sz="1600"/>
            </a:lvl5pPr>
          </a:lstStyle>
          <a:p>
            <a:pPr lvl="0"/>
            <a:r>
              <a:rPr lang="en-US"/>
              <a:t>Click to add text</a:t>
            </a:r>
          </a:p>
          <a:p>
            <a:pPr lvl="1"/>
            <a:r>
              <a:rPr lang="en-US"/>
              <a:t>Second level</a:t>
            </a:r>
          </a:p>
          <a:p>
            <a:pPr lvl="2"/>
            <a:r>
              <a:rPr lang="en-US"/>
              <a:t>Third level</a:t>
            </a:r>
          </a:p>
          <a:p>
            <a:pPr lvl="3"/>
            <a:r>
              <a:rPr lang="en-US"/>
              <a:t>Fourth level</a:t>
            </a:r>
          </a:p>
          <a:p>
            <a:pPr lvl="4"/>
            <a:r>
              <a:rPr lang="en-US"/>
              <a:t>Fifth level</a:t>
            </a:r>
          </a:p>
        </p:txBody>
      </p:sp>
      <p:sp>
        <p:nvSpPr>
          <p:cNvPr id="5" name="Picture Placeholder 4"/>
          <p:cNvSpPr>
            <a:spLocks noGrp="1"/>
          </p:cNvSpPr>
          <p:nvPr>
            <p:ph type="pic" sz="quarter" idx="17" hasCustomPrompt="1"/>
          </p:nvPr>
        </p:nvSpPr>
        <p:spPr>
          <a:xfrm>
            <a:off x="6923531" y="1784822"/>
            <a:ext cx="2006654" cy="4104000"/>
          </a:xfrm>
          <a:solidFill>
            <a:srgbClr val="D9DADB"/>
          </a:solidFill>
        </p:spPr>
        <p:txBody>
          <a:bodyPr/>
          <a:lstStyle>
            <a:lvl1pPr marL="0" indent="0">
              <a:buNone/>
              <a:defRPr/>
            </a:lvl1pPr>
          </a:lstStyle>
          <a:p>
            <a:r>
              <a:rPr lang="en-US"/>
              <a:t>Insert picture</a:t>
            </a:r>
          </a:p>
        </p:txBody>
      </p:sp>
      <p:sp>
        <p:nvSpPr>
          <p:cNvPr id="12" name="Text Placeholder 4"/>
          <p:cNvSpPr>
            <a:spLocks noGrp="1"/>
          </p:cNvSpPr>
          <p:nvPr>
            <p:ph type="body" sz="quarter" idx="18" hasCustomPrompt="1"/>
          </p:nvPr>
        </p:nvSpPr>
        <p:spPr>
          <a:xfrm>
            <a:off x="1075063" y="6307665"/>
            <a:ext cx="8162717" cy="133200"/>
          </a:xfrm>
        </p:spPr>
        <p:txBody>
          <a:bodyPr lIns="0" tIns="0" rIns="0" bIns="0" anchor="b" anchorCtr="0"/>
          <a:lstStyle>
            <a:lvl1pPr marL="0" indent="0" algn="l">
              <a:lnSpc>
                <a:spcPct val="100000"/>
              </a:lnSpc>
              <a:spcBef>
                <a:spcPts val="0"/>
              </a:spcBef>
              <a:buNone/>
              <a:defRPr sz="800" baseline="0"/>
            </a:lvl1pPr>
            <a:lvl2pPr marL="0" indent="0" algn="l">
              <a:lnSpc>
                <a:spcPct val="100000"/>
              </a:lnSpc>
              <a:spcBef>
                <a:spcPts val="0"/>
              </a:spcBef>
              <a:buNone/>
              <a:defRPr sz="800"/>
            </a:lvl2pPr>
            <a:lvl3pPr marL="0" indent="0" algn="l">
              <a:lnSpc>
                <a:spcPct val="100000"/>
              </a:lnSpc>
              <a:spcBef>
                <a:spcPts val="0"/>
              </a:spcBef>
              <a:buNone/>
              <a:defRPr sz="800"/>
            </a:lvl3pPr>
            <a:lvl4pPr marL="0" algn="l">
              <a:lnSpc>
                <a:spcPct val="100000"/>
              </a:lnSpc>
              <a:spcBef>
                <a:spcPts val="0"/>
              </a:spcBef>
              <a:buNone/>
              <a:defRPr sz="800"/>
            </a:lvl4pPr>
            <a:lvl5pPr marL="0" indent="0" algn="l">
              <a:lnSpc>
                <a:spcPct val="100000"/>
              </a:lnSpc>
              <a:spcBef>
                <a:spcPts val="0"/>
              </a:spcBef>
              <a:buNone/>
              <a:defRPr sz="800"/>
            </a:lvl5pPr>
          </a:lstStyle>
          <a:p>
            <a:pPr lvl="0"/>
            <a:r>
              <a:rPr lang="en-US"/>
              <a:t>Source line</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26351067"/>
      </p:ext>
    </p:extLst>
  </p:cSld>
  <p:clrMapOvr>
    <a:masterClrMapping/>
  </p:clrMapOvr>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p:cSld name="One contact">
    <p:spTree>
      <p:nvGrpSpPr>
        <p:cNvPr id="1" name=""/>
        <p:cNvGrpSpPr/>
        <p:nvPr/>
      </p:nvGrpSpPr>
      <p:grpSpPr>
        <a:xfrm>
          <a:off x="0" y="0"/>
          <a:ext cx="0" cy="0"/>
          <a:chOff x="0" y="0"/>
          <a:chExt cx="0" cy="0"/>
        </a:xfrm>
      </p:grpSpPr>
      <p:sp>
        <p:nvSpPr>
          <p:cNvPr id="4" name="Picture Placeholder 3"/>
          <p:cNvSpPr>
            <a:spLocks noGrp="1"/>
          </p:cNvSpPr>
          <p:nvPr>
            <p:ph type="pic" sz="quarter" idx="17" hasCustomPrompt="1"/>
          </p:nvPr>
        </p:nvSpPr>
        <p:spPr>
          <a:xfrm>
            <a:off x="1056217" y="1833656"/>
            <a:ext cx="3203503" cy="3935319"/>
          </a:xfrm>
          <a:solidFill>
            <a:srgbClr val="D9DADB"/>
          </a:solidFill>
        </p:spPr>
        <p:txBody>
          <a:bodyPr/>
          <a:lstStyle>
            <a:lvl1pPr marL="0" indent="0">
              <a:buNone/>
              <a:defRPr sz="1400"/>
            </a:lvl1pPr>
          </a:lstStyle>
          <a:p>
            <a:r>
              <a:rPr lang="en-US"/>
              <a:t>Insert picture</a:t>
            </a:r>
          </a:p>
        </p:txBody>
      </p:sp>
      <p:sp>
        <p:nvSpPr>
          <p:cNvPr id="21" name="Date Placeholder 20"/>
          <p:cNvSpPr>
            <a:spLocks noGrp="1"/>
          </p:cNvSpPr>
          <p:nvPr>
            <p:ph type="dt" sz="half" idx="14"/>
          </p:nvPr>
        </p:nvSpPr>
        <p:spPr/>
        <p:txBody>
          <a:bodyPr/>
          <a:lstStyle/>
          <a:p>
            <a:endParaRPr lang="en-US"/>
          </a:p>
        </p:txBody>
      </p:sp>
      <p:sp>
        <p:nvSpPr>
          <p:cNvPr id="22" name="Footer Placeholder 21"/>
          <p:cNvSpPr>
            <a:spLocks noGrp="1"/>
          </p:cNvSpPr>
          <p:nvPr>
            <p:ph type="ftr" sz="quarter" idx="15"/>
          </p:nvPr>
        </p:nvSpPr>
        <p:spPr/>
        <p:txBody>
          <a:bodyPr/>
          <a:lstStyle/>
          <a:p>
            <a:endParaRPr lang="en-US"/>
          </a:p>
        </p:txBody>
      </p:sp>
      <p:sp>
        <p:nvSpPr>
          <p:cNvPr id="23" name="Slide Number Placeholder 22"/>
          <p:cNvSpPr>
            <a:spLocks noGrp="1"/>
          </p:cNvSpPr>
          <p:nvPr>
            <p:ph type="sldNum" sz="quarter" idx="16"/>
          </p:nvPr>
        </p:nvSpPr>
        <p:spPr/>
        <p:txBody>
          <a:bodyPr/>
          <a:lstStyle/>
          <a:p>
            <a:fld id="{5F3E29E4-0979-4FCA-B4C5-5FC6044C982A}" type="slidenum">
              <a:rPr lang="en-US" smtClean="0"/>
              <a:t>‹#›</a:t>
            </a:fld>
            <a:endParaRPr lang="en-US"/>
          </a:p>
        </p:txBody>
      </p:sp>
      <p:sp>
        <p:nvSpPr>
          <p:cNvPr id="2" name="Title 1"/>
          <p:cNvSpPr>
            <a:spLocks noGrp="1"/>
          </p:cNvSpPr>
          <p:nvPr>
            <p:ph type="title" hasCustomPrompt="1"/>
          </p:nvPr>
        </p:nvSpPr>
        <p:spPr/>
        <p:txBody>
          <a:bodyPr/>
          <a:lstStyle>
            <a:lvl1pPr>
              <a:defRPr/>
            </a:lvl1pPr>
          </a:lstStyle>
          <a:p>
            <a:r>
              <a:rPr lang="en-US"/>
              <a:t>Click to add contact title</a:t>
            </a:r>
          </a:p>
        </p:txBody>
      </p:sp>
      <p:sp>
        <p:nvSpPr>
          <p:cNvPr id="7" name="Subtitle 2"/>
          <p:cNvSpPr>
            <a:spLocks noGrp="1"/>
          </p:cNvSpPr>
          <p:nvPr>
            <p:ph type="subTitle" idx="13" hasCustomPrompt="1"/>
          </p:nvPr>
        </p:nvSpPr>
        <p:spPr>
          <a:xfrm>
            <a:off x="1075061" y="964671"/>
            <a:ext cx="7910158" cy="490042"/>
          </a:xfrm>
        </p:spPr>
        <p:txBody>
          <a:bodyPr wrap="none"/>
          <a:lstStyle>
            <a:lvl1pPr marL="0" indent="0" algn="l">
              <a:spcBef>
                <a:spcPts val="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grpSp>
        <p:nvGrpSpPr>
          <p:cNvPr id="8" name="Gruppieren 80">
            <a:extLst>
              <a:ext uri="{FF2B5EF4-FFF2-40B4-BE49-F238E27FC236}">
                <a16:creationId xmlns:a16="http://schemas.microsoft.com/office/drawing/2014/main" id="{6B969E7B-9C39-4443-9B02-74C1E7C5CCAC}"/>
              </a:ext>
            </a:extLst>
          </p:cNvPr>
          <p:cNvGrpSpPr/>
          <p:nvPr/>
        </p:nvGrpSpPr>
        <p:grpSpPr>
          <a:xfrm>
            <a:off x="4451001" y="2884199"/>
            <a:ext cx="171180" cy="171180"/>
            <a:chOff x="3392092" y="1841122"/>
            <a:chExt cx="646508" cy="646508"/>
          </a:xfrm>
        </p:grpSpPr>
        <p:sp>
          <p:nvSpPr>
            <p:cNvPr id="9" name="Rechteck 14">
              <a:extLst>
                <a:ext uri="{FF2B5EF4-FFF2-40B4-BE49-F238E27FC236}">
                  <a16:creationId xmlns:a16="http://schemas.microsoft.com/office/drawing/2014/main" id="{D78F58EA-5525-8D43-8295-FEA52ECF6BFA}"/>
                </a:ext>
              </a:extLst>
            </p:cNvPr>
            <p:cNvSpPr>
              <a:spLocks noChangeAspect="1"/>
            </p:cNvSpPr>
            <p:nvPr/>
          </p:nvSpPr>
          <p:spPr bwMode="gray">
            <a:xfrm>
              <a:off x="3392092" y="1841122"/>
              <a:ext cx="646508" cy="646508"/>
            </a:xfrm>
            <a:prstGeom prst="rect">
              <a:avLst/>
            </a:prstGeom>
            <a:solidFill>
              <a:srgbClr val="E55A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pPr>
              <a:endParaRPr lang="en-US" sz="1000">
                <a:solidFill>
                  <a:schemeClr val="tx1"/>
                </a:solidFill>
                <a:latin typeface="Arial" pitchFamily="34" charset="0"/>
                <a:cs typeface="Arial" pitchFamily="34" charset="0"/>
              </a:endParaRPr>
            </a:p>
          </p:txBody>
        </p:sp>
        <p:sp>
          <p:nvSpPr>
            <p:cNvPr id="10" name="Freeform 67">
              <a:extLst>
                <a:ext uri="{FF2B5EF4-FFF2-40B4-BE49-F238E27FC236}">
                  <a16:creationId xmlns:a16="http://schemas.microsoft.com/office/drawing/2014/main" id="{D01A6292-2776-4945-B828-483D79DC4908}"/>
                </a:ext>
              </a:extLst>
            </p:cNvPr>
            <p:cNvSpPr>
              <a:spLocks noChangeAspect="1"/>
            </p:cNvSpPr>
            <p:nvPr/>
          </p:nvSpPr>
          <p:spPr bwMode="auto">
            <a:xfrm>
              <a:off x="3546638" y="1970424"/>
              <a:ext cx="337415" cy="387905"/>
            </a:xfrm>
            <a:custGeom>
              <a:avLst/>
              <a:gdLst>
                <a:gd name="T0" fmla="*/ 573 w 1624"/>
                <a:gd name="T1" fmla="*/ 1257 h 1867"/>
                <a:gd name="T2" fmla="*/ 662 w 1624"/>
                <a:gd name="T3" fmla="*/ 1288 h 1867"/>
                <a:gd name="T4" fmla="*/ 938 w 1624"/>
                <a:gd name="T5" fmla="*/ 1051 h 1867"/>
                <a:gd name="T6" fmla="*/ 1106 w 1624"/>
                <a:gd name="T7" fmla="*/ 731 h 1867"/>
                <a:gd name="T8" fmla="*/ 1059 w 1624"/>
                <a:gd name="T9" fmla="*/ 645 h 1867"/>
                <a:gd name="T10" fmla="*/ 1001 w 1624"/>
                <a:gd name="T11" fmla="*/ 613 h 1867"/>
                <a:gd name="T12" fmla="*/ 924 w 1624"/>
                <a:gd name="T13" fmla="*/ 432 h 1867"/>
                <a:gd name="T14" fmla="*/ 1114 w 1624"/>
                <a:gd name="T15" fmla="*/ 81 h 1867"/>
                <a:gd name="T16" fmla="*/ 1287 w 1624"/>
                <a:gd name="T17" fmla="*/ 35 h 1867"/>
                <a:gd name="T18" fmla="*/ 1350 w 1624"/>
                <a:gd name="T19" fmla="*/ 69 h 1867"/>
                <a:gd name="T20" fmla="*/ 1527 w 1624"/>
                <a:gd name="T21" fmla="*/ 235 h 1867"/>
                <a:gd name="T22" fmla="*/ 1583 w 1624"/>
                <a:gd name="T23" fmla="*/ 555 h 1867"/>
                <a:gd name="T24" fmla="*/ 1172 w 1624"/>
                <a:gd name="T25" fmla="*/ 1253 h 1867"/>
                <a:gd name="T26" fmla="*/ 586 w 1624"/>
                <a:gd name="T27" fmla="*/ 1803 h 1867"/>
                <a:gd name="T28" fmla="*/ 269 w 1624"/>
                <a:gd name="T29" fmla="*/ 1807 h 1867"/>
                <a:gd name="T30" fmla="*/ 33 w 1624"/>
                <a:gd name="T31" fmla="*/ 1602 h 1867"/>
                <a:gd name="T32" fmla="*/ 2 w 1624"/>
                <a:gd name="T33" fmla="*/ 1508 h 1867"/>
                <a:gd name="T34" fmla="*/ 45 w 1624"/>
                <a:gd name="T35" fmla="*/ 1421 h 1867"/>
                <a:gd name="T36" fmla="*/ 346 w 1624"/>
                <a:gd name="T37" fmla="*/ 1158 h 1867"/>
                <a:gd name="T38" fmla="*/ 448 w 1624"/>
                <a:gd name="T39" fmla="*/ 1145 h 1867"/>
                <a:gd name="T40" fmla="*/ 573 w 1624"/>
                <a:gd name="T41" fmla="*/ 1257 h 18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24" h="1867">
                  <a:moveTo>
                    <a:pt x="573" y="1257"/>
                  </a:moveTo>
                  <a:cubicBezTo>
                    <a:pt x="592" y="1282"/>
                    <a:pt x="630" y="1303"/>
                    <a:pt x="662" y="1288"/>
                  </a:cubicBezTo>
                  <a:cubicBezTo>
                    <a:pt x="753" y="1245"/>
                    <a:pt x="854" y="1156"/>
                    <a:pt x="938" y="1051"/>
                  </a:cubicBezTo>
                  <a:cubicBezTo>
                    <a:pt x="1020" y="948"/>
                    <a:pt x="1084" y="831"/>
                    <a:pt x="1106" y="731"/>
                  </a:cubicBezTo>
                  <a:cubicBezTo>
                    <a:pt x="1113" y="696"/>
                    <a:pt x="1089" y="661"/>
                    <a:pt x="1059" y="645"/>
                  </a:cubicBezTo>
                  <a:cubicBezTo>
                    <a:pt x="1001" y="613"/>
                    <a:pt x="1001" y="613"/>
                    <a:pt x="1001" y="613"/>
                  </a:cubicBezTo>
                  <a:cubicBezTo>
                    <a:pt x="942" y="580"/>
                    <a:pt x="888" y="499"/>
                    <a:pt x="924" y="432"/>
                  </a:cubicBezTo>
                  <a:cubicBezTo>
                    <a:pt x="1114" y="81"/>
                    <a:pt x="1114" y="81"/>
                    <a:pt x="1114" y="81"/>
                  </a:cubicBezTo>
                  <a:cubicBezTo>
                    <a:pt x="1150" y="16"/>
                    <a:pt x="1224" y="0"/>
                    <a:pt x="1287" y="35"/>
                  </a:cubicBezTo>
                  <a:cubicBezTo>
                    <a:pt x="1350" y="69"/>
                    <a:pt x="1350" y="69"/>
                    <a:pt x="1350" y="69"/>
                  </a:cubicBezTo>
                  <a:cubicBezTo>
                    <a:pt x="1415" y="105"/>
                    <a:pt x="1479" y="165"/>
                    <a:pt x="1527" y="235"/>
                  </a:cubicBezTo>
                  <a:cubicBezTo>
                    <a:pt x="1593" y="332"/>
                    <a:pt x="1624" y="442"/>
                    <a:pt x="1583" y="555"/>
                  </a:cubicBezTo>
                  <a:cubicBezTo>
                    <a:pt x="1500" y="781"/>
                    <a:pt x="1351" y="1030"/>
                    <a:pt x="1172" y="1253"/>
                  </a:cubicBezTo>
                  <a:cubicBezTo>
                    <a:pt x="994" y="1477"/>
                    <a:pt x="786" y="1676"/>
                    <a:pt x="586" y="1803"/>
                  </a:cubicBezTo>
                  <a:cubicBezTo>
                    <a:pt x="486" y="1867"/>
                    <a:pt x="375" y="1856"/>
                    <a:pt x="269" y="1807"/>
                  </a:cubicBezTo>
                  <a:cubicBezTo>
                    <a:pt x="157" y="1755"/>
                    <a:pt x="106" y="1695"/>
                    <a:pt x="33" y="1602"/>
                  </a:cubicBezTo>
                  <a:cubicBezTo>
                    <a:pt x="11" y="1573"/>
                    <a:pt x="0" y="1540"/>
                    <a:pt x="2" y="1508"/>
                  </a:cubicBezTo>
                  <a:cubicBezTo>
                    <a:pt x="4" y="1475"/>
                    <a:pt x="18" y="1444"/>
                    <a:pt x="45" y="1421"/>
                  </a:cubicBezTo>
                  <a:cubicBezTo>
                    <a:pt x="70" y="1399"/>
                    <a:pt x="346" y="1158"/>
                    <a:pt x="346" y="1158"/>
                  </a:cubicBezTo>
                  <a:cubicBezTo>
                    <a:pt x="376" y="1134"/>
                    <a:pt x="413" y="1133"/>
                    <a:pt x="448" y="1145"/>
                  </a:cubicBezTo>
                  <a:cubicBezTo>
                    <a:pt x="510" y="1166"/>
                    <a:pt x="536" y="1210"/>
                    <a:pt x="573" y="1257"/>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351"/>
            </a:p>
          </p:txBody>
        </p:sp>
      </p:grpSp>
      <p:grpSp>
        <p:nvGrpSpPr>
          <p:cNvPr id="11" name="Group 3">
            <a:extLst>
              <a:ext uri="{FF2B5EF4-FFF2-40B4-BE49-F238E27FC236}">
                <a16:creationId xmlns:a16="http://schemas.microsoft.com/office/drawing/2014/main" id="{DED6A25A-5DE2-1441-8BA2-C68D3B4F9209}"/>
              </a:ext>
            </a:extLst>
          </p:cNvPr>
          <p:cNvGrpSpPr>
            <a:grpSpLocks noChangeAspect="1"/>
          </p:cNvGrpSpPr>
          <p:nvPr>
            <p:custDataLst>
              <p:tags r:id="rId1"/>
            </p:custDataLst>
          </p:nvPr>
        </p:nvGrpSpPr>
        <p:grpSpPr>
          <a:xfrm>
            <a:off x="4451002" y="3169087"/>
            <a:ext cx="171180" cy="171180"/>
            <a:chOff x="328396" y="5313940"/>
            <a:chExt cx="720000" cy="720000"/>
          </a:xfrm>
        </p:grpSpPr>
        <p:sp>
          <p:nvSpPr>
            <p:cNvPr id="12" name="Rectangle 4">
              <a:extLst>
                <a:ext uri="{FF2B5EF4-FFF2-40B4-BE49-F238E27FC236}">
                  <a16:creationId xmlns:a16="http://schemas.microsoft.com/office/drawing/2014/main" id="{5F49E67F-D4FA-9D48-96BC-59AE946ECD15}"/>
                </a:ext>
              </a:extLst>
            </p:cNvPr>
            <p:cNvSpPr/>
            <p:nvPr/>
          </p:nvSpPr>
          <p:spPr bwMode="gray">
            <a:xfrm>
              <a:off x="328396" y="5313940"/>
              <a:ext cx="720000" cy="720000"/>
            </a:xfrm>
            <a:prstGeom prst="rect">
              <a:avLst/>
            </a:prstGeom>
            <a:solidFill>
              <a:srgbClr val="E55A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pPr>
              <a:endParaRPr lang="en-US" sz="1000">
                <a:solidFill>
                  <a:schemeClr val="tx1"/>
                </a:solidFill>
                <a:latin typeface="Arial" pitchFamily="34" charset="0"/>
                <a:cs typeface="Arial" pitchFamily="34" charset="0"/>
              </a:endParaRPr>
            </a:p>
          </p:txBody>
        </p:sp>
        <p:sp>
          <p:nvSpPr>
            <p:cNvPr id="13" name="Freeform 76">
              <a:extLst>
                <a:ext uri="{FF2B5EF4-FFF2-40B4-BE49-F238E27FC236}">
                  <a16:creationId xmlns:a16="http://schemas.microsoft.com/office/drawing/2014/main" id="{187E70E6-AF3F-2549-908E-DF4BA61040AA}"/>
                </a:ext>
              </a:extLst>
            </p:cNvPr>
            <p:cNvSpPr>
              <a:spLocks noChangeAspect="1" noEditPoints="1"/>
            </p:cNvSpPr>
            <p:nvPr/>
          </p:nvSpPr>
          <p:spPr bwMode="auto">
            <a:xfrm>
              <a:off x="456202" y="5509222"/>
              <a:ext cx="504000" cy="329436"/>
            </a:xfrm>
            <a:custGeom>
              <a:avLst/>
              <a:gdLst>
                <a:gd name="T0" fmla="*/ 0 w 2080"/>
                <a:gd name="T1" fmla="*/ 65 h 1360"/>
                <a:gd name="T2" fmla="*/ 0 w 2080"/>
                <a:gd name="T3" fmla="*/ 0 h 1360"/>
                <a:gd name="T4" fmla="*/ 2080 w 2080"/>
                <a:gd name="T5" fmla="*/ 0 h 1360"/>
                <a:gd name="T6" fmla="*/ 2080 w 2080"/>
                <a:gd name="T7" fmla="*/ 65 h 1360"/>
                <a:gd name="T8" fmla="*/ 1089 w 2080"/>
                <a:gd name="T9" fmla="*/ 862 h 1360"/>
                <a:gd name="T10" fmla="*/ 991 w 2080"/>
                <a:gd name="T11" fmla="*/ 862 h 1360"/>
                <a:gd name="T12" fmla="*/ 0 w 2080"/>
                <a:gd name="T13" fmla="*/ 65 h 1360"/>
                <a:gd name="T14" fmla="*/ 1139 w 2080"/>
                <a:gd name="T15" fmla="*/ 924 h 1360"/>
                <a:gd name="T16" fmla="*/ 1282 w 2080"/>
                <a:gd name="T17" fmla="*/ 810 h 1360"/>
                <a:gd name="T18" fmla="*/ 2076 w 2080"/>
                <a:gd name="T19" fmla="*/ 1360 h 1360"/>
                <a:gd name="T20" fmla="*/ 4 w 2080"/>
                <a:gd name="T21" fmla="*/ 1360 h 1360"/>
                <a:gd name="T22" fmla="*/ 798 w 2080"/>
                <a:gd name="T23" fmla="*/ 810 h 1360"/>
                <a:gd name="T24" fmla="*/ 941 w 2080"/>
                <a:gd name="T25" fmla="*/ 924 h 1360"/>
                <a:gd name="T26" fmla="*/ 1139 w 2080"/>
                <a:gd name="T27" fmla="*/ 924 h 1360"/>
                <a:gd name="T28" fmla="*/ 2 w 2080"/>
                <a:gd name="T29" fmla="*/ 137 h 1360"/>
                <a:gd name="T30" fmla="*/ 42 w 2080"/>
                <a:gd name="T31" fmla="*/ 201 h 1360"/>
                <a:gd name="T32" fmla="*/ 734 w 2080"/>
                <a:gd name="T33" fmla="*/ 758 h 1360"/>
                <a:gd name="T34" fmla="*/ 0 w 2080"/>
                <a:gd name="T35" fmla="*/ 1266 h 1360"/>
                <a:gd name="T36" fmla="*/ 0 w 2080"/>
                <a:gd name="T37" fmla="*/ 135 h 1360"/>
                <a:gd name="T38" fmla="*/ 2 w 2080"/>
                <a:gd name="T39" fmla="*/ 137 h 1360"/>
                <a:gd name="T40" fmla="*/ 2080 w 2080"/>
                <a:gd name="T41" fmla="*/ 136 h 1360"/>
                <a:gd name="T42" fmla="*/ 2080 w 2080"/>
                <a:gd name="T43" fmla="*/ 1265 h 1360"/>
                <a:gd name="T44" fmla="*/ 1346 w 2080"/>
                <a:gd name="T45" fmla="*/ 758 h 1360"/>
                <a:gd name="T46" fmla="*/ 2038 w 2080"/>
                <a:gd name="T47" fmla="*/ 201 h 1360"/>
                <a:gd name="T48" fmla="*/ 2080 w 2080"/>
                <a:gd name="T49" fmla="*/ 136 h 1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080" h="1360">
                  <a:moveTo>
                    <a:pt x="0" y="65"/>
                  </a:moveTo>
                  <a:cubicBezTo>
                    <a:pt x="0" y="0"/>
                    <a:pt x="0" y="0"/>
                    <a:pt x="0" y="0"/>
                  </a:cubicBezTo>
                  <a:cubicBezTo>
                    <a:pt x="2080" y="0"/>
                    <a:pt x="2080" y="0"/>
                    <a:pt x="2080" y="0"/>
                  </a:cubicBezTo>
                  <a:cubicBezTo>
                    <a:pt x="2080" y="65"/>
                    <a:pt x="2080" y="65"/>
                    <a:pt x="2080" y="65"/>
                  </a:cubicBezTo>
                  <a:cubicBezTo>
                    <a:pt x="1089" y="862"/>
                    <a:pt x="1089" y="862"/>
                    <a:pt x="1089" y="862"/>
                  </a:cubicBezTo>
                  <a:cubicBezTo>
                    <a:pt x="1060" y="886"/>
                    <a:pt x="1020" y="886"/>
                    <a:pt x="991" y="862"/>
                  </a:cubicBezTo>
                  <a:lnTo>
                    <a:pt x="0" y="65"/>
                  </a:lnTo>
                  <a:close/>
                  <a:moveTo>
                    <a:pt x="1139" y="924"/>
                  </a:moveTo>
                  <a:cubicBezTo>
                    <a:pt x="1282" y="810"/>
                    <a:pt x="1282" y="810"/>
                    <a:pt x="1282" y="810"/>
                  </a:cubicBezTo>
                  <a:cubicBezTo>
                    <a:pt x="2076" y="1360"/>
                    <a:pt x="2076" y="1360"/>
                    <a:pt x="2076" y="1360"/>
                  </a:cubicBezTo>
                  <a:cubicBezTo>
                    <a:pt x="4" y="1360"/>
                    <a:pt x="4" y="1360"/>
                    <a:pt x="4" y="1360"/>
                  </a:cubicBezTo>
                  <a:cubicBezTo>
                    <a:pt x="798" y="810"/>
                    <a:pt x="798" y="810"/>
                    <a:pt x="798" y="810"/>
                  </a:cubicBezTo>
                  <a:cubicBezTo>
                    <a:pt x="941" y="924"/>
                    <a:pt x="941" y="924"/>
                    <a:pt x="941" y="924"/>
                  </a:cubicBezTo>
                  <a:cubicBezTo>
                    <a:pt x="1000" y="972"/>
                    <a:pt x="1080" y="972"/>
                    <a:pt x="1139" y="924"/>
                  </a:cubicBezTo>
                  <a:close/>
                  <a:moveTo>
                    <a:pt x="2" y="137"/>
                  </a:moveTo>
                  <a:cubicBezTo>
                    <a:pt x="8" y="163"/>
                    <a:pt x="22" y="185"/>
                    <a:pt x="42" y="201"/>
                  </a:cubicBezTo>
                  <a:cubicBezTo>
                    <a:pt x="734" y="758"/>
                    <a:pt x="734" y="758"/>
                    <a:pt x="734" y="758"/>
                  </a:cubicBezTo>
                  <a:cubicBezTo>
                    <a:pt x="0" y="1266"/>
                    <a:pt x="0" y="1266"/>
                    <a:pt x="0" y="1266"/>
                  </a:cubicBezTo>
                  <a:cubicBezTo>
                    <a:pt x="0" y="135"/>
                    <a:pt x="0" y="135"/>
                    <a:pt x="0" y="135"/>
                  </a:cubicBezTo>
                  <a:lnTo>
                    <a:pt x="2" y="137"/>
                  </a:lnTo>
                  <a:close/>
                  <a:moveTo>
                    <a:pt x="2080" y="136"/>
                  </a:moveTo>
                  <a:cubicBezTo>
                    <a:pt x="2080" y="1265"/>
                    <a:pt x="2080" y="1265"/>
                    <a:pt x="2080" y="1265"/>
                  </a:cubicBezTo>
                  <a:cubicBezTo>
                    <a:pt x="1346" y="758"/>
                    <a:pt x="1346" y="758"/>
                    <a:pt x="1346" y="758"/>
                  </a:cubicBezTo>
                  <a:cubicBezTo>
                    <a:pt x="2038" y="201"/>
                    <a:pt x="2038" y="201"/>
                    <a:pt x="2038" y="201"/>
                  </a:cubicBezTo>
                  <a:cubicBezTo>
                    <a:pt x="2060" y="182"/>
                    <a:pt x="2072" y="162"/>
                    <a:pt x="2080" y="13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000"/>
            </a:p>
          </p:txBody>
        </p:sp>
      </p:grpSp>
      <p:cxnSp>
        <p:nvCxnSpPr>
          <p:cNvPr id="20" name="Straight Connector 19"/>
          <p:cNvCxnSpPr/>
          <p:nvPr/>
        </p:nvCxnSpPr>
        <p:spPr>
          <a:xfrm>
            <a:off x="4451001" y="3494093"/>
            <a:ext cx="2463190" cy="0"/>
          </a:xfrm>
          <a:prstGeom prst="line">
            <a:avLst/>
          </a:prstGeom>
          <a:ln w="6350">
            <a:solidFill>
              <a:schemeClr val="tx2"/>
            </a:solidFill>
            <a:prstDash val="dash"/>
          </a:ln>
        </p:spPr>
        <p:style>
          <a:lnRef idx="1">
            <a:schemeClr val="accent1"/>
          </a:lnRef>
          <a:fillRef idx="0">
            <a:schemeClr val="accent1"/>
          </a:fillRef>
          <a:effectRef idx="0">
            <a:schemeClr val="accent1"/>
          </a:effectRef>
          <a:fontRef idx="minor">
            <a:schemeClr val="tx1"/>
          </a:fontRef>
        </p:style>
      </p:cxnSp>
      <p:sp>
        <p:nvSpPr>
          <p:cNvPr id="6" name="Text Placeholder 5"/>
          <p:cNvSpPr>
            <a:spLocks noGrp="1"/>
          </p:cNvSpPr>
          <p:nvPr>
            <p:ph type="body" sz="quarter" idx="19" hasCustomPrompt="1"/>
          </p:nvPr>
        </p:nvSpPr>
        <p:spPr>
          <a:xfrm>
            <a:off x="4451001" y="1824401"/>
            <a:ext cx="2463190" cy="192360"/>
          </a:xfrm>
        </p:spPr>
        <p:txBody>
          <a:bodyPr lIns="0" tIns="0" rIns="0" bIns="0" anchor="ctr" anchorCtr="0"/>
          <a:lstStyle>
            <a:lvl1pPr marL="0" indent="0" algn="l">
              <a:lnSpc>
                <a:spcPct val="100000"/>
              </a:lnSpc>
              <a:buNone/>
              <a:defRPr sz="100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Country</a:t>
            </a:r>
          </a:p>
        </p:txBody>
      </p:sp>
      <p:sp>
        <p:nvSpPr>
          <p:cNvPr id="26" name="Text Placeholder 5"/>
          <p:cNvSpPr>
            <a:spLocks noGrp="1"/>
          </p:cNvSpPr>
          <p:nvPr>
            <p:ph type="body" sz="quarter" idx="20" hasCustomPrompt="1"/>
          </p:nvPr>
        </p:nvSpPr>
        <p:spPr>
          <a:xfrm>
            <a:off x="4451001" y="2036217"/>
            <a:ext cx="2463190" cy="266182"/>
          </a:xfrm>
        </p:spPr>
        <p:txBody>
          <a:bodyPr lIns="0" tIns="0" rIns="0" bIns="0" anchor="b" anchorCtr="0"/>
          <a:lstStyle>
            <a:lvl1pPr marL="0" indent="0" algn="l">
              <a:lnSpc>
                <a:spcPct val="100000"/>
              </a:lnSpc>
              <a:buNone/>
              <a:defRPr sz="1400" b="1" baseline="0">
                <a:solidFill>
                  <a:schemeClr val="tx2"/>
                </a:solidFill>
              </a:defRPr>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Name, Surname</a:t>
            </a:r>
          </a:p>
        </p:txBody>
      </p:sp>
      <p:sp>
        <p:nvSpPr>
          <p:cNvPr id="27" name="Text Placeholder 5"/>
          <p:cNvSpPr>
            <a:spLocks noGrp="1"/>
          </p:cNvSpPr>
          <p:nvPr>
            <p:ph type="body" sz="quarter" idx="21" hasCustomPrompt="1"/>
          </p:nvPr>
        </p:nvSpPr>
        <p:spPr>
          <a:xfrm>
            <a:off x="4451001" y="2332792"/>
            <a:ext cx="2463190"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Job Position</a:t>
            </a:r>
          </a:p>
        </p:txBody>
      </p:sp>
      <p:sp>
        <p:nvSpPr>
          <p:cNvPr id="28" name="Text Placeholder 5"/>
          <p:cNvSpPr>
            <a:spLocks noGrp="1"/>
          </p:cNvSpPr>
          <p:nvPr>
            <p:ph type="body" sz="quarter" idx="22" hasCustomPrompt="1"/>
          </p:nvPr>
        </p:nvSpPr>
        <p:spPr>
          <a:xfrm>
            <a:off x="4695884" y="2861468"/>
            <a:ext cx="2218307"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Phone number</a:t>
            </a:r>
          </a:p>
        </p:txBody>
      </p:sp>
      <p:sp>
        <p:nvSpPr>
          <p:cNvPr id="29" name="Text Placeholder 5"/>
          <p:cNvSpPr>
            <a:spLocks noGrp="1"/>
          </p:cNvSpPr>
          <p:nvPr>
            <p:ph type="body" sz="quarter" idx="23" hasCustomPrompt="1"/>
          </p:nvPr>
        </p:nvSpPr>
        <p:spPr>
          <a:xfrm>
            <a:off x="4695884" y="3144275"/>
            <a:ext cx="2218307"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Email address</a:t>
            </a:r>
          </a:p>
        </p:txBody>
      </p:sp>
      <p:sp>
        <p:nvSpPr>
          <p:cNvPr id="35" name="Text Placeholder 34"/>
          <p:cNvSpPr>
            <a:spLocks noGrp="1"/>
          </p:cNvSpPr>
          <p:nvPr>
            <p:ph type="body" sz="quarter" idx="24" hasCustomPrompt="1"/>
          </p:nvPr>
        </p:nvSpPr>
        <p:spPr>
          <a:xfrm>
            <a:off x="4492626" y="3681413"/>
            <a:ext cx="4492594" cy="2087562"/>
          </a:xfrm>
        </p:spPr>
        <p:txBody>
          <a:bodyPr/>
          <a:lstStyle>
            <a:lvl1pPr>
              <a:defRPr sz="1400" baseline="0"/>
            </a:lvl1pPr>
            <a:lvl2pPr>
              <a:defRPr sz="1400"/>
            </a:lvl2pPr>
            <a:lvl3pPr>
              <a:defRPr sz="1400"/>
            </a:lvl3pPr>
            <a:lvl4pPr>
              <a:defRPr sz="1400"/>
            </a:lvl4pPr>
            <a:lvl5pPr>
              <a:defRPr sz="1400"/>
            </a:lvl5pPr>
          </a:lstStyle>
          <a:p>
            <a:pPr lvl="0"/>
            <a:r>
              <a:rPr lang="en-US"/>
              <a:t>Additional information (if needed)</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576770"/>
      </p:ext>
    </p:extLst>
  </p:cSld>
  <p:clrMapOvr>
    <a:masterClrMapping/>
  </p:clrMapOvr>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p:cSld name="Two contacts">
    <p:spTree>
      <p:nvGrpSpPr>
        <p:cNvPr id="1" name=""/>
        <p:cNvGrpSpPr/>
        <p:nvPr/>
      </p:nvGrpSpPr>
      <p:grpSpPr>
        <a:xfrm>
          <a:off x="0" y="0"/>
          <a:ext cx="0" cy="0"/>
          <a:chOff x="0" y="0"/>
          <a:chExt cx="0" cy="0"/>
        </a:xfrm>
      </p:grpSpPr>
      <p:sp>
        <p:nvSpPr>
          <p:cNvPr id="21" name="Date Placeholder 20"/>
          <p:cNvSpPr>
            <a:spLocks noGrp="1"/>
          </p:cNvSpPr>
          <p:nvPr>
            <p:ph type="dt" sz="half" idx="14"/>
          </p:nvPr>
        </p:nvSpPr>
        <p:spPr/>
        <p:txBody>
          <a:bodyPr/>
          <a:lstStyle/>
          <a:p>
            <a:endParaRPr lang="en-US"/>
          </a:p>
        </p:txBody>
      </p:sp>
      <p:sp>
        <p:nvSpPr>
          <p:cNvPr id="22" name="Footer Placeholder 21"/>
          <p:cNvSpPr>
            <a:spLocks noGrp="1"/>
          </p:cNvSpPr>
          <p:nvPr>
            <p:ph type="ftr" sz="quarter" idx="15"/>
          </p:nvPr>
        </p:nvSpPr>
        <p:spPr/>
        <p:txBody>
          <a:bodyPr/>
          <a:lstStyle/>
          <a:p>
            <a:endParaRPr lang="en-US"/>
          </a:p>
        </p:txBody>
      </p:sp>
      <p:sp>
        <p:nvSpPr>
          <p:cNvPr id="23" name="Slide Number Placeholder 22"/>
          <p:cNvSpPr>
            <a:spLocks noGrp="1"/>
          </p:cNvSpPr>
          <p:nvPr>
            <p:ph type="sldNum" sz="quarter" idx="16"/>
          </p:nvPr>
        </p:nvSpPr>
        <p:spPr/>
        <p:txBody>
          <a:bodyPr/>
          <a:lstStyle/>
          <a:p>
            <a:fld id="{5F3E29E4-0979-4FCA-B4C5-5FC6044C982A}" type="slidenum">
              <a:rPr lang="en-US" smtClean="0"/>
              <a:t>‹#›</a:t>
            </a:fld>
            <a:endParaRPr lang="en-US"/>
          </a:p>
        </p:txBody>
      </p:sp>
      <p:sp>
        <p:nvSpPr>
          <p:cNvPr id="2" name="Title 1"/>
          <p:cNvSpPr>
            <a:spLocks noGrp="1"/>
          </p:cNvSpPr>
          <p:nvPr>
            <p:ph type="title" hasCustomPrompt="1"/>
          </p:nvPr>
        </p:nvSpPr>
        <p:spPr/>
        <p:txBody>
          <a:bodyPr/>
          <a:lstStyle>
            <a:lvl1pPr>
              <a:defRPr/>
            </a:lvl1pPr>
          </a:lstStyle>
          <a:p>
            <a:r>
              <a:rPr lang="en-US"/>
              <a:t>Click to add contact title</a:t>
            </a:r>
          </a:p>
        </p:txBody>
      </p:sp>
      <p:sp>
        <p:nvSpPr>
          <p:cNvPr id="7" name="Subtitle 2"/>
          <p:cNvSpPr>
            <a:spLocks noGrp="1"/>
          </p:cNvSpPr>
          <p:nvPr>
            <p:ph type="subTitle" idx="13" hasCustomPrompt="1"/>
          </p:nvPr>
        </p:nvSpPr>
        <p:spPr>
          <a:xfrm>
            <a:off x="1075061" y="964671"/>
            <a:ext cx="7910158" cy="490042"/>
          </a:xfrm>
        </p:spPr>
        <p:txBody>
          <a:bodyPr wrap="none"/>
          <a:lstStyle>
            <a:lvl1pPr marL="0" indent="0" algn="l">
              <a:spcBef>
                <a:spcPts val="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grpSp>
        <p:nvGrpSpPr>
          <p:cNvPr id="8" name="Gruppieren 80">
            <a:extLst>
              <a:ext uri="{FF2B5EF4-FFF2-40B4-BE49-F238E27FC236}">
                <a16:creationId xmlns:a16="http://schemas.microsoft.com/office/drawing/2014/main" id="{6B969E7B-9C39-4443-9B02-74C1E7C5CCAC}"/>
              </a:ext>
            </a:extLst>
          </p:cNvPr>
          <p:cNvGrpSpPr/>
          <p:nvPr/>
        </p:nvGrpSpPr>
        <p:grpSpPr>
          <a:xfrm>
            <a:off x="3770065" y="2868319"/>
            <a:ext cx="171180" cy="171180"/>
            <a:chOff x="3392092" y="1841122"/>
            <a:chExt cx="646508" cy="646508"/>
          </a:xfrm>
        </p:grpSpPr>
        <p:sp>
          <p:nvSpPr>
            <p:cNvPr id="9" name="Rechteck 14">
              <a:extLst>
                <a:ext uri="{FF2B5EF4-FFF2-40B4-BE49-F238E27FC236}">
                  <a16:creationId xmlns:a16="http://schemas.microsoft.com/office/drawing/2014/main" id="{D78F58EA-5525-8D43-8295-FEA52ECF6BFA}"/>
                </a:ext>
              </a:extLst>
            </p:cNvPr>
            <p:cNvSpPr>
              <a:spLocks noChangeAspect="1"/>
            </p:cNvSpPr>
            <p:nvPr/>
          </p:nvSpPr>
          <p:spPr bwMode="gray">
            <a:xfrm>
              <a:off x="3392092" y="1841122"/>
              <a:ext cx="646508" cy="646508"/>
            </a:xfrm>
            <a:prstGeom prst="rect">
              <a:avLst/>
            </a:prstGeom>
            <a:solidFill>
              <a:srgbClr val="E55A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pPr>
              <a:endParaRPr lang="en-US" sz="1000">
                <a:solidFill>
                  <a:schemeClr val="tx1"/>
                </a:solidFill>
                <a:latin typeface="Arial" pitchFamily="34" charset="0"/>
                <a:cs typeface="Arial" pitchFamily="34" charset="0"/>
              </a:endParaRPr>
            </a:p>
          </p:txBody>
        </p:sp>
        <p:sp>
          <p:nvSpPr>
            <p:cNvPr id="10" name="Freeform 67">
              <a:extLst>
                <a:ext uri="{FF2B5EF4-FFF2-40B4-BE49-F238E27FC236}">
                  <a16:creationId xmlns:a16="http://schemas.microsoft.com/office/drawing/2014/main" id="{D01A6292-2776-4945-B828-483D79DC4908}"/>
                </a:ext>
              </a:extLst>
            </p:cNvPr>
            <p:cNvSpPr>
              <a:spLocks noChangeAspect="1"/>
            </p:cNvSpPr>
            <p:nvPr/>
          </p:nvSpPr>
          <p:spPr bwMode="auto">
            <a:xfrm>
              <a:off x="3546638" y="1970424"/>
              <a:ext cx="337415" cy="387905"/>
            </a:xfrm>
            <a:custGeom>
              <a:avLst/>
              <a:gdLst>
                <a:gd name="T0" fmla="*/ 573 w 1624"/>
                <a:gd name="T1" fmla="*/ 1257 h 1867"/>
                <a:gd name="T2" fmla="*/ 662 w 1624"/>
                <a:gd name="T3" fmla="*/ 1288 h 1867"/>
                <a:gd name="T4" fmla="*/ 938 w 1624"/>
                <a:gd name="T5" fmla="*/ 1051 h 1867"/>
                <a:gd name="T6" fmla="*/ 1106 w 1624"/>
                <a:gd name="T7" fmla="*/ 731 h 1867"/>
                <a:gd name="T8" fmla="*/ 1059 w 1624"/>
                <a:gd name="T9" fmla="*/ 645 h 1867"/>
                <a:gd name="T10" fmla="*/ 1001 w 1624"/>
                <a:gd name="T11" fmla="*/ 613 h 1867"/>
                <a:gd name="T12" fmla="*/ 924 w 1624"/>
                <a:gd name="T13" fmla="*/ 432 h 1867"/>
                <a:gd name="T14" fmla="*/ 1114 w 1624"/>
                <a:gd name="T15" fmla="*/ 81 h 1867"/>
                <a:gd name="T16" fmla="*/ 1287 w 1624"/>
                <a:gd name="T17" fmla="*/ 35 h 1867"/>
                <a:gd name="T18" fmla="*/ 1350 w 1624"/>
                <a:gd name="T19" fmla="*/ 69 h 1867"/>
                <a:gd name="T20" fmla="*/ 1527 w 1624"/>
                <a:gd name="T21" fmla="*/ 235 h 1867"/>
                <a:gd name="T22" fmla="*/ 1583 w 1624"/>
                <a:gd name="T23" fmla="*/ 555 h 1867"/>
                <a:gd name="T24" fmla="*/ 1172 w 1624"/>
                <a:gd name="T25" fmla="*/ 1253 h 1867"/>
                <a:gd name="T26" fmla="*/ 586 w 1624"/>
                <a:gd name="T27" fmla="*/ 1803 h 1867"/>
                <a:gd name="T28" fmla="*/ 269 w 1624"/>
                <a:gd name="T29" fmla="*/ 1807 h 1867"/>
                <a:gd name="T30" fmla="*/ 33 w 1624"/>
                <a:gd name="T31" fmla="*/ 1602 h 1867"/>
                <a:gd name="T32" fmla="*/ 2 w 1624"/>
                <a:gd name="T33" fmla="*/ 1508 h 1867"/>
                <a:gd name="T34" fmla="*/ 45 w 1624"/>
                <a:gd name="T35" fmla="*/ 1421 h 1867"/>
                <a:gd name="T36" fmla="*/ 346 w 1624"/>
                <a:gd name="T37" fmla="*/ 1158 h 1867"/>
                <a:gd name="T38" fmla="*/ 448 w 1624"/>
                <a:gd name="T39" fmla="*/ 1145 h 1867"/>
                <a:gd name="T40" fmla="*/ 573 w 1624"/>
                <a:gd name="T41" fmla="*/ 1257 h 18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24" h="1867">
                  <a:moveTo>
                    <a:pt x="573" y="1257"/>
                  </a:moveTo>
                  <a:cubicBezTo>
                    <a:pt x="592" y="1282"/>
                    <a:pt x="630" y="1303"/>
                    <a:pt x="662" y="1288"/>
                  </a:cubicBezTo>
                  <a:cubicBezTo>
                    <a:pt x="753" y="1245"/>
                    <a:pt x="854" y="1156"/>
                    <a:pt x="938" y="1051"/>
                  </a:cubicBezTo>
                  <a:cubicBezTo>
                    <a:pt x="1020" y="948"/>
                    <a:pt x="1084" y="831"/>
                    <a:pt x="1106" y="731"/>
                  </a:cubicBezTo>
                  <a:cubicBezTo>
                    <a:pt x="1113" y="696"/>
                    <a:pt x="1089" y="661"/>
                    <a:pt x="1059" y="645"/>
                  </a:cubicBezTo>
                  <a:cubicBezTo>
                    <a:pt x="1001" y="613"/>
                    <a:pt x="1001" y="613"/>
                    <a:pt x="1001" y="613"/>
                  </a:cubicBezTo>
                  <a:cubicBezTo>
                    <a:pt x="942" y="580"/>
                    <a:pt x="888" y="499"/>
                    <a:pt x="924" y="432"/>
                  </a:cubicBezTo>
                  <a:cubicBezTo>
                    <a:pt x="1114" y="81"/>
                    <a:pt x="1114" y="81"/>
                    <a:pt x="1114" y="81"/>
                  </a:cubicBezTo>
                  <a:cubicBezTo>
                    <a:pt x="1150" y="16"/>
                    <a:pt x="1224" y="0"/>
                    <a:pt x="1287" y="35"/>
                  </a:cubicBezTo>
                  <a:cubicBezTo>
                    <a:pt x="1350" y="69"/>
                    <a:pt x="1350" y="69"/>
                    <a:pt x="1350" y="69"/>
                  </a:cubicBezTo>
                  <a:cubicBezTo>
                    <a:pt x="1415" y="105"/>
                    <a:pt x="1479" y="165"/>
                    <a:pt x="1527" y="235"/>
                  </a:cubicBezTo>
                  <a:cubicBezTo>
                    <a:pt x="1593" y="332"/>
                    <a:pt x="1624" y="442"/>
                    <a:pt x="1583" y="555"/>
                  </a:cubicBezTo>
                  <a:cubicBezTo>
                    <a:pt x="1500" y="781"/>
                    <a:pt x="1351" y="1030"/>
                    <a:pt x="1172" y="1253"/>
                  </a:cubicBezTo>
                  <a:cubicBezTo>
                    <a:pt x="994" y="1477"/>
                    <a:pt x="786" y="1676"/>
                    <a:pt x="586" y="1803"/>
                  </a:cubicBezTo>
                  <a:cubicBezTo>
                    <a:pt x="486" y="1867"/>
                    <a:pt x="375" y="1856"/>
                    <a:pt x="269" y="1807"/>
                  </a:cubicBezTo>
                  <a:cubicBezTo>
                    <a:pt x="157" y="1755"/>
                    <a:pt x="106" y="1695"/>
                    <a:pt x="33" y="1602"/>
                  </a:cubicBezTo>
                  <a:cubicBezTo>
                    <a:pt x="11" y="1573"/>
                    <a:pt x="0" y="1540"/>
                    <a:pt x="2" y="1508"/>
                  </a:cubicBezTo>
                  <a:cubicBezTo>
                    <a:pt x="4" y="1475"/>
                    <a:pt x="18" y="1444"/>
                    <a:pt x="45" y="1421"/>
                  </a:cubicBezTo>
                  <a:cubicBezTo>
                    <a:pt x="70" y="1399"/>
                    <a:pt x="346" y="1158"/>
                    <a:pt x="346" y="1158"/>
                  </a:cubicBezTo>
                  <a:cubicBezTo>
                    <a:pt x="376" y="1134"/>
                    <a:pt x="413" y="1133"/>
                    <a:pt x="448" y="1145"/>
                  </a:cubicBezTo>
                  <a:cubicBezTo>
                    <a:pt x="510" y="1166"/>
                    <a:pt x="536" y="1210"/>
                    <a:pt x="573" y="1257"/>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351"/>
            </a:p>
          </p:txBody>
        </p:sp>
      </p:grpSp>
      <p:grpSp>
        <p:nvGrpSpPr>
          <p:cNvPr id="11" name="Group 3">
            <a:extLst>
              <a:ext uri="{FF2B5EF4-FFF2-40B4-BE49-F238E27FC236}">
                <a16:creationId xmlns:a16="http://schemas.microsoft.com/office/drawing/2014/main" id="{DED6A25A-5DE2-1441-8BA2-C68D3B4F9209}"/>
              </a:ext>
            </a:extLst>
          </p:cNvPr>
          <p:cNvGrpSpPr>
            <a:grpSpLocks noChangeAspect="1"/>
          </p:cNvGrpSpPr>
          <p:nvPr>
            <p:custDataLst>
              <p:tags r:id="rId1"/>
            </p:custDataLst>
          </p:nvPr>
        </p:nvGrpSpPr>
        <p:grpSpPr>
          <a:xfrm>
            <a:off x="3770066" y="3153207"/>
            <a:ext cx="171180" cy="171180"/>
            <a:chOff x="328396" y="5313940"/>
            <a:chExt cx="720000" cy="720000"/>
          </a:xfrm>
        </p:grpSpPr>
        <p:sp>
          <p:nvSpPr>
            <p:cNvPr id="12" name="Rectangle 4">
              <a:extLst>
                <a:ext uri="{FF2B5EF4-FFF2-40B4-BE49-F238E27FC236}">
                  <a16:creationId xmlns:a16="http://schemas.microsoft.com/office/drawing/2014/main" id="{5F49E67F-D4FA-9D48-96BC-59AE946ECD15}"/>
                </a:ext>
              </a:extLst>
            </p:cNvPr>
            <p:cNvSpPr/>
            <p:nvPr/>
          </p:nvSpPr>
          <p:spPr bwMode="gray">
            <a:xfrm>
              <a:off x="328396" y="5313940"/>
              <a:ext cx="720000" cy="720000"/>
            </a:xfrm>
            <a:prstGeom prst="rect">
              <a:avLst/>
            </a:prstGeom>
            <a:solidFill>
              <a:srgbClr val="E55A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pPr>
              <a:endParaRPr lang="en-US" sz="1000">
                <a:solidFill>
                  <a:schemeClr val="tx1"/>
                </a:solidFill>
                <a:latin typeface="Arial" pitchFamily="34" charset="0"/>
                <a:cs typeface="Arial" pitchFamily="34" charset="0"/>
              </a:endParaRPr>
            </a:p>
          </p:txBody>
        </p:sp>
        <p:sp>
          <p:nvSpPr>
            <p:cNvPr id="13" name="Freeform 76">
              <a:extLst>
                <a:ext uri="{FF2B5EF4-FFF2-40B4-BE49-F238E27FC236}">
                  <a16:creationId xmlns:a16="http://schemas.microsoft.com/office/drawing/2014/main" id="{187E70E6-AF3F-2549-908E-DF4BA61040AA}"/>
                </a:ext>
              </a:extLst>
            </p:cNvPr>
            <p:cNvSpPr>
              <a:spLocks noChangeAspect="1" noEditPoints="1"/>
            </p:cNvSpPr>
            <p:nvPr/>
          </p:nvSpPr>
          <p:spPr bwMode="auto">
            <a:xfrm>
              <a:off x="456202" y="5509222"/>
              <a:ext cx="504000" cy="329436"/>
            </a:xfrm>
            <a:custGeom>
              <a:avLst/>
              <a:gdLst>
                <a:gd name="T0" fmla="*/ 0 w 2080"/>
                <a:gd name="T1" fmla="*/ 65 h 1360"/>
                <a:gd name="T2" fmla="*/ 0 w 2080"/>
                <a:gd name="T3" fmla="*/ 0 h 1360"/>
                <a:gd name="T4" fmla="*/ 2080 w 2080"/>
                <a:gd name="T5" fmla="*/ 0 h 1360"/>
                <a:gd name="T6" fmla="*/ 2080 w 2080"/>
                <a:gd name="T7" fmla="*/ 65 h 1360"/>
                <a:gd name="T8" fmla="*/ 1089 w 2080"/>
                <a:gd name="T9" fmla="*/ 862 h 1360"/>
                <a:gd name="T10" fmla="*/ 991 w 2080"/>
                <a:gd name="T11" fmla="*/ 862 h 1360"/>
                <a:gd name="T12" fmla="*/ 0 w 2080"/>
                <a:gd name="T13" fmla="*/ 65 h 1360"/>
                <a:gd name="T14" fmla="*/ 1139 w 2080"/>
                <a:gd name="T15" fmla="*/ 924 h 1360"/>
                <a:gd name="T16" fmla="*/ 1282 w 2080"/>
                <a:gd name="T17" fmla="*/ 810 h 1360"/>
                <a:gd name="T18" fmla="*/ 2076 w 2080"/>
                <a:gd name="T19" fmla="*/ 1360 h 1360"/>
                <a:gd name="T20" fmla="*/ 4 w 2080"/>
                <a:gd name="T21" fmla="*/ 1360 h 1360"/>
                <a:gd name="T22" fmla="*/ 798 w 2080"/>
                <a:gd name="T23" fmla="*/ 810 h 1360"/>
                <a:gd name="T24" fmla="*/ 941 w 2080"/>
                <a:gd name="T25" fmla="*/ 924 h 1360"/>
                <a:gd name="T26" fmla="*/ 1139 w 2080"/>
                <a:gd name="T27" fmla="*/ 924 h 1360"/>
                <a:gd name="T28" fmla="*/ 2 w 2080"/>
                <a:gd name="T29" fmla="*/ 137 h 1360"/>
                <a:gd name="T30" fmla="*/ 42 w 2080"/>
                <a:gd name="T31" fmla="*/ 201 h 1360"/>
                <a:gd name="T32" fmla="*/ 734 w 2080"/>
                <a:gd name="T33" fmla="*/ 758 h 1360"/>
                <a:gd name="T34" fmla="*/ 0 w 2080"/>
                <a:gd name="T35" fmla="*/ 1266 h 1360"/>
                <a:gd name="T36" fmla="*/ 0 w 2080"/>
                <a:gd name="T37" fmla="*/ 135 h 1360"/>
                <a:gd name="T38" fmla="*/ 2 w 2080"/>
                <a:gd name="T39" fmla="*/ 137 h 1360"/>
                <a:gd name="T40" fmla="*/ 2080 w 2080"/>
                <a:gd name="T41" fmla="*/ 136 h 1360"/>
                <a:gd name="T42" fmla="*/ 2080 w 2080"/>
                <a:gd name="T43" fmla="*/ 1265 h 1360"/>
                <a:gd name="T44" fmla="*/ 1346 w 2080"/>
                <a:gd name="T45" fmla="*/ 758 h 1360"/>
                <a:gd name="T46" fmla="*/ 2038 w 2080"/>
                <a:gd name="T47" fmla="*/ 201 h 1360"/>
                <a:gd name="T48" fmla="*/ 2080 w 2080"/>
                <a:gd name="T49" fmla="*/ 136 h 1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080" h="1360">
                  <a:moveTo>
                    <a:pt x="0" y="65"/>
                  </a:moveTo>
                  <a:cubicBezTo>
                    <a:pt x="0" y="0"/>
                    <a:pt x="0" y="0"/>
                    <a:pt x="0" y="0"/>
                  </a:cubicBezTo>
                  <a:cubicBezTo>
                    <a:pt x="2080" y="0"/>
                    <a:pt x="2080" y="0"/>
                    <a:pt x="2080" y="0"/>
                  </a:cubicBezTo>
                  <a:cubicBezTo>
                    <a:pt x="2080" y="65"/>
                    <a:pt x="2080" y="65"/>
                    <a:pt x="2080" y="65"/>
                  </a:cubicBezTo>
                  <a:cubicBezTo>
                    <a:pt x="1089" y="862"/>
                    <a:pt x="1089" y="862"/>
                    <a:pt x="1089" y="862"/>
                  </a:cubicBezTo>
                  <a:cubicBezTo>
                    <a:pt x="1060" y="886"/>
                    <a:pt x="1020" y="886"/>
                    <a:pt x="991" y="862"/>
                  </a:cubicBezTo>
                  <a:lnTo>
                    <a:pt x="0" y="65"/>
                  </a:lnTo>
                  <a:close/>
                  <a:moveTo>
                    <a:pt x="1139" y="924"/>
                  </a:moveTo>
                  <a:cubicBezTo>
                    <a:pt x="1282" y="810"/>
                    <a:pt x="1282" y="810"/>
                    <a:pt x="1282" y="810"/>
                  </a:cubicBezTo>
                  <a:cubicBezTo>
                    <a:pt x="2076" y="1360"/>
                    <a:pt x="2076" y="1360"/>
                    <a:pt x="2076" y="1360"/>
                  </a:cubicBezTo>
                  <a:cubicBezTo>
                    <a:pt x="4" y="1360"/>
                    <a:pt x="4" y="1360"/>
                    <a:pt x="4" y="1360"/>
                  </a:cubicBezTo>
                  <a:cubicBezTo>
                    <a:pt x="798" y="810"/>
                    <a:pt x="798" y="810"/>
                    <a:pt x="798" y="810"/>
                  </a:cubicBezTo>
                  <a:cubicBezTo>
                    <a:pt x="941" y="924"/>
                    <a:pt x="941" y="924"/>
                    <a:pt x="941" y="924"/>
                  </a:cubicBezTo>
                  <a:cubicBezTo>
                    <a:pt x="1000" y="972"/>
                    <a:pt x="1080" y="972"/>
                    <a:pt x="1139" y="924"/>
                  </a:cubicBezTo>
                  <a:close/>
                  <a:moveTo>
                    <a:pt x="2" y="137"/>
                  </a:moveTo>
                  <a:cubicBezTo>
                    <a:pt x="8" y="163"/>
                    <a:pt x="22" y="185"/>
                    <a:pt x="42" y="201"/>
                  </a:cubicBezTo>
                  <a:cubicBezTo>
                    <a:pt x="734" y="758"/>
                    <a:pt x="734" y="758"/>
                    <a:pt x="734" y="758"/>
                  </a:cubicBezTo>
                  <a:cubicBezTo>
                    <a:pt x="0" y="1266"/>
                    <a:pt x="0" y="1266"/>
                    <a:pt x="0" y="1266"/>
                  </a:cubicBezTo>
                  <a:cubicBezTo>
                    <a:pt x="0" y="135"/>
                    <a:pt x="0" y="135"/>
                    <a:pt x="0" y="135"/>
                  </a:cubicBezTo>
                  <a:lnTo>
                    <a:pt x="2" y="137"/>
                  </a:lnTo>
                  <a:close/>
                  <a:moveTo>
                    <a:pt x="2080" y="136"/>
                  </a:moveTo>
                  <a:cubicBezTo>
                    <a:pt x="2080" y="1265"/>
                    <a:pt x="2080" y="1265"/>
                    <a:pt x="2080" y="1265"/>
                  </a:cubicBezTo>
                  <a:cubicBezTo>
                    <a:pt x="1346" y="758"/>
                    <a:pt x="1346" y="758"/>
                    <a:pt x="1346" y="758"/>
                  </a:cubicBezTo>
                  <a:cubicBezTo>
                    <a:pt x="2038" y="201"/>
                    <a:pt x="2038" y="201"/>
                    <a:pt x="2038" y="201"/>
                  </a:cubicBezTo>
                  <a:cubicBezTo>
                    <a:pt x="2060" y="182"/>
                    <a:pt x="2072" y="162"/>
                    <a:pt x="2080" y="13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000"/>
            </a:p>
          </p:txBody>
        </p:sp>
      </p:grpSp>
      <p:grpSp>
        <p:nvGrpSpPr>
          <p:cNvPr id="14" name="Gruppieren 2">
            <a:extLst>
              <a:ext uri="{FF2B5EF4-FFF2-40B4-BE49-F238E27FC236}">
                <a16:creationId xmlns:a16="http://schemas.microsoft.com/office/drawing/2014/main" id="{BE697CE9-EBDE-6B4A-BE70-582D92A8A831}"/>
              </a:ext>
            </a:extLst>
          </p:cNvPr>
          <p:cNvGrpSpPr/>
          <p:nvPr/>
        </p:nvGrpSpPr>
        <p:grpSpPr>
          <a:xfrm>
            <a:off x="8701917" y="2868319"/>
            <a:ext cx="171180" cy="171180"/>
            <a:chOff x="3392092" y="1841122"/>
            <a:chExt cx="646508" cy="646508"/>
          </a:xfrm>
        </p:grpSpPr>
        <p:sp>
          <p:nvSpPr>
            <p:cNvPr id="15" name="Rechteck 14">
              <a:extLst>
                <a:ext uri="{FF2B5EF4-FFF2-40B4-BE49-F238E27FC236}">
                  <a16:creationId xmlns:a16="http://schemas.microsoft.com/office/drawing/2014/main" id="{E142A731-19B7-C34D-9534-9E05108F895F}"/>
                </a:ext>
              </a:extLst>
            </p:cNvPr>
            <p:cNvSpPr>
              <a:spLocks noChangeAspect="1"/>
            </p:cNvSpPr>
            <p:nvPr/>
          </p:nvSpPr>
          <p:spPr bwMode="gray">
            <a:xfrm>
              <a:off x="3392092" y="1841122"/>
              <a:ext cx="646508" cy="646508"/>
            </a:xfrm>
            <a:prstGeom prst="rect">
              <a:avLst/>
            </a:prstGeom>
            <a:solidFill>
              <a:srgbClr val="E55A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pPr>
              <a:endParaRPr lang="en-US" sz="1000">
                <a:solidFill>
                  <a:schemeClr val="tx1"/>
                </a:solidFill>
                <a:latin typeface="Arial" pitchFamily="34" charset="0"/>
                <a:cs typeface="Arial" pitchFamily="34" charset="0"/>
              </a:endParaRPr>
            </a:p>
          </p:txBody>
        </p:sp>
        <p:sp>
          <p:nvSpPr>
            <p:cNvPr id="16" name="Freeform 15">
              <a:extLst>
                <a:ext uri="{FF2B5EF4-FFF2-40B4-BE49-F238E27FC236}">
                  <a16:creationId xmlns:a16="http://schemas.microsoft.com/office/drawing/2014/main" id="{F97E84AE-4AD9-4B44-9AA1-F797FC373809}"/>
                </a:ext>
              </a:extLst>
            </p:cNvPr>
            <p:cNvSpPr>
              <a:spLocks noChangeAspect="1"/>
            </p:cNvSpPr>
            <p:nvPr/>
          </p:nvSpPr>
          <p:spPr bwMode="auto">
            <a:xfrm>
              <a:off x="3546638" y="1970424"/>
              <a:ext cx="337415" cy="387905"/>
            </a:xfrm>
            <a:custGeom>
              <a:avLst/>
              <a:gdLst>
                <a:gd name="T0" fmla="*/ 573 w 1624"/>
                <a:gd name="T1" fmla="*/ 1257 h 1867"/>
                <a:gd name="T2" fmla="*/ 662 w 1624"/>
                <a:gd name="T3" fmla="*/ 1288 h 1867"/>
                <a:gd name="T4" fmla="*/ 938 w 1624"/>
                <a:gd name="T5" fmla="*/ 1051 h 1867"/>
                <a:gd name="T6" fmla="*/ 1106 w 1624"/>
                <a:gd name="T7" fmla="*/ 731 h 1867"/>
                <a:gd name="T8" fmla="*/ 1059 w 1624"/>
                <a:gd name="T9" fmla="*/ 645 h 1867"/>
                <a:gd name="T10" fmla="*/ 1001 w 1624"/>
                <a:gd name="T11" fmla="*/ 613 h 1867"/>
                <a:gd name="T12" fmla="*/ 924 w 1624"/>
                <a:gd name="T13" fmla="*/ 432 h 1867"/>
                <a:gd name="T14" fmla="*/ 1114 w 1624"/>
                <a:gd name="T15" fmla="*/ 81 h 1867"/>
                <a:gd name="T16" fmla="*/ 1287 w 1624"/>
                <a:gd name="T17" fmla="*/ 35 h 1867"/>
                <a:gd name="T18" fmla="*/ 1350 w 1624"/>
                <a:gd name="T19" fmla="*/ 69 h 1867"/>
                <a:gd name="T20" fmla="*/ 1527 w 1624"/>
                <a:gd name="T21" fmla="*/ 235 h 1867"/>
                <a:gd name="T22" fmla="*/ 1583 w 1624"/>
                <a:gd name="T23" fmla="*/ 555 h 1867"/>
                <a:gd name="T24" fmla="*/ 1172 w 1624"/>
                <a:gd name="T25" fmla="*/ 1253 h 1867"/>
                <a:gd name="T26" fmla="*/ 586 w 1624"/>
                <a:gd name="T27" fmla="*/ 1803 h 1867"/>
                <a:gd name="T28" fmla="*/ 269 w 1624"/>
                <a:gd name="T29" fmla="*/ 1807 h 1867"/>
                <a:gd name="T30" fmla="*/ 33 w 1624"/>
                <a:gd name="T31" fmla="*/ 1602 h 1867"/>
                <a:gd name="T32" fmla="*/ 2 w 1624"/>
                <a:gd name="T33" fmla="*/ 1508 h 1867"/>
                <a:gd name="T34" fmla="*/ 45 w 1624"/>
                <a:gd name="T35" fmla="*/ 1421 h 1867"/>
                <a:gd name="T36" fmla="*/ 346 w 1624"/>
                <a:gd name="T37" fmla="*/ 1158 h 1867"/>
                <a:gd name="T38" fmla="*/ 448 w 1624"/>
                <a:gd name="T39" fmla="*/ 1145 h 1867"/>
                <a:gd name="T40" fmla="*/ 573 w 1624"/>
                <a:gd name="T41" fmla="*/ 1257 h 18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24" h="1867">
                  <a:moveTo>
                    <a:pt x="573" y="1257"/>
                  </a:moveTo>
                  <a:cubicBezTo>
                    <a:pt x="592" y="1282"/>
                    <a:pt x="630" y="1303"/>
                    <a:pt x="662" y="1288"/>
                  </a:cubicBezTo>
                  <a:cubicBezTo>
                    <a:pt x="753" y="1245"/>
                    <a:pt x="854" y="1156"/>
                    <a:pt x="938" y="1051"/>
                  </a:cubicBezTo>
                  <a:cubicBezTo>
                    <a:pt x="1020" y="948"/>
                    <a:pt x="1084" y="831"/>
                    <a:pt x="1106" y="731"/>
                  </a:cubicBezTo>
                  <a:cubicBezTo>
                    <a:pt x="1113" y="696"/>
                    <a:pt x="1089" y="661"/>
                    <a:pt x="1059" y="645"/>
                  </a:cubicBezTo>
                  <a:cubicBezTo>
                    <a:pt x="1001" y="613"/>
                    <a:pt x="1001" y="613"/>
                    <a:pt x="1001" y="613"/>
                  </a:cubicBezTo>
                  <a:cubicBezTo>
                    <a:pt x="942" y="580"/>
                    <a:pt x="888" y="499"/>
                    <a:pt x="924" y="432"/>
                  </a:cubicBezTo>
                  <a:cubicBezTo>
                    <a:pt x="1114" y="81"/>
                    <a:pt x="1114" y="81"/>
                    <a:pt x="1114" y="81"/>
                  </a:cubicBezTo>
                  <a:cubicBezTo>
                    <a:pt x="1150" y="16"/>
                    <a:pt x="1224" y="0"/>
                    <a:pt x="1287" y="35"/>
                  </a:cubicBezTo>
                  <a:cubicBezTo>
                    <a:pt x="1350" y="69"/>
                    <a:pt x="1350" y="69"/>
                    <a:pt x="1350" y="69"/>
                  </a:cubicBezTo>
                  <a:cubicBezTo>
                    <a:pt x="1415" y="105"/>
                    <a:pt x="1479" y="165"/>
                    <a:pt x="1527" y="235"/>
                  </a:cubicBezTo>
                  <a:cubicBezTo>
                    <a:pt x="1593" y="332"/>
                    <a:pt x="1624" y="442"/>
                    <a:pt x="1583" y="555"/>
                  </a:cubicBezTo>
                  <a:cubicBezTo>
                    <a:pt x="1500" y="781"/>
                    <a:pt x="1351" y="1030"/>
                    <a:pt x="1172" y="1253"/>
                  </a:cubicBezTo>
                  <a:cubicBezTo>
                    <a:pt x="994" y="1477"/>
                    <a:pt x="786" y="1676"/>
                    <a:pt x="586" y="1803"/>
                  </a:cubicBezTo>
                  <a:cubicBezTo>
                    <a:pt x="486" y="1867"/>
                    <a:pt x="375" y="1856"/>
                    <a:pt x="269" y="1807"/>
                  </a:cubicBezTo>
                  <a:cubicBezTo>
                    <a:pt x="157" y="1755"/>
                    <a:pt x="106" y="1695"/>
                    <a:pt x="33" y="1602"/>
                  </a:cubicBezTo>
                  <a:cubicBezTo>
                    <a:pt x="11" y="1573"/>
                    <a:pt x="0" y="1540"/>
                    <a:pt x="2" y="1508"/>
                  </a:cubicBezTo>
                  <a:cubicBezTo>
                    <a:pt x="4" y="1475"/>
                    <a:pt x="18" y="1444"/>
                    <a:pt x="45" y="1421"/>
                  </a:cubicBezTo>
                  <a:cubicBezTo>
                    <a:pt x="70" y="1399"/>
                    <a:pt x="346" y="1158"/>
                    <a:pt x="346" y="1158"/>
                  </a:cubicBezTo>
                  <a:cubicBezTo>
                    <a:pt x="376" y="1134"/>
                    <a:pt x="413" y="1133"/>
                    <a:pt x="448" y="1145"/>
                  </a:cubicBezTo>
                  <a:cubicBezTo>
                    <a:pt x="510" y="1166"/>
                    <a:pt x="536" y="1210"/>
                    <a:pt x="573" y="1257"/>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351"/>
            </a:p>
          </p:txBody>
        </p:sp>
      </p:grpSp>
      <p:grpSp>
        <p:nvGrpSpPr>
          <p:cNvPr id="17" name="Group 3">
            <a:extLst>
              <a:ext uri="{FF2B5EF4-FFF2-40B4-BE49-F238E27FC236}">
                <a16:creationId xmlns:a16="http://schemas.microsoft.com/office/drawing/2014/main" id="{7104BADD-8CD1-6F4A-B894-869C3BDB3EEB}"/>
              </a:ext>
            </a:extLst>
          </p:cNvPr>
          <p:cNvGrpSpPr>
            <a:grpSpLocks noChangeAspect="1"/>
          </p:cNvGrpSpPr>
          <p:nvPr>
            <p:custDataLst>
              <p:tags r:id="rId2"/>
            </p:custDataLst>
          </p:nvPr>
        </p:nvGrpSpPr>
        <p:grpSpPr>
          <a:xfrm>
            <a:off x="8701918" y="3153207"/>
            <a:ext cx="171180" cy="171180"/>
            <a:chOff x="328396" y="5313940"/>
            <a:chExt cx="720000" cy="720000"/>
          </a:xfrm>
        </p:grpSpPr>
        <p:sp>
          <p:nvSpPr>
            <p:cNvPr id="18" name="Rectangle 4">
              <a:extLst>
                <a:ext uri="{FF2B5EF4-FFF2-40B4-BE49-F238E27FC236}">
                  <a16:creationId xmlns:a16="http://schemas.microsoft.com/office/drawing/2014/main" id="{74BE3D5F-1445-6E40-8B49-72E15568383B}"/>
                </a:ext>
              </a:extLst>
            </p:cNvPr>
            <p:cNvSpPr/>
            <p:nvPr/>
          </p:nvSpPr>
          <p:spPr bwMode="gray">
            <a:xfrm>
              <a:off x="328396" y="5313940"/>
              <a:ext cx="720000" cy="720000"/>
            </a:xfrm>
            <a:prstGeom prst="rect">
              <a:avLst/>
            </a:prstGeom>
            <a:solidFill>
              <a:srgbClr val="E55A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pPr>
              <a:endParaRPr lang="en-US" sz="1000">
                <a:solidFill>
                  <a:schemeClr val="tx1"/>
                </a:solidFill>
                <a:latin typeface="Arial" pitchFamily="34" charset="0"/>
                <a:cs typeface="Arial" pitchFamily="34" charset="0"/>
              </a:endParaRPr>
            </a:p>
          </p:txBody>
        </p:sp>
        <p:sp>
          <p:nvSpPr>
            <p:cNvPr id="19" name="Freeform 76">
              <a:extLst>
                <a:ext uri="{FF2B5EF4-FFF2-40B4-BE49-F238E27FC236}">
                  <a16:creationId xmlns:a16="http://schemas.microsoft.com/office/drawing/2014/main" id="{55DB3C95-7D0C-D141-901E-96D692794D2B}"/>
                </a:ext>
              </a:extLst>
            </p:cNvPr>
            <p:cNvSpPr>
              <a:spLocks noChangeAspect="1" noEditPoints="1"/>
            </p:cNvSpPr>
            <p:nvPr/>
          </p:nvSpPr>
          <p:spPr bwMode="auto">
            <a:xfrm>
              <a:off x="456202" y="5509222"/>
              <a:ext cx="504000" cy="329436"/>
            </a:xfrm>
            <a:custGeom>
              <a:avLst/>
              <a:gdLst>
                <a:gd name="T0" fmla="*/ 0 w 2080"/>
                <a:gd name="T1" fmla="*/ 65 h 1360"/>
                <a:gd name="T2" fmla="*/ 0 w 2080"/>
                <a:gd name="T3" fmla="*/ 0 h 1360"/>
                <a:gd name="T4" fmla="*/ 2080 w 2080"/>
                <a:gd name="T5" fmla="*/ 0 h 1360"/>
                <a:gd name="T6" fmla="*/ 2080 w 2080"/>
                <a:gd name="T7" fmla="*/ 65 h 1360"/>
                <a:gd name="T8" fmla="*/ 1089 w 2080"/>
                <a:gd name="T9" fmla="*/ 862 h 1360"/>
                <a:gd name="T10" fmla="*/ 991 w 2080"/>
                <a:gd name="T11" fmla="*/ 862 h 1360"/>
                <a:gd name="T12" fmla="*/ 0 w 2080"/>
                <a:gd name="T13" fmla="*/ 65 h 1360"/>
                <a:gd name="T14" fmla="*/ 1139 w 2080"/>
                <a:gd name="T15" fmla="*/ 924 h 1360"/>
                <a:gd name="T16" fmla="*/ 1282 w 2080"/>
                <a:gd name="T17" fmla="*/ 810 h 1360"/>
                <a:gd name="T18" fmla="*/ 2076 w 2080"/>
                <a:gd name="T19" fmla="*/ 1360 h 1360"/>
                <a:gd name="T20" fmla="*/ 4 w 2080"/>
                <a:gd name="T21" fmla="*/ 1360 h 1360"/>
                <a:gd name="T22" fmla="*/ 798 w 2080"/>
                <a:gd name="T23" fmla="*/ 810 h 1360"/>
                <a:gd name="T24" fmla="*/ 941 w 2080"/>
                <a:gd name="T25" fmla="*/ 924 h 1360"/>
                <a:gd name="T26" fmla="*/ 1139 w 2080"/>
                <a:gd name="T27" fmla="*/ 924 h 1360"/>
                <a:gd name="T28" fmla="*/ 2 w 2080"/>
                <a:gd name="T29" fmla="*/ 137 h 1360"/>
                <a:gd name="T30" fmla="*/ 42 w 2080"/>
                <a:gd name="T31" fmla="*/ 201 h 1360"/>
                <a:gd name="T32" fmla="*/ 734 w 2080"/>
                <a:gd name="T33" fmla="*/ 758 h 1360"/>
                <a:gd name="T34" fmla="*/ 0 w 2080"/>
                <a:gd name="T35" fmla="*/ 1266 h 1360"/>
                <a:gd name="T36" fmla="*/ 0 w 2080"/>
                <a:gd name="T37" fmla="*/ 135 h 1360"/>
                <a:gd name="T38" fmla="*/ 2 w 2080"/>
                <a:gd name="T39" fmla="*/ 137 h 1360"/>
                <a:gd name="T40" fmla="*/ 2080 w 2080"/>
                <a:gd name="T41" fmla="*/ 136 h 1360"/>
                <a:gd name="T42" fmla="*/ 2080 w 2080"/>
                <a:gd name="T43" fmla="*/ 1265 h 1360"/>
                <a:gd name="T44" fmla="*/ 1346 w 2080"/>
                <a:gd name="T45" fmla="*/ 758 h 1360"/>
                <a:gd name="T46" fmla="*/ 2038 w 2080"/>
                <a:gd name="T47" fmla="*/ 201 h 1360"/>
                <a:gd name="T48" fmla="*/ 2080 w 2080"/>
                <a:gd name="T49" fmla="*/ 136 h 1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080" h="1360">
                  <a:moveTo>
                    <a:pt x="0" y="65"/>
                  </a:moveTo>
                  <a:cubicBezTo>
                    <a:pt x="0" y="0"/>
                    <a:pt x="0" y="0"/>
                    <a:pt x="0" y="0"/>
                  </a:cubicBezTo>
                  <a:cubicBezTo>
                    <a:pt x="2080" y="0"/>
                    <a:pt x="2080" y="0"/>
                    <a:pt x="2080" y="0"/>
                  </a:cubicBezTo>
                  <a:cubicBezTo>
                    <a:pt x="2080" y="65"/>
                    <a:pt x="2080" y="65"/>
                    <a:pt x="2080" y="65"/>
                  </a:cubicBezTo>
                  <a:cubicBezTo>
                    <a:pt x="1089" y="862"/>
                    <a:pt x="1089" y="862"/>
                    <a:pt x="1089" y="862"/>
                  </a:cubicBezTo>
                  <a:cubicBezTo>
                    <a:pt x="1060" y="886"/>
                    <a:pt x="1020" y="886"/>
                    <a:pt x="991" y="862"/>
                  </a:cubicBezTo>
                  <a:lnTo>
                    <a:pt x="0" y="65"/>
                  </a:lnTo>
                  <a:close/>
                  <a:moveTo>
                    <a:pt x="1139" y="924"/>
                  </a:moveTo>
                  <a:cubicBezTo>
                    <a:pt x="1282" y="810"/>
                    <a:pt x="1282" y="810"/>
                    <a:pt x="1282" y="810"/>
                  </a:cubicBezTo>
                  <a:cubicBezTo>
                    <a:pt x="2076" y="1360"/>
                    <a:pt x="2076" y="1360"/>
                    <a:pt x="2076" y="1360"/>
                  </a:cubicBezTo>
                  <a:cubicBezTo>
                    <a:pt x="4" y="1360"/>
                    <a:pt x="4" y="1360"/>
                    <a:pt x="4" y="1360"/>
                  </a:cubicBezTo>
                  <a:cubicBezTo>
                    <a:pt x="798" y="810"/>
                    <a:pt x="798" y="810"/>
                    <a:pt x="798" y="810"/>
                  </a:cubicBezTo>
                  <a:cubicBezTo>
                    <a:pt x="941" y="924"/>
                    <a:pt x="941" y="924"/>
                    <a:pt x="941" y="924"/>
                  </a:cubicBezTo>
                  <a:cubicBezTo>
                    <a:pt x="1000" y="972"/>
                    <a:pt x="1080" y="972"/>
                    <a:pt x="1139" y="924"/>
                  </a:cubicBezTo>
                  <a:close/>
                  <a:moveTo>
                    <a:pt x="2" y="137"/>
                  </a:moveTo>
                  <a:cubicBezTo>
                    <a:pt x="8" y="163"/>
                    <a:pt x="22" y="185"/>
                    <a:pt x="42" y="201"/>
                  </a:cubicBezTo>
                  <a:cubicBezTo>
                    <a:pt x="734" y="758"/>
                    <a:pt x="734" y="758"/>
                    <a:pt x="734" y="758"/>
                  </a:cubicBezTo>
                  <a:cubicBezTo>
                    <a:pt x="0" y="1266"/>
                    <a:pt x="0" y="1266"/>
                    <a:pt x="0" y="1266"/>
                  </a:cubicBezTo>
                  <a:cubicBezTo>
                    <a:pt x="0" y="135"/>
                    <a:pt x="0" y="135"/>
                    <a:pt x="0" y="135"/>
                  </a:cubicBezTo>
                  <a:lnTo>
                    <a:pt x="2" y="137"/>
                  </a:lnTo>
                  <a:close/>
                  <a:moveTo>
                    <a:pt x="2080" y="136"/>
                  </a:moveTo>
                  <a:cubicBezTo>
                    <a:pt x="2080" y="1265"/>
                    <a:pt x="2080" y="1265"/>
                    <a:pt x="2080" y="1265"/>
                  </a:cubicBezTo>
                  <a:cubicBezTo>
                    <a:pt x="1346" y="758"/>
                    <a:pt x="1346" y="758"/>
                    <a:pt x="1346" y="758"/>
                  </a:cubicBezTo>
                  <a:cubicBezTo>
                    <a:pt x="2038" y="201"/>
                    <a:pt x="2038" y="201"/>
                    <a:pt x="2038" y="201"/>
                  </a:cubicBezTo>
                  <a:cubicBezTo>
                    <a:pt x="2060" y="182"/>
                    <a:pt x="2072" y="162"/>
                    <a:pt x="2080" y="13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000"/>
            </a:p>
          </p:txBody>
        </p:sp>
      </p:grpSp>
      <p:cxnSp>
        <p:nvCxnSpPr>
          <p:cNvPr id="20" name="Straight Connector 19"/>
          <p:cNvCxnSpPr/>
          <p:nvPr/>
        </p:nvCxnSpPr>
        <p:spPr>
          <a:xfrm>
            <a:off x="2371725" y="3478213"/>
            <a:ext cx="3888000" cy="0"/>
          </a:xfrm>
          <a:prstGeom prst="line">
            <a:avLst/>
          </a:prstGeom>
          <a:ln w="6350">
            <a:solidFill>
              <a:schemeClr val="tx2"/>
            </a:solidFill>
            <a:prstDash val="dash"/>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p:nvCxnSpPr>
        <p:spPr>
          <a:xfrm>
            <a:off x="7287766" y="3478213"/>
            <a:ext cx="3888000" cy="0"/>
          </a:xfrm>
          <a:prstGeom prst="line">
            <a:avLst/>
          </a:prstGeom>
          <a:ln w="6350">
            <a:solidFill>
              <a:schemeClr val="tx2"/>
            </a:solidFill>
            <a:prstDash val="dash"/>
          </a:ln>
        </p:spPr>
        <p:style>
          <a:lnRef idx="1">
            <a:schemeClr val="accent1"/>
          </a:lnRef>
          <a:fillRef idx="0">
            <a:schemeClr val="accent1"/>
          </a:fillRef>
          <a:effectRef idx="0">
            <a:schemeClr val="accent1"/>
          </a:effectRef>
          <a:fontRef idx="minor">
            <a:schemeClr val="tx1"/>
          </a:fontRef>
        </p:style>
      </p:cxnSp>
      <p:sp>
        <p:nvSpPr>
          <p:cNvPr id="4" name="Picture Placeholder 3"/>
          <p:cNvSpPr>
            <a:spLocks noGrp="1"/>
          </p:cNvSpPr>
          <p:nvPr>
            <p:ph type="pic" sz="quarter" idx="17" hasCustomPrompt="1"/>
          </p:nvPr>
        </p:nvSpPr>
        <p:spPr>
          <a:xfrm>
            <a:off x="2355914" y="1808984"/>
            <a:ext cx="1188677" cy="1547840"/>
          </a:xfrm>
          <a:solidFill>
            <a:srgbClr val="D9DADB"/>
          </a:solidFill>
        </p:spPr>
        <p:txBody>
          <a:bodyPr/>
          <a:lstStyle>
            <a:lvl1pPr marL="0" indent="0">
              <a:buNone/>
              <a:defRPr sz="1400"/>
            </a:lvl1pPr>
          </a:lstStyle>
          <a:p>
            <a:r>
              <a:rPr lang="en-US"/>
              <a:t>Insert picture</a:t>
            </a:r>
          </a:p>
        </p:txBody>
      </p:sp>
      <p:sp>
        <p:nvSpPr>
          <p:cNvPr id="25" name="Picture Placeholder 3"/>
          <p:cNvSpPr>
            <a:spLocks noGrp="1"/>
          </p:cNvSpPr>
          <p:nvPr>
            <p:ph type="pic" sz="quarter" idx="18" hasCustomPrompt="1"/>
          </p:nvPr>
        </p:nvSpPr>
        <p:spPr>
          <a:xfrm>
            <a:off x="7287766" y="1808984"/>
            <a:ext cx="1188677" cy="1547840"/>
          </a:xfrm>
          <a:solidFill>
            <a:srgbClr val="D9DADB"/>
          </a:solidFill>
        </p:spPr>
        <p:txBody>
          <a:bodyPr/>
          <a:lstStyle>
            <a:lvl1pPr marL="0" indent="0">
              <a:buNone/>
              <a:defRPr sz="1400"/>
            </a:lvl1pPr>
          </a:lstStyle>
          <a:p>
            <a:r>
              <a:rPr lang="en-US"/>
              <a:t>Insert picture</a:t>
            </a:r>
          </a:p>
        </p:txBody>
      </p:sp>
      <p:sp>
        <p:nvSpPr>
          <p:cNvPr id="6" name="Text Placeholder 5"/>
          <p:cNvSpPr>
            <a:spLocks noGrp="1"/>
          </p:cNvSpPr>
          <p:nvPr>
            <p:ph type="body" sz="quarter" idx="19" hasCustomPrompt="1"/>
          </p:nvPr>
        </p:nvSpPr>
        <p:spPr>
          <a:xfrm>
            <a:off x="3770065" y="1808521"/>
            <a:ext cx="2463190" cy="192360"/>
          </a:xfrm>
        </p:spPr>
        <p:txBody>
          <a:bodyPr lIns="0" tIns="0" rIns="0" bIns="0" anchor="ctr" anchorCtr="0"/>
          <a:lstStyle>
            <a:lvl1pPr marL="0" indent="0" algn="l">
              <a:lnSpc>
                <a:spcPct val="100000"/>
              </a:lnSpc>
              <a:buNone/>
              <a:defRPr sz="100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Country</a:t>
            </a:r>
          </a:p>
        </p:txBody>
      </p:sp>
      <p:sp>
        <p:nvSpPr>
          <p:cNvPr id="26" name="Text Placeholder 5"/>
          <p:cNvSpPr>
            <a:spLocks noGrp="1"/>
          </p:cNvSpPr>
          <p:nvPr>
            <p:ph type="body" sz="quarter" idx="20" hasCustomPrompt="1"/>
          </p:nvPr>
        </p:nvSpPr>
        <p:spPr>
          <a:xfrm>
            <a:off x="3770065" y="2020337"/>
            <a:ext cx="2463190" cy="266182"/>
          </a:xfrm>
        </p:spPr>
        <p:txBody>
          <a:bodyPr lIns="0" tIns="0" rIns="0" bIns="0" anchor="b" anchorCtr="0"/>
          <a:lstStyle>
            <a:lvl1pPr marL="0" indent="0" algn="l">
              <a:lnSpc>
                <a:spcPct val="100000"/>
              </a:lnSpc>
              <a:buNone/>
              <a:defRPr sz="1400" b="1" baseline="0">
                <a:solidFill>
                  <a:schemeClr val="tx2"/>
                </a:solidFill>
              </a:defRPr>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Name, Surname</a:t>
            </a:r>
          </a:p>
        </p:txBody>
      </p:sp>
      <p:sp>
        <p:nvSpPr>
          <p:cNvPr id="27" name="Text Placeholder 5"/>
          <p:cNvSpPr>
            <a:spLocks noGrp="1"/>
          </p:cNvSpPr>
          <p:nvPr>
            <p:ph type="body" sz="quarter" idx="21" hasCustomPrompt="1"/>
          </p:nvPr>
        </p:nvSpPr>
        <p:spPr>
          <a:xfrm>
            <a:off x="3770065" y="2316912"/>
            <a:ext cx="2463190"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Job Position</a:t>
            </a:r>
          </a:p>
        </p:txBody>
      </p:sp>
      <p:sp>
        <p:nvSpPr>
          <p:cNvPr id="28" name="Text Placeholder 5"/>
          <p:cNvSpPr>
            <a:spLocks noGrp="1"/>
          </p:cNvSpPr>
          <p:nvPr>
            <p:ph type="body" sz="quarter" idx="22" hasCustomPrompt="1"/>
          </p:nvPr>
        </p:nvSpPr>
        <p:spPr>
          <a:xfrm>
            <a:off x="4014948" y="2845588"/>
            <a:ext cx="2218307"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Phone number</a:t>
            </a:r>
          </a:p>
        </p:txBody>
      </p:sp>
      <p:sp>
        <p:nvSpPr>
          <p:cNvPr id="29" name="Text Placeholder 5"/>
          <p:cNvSpPr>
            <a:spLocks noGrp="1"/>
          </p:cNvSpPr>
          <p:nvPr>
            <p:ph type="body" sz="quarter" idx="23" hasCustomPrompt="1"/>
          </p:nvPr>
        </p:nvSpPr>
        <p:spPr>
          <a:xfrm>
            <a:off x="4014948" y="3128395"/>
            <a:ext cx="2218307"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Email address</a:t>
            </a:r>
          </a:p>
        </p:txBody>
      </p:sp>
      <p:sp>
        <p:nvSpPr>
          <p:cNvPr id="30" name="Text Placeholder 5"/>
          <p:cNvSpPr>
            <a:spLocks noGrp="1"/>
          </p:cNvSpPr>
          <p:nvPr>
            <p:ph type="body" sz="quarter" idx="24" hasCustomPrompt="1"/>
          </p:nvPr>
        </p:nvSpPr>
        <p:spPr>
          <a:xfrm>
            <a:off x="8701917" y="1808521"/>
            <a:ext cx="2463190" cy="192360"/>
          </a:xfrm>
        </p:spPr>
        <p:txBody>
          <a:bodyPr lIns="0" tIns="0" rIns="0" bIns="0" anchor="ctr" anchorCtr="0"/>
          <a:lstStyle>
            <a:lvl1pPr marL="0" indent="0" algn="l">
              <a:lnSpc>
                <a:spcPct val="100000"/>
              </a:lnSpc>
              <a:buNone/>
              <a:defRPr sz="100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Country</a:t>
            </a:r>
          </a:p>
        </p:txBody>
      </p:sp>
      <p:sp>
        <p:nvSpPr>
          <p:cNvPr id="31" name="Text Placeholder 5"/>
          <p:cNvSpPr>
            <a:spLocks noGrp="1"/>
          </p:cNvSpPr>
          <p:nvPr>
            <p:ph type="body" sz="quarter" idx="25" hasCustomPrompt="1"/>
          </p:nvPr>
        </p:nvSpPr>
        <p:spPr>
          <a:xfrm>
            <a:off x="8701917" y="2020337"/>
            <a:ext cx="2463190" cy="266182"/>
          </a:xfrm>
        </p:spPr>
        <p:txBody>
          <a:bodyPr lIns="0" tIns="0" rIns="0" bIns="0" anchor="b" anchorCtr="0"/>
          <a:lstStyle>
            <a:lvl1pPr marL="0" indent="0" algn="l">
              <a:lnSpc>
                <a:spcPct val="100000"/>
              </a:lnSpc>
              <a:buNone/>
              <a:defRPr sz="1400" b="1" baseline="0">
                <a:solidFill>
                  <a:schemeClr val="tx2"/>
                </a:solidFill>
              </a:defRPr>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Name, Surname</a:t>
            </a:r>
          </a:p>
        </p:txBody>
      </p:sp>
      <p:sp>
        <p:nvSpPr>
          <p:cNvPr id="32" name="Text Placeholder 5"/>
          <p:cNvSpPr>
            <a:spLocks noGrp="1"/>
          </p:cNvSpPr>
          <p:nvPr>
            <p:ph type="body" sz="quarter" idx="26" hasCustomPrompt="1"/>
          </p:nvPr>
        </p:nvSpPr>
        <p:spPr>
          <a:xfrm>
            <a:off x="8701917" y="2316912"/>
            <a:ext cx="2463190"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Job Position</a:t>
            </a:r>
          </a:p>
        </p:txBody>
      </p:sp>
      <p:sp>
        <p:nvSpPr>
          <p:cNvPr id="33" name="Text Placeholder 5"/>
          <p:cNvSpPr>
            <a:spLocks noGrp="1"/>
          </p:cNvSpPr>
          <p:nvPr>
            <p:ph type="body" sz="quarter" idx="27" hasCustomPrompt="1"/>
          </p:nvPr>
        </p:nvSpPr>
        <p:spPr>
          <a:xfrm>
            <a:off x="8946800" y="2845588"/>
            <a:ext cx="2218307"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Phone number</a:t>
            </a:r>
          </a:p>
        </p:txBody>
      </p:sp>
      <p:sp>
        <p:nvSpPr>
          <p:cNvPr id="34" name="Text Placeholder 5"/>
          <p:cNvSpPr>
            <a:spLocks noGrp="1"/>
          </p:cNvSpPr>
          <p:nvPr>
            <p:ph type="body" sz="quarter" idx="28" hasCustomPrompt="1"/>
          </p:nvPr>
        </p:nvSpPr>
        <p:spPr>
          <a:xfrm>
            <a:off x="8946800" y="3128395"/>
            <a:ext cx="2218307"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Email address</a:t>
            </a:r>
          </a:p>
        </p:txBody>
      </p:sp>
    </p:spTree>
    <p:extLst>
      <p:ext uri="{BB962C8B-B14F-4D97-AF65-F5344CB8AC3E}">
        <p14:creationId xmlns:p14="http://schemas.microsoft.com/office/powerpoint/2010/main" val="4254466697"/>
      </p:ext>
    </p:extLst>
  </p:cSld>
  <p:clrMapOvr>
    <a:masterClrMapping/>
  </p:clrMapOvr>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p:cSld name="Three contacts">
    <p:spTree>
      <p:nvGrpSpPr>
        <p:cNvPr id="1" name=""/>
        <p:cNvGrpSpPr/>
        <p:nvPr/>
      </p:nvGrpSpPr>
      <p:grpSpPr>
        <a:xfrm>
          <a:off x="0" y="0"/>
          <a:ext cx="0" cy="0"/>
          <a:chOff x="0" y="0"/>
          <a:chExt cx="0" cy="0"/>
        </a:xfrm>
      </p:grpSpPr>
      <p:sp>
        <p:nvSpPr>
          <p:cNvPr id="21" name="Date Placeholder 20"/>
          <p:cNvSpPr>
            <a:spLocks noGrp="1"/>
          </p:cNvSpPr>
          <p:nvPr>
            <p:ph type="dt" sz="half" idx="14"/>
          </p:nvPr>
        </p:nvSpPr>
        <p:spPr/>
        <p:txBody>
          <a:bodyPr/>
          <a:lstStyle/>
          <a:p>
            <a:endParaRPr lang="en-US"/>
          </a:p>
        </p:txBody>
      </p:sp>
      <p:sp>
        <p:nvSpPr>
          <p:cNvPr id="22" name="Footer Placeholder 21"/>
          <p:cNvSpPr>
            <a:spLocks noGrp="1"/>
          </p:cNvSpPr>
          <p:nvPr>
            <p:ph type="ftr" sz="quarter" idx="15"/>
          </p:nvPr>
        </p:nvSpPr>
        <p:spPr/>
        <p:txBody>
          <a:bodyPr/>
          <a:lstStyle/>
          <a:p>
            <a:endParaRPr lang="en-US"/>
          </a:p>
        </p:txBody>
      </p:sp>
      <p:sp>
        <p:nvSpPr>
          <p:cNvPr id="23" name="Slide Number Placeholder 22"/>
          <p:cNvSpPr>
            <a:spLocks noGrp="1"/>
          </p:cNvSpPr>
          <p:nvPr>
            <p:ph type="sldNum" sz="quarter" idx="16"/>
          </p:nvPr>
        </p:nvSpPr>
        <p:spPr/>
        <p:txBody>
          <a:bodyPr/>
          <a:lstStyle/>
          <a:p>
            <a:fld id="{5F3E29E4-0979-4FCA-B4C5-5FC6044C982A}" type="slidenum">
              <a:rPr lang="en-US" smtClean="0"/>
              <a:t>‹#›</a:t>
            </a:fld>
            <a:endParaRPr lang="en-US"/>
          </a:p>
        </p:txBody>
      </p:sp>
      <p:sp>
        <p:nvSpPr>
          <p:cNvPr id="2" name="Title 1"/>
          <p:cNvSpPr>
            <a:spLocks noGrp="1"/>
          </p:cNvSpPr>
          <p:nvPr>
            <p:ph type="title" hasCustomPrompt="1"/>
          </p:nvPr>
        </p:nvSpPr>
        <p:spPr/>
        <p:txBody>
          <a:bodyPr/>
          <a:lstStyle>
            <a:lvl1pPr>
              <a:defRPr/>
            </a:lvl1pPr>
          </a:lstStyle>
          <a:p>
            <a:r>
              <a:rPr lang="en-US"/>
              <a:t>Click to add contact title</a:t>
            </a:r>
          </a:p>
        </p:txBody>
      </p:sp>
      <p:sp>
        <p:nvSpPr>
          <p:cNvPr id="7" name="Subtitle 2"/>
          <p:cNvSpPr>
            <a:spLocks noGrp="1"/>
          </p:cNvSpPr>
          <p:nvPr>
            <p:ph type="subTitle" idx="13" hasCustomPrompt="1"/>
          </p:nvPr>
        </p:nvSpPr>
        <p:spPr>
          <a:xfrm>
            <a:off x="1075061" y="964671"/>
            <a:ext cx="7910158" cy="490042"/>
          </a:xfrm>
        </p:spPr>
        <p:txBody>
          <a:bodyPr wrap="none"/>
          <a:lstStyle>
            <a:lvl1pPr marL="0" indent="0" algn="l">
              <a:spcBef>
                <a:spcPts val="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grpSp>
        <p:nvGrpSpPr>
          <p:cNvPr id="8" name="Gruppieren 80">
            <a:extLst>
              <a:ext uri="{FF2B5EF4-FFF2-40B4-BE49-F238E27FC236}">
                <a16:creationId xmlns:a16="http://schemas.microsoft.com/office/drawing/2014/main" id="{6B969E7B-9C39-4443-9B02-74C1E7C5CCAC}"/>
              </a:ext>
            </a:extLst>
          </p:cNvPr>
          <p:cNvGrpSpPr/>
          <p:nvPr/>
        </p:nvGrpSpPr>
        <p:grpSpPr>
          <a:xfrm>
            <a:off x="3770065" y="2868319"/>
            <a:ext cx="171180" cy="171180"/>
            <a:chOff x="3392092" y="1841122"/>
            <a:chExt cx="646508" cy="646508"/>
          </a:xfrm>
        </p:grpSpPr>
        <p:sp>
          <p:nvSpPr>
            <p:cNvPr id="9" name="Rechteck 14">
              <a:extLst>
                <a:ext uri="{FF2B5EF4-FFF2-40B4-BE49-F238E27FC236}">
                  <a16:creationId xmlns:a16="http://schemas.microsoft.com/office/drawing/2014/main" id="{D78F58EA-5525-8D43-8295-FEA52ECF6BFA}"/>
                </a:ext>
              </a:extLst>
            </p:cNvPr>
            <p:cNvSpPr>
              <a:spLocks noChangeAspect="1"/>
            </p:cNvSpPr>
            <p:nvPr/>
          </p:nvSpPr>
          <p:spPr bwMode="gray">
            <a:xfrm>
              <a:off x="3392092" y="1841122"/>
              <a:ext cx="646508" cy="646508"/>
            </a:xfrm>
            <a:prstGeom prst="rect">
              <a:avLst/>
            </a:prstGeom>
            <a:solidFill>
              <a:srgbClr val="E55A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pPr>
              <a:endParaRPr lang="en-US" sz="1000">
                <a:solidFill>
                  <a:schemeClr val="tx1"/>
                </a:solidFill>
                <a:latin typeface="Arial" pitchFamily="34" charset="0"/>
                <a:cs typeface="Arial" pitchFamily="34" charset="0"/>
              </a:endParaRPr>
            </a:p>
          </p:txBody>
        </p:sp>
        <p:sp>
          <p:nvSpPr>
            <p:cNvPr id="10" name="Freeform 67">
              <a:extLst>
                <a:ext uri="{FF2B5EF4-FFF2-40B4-BE49-F238E27FC236}">
                  <a16:creationId xmlns:a16="http://schemas.microsoft.com/office/drawing/2014/main" id="{D01A6292-2776-4945-B828-483D79DC4908}"/>
                </a:ext>
              </a:extLst>
            </p:cNvPr>
            <p:cNvSpPr>
              <a:spLocks noChangeAspect="1"/>
            </p:cNvSpPr>
            <p:nvPr/>
          </p:nvSpPr>
          <p:spPr bwMode="auto">
            <a:xfrm>
              <a:off x="3546638" y="1970424"/>
              <a:ext cx="337415" cy="387905"/>
            </a:xfrm>
            <a:custGeom>
              <a:avLst/>
              <a:gdLst>
                <a:gd name="T0" fmla="*/ 573 w 1624"/>
                <a:gd name="T1" fmla="*/ 1257 h 1867"/>
                <a:gd name="T2" fmla="*/ 662 w 1624"/>
                <a:gd name="T3" fmla="*/ 1288 h 1867"/>
                <a:gd name="T4" fmla="*/ 938 w 1624"/>
                <a:gd name="T5" fmla="*/ 1051 h 1867"/>
                <a:gd name="T6" fmla="*/ 1106 w 1624"/>
                <a:gd name="T7" fmla="*/ 731 h 1867"/>
                <a:gd name="T8" fmla="*/ 1059 w 1624"/>
                <a:gd name="T9" fmla="*/ 645 h 1867"/>
                <a:gd name="T10" fmla="*/ 1001 w 1624"/>
                <a:gd name="T11" fmla="*/ 613 h 1867"/>
                <a:gd name="T12" fmla="*/ 924 w 1624"/>
                <a:gd name="T13" fmla="*/ 432 h 1867"/>
                <a:gd name="T14" fmla="*/ 1114 w 1624"/>
                <a:gd name="T15" fmla="*/ 81 h 1867"/>
                <a:gd name="T16" fmla="*/ 1287 w 1624"/>
                <a:gd name="T17" fmla="*/ 35 h 1867"/>
                <a:gd name="T18" fmla="*/ 1350 w 1624"/>
                <a:gd name="T19" fmla="*/ 69 h 1867"/>
                <a:gd name="T20" fmla="*/ 1527 w 1624"/>
                <a:gd name="T21" fmla="*/ 235 h 1867"/>
                <a:gd name="T22" fmla="*/ 1583 w 1624"/>
                <a:gd name="T23" fmla="*/ 555 h 1867"/>
                <a:gd name="T24" fmla="*/ 1172 w 1624"/>
                <a:gd name="T25" fmla="*/ 1253 h 1867"/>
                <a:gd name="T26" fmla="*/ 586 w 1624"/>
                <a:gd name="T27" fmla="*/ 1803 h 1867"/>
                <a:gd name="T28" fmla="*/ 269 w 1624"/>
                <a:gd name="T29" fmla="*/ 1807 h 1867"/>
                <a:gd name="T30" fmla="*/ 33 w 1624"/>
                <a:gd name="T31" fmla="*/ 1602 h 1867"/>
                <a:gd name="T32" fmla="*/ 2 w 1624"/>
                <a:gd name="T33" fmla="*/ 1508 h 1867"/>
                <a:gd name="T34" fmla="*/ 45 w 1624"/>
                <a:gd name="T35" fmla="*/ 1421 h 1867"/>
                <a:gd name="T36" fmla="*/ 346 w 1624"/>
                <a:gd name="T37" fmla="*/ 1158 h 1867"/>
                <a:gd name="T38" fmla="*/ 448 w 1624"/>
                <a:gd name="T39" fmla="*/ 1145 h 1867"/>
                <a:gd name="T40" fmla="*/ 573 w 1624"/>
                <a:gd name="T41" fmla="*/ 1257 h 18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24" h="1867">
                  <a:moveTo>
                    <a:pt x="573" y="1257"/>
                  </a:moveTo>
                  <a:cubicBezTo>
                    <a:pt x="592" y="1282"/>
                    <a:pt x="630" y="1303"/>
                    <a:pt x="662" y="1288"/>
                  </a:cubicBezTo>
                  <a:cubicBezTo>
                    <a:pt x="753" y="1245"/>
                    <a:pt x="854" y="1156"/>
                    <a:pt x="938" y="1051"/>
                  </a:cubicBezTo>
                  <a:cubicBezTo>
                    <a:pt x="1020" y="948"/>
                    <a:pt x="1084" y="831"/>
                    <a:pt x="1106" y="731"/>
                  </a:cubicBezTo>
                  <a:cubicBezTo>
                    <a:pt x="1113" y="696"/>
                    <a:pt x="1089" y="661"/>
                    <a:pt x="1059" y="645"/>
                  </a:cubicBezTo>
                  <a:cubicBezTo>
                    <a:pt x="1001" y="613"/>
                    <a:pt x="1001" y="613"/>
                    <a:pt x="1001" y="613"/>
                  </a:cubicBezTo>
                  <a:cubicBezTo>
                    <a:pt x="942" y="580"/>
                    <a:pt x="888" y="499"/>
                    <a:pt x="924" y="432"/>
                  </a:cubicBezTo>
                  <a:cubicBezTo>
                    <a:pt x="1114" y="81"/>
                    <a:pt x="1114" y="81"/>
                    <a:pt x="1114" y="81"/>
                  </a:cubicBezTo>
                  <a:cubicBezTo>
                    <a:pt x="1150" y="16"/>
                    <a:pt x="1224" y="0"/>
                    <a:pt x="1287" y="35"/>
                  </a:cubicBezTo>
                  <a:cubicBezTo>
                    <a:pt x="1350" y="69"/>
                    <a:pt x="1350" y="69"/>
                    <a:pt x="1350" y="69"/>
                  </a:cubicBezTo>
                  <a:cubicBezTo>
                    <a:pt x="1415" y="105"/>
                    <a:pt x="1479" y="165"/>
                    <a:pt x="1527" y="235"/>
                  </a:cubicBezTo>
                  <a:cubicBezTo>
                    <a:pt x="1593" y="332"/>
                    <a:pt x="1624" y="442"/>
                    <a:pt x="1583" y="555"/>
                  </a:cubicBezTo>
                  <a:cubicBezTo>
                    <a:pt x="1500" y="781"/>
                    <a:pt x="1351" y="1030"/>
                    <a:pt x="1172" y="1253"/>
                  </a:cubicBezTo>
                  <a:cubicBezTo>
                    <a:pt x="994" y="1477"/>
                    <a:pt x="786" y="1676"/>
                    <a:pt x="586" y="1803"/>
                  </a:cubicBezTo>
                  <a:cubicBezTo>
                    <a:pt x="486" y="1867"/>
                    <a:pt x="375" y="1856"/>
                    <a:pt x="269" y="1807"/>
                  </a:cubicBezTo>
                  <a:cubicBezTo>
                    <a:pt x="157" y="1755"/>
                    <a:pt x="106" y="1695"/>
                    <a:pt x="33" y="1602"/>
                  </a:cubicBezTo>
                  <a:cubicBezTo>
                    <a:pt x="11" y="1573"/>
                    <a:pt x="0" y="1540"/>
                    <a:pt x="2" y="1508"/>
                  </a:cubicBezTo>
                  <a:cubicBezTo>
                    <a:pt x="4" y="1475"/>
                    <a:pt x="18" y="1444"/>
                    <a:pt x="45" y="1421"/>
                  </a:cubicBezTo>
                  <a:cubicBezTo>
                    <a:pt x="70" y="1399"/>
                    <a:pt x="346" y="1158"/>
                    <a:pt x="346" y="1158"/>
                  </a:cubicBezTo>
                  <a:cubicBezTo>
                    <a:pt x="376" y="1134"/>
                    <a:pt x="413" y="1133"/>
                    <a:pt x="448" y="1145"/>
                  </a:cubicBezTo>
                  <a:cubicBezTo>
                    <a:pt x="510" y="1166"/>
                    <a:pt x="536" y="1210"/>
                    <a:pt x="573" y="1257"/>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351"/>
            </a:p>
          </p:txBody>
        </p:sp>
      </p:grpSp>
      <p:grpSp>
        <p:nvGrpSpPr>
          <p:cNvPr id="11" name="Group 3">
            <a:extLst>
              <a:ext uri="{FF2B5EF4-FFF2-40B4-BE49-F238E27FC236}">
                <a16:creationId xmlns:a16="http://schemas.microsoft.com/office/drawing/2014/main" id="{DED6A25A-5DE2-1441-8BA2-C68D3B4F9209}"/>
              </a:ext>
            </a:extLst>
          </p:cNvPr>
          <p:cNvGrpSpPr>
            <a:grpSpLocks noChangeAspect="1"/>
          </p:cNvGrpSpPr>
          <p:nvPr>
            <p:custDataLst>
              <p:tags r:id="rId1"/>
            </p:custDataLst>
          </p:nvPr>
        </p:nvGrpSpPr>
        <p:grpSpPr>
          <a:xfrm>
            <a:off x="3770066" y="3153207"/>
            <a:ext cx="171180" cy="171180"/>
            <a:chOff x="328396" y="5313940"/>
            <a:chExt cx="720000" cy="720000"/>
          </a:xfrm>
        </p:grpSpPr>
        <p:sp>
          <p:nvSpPr>
            <p:cNvPr id="12" name="Rectangle 4">
              <a:extLst>
                <a:ext uri="{FF2B5EF4-FFF2-40B4-BE49-F238E27FC236}">
                  <a16:creationId xmlns:a16="http://schemas.microsoft.com/office/drawing/2014/main" id="{5F49E67F-D4FA-9D48-96BC-59AE946ECD15}"/>
                </a:ext>
              </a:extLst>
            </p:cNvPr>
            <p:cNvSpPr/>
            <p:nvPr/>
          </p:nvSpPr>
          <p:spPr bwMode="gray">
            <a:xfrm>
              <a:off x="328396" y="5313940"/>
              <a:ext cx="720000" cy="720000"/>
            </a:xfrm>
            <a:prstGeom prst="rect">
              <a:avLst/>
            </a:prstGeom>
            <a:solidFill>
              <a:srgbClr val="E55A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pPr>
              <a:endParaRPr lang="en-US" sz="1000">
                <a:solidFill>
                  <a:schemeClr val="tx1"/>
                </a:solidFill>
                <a:latin typeface="Arial" pitchFamily="34" charset="0"/>
                <a:cs typeface="Arial" pitchFamily="34" charset="0"/>
              </a:endParaRPr>
            </a:p>
          </p:txBody>
        </p:sp>
        <p:sp>
          <p:nvSpPr>
            <p:cNvPr id="13" name="Freeform 76">
              <a:extLst>
                <a:ext uri="{FF2B5EF4-FFF2-40B4-BE49-F238E27FC236}">
                  <a16:creationId xmlns:a16="http://schemas.microsoft.com/office/drawing/2014/main" id="{187E70E6-AF3F-2549-908E-DF4BA61040AA}"/>
                </a:ext>
              </a:extLst>
            </p:cNvPr>
            <p:cNvSpPr>
              <a:spLocks noChangeAspect="1" noEditPoints="1"/>
            </p:cNvSpPr>
            <p:nvPr/>
          </p:nvSpPr>
          <p:spPr bwMode="auto">
            <a:xfrm>
              <a:off x="456202" y="5509222"/>
              <a:ext cx="504000" cy="329436"/>
            </a:xfrm>
            <a:custGeom>
              <a:avLst/>
              <a:gdLst>
                <a:gd name="T0" fmla="*/ 0 w 2080"/>
                <a:gd name="T1" fmla="*/ 65 h 1360"/>
                <a:gd name="T2" fmla="*/ 0 w 2080"/>
                <a:gd name="T3" fmla="*/ 0 h 1360"/>
                <a:gd name="T4" fmla="*/ 2080 w 2080"/>
                <a:gd name="T5" fmla="*/ 0 h 1360"/>
                <a:gd name="T6" fmla="*/ 2080 w 2080"/>
                <a:gd name="T7" fmla="*/ 65 h 1360"/>
                <a:gd name="T8" fmla="*/ 1089 w 2080"/>
                <a:gd name="T9" fmla="*/ 862 h 1360"/>
                <a:gd name="T10" fmla="*/ 991 w 2080"/>
                <a:gd name="T11" fmla="*/ 862 h 1360"/>
                <a:gd name="T12" fmla="*/ 0 w 2080"/>
                <a:gd name="T13" fmla="*/ 65 h 1360"/>
                <a:gd name="T14" fmla="*/ 1139 w 2080"/>
                <a:gd name="T15" fmla="*/ 924 h 1360"/>
                <a:gd name="T16" fmla="*/ 1282 w 2080"/>
                <a:gd name="T17" fmla="*/ 810 h 1360"/>
                <a:gd name="T18" fmla="*/ 2076 w 2080"/>
                <a:gd name="T19" fmla="*/ 1360 h 1360"/>
                <a:gd name="T20" fmla="*/ 4 w 2080"/>
                <a:gd name="T21" fmla="*/ 1360 h 1360"/>
                <a:gd name="T22" fmla="*/ 798 w 2080"/>
                <a:gd name="T23" fmla="*/ 810 h 1360"/>
                <a:gd name="T24" fmla="*/ 941 w 2080"/>
                <a:gd name="T25" fmla="*/ 924 h 1360"/>
                <a:gd name="T26" fmla="*/ 1139 w 2080"/>
                <a:gd name="T27" fmla="*/ 924 h 1360"/>
                <a:gd name="T28" fmla="*/ 2 w 2080"/>
                <a:gd name="T29" fmla="*/ 137 h 1360"/>
                <a:gd name="T30" fmla="*/ 42 w 2080"/>
                <a:gd name="T31" fmla="*/ 201 h 1360"/>
                <a:gd name="T32" fmla="*/ 734 w 2080"/>
                <a:gd name="T33" fmla="*/ 758 h 1360"/>
                <a:gd name="T34" fmla="*/ 0 w 2080"/>
                <a:gd name="T35" fmla="*/ 1266 h 1360"/>
                <a:gd name="T36" fmla="*/ 0 w 2080"/>
                <a:gd name="T37" fmla="*/ 135 h 1360"/>
                <a:gd name="T38" fmla="*/ 2 w 2080"/>
                <a:gd name="T39" fmla="*/ 137 h 1360"/>
                <a:gd name="T40" fmla="*/ 2080 w 2080"/>
                <a:gd name="T41" fmla="*/ 136 h 1360"/>
                <a:gd name="T42" fmla="*/ 2080 w 2080"/>
                <a:gd name="T43" fmla="*/ 1265 h 1360"/>
                <a:gd name="T44" fmla="*/ 1346 w 2080"/>
                <a:gd name="T45" fmla="*/ 758 h 1360"/>
                <a:gd name="T46" fmla="*/ 2038 w 2080"/>
                <a:gd name="T47" fmla="*/ 201 h 1360"/>
                <a:gd name="T48" fmla="*/ 2080 w 2080"/>
                <a:gd name="T49" fmla="*/ 136 h 1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080" h="1360">
                  <a:moveTo>
                    <a:pt x="0" y="65"/>
                  </a:moveTo>
                  <a:cubicBezTo>
                    <a:pt x="0" y="0"/>
                    <a:pt x="0" y="0"/>
                    <a:pt x="0" y="0"/>
                  </a:cubicBezTo>
                  <a:cubicBezTo>
                    <a:pt x="2080" y="0"/>
                    <a:pt x="2080" y="0"/>
                    <a:pt x="2080" y="0"/>
                  </a:cubicBezTo>
                  <a:cubicBezTo>
                    <a:pt x="2080" y="65"/>
                    <a:pt x="2080" y="65"/>
                    <a:pt x="2080" y="65"/>
                  </a:cubicBezTo>
                  <a:cubicBezTo>
                    <a:pt x="1089" y="862"/>
                    <a:pt x="1089" y="862"/>
                    <a:pt x="1089" y="862"/>
                  </a:cubicBezTo>
                  <a:cubicBezTo>
                    <a:pt x="1060" y="886"/>
                    <a:pt x="1020" y="886"/>
                    <a:pt x="991" y="862"/>
                  </a:cubicBezTo>
                  <a:lnTo>
                    <a:pt x="0" y="65"/>
                  </a:lnTo>
                  <a:close/>
                  <a:moveTo>
                    <a:pt x="1139" y="924"/>
                  </a:moveTo>
                  <a:cubicBezTo>
                    <a:pt x="1282" y="810"/>
                    <a:pt x="1282" y="810"/>
                    <a:pt x="1282" y="810"/>
                  </a:cubicBezTo>
                  <a:cubicBezTo>
                    <a:pt x="2076" y="1360"/>
                    <a:pt x="2076" y="1360"/>
                    <a:pt x="2076" y="1360"/>
                  </a:cubicBezTo>
                  <a:cubicBezTo>
                    <a:pt x="4" y="1360"/>
                    <a:pt x="4" y="1360"/>
                    <a:pt x="4" y="1360"/>
                  </a:cubicBezTo>
                  <a:cubicBezTo>
                    <a:pt x="798" y="810"/>
                    <a:pt x="798" y="810"/>
                    <a:pt x="798" y="810"/>
                  </a:cubicBezTo>
                  <a:cubicBezTo>
                    <a:pt x="941" y="924"/>
                    <a:pt x="941" y="924"/>
                    <a:pt x="941" y="924"/>
                  </a:cubicBezTo>
                  <a:cubicBezTo>
                    <a:pt x="1000" y="972"/>
                    <a:pt x="1080" y="972"/>
                    <a:pt x="1139" y="924"/>
                  </a:cubicBezTo>
                  <a:close/>
                  <a:moveTo>
                    <a:pt x="2" y="137"/>
                  </a:moveTo>
                  <a:cubicBezTo>
                    <a:pt x="8" y="163"/>
                    <a:pt x="22" y="185"/>
                    <a:pt x="42" y="201"/>
                  </a:cubicBezTo>
                  <a:cubicBezTo>
                    <a:pt x="734" y="758"/>
                    <a:pt x="734" y="758"/>
                    <a:pt x="734" y="758"/>
                  </a:cubicBezTo>
                  <a:cubicBezTo>
                    <a:pt x="0" y="1266"/>
                    <a:pt x="0" y="1266"/>
                    <a:pt x="0" y="1266"/>
                  </a:cubicBezTo>
                  <a:cubicBezTo>
                    <a:pt x="0" y="135"/>
                    <a:pt x="0" y="135"/>
                    <a:pt x="0" y="135"/>
                  </a:cubicBezTo>
                  <a:lnTo>
                    <a:pt x="2" y="137"/>
                  </a:lnTo>
                  <a:close/>
                  <a:moveTo>
                    <a:pt x="2080" y="136"/>
                  </a:moveTo>
                  <a:cubicBezTo>
                    <a:pt x="2080" y="1265"/>
                    <a:pt x="2080" y="1265"/>
                    <a:pt x="2080" y="1265"/>
                  </a:cubicBezTo>
                  <a:cubicBezTo>
                    <a:pt x="1346" y="758"/>
                    <a:pt x="1346" y="758"/>
                    <a:pt x="1346" y="758"/>
                  </a:cubicBezTo>
                  <a:cubicBezTo>
                    <a:pt x="2038" y="201"/>
                    <a:pt x="2038" y="201"/>
                    <a:pt x="2038" y="201"/>
                  </a:cubicBezTo>
                  <a:cubicBezTo>
                    <a:pt x="2060" y="182"/>
                    <a:pt x="2072" y="162"/>
                    <a:pt x="2080" y="13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000"/>
            </a:p>
          </p:txBody>
        </p:sp>
      </p:grpSp>
      <p:grpSp>
        <p:nvGrpSpPr>
          <p:cNvPr id="14" name="Gruppieren 2">
            <a:extLst>
              <a:ext uri="{FF2B5EF4-FFF2-40B4-BE49-F238E27FC236}">
                <a16:creationId xmlns:a16="http://schemas.microsoft.com/office/drawing/2014/main" id="{BE697CE9-EBDE-6B4A-BE70-582D92A8A831}"/>
              </a:ext>
            </a:extLst>
          </p:cNvPr>
          <p:cNvGrpSpPr/>
          <p:nvPr/>
        </p:nvGrpSpPr>
        <p:grpSpPr>
          <a:xfrm>
            <a:off x="8701917" y="2868319"/>
            <a:ext cx="171180" cy="171180"/>
            <a:chOff x="3392092" y="1841122"/>
            <a:chExt cx="646508" cy="646508"/>
          </a:xfrm>
        </p:grpSpPr>
        <p:sp>
          <p:nvSpPr>
            <p:cNvPr id="15" name="Rechteck 14">
              <a:extLst>
                <a:ext uri="{FF2B5EF4-FFF2-40B4-BE49-F238E27FC236}">
                  <a16:creationId xmlns:a16="http://schemas.microsoft.com/office/drawing/2014/main" id="{E142A731-19B7-C34D-9534-9E05108F895F}"/>
                </a:ext>
              </a:extLst>
            </p:cNvPr>
            <p:cNvSpPr>
              <a:spLocks noChangeAspect="1"/>
            </p:cNvSpPr>
            <p:nvPr/>
          </p:nvSpPr>
          <p:spPr bwMode="gray">
            <a:xfrm>
              <a:off x="3392092" y="1841122"/>
              <a:ext cx="646508" cy="646508"/>
            </a:xfrm>
            <a:prstGeom prst="rect">
              <a:avLst/>
            </a:prstGeom>
            <a:solidFill>
              <a:srgbClr val="E55A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pPr>
              <a:endParaRPr lang="en-US" sz="1000">
                <a:solidFill>
                  <a:schemeClr val="tx1"/>
                </a:solidFill>
                <a:latin typeface="Arial" pitchFamily="34" charset="0"/>
                <a:cs typeface="Arial" pitchFamily="34" charset="0"/>
              </a:endParaRPr>
            </a:p>
          </p:txBody>
        </p:sp>
        <p:sp>
          <p:nvSpPr>
            <p:cNvPr id="16" name="Freeform 15">
              <a:extLst>
                <a:ext uri="{FF2B5EF4-FFF2-40B4-BE49-F238E27FC236}">
                  <a16:creationId xmlns:a16="http://schemas.microsoft.com/office/drawing/2014/main" id="{F97E84AE-4AD9-4B44-9AA1-F797FC373809}"/>
                </a:ext>
              </a:extLst>
            </p:cNvPr>
            <p:cNvSpPr>
              <a:spLocks noChangeAspect="1"/>
            </p:cNvSpPr>
            <p:nvPr/>
          </p:nvSpPr>
          <p:spPr bwMode="auto">
            <a:xfrm>
              <a:off x="3546638" y="1970424"/>
              <a:ext cx="337415" cy="387905"/>
            </a:xfrm>
            <a:custGeom>
              <a:avLst/>
              <a:gdLst>
                <a:gd name="T0" fmla="*/ 573 w 1624"/>
                <a:gd name="T1" fmla="*/ 1257 h 1867"/>
                <a:gd name="T2" fmla="*/ 662 w 1624"/>
                <a:gd name="T3" fmla="*/ 1288 h 1867"/>
                <a:gd name="T4" fmla="*/ 938 w 1624"/>
                <a:gd name="T5" fmla="*/ 1051 h 1867"/>
                <a:gd name="T6" fmla="*/ 1106 w 1624"/>
                <a:gd name="T7" fmla="*/ 731 h 1867"/>
                <a:gd name="T8" fmla="*/ 1059 w 1624"/>
                <a:gd name="T9" fmla="*/ 645 h 1867"/>
                <a:gd name="T10" fmla="*/ 1001 w 1624"/>
                <a:gd name="T11" fmla="*/ 613 h 1867"/>
                <a:gd name="T12" fmla="*/ 924 w 1624"/>
                <a:gd name="T13" fmla="*/ 432 h 1867"/>
                <a:gd name="T14" fmla="*/ 1114 w 1624"/>
                <a:gd name="T15" fmla="*/ 81 h 1867"/>
                <a:gd name="T16" fmla="*/ 1287 w 1624"/>
                <a:gd name="T17" fmla="*/ 35 h 1867"/>
                <a:gd name="T18" fmla="*/ 1350 w 1624"/>
                <a:gd name="T19" fmla="*/ 69 h 1867"/>
                <a:gd name="T20" fmla="*/ 1527 w 1624"/>
                <a:gd name="T21" fmla="*/ 235 h 1867"/>
                <a:gd name="T22" fmla="*/ 1583 w 1624"/>
                <a:gd name="T23" fmla="*/ 555 h 1867"/>
                <a:gd name="T24" fmla="*/ 1172 w 1624"/>
                <a:gd name="T25" fmla="*/ 1253 h 1867"/>
                <a:gd name="T26" fmla="*/ 586 w 1624"/>
                <a:gd name="T27" fmla="*/ 1803 h 1867"/>
                <a:gd name="T28" fmla="*/ 269 w 1624"/>
                <a:gd name="T29" fmla="*/ 1807 h 1867"/>
                <a:gd name="T30" fmla="*/ 33 w 1624"/>
                <a:gd name="T31" fmla="*/ 1602 h 1867"/>
                <a:gd name="T32" fmla="*/ 2 w 1624"/>
                <a:gd name="T33" fmla="*/ 1508 h 1867"/>
                <a:gd name="T34" fmla="*/ 45 w 1624"/>
                <a:gd name="T35" fmla="*/ 1421 h 1867"/>
                <a:gd name="T36" fmla="*/ 346 w 1624"/>
                <a:gd name="T37" fmla="*/ 1158 h 1867"/>
                <a:gd name="T38" fmla="*/ 448 w 1624"/>
                <a:gd name="T39" fmla="*/ 1145 h 1867"/>
                <a:gd name="T40" fmla="*/ 573 w 1624"/>
                <a:gd name="T41" fmla="*/ 1257 h 18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24" h="1867">
                  <a:moveTo>
                    <a:pt x="573" y="1257"/>
                  </a:moveTo>
                  <a:cubicBezTo>
                    <a:pt x="592" y="1282"/>
                    <a:pt x="630" y="1303"/>
                    <a:pt x="662" y="1288"/>
                  </a:cubicBezTo>
                  <a:cubicBezTo>
                    <a:pt x="753" y="1245"/>
                    <a:pt x="854" y="1156"/>
                    <a:pt x="938" y="1051"/>
                  </a:cubicBezTo>
                  <a:cubicBezTo>
                    <a:pt x="1020" y="948"/>
                    <a:pt x="1084" y="831"/>
                    <a:pt x="1106" y="731"/>
                  </a:cubicBezTo>
                  <a:cubicBezTo>
                    <a:pt x="1113" y="696"/>
                    <a:pt x="1089" y="661"/>
                    <a:pt x="1059" y="645"/>
                  </a:cubicBezTo>
                  <a:cubicBezTo>
                    <a:pt x="1001" y="613"/>
                    <a:pt x="1001" y="613"/>
                    <a:pt x="1001" y="613"/>
                  </a:cubicBezTo>
                  <a:cubicBezTo>
                    <a:pt x="942" y="580"/>
                    <a:pt x="888" y="499"/>
                    <a:pt x="924" y="432"/>
                  </a:cubicBezTo>
                  <a:cubicBezTo>
                    <a:pt x="1114" y="81"/>
                    <a:pt x="1114" y="81"/>
                    <a:pt x="1114" y="81"/>
                  </a:cubicBezTo>
                  <a:cubicBezTo>
                    <a:pt x="1150" y="16"/>
                    <a:pt x="1224" y="0"/>
                    <a:pt x="1287" y="35"/>
                  </a:cubicBezTo>
                  <a:cubicBezTo>
                    <a:pt x="1350" y="69"/>
                    <a:pt x="1350" y="69"/>
                    <a:pt x="1350" y="69"/>
                  </a:cubicBezTo>
                  <a:cubicBezTo>
                    <a:pt x="1415" y="105"/>
                    <a:pt x="1479" y="165"/>
                    <a:pt x="1527" y="235"/>
                  </a:cubicBezTo>
                  <a:cubicBezTo>
                    <a:pt x="1593" y="332"/>
                    <a:pt x="1624" y="442"/>
                    <a:pt x="1583" y="555"/>
                  </a:cubicBezTo>
                  <a:cubicBezTo>
                    <a:pt x="1500" y="781"/>
                    <a:pt x="1351" y="1030"/>
                    <a:pt x="1172" y="1253"/>
                  </a:cubicBezTo>
                  <a:cubicBezTo>
                    <a:pt x="994" y="1477"/>
                    <a:pt x="786" y="1676"/>
                    <a:pt x="586" y="1803"/>
                  </a:cubicBezTo>
                  <a:cubicBezTo>
                    <a:pt x="486" y="1867"/>
                    <a:pt x="375" y="1856"/>
                    <a:pt x="269" y="1807"/>
                  </a:cubicBezTo>
                  <a:cubicBezTo>
                    <a:pt x="157" y="1755"/>
                    <a:pt x="106" y="1695"/>
                    <a:pt x="33" y="1602"/>
                  </a:cubicBezTo>
                  <a:cubicBezTo>
                    <a:pt x="11" y="1573"/>
                    <a:pt x="0" y="1540"/>
                    <a:pt x="2" y="1508"/>
                  </a:cubicBezTo>
                  <a:cubicBezTo>
                    <a:pt x="4" y="1475"/>
                    <a:pt x="18" y="1444"/>
                    <a:pt x="45" y="1421"/>
                  </a:cubicBezTo>
                  <a:cubicBezTo>
                    <a:pt x="70" y="1399"/>
                    <a:pt x="346" y="1158"/>
                    <a:pt x="346" y="1158"/>
                  </a:cubicBezTo>
                  <a:cubicBezTo>
                    <a:pt x="376" y="1134"/>
                    <a:pt x="413" y="1133"/>
                    <a:pt x="448" y="1145"/>
                  </a:cubicBezTo>
                  <a:cubicBezTo>
                    <a:pt x="510" y="1166"/>
                    <a:pt x="536" y="1210"/>
                    <a:pt x="573" y="1257"/>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351"/>
            </a:p>
          </p:txBody>
        </p:sp>
      </p:grpSp>
      <p:grpSp>
        <p:nvGrpSpPr>
          <p:cNvPr id="17" name="Group 3">
            <a:extLst>
              <a:ext uri="{FF2B5EF4-FFF2-40B4-BE49-F238E27FC236}">
                <a16:creationId xmlns:a16="http://schemas.microsoft.com/office/drawing/2014/main" id="{7104BADD-8CD1-6F4A-B894-869C3BDB3EEB}"/>
              </a:ext>
            </a:extLst>
          </p:cNvPr>
          <p:cNvGrpSpPr>
            <a:grpSpLocks noChangeAspect="1"/>
          </p:cNvGrpSpPr>
          <p:nvPr>
            <p:custDataLst>
              <p:tags r:id="rId2"/>
            </p:custDataLst>
          </p:nvPr>
        </p:nvGrpSpPr>
        <p:grpSpPr>
          <a:xfrm>
            <a:off x="8701918" y="3153207"/>
            <a:ext cx="171180" cy="171180"/>
            <a:chOff x="328396" y="5313940"/>
            <a:chExt cx="720000" cy="720000"/>
          </a:xfrm>
        </p:grpSpPr>
        <p:sp>
          <p:nvSpPr>
            <p:cNvPr id="18" name="Rectangle 4">
              <a:extLst>
                <a:ext uri="{FF2B5EF4-FFF2-40B4-BE49-F238E27FC236}">
                  <a16:creationId xmlns:a16="http://schemas.microsoft.com/office/drawing/2014/main" id="{74BE3D5F-1445-6E40-8B49-72E15568383B}"/>
                </a:ext>
              </a:extLst>
            </p:cNvPr>
            <p:cNvSpPr/>
            <p:nvPr/>
          </p:nvSpPr>
          <p:spPr bwMode="gray">
            <a:xfrm>
              <a:off x="328396" y="5313940"/>
              <a:ext cx="720000" cy="720000"/>
            </a:xfrm>
            <a:prstGeom prst="rect">
              <a:avLst/>
            </a:prstGeom>
            <a:solidFill>
              <a:srgbClr val="E55A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pPr>
              <a:endParaRPr lang="en-US" sz="1000">
                <a:solidFill>
                  <a:schemeClr val="tx1"/>
                </a:solidFill>
                <a:latin typeface="Arial" pitchFamily="34" charset="0"/>
                <a:cs typeface="Arial" pitchFamily="34" charset="0"/>
              </a:endParaRPr>
            </a:p>
          </p:txBody>
        </p:sp>
        <p:sp>
          <p:nvSpPr>
            <p:cNvPr id="19" name="Freeform 76">
              <a:extLst>
                <a:ext uri="{FF2B5EF4-FFF2-40B4-BE49-F238E27FC236}">
                  <a16:creationId xmlns:a16="http://schemas.microsoft.com/office/drawing/2014/main" id="{55DB3C95-7D0C-D141-901E-96D692794D2B}"/>
                </a:ext>
              </a:extLst>
            </p:cNvPr>
            <p:cNvSpPr>
              <a:spLocks noChangeAspect="1" noEditPoints="1"/>
            </p:cNvSpPr>
            <p:nvPr/>
          </p:nvSpPr>
          <p:spPr bwMode="auto">
            <a:xfrm>
              <a:off x="456202" y="5509222"/>
              <a:ext cx="504000" cy="329436"/>
            </a:xfrm>
            <a:custGeom>
              <a:avLst/>
              <a:gdLst>
                <a:gd name="T0" fmla="*/ 0 w 2080"/>
                <a:gd name="T1" fmla="*/ 65 h 1360"/>
                <a:gd name="T2" fmla="*/ 0 w 2080"/>
                <a:gd name="T3" fmla="*/ 0 h 1360"/>
                <a:gd name="T4" fmla="*/ 2080 w 2080"/>
                <a:gd name="T5" fmla="*/ 0 h 1360"/>
                <a:gd name="T6" fmla="*/ 2080 w 2080"/>
                <a:gd name="T7" fmla="*/ 65 h 1360"/>
                <a:gd name="T8" fmla="*/ 1089 w 2080"/>
                <a:gd name="T9" fmla="*/ 862 h 1360"/>
                <a:gd name="T10" fmla="*/ 991 w 2080"/>
                <a:gd name="T11" fmla="*/ 862 h 1360"/>
                <a:gd name="T12" fmla="*/ 0 w 2080"/>
                <a:gd name="T13" fmla="*/ 65 h 1360"/>
                <a:gd name="T14" fmla="*/ 1139 w 2080"/>
                <a:gd name="T15" fmla="*/ 924 h 1360"/>
                <a:gd name="T16" fmla="*/ 1282 w 2080"/>
                <a:gd name="T17" fmla="*/ 810 h 1360"/>
                <a:gd name="T18" fmla="*/ 2076 w 2080"/>
                <a:gd name="T19" fmla="*/ 1360 h 1360"/>
                <a:gd name="T20" fmla="*/ 4 w 2080"/>
                <a:gd name="T21" fmla="*/ 1360 h 1360"/>
                <a:gd name="T22" fmla="*/ 798 w 2080"/>
                <a:gd name="T23" fmla="*/ 810 h 1360"/>
                <a:gd name="T24" fmla="*/ 941 w 2080"/>
                <a:gd name="T25" fmla="*/ 924 h 1360"/>
                <a:gd name="T26" fmla="*/ 1139 w 2080"/>
                <a:gd name="T27" fmla="*/ 924 h 1360"/>
                <a:gd name="T28" fmla="*/ 2 w 2080"/>
                <a:gd name="T29" fmla="*/ 137 h 1360"/>
                <a:gd name="T30" fmla="*/ 42 w 2080"/>
                <a:gd name="T31" fmla="*/ 201 h 1360"/>
                <a:gd name="T32" fmla="*/ 734 w 2080"/>
                <a:gd name="T33" fmla="*/ 758 h 1360"/>
                <a:gd name="T34" fmla="*/ 0 w 2080"/>
                <a:gd name="T35" fmla="*/ 1266 h 1360"/>
                <a:gd name="T36" fmla="*/ 0 w 2080"/>
                <a:gd name="T37" fmla="*/ 135 h 1360"/>
                <a:gd name="T38" fmla="*/ 2 w 2080"/>
                <a:gd name="T39" fmla="*/ 137 h 1360"/>
                <a:gd name="T40" fmla="*/ 2080 w 2080"/>
                <a:gd name="T41" fmla="*/ 136 h 1360"/>
                <a:gd name="T42" fmla="*/ 2080 w 2080"/>
                <a:gd name="T43" fmla="*/ 1265 h 1360"/>
                <a:gd name="T44" fmla="*/ 1346 w 2080"/>
                <a:gd name="T45" fmla="*/ 758 h 1360"/>
                <a:gd name="T46" fmla="*/ 2038 w 2080"/>
                <a:gd name="T47" fmla="*/ 201 h 1360"/>
                <a:gd name="T48" fmla="*/ 2080 w 2080"/>
                <a:gd name="T49" fmla="*/ 136 h 1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080" h="1360">
                  <a:moveTo>
                    <a:pt x="0" y="65"/>
                  </a:moveTo>
                  <a:cubicBezTo>
                    <a:pt x="0" y="0"/>
                    <a:pt x="0" y="0"/>
                    <a:pt x="0" y="0"/>
                  </a:cubicBezTo>
                  <a:cubicBezTo>
                    <a:pt x="2080" y="0"/>
                    <a:pt x="2080" y="0"/>
                    <a:pt x="2080" y="0"/>
                  </a:cubicBezTo>
                  <a:cubicBezTo>
                    <a:pt x="2080" y="65"/>
                    <a:pt x="2080" y="65"/>
                    <a:pt x="2080" y="65"/>
                  </a:cubicBezTo>
                  <a:cubicBezTo>
                    <a:pt x="1089" y="862"/>
                    <a:pt x="1089" y="862"/>
                    <a:pt x="1089" y="862"/>
                  </a:cubicBezTo>
                  <a:cubicBezTo>
                    <a:pt x="1060" y="886"/>
                    <a:pt x="1020" y="886"/>
                    <a:pt x="991" y="862"/>
                  </a:cubicBezTo>
                  <a:lnTo>
                    <a:pt x="0" y="65"/>
                  </a:lnTo>
                  <a:close/>
                  <a:moveTo>
                    <a:pt x="1139" y="924"/>
                  </a:moveTo>
                  <a:cubicBezTo>
                    <a:pt x="1282" y="810"/>
                    <a:pt x="1282" y="810"/>
                    <a:pt x="1282" y="810"/>
                  </a:cubicBezTo>
                  <a:cubicBezTo>
                    <a:pt x="2076" y="1360"/>
                    <a:pt x="2076" y="1360"/>
                    <a:pt x="2076" y="1360"/>
                  </a:cubicBezTo>
                  <a:cubicBezTo>
                    <a:pt x="4" y="1360"/>
                    <a:pt x="4" y="1360"/>
                    <a:pt x="4" y="1360"/>
                  </a:cubicBezTo>
                  <a:cubicBezTo>
                    <a:pt x="798" y="810"/>
                    <a:pt x="798" y="810"/>
                    <a:pt x="798" y="810"/>
                  </a:cubicBezTo>
                  <a:cubicBezTo>
                    <a:pt x="941" y="924"/>
                    <a:pt x="941" y="924"/>
                    <a:pt x="941" y="924"/>
                  </a:cubicBezTo>
                  <a:cubicBezTo>
                    <a:pt x="1000" y="972"/>
                    <a:pt x="1080" y="972"/>
                    <a:pt x="1139" y="924"/>
                  </a:cubicBezTo>
                  <a:close/>
                  <a:moveTo>
                    <a:pt x="2" y="137"/>
                  </a:moveTo>
                  <a:cubicBezTo>
                    <a:pt x="8" y="163"/>
                    <a:pt x="22" y="185"/>
                    <a:pt x="42" y="201"/>
                  </a:cubicBezTo>
                  <a:cubicBezTo>
                    <a:pt x="734" y="758"/>
                    <a:pt x="734" y="758"/>
                    <a:pt x="734" y="758"/>
                  </a:cubicBezTo>
                  <a:cubicBezTo>
                    <a:pt x="0" y="1266"/>
                    <a:pt x="0" y="1266"/>
                    <a:pt x="0" y="1266"/>
                  </a:cubicBezTo>
                  <a:cubicBezTo>
                    <a:pt x="0" y="135"/>
                    <a:pt x="0" y="135"/>
                    <a:pt x="0" y="135"/>
                  </a:cubicBezTo>
                  <a:lnTo>
                    <a:pt x="2" y="137"/>
                  </a:lnTo>
                  <a:close/>
                  <a:moveTo>
                    <a:pt x="2080" y="136"/>
                  </a:moveTo>
                  <a:cubicBezTo>
                    <a:pt x="2080" y="1265"/>
                    <a:pt x="2080" y="1265"/>
                    <a:pt x="2080" y="1265"/>
                  </a:cubicBezTo>
                  <a:cubicBezTo>
                    <a:pt x="1346" y="758"/>
                    <a:pt x="1346" y="758"/>
                    <a:pt x="1346" y="758"/>
                  </a:cubicBezTo>
                  <a:cubicBezTo>
                    <a:pt x="2038" y="201"/>
                    <a:pt x="2038" y="201"/>
                    <a:pt x="2038" y="201"/>
                  </a:cubicBezTo>
                  <a:cubicBezTo>
                    <a:pt x="2060" y="182"/>
                    <a:pt x="2072" y="162"/>
                    <a:pt x="2080" y="13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000"/>
            </a:p>
          </p:txBody>
        </p:sp>
      </p:grpSp>
      <p:cxnSp>
        <p:nvCxnSpPr>
          <p:cNvPr id="20" name="Straight Connector 19"/>
          <p:cNvCxnSpPr/>
          <p:nvPr/>
        </p:nvCxnSpPr>
        <p:spPr>
          <a:xfrm>
            <a:off x="2371725" y="3478213"/>
            <a:ext cx="3888000" cy="0"/>
          </a:xfrm>
          <a:prstGeom prst="line">
            <a:avLst/>
          </a:prstGeom>
          <a:ln w="6350">
            <a:solidFill>
              <a:schemeClr val="tx2"/>
            </a:solidFill>
            <a:prstDash val="dash"/>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p:nvCxnSpPr>
        <p:spPr>
          <a:xfrm>
            <a:off x="7287766" y="3478213"/>
            <a:ext cx="3888000" cy="0"/>
          </a:xfrm>
          <a:prstGeom prst="line">
            <a:avLst/>
          </a:prstGeom>
          <a:ln w="6350">
            <a:solidFill>
              <a:schemeClr val="tx2"/>
            </a:solidFill>
            <a:prstDash val="dash"/>
          </a:ln>
        </p:spPr>
        <p:style>
          <a:lnRef idx="1">
            <a:schemeClr val="accent1"/>
          </a:lnRef>
          <a:fillRef idx="0">
            <a:schemeClr val="accent1"/>
          </a:fillRef>
          <a:effectRef idx="0">
            <a:schemeClr val="accent1"/>
          </a:effectRef>
          <a:fontRef idx="minor">
            <a:schemeClr val="tx1"/>
          </a:fontRef>
        </p:style>
      </p:cxnSp>
      <p:sp>
        <p:nvSpPr>
          <p:cNvPr id="4" name="Picture Placeholder 3"/>
          <p:cNvSpPr>
            <a:spLocks noGrp="1"/>
          </p:cNvSpPr>
          <p:nvPr>
            <p:ph type="pic" sz="quarter" idx="17" hasCustomPrompt="1"/>
          </p:nvPr>
        </p:nvSpPr>
        <p:spPr>
          <a:xfrm>
            <a:off x="2355914" y="1808984"/>
            <a:ext cx="1188677" cy="1547840"/>
          </a:xfrm>
          <a:solidFill>
            <a:srgbClr val="D9DADB"/>
          </a:solidFill>
        </p:spPr>
        <p:txBody>
          <a:bodyPr/>
          <a:lstStyle>
            <a:lvl1pPr marL="0" indent="0">
              <a:buNone/>
              <a:defRPr sz="1400"/>
            </a:lvl1pPr>
          </a:lstStyle>
          <a:p>
            <a:r>
              <a:rPr lang="en-US"/>
              <a:t>Insert picture</a:t>
            </a:r>
          </a:p>
        </p:txBody>
      </p:sp>
      <p:sp>
        <p:nvSpPr>
          <p:cNvPr id="25" name="Picture Placeholder 3"/>
          <p:cNvSpPr>
            <a:spLocks noGrp="1"/>
          </p:cNvSpPr>
          <p:nvPr>
            <p:ph type="pic" sz="quarter" idx="18" hasCustomPrompt="1"/>
          </p:nvPr>
        </p:nvSpPr>
        <p:spPr>
          <a:xfrm>
            <a:off x="7287766" y="1808984"/>
            <a:ext cx="1188677" cy="1547840"/>
          </a:xfrm>
          <a:solidFill>
            <a:srgbClr val="D9DADB"/>
          </a:solidFill>
        </p:spPr>
        <p:txBody>
          <a:bodyPr/>
          <a:lstStyle>
            <a:lvl1pPr marL="0" indent="0">
              <a:buNone/>
              <a:defRPr sz="1400"/>
            </a:lvl1pPr>
          </a:lstStyle>
          <a:p>
            <a:r>
              <a:rPr lang="en-US"/>
              <a:t>Insert picture</a:t>
            </a:r>
          </a:p>
        </p:txBody>
      </p:sp>
      <p:sp>
        <p:nvSpPr>
          <p:cNvPr id="6" name="Text Placeholder 5"/>
          <p:cNvSpPr>
            <a:spLocks noGrp="1"/>
          </p:cNvSpPr>
          <p:nvPr>
            <p:ph type="body" sz="quarter" idx="19" hasCustomPrompt="1"/>
          </p:nvPr>
        </p:nvSpPr>
        <p:spPr>
          <a:xfrm>
            <a:off x="3770065" y="1808521"/>
            <a:ext cx="2463190" cy="192360"/>
          </a:xfrm>
        </p:spPr>
        <p:txBody>
          <a:bodyPr lIns="0" tIns="0" rIns="0" bIns="0" anchor="ctr" anchorCtr="0"/>
          <a:lstStyle>
            <a:lvl1pPr marL="0" indent="0" algn="l">
              <a:lnSpc>
                <a:spcPct val="100000"/>
              </a:lnSpc>
              <a:buNone/>
              <a:defRPr sz="100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Country</a:t>
            </a:r>
          </a:p>
        </p:txBody>
      </p:sp>
      <p:sp>
        <p:nvSpPr>
          <p:cNvPr id="26" name="Text Placeholder 5"/>
          <p:cNvSpPr>
            <a:spLocks noGrp="1"/>
          </p:cNvSpPr>
          <p:nvPr>
            <p:ph type="body" sz="quarter" idx="20" hasCustomPrompt="1"/>
          </p:nvPr>
        </p:nvSpPr>
        <p:spPr>
          <a:xfrm>
            <a:off x="3770065" y="2020337"/>
            <a:ext cx="2463190" cy="266182"/>
          </a:xfrm>
        </p:spPr>
        <p:txBody>
          <a:bodyPr lIns="0" tIns="0" rIns="0" bIns="0" anchor="b" anchorCtr="0"/>
          <a:lstStyle>
            <a:lvl1pPr marL="0" indent="0" algn="l">
              <a:lnSpc>
                <a:spcPct val="100000"/>
              </a:lnSpc>
              <a:buNone/>
              <a:defRPr sz="1400" b="1" baseline="0">
                <a:solidFill>
                  <a:schemeClr val="tx2"/>
                </a:solidFill>
              </a:defRPr>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Name, Surname</a:t>
            </a:r>
          </a:p>
        </p:txBody>
      </p:sp>
      <p:sp>
        <p:nvSpPr>
          <p:cNvPr id="27" name="Text Placeholder 5"/>
          <p:cNvSpPr>
            <a:spLocks noGrp="1"/>
          </p:cNvSpPr>
          <p:nvPr>
            <p:ph type="body" sz="quarter" idx="21" hasCustomPrompt="1"/>
          </p:nvPr>
        </p:nvSpPr>
        <p:spPr>
          <a:xfrm>
            <a:off x="3770065" y="2316912"/>
            <a:ext cx="2463190"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Job Position</a:t>
            </a:r>
          </a:p>
        </p:txBody>
      </p:sp>
      <p:sp>
        <p:nvSpPr>
          <p:cNvPr id="28" name="Text Placeholder 5"/>
          <p:cNvSpPr>
            <a:spLocks noGrp="1"/>
          </p:cNvSpPr>
          <p:nvPr>
            <p:ph type="body" sz="quarter" idx="22" hasCustomPrompt="1"/>
          </p:nvPr>
        </p:nvSpPr>
        <p:spPr>
          <a:xfrm>
            <a:off x="4014948" y="2845588"/>
            <a:ext cx="2218307"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Phone number</a:t>
            </a:r>
          </a:p>
        </p:txBody>
      </p:sp>
      <p:sp>
        <p:nvSpPr>
          <p:cNvPr id="29" name="Text Placeholder 5"/>
          <p:cNvSpPr>
            <a:spLocks noGrp="1"/>
          </p:cNvSpPr>
          <p:nvPr>
            <p:ph type="body" sz="quarter" idx="23" hasCustomPrompt="1"/>
          </p:nvPr>
        </p:nvSpPr>
        <p:spPr>
          <a:xfrm>
            <a:off x="4014948" y="3128395"/>
            <a:ext cx="2218307"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Email address</a:t>
            </a:r>
          </a:p>
        </p:txBody>
      </p:sp>
      <p:sp>
        <p:nvSpPr>
          <p:cNvPr id="30" name="Text Placeholder 5"/>
          <p:cNvSpPr>
            <a:spLocks noGrp="1"/>
          </p:cNvSpPr>
          <p:nvPr>
            <p:ph type="body" sz="quarter" idx="24" hasCustomPrompt="1"/>
          </p:nvPr>
        </p:nvSpPr>
        <p:spPr>
          <a:xfrm>
            <a:off x="8701917" y="1808521"/>
            <a:ext cx="2463190" cy="192360"/>
          </a:xfrm>
        </p:spPr>
        <p:txBody>
          <a:bodyPr lIns="0" tIns="0" rIns="0" bIns="0" anchor="ctr" anchorCtr="0"/>
          <a:lstStyle>
            <a:lvl1pPr marL="0" indent="0" algn="l">
              <a:lnSpc>
                <a:spcPct val="100000"/>
              </a:lnSpc>
              <a:buNone/>
              <a:defRPr sz="100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Country</a:t>
            </a:r>
          </a:p>
        </p:txBody>
      </p:sp>
      <p:sp>
        <p:nvSpPr>
          <p:cNvPr id="31" name="Text Placeholder 5"/>
          <p:cNvSpPr>
            <a:spLocks noGrp="1"/>
          </p:cNvSpPr>
          <p:nvPr>
            <p:ph type="body" sz="quarter" idx="25" hasCustomPrompt="1"/>
          </p:nvPr>
        </p:nvSpPr>
        <p:spPr>
          <a:xfrm>
            <a:off x="8701917" y="2020337"/>
            <a:ext cx="2463190" cy="266182"/>
          </a:xfrm>
        </p:spPr>
        <p:txBody>
          <a:bodyPr lIns="0" tIns="0" rIns="0" bIns="0" anchor="b" anchorCtr="0"/>
          <a:lstStyle>
            <a:lvl1pPr marL="0" indent="0" algn="l">
              <a:lnSpc>
                <a:spcPct val="100000"/>
              </a:lnSpc>
              <a:buNone/>
              <a:defRPr sz="1400" b="1" baseline="0">
                <a:solidFill>
                  <a:schemeClr val="tx2"/>
                </a:solidFill>
              </a:defRPr>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Name, Surname</a:t>
            </a:r>
          </a:p>
        </p:txBody>
      </p:sp>
      <p:sp>
        <p:nvSpPr>
          <p:cNvPr id="32" name="Text Placeholder 5"/>
          <p:cNvSpPr>
            <a:spLocks noGrp="1"/>
          </p:cNvSpPr>
          <p:nvPr>
            <p:ph type="body" sz="quarter" idx="26" hasCustomPrompt="1"/>
          </p:nvPr>
        </p:nvSpPr>
        <p:spPr>
          <a:xfrm>
            <a:off x="8701917" y="2316912"/>
            <a:ext cx="2463190"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Job Position</a:t>
            </a:r>
          </a:p>
        </p:txBody>
      </p:sp>
      <p:sp>
        <p:nvSpPr>
          <p:cNvPr id="33" name="Text Placeholder 5"/>
          <p:cNvSpPr>
            <a:spLocks noGrp="1"/>
          </p:cNvSpPr>
          <p:nvPr>
            <p:ph type="body" sz="quarter" idx="27" hasCustomPrompt="1"/>
          </p:nvPr>
        </p:nvSpPr>
        <p:spPr>
          <a:xfrm>
            <a:off x="8946800" y="2845588"/>
            <a:ext cx="2218307"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Phone number</a:t>
            </a:r>
          </a:p>
        </p:txBody>
      </p:sp>
      <p:sp>
        <p:nvSpPr>
          <p:cNvPr id="34" name="Text Placeholder 5"/>
          <p:cNvSpPr>
            <a:spLocks noGrp="1"/>
          </p:cNvSpPr>
          <p:nvPr>
            <p:ph type="body" sz="quarter" idx="28" hasCustomPrompt="1"/>
          </p:nvPr>
        </p:nvSpPr>
        <p:spPr>
          <a:xfrm>
            <a:off x="8946800" y="3128395"/>
            <a:ext cx="2218307"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Email address</a:t>
            </a:r>
          </a:p>
        </p:txBody>
      </p:sp>
      <p:grpSp>
        <p:nvGrpSpPr>
          <p:cNvPr id="35" name="Gruppieren 2">
            <a:extLst>
              <a:ext uri="{FF2B5EF4-FFF2-40B4-BE49-F238E27FC236}">
                <a16:creationId xmlns:a16="http://schemas.microsoft.com/office/drawing/2014/main" id="{BE697CE9-EBDE-6B4A-BE70-582D92A8A831}"/>
              </a:ext>
            </a:extLst>
          </p:cNvPr>
          <p:cNvGrpSpPr/>
          <p:nvPr/>
        </p:nvGrpSpPr>
        <p:grpSpPr>
          <a:xfrm>
            <a:off x="3770065" y="5045939"/>
            <a:ext cx="171180" cy="171180"/>
            <a:chOff x="3392092" y="1841122"/>
            <a:chExt cx="646508" cy="646508"/>
          </a:xfrm>
        </p:grpSpPr>
        <p:sp>
          <p:nvSpPr>
            <p:cNvPr id="36" name="Rechteck 14">
              <a:extLst>
                <a:ext uri="{FF2B5EF4-FFF2-40B4-BE49-F238E27FC236}">
                  <a16:creationId xmlns:a16="http://schemas.microsoft.com/office/drawing/2014/main" id="{E142A731-19B7-C34D-9534-9E05108F895F}"/>
                </a:ext>
              </a:extLst>
            </p:cNvPr>
            <p:cNvSpPr>
              <a:spLocks noChangeAspect="1"/>
            </p:cNvSpPr>
            <p:nvPr/>
          </p:nvSpPr>
          <p:spPr bwMode="gray">
            <a:xfrm>
              <a:off x="3392092" y="1841122"/>
              <a:ext cx="646508" cy="646508"/>
            </a:xfrm>
            <a:prstGeom prst="rect">
              <a:avLst/>
            </a:prstGeom>
            <a:solidFill>
              <a:srgbClr val="E55A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pPr>
              <a:endParaRPr lang="en-US" sz="1000">
                <a:solidFill>
                  <a:schemeClr val="tx1"/>
                </a:solidFill>
                <a:latin typeface="Arial" pitchFamily="34" charset="0"/>
                <a:cs typeface="Arial" pitchFamily="34" charset="0"/>
              </a:endParaRPr>
            </a:p>
          </p:txBody>
        </p:sp>
        <p:sp>
          <p:nvSpPr>
            <p:cNvPr id="37" name="Freeform 36">
              <a:extLst>
                <a:ext uri="{FF2B5EF4-FFF2-40B4-BE49-F238E27FC236}">
                  <a16:creationId xmlns:a16="http://schemas.microsoft.com/office/drawing/2014/main" id="{F97E84AE-4AD9-4B44-9AA1-F797FC373809}"/>
                </a:ext>
              </a:extLst>
            </p:cNvPr>
            <p:cNvSpPr>
              <a:spLocks noChangeAspect="1"/>
            </p:cNvSpPr>
            <p:nvPr/>
          </p:nvSpPr>
          <p:spPr bwMode="auto">
            <a:xfrm>
              <a:off x="3546638" y="1970424"/>
              <a:ext cx="337415" cy="387905"/>
            </a:xfrm>
            <a:custGeom>
              <a:avLst/>
              <a:gdLst>
                <a:gd name="T0" fmla="*/ 573 w 1624"/>
                <a:gd name="T1" fmla="*/ 1257 h 1867"/>
                <a:gd name="T2" fmla="*/ 662 w 1624"/>
                <a:gd name="T3" fmla="*/ 1288 h 1867"/>
                <a:gd name="T4" fmla="*/ 938 w 1624"/>
                <a:gd name="T5" fmla="*/ 1051 h 1867"/>
                <a:gd name="T6" fmla="*/ 1106 w 1624"/>
                <a:gd name="T7" fmla="*/ 731 h 1867"/>
                <a:gd name="T8" fmla="*/ 1059 w 1624"/>
                <a:gd name="T9" fmla="*/ 645 h 1867"/>
                <a:gd name="T10" fmla="*/ 1001 w 1624"/>
                <a:gd name="T11" fmla="*/ 613 h 1867"/>
                <a:gd name="T12" fmla="*/ 924 w 1624"/>
                <a:gd name="T13" fmla="*/ 432 h 1867"/>
                <a:gd name="T14" fmla="*/ 1114 w 1624"/>
                <a:gd name="T15" fmla="*/ 81 h 1867"/>
                <a:gd name="T16" fmla="*/ 1287 w 1624"/>
                <a:gd name="T17" fmla="*/ 35 h 1867"/>
                <a:gd name="T18" fmla="*/ 1350 w 1624"/>
                <a:gd name="T19" fmla="*/ 69 h 1867"/>
                <a:gd name="T20" fmla="*/ 1527 w 1624"/>
                <a:gd name="T21" fmla="*/ 235 h 1867"/>
                <a:gd name="T22" fmla="*/ 1583 w 1624"/>
                <a:gd name="T23" fmla="*/ 555 h 1867"/>
                <a:gd name="T24" fmla="*/ 1172 w 1624"/>
                <a:gd name="T25" fmla="*/ 1253 h 1867"/>
                <a:gd name="T26" fmla="*/ 586 w 1624"/>
                <a:gd name="T27" fmla="*/ 1803 h 1867"/>
                <a:gd name="T28" fmla="*/ 269 w 1624"/>
                <a:gd name="T29" fmla="*/ 1807 h 1867"/>
                <a:gd name="T30" fmla="*/ 33 w 1624"/>
                <a:gd name="T31" fmla="*/ 1602 h 1867"/>
                <a:gd name="T32" fmla="*/ 2 w 1624"/>
                <a:gd name="T33" fmla="*/ 1508 h 1867"/>
                <a:gd name="T34" fmla="*/ 45 w 1624"/>
                <a:gd name="T35" fmla="*/ 1421 h 1867"/>
                <a:gd name="T36" fmla="*/ 346 w 1624"/>
                <a:gd name="T37" fmla="*/ 1158 h 1867"/>
                <a:gd name="T38" fmla="*/ 448 w 1624"/>
                <a:gd name="T39" fmla="*/ 1145 h 1867"/>
                <a:gd name="T40" fmla="*/ 573 w 1624"/>
                <a:gd name="T41" fmla="*/ 1257 h 18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24" h="1867">
                  <a:moveTo>
                    <a:pt x="573" y="1257"/>
                  </a:moveTo>
                  <a:cubicBezTo>
                    <a:pt x="592" y="1282"/>
                    <a:pt x="630" y="1303"/>
                    <a:pt x="662" y="1288"/>
                  </a:cubicBezTo>
                  <a:cubicBezTo>
                    <a:pt x="753" y="1245"/>
                    <a:pt x="854" y="1156"/>
                    <a:pt x="938" y="1051"/>
                  </a:cubicBezTo>
                  <a:cubicBezTo>
                    <a:pt x="1020" y="948"/>
                    <a:pt x="1084" y="831"/>
                    <a:pt x="1106" y="731"/>
                  </a:cubicBezTo>
                  <a:cubicBezTo>
                    <a:pt x="1113" y="696"/>
                    <a:pt x="1089" y="661"/>
                    <a:pt x="1059" y="645"/>
                  </a:cubicBezTo>
                  <a:cubicBezTo>
                    <a:pt x="1001" y="613"/>
                    <a:pt x="1001" y="613"/>
                    <a:pt x="1001" y="613"/>
                  </a:cubicBezTo>
                  <a:cubicBezTo>
                    <a:pt x="942" y="580"/>
                    <a:pt x="888" y="499"/>
                    <a:pt x="924" y="432"/>
                  </a:cubicBezTo>
                  <a:cubicBezTo>
                    <a:pt x="1114" y="81"/>
                    <a:pt x="1114" y="81"/>
                    <a:pt x="1114" y="81"/>
                  </a:cubicBezTo>
                  <a:cubicBezTo>
                    <a:pt x="1150" y="16"/>
                    <a:pt x="1224" y="0"/>
                    <a:pt x="1287" y="35"/>
                  </a:cubicBezTo>
                  <a:cubicBezTo>
                    <a:pt x="1350" y="69"/>
                    <a:pt x="1350" y="69"/>
                    <a:pt x="1350" y="69"/>
                  </a:cubicBezTo>
                  <a:cubicBezTo>
                    <a:pt x="1415" y="105"/>
                    <a:pt x="1479" y="165"/>
                    <a:pt x="1527" y="235"/>
                  </a:cubicBezTo>
                  <a:cubicBezTo>
                    <a:pt x="1593" y="332"/>
                    <a:pt x="1624" y="442"/>
                    <a:pt x="1583" y="555"/>
                  </a:cubicBezTo>
                  <a:cubicBezTo>
                    <a:pt x="1500" y="781"/>
                    <a:pt x="1351" y="1030"/>
                    <a:pt x="1172" y="1253"/>
                  </a:cubicBezTo>
                  <a:cubicBezTo>
                    <a:pt x="994" y="1477"/>
                    <a:pt x="786" y="1676"/>
                    <a:pt x="586" y="1803"/>
                  </a:cubicBezTo>
                  <a:cubicBezTo>
                    <a:pt x="486" y="1867"/>
                    <a:pt x="375" y="1856"/>
                    <a:pt x="269" y="1807"/>
                  </a:cubicBezTo>
                  <a:cubicBezTo>
                    <a:pt x="157" y="1755"/>
                    <a:pt x="106" y="1695"/>
                    <a:pt x="33" y="1602"/>
                  </a:cubicBezTo>
                  <a:cubicBezTo>
                    <a:pt x="11" y="1573"/>
                    <a:pt x="0" y="1540"/>
                    <a:pt x="2" y="1508"/>
                  </a:cubicBezTo>
                  <a:cubicBezTo>
                    <a:pt x="4" y="1475"/>
                    <a:pt x="18" y="1444"/>
                    <a:pt x="45" y="1421"/>
                  </a:cubicBezTo>
                  <a:cubicBezTo>
                    <a:pt x="70" y="1399"/>
                    <a:pt x="346" y="1158"/>
                    <a:pt x="346" y="1158"/>
                  </a:cubicBezTo>
                  <a:cubicBezTo>
                    <a:pt x="376" y="1134"/>
                    <a:pt x="413" y="1133"/>
                    <a:pt x="448" y="1145"/>
                  </a:cubicBezTo>
                  <a:cubicBezTo>
                    <a:pt x="510" y="1166"/>
                    <a:pt x="536" y="1210"/>
                    <a:pt x="573" y="1257"/>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351"/>
            </a:p>
          </p:txBody>
        </p:sp>
      </p:grpSp>
      <p:grpSp>
        <p:nvGrpSpPr>
          <p:cNvPr id="38" name="Group 3">
            <a:extLst>
              <a:ext uri="{FF2B5EF4-FFF2-40B4-BE49-F238E27FC236}">
                <a16:creationId xmlns:a16="http://schemas.microsoft.com/office/drawing/2014/main" id="{7104BADD-8CD1-6F4A-B894-869C3BDB3EEB}"/>
              </a:ext>
            </a:extLst>
          </p:cNvPr>
          <p:cNvGrpSpPr>
            <a:grpSpLocks noChangeAspect="1"/>
          </p:cNvGrpSpPr>
          <p:nvPr>
            <p:custDataLst>
              <p:tags r:id="rId3"/>
            </p:custDataLst>
          </p:nvPr>
        </p:nvGrpSpPr>
        <p:grpSpPr>
          <a:xfrm>
            <a:off x="3770066" y="5330827"/>
            <a:ext cx="171180" cy="171180"/>
            <a:chOff x="328396" y="5313940"/>
            <a:chExt cx="720000" cy="720000"/>
          </a:xfrm>
        </p:grpSpPr>
        <p:sp>
          <p:nvSpPr>
            <p:cNvPr id="39" name="Rectangle 4">
              <a:extLst>
                <a:ext uri="{FF2B5EF4-FFF2-40B4-BE49-F238E27FC236}">
                  <a16:creationId xmlns:a16="http://schemas.microsoft.com/office/drawing/2014/main" id="{74BE3D5F-1445-6E40-8B49-72E15568383B}"/>
                </a:ext>
              </a:extLst>
            </p:cNvPr>
            <p:cNvSpPr/>
            <p:nvPr/>
          </p:nvSpPr>
          <p:spPr bwMode="gray">
            <a:xfrm>
              <a:off x="328396" y="5313940"/>
              <a:ext cx="720000" cy="720000"/>
            </a:xfrm>
            <a:prstGeom prst="rect">
              <a:avLst/>
            </a:prstGeom>
            <a:solidFill>
              <a:srgbClr val="E55A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pPr>
              <a:endParaRPr lang="en-US" sz="1000">
                <a:solidFill>
                  <a:schemeClr val="tx1"/>
                </a:solidFill>
                <a:latin typeface="Arial" pitchFamily="34" charset="0"/>
                <a:cs typeface="Arial" pitchFamily="34" charset="0"/>
              </a:endParaRPr>
            </a:p>
          </p:txBody>
        </p:sp>
        <p:sp>
          <p:nvSpPr>
            <p:cNvPr id="40" name="Freeform 76">
              <a:extLst>
                <a:ext uri="{FF2B5EF4-FFF2-40B4-BE49-F238E27FC236}">
                  <a16:creationId xmlns:a16="http://schemas.microsoft.com/office/drawing/2014/main" id="{55DB3C95-7D0C-D141-901E-96D692794D2B}"/>
                </a:ext>
              </a:extLst>
            </p:cNvPr>
            <p:cNvSpPr>
              <a:spLocks noChangeAspect="1" noEditPoints="1"/>
            </p:cNvSpPr>
            <p:nvPr/>
          </p:nvSpPr>
          <p:spPr bwMode="auto">
            <a:xfrm>
              <a:off x="456202" y="5509222"/>
              <a:ext cx="504000" cy="329436"/>
            </a:xfrm>
            <a:custGeom>
              <a:avLst/>
              <a:gdLst>
                <a:gd name="T0" fmla="*/ 0 w 2080"/>
                <a:gd name="T1" fmla="*/ 65 h 1360"/>
                <a:gd name="T2" fmla="*/ 0 w 2080"/>
                <a:gd name="T3" fmla="*/ 0 h 1360"/>
                <a:gd name="T4" fmla="*/ 2080 w 2080"/>
                <a:gd name="T5" fmla="*/ 0 h 1360"/>
                <a:gd name="T6" fmla="*/ 2080 w 2080"/>
                <a:gd name="T7" fmla="*/ 65 h 1360"/>
                <a:gd name="T8" fmla="*/ 1089 w 2080"/>
                <a:gd name="T9" fmla="*/ 862 h 1360"/>
                <a:gd name="T10" fmla="*/ 991 w 2080"/>
                <a:gd name="T11" fmla="*/ 862 h 1360"/>
                <a:gd name="T12" fmla="*/ 0 w 2080"/>
                <a:gd name="T13" fmla="*/ 65 h 1360"/>
                <a:gd name="T14" fmla="*/ 1139 w 2080"/>
                <a:gd name="T15" fmla="*/ 924 h 1360"/>
                <a:gd name="T16" fmla="*/ 1282 w 2080"/>
                <a:gd name="T17" fmla="*/ 810 h 1360"/>
                <a:gd name="T18" fmla="*/ 2076 w 2080"/>
                <a:gd name="T19" fmla="*/ 1360 h 1360"/>
                <a:gd name="T20" fmla="*/ 4 w 2080"/>
                <a:gd name="T21" fmla="*/ 1360 h 1360"/>
                <a:gd name="T22" fmla="*/ 798 w 2080"/>
                <a:gd name="T23" fmla="*/ 810 h 1360"/>
                <a:gd name="T24" fmla="*/ 941 w 2080"/>
                <a:gd name="T25" fmla="*/ 924 h 1360"/>
                <a:gd name="T26" fmla="*/ 1139 w 2080"/>
                <a:gd name="T27" fmla="*/ 924 h 1360"/>
                <a:gd name="T28" fmla="*/ 2 w 2080"/>
                <a:gd name="T29" fmla="*/ 137 h 1360"/>
                <a:gd name="T30" fmla="*/ 42 w 2080"/>
                <a:gd name="T31" fmla="*/ 201 h 1360"/>
                <a:gd name="T32" fmla="*/ 734 w 2080"/>
                <a:gd name="T33" fmla="*/ 758 h 1360"/>
                <a:gd name="T34" fmla="*/ 0 w 2080"/>
                <a:gd name="T35" fmla="*/ 1266 h 1360"/>
                <a:gd name="T36" fmla="*/ 0 w 2080"/>
                <a:gd name="T37" fmla="*/ 135 h 1360"/>
                <a:gd name="T38" fmla="*/ 2 w 2080"/>
                <a:gd name="T39" fmla="*/ 137 h 1360"/>
                <a:gd name="T40" fmla="*/ 2080 w 2080"/>
                <a:gd name="T41" fmla="*/ 136 h 1360"/>
                <a:gd name="T42" fmla="*/ 2080 w 2080"/>
                <a:gd name="T43" fmla="*/ 1265 h 1360"/>
                <a:gd name="T44" fmla="*/ 1346 w 2080"/>
                <a:gd name="T45" fmla="*/ 758 h 1360"/>
                <a:gd name="T46" fmla="*/ 2038 w 2080"/>
                <a:gd name="T47" fmla="*/ 201 h 1360"/>
                <a:gd name="T48" fmla="*/ 2080 w 2080"/>
                <a:gd name="T49" fmla="*/ 136 h 1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080" h="1360">
                  <a:moveTo>
                    <a:pt x="0" y="65"/>
                  </a:moveTo>
                  <a:cubicBezTo>
                    <a:pt x="0" y="0"/>
                    <a:pt x="0" y="0"/>
                    <a:pt x="0" y="0"/>
                  </a:cubicBezTo>
                  <a:cubicBezTo>
                    <a:pt x="2080" y="0"/>
                    <a:pt x="2080" y="0"/>
                    <a:pt x="2080" y="0"/>
                  </a:cubicBezTo>
                  <a:cubicBezTo>
                    <a:pt x="2080" y="65"/>
                    <a:pt x="2080" y="65"/>
                    <a:pt x="2080" y="65"/>
                  </a:cubicBezTo>
                  <a:cubicBezTo>
                    <a:pt x="1089" y="862"/>
                    <a:pt x="1089" y="862"/>
                    <a:pt x="1089" y="862"/>
                  </a:cubicBezTo>
                  <a:cubicBezTo>
                    <a:pt x="1060" y="886"/>
                    <a:pt x="1020" y="886"/>
                    <a:pt x="991" y="862"/>
                  </a:cubicBezTo>
                  <a:lnTo>
                    <a:pt x="0" y="65"/>
                  </a:lnTo>
                  <a:close/>
                  <a:moveTo>
                    <a:pt x="1139" y="924"/>
                  </a:moveTo>
                  <a:cubicBezTo>
                    <a:pt x="1282" y="810"/>
                    <a:pt x="1282" y="810"/>
                    <a:pt x="1282" y="810"/>
                  </a:cubicBezTo>
                  <a:cubicBezTo>
                    <a:pt x="2076" y="1360"/>
                    <a:pt x="2076" y="1360"/>
                    <a:pt x="2076" y="1360"/>
                  </a:cubicBezTo>
                  <a:cubicBezTo>
                    <a:pt x="4" y="1360"/>
                    <a:pt x="4" y="1360"/>
                    <a:pt x="4" y="1360"/>
                  </a:cubicBezTo>
                  <a:cubicBezTo>
                    <a:pt x="798" y="810"/>
                    <a:pt x="798" y="810"/>
                    <a:pt x="798" y="810"/>
                  </a:cubicBezTo>
                  <a:cubicBezTo>
                    <a:pt x="941" y="924"/>
                    <a:pt x="941" y="924"/>
                    <a:pt x="941" y="924"/>
                  </a:cubicBezTo>
                  <a:cubicBezTo>
                    <a:pt x="1000" y="972"/>
                    <a:pt x="1080" y="972"/>
                    <a:pt x="1139" y="924"/>
                  </a:cubicBezTo>
                  <a:close/>
                  <a:moveTo>
                    <a:pt x="2" y="137"/>
                  </a:moveTo>
                  <a:cubicBezTo>
                    <a:pt x="8" y="163"/>
                    <a:pt x="22" y="185"/>
                    <a:pt x="42" y="201"/>
                  </a:cubicBezTo>
                  <a:cubicBezTo>
                    <a:pt x="734" y="758"/>
                    <a:pt x="734" y="758"/>
                    <a:pt x="734" y="758"/>
                  </a:cubicBezTo>
                  <a:cubicBezTo>
                    <a:pt x="0" y="1266"/>
                    <a:pt x="0" y="1266"/>
                    <a:pt x="0" y="1266"/>
                  </a:cubicBezTo>
                  <a:cubicBezTo>
                    <a:pt x="0" y="135"/>
                    <a:pt x="0" y="135"/>
                    <a:pt x="0" y="135"/>
                  </a:cubicBezTo>
                  <a:lnTo>
                    <a:pt x="2" y="137"/>
                  </a:lnTo>
                  <a:close/>
                  <a:moveTo>
                    <a:pt x="2080" y="136"/>
                  </a:moveTo>
                  <a:cubicBezTo>
                    <a:pt x="2080" y="1265"/>
                    <a:pt x="2080" y="1265"/>
                    <a:pt x="2080" y="1265"/>
                  </a:cubicBezTo>
                  <a:cubicBezTo>
                    <a:pt x="1346" y="758"/>
                    <a:pt x="1346" y="758"/>
                    <a:pt x="1346" y="758"/>
                  </a:cubicBezTo>
                  <a:cubicBezTo>
                    <a:pt x="2038" y="201"/>
                    <a:pt x="2038" y="201"/>
                    <a:pt x="2038" y="201"/>
                  </a:cubicBezTo>
                  <a:cubicBezTo>
                    <a:pt x="2060" y="182"/>
                    <a:pt x="2072" y="162"/>
                    <a:pt x="2080" y="13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000"/>
            </a:p>
          </p:txBody>
        </p:sp>
      </p:grpSp>
      <p:cxnSp>
        <p:nvCxnSpPr>
          <p:cNvPr id="41" name="Straight Connector 40"/>
          <p:cNvCxnSpPr/>
          <p:nvPr/>
        </p:nvCxnSpPr>
        <p:spPr>
          <a:xfrm>
            <a:off x="2355914" y="5655833"/>
            <a:ext cx="3888000" cy="0"/>
          </a:xfrm>
          <a:prstGeom prst="line">
            <a:avLst/>
          </a:prstGeom>
          <a:ln w="6350">
            <a:solidFill>
              <a:schemeClr val="tx2"/>
            </a:solidFill>
            <a:prstDash val="dash"/>
          </a:ln>
        </p:spPr>
        <p:style>
          <a:lnRef idx="1">
            <a:schemeClr val="accent1"/>
          </a:lnRef>
          <a:fillRef idx="0">
            <a:schemeClr val="accent1"/>
          </a:fillRef>
          <a:effectRef idx="0">
            <a:schemeClr val="accent1"/>
          </a:effectRef>
          <a:fontRef idx="minor">
            <a:schemeClr val="tx1"/>
          </a:fontRef>
        </p:style>
      </p:cxnSp>
      <p:sp>
        <p:nvSpPr>
          <p:cNvPr id="42" name="Picture Placeholder 3"/>
          <p:cNvSpPr>
            <a:spLocks noGrp="1"/>
          </p:cNvSpPr>
          <p:nvPr>
            <p:ph type="pic" sz="quarter" idx="29" hasCustomPrompt="1"/>
          </p:nvPr>
        </p:nvSpPr>
        <p:spPr>
          <a:xfrm>
            <a:off x="2355914" y="3986604"/>
            <a:ext cx="1188677" cy="1547840"/>
          </a:xfrm>
          <a:solidFill>
            <a:srgbClr val="D9DADB"/>
          </a:solidFill>
        </p:spPr>
        <p:txBody>
          <a:bodyPr/>
          <a:lstStyle>
            <a:lvl1pPr marL="0" indent="0">
              <a:buNone/>
              <a:defRPr sz="1400"/>
            </a:lvl1pPr>
          </a:lstStyle>
          <a:p>
            <a:r>
              <a:rPr lang="en-US"/>
              <a:t>Insert picture</a:t>
            </a:r>
          </a:p>
        </p:txBody>
      </p:sp>
      <p:sp>
        <p:nvSpPr>
          <p:cNvPr id="43" name="Text Placeholder 5"/>
          <p:cNvSpPr>
            <a:spLocks noGrp="1"/>
          </p:cNvSpPr>
          <p:nvPr>
            <p:ph type="body" sz="quarter" idx="30" hasCustomPrompt="1"/>
          </p:nvPr>
        </p:nvSpPr>
        <p:spPr>
          <a:xfrm>
            <a:off x="3770065" y="3986141"/>
            <a:ext cx="2463190" cy="192360"/>
          </a:xfrm>
        </p:spPr>
        <p:txBody>
          <a:bodyPr lIns="0" tIns="0" rIns="0" bIns="0" anchor="ctr" anchorCtr="0"/>
          <a:lstStyle>
            <a:lvl1pPr marL="0" indent="0" algn="l">
              <a:lnSpc>
                <a:spcPct val="100000"/>
              </a:lnSpc>
              <a:buNone/>
              <a:defRPr sz="100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Country</a:t>
            </a:r>
          </a:p>
        </p:txBody>
      </p:sp>
      <p:sp>
        <p:nvSpPr>
          <p:cNvPr id="44" name="Text Placeholder 5"/>
          <p:cNvSpPr>
            <a:spLocks noGrp="1"/>
          </p:cNvSpPr>
          <p:nvPr>
            <p:ph type="body" sz="quarter" idx="31" hasCustomPrompt="1"/>
          </p:nvPr>
        </p:nvSpPr>
        <p:spPr>
          <a:xfrm>
            <a:off x="3770065" y="4197957"/>
            <a:ext cx="2463190" cy="266182"/>
          </a:xfrm>
        </p:spPr>
        <p:txBody>
          <a:bodyPr lIns="0" tIns="0" rIns="0" bIns="0" anchor="b" anchorCtr="0"/>
          <a:lstStyle>
            <a:lvl1pPr marL="0" indent="0" algn="l">
              <a:lnSpc>
                <a:spcPct val="100000"/>
              </a:lnSpc>
              <a:buNone/>
              <a:defRPr sz="1400" b="1" baseline="0">
                <a:solidFill>
                  <a:schemeClr val="tx2"/>
                </a:solidFill>
              </a:defRPr>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Name, Surname</a:t>
            </a:r>
          </a:p>
        </p:txBody>
      </p:sp>
      <p:sp>
        <p:nvSpPr>
          <p:cNvPr id="45" name="Text Placeholder 5"/>
          <p:cNvSpPr>
            <a:spLocks noGrp="1"/>
          </p:cNvSpPr>
          <p:nvPr>
            <p:ph type="body" sz="quarter" idx="32" hasCustomPrompt="1"/>
          </p:nvPr>
        </p:nvSpPr>
        <p:spPr>
          <a:xfrm>
            <a:off x="3770065" y="4494532"/>
            <a:ext cx="2463190"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Job Position</a:t>
            </a:r>
          </a:p>
        </p:txBody>
      </p:sp>
      <p:sp>
        <p:nvSpPr>
          <p:cNvPr id="46" name="Text Placeholder 5"/>
          <p:cNvSpPr>
            <a:spLocks noGrp="1"/>
          </p:cNvSpPr>
          <p:nvPr>
            <p:ph type="body" sz="quarter" idx="33" hasCustomPrompt="1"/>
          </p:nvPr>
        </p:nvSpPr>
        <p:spPr>
          <a:xfrm>
            <a:off x="4014948" y="5023208"/>
            <a:ext cx="2218307"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Phone number</a:t>
            </a:r>
          </a:p>
        </p:txBody>
      </p:sp>
      <p:sp>
        <p:nvSpPr>
          <p:cNvPr id="47" name="Text Placeholder 5"/>
          <p:cNvSpPr>
            <a:spLocks noGrp="1"/>
          </p:cNvSpPr>
          <p:nvPr>
            <p:ph type="body" sz="quarter" idx="34" hasCustomPrompt="1"/>
          </p:nvPr>
        </p:nvSpPr>
        <p:spPr>
          <a:xfrm>
            <a:off x="4014948" y="5306015"/>
            <a:ext cx="2218307"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Email address</a:t>
            </a:r>
          </a:p>
        </p:txBody>
      </p:sp>
    </p:spTree>
    <p:extLst>
      <p:ext uri="{BB962C8B-B14F-4D97-AF65-F5344CB8AC3E}">
        <p14:creationId xmlns:p14="http://schemas.microsoft.com/office/powerpoint/2010/main" val="1385270569"/>
      </p:ext>
    </p:extLst>
  </p:cSld>
  <p:clrMapOvr>
    <a:masterClrMapping/>
  </p:clrMapOvr>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p:cSld name="Four contacts">
    <p:spTree>
      <p:nvGrpSpPr>
        <p:cNvPr id="1" name=""/>
        <p:cNvGrpSpPr/>
        <p:nvPr/>
      </p:nvGrpSpPr>
      <p:grpSpPr>
        <a:xfrm>
          <a:off x="0" y="0"/>
          <a:ext cx="0" cy="0"/>
          <a:chOff x="0" y="0"/>
          <a:chExt cx="0" cy="0"/>
        </a:xfrm>
      </p:grpSpPr>
      <p:sp>
        <p:nvSpPr>
          <p:cNvPr id="21" name="Date Placeholder 20"/>
          <p:cNvSpPr>
            <a:spLocks noGrp="1"/>
          </p:cNvSpPr>
          <p:nvPr>
            <p:ph type="dt" sz="half" idx="14"/>
          </p:nvPr>
        </p:nvSpPr>
        <p:spPr/>
        <p:txBody>
          <a:bodyPr/>
          <a:lstStyle/>
          <a:p>
            <a:endParaRPr lang="en-US"/>
          </a:p>
        </p:txBody>
      </p:sp>
      <p:sp>
        <p:nvSpPr>
          <p:cNvPr id="22" name="Footer Placeholder 21"/>
          <p:cNvSpPr>
            <a:spLocks noGrp="1"/>
          </p:cNvSpPr>
          <p:nvPr>
            <p:ph type="ftr" sz="quarter" idx="15"/>
          </p:nvPr>
        </p:nvSpPr>
        <p:spPr/>
        <p:txBody>
          <a:bodyPr/>
          <a:lstStyle/>
          <a:p>
            <a:endParaRPr lang="en-US"/>
          </a:p>
        </p:txBody>
      </p:sp>
      <p:sp>
        <p:nvSpPr>
          <p:cNvPr id="23" name="Slide Number Placeholder 22"/>
          <p:cNvSpPr>
            <a:spLocks noGrp="1"/>
          </p:cNvSpPr>
          <p:nvPr>
            <p:ph type="sldNum" sz="quarter" idx="16"/>
          </p:nvPr>
        </p:nvSpPr>
        <p:spPr/>
        <p:txBody>
          <a:bodyPr/>
          <a:lstStyle/>
          <a:p>
            <a:fld id="{5F3E29E4-0979-4FCA-B4C5-5FC6044C982A}" type="slidenum">
              <a:rPr lang="en-US" smtClean="0"/>
              <a:t>‹#›</a:t>
            </a:fld>
            <a:endParaRPr lang="en-US"/>
          </a:p>
        </p:txBody>
      </p:sp>
      <p:sp>
        <p:nvSpPr>
          <p:cNvPr id="2" name="Title 1"/>
          <p:cNvSpPr>
            <a:spLocks noGrp="1"/>
          </p:cNvSpPr>
          <p:nvPr>
            <p:ph type="title" hasCustomPrompt="1"/>
          </p:nvPr>
        </p:nvSpPr>
        <p:spPr/>
        <p:txBody>
          <a:bodyPr/>
          <a:lstStyle>
            <a:lvl1pPr>
              <a:defRPr/>
            </a:lvl1pPr>
          </a:lstStyle>
          <a:p>
            <a:r>
              <a:rPr lang="en-US"/>
              <a:t>Click to add contact title</a:t>
            </a:r>
          </a:p>
        </p:txBody>
      </p:sp>
      <p:sp>
        <p:nvSpPr>
          <p:cNvPr id="7" name="Subtitle 2"/>
          <p:cNvSpPr>
            <a:spLocks noGrp="1"/>
          </p:cNvSpPr>
          <p:nvPr>
            <p:ph type="subTitle" idx="13" hasCustomPrompt="1"/>
          </p:nvPr>
        </p:nvSpPr>
        <p:spPr>
          <a:xfrm>
            <a:off x="1075061" y="964671"/>
            <a:ext cx="7910158" cy="490042"/>
          </a:xfrm>
        </p:spPr>
        <p:txBody>
          <a:bodyPr wrap="none"/>
          <a:lstStyle>
            <a:lvl1pPr marL="0" indent="0" algn="l">
              <a:spcBef>
                <a:spcPts val="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grpSp>
        <p:nvGrpSpPr>
          <p:cNvPr id="8" name="Gruppieren 80">
            <a:extLst>
              <a:ext uri="{FF2B5EF4-FFF2-40B4-BE49-F238E27FC236}">
                <a16:creationId xmlns:a16="http://schemas.microsoft.com/office/drawing/2014/main" id="{6B969E7B-9C39-4443-9B02-74C1E7C5CCAC}"/>
              </a:ext>
            </a:extLst>
          </p:cNvPr>
          <p:cNvGrpSpPr/>
          <p:nvPr/>
        </p:nvGrpSpPr>
        <p:grpSpPr>
          <a:xfrm>
            <a:off x="3770065" y="2868319"/>
            <a:ext cx="171180" cy="171180"/>
            <a:chOff x="3392092" y="1841122"/>
            <a:chExt cx="646508" cy="646508"/>
          </a:xfrm>
        </p:grpSpPr>
        <p:sp>
          <p:nvSpPr>
            <p:cNvPr id="9" name="Rechteck 14">
              <a:extLst>
                <a:ext uri="{FF2B5EF4-FFF2-40B4-BE49-F238E27FC236}">
                  <a16:creationId xmlns:a16="http://schemas.microsoft.com/office/drawing/2014/main" id="{D78F58EA-5525-8D43-8295-FEA52ECF6BFA}"/>
                </a:ext>
              </a:extLst>
            </p:cNvPr>
            <p:cNvSpPr>
              <a:spLocks noChangeAspect="1"/>
            </p:cNvSpPr>
            <p:nvPr/>
          </p:nvSpPr>
          <p:spPr bwMode="gray">
            <a:xfrm>
              <a:off x="3392092" y="1841122"/>
              <a:ext cx="646508" cy="646508"/>
            </a:xfrm>
            <a:prstGeom prst="rect">
              <a:avLst/>
            </a:prstGeom>
            <a:solidFill>
              <a:srgbClr val="E55A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pPr>
              <a:endParaRPr lang="en-US" sz="1000">
                <a:solidFill>
                  <a:schemeClr val="tx1"/>
                </a:solidFill>
                <a:latin typeface="Arial" pitchFamily="34" charset="0"/>
                <a:cs typeface="Arial" pitchFamily="34" charset="0"/>
              </a:endParaRPr>
            </a:p>
          </p:txBody>
        </p:sp>
        <p:sp>
          <p:nvSpPr>
            <p:cNvPr id="10" name="Freeform 67">
              <a:extLst>
                <a:ext uri="{FF2B5EF4-FFF2-40B4-BE49-F238E27FC236}">
                  <a16:creationId xmlns:a16="http://schemas.microsoft.com/office/drawing/2014/main" id="{D01A6292-2776-4945-B828-483D79DC4908}"/>
                </a:ext>
              </a:extLst>
            </p:cNvPr>
            <p:cNvSpPr>
              <a:spLocks noChangeAspect="1"/>
            </p:cNvSpPr>
            <p:nvPr/>
          </p:nvSpPr>
          <p:spPr bwMode="auto">
            <a:xfrm>
              <a:off x="3546638" y="1970424"/>
              <a:ext cx="337415" cy="387905"/>
            </a:xfrm>
            <a:custGeom>
              <a:avLst/>
              <a:gdLst>
                <a:gd name="T0" fmla="*/ 573 w 1624"/>
                <a:gd name="T1" fmla="*/ 1257 h 1867"/>
                <a:gd name="T2" fmla="*/ 662 w 1624"/>
                <a:gd name="T3" fmla="*/ 1288 h 1867"/>
                <a:gd name="T4" fmla="*/ 938 w 1624"/>
                <a:gd name="T5" fmla="*/ 1051 h 1867"/>
                <a:gd name="T6" fmla="*/ 1106 w 1624"/>
                <a:gd name="T7" fmla="*/ 731 h 1867"/>
                <a:gd name="T8" fmla="*/ 1059 w 1624"/>
                <a:gd name="T9" fmla="*/ 645 h 1867"/>
                <a:gd name="T10" fmla="*/ 1001 w 1624"/>
                <a:gd name="T11" fmla="*/ 613 h 1867"/>
                <a:gd name="T12" fmla="*/ 924 w 1624"/>
                <a:gd name="T13" fmla="*/ 432 h 1867"/>
                <a:gd name="T14" fmla="*/ 1114 w 1624"/>
                <a:gd name="T15" fmla="*/ 81 h 1867"/>
                <a:gd name="T16" fmla="*/ 1287 w 1624"/>
                <a:gd name="T17" fmla="*/ 35 h 1867"/>
                <a:gd name="T18" fmla="*/ 1350 w 1624"/>
                <a:gd name="T19" fmla="*/ 69 h 1867"/>
                <a:gd name="T20" fmla="*/ 1527 w 1624"/>
                <a:gd name="T21" fmla="*/ 235 h 1867"/>
                <a:gd name="T22" fmla="*/ 1583 w 1624"/>
                <a:gd name="T23" fmla="*/ 555 h 1867"/>
                <a:gd name="T24" fmla="*/ 1172 w 1624"/>
                <a:gd name="T25" fmla="*/ 1253 h 1867"/>
                <a:gd name="T26" fmla="*/ 586 w 1624"/>
                <a:gd name="T27" fmla="*/ 1803 h 1867"/>
                <a:gd name="T28" fmla="*/ 269 w 1624"/>
                <a:gd name="T29" fmla="*/ 1807 h 1867"/>
                <a:gd name="T30" fmla="*/ 33 w 1624"/>
                <a:gd name="T31" fmla="*/ 1602 h 1867"/>
                <a:gd name="T32" fmla="*/ 2 w 1624"/>
                <a:gd name="T33" fmla="*/ 1508 h 1867"/>
                <a:gd name="T34" fmla="*/ 45 w 1624"/>
                <a:gd name="T35" fmla="*/ 1421 h 1867"/>
                <a:gd name="T36" fmla="*/ 346 w 1624"/>
                <a:gd name="T37" fmla="*/ 1158 h 1867"/>
                <a:gd name="T38" fmla="*/ 448 w 1624"/>
                <a:gd name="T39" fmla="*/ 1145 h 1867"/>
                <a:gd name="T40" fmla="*/ 573 w 1624"/>
                <a:gd name="T41" fmla="*/ 1257 h 18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24" h="1867">
                  <a:moveTo>
                    <a:pt x="573" y="1257"/>
                  </a:moveTo>
                  <a:cubicBezTo>
                    <a:pt x="592" y="1282"/>
                    <a:pt x="630" y="1303"/>
                    <a:pt x="662" y="1288"/>
                  </a:cubicBezTo>
                  <a:cubicBezTo>
                    <a:pt x="753" y="1245"/>
                    <a:pt x="854" y="1156"/>
                    <a:pt x="938" y="1051"/>
                  </a:cubicBezTo>
                  <a:cubicBezTo>
                    <a:pt x="1020" y="948"/>
                    <a:pt x="1084" y="831"/>
                    <a:pt x="1106" y="731"/>
                  </a:cubicBezTo>
                  <a:cubicBezTo>
                    <a:pt x="1113" y="696"/>
                    <a:pt x="1089" y="661"/>
                    <a:pt x="1059" y="645"/>
                  </a:cubicBezTo>
                  <a:cubicBezTo>
                    <a:pt x="1001" y="613"/>
                    <a:pt x="1001" y="613"/>
                    <a:pt x="1001" y="613"/>
                  </a:cubicBezTo>
                  <a:cubicBezTo>
                    <a:pt x="942" y="580"/>
                    <a:pt x="888" y="499"/>
                    <a:pt x="924" y="432"/>
                  </a:cubicBezTo>
                  <a:cubicBezTo>
                    <a:pt x="1114" y="81"/>
                    <a:pt x="1114" y="81"/>
                    <a:pt x="1114" y="81"/>
                  </a:cubicBezTo>
                  <a:cubicBezTo>
                    <a:pt x="1150" y="16"/>
                    <a:pt x="1224" y="0"/>
                    <a:pt x="1287" y="35"/>
                  </a:cubicBezTo>
                  <a:cubicBezTo>
                    <a:pt x="1350" y="69"/>
                    <a:pt x="1350" y="69"/>
                    <a:pt x="1350" y="69"/>
                  </a:cubicBezTo>
                  <a:cubicBezTo>
                    <a:pt x="1415" y="105"/>
                    <a:pt x="1479" y="165"/>
                    <a:pt x="1527" y="235"/>
                  </a:cubicBezTo>
                  <a:cubicBezTo>
                    <a:pt x="1593" y="332"/>
                    <a:pt x="1624" y="442"/>
                    <a:pt x="1583" y="555"/>
                  </a:cubicBezTo>
                  <a:cubicBezTo>
                    <a:pt x="1500" y="781"/>
                    <a:pt x="1351" y="1030"/>
                    <a:pt x="1172" y="1253"/>
                  </a:cubicBezTo>
                  <a:cubicBezTo>
                    <a:pt x="994" y="1477"/>
                    <a:pt x="786" y="1676"/>
                    <a:pt x="586" y="1803"/>
                  </a:cubicBezTo>
                  <a:cubicBezTo>
                    <a:pt x="486" y="1867"/>
                    <a:pt x="375" y="1856"/>
                    <a:pt x="269" y="1807"/>
                  </a:cubicBezTo>
                  <a:cubicBezTo>
                    <a:pt x="157" y="1755"/>
                    <a:pt x="106" y="1695"/>
                    <a:pt x="33" y="1602"/>
                  </a:cubicBezTo>
                  <a:cubicBezTo>
                    <a:pt x="11" y="1573"/>
                    <a:pt x="0" y="1540"/>
                    <a:pt x="2" y="1508"/>
                  </a:cubicBezTo>
                  <a:cubicBezTo>
                    <a:pt x="4" y="1475"/>
                    <a:pt x="18" y="1444"/>
                    <a:pt x="45" y="1421"/>
                  </a:cubicBezTo>
                  <a:cubicBezTo>
                    <a:pt x="70" y="1399"/>
                    <a:pt x="346" y="1158"/>
                    <a:pt x="346" y="1158"/>
                  </a:cubicBezTo>
                  <a:cubicBezTo>
                    <a:pt x="376" y="1134"/>
                    <a:pt x="413" y="1133"/>
                    <a:pt x="448" y="1145"/>
                  </a:cubicBezTo>
                  <a:cubicBezTo>
                    <a:pt x="510" y="1166"/>
                    <a:pt x="536" y="1210"/>
                    <a:pt x="573" y="1257"/>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351"/>
            </a:p>
          </p:txBody>
        </p:sp>
      </p:grpSp>
      <p:grpSp>
        <p:nvGrpSpPr>
          <p:cNvPr id="11" name="Group 3">
            <a:extLst>
              <a:ext uri="{FF2B5EF4-FFF2-40B4-BE49-F238E27FC236}">
                <a16:creationId xmlns:a16="http://schemas.microsoft.com/office/drawing/2014/main" id="{DED6A25A-5DE2-1441-8BA2-C68D3B4F9209}"/>
              </a:ext>
            </a:extLst>
          </p:cNvPr>
          <p:cNvGrpSpPr>
            <a:grpSpLocks noChangeAspect="1"/>
          </p:cNvGrpSpPr>
          <p:nvPr>
            <p:custDataLst>
              <p:tags r:id="rId1"/>
            </p:custDataLst>
          </p:nvPr>
        </p:nvGrpSpPr>
        <p:grpSpPr>
          <a:xfrm>
            <a:off x="3770066" y="3153207"/>
            <a:ext cx="171180" cy="171180"/>
            <a:chOff x="328396" y="5313940"/>
            <a:chExt cx="720000" cy="720000"/>
          </a:xfrm>
        </p:grpSpPr>
        <p:sp>
          <p:nvSpPr>
            <p:cNvPr id="12" name="Rectangle 4">
              <a:extLst>
                <a:ext uri="{FF2B5EF4-FFF2-40B4-BE49-F238E27FC236}">
                  <a16:creationId xmlns:a16="http://schemas.microsoft.com/office/drawing/2014/main" id="{5F49E67F-D4FA-9D48-96BC-59AE946ECD15}"/>
                </a:ext>
              </a:extLst>
            </p:cNvPr>
            <p:cNvSpPr/>
            <p:nvPr/>
          </p:nvSpPr>
          <p:spPr bwMode="gray">
            <a:xfrm>
              <a:off x="328396" y="5313940"/>
              <a:ext cx="720000" cy="720000"/>
            </a:xfrm>
            <a:prstGeom prst="rect">
              <a:avLst/>
            </a:prstGeom>
            <a:solidFill>
              <a:srgbClr val="E55A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pPr>
              <a:endParaRPr lang="en-US" sz="1000">
                <a:solidFill>
                  <a:schemeClr val="tx1"/>
                </a:solidFill>
                <a:latin typeface="Arial" pitchFamily="34" charset="0"/>
                <a:cs typeface="Arial" pitchFamily="34" charset="0"/>
              </a:endParaRPr>
            </a:p>
          </p:txBody>
        </p:sp>
        <p:sp>
          <p:nvSpPr>
            <p:cNvPr id="13" name="Freeform 76">
              <a:extLst>
                <a:ext uri="{FF2B5EF4-FFF2-40B4-BE49-F238E27FC236}">
                  <a16:creationId xmlns:a16="http://schemas.microsoft.com/office/drawing/2014/main" id="{187E70E6-AF3F-2549-908E-DF4BA61040AA}"/>
                </a:ext>
              </a:extLst>
            </p:cNvPr>
            <p:cNvSpPr>
              <a:spLocks noChangeAspect="1" noEditPoints="1"/>
            </p:cNvSpPr>
            <p:nvPr/>
          </p:nvSpPr>
          <p:spPr bwMode="auto">
            <a:xfrm>
              <a:off x="456202" y="5509222"/>
              <a:ext cx="504000" cy="329436"/>
            </a:xfrm>
            <a:custGeom>
              <a:avLst/>
              <a:gdLst>
                <a:gd name="T0" fmla="*/ 0 w 2080"/>
                <a:gd name="T1" fmla="*/ 65 h 1360"/>
                <a:gd name="T2" fmla="*/ 0 w 2080"/>
                <a:gd name="T3" fmla="*/ 0 h 1360"/>
                <a:gd name="T4" fmla="*/ 2080 w 2080"/>
                <a:gd name="T5" fmla="*/ 0 h 1360"/>
                <a:gd name="T6" fmla="*/ 2080 w 2080"/>
                <a:gd name="T7" fmla="*/ 65 h 1360"/>
                <a:gd name="T8" fmla="*/ 1089 w 2080"/>
                <a:gd name="T9" fmla="*/ 862 h 1360"/>
                <a:gd name="T10" fmla="*/ 991 w 2080"/>
                <a:gd name="T11" fmla="*/ 862 h 1360"/>
                <a:gd name="T12" fmla="*/ 0 w 2080"/>
                <a:gd name="T13" fmla="*/ 65 h 1360"/>
                <a:gd name="T14" fmla="*/ 1139 w 2080"/>
                <a:gd name="T15" fmla="*/ 924 h 1360"/>
                <a:gd name="T16" fmla="*/ 1282 w 2080"/>
                <a:gd name="T17" fmla="*/ 810 h 1360"/>
                <a:gd name="T18" fmla="*/ 2076 w 2080"/>
                <a:gd name="T19" fmla="*/ 1360 h 1360"/>
                <a:gd name="T20" fmla="*/ 4 w 2080"/>
                <a:gd name="T21" fmla="*/ 1360 h 1360"/>
                <a:gd name="T22" fmla="*/ 798 w 2080"/>
                <a:gd name="T23" fmla="*/ 810 h 1360"/>
                <a:gd name="T24" fmla="*/ 941 w 2080"/>
                <a:gd name="T25" fmla="*/ 924 h 1360"/>
                <a:gd name="T26" fmla="*/ 1139 w 2080"/>
                <a:gd name="T27" fmla="*/ 924 h 1360"/>
                <a:gd name="T28" fmla="*/ 2 w 2080"/>
                <a:gd name="T29" fmla="*/ 137 h 1360"/>
                <a:gd name="T30" fmla="*/ 42 w 2080"/>
                <a:gd name="T31" fmla="*/ 201 h 1360"/>
                <a:gd name="T32" fmla="*/ 734 w 2080"/>
                <a:gd name="T33" fmla="*/ 758 h 1360"/>
                <a:gd name="T34" fmla="*/ 0 w 2080"/>
                <a:gd name="T35" fmla="*/ 1266 h 1360"/>
                <a:gd name="T36" fmla="*/ 0 w 2080"/>
                <a:gd name="T37" fmla="*/ 135 h 1360"/>
                <a:gd name="T38" fmla="*/ 2 w 2080"/>
                <a:gd name="T39" fmla="*/ 137 h 1360"/>
                <a:gd name="T40" fmla="*/ 2080 w 2080"/>
                <a:gd name="T41" fmla="*/ 136 h 1360"/>
                <a:gd name="T42" fmla="*/ 2080 w 2080"/>
                <a:gd name="T43" fmla="*/ 1265 h 1360"/>
                <a:gd name="T44" fmla="*/ 1346 w 2080"/>
                <a:gd name="T45" fmla="*/ 758 h 1360"/>
                <a:gd name="T46" fmla="*/ 2038 w 2080"/>
                <a:gd name="T47" fmla="*/ 201 h 1360"/>
                <a:gd name="T48" fmla="*/ 2080 w 2080"/>
                <a:gd name="T49" fmla="*/ 136 h 1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080" h="1360">
                  <a:moveTo>
                    <a:pt x="0" y="65"/>
                  </a:moveTo>
                  <a:cubicBezTo>
                    <a:pt x="0" y="0"/>
                    <a:pt x="0" y="0"/>
                    <a:pt x="0" y="0"/>
                  </a:cubicBezTo>
                  <a:cubicBezTo>
                    <a:pt x="2080" y="0"/>
                    <a:pt x="2080" y="0"/>
                    <a:pt x="2080" y="0"/>
                  </a:cubicBezTo>
                  <a:cubicBezTo>
                    <a:pt x="2080" y="65"/>
                    <a:pt x="2080" y="65"/>
                    <a:pt x="2080" y="65"/>
                  </a:cubicBezTo>
                  <a:cubicBezTo>
                    <a:pt x="1089" y="862"/>
                    <a:pt x="1089" y="862"/>
                    <a:pt x="1089" y="862"/>
                  </a:cubicBezTo>
                  <a:cubicBezTo>
                    <a:pt x="1060" y="886"/>
                    <a:pt x="1020" y="886"/>
                    <a:pt x="991" y="862"/>
                  </a:cubicBezTo>
                  <a:lnTo>
                    <a:pt x="0" y="65"/>
                  </a:lnTo>
                  <a:close/>
                  <a:moveTo>
                    <a:pt x="1139" y="924"/>
                  </a:moveTo>
                  <a:cubicBezTo>
                    <a:pt x="1282" y="810"/>
                    <a:pt x="1282" y="810"/>
                    <a:pt x="1282" y="810"/>
                  </a:cubicBezTo>
                  <a:cubicBezTo>
                    <a:pt x="2076" y="1360"/>
                    <a:pt x="2076" y="1360"/>
                    <a:pt x="2076" y="1360"/>
                  </a:cubicBezTo>
                  <a:cubicBezTo>
                    <a:pt x="4" y="1360"/>
                    <a:pt x="4" y="1360"/>
                    <a:pt x="4" y="1360"/>
                  </a:cubicBezTo>
                  <a:cubicBezTo>
                    <a:pt x="798" y="810"/>
                    <a:pt x="798" y="810"/>
                    <a:pt x="798" y="810"/>
                  </a:cubicBezTo>
                  <a:cubicBezTo>
                    <a:pt x="941" y="924"/>
                    <a:pt x="941" y="924"/>
                    <a:pt x="941" y="924"/>
                  </a:cubicBezTo>
                  <a:cubicBezTo>
                    <a:pt x="1000" y="972"/>
                    <a:pt x="1080" y="972"/>
                    <a:pt x="1139" y="924"/>
                  </a:cubicBezTo>
                  <a:close/>
                  <a:moveTo>
                    <a:pt x="2" y="137"/>
                  </a:moveTo>
                  <a:cubicBezTo>
                    <a:pt x="8" y="163"/>
                    <a:pt x="22" y="185"/>
                    <a:pt x="42" y="201"/>
                  </a:cubicBezTo>
                  <a:cubicBezTo>
                    <a:pt x="734" y="758"/>
                    <a:pt x="734" y="758"/>
                    <a:pt x="734" y="758"/>
                  </a:cubicBezTo>
                  <a:cubicBezTo>
                    <a:pt x="0" y="1266"/>
                    <a:pt x="0" y="1266"/>
                    <a:pt x="0" y="1266"/>
                  </a:cubicBezTo>
                  <a:cubicBezTo>
                    <a:pt x="0" y="135"/>
                    <a:pt x="0" y="135"/>
                    <a:pt x="0" y="135"/>
                  </a:cubicBezTo>
                  <a:lnTo>
                    <a:pt x="2" y="137"/>
                  </a:lnTo>
                  <a:close/>
                  <a:moveTo>
                    <a:pt x="2080" y="136"/>
                  </a:moveTo>
                  <a:cubicBezTo>
                    <a:pt x="2080" y="1265"/>
                    <a:pt x="2080" y="1265"/>
                    <a:pt x="2080" y="1265"/>
                  </a:cubicBezTo>
                  <a:cubicBezTo>
                    <a:pt x="1346" y="758"/>
                    <a:pt x="1346" y="758"/>
                    <a:pt x="1346" y="758"/>
                  </a:cubicBezTo>
                  <a:cubicBezTo>
                    <a:pt x="2038" y="201"/>
                    <a:pt x="2038" y="201"/>
                    <a:pt x="2038" y="201"/>
                  </a:cubicBezTo>
                  <a:cubicBezTo>
                    <a:pt x="2060" y="182"/>
                    <a:pt x="2072" y="162"/>
                    <a:pt x="2080" y="13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000"/>
            </a:p>
          </p:txBody>
        </p:sp>
      </p:grpSp>
      <p:grpSp>
        <p:nvGrpSpPr>
          <p:cNvPr id="14" name="Gruppieren 2">
            <a:extLst>
              <a:ext uri="{FF2B5EF4-FFF2-40B4-BE49-F238E27FC236}">
                <a16:creationId xmlns:a16="http://schemas.microsoft.com/office/drawing/2014/main" id="{BE697CE9-EBDE-6B4A-BE70-582D92A8A831}"/>
              </a:ext>
            </a:extLst>
          </p:cNvPr>
          <p:cNvGrpSpPr/>
          <p:nvPr/>
        </p:nvGrpSpPr>
        <p:grpSpPr>
          <a:xfrm>
            <a:off x="8701917" y="2868319"/>
            <a:ext cx="171180" cy="171180"/>
            <a:chOff x="3392092" y="1841122"/>
            <a:chExt cx="646508" cy="646508"/>
          </a:xfrm>
        </p:grpSpPr>
        <p:sp>
          <p:nvSpPr>
            <p:cNvPr id="15" name="Rechteck 14">
              <a:extLst>
                <a:ext uri="{FF2B5EF4-FFF2-40B4-BE49-F238E27FC236}">
                  <a16:creationId xmlns:a16="http://schemas.microsoft.com/office/drawing/2014/main" id="{E142A731-19B7-C34D-9534-9E05108F895F}"/>
                </a:ext>
              </a:extLst>
            </p:cNvPr>
            <p:cNvSpPr>
              <a:spLocks noChangeAspect="1"/>
            </p:cNvSpPr>
            <p:nvPr/>
          </p:nvSpPr>
          <p:spPr bwMode="gray">
            <a:xfrm>
              <a:off x="3392092" y="1841122"/>
              <a:ext cx="646508" cy="646508"/>
            </a:xfrm>
            <a:prstGeom prst="rect">
              <a:avLst/>
            </a:prstGeom>
            <a:solidFill>
              <a:srgbClr val="E55A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pPr>
              <a:endParaRPr lang="en-US" sz="1000">
                <a:solidFill>
                  <a:schemeClr val="tx1"/>
                </a:solidFill>
                <a:latin typeface="Arial" pitchFamily="34" charset="0"/>
                <a:cs typeface="Arial" pitchFamily="34" charset="0"/>
              </a:endParaRPr>
            </a:p>
          </p:txBody>
        </p:sp>
        <p:sp>
          <p:nvSpPr>
            <p:cNvPr id="16" name="Freeform 15">
              <a:extLst>
                <a:ext uri="{FF2B5EF4-FFF2-40B4-BE49-F238E27FC236}">
                  <a16:creationId xmlns:a16="http://schemas.microsoft.com/office/drawing/2014/main" id="{F97E84AE-4AD9-4B44-9AA1-F797FC373809}"/>
                </a:ext>
              </a:extLst>
            </p:cNvPr>
            <p:cNvSpPr>
              <a:spLocks noChangeAspect="1"/>
            </p:cNvSpPr>
            <p:nvPr/>
          </p:nvSpPr>
          <p:spPr bwMode="auto">
            <a:xfrm>
              <a:off x="3546638" y="1970424"/>
              <a:ext cx="337415" cy="387905"/>
            </a:xfrm>
            <a:custGeom>
              <a:avLst/>
              <a:gdLst>
                <a:gd name="T0" fmla="*/ 573 w 1624"/>
                <a:gd name="T1" fmla="*/ 1257 h 1867"/>
                <a:gd name="T2" fmla="*/ 662 w 1624"/>
                <a:gd name="T3" fmla="*/ 1288 h 1867"/>
                <a:gd name="T4" fmla="*/ 938 w 1624"/>
                <a:gd name="T5" fmla="*/ 1051 h 1867"/>
                <a:gd name="T6" fmla="*/ 1106 w 1624"/>
                <a:gd name="T7" fmla="*/ 731 h 1867"/>
                <a:gd name="T8" fmla="*/ 1059 w 1624"/>
                <a:gd name="T9" fmla="*/ 645 h 1867"/>
                <a:gd name="T10" fmla="*/ 1001 w 1624"/>
                <a:gd name="T11" fmla="*/ 613 h 1867"/>
                <a:gd name="T12" fmla="*/ 924 w 1624"/>
                <a:gd name="T13" fmla="*/ 432 h 1867"/>
                <a:gd name="T14" fmla="*/ 1114 w 1624"/>
                <a:gd name="T15" fmla="*/ 81 h 1867"/>
                <a:gd name="T16" fmla="*/ 1287 w 1624"/>
                <a:gd name="T17" fmla="*/ 35 h 1867"/>
                <a:gd name="T18" fmla="*/ 1350 w 1624"/>
                <a:gd name="T19" fmla="*/ 69 h 1867"/>
                <a:gd name="T20" fmla="*/ 1527 w 1624"/>
                <a:gd name="T21" fmla="*/ 235 h 1867"/>
                <a:gd name="T22" fmla="*/ 1583 w 1624"/>
                <a:gd name="T23" fmla="*/ 555 h 1867"/>
                <a:gd name="T24" fmla="*/ 1172 w 1624"/>
                <a:gd name="T25" fmla="*/ 1253 h 1867"/>
                <a:gd name="T26" fmla="*/ 586 w 1624"/>
                <a:gd name="T27" fmla="*/ 1803 h 1867"/>
                <a:gd name="T28" fmla="*/ 269 w 1624"/>
                <a:gd name="T29" fmla="*/ 1807 h 1867"/>
                <a:gd name="T30" fmla="*/ 33 w 1624"/>
                <a:gd name="T31" fmla="*/ 1602 h 1867"/>
                <a:gd name="T32" fmla="*/ 2 w 1624"/>
                <a:gd name="T33" fmla="*/ 1508 h 1867"/>
                <a:gd name="T34" fmla="*/ 45 w 1624"/>
                <a:gd name="T35" fmla="*/ 1421 h 1867"/>
                <a:gd name="T36" fmla="*/ 346 w 1624"/>
                <a:gd name="T37" fmla="*/ 1158 h 1867"/>
                <a:gd name="T38" fmla="*/ 448 w 1624"/>
                <a:gd name="T39" fmla="*/ 1145 h 1867"/>
                <a:gd name="T40" fmla="*/ 573 w 1624"/>
                <a:gd name="T41" fmla="*/ 1257 h 18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24" h="1867">
                  <a:moveTo>
                    <a:pt x="573" y="1257"/>
                  </a:moveTo>
                  <a:cubicBezTo>
                    <a:pt x="592" y="1282"/>
                    <a:pt x="630" y="1303"/>
                    <a:pt x="662" y="1288"/>
                  </a:cubicBezTo>
                  <a:cubicBezTo>
                    <a:pt x="753" y="1245"/>
                    <a:pt x="854" y="1156"/>
                    <a:pt x="938" y="1051"/>
                  </a:cubicBezTo>
                  <a:cubicBezTo>
                    <a:pt x="1020" y="948"/>
                    <a:pt x="1084" y="831"/>
                    <a:pt x="1106" y="731"/>
                  </a:cubicBezTo>
                  <a:cubicBezTo>
                    <a:pt x="1113" y="696"/>
                    <a:pt x="1089" y="661"/>
                    <a:pt x="1059" y="645"/>
                  </a:cubicBezTo>
                  <a:cubicBezTo>
                    <a:pt x="1001" y="613"/>
                    <a:pt x="1001" y="613"/>
                    <a:pt x="1001" y="613"/>
                  </a:cubicBezTo>
                  <a:cubicBezTo>
                    <a:pt x="942" y="580"/>
                    <a:pt x="888" y="499"/>
                    <a:pt x="924" y="432"/>
                  </a:cubicBezTo>
                  <a:cubicBezTo>
                    <a:pt x="1114" y="81"/>
                    <a:pt x="1114" y="81"/>
                    <a:pt x="1114" y="81"/>
                  </a:cubicBezTo>
                  <a:cubicBezTo>
                    <a:pt x="1150" y="16"/>
                    <a:pt x="1224" y="0"/>
                    <a:pt x="1287" y="35"/>
                  </a:cubicBezTo>
                  <a:cubicBezTo>
                    <a:pt x="1350" y="69"/>
                    <a:pt x="1350" y="69"/>
                    <a:pt x="1350" y="69"/>
                  </a:cubicBezTo>
                  <a:cubicBezTo>
                    <a:pt x="1415" y="105"/>
                    <a:pt x="1479" y="165"/>
                    <a:pt x="1527" y="235"/>
                  </a:cubicBezTo>
                  <a:cubicBezTo>
                    <a:pt x="1593" y="332"/>
                    <a:pt x="1624" y="442"/>
                    <a:pt x="1583" y="555"/>
                  </a:cubicBezTo>
                  <a:cubicBezTo>
                    <a:pt x="1500" y="781"/>
                    <a:pt x="1351" y="1030"/>
                    <a:pt x="1172" y="1253"/>
                  </a:cubicBezTo>
                  <a:cubicBezTo>
                    <a:pt x="994" y="1477"/>
                    <a:pt x="786" y="1676"/>
                    <a:pt x="586" y="1803"/>
                  </a:cubicBezTo>
                  <a:cubicBezTo>
                    <a:pt x="486" y="1867"/>
                    <a:pt x="375" y="1856"/>
                    <a:pt x="269" y="1807"/>
                  </a:cubicBezTo>
                  <a:cubicBezTo>
                    <a:pt x="157" y="1755"/>
                    <a:pt x="106" y="1695"/>
                    <a:pt x="33" y="1602"/>
                  </a:cubicBezTo>
                  <a:cubicBezTo>
                    <a:pt x="11" y="1573"/>
                    <a:pt x="0" y="1540"/>
                    <a:pt x="2" y="1508"/>
                  </a:cubicBezTo>
                  <a:cubicBezTo>
                    <a:pt x="4" y="1475"/>
                    <a:pt x="18" y="1444"/>
                    <a:pt x="45" y="1421"/>
                  </a:cubicBezTo>
                  <a:cubicBezTo>
                    <a:pt x="70" y="1399"/>
                    <a:pt x="346" y="1158"/>
                    <a:pt x="346" y="1158"/>
                  </a:cubicBezTo>
                  <a:cubicBezTo>
                    <a:pt x="376" y="1134"/>
                    <a:pt x="413" y="1133"/>
                    <a:pt x="448" y="1145"/>
                  </a:cubicBezTo>
                  <a:cubicBezTo>
                    <a:pt x="510" y="1166"/>
                    <a:pt x="536" y="1210"/>
                    <a:pt x="573" y="1257"/>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351"/>
            </a:p>
          </p:txBody>
        </p:sp>
      </p:grpSp>
      <p:grpSp>
        <p:nvGrpSpPr>
          <p:cNvPr id="17" name="Group 3">
            <a:extLst>
              <a:ext uri="{FF2B5EF4-FFF2-40B4-BE49-F238E27FC236}">
                <a16:creationId xmlns:a16="http://schemas.microsoft.com/office/drawing/2014/main" id="{7104BADD-8CD1-6F4A-B894-869C3BDB3EEB}"/>
              </a:ext>
            </a:extLst>
          </p:cNvPr>
          <p:cNvGrpSpPr>
            <a:grpSpLocks noChangeAspect="1"/>
          </p:cNvGrpSpPr>
          <p:nvPr>
            <p:custDataLst>
              <p:tags r:id="rId2"/>
            </p:custDataLst>
          </p:nvPr>
        </p:nvGrpSpPr>
        <p:grpSpPr>
          <a:xfrm>
            <a:off x="8701918" y="3153207"/>
            <a:ext cx="171180" cy="171180"/>
            <a:chOff x="328396" y="5313940"/>
            <a:chExt cx="720000" cy="720000"/>
          </a:xfrm>
        </p:grpSpPr>
        <p:sp>
          <p:nvSpPr>
            <p:cNvPr id="18" name="Rectangle 4">
              <a:extLst>
                <a:ext uri="{FF2B5EF4-FFF2-40B4-BE49-F238E27FC236}">
                  <a16:creationId xmlns:a16="http://schemas.microsoft.com/office/drawing/2014/main" id="{74BE3D5F-1445-6E40-8B49-72E15568383B}"/>
                </a:ext>
              </a:extLst>
            </p:cNvPr>
            <p:cNvSpPr/>
            <p:nvPr/>
          </p:nvSpPr>
          <p:spPr bwMode="gray">
            <a:xfrm>
              <a:off x="328396" y="5313940"/>
              <a:ext cx="720000" cy="720000"/>
            </a:xfrm>
            <a:prstGeom prst="rect">
              <a:avLst/>
            </a:prstGeom>
            <a:solidFill>
              <a:srgbClr val="E55A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pPr>
              <a:endParaRPr lang="en-US" sz="1000">
                <a:solidFill>
                  <a:schemeClr val="tx1"/>
                </a:solidFill>
                <a:latin typeface="Arial" pitchFamily="34" charset="0"/>
                <a:cs typeface="Arial" pitchFamily="34" charset="0"/>
              </a:endParaRPr>
            </a:p>
          </p:txBody>
        </p:sp>
        <p:sp>
          <p:nvSpPr>
            <p:cNvPr id="19" name="Freeform 76">
              <a:extLst>
                <a:ext uri="{FF2B5EF4-FFF2-40B4-BE49-F238E27FC236}">
                  <a16:creationId xmlns:a16="http://schemas.microsoft.com/office/drawing/2014/main" id="{55DB3C95-7D0C-D141-901E-96D692794D2B}"/>
                </a:ext>
              </a:extLst>
            </p:cNvPr>
            <p:cNvSpPr>
              <a:spLocks noChangeAspect="1" noEditPoints="1"/>
            </p:cNvSpPr>
            <p:nvPr/>
          </p:nvSpPr>
          <p:spPr bwMode="auto">
            <a:xfrm>
              <a:off x="456202" y="5509222"/>
              <a:ext cx="504000" cy="329436"/>
            </a:xfrm>
            <a:custGeom>
              <a:avLst/>
              <a:gdLst>
                <a:gd name="T0" fmla="*/ 0 w 2080"/>
                <a:gd name="T1" fmla="*/ 65 h 1360"/>
                <a:gd name="T2" fmla="*/ 0 w 2080"/>
                <a:gd name="T3" fmla="*/ 0 h 1360"/>
                <a:gd name="T4" fmla="*/ 2080 w 2080"/>
                <a:gd name="T5" fmla="*/ 0 h 1360"/>
                <a:gd name="T6" fmla="*/ 2080 w 2080"/>
                <a:gd name="T7" fmla="*/ 65 h 1360"/>
                <a:gd name="T8" fmla="*/ 1089 w 2080"/>
                <a:gd name="T9" fmla="*/ 862 h 1360"/>
                <a:gd name="T10" fmla="*/ 991 w 2080"/>
                <a:gd name="T11" fmla="*/ 862 h 1360"/>
                <a:gd name="T12" fmla="*/ 0 w 2080"/>
                <a:gd name="T13" fmla="*/ 65 h 1360"/>
                <a:gd name="T14" fmla="*/ 1139 w 2080"/>
                <a:gd name="T15" fmla="*/ 924 h 1360"/>
                <a:gd name="T16" fmla="*/ 1282 w 2080"/>
                <a:gd name="T17" fmla="*/ 810 h 1360"/>
                <a:gd name="T18" fmla="*/ 2076 w 2080"/>
                <a:gd name="T19" fmla="*/ 1360 h 1360"/>
                <a:gd name="T20" fmla="*/ 4 w 2080"/>
                <a:gd name="T21" fmla="*/ 1360 h 1360"/>
                <a:gd name="T22" fmla="*/ 798 w 2080"/>
                <a:gd name="T23" fmla="*/ 810 h 1360"/>
                <a:gd name="T24" fmla="*/ 941 w 2080"/>
                <a:gd name="T25" fmla="*/ 924 h 1360"/>
                <a:gd name="T26" fmla="*/ 1139 w 2080"/>
                <a:gd name="T27" fmla="*/ 924 h 1360"/>
                <a:gd name="T28" fmla="*/ 2 w 2080"/>
                <a:gd name="T29" fmla="*/ 137 h 1360"/>
                <a:gd name="T30" fmla="*/ 42 w 2080"/>
                <a:gd name="T31" fmla="*/ 201 h 1360"/>
                <a:gd name="T32" fmla="*/ 734 w 2080"/>
                <a:gd name="T33" fmla="*/ 758 h 1360"/>
                <a:gd name="T34" fmla="*/ 0 w 2080"/>
                <a:gd name="T35" fmla="*/ 1266 h 1360"/>
                <a:gd name="T36" fmla="*/ 0 w 2080"/>
                <a:gd name="T37" fmla="*/ 135 h 1360"/>
                <a:gd name="T38" fmla="*/ 2 w 2080"/>
                <a:gd name="T39" fmla="*/ 137 h 1360"/>
                <a:gd name="T40" fmla="*/ 2080 w 2080"/>
                <a:gd name="T41" fmla="*/ 136 h 1360"/>
                <a:gd name="T42" fmla="*/ 2080 w 2080"/>
                <a:gd name="T43" fmla="*/ 1265 h 1360"/>
                <a:gd name="T44" fmla="*/ 1346 w 2080"/>
                <a:gd name="T45" fmla="*/ 758 h 1360"/>
                <a:gd name="T46" fmla="*/ 2038 w 2080"/>
                <a:gd name="T47" fmla="*/ 201 h 1360"/>
                <a:gd name="T48" fmla="*/ 2080 w 2080"/>
                <a:gd name="T49" fmla="*/ 136 h 1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080" h="1360">
                  <a:moveTo>
                    <a:pt x="0" y="65"/>
                  </a:moveTo>
                  <a:cubicBezTo>
                    <a:pt x="0" y="0"/>
                    <a:pt x="0" y="0"/>
                    <a:pt x="0" y="0"/>
                  </a:cubicBezTo>
                  <a:cubicBezTo>
                    <a:pt x="2080" y="0"/>
                    <a:pt x="2080" y="0"/>
                    <a:pt x="2080" y="0"/>
                  </a:cubicBezTo>
                  <a:cubicBezTo>
                    <a:pt x="2080" y="65"/>
                    <a:pt x="2080" y="65"/>
                    <a:pt x="2080" y="65"/>
                  </a:cubicBezTo>
                  <a:cubicBezTo>
                    <a:pt x="1089" y="862"/>
                    <a:pt x="1089" y="862"/>
                    <a:pt x="1089" y="862"/>
                  </a:cubicBezTo>
                  <a:cubicBezTo>
                    <a:pt x="1060" y="886"/>
                    <a:pt x="1020" y="886"/>
                    <a:pt x="991" y="862"/>
                  </a:cubicBezTo>
                  <a:lnTo>
                    <a:pt x="0" y="65"/>
                  </a:lnTo>
                  <a:close/>
                  <a:moveTo>
                    <a:pt x="1139" y="924"/>
                  </a:moveTo>
                  <a:cubicBezTo>
                    <a:pt x="1282" y="810"/>
                    <a:pt x="1282" y="810"/>
                    <a:pt x="1282" y="810"/>
                  </a:cubicBezTo>
                  <a:cubicBezTo>
                    <a:pt x="2076" y="1360"/>
                    <a:pt x="2076" y="1360"/>
                    <a:pt x="2076" y="1360"/>
                  </a:cubicBezTo>
                  <a:cubicBezTo>
                    <a:pt x="4" y="1360"/>
                    <a:pt x="4" y="1360"/>
                    <a:pt x="4" y="1360"/>
                  </a:cubicBezTo>
                  <a:cubicBezTo>
                    <a:pt x="798" y="810"/>
                    <a:pt x="798" y="810"/>
                    <a:pt x="798" y="810"/>
                  </a:cubicBezTo>
                  <a:cubicBezTo>
                    <a:pt x="941" y="924"/>
                    <a:pt x="941" y="924"/>
                    <a:pt x="941" y="924"/>
                  </a:cubicBezTo>
                  <a:cubicBezTo>
                    <a:pt x="1000" y="972"/>
                    <a:pt x="1080" y="972"/>
                    <a:pt x="1139" y="924"/>
                  </a:cubicBezTo>
                  <a:close/>
                  <a:moveTo>
                    <a:pt x="2" y="137"/>
                  </a:moveTo>
                  <a:cubicBezTo>
                    <a:pt x="8" y="163"/>
                    <a:pt x="22" y="185"/>
                    <a:pt x="42" y="201"/>
                  </a:cubicBezTo>
                  <a:cubicBezTo>
                    <a:pt x="734" y="758"/>
                    <a:pt x="734" y="758"/>
                    <a:pt x="734" y="758"/>
                  </a:cubicBezTo>
                  <a:cubicBezTo>
                    <a:pt x="0" y="1266"/>
                    <a:pt x="0" y="1266"/>
                    <a:pt x="0" y="1266"/>
                  </a:cubicBezTo>
                  <a:cubicBezTo>
                    <a:pt x="0" y="135"/>
                    <a:pt x="0" y="135"/>
                    <a:pt x="0" y="135"/>
                  </a:cubicBezTo>
                  <a:lnTo>
                    <a:pt x="2" y="137"/>
                  </a:lnTo>
                  <a:close/>
                  <a:moveTo>
                    <a:pt x="2080" y="136"/>
                  </a:moveTo>
                  <a:cubicBezTo>
                    <a:pt x="2080" y="1265"/>
                    <a:pt x="2080" y="1265"/>
                    <a:pt x="2080" y="1265"/>
                  </a:cubicBezTo>
                  <a:cubicBezTo>
                    <a:pt x="1346" y="758"/>
                    <a:pt x="1346" y="758"/>
                    <a:pt x="1346" y="758"/>
                  </a:cubicBezTo>
                  <a:cubicBezTo>
                    <a:pt x="2038" y="201"/>
                    <a:pt x="2038" y="201"/>
                    <a:pt x="2038" y="201"/>
                  </a:cubicBezTo>
                  <a:cubicBezTo>
                    <a:pt x="2060" y="182"/>
                    <a:pt x="2072" y="162"/>
                    <a:pt x="2080" y="13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000"/>
            </a:p>
          </p:txBody>
        </p:sp>
      </p:grpSp>
      <p:cxnSp>
        <p:nvCxnSpPr>
          <p:cNvPr id="20" name="Straight Connector 19"/>
          <p:cNvCxnSpPr/>
          <p:nvPr/>
        </p:nvCxnSpPr>
        <p:spPr>
          <a:xfrm>
            <a:off x="2371725" y="3478213"/>
            <a:ext cx="3888000" cy="0"/>
          </a:xfrm>
          <a:prstGeom prst="line">
            <a:avLst/>
          </a:prstGeom>
          <a:ln w="6350">
            <a:solidFill>
              <a:schemeClr val="tx2"/>
            </a:solidFill>
            <a:prstDash val="dash"/>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p:nvCxnSpPr>
        <p:spPr>
          <a:xfrm>
            <a:off x="7287766" y="3478213"/>
            <a:ext cx="3888000" cy="0"/>
          </a:xfrm>
          <a:prstGeom prst="line">
            <a:avLst/>
          </a:prstGeom>
          <a:ln w="6350">
            <a:solidFill>
              <a:schemeClr val="tx2"/>
            </a:solidFill>
            <a:prstDash val="dash"/>
          </a:ln>
        </p:spPr>
        <p:style>
          <a:lnRef idx="1">
            <a:schemeClr val="accent1"/>
          </a:lnRef>
          <a:fillRef idx="0">
            <a:schemeClr val="accent1"/>
          </a:fillRef>
          <a:effectRef idx="0">
            <a:schemeClr val="accent1"/>
          </a:effectRef>
          <a:fontRef idx="minor">
            <a:schemeClr val="tx1"/>
          </a:fontRef>
        </p:style>
      </p:cxnSp>
      <p:sp>
        <p:nvSpPr>
          <p:cNvPr id="4" name="Picture Placeholder 3"/>
          <p:cNvSpPr>
            <a:spLocks noGrp="1"/>
          </p:cNvSpPr>
          <p:nvPr>
            <p:ph type="pic" sz="quarter" idx="17" hasCustomPrompt="1"/>
          </p:nvPr>
        </p:nvSpPr>
        <p:spPr>
          <a:xfrm>
            <a:off x="2355914" y="1808984"/>
            <a:ext cx="1188677" cy="1547840"/>
          </a:xfrm>
          <a:solidFill>
            <a:srgbClr val="D9DADB"/>
          </a:solidFill>
        </p:spPr>
        <p:txBody>
          <a:bodyPr/>
          <a:lstStyle>
            <a:lvl1pPr marL="0" indent="0">
              <a:buNone/>
              <a:defRPr sz="1400"/>
            </a:lvl1pPr>
          </a:lstStyle>
          <a:p>
            <a:r>
              <a:rPr lang="en-US"/>
              <a:t>Insert picture</a:t>
            </a:r>
          </a:p>
        </p:txBody>
      </p:sp>
      <p:sp>
        <p:nvSpPr>
          <p:cNvPr id="25" name="Picture Placeholder 3"/>
          <p:cNvSpPr>
            <a:spLocks noGrp="1"/>
          </p:cNvSpPr>
          <p:nvPr>
            <p:ph type="pic" sz="quarter" idx="18" hasCustomPrompt="1"/>
          </p:nvPr>
        </p:nvSpPr>
        <p:spPr>
          <a:xfrm>
            <a:off x="7287766" y="1808984"/>
            <a:ext cx="1188677" cy="1547840"/>
          </a:xfrm>
          <a:solidFill>
            <a:srgbClr val="D9DADB"/>
          </a:solidFill>
        </p:spPr>
        <p:txBody>
          <a:bodyPr/>
          <a:lstStyle>
            <a:lvl1pPr marL="0" indent="0">
              <a:buNone/>
              <a:defRPr sz="1400"/>
            </a:lvl1pPr>
          </a:lstStyle>
          <a:p>
            <a:r>
              <a:rPr lang="en-US"/>
              <a:t>Insert picture</a:t>
            </a:r>
          </a:p>
        </p:txBody>
      </p:sp>
      <p:sp>
        <p:nvSpPr>
          <p:cNvPr id="6" name="Text Placeholder 5"/>
          <p:cNvSpPr>
            <a:spLocks noGrp="1"/>
          </p:cNvSpPr>
          <p:nvPr>
            <p:ph type="body" sz="quarter" idx="19" hasCustomPrompt="1"/>
          </p:nvPr>
        </p:nvSpPr>
        <p:spPr>
          <a:xfrm>
            <a:off x="3770065" y="1808521"/>
            <a:ext cx="2463190" cy="192360"/>
          </a:xfrm>
        </p:spPr>
        <p:txBody>
          <a:bodyPr lIns="0" tIns="0" rIns="0" bIns="0" anchor="ctr" anchorCtr="0"/>
          <a:lstStyle>
            <a:lvl1pPr marL="0" indent="0" algn="l">
              <a:lnSpc>
                <a:spcPct val="100000"/>
              </a:lnSpc>
              <a:buNone/>
              <a:defRPr sz="100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Country</a:t>
            </a:r>
          </a:p>
        </p:txBody>
      </p:sp>
      <p:sp>
        <p:nvSpPr>
          <p:cNvPr id="26" name="Text Placeholder 5"/>
          <p:cNvSpPr>
            <a:spLocks noGrp="1"/>
          </p:cNvSpPr>
          <p:nvPr>
            <p:ph type="body" sz="quarter" idx="20" hasCustomPrompt="1"/>
          </p:nvPr>
        </p:nvSpPr>
        <p:spPr>
          <a:xfrm>
            <a:off x="3770065" y="2020337"/>
            <a:ext cx="2463190" cy="266182"/>
          </a:xfrm>
        </p:spPr>
        <p:txBody>
          <a:bodyPr lIns="0" tIns="0" rIns="0" bIns="0" anchor="b" anchorCtr="0"/>
          <a:lstStyle>
            <a:lvl1pPr marL="0" indent="0" algn="l">
              <a:lnSpc>
                <a:spcPct val="100000"/>
              </a:lnSpc>
              <a:buNone/>
              <a:defRPr sz="1400" b="1" baseline="0">
                <a:solidFill>
                  <a:schemeClr val="tx2"/>
                </a:solidFill>
              </a:defRPr>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Name, Surname</a:t>
            </a:r>
          </a:p>
        </p:txBody>
      </p:sp>
      <p:sp>
        <p:nvSpPr>
          <p:cNvPr id="27" name="Text Placeholder 5"/>
          <p:cNvSpPr>
            <a:spLocks noGrp="1"/>
          </p:cNvSpPr>
          <p:nvPr>
            <p:ph type="body" sz="quarter" idx="21" hasCustomPrompt="1"/>
          </p:nvPr>
        </p:nvSpPr>
        <p:spPr>
          <a:xfrm>
            <a:off x="3770065" y="2316912"/>
            <a:ext cx="2463190"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Job Position</a:t>
            </a:r>
          </a:p>
        </p:txBody>
      </p:sp>
      <p:sp>
        <p:nvSpPr>
          <p:cNvPr id="28" name="Text Placeholder 5"/>
          <p:cNvSpPr>
            <a:spLocks noGrp="1"/>
          </p:cNvSpPr>
          <p:nvPr>
            <p:ph type="body" sz="quarter" idx="22" hasCustomPrompt="1"/>
          </p:nvPr>
        </p:nvSpPr>
        <p:spPr>
          <a:xfrm>
            <a:off x="4014948" y="2845588"/>
            <a:ext cx="2218307"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Phone number</a:t>
            </a:r>
          </a:p>
        </p:txBody>
      </p:sp>
      <p:sp>
        <p:nvSpPr>
          <p:cNvPr id="29" name="Text Placeholder 5"/>
          <p:cNvSpPr>
            <a:spLocks noGrp="1"/>
          </p:cNvSpPr>
          <p:nvPr>
            <p:ph type="body" sz="quarter" idx="23" hasCustomPrompt="1"/>
          </p:nvPr>
        </p:nvSpPr>
        <p:spPr>
          <a:xfrm>
            <a:off x="4014948" y="3128395"/>
            <a:ext cx="2218307"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Email address</a:t>
            </a:r>
          </a:p>
        </p:txBody>
      </p:sp>
      <p:sp>
        <p:nvSpPr>
          <p:cNvPr id="30" name="Text Placeholder 5"/>
          <p:cNvSpPr>
            <a:spLocks noGrp="1"/>
          </p:cNvSpPr>
          <p:nvPr>
            <p:ph type="body" sz="quarter" idx="24" hasCustomPrompt="1"/>
          </p:nvPr>
        </p:nvSpPr>
        <p:spPr>
          <a:xfrm>
            <a:off x="8701917" y="1808521"/>
            <a:ext cx="2463190" cy="192360"/>
          </a:xfrm>
        </p:spPr>
        <p:txBody>
          <a:bodyPr lIns="0" tIns="0" rIns="0" bIns="0" anchor="ctr" anchorCtr="0"/>
          <a:lstStyle>
            <a:lvl1pPr marL="0" indent="0" algn="l">
              <a:lnSpc>
                <a:spcPct val="100000"/>
              </a:lnSpc>
              <a:buNone/>
              <a:defRPr sz="100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Country</a:t>
            </a:r>
          </a:p>
        </p:txBody>
      </p:sp>
      <p:sp>
        <p:nvSpPr>
          <p:cNvPr id="31" name="Text Placeholder 5"/>
          <p:cNvSpPr>
            <a:spLocks noGrp="1"/>
          </p:cNvSpPr>
          <p:nvPr>
            <p:ph type="body" sz="quarter" idx="25" hasCustomPrompt="1"/>
          </p:nvPr>
        </p:nvSpPr>
        <p:spPr>
          <a:xfrm>
            <a:off x="8701917" y="2020337"/>
            <a:ext cx="2463190" cy="266182"/>
          </a:xfrm>
        </p:spPr>
        <p:txBody>
          <a:bodyPr lIns="0" tIns="0" rIns="0" bIns="0" anchor="b" anchorCtr="0"/>
          <a:lstStyle>
            <a:lvl1pPr marL="0" indent="0" algn="l">
              <a:lnSpc>
                <a:spcPct val="100000"/>
              </a:lnSpc>
              <a:buNone/>
              <a:defRPr sz="1400" b="1" baseline="0">
                <a:solidFill>
                  <a:schemeClr val="tx2"/>
                </a:solidFill>
              </a:defRPr>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Name, Surname</a:t>
            </a:r>
          </a:p>
        </p:txBody>
      </p:sp>
      <p:sp>
        <p:nvSpPr>
          <p:cNvPr id="32" name="Text Placeholder 5"/>
          <p:cNvSpPr>
            <a:spLocks noGrp="1"/>
          </p:cNvSpPr>
          <p:nvPr>
            <p:ph type="body" sz="quarter" idx="26" hasCustomPrompt="1"/>
          </p:nvPr>
        </p:nvSpPr>
        <p:spPr>
          <a:xfrm>
            <a:off x="8701917" y="2316912"/>
            <a:ext cx="2463190"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Job Position</a:t>
            </a:r>
          </a:p>
        </p:txBody>
      </p:sp>
      <p:sp>
        <p:nvSpPr>
          <p:cNvPr id="33" name="Text Placeholder 5"/>
          <p:cNvSpPr>
            <a:spLocks noGrp="1"/>
          </p:cNvSpPr>
          <p:nvPr>
            <p:ph type="body" sz="quarter" idx="27" hasCustomPrompt="1"/>
          </p:nvPr>
        </p:nvSpPr>
        <p:spPr>
          <a:xfrm>
            <a:off x="8946800" y="2845588"/>
            <a:ext cx="2218307"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Phone number</a:t>
            </a:r>
          </a:p>
        </p:txBody>
      </p:sp>
      <p:sp>
        <p:nvSpPr>
          <p:cNvPr id="34" name="Text Placeholder 5"/>
          <p:cNvSpPr>
            <a:spLocks noGrp="1"/>
          </p:cNvSpPr>
          <p:nvPr>
            <p:ph type="body" sz="quarter" idx="28" hasCustomPrompt="1"/>
          </p:nvPr>
        </p:nvSpPr>
        <p:spPr>
          <a:xfrm>
            <a:off x="8946800" y="3128395"/>
            <a:ext cx="2218307"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Email address</a:t>
            </a:r>
          </a:p>
        </p:txBody>
      </p:sp>
      <p:grpSp>
        <p:nvGrpSpPr>
          <p:cNvPr id="35" name="Gruppieren 2">
            <a:extLst>
              <a:ext uri="{FF2B5EF4-FFF2-40B4-BE49-F238E27FC236}">
                <a16:creationId xmlns:a16="http://schemas.microsoft.com/office/drawing/2014/main" id="{BE697CE9-EBDE-6B4A-BE70-582D92A8A831}"/>
              </a:ext>
            </a:extLst>
          </p:cNvPr>
          <p:cNvGrpSpPr/>
          <p:nvPr/>
        </p:nvGrpSpPr>
        <p:grpSpPr>
          <a:xfrm>
            <a:off x="3770065" y="5045939"/>
            <a:ext cx="171180" cy="171180"/>
            <a:chOff x="3392092" y="1841122"/>
            <a:chExt cx="646508" cy="646508"/>
          </a:xfrm>
        </p:grpSpPr>
        <p:sp>
          <p:nvSpPr>
            <p:cNvPr id="36" name="Rechteck 14">
              <a:extLst>
                <a:ext uri="{FF2B5EF4-FFF2-40B4-BE49-F238E27FC236}">
                  <a16:creationId xmlns:a16="http://schemas.microsoft.com/office/drawing/2014/main" id="{E142A731-19B7-C34D-9534-9E05108F895F}"/>
                </a:ext>
              </a:extLst>
            </p:cNvPr>
            <p:cNvSpPr>
              <a:spLocks noChangeAspect="1"/>
            </p:cNvSpPr>
            <p:nvPr/>
          </p:nvSpPr>
          <p:spPr bwMode="gray">
            <a:xfrm>
              <a:off x="3392092" y="1841122"/>
              <a:ext cx="646508" cy="646508"/>
            </a:xfrm>
            <a:prstGeom prst="rect">
              <a:avLst/>
            </a:prstGeom>
            <a:solidFill>
              <a:srgbClr val="E55A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pPr>
              <a:endParaRPr lang="en-US" sz="1000">
                <a:solidFill>
                  <a:schemeClr val="tx1"/>
                </a:solidFill>
                <a:latin typeface="Arial" pitchFamily="34" charset="0"/>
                <a:cs typeface="Arial" pitchFamily="34" charset="0"/>
              </a:endParaRPr>
            </a:p>
          </p:txBody>
        </p:sp>
        <p:sp>
          <p:nvSpPr>
            <p:cNvPr id="37" name="Freeform 36">
              <a:extLst>
                <a:ext uri="{FF2B5EF4-FFF2-40B4-BE49-F238E27FC236}">
                  <a16:creationId xmlns:a16="http://schemas.microsoft.com/office/drawing/2014/main" id="{F97E84AE-4AD9-4B44-9AA1-F797FC373809}"/>
                </a:ext>
              </a:extLst>
            </p:cNvPr>
            <p:cNvSpPr>
              <a:spLocks noChangeAspect="1"/>
            </p:cNvSpPr>
            <p:nvPr/>
          </p:nvSpPr>
          <p:spPr bwMode="auto">
            <a:xfrm>
              <a:off x="3546638" y="1970424"/>
              <a:ext cx="337415" cy="387905"/>
            </a:xfrm>
            <a:custGeom>
              <a:avLst/>
              <a:gdLst>
                <a:gd name="T0" fmla="*/ 573 w 1624"/>
                <a:gd name="T1" fmla="*/ 1257 h 1867"/>
                <a:gd name="T2" fmla="*/ 662 w 1624"/>
                <a:gd name="T3" fmla="*/ 1288 h 1867"/>
                <a:gd name="T4" fmla="*/ 938 w 1624"/>
                <a:gd name="T5" fmla="*/ 1051 h 1867"/>
                <a:gd name="T6" fmla="*/ 1106 w 1624"/>
                <a:gd name="T7" fmla="*/ 731 h 1867"/>
                <a:gd name="T8" fmla="*/ 1059 w 1624"/>
                <a:gd name="T9" fmla="*/ 645 h 1867"/>
                <a:gd name="T10" fmla="*/ 1001 w 1624"/>
                <a:gd name="T11" fmla="*/ 613 h 1867"/>
                <a:gd name="T12" fmla="*/ 924 w 1624"/>
                <a:gd name="T13" fmla="*/ 432 h 1867"/>
                <a:gd name="T14" fmla="*/ 1114 w 1624"/>
                <a:gd name="T15" fmla="*/ 81 h 1867"/>
                <a:gd name="T16" fmla="*/ 1287 w 1624"/>
                <a:gd name="T17" fmla="*/ 35 h 1867"/>
                <a:gd name="T18" fmla="*/ 1350 w 1624"/>
                <a:gd name="T19" fmla="*/ 69 h 1867"/>
                <a:gd name="T20" fmla="*/ 1527 w 1624"/>
                <a:gd name="T21" fmla="*/ 235 h 1867"/>
                <a:gd name="T22" fmla="*/ 1583 w 1624"/>
                <a:gd name="T23" fmla="*/ 555 h 1867"/>
                <a:gd name="T24" fmla="*/ 1172 w 1624"/>
                <a:gd name="T25" fmla="*/ 1253 h 1867"/>
                <a:gd name="T26" fmla="*/ 586 w 1624"/>
                <a:gd name="T27" fmla="*/ 1803 h 1867"/>
                <a:gd name="T28" fmla="*/ 269 w 1624"/>
                <a:gd name="T29" fmla="*/ 1807 h 1867"/>
                <a:gd name="T30" fmla="*/ 33 w 1624"/>
                <a:gd name="T31" fmla="*/ 1602 h 1867"/>
                <a:gd name="T32" fmla="*/ 2 w 1624"/>
                <a:gd name="T33" fmla="*/ 1508 h 1867"/>
                <a:gd name="T34" fmla="*/ 45 w 1624"/>
                <a:gd name="T35" fmla="*/ 1421 h 1867"/>
                <a:gd name="T36" fmla="*/ 346 w 1624"/>
                <a:gd name="T37" fmla="*/ 1158 h 1867"/>
                <a:gd name="T38" fmla="*/ 448 w 1624"/>
                <a:gd name="T39" fmla="*/ 1145 h 1867"/>
                <a:gd name="T40" fmla="*/ 573 w 1624"/>
                <a:gd name="T41" fmla="*/ 1257 h 18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24" h="1867">
                  <a:moveTo>
                    <a:pt x="573" y="1257"/>
                  </a:moveTo>
                  <a:cubicBezTo>
                    <a:pt x="592" y="1282"/>
                    <a:pt x="630" y="1303"/>
                    <a:pt x="662" y="1288"/>
                  </a:cubicBezTo>
                  <a:cubicBezTo>
                    <a:pt x="753" y="1245"/>
                    <a:pt x="854" y="1156"/>
                    <a:pt x="938" y="1051"/>
                  </a:cubicBezTo>
                  <a:cubicBezTo>
                    <a:pt x="1020" y="948"/>
                    <a:pt x="1084" y="831"/>
                    <a:pt x="1106" y="731"/>
                  </a:cubicBezTo>
                  <a:cubicBezTo>
                    <a:pt x="1113" y="696"/>
                    <a:pt x="1089" y="661"/>
                    <a:pt x="1059" y="645"/>
                  </a:cubicBezTo>
                  <a:cubicBezTo>
                    <a:pt x="1001" y="613"/>
                    <a:pt x="1001" y="613"/>
                    <a:pt x="1001" y="613"/>
                  </a:cubicBezTo>
                  <a:cubicBezTo>
                    <a:pt x="942" y="580"/>
                    <a:pt x="888" y="499"/>
                    <a:pt x="924" y="432"/>
                  </a:cubicBezTo>
                  <a:cubicBezTo>
                    <a:pt x="1114" y="81"/>
                    <a:pt x="1114" y="81"/>
                    <a:pt x="1114" y="81"/>
                  </a:cubicBezTo>
                  <a:cubicBezTo>
                    <a:pt x="1150" y="16"/>
                    <a:pt x="1224" y="0"/>
                    <a:pt x="1287" y="35"/>
                  </a:cubicBezTo>
                  <a:cubicBezTo>
                    <a:pt x="1350" y="69"/>
                    <a:pt x="1350" y="69"/>
                    <a:pt x="1350" y="69"/>
                  </a:cubicBezTo>
                  <a:cubicBezTo>
                    <a:pt x="1415" y="105"/>
                    <a:pt x="1479" y="165"/>
                    <a:pt x="1527" y="235"/>
                  </a:cubicBezTo>
                  <a:cubicBezTo>
                    <a:pt x="1593" y="332"/>
                    <a:pt x="1624" y="442"/>
                    <a:pt x="1583" y="555"/>
                  </a:cubicBezTo>
                  <a:cubicBezTo>
                    <a:pt x="1500" y="781"/>
                    <a:pt x="1351" y="1030"/>
                    <a:pt x="1172" y="1253"/>
                  </a:cubicBezTo>
                  <a:cubicBezTo>
                    <a:pt x="994" y="1477"/>
                    <a:pt x="786" y="1676"/>
                    <a:pt x="586" y="1803"/>
                  </a:cubicBezTo>
                  <a:cubicBezTo>
                    <a:pt x="486" y="1867"/>
                    <a:pt x="375" y="1856"/>
                    <a:pt x="269" y="1807"/>
                  </a:cubicBezTo>
                  <a:cubicBezTo>
                    <a:pt x="157" y="1755"/>
                    <a:pt x="106" y="1695"/>
                    <a:pt x="33" y="1602"/>
                  </a:cubicBezTo>
                  <a:cubicBezTo>
                    <a:pt x="11" y="1573"/>
                    <a:pt x="0" y="1540"/>
                    <a:pt x="2" y="1508"/>
                  </a:cubicBezTo>
                  <a:cubicBezTo>
                    <a:pt x="4" y="1475"/>
                    <a:pt x="18" y="1444"/>
                    <a:pt x="45" y="1421"/>
                  </a:cubicBezTo>
                  <a:cubicBezTo>
                    <a:pt x="70" y="1399"/>
                    <a:pt x="346" y="1158"/>
                    <a:pt x="346" y="1158"/>
                  </a:cubicBezTo>
                  <a:cubicBezTo>
                    <a:pt x="376" y="1134"/>
                    <a:pt x="413" y="1133"/>
                    <a:pt x="448" y="1145"/>
                  </a:cubicBezTo>
                  <a:cubicBezTo>
                    <a:pt x="510" y="1166"/>
                    <a:pt x="536" y="1210"/>
                    <a:pt x="573" y="1257"/>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351"/>
            </a:p>
          </p:txBody>
        </p:sp>
      </p:grpSp>
      <p:grpSp>
        <p:nvGrpSpPr>
          <p:cNvPr id="38" name="Group 3">
            <a:extLst>
              <a:ext uri="{FF2B5EF4-FFF2-40B4-BE49-F238E27FC236}">
                <a16:creationId xmlns:a16="http://schemas.microsoft.com/office/drawing/2014/main" id="{7104BADD-8CD1-6F4A-B894-869C3BDB3EEB}"/>
              </a:ext>
            </a:extLst>
          </p:cNvPr>
          <p:cNvGrpSpPr>
            <a:grpSpLocks noChangeAspect="1"/>
          </p:cNvGrpSpPr>
          <p:nvPr>
            <p:custDataLst>
              <p:tags r:id="rId3"/>
            </p:custDataLst>
          </p:nvPr>
        </p:nvGrpSpPr>
        <p:grpSpPr>
          <a:xfrm>
            <a:off x="3770066" y="5330827"/>
            <a:ext cx="171180" cy="171180"/>
            <a:chOff x="328396" y="5313940"/>
            <a:chExt cx="720000" cy="720000"/>
          </a:xfrm>
        </p:grpSpPr>
        <p:sp>
          <p:nvSpPr>
            <p:cNvPr id="39" name="Rectangle 4">
              <a:extLst>
                <a:ext uri="{FF2B5EF4-FFF2-40B4-BE49-F238E27FC236}">
                  <a16:creationId xmlns:a16="http://schemas.microsoft.com/office/drawing/2014/main" id="{74BE3D5F-1445-6E40-8B49-72E15568383B}"/>
                </a:ext>
              </a:extLst>
            </p:cNvPr>
            <p:cNvSpPr/>
            <p:nvPr/>
          </p:nvSpPr>
          <p:spPr bwMode="gray">
            <a:xfrm>
              <a:off x="328396" y="5313940"/>
              <a:ext cx="720000" cy="720000"/>
            </a:xfrm>
            <a:prstGeom prst="rect">
              <a:avLst/>
            </a:prstGeom>
            <a:solidFill>
              <a:srgbClr val="E55A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pPr>
              <a:endParaRPr lang="en-US" sz="1000">
                <a:solidFill>
                  <a:schemeClr val="tx1"/>
                </a:solidFill>
                <a:latin typeface="Arial" pitchFamily="34" charset="0"/>
                <a:cs typeface="Arial" pitchFamily="34" charset="0"/>
              </a:endParaRPr>
            </a:p>
          </p:txBody>
        </p:sp>
        <p:sp>
          <p:nvSpPr>
            <p:cNvPr id="40" name="Freeform 76">
              <a:extLst>
                <a:ext uri="{FF2B5EF4-FFF2-40B4-BE49-F238E27FC236}">
                  <a16:creationId xmlns:a16="http://schemas.microsoft.com/office/drawing/2014/main" id="{55DB3C95-7D0C-D141-901E-96D692794D2B}"/>
                </a:ext>
              </a:extLst>
            </p:cNvPr>
            <p:cNvSpPr>
              <a:spLocks noChangeAspect="1" noEditPoints="1"/>
            </p:cNvSpPr>
            <p:nvPr/>
          </p:nvSpPr>
          <p:spPr bwMode="auto">
            <a:xfrm>
              <a:off x="456202" y="5509222"/>
              <a:ext cx="504000" cy="329436"/>
            </a:xfrm>
            <a:custGeom>
              <a:avLst/>
              <a:gdLst>
                <a:gd name="T0" fmla="*/ 0 w 2080"/>
                <a:gd name="T1" fmla="*/ 65 h 1360"/>
                <a:gd name="T2" fmla="*/ 0 w 2080"/>
                <a:gd name="T3" fmla="*/ 0 h 1360"/>
                <a:gd name="T4" fmla="*/ 2080 w 2080"/>
                <a:gd name="T5" fmla="*/ 0 h 1360"/>
                <a:gd name="T6" fmla="*/ 2080 w 2080"/>
                <a:gd name="T7" fmla="*/ 65 h 1360"/>
                <a:gd name="T8" fmla="*/ 1089 w 2080"/>
                <a:gd name="T9" fmla="*/ 862 h 1360"/>
                <a:gd name="T10" fmla="*/ 991 w 2080"/>
                <a:gd name="T11" fmla="*/ 862 h 1360"/>
                <a:gd name="T12" fmla="*/ 0 w 2080"/>
                <a:gd name="T13" fmla="*/ 65 h 1360"/>
                <a:gd name="T14" fmla="*/ 1139 w 2080"/>
                <a:gd name="T15" fmla="*/ 924 h 1360"/>
                <a:gd name="T16" fmla="*/ 1282 w 2080"/>
                <a:gd name="T17" fmla="*/ 810 h 1360"/>
                <a:gd name="T18" fmla="*/ 2076 w 2080"/>
                <a:gd name="T19" fmla="*/ 1360 h 1360"/>
                <a:gd name="T20" fmla="*/ 4 w 2080"/>
                <a:gd name="T21" fmla="*/ 1360 h 1360"/>
                <a:gd name="T22" fmla="*/ 798 w 2080"/>
                <a:gd name="T23" fmla="*/ 810 h 1360"/>
                <a:gd name="T24" fmla="*/ 941 w 2080"/>
                <a:gd name="T25" fmla="*/ 924 h 1360"/>
                <a:gd name="T26" fmla="*/ 1139 w 2080"/>
                <a:gd name="T27" fmla="*/ 924 h 1360"/>
                <a:gd name="T28" fmla="*/ 2 w 2080"/>
                <a:gd name="T29" fmla="*/ 137 h 1360"/>
                <a:gd name="T30" fmla="*/ 42 w 2080"/>
                <a:gd name="T31" fmla="*/ 201 h 1360"/>
                <a:gd name="T32" fmla="*/ 734 w 2080"/>
                <a:gd name="T33" fmla="*/ 758 h 1360"/>
                <a:gd name="T34" fmla="*/ 0 w 2080"/>
                <a:gd name="T35" fmla="*/ 1266 h 1360"/>
                <a:gd name="T36" fmla="*/ 0 w 2080"/>
                <a:gd name="T37" fmla="*/ 135 h 1360"/>
                <a:gd name="T38" fmla="*/ 2 w 2080"/>
                <a:gd name="T39" fmla="*/ 137 h 1360"/>
                <a:gd name="T40" fmla="*/ 2080 w 2080"/>
                <a:gd name="T41" fmla="*/ 136 h 1360"/>
                <a:gd name="T42" fmla="*/ 2080 w 2080"/>
                <a:gd name="T43" fmla="*/ 1265 h 1360"/>
                <a:gd name="T44" fmla="*/ 1346 w 2080"/>
                <a:gd name="T45" fmla="*/ 758 h 1360"/>
                <a:gd name="T46" fmla="*/ 2038 w 2080"/>
                <a:gd name="T47" fmla="*/ 201 h 1360"/>
                <a:gd name="T48" fmla="*/ 2080 w 2080"/>
                <a:gd name="T49" fmla="*/ 136 h 1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080" h="1360">
                  <a:moveTo>
                    <a:pt x="0" y="65"/>
                  </a:moveTo>
                  <a:cubicBezTo>
                    <a:pt x="0" y="0"/>
                    <a:pt x="0" y="0"/>
                    <a:pt x="0" y="0"/>
                  </a:cubicBezTo>
                  <a:cubicBezTo>
                    <a:pt x="2080" y="0"/>
                    <a:pt x="2080" y="0"/>
                    <a:pt x="2080" y="0"/>
                  </a:cubicBezTo>
                  <a:cubicBezTo>
                    <a:pt x="2080" y="65"/>
                    <a:pt x="2080" y="65"/>
                    <a:pt x="2080" y="65"/>
                  </a:cubicBezTo>
                  <a:cubicBezTo>
                    <a:pt x="1089" y="862"/>
                    <a:pt x="1089" y="862"/>
                    <a:pt x="1089" y="862"/>
                  </a:cubicBezTo>
                  <a:cubicBezTo>
                    <a:pt x="1060" y="886"/>
                    <a:pt x="1020" y="886"/>
                    <a:pt x="991" y="862"/>
                  </a:cubicBezTo>
                  <a:lnTo>
                    <a:pt x="0" y="65"/>
                  </a:lnTo>
                  <a:close/>
                  <a:moveTo>
                    <a:pt x="1139" y="924"/>
                  </a:moveTo>
                  <a:cubicBezTo>
                    <a:pt x="1282" y="810"/>
                    <a:pt x="1282" y="810"/>
                    <a:pt x="1282" y="810"/>
                  </a:cubicBezTo>
                  <a:cubicBezTo>
                    <a:pt x="2076" y="1360"/>
                    <a:pt x="2076" y="1360"/>
                    <a:pt x="2076" y="1360"/>
                  </a:cubicBezTo>
                  <a:cubicBezTo>
                    <a:pt x="4" y="1360"/>
                    <a:pt x="4" y="1360"/>
                    <a:pt x="4" y="1360"/>
                  </a:cubicBezTo>
                  <a:cubicBezTo>
                    <a:pt x="798" y="810"/>
                    <a:pt x="798" y="810"/>
                    <a:pt x="798" y="810"/>
                  </a:cubicBezTo>
                  <a:cubicBezTo>
                    <a:pt x="941" y="924"/>
                    <a:pt x="941" y="924"/>
                    <a:pt x="941" y="924"/>
                  </a:cubicBezTo>
                  <a:cubicBezTo>
                    <a:pt x="1000" y="972"/>
                    <a:pt x="1080" y="972"/>
                    <a:pt x="1139" y="924"/>
                  </a:cubicBezTo>
                  <a:close/>
                  <a:moveTo>
                    <a:pt x="2" y="137"/>
                  </a:moveTo>
                  <a:cubicBezTo>
                    <a:pt x="8" y="163"/>
                    <a:pt x="22" y="185"/>
                    <a:pt x="42" y="201"/>
                  </a:cubicBezTo>
                  <a:cubicBezTo>
                    <a:pt x="734" y="758"/>
                    <a:pt x="734" y="758"/>
                    <a:pt x="734" y="758"/>
                  </a:cubicBezTo>
                  <a:cubicBezTo>
                    <a:pt x="0" y="1266"/>
                    <a:pt x="0" y="1266"/>
                    <a:pt x="0" y="1266"/>
                  </a:cubicBezTo>
                  <a:cubicBezTo>
                    <a:pt x="0" y="135"/>
                    <a:pt x="0" y="135"/>
                    <a:pt x="0" y="135"/>
                  </a:cubicBezTo>
                  <a:lnTo>
                    <a:pt x="2" y="137"/>
                  </a:lnTo>
                  <a:close/>
                  <a:moveTo>
                    <a:pt x="2080" y="136"/>
                  </a:moveTo>
                  <a:cubicBezTo>
                    <a:pt x="2080" y="1265"/>
                    <a:pt x="2080" y="1265"/>
                    <a:pt x="2080" y="1265"/>
                  </a:cubicBezTo>
                  <a:cubicBezTo>
                    <a:pt x="1346" y="758"/>
                    <a:pt x="1346" y="758"/>
                    <a:pt x="1346" y="758"/>
                  </a:cubicBezTo>
                  <a:cubicBezTo>
                    <a:pt x="2038" y="201"/>
                    <a:pt x="2038" y="201"/>
                    <a:pt x="2038" y="201"/>
                  </a:cubicBezTo>
                  <a:cubicBezTo>
                    <a:pt x="2060" y="182"/>
                    <a:pt x="2072" y="162"/>
                    <a:pt x="2080" y="13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000"/>
            </a:p>
          </p:txBody>
        </p:sp>
      </p:grpSp>
      <p:cxnSp>
        <p:nvCxnSpPr>
          <p:cNvPr id="41" name="Straight Connector 40"/>
          <p:cNvCxnSpPr/>
          <p:nvPr/>
        </p:nvCxnSpPr>
        <p:spPr>
          <a:xfrm>
            <a:off x="2355914" y="5655833"/>
            <a:ext cx="3888000" cy="0"/>
          </a:xfrm>
          <a:prstGeom prst="line">
            <a:avLst/>
          </a:prstGeom>
          <a:ln w="6350">
            <a:solidFill>
              <a:schemeClr val="tx2"/>
            </a:solidFill>
            <a:prstDash val="dash"/>
          </a:ln>
        </p:spPr>
        <p:style>
          <a:lnRef idx="1">
            <a:schemeClr val="accent1"/>
          </a:lnRef>
          <a:fillRef idx="0">
            <a:schemeClr val="accent1"/>
          </a:fillRef>
          <a:effectRef idx="0">
            <a:schemeClr val="accent1"/>
          </a:effectRef>
          <a:fontRef idx="minor">
            <a:schemeClr val="tx1"/>
          </a:fontRef>
        </p:style>
      </p:cxnSp>
      <p:sp>
        <p:nvSpPr>
          <p:cNvPr id="42" name="Picture Placeholder 3"/>
          <p:cNvSpPr>
            <a:spLocks noGrp="1"/>
          </p:cNvSpPr>
          <p:nvPr>
            <p:ph type="pic" sz="quarter" idx="29" hasCustomPrompt="1"/>
          </p:nvPr>
        </p:nvSpPr>
        <p:spPr>
          <a:xfrm>
            <a:off x="2355914" y="3986604"/>
            <a:ext cx="1188677" cy="1547840"/>
          </a:xfrm>
          <a:solidFill>
            <a:srgbClr val="D9DADB"/>
          </a:solidFill>
        </p:spPr>
        <p:txBody>
          <a:bodyPr/>
          <a:lstStyle>
            <a:lvl1pPr marL="0" indent="0">
              <a:buNone/>
              <a:defRPr sz="1400"/>
            </a:lvl1pPr>
          </a:lstStyle>
          <a:p>
            <a:r>
              <a:rPr lang="en-US"/>
              <a:t>Insert picture</a:t>
            </a:r>
          </a:p>
        </p:txBody>
      </p:sp>
      <p:sp>
        <p:nvSpPr>
          <p:cNvPr id="43" name="Text Placeholder 5"/>
          <p:cNvSpPr>
            <a:spLocks noGrp="1"/>
          </p:cNvSpPr>
          <p:nvPr>
            <p:ph type="body" sz="quarter" idx="30" hasCustomPrompt="1"/>
          </p:nvPr>
        </p:nvSpPr>
        <p:spPr>
          <a:xfrm>
            <a:off x="3770065" y="3986141"/>
            <a:ext cx="2463190" cy="192360"/>
          </a:xfrm>
        </p:spPr>
        <p:txBody>
          <a:bodyPr lIns="0" tIns="0" rIns="0" bIns="0" anchor="ctr" anchorCtr="0"/>
          <a:lstStyle>
            <a:lvl1pPr marL="0" indent="0" algn="l">
              <a:lnSpc>
                <a:spcPct val="100000"/>
              </a:lnSpc>
              <a:buNone/>
              <a:defRPr sz="100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Country</a:t>
            </a:r>
          </a:p>
        </p:txBody>
      </p:sp>
      <p:sp>
        <p:nvSpPr>
          <p:cNvPr id="44" name="Text Placeholder 5"/>
          <p:cNvSpPr>
            <a:spLocks noGrp="1"/>
          </p:cNvSpPr>
          <p:nvPr>
            <p:ph type="body" sz="quarter" idx="31" hasCustomPrompt="1"/>
          </p:nvPr>
        </p:nvSpPr>
        <p:spPr>
          <a:xfrm>
            <a:off x="3770065" y="4197957"/>
            <a:ext cx="2463190" cy="266182"/>
          </a:xfrm>
        </p:spPr>
        <p:txBody>
          <a:bodyPr lIns="0" tIns="0" rIns="0" bIns="0" anchor="b" anchorCtr="0"/>
          <a:lstStyle>
            <a:lvl1pPr marL="0" indent="0" algn="l">
              <a:lnSpc>
                <a:spcPct val="100000"/>
              </a:lnSpc>
              <a:buNone/>
              <a:defRPr sz="1400" b="1" baseline="0">
                <a:solidFill>
                  <a:schemeClr val="tx2"/>
                </a:solidFill>
              </a:defRPr>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Name, Surname</a:t>
            </a:r>
          </a:p>
        </p:txBody>
      </p:sp>
      <p:sp>
        <p:nvSpPr>
          <p:cNvPr id="45" name="Text Placeholder 5"/>
          <p:cNvSpPr>
            <a:spLocks noGrp="1"/>
          </p:cNvSpPr>
          <p:nvPr>
            <p:ph type="body" sz="quarter" idx="32" hasCustomPrompt="1"/>
          </p:nvPr>
        </p:nvSpPr>
        <p:spPr>
          <a:xfrm>
            <a:off x="3770065" y="4494532"/>
            <a:ext cx="2463190"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Job Position</a:t>
            </a:r>
          </a:p>
        </p:txBody>
      </p:sp>
      <p:sp>
        <p:nvSpPr>
          <p:cNvPr id="46" name="Text Placeholder 5"/>
          <p:cNvSpPr>
            <a:spLocks noGrp="1"/>
          </p:cNvSpPr>
          <p:nvPr>
            <p:ph type="body" sz="quarter" idx="33" hasCustomPrompt="1"/>
          </p:nvPr>
        </p:nvSpPr>
        <p:spPr>
          <a:xfrm>
            <a:off x="4014948" y="5023208"/>
            <a:ext cx="2218307"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Phone number</a:t>
            </a:r>
          </a:p>
        </p:txBody>
      </p:sp>
      <p:sp>
        <p:nvSpPr>
          <p:cNvPr id="47" name="Text Placeholder 5"/>
          <p:cNvSpPr>
            <a:spLocks noGrp="1"/>
          </p:cNvSpPr>
          <p:nvPr>
            <p:ph type="body" sz="quarter" idx="34" hasCustomPrompt="1"/>
          </p:nvPr>
        </p:nvSpPr>
        <p:spPr>
          <a:xfrm>
            <a:off x="4014948" y="5306015"/>
            <a:ext cx="2218307"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Email address</a:t>
            </a:r>
          </a:p>
        </p:txBody>
      </p:sp>
      <p:grpSp>
        <p:nvGrpSpPr>
          <p:cNvPr id="48" name="Gruppieren 2">
            <a:extLst>
              <a:ext uri="{FF2B5EF4-FFF2-40B4-BE49-F238E27FC236}">
                <a16:creationId xmlns:a16="http://schemas.microsoft.com/office/drawing/2014/main" id="{BE697CE9-EBDE-6B4A-BE70-582D92A8A831}"/>
              </a:ext>
            </a:extLst>
          </p:cNvPr>
          <p:cNvGrpSpPr/>
          <p:nvPr/>
        </p:nvGrpSpPr>
        <p:grpSpPr>
          <a:xfrm>
            <a:off x="8701917" y="5043528"/>
            <a:ext cx="171180" cy="171180"/>
            <a:chOff x="3392092" y="1841122"/>
            <a:chExt cx="646508" cy="646508"/>
          </a:xfrm>
        </p:grpSpPr>
        <p:sp>
          <p:nvSpPr>
            <p:cNvPr id="49" name="Rechteck 14">
              <a:extLst>
                <a:ext uri="{FF2B5EF4-FFF2-40B4-BE49-F238E27FC236}">
                  <a16:creationId xmlns:a16="http://schemas.microsoft.com/office/drawing/2014/main" id="{E142A731-19B7-C34D-9534-9E05108F895F}"/>
                </a:ext>
              </a:extLst>
            </p:cNvPr>
            <p:cNvSpPr>
              <a:spLocks noChangeAspect="1"/>
            </p:cNvSpPr>
            <p:nvPr/>
          </p:nvSpPr>
          <p:spPr bwMode="gray">
            <a:xfrm>
              <a:off x="3392092" y="1841122"/>
              <a:ext cx="646508" cy="646508"/>
            </a:xfrm>
            <a:prstGeom prst="rect">
              <a:avLst/>
            </a:prstGeom>
            <a:solidFill>
              <a:srgbClr val="E55A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pPr>
              <a:endParaRPr lang="en-US" sz="1000">
                <a:solidFill>
                  <a:schemeClr val="tx1"/>
                </a:solidFill>
                <a:latin typeface="Arial" pitchFamily="34" charset="0"/>
                <a:cs typeface="Arial" pitchFamily="34" charset="0"/>
              </a:endParaRPr>
            </a:p>
          </p:txBody>
        </p:sp>
        <p:sp>
          <p:nvSpPr>
            <p:cNvPr id="50" name="Freeform 49">
              <a:extLst>
                <a:ext uri="{FF2B5EF4-FFF2-40B4-BE49-F238E27FC236}">
                  <a16:creationId xmlns:a16="http://schemas.microsoft.com/office/drawing/2014/main" id="{F97E84AE-4AD9-4B44-9AA1-F797FC373809}"/>
                </a:ext>
              </a:extLst>
            </p:cNvPr>
            <p:cNvSpPr>
              <a:spLocks noChangeAspect="1"/>
            </p:cNvSpPr>
            <p:nvPr/>
          </p:nvSpPr>
          <p:spPr bwMode="auto">
            <a:xfrm>
              <a:off x="3546638" y="1970424"/>
              <a:ext cx="337415" cy="387905"/>
            </a:xfrm>
            <a:custGeom>
              <a:avLst/>
              <a:gdLst>
                <a:gd name="T0" fmla="*/ 573 w 1624"/>
                <a:gd name="T1" fmla="*/ 1257 h 1867"/>
                <a:gd name="T2" fmla="*/ 662 w 1624"/>
                <a:gd name="T3" fmla="*/ 1288 h 1867"/>
                <a:gd name="T4" fmla="*/ 938 w 1624"/>
                <a:gd name="T5" fmla="*/ 1051 h 1867"/>
                <a:gd name="T6" fmla="*/ 1106 w 1624"/>
                <a:gd name="T7" fmla="*/ 731 h 1867"/>
                <a:gd name="T8" fmla="*/ 1059 w 1624"/>
                <a:gd name="T9" fmla="*/ 645 h 1867"/>
                <a:gd name="T10" fmla="*/ 1001 w 1624"/>
                <a:gd name="T11" fmla="*/ 613 h 1867"/>
                <a:gd name="T12" fmla="*/ 924 w 1624"/>
                <a:gd name="T13" fmla="*/ 432 h 1867"/>
                <a:gd name="T14" fmla="*/ 1114 w 1624"/>
                <a:gd name="T15" fmla="*/ 81 h 1867"/>
                <a:gd name="T16" fmla="*/ 1287 w 1624"/>
                <a:gd name="T17" fmla="*/ 35 h 1867"/>
                <a:gd name="T18" fmla="*/ 1350 w 1624"/>
                <a:gd name="T19" fmla="*/ 69 h 1867"/>
                <a:gd name="T20" fmla="*/ 1527 w 1624"/>
                <a:gd name="T21" fmla="*/ 235 h 1867"/>
                <a:gd name="T22" fmla="*/ 1583 w 1624"/>
                <a:gd name="T23" fmla="*/ 555 h 1867"/>
                <a:gd name="T24" fmla="*/ 1172 w 1624"/>
                <a:gd name="T25" fmla="*/ 1253 h 1867"/>
                <a:gd name="T26" fmla="*/ 586 w 1624"/>
                <a:gd name="T27" fmla="*/ 1803 h 1867"/>
                <a:gd name="T28" fmla="*/ 269 w 1624"/>
                <a:gd name="T29" fmla="*/ 1807 h 1867"/>
                <a:gd name="T30" fmla="*/ 33 w 1624"/>
                <a:gd name="T31" fmla="*/ 1602 h 1867"/>
                <a:gd name="T32" fmla="*/ 2 w 1624"/>
                <a:gd name="T33" fmla="*/ 1508 h 1867"/>
                <a:gd name="T34" fmla="*/ 45 w 1624"/>
                <a:gd name="T35" fmla="*/ 1421 h 1867"/>
                <a:gd name="T36" fmla="*/ 346 w 1624"/>
                <a:gd name="T37" fmla="*/ 1158 h 1867"/>
                <a:gd name="T38" fmla="*/ 448 w 1624"/>
                <a:gd name="T39" fmla="*/ 1145 h 1867"/>
                <a:gd name="T40" fmla="*/ 573 w 1624"/>
                <a:gd name="T41" fmla="*/ 1257 h 18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24" h="1867">
                  <a:moveTo>
                    <a:pt x="573" y="1257"/>
                  </a:moveTo>
                  <a:cubicBezTo>
                    <a:pt x="592" y="1282"/>
                    <a:pt x="630" y="1303"/>
                    <a:pt x="662" y="1288"/>
                  </a:cubicBezTo>
                  <a:cubicBezTo>
                    <a:pt x="753" y="1245"/>
                    <a:pt x="854" y="1156"/>
                    <a:pt x="938" y="1051"/>
                  </a:cubicBezTo>
                  <a:cubicBezTo>
                    <a:pt x="1020" y="948"/>
                    <a:pt x="1084" y="831"/>
                    <a:pt x="1106" y="731"/>
                  </a:cubicBezTo>
                  <a:cubicBezTo>
                    <a:pt x="1113" y="696"/>
                    <a:pt x="1089" y="661"/>
                    <a:pt x="1059" y="645"/>
                  </a:cubicBezTo>
                  <a:cubicBezTo>
                    <a:pt x="1001" y="613"/>
                    <a:pt x="1001" y="613"/>
                    <a:pt x="1001" y="613"/>
                  </a:cubicBezTo>
                  <a:cubicBezTo>
                    <a:pt x="942" y="580"/>
                    <a:pt x="888" y="499"/>
                    <a:pt x="924" y="432"/>
                  </a:cubicBezTo>
                  <a:cubicBezTo>
                    <a:pt x="1114" y="81"/>
                    <a:pt x="1114" y="81"/>
                    <a:pt x="1114" y="81"/>
                  </a:cubicBezTo>
                  <a:cubicBezTo>
                    <a:pt x="1150" y="16"/>
                    <a:pt x="1224" y="0"/>
                    <a:pt x="1287" y="35"/>
                  </a:cubicBezTo>
                  <a:cubicBezTo>
                    <a:pt x="1350" y="69"/>
                    <a:pt x="1350" y="69"/>
                    <a:pt x="1350" y="69"/>
                  </a:cubicBezTo>
                  <a:cubicBezTo>
                    <a:pt x="1415" y="105"/>
                    <a:pt x="1479" y="165"/>
                    <a:pt x="1527" y="235"/>
                  </a:cubicBezTo>
                  <a:cubicBezTo>
                    <a:pt x="1593" y="332"/>
                    <a:pt x="1624" y="442"/>
                    <a:pt x="1583" y="555"/>
                  </a:cubicBezTo>
                  <a:cubicBezTo>
                    <a:pt x="1500" y="781"/>
                    <a:pt x="1351" y="1030"/>
                    <a:pt x="1172" y="1253"/>
                  </a:cubicBezTo>
                  <a:cubicBezTo>
                    <a:pt x="994" y="1477"/>
                    <a:pt x="786" y="1676"/>
                    <a:pt x="586" y="1803"/>
                  </a:cubicBezTo>
                  <a:cubicBezTo>
                    <a:pt x="486" y="1867"/>
                    <a:pt x="375" y="1856"/>
                    <a:pt x="269" y="1807"/>
                  </a:cubicBezTo>
                  <a:cubicBezTo>
                    <a:pt x="157" y="1755"/>
                    <a:pt x="106" y="1695"/>
                    <a:pt x="33" y="1602"/>
                  </a:cubicBezTo>
                  <a:cubicBezTo>
                    <a:pt x="11" y="1573"/>
                    <a:pt x="0" y="1540"/>
                    <a:pt x="2" y="1508"/>
                  </a:cubicBezTo>
                  <a:cubicBezTo>
                    <a:pt x="4" y="1475"/>
                    <a:pt x="18" y="1444"/>
                    <a:pt x="45" y="1421"/>
                  </a:cubicBezTo>
                  <a:cubicBezTo>
                    <a:pt x="70" y="1399"/>
                    <a:pt x="346" y="1158"/>
                    <a:pt x="346" y="1158"/>
                  </a:cubicBezTo>
                  <a:cubicBezTo>
                    <a:pt x="376" y="1134"/>
                    <a:pt x="413" y="1133"/>
                    <a:pt x="448" y="1145"/>
                  </a:cubicBezTo>
                  <a:cubicBezTo>
                    <a:pt x="510" y="1166"/>
                    <a:pt x="536" y="1210"/>
                    <a:pt x="573" y="1257"/>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351"/>
            </a:p>
          </p:txBody>
        </p:sp>
      </p:grpSp>
      <p:grpSp>
        <p:nvGrpSpPr>
          <p:cNvPr id="51" name="Group 3">
            <a:extLst>
              <a:ext uri="{FF2B5EF4-FFF2-40B4-BE49-F238E27FC236}">
                <a16:creationId xmlns:a16="http://schemas.microsoft.com/office/drawing/2014/main" id="{7104BADD-8CD1-6F4A-B894-869C3BDB3EEB}"/>
              </a:ext>
            </a:extLst>
          </p:cNvPr>
          <p:cNvGrpSpPr>
            <a:grpSpLocks noChangeAspect="1"/>
          </p:cNvGrpSpPr>
          <p:nvPr>
            <p:custDataLst>
              <p:tags r:id="rId4"/>
            </p:custDataLst>
          </p:nvPr>
        </p:nvGrpSpPr>
        <p:grpSpPr>
          <a:xfrm>
            <a:off x="8701918" y="5328416"/>
            <a:ext cx="171180" cy="171180"/>
            <a:chOff x="328396" y="5313940"/>
            <a:chExt cx="720000" cy="720000"/>
          </a:xfrm>
        </p:grpSpPr>
        <p:sp>
          <p:nvSpPr>
            <p:cNvPr id="52" name="Rectangle 4">
              <a:extLst>
                <a:ext uri="{FF2B5EF4-FFF2-40B4-BE49-F238E27FC236}">
                  <a16:creationId xmlns:a16="http://schemas.microsoft.com/office/drawing/2014/main" id="{74BE3D5F-1445-6E40-8B49-72E15568383B}"/>
                </a:ext>
              </a:extLst>
            </p:cNvPr>
            <p:cNvSpPr/>
            <p:nvPr/>
          </p:nvSpPr>
          <p:spPr bwMode="gray">
            <a:xfrm>
              <a:off x="328396" y="5313940"/>
              <a:ext cx="720000" cy="720000"/>
            </a:xfrm>
            <a:prstGeom prst="rect">
              <a:avLst/>
            </a:prstGeom>
            <a:solidFill>
              <a:srgbClr val="E55A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pPr>
              <a:endParaRPr lang="en-US" sz="1000">
                <a:solidFill>
                  <a:schemeClr val="tx1"/>
                </a:solidFill>
                <a:latin typeface="Arial" pitchFamily="34" charset="0"/>
                <a:cs typeface="Arial" pitchFamily="34" charset="0"/>
              </a:endParaRPr>
            </a:p>
          </p:txBody>
        </p:sp>
        <p:sp>
          <p:nvSpPr>
            <p:cNvPr id="53" name="Freeform 76">
              <a:extLst>
                <a:ext uri="{FF2B5EF4-FFF2-40B4-BE49-F238E27FC236}">
                  <a16:creationId xmlns:a16="http://schemas.microsoft.com/office/drawing/2014/main" id="{55DB3C95-7D0C-D141-901E-96D692794D2B}"/>
                </a:ext>
              </a:extLst>
            </p:cNvPr>
            <p:cNvSpPr>
              <a:spLocks noChangeAspect="1" noEditPoints="1"/>
            </p:cNvSpPr>
            <p:nvPr/>
          </p:nvSpPr>
          <p:spPr bwMode="auto">
            <a:xfrm>
              <a:off x="456202" y="5509222"/>
              <a:ext cx="504000" cy="329436"/>
            </a:xfrm>
            <a:custGeom>
              <a:avLst/>
              <a:gdLst>
                <a:gd name="T0" fmla="*/ 0 w 2080"/>
                <a:gd name="T1" fmla="*/ 65 h 1360"/>
                <a:gd name="T2" fmla="*/ 0 w 2080"/>
                <a:gd name="T3" fmla="*/ 0 h 1360"/>
                <a:gd name="T4" fmla="*/ 2080 w 2080"/>
                <a:gd name="T5" fmla="*/ 0 h 1360"/>
                <a:gd name="T6" fmla="*/ 2080 w 2080"/>
                <a:gd name="T7" fmla="*/ 65 h 1360"/>
                <a:gd name="T8" fmla="*/ 1089 w 2080"/>
                <a:gd name="T9" fmla="*/ 862 h 1360"/>
                <a:gd name="T10" fmla="*/ 991 w 2080"/>
                <a:gd name="T11" fmla="*/ 862 h 1360"/>
                <a:gd name="T12" fmla="*/ 0 w 2080"/>
                <a:gd name="T13" fmla="*/ 65 h 1360"/>
                <a:gd name="T14" fmla="*/ 1139 w 2080"/>
                <a:gd name="T15" fmla="*/ 924 h 1360"/>
                <a:gd name="T16" fmla="*/ 1282 w 2080"/>
                <a:gd name="T17" fmla="*/ 810 h 1360"/>
                <a:gd name="T18" fmla="*/ 2076 w 2080"/>
                <a:gd name="T19" fmla="*/ 1360 h 1360"/>
                <a:gd name="T20" fmla="*/ 4 w 2080"/>
                <a:gd name="T21" fmla="*/ 1360 h 1360"/>
                <a:gd name="T22" fmla="*/ 798 w 2080"/>
                <a:gd name="T23" fmla="*/ 810 h 1360"/>
                <a:gd name="T24" fmla="*/ 941 w 2080"/>
                <a:gd name="T25" fmla="*/ 924 h 1360"/>
                <a:gd name="T26" fmla="*/ 1139 w 2080"/>
                <a:gd name="T27" fmla="*/ 924 h 1360"/>
                <a:gd name="T28" fmla="*/ 2 w 2080"/>
                <a:gd name="T29" fmla="*/ 137 h 1360"/>
                <a:gd name="T30" fmla="*/ 42 w 2080"/>
                <a:gd name="T31" fmla="*/ 201 h 1360"/>
                <a:gd name="T32" fmla="*/ 734 w 2080"/>
                <a:gd name="T33" fmla="*/ 758 h 1360"/>
                <a:gd name="T34" fmla="*/ 0 w 2080"/>
                <a:gd name="T35" fmla="*/ 1266 h 1360"/>
                <a:gd name="T36" fmla="*/ 0 w 2080"/>
                <a:gd name="T37" fmla="*/ 135 h 1360"/>
                <a:gd name="T38" fmla="*/ 2 w 2080"/>
                <a:gd name="T39" fmla="*/ 137 h 1360"/>
                <a:gd name="T40" fmla="*/ 2080 w 2080"/>
                <a:gd name="T41" fmla="*/ 136 h 1360"/>
                <a:gd name="T42" fmla="*/ 2080 w 2080"/>
                <a:gd name="T43" fmla="*/ 1265 h 1360"/>
                <a:gd name="T44" fmla="*/ 1346 w 2080"/>
                <a:gd name="T45" fmla="*/ 758 h 1360"/>
                <a:gd name="T46" fmla="*/ 2038 w 2080"/>
                <a:gd name="T47" fmla="*/ 201 h 1360"/>
                <a:gd name="T48" fmla="*/ 2080 w 2080"/>
                <a:gd name="T49" fmla="*/ 136 h 1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080" h="1360">
                  <a:moveTo>
                    <a:pt x="0" y="65"/>
                  </a:moveTo>
                  <a:cubicBezTo>
                    <a:pt x="0" y="0"/>
                    <a:pt x="0" y="0"/>
                    <a:pt x="0" y="0"/>
                  </a:cubicBezTo>
                  <a:cubicBezTo>
                    <a:pt x="2080" y="0"/>
                    <a:pt x="2080" y="0"/>
                    <a:pt x="2080" y="0"/>
                  </a:cubicBezTo>
                  <a:cubicBezTo>
                    <a:pt x="2080" y="65"/>
                    <a:pt x="2080" y="65"/>
                    <a:pt x="2080" y="65"/>
                  </a:cubicBezTo>
                  <a:cubicBezTo>
                    <a:pt x="1089" y="862"/>
                    <a:pt x="1089" y="862"/>
                    <a:pt x="1089" y="862"/>
                  </a:cubicBezTo>
                  <a:cubicBezTo>
                    <a:pt x="1060" y="886"/>
                    <a:pt x="1020" y="886"/>
                    <a:pt x="991" y="862"/>
                  </a:cubicBezTo>
                  <a:lnTo>
                    <a:pt x="0" y="65"/>
                  </a:lnTo>
                  <a:close/>
                  <a:moveTo>
                    <a:pt x="1139" y="924"/>
                  </a:moveTo>
                  <a:cubicBezTo>
                    <a:pt x="1282" y="810"/>
                    <a:pt x="1282" y="810"/>
                    <a:pt x="1282" y="810"/>
                  </a:cubicBezTo>
                  <a:cubicBezTo>
                    <a:pt x="2076" y="1360"/>
                    <a:pt x="2076" y="1360"/>
                    <a:pt x="2076" y="1360"/>
                  </a:cubicBezTo>
                  <a:cubicBezTo>
                    <a:pt x="4" y="1360"/>
                    <a:pt x="4" y="1360"/>
                    <a:pt x="4" y="1360"/>
                  </a:cubicBezTo>
                  <a:cubicBezTo>
                    <a:pt x="798" y="810"/>
                    <a:pt x="798" y="810"/>
                    <a:pt x="798" y="810"/>
                  </a:cubicBezTo>
                  <a:cubicBezTo>
                    <a:pt x="941" y="924"/>
                    <a:pt x="941" y="924"/>
                    <a:pt x="941" y="924"/>
                  </a:cubicBezTo>
                  <a:cubicBezTo>
                    <a:pt x="1000" y="972"/>
                    <a:pt x="1080" y="972"/>
                    <a:pt x="1139" y="924"/>
                  </a:cubicBezTo>
                  <a:close/>
                  <a:moveTo>
                    <a:pt x="2" y="137"/>
                  </a:moveTo>
                  <a:cubicBezTo>
                    <a:pt x="8" y="163"/>
                    <a:pt x="22" y="185"/>
                    <a:pt x="42" y="201"/>
                  </a:cubicBezTo>
                  <a:cubicBezTo>
                    <a:pt x="734" y="758"/>
                    <a:pt x="734" y="758"/>
                    <a:pt x="734" y="758"/>
                  </a:cubicBezTo>
                  <a:cubicBezTo>
                    <a:pt x="0" y="1266"/>
                    <a:pt x="0" y="1266"/>
                    <a:pt x="0" y="1266"/>
                  </a:cubicBezTo>
                  <a:cubicBezTo>
                    <a:pt x="0" y="135"/>
                    <a:pt x="0" y="135"/>
                    <a:pt x="0" y="135"/>
                  </a:cubicBezTo>
                  <a:lnTo>
                    <a:pt x="2" y="137"/>
                  </a:lnTo>
                  <a:close/>
                  <a:moveTo>
                    <a:pt x="2080" y="136"/>
                  </a:moveTo>
                  <a:cubicBezTo>
                    <a:pt x="2080" y="1265"/>
                    <a:pt x="2080" y="1265"/>
                    <a:pt x="2080" y="1265"/>
                  </a:cubicBezTo>
                  <a:cubicBezTo>
                    <a:pt x="1346" y="758"/>
                    <a:pt x="1346" y="758"/>
                    <a:pt x="1346" y="758"/>
                  </a:cubicBezTo>
                  <a:cubicBezTo>
                    <a:pt x="2038" y="201"/>
                    <a:pt x="2038" y="201"/>
                    <a:pt x="2038" y="201"/>
                  </a:cubicBezTo>
                  <a:cubicBezTo>
                    <a:pt x="2060" y="182"/>
                    <a:pt x="2072" y="162"/>
                    <a:pt x="2080" y="13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000"/>
            </a:p>
          </p:txBody>
        </p:sp>
      </p:grpSp>
      <p:cxnSp>
        <p:nvCxnSpPr>
          <p:cNvPr id="54" name="Straight Connector 53"/>
          <p:cNvCxnSpPr/>
          <p:nvPr/>
        </p:nvCxnSpPr>
        <p:spPr>
          <a:xfrm>
            <a:off x="7287766" y="5653422"/>
            <a:ext cx="3888000" cy="0"/>
          </a:xfrm>
          <a:prstGeom prst="line">
            <a:avLst/>
          </a:prstGeom>
          <a:ln w="6350">
            <a:solidFill>
              <a:schemeClr val="tx2"/>
            </a:solidFill>
            <a:prstDash val="dash"/>
          </a:ln>
        </p:spPr>
        <p:style>
          <a:lnRef idx="1">
            <a:schemeClr val="accent1"/>
          </a:lnRef>
          <a:fillRef idx="0">
            <a:schemeClr val="accent1"/>
          </a:fillRef>
          <a:effectRef idx="0">
            <a:schemeClr val="accent1"/>
          </a:effectRef>
          <a:fontRef idx="minor">
            <a:schemeClr val="tx1"/>
          </a:fontRef>
        </p:style>
      </p:cxnSp>
      <p:sp>
        <p:nvSpPr>
          <p:cNvPr id="55" name="Picture Placeholder 3"/>
          <p:cNvSpPr>
            <a:spLocks noGrp="1"/>
          </p:cNvSpPr>
          <p:nvPr>
            <p:ph type="pic" sz="quarter" idx="35" hasCustomPrompt="1"/>
          </p:nvPr>
        </p:nvSpPr>
        <p:spPr>
          <a:xfrm>
            <a:off x="7287766" y="3984193"/>
            <a:ext cx="1188677" cy="1547840"/>
          </a:xfrm>
          <a:solidFill>
            <a:srgbClr val="D9DADB"/>
          </a:solidFill>
        </p:spPr>
        <p:txBody>
          <a:bodyPr/>
          <a:lstStyle>
            <a:lvl1pPr marL="0" indent="0">
              <a:buNone/>
              <a:defRPr sz="1400"/>
            </a:lvl1pPr>
          </a:lstStyle>
          <a:p>
            <a:r>
              <a:rPr lang="en-US"/>
              <a:t>Insert picture</a:t>
            </a:r>
          </a:p>
        </p:txBody>
      </p:sp>
      <p:sp>
        <p:nvSpPr>
          <p:cNvPr id="56" name="Text Placeholder 5"/>
          <p:cNvSpPr>
            <a:spLocks noGrp="1"/>
          </p:cNvSpPr>
          <p:nvPr>
            <p:ph type="body" sz="quarter" idx="36" hasCustomPrompt="1"/>
          </p:nvPr>
        </p:nvSpPr>
        <p:spPr>
          <a:xfrm>
            <a:off x="8701917" y="3983730"/>
            <a:ext cx="2463190" cy="192360"/>
          </a:xfrm>
        </p:spPr>
        <p:txBody>
          <a:bodyPr lIns="0" tIns="0" rIns="0" bIns="0" anchor="ctr" anchorCtr="0"/>
          <a:lstStyle>
            <a:lvl1pPr marL="0" indent="0" algn="l">
              <a:lnSpc>
                <a:spcPct val="100000"/>
              </a:lnSpc>
              <a:buNone/>
              <a:defRPr sz="100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Country</a:t>
            </a:r>
          </a:p>
        </p:txBody>
      </p:sp>
      <p:sp>
        <p:nvSpPr>
          <p:cNvPr id="57" name="Text Placeholder 5"/>
          <p:cNvSpPr>
            <a:spLocks noGrp="1"/>
          </p:cNvSpPr>
          <p:nvPr>
            <p:ph type="body" sz="quarter" idx="37" hasCustomPrompt="1"/>
          </p:nvPr>
        </p:nvSpPr>
        <p:spPr>
          <a:xfrm>
            <a:off x="8701917" y="4195546"/>
            <a:ext cx="2463190" cy="266182"/>
          </a:xfrm>
        </p:spPr>
        <p:txBody>
          <a:bodyPr lIns="0" tIns="0" rIns="0" bIns="0" anchor="b" anchorCtr="0"/>
          <a:lstStyle>
            <a:lvl1pPr marL="0" indent="0" algn="l">
              <a:lnSpc>
                <a:spcPct val="100000"/>
              </a:lnSpc>
              <a:buNone/>
              <a:defRPr sz="1400" b="1" baseline="0">
                <a:solidFill>
                  <a:schemeClr val="tx2"/>
                </a:solidFill>
              </a:defRPr>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Name, Surname</a:t>
            </a:r>
          </a:p>
        </p:txBody>
      </p:sp>
      <p:sp>
        <p:nvSpPr>
          <p:cNvPr id="58" name="Text Placeholder 5"/>
          <p:cNvSpPr>
            <a:spLocks noGrp="1"/>
          </p:cNvSpPr>
          <p:nvPr>
            <p:ph type="body" sz="quarter" idx="38" hasCustomPrompt="1"/>
          </p:nvPr>
        </p:nvSpPr>
        <p:spPr>
          <a:xfrm>
            <a:off x="8701917" y="4492121"/>
            <a:ext cx="2463190"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Job Position</a:t>
            </a:r>
          </a:p>
        </p:txBody>
      </p:sp>
      <p:sp>
        <p:nvSpPr>
          <p:cNvPr id="59" name="Text Placeholder 5"/>
          <p:cNvSpPr>
            <a:spLocks noGrp="1"/>
          </p:cNvSpPr>
          <p:nvPr>
            <p:ph type="body" sz="quarter" idx="39" hasCustomPrompt="1"/>
          </p:nvPr>
        </p:nvSpPr>
        <p:spPr>
          <a:xfrm>
            <a:off x="8946800" y="5020797"/>
            <a:ext cx="2218307"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Phone number</a:t>
            </a:r>
          </a:p>
        </p:txBody>
      </p:sp>
      <p:sp>
        <p:nvSpPr>
          <p:cNvPr id="60" name="Text Placeholder 5"/>
          <p:cNvSpPr>
            <a:spLocks noGrp="1"/>
          </p:cNvSpPr>
          <p:nvPr>
            <p:ph type="body" sz="quarter" idx="40" hasCustomPrompt="1"/>
          </p:nvPr>
        </p:nvSpPr>
        <p:spPr>
          <a:xfrm>
            <a:off x="8946800" y="5303604"/>
            <a:ext cx="2218307"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Email address</a:t>
            </a:r>
          </a:p>
        </p:txBody>
      </p:sp>
    </p:spTree>
    <p:extLst>
      <p:ext uri="{BB962C8B-B14F-4D97-AF65-F5344CB8AC3E}">
        <p14:creationId xmlns:p14="http://schemas.microsoft.com/office/powerpoint/2010/main" val="3241097760"/>
      </p:ext>
    </p:extLst>
  </p:cSld>
  <p:clrMapOvr>
    <a:masterClrMapping/>
  </p:clrMapOvr>
</p:sldLayout>
</file>

<file path=ppt/slideLayouts/slideLayout299.xml><?xml version="1.0" encoding="utf-8"?>
<p:sldLayout xmlns:a="http://schemas.openxmlformats.org/drawingml/2006/main" xmlns:r="http://schemas.openxmlformats.org/officeDocument/2006/relationships" xmlns:p="http://schemas.openxmlformats.org/presentationml/2006/main" showMasterSp="0" preserve="1">
  <p:cSld name="End slide">
    <p:spTree>
      <p:nvGrpSpPr>
        <p:cNvPr id="1" name=""/>
        <p:cNvGrpSpPr/>
        <p:nvPr/>
      </p:nvGrpSpPr>
      <p:grpSpPr>
        <a:xfrm>
          <a:off x="0" y="0"/>
          <a:ext cx="0" cy="0"/>
          <a:chOff x="0" y="0"/>
          <a:chExt cx="0" cy="0"/>
        </a:xfrm>
      </p:grpSpPr>
      <p:pic>
        <p:nvPicPr>
          <p:cNvPr id="30" name="picture">
            <a:extLst>
              <a:ext uri="{FF2B5EF4-FFF2-40B4-BE49-F238E27FC236}">
                <a16:creationId xmlns:a16="http://schemas.microsoft.com/office/drawing/2014/main" id="{8BF907F5-A9CD-2740-AF54-6BACB62334AE}"/>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2620212" y="-8808"/>
            <a:ext cx="9697299" cy="6866807"/>
          </a:xfrm>
          <a:prstGeom prst="rect">
            <a:avLst/>
          </a:prstGeom>
        </p:spPr>
      </p:pic>
      <p:sp>
        <p:nvSpPr>
          <p:cNvPr id="29" name="shpPicture"/>
          <p:cNvSpPr/>
          <p:nvPr/>
        </p:nvSpPr>
        <p:spPr>
          <a:xfrm>
            <a:off x="0" y="0"/>
            <a:ext cx="4347306" cy="6858000"/>
          </a:xfrm>
          <a:custGeom>
            <a:avLst/>
            <a:gdLst>
              <a:gd name="connsiteX0" fmla="*/ 0 w 4347306"/>
              <a:gd name="connsiteY0" fmla="*/ 0 h 6858000"/>
              <a:gd name="connsiteX1" fmla="*/ 3252806 w 4347306"/>
              <a:gd name="connsiteY1" fmla="*/ 0 h 6858000"/>
              <a:gd name="connsiteX2" fmla="*/ 4347306 w 4347306"/>
              <a:gd name="connsiteY2" fmla="*/ 4140909 h 6858000"/>
              <a:gd name="connsiteX3" fmla="*/ 2943442 w 4347306"/>
              <a:gd name="connsiteY3" fmla="*/ 6858000 h 6858000"/>
              <a:gd name="connsiteX4" fmla="*/ 0 w 4347306"/>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47306" h="6858000">
                <a:moveTo>
                  <a:pt x="0" y="0"/>
                </a:moveTo>
                <a:lnTo>
                  <a:pt x="3252806" y="0"/>
                </a:lnTo>
                <a:lnTo>
                  <a:pt x="4347306" y="4140909"/>
                </a:lnTo>
                <a:lnTo>
                  <a:pt x="2943442"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US" sz="1600"/>
          </a:p>
        </p:txBody>
      </p:sp>
      <p:grpSp>
        <p:nvGrpSpPr>
          <p:cNvPr id="14" name="logo">
            <a:extLst>
              <a:ext uri="{FF2B5EF4-FFF2-40B4-BE49-F238E27FC236}">
                <a16:creationId xmlns:a16="http://schemas.microsoft.com/office/drawing/2014/main" id="{18C26D95-70F8-8A4D-9F18-DCCB92522AF8}"/>
              </a:ext>
            </a:extLst>
          </p:cNvPr>
          <p:cNvGrpSpPr/>
          <p:nvPr/>
        </p:nvGrpSpPr>
        <p:grpSpPr bwMode="gray">
          <a:xfrm>
            <a:off x="417363" y="407485"/>
            <a:ext cx="1518585" cy="646507"/>
            <a:chOff x="334963" y="296652"/>
            <a:chExt cx="1268411" cy="540000"/>
          </a:xfrm>
        </p:grpSpPr>
        <p:sp>
          <p:nvSpPr>
            <p:cNvPr id="17" name="Freeform 6">
              <a:extLst>
                <a:ext uri="{FF2B5EF4-FFF2-40B4-BE49-F238E27FC236}">
                  <a16:creationId xmlns:a16="http://schemas.microsoft.com/office/drawing/2014/main" id="{08737AD0-E375-E445-97E6-CD2E2DF60620}"/>
                </a:ext>
              </a:extLst>
            </p:cNvPr>
            <p:cNvSpPr>
              <a:spLocks noEditPoints="1"/>
            </p:cNvSpPr>
            <p:nvPr/>
          </p:nvSpPr>
          <p:spPr bwMode="gray">
            <a:xfrm>
              <a:off x="982662" y="360462"/>
              <a:ext cx="620712" cy="431800"/>
            </a:xfrm>
            <a:custGeom>
              <a:avLst/>
              <a:gdLst>
                <a:gd name="T0" fmla="*/ 19 w 1809"/>
                <a:gd name="T1" fmla="*/ 97 h 1253"/>
                <a:gd name="T2" fmla="*/ 165 w 1809"/>
                <a:gd name="T3" fmla="*/ 41 h 1253"/>
                <a:gd name="T4" fmla="*/ 211 w 1809"/>
                <a:gd name="T5" fmla="*/ 224 h 1253"/>
                <a:gd name="T6" fmla="*/ 248 w 1809"/>
                <a:gd name="T7" fmla="*/ 155 h 1253"/>
                <a:gd name="T8" fmla="*/ 931 w 1809"/>
                <a:gd name="T9" fmla="*/ 995 h 1253"/>
                <a:gd name="T10" fmla="*/ 858 w 1809"/>
                <a:gd name="T11" fmla="*/ 1115 h 1253"/>
                <a:gd name="T12" fmla="*/ 749 w 1809"/>
                <a:gd name="T13" fmla="*/ 1117 h 1253"/>
                <a:gd name="T14" fmla="*/ 681 w 1809"/>
                <a:gd name="T15" fmla="*/ 1055 h 1253"/>
                <a:gd name="T16" fmla="*/ 800 w 1809"/>
                <a:gd name="T17" fmla="*/ 1054 h 1253"/>
                <a:gd name="T18" fmla="*/ 884 w 1809"/>
                <a:gd name="T19" fmla="*/ 1181 h 1253"/>
                <a:gd name="T20" fmla="*/ 118 w 1809"/>
                <a:gd name="T21" fmla="*/ 1086 h 1253"/>
                <a:gd name="T22" fmla="*/ 147 w 1809"/>
                <a:gd name="T23" fmla="*/ 1026 h 1253"/>
                <a:gd name="T24" fmla="*/ 102 w 1809"/>
                <a:gd name="T25" fmla="*/ 1026 h 1253"/>
                <a:gd name="T26" fmla="*/ 639 w 1809"/>
                <a:gd name="T27" fmla="*/ 84 h 1253"/>
                <a:gd name="T28" fmla="*/ 763 w 1809"/>
                <a:gd name="T29" fmla="*/ 145 h 1253"/>
                <a:gd name="T30" fmla="*/ 863 w 1809"/>
                <a:gd name="T31" fmla="*/ 221 h 1253"/>
                <a:gd name="T32" fmla="*/ 834 w 1809"/>
                <a:gd name="T33" fmla="*/ 208 h 1253"/>
                <a:gd name="T34" fmla="*/ 719 w 1809"/>
                <a:gd name="T35" fmla="*/ 182 h 1253"/>
                <a:gd name="T36" fmla="*/ 507 w 1809"/>
                <a:gd name="T37" fmla="*/ 711 h 1253"/>
                <a:gd name="T38" fmla="*/ 614 w 1809"/>
                <a:gd name="T39" fmla="*/ 706 h 1253"/>
                <a:gd name="T40" fmla="*/ 736 w 1809"/>
                <a:gd name="T41" fmla="*/ 730 h 1253"/>
                <a:gd name="T42" fmla="*/ 607 w 1809"/>
                <a:gd name="T43" fmla="*/ 539 h 1253"/>
                <a:gd name="T44" fmla="*/ 1505 w 1809"/>
                <a:gd name="T45" fmla="*/ 1136 h 1253"/>
                <a:gd name="T46" fmla="*/ 1613 w 1809"/>
                <a:gd name="T47" fmla="*/ 1002 h 1253"/>
                <a:gd name="T48" fmla="*/ 1472 w 1809"/>
                <a:gd name="T49" fmla="*/ 1164 h 1253"/>
                <a:gd name="T50" fmla="*/ 1525 w 1809"/>
                <a:gd name="T51" fmla="*/ 1142 h 1253"/>
                <a:gd name="T52" fmla="*/ 1556 w 1809"/>
                <a:gd name="T53" fmla="*/ 1172 h 1253"/>
                <a:gd name="T54" fmla="*/ 1387 w 1809"/>
                <a:gd name="T55" fmla="*/ 910 h 1253"/>
                <a:gd name="T56" fmla="*/ 1261 w 1809"/>
                <a:gd name="T57" fmla="*/ 1157 h 1253"/>
                <a:gd name="T58" fmla="*/ 1413 w 1809"/>
                <a:gd name="T59" fmla="*/ 934 h 1253"/>
                <a:gd name="T60" fmla="*/ 1378 w 1809"/>
                <a:gd name="T61" fmla="*/ 1052 h 1253"/>
                <a:gd name="T62" fmla="*/ 488 w 1809"/>
                <a:gd name="T63" fmla="*/ 85 h 1253"/>
                <a:gd name="T64" fmla="*/ 509 w 1809"/>
                <a:gd name="T65" fmla="*/ 112 h 1253"/>
                <a:gd name="T66" fmla="*/ 548 w 1809"/>
                <a:gd name="T67" fmla="*/ 1187 h 1253"/>
                <a:gd name="T68" fmla="*/ 472 w 1809"/>
                <a:gd name="T69" fmla="*/ 1122 h 1253"/>
                <a:gd name="T70" fmla="*/ 558 w 1809"/>
                <a:gd name="T71" fmla="*/ 1157 h 1253"/>
                <a:gd name="T72" fmla="*/ 287 w 1809"/>
                <a:gd name="T73" fmla="*/ 654 h 1253"/>
                <a:gd name="T74" fmla="*/ 416 w 1809"/>
                <a:gd name="T75" fmla="*/ 684 h 1253"/>
                <a:gd name="T76" fmla="*/ 1106 w 1809"/>
                <a:gd name="T77" fmla="*/ 147 h 1253"/>
                <a:gd name="T78" fmla="*/ 1229 w 1809"/>
                <a:gd name="T79" fmla="*/ 258 h 1253"/>
                <a:gd name="T80" fmla="*/ 1106 w 1809"/>
                <a:gd name="T81" fmla="*/ 96 h 1253"/>
                <a:gd name="T82" fmla="*/ 1219 w 1809"/>
                <a:gd name="T83" fmla="*/ 1077 h 1253"/>
                <a:gd name="T84" fmla="*/ 1214 w 1809"/>
                <a:gd name="T85" fmla="*/ 1157 h 1253"/>
                <a:gd name="T86" fmla="*/ 1150 w 1809"/>
                <a:gd name="T87" fmla="*/ 1092 h 1253"/>
                <a:gd name="T88" fmla="*/ 1139 w 1809"/>
                <a:gd name="T89" fmla="*/ 1070 h 1253"/>
                <a:gd name="T90" fmla="*/ 1659 w 1809"/>
                <a:gd name="T91" fmla="*/ 1031 h 1253"/>
                <a:gd name="T92" fmla="*/ 1714 w 1809"/>
                <a:gd name="T93" fmla="*/ 1155 h 1253"/>
                <a:gd name="T94" fmla="*/ 1760 w 1809"/>
                <a:gd name="T95" fmla="*/ 1030 h 1253"/>
                <a:gd name="T96" fmla="*/ 111 w 1809"/>
                <a:gd name="T97" fmla="*/ 569 h 1253"/>
                <a:gd name="T98" fmla="*/ 109 w 1809"/>
                <a:gd name="T99" fmla="*/ 460 h 1253"/>
                <a:gd name="T100" fmla="*/ 32 w 1809"/>
                <a:gd name="T101" fmla="*/ 704 h 1253"/>
                <a:gd name="T102" fmla="*/ 310 w 1809"/>
                <a:gd name="T103" fmla="*/ 1058 h 1253"/>
                <a:gd name="T104" fmla="*/ 431 w 1809"/>
                <a:gd name="T105" fmla="*/ 1044 h 1253"/>
                <a:gd name="T106" fmla="*/ 278 w 1809"/>
                <a:gd name="T107" fmla="*/ 1165 h 1253"/>
                <a:gd name="T108" fmla="*/ 261 w 1809"/>
                <a:gd name="T109" fmla="*/ 540 h 1253"/>
                <a:gd name="T110" fmla="*/ 150 w 1809"/>
                <a:gd name="T111" fmla="*/ 635 h 1253"/>
                <a:gd name="T112" fmla="*/ 994 w 1809"/>
                <a:gd name="T113" fmla="*/ 1185 h 1253"/>
                <a:gd name="T114" fmla="*/ 331 w 1809"/>
                <a:gd name="T115" fmla="*/ 176 h 1253"/>
                <a:gd name="T116" fmla="*/ 333 w 1809"/>
                <a:gd name="T117" fmla="*/ 109 h 1253"/>
                <a:gd name="T118" fmla="*/ 946 w 1809"/>
                <a:gd name="T119" fmla="*/ 234 h 1253"/>
                <a:gd name="T120" fmla="*/ 1022 w 1809"/>
                <a:gd name="T121" fmla="*/ 113 h 1253"/>
                <a:gd name="T122" fmla="*/ 949 w 1809"/>
                <a:gd name="T123" fmla="*/ 65 h 1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09" h="1253">
                  <a:moveTo>
                    <a:pt x="248" y="198"/>
                  </a:moveTo>
                  <a:cubicBezTo>
                    <a:pt x="248" y="211"/>
                    <a:pt x="248" y="224"/>
                    <a:pt x="249" y="237"/>
                  </a:cubicBezTo>
                  <a:cubicBezTo>
                    <a:pt x="249" y="245"/>
                    <a:pt x="246" y="249"/>
                    <a:pt x="240" y="253"/>
                  </a:cubicBezTo>
                  <a:cubicBezTo>
                    <a:pt x="231" y="260"/>
                    <a:pt x="220" y="264"/>
                    <a:pt x="209" y="268"/>
                  </a:cubicBezTo>
                  <a:cubicBezTo>
                    <a:pt x="179" y="279"/>
                    <a:pt x="148" y="280"/>
                    <a:pt x="118" y="275"/>
                  </a:cubicBezTo>
                  <a:cubicBezTo>
                    <a:pt x="86" y="269"/>
                    <a:pt x="58" y="252"/>
                    <a:pt x="39" y="224"/>
                  </a:cubicBezTo>
                  <a:cubicBezTo>
                    <a:pt x="24" y="203"/>
                    <a:pt x="18" y="180"/>
                    <a:pt x="15" y="155"/>
                  </a:cubicBezTo>
                  <a:cubicBezTo>
                    <a:pt x="11" y="135"/>
                    <a:pt x="15" y="115"/>
                    <a:pt x="19" y="97"/>
                  </a:cubicBezTo>
                  <a:cubicBezTo>
                    <a:pt x="26" y="68"/>
                    <a:pt x="42" y="44"/>
                    <a:pt x="68" y="27"/>
                  </a:cubicBezTo>
                  <a:cubicBezTo>
                    <a:pt x="87" y="14"/>
                    <a:pt x="109" y="6"/>
                    <a:pt x="133" y="5"/>
                  </a:cubicBezTo>
                  <a:cubicBezTo>
                    <a:pt x="149" y="4"/>
                    <a:pt x="165" y="5"/>
                    <a:pt x="181" y="6"/>
                  </a:cubicBezTo>
                  <a:cubicBezTo>
                    <a:pt x="204" y="8"/>
                    <a:pt x="225" y="20"/>
                    <a:pt x="243" y="35"/>
                  </a:cubicBezTo>
                  <a:cubicBezTo>
                    <a:pt x="246" y="37"/>
                    <a:pt x="246" y="40"/>
                    <a:pt x="244" y="43"/>
                  </a:cubicBezTo>
                  <a:cubicBezTo>
                    <a:pt x="242" y="47"/>
                    <a:pt x="239" y="52"/>
                    <a:pt x="236" y="55"/>
                  </a:cubicBezTo>
                  <a:cubicBezTo>
                    <a:pt x="226" y="65"/>
                    <a:pt x="224" y="65"/>
                    <a:pt x="206" y="54"/>
                  </a:cubicBezTo>
                  <a:cubicBezTo>
                    <a:pt x="193" y="46"/>
                    <a:pt x="180" y="40"/>
                    <a:pt x="165" y="41"/>
                  </a:cubicBezTo>
                  <a:cubicBezTo>
                    <a:pt x="151" y="41"/>
                    <a:pt x="137" y="39"/>
                    <a:pt x="124" y="42"/>
                  </a:cubicBezTo>
                  <a:cubicBezTo>
                    <a:pt x="104" y="46"/>
                    <a:pt x="87" y="57"/>
                    <a:pt x="75" y="74"/>
                  </a:cubicBezTo>
                  <a:cubicBezTo>
                    <a:pt x="56" y="99"/>
                    <a:pt x="51" y="129"/>
                    <a:pt x="55" y="159"/>
                  </a:cubicBezTo>
                  <a:cubicBezTo>
                    <a:pt x="60" y="189"/>
                    <a:pt x="73" y="214"/>
                    <a:pt x="98" y="230"/>
                  </a:cubicBezTo>
                  <a:cubicBezTo>
                    <a:pt x="109" y="237"/>
                    <a:pt x="121" y="242"/>
                    <a:pt x="135" y="241"/>
                  </a:cubicBezTo>
                  <a:cubicBezTo>
                    <a:pt x="146" y="241"/>
                    <a:pt x="158" y="241"/>
                    <a:pt x="169" y="241"/>
                  </a:cubicBezTo>
                  <a:cubicBezTo>
                    <a:pt x="182" y="242"/>
                    <a:pt x="193" y="235"/>
                    <a:pt x="205" y="232"/>
                  </a:cubicBezTo>
                  <a:cubicBezTo>
                    <a:pt x="210" y="231"/>
                    <a:pt x="211" y="227"/>
                    <a:pt x="211" y="224"/>
                  </a:cubicBezTo>
                  <a:cubicBezTo>
                    <a:pt x="211" y="210"/>
                    <a:pt x="211" y="196"/>
                    <a:pt x="211" y="183"/>
                  </a:cubicBezTo>
                  <a:cubicBezTo>
                    <a:pt x="211" y="177"/>
                    <a:pt x="207" y="175"/>
                    <a:pt x="202" y="175"/>
                  </a:cubicBezTo>
                  <a:cubicBezTo>
                    <a:pt x="193" y="175"/>
                    <a:pt x="184" y="175"/>
                    <a:pt x="175" y="175"/>
                  </a:cubicBezTo>
                  <a:cubicBezTo>
                    <a:pt x="171" y="175"/>
                    <a:pt x="168" y="174"/>
                    <a:pt x="166" y="171"/>
                  </a:cubicBezTo>
                  <a:cubicBezTo>
                    <a:pt x="163" y="163"/>
                    <a:pt x="164" y="154"/>
                    <a:pt x="166" y="146"/>
                  </a:cubicBezTo>
                  <a:cubicBezTo>
                    <a:pt x="167" y="142"/>
                    <a:pt x="171" y="142"/>
                    <a:pt x="175" y="142"/>
                  </a:cubicBezTo>
                  <a:cubicBezTo>
                    <a:pt x="196" y="142"/>
                    <a:pt x="217" y="142"/>
                    <a:pt x="238" y="142"/>
                  </a:cubicBezTo>
                  <a:cubicBezTo>
                    <a:pt x="247" y="142"/>
                    <a:pt x="248" y="148"/>
                    <a:pt x="248" y="155"/>
                  </a:cubicBezTo>
                  <a:cubicBezTo>
                    <a:pt x="249" y="169"/>
                    <a:pt x="248" y="183"/>
                    <a:pt x="248" y="198"/>
                  </a:cubicBezTo>
                  <a:close/>
                  <a:moveTo>
                    <a:pt x="884" y="1181"/>
                  </a:moveTo>
                  <a:cubicBezTo>
                    <a:pt x="889" y="1167"/>
                    <a:pt x="894" y="1152"/>
                    <a:pt x="898" y="1137"/>
                  </a:cubicBezTo>
                  <a:cubicBezTo>
                    <a:pt x="901" y="1127"/>
                    <a:pt x="905" y="1116"/>
                    <a:pt x="908" y="1106"/>
                  </a:cubicBezTo>
                  <a:cubicBezTo>
                    <a:pt x="911" y="1098"/>
                    <a:pt x="912" y="1089"/>
                    <a:pt x="916" y="1081"/>
                  </a:cubicBezTo>
                  <a:cubicBezTo>
                    <a:pt x="921" y="1072"/>
                    <a:pt x="923" y="1060"/>
                    <a:pt x="927" y="1050"/>
                  </a:cubicBezTo>
                  <a:cubicBezTo>
                    <a:pt x="932" y="1037"/>
                    <a:pt x="934" y="1023"/>
                    <a:pt x="940" y="1010"/>
                  </a:cubicBezTo>
                  <a:cubicBezTo>
                    <a:pt x="945" y="1001"/>
                    <a:pt x="941" y="995"/>
                    <a:pt x="931" y="995"/>
                  </a:cubicBezTo>
                  <a:cubicBezTo>
                    <a:pt x="927" y="995"/>
                    <a:pt x="922" y="995"/>
                    <a:pt x="918" y="995"/>
                  </a:cubicBezTo>
                  <a:cubicBezTo>
                    <a:pt x="913" y="995"/>
                    <a:pt x="908" y="997"/>
                    <a:pt x="907" y="1001"/>
                  </a:cubicBezTo>
                  <a:cubicBezTo>
                    <a:pt x="904" y="1008"/>
                    <a:pt x="900" y="1015"/>
                    <a:pt x="899" y="1023"/>
                  </a:cubicBezTo>
                  <a:cubicBezTo>
                    <a:pt x="897" y="1034"/>
                    <a:pt x="893" y="1045"/>
                    <a:pt x="889" y="1055"/>
                  </a:cubicBezTo>
                  <a:cubicBezTo>
                    <a:pt x="887" y="1064"/>
                    <a:pt x="885" y="1072"/>
                    <a:pt x="882" y="1080"/>
                  </a:cubicBezTo>
                  <a:cubicBezTo>
                    <a:pt x="878" y="1091"/>
                    <a:pt x="874" y="1103"/>
                    <a:pt x="871" y="1115"/>
                  </a:cubicBezTo>
                  <a:cubicBezTo>
                    <a:pt x="870" y="1118"/>
                    <a:pt x="871" y="1124"/>
                    <a:pt x="866" y="1124"/>
                  </a:cubicBezTo>
                  <a:cubicBezTo>
                    <a:pt x="861" y="1125"/>
                    <a:pt x="859" y="1120"/>
                    <a:pt x="858" y="1115"/>
                  </a:cubicBezTo>
                  <a:cubicBezTo>
                    <a:pt x="856" y="1110"/>
                    <a:pt x="856" y="1104"/>
                    <a:pt x="854" y="1099"/>
                  </a:cubicBezTo>
                  <a:cubicBezTo>
                    <a:pt x="848" y="1080"/>
                    <a:pt x="841" y="1062"/>
                    <a:pt x="835" y="1044"/>
                  </a:cubicBezTo>
                  <a:cubicBezTo>
                    <a:pt x="831" y="1030"/>
                    <a:pt x="828" y="1016"/>
                    <a:pt x="822" y="1003"/>
                  </a:cubicBezTo>
                  <a:cubicBezTo>
                    <a:pt x="819" y="997"/>
                    <a:pt x="814" y="994"/>
                    <a:pt x="808" y="994"/>
                  </a:cubicBezTo>
                  <a:cubicBezTo>
                    <a:pt x="799" y="993"/>
                    <a:pt x="791" y="993"/>
                    <a:pt x="787" y="1001"/>
                  </a:cubicBezTo>
                  <a:cubicBezTo>
                    <a:pt x="783" y="1008"/>
                    <a:pt x="780" y="1015"/>
                    <a:pt x="779" y="1022"/>
                  </a:cubicBezTo>
                  <a:cubicBezTo>
                    <a:pt x="778" y="1034"/>
                    <a:pt x="772" y="1044"/>
                    <a:pt x="769" y="1055"/>
                  </a:cubicBezTo>
                  <a:cubicBezTo>
                    <a:pt x="762" y="1076"/>
                    <a:pt x="754" y="1096"/>
                    <a:pt x="749" y="1117"/>
                  </a:cubicBezTo>
                  <a:cubicBezTo>
                    <a:pt x="748" y="1120"/>
                    <a:pt x="747" y="1124"/>
                    <a:pt x="742" y="1124"/>
                  </a:cubicBezTo>
                  <a:cubicBezTo>
                    <a:pt x="737" y="1124"/>
                    <a:pt x="737" y="1120"/>
                    <a:pt x="736" y="1116"/>
                  </a:cubicBezTo>
                  <a:cubicBezTo>
                    <a:pt x="734" y="1104"/>
                    <a:pt x="730" y="1092"/>
                    <a:pt x="726" y="1080"/>
                  </a:cubicBezTo>
                  <a:cubicBezTo>
                    <a:pt x="720" y="1061"/>
                    <a:pt x="714" y="1040"/>
                    <a:pt x="708" y="1020"/>
                  </a:cubicBezTo>
                  <a:cubicBezTo>
                    <a:pt x="703" y="1000"/>
                    <a:pt x="698" y="994"/>
                    <a:pt x="676" y="995"/>
                  </a:cubicBezTo>
                  <a:cubicBezTo>
                    <a:pt x="665" y="996"/>
                    <a:pt x="661" y="1001"/>
                    <a:pt x="667" y="1011"/>
                  </a:cubicBezTo>
                  <a:cubicBezTo>
                    <a:pt x="669" y="1016"/>
                    <a:pt x="670" y="1021"/>
                    <a:pt x="672" y="1025"/>
                  </a:cubicBezTo>
                  <a:cubicBezTo>
                    <a:pt x="675" y="1035"/>
                    <a:pt x="678" y="1046"/>
                    <a:pt x="681" y="1055"/>
                  </a:cubicBezTo>
                  <a:cubicBezTo>
                    <a:pt x="685" y="1068"/>
                    <a:pt x="689" y="1080"/>
                    <a:pt x="693" y="1092"/>
                  </a:cubicBezTo>
                  <a:cubicBezTo>
                    <a:pt x="697" y="1103"/>
                    <a:pt x="699" y="1113"/>
                    <a:pt x="703" y="1124"/>
                  </a:cubicBezTo>
                  <a:cubicBezTo>
                    <a:pt x="707" y="1136"/>
                    <a:pt x="711" y="1147"/>
                    <a:pt x="715" y="1160"/>
                  </a:cubicBezTo>
                  <a:cubicBezTo>
                    <a:pt x="717" y="1168"/>
                    <a:pt x="720" y="1176"/>
                    <a:pt x="724" y="1183"/>
                  </a:cubicBezTo>
                  <a:cubicBezTo>
                    <a:pt x="728" y="1189"/>
                    <a:pt x="752" y="1185"/>
                    <a:pt x="757" y="1180"/>
                  </a:cubicBezTo>
                  <a:cubicBezTo>
                    <a:pt x="764" y="1173"/>
                    <a:pt x="762" y="1163"/>
                    <a:pt x="766" y="1156"/>
                  </a:cubicBezTo>
                  <a:cubicBezTo>
                    <a:pt x="774" y="1140"/>
                    <a:pt x="778" y="1122"/>
                    <a:pt x="784" y="1105"/>
                  </a:cubicBezTo>
                  <a:cubicBezTo>
                    <a:pt x="789" y="1088"/>
                    <a:pt x="796" y="1072"/>
                    <a:pt x="800" y="1054"/>
                  </a:cubicBezTo>
                  <a:cubicBezTo>
                    <a:pt x="800" y="1053"/>
                    <a:pt x="801" y="1050"/>
                    <a:pt x="803" y="1050"/>
                  </a:cubicBezTo>
                  <a:cubicBezTo>
                    <a:pt x="806" y="1050"/>
                    <a:pt x="806" y="1052"/>
                    <a:pt x="807" y="1055"/>
                  </a:cubicBezTo>
                  <a:cubicBezTo>
                    <a:pt x="807" y="1060"/>
                    <a:pt x="810" y="1066"/>
                    <a:pt x="811" y="1071"/>
                  </a:cubicBezTo>
                  <a:cubicBezTo>
                    <a:pt x="814" y="1081"/>
                    <a:pt x="818" y="1090"/>
                    <a:pt x="821" y="1099"/>
                  </a:cubicBezTo>
                  <a:cubicBezTo>
                    <a:pt x="824" y="1110"/>
                    <a:pt x="827" y="1120"/>
                    <a:pt x="831" y="1131"/>
                  </a:cubicBezTo>
                  <a:cubicBezTo>
                    <a:pt x="834" y="1142"/>
                    <a:pt x="839" y="1153"/>
                    <a:pt x="842" y="1164"/>
                  </a:cubicBezTo>
                  <a:cubicBezTo>
                    <a:pt x="846" y="1179"/>
                    <a:pt x="850" y="1188"/>
                    <a:pt x="869" y="1185"/>
                  </a:cubicBezTo>
                  <a:cubicBezTo>
                    <a:pt x="873" y="1184"/>
                    <a:pt x="881" y="1189"/>
                    <a:pt x="884" y="1181"/>
                  </a:cubicBezTo>
                  <a:close/>
                  <a:moveTo>
                    <a:pt x="33" y="1051"/>
                  </a:moveTo>
                  <a:cubicBezTo>
                    <a:pt x="33" y="1087"/>
                    <a:pt x="33" y="1124"/>
                    <a:pt x="33" y="1160"/>
                  </a:cubicBezTo>
                  <a:cubicBezTo>
                    <a:pt x="33" y="1188"/>
                    <a:pt x="29" y="1184"/>
                    <a:pt x="58" y="1185"/>
                  </a:cubicBezTo>
                  <a:cubicBezTo>
                    <a:pt x="72" y="1185"/>
                    <a:pt x="73" y="1184"/>
                    <a:pt x="73" y="1170"/>
                  </a:cubicBezTo>
                  <a:cubicBezTo>
                    <a:pt x="73" y="1138"/>
                    <a:pt x="73" y="1107"/>
                    <a:pt x="73" y="1076"/>
                  </a:cubicBezTo>
                  <a:cubicBezTo>
                    <a:pt x="73" y="1071"/>
                    <a:pt x="72" y="1067"/>
                    <a:pt x="78" y="1065"/>
                  </a:cubicBezTo>
                  <a:cubicBezTo>
                    <a:pt x="91" y="1062"/>
                    <a:pt x="102" y="1067"/>
                    <a:pt x="110" y="1076"/>
                  </a:cubicBezTo>
                  <a:cubicBezTo>
                    <a:pt x="112" y="1080"/>
                    <a:pt x="115" y="1083"/>
                    <a:pt x="118" y="1086"/>
                  </a:cubicBezTo>
                  <a:cubicBezTo>
                    <a:pt x="132" y="1103"/>
                    <a:pt x="146" y="1119"/>
                    <a:pt x="161" y="1136"/>
                  </a:cubicBezTo>
                  <a:cubicBezTo>
                    <a:pt x="173" y="1150"/>
                    <a:pt x="186" y="1165"/>
                    <a:pt x="198" y="1179"/>
                  </a:cubicBezTo>
                  <a:cubicBezTo>
                    <a:pt x="207" y="1188"/>
                    <a:pt x="218" y="1184"/>
                    <a:pt x="228" y="1185"/>
                  </a:cubicBezTo>
                  <a:cubicBezTo>
                    <a:pt x="233" y="1185"/>
                    <a:pt x="241" y="1188"/>
                    <a:pt x="244" y="1182"/>
                  </a:cubicBezTo>
                  <a:cubicBezTo>
                    <a:pt x="246" y="1178"/>
                    <a:pt x="239" y="1173"/>
                    <a:pt x="235" y="1169"/>
                  </a:cubicBezTo>
                  <a:cubicBezTo>
                    <a:pt x="206" y="1133"/>
                    <a:pt x="176" y="1098"/>
                    <a:pt x="146" y="1062"/>
                  </a:cubicBezTo>
                  <a:cubicBezTo>
                    <a:pt x="141" y="1056"/>
                    <a:pt x="131" y="1052"/>
                    <a:pt x="132" y="1044"/>
                  </a:cubicBezTo>
                  <a:cubicBezTo>
                    <a:pt x="132" y="1036"/>
                    <a:pt x="142" y="1032"/>
                    <a:pt x="147" y="1026"/>
                  </a:cubicBezTo>
                  <a:cubicBezTo>
                    <a:pt x="164" y="1006"/>
                    <a:pt x="182" y="988"/>
                    <a:pt x="198" y="968"/>
                  </a:cubicBezTo>
                  <a:cubicBezTo>
                    <a:pt x="209" y="954"/>
                    <a:pt x="221" y="942"/>
                    <a:pt x="234" y="929"/>
                  </a:cubicBezTo>
                  <a:cubicBezTo>
                    <a:pt x="236" y="926"/>
                    <a:pt x="238" y="923"/>
                    <a:pt x="237" y="920"/>
                  </a:cubicBezTo>
                  <a:cubicBezTo>
                    <a:pt x="235" y="915"/>
                    <a:pt x="231" y="917"/>
                    <a:pt x="228" y="917"/>
                  </a:cubicBezTo>
                  <a:cubicBezTo>
                    <a:pt x="224" y="918"/>
                    <a:pt x="221" y="918"/>
                    <a:pt x="217" y="918"/>
                  </a:cubicBezTo>
                  <a:cubicBezTo>
                    <a:pt x="204" y="917"/>
                    <a:pt x="193" y="922"/>
                    <a:pt x="185" y="931"/>
                  </a:cubicBezTo>
                  <a:cubicBezTo>
                    <a:pt x="172" y="946"/>
                    <a:pt x="158" y="961"/>
                    <a:pt x="145" y="977"/>
                  </a:cubicBezTo>
                  <a:cubicBezTo>
                    <a:pt x="131" y="993"/>
                    <a:pt x="117" y="1010"/>
                    <a:pt x="102" y="1026"/>
                  </a:cubicBezTo>
                  <a:cubicBezTo>
                    <a:pt x="96" y="1032"/>
                    <a:pt x="87" y="1037"/>
                    <a:pt x="78" y="1034"/>
                  </a:cubicBezTo>
                  <a:cubicBezTo>
                    <a:pt x="70" y="1030"/>
                    <a:pt x="73" y="1021"/>
                    <a:pt x="73" y="1015"/>
                  </a:cubicBezTo>
                  <a:cubicBezTo>
                    <a:pt x="73" y="991"/>
                    <a:pt x="73" y="967"/>
                    <a:pt x="73" y="944"/>
                  </a:cubicBezTo>
                  <a:cubicBezTo>
                    <a:pt x="73" y="916"/>
                    <a:pt x="75" y="917"/>
                    <a:pt x="46" y="918"/>
                  </a:cubicBezTo>
                  <a:cubicBezTo>
                    <a:pt x="33" y="918"/>
                    <a:pt x="33" y="918"/>
                    <a:pt x="33" y="931"/>
                  </a:cubicBezTo>
                  <a:cubicBezTo>
                    <a:pt x="33" y="971"/>
                    <a:pt x="33" y="1011"/>
                    <a:pt x="33" y="1051"/>
                  </a:cubicBezTo>
                  <a:cubicBezTo>
                    <a:pt x="33" y="1051"/>
                    <a:pt x="33" y="1051"/>
                    <a:pt x="33" y="1051"/>
                  </a:cubicBezTo>
                  <a:close/>
                  <a:moveTo>
                    <a:pt x="639" y="84"/>
                  </a:moveTo>
                  <a:cubicBezTo>
                    <a:pt x="627" y="84"/>
                    <a:pt x="626" y="84"/>
                    <a:pt x="629" y="95"/>
                  </a:cubicBezTo>
                  <a:cubicBezTo>
                    <a:pt x="634" y="113"/>
                    <a:pt x="640" y="131"/>
                    <a:pt x="646" y="148"/>
                  </a:cubicBezTo>
                  <a:cubicBezTo>
                    <a:pt x="652" y="166"/>
                    <a:pt x="658" y="185"/>
                    <a:pt x="664" y="203"/>
                  </a:cubicBezTo>
                  <a:cubicBezTo>
                    <a:pt x="671" y="223"/>
                    <a:pt x="676" y="244"/>
                    <a:pt x="684" y="264"/>
                  </a:cubicBezTo>
                  <a:cubicBezTo>
                    <a:pt x="688" y="274"/>
                    <a:pt x="694" y="274"/>
                    <a:pt x="702" y="274"/>
                  </a:cubicBezTo>
                  <a:cubicBezTo>
                    <a:pt x="711" y="274"/>
                    <a:pt x="719" y="272"/>
                    <a:pt x="723" y="263"/>
                  </a:cubicBezTo>
                  <a:cubicBezTo>
                    <a:pt x="733" y="236"/>
                    <a:pt x="741" y="208"/>
                    <a:pt x="750" y="181"/>
                  </a:cubicBezTo>
                  <a:cubicBezTo>
                    <a:pt x="754" y="169"/>
                    <a:pt x="757" y="156"/>
                    <a:pt x="763" y="145"/>
                  </a:cubicBezTo>
                  <a:cubicBezTo>
                    <a:pt x="764" y="143"/>
                    <a:pt x="764" y="140"/>
                    <a:pt x="767" y="140"/>
                  </a:cubicBezTo>
                  <a:cubicBezTo>
                    <a:pt x="770" y="140"/>
                    <a:pt x="770" y="143"/>
                    <a:pt x="771" y="145"/>
                  </a:cubicBezTo>
                  <a:cubicBezTo>
                    <a:pt x="771" y="156"/>
                    <a:pt x="777" y="165"/>
                    <a:pt x="780" y="175"/>
                  </a:cubicBezTo>
                  <a:cubicBezTo>
                    <a:pt x="782" y="184"/>
                    <a:pt x="785" y="193"/>
                    <a:pt x="788" y="201"/>
                  </a:cubicBezTo>
                  <a:cubicBezTo>
                    <a:pt x="794" y="219"/>
                    <a:pt x="801" y="237"/>
                    <a:pt x="806" y="255"/>
                  </a:cubicBezTo>
                  <a:cubicBezTo>
                    <a:pt x="811" y="272"/>
                    <a:pt x="825" y="280"/>
                    <a:pt x="842" y="273"/>
                  </a:cubicBezTo>
                  <a:cubicBezTo>
                    <a:pt x="845" y="271"/>
                    <a:pt x="847" y="269"/>
                    <a:pt x="848" y="266"/>
                  </a:cubicBezTo>
                  <a:cubicBezTo>
                    <a:pt x="853" y="251"/>
                    <a:pt x="859" y="236"/>
                    <a:pt x="863" y="221"/>
                  </a:cubicBezTo>
                  <a:cubicBezTo>
                    <a:pt x="867" y="202"/>
                    <a:pt x="875" y="185"/>
                    <a:pt x="880" y="166"/>
                  </a:cubicBezTo>
                  <a:cubicBezTo>
                    <a:pt x="886" y="144"/>
                    <a:pt x="895" y="123"/>
                    <a:pt x="900" y="101"/>
                  </a:cubicBezTo>
                  <a:cubicBezTo>
                    <a:pt x="901" y="96"/>
                    <a:pt x="909" y="91"/>
                    <a:pt x="904" y="86"/>
                  </a:cubicBezTo>
                  <a:cubicBezTo>
                    <a:pt x="900" y="81"/>
                    <a:pt x="892" y="84"/>
                    <a:pt x="886" y="84"/>
                  </a:cubicBezTo>
                  <a:cubicBezTo>
                    <a:pt x="885" y="84"/>
                    <a:pt x="883" y="84"/>
                    <a:pt x="881" y="84"/>
                  </a:cubicBezTo>
                  <a:cubicBezTo>
                    <a:pt x="875" y="84"/>
                    <a:pt x="872" y="86"/>
                    <a:pt x="869" y="91"/>
                  </a:cubicBezTo>
                  <a:cubicBezTo>
                    <a:pt x="860" y="110"/>
                    <a:pt x="856" y="131"/>
                    <a:pt x="850" y="151"/>
                  </a:cubicBezTo>
                  <a:cubicBezTo>
                    <a:pt x="844" y="170"/>
                    <a:pt x="836" y="188"/>
                    <a:pt x="834" y="208"/>
                  </a:cubicBezTo>
                  <a:cubicBezTo>
                    <a:pt x="833" y="211"/>
                    <a:pt x="831" y="214"/>
                    <a:pt x="827" y="214"/>
                  </a:cubicBezTo>
                  <a:cubicBezTo>
                    <a:pt x="823" y="214"/>
                    <a:pt x="822" y="210"/>
                    <a:pt x="822" y="207"/>
                  </a:cubicBezTo>
                  <a:cubicBezTo>
                    <a:pt x="817" y="188"/>
                    <a:pt x="811" y="170"/>
                    <a:pt x="805" y="152"/>
                  </a:cubicBezTo>
                  <a:cubicBezTo>
                    <a:pt x="799" y="133"/>
                    <a:pt x="794" y="114"/>
                    <a:pt x="786" y="96"/>
                  </a:cubicBezTo>
                  <a:cubicBezTo>
                    <a:pt x="783" y="87"/>
                    <a:pt x="779" y="84"/>
                    <a:pt x="770" y="84"/>
                  </a:cubicBezTo>
                  <a:cubicBezTo>
                    <a:pt x="761" y="84"/>
                    <a:pt x="752" y="82"/>
                    <a:pt x="748" y="94"/>
                  </a:cubicBezTo>
                  <a:cubicBezTo>
                    <a:pt x="744" y="109"/>
                    <a:pt x="738" y="123"/>
                    <a:pt x="734" y="138"/>
                  </a:cubicBezTo>
                  <a:cubicBezTo>
                    <a:pt x="729" y="153"/>
                    <a:pt x="724" y="167"/>
                    <a:pt x="719" y="182"/>
                  </a:cubicBezTo>
                  <a:cubicBezTo>
                    <a:pt x="716" y="192"/>
                    <a:pt x="715" y="203"/>
                    <a:pt x="708" y="212"/>
                  </a:cubicBezTo>
                  <a:cubicBezTo>
                    <a:pt x="707" y="214"/>
                    <a:pt x="707" y="217"/>
                    <a:pt x="704" y="217"/>
                  </a:cubicBezTo>
                  <a:cubicBezTo>
                    <a:pt x="701" y="217"/>
                    <a:pt x="701" y="213"/>
                    <a:pt x="700" y="211"/>
                  </a:cubicBezTo>
                  <a:cubicBezTo>
                    <a:pt x="699" y="198"/>
                    <a:pt x="694" y="186"/>
                    <a:pt x="690" y="174"/>
                  </a:cubicBezTo>
                  <a:cubicBezTo>
                    <a:pt x="684" y="153"/>
                    <a:pt x="677" y="131"/>
                    <a:pt x="672" y="110"/>
                  </a:cubicBezTo>
                  <a:cubicBezTo>
                    <a:pt x="667" y="88"/>
                    <a:pt x="663" y="84"/>
                    <a:pt x="645" y="84"/>
                  </a:cubicBezTo>
                  <a:cubicBezTo>
                    <a:pt x="643" y="84"/>
                    <a:pt x="641" y="84"/>
                    <a:pt x="639" y="84"/>
                  </a:cubicBezTo>
                  <a:close/>
                  <a:moveTo>
                    <a:pt x="507" y="711"/>
                  </a:moveTo>
                  <a:cubicBezTo>
                    <a:pt x="507" y="730"/>
                    <a:pt x="507" y="730"/>
                    <a:pt x="526" y="730"/>
                  </a:cubicBezTo>
                  <a:cubicBezTo>
                    <a:pt x="539" y="730"/>
                    <a:pt x="541" y="729"/>
                    <a:pt x="541" y="715"/>
                  </a:cubicBezTo>
                  <a:cubicBezTo>
                    <a:pt x="541" y="677"/>
                    <a:pt x="541" y="638"/>
                    <a:pt x="540" y="600"/>
                  </a:cubicBezTo>
                  <a:cubicBezTo>
                    <a:pt x="540" y="593"/>
                    <a:pt x="543" y="587"/>
                    <a:pt x="548" y="582"/>
                  </a:cubicBezTo>
                  <a:cubicBezTo>
                    <a:pt x="553" y="576"/>
                    <a:pt x="559" y="573"/>
                    <a:pt x="564" y="569"/>
                  </a:cubicBezTo>
                  <a:cubicBezTo>
                    <a:pt x="574" y="564"/>
                    <a:pt x="594" y="566"/>
                    <a:pt x="602" y="574"/>
                  </a:cubicBezTo>
                  <a:cubicBezTo>
                    <a:pt x="611" y="582"/>
                    <a:pt x="614" y="592"/>
                    <a:pt x="614" y="604"/>
                  </a:cubicBezTo>
                  <a:cubicBezTo>
                    <a:pt x="614" y="638"/>
                    <a:pt x="614" y="672"/>
                    <a:pt x="614" y="706"/>
                  </a:cubicBezTo>
                  <a:cubicBezTo>
                    <a:pt x="614" y="730"/>
                    <a:pt x="614" y="730"/>
                    <a:pt x="638" y="730"/>
                  </a:cubicBezTo>
                  <a:cubicBezTo>
                    <a:pt x="650" y="730"/>
                    <a:pt x="650" y="730"/>
                    <a:pt x="650" y="717"/>
                  </a:cubicBezTo>
                  <a:cubicBezTo>
                    <a:pt x="650" y="684"/>
                    <a:pt x="650" y="650"/>
                    <a:pt x="650" y="617"/>
                  </a:cubicBezTo>
                  <a:cubicBezTo>
                    <a:pt x="650" y="606"/>
                    <a:pt x="651" y="597"/>
                    <a:pt x="657" y="586"/>
                  </a:cubicBezTo>
                  <a:cubicBezTo>
                    <a:pt x="667" y="565"/>
                    <a:pt x="703" y="560"/>
                    <a:pt x="716" y="579"/>
                  </a:cubicBezTo>
                  <a:cubicBezTo>
                    <a:pt x="723" y="588"/>
                    <a:pt x="724" y="598"/>
                    <a:pt x="724" y="609"/>
                  </a:cubicBezTo>
                  <a:cubicBezTo>
                    <a:pt x="724" y="645"/>
                    <a:pt x="724" y="682"/>
                    <a:pt x="724" y="718"/>
                  </a:cubicBezTo>
                  <a:cubicBezTo>
                    <a:pt x="724" y="727"/>
                    <a:pt x="727" y="731"/>
                    <a:pt x="736" y="730"/>
                  </a:cubicBezTo>
                  <a:cubicBezTo>
                    <a:pt x="738" y="730"/>
                    <a:pt x="741" y="730"/>
                    <a:pt x="743" y="730"/>
                  </a:cubicBezTo>
                  <a:cubicBezTo>
                    <a:pt x="758" y="730"/>
                    <a:pt x="759" y="729"/>
                    <a:pt x="759" y="715"/>
                  </a:cubicBezTo>
                  <a:cubicBezTo>
                    <a:pt x="759" y="677"/>
                    <a:pt x="758" y="639"/>
                    <a:pt x="759" y="601"/>
                  </a:cubicBezTo>
                  <a:cubicBezTo>
                    <a:pt x="759" y="571"/>
                    <a:pt x="742" y="540"/>
                    <a:pt x="704" y="538"/>
                  </a:cubicBezTo>
                  <a:cubicBezTo>
                    <a:pt x="681" y="536"/>
                    <a:pt x="661" y="542"/>
                    <a:pt x="646" y="560"/>
                  </a:cubicBezTo>
                  <a:cubicBezTo>
                    <a:pt x="638" y="569"/>
                    <a:pt x="638" y="569"/>
                    <a:pt x="631" y="559"/>
                  </a:cubicBezTo>
                  <a:cubicBezTo>
                    <a:pt x="630" y="558"/>
                    <a:pt x="630" y="557"/>
                    <a:pt x="629" y="556"/>
                  </a:cubicBezTo>
                  <a:cubicBezTo>
                    <a:pt x="623" y="548"/>
                    <a:pt x="616" y="541"/>
                    <a:pt x="607" y="539"/>
                  </a:cubicBezTo>
                  <a:cubicBezTo>
                    <a:pt x="584" y="534"/>
                    <a:pt x="563" y="539"/>
                    <a:pt x="545" y="555"/>
                  </a:cubicBezTo>
                  <a:cubicBezTo>
                    <a:pt x="540" y="559"/>
                    <a:pt x="537" y="561"/>
                    <a:pt x="537" y="552"/>
                  </a:cubicBezTo>
                  <a:cubicBezTo>
                    <a:pt x="536" y="543"/>
                    <a:pt x="526" y="538"/>
                    <a:pt x="515" y="539"/>
                  </a:cubicBezTo>
                  <a:cubicBezTo>
                    <a:pt x="506" y="540"/>
                    <a:pt x="507" y="546"/>
                    <a:pt x="507" y="552"/>
                  </a:cubicBezTo>
                  <a:cubicBezTo>
                    <a:pt x="507" y="580"/>
                    <a:pt x="507" y="607"/>
                    <a:pt x="507" y="634"/>
                  </a:cubicBezTo>
                  <a:cubicBezTo>
                    <a:pt x="507" y="660"/>
                    <a:pt x="507" y="685"/>
                    <a:pt x="507" y="711"/>
                  </a:cubicBezTo>
                  <a:close/>
                  <a:moveTo>
                    <a:pt x="1525" y="1142"/>
                  </a:moveTo>
                  <a:cubicBezTo>
                    <a:pt x="1517" y="1143"/>
                    <a:pt x="1511" y="1141"/>
                    <a:pt x="1505" y="1136"/>
                  </a:cubicBezTo>
                  <a:cubicBezTo>
                    <a:pt x="1501" y="1133"/>
                    <a:pt x="1495" y="1130"/>
                    <a:pt x="1498" y="1124"/>
                  </a:cubicBezTo>
                  <a:cubicBezTo>
                    <a:pt x="1500" y="1118"/>
                    <a:pt x="1504" y="1114"/>
                    <a:pt x="1512" y="1114"/>
                  </a:cubicBezTo>
                  <a:cubicBezTo>
                    <a:pt x="1521" y="1115"/>
                    <a:pt x="1530" y="1114"/>
                    <a:pt x="1538" y="1115"/>
                  </a:cubicBezTo>
                  <a:cubicBezTo>
                    <a:pt x="1573" y="1117"/>
                    <a:pt x="1610" y="1084"/>
                    <a:pt x="1602" y="1044"/>
                  </a:cubicBezTo>
                  <a:cubicBezTo>
                    <a:pt x="1600" y="1035"/>
                    <a:pt x="1599" y="1028"/>
                    <a:pt x="1611" y="1027"/>
                  </a:cubicBezTo>
                  <a:cubicBezTo>
                    <a:pt x="1614" y="1027"/>
                    <a:pt x="1617" y="1024"/>
                    <a:pt x="1619" y="1023"/>
                  </a:cubicBezTo>
                  <a:cubicBezTo>
                    <a:pt x="1626" y="1019"/>
                    <a:pt x="1624" y="1013"/>
                    <a:pt x="1623" y="1008"/>
                  </a:cubicBezTo>
                  <a:cubicBezTo>
                    <a:pt x="1623" y="1002"/>
                    <a:pt x="1618" y="1003"/>
                    <a:pt x="1613" y="1002"/>
                  </a:cubicBezTo>
                  <a:cubicBezTo>
                    <a:pt x="1598" y="1002"/>
                    <a:pt x="1582" y="1004"/>
                    <a:pt x="1567" y="1000"/>
                  </a:cubicBezTo>
                  <a:cubicBezTo>
                    <a:pt x="1560" y="999"/>
                    <a:pt x="1554" y="993"/>
                    <a:pt x="1546" y="993"/>
                  </a:cubicBezTo>
                  <a:cubicBezTo>
                    <a:pt x="1536" y="994"/>
                    <a:pt x="1525" y="992"/>
                    <a:pt x="1515" y="993"/>
                  </a:cubicBezTo>
                  <a:cubicBezTo>
                    <a:pt x="1490" y="997"/>
                    <a:pt x="1469" y="1010"/>
                    <a:pt x="1462" y="1034"/>
                  </a:cubicBezTo>
                  <a:cubicBezTo>
                    <a:pt x="1455" y="1056"/>
                    <a:pt x="1457" y="1079"/>
                    <a:pt x="1476" y="1096"/>
                  </a:cubicBezTo>
                  <a:cubicBezTo>
                    <a:pt x="1483" y="1103"/>
                    <a:pt x="1483" y="1107"/>
                    <a:pt x="1476" y="1113"/>
                  </a:cubicBezTo>
                  <a:cubicBezTo>
                    <a:pt x="1462" y="1126"/>
                    <a:pt x="1462" y="1142"/>
                    <a:pt x="1473" y="1157"/>
                  </a:cubicBezTo>
                  <a:cubicBezTo>
                    <a:pt x="1476" y="1160"/>
                    <a:pt x="1476" y="1162"/>
                    <a:pt x="1472" y="1164"/>
                  </a:cubicBezTo>
                  <a:cubicBezTo>
                    <a:pt x="1470" y="1166"/>
                    <a:pt x="1468" y="1168"/>
                    <a:pt x="1466" y="1170"/>
                  </a:cubicBezTo>
                  <a:cubicBezTo>
                    <a:pt x="1449" y="1183"/>
                    <a:pt x="1444" y="1201"/>
                    <a:pt x="1454" y="1218"/>
                  </a:cubicBezTo>
                  <a:cubicBezTo>
                    <a:pt x="1464" y="1235"/>
                    <a:pt x="1479" y="1246"/>
                    <a:pt x="1499" y="1249"/>
                  </a:cubicBezTo>
                  <a:cubicBezTo>
                    <a:pt x="1517" y="1252"/>
                    <a:pt x="1535" y="1253"/>
                    <a:pt x="1553" y="1250"/>
                  </a:cubicBezTo>
                  <a:cubicBezTo>
                    <a:pt x="1584" y="1245"/>
                    <a:pt x="1607" y="1232"/>
                    <a:pt x="1619" y="1200"/>
                  </a:cubicBezTo>
                  <a:cubicBezTo>
                    <a:pt x="1627" y="1180"/>
                    <a:pt x="1611" y="1155"/>
                    <a:pt x="1593" y="1148"/>
                  </a:cubicBezTo>
                  <a:cubicBezTo>
                    <a:pt x="1578" y="1142"/>
                    <a:pt x="1563" y="1143"/>
                    <a:pt x="1549" y="1142"/>
                  </a:cubicBezTo>
                  <a:cubicBezTo>
                    <a:pt x="1540" y="1142"/>
                    <a:pt x="1532" y="1142"/>
                    <a:pt x="1525" y="1142"/>
                  </a:cubicBezTo>
                  <a:close/>
                  <a:moveTo>
                    <a:pt x="1556" y="1172"/>
                  </a:moveTo>
                  <a:cubicBezTo>
                    <a:pt x="1566" y="1172"/>
                    <a:pt x="1576" y="1176"/>
                    <a:pt x="1583" y="1183"/>
                  </a:cubicBezTo>
                  <a:cubicBezTo>
                    <a:pt x="1589" y="1190"/>
                    <a:pt x="1589" y="1198"/>
                    <a:pt x="1583" y="1205"/>
                  </a:cubicBezTo>
                  <a:cubicBezTo>
                    <a:pt x="1575" y="1215"/>
                    <a:pt x="1565" y="1220"/>
                    <a:pt x="1553" y="1223"/>
                  </a:cubicBezTo>
                  <a:cubicBezTo>
                    <a:pt x="1534" y="1228"/>
                    <a:pt x="1516" y="1225"/>
                    <a:pt x="1499" y="1219"/>
                  </a:cubicBezTo>
                  <a:cubicBezTo>
                    <a:pt x="1486" y="1214"/>
                    <a:pt x="1479" y="1203"/>
                    <a:pt x="1482" y="1193"/>
                  </a:cubicBezTo>
                  <a:cubicBezTo>
                    <a:pt x="1485" y="1182"/>
                    <a:pt x="1496" y="1168"/>
                    <a:pt x="1514" y="1171"/>
                  </a:cubicBezTo>
                  <a:cubicBezTo>
                    <a:pt x="1526" y="1173"/>
                    <a:pt x="1541" y="1171"/>
                    <a:pt x="1556" y="1172"/>
                  </a:cubicBezTo>
                  <a:close/>
                  <a:moveTo>
                    <a:pt x="1531" y="1019"/>
                  </a:moveTo>
                  <a:cubicBezTo>
                    <a:pt x="1553" y="1017"/>
                    <a:pt x="1570" y="1033"/>
                    <a:pt x="1570" y="1052"/>
                  </a:cubicBezTo>
                  <a:cubicBezTo>
                    <a:pt x="1570" y="1075"/>
                    <a:pt x="1554" y="1093"/>
                    <a:pt x="1532" y="1091"/>
                  </a:cubicBezTo>
                  <a:cubicBezTo>
                    <a:pt x="1508" y="1089"/>
                    <a:pt x="1494" y="1082"/>
                    <a:pt x="1493" y="1053"/>
                  </a:cubicBezTo>
                  <a:cubicBezTo>
                    <a:pt x="1494" y="1029"/>
                    <a:pt x="1508" y="1020"/>
                    <a:pt x="1531" y="1019"/>
                  </a:cubicBezTo>
                  <a:close/>
                  <a:moveTo>
                    <a:pt x="1413" y="934"/>
                  </a:moveTo>
                  <a:cubicBezTo>
                    <a:pt x="1413" y="909"/>
                    <a:pt x="1413" y="909"/>
                    <a:pt x="1389" y="910"/>
                  </a:cubicBezTo>
                  <a:cubicBezTo>
                    <a:pt x="1388" y="910"/>
                    <a:pt x="1387" y="910"/>
                    <a:pt x="1387" y="910"/>
                  </a:cubicBezTo>
                  <a:cubicBezTo>
                    <a:pt x="1379" y="910"/>
                    <a:pt x="1376" y="915"/>
                    <a:pt x="1376" y="921"/>
                  </a:cubicBezTo>
                  <a:cubicBezTo>
                    <a:pt x="1376" y="939"/>
                    <a:pt x="1377" y="956"/>
                    <a:pt x="1377" y="974"/>
                  </a:cubicBezTo>
                  <a:cubicBezTo>
                    <a:pt x="1377" y="983"/>
                    <a:pt x="1377" y="991"/>
                    <a:pt x="1377" y="1000"/>
                  </a:cubicBezTo>
                  <a:cubicBezTo>
                    <a:pt x="1377" y="1005"/>
                    <a:pt x="1374" y="1009"/>
                    <a:pt x="1369" y="1005"/>
                  </a:cubicBezTo>
                  <a:cubicBezTo>
                    <a:pt x="1352" y="990"/>
                    <a:pt x="1332" y="993"/>
                    <a:pt x="1312" y="993"/>
                  </a:cubicBezTo>
                  <a:cubicBezTo>
                    <a:pt x="1303" y="994"/>
                    <a:pt x="1294" y="998"/>
                    <a:pt x="1287" y="1003"/>
                  </a:cubicBezTo>
                  <a:cubicBezTo>
                    <a:pt x="1265" y="1017"/>
                    <a:pt x="1252" y="1039"/>
                    <a:pt x="1248" y="1065"/>
                  </a:cubicBezTo>
                  <a:cubicBezTo>
                    <a:pt x="1244" y="1096"/>
                    <a:pt x="1244" y="1128"/>
                    <a:pt x="1261" y="1157"/>
                  </a:cubicBezTo>
                  <a:cubicBezTo>
                    <a:pt x="1270" y="1170"/>
                    <a:pt x="1281" y="1181"/>
                    <a:pt x="1296" y="1185"/>
                  </a:cubicBezTo>
                  <a:cubicBezTo>
                    <a:pt x="1323" y="1191"/>
                    <a:pt x="1349" y="1188"/>
                    <a:pt x="1370" y="1167"/>
                  </a:cubicBezTo>
                  <a:cubicBezTo>
                    <a:pt x="1372" y="1165"/>
                    <a:pt x="1375" y="1162"/>
                    <a:pt x="1379" y="1163"/>
                  </a:cubicBezTo>
                  <a:cubicBezTo>
                    <a:pt x="1382" y="1165"/>
                    <a:pt x="1381" y="1169"/>
                    <a:pt x="1381" y="1172"/>
                  </a:cubicBezTo>
                  <a:cubicBezTo>
                    <a:pt x="1383" y="1181"/>
                    <a:pt x="1390" y="1186"/>
                    <a:pt x="1403" y="1186"/>
                  </a:cubicBezTo>
                  <a:cubicBezTo>
                    <a:pt x="1413" y="1185"/>
                    <a:pt x="1413" y="1178"/>
                    <a:pt x="1413" y="1172"/>
                  </a:cubicBezTo>
                  <a:cubicBezTo>
                    <a:pt x="1413" y="1131"/>
                    <a:pt x="1413" y="1090"/>
                    <a:pt x="1413" y="1049"/>
                  </a:cubicBezTo>
                  <a:cubicBezTo>
                    <a:pt x="1413" y="1010"/>
                    <a:pt x="1413" y="972"/>
                    <a:pt x="1413" y="934"/>
                  </a:cubicBezTo>
                  <a:close/>
                  <a:moveTo>
                    <a:pt x="1378" y="1113"/>
                  </a:moveTo>
                  <a:cubicBezTo>
                    <a:pt x="1378" y="1136"/>
                    <a:pt x="1360" y="1155"/>
                    <a:pt x="1337" y="1157"/>
                  </a:cubicBezTo>
                  <a:cubicBezTo>
                    <a:pt x="1319" y="1159"/>
                    <a:pt x="1304" y="1154"/>
                    <a:pt x="1294" y="1139"/>
                  </a:cubicBezTo>
                  <a:cubicBezTo>
                    <a:pt x="1286" y="1128"/>
                    <a:pt x="1283" y="1116"/>
                    <a:pt x="1283" y="1102"/>
                  </a:cubicBezTo>
                  <a:cubicBezTo>
                    <a:pt x="1282" y="1085"/>
                    <a:pt x="1282" y="1067"/>
                    <a:pt x="1290" y="1051"/>
                  </a:cubicBezTo>
                  <a:cubicBezTo>
                    <a:pt x="1297" y="1036"/>
                    <a:pt x="1308" y="1024"/>
                    <a:pt x="1325" y="1022"/>
                  </a:cubicBezTo>
                  <a:cubicBezTo>
                    <a:pt x="1342" y="1020"/>
                    <a:pt x="1358" y="1021"/>
                    <a:pt x="1371" y="1035"/>
                  </a:cubicBezTo>
                  <a:cubicBezTo>
                    <a:pt x="1376" y="1041"/>
                    <a:pt x="1378" y="1046"/>
                    <a:pt x="1378" y="1052"/>
                  </a:cubicBezTo>
                  <a:cubicBezTo>
                    <a:pt x="1378" y="1064"/>
                    <a:pt x="1378" y="1075"/>
                    <a:pt x="1378" y="1086"/>
                  </a:cubicBezTo>
                  <a:cubicBezTo>
                    <a:pt x="1378" y="1086"/>
                    <a:pt x="1378" y="1086"/>
                    <a:pt x="1378" y="1086"/>
                  </a:cubicBezTo>
                  <a:cubicBezTo>
                    <a:pt x="1378" y="1095"/>
                    <a:pt x="1378" y="1104"/>
                    <a:pt x="1378" y="1113"/>
                  </a:cubicBezTo>
                  <a:close/>
                  <a:moveTo>
                    <a:pt x="578" y="259"/>
                  </a:moveTo>
                  <a:cubicBezTo>
                    <a:pt x="603" y="241"/>
                    <a:pt x="611" y="213"/>
                    <a:pt x="614" y="183"/>
                  </a:cubicBezTo>
                  <a:cubicBezTo>
                    <a:pt x="615" y="171"/>
                    <a:pt x="610" y="159"/>
                    <a:pt x="609" y="147"/>
                  </a:cubicBezTo>
                  <a:cubicBezTo>
                    <a:pt x="608" y="137"/>
                    <a:pt x="603" y="129"/>
                    <a:pt x="599" y="121"/>
                  </a:cubicBezTo>
                  <a:cubicBezTo>
                    <a:pt x="579" y="87"/>
                    <a:pt x="527" y="70"/>
                    <a:pt x="488" y="85"/>
                  </a:cubicBezTo>
                  <a:cubicBezTo>
                    <a:pt x="453" y="99"/>
                    <a:pt x="436" y="127"/>
                    <a:pt x="431" y="163"/>
                  </a:cubicBezTo>
                  <a:cubicBezTo>
                    <a:pt x="429" y="180"/>
                    <a:pt x="430" y="196"/>
                    <a:pt x="436" y="213"/>
                  </a:cubicBezTo>
                  <a:cubicBezTo>
                    <a:pt x="439" y="222"/>
                    <a:pt x="442" y="232"/>
                    <a:pt x="447" y="239"/>
                  </a:cubicBezTo>
                  <a:cubicBezTo>
                    <a:pt x="465" y="265"/>
                    <a:pt x="491" y="277"/>
                    <a:pt x="525" y="276"/>
                  </a:cubicBezTo>
                  <a:cubicBezTo>
                    <a:pt x="543" y="278"/>
                    <a:pt x="562" y="271"/>
                    <a:pt x="578" y="259"/>
                  </a:cubicBezTo>
                  <a:close/>
                  <a:moveTo>
                    <a:pt x="471" y="205"/>
                  </a:moveTo>
                  <a:cubicBezTo>
                    <a:pt x="466" y="185"/>
                    <a:pt x="468" y="167"/>
                    <a:pt x="472" y="147"/>
                  </a:cubicBezTo>
                  <a:cubicBezTo>
                    <a:pt x="477" y="130"/>
                    <a:pt x="493" y="116"/>
                    <a:pt x="509" y="112"/>
                  </a:cubicBezTo>
                  <a:cubicBezTo>
                    <a:pt x="525" y="108"/>
                    <a:pt x="539" y="110"/>
                    <a:pt x="553" y="119"/>
                  </a:cubicBezTo>
                  <a:cubicBezTo>
                    <a:pt x="563" y="125"/>
                    <a:pt x="568" y="135"/>
                    <a:pt x="571" y="146"/>
                  </a:cubicBezTo>
                  <a:cubicBezTo>
                    <a:pt x="577" y="167"/>
                    <a:pt x="578" y="189"/>
                    <a:pt x="571" y="211"/>
                  </a:cubicBezTo>
                  <a:cubicBezTo>
                    <a:pt x="565" y="231"/>
                    <a:pt x="549" y="249"/>
                    <a:pt x="521" y="247"/>
                  </a:cubicBezTo>
                  <a:cubicBezTo>
                    <a:pt x="496" y="247"/>
                    <a:pt x="478" y="230"/>
                    <a:pt x="471" y="205"/>
                  </a:cubicBezTo>
                  <a:close/>
                  <a:moveTo>
                    <a:pt x="472" y="1122"/>
                  </a:moveTo>
                  <a:cubicBezTo>
                    <a:pt x="475" y="1136"/>
                    <a:pt x="481" y="1148"/>
                    <a:pt x="491" y="1158"/>
                  </a:cubicBezTo>
                  <a:cubicBezTo>
                    <a:pt x="506" y="1176"/>
                    <a:pt x="524" y="1185"/>
                    <a:pt x="548" y="1187"/>
                  </a:cubicBezTo>
                  <a:cubicBezTo>
                    <a:pt x="568" y="1188"/>
                    <a:pt x="587" y="1187"/>
                    <a:pt x="605" y="1177"/>
                  </a:cubicBezTo>
                  <a:cubicBezTo>
                    <a:pt x="632" y="1162"/>
                    <a:pt x="644" y="1136"/>
                    <a:pt x="649" y="1107"/>
                  </a:cubicBezTo>
                  <a:cubicBezTo>
                    <a:pt x="652" y="1089"/>
                    <a:pt x="649" y="1072"/>
                    <a:pt x="644" y="1054"/>
                  </a:cubicBezTo>
                  <a:cubicBezTo>
                    <a:pt x="638" y="1034"/>
                    <a:pt x="627" y="1019"/>
                    <a:pt x="610" y="1007"/>
                  </a:cubicBezTo>
                  <a:cubicBezTo>
                    <a:pt x="589" y="992"/>
                    <a:pt x="566" y="991"/>
                    <a:pt x="541" y="994"/>
                  </a:cubicBezTo>
                  <a:cubicBezTo>
                    <a:pt x="526" y="995"/>
                    <a:pt x="512" y="1002"/>
                    <a:pt x="500" y="1012"/>
                  </a:cubicBezTo>
                  <a:cubicBezTo>
                    <a:pt x="476" y="1032"/>
                    <a:pt x="469" y="1060"/>
                    <a:pt x="466" y="1095"/>
                  </a:cubicBezTo>
                  <a:cubicBezTo>
                    <a:pt x="465" y="1101"/>
                    <a:pt x="470" y="1111"/>
                    <a:pt x="472" y="1122"/>
                  </a:cubicBezTo>
                  <a:close/>
                  <a:moveTo>
                    <a:pt x="508" y="1113"/>
                  </a:moveTo>
                  <a:cubicBezTo>
                    <a:pt x="505" y="1095"/>
                    <a:pt x="506" y="1078"/>
                    <a:pt x="508" y="1061"/>
                  </a:cubicBezTo>
                  <a:cubicBezTo>
                    <a:pt x="511" y="1042"/>
                    <a:pt x="538" y="1021"/>
                    <a:pt x="554" y="1022"/>
                  </a:cubicBezTo>
                  <a:cubicBezTo>
                    <a:pt x="570" y="1022"/>
                    <a:pt x="586" y="1024"/>
                    <a:pt x="596" y="1037"/>
                  </a:cubicBezTo>
                  <a:cubicBezTo>
                    <a:pt x="602" y="1044"/>
                    <a:pt x="607" y="1052"/>
                    <a:pt x="608" y="1061"/>
                  </a:cubicBezTo>
                  <a:cubicBezTo>
                    <a:pt x="608" y="1064"/>
                    <a:pt x="609" y="1067"/>
                    <a:pt x="610" y="1070"/>
                  </a:cubicBezTo>
                  <a:cubicBezTo>
                    <a:pt x="618" y="1089"/>
                    <a:pt x="612" y="1107"/>
                    <a:pt x="607" y="1125"/>
                  </a:cubicBezTo>
                  <a:cubicBezTo>
                    <a:pt x="601" y="1143"/>
                    <a:pt x="588" y="1160"/>
                    <a:pt x="558" y="1157"/>
                  </a:cubicBezTo>
                  <a:cubicBezTo>
                    <a:pt x="530" y="1157"/>
                    <a:pt x="512" y="1141"/>
                    <a:pt x="508" y="1113"/>
                  </a:cubicBezTo>
                  <a:close/>
                  <a:moveTo>
                    <a:pt x="430" y="716"/>
                  </a:moveTo>
                  <a:cubicBezTo>
                    <a:pt x="450" y="703"/>
                    <a:pt x="459" y="683"/>
                    <a:pt x="464" y="661"/>
                  </a:cubicBezTo>
                  <a:cubicBezTo>
                    <a:pt x="468" y="648"/>
                    <a:pt x="467" y="635"/>
                    <a:pt x="466" y="621"/>
                  </a:cubicBezTo>
                  <a:cubicBezTo>
                    <a:pt x="463" y="592"/>
                    <a:pt x="453" y="567"/>
                    <a:pt x="427" y="550"/>
                  </a:cubicBezTo>
                  <a:cubicBezTo>
                    <a:pt x="401" y="534"/>
                    <a:pt x="372" y="532"/>
                    <a:pt x="345" y="541"/>
                  </a:cubicBezTo>
                  <a:cubicBezTo>
                    <a:pt x="310" y="552"/>
                    <a:pt x="291" y="580"/>
                    <a:pt x="287" y="617"/>
                  </a:cubicBezTo>
                  <a:cubicBezTo>
                    <a:pt x="286" y="629"/>
                    <a:pt x="286" y="641"/>
                    <a:pt x="287" y="654"/>
                  </a:cubicBezTo>
                  <a:cubicBezTo>
                    <a:pt x="289" y="671"/>
                    <a:pt x="295" y="686"/>
                    <a:pt x="306" y="700"/>
                  </a:cubicBezTo>
                  <a:cubicBezTo>
                    <a:pt x="324" y="722"/>
                    <a:pt x="348" y="733"/>
                    <a:pt x="378" y="731"/>
                  </a:cubicBezTo>
                  <a:cubicBezTo>
                    <a:pt x="396" y="733"/>
                    <a:pt x="414" y="727"/>
                    <a:pt x="430" y="716"/>
                  </a:cubicBezTo>
                  <a:close/>
                  <a:moveTo>
                    <a:pt x="331" y="592"/>
                  </a:moveTo>
                  <a:cubicBezTo>
                    <a:pt x="339" y="580"/>
                    <a:pt x="349" y="569"/>
                    <a:pt x="365" y="567"/>
                  </a:cubicBezTo>
                  <a:cubicBezTo>
                    <a:pt x="387" y="564"/>
                    <a:pt x="406" y="568"/>
                    <a:pt x="419" y="588"/>
                  </a:cubicBezTo>
                  <a:cubicBezTo>
                    <a:pt x="423" y="595"/>
                    <a:pt x="426" y="603"/>
                    <a:pt x="427" y="610"/>
                  </a:cubicBezTo>
                  <a:cubicBezTo>
                    <a:pt x="433" y="635"/>
                    <a:pt x="431" y="661"/>
                    <a:pt x="416" y="684"/>
                  </a:cubicBezTo>
                  <a:cubicBezTo>
                    <a:pt x="403" y="706"/>
                    <a:pt x="362" y="708"/>
                    <a:pt x="345" y="692"/>
                  </a:cubicBezTo>
                  <a:cubicBezTo>
                    <a:pt x="329" y="678"/>
                    <a:pt x="323" y="661"/>
                    <a:pt x="323" y="631"/>
                  </a:cubicBezTo>
                  <a:cubicBezTo>
                    <a:pt x="323" y="619"/>
                    <a:pt x="323" y="605"/>
                    <a:pt x="331" y="592"/>
                  </a:cubicBezTo>
                  <a:close/>
                  <a:moveTo>
                    <a:pt x="1073" y="259"/>
                  </a:moveTo>
                  <a:cubicBezTo>
                    <a:pt x="1073" y="269"/>
                    <a:pt x="1075" y="272"/>
                    <a:pt x="1086" y="272"/>
                  </a:cubicBezTo>
                  <a:cubicBezTo>
                    <a:pt x="1088" y="272"/>
                    <a:pt x="1090" y="272"/>
                    <a:pt x="1092" y="272"/>
                  </a:cubicBezTo>
                  <a:cubicBezTo>
                    <a:pt x="1105" y="272"/>
                    <a:pt x="1106" y="271"/>
                    <a:pt x="1106" y="258"/>
                  </a:cubicBezTo>
                  <a:cubicBezTo>
                    <a:pt x="1106" y="221"/>
                    <a:pt x="1106" y="184"/>
                    <a:pt x="1106" y="147"/>
                  </a:cubicBezTo>
                  <a:cubicBezTo>
                    <a:pt x="1106" y="143"/>
                    <a:pt x="1106" y="140"/>
                    <a:pt x="1107" y="137"/>
                  </a:cubicBezTo>
                  <a:cubicBezTo>
                    <a:pt x="1117" y="117"/>
                    <a:pt x="1157" y="104"/>
                    <a:pt x="1177" y="114"/>
                  </a:cubicBezTo>
                  <a:cubicBezTo>
                    <a:pt x="1179" y="115"/>
                    <a:pt x="1180" y="117"/>
                    <a:pt x="1182" y="118"/>
                  </a:cubicBezTo>
                  <a:cubicBezTo>
                    <a:pt x="1194" y="131"/>
                    <a:pt x="1196" y="147"/>
                    <a:pt x="1196" y="163"/>
                  </a:cubicBezTo>
                  <a:cubicBezTo>
                    <a:pt x="1197" y="195"/>
                    <a:pt x="1196" y="226"/>
                    <a:pt x="1196" y="258"/>
                  </a:cubicBezTo>
                  <a:cubicBezTo>
                    <a:pt x="1196" y="271"/>
                    <a:pt x="1197" y="272"/>
                    <a:pt x="1210" y="272"/>
                  </a:cubicBezTo>
                  <a:cubicBezTo>
                    <a:pt x="1212" y="272"/>
                    <a:pt x="1213" y="272"/>
                    <a:pt x="1215" y="272"/>
                  </a:cubicBezTo>
                  <a:cubicBezTo>
                    <a:pt x="1227" y="272"/>
                    <a:pt x="1229" y="270"/>
                    <a:pt x="1229" y="258"/>
                  </a:cubicBezTo>
                  <a:cubicBezTo>
                    <a:pt x="1229" y="222"/>
                    <a:pt x="1229" y="187"/>
                    <a:pt x="1229" y="151"/>
                  </a:cubicBezTo>
                  <a:cubicBezTo>
                    <a:pt x="1229" y="142"/>
                    <a:pt x="1228" y="132"/>
                    <a:pt x="1225" y="123"/>
                  </a:cubicBezTo>
                  <a:cubicBezTo>
                    <a:pt x="1219" y="105"/>
                    <a:pt x="1208" y="91"/>
                    <a:pt x="1189" y="85"/>
                  </a:cubicBezTo>
                  <a:cubicBezTo>
                    <a:pt x="1173" y="80"/>
                    <a:pt x="1156" y="84"/>
                    <a:pt x="1139" y="84"/>
                  </a:cubicBezTo>
                  <a:cubicBezTo>
                    <a:pt x="1137" y="84"/>
                    <a:pt x="1136" y="86"/>
                    <a:pt x="1134" y="87"/>
                  </a:cubicBezTo>
                  <a:cubicBezTo>
                    <a:pt x="1128" y="91"/>
                    <a:pt x="1121" y="96"/>
                    <a:pt x="1115" y="100"/>
                  </a:cubicBezTo>
                  <a:cubicBezTo>
                    <a:pt x="1113" y="102"/>
                    <a:pt x="1111" y="105"/>
                    <a:pt x="1108" y="103"/>
                  </a:cubicBezTo>
                  <a:cubicBezTo>
                    <a:pt x="1105" y="102"/>
                    <a:pt x="1106" y="98"/>
                    <a:pt x="1106" y="96"/>
                  </a:cubicBezTo>
                  <a:cubicBezTo>
                    <a:pt x="1106" y="69"/>
                    <a:pt x="1106" y="43"/>
                    <a:pt x="1106" y="17"/>
                  </a:cubicBezTo>
                  <a:cubicBezTo>
                    <a:pt x="1106" y="0"/>
                    <a:pt x="1106" y="0"/>
                    <a:pt x="1089" y="0"/>
                  </a:cubicBezTo>
                  <a:cubicBezTo>
                    <a:pt x="1074" y="0"/>
                    <a:pt x="1073" y="1"/>
                    <a:pt x="1073" y="16"/>
                  </a:cubicBezTo>
                  <a:cubicBezTo>
                    <a:pt x="1073" y="56"/>
                    <a:pt x="1073" y="96"/>
                    <a:pt x="1073" y="136"/>
                  </a:cubicBezTo>
                  <a:cubicBezTo>
                    <a:pt x="1073" y="177"/>
                    <a:pt x="1073" y="218"/>
                    <a:pt x="1073" y="259"/>
                  </a:cubicBezTo>
                  <a:close/>
                  <a:moveTo>
                    <a:pt x="1150" y="1092"/>
                  </a:moveTo>
                  <a:cubicBezTo>
                    <a:pt x="1168" y="1092"/>
                    <a:pt x="1186" y="1092"/>
                    <a:pt x="1204" y="1092"/>
                  </a:cubicBezTo>
                  <a:cubicBezTo>
                    <a:pt x="1215" y="1092"/>
                    <a:pt x="1218" y="1087"/>
                    <a:pt x="1219" y="1077"/>
                  </a:cubicBezTo>
                  <a:cubicBezTo>
                    <a:pt x="1220" y="1062"/>
                    <a:pt x="1216" y="1049"/>
                    <a:pt x="1210" y="1036"/>
                  </a:cubicBezTo>
                  <a:cubicBezTo>
                    <a:pt x="1204" y="1020"/>
                    <a:pt x="1193" y="1008"/>
                    <a:pt x="1177" y="1001"/>
                  </a:cubicBezTo>
                  <a:cubicBezTo>
                    <a:pt x="1155" y="992"/>
                    <a:pt x="1133" y="991"/>
                    <a:pt x="1109" y="999"/>
                  </a:cubicBezTo>
                  <a:cubicBezTo>
                    <a:pt x="1079" y="1010"/>
                    <a:pt x="1062" y="1031"/>
                    <a:pt x="1056" y="1061"/>
                  </a:cubicBezTo>
                  <a:cubicBezTo>
                    <a:pt x="1051" y="1090"/>
                    <a:pt x="1052" y="1120"/>
                    <a:pt x="1069" y="1148"/>
                  </a:cubicBezTo>
                  <a:cubicBezTo>
                    <a:pt x="1081" y="1169"/>
                    <a:pt x="1100" y="1180"/>
                    <a:pt x="1122" y="1185"/>
                  </a:cubicBezTo>
                  <a:cubicBezTo>
                    <a:pt x="1149" y="1190"/>
                    <a:pt x="1176" y="1186"/>
                    <a:pt x="1200" y="1171"/>
                  </a:cubicBezTo>
                  <a:cubicBezTo>
                    <a:pt x="1206" y="1168"/>
                    <a:pt x="1213" y="1165"/>
                    <a:pt x="1214" y="1157"/>
                  </a:cubicBezTo>
                  <a:cubicBezTo>
                    <a:pt x="1215" y="1147"/>
                    <a:pt x="1202" y="1139"/>
                    <a:pt x="1193" y="1144"/>
                  </a:cubicBezTo>
                  <a:cubicBezTo>
                    <a:pt x="1187" y="1147"/>
                    <a:pt x="1180" y="1150"/>
                    <a:pt x="1174" y="1153"/>
                  </a:cubicBezTo>
                  <a:cubicBezTo>
                    <a:pt x="1158" y="1161"/>
                    <a:pt x="1140" y="1161"/>
                    <a:pt x="1124" y="1155"/>
                  </a:cubicBezTo>
                  <a:cubicBezTo>
                    <a:pt x="1112" y="1151"/>
                    <a:pt x="1102" y="1142"/>
                    <a:pt x="1096" y="1129"/>
                  </a:cubicBezTo>
                  <a:cubicBezTo>
                    <a:pt x="1092" y="1121"/>
                    <a:pt x="1091" y="1112"/>
                    <a:pt x="1089" y="1104"/>
                  </a:cubicBezTo>
                  <a:cubicBezTo>
                    <a:pt x="1087" y="1093"/>
                    <a:pt x="1087" y="1092"/>
                    <a:pt x="1099" y="1092"/>
                  </a:cubicBezTo>
                  <a:cubicBezTo>
                    <a:pt x="1116" y="1092"/>
                    <a:pt x="1133" y="1092"/>
                    <a:pt x="1150" y="1092"/>
                  </a:cubicBezTo>
                  <a:cubicBezTo>
                    <a:pt x="1150" y="1092"/>
                    <a:pt x="1150" y="1092"/>
                    <a:pt x="1150" y="1092"/>
                  </a:cubicBezTo>
                  <a:close/>
                  <a:moveTo>
                    <a:pt x="1099" y="1070"/>
                  </a:moveTo>
                  <a:cubicBezTo>
                    <a:pt x="1092" y="1071"/>
                    <a:pt x="1089" y="1067"/>
                    <a:pt x="1091" y="1060"/>
                  </a:cubicBezTo>
                  <a:cubicBezTo>
                    <a:pt x="1094" y="1045"/>
                    <a:pt x="1108" y="1023"/>
                    <a:pt x="1128" y="1022"/>
                  </a:cubicBezTo>
                  <a:cubicBezTo>
                    <a:pt x="1142" y="1021"/>
                    <a:pt x="1156" y="1018"/>
                    <a:pt x="1168" y="1029"/>
                  </a:cubicBezTo>
                  <a:cubicBezTo>
                    <a:pt x="1181" y="1038"/>
                    <a:pt x="1185" y="1051"/>
                    <a:pt x="1187" y="1066"/>
                  </a:cubicBezTo>
                  <a:cubicBezTo>
                    <a:pt x="1188" y="1071"/>
                    <a:pt x="1183" y="1070"/>
                    <a:pt x="1180" y="1070"/>
                  </a:cubicBezTo>
                  <a:cubicBezTo>
                    <a:pt x="1166" y="1070"/>
                    <a:pt x="1153" y="1070"/>
                    <a:pt x="1139" y="1070"/>
                  </a:cubicBezTo>
                  <a:cubicBezTo>
                    <a:pt x="1139" y="1070"/>
                    <a:pt x="1139" y="1070"/>
                    <a:pt x="1139" y="1070"/>
                  </a:cubicBezTo>
                  <a:cubicBezTo>
                    <a:pt x="1126" y="1070"/>
                    <a:pt x="1113" y="1070"/>
                    <a:pt x="1099" y="1070"/>
                  </a:cubicBezTo>
                  <a:close/>
                  <a:moveTo>
                    <a:pt x="1741" y="1092"/>
                  </a:moveTo>
                  <a:cubicBezTo>
                    <a:pt x="1759" y="1092"/>
                    <a:pt x="1776" y="1092"/>
                    <a:pt x="1793" y="1092"/>
                  </a:cubicBezTo>
                  <a:cubicBezTo>
                    <a:pt x="1806" y="1092"/>
                    <a:pt x="1808" y="1089"/>
                    <a:pt x="1808" y="1076"/>
                  </a:cubicBezTo>
                  <a:cubicBezTo>
                    <a:pt x="1809" y="1063"/>
                    <a:pt x="1807" y="1051"/>
                    <a:pt x="1802" y="1038"/>
                  </a:cubicBezTo>
                  <a:cubicBezTo>
                    <a:pt x="1794" y="1021"/>
                    <a:pt x="1782" y="1008"/>
                    <a:pt x="1764" y="1000"/>
                  </a:cubicBezTo>
                  <a:cubicBezTo>
                    <a:pt x="1742" y="991"/>
                    <a:pt x="1720" y="991"/>
                    <a:pt x="1698" y="1000"/>
                  </a:cubicBezTo>
                  <a:cubicBezTo>
                    <a:pt x="1681" y="1006"/>
                    <a:pt x="1668" y="1016"/>
                    <a:pt x="1659" y="1031"/>
                  </a:cubicBezTo>
                  <a:cubicBezTo>
                    <a:pt x="1646" y="1050"/>
                    <a:pt x="1643" y="1071"/>
                    <a:pt x="1644" y="1094"/>
                  </a:cubicBezTo>
                  <a:cubicBezTo>
                    <a:pt x="1644" y="1110"/>
                    <a:pt x="1647" y="1127"/>
                    <a:pt x="1655" y="1141"/>
                  </a:cubicBezTo>
                  <a:cubicBezTo>
                    <a:pt x="1669" y="1168"/>
                    <a:pt x="1691" y="1183"/>
                    <a:pt x="1722" y="1186"/>
                  </a:cubicBezTo>
                  <a:cubicBezTo>
                    <a:pt x="1750" y="1188"/>
                    <a:pt x="1775" y="1183"/>
                    <a:pt x="1798" y="1165"/>
                  </a:cubicBezTo>
                  <a:cubicBezTo>
                    <a:pt x="1803" y="1161"/>
                    <a:pt x="1806" y="1157"/>
                    <a:pt x="1802" y="1151"/>
                  </a:cubicBezTo>
                  <a:cubicBezTo>
                    <a:pt x="1798" y="1144"/>
                    <a:pt x="1791" y="1140"/>
                    <a:pt x="1783" y="1144"/>
                  </a:cubicBezTo>
                  <a:cubicBezTo>
                    <a:pt x="1778" y="1147"/>
                    <a:pt x="1771" y="1149"/>
                    <a:pt x="1766" y="1152"/>
                  </a:cubicBezTo>
                  <a:cubicBezTo>
                    <a:pt x="1749" y="1161"/>
                    <a:pt x="1730" y="1162"/>
                    <a:pt x="1714" y="1155"/>
                  </a:cubicBezTo>
                  <a:cubicBezTo>
                    <a:pt x="1692" y="1145"/>
                    <a:pt x="1680" y="1127"/>
                    <a:pt x="1679" y="1102"/>
                  </a:cubicBezTo>
                  <a:cubicBezTo>
                    <a:pt x="1678" y="1095"/>
                    <a:pt x="1681" y="1092"/>
                    <a:pt x="1689" y="1092"/>
                  </a:cubicBezTo>
                  <a:cubicBezTo>
                    <a:pt x="1706" y="1092"/>
                    <a:pt x="1724" y="1092"/>
                    <a:pt x="1741" y="1092"/>
                  </a:cubicBezTo>
                  <a:cubicBezTo>
                    <a:pt x="1741" y="1092"/>
                    <a:pt x="1741" y="1092"/>
                    <a:pt x="1741" y="1092"/>
                  </a:cubicBezTo>
                  <a:close/>
                  <a:moveTo>
                    <a:pt x="1690" y="1070"/>
                  </a:moveTo>
                  <a:cubicBezTo>
                    <a:pt x="1683" y="1071"/>
                    <a:pt x="1680" y="1068"/>
                    <a:pt x="1681" y="1062"/>
                  </a:cubicBezTo>
                  <a:cubicBezTo>
                    <a:pt x="1683" y="1048"/>
                    <a:pt x="1697" y="1024"/>
                    <a:pt x="1716" y="1022"/>
                  </a:cubicBezTo>
                  <a:cubicBezTo>
                    <a:pt x="1731" y="1020"/>
                    <a:pt x="1747" y="1018"/>
                    <a:pt x="1760" y="1030"/>
                  </a:cubicBezTo>
                  <a:cubicBezTo>
                    <a:pt x="1771" y="1038"/>
                    <a:pt x="1775" y="1050"/>
                    <a:pt x="1778" y="1062"/>
                  </a:cubicBezTo>
                  <a:cubicBezTo>
                    <a:pt x="1780" y="1068"/>
                    <a:pt x="1775" y="1070"/>
                    <a:pt x="1769" y="1070"/>
                  </a:cubicBezTo>
                  <a:cubicBezTo>
                    <a:pt x="1756" y="1070"/>
                    <a:pt x="1742" y="1070"/>
                    <a:pt x="1729" y="1070"/>
                  </a:cubicBezTo>
                  <a:cubicBezTo>
                    <a:pt x="1729" y="1070"/>
                    <a:pt x="1729" y="1070"/>
                    <a:pt x="1729" y="1070"/>
                  </a:cubicBezTo>
                  <a:cubicBezTo>
                    <a:pt x="1716" y="1070"/>
                    <a:pt x="1703" y="1070"/>
                    <a:pt x="1690" y="1070"/>
                  </a:cubicBezTo>
                  <a:close/>
                  <a:moveTo>
                    <a:pt x="68" y="581"/>
                  </a:moveTo>
                  <a:cubicBezTo>
                    <a:pt x="68" y="573"/>
                    <a:pt x="70" y="568"/>
                    <a:pt x="80" y="569"/>
                  </a:cubicBezTo>
                  <a:cubicBezTo>
                    <a:pt x="90" y="570"/>
                    <a:pt x="101" y="570"/>
                    <a:pt x="111" y="569"/>
                  </a:cubicBezTo>
                  <a:cubicBezTo>
                    <a:pt x="120" y="569"/>
                    <a:pt x="120" y="563"/>
                    <a:pt x="120" y="556"/>
                  </a:cubicBezTo>
                  <a:cubicBezTo>
                    <a:pt x="120" y="549"/>
                    <a:pt x="119" y="544"/>
                    <a:pt x="111" y="544"/>
                  </a:cubicBezTo>
                  <a:cubicBezTo>
                    <a:pt x="104" y="544"/>
                    <a:pt x="97" y="544"/>
                    <a:pt x="91" y="544"/>
                  </a:cubicBezTo>
                  <a:cubicBezTo>
                    <a:pt x="66" y="544"/>
                    <a:pt x="65" y="543"/>
                    <a:pt x="68" y="518"/>
                  </a:cubicBezTo>
                  <a:cubicBezTo>
                    <a:pt x="69" y="504"/>
                    <a:pt x="83" y="487"/>
                    <a:pt x="99" y="489"/>
                  </a:cubicBezTo>
                  <a:cubicBezTo>
                    <a:pt x="103" y="489"/>
                    <a:pt x="107" y="489"/>
                    <a:pt x="110" y="488"/>
                  </a:cubicBezTo>
                  <a:cubicBezTo>
                    <a:pt x="118" y="487"/>
                    <a:pt x="123" y="479"/>
                    <a:pt x="123" y="471"/>
                  </a:cubicBezTo>
                  <a:cubicBezTo>
                    <a:pt x="123" y="461"/>
                    <a:pt x="116" y="462"/>
                    <a:pt x="109" y="460"/>
                  </a:cubicBezTo>
                  <a:cubicBezTo>
                    <a:pt x="100" y="458"/>
                    <a:pt x="92" y="460"/>
                    <a:pt x="84" y="460"/>
                  </a:cubicBezTo>
                  <a:cubicBezTo>
                    <a:pt x="68" y="461"/>
                    <a:pt x="56" y="469"/>
                    <a:pt x="47" y="480"/>
                  </a:cubicBezTo>
                  <a:cubicBezTo>
                    <a:pt x="34" y="493"/>
                    <a:pt x="32" y="511"/>
                    <a:pt x="32" y="529"/>
                  </a:cubicBezTo>
                  <a:cubicBezTo>
                    <a:pt x="32" y="544"/>
                    <a:pt x="32" y="544"/>
                    <a:pt x="17" y="544"/>
                  </a:cubicBezTo>
                  <a:cubicBezTo>
                    <a:pt x="4" y="543"/>
                    <a:pt x="0" y="548"/>
                    <a:pt x="4" y="561"/>
                  </a:cubicBezTo>
                  <a:cubicBezTo>
                    <a:pt x="6" y="569"/>
                    <a:pt x="13" y="568"/>
                    <a:pt x="19" y="569"/>
                  </a:cubicBezTo>
                  <a:cubicBezTo>
                    <a:pt x="32" y="571"/>
                    <a:pt x="32" y="571"/>
                    <a:pt x="32" y="584"/>
                  </a:cubicBezTo>
                  <a:cubicBezTo>
                    <a:pt x="32" y="624"/>
                    <a:pt x="32" y="664"/>
                    <a:pt x="32" y="704"/>
                  </a:cubicBezTo>
                  <a:cubicBezTo>
                    <a:pt x="32" y="731"/>
                    <a:pt x="32" y="730"/>
                    <a:pt x="57" y="731"/>
                  </a:cubicBezTo>
                  <a:cubicBezTo>
                    <a:pt x="66" y="731"/>
                    <a:pt x="68" y="727"/>
                    <a:pt x="68" y="720"/>
                  </a:cubicBezTo>
                  <a:cubicBezTo>
                    <a:pt x="68" y="697"/>
                    <a:pt x="68" y="674"/>
                    <a:pt x="68" y="651"/>
                  </a:cubicBezTo>
                  <a:cubicBezTo>
                    <a:pt x="68" y="628"/>
                    <a:pt x="68" y="605"/>
                    <a:pt x="68" y="581"/>
                  </a:cubicBezTo>
                  <a:close/>
                  <a:moveTo>
                    <a:pt x="278" y="1165"/>
                  </a:moveTo>
                  <a:cubicBezTo>
                    <a:pt x="278" y="1183"/>
                    <a:pt x="278" y="1183"/>
                    <a:pt x="296" y="1184"/>
                  </a:cubicBezTo>
                  <a:cubicBezTo>
                    <a:pt x="310" y="1184"/>
                    <a:pt x="310" y="1184"/>
                    <a:pt x="310" y="1169"/>
                  </a:cubicBezTo>
                  <a:cubicBezTo>
                    <a:pt x="310" y="1132"/>
                    <a:pt x="310" y="1095"/>
                    <a:pt x="310" y="1058"/>
                  </a:cubicBezTo>
                  <a:cubicBezTo>
                    <a:pt x="310" y="1052"/>
                    <a:pt x="312" y="1047"/>
                    <a:pt x="316" y="1042"/>
                  </a:cubicBezTo>
                  <a:cubicBezTo>
                    <a:pt x="324" y="1033"/>
                    <a:pt x="334" y="1027"/>
                    <a:pt x="345" y="1024"/>
                  </a:cubicBezTo>
                  <a:cubicBezTo>
                    <a:pt x="357" y="1020"/>
                    <a:pt x="371" y="1018"/>
                    <a:pt x="383" y="1028"/>
                  </a:cubicBezTo>
                  <a:cubicBezTo>
                    <a:pt x="397" y="1039"/>
                    <a:pt x="401" y="1054"/>
                    <a:pt x="401" y="1071"/>
                  </a:cubicBezTo>
                  <a:cubicBezTo>
                    <a:pt x="401" y="1102"/>
                    <a:pt x="401" y="1132"/>
                    <a:pt x="401" y="1163"/>
                  </a:cubicBezTo>
                  <a:cubicBezTo>
                    <a:pt x="401" y="1183"/>
                    <a:pt x="401" y="1182"/>
                    <a:pt x="420" y="1184"/>
                  </a:cubicBezTo>
                  <a:cubicBezTo>
                    <a:pt x="429" y="1185"/>
                    <a:pt x="433" y="1181"/>
                    <a:pt x="433" y="1173"/>
                  </a:cubicBezTo>
                  <a:cubicBezTo>
                    <a:pt x="432" y="1130"/>
                    <a:pt x="435" y="1087"/>
                    <a:pt x="431" y="1044"/>
                  </a:cubicBezTo>
                  <a:cubicBezTo>
                    <a:pt x="427" y="1014"/>
                    <a:pt x="404" y="996"/>
                    <a:pt x="376" y="994"/>
                  </a:cubicBezTo>
                  <a:cubicBezTo>
                    <a:pt x="353" y="992"/>
                    <a:pt x="333" y="1000"/>
                    <a:pt x="317" y="1017"/>
                  </a:cubicBezTo>
                  <a:cubicBezTo>
                    <a:pt x="312" y="1021"/>
                    <a:pt x="311" y="1019"/>
                    <a:pt x="309" y="1015"/>
                  </a:cubicBezTo>
                  <a:cubicBezTo>
                    <a:pt x="309" y="1013"/>
                    <a:pt x="308" y="1011"/>
                    <a:pt x="308" y="1008"/>
                  </a:cubicBezTo>
                  <a:cubicBezTo>
                    <a:pt x="306" y="1001"/>
                    <a:pt x="298" y="997"/>
                    <a:pt x="287" y="998"/>
                  </a:cubicBezTo>
                  <a:cubicBezTo>
                    <a:pt x="279" y="999"/>
                    <a:pt x="278" y="1004"/>
                    <a:pt x="278" y="1011"/>
                  </a:cubicBezTo>
                  <a:cubicBezTo>
                    <a:pt x="278" y="1037"/>
                    <a:pt x="278" y="1064"/>
                    <a:pt x="278" y="1091"/>
                  </a:cubicBezTo>
                  <a:cubicBezTo>
                    <a:pt x="278" y="1115"/>
                    <a:pt x="278" y="1140"/>
                    <a:pt x="278" y="1165"/>
                  </a:cubicBezTo>
                  <a:close/>
                  <a:moveTo>
                    <a:pt x="150" y="705"/>
                  </a:moveTo>
                  <a:cubicBezTo>
                    <a:pt x="150" y="734"/>
                    <a:pt x="145" y="730"/>
                    <a:pt x="176" y="731"/>
                  </a:cubicBezTo>
                  <a:cubicBezTo>
                    <a:pt x="185" y="731"/>
                    <a:pt x="187" y="727"/>
                    <a:pt x="187" y="719"/>
                  </a:cubicBezTo>
                  <a:cubicBezTo>
                    <a:pt x="187" y="685"/>
                    <a:pt x="187" y="651"/>
                    <a:pt x="187" y="618"/>
                  </a:cubicBezTo>
                  <a:cubicBezTo>
                    <a:pt x="187" y="597"/>
                    <a:pt x="204" y="578"/>
                    <a:pt x="225" y="574"/>
                  </a:cubicBezTo>
                  <a:cubicBezTo>
                    <a:pt x="232" y="572"/>
                    <a:pt x="240" y="574"/>
                    <a:pt x="247" y="575"/>
                  </a:cubicBezTo>
                  <a:cubicBezTo>
                    <a:pt x="257" y="576"/>
                    <a:pt x="261" y="572"/>
                    <a:pt x="265" y="564"/>
                  </a:cubicBezTo>
                  <a:cubicBezTo>
                    <a:pt x="269" y="556"/>
                    <a:pt x="267" y="542"/>
                    <a:pt x="261" y="540"/>
                  </a:cubicBezTo>
                  <a:cubicBezTo>
                    <a:pt x="253" y="538"/>
                    <a:pt x="244" y="534"/>
                    <a:pt x="237" y="536"/>
                  </a:cubicBezTo>
                  <a:cubicBezTo>
                    <a:pt x="228" y="537"/>
                    <a:pt x="217" y="537"/>
                    <a:pt x="209" y="544"/>
                  </a:cubicBezTo>
                  <a:cubicBezTo>
                    <a:pt x="204" y="549"/>
                    <a:pt x="198" y="553"/>
                    <a:pt x="194" y="558"/>
                  </a:cubicBezTo>
                  <a:cubicBezTo>
                    <a:pt x="192" y="561"/>
                    <a:pt x="189" y="563"/>
                    <a:pt x="185" y="562"/>
                  </a:cubicBezTo>
                  <a:cubicBezTo>
                    <a:pt x="182" y="561"/>
                    <a:pt x="182" y="558"/>
                    <a:pt x="182" y="556"/>
                  </a:cubicBezTo>
                  <a:cubicBezTo>
                    <a:pt x="180" y="539"/>
                    <a:pt x="179" y="539"/>
                    <a:pt x="162" y="539"/>
                  </a:cubicBezTo>
                  <a:cubicBezTo>
                    <a:pt x="151" y="539"/>
                    <a:pt x="150" y="540"/>
                    <a:pt x="150" y="551"/>
                  </a:cubicBezTo>
                  <a:cubicBezTo>
                    <a:pt x="150" y="579"/>
                    <a:pt x="150" y="607"/>
                    <a:pt x="150" y="635"/>
                  </a:cubicBezTo>
                  <a:cubicBezTo>
                    <a:pt x="150" y="658"/>
                    <a:pt x="149" y="682"/>
                    <a:pt x="150" y="705"/>
                  </a:cubicBezTo>
                  <a:close/>
                  <a:moveTo>
                    <a:pt x="1011" y="1049"/>
                  </a:moveTo>
                  <a:cubicBezTo>
                    <a:pt x="1011" y="1008"/>
                    <a:pt x="1011" y="966"/>
                    <a:pt x="1011" y="924"/>
                  </a:cubicBezTo>
                  <a:cubicBezTo>
                    <a:pt x="1011" y="913"/>
                    <a:pt x="1008" y="910"/>
                    <a:pt x="997" y="910"/>
                  </a:cubicBezTo>
                  <a:cubicBezTo>
                    <a:pt x="995" y="910"/>
                    <a:pt x="992" y="910"/>
                    <a:pt x="990" y="910"/>
                  </a:cubicBezTo>
                  <a:cubicBezTo>
                    <a:pt x="976" y="910"/>
                    <a:pt x="975" y="911"/>
                    <a:pt x="975" y="926"/>
                  </a:cubicBezTo>
                  <a:cubicBezTo>
                    <a:pt x="975" y="1006"/>
                    <a:pt x="975" y="1085"/>
                    <a:pt x="975" y="1165"/>
                  </a:cubicBezTo>
                  <a:cubicBezTo>
                    <a:pt x="975" y="1185"/>
                    <a:pt x="975" y="1185"/>
                    <a:pt x="994" y="1185"/>
                  </a:cubicBezTo>
                  <a:cubicBezTo>
                    <a:pt x="1009" y="1185"/>
                    <a:pt x="1011" y="1184"/>
                    <a:pt x="1011" y="1169"/>
                  </a:cubicBezTo>
                  <a:cubicBezTo>
                    <a:pt x="1011" y="1129"/>
                    <a:pt x="1011" y="1089"/>
                    <a:pt x="1011" y="1049"/>
                  </a:cubicBezTo>
                  <a:cubicBezTo>
                    <a:pt x="1011" y="1049"/>
                    <a:pt x="1011" y="1049"/>
                    <a:pt x="1011" y="1049"/>
                  </a:cubicBezTo>
                  <a:close/>
                  <a:moveTo>
                    <a:pt x="296" y="176"/>
                  </a:moveTo>
                  <a:cubicBezTo>
                    <a:pt x="296" y="201"/>
                    <a:pt x="296" y="226"/>
                    <a:pt x="296" y="251"/>
                  </a:cubicBezTo>
                  <a:cubicBezTo>
                    <a:pt x="295" y="276"/>
                    <a:pt x="296" y="274"/>
                    <a:pt x="318" y="274"/>
                  </a:cubicBezTo>
                  <a:cubicBezTo>
                    <a:pt x="330" y="274"/>
                    <a:pt x="331" y="274"/>
                    <a:pt x="331" y="260"/>
                  </a:cubicBezTo>
                  <a:cubicBezTo>
                    <a:pt x="331" y="232"/>
                    <a:pt x="331" y="204"/>
                    <a:pt x="331" y="176"/>
                  </a:cubicBezTo>
                  <a:cubicBezTo>
                    <a:pt x="331" y="165"/>
                    <a:pt x="331" y="155"/>
                    <a:pt x="337" y="145"/>
                  </a:cubicBezTo>
                  <a:cubicBezTo>
                    <a:pt x="349" y="123"/>
                    <a:pt x="359" y="117"/>
                    <a:pt x="377" y="118"/>
                  </a:cubicBezTo>
                  <a:cubicBezTo>
                    <a:pt x="383" y="118"/>
                    <a:pt x="389" y="119"/>
                    <a:pt x="395" y="120"/>
                  </a:cubicBezTo>
                  <a:cubicBezTo>
                    <a:pt x="401" y="120"/>
                    <a:pt x="407" y="118"/>
                    <a:pt x="408" y="112"/>
                  </a:cubicBezTo>
                  <a:cubicBezTo>
                    <a:pt x="409" y="103"/>
                    <a:pt x="415" y="93"/>
                    <a:pt x="407" y="85"/>
                  </a:cubicBezTo>
                  <a:cubicBezTo>
                    <a:pt x="406" y="84"/>
                    <a:pt x="404" y="84"/>
                    <a:pt x="402" y="84"/>
                  </a:cubicBezTo>
                  <a:cubicBezTo>
                    <a:pt x="376" y="78"/>
                    <a:pt x="353" y="82"/>
                    <a:pt x="337" y="106"/>
                  </a:cubicBezTo>
                  <a:cubicBezTo>
                    <a:pt x="336" y="108"/>
                    <a:pt x="335" y="110"/>
                    <a:pt x="333" y="109"/>
                  </a:cubicBezTo>
                  <a:cubicBezTo>
                    <a:pt x="331" y="109"/>
                    <a:pt x="330" y="107"/>
                    <a:pt x="330" y="105"/>
                  </a:cubicBezTo>
                  <a:cubicBezTo>
                    <a:pt x="329" y="101"/>
                    <a:pt x="329" y="97"/>
                    <a:pt x="328" y="94"/>
                  </a:cubicBezTo>
                  <a:cubicBezTo>
                    <a:pt x="325" y="85"/>
                    <a:pt x="318" y="82"/>
                    <a:pt x="303" y="84"/>
                  </a:cubicBezTo>
                  <a:cubicBezTo>
                    <a:pt x="297" y="84"/>
                    <a:pt x="295" y="86"/>
                    <a:pt x="295" y="92"/>
                  </a:cubicBezTo>
                  <a:cubicBezTo>
                    <a:pt x="296" y="120"/>
                    <a:pt x="295" y="148"/>
                    <a:pt x="295" y="176"/>
                  </a:cubicBezTo>
                  <a:cubicBezTo>
                    <a:pt x="296" y="176"/>
                    <a:pt x="296" y="176"/>
                    <a:pt x="296" y="176"/>
                  </a:cubicBezTo>
                  <a:close/>
                  <a:moveTo>
                    <a:pt x="946" y="179"/>
                  </a:moveTo>
                  <a:cubicBezTo>
                    <a:pt x="946" y="197"/>
                    <a:pt x="946" y="215"/>
                    <a:pt x="946" y="234"/>
                  </a:cubicBezTo>
                  <a:cubicBezTo>
                    <a:pt x="946" y="248"/>
                    <a:pt x="951" y="260"/>
                    <a:pt x="963" y="268"/>
                  </a:cubicBezTo>
                  <a:cubicBezTo>
                    <a:pt x="982" y="280"/>
                    <a:pt x="1011" y="277"/>
                    <a:pt x="1029" y="264"/>
                  </a:cubicBezTo>
                  <a:cubicBezTo>
                    <a:pt x="1036" y="259"/>
                    <a:pt x="1036" y="254"/>
                    <a:pt x="1032" y="248"/>
                  </a:cubicBezTo>
                  <a:cubicBezTo>
                    <a:pt x="1026" y="239"/>
                    <a:pt x="1020" y="238"/>
                    <a:pt x="1013" y="242"/>
                  </a:cubicBezTo>
                  <a:cubicBezTo>
                    <a:pt x="996" y="252"/>
                    <a:pt x="978" y="243"/>
                    <a:pt x="978" y="223"/>
                  </a:cubicBezTo>
                  <a:cubicBezTo>
                    <a:pt x="978" y="190"/>
                    <a:pt x="978" y="157"/>
                    <a:pt x="978" y="123"/>
                  </a:cubicBezTo>
                  <a:cubicBezTo>
                    <a:pt x="978" y="116"/>
                    <a:pt x="981" y="113"/>
                    <a:pt x="988" y="113"/>
                  </a:cubicBezTo>
                  <a:cubicBezTo>
                    <a:pt x="999" y="114"/>
                    <a:pt x="1011" y="113"/>
                    <a:pt x="1022" y="113"/>
                  </a:cubicBezTo>
                  <a:cubicBezTo>
                    <a:pt x="1028" y="113"/>
                    <a:pt x="1033" y="112"/>
                    <a:pt x="1033" y="104"/>
                  </a:cubicBezTo>
                  <a:cubicBezTo>
                    <a:pt x="1033" y="96"/>
                    <a:pt x="1032" y="90"/>
                    <a:pt x="1022" y="90"/>
                  </a:cubicBezTo>
                  <a:cubicBezTo>
                    <a:pt x="1011" y="90"/>
                    <a:pt x="1001" y="90"/>
                    <a:pt x="990" y="90"/>
                  </a:cubicBezTo>
                  <a:cubicBezTo>
                    <a:pt x="981" y="91"/>
                    <a:pt x="977" y="88"/>
                    <a:pt x="978" y="78"/>
                  </a:cubicBezTo>
                  <a:cubicBezTo>
                    <a:pt x="978" y="64"/>
                    <a:pt x="978" y="49"/>
                    <a:pt x="978" y="35"/>
                  </a:cubicBezTo>
                  <a:cubicBezTo>
                    <a:pt x="978" y="30"/>
                    <a:pt x="978" y="25"/>
                    <a:pt x="971" y="24"/>
                  </a:cubicBezTo>
                  <a:cubicBezTo>
                    <a:pt x="964" y="24"/>
                    <a:pt x="956" y="24"/>
                    <a:pt x="955" y="32"/>
                  </a:cubicBezTo>
                  <a:cubicBezTo>
                    <a:pt x="952" y="43"/>
                    <a:pt x="949" y="54"/>
                    <a:pt x="949" y="65"/>
                  </a:cubicBezTo>
                  <a:cubicBezTo>
                    <a:pt x="948" y="88"/>
                    <a:pt x="947" y="88"/>
                    <a:pt x="924" y="91"/>
                  </a:cubicBezTo>
                  <a:cubicBezTo>
                    <a:pt x="919" y="92"/>
                    <a:pt x="914" y="92"/>
                    <a:pt x="914" y="99"/>
                  </a:cubicBezTo>
                  <a:cubicBezTo>
                    <a:pt x="915" y="107"/>
                    <a:pt x="917" y="113"/>
                    <a:pt x="926" y="113"/>
                  </a:cubicBezTo>
                  <a:cubicBezTo>
                    <a:pt x="929" y="114"/>
                    <a:pt x="932" y="113"/>
                    <a:pt x="935" y="113"/>
                  </a:cubicBezTo>
                  <a:cubicBezTo>
                    <a:pt x="943" y="113"/>
                    <a:pt x="946" y="116"/>
                    <a:pt x="946" y="124"/>
                  </a:cubicBezTo>
                  <a:cubicBezTo>
                    <a:pt x="946" y="142"/>
                    <a:pt x="946" y="161"/>
                    <a:pt x="946" y="179"/>
                  </a:cubicBezTo>
                  <a:cubicBezTo>
                    <a:pt x="946" y="179"/>
                    <a:pt x="946" y="179"/>
                    <a:pt x="946" y="179"/>
                  </a:cubicBezTo>
                  <a:close/>
                </a:path>
              </a:pathLst>
            </a:custGeom>
            <a:solidFill>
              <a:srgbClr val="4C505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grpSp>
          <p:nvGrpSpPr>
            <p:cNvPr id="18" name="Group 4">
              <a:extLst>
                <a:ext uri="{FF2B5EF4-FFF2-40B4-BE49-F238E27FC236}">
                  <a16:creationId xmlns:a16="http://schemas.microsoft.com/office/drawing/2014/main" id="{57BD2C4C-DC67-B843-B26C-309622FC75F7}"/>
                </a:ext>
              </a:extLst>
            </p:cNvPr>
            <p:cNvGrpSpPr>
              <a:grpSpLocks noChangeAspect="1"/>
            </p:cNvGrpSpPr>
            <p:nvPr/>
          </p:nvGrpSpPr>
          <p:grpSpPr bwMode="gray">
            <a:xfrm>
              <a:off x="334963" y="296652"/>
              <a:ext cx="538094" cy="540000"/>
              <a:chOff x="2711" y="1027"/>
              <a:chExt cx="2258" cy="2266"/>
            </a:xfrm>
          </p:grpSpPr>
          <p:sp>
            <p:nvSpPr>
              <p:cNvPr id="19" name="AutoShape 3">
                <a:extLst>
                  <a:ext uri="{FF2B5EF4-FFF2-40B4-BE49-F238E27FC236}">
                    <a16:creationId xmlns:a16="http://schemas.microsoft.com/office/drawing/2014/main" id="{FE1DC41B-291E-574C-9F2C-874E70A40758}"/>
                  </a:ext>
                </a:extLst>
              </p:cNvPr>
              <p:cNvSpPr>
                <a:spLocks noChangeAspect="1" noChangeArrowheads="1" noTextEdit="1"/>
              </p:cNvSpPr>
              <p:nvPr/>
            </p:nvSpPr>
            <p:spPr bwMode="gray">
              <a:xfrm>
                <a:off x="2711" y="1027"/>
                <a:ext cx="2258" cy="22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20" name="Freeform 5">
                <a:extLst>
                  <a:ext uri="{FF2B5EF4-FFF2-40B4-BE49-F238E27FC236}">
                    <a16:creationId xmlns:a16="http://schemas.microsoft.com/office/drawing/2014/main" id="{D4B633C8-F761-C54B-9BD2-EB59D49A2DBC}"/>
                  </a:ext>
                </a:extLst>
              </p:cNvPr>
              <p:cNvSpPr>
                <a:spLocks/>
              </p:cNvSpPr>
              <p:nvPr/>
            </p:nvSpPr>
            <p:spPr bwMode="gray">
              <a:xfrm>
                <a:off x="2709" y="1029"/>
                <a:ext cx="2260" cy="2262"/>
              </a:xfrm>
              <a:custGeom>
                <a:avLst/>
                <a:gdLst>
                  <a:gd name="T0" fmla="*/ 2260 w 2260"/>
                  <a:gd name="T1" fmla="*/ 0 h 2262"/>
                  <a:gd name="T2" fmla="*/ 1612 w 2260"/>
                  <a:gd name="T3" fmla="*/ 649 h 2262"/>
                  <a:gd name="T4" fmla="*/ 1612 w 2260"/>
                  <a:gd name="T5" fmla="*/ 649 h 2262"/>
                  <a:gd name="T6" fmla="*/ 2035 w 2260"/>
                  <a:gd name="T7" fmla="*/ 0 h 2262"/>
                  <a:gd name="T8" fmla="*/ 0 w 2260"/>
                  <a:gd name="T9" fmla="*/ 0 h 2262"/>
                  <a:gd name="T10" fmla="*/ 0 w 2260"/>
                  <a:gd name="T11" fmla="*/ 2262 h 2262"/>
                  <a:gd name="T12" fmla="*/ 2260 w 2260"/>
                  <a:gd name="T13" fmla="*/ 2262 h 2262"/>
                  <a:gd name="T14" fmla="*/ 2260 w 2260"/>
                  <a:gd name="T15" fmla="*/ 0 h 2262"/>
                  <a:gd name="T16" fmla="*/ 2260 w 2260"/>
                  <a:gd name="T17" fmla="*/ 0 h 2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0" h="2262">
                    <a:moveTo>
                      <a:pt x="2260" y="0"/>
                    </a:moveTo>
                    <a:lnTo>
                      <a:pt x="1612" y="649"/>
                    </a:lnTo>
                    <a:lnTo>
                      <a:pt x="1612" y="649"/>
                    </a:lnTo>
                    <a:lnTo>
                      <a:pt x="2035" y="0"/>
                    </a:lnTo>
                    <a:lnTo>
                      <a:pt x="0" y="0"/>
                    </a:lnTo>
                    <a:lnTo>
                      <a:pt x="0" y="2262"/>
                    </a:lnTo>
                    <a:lnTo>
                      <a:pt x="2260" y="2262"/>
                    </a:lnTo>
                    <a:lnTo>
                      <a:pt x="2260" y="0"/>
                    </a:lnTo>
                    <a:lnTo>
                      <a:pt x="2260" y="0"/>
                    </a:lnTo>
                    <a:close/>
                  </a:path>
                </a:pathLst>
              </a:custGeom>
              <a:solidFill>
                <a:srgbClr val="E55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21" name="Freeform 6">
                <a:extLst>
                  <a:ext uri="{FF2B5EF4-FFF2-40B4-BE49-F238E27FC236}">
                    <a16:creationId xmlns:a16="http://schemas.microsoft.com/office/drawing/2014/main" id="{B16BAAE4-1A41-C843-9754-490F7A1E1270}"/>
                  </a:ext>
                </a:extLst>
              </p:cNvPr>
              <p:cNvSpPr>
                <a:spLocks noEditPoints="1"/>
              </p:cNvSpPr>
              <p:nvPr/>
            </p:nvSpPr>
            <p:spPr bwMode="gray">
              <a:xfrm>
                <a:off x="3623" y="1696"/>
                <a:ext cx="1167" cy="922"/>
              </a:xfrm>
              <a:custGeom>
                <a:avLst/>
                <a:gdLst>
                  <a:gd name="T0" fmla="*/ 411 w 580"/>
                  <a:gd name="T1" fmla="*/ 213 h 458"/>
                  <a:gd name="T2" fmla="*/ 570 w 580"/>
                  <a:gd name="T3" fmla="*/ 37 h 458"/>
                  <a:gd name="T4" fmla="*/ 580 w 580"/>
                  <a:gd name="T5" fmla="*/ 20 h 458"/>
                  <a:gd name="T6" fmla="*/ 545 w 580"/>
                  <a:gd name="T7" fmla="*/ 0 h 458"/>
                  <a:gd name="T8" fmla="*/ 519 w 580"/>
                  <a:gd name="T9" fmla="*/ 16 h 458"/>
                  <a:gd name="T10" fmla="*/ 344 w 580"/>
                  <a:gd name="T11" fmla="*/ 210 h 458"/>
                  <a:gd name="T12" fmla="*/ 334 w 580"/>
                  <a:gd name="T13" fmla="*/ 229 h 458"/>
                  <a:gd name="T14" fmla="*/ 344 w 580"/>
                  <a:gd name="T15" fmla="*/ 248 h 458"/>
                  <a:gd name="T16" fmla="*/ 519 w 580"/>
                  <a:gd name="T17" fmla="*/ 442 h 458"/>
                  <a:gd name="T18" fmla="*/ 545 w 580"/>
                  <a:gd name="T19" fmla="*/ 458 h 458"/>
                  <a:gd name="T20" fmla="*/ 580 w 580"/>
                  <a:gd name="T21" fmla="*/ 438 h 458"/>
                  <a:gd name="T22" fmla="*/ 570 w 580"/>
                  <a:gd name="T23" fmla="*/ 421 h 458"/>
                  <a:gd name="T24" fmla="*/ 411 w 580"/>
                  <a:gd name="T25" fmla="*/ 245 h 458"/>
                  <a:gd name="T26" fmla="*/ 399 w 580"/>
                  <a:gd name="T27" fmla="*/ 229 h 458"/>
                  <a:gd name="T28" fmla="*/ 411 w 580"/>
                  <a:gd name="T29" fmla="*/ 213 h 458"/>
                  <a:gd name="T30" fmla="*/ 252 w 580"/>
                  <a:gd name="T31" fmla="*/ 439 h 458"/>
                  <a:gd name="T32" fmla="*/ 281 w 580"/>
                  <a:gd name="T33" fmla="*/ 454 h 458"/>
                  <a:gd name="T34" fmla="*/ 309 w 580"/>
                  <a:gd name="T35" fmla="*/ 439 h 458"/>
                  <a:gd name="T36" fmla="*/ 309 w 580"/>
                  <a:gd name="T37" fmla="*/ 19 h 458"/>
                  <a:gd name="T38" fmla="*/ 281 w 580"/>
                  <a:gd name="T39" fmla="*/ 4 h 458"/>
                  <a:gd name="T40" fmla="*/ 252 w 580"/>
                  <a:gd name="T41" fmla="*/ 19 h 458"/>
                  <a:gd name="T42" fmla="*/ 252 w 580"/>
                  <a:gd name="T43" fmla="*/ 439 h 458"/>
                  <a:gd name="T44" fmla="*/ 0 w 580"/>
                  <a:gd name="T45" fmla="*/ 439 h 458"/>
                  <a:gd name="T46" fmla="*/ 28 w 580"/>
                  <a:gd name="T47" fmla="*/ 454 h 458"/>
                  <a:gd name="T48" fmla="*/ 56 w 580"/>
                  <a:gd name="T49" fmla="*/ 439 h 458"/>
                  <a:gd name="T50" fmla="*/ 56 w 580"/>
                  <a:gd name="T51" fmla="*/ 157 h 458"/>
                  <a:gd name="T52" fmla="*/ 165 w 580"/>
                  <a:gd name="T53" fmla="*/ 53 h 458"/>
                  <a:gd name="T54" fmla="*/ 180 w 580"/>
                  <a:gd name="T55" fmla="*/ 53 h 458"/>
                  <a:gd name="T56" fmla="*/ 196 w 580"/>
                  <a:gd name="T57" fmla="*/ 27 h 458"/>
                  <a:gd name="T58" fmla="*/ 154 w 580"/>
                  <a:gd name="T59" fmla="*/ 4 h 458"/>
                  <a:gd name="T60" fmla="*/ 0 w 580"/>
                  <a:gd name="T61" fmla="*/ 152 h 458"/>
                  <a:gd name="T62" fmla="*/ 0 w 580"/>
                  <a:gd name="T63" fmla="*/ 439 h 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80" h="458">
                    <a:moveTo>
                      <a:pt x="411" y="213"/>
                    </a:moveTo>
                    <a:cubicBezTo>
                      <a:pt x="570" y="37"/>
                      <a:pt x="570" y="37"/>
                      <a:pt x="570" y="37"/>
                    </a:cubicBezTo>
                    <a:cubicBezTo>
                      <a:pt x="576" y="30"/>
                      <a:pt x="580" y="25"/>
                      <a:pt x="580" y="20"/>
                    </a:cubicBezTo>
                    <a:cubicBezTo>
                      <a:pt x="580" y="10"/>
                      <a:pt x="559" y="0"/>
                      <a:pt x="545" y="0"/>
                    </a:cubicBezTo>
                    <a:cubicBezTo>
                      <a:pt x="535" y="0"/>
                      <a:pt x="526" y="8"/>
                      <a:pt x="519" y="16"/>
                    </a:cubicBezTo>
                    <a:cubicBezTo>
                      <a:pt x="344" y="210"/>
                      <a:pt x="344" y="210"/>
                      <a:pt x="344" y="210"/>
                    </a:cubicBezTo>
                    <a:cubicBezTo>
                      <a:pt x="336" y="219"/>
                      <a:pt x="334" y="224"/>
                      <a:pt x="334" y="229"/>
                    </a:cubicBezTo>
                    <a:cubicBezTo>
                      <a:pt x="334" y="234"/>
                      <a:pt x="336" y="239"/>
                      <a:pt x="344" y="248"/>
                    </a:cubicBezTo>
                    <a:cubicBezTo>
                      <a:pt x="519" y="442"/>
                      <a:pt x="519" y="442"/>
                      <a:pt x="519" y="442"/>
                    </a:cubicBezTo>
                    <a:cubicBezTo>
                      <a:pt x="526" y="450"/>
                      <a:pt x="535" y="458"/>
                      <a:pt x="545" y="458"/>
                    </a:cubicBezTo>
                    <a:cubicBezTo>
                      <a:pt x="559" y="458"/>
                      <a:pt x="580" y="448"/>
                      <a:pt x="580" y="438"/>
                    </a:cubicBezTo>
                    <a:cubicBezTo>
                      <a:pt x="580" y="433"/>
                      <a:pt x="576" y="428"/>
                      <a:pt x="570" y="421"/>
                    </a:cubicBezTo>
                    <a:cubicBezTo>
                      <a:pt x="411" y="245"/>
                      <a:pt x="411" y="245"/>
                      <a:pt x="411" y="245"/>
                    </a:cubicBezTo>
                    <a:cubicBezTo>
                      <a:pt x="403" y="236"/>
                      <a:pt x="399" y="232"/>
                      <a:pt x="399" y="229"/>
                    </a:cubicBezTo>
                    <a:cubicBezTo>
                      <a:pt x="399" y="226"/>
                      <a:pt x="403" y="222"/>
                      <a:pt x="411" y="213"/>
                    </a:cubicBezTo>
                    <a:moveTo>
                      <a:pt x="252" y="439"/>
                    </a:moveTo>
                    <a:cubicBezTo>
                      <a:pt x="252" y="449"/>
                      <a:pt x="261" y="454"/>
                      <a:pt x="281" y="454"/>
                    </a:cubicBezTo>
                    <a:cubicBezTo>
                      <a:pt x="300" y="454"/>
                      <a:pt x="309" y="449"/>
                      <a:pt x="309" y="439"/>
                    </a:cubicBezTo>
                    <a:cubicBezTo>
                      <a:pt x="309" y="19"/>
                      <a:pt x="309" y="19"/>
                      <a:pt x="309" y="19"/>
                    </a:cubicBezTo>
                    <a:cubicBezTo>
                      <a:pt x="309" y="9"/>
                      <a:pt x="300" y="4"/>
                      <a:pt x="281" y="4"/>
                    </a:cubicBezTo>
                    <a:cubicBezTo>
                      <a:pt x="261" y="4"/>
                      <a:pt x="252" y="9"/>
                      <a:pt x="252" y="19"/>
                    </a:cubicBezTo>
                    <a:lnTo>
                      <a:pt x="252" y="439"/>
                    </a:lnTo>
                    <a:close/>
                    <a:moveTo>
                      <a:pt x="0" y="439"/>
                    </a:moveTo>
                    <a:cubicBezTo>
                      <a:pt x="0" y="449"/>
                      <a:pt x="8" y="454"/>
                      <a:pt x="28" y="454"/>
                    </a:cubicBezTo>
                    <a:cubicBezTo>
                      <a:pt x="48" y="454"/>
                      <a:pt x="56" y="449"/>
                      <a:pt x="56" y="439"/>
                    </a:cubicBezTo>
                    <a:cubicBezTo>
                      <a:pt x="56" y="157"/>
                      <a:pt x="56" y="157"/>
                      <a:pt x="56" y="157"/>
                    </a:cubicBezTo>
                    <a:cubicBezTo>
                      <a:pt x="56" y="83"/>
                      <a:pt x="85" y="53"/>
                      <a:pt x="165" y="53"/>
                    </a:cubicBezTo>
                    <a:cubicBezTo>
                      <a:pt x="180" y="53"/>
                      <a:pt x="180" y="53"/>
                      <a:pt x="180" y="53"/>
                    </a:cubicBezTo>
                    <a:cubicBezTo>
                      <a:pt x="192" y="53"/>
                      <a:pt x="196" y="43"/>
                      <a:pt x="196" y="27"/>
                    </a:cubicBezTo>
                    <a:cubicBezTo>
                      <a:pt x="196" y="8"/>
                      <a:pt x="185" y="4"/>
                      <a:pt x="154" y="4"/>
                    </a:cubicBezTo>
                    <a:cubicBezTo>
                      <a:pt x="64" y="4"/>
                      <a:pt x="0" y="43"/>
                      <a:pt x="0" y="152"/>
                    </a:cubicBezTo>
                    <a:lnTo>
                      <a:pt x="0" y="43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22" name="Freeform 7">
                <a:extLst>
                  <a:ext uri="{FF2B5EF4-FFF2-40B4-BE49-F238E27FC236}">
                    <a16:creationId xmlns:a16="http://schemas.microsoft.com/office/drawing/2014/main" id="{2F32DCBD-8628-F245-85CD-97686A20ECFD}"/>
                  </a:ext>
                </a:extLst>
              </p:cNvPr>
              <p:cNvSpPr>
                <a:spLocks/>
              </p:cNvSpPr>
              <p:nvPr/>
            </p:nvSpPr>
            <p:spPr bwMode="gray">
              <a:xfrm>
                <a:off x="2880" y="1704"/>
                <a:ext cx="618" cy="916"/>
              </a:xfrm>
              <a:custGeom>
                <a:avLst/>
                <a:gdLst>
                  <a:gd name="T0" fmla="*/ 307 w 307"/>
                  <a:gd name="T1" fmla="*/ 405 h 455"/>
                  <a:gd name="T2" fmla="*/ 307 w 307"/>
                  <a:gd name="T3" fmla="*/ 244 h 455"/>
                  <a:gd name="T4" fmla="*/ 279 w 307"/>
                  <a:gd name="T5" fmla="*/ 229 h 455"/>
                  <a:gd name="T6" fmla="*/ 250 w 307"/>
                  <a:gd name="T7" fmla="*/ 244 h 455"/>
                  <a:gd name="T8" fmla="*/ 250 w 307"/>
                  <a:gd name="T9" fmla="*/ 378 h 455"/>
                  <a:gd name="T10" fmla="*/ 199 w 307"/>
                  <a:gd name="T11" fmla="*/ 408 h 455"/>
                  <a:gd name="T12" fmla="*/ 61 w 307"/>
                  <a:gd name="T13" fmla="*/ 231 h 455"/>
                  <a:gd name="T14" fmla="*/ 238 w 307"/>
                  <a:gd name="T15" fmla="*/ 49 h 455"/>
                  <a:gd name="T16" fmla="*/ 270 w 307"/>
                  <a:gd name="T17" fmla="*/ 49 h 455"/>
                  <a:gd name="T18" fmla="*/ 286 w 307"/>
                  <a:gd name="T19" fmla="*/ 23 h 455"/>
                  <a:gd name="T20" fmla="*/ 244 w 307"/>
                  <a:gd name="T21" fmla="*/ 0 h 455"/>
                  <a:gd name="T22" fmla="*/ 231 w 307"/>
                  <a:gd name="T23" fmla="*/ 0 h 455"/>
                  <a:gd name="T24" fmla="*/ 0 w 307"/>
                  <a:gd name="T25" fmla="*/ 232 h 455"/>
                  <a:gd name="T26" fmla="*/ 198 w 307"/>
                  <a:gd name="T27" fmla="*/ 455 h 455"/>
                  <a:gd name="T28" fmla="*/ 307 w 307"/>
                  <a:gd name="T29" fmla="*/ 405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7" h="455">
                    <a:moveTo>
                      <a:pt x="307" y="405"/>
                    </a:moveTo>
                    <a:cubicBezTo>
                      <a:pt x="307" y="244"/>
                      <a:pt x="307" y="244"/>
                      <a:pt x="307" y="244"/>
                    </a:cubicBezTo>
                    <a:cubicBezTo>
                      <a:pt x="307" y="234"/>
                      <a:pt x="298" y="229"/>
                      <a:pt x="279" y="229"/>
                    </a:cubicBezTo>
                    <a:cubicBezTo>
                      <a:pt x="259" y="229"/>
                      <a:pt x="250" y="234"/>
                      <a:pt x="250" y="244"/>
                    </a:cubicBezTo>
                    <a:cubicBezTo>
                      <a:pt x="250" y="378"/>
                      <a:pt x="250" y="378"/>
                      <a:pt x="250" y="378"/>
                    </a:cubicBezTo>
                    <a:cubicBezTo>
                      <a:pt x="250" y="399"/>
                      <a:pt x="241" y="408"/>
                      <a:pt x="199" y="408"/>
                    </a:cubicBezTo>
                    <a:cubicBezTo>
                      <a:pt x="114" y="408"/>
                      <a:pt x="61" y="342"/>
                      <a:pt x="61" y="231"/>
                    </a:cubicBezTo>
                    <a:cubicBezTo>
                      <a:pt x="61" y="115"/>
                      <a:pt x="126" y="49"/>
                      <a:pt x="238" y="49"/>
                    </a:cubicBezTo>
                    <a:cubicBezTo>
                      <a:pt x="270" y="49"/>
                      <a:pt x="270" y="49"/>
                      <a:pt x="270" y="49"/>
                    </a:cubicBezTo>
                    <a:cubicBezTo>
                      <a:pt x="282" y="49"/>
                      <a:pt x="286" y="39"/>
                      <a:pt x="286" y="23"/>
                    </a:cubicBezTo>
                    <a:cubicBezTo>
                      <a:pt x="286" y="4"/>
                      <a:pt x="275" y="0"/>
                      <a:pt x="244" y="0"/>
                    </a:cubicBezTo>
                    <a:cubicBezTo>
                      <a:pt x="231" y="0"/>
                      <a:pt x="231" y="0"/>
                      <a:pt x="231" y="0"/>
                    </a:cubicBezTo>
                    <a:cubicBezTo>
                      <a:pt x="101" y="0"/>
                      <a:pt x="0" y="71"/>
                      <a:pt x="0" y="232"/>
                    </a:cubicBezTo>
                    <a:cubicBezTo>
                      <a:pt x="0" y="386"/>
                      <a:pt x="88" y="455"/>
                      <a:pt x="198" y="455"/>
                    </a:cubicBezTo>
                    <a:cubicBezTo>
                      <a:pt x="286" y="455"/>
                      <a:pt x="307" y="430"/>
                      <a:pt x="307" y="40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23" name="Oval 8">
                <a:extLst>
                  <a:ext uri="{FF2B5EF4-FFF2-40B4-BE49-F238E27FC236}">
                    <a16:creationId xmlns:a16="http://schemas.microsoft.com/office/drawing/2014/main" id="{60D97C11-1A3B-5449-A48D-98A3E79B3810}"/>
                  </a:ext>
                </a:extLst>
              </p:cNvPr>
              <p:cNvSpPr>
                <a:spLocks noChangeArrowheads="1"/>
              </p:cNvSpPr>
              <p:nvPr/>
            </p:nvSpPr>
            <p:spPr bwMode="gray">
              <a:xfrm>
                <a:off x="3778" y="2099"/>
                <a:ext cx="122" cy="12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24" name="Freeform 9">
                <a:extLst>
                  <a:ext uri="{FF2B5EF4-FFF2-40B4-BE49-F238E27FC236}">
                    <a16:creationId xmlns:a16="http://schemas.microsoft.com/office/drawing/2014/main" id="{5856770D-B8F0-244E-A05D-AED190086F10}"/>
                  </a:ext>
                </a:extLst>
              </p:cNvPr>
              <p:cNvSpPr>
                <a:spLocks noEditPoints="1"/>
              </p:cNvSpPr>
              <p:nvPr/>
            </p:nvSpPr>
            <p:spPr bwMode="gray">
              <a:xfrm>
                <a:off x="3623" y="1696"/>
                <a:ext cx="1167" cy="922"/>
              </a:xfrm>
              <a:custGeom>
                <a:avLst/>
                <a:gdLst>
                  <a:gd name="T0" fmla="*/ 411 w 580"/>
                  <a:gd name="T1" fmla="*/ 213 h 458"/>
                  <a:gd name="T2" fmla="*/ 570 w 580"/>
                  <a:gd name="T3" fmla="*/ 37 h 458"/>
                  <a:gd name="T4" fmla="*/ 580 w 580"/>
                  <a:gd name="T5" fmla="*/ 20 h 458"/>
                  <a:gd name="T6" fmla="*/ 545 w 580"/>
                  <a:gd name="T7" fmla="*/ 0 h 458"/>
                  <a:gd name="T8" fmla="*/ 519 w 580"/>
                  <a:gd name="T9" fmla="*/ 16 h 458"/>
                  <a:gd name="T10" fmla="*/ 344 w 580"/>
                  <a:gd name="T11" fmla="*/ 210 h 458"/>
                  <a:gd name="T12" fmla="*/ 334 w 580"/>
                  <a:gd name="T13" fmla="*/ 229 h 458"/>
                  <a:gd name="T14" fmla="*/ 344 w 580"/>
                  <a:gd name="T15" fmla="*/ 248 h 458"/>
                  <a:gd name="T16" fmla="*/ 519 w 580"/>
                  <a:gd name="T17" fmla="*/ 442 h 458"/>
                  <a:gd name="T18" fmla="*/ 545 w 580"/>
                  <a:gd name="T19" fmla="*/ 458 h 458"/>
                  <a:gd name="T20" fmla="*/ 580 w 580"/>
                  <a:gd name="T21" fmla="*/ 438 h 458"/>
                  <a:gd name="T22" fmla="*/ 570 w 580"/>
                  <a:gd name="T23" fmla="*/ 421 h 458"/>
                  <a:gd name="T24" fmla="*/ 411 w 580"/>
                  <a:gd name="T25" fmla="*/ 245 h 458"/>
                  <a:gd name="T26" fmla="*/ 399 w 580"/>
                  <a:gd name="T27" fmla="*/ 229 h 458"/>
                  <a:gd name="T28" fmla="*/ 411 w 580"/>
                  <a:gd name="T29" fmla="*/ 213 h 458"/>
                  <a:gd name="T30" fmla="*/ 252 w 580"/>
                  <a:gd name="T31" fmla="*/ 439 h 458"/>
                  <a:gd name="T32" fmla="*/ 281 w 580"/>
                  <a:gd name="T33" fmla="*/ 454 h 458"/>
                  <a:gd name="T34" fmla="*/ 309 w 580"/>
                  <a:gd name="T35" fmla="*/ 439 h 458"/>
                  <a:gd name="T36" fmla="*/ 309 w 580"/>
                  <a:gd name="T37" fmla="*/ 19 h 458"/>
                  <a:gd name="T38" fmla="*/ 281 w 580"/>
                  <a:gd name="T39" fmla="*/ 4 h 458"/>
                  <a:gd name="T40" fmla="*/ 252 w 580"/>
                  <a:gd name="T41" fmla="*/ 19 h 458"/>
                  <a:gd name="T42" fmla="*/ 252 w 580"/>
                  <a:gd name="T43" fmla="*/ 439 h 458"/>
                  <a:gd name="T44" fmla="*/ 0 w 580"/>
                  <a:gd name="T45" fmla="*/ 439 h 458"/>
                  <a:gd name="T46" fmla="*/ 28 w 580"/>
                  <a:gd name="T47" fmla="*/ 454 h 458"/>
                  <a:gd name="T48" fmla="*/ 56 w 580"/>
                  <a:gd name="T49" fmla="*/ 439 h 458"/>
                  <a:gd name="T50" fmla="*/ 56 w 580"/>
                  <a:gd name="T51" fmla="*/ 157 h 458"/>
                  <a:gd name="T52" fmla="*/ 165 w 580"/>
                  <a:gd name="T53" fmla="*/ 53 h 458"/>
                  <a:gd name="T54" fmla="*/ 180 w 580"/>
                  <a:gd name="T55" fmla="*/ 53 h 458"/>
                  <a:gd name="T56" fmla="*/ 196 w 580"/>
                  <a:gd name="T57" fmla="*/ 27 h 458"/>
                  <a:gd name="T58" fmla="*/ 154 w 580"/>
                  <a:gd name="T59" fmla="*/ 4 h 458"/>
                  <a:gd name="T60" fmla="*/ 0 w 580"/>
                  <a:gd name="T61" fmla="*/ 152 h 458"/>
                  <a:gd name="T62" fmla="*/ 0 w 580"/>
                  <a:gd name="T63" fmla="*/ 439 h 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80" h="458">
                    <a:moveTo>
                      <a:pt x="411" y="213"/>
                    </a:moveTo>
                    <a:cubicBezTo>
                      <a:pt x="570" y="37"/>
                      <a:pt x="570" y="37"/>
                      <a:pt x="570" y="37"/>
                    </a:cubicBezTo>
                    <a:cubicBezTo>
                      <a:pt x="576" y="30"/>
                      <a:pt x="580" y="25"/>
                      <a:pt x="580" y="20"/>
                    </a:cubicBezTo>
                    <a:cubicBezTo>
                      <a:pt x="580" y="10"/>
                      <a:pt x="559" y="0"/>
                      <a:pt x="545" y="0"/>
                    </a:cubicBezTo>
                    <a:cubicBezTo>
                      <a:pt x="535" y="0"/>
                      <a:pt x="526" y="8"/>
                      <a:pt x="519" y="16"/>
                    </a:cubicBezTo>
                    <a:cubicBezTo>
                      <a:pt x="344" y="210"/>
                      <a:pt x="344" y="210"/>
                      <a:pt x="344" y="210"/>
                    </a:cubicBezTo>
                    <a:cubicBezTo>
                      <a:pt x="336" y="219"/>
                      <a:pt x="334" y="224"/>
                      <a:pt x="334" y="229"/>
                    </a:cubicBezTo>
                    <a:cubicBezTo>
                      <a:pt x="334" y="234"/>
                      <a:pt x="336" y="239"/>
                      <a:pt x="344" y="248"/>
                    </a:cubicBezTo>
                    <a:cubicBezTo>
                      <a:pt x="519" y="442"/>
                      <a:pt x="519" y="442"/>
                      <a:pt x="519" y="442"/>
                    </a:cubicBezTo>
                    <a:cubicBezTo>
                      <a:pt x="526" y="450"/>
                      <a:pt x="535" y="458"/>
                      <a:pt x="545" y="458"/>
                    </a:cubicBezTo>
                    <a:cubicBezTo>
                      <a:pt x="559" y="458"/>
                      <a:pt x="580" y="448"/>
                      <a:pt x="580" y="438"/>
                    </a:cubicBezTo>
                    <a:cubicBezTo>
                      <a:pt x="580" y="433"/>
                      <a:pt x="576" y="428"/>
                      <a:pt x="570" y="421"/>
                    </a:cubicBezTo>
                    <a:cubicBezTo>
                      <a:pt x="411" y="245"/>
                      <a:pt x="411" y="245"/>
                      <a:pt x="411" y="245"/>
                    </a:cubicBezTo>
                    <a:cubicBezTo>
                      <a:pt x="403" y="236"/>
                      <a:pt x="399" y="232"/>
                      <a:pt x="399" y="229"/>
                    </a:cubicBezTo>
                    <a:cubicBezTo>
                      <a:pt x="399" y="226"/>
                      <a:pt x="403" y="222"/>
                      <a:pt x="411" y="213"/>
                    </a:cubicBezTo>
                    <a:moveTo>
                      <a:pt x="252" y="439"/>
                    </a:moveTo>
                    <a:cubicBezTo>
                      <a:pt x="252" y="449"/>
                      <a:pt x="261" y="454"/>
                      <a:pt x="281" y="454"/>
                    </a:cubicBezTo>
                    <a:cubicBezTo>
                      <a:pt x="300" y="454"/>
                      <a:pt x="309" y="449"/>
                      <a:pt x="309" y="439"/>
                    </a:cubicBezTo>
                    <a:cubicBezTo>
                      <a:pt x="309" y="19"/>
                      <a:pt x="309" y="19"/>
                      <a:pt x="309" y="19"/>
                    </a:cubicBezTo>
                    <a:cubicBezTo>
                      <a:pt x="309" y="9"/>
                      <a:pt x="300" y="4"/>
                      <a:pt x="281" y="4"/>
                    </a:cubicBezTo>
                    <a:cubicBezTo>
                      <a:pt x="261" y="4"/>
                      <a:pt x="252" y="9"/>
                      <a:pt x="252" y="19"/>
                    </a:cubicBezTo>
                    <a:lnTo>
                      <a:pt x="252" y="439"/>
                    </a:lnTo>
                    <a:close/>
                    <a:moveTo>
                      <a:pt x="0" y="439"/>
                    </a:moveTo>
                    <a:cubicBezTo>
                      <a:pt x="0" y="449"/>
                      <a:pt x="8" y="454"/>
                      <a:pt x="28" y="454"/>
                    </a:cubicBezTo>
                    <a:cubicBezTo>
                      <a:pt x="48" y="454"/>
                      <a:pt x="56" y="449"/>
                      <a:pt x="56" y="439"/>
                    </a:cubicBezTo>
                    <a:cubicBezTo>
                      <a:pt x="56" y="157"/>
                      <a:pt x="56" y="157"/>
                      <a:pt x="56" y="157"/>
                    </a:cubicBezTo>
                    <a:cubicBezTo>
                      <a:pt x="56" y="83"/>
                      <a:pt x="85" y="53"/>
                      <a:pt x="165" y="53"/>
                    </a:cubicBezTo>
                    <a:cubicBezTo>
                      <a:pt x="180" y="53"/>
                      <a:pt x="180" y="53"/>
                      <a:pt x="180" y="53"/>
                    </a:cubicBezTo>
                    <a:cubicBezTo>
                      <a:pt x="192" y="53"/>
                      <a:pt x="196" y="43"/>
                      <a:pt x="196" y="27"/>
                    </a:cubicBezTo>
                    <a:cubicBezTo>
                      <a:pt x="196" y="8"/>
                      <a:pt x="185" y="4"/>
                      <a:pt x="154" y="4"/>
                    </a:cubicBezTo>
                    <a:cubicBezTo>
                      <a:pt x="64" y="4"/>
                      <a:pt x="0" y="43"/>
                      <a:pt x="0" y="152"/>
                    </a:cubicBezTo>
                    <a:lnTo>
                      <a:pt x="0" y="43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25" name="Freeform 10">
                <a:extLst>
                  <a:ext uri="{FF2B5EF4-FFF2-40B4-BE49-F238E27FC236}">
                    <a16:creationId xmlns:a16="http://schemas.microsoft.com/office/drawing/2014/main" id="{2B91B16B-BC11-E547-8FAC-B9B8D18EA449}"/>
                  </a:ext>
                </a:extLst>
              </p:cNvPr>
              <p:cNvSpPr>
                <a:spLocks/>
              </p:cNvSpPr>
              <p:nvPr/>
            </p:nvSpPr>
            <p:spPr bwMode="gray">
              <a:xfrm>
                <a:off x="2880" y="1704"/>
                <a:ext cx="618" cy="916"/>
              </a:xfrm>
              <a:custGeom>
                <a:avLst/>
                <a:gdLst>
                  <a:gd name="T0" fmla="*/ 307 w 307"/>
                  <a:gd name="T1" fmla="*/ 405 h 455"/>
                  <a:gd name="T2" fmla="*/ 307 w 307"/>
                  <a:gd name="T3" fmla="*/ 244 h 455"/>
                  <a:gd name="T4" fmla="*/ 279 w 307"/>
                  <a:gd name="T5" fmla="*/ 229 h 455"/>
                  <a:gd name="T6" fmla="*/ 250 w 307"/>
                  <a:gd name="T7" fmla="*/ 244 h 455"/>
                  <a:gd name="T8" fmla="*/ 250 w 307"/>
                  <a:gd name="T9" fmla="*/ 378 h 455"/>
                  <a:gd name="T10" fmla="*/ 199 w 307"/>
                  <a:gd name="T11" fmla="*/ 408 h 455"/>
                  <a:gd name="T12" fmla="*/ 61 w 307"/>
                  <a:gd name="T13" fmla="*/ 231 h 455"/>
                  <a:gd name="T14" fmla="*/ 238 w 307"/>
                  <a:gd name="T15" fmla="*/ 49 h 455"/>
                  <a:gd name="T16" fmla="*/ 270 w 307"/>
                  <a:gd name="T17" fmla="*/ 49 h 455"/>
                  <a:gd name="T18" fmla="*/ 286 w 307"/>
                  <a:gd name="T19" fmla="*/ 23 h 455"/>
                  <a:gd name="T20" fmla="*/ 244 w 307"/>
                  <a:gd name="T21" fmla="*/ 0 h 455"/>
                  <a:gd name="T22" fmla="*/ 231 w 307"/>
                  <a:gd name="T23" fmla="*/ 0 h 455"/>
                  <a:gd name="T24" fmla="*/ 0 w 307"/>
                  <a:gd name="T25" fmla="*/ 232 h 455"/>
                  <a:gd name="T26" fmla="*/ 198 w 307"/>
                  <a:gd name="T27" fmla="*/ 455 h 455"/>
                  <a:gd name="T28" fmla="*/ 307 w 307"/>
                  <a:gd name="T29" fmla="*/ 405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7" h="455">
                    <a:moveTo>
                      <a:pt x="307" y="405"/>
                    </a:moveTo>
                    <a:cubicBezTo>
                      <a:pt x="307" y="244"/>
                      <a:pt x="307" y="244"/>
                      <a:pt x="307" y="244"/>
                    </a:cubicBezTo>
                    <a:cubicBezTo>
                      <a:pt x="307" y="234"/>
                      <a:pt x="298" y="229"/>
                      <a:pt x="279" y="229"/>
                    </a:cubicBezTo>
                    <a:cubicBezTo>
                      <a:pt x="259" y="229"/>
                      <a:pt x="250" y="234"/>
                      <a:pt x="250" y="244"/>
                    </a:cubicBezTo>
                    <a:cubicBezTo>
                      <a:pt x="250" y="378"/>
                      <a:pt x="250" y="378"/>
                      <a:pt x="250" y="378"/>
                    </a:cubicBezTo>
                    <a:cubicBezTo>
                      <a:pt x="250" y="399"/>
                      <a:pt x="241" y="408"/>
                      <a:pt x="199" y="408"/>
                    </a:cubicBezTo>
                    <a:cubicBezTo>
                      <a:pt x="114" y="408"/>
                      <a:pt x="61" y="342"/>
                      <a:pt x="61" y="231"/>
                    </a:cubicBezTo>
                    <a:cubicBezTo>
                      <a:pt x="61" y="115"/>
                      <a:pt x="126" y="49"/>
                      <a:pt x="238" y="49"/>
                    </a:cubicBezTo>
                    <a:cubicBezTo>
                      <a:pt x="270" y="49"/>
                      <a:pt x="270" y="49"/>
                      <a:pt x="270" y="49"/>
                    </a:cubicBezTo>
                    <a:cubicBezTo>
                      <a:pt x="282" y="49"/>
                      <a:pt x="286" y="39"/>
                      <a:pt x="286" y="23"/>
                    </a:cubicBezTo>
                    <a:cubicBezTo>
                      <a:pt x="286" y="4"/>
                      <a:pt x="275" y="0"/>
                      <a:pt x="244" y="0"/>
                    </a:cubicBezTo>
                    <a:cubicBezTo>
                      <a:pt x="231" y="0"/>
                      <a:pt x="231" y="0"/>
                      <a:pt x="231" y="0"/>
                    </a:cubicBezTo>
                    <a:cubicBezTo>
                      <a:pt x="101" y="0"/>
                      <a:pt x="0" y="71"/>
                      <a:pt x="0" y="232"/>
                    </a:cubicBezTo>
                    <a:cubicBezTo>
                      <a:pt x="0" y="386"/>
                      <a:pt x="88" y="455"/>
                      <a:pt x="198" y="455"/>
                    </a:cubicBezTo>
                    <a:cubicBezTo>
                      <a:pt x="286" y="455"/>
                      <a:pt x="307" y="430"/>
                      <a:pt x="307" y="40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26" name="Oval 11">
                <a:extLst>
                  <a:ext uri="{FF2B5EF4-FFF2-40B4-BE49-F238E27FC236}">
                    <a16:creationId xmlns:a16="http://schemas.microsoft.com/office/drawing/2014/main" id="{14F8C3C8-4888-7646-B9B4-64EB46A1DA23}"/>
                  </a:ext>
                </a:extLst>
              </p:cNvPr>
              <p:cNvSpPr>
                <a:spLocks noChangeArrowheads="1"/>
              </p:cNvSpPr>
              <p:nvPr/>
            </p:nvSpPr>
            <p:spPr bwMode="gray">
              <a:xfrm>
                <a:off x="3778" y="2099"/>
                <a:ext cx="122" cy="12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27" name="Freeform 12">
                <a:extLst>
                  <a:ext uri="{FF2B5EF4-FFF2-40B4-BE49-F238E27FC236}">
                    <a16:creationId xmlns:a16="http://schemas.microsoft.com/office/drawing/2014/main" id="{D79D01D1-4E3E-F34B-97D7-2D387E68746E}"/>
                  </a:ext>
                </a:extLst>
              </p:cNvPr>
              <p:cNvSpPr>
                <a:spLocks/>
              </p:cNvSpPr>
              <p:nvPr/>
            </p:nvSpPr>
            <p:spPr bwMode="gray">
              <a:xfrm>
                <a:off x="4321" y="1029"/>
                <a:ext cx="648" cy="649"/>
              </a:xfrm>
              <a:custGeom>
                <a:avLst/>
                <a:gdLst>
                  <a:gd name="T0" fmla="*/ 0 w 648"/>
                  <a:gd name="T1" fmla="*/ 649 h 649"/>
                  <a:gd name="T2" fmla="*/ 2 w 648"/>
                  <a:gd name="T3" fmla="*/ 649 h 649"/>
                  <a:gd name="T4" fmla="*/ 648 w 648"/>
                  <a:gd name="T5" fmla="*/ 0 h 649"/>
                  <a:gd name="T6" fmla="*/ 423 w 648"/>
                  <a:gd name="T7" fmla="*/ 0 h 649"/>
                  <a:gd name="T8" fmla="*/ 0 w 648"/>
                  <a:gd name="T9" fmla="*/ 649 h 649"/>
                </a:gdLst>
                <a:ahLst/>
                <a:cxnLst>
                  <a:cxn ang="0">
                    <a:pos x="T0" y="T1"/>
                  </a:cxn>
                  <a:cxn ang="0">
                    <a:pos x="T2" y="T3"/>
                  </a:cxn>
                  <a:cxn ang="0">
                    <a:pos x="T4" y="T5"/>
                  </a:cxn>
                  <a:cxn ang="0">
                    <a:pos x="T6" y="T7"/>
                  </a:cxn>
                  <a:cxn ang="0">
                    <a:pos x="T8" y="T9"/>
                  </a:cxn>
                </a:cxnLst>
                <a:rect l="0" t="0" r="r" b="b"/>
                <a:pathLst>
                  <a:path w="648" h="649">
                    <a:moveTo>
                      <a:pt x="0" y="649"/>
                    </a:moveTo>
                    <a:lnTo>
                      <a:pt x="2" y="649"/>
                    </a:lnTo>
                    <a:lnTo>
                      <a:pt x="648" y="0"/>
                    </a:lnTo>
                    <a:lnTo>
                      <a:pt x="423" y="0"/>
                    </a:lnTo>
                    <a:lnTo>
                      <a:pt x="0" y="64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28" name="Freeform 13">
                <a:extLst>
                  <a:ext uri="{FF2B5EF4-FFF2-40B4-BE49-F238E27FC236}">
                    <a16:creationId xmlns:a16="http://schemas.microsoft.com/office/drawing/2014/main" id="{46549898-6C52-B147-A8F6-A73FDBE6163B}"/>
                  </a:ext>
                </a:extLst>
              </p:cNvPr>
              <p:cNvSpPr>
                <a:spLocks/>
              </p:cNvSpPr>
              <p:nvPr/>
            </p:nvSpPr>
            <p:spPr bwMode="gray">
              <a:xfrm>
                <a:off x="4321" y="1029"/>
                <a:ext cx="648" cy="649"/>
              </a:xfrm>
              <a:custGeom>
                <a:avLst/>
                <a:gdLst>
                  <a:gd name="T0" fmla="*/ 0 w 648"/>
                  <a:gd name="T1" fmla="*/ 649 h 649"/>
                  <a:gd name="T2" fmla="*/ 2 w 648"/>
                  <a:gd name="T3" fmla="*/ 649 h 649"/>
                  <a:gd name="T4" fmla="*/ 648 w 648"/>
                  <a:gd name="T5" fmla="*/ 0 h 649"/>
                  <a:gd name="T6" fmla="*/ 423 w 648"/>
                  <a:gd name="T7" fmla="*/ 0 h 649"/>
                  <a:gd name="T8" fmla="*/ 0 w 648"/>
                  <a:gd name="T9" fmla="*/ 649 h 649"/>
                </a:gdLst>
                <a:ahLst/>
                <a:cxnLst>
                  <a:cxn ang="0">
                    <a:pos x="T0" y="T1"/>
                  </a:cxn>
                  <a:cxn ang="0">
                    <a:pos x="T2" y="T3"/>
                  </a:cxn>
                  <a:cxn ang="0">
                    <a:pos x="T4" y="T5"/>
                  </a:cxn>
                  <a:cxn ang="0">
                    <a:pos x="T6" y="T7"/>
                  </a:cxn>
                  <a:cxn ang="0">
                    <a:pos x="T8" y="T9"/>
                  </a:cxn>
                </a:cxnLst>
                <a:rect l="0" t="0" r="r" b="b"/>
                <a:pathLst>
                  <a:path w="648" h="649">
                    <a:moveTo>
                      <a:pt x="0" y="649"/>
                    </a:moveTo>
                    <a:lnTo>
                      <a:pt x="2" y="649"/>
                    </a:lnTo>
                    <a:lnTo>
                      <a:pt x="648" y="0"/>
                    </a:lnTo>
                    <a:lnTo>
                      <a:pt x="423" y="0"/>
                    </a:lnTo>
                    <a:lnTo>
                      <a:pt x="0" y="64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grpSp>
      </p:grpSp>
      <p:sp>
        <p:nvSpPr>
          <p:cNvPr id="7" name="Date Placeholder 6"/>
          <p:cNvSpPr>
            <a:spLocks noGrp="1"/>
          </p:cNvSpPr>
          <p:nvPr>
            <p:ph type="dt" sz="half" idx="10"/>
          </p:nvPr>
        </p:nvSpPr>
        <p:spPr>
          <a:xfrm>
            <a:off x="0" y="0"/>
            <a:ext cx="0" cy="0"/>
          </a:xfrm>
          <a:prstGeom prst="rect">
            <a:avLst/>
          </a:prstGeom>
        </p:spPr>
        <p:txBody>
          <a:bodyPr/>
          <a:lstStyle>
            <a:lvl1pPr>
              <a:defRPr sz="100">
                <a:noFill/>
              </a:defRPr>
            </a:lvl1pPr>
          </a:lstStyle>
          <a:p>
            <a:endParaRPr lang="en-US"/>
          </a:p>
        </p:txBody>
      </p:sp>
      <p:sp>
        <p:nvSpPr>
          <p:cNvPr id="8" name="Footer Placeholder 7"/>
          <p:cNvSpPr>
            <a:spLocks noGrp="1"/>
          </p:cNvSpPr>
          <p:nvPr>
            <p:ph type="ftr" sz="quarter" idx="11"/>
          </p:nvPr>
        </p:nvSpPr>
        <p:spPr>
          <a:xfrm>
            <a:off x="0" y="0"/>
            <a:ext cx="0" cy="0"/>
          </a:xfrm>
          <a:prstGeom prst="rect">
            <a:avLst/>
          </a:prstGeom>
        </p:spPr>
        <p:txBody>
          <a:bodyPr/>
          <a:lstStyle>
            <a:lvl1pPr marL="0" indent="0">
              <a:buNone/>
              <a:defRPr sz="100">
                <a:noFill/>
              </a:defRPr>
            </a:lvl1pPr>
          </a:lstStyle>
          <a:p>
            <a:endParaRPr lang="en-US"/>
          </a:p>
        </p:txBody>
      </p:sp>
      <p:sp>
        <p:nvSpPr>
          <p:cNvPr id="9" name="Slide Number Placeholder 8"/>
          <p:cNvSpPr>
            <a:spLocks noGrp="1"/>
          </p:cNvSpPr>
          <p:nvPr>
            <p:ph type="sldNum" sz="quarter" idx="12"/>
          </p:nvPr>
        </p:nvSpPr>
        <p:spPr>
          <a:xfrm>
            <a:off x="0" y="0"/>
            <a:ext cx="0" cy="0"/>
          </a:xfrm>
          <a:prstGeom prst="rect">
            <a:avLst/>
          </a:prstGeom>
        </p:spPr>
        <p:txBody>
          <a:bodyPr/>
          <a:lstStyle>
            <a:lvl1pPr>
              <a:defRPr sz="100">
                <a:noFill/>
              </a:defRPr>
            </a:lvl1pPr>
          </a:lstStyle>
          <a:p>
            <a:fld id="{8E3B25F7-8D1F-44B5-B485-EE3C438CFD7B}" type="slidenum">
              <a:rPr lang="en-US" smtClean="0"/>
              <a:pPr/>
              <a:t>‹#›</a:t>
            </a:fld>
            <a:endParaRPr lang="en-US"/>
          </a:p>
        </p:txBody>
      </p:sp>
      <p:sp>
        <p:nvSpPr>
          <p:cNvPr id="2" name="Title 1"/>
          <p:cNvSpPr>
            <a:spLocks noGrp="1"/>
          </p:cNvSpPr>
          <p:nvPr>
            <p:ph type="ctrTitle" hasCustomPrompt="1"/>
          </p:nvPr>
        </p:nvSpPr>
        <p:spPr>
          <a:xfrm>
            <a:off x="4777671" y="2019727"/>
            <a:ext cx="3816000" cy="2236264"/>
          </a:xfrm>
        </p:spPr>
        <p:txBody>
          <a:bodyPr anchor="b"/>
          <a:lstStyle>
            <a:lvl1pPr algn="l">
              <a:defRPr sz="3600"/>
            </a:lvl1pPr>
          </a:lstStyle>
          <a:p>
            <a:r>
              <a:rPr lang="en-US"/>
              <a:t>Click to add thank you</a:t>
            </a:r>
          </a:p>
        </p:txBody>
      </p:sp>
    </p:spTree>
    <p:extLst>
      <p:ext uri="{BB962C8B-B14F-4D97-AF65-F5344CB8AC3E}">
        <p14:creationId xmlns:p14="http://schemas.microsoft.com/office/powerpoint/2010/main" val="192466246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with picture (2)">
    <p:spTree>
      <p:nvGrpSpPr>
        <p:cNvPr id="1" name=""/>
        <p:cNvGrpSpPr/>
        <p:nvPr/>
      </p:nvGrpSpPr>
      <p:grpSpPr>
        <a:xfrm>
          <a:off x="0" y="0"/>
          <a:ext cx="0" cy="0"/>
          <a:chOff x="0" y="0"/>
          <a:chExt cx="0" cy="0"/>
        </a:xfrm>
      </p:grpSpPr>
      <p:sp>
        <p:nvSpPr>
          <p:cNvPr id="6" name="Picture Placeholder 5"/>
          <p:cNvSpPr>
            <a:spLocks noGrp="1"/>
          </p:cNvSpPr>
          <p:nvPr>
            <p:ph type="pic" sz="quarter" idx="11" hasCustomPrompt="1"/>
          </p:nvPr>
        </p:nvSpPr>
        <p:spPr bwMode="gray">
          <a:xfrm>
            <a:off x="431215" y="3429003"/>
            <a:ext cx="11329573" cy="2880400"/>
          </a:xfrm>
        </p:spPr>
        <p:txBody>
          <a:bodyPr/>
          <a:lstStyle>
            <a:lvl1pPr>
              <a:defRPr/>
            </a:lvl1pPr>
          </a:lstStyle>
          <a:p>
            <a:r>
              <a:rPr lang="de-DE"/>
              <a:t>Click </a:t>
            </a:r>
            <a:r>
              <a:rPr lang="de-DE" err="1"/>
              <a:t>to</a:t>
            </a:r>
            <a:r>
              <a:rPr lang="de-DE"/>
              <a:t> </a:t>
            </a:r>
            <a:r>
              <a:rPr lang="de-DE" err="1"/>
              <a:t>the</a:t>
            </a:r>
            <a:r>
              <a:rPr lang="de-DE"/>
              <a:t> </a:t>
            </a:r>
            <a:r>
              <a:rPr lang="de-DE" err="1"/>
              <a:t>symbol</a:t>
            </a:r>
            <a:r>
              <a:rPr lang="de-DE"/>
              <a:t> </a:t>
            </a:r>
            <a:r>
              <a:rPr lang="de-DE" err="1"/>
              <a:t>to</a:t>
            </a:r>
            <a:r>
              <a:rPr lang="de-DE"/>
              <a:t> </a:t>
            </a:r>
            <a:r>
              <a:rPr lang="de-DE" err="1"/>
              <a:t>add</a:t>
            </a:r>
            <a:r>
              <a:rPr lang="de-DE"/>
              <a:t> a </a:t>
            </a:r>
            <a:r>
              <a:rPr lang="de-DE" err="1"/>
              <a:t>picture</a:t>
            </a:r>
            <a:endParaRPr lang="en-GB"/>
          </a:p>
        </p:txBody>
      </p:sp>
      <p:sp>
        <p:nvSpPr>
          <p:cNvPr id="2" name="Title 1"/>
          <p:cNvSpPr>
            <a:spLocks noGrp="1"/>
          </p:cNvSpPr>
          <p:nvPr>
            <p:ph type="ctrTitle" hasCustomPrompt="1"/>
          </p:nvPr>
        </p:nvSpPr>
        <p:spPr bwMode="gray">
          <a:xfrm>
            <a:off x="431215" y="1220697"/>
            <a:ext cx="11329573" cy="1344186"/>
          </a:xfrm>
        </p:spPr>
        <p:txBody>
          <a:bodyPr anchor="b"/>
          <a:lstStyle>
            <a:lvl1pPr>
              <a:defRPr sz="4796" cap="none" baseline="0">
                <a:solidFill>
                  <a:schemeClr val="tx2"/>
                </a:solidFill>
              </a:defRPr>
            </a:lvl1pPr>
          </a:lstStyle>
          <a:p>
            <a:r>
              <a:rPr lang="en-US"/>
              <a:t>Click to add title of presentation</a:t>
            </a:r>
          </a:p>
        </p:txBody>
      </p:sp>
      <p:sp>
        <p:nvSpPr>
          <p:cNvPr id="3" name="Subtitle 2"/>
          <p:cNvSpPr>
            <a:spLocks noGrp="1"/>
          </p:cNvSpPr>
          <p:nvPr>
            <p:ph type="subTitle" idx="1" hasCustomPrompt="1"/>
          </p:nvPr>
        </p:nvSpPr>
        <p:spPr bwMode="gray">
          <a:xfrm>
            <a:off x="431215" y="2660898"/>
            <a:ext cx="11329573" cy="576079"/>
          </a:xfrm>
        </p:spPr>
        <p:txBody>
          <a:bodyPr tIns="0"/>
          <a:lstStyle>
            <a:lvl1pPr marL="0" indent="0" algn="l">
              <a:spcBef>
                <a:spcPts val="800"/>
              </a:spcBef>
              <a:spcAft>
                <a:spcPts val="0"/>
              </a:spcAft>
              <a:buNone/>
              <a:defRPr sz="2663">
                <a:solidFill>
                  <a:schemeClr val="tx2"/>
                </a:solidFill>
              </a:defRPr>
            </a:lvl1pPr>
            <a:lvl2pPr marL="0" indent="0" algn="l">
              <a:spcBef>
                <a:spcPts val="800"/>
              </a:spcBef>
              <a:spcAft>
                <a:spcPts val="0"/>
              </a:spcAft>
              <a:buNone/>
              <a:defRPr sz="2663">
                <a:solidFill>
                  <a:schemeClr val="tx2"/>
                </a:solidFill>
              </a:defRPr>
            </a:lvl2pPr>
            <a:lvl3pPr marL="0" indent="0" algn="l">
              <a:spcBef>
                <a:spcPts val="800"/>
              </a:spcBef>
              <a:spcAft>
                <a:spcPts val="0"/>
              </a:spcAft>
              <a:buNone/>
              <a:defRPr sz="2663">
                <a:solidFill>
                  <a:schemeClr val="tx2"/>
                </a:solidFill>
              </a:defRPr>
            </a:lvl3pPr>
            <a:lvl4pPr marL="0" indent="0" algn="l">
              <a:spcBef>
                <a:spcPts val="800"/>
              </a:spcBef>
              <a:spcAft>
                <a:spcPts val="0"/>
              </a:spcAft>
              <a:buNone/>
              <a:defRPr sz="2663">
                <a:solidFill>
                  <a:schemeClr val="tx2"/>
                </a:solidFill>
              </a:defRPr>
            </a:lvl4pPr>
            <a:lvl5pPr marL="0" indent="0" algn="l">
              <a:spcBef>
                <a:spcPts val="800"/>
              </a:spcBef>
              <a:spcAft>
                <a:spcPts val="0"/>
              </a:spcAft>
              <a:buNone/>
              <a:defRPr sz="2663">
                <a:solidFill>
                  <a:schemeClr val="tx2"/>
                </a:solidFill>
              </a:defRPr>
            </a:lvl5pPr>
            <a:lvl6pPr marL="0" indent="0" algn="l">
              <a:spcBef>
                <a:spcPts val="800"/>
              </a:spcBef>
              <a:spcAft>
                <a:spcPts val="0"/>
              </a:spcAft>
              <a:buNone/>
              <a:defRPr sz="2663">
                <a:solidFill>
                  <a:schemeClr val="tx2"/>
                </a:solidFill>
              </a:defRPr>
            </a:lvl6pPr>
            <a:lvl7pPr marL="0" indent="0" algn="l">
              <a:spcBef>
                <a:spcPts val="800"/>
              </a:spcBef>
              <a:spcAft>
                <a:spcPts val="0"/>
              </a:spcAft>
              <a:buNone/>
              <a:defRPr sz="2663">
                <a:solidFill>
                  <a:schemeClr val="tx2"/>
                </a:solidFill>
              </a:defRPr>
            </a:lvl7pPr>
            <a:lvl8pPr marL="0" indent="0" algn="l">
              <a:spcAft>
                <a:spcPts val="0"/>
              </a:spcAft>
              <a:buNone/>
              <a:defRPr sz="2663">
                <a:solidFill>
                  <a:schemeClr val="bg1"/>
                </a:solidFill>
              </a:defRPr>
            </a:lvl8pPr>
            <a:lvl9pPr marL="0" indent="0" algn="l">
              <a:spcBef>
                <a:spcPts val="800"/>
              </a:spcBef>
              <a:spcAft>
                <a:spcPts val="0"/>
              </a:spcAft>
              <a:buNone/>
              <a:defRPr sz="2663">
                <a:solidFill>
                  <a:schemeClr val="tx2"/>
                </a:solidFill>
              </a:defRPr>
            </a:lvl9pPr>
          </a:lstStyle>
          <a:p>
            <a:pPr lvl="0"/>
            <a:r>
              <a:rPr lang="en-US" noProof="0"/>
              <a:t>Click to add subtitle of presentation</a:t>
            </a:r>
          </a:p>
        </p:txBody>
      </p:sp>
      <p:sp>
        <p:nvSpPr>
          <p:cNvPr id="7" name="Rechteck 6"/>
          <p:cNvSpPr/>
          <p:nvPr/>
        </p:nvSpPr>
        <p:spPr bwMode="gray">
          <a:xfrm>
            <a:off x="0" y="6570173"/>
            <a:ext cx="12192000" cy="28783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802" tIns="60901" rIns="121802" bIns="60901" numCol="1" spcCol="0" rtlCol="0" fromWordArt="0" anchor="ctr" anchorCtr="0" forceAA="0" compatLnSpc="1">
            <a:prstTxWarp prst="textNoShape">
              <a:avLst/>
            </a:prstTxWarp>
            <a:noAutofit/>
          </a:bodyPr>
          <a:lstStyle/>
          <a:p>
            <a:pPr marL="0" indent="0" algn="ctr">
              <a:buFont typeface="Courier New" pitchFamily="49" charset="0"/>
              <a:buNone/>
            </a:pPr>
            <a:endParaRPr lang="en-US" sz="2133">
              <a:solidFill>
                <a:schemeClr val="tx1"/>
              </a:solidFill>
              <a:latin typeface="Arial" pitchFamily="34" charset="0"/>
            </a:endParaRPr>
          </a:p>
        </p:txBody>
      </p:sp>
      <p:sp>
        <p:nvSpPr>
          <p:cNvPr id="8" name="Text Placeholder 10"/>
          <p:cNvSpPr>
            <a:spLocks noGrp="1"/>
          </p:cNvSpPr>
          <p:nvPr>
            <p:ph type="body" sz="quarter" idx="10" hasCustomPrompt="1"/>
          </p:nvPr>
        </p:nvSpPr>
        <p:spPr bwMode="gray">
          <a:xfrm>
            <a:off x="431372" y="6309405"/>
            <a:ext cx="11328829" cy="288000"/>
          </a:xfrm>
        </p:spPr>
        <p:txBody>
          <a:bodyPr tIns="0" anchor="b" anchorCtr="0"/>
          <a:lstStyle>
            <a:lvl1pPr marL="0" indent="0">
              <a:lnSpc>
                <a:spcPct val="100000"/>
              </a:lnSpc>
              <a:spcBef>
                <a:spcPts val="0"/>
              </a:spcBef>
              <a:spcAft>
                <a:spcPts val="0"/>
              </a:spcAft>
              <a:buFontTx/>
              <a:buNone/>
              <a:defRPr sz="1598">
                <a:solidFill>
                  <a:schemeClr val="tx2"/>
                </a:solidFill>
              </a:defRPr>
            </a:lvl1pPr>
            <a:lvl2pPr marL="0" indent="0">
              <a:lnSpc>
                <a:spcPct val="100000"/>
              </a:lnSpc>
              <a:spcBef>
                <a:spcPts val="0"/>
              </a:spcBef>
              <a:spcAft>
                <a:spcPts val="0"/>
              </a:spcAft>
              <a:buFontTx/>
              <a:buNone/>
              <a:defRPr sz="1598">
                <a:solidFill>
                  <a:schemeClr val="tx2"/>
                </a:solidFill>
              </a:defRPr>
            </a:lvl2pPr>
            <a:lvl3pPr marL="0" indent="0">
              <a:lnSpc>
                <a:spcPct val="100000"/>
              </a:lnSpc>
              <a:spcBef>
                <a:spcPts val="0"/>
              </a:spcBef>
              <a:spcAft>
                <a:spcPts val="0"/>
              </a:spcAft>
              <a:buFontTx/>
              <a:buNone/>
              <a:defRPr sz="1598">
                <a:solidFill>
                  <a:schemeClr val="tx2"/>
                </a:solidFill>
              </a:defRPr>
            </a:lvl3pPr>
            <a:lvl4pPr marL="0" indent="0">
              <a:lnSpc>
                <a:spcPct val="100000"/>
              </a:lnSpc>
              <a:spcBef>
                <a:spcPts val="0"/>
              </a:spcBef>
              <a:spcAft>
                <a:spcPts val="0"/>
              </a:spcAft>
              <a:buFontTx/>
              <a:buNone/>
              <a:defRPr sz="1598">
                <a:solidFill>
                  <a:schemeClr val="tx2"/>
                </a:solidFill>
              </a:defRPr>
            </a:lvl4pPr>
            <a:lvl5pPr marL="0" indent="0">
              <a:lnSpc>
                <a:spcPct val="100000"/>
              </a:lnSpc>
              <a:spcBef>
                <a:spcPts val="0"/>
              </a:spcBef>
              <a:spcAft>
                <a:spcPts val="0"/>
              </a:spcAft>
              <a:buFontTx/>
              <a:buNone/>
              <a:defRPr sz="1598">
                <a:solidFill>
                  <a:schemeClr val="tx2"/>
                </a:solidFill>
              </a:defRPr>
            </a:lvl5pPr>
            <a:lvl6pPr marL="0" indent="0">
              <a:lnSpc>
                <a:spcPct val="100000"/>
              </a:lnSpc>
              <a:spcBef>
                <a:spcPts val="0"/>
              </a:spcBef>
              <a:spcAft>
                <a:spcPts val="0"/>
              </a:spcAft>
              <a:buFontTx/>
              <a:buNone/>
              <a:defRPr sz="1598">
                <a:solidFill>
                  <a:schemeClr val="tx2"/>
                </a:solidFill>
              </a:defRPr>
            </a:lvl6pPr>
            <a:lvl7pPr marL="0" indent="0">
              <a:lnSpc>
                <a:spcPct val="100000"/>
              </a:lnSpc>
              <a:spcBef>
                <a:spcPts val="0"/>
              </a:spcBef>
              <a:spcAft>
                <a:spcPts val="0"/>
              </a:spcAft>
              <a:buFontTx/>
              <a:buNone/>
              <a:defRPr sz="1598">
                <a:solidFill>
                  <a:schemeClr val="tx2"/>
                </a:solidFill>
              </a:defRPr>
            </a:lvl7pPr>
            <a:lvl8pPr marL="0" indent="0">
              <a:lnSpc>
                <a:spcPct val="100000"/>
              </a:lnSpc>
              <a:spcBef>
                <a:spcPts val="0"/>
              </a:spcBef>
              <a:spcAft>
                <a:spcPts val="0"/>
              </a:spcAft>
              <a:buFontTx/>
              <a:buNone/>
              <a:defRPr sz="1598">
                <a:solidFill>
                  <a:schemeClr val="bg1"/>
                </a:solidFill>
              </a:defRPr>
            </a:lvl8pPr>
            <a:lvl9pPr marL="0" indent="0">
              <a:lnSpc>
                <a:spcPct val="100000"/>
              </a:lnSpc>
              <a:spcBef>
                <a:spcPts val="0"/>
              </a:spcBef>
              <a:spcAft>
                <a:spcPts val="0"/>
              </a:spcAft>
              <a:buFontTx/>
              <a:buNone/>
              <a:defRPr sz="1598">
                <a:solidFill>
                  <a:schemeClr val="tx2"/>
                </a:solidFill>
              </a:defRPr>
            </a:lvl9pPr>
          </a:lstStyle>
          <a:p>
            <a:pPr lvl="0"/>
            <a:r>
              <a:rPr lang="en-US" noProof="0"/>
              <a:t>Click to add additional text, e.g. author, location, date</a:t>
            </a:r>
          </a:p>
        </p:txBody>
      </p:sp>
    </p:spTree>
    <p:extLst>
      <p:ext uri="{BB962C8B-B14F-4D97-AF65-F5344CB8AC3E}">
        <p14:creationId xmlns:p14="http://schemas.microsoft.com/office/powerpoint/2010/main" val="3641534634"/>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Headline only">
    <p:spTree>
      <p:nvGrpSpPr>
        <p:cNvPr id="1" name=""/>
        <p:cNvGrpSpPr/>
        <p:nvPr/>
      </p:nvGrpSpPr>
      <p:grpSpPr>
        <a:xfrm>
          <a:off x="0" y="0"/>
          <a:ext cx="0" cy="0"/>
          <a:chOff x="0" y="0"/>
          <a:chExt cx="0" cy="0"/>
        </a:xfrm>
      </p:grpSpPr>
      <p:sp>
        <p:nvSpPr>
          <p:cNvPr id="3" name="Textplatzhalter 2"/>
          <p:cNvSpPr>
            <a:spLocks noGrp="1"/>
          </p:cNvSpPr>
          <p:nvPr>
            <p:ph type="body" sz="quarter" idx="10" hasCustomPrompt="1"/>
          </p:nvPr>
        </p:nvSpPr>
        <p:spPr bwMode="gray">
          <a:xfrm>
            <a:off x="431213" y="1220755"/>
            <a:ext cx="11328987" cy="384340"/>
          </a:xfrm>
        </p:spPr>
        <p:txBody>
          <a:bodyPr>
            <a:noAutofit/>
          </a:bodyPr>
          <a:lstStyle>
            <a:lvl1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1pPr>
            <a:lvl2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2pPr>
            <a:lvl3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3pPr>
            <a:lvl4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4pPr>
            <a:lvl5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5pPr>
            <a:lvl6pPr marL="0" indent="0">
              <a:lnSpc>
                <a:spcPct val="100000"/>
              </a:lnSpc>
              <a:spcBef>
                <a:spcPts val="800"/>
              </a:spcBef>
              <a:buNone/>
              <a:defRPr lang="en-GB" sz="2400" kern="1200" noProof="0" smtClean="0">
                <a:solidFill>
                  <a:schemeClr val="tx2"/>
                </a:solidFill>
                <a:latin typeface="Arial" pitchFamily="34" charset="0"/>
                <a:ea typeface="+mn-ea"/>
                <a:cs typeface="Arial" pitchFamily="34" charset="0"/>
              </a:defRPr>
            </a:lvl6pPr>
            <a:lvl7pPr marL="0" indent="0">
              <a:lnSpc>
                <a:spcPct val="100000"/>
              </a:lnSpc>
              <a:spcBef>
                <a:spcPts val="800"/>
              </a:spcBef>
              <a:buNone/>
              <a:defRPr lang="en-GB" sz="2400" kern="1200" noProof="0" smtClean="0">
                <a:solidFill>
                  <a:schemeClr val="tx2"/>
                </a:solidFill>
                <a:latin typeface="Arial" pitchFamily="34" charset="0"/>
                <a:ea typeface="+mn-ea"/>
                <a:cs typeface="Arial" pitchFamily="34" charset="0"/>
              </a:defRPr>
            </a:lvl7pPr>
            <a:lvl8pPr marL="0" indent="0">
              <a:lnSpc>
                <a:spcPct val="100000"/>
              </a:lnSpc>
              <a:spcBef>
                <a:spcPts val="800"/>
              </a:spcBef>
              <a:buNone/>
              <a:defRPr lang="en-GB" sz="2400" kern="1200" noProof="0" smtClean="0">
                <a:solidFill>
                  <a:schemeClr val="tx2"/>
                </a:solidFill>
                <a:latin typeface="Arial" pitchFamily="34" charset="0"/>
                <a:ea typeface="+mn-ea"/>
                <a:cs typeface="Arial" pitchFamily="34" charset="0"/>
              </a:defRPr>
            </a:lvl8pPr>
            <a:lvl9pPr marL="0" indent="0">
              <a:lnSpc>
                <a:spcPct val="100000"/>
              </a:lnSpc>
              <a:spcBef>
                <a:spcPts val="800"/>
              </a:spcBef>
              <a:buNone/>
              <a:defRPr lang="de-DE" sz="2400" kern="1200" noProof="0" smtClean="0">
                <a:solidFill>
                  <a:schemeClr val="tx2"/>
                </a:solidFill>
                <a:latin typeface="Arial" pitchFamily="34" charset="0"/>
                <a:ea typeface="+mn-ea"/>
                <a:cs typeface="Arial" pitchFamily="34" charset="0"/>
              </a:defRPr>
            </a:lvl9pPr>
          </a:lstStyle>
          <a:p>
            <a:pPr lvl="0"/>
            <a:r>
              <a:rPr lang="en-US"/>
              <a:t>Click to add </a:t>
            </a:r>
            <a:r>
              <a:rPr lang="en-US" err="1"/>
              <a:t>subheadline</a:t>
            </a:r>
            <a:endParaRPr lang="en-US"/>
          </a:p>
        </p:txBody>
      </p:sp>
      <p:sp>
        <p:nvSpPr>
          <p:cNvPr id="4" name="Textplatzhalter 3"/>
          <p:cNvSpPr>
            <a:spLocks noGrp="1"/>
          </p:cNvSpPr>
          <p:nvPr>
            <p:ph type="body" sz="quarter" idx="11" hasCustomPrompt="1"/>
          </p:nvPr>
        </p:nvSpPr>
        <p:spPr bwMode="gray">
          <a:xfrm>
            <a:off x="431371" y="6404736"/>
            <a:ext cx="11328400" cy="192616"/>
          </a:xfrm>
        </p:spPr>
        <p:txBody>
          <a:bodyPr tIns="0" bIns="36000" anchor="b" anchorCtr="0">
            <a:noAutofit/>
          </a:bodyPr>
          <a:lstStyle>
            <a:lvl1pPr marL="0" marR="0" indent="0" algn="l" defTabSz="1219170" rtl="0" eaLnBrk="1" fontAlgn="auto" latinLnBrk="0" hangingPunct="1">
              <a:lnSpc>
                <a:spcPct val="100000"/>
              </a:lnSpc>
              <a:spcBef>
                <a:spcPts val="0"/>
              </a:spcBef>
              <a:spcAft>
                <a:spcPts val="0"/>
              </a:spcAft>
              <a:buClrTx/>
              <a:buSzTx/>
              <a:buFont typeface="Arial" pitchFamily="34" charset="0"/>
              <a:buNone/>
              <a:tabLst/>
              <a:defRPr lang="de-DE" sz="1067" kern="1200" baseline="0" noProof="0" smtClean="0">
                <a:solidFill>
                  <a:schemeClr val="bg2"/>
                </a:solidFill>
                <a:latin typeface="Arial" pitchFamily="34" charset="0"/>
                <a:ea typeface="+mn-ea"/>
                <a:cs typeface="Arial" pitchFamily="34" charset="0"/>
              </a:defRPr>
            </a:lvl1pPr>
            <a:lvl2pPr marL="0" indent="0">
              <a:lnSpc>
                <a:spcPct val="100000"/>
              </a:lnSpc>
              <a:spcBef>
                <a:spcPts val="0"/>
              </a:spcBef>
              <a:buFont typeface="Arial" panose="020B0604020202020204" pitchFamily="34" charset="0"/>
              <a:buNone/>
              <a:defRPr lang="de-DE" sz="1067" kern="1200" baseline="0" noProof="0" smtClean="0">
                <a:solidFill>
                  <a:schemeClr val="bg2"/>
                </a:solidFill>
                <a:latin typeface="Arial" pitchFamily="34" charset="0"/>
                <a:ea typeface="+mn-ea"/>
                <a:cs typeface="Arial" pitchFamily="34" charset="0"/>
              </a:defRPr>
            </a:lvl2pPr>
            <a:lvl3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3pPr>
            <a:lvl4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4pPr>
            <a:lvl5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5pPr>
            <a:lvl6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6pPr>
            <a:lvl7pPr marL="0" indent="0">
              <a:lnSpc>
                <a:spcPct val="100000"/>
              </a:lnSpc>
              <a:spcBef>
                <a:spcPts val="0"/>
              </a:spcBef>
              <a:buNone/>
              <a:defRPr lang="de-DE" sz="1067" kern="1200" baseline="0" noProof="0" dirty="0" smtClean="0">
                <a:solidFill>
                  <a:schemeClr val="bg2"/>
                </a:solidFill>
                <a:latin typeface="Arial" pitchFamily="34" charset="0"/>
                <a:ea typeface="+mn-ea"/>
                <a:cs typeface="Arial" pitchFamily="34" charset="0"/>
              </a:defRPr>
            </a:lvl7pPr>
            <a:lvl8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8pPr>
            <a:lvl9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9pPr>
          </a:lstStyle>
          <a:p>
            <a:pPr lvl="0"/>
            <a:r>
              <a:rPr lang="en-US"/>
              <a:t>Click to add source information</a:t>
            </a:r>
          </a:p>
        </p:txBody>
      </p:sp>
      <p:sp>
        <p:nvSpPr>
          <p:cNvPr id="5" name="Title 4"/>
          <p:cNvSpPr>
            <a:spLocks noGrp="1"/>
          </p:cNvSpPr>
          <p:nvPr>
            <p:ph type="title" hasCustomPrompt="1"/>
          </p:nvPr>
        </p:nvSpPr>
        <p:spPr/>
        <p:txBody>
          <a:bodyPr/>
          <a:lstStyle/>
          <a:p>
            <a:r>
              <a:rPr lang="en-US"/>
              <a:t>Click to add headline</a:t>
            </a:r>
          </a:p>
        </p:txBody>
      </p:sp>
    </p:spTree>
    <p:extLst>
      <p:ext uri="{BB962C8B-B14F-4D97-AF65-F5344CB8AC3E}">
        <p14:creationId xmlns:p14="http://schemas.microsoft.com/office/powerpoint/2010/main" val="2906691042"/>
      </p:ext>
    </p:extLst>
  </p:cSld>
  <p:clrMapOvr>
    <a:masterClrMapping/>
  </p:clrMapOvr>
</p:sldLayout>
</file>

<file path=ppt/slideLayouts/slideLayout300.xml><?xml version="1.0" encoding="utf-8"?>
<p:sldLayout xmlns:a="http://schemas.openxmlformats.org/drawingml/2006/main" xmlns:r="http://schemas.openxmlformats.org/officeDocument/2006/relationships" xmlns:p="http://schemas.openxmlformats.org/presentationml/2006/main">
  <p:cSld name="2_Headline only">
    <p:spTree>
      <p:nvGrpSpPr>
        <p:cNvPr id="1" name=""/>
        <p:cNvGrpSpPr/>
        <p:nvPr/>
      </p:nvGrpSpPr>
      <p:grpSpPr>
        <a:xfrm>
          <a:off x="0" y="0"/>
          <a:ext cx="0" cy="0"/>
          <a:chOff x="0" y="0"/>
          <a:chExt cx="0" cy="0"/>
        </a:xfrm>
      </p:grpSpPr>
      <p:sp>
        <p:nvSpPr>
          <p:cNvPr id="21" name="Date Placeholder 20"/>
          <p:cNvSpPr>
            <a:spLocks noGrp="1"/>
          </p:cNvSpPr>
          <p:nvPr>
            <p:ph type="dt" sz="half" idx="14"/>
          </p:nvPr>
        </p:nvSpPr>
        <p:spPr>
          <a:xfrm>
            <a:off x="192089" y="6237288"/>
            <a:ext cx="863600" cy="358173"/>
          </a:xfrm>
          <a:prstGeom prst="rect">
            <a:avLst/>
          </a:prstGeom>
        </p:spPr>
        <p:txBody>
          <a:bodyPr/>
          <a:lstStyle/>
          <a:p>
            <a:fld id="{7DCAAD07-09FD-49C1-9253-3DC58F499B21}" type="datetime5">
              <a:rPr lang="en-US" smtClean="0"/>
              <a:t>26-Jun-20</a:t>
            </a:fld>
            <a:endParaRPr lang="en-US"/>
          </a:p>
        </p:txBody>
      </p:sp>
      <p:sp>
        <p:nvSpPr>
          <p:cNvPr id="22" name="Footer Placeholder 21"/>
          <p:cNvSpPr>
            <a:spLocks noGrp="1"/>
          </p:cNvSpPr>
          <p:nvPr>
            <p:ph type="ftr" sz="quarter" idx="15"/>
          </p:nvPr>
        </p:nvSpPr>
        <p:spPr>
          <a:xfrm>
            <a:off x="1177999" y="6237288"/>
            <a:ext cx="8162717" cy="358173"/>
          </a:xfrm>
          <a:prstGeom prst="rect">
            <a:avLst/>
          </a:prstGeom>
        </p:spPr>
        <p:txBody>
          <a:bodyPr/>
          <a:lstStyle/>
          <a:p>
            <a:r>
              <a:rPr lang="en-US"/>
              <a:t>Portfolio </a:t>
            </a:r>
            <a:r>
              <a:rPr lang="en-US" err="1"/>
              <a:t>Multiclient</a:t>
            </a:r>
            <a:r>
              <a:rPr lang="en-US"/>
              <a:t> 2019</a:t>
            </a:r>
          </a:p>
        </p:txBody>
      </p:sp>
      <p:sp>
        <p:nvSpPr>
          <p:cNvPr id="23" name="Slide Number Placeholder 22"/>
          <p:cNvSpPr>
            <a:spLocks noGrp="1"/>
          </p:cNvSpPr>
          <p:nvPr>
            <p:ph type="sldNum" sz="quarter" idx="16"/>
          </p:nvPr>
        </p:nvSpPr>
        <p:spPr/>
        <p:txBody>
          <a:bodyPr/>
          <a:lstStyle/>
          <a:p>
            <a:fld id="{5F3E29E4-0979-4FCA-B4C5-5FC6044C982A}" type="slidenum">
              <a:rPr lang="en-US" smtClean="0"/>
              <a:t>‹#›</a:t>
            </a:fld>
            <a:endParaRPr lang="en-US"/>
          </a:p>
        </p:txBody>
      </p:sp>
      <p:sp>
        <p:nvSpPr>
          <p:cNvPr id="2" name="Title 1"/>
          <p:cNvSpPr>
            <a:spLocks noGrp="1"/>
          </p:cNvSpPr>
          <p:nvPr>
            <p:ph type="title" hasCustomPrompt="1"/>
          </p:nvPr>
        </p:nvSpPr>
        <p:spPr/>
        <p:txBody>
          <a:bodyPr/>
          <a:lstStyle>
            <a:lvl1pPr>
              <a:defRPr/>
            </a:lvl1pPr>
          </a:lstStyle>
          <a:p>
            <a:r>
              <a:rPr lang="en-US"/>
              <a:t>Click to add slide title</a:t>
            </a:r>
          </a:p>
        </p:txBody>
      </p:sp>
      <p:sp>
        <p:nvSpPr>
          <p:cNvPr id="7" name="Subtitle 2"/>
          <p:cNvSpPr>
            <a:spLocks noGrp="1"/>
          </p:cNvSpPr>
          <p:nvPr>
            <p:ph type="subTitle" idx="13" hasCustomPrompt="1"/>
          </p:nvPr>
        </p:nvSpPr>
        <p:spPr>
          <a:xfrm>
            <a:off x="1075061" y="964671"/>
            <a:ext cx="7910158" cy="490042"/>
          </a:xfrm>
        </p:spPr>
        <p:txBody>
          <a:bodyPr wrap="none"/>
          <a:lstStyle>
            <a:lvl1pPr marL="0" indent="0" algn="l">
              <a:spcBef>
                <a:spcPts val="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spTree>
    <p:extLst>
      <p:ext uri="{BB962C8B-B14F-4D97-AF65-F5344CB8AC3E}">
        <p14:creationId xmlns:p14="http://schemas.microsoft.com/office/powerpoint/2010/main" val="919352071"/>
      </p:ext>
    </p:extLst>
  </p:cSld>
  <p:clrMapOvr>
    <a:masterClrMapping/>
  </p:clrMapOvr>
</p:sldLayout>
</file>

<file path=ppt/slideLayouts/slideLayout301.xml><?xml version="1.0" encoding="utf-8"?>
<p:sldLayout xmlns:a="http://schemas.openxmlformats.org/drawingml/2006/main" xmlns:r="http://schemas.openxmlformats.org/officeDocument/2006/relationships" xmlns:p="http://schemas.openxmlformats.org/presentationml/2006/main">
  <p:cSld name="1_Two contents">
    <p:spTree>
      <p:nvGrpSpPr>
        <p:cNvPr id="1" name=""/>
        <p:cNvGrpSpPr/>
        <p:nvPr/>
      </p:nvGrpSpPr>
      <p:grpSpPr>
        <a:xfrm>
          <a:off x="0" y="0"/>
          <a:ext cx="0" cy="0"/>
          <a:chOff x="0" y="0"/>
          <a:chExt cx="0" cy="0"/>
        </a:xfrm>
      </p:grpSpPr>
      <p:sp>
        <p:nvSpPr>
          <p:cNvPr id="21" name="Date Placeholder 20"/>
          <p:cNvSpPr>
            <a:spLocks noGrp="1"/>
          </p:cNvSpPr>
          <p:nvPr>
            <p:ph type="dt" sz="half" idx="14"/>
          </p:nvPr>
        </p:nvSpPr>
        <p:spPr/>
        <p:txBody>
          <a:bodyPr/>
          <a:lstStyle/>
          <a:p>
            <a:fld id="{9D45F382-CD09-4611-8552-1549F9F12240}" type="datetime5">
              <a:rPr lang="en-US" smtClean="0"/>
              <a:t>26-Jun-20</a:t>
            </a:fld>
            <a:endParaRPr lang="en-US"/>
          </a:p>
        </p:txBody>
      </p:sp>
      <p:sp>
        <p:nvSpPr>
          <p:cNvPr id="22" name="Footer Placeholder 21"/>
          <p:cNvSpPr>
            <a:spLocks noGrp="1"/>
          </p:cNvSpPr>
          <p:nvPr>
            <p:ph type="ftr" sz="quarter" idx="15"/>
          </p:nvPr>
        </p:nvSpPr>
        <p:spPr/>
        <p:txBody>
          <a:bodyPr/>
          <a:lstStyle/>
          <a:p>
            <a:r>
              <a:rPr lang="en-US"/>
              <a:t>Title of presentation (Insert / Header &amp; Footer / Apply to All)</a:t>
            </a:r>
          </a:p>
        </p:txBody>
      </p:sp>
      <p:sp>
        <p:nvSpPr>
          <p:cNvPr id="23" name="Slide Number Placeholder 22"/>
          <p:cNvSpPr>
            <a:spLocks noGrp="1"/>
          </p:cNvSpPr>
          <p:nvPr>
            <p:ph type="sldNum" sz="quarter" idx="16"/>
          </p:nvPr>
        </p:nvSpPr>
        <p:spPr/>
        <p:txBody>
          <a:bodyPr/>
          <a:lstStyle/>
          <a:p>
            <a:fld id="{5F3E29E4-0979-4FCA-B4C5-5FC6044C982A}" type="slidenum">
              <a:rPr lang="en-US" smtClean="0"/>
              <a:t>‹#›</a:t>
            </a:fld>
            <a:endParaRPr lang="en-US"/>
          </a:p>
        </p:txBody>
      </p:sp>
      <p:sp>
        <p:nvSpPr>
          <p:cNvPr id="2" name="Title 1"/>
          <p:cNvSpPr>
            <a:spLocks noGrp="1"/>
          </p:cNvSpPr>
          <p:nvPr>
            <p:ph type="title" hasCustomPrompt="1"/>
          </p:nvPr>
        </p:nvSpPr>
        <p:spPr/>
        <p:txBody>
          <a:bodyPr/>
          <a:lstStyle>
            <a:lvl1pPr>
              <a:defRPr/>
            </a:lvl1pPr>
          </a:lstStyle>
          <a:p>
            <a:r>
              <a:rPr lang="en-US"/>
              <a:t>Click to add slide title</a:t>
            </a:r>
          </a:p>
        </p:txBody>
      </p:sp>
      <p:sp>
        <p:nvSpPr>
          <p:cNvPr id="7" name="Subtitle 2"/>
          <p:cNvSpPr>
            <a:spLocks noGrp="1"/>
          </p:cNvSpPr>
          <p:nvPr>
            <p:ph type="subTitle" idx="13" hasCustomPrompt="1"/>
          </p:nvPr>
        </p:nvSpPr>
        <p:spPr>
          <a:xfrm>
            <a:off x="1075061" y="964671"/>
            <a:ext cx="7910158" cy="490042"/>
          </a:xfrm>
        </p:spPr>
        <p:txBody>
          <a:bodyPr wrap="none"/>
          <a:lstStyle>
            <a:lvl1pPr marL="0" indent="0" algn="l">
              <a:spcBef>
                <a:spcPts val="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sp>
        <p:nvSpPr>
          <p:cNvPr id="3" name="Content Placeholder 2"/>
          <p:cNvSpPr>
            <a:spLocks noGrp="1"/>
          </p:cNvSpPr>
          <p:nvPr>
            <p:ph idx="1" hasCustomPrompt="1"/>
          </p:nvPr>
        </p:nvSpPr>
        <p:spPr>
          <a:xfrm>
            <a:off x="1075062" y="1629618"/>
            <a:ext cx="5220000" cy="4139357"/>
          </a:xfrm>
        </p:spPr>
        <p:txBody>
          <a:bodyPr/>
          <a:lstStyle>
            <a:lvl1pPr>
              <a:defRPr/>
            </a:lvl1pPr>
          </a:lstStyle>
          <a:p>
            <a:pPr lvl="0"/>
            <a:r>
              <a:rPr lang="en-US"/>
              <a:t>Click to add text or content</a:t>
            </a:r>
          </a:p>
          <a:p>
            <a:pPr lvl="1"/>
            <a:r>
              <a:rPr lang="en-US"/>
              <a:t>Second level</a:t>
            </a:r>
          </a:p>
          <a:p>
            <a:pPr lvl="2"/>
            <a:r>
              <a:rPr lang="en-US"/>
              <a:t>Third level</a:t>
            </a:r>
          </a:p>
          <a:p>
            <a:pPr lvl="3"/>
            <a:r>
              <a:rPr lang="en-US"/>
              <a:t>Fourth level</a:t>
            </a:r>
          </a:p>
          <a:p>
            <a:pPr lvl="4"/>
            <a:r>
              <a:rPr lang="en-US"/>
              <a:t>Fifth level</a:t>
            </a:r>
          </a:p>
        </p:txBody>
      </p:sp>
      <p:sp>
        <p:nvSpPr>
          <p:cNvPr id="9" name="Content Placeholder 2"/>
          <p:cNvSpPr>
            <a:spLocks noGrp="1"/>
          </p:cNvSpPr>
          <p:nvPr>
            <p:ph idx="17" hasCustomPrompt="1"/>
          </p:nvPr>
        </p:nvSpPr>
        <p:spPr>
          <a:xfrm>
            <a:off x="6600525" y="1629618"/>
            <a:ext cx="5220000" cy="4139357"/>
          </a:xfrm>
        </p:spPr>
        <p:txBody>
          <a:bodyPr/>
          <a:lstStyle>
            <a:lvl1pPr>
              <a:defRPr/>
            </a:lvl1pPr>
          </a:lstStyle>
          <a:p>
            <a:pPr lvl="0"/>
            <a:r>
              <a:rPr lang="en-US"/>
              <a:t>Click to add text or conten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47634777"/>
      </p:ext>
    </p:extLst>
  </p:cSld>
  <p:clrMapOvr>
    <a:masterClrMapping/>
  </p:clrMapOvr>
</p:sldLayout>
</file>

<file path=ppt/slideLayouts/slideLayout302.xml><?xml version="1.0" encoding="utf-8"?>
<p:sldLayout xmlns:a="http://schemas.openxmlformats.org/drawingml/2006/main" xmlns:r="http://schemas.openxmlformats.org/officeDocument/2006/relationships" xmlns:p="http://schemas.openxmlformats.org/presentationml/2006/main">
  <p:cSld name="1_One content">
    <p:spTree>
      <p:nvGrpSpPr>
        <p:cNvPr id="1" name=""/>
        <p:cNvGrpSpPr/>
        <p:nvPr/>
      </p:nvGrpSpPr>
      <p:grpSpPr>
        <a:xfrm>
          <a:off x="0" y="0"/>
          <a:ext cx="0" cy="0"/>
          <a:chOff x="0" y="0"/>
          <a:chExt cx="0" cy="0"/>
        </a:xfrm>
      </p:grpSpPr>
      <p:sp>
        <p:nvSpPr>
          <p:cNvPr id="21" name="Date Placeholder 20"/>
          <p:cNvSpPr>
            <a:spLocks noGrp="1"/>
          </p:cNvSpPr>
          <p:nvPr>
            <p:ph type="dt" sz="half" idx="14"/>
          </p:nvPr>
        </p:nvSpPr>
        <p:spPr/>
        <p:txBody>
          <a:bodyPr/>
          <a:lstStyle/>
          <a:p>
            <a:fld id="{4CC19292-71B2-4BF0-8023-C669B9188137}" type="datetime5">
              <a:rPr lang="en-US" smtClean="0"/>
              <a:t>26-Jun-20</a:t>
            </a:fld>
            <a:endParaRPr lang="en-US"/>
          </a:p>
        </p:txBody>
      </p:sp>
      <p:sp>
        <p:nvSpPr>
          <p:cNvPr id="22" name="Footer Placeholder 21"/>
          <p:cNvSpPr>
            <a:spLocks noGrp="1"/>
          </p:cNvSpPr>
          <p:nvPr>
            <p:ph type="ftr" sz="quarter" idx="15"/>
          </p:nvPr>
        </p:nvSpPr>
        <p:spPr/>
        <p:txBody>
          <a:bodyPr/>
          <a:lstStyle/>
          <a:p>
            <a:r>
              <a:rPr lang="en-US"/>
              <a:t>Syndicated Surveys  Portfolio 2019</a:t>
            </a:r>
          </a:p>
        </p:txBody>
      </p:sp>
      <p:sp>
        <p:nvSpPr>
          <p:cNvPr id="23" name="Slide Number Placeholder 22"/>
          <p:cNvSpPr>
            <a:spLocks noGrp="1"/>
          </p:cNvSpPr>
          <p:nvPr>
            <p:ph type="sldNum" sz="quarter" idx="16"/>
          </p:nvPr>
        </p:nvSpPr>
        <p:spPr/>
        <p:txBody>
          <a:bodyPr/>
          <a:lstStyle/>
          <a:p>
            <a:fld id="{5F3E29E4-0979-4FCA-B4C5-5FC6044C982A}" type="slidenum">
              <a:rPr lang="en-US" smtClean="0"/>
              <a:t>‹#›</a:t>
            </a:fld>
            <a:endParaRPr lang="en-US"/>
          </a:p>
        </p:txBody>
      </p:sp>
      <p:sp>
        <p:nvSpPr>
          <p:cNvPr id="2" name="Title 1"/>
          <p:cNvSpPr>
            <a:spLocks noGrp="1"/>
          </p:cNvSpPr>
          <p:nvPr>
            <p:ph type="title" hasCustomPrompt="1"/>
          </p:nvPr>
        </p:nvSpPr>
        <p:spPr/>
        <p:txBody>
          <a:bodyPr/>
          <a:lstStyle>
            <a:lvl1pPr>
              <a:defRPr/>
            </a:lvl1pPr>
          </a:lstStyle>
          <a:p>
            <a:r>
              <a:rPr lang="en-US"/>
              <a:t>Click to add slide title</a:t>
            </a:r>
          </a:p>
        </p:txBody>
      </p:sp>
      <p:sp>
        <p:nvSpPr>
          <p:cNvPr id="7" name="Subtitle 2"/>
          <p:cNvSpPr>
            <a:spLocks noGrp="1"/>
          </p:cNvSpPr>
          <p:nvPr>
            <p:ph type="subTitle" idx="13" hasCustomPrompt="1"/>
          </p:nvPr>
        </p:nvSpPr>
        <p:spPr>
          <a:xfrm>
            <a:off x="1075061" y="964671"/>
            <a:ext cx="7910158" cy="490042"/>
          </a:xfrm>
        </p:spPr>
        <p:txBody>
          <a:bodyPr wrap="none"/>
          <a:lstStyle>
            <a:lvl1pPr marL="0" indent="0" algn="l">
              <a:spcBef>
                <a:spcPts val="0"/>
              </a:spcBef>
              <a:buNone/>
              <a:defRPr sz="2400" baseline="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sp>
        <p:nvSpPr>
          <p:cNvPr id="3" name="Content Placeholder 2"/>
          <p:cNvSpPr>
            <a:spLocks noGrp="1"/>
          </p:cNvSpPr>
          <p:nvPr>
            <p:ph idx="1" hasCustomPrompt="1"/>
          </p:nvPr>
        </p:nvSpPr>
        <p:spPr/>
        <p:txBody>
          <a:bodyPr/>
          <a:lstStyle>
            <a:lvl1pPr>
              <a:defRPr baseline="0"/>
            </a:lvl1pPr>
          </a:lstStyle>
          <a:p>
            <a:pPr lvl="0"/>
            <a:r>
              <a:rPr lang="en-US"/>
              <a:t>Click to add text or conten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3666403"/>
      </p:ext>
    </p:extLst>
  </p:cSld>
  <p:clrMapOvr>
    <a:masterClrMapping/>
  </p:clrMapOvr>
</p:sldLayout>
</file>

<file path=ppt/slideLayouts/slideLayout303.xml><?xml version="1.0" encoding="utf-8"?>
<p:sldLayout xmlns:a="http://schemas.openxmlformats.org/drawingml/2006/main" xmlns:r="http://schemas.openxmlformats.org/officeDocument/2006/relationships" xmlns:p="http://schemas.openxmlformats.org/presentationml/2006/main" userDrawn="1">
  <p:cSld name="1_Headline only">
    <p:spTree>
      <p:nvGrpSpPr>
        <p:cNvPr id="1" name=""/>
        <p:cNvGrpSpPr/>
        <p:nvPr/>
      </p:nvGrpSpPr>
      <p:grpSpPr>
        <a:xfrm>
          <a:off x="0" y="0"/>
          <a:ext cx="0" cy="0"/>
          <a:chOff x="0" y="0"/>
          <a:chExt cx="0" cy="0"/>
        </a:xfrm>
      </p:grpSpPr>
      <p:sp>
        <p:nvSpPr>
          <p:cNvPr id="3" name="Textplatzhalter 2"/>
          <p:cNvSpPr>
            <a:spLocks noGrp="1"/>
          </p:cNvSpPr>
          <p:nvPr>
            <p:ph type="body" sz="quarter" idx="10" hasCustomPrompt="1"/>
          </p:nvPr>
        </p:nvSpPr>
        <p:spPr bwMode="gray">
          <a:xfrm>
            <a:off x="431213" y="1220755"/>
            <a:ext cx="11328987" cy="384340"/>
          </a:xfrm>
        </p:spPr>
        <p:txBody>
          <a:bodyPr>
            <a:noAutofit/>
          </a:bodyPr>
          <a:lstStyle>
            <a:lvl1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1pPr>
            <a:lvl2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2pPr>
            <a:lvl3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3pPr>
            <a:lvl4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4pPr>
            <a:lvl5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5pPr>
            <a:lvl6pPr marL="0" indent="0">
              <a:lnSpc>
                <a:spcPct val="100000"/>
              </a:lnSpc>
              <a:spcBef>
                <a:spcPts val="800"/>
              </a:spcBef>
              <a:buNone/>
              <a:defRPr lang="en-GB" sz="2400" kern="1200" noProof="0" smtClean="0">
                <a:solidFill>
                  <a:schemeClr val="tx2"/>
                </a:solidFill>
                <a:latin typeface="Arial" pitchFamily="34" charset="0"/>
                <a:ea typeface="+mn-ea"/>
                <a:cs typeface="Arial" pitchFamily="34" charset="0"/>
              </a:defRPr>
            </a:lvl6pPr>
            <a:lvl7pPr marL="0" indent="0">
              <a:lnSpc>
                <a:spcPct val="100000"/>
              </a:lnSpc>
              <a:spcBef>
                <a:spcPts val="800"/>
              </a:spcBef>
              <a:buNone/>
              <a:defRPr lang="en-GB" sz="2400" kern="1200" noProof="0" smtClean="0">
                <a:solidFill>
                  <a:schemeClr val="tx2"/>
                </a:solidFill>
                <a:latin typeface="Arial" pitchFamily="34" charset="0"/>
                <a:ea typeface="+mn-ea"/>
                <a:cs typeface="Arial" pitchFamily="34" charset="0"/>
              </a:defRPr>
            </a:lvl7pPr>
            <a:lvl8pPr marL="0" indent="0">
              <a:lnSpc>
                <a:spcPct val="100000"/>
              </a:lnSpc>
              <a:spcBef>
                <a:spcPts val="800"/>
              </a:spcBef>
              <a:buNone/>
              <a:defRPr lang="en-GB" sz="2400" kern="1200" noProof="0" smtClean="0">
                <a:solidFill>
                  <a:schemeClr val="tx2"/>
                </a:solidFill>
                <a:latin typeface="Arial" pitchFamily="34" charset="0"/>
                <a:ea typeface="+mn-ea"/>
                <a:cs typeface="Arial" pitchFamily="34" charset="0"/>
              </a:defRPr>
            </a:lvl8pPr>
            <a:lvl9pPr marL="0" indent="0">
              <a:lnSpc>
                <a:spcPct val="100000"/>
              </a:lnSpc>
              <a:spcBef>
                <a:spcPts val="800"/>
              </a:spcBef>
              <a:buNone/>
              <a:defRPr lang="de-DE" sz="2400" kern="1200" noProof="0" smtClean="0">
                <a:solidFill>
                  <a:schemeClr val="tx2"/>
                </a:solidFill>
                <a:latin typeface="Arial" pitchFamily="34" charset="0"/>
                <a:ea typeface="+mn-ea"/>
                <a:cs typeface="Arial" pitchFamily="34" charset="0"/>
              </a:defRPr>
            </a:lvl9pPr>
          </a:lstStyle>
          <a:p>
            <a:pPr lvl="0"/>
            <a:r>
              <a:rPr lang="en-US"/>
              <a:t>Click to add </a:t>
            </a:r>
            <a:r>
              <a:rPr lang="en-US" err="1"/>
              <a:t>subheadline</a:t>
            </a:r>
            <a:endParaRPr lang="en-US"/>
          </a:p>
        </p:txBody>
      </p:sp>
      <p:sp>
        <p:nvSpPr>
          <p:cNvPr id="4" name="Textplatzhalter 3"/>
          <p:cNvSpPr>
            <a:spLocks noGrp="1"/>
          </p:cNvSpPr>
          <p:nvPr>
            <p:ph type="body" sz="quarter" idx="11" hasCustomPrompt="1"/>
          </p:nvPr>
        </p:nvSpPr>
        <p:spPr bwMode="gray">
          <a:xfrm>
            <a:off x="431371" y="6404736"/>
            <a:ext cx="11328400" cy="192616"/>
          </a:xfrm>
        </p:spPr>
        <p:txBody>
          <a:bodyPr tIns="0" bIns="36000" anchor="b" anchorCtr="0">
            <a:noAutofit/>
          </a:bodyPr>
          <a:lstStyle>
            <a:lvl1pPr marL="0" marR="0" indent="0" algn="l" defTabSz="1219170" rtl="0" eaLnBrk="1" fontAlgn="auto" latinLnBrk="0" hangingPunct="1">
              <a:lnSpc>
                <a:spcPct val="100000"/>
              </a:lnSpc>
              <a:spcBef>
                <a:spcPts val="0"/>
              </a:spcBef>
              <a:spcAft>
                <a:spcPts val="0"/>
              </a:spcAft>
              <a:buClrTx/>
              <a:buSzTx/>
              <a:buFont typeface="Arial" pitchFamily="34" charset="0"/>
              <a:buNone/>
              <a:tabLst/>
              <a:defRPr lang="de-DE" sz="1067" kern="1200" baseline="0" noProof="0" smtClean="0">
                <a:solidFill>
                  <a:schemeClr val="bg2"/>
                </a:solidFill>
                <a:latin typeface="Arial" pitchFamily="34" charset="0"/>
                <a:ea typeface="+mn-ea"/>
                <a:cs typeface="Arial" pitchFamily="34" charset="0"/>
              </a:defRPr>
            </a:lvl1pPr>
            <a:lvl2pPr marL="0" indent="0">
              <a:lnSpc>
                <a:spcPct val="100000"/>
              </a:lnSpc>
              <a:spcBef>
                <a:spcPts val="0"/>
              </a:spcBef>
              <a:buFont typeface="Arial" panose="020B0604020202020204" pitchFamily="34" charset="0"/>
              <a:buNone/>
              <a:defRPr lang="de-DE" sz="1067" kern="1200" baseline="0" noProof="0" smtClean="0">
                <a:solidFill>
                  <a:schemeClr val="bg2"/>
                </a:solidFill>
                <a:latin typeface="Arial" pitchFamily="34" charset="0"/>
                <a:ea typeface="+mn-ea"/>
                <a:cs typeface="Arial" pitchFamily="34" charset="0"/>
              </a:defRPr>
            </a:lvl2pPr>
            <a:lvl3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3pPr>
            <a:lvl4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4pPr>
            <a:lvl5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5pPr>
            <a:lvl6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6pPr>
            <a:lvl7pPr marL="0" indent="0">
              <a:lnSpc>
                <a:spcPct val="100000"/>
              </a:lnSpc>
              <a:spcBef>
                <a:spcPts val="0"/>
              </a:spcBef>
              <a:buNone/>
              <a:defRPr lang="de-DE" sz="1067" kern="1200" baseline="0" noProof="0" dirty="0" smtClean="0">
                <a:solidFill>
                  <a:schemeClr val="bg2"/>
                </a:solidFill>
                <a:latin typeface="Arial" pitchFamily="34" charset="0"/>
                <a:ea typeface="+mn-ea"/>
                <a:cs typeface="Arial" pitchFamily="34" charset="0"/>
              </a:defRPr>
            </a:lvl7pPr>
            <a:lvl8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8pPr>
            <a:lvl9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9pPr>
          </a:lstStyle>
          <a:p>
            <a:pPr lvl="0"/>
            <a:r>
              <a:rPr lang="en-US"/>
              <a:t>Click to add source information</a:t>
            </a:r>
          </a:p>
        </p:txBody>
      </p:sp>
      <p:sp>
        <p:nvSpPr>
          <p:cNvPr id="5" name="Title 4"/>
          <p:cNvSpPr>
            <a:spLocks noGrp="1"/>
          </p:cNvSpPr>
          <p:nvPr>
            <p:ph type="title" hasCustomPrompt="1"/>
          </p:nvPr>
        </p:nvSpPr>
        <p:spPr/>
        <p:txBody>
          <a:bodyPr/>
          <a:lstStyle/>
          <a:p>
            <a:r>
              <a:rPr lang="en-US"/>
              <a:t>Click to add headline</a:t>
            </a:r>
          </a:p>
        </p:txBody>
      </p:sp>
    </p:spTree>
    <p:extLst>
      <p:ext uri="{BB962C8B-B14F-4D97-AF65-F5344CB8AC3E}">
        <p14:creationId xmlns:p14="http://schemas.microsoft.com/office/powerpoint/2010/main" val="228105113"/>
      </p:ext>
    </p:extLst>
  </p:cSld>
  <p:clrMapOvr>
    <a:masterClrMapping/>
  </p:clrMapOvr>
</p:sldLayout>
</file>

<file path=ppt/slideLayouts/slideLayout304.xml><?xml version="1.0" encoding="utf-8"?>
<p:sldLayout xmlns:a="http://schemas.openxmlformats.org/drawingml/2006/main" xmlns:r="http://schemas.openxmlformats.org/officeDocument/2006/relationships" xmlns:p="http://schemas.openxmlformats.org/presentationml/2006/main" showMasterSp="0" preserve="1">
  <p:cSld name="Title 1">
    <p:spTree>
      <p:nvGrpSpPr>
        <p:cNvPr id="1" name=""/>
        <p:cNvGrpSpPr/>
        <p:nvPr/>
      </p:nvGrpSpPr>
      <p:grpSpPr>
        <a:xfrm>
          <a:off x="0" y="0"/>
          <a:ext cx="0" cy="0"/>
          <a:chOff x="0" y="0"/>
          <a:chExt cx="0" cy="0"/>
        </a:xfrm>
      </p:grpSpPr>
      <p:pic>
        <p:nvPicPr>
          <p:cNvPr id="32" name="picture">
            <a:extLst>
              <a:ext uri="{FF2B5EF4-FFF2-40B4-BE49-F238E27FC236}">
                <a16:creationId xmlns:a16="http://schemas.microsoft.com/office/drawing/2014/main" id="{4F153214-AFE7-D540-937D-96E89FDAD54B}"/>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2620212" y="-8808"/>
            <a:ext cx="9697299" cy="6866807"/>
          </a:xfrm>
          <a:prstGeom prst="rect">
            <a:avLst/>
          </a:prstGeom>
        </p:spPr>
      </p:pic>
      <p:sp>
        <p:nvSpPr>
          <p:cNvPr id="29" name="shpPicture"/>
          <p:cNvSpPr/>
          <p:nvPr/>
        </p:nvSpPr>
        <p:spPr>
          <a:xfrm>
            <a:off x="0" y="0"/>
            <a:ext cx="4956718" cy="6858000"/>
          </a:xfrm>
          <a:custGeom>
            <a:avLst/>
            <a:gdLst>
              <a:gd name="connsiteX0" fmla="*/ 0 w 4956718"/>
              <a:gd name="connsiteY0" fmla="*/ 0 h 6858000"/>
              <a:gd name="connsiteX1" fmla="*/ 3707268 w 4956718"/>
              <a:gd name="connsiteY1" fmla="*/ 0 h 6858000"/>
              <a:gd name="connsiteX2" fmla="*/ 4956718 w 4956718"/>
              <a:gd name="connsiteY2" fmla="*/ 4163677 h 6858000"/>
              <a:gd name="connsiteX3" fmla="*/ 3376226 w 4956718"/>
              <a:gd name="connsiteY3" fmla="*/ 6858000 h 6858000"/>
              <a:gd name="connsiteX4" fmla="*/ 0 w 4956718"/>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56718" h="6858000">
                <a:moveTo>
                  <a:pt x="0" y="0"/>
                </a:moveTo>
                <a:lnTo>
                  <a:pt x="3707268" y="0"/>
                </a:lnTo>
                <a:lnTo>
                  <a:pt x="4956718" y="4163677"/>
                </a:lnTo>
                <a:lnTo>
                  <a:pt x="3376226"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125000"/>
              </a:lnSpc>
            </a:pPr>
            <a:endParaRPr lang="en-US" sz="1600"/>
          </a:p>
        </p:txBody>
      </p:sp>
      <p:grpSp>
        <p:nvGrpSpPr>
          <p:cNvPr id="14" name="logo">
            <a:extLst>
              <a:ext uri="{FF2B5EF4-FFF2-40B4-BE49-F238E27FC236}">
                <a16:creationId xmlns:a16="http://schemas.microsoft.com/office/drawing/2014/main" id="{18C26D95-70F8-8A4D-9F18-DCCB92522AF8}"/>
              </a:ext>
            </a:extLst>
          </p:cNvPr>
          <p:cNvGrpSpPr/>
          <p:nvPr/>
        </p:nvGrpSpPr>
        <p:grpSpPr bwMode="gray">
          <a:xfrm>
            <a:off x="417363" y="407485"/>
            <a:ext cx="1518585" cy="646507"/>
            <a:chOff x="334963" y="296652"/>
            <a:chExt cx="1268411" cy="540000"/>
          </a:xfrm>
        </p:grpSpPr>
        <p:sp>
          <p:nvSpPr>
            <p:cNvPr id="17" name="Freeform 6">
              <a:extLst>
                <a:ext uri="{FF2B5EF4-FFF2-40B4-BE49-F238E27FC236}">
                  <a16:creationId xmlns:a16="http://schemas.microsoft.com/office/drawing/2014/main" id="{08737AD0-E375-E445-97E6-CD2E2DF60620}"/>
                </a:ext>
              </a:extLst>
            </p:cNvPr>
            <p:cNvSpPr>
              <a:spLocks noEditPoints="1"/>
            </p:cNvSpPr>
            <p:nvPr/>
          </p:nvSpPr>
          <p:spPr bwMode="gray">
            <a:xfrm>
              <a:off x="982662" y="360462"/>
              <a:ext cx="620712" cy="431800"/>
            </a:xfrm>
            <a:custGeom>
              <a:avLst/>
              <a:gdLst>
                <a:gd name="T0" fmla="*/ 19 w 1809"/>
                <a:gd name="T1" fmla="*/ 97 h 1253"/>
                <a:gd name="T2" fmla="*/ 165 w 1809"/>
                <a:gd name="T3" fmla="*/ 41 h 1253"/>
                <a:gd name="T4" fmla="*/ 211 w 1809"/>
                <a:gd name="T5" fmla="*/ 224 h 1253"/>
                <a:gd name="T6" fmla="*/ 248 w 1809"/>
                <a:gd name="T7" fmla="*/ 155 h 1253"/>
                <a:gd name="T8" fmla="*/ 931 w 1809"/>
                <a:gd name="T9" fmla="*/ 995 h 1253"/>
                <a:gd name="T10" fmla="*/ 858 w 1809"/>
                <a:gd name="T11" fmla="*/ 1115 h 1253"/>
                <a:gd name="T12" fmla="*/ 749 w 1809"/>
                <a:gd name="T13" fmla="*/ 1117 h 1253"/>
                <a:gd name="T14" fmla="*/ 681 w 1809"/>
                <a:gd name="T15" fmla="*/ 1055 h 1253"/>
                <a:gd name="T16" fmla="*/ 800 w 1809"/>
                <a:gd name="T17" fmla="*/ 1054 h 1253"/>
                <a:gd name="T18" fmla="*/ 884 w 1809"/>
                <a:gd name="T19" fmla="*/ 1181 h 1253"/>
                <a:gd name="T20" fmla="*/ 118 w 1809"/>
                <a:gd name="T21" fmla="*/ 1086 h 1253"/>
                <a:gd name="T22" fmla="*/ 147 w 1809"/>
                <a:gd name="T23" fmla="*/ 1026 h 1253"/>
                <a:gd name="T24" fmla="*/ 102 w 1809"/>
                <a:gd name="T25" fmla="*/ 1026 h 1253"/>
                <a:gd name="T26" fmla="*/ 639 w 1809"/>
                <a:gd name="T27" fmla="*/ 84 h 1253"/>
                <a:gd name="T28" fmla="*/ 763 w 1809"/>
                <a:gd name="T29" fmla="*/ 145 h 1253"/>
                <a:gd name="T30" fmla="*/ 863 w 1809"/>
                <a:gd name="T31" fmla="*/ 221 h 1253"/>
                <a:gd name="T32" fmla="*/ 834 w 1809"/>
                <a:gd name="T33" fmla="*/ 208 h 1253"/>
                <a:gd name="T34" fmla="*/ 719 w 1809"/>
                <a:gd name="T35" fmla="*/ 182 h 1253"/>
                <a:gd name="T36" fmla="*/ 507 w 1809"/>
                <a:gd name="T37" fmla="*/ 711 h 1253"/>
                <a:gd name="T38" fmla="*/ 614 w 1809"/>
                <a:gd name="T39" fmla="*/ 706 h 1253"/>
                <a:gd name="T40" fmla="*/ 736 w 1809"/>
                <a:gd name="T41" fmla="*/ 730 h 1253"/>
                <a:gd name="T42" fmla="*/ 607 w 1809"/>
                <a:gd name="T43" fmla="*/ 539 h 1253"/>
                <a:gd name="T44" fmla="*/ 1505 w 1809"/>
                <a:gd name="T45" fmla="*/ 1136 h 1253"/>
                <a:gd name="T46" fmla="*/ 1613 w 1809"/>
                <a:gd name="T47" fmla="*/ 1002 h 1253"/>
                <a:gd name="T48" fmla="*/ 1472 w 1809"/>
                <a:gd name="T49" fmla="*/ 1164 h 1253"/>
                <a:gd name="T50" fmla="*/ 1525 w 1809"/>
                <a:gd name="T51" fmla="*/ 1142 h 1253"/>
                <a:gd name="T52" fmla="*/ 1556 w 1809"/>
                <a:gd name="T53" fmla="*/ 1172 h 1253"/>
                <a:gd name="T54" fmla="*/ 1387 w 1809"/>
                <a:gd name="T55" fmla="*/ 910 h 1253"/>
                <a:gd name="T56" fmla="*/ 1261 w 1809"/>
                <a:gd name="T57" fmla="*/ 1157 h 1253"/>
                <a:gd name="T58" fmla="*/ 1413 w 1809"/>
                <a:gd name="T59" fmla="*/ 934 h 1253"/>
                <a:gd name="T60" fmla="*/ 1378 w 1809"/>
                <a:gd name="T61" fmla="*/ 1052 h 1253"/>
                <a:gd name="T62" fmla="*/ 488 w 1809"/>
                <a:gd name="T63" fmla="*/ 85 h 1253"/>
                <a:gd name="T64" fmla="*/ 509 w 1809"/>
                <a:gd name="T65" fmla="*/ 112 h 1253"/>
                <a:gd name="T66" fmla="*/ 548 w 1809"/>
                <a:gd name="T67" fmla="*/ 1187 h 1253"/>
                <a:gd name="T68" fmla="*/ 472 w 1809"/>
                <a:gd name="T69" fmla="*/ 1122 h 1253"/>
                <a:gd name="T70" fmla="*/ 558 w 1809"/>
                <a:gd name="T71" fmla="*/ 1157 h 1253"/>
                <a:gd name="T72" fmla="*/ 287 w 1809"/>
                <a:gd name="T73" fmla="*/ 654 h 1253"/>
                <a:gd name="T74" fmla="*/ 416 w 1809"/>
                <a:gd name="T75" fmla="*/ 684 h 1253"/>
                <a:gd name="T76" fmla="*/ 1106 w 1809"/>
                <a:gd name="T77" fmla="*/ 147 h 1253"/>
                <a:gd name="T78" fmla="*/ 1229 w 1809"/>
                <a:gd name="T79" fmla="*/ 258 h 1253"/>
                <a:gd name="T80" fmla="*/ 1106 w 1809"/>
                <a:gd name="T81" fmla="*/ 96 h 1253"/>
                <a:gd name="T82" fmla="*/ 1219 w 1809"/>
                <a:gd name="T83" fmla="*/ 1077 h 1253"/>
                <a:gd name="T84" fmla="*/ 1214 w 1809"/>
                <a:gd name="T85" fmla="*/ 1157 h 1253"/>
                <a:gd name="T86" fmla="*/ 1150 w 1809"/>
                <a:gd name="T87" fmla="*/ 1092 h 1253"/>
                <a:gd name="T88" fmla="*/ 1139 w 1809"/>
                <a:gd name="T89" fmla="*/ 1070 h 1253"/>
                <a:gd name="T90" fmla="*/ 1659 w 1809"/>
                <a:gd name="T91" fmla="*/ 1031 h 1253"/>
                <a:gd name="T92" fmla="*/ 1714 w 1809"/>
                <a:gd name="T93" fmla="*/ 1155 h 1253"/>
                <a:gd name="T94" fmla="*/ 1760 w 1809"/>
                <a:gd name="T95" fmla="*/ 1030 h 1253"/>
                <a:gd name="T96" fmla="*/ 111 w 1809"/>
                <a:gd name="T97" fmla="*/ 569 h 1253"/>
                <a:gd name="T98" fmla="*/ 109 w 1809"/>
                <a:gd name="T99" fmla="*/ 460 h 1253"/>
                <a:gd name="T100" fmla="*/ 32 w 1809"/>
                <a:gd name="T101" fmla="*/ 704 h 1253"/>
                <a:gd name="T102" fmla="*/ 310 w 1809"/>
                <a:gd name="T103" fmla="*/ 1058 h 1253"/>
                <a:gd name="T104" fmla="*/ 431 w 1809"/>
                <a:gd name="T105" fmla="*/ 1044 h 1253"/>
                <a:gd name="T106" fmla="*/ 278 w 1809"/>
                <a:gd name="T107" fmla="*/ 1165 h 1253"/>
                <a:gd name="T108" fmla="*/ 261 w 1809"/>
                <a:gd name="T109" fmla="*/ 540 h 1253"/>
                <a:gd name="T110" fmla="*/ 150 w 1809"/>
                <a:gd name="T111" fmla="*/ 635 h 1253"/>
                <a:gd name="T112" fmla="*/ 994 w 1809"/>
                <a:gd name="T113" fmla="*/ 1185 h 1253"/>
                <a:gd name="T114" fmla="*/ 331 w 1809"/>
                <a:gd name="T115" fmla="*/ 176 h 1253"/>
                <a:gd name="T116" fmla="*/ 333 w 1809"/>
                <a:gd name="T117" fmla="*/ 109 h 1253"/>
                <a:gd name="T118" fmla="*/ 946 w 1809"/>
                <a:gd name="T119" fmla="*/ 234 h 1253"/>
                <a:gd name="T120" fmla="*/ 1022 w 1809"/>
                <a:gd name="T121" fmla="*/ 113 h 1253"/>
                <a:gd name="T122" fmla="*/ 949 w 1809"/>
                <a:gd name="T123" fmla="*/ 65 h 1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09" h="1253">
                  <a:moveTo>
                    <a:pt x="248" y="198"/>
                  </a:moveTo>
                  <a:cubicBezTo>
                    <a:pt x="248" y="211"/>
                    <a:pt x="248" y="224"/>
                    <a:pt x="249" y="237"/>
                  </a:cubicBezTo>
                  <a:cubicBezTo>
                    <a:pt x="249" y="245"/>
                    <a:pt x="246" y="249"/>
                    <a:pt x="240" y="253"/>
                  </a:cubicBezTo>
                  <a:cubicBezTo>
                    <a:pt x="231" y="260"/>
                    <a:pt x="220" y="264"/>
                    <a:pt x="209" y="268"/>
                  </a:cubicBezTo>
                  <a:cubicBezTo>
                    <a:pt x="179" y="279"/>
                    <a:pt x="148" y="280"/>
                    <a:pt x="118" y="275"/>
                  </a:cubicBezTo>
                  <a:cubicBezTo>
                    <a:pt x="86" y="269"/>
                    <a:pt x="58" y="252"/>
                    <a:pt x="39" y="224"/>
                  </a:cubicBezTo>
                  <a:cubicBezTo>
                    <a:pt x="24" y="203"/>
                    <a:pt x="18" y="180"/>
                    <a:pt x="15" y="155"/>
                  </a:cubicBezTo>
                  <a:cubicBezTo>
                    <a:pt x="11" y="135"/>
                    <a:pt x="15" y="115"/>
                    <a:pt x="19" y="97"/>
                  </a:cubicBezTo>
                  <a:cubicBezTo>
                    <a:pt x="26" y="68"/>
                    <a:pt x="42" y="44"/>
                    <a:pt x="68" y="27"/>
                  </a:cubicBezTo>
                  <a:cubicBezTo>
                    <a:pt x="87" y="14"/>
                    <a:pt x="109" y="6"/>
                    <a:pt x="133" y="5"/>
                  </a:cubicBezTo>
                  <a:cubicBezTo>
                    <a:pt x="149" y="4"/>
                    <a:pt x="165" y="5"/>
                    <a:pt x="181" y="6"/>
                  </a:cubicBezTo>
                  <a:cubicBezTo>
                    <a:pt x="204" y="8"/>
                    <a:pt x="225" y="20"/>
                    <a:pt x="243" y="35"/>
                  </a:cubicBezTo>
                  <a:cubicBezTo>
                    <a:pt x="246" y="37"/>
                    <a:pt x="246" y="40"/>
                    <a:pt x="244" y="43"/>
                  </a:cubicBezTo>
                  <a:cubicBezTo>
                    <a:pt x="242" y="47"/>
                    <a:pt x="239" y="52"/>
                    <a:pt x="236" y="55"/>
                  </a:cubicBezTo>
                  <a:cubicBezTo>
                    <a:pt x="226" y="65"/>
                    <a:pt x="224" y="65"/>
                    <a:pt x="206" y="54"/>
                  </a:cubicBezTo>
                  <a:cubicBezTo>
                    <a:pt x="193" y="46"/>
                    <a:pt x="180" y="40"/>
                    <a:pt x="165" y="41"/>
                  </a:cubicBezTo>
                  <a:cubicBezTo>
                    <a:pt x="151" y="41"/>
                    <a:pt x="137" y="39"/>
                    <a:pt x="124" y="42"/>
                  </a:cubicBezTo>
                  <a:cubicBezTo>
                    <a:pt x="104" y="46"/>
                    <a:pt x="87" y="57"/>
                    <a:pt x="75" y="74"/>
                  </a:cubicBezTo>
                  <a:cubicBezTo>
                    <a:pt x="56" y="99"/>
                    <a:pt x="51" y="129"/>
                    <a:pt x="55" y="159"/>
                  </a:cubicBezTo>
                  <a:cubicBezTo>
                    <a:pt x="60" y="189"/>
                    <a:pt x="73" y="214"/>
                    <a:pt x="98" y="230"/>
                  </a:cubicBezTo>
                  <a:cubicBezTo>
                    <a:pt x="109" y="237"/>
                    <a:pt x="121" y="242"/>
                    <a:pt x="135" y="241"/>
                  </a:cubicBezTo>
                  <a:cubicBezTo>
                    <a:pt x="146" y="241"/>
                    <a:pt x="158" y="241"/>
                    <a:pt x="169" y="241"/>
                  </a:cubicBezTo>
                  <a:cubicBezTo>
                    <a:pt x="182" y="242"/>
                    <a:pt x="193" y="235"/>
                    <a:pt x="205" y="232"/>
                  </a:cubicBezTo>
                  <a:cubicBezTo>
                    <a:pt x="210" y="231"/>
                    <a:pt x="211" y="227"/>
                    <a:pt x="211" y="224"/>
                  </a:cubicBezTo>
                  <a:cubicBezTo>
                    <a:pt x="211" y="210"/>
                    <a:pt x="211" y="196"/>
                    <a:pt x="211" y="183"/>
                  </a:cubicBezTo>
                  <a:cubicBezTo>
                    <a:pt x="211" y="177"/>
                    <a:pt x="207" y="175"/>
                    <a:pt x="202" y="175"/>
                  </a:cubicBezTo>
                  <a:cubicBezTo>
                    <a:pt x="193" y="175"/>
                    <a:pt x="184" y="175"/>
                    <a:pt x="175" y="175"/>
                  </a:cubicBezTo>
                  <a:cubicBezTo>
                    <a:pt x="171" y="175"/>
                    <a:pt x="168" y="174"/>
                    <a:pt x="166" y="171"/>
                  </a:cubicBezTo>
                  <a:cubicBezTo>
                    <a:pt x="163" y="163"/>
                    <a:pt x="164" y="154"/>
                    <a:pt x="166" y="146"/>
                  </a:cubicBezTo>
                  <a:cubicBezTo>
                    <a:pt x="167" y="142"/>
                    <a:pt x="171" y="142"/>
                    <a:pt x="175" y="142"/>
                  </a:cubicBezTo>
                  <a:cubicBezTo>
                    <a:pt x="196" y="142"/>
                    <a:pt x="217" y="142"/>
                    <a:pt x="238" y="142"/>
                  </a:cubicBezTo>
                  <a:cubicBezTo>
                    <a:pt x="247" y="142"/>
                    <a:pt x="248" y="148"/>
                    <a:pt x="248" y="155"/>
                  </a:cubicBezTo>
                  <a:cubicBezTo>
                    <a:pt x="249" y="169"/>
                    <a:pt x="248" y="183"/>
                    <a:pt x="248" y="198"/>
                  </a:cubicBezTo>
                  <a:close/>
                  <a:moveTo>
                    <a:pt x="884" y="1181"/>
                  </a:moveTo>
                  <a:cubicBezTo>
                    <a:pt x="889" y="1167"/>
                    <a:pt x="894" y="1152"/>
                    <a:pt x="898" y="1137"/>
                  </a:cubicBezTo>
                  <a:cubicBezTo>
                    <a:pt x="901" y="1127"/>
                    <a:pt x="905" y="1116"/>
                    <a:pt x="908" y="1106"/>
                  </a:cubicBezTo>
                  <a:cubicBezTo>
                    <a:pt x="911" y="1098"/>
                    <a:pt x="912" y="1089"/>
                    <a:pt x="916" y="1081"/>
                  </a:cubicBezTo>
                  <a:cubicBezTo>
                    <a:pt x="921" y="1072"/>
                    <a:pt x="923" y="1060"/>
                    <a:pt x="927" y="1050"/>
                  </a:cubicBezTo>
                  <a:cubicBezTo>
                    <a:pt x="932" y="1037"/>
                    <a:pt x="934" y="1023"/>
                    <a:pt x="940" y="1010"/>
                  </a:cubicBezTo>
                  <a:cubicBezTo>
                    <a:pt x="945" y="1001"/>
                    <a:pt x="941" y="995"/>
                    <a:pt x="931" y="995"/>
                  </a:cubicBezTo>
                  <a:cubicBezTo>
                    <a:pt x="927" y="995"/>
                    <a:pt x="922" y="995"/>
                    <a:pt x="918" y="995"/>
                  </a:cubicBezTo>
                  <a:cubicBezTo>
                    <a:pt x="913" y="995"/>
                    <a:pt x="908" y="997"/>
                    <a:pt x="907" y="1001"/>
                  </a:cubicBezTo>
                  <a:cubicBezTo>
                    <a:pt x="904" y="1008"/>
                    <a:pt x="900" y="1015"/>
                    <a:pt x="899" y="1023"/>
                  </a:cubicBezTo>
                  <a:cubicBezTo>
                    <a:pt x="897" y="1034"/>
                    <a:pt x="893" y="1045"/>
                    <a:pt x="889" y="1055"/>
                  </a:cubicBezTo>
                  <a:cubicBezTo>
                    <a:pt x="887" y="1064"/>
                    <a:pt x="885" y="1072"/>
                    <a:pt x="882" y="1080"/>
                  </a:cubicBezTo>
                  <a:cubicBezTo>
                    <a:pt x="878" y="1091"/>
                    <a:pt x="874" y="1103"/>
                    <a:pt x="871" y="1115"/>
                  </a:cubicBezTo>
                  <a:cubicBezTo>
                    <a:pt x="870" y="1118"/>
                    <a:pt x="871" y="1124"/>
                    <a:pt x="866" y="1124"/>
                  </a:cubicBezTo>
                  <a:cubicBezTo>
                    <a:pt x="861" y="1125"/>
                    <a:pt x="859" y="1120"/>
                    <a:pt x="858" y="1115"/>
                  </a:cubicBezTo>
                  <a:cubicBezTo>
                    <a:pt x="856" y="1110"/>
                    <a:pt x="856" y="1104"/>
                    <a:pt x="854" y="1099"/>
                  </a:cubicBezTo>
                  <a:cubicBezTo>
                    <a:pt x="848" y="1080"/>
                    <a:pt x="841" y="1062"/>
                    <a:pt x="835" y="1044"/>
                  </a:cubicBezTo>
                  <a:cubicBezTo>
                    <a:pt x="831" y="1030"/>
                    <a:pt x="828" y="1016"/>
                    <a:pt x="822" y="1003"/>
                  </a:cubicBezTo>
                  <a:cubicBezTo>
                    <a:pt x="819" y="997"/>
                    <a:pt x="814" y="994"/>
                    <a:pt x="808" y="994"/>
                  </a:cubicBezTo>
                  <a:cubicBezTo>
                    <a:pt x="799" y="993"/>
                    <a:pt x="791" y="993"/>
                    <a:pt x="787" y="1001"/>
                  </a:cubicBezTo>
                  <a:cubicBezTo>
                    <a:pt x="783" y="1008"/>
                    <a:pt x="780" y="1015"/>
                    <a:pt x="779" y="1022"/>
                  </a:cubicBezTo>
                  <a:cubicBezTo>
                    <a:pt x="778" y="1034"/>
                    <a:pt x="772" y="1044"/>
                    <a:pt x="769" y="1055"/>
                  </a:cubicBezTo>
                  <a:cubicBezTo>
                    <a:pt x="762" y="1076"/>
                    <a:pt x="754" y="1096"/>
                    <a:pt x="749" y="1117"/>
                  </a:cubicBezTo>
                  <a:cubicBezTo>
                    <a:pt x="748" y="1120"/>
                    <a:pt x="747" y="1124"/>
                    <a:pt x="742" y="1124"/>
                  </a:cubicBezTo>
                  <a:cubicBezTo>
                    <a:pt x="737" y="1124"/>
                    <a:pt x="737" y="1120"/>
                    <a:pt x="736" y="1116"/>
                  </a:cubicBezTo>
                  <a:cubicBezTo>
                    <a:pt x="734" y="1104"/>
                    <a:pt x="730" y="1092"/>
                    <a:pt x="726" y="1080"/>
                  </a:cubicBezTo>
                  <a:cubicBezTo>
                    <a:pt x="720" y="1061"/>
                    <a:pt x="714" y="1040"/>
                    <a:pt x="708" y="1020"/>
                  </a:cubicBezTo>
                  <a:cubicBezTo>
                    <a:pt x="703" y="1000"/>
                    <a:pt x="698" y="994"/>
                    <a:pt x="676" y="995"/>
                  </a:cubicBezTo>
                  <a:cubicBezTo>
                    <a:pt x="665" y="996"/>
                    <a:pt x="661" y="1001"/>
                    <a:pt x="667" y="1011"/>
                  </a:cubicBezTo>
                  <a:cubicBezTo>
                    <a:pt x="669" y="1016"/>
                    <a:pt x="670" y="1021"/>
                    <a:pt x="672" y="1025"/>
                  </a:cubicBezTo>
                  <a:cubicBezTo>
                    <a:pt x="675" y="1035"/>
                    <a:pt x="678" y="1046"/>
                    <a:pt x="681" y="1055"/>
                  </a:cubicBezTo>
                  <a:cubicBezTo>
                    <a:pt x="685" y="1068"/>
                    <a:pt x="689" y="1080"/>
                    <a:pt x="693" y="1092"/>
                  </a:cubicBezTo>
                  <a:cubicBezTo>
                    <a:pt x="697" y="1103"/>
                    <a:pt x="699" y="1113"/>
                    <a:pt x="703" y="1124"/>
                  </a:cubicBezTo>
                  <a:cubicBezTo>
                    <a:pt x="707" y="1136"/>
                    <a:pt x="711" y="1147"/>
                    <a:pt x="715" y="1160"/>
                  </a:cubicBezTo>
                  <a:cubicBezTo>
                    <a:pt x="717" y="1168"/>
                    <a:pt x="720" y="1176"/>
                    <a:pt x="724" y="1183"/>
                  </a:cubicBezTo>
                  <a:cubicBezTo>
                    <a:pt x="728" y="1189"/>
                    <a:pt x="752" y="1185"/>
                    <a:pt x="757" y="1180"/>
                  </a:cubicBezTo>
                  <a:cubicBezTo>
                    <a:pt x="764" y="1173"/>
                    <a:pt x="762" y="1163"/>
                    <a:pt x="766" y="1156"/>
                  </a:cubicBezTo>
                  <a:cubicBezTo>
                    <a:pt x="774" y="1140"/>
                    <a:pt x="778" y="1122"/>
                    <a:pt x="784" y="1105"/>
                  </a:cubicBezTo>
                  <a:cubicBezTo>
                    <a:pt x="789" y="1088"/>
                    <a:pt x="796" y="1072"/>
                    <a:pt x="800" y="1054"/>
                  </a:cubicBezTo>
                  <a:cubicBezTo>
                    <a:pt x="800" y="1053"/>
                    <a:pt x="801" y="1050"/>
                    <a:pt x="803" y="1050"/>
                  </a:cubicBezTo>
                  <a:cubicBezTo>
                    <a:pt x="806" y="1050"/>
                    <a:pt x="806" y="1052"/>
                    <a:pt x="807" y="1055"/>
                  </a:cubicBezTo>
                  <a:cubicBezTo>
                    <a:pt x="807" y="1060"/>
                    <a:pt x="810" y="1066"/>
                    <a:pt x="811" y="1071"/>
                  </a:cubicBezTo>
                  <a:cubicBezTo>
                    <a:pt x="814" y="1081"/>
                    <a:pt x="818" y="1090"/>
                    <a:pt x="821" y="1099"/>
                  </a:cubicBezTo>
                  <a:cubicBezTo>
                    <a:pt x="824" y="1110"/>
                    <a:pt x="827" y="1120"/>
                    <a:pt x="831" y="1131"/>
                  </a:cubicBezTo>
                  <a:cubicBezTo>
                    <a:pt x="834" y="1142"/>
                    <a:pt x="839" y="1153"/>
                    <a:pt x="842" y="1164"/>
                  </a:cubicBezTo>
                  <a:cubicBezTo>
                    <a:pt x="846" y="1179"/>
                    <a:pt x="850" y="1188"/>
                    <a:pt x="869" y="1185"/>
                  </a:cubicBezTo>
                  <a:cubicBezTo>
                    <a:pt x="873" y="1184"/>
                    <a:pt x="881" y="1189"/>
                    <a:pt x="884" y="1181"/>
                  </a:cubicBezTo>
                  <a:close/>
                  <a:moveTo>
                    <a:pt x="33" y="1051"/>
                  </a:moveTo>
                  <a:cubicBezTo>
                    <a:pt x="33" y="1087"/>
                    <a:pt x="33" y="1124"/>
                    <a:pt x="33" y="1160"/>
                  </a:cubicBezTo>
                  <a:cubicBezTo>
                    <a:pt x="33" y="1188"/>
                    <a:pt x="29" y="1184"/>
                    <a:pt x="58" y="1185"/>
                  </a:cubicBezTo>
                  <a:cubicBezTo>
                    <a:pt x="72" y="1185"/>
                    <a:pt x="73" y="1184"/>
                    <a:pt x="73" y="1170"/>
                  </a:cubicBezTo>
                  <a:cubicBezTo>
                    <a:pt x="73" y="1138"/>
                    <a:pt x="73" y="1107"/>
                    <a:pt x="73" y="1076"/>
                  </a:cubicBezTo>
                  <a:cubicBezTo>
                    <a:pt x="73" y="1071"/>
                    <a:pt x="72" y="1067"/>
                    <a:pt x="78" y="1065"/>
                  </a:cubicBezTo>
                  <a:cubicBezTo>
                    <a:pt x="91" y="1062"/>
                    <a:pt x="102" y="1067"/>
                    <a:pt x="110" y="1076"/>
                  </a:cubicBezTo>
                  <a:cubicBezTo>
                    <a:pt x="112" y="1080"/>
                    <a:pt x="115" y="1083"/>
                    <a:pt x="118" y="1086"/>
                  </a:cubicBezTo>
                  <a:cubicBezTo>
                    <a:pt x="132" y="1103"/>
                    <a:pt x="146" y="1119"/>
                    <a:pt x="161" y="1136"/>
                  </a:cubicBezTo>
                  <a:cubicBezTo>
                    <a:pt x="173" y="1150"/>
                    <a:pt x="186" y="1165"/>
                    <a:pt x="198" y="1179"/>
                  </a:cubicBezTo>
                  <a:cubicBezTo>
                    <a:pt x="207" y="1188"/>
                    <a:pt x="218" y="1184"/>
                    <a:pt x="228" y="1185"/>
                  </a:cubicBezTo>
                  <a:cubicBezTo>
                    <a:pt x="233" y="1185"/>
                    <a:pt x="241" y="1188"/>
                    <a:pt x="244" y="1182"/>
                  </a:cubicBezTo>
                  <a:cubicBezTo>
                    <a:pt x="246" y="1178"/>
                    <a:pt x="239" y="1173"/>
                    <a:pt x="235" y="1169"/>
                  </a:cubicBezTo>
                  <a:cubicBezTo>
                    <a:pt x="206" y="1133"/>
                    <a:pt x="176" y="1098"/>
                    <a:pt x="146" y="1062"/>
                  </a:cubicBezTo>
                  <a:cubicBezTo>
                    <a:pt x="141" y="1056"/>
                    <a:pt x="131" y="1052"/>
                    <a:pt x="132" y="1044"/>
                  </a:cubicBezTo>
                  <a:cubicBezTo>
                    <a:pt x="132" y="1036"/>
                    <a:pt x="142" y="1032"/>
                    <a:pt x="147" y="1026"/>
                  </a:cubicBezTo>
                  <a:cubicBezTo>
                    <a:pt x="164" y="1006"/>
                    <a:pt x="182" y="988"/>
                    <a:pt x="198" y="968"/>
                  </a:cubicBezTo>
                  <a:cubicBezTo>
                    <a:pt x="209" y="954"/>
                    <a:pt x="221" y="942"/>
                    <a:pt x="234" y="929"/>
                  </a:cubicBezTo>
                  <a:cubicBezTo>
                    <a:pt x="236" y="926"/>
                    <a:pt x="238" y="923"/>
                    <a:pt x="237" y="920"/>
                  </a:cubicBezTo>
                  <a:cubicBezTo>
                    <a:pt x="235" y="915"/>
                    <a:pt x="231" y="917"/>
                    <a:pt x="228" y="917"/>
                  </a:cubicBezTo>
                  <a:cubicBezTo>
                    <a:pt x="224" y="918"/>
                    <a:pt x="221" y="918"/>
                    <a:pt x="217" y="918"/>
                  </a:cubicBezTo>
                  <a:cubicBezTo>
                    <a:pt x="204" y="917"/>
                    <a:pt x="193" y="922"/>
                    <a:pt x="185" y="931"/>
                  </a:cubicBezTo>
                  <a:cubicBezTo>
                    <a:pt x="172" y="946"/>
                    <a:pt x="158" y="961"/>
                    <a:pt x="145" y="977"/>
                  </a:cubicBezTo>
                  <a:cubicBezTo>
                    <a:pt x="131" y="993"/>
                    <a:pt x="117" y="1010"/>
                    <a:pt x="102" y="1026"/>
                  </a:cubicBezTo>
                  <a:cubicBezTo>
                    <a:pt x="96" y="1032"/>
                    <a:pt x="87" y="1037"/>
                    <a:pt x="78" y="1034"/>
                  </a:cubicBezTo>
                  <a:cubicBezTo>
                    <a:pt x="70" y="1030"/>
                    <a:pt x="73" y="1021"/>
                    <a:pt x="73" y="1015"/>
                  </a:cubicBezTo>
                  <a:cubicBezTo>
                    <a:pt x="73" y="991"/>
                    <a:pt x="73" y="967"/>
                    <a:pt x="73" y="944"/>
                  </a:cubicBezTo>
                  <a:cubicBezTo>
                    <a:pt x="73" y="916"/>
                    <a:pt x="75" y="917"/>
                    <a:pt x="46" y="918"/>
                  </a:cubicBezTo>
                  <a:cubicBezTo>
                    <a:pt x="33" y="918"/>
                    <a:pt x="33" y="918"/>
                    <a:pt x="33" y="931"/>
                  </a:cubicBezTo>
                  <a:cubicBezTo>
                    <a:pt x="33" y="971"/>
                    <a:pt x="33" y="1011"/>
                    <a:pt x="33" y="1051"/>
                  </a:cubicBezTo>
                  <a:cubicBezTo>
                    <a:pt x="33" y="1051"/>
                    <a:pt x="33" y="1051"/>
                    <a:pt x="33" y="1051"/>
                  </a:cubicBezTo>
                  <a:close/>
                  <a:moveTo>
                    <a:pt x="639" y="84"/>
                  </a:moveTo>
                  <a:cubicBezTo>
                    <a:pt x="627" y="84"/>
                    <a:pt x="626" y="84"/>
                    <a:pt x="629" y="95"/>
                  </a:cubicBezTo>
                  <a:cubicBezTo>
                    <a:pt x="634" y="113"/>
                    <a:pt x="640" y="131"/>
                    <a:pt x="646" y="148"/>
                  </a:cubicBezTo>
                  <a:cubicBezTo>
                    <a:pt x="652" y="166"/>
                    <a:pt x="658" y="185"/>
                    <a:pt x="664" y="203"/>
                  </a:cubicBezTo>
                  <a:cubicBezTo>
                    <a:pt x="671" y="223"/>
                    <a:pt x="676" y="244"/>
                    <a:pt x="684" y="264"/>
                  </a:cubicBezTo>
                  <a:cubicBezTo>
                    <a:pt x="688" y="274"/>
                    <a:pt x="694" y="274"/>
                    <a:pt x="702" y="274"/>
                  </a:cubicBezTo>
                  <a:cubicBezTo>
                    <a:pt x="711" y="274"/>
                    <a:pt x="719" y="272"/>
                    <a:pt x="723" y="263"/>
                  </a:cubicBezTo>
                  <a:cubicBezTo>
                    <a:pt x="733" y="236"/>
                    <a:pt x="741" y="208"/>
                    <a:pt x="750" y="181"/>
                  </a:cubicBezTo>
                  <a:cubicBezTo>
                    <a:pt x="754" y="169"/>
                    <a:pt x="757" y="156"/>
                    <a:pt x="763" y="145"/>
                  </a:cubicBezTo>
                  <a:cubicBezTo>
                    <a:pt x="764" y="143"/>
                    <a:pt x="764" y="140"/>
                    <a:pt x="767" y="140"/>
                  </a:cubicBezTo>
                  <a:cubicBezTo>
                    <a:pt x="770" y="140"/>
                    <a:pt x="770" y="143"/>
                    <a:pt x="771" y="145"/>
                  </a:cubicBezTo>
                  <a:cubicBezTo>
                    <a:pt x="771" y="156"/>
                    <a:pt x="777" y="165"/>
                    <a:pt x="780" y="175"/>
                  </a:cubicBezTo>
                  <a:cubicBezTo>
                    <a:pt x="782" y="184"/>
                    <a:pt x="785" y="193"/>
                    <a:pt x="788" y="201"/>
                  </a:cubicBezTo>
                  <a:cubicBezTo>
                    <a:pt x="794" y="219"/>
                    <a:pt x="801" y="237"/>
                    <a:pt x="806" y="255"/>
                  </a:cubicBezTo>
                  <a:cubicBezTo>
                    <a:pt x="811" y="272"/>
                    <a:pt x="825" y="280"/>
                    <a:pt x="842" y="273"/>
                  </a:cubicBezTo>
                  <a:cubicBezTo>
                    <a:pt x="845" y="271"/>
                    <a:pt x="847" y="269"/>
                    <a:pt x="848" y="266"/>
                  </a:cubicBezTo>
                  <a:cubicBezTo>
                    <a:pt x="853" y="251"/>
                    <a:pt x="859" y="236"/>
                    <a:pt x="863" y="221"/>
                  </a:cubicBezTo>
                  <a:cubicBezTo>
                    <a:pt x="867" y="202"/>
                    <a:pt x="875" y="185"/>
                    <a:pt x="880" y="166"/>
                  </a:cubicBezTo>
                  <a:cubicBezTo>
                    <a:pt x="886" y="144"/>
                    <a:pt x="895" y="123"/>
                    <a:pt x="900" y="101"/>
                  </a:cubicBezTo>
                  <a:cubicBezTo>
                    <a:pt x="901" y="96"/>
                    <a:pt x="909" y="91"/>
                    <a:pt x="904" y="86"/>
                  </a:cubicBezTo>
                  <a:cubicBezTo>
                    <a:pt x="900" y="81"/>
                    <a:pt x="892" y="84"/>
                    <a:pt x="886" y="84"/>
                  </a:cubicBezTo>
                  <a:cubicBezTo>
                    <a:pt x="885" y="84"/>
                    <a:pt x="883" y="84"/>
                    <a:pt x="881" y="84"/>
                  </a:cubicBezTo>
                  <a:cubicBezTo>
                    <a:pt x="875" y="84"/>
                    <a:pt x="872" y="86"/>
                    <a:pt x="869" y="91"/>
                  </a:cubicBezTo>
                  <a:cubicBezTo>
                    <a:pt x="860" y="110"/>
                    <a:pt x="856" y="131"/>
                    <a:pt x="850" y="151"/>
                  </a:cubicBezTo>
                  <a:cubicBezTo>
                    <a:pt x="844" y="170"/>
                    <a:pt x="836" y="188"/>
                    <a:pt x="834" y="208"/>
                  </a:cubicBezTo>
                  <a:cubicBezTo>
                    <a:pt x="833" y="211"/>
                    <a:pt x="831" y="214"/>
                    <a:pt x="827" y="214"/>
                  </a:cubicBezTo>
                  <a:cubicBezTo>
                    <a:pt x="823" y="214"/>
                    <a:pt x="822" y="210"/>
                    <a:pt x="822" y="207"/>
                  </a:cubicBezTo>
                  <a:cubicBezTo>
                    <a:pt x="817" y="188"/>
                    <a:pt x="811" y="170"/>
                    <a:pt x="805" y="152"/>
                  </a:cubicBezTo>
                  <a:cubicBezTo>
                    <a:pt x="799" y="133"/>
                    <a:pt x="794" y="114"/>
                    <a:pt x="786" y="96"/>
                  </a:cubicBezTo>
                  <a:cubicBezTo>
                    <a:pt x="783" y="87"/>
                    <a:pt x="779" y="84"/>
                    <a:pt x="770" y="84"/>
                  </a:cubicBezTo>
                  <a:cubicBezTo>
                    <a:pt x="761" y="84"/>
                    <a:pt x="752" y="82"/>
                    <a:pt x="748" y="94"/>
                  </a:cubicBezTo>
                  <a:cubicBezTo>
                    <a:pt x="744" y="109"/>
                    <a:pt x="738" y="123"/>
                    <a:pt x="734" y="138"/>
                  </a:cubicBezTo>
                  <a:cubicBezTo>
                    <a:pt x="729" y="153"/>
                    <a:pt x="724" y="167"/>
                    <a:pt x="719" y="182"/>
                  </a:cubicBezTo>
                  <a:cubicBezTo>
                    <a:pt x="716" y="192"/>
                    <a:pt x="715" y="203"/>
                    <a:pt x="708" y="212"/>
                  </a:cubicBezTo>
                  <a:cubicBezTo>
                    <a:pt x="707" y="214"/>
                    <a:pt x="707" y="217"/>
                    <a:pt x="704" y="217"/>
                  </a:cubicBezTo>
                  <a:cubicBezTo>
                    <a:pt x="701" y="217"/>
                    <a:pt x="701" y="213"/>
                    <a:pt x="700" y="211"/>
                  </a:cubicBezTo>
                  <a:cubicBezTo>
                    <a:pt x="699" y="198"/>
                    <a:pt x="694" y="186"/>
                    <a:pt x="690" y="174"/>
                  </a:cubicBezTo>
                  <a:cubicBezTo>
                    <a:pt x="684" y="153"/>
                    <a:pt x="677" y="131"/>
                    <a:pt x="672" y="110"/>
                  </a:cubicBezTo>
                  <a:cubicBezTo>
                    <a:pt x="667" y="88"/>
                    <a:pt x="663" y="84"/>
                    <a:pt x="645" y="84"/>
                  </a:cubicBezTo>
                  <a:cubicBezTo>
                    <a:pt x="643" y="84"/>
                    <a:pt x="641" y="84"/>
                    <a:pt x="639" y="84"/>
                  </a:cubicBezTo>
                  <a:close/>
                  <a:moveTo>
                    <a:pt x="507" y="711"/>
                  </a:moveTo>
                  <a:cubicBezTo>
                    <a:pt x="507" y="730"/>
                    <a:pt x="507" y="730"/>
                    <a:pt x="526" y="730"/>
                  </a:cubicBezTo>
                  <a:cubicBezTo>
                    <a:pt x="539" y="730"/>
                    <a:pt x="541" y="729"/>
                    <a:pt x="541" y="715"/>
                  </a:cubicBezTo>
                  <a:cubicBezTo>
                    <a:pt x="541" y="677"/>
                    <a:pt x="541" y="638"/>
                    <a:pt x="540" y="600"/>
                  </a:cubicBezTo>
                  <a:cubicBezTo>
                    <a:pt x="540" y="593"/>
                    <a:pt x="543" y="587"/>
                    <a:pt x="548" y="582"/>
                  </a:cubicBezTo>
                  <a:cubicBezTo>
                    <a:pt x="553" y="576"/>
                    <a:pt x="559" y="573"/>
                    <a:pt x="564" y="569"/>
                  </a:cubicBezTo>
                  <a:cubicBezTo>
                    <a:pt x="574" y="564"/>
                    <a:pt x="594" y="566"/>
                    <a:pt x="602" y="574"/>
                  </a:cubicBezTo>
                  <a:cubicBezTo>
                    <a:pt x="611" y="582"/>
                    <a:pt x="614" y="592"/>
                    <a:pt x="614" y="604"/>
                  </a:cubicBezTo>
                  <a:cubicBezTo>
                    <a:pt x="614" y="638"/>
                    <a:pt x="614" y="672"/>
                    <a:pt x="614" y="706"/>
                  </a:cubicBezTo>
                  <a:cubicBezTo>
                    <a:pt x="614" y="730"/>
                    <a:pt x="614" y="730"/>
                    <a:pt x="638" y="730"/>
                  </a:cubicBezTo>
                  <a:cubicBezTo>
                    <a:pt x="650" y="730"/>
                    <a:pt x="650" y="730"/>
                    <a:pt x="650" y="717"/>
                  </a:cubicBezTo>
                  <a:cubicBezTo>
                    <a:pt x="650" y="684"/>
                    <a:pt x="650" y="650"/>
                    <a:pt x="650" y="617"/>
                  </a:cubicBezTo>
                  <a:cubicBezTo>
                    <a:pt x="650" y="606"/>
                    <a:pt x="651" y="597"/>
                    <a:pt x="657" y="586"/>
                  </a:cubicBezTo>
                  <a:cubicBezTo>
                    <a:pt x="667" y="565"/>
                    <a:pt x="703" y="560"/>
                    <a:pt x="716" y="579"/>
                  </a:cubicBezTo>
                  <a:cubicBezTo>
                    <a:pt x="723" y="588"/>
                    <a:pt x="724" y="598"/>
                    <a:pt x="724" y="609"/>
                  </a:cubicBezTo>
                  <a:cubicBezTo>
                    <a:pt x="724" y="645"/>
                    <a:pt x="724" y="682"/>
                    <a:pt x="724" y="718"/>
                  </a:cubicBezTo>
                  <a:cubicBezTo>
                    <a:pt x="724" y="727"/>
                    <a:pt x="727" y="731"/>
                    <a:pt x="736" y="730"/>
                  </a:cubicBezTo>
                  <a:cubicBezTo>
                    <a:pt x="738" y="730"/>
                    <a:pt x="741" y="730"/>
                    <a:pt x="743" y="730"/>
                  </a:cubicBezTo>
                  <a:cubicBezTo>
                    <a:pt x="758" y="730"/>
                    <a:pt x="759" y="729"/>
                    <a:pt x="759" y="715"/>
                  </a:cubicBezTo>
                  <a:cubicBezTo>
                    <a:pt x="759" y="677"/>
                    <a:pt x="758" y="639"/>
                    <a:pt x="759" y="601"/>
                  </a:cubicBezTo>
                  <a:cubicBezTo>
                    <a:pt x="759" y="571"/>
                    <a:pt x="742" y="540"/>
                    <a:pt x="704" y="538"/>
                  </a:cubicBezTo>
                  <a:cubicBezTo>
                    <a:pt x="681" y="536"/>
                    <a:pt x="661" y="542"/>
                    <a:pt x="646" y="560"/>
                  </a:cubicBezTo>
                  <a:cubicBezTo>
                    <a:pt x="638" y="569"/>
                    <a:pt x="638" y="569"/>
                    <a:pt x="631" y="559"/>
                  </a:cubicBezTo>
                  <a:cubicBezTo>
                    <a:pt x="630" y="558"/>
                    <a:pt x="630" y="557"/>
                    <a:pt x="629" y="556"/>
                  </a:cubicBezTo>
                  <a:cubicBezTo>
                    <a:pt x="623" y="548"/>
                    <a:pt x="616" y="541"/>
                    <a:pt x="607" y="539"/>
                  </a:cubicBezTo>
                  <a:cubicBezTo>
                    <a:pt x="584" y="534"/>
                    <a:pt x="563" y="539"/>
                    <a:pt x="545" y="555"/>
                  </a:cubicBezTo>
                  <a:cubicBezTo>
                    <a:pt x="540" y="559"/>
                    <a:pt x="537" y="561"/>
                    <a:pt x="537" y="552"/>
                  </a:cubicBezTo>
                  <a:cubicBezTo>
                    <a:pt x="536" y="543"/>
                    <a:pt x="526" y="538"/>
                    <a:pt x="515" y="539"/>
                  </a:cubicBezTo>
                  <a:cubicBezTo>
                    <a:pt x="506" y="540"/>
                    <a:pt x="507" y="546"/>
                    <a:pt x="507" y="552"/>
                  </a:cubicBezTo>
                  <a:cubicBezTo>
                    <a:pt x="507" y="580"/>
                    <a:pt x="507" y="607"/>
                    <a:pt x="507" y="634"/>
                  </a:cubicBezTo>
                  <a:cubicBezTo>
                    <a:pt x="507" y="660"/>
                    <a:pt x="507" y="685"/>
                    <a:pt x="507" y="711"/>
                  </a:cubicBezTo>
                  <a:close/>
                  <a:moveTo>
                    <a:pt x="1525" y="1142"/>
                  </a:moveTo>
                  <a:cubicBezTo>
                    <a:pt x="1517" y="1143"/>
                    <a:pt x="1511" y="1141"/>
                    <a:pt x="1505" y="1136"/>
                  </a:cubicBezTo>
                  <a:cubicBezTo>
                    <a:pt x="1501" y="1133"/>
                    <a:pt x="1495" y="1130"/>
                    <a:pt x="1498" y="1124"/>
                  </a:cubicBezTo>
                  <a:cubicBezTo>
                    <a:pt x="1500" y="1118"/>
                    <a:pt x="1504" y="1114"/>
                    <a:pt x="1512" y="1114"/>
                  </a:cubicBezTo>
                  <a:cubicBezTo>
                    <a:pt x="1521" y="1115"/>
                    <a:pt x="1530" y="1114"/>
                    <a:pt x="1538" y="1115"/>
                  </a:cubicBezTo>
                  <a:cubicBezTo>
                    <a:pt x="1573" y="1117"/>
                    <a:pt x="1610" y="1084"/>
                    <a:pt x="1602" y="1044"/>
                  </a:cubicBezTo>
                  <a:cubicBezTo>
                    <a:pt x="1600" y="1035"/>
                    <a:pt x="1599" y="1028"/>
                    <a:pt x="1611" y="1027"/>
                  </a:cubicBezTo>
                  <a:cubicBezTo>
                    <a:pt x="1614" y="1027"/>
                    <a:pt x="1617" y="1024"/>
                    <a:pt x="1619" y="1023"/>
                  </a:cubicBezTo>
                  <a:cubicBezTo>
                    <a:pt x="1626" y="1019"/>
                    <a:pt x="1624" y="1013"/>
                    <a:pt x="1623" y="1008"/>
                  </a:cubicBezTo>
                  <a:cubicBezTo>
                    <a:pt x="1623" y="1002"/>
                    <a:pt x="1618" y="1003"/>
                    <a:pt x="1613" y="1002"/>
                  </a:cubicBezTo>
                  <a:cubicBezTo>
                    <a:pt x="1598" y="1002"/>
                    <a:pt x="1582" y="1004"/>
                    <a:pt x="1567" y="1000"/>
                  </a:cubicBezTo>
                  <a:cubicBezTo>
                    <a:pt x="1560" y="999"/>
                    <a:pt x="1554" y="993"/>
                    <a:pt x="1546" y="993"/>
                  </a:cubicBezTo>
                  <a:cubicBezTo>
                    <a:pt x="1536" y="994"/>
                    <a:pt x="1525" y="992"/>
                    <a:pt x="1515" y="993"/>
                  </a:cubicBezTo>
                  <a:cubicBezTo>
                    <a:pt x="1490" y="997"/>
                    <a:pt x="1469" y="1010"/>
                    <a:pt x="1462" y="1034"/>
                  </a:cubicBezTo>
                  <a:cubicBezTo>
                    <a:pt x="1455" y="1056"/>
                    <a:pt x="1457" y="1079"/>
                    <a:pt x="1476" y="1096"/>
                  </a:cubicBezTo>
                  <a:cubicBezTo>
                    <a:pt x="1483" y="1103"/>
                    <a:pt x="1483" y="1107"/>
                    <a:pt x="1476" y="1113"/>
                  </a:cubicBezTo>
                  <a:cubicBezTo>
                    <a:pt x="1462" y="1126"/>
                    <a:pt x="1462" y="1142"/>
                    <a:pt x="1473" y="1157"/>
                  </a:cubicBezTo>
                  <a:cubicBezTo>
                    <a:pt x="1476" y="1160"/>
                    <a:pt x="1476" y="1162"/>
                    <a:pt x="1472" y="1164"/>
                  </a:cubicBezTo>
                  <a:cubicBezTo>
                    <a:pt x="1470" y="1166"/>
                    <a:pt x="1468" y="1168"/>
                    <a:pt x="1466" y="1170"/>
                  </a:cubicBezTo>
                  <a:cubicBezTo>
                    <a:pt x="1449" y="1183"/>
                    <a:pt x="1444" y="1201"/>
                    <a:pt x="1454" y="1218"/>
                  </a:cubicBezTo>
                  <a:cubicBezTo>
                    <a:pt x="1464" y="1235"/>
                    <a:pt x="1479" y="1246"/>
                    <a:pt x="1499" y="1249"/>
                  </a:cubicBezTo>
                  <a:cubicBezTo>
                    <a:pt x="1517" y="1252"/>
                    <a:pt x="1535" y="1253"/>
                    <a:pt x="1553" y="1250"/>
                  </a:cubicBezTo>
                  <a:cubicBezTo>
                    <a:pt x="1584" y="1245"/>
                    <a:pt x="1607" y="1232"/>
                    <a:pt x="1619" y="1200"/>
                  </a:cubicBezTo>
                  <a:cubicBezTo>
                    <a:pt x="1627" y="1180"/>
                    <a:pt x="1611" y="1155"/>
                    <a:pt x="1593" y="1148"/>
                  </a:cubicBezTo>
                  <a:cubicBezTo>
                    <a:pt x="1578" y="1142"/>
                    <a:pt x="1563" y="1143"/>
                    <a:pt x="1549" y="1142"/>
                  </a:cubicBezTo>
                  <a:cubicBezTo>
                    <a:pt x="1540" y="1142"/>
                    <a:pt x="1532" y="1142"/>
                    <a:pt x="1525" y="1142"/>
                  </a:cubicBezTo>
                  <a:close/>
                  <a:moveTo>
                    <a:pt x="1556" y="1172"/>
                  </a:moveTo>
                  <a:cubicBezTo>
                    <a:pt x="1566" y="1172"/>
                    <a:pt x="1576" y="1176"/>
                    <a:pt x="1583" y="1183"/>
                  </a:cubicBezTo>
                  <a:cubicBezTo>
                    <a:pt x="1589" y="1190"/>
                    <a:pt x="1589" y="1198"/>
                    <a:pt x="1583" y="1205"/>
                  </a:cubicBezTo>
                  <a:cubicBezTo>
                    <a:pt x="1575" y="1215"/>
                    <a:pt x="1565" y="1220"/>
                    <a:pt x="1553" y="1223"/>
                  </a:cubicBezTo>
                  <a:cubicBezTo>
                    <a:pt x="1534" y="1228"/>
                    <a:pt x="1516" y="1225"/>
                    <a:pt x="1499" y="1219"/>
                  </a:cubicBezTo>
                  <a:cubicBezTo>
                    <a:pt x="1486" y="1214"/>
                    <a:pt x="1479" y="1203"/>
                    <a:pt x="1482" y="1193"/>
                  </a:cubicBezTo>
                  <a:cubicBezTo>
                    <a:pt x="1485" y="1182"/>
                    <a:pt x="1496" y="1168"/>
                    <a:pt x="1514" y="1171"/>
                  </a:cubicBezTo>
                  <a:cubicBezTo>
                    <a:pt x="1526" y="1173"/>
                    <a:pt x="1541" y="1171"/>
                    <a:pt x="1556" y="1172"/>
                  </a:cubicBezTo>
                  <a:close/>
                  <a:moveTo>
                    <a:pt x="1531" y="1019"/>
                  </a:moveTo>
                  <a:cubicBezTo>
                    <a:pt x="1553" y="1017"/>
                    <a:pt x="1570" y="1033"/>
                    <a:pt x="1570" y="1052"/>
                  </a:cubicBezTo>
                  <a:cubicBezTo>
                    <a:pt x="1570" y="1075"/>
                    <a:pt x="1554" y="1093"/>
                    <a:pt x="1532" y="1091"/>
                  </a:cubicBezTo>
                  <a:cubicBezTo>
                    <a:pt x="1508" y="1089"/>
                    <a:pt x="1494" y="1082"/>
                    <a:pt x="1493" y="1053"/>
                  </a:cubicBezTo>
                  <a:cubicBezTo>
                    <a:pt x="1494" y="1029"/>
                    <a:pt x="1508" y="1020"/>
                    <a:pt x="1531" y="1019"/>
                  </a:cubicBezTo>
                  <a:close/>
                  <a:moveTo>
                    <a:pt x="1413" y="934"/>
                  </a:moveTo>
                  <a:cubicBezTo>
                    <a:pt x="1413" y="909"/>
                    <a:pt x="1413" y="909"/>
                    <a:pt x="1389" y="910"/>
                  </a:cubicBezTo>
                  <a:cubicBezTo>
                    <a:pt x="1388" y="910"/>
                    <a:pt x="1387" y="910"/>
                    <a:pt x="1387" y="910"/>
                  </a:cubicBezTo>
                  <a:cubicBezTo>
                    <a:pt x="1379" y="910"/>
                    <a:pt x="1376" y="915"/>
                    <a:pt x="1376" y="921"/>
                  </a:cubicBezTo>
                  <a:cubicBezTo>
                    <a:pt x="1376" y="939"/>
                    <a:pt x="1377" y="956"/>
                    <a:pt x="1377" y="974"/>
                  </a:cubicBezTo>
                  <a:cubicBezTo>
                    <a:pt x="1377" y="983"/>
                    <a:pt x="1377" y="991"/>
                    <a:pt x="1377" y="1000"/>
                  </a:cubicBezTo>
                  <a:cubicBezTo>
                    <a:pt x="1377" y="1005"/>
                    <a:pt x="1374" y="1009"/>
                    <a:pt x="1369" y="1005"/>
                  </a:cubicBezTo>
                  <a:cubicBezTo>
                    <a:pt x="1352" y="990"/>
                    <a:pt x="1332" y="993"/>
                    <a:pt x="1312" y="993"/>
                  </a:cubicBezTo>
                  <a:cubicBezTo>
                    <a:pt x="1303" y="994"/>
                    <a:pt x="1294" y="998"/>
                    <a:pt x="1287" y="1003"/>
                  </a:cubicBezTo>
                  <a:cubicBezTo>
                    <a:pt x="1265" y="1017"/>
                    <a:pt x="1252" y="1039"/>
                    <a:pt x="1248" y="1065"/>
                  </a:cubicBezTo>
                  <a:cubicBezTo>
                    <a:pt x="1244" y="1096"/>
                    <a:pt x="1244" y="1128"/>
                    <a:pt x="1261" y="1157"/>
                  </a:cubicBezTo>
                  <a:cubicBezTo>
                    <a:pt x="1270" y="1170"/>
                    <a:pt x="1281" y="1181"/>
                    <a:pt x="1296" y="1185"/>
                  </a:cubicBezTo>
                  <a:cubicBezTo>
                    <a:pt x="1323" y="1191"/>
                    <a:pt x="1349" y="1188"/>
                    <a:pt x="1370" y="1167"/>
                  </a:cubicBezTo>
                  <a:cubicBezTo>
                    <a:pt x="1372" y="1165"/>
                    <a:pt x="1375" y="1162"/>
                    <a:pt x="1379" y="1163"/>
                  </a:cubicBezTo>
                  <a:cubicBezTo>
                    <a:pt x="1382" y="1165"/>
                    <a:pt x="1381" y="1169"/>
                    <a:pt x="1381" y="1172"/>
                  </a:cubicBezTo>
                  <a:cubicBezTo>
                    <a:pt x="1383" y="1181"/>
                    <a:pt x="1390" y="1186"/>
                    <a:pt x="1403" y="1186"/>
                  </a:cubicBezTo>
                  <a:cubicBezTo>
                    <a:pt x="1413" y="1185"/>
                    <a:pt x="1413" y="1178"/>
                    <a:pt x="1413" y="1172"/>
                  </a:cubicBezTo>
                  <a:cubicBezTo>
                    <a:pt x="1413" y="1131"/>
                    <a:pt x="1413" y="1090"/>
                    <a:pt x="1413" y="1049"/>
                  </a:cubicBezTo>
                  <a:cubicBezTo>
                    <a:pt x="1413" y="1010"/>
                    <a:pt x="1413" y="972"/>
                    <a:pt x="1413" y="934"/>
                  </a:cubicBezTo>
                  <a:close/>
                  <a:moveTo>
                    <a:pt x="1378" y="1113"/>
                  </a:moveTo>
                  <a:cubicBezTo>
                    <a:pt x="1378" y="1136"/>
                    <a:pt x="1360" y="1155"/>
                    <a:pt x="1337" y="1157"/>
                  </a:cubicBezTo>
                  <a:cubicBezTo>
                    <a:pt x="1319" y="1159"/>
                    <a:pt x="1304" y="1154"/>
                    <a:pt x="1294" y="1139"/>
                  </a:cubicBezTo>
                  <a:cubicBezTo>
                    <a:pt x="1286" y="1128"/>
                    <a:pt x="1283" y="1116"/>
                    <a:pt x="1283" y="1102"/>
                  </a:cubicBezTo>
                  <a:cubicBezTo>
                    <a:pt x="1282" y="1085"/>
                    <a:pt x="1282" y="1067"/>
                    <a:pt x="1290" y="1051"/>
                  </a:cubicBezTo>
                  <a:cubicBezTo>
                    <a:pt x="1297" y="1036"/>
                    <a:pt x="1308" y="1024"/>
                    <a:pt x="1325" y="1022"/>
                  </a:cubicBezTo>
                  <a:cubicBezTo>
                    <a:pt x="1342" y="1020"/>
                    <a:pt x="1358" y="1021"/>
                    <a:pt x="1371" y="1035"/>
                  </a:cubicBezTo>
                  <a:cubicBezTo>
                    <a:pt x="1376" y="1041"/>
                    <a:pt x="1378" y="1046"/>
                    <a:pt x="1378" y="1052"/>
                  </a:cubicBezTo>
                  <a:cubicBezTo>
                    <a:pt x="1378" y="1064"/>
                    <a:pt x="1378" y="1075"/>
                    <a:pt x="1378" y="1086"/>
                  </a:cubicBezTo>
                  <a:cubicBezTo>
                    <a:pt x="1378" y="1086"/>
                    <a:pt x="1378" y="1086"/>
                    <a:pt x="1378" y="1086"/>
                  </a:cubicBezTo>
                  <a:cubicBezTo>
                    <a:pt x="1378" y="1095"/>
                    <a:pt x="1378" y="1104"/>
                    <a:pt x="1378" y="1113"/>
                  </a:cubicBezTo>
                  <a:close/>
                  <a:moveTo>
                    <a:pt x="578" y="259"/>
                  </a:moveTo>
                  <a:cubicBezTo>
                    <a:pt x="603" y="241"/>
                    <a:pt x="611" y="213"/>
                    <a:pt x="614" y="183"/>
                  </a:cubicBezTo>
                  <a:cubicBezTo>
                    <a:pt x="615" y="171"/>
                    <a:pt x="610" y="159"/>
                    <a:pt x="609" y="147"/>
                  </a:cubicBezTo>
                  <a:cubicBezTo>
                    <a:pt x="608" y="137"/>
                    <a:pt x="603" y="129"/>
                    <a:pt x="599" y="121"/>
                  </a:cubicBezTo>
                  <a:cubicBezTo>
                    <a:pt x="579" y="87"/>
                    <a:pt x="527" y="70"/>
                    <a:pt x="488" y="85"/>
                  </a:cubicBezTo>
                  <a:cubicBezTo>
                    <a:pt x="453" y="99"/>
                    <a:pt x="436" y="127"/>
                    <a:pt x="431" y="163"/>
                  </a:cubicBezTo>
                  <a:cubicBezTo>
                    <a:pt x="429" y="180"/>
                    <a:pt x="430" y="196"/>
                    <a:pt x="436" y="213"/>
                  </a:cubicBezTo>
                  <a:cubicBezTo>
                    <a:pt x="439" y="222"/>
                    <a:pt x="442" y="232"/>
                    <a:pt x="447" y="239"/>
                  </a:cubicBezTo>
                  <a:cubicBezTo>
                    <a:pt x="465" y="265"/>
                    <a:pt x="491" y="277"/>
                    <a:pt x="525" y="276"/>
                  </a:cubicBezTo>
                  <a:cubicBezTo>
                    <a:pt x="543" y="278"/>
                    <a:pt x="562" y="271"/>
                    <a:pt x="578" y="259"/>
                  </a:cubicBezTo>
                  <a:close/>
                  <a:moveTo>
                    <a:pt x="471" y="205"/>
                  </a:moveTo>
                  <a:cubicBezTo>
                    <a:pt x="466" y="185"/>
                    <a:pt x="468" y="167"/>
                    <a:pt x="472" y="147"/>
                  </a:cubicBezTo>
                  <a:cubicBezTo>
                    <a:pt x="477" y="130"/>
                    <a:pt x="493" y="116"/>
                    <a:pt x="509" y="112"/>
                  </a:cubicBezTo>
                  <a:cubicBezTo>
                    <a:pt x="525" y="108"/>
                    <a:pt x="539" y="110"/>
                    <a:pt x="553" y="119"/>
                  </a:cubicBezTo>
                  <a:cubicBezTo>
                    <a:pt x="563" y="125"/>
                    <a:pt x="568" y="135"/>
                    <a:pt x="571" y="146"/>
                  </a:cubicBezTo>
                  <a:cubicBezTo>
                    <a:pt x="577" y="167"/>
                    <a:pt x="578" y="189"/>
                    <a:pt x="571" y="211"/>
                  </a:cubicBezTo>
                  <a:cubicBezTo>
                    <a:pt x="565" y="231"/>
                    <a:pt x="549" y="249"/>
                    <a:pt x="521" y="247"/>
                  </a:cubicBezTo>
                  <a:cubicBezTo>
                    <a:pt x="496" y="247"/>
                    <a:pt x="478" y="230"/>
                    <a:pt x="471" y="205"/>
                  </a:cubicBezTo>
                  <a:close/>
                  <a:moveTo>
                    <a:pt x="472" y="1122"/>
                  </a:moveTo>
                  <a:cubicBezTo>
                    <a:pt x="475" y="1136"/>
                    <a:pt x="481" y="1148"/>
                    <a:pt x="491" y="1158"/>
                  </a:cubicBezTo>
                  <a:cubicBezTo>
                    <a:pt x="506" y="1176"/>
                    <a:pt x="524" y="1185"/>
                    <a:pt x="548" y="1187"/>
                  </a:cubicBezTo>
                  <a:cubicBezTo>
                    <a:pt x="568" y="1188"/>
                    <a:pt x="587" y="1187"/>
                    <a:pt x="605" y="1177"/>
                  </a:cubicBezTo>
                  <a:cubicBezTo>
                    <a:pt x="632" y="1162"/>
                    <a:pt x="644" y="1136"/>
                    <a:pt x="649" y="1107"/>
                  </a:cubicBezTo>
                  <a:cubicBezTo>
                    <a:pt x="652" y="1089"/>
                    <a:pt x="649" y="1072"/>
                    <a:pt x="644" y="1054"/>
                  </a:cubicBezTo>
                  <a:cubicBezTo>
                    <a:pt x="638" y="1034"/>
                    <a:pt x="627" y="1019"/>
                    <a:pt x="610" y="1007"/>
                  </a:cubicBezTo>
                  <a:cubicBezTo>
                    <a:pt x="589" y="992"/>
                    <a:pt x="566" y="991"/>
                    <a:pt x="541" y="994"/>
                  </a:cubicBezTo>
                  <a:cubicBezTo>
                    <a:pt x="526" y="995"/>
                    <a:pt x="512" y="1002"/>
                    <a:pt x="500" y="1012"/>
                  </a:cubicBezTo>
                  <a:cubicBezTo>
                    <a:pt x="476" y="1032"/>
                    <a:pt x="469" y="1060"/>
                    <a:pt x="466" y="1095"/>
                  </a:cubicBezTo>
                  <a:cubicBezTo>
                    <a:pt x="465" y="1101"/>
                    <a:pt x="470" y="1111"/>
                    <a:pt x="472" y="1122"/>
                  </a:cubicBezTo>
                  <a:close/>
                  <a:moveTo>
                    <a:pt x="508" y="1113"/>
                  </a:moveTo>
                  <a:cubicBezTo>
                    <a:pt x="505" y="1095"/>
                    <a:pt x="506" y="1078"/>
                    <a:pt x="508" y="1061"/>
                  </a:cubicBezTo>
                  <a:cubicBezTo>
                    <a:pt x="511" y="1042"/>
                    <a:pt x="538" y="1021"/>
                    <a:pt x="554" y="1022"/>
                  </a:cubicBezTo>
                  <a:cubicBezTo>
                    <a:pt x="570" y="1022"/>
                    <a:pt x="586" y="1024"/>
                    <a:pt x="596" y="1037"/>
                  </a:cubicBezTo>
                  <a:cubicBezTo>
                    <a:pt x="602" y="1044"/>
                    <a:pt x="607" y="1052"/>
                    <a:pt x="608" y="1061"/>
                  </a:cubicBezTo>
                  <a:cubicBezTo>
                    <a:pt x="608" y="1064"/>
                    <a:pt x="609" y="1067"/>
                    <a:pt x="610" y="1070"/>
                  </a:cubicBezTo>
                  <a:cubicBezTo>
                    <a:pt x="618" y="1089"/>
                    <a:pt x="612" y="1107"/>
                    <a:pt x="607" y="1125"/>
                  </a:cubicBezTo>
                  <a:cubicBezTo>
                    <a:pt x="601" y="1143"/>
                    <a:pt x="588" y="1160"/>
                    <a:pt x="558" y="1157"/>
                  </a:cubicBezTo>
                  <a:cubicBezTo>
                    <a:pt x="530" y="1157"/>
                    <a:pt x="512" y="1141"/>
                    <a:pt x="508" y="1113"/>
                  </a:cubicBezTo>
                  <a:close/>
                  <a:moveTo>
                    <a:pt x="430" y="716"/>
                  </a:moveTo>
                  <a:cubicBezTo>
                    <a:pt x="450" y="703"/>
                    <a:pt x="459" y="683"/>
                    <a:pt x="464" y="661"/>
                  </a:cubicBezTo>
                  <a:cubicBezTo>
                    <a:pt x="468" y="648"/>
                    <a:pt x="467" y="635"/>
                    <a:pt x="466" y="621"/>
                  </a:cubicBezTo>
                  <a:cubicBezTo>
                    <a:pt x="463" y="592"/>
                    <a:pt x="453" y="567"/>
                    <a:pt x="427" y="550"/>
                  </a:cubicBezTo>
                  <a:cubicBezTo>
                    <a:pt x="401" y="534"/>
                    <a:pt x="372" y="532"/>
                    <a:pt x="345" y="541"/>
                  </a:cubicBezTo>
                  <a:cubicBezTo>
                    <a:pt x="310" y="552"/>
                    <a:pt x="291" y="580"/>
                    <a:pt x="287" y="617"/>
                  </a:cubicBezTo>
                  <a:cubicBezTo>
                    <a:pt x="286" y="629"/>
                    <a:pt x="286" y="641"/>
                    <a:pt x="287" y="654"/>
                  </a:cubicBezTo>
                  <a:cubicBezTo>
                    <a:pt x="289" y="671"/>
                    <a:pt x="295" y="686"/>
                    <a:pt x="306" y="700"/>
                  </a:cubicBezTo>
                  <a:cubicBezTo>
                    <a:pt x="324" y="722"/>
                    <a:pt x="348" y="733"/>
                    <a:pt x="378" y="731"/>
                  </a:cubicBezTo>
                  <a:cubicBezTo>
                    <a:pt x="396" y="733"/>
                    <a:pt x="414" y="727"/>
                    <a:pt x="430" y="716"/>
                  </a:cubicBezTo>
                  <a:close/>
                  <a:moveTo>
                    <a:pt x="331" y="592"/>
                  </a:moveTo>
                  <a:cubicBezTo>
                    <a:pt x="339" y="580"/>
                    <a:pt x="349" y="569"/>
                    <a:pt x="365" y="567"/>
                  </a:cubicBezTo>
                  <a:cubicBezTo>
                    <a:pt x="387" y="564"/>
                    <a:pt x="406" y="568"/>
                    <a:pt x="419" y="588"/>
                  </a:cubicBezTo>
                  <a:cubicBezTo>
                    <a:pt x="423" y="595"/>
                    <a:pt x="426" y="603"/>
                    <a:pt x="427" y="610"/>
                  </a:cubicBezTo>
                  <a:cubicBezTo>
                    <a:pt x="433" y="635"/>
                    <a:pt x="431" y="661"/>
                    <a:pt x="416" y="684"/>
                  </a:cubicBezTo>
                  <a:cubicBezTo>
                    <a:pt x="403" y="706"/>
                    <a:pt x="362" y="708"/>
                    <a:pt x="345" y="692"/>
                  </a:cubicBezTo>
                  <a:cubicBezTo>
                    <a:pt x="329" y="678"/>
                    <a:pt x="323" y="661"/>
                    <a:pt x="323" y="631"/>
                  </a:cubicBezTo>
                  <a:cubicBezTo>
                    <a:pt x="323" y="619"/>
                    <a:pt x="323" y="605"/>
                    <a:pt x="331" y="592"/>
                  </a:cubicBezTo>
                  <a:close/>
                  <a:moveTo>
                    <a:pt x="1073" y="259"/>
                  </a:moveTo>
                  <a:cubicBezTo>
                    <a:pt x="1073" y="269"/>
                    <a:pt x="1075" y="272"/>
                    <a:pt x="1086" y="272"/>
                  </a:cubicBezTo>
                  <a:cubicBezTo>
                    <a:pt x="1088" y="272"/>
                    <a:pt x="1090" y="272"/>
                    <a:pt x="1092" y="272"/>
                  </a:cubicBezTo>
                  <a:cubicBezTo>
                    <a:pt x="1105" y="272"/>
                    <a:pt x="1106" y="271"/>
                    <a:pt x="1106" y="258"/>
                  </a:cubicBezTo>
                  <a:cubicBezTo>
                    <a:pt x="1106" y="221"/>
                    <a:pt x="1106" y="184"/>
                    <a:pt x="1106" y="147"/>
                  </a:cubicBezTo>
                  <a:cubicBezTo>
                    <a:pt x="1106" y="143"/>
                    <a:pt x="1106" y="140"/>
                    <a:pt x="1107" y="137"/>
                  </a:cubicBezTo>
                  <a:cubicBezTo>
                    <a:pt x="1117" y="117"/>
                    <a:pt x="1157" y="104"/>
                    <a:pt x="1177" y="114"/>
                  </a:cubicBezTo>
                  <a:cubicBezTo>
                    <a:pt x="1179" y="115"/>
                    <a:pt x="1180" y="117"/>
                    <a:pt x="1182" y="118"/>
                  </a:cubicBezTo>
                  <a:cubicBezTo>
                    <a:pt x="1194" y="131"/>
                    <a:pt x="1196" y="147"/>
                    <a:pt x="1196" y="163"/>
                  </a:cubicBezTo>
                  <a:cubicBezTo>
                    <a:pt x="1197" y="195"/>
                    <a:pt x="1196" y="226"/>
                    <a:pt x="1196" y="258"/>
                  </a:cubicBezTo>
                  <a:cubicBezTo>
                    <a:pt x="1196" y="271"/>
                    <a:pt x="1197" y="272"/>
                    <a:pt x="1210" y="272"/>
                  </a:cubicBezTo>
                  <a:cubicBezTo>
                    <a:pt x="1212" y="272"/>
                    <a:pt x="1213" y="272"/>
                    <a:pt x="1215" y="272"/>
                  </a:cubicBezTo>
                  <a:cubicBezTo>
                    <a:pt x="1227" y="272"/>
                    <a:pt x="1229" y="270"/>
                    <a:pt x="1229" y="258"/>
                  </a:cubicBezTo>
                  <a:cubicBezTo>
                    <a:pt x="1229" y="222"/>
                    <a:pt x="1229" y="187"/>
                    <a:pt x="1229" y="151"/>
                  </a:cubicBezTo>
                  <a:cubicBezTo>
                    <a:pt x="1229" y="142"/>
                    <a:pt x="1228" y="132"/>
                    <a:pt x="1225" y="123"/>
                  </a:cubicBezTo>
                  <a:cubicBezTo>
                    <a:pt x="1219" y="105"/>
                    <a:pt x="1208" y="91"/>
                    <a:pt x="1189" y="85"/>
                  </a:cubicBezTo>
                  <a:cubicBezTo>
                    <a:pt x="1173" y="80"/>
                    <a:pt x="1156" y="84"/>
                    <a:pt x="1139" y="84"/>
                  </a:cubicBezTo>
                  <a:cubicBezTo>
                    <a:pt x="1137" y="84"/>
                    <a:pt x="1136" y="86"/>
                    <a:pt x="1134" y="87"/>
                  </a:cubicBezTo>
                  <a:cubicBezTo>
                    <a:pt x="1128" y="91"/>
                    <a:pt x="1121" y="96"/>
                    <a:pt x="1115" y="100"/>
                  </a:cubicBezTo>
                  <a:cubicBezTo>
                    <a:pt x="1113" y="102"/>
                    <a:pt x="1111" y="105"/>
                    <a:pt x="1108" y="103"/>
                  </a:cubicBezTo>
                  <a:cubicBezTo>
                    <a:pt x="1105" y="102"/>
                    <a:pt x="1106" y="98"/>
                    <a:pt x="1106" y="96"/>
                  </a:cubicBezTo>
                  <a:cubicBezTo>
                    <a:pt x="1106" y="69"/>
                    <a:pt x="1106" y="43"/>
                    <a:pt x="1106" y="17"/>
                  </a:cubicBezTo>
                  <a:cubicBezTo>
                    <a:pt x="1106" y="0"/>
                    <a:pt x="1106" y="0"/>
                    <a:pt x="1089" y="0"/>
                  </a:cubicBezTo>
                  <a:cubicBezTo>
                    <a:pt x="1074" y="0"/>
                    <a:pt x="1073" y="1"/>
                    <a:pt x="1073" y="16"/>
                  </a:cubicBezTo>
                  <a:cubicBezTo>
                    <a:pt x="1073" y="56"/>
                    <a:pt x="1073" y="96"/>
                    <a:pt x="1073" y="136"/>
                  </a:cubicBezTo>
                  <a:cubicBezTo>
                    <a:pt x="1073" y="177"/>
                    <a:pt x="1073" y="218"/>
                    <a:pt x="1073" y="259"/>
                  </a:cubicBezTo>
                  <a:close/>
                  <a:moveTo>
                    <a:pt x="1150" y="1092"/>
                  </a:moveTo>
                  <a:cubicBezTo>
                    <a:pt x="1168" y="1092"/>
                    <a:pt x="1186" y="1092"/>
                    <a:pt x="1204" y="1092"/>
                  </a:cubicBezTo>
                  <a:cubicBezTo>
                    <a:pt x="1215" y="1092"/>
                    <a:pt x="1218" y="1087"/>
                    <a:pt x="1219" y="1077"/>
                  </a:cubicBezTo>
                  <a:cubicBezTo>
                    <a:pt x="1220" y="1062"/>
                    <a:pt x="1216" y="1049"/>
                    <a:pt x="1210" y="1036"/>
                  </a:cubicBezTo>
                  <a:cubicBezTo>
                    <a:pt x="1204" y="1020"/>
                    <a:pt x="1193" y="1008"/>
                    <a:pt x="1177" y="1001"/>
                  </a:cubicBezTo>
                  <a:cubicBezTo>
                    <a:pt x="1155" y="992"/>
                    <a:pt x="1133" y="991"/>
                    <a:pt x="1109" y="999"/>
                  </a:cubicBezTo>
                  <a:cubicBezTo>
                    <a:pt x="1079" y="1010"/>
                    <a:pt x="1062" y="1031"/>
                    <a:pt x="1056" y="1061"/>
                  </a:cubicBezTo>
                  <a:cubicBezTo>
                    <a:pt x="1051" y="1090"/>
                    <a:pt x="1052" y="1120"/>
                    <a:pt x="1069" y="1148"/>
                  </a:cubicBezTo>
                  <a:cubicBezTo>
                    <a:pt x="1081" y="1169"/>
                    <a:pt x="1100" y="1180"/>
                    <a:pt x="1122" y="1185"/>
                  </a:cubicBezTo>
                  <a:cubicBezTo>
                    <a:pt x="1149" y="1190"/>
                    <a:pt x="1176" y="1186"/>
                    <a:pt x="1200" y="1171"/>
                  </a:cubicBezTo>
                  <a:cubicBezTo>
                    <a:pt x="1206" y="1168"/>
                    <a:pt x="1213" y="1165"/>
                    <a:pt x="1214" y="1157"/>
                  </a:cubicBezTo>
                  <a:cubicBezTo>
                    <a:pt x="1215" y="1147"/>
                    <a:pt x="1202" y="1139"/>
                    <a:pt x="1193" y="1144"/>
                  </a:cubicBezTo>
                  <a:cubicBezTo>
                    <a:pt x="1187" y="1147"/>
                    <a:pt x="1180" y="1150"/>
                    <a:pt x="1174" y="1153"/>
                  </a:cubicBezTo>
                  <a:cubicBezTo>
                    <a:pt x="1158" y="1161"/>
                    <a:pt x="1140" y="1161"/>
                    <a:pt x="1124" y="1155"/>
                  </a:cubicBezTo>
                  <a:cubicBezTo>
                    <a:pt x="1112" y="1151"/>
                    <a:pt x="1102" y="1142"/>
                    <a:pt x="1096" y="1129"/>
                  </a:cubicBezTo>
                  <a:cubicBezTo>
                    <a:pt x="1092" y="1121"/>
                    <a:pt x="1091" y="1112"/>
                    <a:pt x="1089" y="1104"/>
                  </a:cubicBezTo>
                  <a:cubicBezTo>
                    <a:pt x="1087" y="1093"/>
                    <a:pt x="1087" y="1092"/>
                    <a:pt x="1099" y="1092"/>
                  </a:cubicBezTo>
                  <a:cubicBezTo>
                    <a:pt x="1116" y="1092"/>
                    <a:pt x="1133" y="1092"/>
                    <a:pt x="1150" y="1092"/>
                  </a:cubicBezTo>
                  <a:cubicBezTo>
                    <a:pt x="1150" y="1092"/>
                    <a:pt x="1150" y="1092"/>
                    <a:pt x="1150" y="1092"/>
                  </a:cubicBezTo>
                  <a:close/>
                  <a:moveTo>
                    <a:pt x="1099" y="1070"/>
                  </a:moveTo>
                  <a:cubicBezTo>
                    <a:pt x="1092" y="1071"/>
                    <a:pt x="1089" y="1067"/>
                    <a:pt x="1091" y="1060"/>
                  </a:cubicBezTo>
                  <a:cubicBezTo>
                    <a:pt x="1094" y="1045"/>
                    <a:pt x="1108" y="1023"/>
                    <a:pt x="1128" y="1022"/>
                  </a:cubicBezTo>
                  <a:cubicBezTo>
                    <a:pt x="1142" y="1021"/>
                    <a:pt x="1156" y="1018"/>
                    <a:pt x="1168" y="1029"/>
                  </a:cubicBezTo>
                  <a:cubicBezTo>
                    <a:pt x="1181" y="1038"/>
                    <a:pt x="1185" y="1051"/>
                    <a:pt x="1187" y="1066"/>
                  </a:cubicBezTo>
                  <a:cubicBezTo>
                    <a:pt x="1188" y="1071"/>
                    <a:pt x="1183" y="1070"/>
                    <a:pt x="1180" y="1070"/>
                  </a:cubicBezTo>
                  <a:cubicBezTo>
                    <a:pt x="1166" y="1070"/>
                    <a:pt x="1153" y="1070"/>
                    <a:pt x="1139" y="1070"/>
                  </a:cubicBezTo>
                  <a:cubicBezTo>
                    <a:pt x="1139" y="1070"/>
                    <a:pt x="1139" y="1070"/>
                    <a:pt x="1139" y="1070"/>
                  </a:cubicBezTo>
                  <a:cubicBezTo>
                    <a:pt x="1126" y="1070"/>
                    <a:pt x="1113" y="1070"/>
                    <a:pt x="1099" y="1070"/>
                  </a:cubicBezTo>
                  <a:close/>
                  <a:moveTo>
                    <a:pt x="1741" y="1092"/>
                  </a:moveTo>
                  <a:cubicBezTo>
                    <a:pt x="1759" y="1092"/>
                    <a:pt x="1776" y="1092"/>
                    <a:pt x="1793" y="1092"/>
                  </a:cubicBezTo>
                  <a:cubicBezTo>
                    <a:pt x="1806" y="1092"/>
                    <a:pt x="1808" y="1089"/>
                    <a:pt x="1808" y="1076"/>
                  </a:cubicBezTo>
                  <a:cubicBezTo>
                    <a:pt x="1809" y="1063"/>
                    <a:pt x="1807" y="1051"/>
                    <a:pt x="1802" y="1038"/>
                  </a:cubicBezTo>
                  <a:cubicBezTo>
                    <a:pt x="1794" y="1021"/>
                    <a:pt x="1782" y="1008"/>
                    <a:pt x="1764" y="1000"/>
                  </a:cubicBezTo>
                  <a:cubicBezTo>
                    <a:pt x="1742" y="991"/>
                    <a:pt x="1720" y="991"/>
                    <a:pt x="1698" y="1000"/>
                  </a:cubicBezTo>
                  <a:cubicBezTo>
                    <a:pt x="1681" y="1006"/>
                    <a:pt x="1668" y="1016"/>
                    <a:pt x="1659" y="1031"/>
                  </a:cubicBezTo>
                  <a:cubicBezTo>
                    <a:pt x="1646" y="1050"/>
                    <a:pt x="1643" y="1071"/>
                    <a:pt x="1644" y="1094"/>
                  </a:cubicBezTo>
                  <a:cubicBezTo>
                    <a:pt x="1644" y="1110"/>
                    <a:pt x="1647" y="1127"/>
                    <a:pt x="1655" y="1141"/>
                  </a:cubicBezTo>
                  <a:cubicBezTo>
                    <a:pt x="1669" y="1168"/>
                    <a:pt x="1691" y="1183"/>
                    <a:pt x="1722" y="1186"/>
                  </a:cubicBezTo>
                  <a:cubicBezTo>
                    <a:pt x="1750" y="1188"/>
                    <a:pt x="1775" y="1183"/>
                    <a:pt x="1798" y="1165"/>
                  </a:cubicBezTo>
                  <a:cubicBezTo>
                    <a:pt x="1803" y="1161"/>
                    <a:pt x="1806" y="1157"/>
                    <a:pt x="1802" y="1151"/>
                  </a:cubicBezTo>
                  <a:cubicBezTo>
                    <a:pt x="1798" y="1144"/>
                    <a:pt x="1791" y="1140"/>
                    <a:pt x="1783" y="1144"/>
                  </a:cubicBezTo>
                  <a:cubicBezTo>
                    <a:pt x="1778" y="1147"/>
                    <a:pt x="1771" y="1149"/>
                    <a:pt x="1766" y="1152"/>
                  </a:cubicBezTo>
                  <a:cubicBezTo>
                    <a:pt x="1749" y="1161"/>
                    <a:pt x="1730" y="1162"/>
                    <a:pt x="1714" y="1155"/>
                  </a:cubicBezTo>
                  <a:cubicBezTo>
                    <a:pt x="1692" y="1145"/>
                    <a:pt x="1680" y="1127"/>
                    <a:pt x="1679" y="1102"/>
                  </a:cubicBezTo>
                  <a:cubicBezTo>
                    <a:pt x="1678" y="1095"/>
                    <a:pt x="1681" y="1092"/>
                    <a:pt x="1689" y="1092"/>
                  </a:cubicBezTo>
                  <a:cubicBezTo>
                    <a:pt x="1706" y="1092"/>
                    <a:pt x="1724" y="1092"/>
                    <a:pt x="1741" y="1092"/>
                  </a:cubicBezTo>
                  <a:cubicBezTo>
                    <a:pt x="1741" y="1092"/>
                    <a:pt x="1741" y="1092"/>
                    <a:pt x="1741" y="1092"/>
                  </a:cubicBezTo>
                  <a:close/>
                  <a:moveTo>
                    <a:pt x="1690" y="1070"/>
                  </a:moveTo>
                  <a:cubicBezTo>
                    <a:pt x="1683" y="1071"/>
                    <a:pt x="1680" y="1068"/>
                    <a:pt x="1681" y="1062"/>
                  </a:cubicBezTo>
                  <a:cubicBezTo>
                    <a:pt x="1683" y="1048"/>
                    <a:pt x="1697" y="1024"/>
                    <a:pt x="1716" y="1022"/>
                  </a:cubicBezTo>
                  <a:cubicBezTo>
                    <a:pt x="1731" y="1020"/>
                    <a:pt x="1747" y="1018"/>
                    <a:pt x="1760" y="1030"/>
                  </a:cubicBezTo>
                  <a:cubicBezTo>
                    <a:pt x="1771" y="1038"/>
                    <a:pt x="1775" y="1050"/>
                    <a:pt x="1778" y="1062"/>
                  </a:cubicBezTo>
                  <a:cubicBezTo>
                    <a:pt x="1780" y="1068"/>
                    <a:pt x="1775" y="1070"/>
                    <a:pt x="1769" y="1070"/>
                  </a:cubicBezTo>
                  <a:cubicBezTo>
                    <a:pt x="1756" y="1070"/>
                    <a:pt x="1742" y="1070"/>
                    <a:pt x="1729" y="1070"/>
                  </a:cubicBezTo>
                  <a:cubicBezTo>
                    <a:pt x="1729" y="1070"/>
                    <a:pt x="1729" y="1070"/>
                    <a:pt x="1729" y="1070"/>
                  </a:cubicBezTo>
                  <a:cubicBezTo>
                    <a:pt x="1716" y="1070"/>
                    <a:pt x="1703" y="1070"/>
                    <a:pt x="1690" y="1070"/>
                  </a:cubicBezTo>
                  <a:close/>
                  <a:moveTo>
                    <a:pt x="68" y="581"/>
                  </a:moveTo>
                  <a:cubicBezTo>
                    <a:pt x="68" y="573"/>
                    <a:pt x="70" y="568"/>
                    <a:pt x="80" y="569"/>
                  </a:cubicBezTo>
                  <a:cubicBezTo>
                    <a:pt x="90" y="570"/>
                    <a:pt x="101" y="570"/>
                    <a:pt x="111" y="569"/>
                  </a:cubicBezTo>
                  <a:cubicBezTo>
                    <a:pt x="120" y="569"/>
                    <a:pt x="120" y="563"/>
                    <a:pt x="120" y="556"/>
                  </a:cubicBezTo>
                  <a:cubicBezTo>
                    <a:pt x="120" y="549"/>
                    <a:pt x="119" y="544"/>
                    <a:pt x="111" y="544"/>
                  </a:cubicBezTo>
                  <a:cubicBezTo>
                    <a:pt x="104" y="544"/>
                    <a:pt x="97" y="544"/>
                    <a:pt x="91" y="544"/>
                  </a:cubicBezTo>
                  <a:cubicBezTo>
                    <a:pt x="66" y="544"/>
                    <a:pt x="65" y="543"/>
                    <a:pt x="68" y="518"/>
                  </a:cubicBezTo>
                  <a:cubicBezTo>
                    <a:pt x="69" y="504"/>
                    <a:pt x="83" y="487"/>
                    <a:pt x="99" y="489"/>
                  </a:cubicBezTo>
                  <a:cubicBezTo>
                    <a:pt x="103" y="489"/>
                    <a:pt x="107" y="489"/>
                    <a:pt x="110" y="488"/>
                  </a:cubicBezTo>
                  <a:cubicBezTo>
                    <a:pt x="118" y="487"/>
                    <a:pt x="123" y="479"/>
                    <a:pt x="123" y="471"/>
                  </a:cubicBezTo>
                  <a:cubicBezTo>
                    <a:pt x="123" y="461"/>
                    <a:pt x="116" y="462"/>
                    <a:pt x="109" y="460"/>
                  </a:cubicBezTo>
                  <a:cubicBezTo>
                    <a:pt x="100" y="458"/>
                    <a:pt x="92" y="460"/>
                    <a:pt x="84" y="460"/>
                  </a:cubicBezTo>
                  <a:cubicBezTo>
                    <a:pt x="68" y="461"/>
                    <a:pt x="56" y="469"/>
                    <a:pt x="47" y="480"/>
                  </a:cubicBezTo>
                  <a:cubicBezTo>
                    <a:pt x="34" y="493"/>
                    <a:pt x="32" y="511"/>
                    <a:pt x="32" y="529"/>
                  </a:cubicBezTo>
                  <a:cubicBezTo>
                    <a:pt x="32" y="544"/>
                    <a:pt x="32" y="544"/>
                    <a:pt x="17" y="544"/>
                  </a:cubicBezTo>
                  <a:cubicBezTo>
                    <a:pt x="4" y="543"/>
                    <a:pt x="0" y="548"/>
                    <a:pt x="4" y="561"/>
                  </a:cubicBezTo>
                  <a:cubicBezTo>
                    <a:pt x="6" y="569"/>
                    <a:pt x="13" y="568"/>
                    <a:pt x="19" y="569"/>
                  </a:cubicBezTo>
                  <a:cubicBezTo>
                    <a:pt x="32" y="571"/>
                    <a:pt x="32" y="571"/>
                    <a:pt x="32" y="584"/>
                  </a:cubicBezTo>
                  <a:cubicBezTo>
                    <a:pt x="32" y="624"/>
                    <a:pt x="32" y="664"/>
                    <a:pt x="32" y="704"/>
                  </a:cubicBezTo>
                  <a:cubicBezTo>
                    <a:pt x="32" y="731"/>
                    <a:pt x="32" y="730"/>
                    <a:pt x="57" y="731"/>
                  </a:cubicBezTo>
                  <a:cubicBezTo>
                    <a:pt x="66" y="731"/>
                    <a:pt x="68" y="727"/>
                    <a:pt x="68" y="720"/>
                  </a:cubicBezTo>
                  <a:cubicBezTo>
                    <a:pt x="68" y="697"/>
                    <a:pt x="68" y="674"/>
                    <a:pt x="68" y="651"/>
                  </a:cubicBezTo>
                  <a:cubicBezTo>
                    <a:pt x="68" y="628"/>
                    <a:pt x="68" y="605"/>
                    <a:pt x="68" y="581"/>
                  </a:cubicBezTo>
                  <a:close/>
                  <a:moveTo>
                    <a:pt x="278" y="1165"/>
                  </a:moveTo>
                  <a:cubicBezTo>
                    <a:pt x="278" y="1183"/>
                    <a:pt x="278" y="1183"/>
                    <a:pt x="296" y="1184"/>
                  </a:cubicBezTo>
                  <a:cubicBezTo>
                    <a:pt x="310" y="1184"/>
                    <a:pt x="310" y="1184"/>
                    <a:pt x="310" y="1169"/>
                  </a:cubicBezTo>
                  <a:cubicBezTo>
                    <a:pt x="310" y="1132"/>
                    <a:pt x="310" y="1095"/>
                    <a:pt x="310" y="1058"/>
                  </a:cubicBezTo>
                  <a:cubicBezTo>
                    <a:pt x="310" y="1052"/>
                    <a:pt x="312" y="1047"/>
                    <a:pt x="316" y="1042"/>
                  </a:cubicBezTo>
                  <a:cubicBezTo>
                    <a:pt x="324" y="1033"/>
                    <a:pt x="334" y="1027"/>
                    <a:pt x="345" y="1024"/>
                  </a:cubicBezTo>
                  <a:cubicBezTo>
                    <a:pt x="357" y="1020"/>
                    <a:pt x="371" y="1018"/>
                    <a:pt x="383" y="1028"/>
                  </a:cubicBezTo>
                  <a:cubicBezTo>
                    <a:pt x="397" y="1039"/>
                    <a:pt x="401" y="1054"/>
                    <a:pt x="401" y="1071"/>
                  </a:cubicBezTo>
                  <a:cubicBezTo>
                    <a:pt x="401" y="1102"/>
                    <a:pt x="401" y="1132"/>
                    <a:pt x="401" y="1163"/>
                  </a:cubicBezTo>
                  <a:cubicBezTo>
                    <a:pt x="401" y="1183"/>
                    <a:pt x="401" y="1182"/>
                    <a:pt x="420" y="1184"/>
                  </a:cubicBezTo>
                  <a:cubicBezTo>
                    <a:pt x="429" y="1185"/>
                    <a:pt x="433" y="1181"/>
                    <a:pt x="433" y="1173"/>
                  </a:cubicBezTo>
                  <a:cubicBezTo>
                    <a:pt x="432" y="1130"/>
                    <a:pt x="435" y="1087"/>
                    <a:pt x="431" y="1044"/>
                  </a:cubicBezTo>
                  <a:cubicBezTo>
                    <a:pt x="427" y="1014"/>
                    <a:pt x="404" y="996"/>
                    <a:pt x="376" y="994"/>
                  </a:cubicBezTo>
                  <a:cubicBezTo>
                    <a:pt x="353" y="992"/>
                    <a:pt x="333" y="1000"/>
                    <a:pt x="317" y="1017"/>
                  </a:cubicBezTo>
                  <a:cubicBezTo>
                    <a:pt x="312" y="1021"/>
                    <a:pt x="311" y="1019"/>
                    <a:pt x="309" y="1015"/>
                  </a:cubicBezTo>
                  <a:cubicBezTo>
                    <a:pt x="309" y="1013"/>
                    <a:pt x="308" y="1011"/>
                    <a:pt x="308" y="1008"/>
                  </a:cubicBezTo>
                  <a:cubicBezTo>
                    <a:pt x="306" y="1001"/>
                    <a:pt x="298" y="997"/>
                    <a:pt x="287" y="998"/>
                  </a:cubicBezTo>
                  <a:cubicBezTo>
                    <a:pt x="279" y="999"/>
                    <a:pt x="278" y="1004"/>
                    <a:pt x="278" y="1011"/>
                  </a:cubicBezTo>
                  <a:cubicBezTo>
                    <a:pt x="278" y="1037"/>
                    <a:pt x="278" y="1064"/>
                    <a:pt x="278" y="1091"/>
                  </a:cubicBezTo>
                  <a:cubicBezTo>
                    <a:pt x="278" y="1115"/>
                    <a:pt x="278" y="1140"/>
                    <a:pt x="278" y="1165"/>
                  </a:cubicBezTo>
                  <a:close/>
                  <a:moveTo>
                    <a:pt x="150" y="705"/>
                  </a:moveTo>
                  <a:cubicBezTo>
                    <a:pt x="150" y="734"/>
                    <a:pt x="145" y="730"/>
                    <a:pt x="176" y="731"/>
                  </a:cubicBezTo>
                  <a:cubicBezTo>
                    <a:pt x="185" y="731"/>
                    <a:pt x="187" y="727"/>
                    <a:pt x="187" y="719"/>
                  </a:cubicBezTo>
                  <a:cubicBezTo>
                    <a:pt x="187" y="685"/>
                    <a:pt x="187" y="651"/>
                    <a:pt x="187" y="618"/>
                  </a:cubicBezTo>
                  <a:cubicBezTo>
                    <a:pt x="187" y="597"/>
                    <a:pt x="204" y="578"/>
                    <a:pt x="225" y="574"/>
                  </a:cubicBezTo>
                  <a:cubicBezTo>
                    <a:pt x="232" y="572"/>
                    <a:pt x="240" y="574"/>
                    <a:pt x="247" y="575"/>
                  </a:cubicBezTo>
                  <a:cubicBezTo>
                    <a:pt x="257" y="576"/>
                    <a:pt x="261" y="572"/>
                    <a:pt x="265" y="564"/>
                  </a:cubicBezTo>
                  <a:cubicBezTo>
                    <a:pt x="269" y="556"/>
                    <a:pt x="267" y="542"/>
                    <a:pt x="261" y="540"/>
                  </a:cubicBezTo>
                  <a:cubicBezTo>
                    <a:pt x="253" y="538"/>
                    <a:pt x="244" y="534"/>
                    <a:pt x="237" y="536"/>
                  </a:cubicBezTo>
                  <a:cubicBezTo>
                    <a:pt x="228" y="537"/>
                    <a:pt x="217" y="537"/>
                    <a:pt x="209" y="544"/>
                  </a:cubicBezTo>
                  <a:cubicBezTo>
                    <a:pt x="204" y="549"/>
                    <a:pt x="198" y="553"/>
                    <a:pt x="194" y="558"/>
                  </a:cubicBezTo>
                  <a:cubicBezTo>
                    <a:pt x="192" y="561"/>
                    <a:pt x="189" y="563"/>
                    <a:pt x="185" y="562"/>
                  </a:cubicBezTo>
                  <a:cubicBezTo>
                    <a:pt x="182" y="561"/>
                    <a:pt x="182" y="558"/>
                    <a:pt x="182" y="556"/>
                  </a:cubicBezTo>
                  <a:cubicBezTo>
                    <a:pt x="180" y="539"/>
                    <a:pt x="179" y="539"/>
                    <a:pt x="162" y="539"/>
                  </a:cubicBezTo>
                  <a:cubicBezTo>
                    <a:pt x="151" y="539"/>
                    <a:pt x="150" y="540"/>
                    <a:pt x="150" y="551"/>
                  </a:cubicBezTo>
                  <a:cubicBezTo>
                    <a:pt x="150" y="579"/>
                    <a:pt x="150" y="607"/>
                    <a:pt x="150" y="635"/>
                  </a:cubicBezTo>
                  <a:cubicBezTo>
                    <a:pt x="150" y="658"/>
                    <a:pt x="149" y="682"/>
                    <a:pt x="150" y="705"/>
                  </a:cubicBezTo>
                  <a:close/>
                  <a:moveTo>
                    <a:pt x="1011" y="1049"/>
                  </a:moveTo>
                  <a:cubicBezTo>
                    <a:pt x="1011" y="1008"/>
                    <a:pt x="1011" y="966"/>
                    <a:pt x="1011" y="924"/>
                  </a:cubicBezTo>
                  <a:cubicBezTo>
                    <a:pt x="1011" y="913"/>
                    <a:pt x="1008" y="910"/>
                    <a:pt x="997" y="910"/>
                  </a:cubicBezTo>
                  <a:cubicBezTo>
                    <a:pt x="995" y="910"/>
                    <a:pt x="992" y="910"/>
                    <a:pt x="990" y="910"/>
                  </a:cubicBezTo>
                  <a:cubicBezTo>
                    <a:pt x="976" y="910"/>
                    <a:pt x="975" y="911"/>
                    <a:pt x="975" y="926"/>
                  </a:cubicBezTo>
                  <a:cubicBezTo>
                    <a:pt x="975" y="1006"/>
                    <a:pt x="975" y="1085"/>
                    <a:pt x="975" y="1165"/>
                  </a:cubicBezTo>
                  <a:cubicBezTo>
                    <a:pt x="975" y="1185"/>
                    <a:pt x="975" y="1185"/>
                    <a:pt x="994" y="1185"/>
                  </a:cubicBezTo>
                  <a:cubicBezTo>
                    <a:pt x="1009" y="1185"/>
                    <a:pt x="1011" y="1184"/>
                    <a:pt x="1011" y="1169"/>
                  </a:cubicBezTo>
                  <a:cubicBezTo>
                    <a:pt x="1011" y="1129"/>
                    <a:pt x="1011" y="1089"/>
                    <a:pt x="1011" y="1049"/>
                  </a:cubicBezTo>
                  <a:cubicBezTo>
                    <a:pt x="1011" y="1049"/>
                    <a:pt x="1011" y="1049"/>
                    <a:pt x="1011" y="1049"/>
                  </a:cubicBezTo>
                  <a:close/>
                  <a:moveTo>
                    <a:pt x="296" y="176"/>
                  </a:moveTo>
                  <a:cubicBezTo>
                    <a:pt x="296" y="201"/>
                    <a:pt x="296" y="226"/>
                    <a:pt x="296" y="251"/>
                  </a:cubicBezTo>
                  <a:cubicBezTo>
                    <a:pt x="295" y="276"/>
                    <a:pt x="296" y="274"/>
                    <a:pt x="318" y="274"/>
                  </a:cubicBezTo>
                  <a:cubicBezTo>
                    <a:pt x="330" y="274"/>
                    <a:pt x="331" y="274"/>
                    <a:pt x="331" y="260"/>
                  </a:cubicBezTo>
                  <a:cubicBezTo>
                    <a:pt x="331" y="232"/>
                    <a:pt x="331" y="204"/>
                    <a:pt x="331" y="176"/>
                  </a:cubicBezTo>
                  <a:cubicBezTo>
                    <a:pt x="331" y="165"/>
                    <a:pt x="331" y="155"/>
                    <a:pt x="337" y="145"/>
                  </a:cubicBezTo>
                  <a:cubicBezTo>
                    <a:pt x="349" y="123"/>
                    <a:pt x="359" y="117"/>
                    <a:pt x="377" y="118"/>
                  </a:cubicBezTo>
                  <a:cubicBezTo>
                    <a:pt x="383" y="118"/>
                    <a:pt x="389" y="119"/>
                    <a:pt x="395" y="120"/>
                  </a:cubicBezTo>
                  <a:cubicBezTo>
                    <a:pt x="401" y="120"/>
                    <a:pt x="407" y="118"/>
                    <a:pt x="408" y="112"/>
                  </a:cubicBezTo>
                  <a:cubicBezTo>
                    <a:pt x="409" y="103"/>
                    <a:pt x="415" y="93"/>
                    <a:pt x="407" y="85"/>
                  </a:cubicBezTo>
                  <a:cubicBezTo>
                    <a:pt x="406" y="84"/>
                    <a:pt x="404" y="84"/>
                    <a:pt x="402" y="84"/>
                  </a:cubicBezTo>
                  <a:cubicBezTo>
                    <a:pt x="376" y="78"/>
                    <a:pt x="353" y="82"/>
                    <a:pt x="337" y="106"/>
                  </a:cubicBezTo>
                  <a:cubicBezTo>
                    <a:pt x="336" y="108"/>
                    <a:pt x="335" y="110"/>
                    <a:pt x="333" y="109"/>
                  </a:cubicBezTo>
                  <a:cubicBezTo>
                    <a:pt x="331" y="109"/>
                    <a:pt x="330" y="107"/>
                    <a:pt x="330" y="105"/>
                  </a:cubicBezTo>
                  <a:cubicBezTo>
                    <a:pt x="329" y="101"/>
                    <a:pt x="329" y="97"/>
                    <a:pt x="328" y="94"/>
                  </a:cubicBezTo>
                  <a:cubicBezTo>
                    <a:pt x="325" y="85"/>
                    <a:pt x="318" y="82"/>
                    <a:pt x="303" y="84"/>
                  </a:cubicBezTo>
                  <a:cubicBezTo>
                    <a:pt x="297" y="84"/>
                    <a:pt x="295" y="86"/>
                    <a:pt x="295" y="92"/>
                  </a:cubicBezTo>
                  <a:cubicBezTo>
                    <a:pt x="296" y="120"/>
                    <a:pt x="295" y="148"/>
                    <a:pt x="295" y="176"/>
                  </a:cubicBezTo>
                  <a:cubicBezTo>
                    <a:pt x="296" y="176"/>
                    <a:pt x="296" y="176"/>
                    <a:pt x="296" y="176"/>
                  </a:cubicBezTo>
                  <a:close/>
                  <a:moveTo>
                    <a:pt x="946" y="179"/>
                  </a:moveTo>
                  <a:cubicBezTo>
                    <a:pt x="946" y="197"/>
                    <a:pt x="946" y="215"/>
                    <a:pt x="946" y="234"/>
                  </a:cubicBezTo>
                  <a:cubicBezTo>
                    <a:pt x="946" y="248"/>
                    <a:pt x="951" y="260"/>
                    <a:pt x="963" y="268"/>
                  </a:cubicBezTo>
                  <a:cubicBezTo>
                    <a:pt x="982" y="280"/>
                    <a:pt x="1011" y="277"/>
                    <a:pt x="1029" y="264"/>
                  </a:cubicBezTo>
                  <a:cubicBezTo>
                    <a:pt x="1036" y="259"/>
                    <a:pt x="1036" y="254"/>
                    <a:pt x="1032" y="248"/>
                  </a:cubicBezTo>
                  <a:cubicBezTo>
                    <a:pt x="1026" y="239"/>
                    <a:pt x="1020" y="238"/>
                    <a:pt x="1013" y="242"/>
                  </a:cubicBezTo>
                  <a:cubicBezTo>
                    <a:pt x="996" y="252"/>
                    <a:pt x="978" y="243"/>
                    <a:pt x="978" y="223"/>
                  </a:cubicBezTo>
                  <a:cubicBezTo>
                    <a:pt x="978" y="190"/>
                    <a:pt x="978" y="157"/>
                    <a:pt x="978" y="123"/>
                  </a:cubicBezTo>
                  <a:cubicBezTo>
                    <a:pt x="978" y="116"/>
                    <a:pt x="981" y="113"/>
                    <a:pt x="988" y="113"/>
                  </a:cubicBezTo>
                  <a:cubicBezTo>
                    <a:pt x="999" y="114"/>
                    <a:pt x="1011" y="113"/>
                    <a:pt x="1022" y="113"/>
                  </a:cubicBezTo>
                  <a:cubicBezTo>
                    <a:pt x="1028" y="113"/>
                    <a:pt x="1033" y="112"/>
                    <a:pt x="1033" y="104"/>
                  </a:cubicBezTo>
                  <a:cubicBezTo>
                    <a:pt x="1033" y="96"/>
                    <a:pt x="1032" y="90"/>
                    <a:pt x="1022" y="90"/>
                  </a:cubicBezTo>
                  <a:cubicBezTo>
                    <a:pt x="1011" y="90"/>
                    <a:pt x="1001" y="90"/>
                    <a:pt x="990" y="90"/>
                  </a:cubicBezTo>
                  <a:cubicBezTo>
                    <a:pt x="981" y="91"/>
                    <a:pt x="977" y="88"/>
                    <a:pt x="978" y="78"/>
                  </a:cubicBezTo>
                  <a:cubicBezTo>
                    <a:pt x="978" y="64"/>
                    <a:pt x="978" y="49"/>
                    <a:pt x="978" y="35"/>
                  </a:cubicBezTo>
                  <a:cubicBezTo>
                    <a:pt x="978" y="30"/>
                    <a:pt x="978" y="25"/>
                    <a:pt x="971" y="24"/>
                  </a:cubicBezTo>
                  <a:cubicBezTo>
                    <a:pt x="964" y="24"/>
                    <a:pt x="956" y="24"/>
                    <a:pt x="955" y="32"/>
                  </a:cubicBezTo>
                  <a:cubicBezTo>
                    <a:pt x="952" y="43"/>
                    <a:pt x="949" y="54"/>
                    <a:pt x="949" y="65"/>
                  </a:cubicBezTo>
                  <a:cubicBezTo>
                    <a:pt x="948" y="88"/>
                    <a:pt x="947" y="88"/>
                    <a:pt x="924" y="91"/>
                  </a:cubicBezTo>
                  <a:cubicBezTo>
                    <a:pt x="919" y="92"/>
                    <a:pt x="914" y="92"/>
                    <a:pt x="914" y="99"/>
                  </a:cubicBezTo>
                  <a:cubicBezTo>
                    <a:pt x="915" y="107"/>
                    <a:pt x="917" y="113"/>
                    <a:pt x="926" y="113"/>
                  </a:cubicBezTo>
                  <a:cubicBezTo>
                    <a:pt x="929" y="114"/>
                    <a:pt x="932" y="113"/>
                    <a:pt x="935" y="113"/>
                  </a:cubicBezTo>
                  <a:cubicBezTo>
                    <a:pt x="943" y="113"/>
                    <a:pt x="946" y="116"/>
                    <a:pt x="946" y="124"/>
                  </a:cubicBezTo>
                  <a:cubicBezTo>
                    <a:pt x="946" y="142"/>
                    <a:pt x="946" y="161"/>
                    <a:pt x="946" y="179"/>
                  </a:cubicBezTo>
                  <a:cubicBezTo>
                    <a:pt x="946" y="179"/>
                    <a:pt x="946" y="179"/>
                    <a:pt x="946" y="179"/>
                  </a:cubicBezTo>
                  <a:close/>
                </a:path>
              </a:pathLst>
            </a:custGeom>
            <a:solidFill>
              <a:srgbClr val="4C505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grpSp>
          <p:nvGrpSpPr>
            <p:cNvPr id="18" name="Group 4">
              <a:extLst>
                <a:ext uri="{FF2B5EF4-FFF2-40B4-BE49-F238E27FC236}">
                  <a16:creationId xmlns:a16="http://schemas.microsoft.com/office/drawing/2014/main" id="{57BD2C4C-DC67-B843-B26C-309622FC75F7}"/>
                </a:ext>
              </a:extLst>
            </p:cNvPr>
            <p:cNvGrpSpPr>
              <a:grpSpLocks noChangeAspect="1"/>
            </p:cNvGrpSpPr>
            <p:nvPr/>
          </p:nvGrpSpPr>
          <p:grpSpPr bwMode="gray">
            <a:xfrm>
              <a:off x="334963" y="296652"/>
              <a:ext cx="538094" cy="540000"/>
              <a:chOff x="2711" y="1027"/>
              <a:chExt cx="2258" cy="2266"/>
            </a:xfrm>
          </p:grpSpPr>
          <p:sp>
            <p:nvSpPr>
              <p:cNvPr id="19" name="AutoShape 3">
                <a:extLst>
                  <a:ext uri="{FF2B5EF4-FFF2-40B4-BE49-F238E27FC236}">
                    <a16:creationId xmlns:a16="http://schemas.microsoft.com/office/drawing/2014/main" id="{FE1DC41B-291E-574C-9F2C-874E70A40758}"/>
                  </a:ext>
                </a:extLst>
              </p:cNvPr>
              <p:cNvSpPr>
                <a:spLocks noChangeAspect="1" noChangeArrowheads="1" noTextEdit="1"/>
              </p:cNvSpPr>
              <p:nvPr/>
            </p:nvSpPr>
            <p:spPr bwMode="gray">
              <a:xfrm>
                <a:off x="2711" y="1027"/>
                <a:ext cx="2258" cy="22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20" name="Freeform 5">
                <a:extLst>
                  <a:ext uri="{FF2B5EF4-FFF2-40B4-BE49-F238E27FC236}">
                    <a16:creationId xmlns:a16="http://schemas.microsoft.com/office/drawing/2014/main" id="{D4B633C8-F761-C54B-9BD2-EB59D49A2DBC}"/>
                  </a:ext>
                </a:extLst>
              </p:cNvPr>
              <p:cNvSpPr>
                <a:spLocks/>
              </p:cNvSpPr>
              <p:nvPr/>
            </p:nvSpPr>
            <p:spPr bwMode="gray">
              <a:xfrm>
                <a:off x="2709" y="1029"/>
                <a:ext cx="2260" cy="2262"/>
              </a:xfrm>
              <a:custGeom>
                <a:avLst/>
                <a:gdLst>
                  <a:gd name="T0" fmla="*/ 2260 w 2260"/>
                  <a:gd name="T1" fmla="*/ 0 h 2262"/>
                  <a:gd name="T2" fmla="*/ 1612 w 2260"/>
                  <a:gd name="T3" fmla="*/ 649 h 2262"/>
                  <a:gd name="T4" fmla="*/ 1612 w 2260"/>
                  <a:gd name="T5" fmla="*/ 649 h 2262"/>
                  <a:gd name="T6" fmla="*/ 2035 w 2260"/>
                  <a:gd name="T7" fmla="*/ 0 h 2262"/>
                  <a:gd name="T8" fmla="*/ 0 w 2260"/>
                  <a:gd name="T9" fmla="*/ 0 h 2262"/>
                  <a:gd name="T10" fmla="*/ 0 w 2260"/>
                  <a:gd name="T11" fmla="*/ 2262 h 2262"/>
                  <a:gd name="T12" fmla="*/ 2260 w 2260"/>
                  <a:gd name="T13" fmla="*/ 2262 h 2262"/>
                  <a:gd name="T14" fmla="*/ 2260 w 2260"/>
                  <a:gd name="T15" fmla="*/ 0 h 2262"/>
                  <a:gd name="T16" fmla="*/ 2260 w 2260"/>
                  <a:gd name="T17" fmla="*/ 0 h 2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0" h="2262">
                    <a:moveTo>
                      <a:pt x="2260" y="0"/>
                    </a:moveTo>
                    <a:lnTo>
                      <a:pt x="1612" y="649"/>
                    </a:lnTo>
                    <a:lnTo>
                      <a:pt x="1612" y="649"/>
                    </a:lnTo>
                    <a:lnTo>
                      <a:pt x="2035" y="0"/>
                    </a:lnTo>
                    <a:lnTo>
                      <a:pt x="0" y="0"/>
                    </a:lnTo>
                    <a:lnTo>
                      <a:pt x="0" y="2262"/>
                    </a:lnTo>
                    <a:lnTo>
                      <a:pt x="2260" y="2262"/>
                    </a:lnTo>
                    <a:lnTo>
                      <a:pt x="2260" y="0"/>
                    </a:lnTo>
                    <a:lnTo>
                      <a:pt x="2260" y="0"/>
                    </a:lnTo>
                    <a:close/>
                  </a:path>
                </a:pathLst>
              </a:custGeom>
              <a:solidFill>
                <a:srgbClr val="E55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21" name="Freeform 6">
                <a:extLst>
                  <a:ext uri="{FF2B5EF4-FFF2-40B4-BE49-F238E27FC236}">
                    <a16:creationId xmlns:a16="http://schemas.microsoft.com/office/drawing/2014/main" id="{B16BAAE4-1A41-C843-9754-490F7A1E1270}"/>
                  </a:ext>
                </a:extLst>
              </p:cNvPr>
              <p:cNvSpPr>
                <a:spLocks noEditPoints="1"/>
              </p:cNvSpPr>
              <p:nvPr/>
            </p:nvSpPr>
            <p:spPr bwMode="gray">
              <a:xfrm>
                <a:off x="3623" y="1696"/>
                <a:ext cx="1167" cy="922"/>
              </a:xfrm>
              <a:custGeom>
                <a:avLst/>
                <a:gdLst>
                  <a:gd name="T0" fmla="*/ 411 w 580"/>
                  <a:gd name="T1" fmla="*/ 213 h 458"/>
                  <a:gd name="T2" fmla="*/ 570 w 580"/>
                  <a:gd name="T3" fmla="*/ 37 h 458"/>
                  <a:gd name="T4" fmla="*/ 580 w 580"/>
                  <a:gd name="T5" fmla="*/ 20 h 458"/>
                  <a:gd name="T6" fmla="*/ 545 w 580"/>
                  <a:gd name="T7" fmla="*/ 0 h 458"/>
                  <a:gd name="T8" fmla="*/ 519 w 580"/>
                  <a:gd name="T9" fmla="*/ 16 h 458"/>
                  <a:gd name="T10" fmla="*/ 344 w 580"/>
                  <a:gd name="T11" fmla="*/ 210 h 458"/>
                  <a:gd name="T12" fmla="*/ 334 w 580"/>
                  <a:gd name="T13" fmla="*/ 229 h 458"/>
                  <a:gd name="T14" fmla="*/ 344 w 580"/>
                  <a:gd name="T15" fmla="*/ 248 h 458"/>
                  <a:gd name="T16" fmla="*/ 519 w 580"/>
                  <a:gd name="T17" fmla="*/ 442 h 458"/>
                  <a:gd name="T18" fmla="*/ 545 w 580"/>
                  <a:gd name="T19" fmla="*/ 458 h 458"/>
                  <a:gd name="T20" fmla="*/ 580 w 580"/>
                  <a:gd name="T21" fmla="*/ 438 h 458"/>
                  <a:gd name="T22" fmla="*/ 570 w 580"/>
                  <a:gd name="T23" fmla="*/ 421 h 458"/>
                  <a:gd name="T24" fmla="*/ 411 w 580"/>
                  <a:gd name="T25" fmla="*/ 245 h 458"/>
                  <a:gd name="T26" fmla="*/ 399 w 580"/>
                  <a:gd name="T27" fmla="*/ 229 h 458"/>
                  <a:gd name="T28" fmla="*/ 411 w 580"/>
                  <a:gd name="T29" fmla="*/ 213 h 458"/>
                  <a:gd name="T30" fmla="*/ 252 w 580"/>
                  <a:gd name="T31" fmla="*/ 439 h 458"/>
                  <a:gd name="T32" fmla="*/ 281 w 580"/>
                  <a:gd name="T33" fmla="*/ 454 h 458"/>
                  <a:gd name="T34" fmla="*/ 309 w 580"/>
                  <a:gd name="T35" fmla="*/ 439 h 458"/>
                  <a:gd name="T36" fmla="*/ 309 w 580"/>
                  <a:gd name="T37" fmla="*/ 19 h 458"/>
                  <a:gd name="T38" fmla="*/ 281 w 580"/>
                  <a:gd name="T39" fmla="*/ 4 h 458"/>
                  <a:gd name="T40" fmla="*/ 252 w 580"/>
                  <a:gd name="T41" fmla="*/ 19 h 458"/>
                  <a:gd name="T42" fmla="*/ 252 w 580"/>
                  <a:gd name="T43" fmla="*/ 439 h 458"/>
                  <a:gd name="T44" fmla="*/ 0 w 580"/>
                  <a:gd name="T45" fmla="*/ 439 h 458"/>
                  <a:gd name="T46" fmla="*/ 28 w 580"/>
                  <a:gd name="T47" fmla="*/ 454 h 458"/>
                  <a:gd name="T48" fmla="*/ 56 w 580"/>
                  <a:gd name="T49" fmla="*/ 439 h 458"/>
                  <a:gd name="T50" fmla="*/ 56 w 580"/>
                  <a:gd name="T51" fmla="*/ 157 h 458"/>
                  <a:gd name="T52" fmla="*/ 165 w 580"/>
                  <a:gd name="T53" fmla="*/ 53 h 458"/>
                  <a:gd name="T54" fmla="*/ 180 w 580"/>
                  <a:gd name="T55" fmla="*/ 53 h 458"/>
                  <a:gd name="T56" fmla="*/ 196 w 580"/>
                  <a:gd name="T57" fmla="*/ 27 h 458"/>
                  <a:gd name="T58" fmla="*/ 154 w 580"/>
                  <a:gd name="T59" fmla="*/ 4 h 458"/>
                  <a:gd name="T60" fmla="*/ 0 w 580"/>
                  <a:gd name="T61" fmla="*/ 152 h 458"/>
                  <a:gd name="T62" fmla="*/ 0 w 580"/>
                  <a:gd name="T63" fmla="*/ 439 h 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80" h="458">
                    <a:moveTo>
                      <a:pt x="411" y="213"/>
                    </a:moveTo>
                    <a:cubicBezTo>
                      <a:pt x="570" y="37"/>
                      <a:pt x="570" y="37"/>
                      <a:pt x="570" y="37"/>
                    </a:cubicBezTo>
                    <a:cubicBezTo>
                      <a:pt x="576" y="30"/>
                      <a:pt x="580" y="25"/>
                      <a:pt x="580" y="20"/>
                    </a:cubicBezTo>
                    <a:cubicBezTo>
                      <a:pt x="580" y="10"/>
                      <a:pt x="559" y="0"/>
                      <a:pt x="545" y="0"/>
                    </a:cubicBezTo>
                    <a:cubicBezTo>
                      <a:pt x="535" y="0"/>
                      <a:pt x="526" y="8"/>
                      <a:pt x="519" y="16"/>
                    </a:cubicBezTo>
                    <a:cubicBezTo>
                      <a:pt x="344" y="210"/>
                      <a:pt x="344" y="210"/>
                      <a:pt x="344" y="210"/>
                    </a:cubicBezTo>
                    <a:cubicBezTo>
                      <a:pt x="336" y="219"/>
                      <a:pt x="334" y="224"/>
                      <a:pt x="334" y="229"/>
                    </a:cubicBezTo>
                    <a:cubicBezTo>
                      <a:pt x="334" y="234"/>
                      <a:pt x="336" y="239"/>
                      <a:pt x="344" y="248"/>
                    </a:cubicBezTo>
                    <a:cubicBezTo>
                      <a:pt x="519" y="442"/>
                      <a:pt x="519" y="442"/>
                      <a:pt x="519" y="442"/>
                    </a:cubicBezTo>
                    <a:cubicBezTo>
                      <a:pt x="526" y="450"/>
                      <a:pt x="535" y="458"/>
                      <a:pt x="545" y="458"/>
                    </a:cubicBezTo>
                    <a:cubicBezTo>
                      <a:pt x="559" y="458"/>
                      <a:pt x="580" y="448"/>
                      <a:pt x="580" y="438"/>
                    </a:cubicBezTo>
                    <a:cubicBezTo>
                      <a:pt x="580" y="433"/>
                      <a:pt x="576" y="428"/>
                      <a:pt x="570" y="421"/>
                    </a:cubicBezTo>
                    <a:cubicBezTo>
                      <a:pt x="411" y="245"/>
                      <a:pt x="411" y="245"/>
                      <a:pt x="411" y="245"/>
                    </a:cubicBezTo>
                    <a:cubicBezTo>
                      <a:pt x="403" y="236"/>
                      <a:pt x="399" y="232"/>
                      <a:pt x="399" y="229"/>
                    </a:cubicBezTo>
                    <a:cubicBezTo>
                      <a:pt x="399" y="226"/>
                      <a:pt x="403" y="222"/>
                      <a:pt x="411" y="213"/>
                    </a:cubicBezTo>
                    <a:moveTo>
                      <a:pt x="252" y="439"/>
                    </a:moveTo>
                    <a:cubicBezTo>
                      <a:pt x="252" y="449"/>
                      <a:pt x="261" y="454"/>
                      <a:pt x="281" y="454"/>
                    </a:cubicBezTo>
                    <a:cubicBezTo>
                      <a:pt x="300" y="454"/>
                      <a:pt x="309" y="449"/>
                      <a:pt x="309" y="439"/>
                    </a:cubicBezTo>
                    <a:cubicBezTo>
                      <a:pt x="309" y="19"/>
                      <a:pt x="309" y="19"/>
                      <a:pt x="309" y="19"/>
                    </a:cubicBezTo>
                    <a:cubicBezTo>
                      <a:pt x="309" y="9"/>
                      <a:pt x="300" y="4"/>
                      <a:pt x="281" y="4"/>
                    </a:cubicBezTo>
                    <a:cubicBezTo>
                      <a:pt x="261" y="4"/>
                      <a:pt x="252" y="9"/>
                      <a:pt x="252" y="19"/>
                    </a:cubicBezTo>
                    <a:lnTo>
                      <a:pt x="252" y="439"/>
                    </a:lnTo>
                    <a:close/>
                    <a:moveTo>
                      <a:pt x="0" y="439"/>
                    </a:moveTo>
                    <a:cubicBezTo>
                      <a:pt x="0" y="449"/>
                      <a:pt x="8" y="454"/>
                      <a:pt x="28" y="454"/>
                    </a:cubicBezTo>
                    <a:cubicBezTo>
                      <a:pt x="48" y="454"/>
                      <a:pt x="56" y="449"/>
                      <a:pt x="56" y="439"/>
                    </a:cubicBezTo>
                    <a:cubicBezTo>
                      <a:pt x="56" y="157"/>
                      <a:pt x="56" y="157"/>
                      <a:pt x="56" y="157"/>
                    </a:cubicBezTo>
                    <a:cubicBezTo>
                      <a:pt x="56" y="83"/>
                      <a:pt x="85" y="53"/>
                      <a:pt x="165" y="53"/>
                    </a:cubicBezTo>
                    <a:cubicBezTo>
                      <a:pt x="180" y="53"/>
                      <a:pt x="180" y="53"/>
                      <a:pt x="180" y="53"/>
                    </a:cubicBezTo>
                    <a:cubicBezTo>
                      <a:pt x="192" y="53"/>
                      <a:pt x="196" y="43"/>
                      <a:pt x="196" y="27"/>
                    </a:cubicBezTo>
                    <a:cubicBezTo>
                      <a:pt x="196" y="8"/>
                      <a:pt x="185" y="4"/>
                      <a:pt x="154" y="4"/>
                    </a:cubicBezTo>
                    <a:cubicBezTo>
                      <a:pt x="64" y="4"/>
                      <a:pt x="0" y="43"/>
                      <a:pt x="0" y="152"/>
                    </a:cubicBezTo>
                    <a:lnTo>
                      <a:pt x="0" y="43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22" name="Freeform 7">
                <a:extLst>
                  <a:ext uri="{FF2B5EF4-FFF2-40B4-BE49-F238E27FC236}">
                    <a16:creationId xmlns:a16="http://schemas.microsoft.com/office/drawing/2014/main" id="{2F32DCBD-8628-F245-85CD-97686A20ECFD}"/>
                  </a:ext>
                </a:extLst>
              </p:cNvPr>
              <p:cNvSpPr>
                <a:spLocks/>
              </p:cNvSpPr>
              <p:nvPr/>
            </p:nvSpPr>
            <p:spPr bwMode="gray">
              <a:xfrm>
                <a:off x="2880" y="1704"/>
                <a:ext cx="618" cy="916"/>
              </a:xfrm>
              <a:custGeom>
                <a:avLst/>
                <a:gdLst>
                  <a:gd name="T0" fmla="*/ 307 w 307"/>
                  <a:gd name="T1" fmla="*/ 405 h 455"/>
                  <a:gd name="T2" fmla="*/ 307 w 307"/>
                  <a:gd name="T3" fmla="*/ 244 h 455"/>
                  <a:gd name="T4" fmla="*/ 279 w 307"/>
                  <a:gd name="T5" fmla="*/ 229 h 455"/>
                  <a:gd name="T6" fmla="*/ 250 w 307"/>
                  <a:gd name="T7" fmla="*/ 244 h 455"/>
                  <a:gd name="T8" fmla="*/ 250 w 307"/>
                  <a:gd name="T9" fmla="*/ 378 h 455"/>
                  <a:gd name="T10" fmla="*/ 199 w 307"/>
                  <a:gd name="T11" fmla="*/ 408 h 455"/>
                  <a:gd name="T12" fmla="*/ 61 w 307"/>
                  <a:gd name="T13" fmla="*/ 231 h 455"/>
                  <a:gd name="T14" fmla="*/ 238 w 307"/>
                  <a:gd name="T15" fmla="*/ 49 h 455"/>
                  <a:gd name="T16" fmla="*/ 270 w 307"/>
                  <a:gd name="T17" fmla="*/ 49 h 455"/>
                  <a:gd name="T18" fmla="*/ 286 w 307"/>
                  <a:gd name="T19" fmla="*/ 23 h 455"/>
                  <a:gd name="T20" fmla="*/ 244 w 307"/>
                  <a:gd name="T21" fmla="*/ 0 h 455"/>
                  <a:gd name="T22" fmla="*/ 231 w 307"/>
                  <a:gd name="T23" fmla="*/ 0 h 455"/>
                  <a:gd name="T24" fmla="*/ 0 w 307"/>
                  <a:gd name="T25" fmla="*/ 232 h 455"/>
                  <a:gd name="T26" fmla="*/ 198 w 307"/>
                  <a:gd name="T27" fmla="*/ 455 h 455"/>
                  <a:gd name="T28" fmla="*/ 307 w 307"/>
                  <a:gd name="T29" fmla="*/ 405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7" h="455">
                    <a:moveTo>
                      <a:pt x="307" y="405"/>
                    </a:moveTo>
                    <a:cubicBezTo>
                      <a:pt x="307" y="244"/>
                      <a:pt x="307" y="244"/>
                      <a:pt x="307" y="244"/>
                    </a:cubicBezTo>
                    <a:cubicBezTo>
                      <a:pt x="307" y="234"/>
                      <a:pt x="298" y="229"/>
                      <a:pt x="279" y="229"/>
                    </a:cubicBezTo>
                    <a:cubicBezTo>
                      <a:pt x="259" y="229"/>
                      <a:pt x="250" y="234"/>
                      <a:pt x="250" y="244"/>
                    </a:cubicBezTo>
                    <a:cubicBezTo>
                      <a:pt x="250" y="378"/>
                      <a:pt x="250" y="378"/>
                      <a:pt x="250" y="378"/>
                    </a:cubicBezTo>
                    <a:cubicBezTo>
                      <a:pt x="250" y="399"/>
                      <a:pt x="241" y="408"/>
                      <a:pt x="199" y="408"/>
                    </a:cubicBezTo>
                    <a:cubicBezTo>
                      <a:pt x="114" y="408"/>
                      <a:pt x="61" y="342"/>
                      <a:pt x="61" y="231"/>
                    </a:cubicBezTo>
                    <a:cubicBezTo>
                      <a:pt x="61" y="115"/>
                      <a:pt x="126" y="49"/>
                      <a:pt x="238" y="49"/>
                    </a:cubicBezTo>
                    <a:cubicBezTo>
                      <a:pt x="270" y="49"/>
                      <a:pt x="270" y="49"/>
                      <a:pt x="270" y="49"/>
                    </a:cubicBezTo>
                    <a:cubicBezTo>
                      <a:pt x="282" y="49"/>
                      <a:pt x="286" y="39"/>
                      <a:pt x="286" y="23"/>
                    </a:cubicBezTo>
                    <a:cubicBezTo>
                      <a:pt x="286" y="4"/>
                      <a:pt x="275" y="0"/>
                      <a:pt x="244" y="0"/>
                    </a:cubicBezTo>
                    <a:cubicBezTo>
                      <a:pt x="231" y="0"/>
                      <a:pt x="231" y="0"/>
                      <a:pt x="231" y="0"/>
                    </a:cubicBezTo>
                    <a:cubicBezTo>
                      <a:pt x="101" y="0"/>
                      <a:pt x="0" y="71"/>
                      <a:pt x="0" y="232"/>
                    </a:cubicBezTo>
                    <a:cubicBezTo>
                      <a:pt x="0" y="386"/>
                      <a:pt x="88" y="455"/>
                      <a:pt x="198" y="455"/>
                    </a:cubicBezTo>
                    <a:cubicBezTo>
                      <a:pt x="286" y="455"/>
                      <a:pt x="307" y="430"/>
                      <a:pt x="307" y="40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23" name="Oval 8">
                <a:extLst>
                  <a:ext uri="{FF2B5EF4-FFF2-40B4-BE49-F238E27FC236}">
                    <a16:creationId xmlns:a16="http://schemas.microsoft.com/office/drawing/2014/main" id="{60D97C11-1A3B-5449-A48D-98A3E79B3810}"/>
                  </a:ext>
                </a:extLst>
              </p:cNvPr>
              <p:cNvSpPr>
                <a:spLocks noChangeArrowheads="1"/>
              </p:cNvSpPr>
              <p:nvPr/>
            </p:nvSpPr>
            <p:spPr bwMode="gray">
              <a:xfrm>
                <a:off x="3778" y="2099"/>
                <a:ext cx="122" cy="12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24" name="Freeform 9">
                <a:extLst>
                  <a:ext uri="{FF2B5EF4-FFF2-40B4-BE49-F238E27FC236}">
                    <a16:creationId xmlns:a16="http://schemas.microsoft.com/office/drawing/2014/main" id="{5856770D-B8F0-244E-A05D-AED190086F10}"/>
                  </a:ext>
                </a:extLst>
              </p:cNvPr>
              <p:cNvSpPr>
                <a:spLocks noEditPoints="1"/>
              </p:cNvSpPr>
              <p:nvPr/>
            </p:nvSpPr>
            <p:spPr bwMode="gray">
              <a:xfrm>
                <a:off x="3623" y="1696"/>
                <a:ext cx="1167" cy="922"/>
              </a:xfrm>
              <a:custGeom>
                <a:avLst/>
                <a:gdLst>
                  <a:gd name="T0" fmla="*/ 411 w 580"/>
                  <a:gd name="T1" fmla="*/ 213 h 458"/>
                  <a:gd name="T2" fmla="*/ 570 w 580"/>
                  <a:gd name="T3" fmla="*/ 37 h 458"/>
                  <a:gd name="T4" fmla="*/ 580 w 580"/>
                  <a:gd name="T5" fmla="*/ 20 h 458"/>
                  <a:gd name="T6" fmla="*/ 545 w 580"/>
                  <a:gd name="T7" fmla="*/ 0 h 458"/>
                  <a:gd name="T8" fmla="*/ 519 w 580"/>
                  <a:gd name="T9" fmla="*/ 16 h 458"/>
                  <a:gd name="T10" fmla="*/ 344 w 580"/>
                  <a:gd name="T11" fmla="*/ 210 h 458"/>
                  <a:gd name="T12" fmla="*/ 334 w 580"/>
                  <a:gd name="T13" fmla="*/ 229 h 458"/>
                  <a:gd name="T14" fmla="*/ 344 w 580"/>
                  <a:gd name="T15" fmla="*/ 248 h 458"/>
                  <a:gd name="T16" fmla="*/ 519 w 580"/>
                  <a:gd name="T17" fmla="*/ 442 h 458"/>
                  <a:gd name="T18" fmla="*/ 545 w 580"/>
                  <a:gd name="T19" fmla="*/ 458 h 458"/>
                  <a:gd name="T20" fmla="*/ 580 w 580"/>
                  <a:gd name="T21" fmla="*/ 438 h 458"/>
                  <a:gd name="T22" fmla="*/ 570 w 580"/>
                  <a:gd name="T23" fmla="*/ 421 h 458"/>
                  <a:gd name="T24" fmla="*/ 411 w 580"/>
                  <a:gd name="T25" fmla="*/ 245 h 458"/>
                  <a:gd name="T26" fmla="*/ 399 w 580"/>
                  <a:gd name="T27" fmla="*/ 229 h 458"/>
                  <a:gd name="T28" fmla="*/ 411 w 580"/>
                  <a:gd name="T29" fmla="*/ 213 h 458"/>
                  <a:gd name="T30" fmla="*/ 252 w 580"/>
                  <a:gd name="T31" fmla="*/ 439 h 458"/>
                  <a:gd name="T32" fmla="*/ 281 w 580"/>
                  <a:gd name="T33" fmla="*/ 454 h 458"/>
                  <a:gd name="T34" fmla="*/ 309 w 580"/>
                  <a:gd name="T35" fmla="*/ 439 h 458"/>
                  <a:gd name="T36" fmla="*/ 309 w 580"/>
                  <a:gd name="T37" fmla="*/ 19 h 458"/>
                  <a:gd name="T38" fmla="*/ 281 w 580"/>
                  <a:gd name="T39" fmla="*/ 4 h 458"/>
                  <a:gd name="T40" fmla="*/ 252 w 580"/>
                  <a:gd name="T41" fmla="*/ 19 h 458"/>
                  <a:gd name="T42" fmla="*/ 252 w 580"/>
                  <a:gd name="T43" fmla="*/ 439 h 458"/>
                  <a:gd name="T44" fmla="*/ 0 w 580"/>
                  <a:gd name="T45" fmla="*/ 439 h 458"/>
                  <a:gd name="T46" fmla="*/ 28 w 580"/>
                  <a:gd name="T47" fmla="*/ 454 h 458"/>
                  <a:gd name="T48" fmla="*/ 56 w 580"/>
                  <a:gd name="T49" fmla="*/ 439 h 458"/>
                  <a:gd name="T50" fmla="*/ 56 w 580"/>
                  <a:gd name="T51" fmla="*/ 157 h 458"/>
                  <a:gd name="T52" fmla="*/ 165 w 580"/>
                  <a:gd name="T53" fmla="*/ 53 h 458"/>
                  <a:gd name="T54" fmla="*/ 180 w 580"/>
                  <a:gd name="T55" fmla="*/ 53 h 458"/>
                  <a:gd name="T56" fmla="*/ 196 w 580"/>
                  <a:gd name="T57" fmla="*/ 27 h 458"/>
                  <a:gd name="T58" fmla="*/ 154 w 580"/>
                  <a:gd name="T59" fmla="*/ 4 h 458"/>
                  <a:gd name="T60" fmla="*/ 0 w 580"/>
                  <a:gd name="T61" fmla="*/ 152 h 458"/>
                  <a:gd name="T62" fmla="*/ 0 w 580"/>
                  <a:gd name="T63" fmla="*/ 439 h 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80" h="458">
                    <a:moveTo>
                      <a:pt x="411" y="213"/>
                    </a:moveTo>
                    <a:cubicBezTo>
                      <a:pt x="570" y="37"/>
                      <a:pt x="570" y="37"/>
                      <a:pt x="570" y="37"/>
                    </a:cubicBezTo>
                    <a:cubicBezTo>
                      <a:pt x="576" y="30"/>
                      <a:pt x="580" y="25"/>
                      <a:pt x="580" y="20"/>
                    </a:cubicBezTo>
                    <a:cubicBezTo>
                      <a:pt x="580" y="10"/>
                      <a:pt x="559" y="0"/>
                      <a:pt x="545" y="0"/>
                    </a:cubicBezTo>
                    <a:cubicBezTo>
                      <a:pt x="535" y="0"/>
                      <a:pt x="526" y="8"/>
                      <a:pt x="519" y="16"/>
                    </a:cubicBezTo>
                    <a:cubicBezTo>
                      <a:pt x="344" y="210"/>
                      <a:pt x="344" y="210"/>
                      <a:pt x="344" y="210"/>
                    </a:cubicBezTo>
                    <a:cubicBezTo>
                      <a:pt x="336" y="219"/>
                      <a:pt x="334" y="224"/>
                      <a:pt x="334" y="229"/>
                    </a:cubicBezTo>
                    <a:cubicBezTo>
                      <a:pt x="334" y="234"/>
                      <a:pt x="336" y="239"/>
                      <a:pt x="344" y="248"/>
                    </a:cubicBezTo>
                    <a:cubicBezTo>
                      <a:pt x="519" y="442"/>
                      <a:pt x="519" y="442"/>
                      <a:pt x="519" y="442"/>
                    </a:cubicBezTo>
                    <a:cubicBezTo>
                      <a:pt x="526" y="450"/>
                      <a:pt x="535" y="458"/>
                      <a:pt x="545" y="458"/>
                    </a:cubicBezTo>
                    <a:cubicBezTo>
                      <a:pt x="559" y="458"/>
                      <a:pt x="580" y="448"/>
                      <a:pt x="580" y="438"/>
                    </a:cubicBezTo>
                    <a:cubicBezTo>
                      <a:pt x="580" y="433"/>
                      <a:pt x="576" y="428"/>
                      <a:pt x="570" y="421"/>
                    </a:cubicBezTo>
                    <a:cubicBezTo>
                      <a:pt x="411" y="245"/>
                      <a:pt x="411" y="245"/>
                      <a:pt x="411" y="245"/>
                    </a:cubicBezTo>
                    <a:cubicBezTo>
                      <a:pt x="403" y="236"/>
                      <a:pt x="399" y="232"/>
                      <a:pt x="399" y="229"/>
                    </a:cubicBezTo>
                    <a:cubicBezTo>
                      <a:pt x="399" y="226"/>
                      <a:pt x="403" y="222"/>
                      <a:pt x="411" y="213"/>
                    </a:cubicBezTo>
                    <a:moveTo>
                      <a:pt x="252" y="439"/>
                    </a:moveTo>
                    <a:cubicBezTo>
                      <a:pt x="252" y="449"/>
                      <a:pt x="261" y="454"/>
                      <a:pt x="281" y="454"/>
                    </a:cubicBezTo>
                    <a:cubicBezTo>
                      <a:pt x="300" y="454"/>
                      <a:pt x="309" y="449"/>
                      <a:pt x="309" y="439"/>
                    </a:cubicBezTo>
                    <a:cubicBezTo>
                      <a:pt x="309" y="19"/>
                      <a:pt x="309" y="19"/>
                      <a:pt x="309" y="19"/>
                    </a:cubicBezTo>
                    <a:cubicBezTo>
                      <a:pt x="309" y="9"/>
                      <a:pt x="300" y="4"/>
                      <a:pt x="281" y="4"/>
                    </a:cubicBezTo>
                    <a:cubicBezTo>
                      <a:pt x="261" y="4"/>
                      <a:pt x="252" y="9"/>
                      <a:pt x="252" y="19"/>
                    </a:cubicBezTo>
                    <a:lnTo>
                      <a:pt x="252" y="439"/>
                    </a:lnTo>
                    <a:close/>
                    <a:moveTo>
                      <a:pt x="0" y="439"/>
                    </a:moveTo>
                    <a:cubicBezTo>
                      <a:pt x="0" y="449"/>
                      <a:pt x="8" y="454"/>
                      <a:pt x="28" y="454"/>
                    </a:cubicBezTo>
                    <a:cubicBezTo>
                      <a:pt x="48" y="454"/>
                      <a:pt x="56" y="449"/>
                      <a:pt x="56" y="439"/>
                    </a:cubicBezTo>
                    <a:cubicBezTo>
                      <a:pt x="56" y="157"/>
                      <a:pt x="56" y="157"/>
                      <a:pt x="56" y="157"/>
                    </a:cubicBezTo>
                    <a:cubicBezTo>
                      <a:pt x="56" y="83"/>
                      <a:pt x="85" y="53"/>
                      <a:pt x="165" y="53"/>
                    </a:cubicBezTo>
                    <a:cubicBezTo>
                      <a:pt x="180" y="53"/>
                      <a:pt x="180" y="53"/>
                      <a:pt x="180" y="53"/>
                    </a:cubicBezTo>
                    <a:cubicBezTo>
                      <a:pt x="192" y="53"/>
                      <a:pt x="196" y="43"/>
                      <a:pt x="196" y="27"/>
                    </a:cubicBezTo>
                    <a:cubicBezTo>
                      <a:pt x="196" y="8"/>
                      <a:pt x="185" y="4"/>
                      <a:pt x="154" y="4"/>
                    </a:cubicBezTo>
                    <a:cubicBezTo>
                      <a:pt x="64" y="4"/>
                      <a:pt x="0" y="43"/>
                      <a:pt x="0" y="152"/>
                    </a:cubicBezTo>
                    <a:lnTo>
                      <a:pt x="0" y="43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25" name="Freeform 10">
                <a:extLst>
                  <a:ext uri="{FF2B5EF4-FFF2-40B4-BE49-F238E27FC236}">
                    <a16:creationId xmlns:a16="http://schemas.microsoft.com/office/drawing/2014/main" id="{2B91B16B-BC11-E547-8FAC-B9B8D18EA449}"/>
                  </a:ext>
                </a:extLst>
              </p:cNvPr>
              <p:cNvSpPr>
                <a:spLocks/>
              </p:cNvSpPr>
              <p:nvPr/>
            </p:nvSpPr>
            <p:spPr bwMode="gray">
              <a:xfrm>
                <a:off x="2880" y="1704"/>
                <a:ext cx="618" cy="916"/>
              </a:xfrm>
              <a:custGeom>
                <a:avLst/>
                <a:gdLst>
                  <a:gd name="T0" fmla="*/ 307 w 307"/>
                  <a:gd name="T1" fmla="*/ 405 h 455"/>
                  <a:gd name="T2" fmla="*/ 307 w 307"/>
                  <a:gd name="T3" fmla="*/ 244 h 455"/>
                  <a:gd name="T4" fmla="*/ 279 w 307"/>
                  <a:gd name="T5" fmla="*/ 229 h 455"/>
                  <a:gd name="T6" fmla="*/ 250 w 307"/>
                  <a:gd name="T7" fmla="*/ 244 h 455"/>
                  <a:gd name="T8" fmla="*/ 250 w 307"/>
                  <a:gd name="T9" fmla="*/ 378 h 455"/>
                  <a:gd name="T10" fmla="*/ 199 w 307"/>
                  <a:gd name="T11" fmla="*/ 408 h 455"/>
                  <a:gd name="T12" fmla="*/ 61 w 307"/>
                  <a:gd name="T13" fmla="*/ 231 h 455"/>
                  <a:gd name="T14" fmla="*/ 238 w 307"/>
                  <a:gd name="T15" fmla="*/ 49 h 455"/>
                  <a:gd name="T16" fmla="*/ 270 w 307"/>
                  <a:gd name="T17" fmla="*/ 49 h 455"/>
                  <a:gd name="T18" fmla="*/ 286 w 307"/>
                  <a:gd name="T19" fmla="*/ 23 h 455"/>
                  <a:gd name="T20" fmla="*/ 244 w 307"/>
                  <a:gd name="T21" fmla="*/ 0 h 455"/>
                  <a:gd name="T22" fmla="*/ 231 w 307"/>
                  <a:gd name="T23" fmla="*/ 0 h 455"/>
                  <a:gd name="T24" fmla="*/ 0 w 307"/>
                  <a:gd name="T25" fmla="*/ 232 h 455"/>
                  <a:gd name="T26" fmla="*/ 198 w 307"/>
                  <a:gd name="T27" fmla="*/ 455 h 455"/>
                  <a:gd name="T28" fmla="*/ 307 w 307"/>
                  <a:gd name="T29" fmla="*/ 405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7" h="455">
                    <a:moveTo>
                      <a:pt x="307" y="405"/>
                    </a:moveTo>
                    <a:cubicBezTo>
                      <a:pt x="307" y="244"/>
                      <a:pt x="307" y="244"/>
                      <a:pt x="307" y="244"/>
                    </a:cubicBezTo>
                    <a:cubicBezTo>
                      <a:pt x="307" y="234"/>
                      <a:pt x="298" y="229"/>
                      <a:pt x="279" y="229"/>
                    </a:cubicBezTo>
                    <a:cubicBezTo>
                      <a:pt x="259" y="229"/>
                      <a:pt x="250" y="234"/>
                      <a:pt x="250" y="244"/>
                    </a:cubicBezTo>
                    <a:cubicBezTo>
                      <a:pt x="250" y="378"/>
                      <a:pt x="250" y="378"/>
                      <a:pt x="250" y="378"/>
                    </a:cubicBezTo>
                    <a:cubicBezTo>
                      <a:pt x="250" y="399"/>
                      <a:pt x="241" y="408"/>
                      <a:pt x="199" y="408"/>
                    </a:cubicBezTo>
                    <a:cubicBezTo>
                      <a:pt x="114" y="408"/>
                      <a:pt x="61" y="342"/>
                      <a:pt x="61" y="231"/>
                    </a:cubicBezTo>
                    <a:cubicBezTo>
                      <a:pt x="61" y="115"/>
                      <a:pt x="126" y="49"/>
                      <a:pt x="238" y="49"/>
                    </a:cubicBezTo>
                    <a:cubicBezTo>
                      <a:pt x="270" y="49"/>
                      <a:pt x="270" y="49"/>
                      <a:pt x="270" y="49"/>
                    </a:cubicBezTo>
                    <a:cubicBezTo>
                      <a:pt x="282" y="49"/>
                      <a:pt x="286" y="39"/>
                      <a:pt x="286" y="23"/>
                    </a:cubicBezTo>
                    <a:cubicBezTo>
                      <a:pt x="286" y="4"/>
                      <a:pt x="275" y="0"/>
                      <a:pt x="244" y="0"/>
                    </a:cubicBezTo>
                    <a:cubicBezTo>
                      <a:pt x="231" y="0"/>
                      <a:pt x="231" y="0"/>
                      <a:pt x="231" y="0"/>
                    </a:cubicBezTo>
                    <a:cubicBezTo>
                      <a:pt x="101" y="0"/>
                      <a:pt x="0" y="71"/>
                      <a:pt x="0" y="232"/>
                    </a:cubicBezTo>
                    <a:cubicBezTo>
                      <a:pt x="0" y="386"/>
                      <a:pt x="88" y="455"/>
                      <a:pt x="198" y="455"/>
                    </a:cubicBezTo>
                    <a:cubicBezTo>
                      <a:pt x="286" y="455"/>
                      <a:pt x="307" y="430"/>
                      <a:pt x="307" y="40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26" name="Oval 11">
                <a:extLst>
                  <a:ext uri="{FF2B5EF4-FFF2-40B4-BE49-F238E27FC236}">
                    <a16:creationId xmlns:a16="http://schemas.microsoft.com/office/drawing/2014/main" id="{14F8C3C8-4888-7646-B9B4-64EB46A1DA23}"/>
                  </a:ext>
                </a:extLst>
              </p:cNvPr>
              <p:cNvSpPr>
                <a:spLocks noChangeArrowheads="1"/>
              </p:cNvSpPr>
              <p:nvPr/>
            </p:nvSpPr>
            <p:spPr bwMode="gray">
              <a:xfrm>
                <a:off x="3778" y="2099"/>
                <a:ext cx="122" cy="12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27" name="Freeform 12">
                <a:extLst>
                  <a:ext uri="{FF2B5EF4-FFF2-40B4-BE49-F238E27FC236}">
                    <a16:creationId xmlns:a16="http://schemas.microsoft.com/office/drawing/2014/main" id="{D79D01D1-4E3E-F34B-97D7-2D387E68746E}"/>
                  </a:ext>
                </a:extLst>
              </p:cNvPr>
              <p:cNvSpPr>
                <a:spLocks/>
              </p:cNvSpPr>
              <p:nvPr/>
            </p:nvSpPr>
            <p:spPr bwMode="gray">
              <a:xfrm>
                <a:off x="4321" y="1029"/>
                <a:ext cx="648" cy="649"/>
              </a:xfrm>
              <a:custGeom>
                <a:avLst/>
                <a:gdLst>
                  <a:gd name="T0" fmla="*/ 0 w 648"/>
                  <a:gd name="T1" fmla="*/ 649 h 649"/>
                  <a:gd name="T2" fmla="*/ 2 w 648"/>
                  <a:gd name="T3" fmla="*/ 649 h 649"/>
                  <a:gd name="T4" fmla="*/ 648 w 648"/>
                  <a:gd name="T5" fmla="*/ 0 h 649"/>
                  <a:gd name="T6" fmla="*/ 423 w 648"/>
                  <a:gd name="T7" fmla="*/ 0 h 649"/>
                  <a:gd name="T8" fmla="*/ 0 w 648"/>
                  <a:gd name="T9" fmla="*/ 649 h 649"/>
                </a:gdLst>
                <a:ahLst/>
                <a:cxnLst>
                  <a:cxn ang="0">
                    <a:pos x="T0" y="T1"/>
                  </a:cxn>
                  <a:cxn ang="0">
                    <a:pos x="T2" y="T3"/>
                  </a:cxn>
                  <a:cxn ang="0">
                    <a:pos x="T4" y="T5"/>
                  </a:cxn>
                  <a:cxn ang="0">
                    <a:pos x="T6" y="T7"/>
                  </a:cxn>
                  <a:cxn ang="0">
                    <a:pos x="T8" y="T9"/>
                  </a:cxn>
                </a:cxnLst>
                <a:rect l="0" t="0" r="r" b="b"/>
                <a:pathLst>
                  <a:path w="648" h="649">
                    <a:moveTo>
                      <a:pt x="0" y="649"/>
                    </a:moveTo>
                    <a:lnTo>
                      <a:pt x="2" y="649"/>
                    </a:lnTo>
                    <a:lnTo>
                      <a:pt x="648" y="0"/>
                    </a:lnTo>
                    <a:lnTo>
                      <a:pt x="423" y="0"/>
                    </a:lnTo>
                    <a:lnTo>
                      <a:pt x="0" y="64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28" name="Freeform 13">
                <a:extLst>
                  <a:ext uri="{FF2B5EF4-FFF2-40B4-BE49-F238E27FC236}">
                    <a16:creationId xmlns:a16="http://schemas.microsoft.com/office/drawing/2014/main" id="{46549898-6C52-B147-A8F6-A73FDBE6163B}"/>
                  </a:ext>
                </a:extLst>
              </p:cNvPr>
              <p:cNvSpPr>
                <a:spLocks/>
              </p:cNvSpPr>
              <p:nvPr/>
            </p:nvSpPr>
            <p:spPr bwMode="gray">
              <a:xfrm>
                <a:off x="4321" y="1029"/>
                <a:ext cx="648" cy="649"/>
              </a:xfrm>
              <a:custGeom>
                <a:avLst/>
                <a:gdLst>
                  <a:gd name="T0" fmla="*/ 0 w 648"/>
                  <a:gd name="T1" fmla="*/ 649 h 649"/>
                  <a:gd name="T2" fmla="*/ 2 w 648"/>
                  <a:gd name="T3" fmla="*/ 649 h 649"/>
                  <a:gd name="T4" fmla="*/ 648 w 648"/>
                  <a:gd name="T5" fmla="*/ 0 h 649"/>
                  <a:gd name="T6" fmla="*/ 423 w 648"/>
                  <a:gd name="T7" fmla="*/ 0 h 649"/>
                  <a:gd name="T8" fmla="*/ 0 w 648"/>
                  <a:gd name="T9" fmla="*/ 649 h 649"/>
                </a:gdLst>
                <a:ahLst/>
                <a:cxnLst>
                  <a:cxn ang="0">
                    <a:pos x="T0" y="T1"/>
                  </a:cxn>
                  <a:cxn ang="0">
                    <a:pos x="T2" y="T3"/>
                  </a:cxn>
                  <a:cxn ang="0">
                    <a:pos x="T4" y="T5"/>
                  </a:cxn>
                  <a:cxn ang="0">
                    <a:pos x="T6" y="T7"/>
                  </a:cxn>
                  <a:cxn ang="0">
                    <a:pos x="T8" y="T9"/>
                  </a:cxn>
                </a:cxnLst>
                <a:rect l="0" t="0" r="r" b="b"/>
                <a:pathLst>
                  <a:path w="648" h="649">
                    <a:moveTo>
                      <a:pt x="0" y="649"/>
                    </a:moveTo>
                    <a:lnTo>
                      <a:pt x="2" y="649"/>
                    </a:lnTo>
                    <a:lnTo>
                      <a:pt x="648" y="0"/>
                    </a:lnTo>
                    <a:lnTo>
                      <a:pt x="423" y="0"/>
                    </a:lnTo>
                    <a:lnTo>
                      <a:pt x="0" y="64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grpSp>
      </p:grpSp>
      <p:sp>
        <p:nvSpPr>
          <p:cNvPr id="7" name="Date Placeholder 6"/>
          <p:cNvSpPr>
            <a:spLocks noGrp="1"/>
          </p:cNvSpPr>
          <p:nvPr>
            <p:ph type="dt" sz="half" idx="10"/>
          </p:nvPr>
        </p:nvSpPr>
        <p:spPr>
          <a:xfrm>
            <a:off x="0" y="0"/>
            <a:ext cx="0" cy="0"/>
          </a:xfrm>
          <a:prstGeom prst="rect">
            <a:avLst/>
          </a:prstGeom>
        </p:spPr>
        <p:txBody>
          <a:bodyPr/>
          <a:lstStyle>
            <a:lvl1pPr>
              <a:defRPr sz="100">
                <a:noFill/>
              </a:defRPr>
            </a:lvl1pPr>
          </a:lstStyle>
          <a:p>
            <a:endParaRPr lang="en-US"/>
          </a:p>
        </p:txBody>
      </p:sp>
      <p:sp>
        <p:nvSpPr>
          <p:cNvPr id="8" name="Footer Placeholder 7"/>
          <p:cNvSpPr>
            <a:spLocks noGrp="1"/>
          </p:cNvSpPr>
          <p:nvPr>
            <p:ph type="ftr" sz="quarter" idx="11"/>
          </p:nvPr>
        </p:nvSpPr>
        <p:spPr>
          <a:xfrm>
            <a:off x="0" y="0"/>
            <a:ext cx="0" cy="0"/>
          </a:xfrm>
          <a:prstGeom prst="rect">
            <a:avLst/>
          </a:prstGeom>
        </p:spPr>
        <p:txBody>
          <a:bodyPr/>
          <a:lstStyle>
            <a:lvl1pPr marL="0" indent="0">
              <a:buNone/>
              <a:defRPr sz="100">
                <a:noFill/>
              </a:defRPr>
            </a:lvl1pPr>
          </a:lstStyle>
          <a:p>
            <a:endParaRPr lang="en-US"/>
          </a:p>
        </p:txBody>
      </p:sp>
      <p:sp>
        <p:nvSpPr>
          <p:cNvPr id="9" name="Slide Number Placeholder 8"/>
          <p:cNvSpPr>
            <a:spLocks noGrp="1"/>
          </p:cNvSpPr>
          <p:nvPr>
            <p:ph type="sldNum" sz="quarter" idx="12"/>
          </p:nvPr>
        </p:nvSpPr>
        <p:spPr>
          <a:xfrm>
            <a:off x="0" y="0"/>
            <a:ext cx="0" cy="0"/>
          </a:xfrm>
          <a:prstGeom prst="rect">
            <a:avLst/>
          </a:prstGeom>
        </p:spPr>
        <p:txBody>
          <a:bodyPr/>
          <a:lstStyle>
            <a:lvl1pPr>
              <a:defRPr sz="100">
                <a:noFill/>
              </a:defRPr>
            </a:lvl1pPr>
          </a:lstStyle>
          <a:p>
            <a:fld id="{8E3B25F7-8D1F-44B5-B485-EE3C438CFD7B}" type="slidenum">
              <a:rPr lang="en-US" smtClean="0"/>
              <a:pPr/>
              <a:t>‹#›</a:t>
            </a:fld>
            <a:endParaRPr lang="en-US"/>
          </a:p>
        </p:txBody>
      </p:sp>
      <p:sp>
        <p:nvSpPr>
          <p:cNvPr id="2" name="Title 1"/>
          <p:cNvSpPr>
            <a:spLocks noGrp="1"/>
          </p:cNvSpPr>
          <p:nvPr>
            <p:ph type="ctrTitle" hasCustomPrompt="1"/>
          </p:nvPr>
        </p:nvSpPr>
        <p:spPr>
          <a:xfrm>
            <a:off x="417600" y="1628775"/>
            <a:ext cx="3816000" cy="2236264"/>
          </a:xfrm>
        </p:spPr>
        <p:txBody>
          <a:bodyPr anchor="b"/>
          <a:lstStyle>
            <a:lvl1pPr algn="l">
              <a:defRPr sz="3600" baseline="0"/>
            </a:lvl1pPr>
          </a:lstStyle>
          <a:p>
            <a:r>
              <a:rPr lang="en-US"/>
              <a:t>Click to add presentation title</a:t>
            </a:r>
          </a:p>
        </p:txBody>
      </p:sp>
      <p:sp>
        <p:nvSpPr>
          <p:cNvPr id="3" name="Subtitle 2"/>
          <p:cNvSpPr>
            <a:spLocks noGrp="1"/>
          </p:cNvSpPr>
          <p:nvPr>
            <p:ph type="subTitle" idx="1" hasCustomPrompt="1"/>
          </p:nvPr>
        </p:nvSpPr>
        <p:spPr>
          <a:xfrm>
            <a:off x="417600" y="4094163"/>
            <a:ext cx="3816000" cy="1080000"/>
          </a:xfrm>
        </p:spPr>
        <p:txBody>
          <a:bodyPr/>
          <a:lstStyle>
            <a:lvl1pPr marL="0" indent="0" algn="l">
              <a:spcBef>
                <a:spcPts val="0"/>
              </a:spcBef>
              <a:buNone/>
              <a:defRPr sz="1800" b="1"/>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sp>
        <p:nvSpPr>
          <p:cNvPr id="31" name="Text Placeholder 30"/>
          <p:cNvSpPr>
            <a:spLocks noGrp="1"/>
          </p:cNvSpPr>
          <p:nvPr>
            <p:ph type="body" sz="quarter" idx="14" hasCustomPrompt="1"/>
          </p:nvPr>
        </p:nvSpPr>
        <p:spPr>
          <a:xfrm>
            <a:off x="417600" y="5393268"/>
            <a:ext cx="3816000" cy="296332"/>
          </a:xfrm>
        </p:spPr>
        <p:txBody>
          <a:bodyPr wrap="none"/>
          <a:lstStyle>
            <a:lvl1pPr marL="0" indent="0">
              <a:spcBef>
                <a:spcPts val="0"/>
              </a:spcBef>
              <a:buNone/>
              <a:defRPr sz="1200"/>
            </a:lvl1pPr>
            <a:lvl2pPr marL="0" indent="0">
              <a:buNone/>
              <a:defRPr sz="1200"/>
            </a:lvl2pPr>
            <a:lvl3pPr marL="0" indent="0">
              <a:buNone/>
              <a:defRPr sz="1200"/>
            </a:lvl3pPr>
            <a:lvl4pPr marL="0">
              <a:buNone/>
              <a:defRPr sz="1200"/>
            </a:lvl4pPr>
            <a:lvl5pPr marL="0" indent="0">
              <a:buNone/>
              <a:defRPr sz="1200"/>
            </a:lvl5pPr>
          </a:lstStyle>
          <a:p>
            <a:pPr lvl="0"/>
            <a:r>
              <a:rPr lang="en-US"/>
              <a:t>Name</a:t>
            </a:r>
          </a:p>
        </p:txBody>
      </p:sp>
      <p:sp>
        <p:nvSpPr>
          <p:cNvPr id="34" name="Text Placeholder 30"/>
          <p:cNvSpPr>
            <a:spLocks noGrp="1"/>
          </p:cNvSpPr>
          <p:nvPr>
            <p:ph type="body" sz="quarter" idx="15" hasCustomPrompt="1"/>
          </p:nvPr>
        </p:nvSpPr>
        <p:spPr>
          <a:xfrm>
            <a:off x="417600" y="5691446"/>
            <a:ext cx="3816000" cy="296332"/>
          </a:xfrm>
        </p:spPr>
        <p:txBody>
          <a:bodyPr wrap="none"/>
          <a:lstStyle>
            <a:lvl1pPr marL="0" indent="0">
              <a:spcBef>
                <a:spcPts val="0"/>
              </a:spcBef>
              <a:buNone/>
              <a:defRPr sz="1200"/>
            </a:lvl1pPr>
            <a:lvl2pPr marL="0" indent="0">
              <a:buNone/>
              <a:defRPr sz="1200"/>
            </a:lvl2pPr>
            <a:lvl3pPr marL="0" indent="0">
              <a:buNone/>
              <a:defRPr sz="1200"/>
            </a:lvl3pPr>
            <a:lvl4pPr marL="0">
              <a:buNone/>
              <a:defRPr sz="1200"/>
            </a:lvl4pPr>
            <a:lvl5pPr marL="0" indent="0">
              <a:buNone/>
              <a:defRPr sz="1200"/>
            </a:lvl5pPr>
          </a:lstStyle>
          <a:p>
            <a:pPr lvl="0"/>
            <a:r>
              <a:rPr lang="en-US"/>
              <a:t>Department</a:t>
            </a:r>
          </a:p>
        </p:txBody>
      </p:sp>
    </p:spTree>
    <p:extLst>
      <p:ext uri="{BB962C8B-B14F-4D97-AF65-F5344CB8AC3E}">
        <p14:creationId xmlns:p14="http://schemas.microsoft.com/office/powerpoint/2010/main" val="1469432922"/>
      </p:ext>
    </p:extLst>
  </p:cSld>
  <p:clrMapOvr>
    <a:masterClrMapping/>
  </p:clrMapOvr>
</p:sldLayout>
</file>

<file path=ppt/slideLayouts/slideLayout305.xml><?xml version="1.0" encoding="utf-8"?>
<p:sldLayout xmlns:a="http://schemas.openxmlformats.org/drawingml/2006/main" xmlns:r="http://schemas.openxmlformats.org/officeDocument/2006/relationships" xmlns:p="http://schemas.openxmlformats.org/presentationml/2006/main" showMasterSp="0" preserve="1">
  <p:cSld name="Title 2">
    <p:spTree>
      <p:nvGrpSpPr>
        <p:cNvPr id="1" name=""/>
        <p:cNvGrpSpPr/>
        <p:nvPr/>
      </p:nvGrpSpPr>
      <p:grpSpPr>
        <a:xfrm>
          <a:off x="0" y="0"/>
          <a:ext cx="0" cy="0"/>
          <a:chOff x="0" y="0"/>
          <a:chExt cx="0" cy="0"/>
        </a:xfrm>
      </p:grpSpPr>
      <p:pic>
        <p:nvPicPr>
          <p:cNvPr id="29" name="picture">
            <a:extLst>
              <a:ext uri="{FF2B5EF4-FFF2-40B4-BE49-F238E27FC236}">
                <a16:creationId xmlns:a16="http://schemas.microsoft.com/office/drawing/2014/main" id="{8BF907F5-A9CD-2740-AF54-6BACB62334AE}"/>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2620212" y="-8808"/>
            <a:ext cx="9697299" cy="6866807"/>
          </a:xfrm>
          <a:prstGeom prst="rect">
            <a:avLst/>
          </a:prstGeom>
        </p:spPr>
      </p:pic>
      <p:sp>
        <p:nvSpPr>
          <p:cNvPr id="32" name="shpPicture"/>
          <p:cNvSpPr/>
          <p:nvPr/>
        </p:nvSpPr>
        <p:spPr>
          <a:xfrm>
            <a:off x="1" y="0"/>
            <a:ext cx="4112145" cy="6858000"/>
          </a:xfrm>
          <a:custGeom>
            <a:avLst/>
            <a:gdLst>
              <a:gd name="connsiteX0" fmla="*/ 0 w 4112145"/>
              <a:gd name="connsiteY0" fmla="*/ 0 h 6858000"/>
              <a:gd name="connsiteX1" fmla="*/ 2588964 w 4112145"/>
              <a:gd name="connsiteY1" fmla="*/ 0 h 6858000"/>
              <a:gd name="connsiteX2" fmla="*/ 4112145 w 4112145"/>
              <a:gd name="connsiteY2" fmla="*/ 3083531 h 6858000"/>
              <a:gd name="connsiteX3" fmla="*/ 2697661 w 4112145"/>
              <a:gd name="connsiteY3" fmla="*/ 6858000 h 6858000"/>
              <a:gd name="connsiteX4" fmla="*/ 0 w 4112145"/>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12145" h="6858000">
                <a:moveTo>
                  <a:pt x="0" y="0"/>
                </a:moveTo>
                <a:lnTo>
                  <a:pt x="2588964" y="0"/>
                </a:lnTo>
                <a:lnTo>
                  <a:pt x="4112145" y="3083531"/>
                </a:lnTo>
                <a:lnTo>
                  <a:pt x="2697661"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US" sz="1600"/>
          </a:p>
        </p:txBody>
      </p:sp>
      <p:grpSp>
        <p:nvGrpSpPr>
          <p:cNvPr id="14" name="logo">
            <a:extLst>
              <a:ext uri="{FF2B5EF4-FFF2-40B4-BE49-F238E27FC236}">
                <a16:creationId xmlns:a16="http://schemas.microsoft.com/office/drawing/2014/main" id="{18C26D95-70F8-8A4D-9F18-DCCB92522AF8}"/>
              </a:ext>
            </a:extLst>
          </p:cNvPr>
          <p:cNvGrpSpPr/>
          <p:nvPr/>
        </p:nvGrpSpPr>
        <p:grpSpPr bwMode="gray">
          <a:xfrm>
            <a:off x="417363" y="407485"/>
            <a:ext cx="1518585" cy="646507"/>
            <a:chOff x="334963" y="296652"/>
            <a:chExt cx="1268411" cy="540000"/>
          </a:xfrm>
        </p:grpSpPr>
        <p:sp>
          <p:nvSpPr>
            <p:cNvPr id="17" name="Freeform 6">
              <a:extLst>
                <a:ext uri="{FF2B5EF4-FFF2-40B4-BE49-F238E27FC236}">
                  <a16:creationId xmlns:a16="http://schemas.microsoft.com/office/drawing/2014/main" id="{08737AD0-E375-E445-97E6-CD2E2DF60620}"/>
                </a:ext>
              </a:extLst>
            </p:cNvPr>
            <p:cNvSpPr>
              <a:spLocks noEditPoints="1"/>
            </p:cNvSpPr>
            <p:nvPr/>
          </p:nvSpPr>
          <p:spPr bwMode="gray">
            <a:xfrm>
              <a:off x="982662" y="360462"/>
              <a:ext cx="620712" cy="431800"/>
            </a:xfrm>
            <a:custGeom>
              <a:avLst/>
              <a:gdLst>
                <a:gd name="T0" fmla="*/ 19 w 1809"/>
                <a:gd name="T1" fmla="*/ 97 h 1253"/>
                <a:gd name="T2" fmla="*/ 165 w 1809"/>
                <a:gd name="T3" fmla="*/ 41 h 1253"/>
                <a:gd name="T4" fmla="*/ 211 w 1809"/>
                <a:gd name="T5" fmla="*/ 224 h 1253"/>
                <a:gd name="T6" fmla="*/ 248 w 1809"/>
                <a:gd name="T7" fmla="*/ 155 h 1253"/>
                <a:gd name="T8" fmla="*/ 931 w 1809"/>
                <a:gd name="T9" fmla="*/ 995 h 1253"/>
                <a:gd name="T10" fmla="*/ 858 w 1809"/>
                <a:gd name="T11" fmla="*/ 1115 h 1253"/>
                <a:gd name="T12" fmla="*/ 749 w 1809"/>
                <a:gd name="T13" fmla="*/ 1117 h 1253"/>
                <a:gd name="T14" fmla="*/ 681 w 1809"/>
                <a:gd name="T15" fmla="*/ 1055 h 1253"/>
                <a:gd name="T16" fmla="*/ 800 w 1809"/>
                <a:gd name="T17" fmla="*/ 1054 h 1253"/>
                <a:gd name="T18" fmla="*/ 884 w 1809"/>
                <a:gd name="T19" fmla="*/ 1181 h 1253"/>
                <a:gd name="T20" fmla="*/ 118 w 1809"/>
                <a:gd name="T21" fmla="*/ 1086 h 1253"/>
                <a:gd name="T22" fmla="*/ 147 w 1809"/>
                <a:gd name="T23" fmla="*/ 1026 h 1253"/>
                <a:gd name="T24" fmla="*/ 102 w 1809"/>
                <a:gd name="T25" fmla="*/ 1026 h 1253"/>
                <a:gd name="T26" fmla="*/ 639 w 1809"/>
                <a:gd name="T27" fmla="*/ 84 h 1253"/>
                <a:gd name="T28" fmla="*/ 763 w 1809"/>
                <a:gd name="T29" fmla="*/ 145 h 1253"/>
                <a:gd name="T30" fmla="*/ 863 w 1809"/>
                <a:gd name="T31" fmla="*/ 221 h 1253"/>
                <a:gd name="T32" fmla="*/ 834 w 1809"/>
                <a:gd name="T33" fmla="*/ 208 h 1253"/>
                <a:gd name="T34" fmla="*/ 719 w 1809"/>
                <a:gd name="T35" fmla="*/ 182 h 1253"/>
                <a:gd name="T36" fmla="*/ 507 w 1809"/>
                <a:gd name="T37" fmla="*/ 711 h 1253"/>
                <a:gd name="T38" fmla="*/ 614 w 1809"/>
                <a:gd name="T39" fmla="*/ 706 h 1253"/>
                <a:gd name="T40" fmla="*/ 736 w 1809"/>
                <a:gd name="T41" fmla="*/ 730 h 1253"/>
                <a:gd name="T42" fmla="*/ 607 w 1809"/>
                <a:gd name="T43" fmla="*/ 539 h 1253"/>
                <a:gd name="T44" fmla="*/ 1505 w 1809"/>
                <a:gd name="T45" fmla="*/ 1136 h 1253"/>
                <a:gd name="T46" fmla="*/ 1613 w 1809"/>
                <a:gd name="T47" fmla="*/ 1002 h 1253"/>
                <a:gd name="T48" fmla="*/ 1472 w 1809"/>
                <a:gd name="T49" fmla="*/ 1164 h 1253"/>
                <a:gd name="T50" fmla="*/ 1525 w 1809"/>
                <a:gd name="T51" fmla="*/ 1142 h 1253"/>
                <a:gd name="T52" fmla="*/ 1556 w 1809"/>
                <a:gd name="T53" fmla="*/ 1172 h 1253"/>
                <a:gd name="T54" fmla="*/ 1387 w 1809"/>
                <a:gd name="T55" fmla="*/ 910 h 1253"/>
                <a:gd name="T56" fmla="*/ 1261 w 1809"/>
                <a:gd name="T57" fmla="*/ 1157 h 1253"/>
                <a:gd name="T58" fmla="*/ 1413 w 1809"/>
                <a:gd name="T59" fmla="*/ 934 h 1253"/>
                <a:gd name="T60" fmla="*/ 1378 w 1809"/>
                <a:gd name="T61" fmla="*/ 1052 h 1253"/>
                <a:gd name="T62" fmla="*/ 488 w 1809"/>
                <a:gd name="T63" fmla="*/ 85 h 1253"/>
                <a:gd name="T64" fmla="*/ 509 w 1809"/>
                <a:gd name="T65" fmla="*/ 112 h 1253"/>
                <a:gd name="T66" fmla="*/ 548 w 1809"/>
                <a:gd name="T67" fmla="*/ 1187 h 1253"/>
                <a:gd name="T68" fmla="*/ 472 w 1809"/>
                <a:gd name="T69" fmla="*/ 1122 h 1253"/>
                <a:gd name="T70" fmla="*/ 558 w 1809"/>
                <a:gd name="T71" fmla="*/ 1157 h 1253"/>
                <a:gd name="T72" fmla="*/ 287 w 1809"/>
                <a:gd name="T73" fmla="*/ 654 h 1253"/>
                <a:gd name="T74" fmla="*/ 416 w 1809"/>
                <a:gd name="T75" fmla="*/ 684 h 1253"/>
                <a:gd name="T76" fmla="*/ 1106 w 1809"/>
                <a:gd name="T77" fmla="*/ 147 h 1253"/>
                <a:gd name="T78" fmla="*/ 1229 w 1809"/>
                <a:gd name="T79" fmla="*/ 258 h 1253"/>
                <a:gd name="T80" fmla="*/ 1106 w 1809"/>
                <a:gd name="T81" fmla="*/ 96 h 1253"/>
                <a:gd name="T82" fmla="*/ 1219 w 1809"/>
                <a:gd name="T83" fmla="*/ 1077 h 1253"/>
                <a:gd name="T84" fmla="*/ 1214 w 1809"/>
                <a:gd name="T85" fmla="*/ 1157 h 1253"/>
                <a:gd name="T86" fmla="*/ 1150 w 1809"/>
                <a:gd name="T87" fmla="*/ 1092 h 1253"/>
                <a:gd name="T88" fmla="*/ 1139 w 1809"/>
                <a:gd name="T89" fmla="*/ 1070 h 1253"/>
                <a:gd name="T90" fmla="*/ 1659 w 1809"/>
                <a:gd name="T91" fmla="*/ 1031 h 1253"/>
                <a:gd name="T92" fmla="*/ 1714 w 1809"/>
                <a:gd name="T93" fmla="*/ 1155 h 1253"/>
                <a:gd name="T94" fmla="*/ 1760 w 1809"/>
                <a:gd name="T95" fmla="*/ 1030 h 1253"/>
                <a:gd name="T96" fmla="*/ 111 w 1809"/>
                <a:gd name="T97" fmla="*/ 569 h 1253"/>
                <a:gd name="T98" fmla="*/ 109 w 1809"/>
                <a:gd name="T99" fmla="*/ 460 h 1253"/>
                <a:gd name="T100" fmla="*/ 32 w 1809"/>
                <a:gd name="T101" fmla="*/ 704 h 1253"/>
                <a:gd name="T102" fmla="*/ 310 w 1809"/>
                <a:gd name="T103" fmla="*/ 1058 h 1253"/>
                <a:gd name="T104" fmla="*/ 431 w 1809"/>
                <a:gd name="T105" fmla="*/ 1044 h 1253"/>
                <a:gd name="T106" fmla="*/ 278 w 1809"/>
                <a:gd name="T107" fmla="*/ 1165 h 1253"/>
                <a:gd name="T108" fmla="*/ 261 w 1809"/>
                <a:gd name="T109" fmla="*/ 540 h 1253"/>
                <a:gd name="T110" fmla="*/ 150 w 1809"/>
                <a:gd name="T111" fmla="*/ 635 h 1253"/>
                <a:gd name="T112" fmla="*/ 994 w 1809"/>
                <a:gd name="T113" fmla="*/ 1185 h 1253"/>
                <a:gd name="T114" fmla="*/ 331 w 1809"/>
                <a:gd name="T115" fmla="*/ 176 h 1253"/>
                <a:gd name="T116" fmla="*/ 333 w 1809"/>
                <a:gd name="T117" fmla="*/ 109 h 1253"/>
                <a:gd name="T118" fmla="*/ 946 w 1809"/>
                <a:gd name="T119" fmla="*/ 234 h 1253"/>
                <a:gd name="T120" fmla="*/ 1022 w 1809"/>
                <a:gd name="T121" fmla="*/ 113 h 1253"/>
                <a:gd name="T122" fmla="*/ 949 w 1809"/>
                <a:gd name="T123" fmla="*/ 65 h 1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09" h="1253">
                  <a:moveTo>
                    <a:pt x="248" y="198"/>
                  </a:moveTo>
                  <a:cubicBezTo>
                    <a:pt x="248" y="211"/>
                    <a:pt x="248" y="224"/>
                    <a:pt x="249" y="237"/>
                  </a:cubicBezTo>
                  <a:cubicBezTo>
                    <a:pt x="249" y="245"/>
                    <a:pt x="246" y="249"/>
                    <a:pt x="240" y="253"/>
                  </a:cubicBezTo>
                  <a:cubicBezTo>
                    <a:pt x="231" y="260"/>
                    <a:pt x="220" y="264"/>
                    <a:pt x="209" y="268"/>
                  </a:cubicBezTo>
                  <a:cubicBezTo>
                    <a:pt x="179" y="279"/>
                    <a:pt x="148" y="280"/>
                    <a:pt x="118" y="275"/>
                  </a:cubicBezTo>
                  <a:cubicBezTo>
                    <a:pt x="86" y="269"/>
                    <a:pt x="58" y="252"/>
                    <a:pt x="39" y="224"/>
                  </a:cubicBezTo>
                  <a:cubicBezTo>
                    <a:pt x="24" y="203"/>
                    <a:pt x="18" y="180"/>
                    <a:pt x="15" y="155"/>
                  </a:cubicBezTo>
                  <a:cubicBezTo>
                    <a:pt x="11" y="135"/>
                    <a:pt x="15" y="115"/>
                    <a:pt x="19" y="97"/>
                  </a:cubicBezTo>
                  <a:cubicBezTo>
                    <a:pt x="26" y="68"/>
                    <a:pt x="42" y="44"/>
                    <a:pt x="68" y="27"/>
                  </a:cubicBezTo>
                  <a:cubicBezTo>
                    <a:pt x="87" y="14"/>
                    <a:pt x="109" y="6"/>
                    <a:pt x="133" y="5"/>
                  </a:cubicBezTo>
                  <a:cubicBezTo>
                    <a:pt x="149" y="4"/>
                    <a:pt x="165" y="5"/>
                    <a:pt x="181" y="6"/>
                  </a:cubicBezTo>
                  <a:cubicBezTo>
                    <a:pt x="204" y="8"/>
                    <a:pt x="225" y="20"/>
                    <a:pt x="243" y="35"/>
                  </a:cubicBezTo>
                  <a:cubicBezTo>
                    <a:pt x="246" y="37"/>
                    <a:pt x="246" y="40"/>
                    <a:pt x="244" y="43"/>
                  </a:cubicBezTo>
                  <a:cubicBezTo>
                    <a:pt x="242" y="47"/>
                    <a:pt x="239" y="52"/>
                    <a:pt x="236" y="55"/>
                  </a:cubicBezTo>
                  <a:cubicBezTo>
                    <a:pt x="226" y="65"/>
                    <a:pt x="224" y="65"/>
                    <a:pt x="206" y="54"/>
                  </a:cubicBezTo>
                  <a:cubicBezTo>
                    <a:pt x="193" y="46"/>
                    <a:pt x="180" y="40"/>
                    <a:pt x="165" y="41"/>
                  </a:cubicBezTo>
                  <a:cubicBezTo>
                    <a:pt x="151" y="41"/>
                    <a:pt x="137" y="39"/>
                    <a:pt x="124" y="42"/>
                  </a:cubicBezTo>
                  <a:cubicBezTo>
                    <a:pt x="104" y="46"/>
                    <a:pt x="87" y="57"/>
                    <a:pt x="75" y="74"/>
                  </a:cubicBezTo>
                  <a:cubicBezTo>
                    <a:pt x="56" y="99"/>
                    <a:pt x="51" y="129"/>
                    <a:pt x="55" y="159"/>
                  </a:cubicBezTo>
                  <a:cubicBezTo>
                    <a:pt x="60" y="189"/>
                    <a:pt x="73" y="214"/>
                    <a:pt x="98" y="230"/>
                  </a:cubicBezTo>
                  <a:cubicBezTo>
                    <a:pt x="109" y="237"/>
                    <a:pt x="121" y="242"/>
                    <a:pt x="135" y="241"/>
                  </a:cubicBezTo>
                  <a:cubicBezTo>
                    <a:pt x="146" y="241"/>
                    <a:pt x="158" y="241"/>
                    <a:pt x="169" y="241"/>
                  </a:cubicBezTo>
                  <a:cubicBezTo>
                    <a:pt x="182" y="242"/>
                    <a:pt x="193" y="235"/>
                    <a:pt x="205" y="232"/>
                  </a:cubicBezTo>
                  <a:cubicBezTo>
                    <a:pt x="210" y="231"/>
                    <a:pt x="211" y="227"/>
                    <a:pt x="211" y="224"/>
                  </a:cubicBezTo>
                  <a:cubicBezTo>
                    <a:pt x="211" y="210"/>
                    <a:pt x="211" y="196"/>
                    <a:pt x="211" y="183"/>
                  </a:cubicBezTo>
                  <a:cubicBezTo>
                    <a:pt x="211" y="177"/>
                    <a:pt x="207" y="175"/>
                    <a:pt x="202" y="175"/>
                  </a:cubicBezTo>
                  <a:cubicBezTo>
                    <a:pt x="193" y="175"/>
                    <a:pt x="184" y="175"/>
                    <a:pt x="175" y="175"/>
                  </a:cubicBezTo>
                  <a:cubicBezTo>
                    <a:pt x="171" y="175"/>
                    <a:pt x="168" y="174"/>
                    <a:pt x="166" y="171"/>
                  </a:cubicBezTo>
                  <a:cubicBezTo>
                    <a:pt x="163" y="163"/>
                    <a:pt x="164" y="154"/>
                    <a:pt x="166" y="146"/>
                  </a:cubicBezTo>
                  <a:cubicBezTo>
                    <a:pt x="167" y="142"/>
                    <a:pt x="171" y="142"/>
                    <a:pt x="175" y="142"/>
                  </a:cubicBezTo>
                  <a:cubicBezTo>
                    <a:pt x="196" y="142"/>
                    <a:pt x="217" y="142"/>
                    <a:pt x="238" y="142"/>
                  </a:cubicBezTo>
                  <a:cubicBezTo>
                    <a:pt x="247" y="142"/>
                    <a:pt x="248" y="148"/>
                    <a:pt x="248" y="155"/>
                  </a:cubicBezTo>
                  <a:cubicBezTo>
                    <a:pt x="249" y="169"/>
                    <a:pt x="248" y="183"/>
                    <a:pt x="248" y="198"/>
                  </a:cubicBezTo>
                  <a:close/>
                  <a:moveTo>
                    <a:pt x="884" y="1181"/>
                  </a:moveTo>
                  <a:cubicBezTo>
                    <a:pt x="889" y="1167"/>
                    <a:pt x="894" y="1152"/>
                    <a:pt x="898" y="1137"/>
                  </a:cubicBezTo>
                  <a:cubicBezTo>
                    <a:pt x="901" y="1127"/>
                    <a:pt x="905" y="1116"/>
                    <a:pt x="908" y="1106"/>
                  </a:cubicBezTo>
                  <a:cubicBezTo>
                    <a:pt x="911" y="1098"/>
                    <a:pt x="912" y="1089"/>
                    <a:pt x="916" y="1081"/>
                  </a:cubicBezTo>
                  <a:cubicBezTo>
                    <a:pt x="921" y="1072"/>
                    <a:pt x="923" y="1060"/>
                    <a:pt x="927" y="1050"/>
                  </a:cubicBezTo>
                  <a:cubicBezTo>
                    <a:pt x="932" y="1037"/>
                    <a:pt x="934" y="1023"/>
                    <a:pt x="940" y="1010"/>
                  </a:cubicBezTo>
                  <a:cubicBezTo>
                    <a:pt x="945" y="1001"/>
                    <a:pt x="941" y="995"/>
                    <a:pt x="931" y="995"/>
                  </a:cubicBezTo>
                  <a:cubicBezTo>
                    <a:pt x="927" y="995"/>
                    <a:pt x="922" y="995"/>
                    <a:pt x="918" y="995"/>
                  </a:cubicBezTo>
                  <a:cubicBezTo>
                    <a:pt x="913" y="995"/>
                    <a:pt x="908" y="997"/>
                    <a:pt x="907" y="1001"/>
                  </a:cubicBezTo>
                  <a:cubicBezTo>
                    <a:pt x="904" y="1008"/>
                    <a:pt x="900" y="1015"/>
                    <a:pt x="899" y="1023"/>
                  </a:cubicBezTo>
                  <a:cubicBezTo>
                    <a:pt x="897" y="1034"/>
                    <a:pt x="893" y="1045"/>
                    <a:pt x="889" y="1055"/>
                  </a:cubicBezTo>
                  <a:cubicBezTo>
                    <a:pt x="887" y="1064"/>
                    <a:pt x="885" y="1072"/>
                    <a:pt x="882" y="1080"/>
                  </a:cubicBezTo>
                  <a:cubicBezTo>
                    <a:pt x="878" y="1091"/>
                    <a:pt x="874" y="1103"/>
                    <a:pt x="871" y="1115"/>
                  </a:cubicBezTo>
                  <a:cubicBezTo>
                    <a:pt x="870" y="1118"/>
                    <a:pt x="871" y="1124"/>
                    <a:pt x="866" y="1124"/>
                  </a:cubicBezTo>
                  <a:cubicBezTo>
                    <a:pt x="861" y="1125"/>
                    <a:pt x="859" y="1120"/>
                    <a:pt x="858" y="1115"/>
                  </a:cubicBezTo>
                  <a:cubicBezTo>
                    <a:pt x="856" y="1110"/>
                    <a:pt x="856" y="1104"/>
                    <a:pt x="854" y="1099"/>
                  </a:cubicBezTo>
                  <a:cubicBezTo>
                    <a:pt x="848" y="1080"/>
                    <a:pt x="841" y="1062"/>
                    <a:pt x="835" y="1044"/>
                  </a:cubicBezTo>
                  <a:cubicBezTo>
                    <a:pt x="831" y="1030"/>
                    <a:pt x="828" y="1016"/>
                    <a:pt x="822" y="1003"/>
                  </a:cubicBezTo>
                  <a:cubicBezTo>
                    <a:pt x="819" y="997"/>
                    <a:pt x="814" y="994"/>
                    <a:pt x="808" y="994"/>
                  </a:cubicBezTo>
                  <a:cubicBezTo>
                    <a:pt x="799" y="993"/>
                    <a:pt x="791" y="993"/>
                    <a:pt x="787" y="1001"/>
                  </a:cubicBezTo>
                  <a:cubicBezTo>
                    <a:pt x="783" y="1008"/>
                    <a:pt x="780" y="1015"/>
                    <a:pt x="779" y="1022"/>
                  </a:cubicBezTo>
                  <a:cubicBezTo>
                    <a:pt x="778" y="1034"/>
                    <a:pt x="772" y="1044"/>
                    <a:pt x="769" y="1055"/>
                  </a:cubicBezTo>
                  <a:cubicBezTo>
                    <a:pt x="762" y="1076"/>
                    <a:pt x="754" y="1096"/>
                    <a:pt x="749" y="1117"/>
                  </a:cubicBezTo>
                  <a:cubicBezTo>
                    <a:pt x="748" y="1120"/>
                    <a:pt x="747" y="1124"/>
                    <a:pt x="742" y="1124"/>
                  </a:cubicBezTo>
                  <a:cubicBezTo>
                    <a:pt x="737" y="1124"/>
                    <a:pt x="737" y="1120"/>
                    <a:pt x="736" y="1116"/>
                  </a:cubicBezTo>
                  <a:cubicBezTo>
                    <a:pt x="734" y="1104"/>
                    <a:pt x="730" y="1092"/>
                    <a:pt x="726" y="1080"/>
                  </a:cubicBezTo>
                  <a:cubicBezTo>
                    <a:pt x="720" y="1061"/>
                    <a:pt x="714" y="1040"/>
                    <a:pt x="708" y="1020"/>
                  </a:cubicBezTo>
                  <a:cubicBezTo>
                    <a:pt x="703" y="1000"/>
                    <a:pt x="698" y="994"/>
                    <a:pt x="676" y="995"/>
                  </a:cubicBezTo>
                  <a:cubicBezTo>
                    <a:pt x="665" y="996"/>
                    <a:pt x="661" y="1001"/>
                    <a:pt x="667" y="1011"/>
                  </a:cubicBezTo>
                  <a:cubicBezTo>
                    <a:pt x="669" y="1016"/>
                    <a:pt x="670" y="1021"/>
                    <a:pt x="672" y="1025"/>
                  </a:cubicBezTo>
                  <a:cubicBezTo>
                    <a:pt x="675" y="1035"/>
                    <a:pt x="678" y="1046"/>
                    <a:pt x="681" y="1055"/>
                  </a:cubicBezTo>
                  <a:cubicBezTo>
                    <a:pt x="685" y="1068"/>
                    <a:pt x="689" y="1080"/>
                    <a:pt x="693" y="1092"/>
                  </a:cubicBezTo>
                  <a:cubicBezTo>
                    <a:pt x="697" y="1103"/>
                    <a:pt x="699" y="1113"/>
                    <a:pt x="703" y="1124"/>
                  </a:cubicBezTo>
                  <a:cubicBezTo>
                    <a:pt x="707" y="1136"/>
                    <a:pt x="711" y="1147"/>
                    <a:pt x="715" y="1160"/>
                  </a:cubicBezTo>
                  <a:cubicBezTo>
                    <a:pt x="717" y="1168"/>
                    <a:pt x="720" y="1176"/>
                    <a:pt x="724" y="1183"/>
                  </a:cubicBezTo>
                  <a:cubicBezTo>
                    <a:pt x="728" y="1189"/>
                    <a:pt x="752" y="1185"/>
                    <a:pt x="757" y="1180"/>
                  </a:cubicBezTo>
                  <a:cubicBezTo>
                    <a:pt x="764" y="1173"/>
                    <a:pt x="762" y="1163"/>
                    <a:pt x="766" y="1156"/>
                  </a:cubicBezTo>
                  <a:cubicBezTo>
                    <a:pt x="774" y="1140"/>
                    <a:pt x="778" y="1122"/>
                    <a:pt x="784" y="1105"/>
                  </a:cubicBezTo>
                  <a:cubicBezTo>
                    <a:pt x="789" y="1088"/>
                    <a:pt x="796" y="1072"/>
                    <a:pt x="800" y="1054"/>
                  </a:cubicBezTo>
                  <a:cubicBezTo>
                    <a:pt x="800" y="1053"/>
                    <a:pt x="801" y="1050"/>
                    <a:pt x="803" y="1050"/>
                  </a:cubicBezTo>
                  <a:cubicBezTo>
                    <a:pt x="806" y="1050"/>
                    <a:pt x="806" y="1052"/>
                    <a:pt x="807" y="1055"/>
                  </a:cubicBezTo>
                  <a:cubicBezTo>
                    <a:pt x="807" y="1060"/>
                    <a:pt x="810" y="1066"/>
                    <a:pt x="811" y="1071"/>
                  </a:cubicBezTo>
                  <a:cubicBezTo>
                    <a:pt x="814" y="1081"/>
                    <a:pt x="818" y="1090"/>
                    <a:pt x="821" y="1099"/>
                  </a:cubicBezTo>
                  <a:cubicBezTo>
                    <a:pt x="824" y="1110"/>
                    <a:pt x="827" y="1120"/>
                    <a:pt x="831" y="1131"/>
                  </a:cubicBezTo>
                  <a:cubicBezTo>
                    <a:pt x="834" y="1142"/>
                    <a:pt x="839" y="1153"/>
                    <a:pt x="842" y="1164"/>
                  </a:cubicBezTo>
                  <a:cubicBezTo>
                    <a:pt x="846" y="1179"/>
                    <a:pt x="850" y="1188"/>
                    <a:pt x="869" y="1185"/>
                  </a:cubicBezTo>
                  <a:cubicBezTo>
                    <a:pt x="873" y="1184"/>
                    <a:pt x="881" y="1189"/>
                    <a:pt x="884" y="1181"/>
                  </a:cubicBezTo>
                  <a:close/>
                  <a:moveTo>
                    <a:pt x="33" y="1051"/>
                  </a:moveTo>
                  <a:cubicBezTo>
                    <a:pt x="33" y="1087"/>
                    <a:pt x="33" y="1124"/>
                    <a:pt x="33" y="1160"/>
                  </a:cubicBezTo>
                  <a:cubicBezTo>
                    <a:pt x="33" y="1188"/>
                    <a:pt x="29" y="1184"/>
                    <a:pt x="58" y="1185"/>
                  </a:cubicBezTo>
                  <a:cubicBezTo>
                    <a:pt x="72" y="1185"/>
                    <a:pt x="73" y="1184"/>
                    <a:pt x="73" y="1170"/>
                  </a:cubicBezTo>
                  <a:cubicBezTo>
                    <a:pt x="73" y="1138"/>
                    <a:pt x="73" y="1107"/>
                    <a:pt x="73" y="1076"/>
                  </a:cubicBezTo>
                  <a:cubicBezTo>
                    <a:pt x="73" y="1071"/>
                    <a:pt x="72" y="1067"/>
                    <a:pt x="78" y="1065"/>
                  </a:cubicBezTo>
                  <a:cubicBezTo>
                    <a:pt x="91" y="1062"/>
                    <a:pt x="102" y="1067"/>
                    <a:pt x="110" y="1076"/>
                  </a:cubicBezTo>
                  <a:cubicBezTo>
                    <a:pt x="112" y="1080"/>
                    <a:pt x="115" y="1083"/>
                    <a:pt x="118" y="1086"/>
                  </a:cubicBezTo>
                  <a:cubicBezTo>
                    <a:pt x="132" y="1103"/>
                    <a:pt x="146" y="1119"/>
                    <a:pt x="161" y="1136"/>
                  </a:cubicBezTo>
                  <a:cubicBezTo>
                    <a:pt x="173" y="1150"/>
                    <a:pt x="186" y="1165"/>
                    <a:pt x="198" y="1179"/>
                  </a:cubicBezTo>
                  <a:cubicBezTo>
                    <a:pt x="207" y="1188"/>
                    <a:pt x="218" y="1184"/>
                    <a:pt x="228" y="1185"/>
                  </a:cubicBezTo>
                  <a:cubicBezTo>
                    <a:pt x="233" y="1185"/>
                    <a:pt x="241" y="1188"/>
                    <a:pt x="244" y="1182"/>
                  </a:cubicBezTo>
                  <a:cubicBezTo>
                    <a:pt x="246" y="1178"/>
                    <a:pt x="239" y="1173"/>
                    <a:pt x="235" y="1169"/>
                  </a:cubicBezTo>
                  <a:cubicBezTo>
                    <a:pt x="206" y="1133"/>
                    <a:pt x="176" y="1098"/>
                    <a:pt x="146" y="1062"/>
                  </a:cubicBezTo>
                  <a:cubicBezTo>
                    <a:pt x="141" y="1056"/>
                    <a:pt x="131" y="1052"/>
                    <a:pt x="132" y="1044"/>
                  </a:cubicBezTo>
                  <a:cubicBezTo>
                    <a:pt x="132" y="1036"/>
                    <a:pt x="142" y="1032"/>
                    <a:pt x="147" y="1026"/>
                  </a:cubicBezTo>
                  <a:cubicBezTo>
                    <a:pt x="164" y="1006"/>
                    <a:pt x="182" y="988"/>
                    <a:pt x="198" y="968"/>
                  </a:cubicBezTo>
                  <a:cubicBezTo>
                    <a:pt x="209" y="954"/>
                    <a:pt x="221" y="942"/>
                    <a:pt x="234" y="929"/>
                  </a:cubicBezTo>
                  <a:cubicBezTo>
                    <a:pt x="236" y="926"/>
                    <a:pt x="238" y="923"/>
                    <a:pt x="237" y="920"/>
                  </a:cubicBezTo>
                  <a:cubicBezTo>
                    <a:pt x="235" y="915"/>
                    <a:pt x="231" y="917"/>
                    <a:pt x="228" y="917"/>
                  </a:cubicBezTo>
                  <a:cubicBezTo>
                    <a:pt x="224" y="918"/>
                    <a:pt x="221" y="918"/>
                    <a:pt x="217" y="918"/>
                  </a:cubicBezTo>
                  <a:cubicBezTo>
                    <a:pt x="204" y="917"/>
                    <a:pt x="193" y="922"/>
                    <a:pt x="185" y="931"/>
                  </a:cubicBezTo>
                  <a:cubicBezTo>
                    <a:pt x="172" y="946"/>
                    <a:pt x="158" y="961"/>
                    <a:pt x="145" y="977"/>
                  </a:cubicBezTo>
                  <a:cubicBezTo>
                    <a:pt x="131" y="993"/>
                    <a:pt x="117" y="1010"/>
                    <a:pt x="102" y="1026"/>
                  </a:cubicBezTo>
                  <a:cubicBezTo>
                    <a:pt x="96" y="1032"/>
                    <a:pt x="87" y="1037"/>
                    <a:pt x="78" y="1034"/>
                  </a:cubicBezTo>
                  <a:cubicBezTo>
                    <a:pt x="70" y="1030"/>
                    <a:pt x="73" y="1021"/>
                    <a:pt x="73" y="1015"/>
                  </a:cubicBezTo>
                  <a:cubicBezTo>
                    <a:pt x="73" y="991"/>
                    <a:pt x="73" y="967"/>
                    <a:pt x="73" y="944"/>
                  </a:cubicBezTo>
                  <a:cubicBezTo>
                    <a:pt x="73" y="916"/>
                    <a:pt x="75" y="917"/>
                    <a:pt x="46" y="918"/>
                  </a:cubicBezTo>
                  <a:cubicBezTo>
                    <a:pt x="33" y="918"/>
                    <a:pt x="33" y="918"/>
                    <a:pt x="33" y="931"/>
                  </a:cubicBezTo>
                  <a:cubicBezTo>
                    <a:pt x="33" y="971"/>
                    <a:pt x="33" y="1011"/>
                    <a:pt x="33" y="1051"/>
                  </a:cubicBezTo>
                  <a:cubicBezTo>
                    <a:pt x="33" y="1051"/>
                    <a:pt x="33" y="1051"/>
                    <a:pt x="33" y="1051"/>
                  </a:cubicBezTo>
                  <a:close/>
                  <a:moveTo>
                    <a:pt x="639" y="84"/>
                  </a:moveTo>
                  <a:cubicBezTo>
                    <a:pt x="627" y="84"/>
                    <a:pt x="626" y="84"/>
                    <a:pt x="629" y="95"/>
                  </a:cubicBezTo>
                  <a:cubicBezTo>
                    <a:pt x="634" y="113"/>
                    <a:pt x="640" y="131"/>
                    <a:pt x="646" y="148"/>
                  </a:cubicBezTo>
                  <a:cubicBezTo>
                    <a:pt x="652" y="166"/>
                    <a:pt x="658" y="185"/>
                    <a:pt x="664" y="203"/>
                  </a:cubicBezTo>
                  <a:cubicBezTo>
                    <a:pt x="671" y="223"/>
                    <a:pt x="676" y="244"/>
                    <a:pt x="684" y="264"/>
                  </a:cubicBezTo>
                  <a:cubicBezTo>
                    <a:pt x="688" y="274"/>
                    <a:pt x="694" y="274"/>
                    <a:pt x="702" y="274"/>
                  </a:cubicBezTo>
                  <a:cubicBezTo>
                    <a:pt x="711" y="274"/>
                    <a:pt x="719" y="272"/>
                    <a:pt x="723" y="263"/>
                  </a:cubicBezTo>
                  <a:cubicBezTo>
                    <a:pt x="733" y="236"/>
                    <a:pt x="741" y="208"/>
                    <a:pt x="750" y="181"/>
                  </a:cubicBezTo>
                  <a:cubicBezTo>
                    <a:pt x="754" y="169"/>
                    <a:pt x="757" y="156"/>
                    <a:pt x="763" y="145"/>
                  </a:cubicBezTo>
                  <a:cubicBezTo>
                    <a:pt x="764" y="143"/>
                    <a:pt x="764" y="140"/>
                    <a:pt x="767" y="140"/>
                  </a:cubicBezTo>
                  <a:cubicBezTo>
                    <a:pt x="770" y="140"/>
                    <a:pt x="770" y="143"/>
                    <a:pt x="771" y="145"/>
                  </a:cubicBezTo>
                  <a:cubicBezTo>
                    <a:pt x="771" y="156"/>
                    <a:pt x="777" y="165"/>
                    <a:pt x="780" y="175"/>
                  </a:cubicBezTo>
                  <a:cubicBezTo>
                    <a:pt x="782" y="184"/>
                    <a:pt x="785" y="193"/>
                    <a:pt x="788" y="201"/>
                  </a:cubicBezTo>
                  <a:cubicBezTo>
                    <a:pt x="794" y="219"/>
                    <a:pt x="801" y="237"/>
                    <a:pt x="806" y="255"/>
                  </a:cubicBezTo>
                  <a:cubicBezTo>
                    <a:pt x="811" y="272"/>
                    <a:pt x="825" y="280"/>
                    <a:pt x="842" y="273"/>
                  </a:cubicBezTo>
                  <a:cubicBezTo>
                    <a:pt x="845" y="271"/>
                    <a:pt x="847" y="269"/>
                    <a:pt x="848" y="266"/>
                  </a:cubicBezTo>
                  <a:cubicBezTo>
                    <a:pt x="853" y="251"/>
                    <a:pt x="859" y="236"/>
                    <a:pt x="863" y="221"/>
                  </a:cubicBezTo>
                  <a:cubicBezTo>
                    <a:pt x="867" y="202"/>
                    <a:pt x="875" y="185"/>
                    <a:pt x="880" y="166"/>
                  </a:cubicBezTo>
                  <a:cubicBezTo>
                    <a:pt x="886" y="144"/>
                    <a:pt x="895" y="123"/>
                    <a:pt x="900" y="101"/>
                  </a:cubicBezTo>
                  <a:cubicBezTo>
                    <a:pt x="901" y="96"/>
                    <a:pt x="909" y="91"/>
                    <a:pt x="904" y="86"/>
                  </a:cubicBezTo>
                  <a:cubicBezTo>
                    <a:pt x="900" y="81"/>
                    <a:pt x="892" y="84"/>
                    <a:pt x="886" y="84"/>
                  </a:cubicBezTo>
                  <a:cubicBezTo>
                    <a:pt x="885" y="84"/>
                    <a:pt x="883" y="84"/>
                    <a:pt x="881" y="84"/>
                  </a:cubicBezTo>
                  <a:cubicBezTo>
                    <a:pt x="875" y="84"/>
                    <a:pt x="872" y="86"/>
                    <a:pt x="869" y="91"/>
                  </a:cubicBezTo>
                  <a:cubicBezTo>
                    <a:pt x="860" y="110"/>
                    <a:pt x="856" y="131"/>
                    <a:pt x="850" y="151"/>
                  </a:cubicBezTo>
                  <a:cubicBezTo>
                    <a:pt x="844" y="170"/>
                    <a:pt x="836" y="188"/>
                    <a:pt x="834" y="208"/>
                  </a:cubicBezTo>
                  <a:cubicBezTo>
                    <a:pt x="833" y="211"/>
                    <a:pt x="831" y="214"/>
                    <a:pt x="827" y="214"/>
                  </a:cubicBezTo>
                  <a:cubicBezTo>
                    <a:pt x="823" y="214"/>
                    <a:pt x="822" y="210"/>
                    <a:pt x="822" y="207"/>
                  </a:cubicBezTo>
                  <a:cubicBezTo>
                    <a:pt x="817" y="188"/>
                    <a:pt x="811" y="170"/>
                    <a:pt x="805" y="152"/>
                  </a:cubicBezTo>
                  <a:cubicBezTo>
                    <a:pt x="799" y="133"/>
                    <a:pt x="794" y="114"/>
                    <a:pt x="786" y="96"/>
                  </a:cubicBezTo>
                  <a:cubicBezTo>
                    <a:pt x="783" y="87"/>
                    <a:pt x="779" y="84"/>
                    <a:pt x="770" y="84"/>
                  </a:cubicBezTo>
                  <a:cubicBezTo>
                    <a:pt x="761" y="84"/>
                    <a:pt x="752" y="82"/>
                    <a:pt x="748" y="94"/>
                  </a:cubicBezTo>
                  <a:cubicBezTo>
                    <a:pt x="744" y="109"/>
                    <a:pt x="738" y="123"/>
                    <a:pt x="734" y="138"/>
                  </a:cubicBezTo>
                  <a:cubicBezTo>
                    <a:pt x="729" y="153"/>
                    <a:pt x="724" y="167"/>
                    <a:pt x="719" y="182"/>
                  </a:cubicBezTo>
                  <a:cubicBezTo>
                    <a:pt x="716" y="192"/>
                    <a:pt x="715" y="203"/>
                    <a:pt x="708" y="212"/>
                  </a:cubicBezTo>
                  <a:cubicBezTo>
                    <a:pt x="707" y="214"/>
                    <a:pt x="707" y="217"/>
                    <a:pt x="704" y="217"/>
                  </a:cubicBezTo>
                  <a:cubicBezTo>
                    <a:pt x="701" y="217"/>
                    <a:pt x="701" y="213"/>
                    <a:pt x="700" y="211"/>
                  </a:cubicBezTo>
                  <a:cubicBezTo>
                    <a:pt x="699" y="198"/>
                    <a:pt x="694" y="186"/>
                    <a:pt x="690" y="174"/>
                  </a:cubicBezTo>
                  <a:cubicBezTo>
                    <a:pt x="684" y="153"/>
                    <a:pt x="677" y="131"/>
                    <a:pt x="672" y="110"/>
                  </a:cubicBezTo>
                  <a:cubicBezTo>
                    <a:pt x="667" y="88"/>
                    <a:pt x="663" y="84"/>
                    <a:pt x="645" y="84"/>
                  </a:cubicBezTo>
                  <a:cubicBezTo>
                    <a:pt x="643" y="84"/>
                    <a:pt x="641" y="84"/>
                    <a:pt x="639" y="84"/>
                  </a:cubicBezTo>
                  <a:close/>
                  <a:moveTo>
                    <a:pt x="507" y="711"/>
                  </a:moveTo>
                  <a:cubicBezTo>
                    <a:pt x="507" y="730"/>
                    <a:pt x="507" y="730"/>
                    <a:pt x="526" y="730"/>
                  </a:cubicBezTo>
                  <a:cubicBezTo>
                    <a:pt x="539" y="730"/>
                    <a:pt x="541" y="729"/>
                    <a:pt x="541" y="715"/>
                  </a:cubicBezTo>
                  <a:cubicBezTo>
                    <a:pt x="541" y="677"/>
                    <a:pt x="541" y="638"/>
                    <a:pt x="540" y="600"/>
                  </a:cubicBezTo>
                  <a:cubicBezTo>
                    <a:pt x="540" y="593"/>
                    <a:pt x="543" y="587"/>
                    <a:pt x="548" y="582"/>
                  </a:cubicBezTo>
                  <a:cubicBezTo>
                    <a:pt x="553" y="576"/>
                    <a:pt x="559" y="573"/>
                    <a:pt x="564" y="569"/>
                  </a:cubicBezTo>
                  <a:cubicBezTo>
                    <a:pt x="574" y="564"/>
                    <a:pt x="594" y="566"/>
                    <a:pt x="602" y="574"/>
                  </a:cubicBezTo>
                  <a:cubicBezTo>
                    <a:pt x="611" y="582"/>
                    <a:pt x="614" y="592"/>
                    <a:pt x="614" y="604"/>
                  </a:cubicBezTo>
                  <a:cubicBezTo>
                    <a:pt x="614" y="638"/>
                    <a:pt x="614" y="672"/>
                    <a:pt x="614" y="706"/>
                  </a:cubicBezTo>
                  <a:cubicBezTo>
                    <a:pt x="614" y="730"/>
                    <a:pt x="614" y="730"/>
                    <a:pt x="638" y="730"/>
                  </a:cubicBezTo>
                  <a:cubicBezTo>
                    <a:pt x="650" y="730"/>
                    <a:pt x="650" y="730"/>
                    <a:pt x="650" y="717"/>
                  </a:cubicBezTo>
                  <a:cubicBezTo>
                    <a:pt x="650" y="684"/>
                    <a:pt x="650" y="650"/>
                    <a:pt x="650" y="617"/>
                  </a:cubicBezTo>
                  <a:cubicBezTo>
                    <a:pt x="650" y="606"/>
                    <a:pt x="651" y="597"/>
                    <a:pt x="657" y="586"/>
                  </a:cubicBezTo>
                  <a:cubicBezTo>
                    <a:pt x="667" y="565"/>
                    <a:pt x="703" y="560"/>
                    <a:pt x="716" y="579"/>
                  </a:cubicBezTo>
                  <a:cubicBezTo>
                    <a:pt x="723" y="588"/>
                    <a:pt x="724" y="598"/>
                    <a:pt x="724" y="609"/>
                  </a:cubicBezTo>
                  <a:cubicBezTo>
                    <a:pt x="724" y="645"/>
                    <a:pt x="724" y="682"/>
                    <a:pt x="724" y="718"/>
                  </a:cubicBezTo>
                  <a:cubicBezTo>
                    <a:pt x="724" y="727"/>
                    <a:pt x="727" y="731"/>
                    <a:pt x="736" y="730"/>
                  </a:cubicBezTo>
                  <a:cubicBezTo>
                    <a:pt x="738" y="730"/>
                    <a:pt x="741" y="730"/>
                    <a:pt x="743" y="730"/>
                  </a:cubicBezTo>
                  <a:cubicBezTo>
                    <a:pt x="758" y="730"/>
                    <a:pt x="759" y="729"/>
                    <a:pt x="759" y="715"/>
                  </a:cubicBezTo>
                  <a:cubicBezTo>
                    <a:pt x="759" y="677"/>
                    <a:pt x="758" y="639"/>
                    <a:pt x="759" y="601"/>
                  </a:cubicBezTo>
                  <a:cubicBezTo>
                    <a:pt x="759" y="571"/>
                    <a:pt x="742" y="540"/>
                    <a:pt x="704" y="538"/>
                  </a:cubicBezTo>
                  <a:cubicBezTo>
                    <a:pt x="681" y="536"/>
                    <a:pt x="661" y="542"/>
                    <a:pt x="646" y="560"/>
                  </a:cubicBezTo>
                  <a:cubicBezTo>
                    <a:pt x="638" y="569"/>
                    <a:pt x="638" y="569"/>
                    <a:pt x="631" y="559"/>
                  </a:cubicBezTo>
                  <a:cubicBezTo>
                    <a:pt x="630" y="558"/>
                    <a:pt x="630" y="557"/>
                    <a:pt x="629" y="556"/>
                  </a:cubicBezTo>
                  <a:cubicBezTo>
                    <a:pt x="623" y="548"/>
                    <a:pt x="616" y="541"/>
                    <a:pt x="607" y="539"/>
                  </a:cubicBezTo>
                  <a:cubicBezTo>
                    <a:pt x="584" y="534"/>
                    <a:pt x="563" y="539"/>
                    <a:pt x="545" y="555"/>
                  </a:cubicBezTo>
                  <a:cubicBezTo>
                    <a:pt x="540" y="559"/>
                    <a:pt x="537" y="561"/>
                    <a:pt x="537" y="552"/>
                  </a:cubicBezTo>
                  <a:cubicBezTo>
                    <a:pt x="536" y="543"/>
                    <a:pt x="526" y="538"/>
                    <a:pt x="515" y="539"/>
                  </a:cubicBezTo>
                  <a:cubicBezTo>
                    <a:pt x="506" y="540"/>
                    <a:pt x="507" y="546"/>
                    <a:pt x="507" y="552"/>
                  </a:cubicBezTo>
                  <a:cubicBezTo>
                    <a:pt x="507" y="580"/>
                    <a:pt x="507" y="607"/>
                    <a:pt x="507" y="634"/>
                  </a:cubicBezTo>
                  <a:cubicBezTo>
                    <a:pt x="507" y="660"/>
                    <a:pt x="507" y="685"/>
                    <a:pt x="507" y="711"/>
                  </a:cubicBezTo>
                  <a:close/>
                  <a:moveTo>
                    <a:pt x="1525" y="1142"/>
                  </a:moveTo>
                  <a:cubicBezTo>
                    <a:pt x="1517" y="1143"/>
                    <a:pt x="1511" y="1141"/>
                    <a:pt x="1505" y="1136"/>
                  </a:cubicBezTo>
                  <a:cubicBezTo>
                    <a:pt x="1501" y="1133"/>
                    <a:pt x="1495" y="1130"/>
                    <a:pt x="1498" y="1124"/>
                  </a:cubicBezTo>
                  <a:cubicBezTo>
                    <a:pt x="1500" y="1118"/>
                    <a:pt x="1504" y="1114"/>
                    <a:pt x="1512" y="1114"/>
                  </a:cubicBezTo>
                  <a:cubicBezTo>
                    <a:pt x="1521" y="1115"/>
                    <a:pt x="1530" y="1114"/>
                    <a:pt x="1538" y="1115"/>
                  </a:cubicBezTo>
                  <a:cubicBezTo>
                    <a:pt x="1573" y="1117"/>
                    <a:pt x="1610" y="1084"/>
                    <a:pt x="1602" y="1044"/>
                  </a:cubicBezTo>
                  <a:cubicBezTo>
                    <a:pt x="1600" y="1035"/>
                    <a:pt x="1599" y="1028"/>
                    <a:pt x="1611" y="1027"/>
                  </a:cubicBezTo>
                  <a:cubicBezTo>
                    <a:pt x="1614" y="1027"/>
                    <a:pt x="1617" y="1024"/>
                    <a:pt x="1619" y="1023"/>
                  </a:cubicBezTo>
                  <a:cubicBezTo>
                    <a:pt x="1626" y="1019"/>
                    <a:pt x="1624" y="1013"/>
                    <a:pt x="1623" y="1008"/>
                  </a:cubicBezTo>
                  <a:cubicBezTo>
                    <a:pt x="1623" y="1002"/>
                    <a:pt x="1618" y="1003"/>
                    <a:pt x="1613" y="1002"/>
                  </a:cubicBezTo>
                  <a:cubicBezTo>
                    <a:pt x="1598" y="1002"/>
                    <a:pt x="1582" y="1004"/>
                    <a:pt x="1567" y="1000"/>
                  </a:cubicBezTo>
                  <a:cubicBezTo>
                    <a:pt x="1560" y="999"/>
                    <a:pt x="1554" y="993"/>
                    <a:pt x="1546" y="993"/>
                  </a:cubicBezTo>
                  <a:cubicBezTo>
                    <a:pt x="1536" y="994"/>
                    <a:pt x="1525" y="992"/>
                    <a:pt x="1515" y="993"/>
                  </a:cubicBezTo>
                  <a:cubicBezTo>
                    <a:pt x="1490" y="997"/>
                    <a:pt x="1469" y="1010"/>
                    <a:pt x="1462" y="1034"/>
                  </a:cubicBezTo>
                  <a:cubicBezTo>
                    <a:pt x="1455" y="1056"/>
                    <a:pt x="1457" y="1079"/>
                    <a:pt x="1476" y="1096"/>
                  </a:cubicBezTo>
                  <a:cubicBezTo>
                    <a:pt x="1483" y="1103"/>
                    <a:pt x="1483" y="1107"/>
                    <a:pt x="1476" y="1113"/>
                  </a:cubicBezTo>
                  <a:cubicBezTo>
                    <a:pt x="1462" y="1126"/>
                    <a:pt x="1462" y="1142"/>
                    <a:pt x="1473" y="1157"/>
                  </a:cubicBezTo>
                  <a:cubicBezTo>
                    <a:pt x="1476" y="1160"/>
                    <a:pt x="1476" y="1162"/>
                    <a:pt x="1472" y="1164"/>
                  </a:cubicBezTo>
                  <a:cubicBezTo>
                    <a:pt x="1470" y="1166"/>
                    <a:pt x="1468" y="1168"/>
                    <a:pt x="1466" y="1170"/>
                  </a:cubicBezTo>
                  <a:cubicBezTo>
                    <a:pt x="1449" y="1183"/>
                    <a:pt x="1444" y="1201"/>
                    <a:pt x="1454" y="1218"/>
                  </a:cubicBezTo>
                  <a:cubicBezTo>
                    <a:pt x="1464" y="1235"/>
                    <a:pt x="1479" y="1246"/>
                    <a:pt x="1499" y="1249"/>
                  </a:cubicBezTo>
                  <a:cubicBezTo>
                    <a:pt x="1517" y="1252"/>
                    <a:pt x="1535" y="1253"/>
                    <a:pt x="1553" y="1250"/>
                  </a:cubicBezTo>
                  <a:cubicBezTo>
                    <a:pt x="1584" y="1245"/>
                    <a:pt x="1607" y="1232"/>
                    <a:pt x="1619" y="1200"/>
                  </a:cubicBezTo>
                  <a:cubicBezTo>
                    <a:pt x="1627" y="1180"/>
                    <a:pt x="1611" y="1155"/>
                    <a:pt x="1593" y="1148"/>
                  </a:cubicBezTo>
                  <a:cubicBezTo>
                    <a:pt x="1578" y="1142"/>
                    <a:pt x="1563" y="1143"/>
                    <a:pt x="1549" y="1142"/>
                  </a:cubicBezTo>
                  <a:cubicBezTo>
                    <a:pt x="1540" y="1142"/>
                    <a:pt x="1532" y="1142"/>
                    <a:pt x="1525" y="1142"/>
                  </a:cubicBezTo>
                  <a:close/>
                  <a:moveTo>
                    <a:pt x="1556" y="1172"/>
                  </a:moveTo>
                  <a:cubicBezTo>
                    <a:pt x="1566" y="1172"/>
                    <a:pt x="1576" y="1176"/>
                    <a:pt x="1583" y="1183"/>
                  </a:cubicBezTo>
                  <a:cubicBezTo>
                    <a:pt x="1589" y="1190"/>
                    <a:pt x="1589" y="1198"/>
                    <a:pt x="1583" y="1205"/>
                  </a:cubicBezTo>
                  <a:cubicBezTo>
                    <a:pt x="1575" y="1215"/>
                    <a:pt x="1565" y="1220"/>
                    <a:pt x="1553" y="1223"/>
                  </a:cubicBezTo>
                  <a:cubicBezTo>
                    <a:pt x="1534" y="1228"/>
                    <a:pt x="1516" y="1225"/>
                    <a:pt x="1499" y="1219"/>
                  </a:cubicBezTo>
                  <a:cubicBezTo>
                    <a:pt x="1486" y="1214"/>
                    <a:pt x="1479" y="1203"/>
                    <a:pt x="1482" y="1193"/>
                  </a:cubicBezTo>
                  <a:cubicBezTo>
                    <a:pt x="1485" y="1182"/>
                    <a:pt x="1496" y="1168"/>
                    <a:pt x="1514" y="1171"/>
                  </a:cubicBezTo>
                  <a:cubicBezTo>
                    <a:pt x="1526" y="1173"/>
                    <a:pt x="1541" y="1171"/>
                    <a:pt x="1556" y="1172"/>
                  </a:cubicBezTo>
                  <a:close/>
                  <a:moveTo>
                    <a:pt x="1531" y="1019"/>
                  </a:moveTo>
                  <a:cubicBezTo>
                    <a:pt x="1553" y="1017"/>
                    <a:pt x="1570" y="1033"/>
                    <a:pt x="1570" y="1052"/>
                  </a:cubicBezTo>
                  <a:cubicBezTo>
                    <a:pt x="1570" y="1075"/>
                    <a:pt x="1554" y="1093"/>
                    <a:pt x="1532" y="1091"/>
                  </a:cubicBezTo>
                  <a:cubicBezTo>
                    <a:pt x="1508" y="1089"/>
                    <a:pt x="1494" y="1082"/>
                    <a:pt x="1493" y="1053"/>
                  </a:cubicBezTo>
                  <a:cubicBezTo>
                    <a:pt x="1494" y="1029"/>
                    <a:pt x="1508" y="1020"/>
                    <a:pt x="1531" y="1019"/>
                  </a:cubicBezTo>
                  <a:close/>
                  <a:moveTo>
                    <a:pt x="1413" y="934"/>
                  </a:moveTo>
                  <a:cubicBezTo>
                    <a:pt x="1413" y="909"/>
                    <a:pt x="1413" y="909"/>
                    <a:pt x="1389" y="910"/>
                  </a:cubicBezTo>
                  <a:cubicBezTo>
                    <a:pt x="1388" y="910"/>
                    <a:pt x="1387" y="910"/>
                    <a:pt x="1387" y="910"/>
                  </a:cubicBezTo>
                  <a:cubicBezTo>
                    <a:pt x="1379" y="910"/>
                    <a:pt x="1376" y="915"/>
                    <a:pt x="1376" y="921"/>
                  </a:cubicBezTo>
                  <a:cubicBezTo>
                    <a:pt x="1376" y="939"/>
                    <a:pt x="1377" y="956"/>
                    <a:pt x="1377" y="974"/>
                  </a:cubicBezTo>
                  <a:cubicBezTo>
                    <a:pt x="1377" y="983"/>
                    <a:pt x="1377" y="991"/>
                    <a:pt x="1377" y="1000"/>
                  </a:cubicBezTo>
                  <a:cubicBezTo>
                    <a:pt x="1377" y="1005"/>
                    <a:pt x="1374" y="1009"/>
                    <a:pt x="1369" y="1005"/>
                  </a:cubicBezTo>
                  <a:cubicBezTo>
                    <a:pt x="1352" y="990"/>
                    <a:pt x="1332" y="993"/>
                    <a:pt x="1312" y="993"/>
                  </a:cubicBezTo>
                  <a:cubicBezTo>
                    <a:pt x="1303" y="994"/>
                    <a:pt x="1294" y="998"/>
                    <a:pt x="1287" y="1003"/>
                  </a:cubicBezTo>
                  <a:cubicBezTo>
                    <a:pt x="1265" y="1017"/>
                    <a:pt x="1252" y="1039"/>
                    <a:pt x="1248" y="1065"/>
                  </a:cubicBezTo>
                  <a:cubicBezTo>
                    <a:pt x="1244" y="1096"/>
                    <a:pt x="1244" y="1128"/>
                    <a:pt x="1261" y="1157"/>
                  </a:cubicBezTo>
                  <a:cubicBezTo>
                    <a:pt x="1270" y="1170"/>
                    <a:pt x="1281" y="1181"/>
                    <a:pt x="1296" y="1185"/>
                  </a:cubicBezTo>
                  <a:cubicBezTo>
                    <a:pt x="1323" y="1191"/>
                    <a:pt x="1349" y="1188"/>
                    <a:pt x="1370" y="1167"/>
                  </a:cubicBezTo>
                  <a:cubicBezTo>
                    <a:pt x="1372" y="1165"/>
                    <a:pt x="1375" y="1162"/>
                    <a:pt x="1379" y="1163"/>
                  </a:cubicBezTo>
                  <a:cubicBezTo>
                    <a:pt x="1382" y="1165"/>
                    <a:pt x="1381" y="1169"/>
                    <a:pt x="1381" y="1172"/>
                  </a:cubicBezTo>
                  <a:cubicBezTo>
                    <a:pt x="1383" y="1181"/>
                    <a:pt x="1390" y="1186"/>
                    <a:pt x="1403" y="1186"/>
                  </a:cubicBezTo>
                  <a:cubicBezTo>
                    <a:pt x="1413" y="1185"/>
                    <a:pt x="1413" y="1178"/>
                    <a:pt x="1413" y="1172"/>
                  </a:cubicBezTo>
                  <a:cubicBezTo>
                    <a:pt x="1413" y="1131"/>
                    <a:pt x="1413" y="1090"/>
                    <a:pt x="1413" y="1049"/>
                  </a:cubicBezTo>
                  <a:cubicBezTo>
                    <a:pt x="1413" y="1010"/>
                    <a:pt x="1413" y="972"/>
                    <a:pt x="1413" y="934"/>
                  </a:cubicBezTo>
                  <a:close/>
                  <a:moveTo>
                    <a:pt x="1378" y="1113"/>
                  </a:moveTo>
                  <a:cubicBezTo>
                    <a:pt x="1378" y="1136"/>
                    <a:pt x="1360" y="1155"/>
                    <a:pt x="1337" y="1157"/>
                  </a:cubicBezTo>
                  <a:cubicBezTo>
                    <a:pt x="1319" y="1159"/>
                    <a:pt x="1304" y="1154"/>
                    <a:pt x="1294" y="1139"/>
                  </a:cubicBezTo>
                  <a:cubicBezTo>
                    <a:pt x="1286" y="1128"/>
                    <a:pt x="1283" y="1116"/>
                    <a:pt x="1283" y="1102"/>
                  </a:cubicBezTo>
                  <a:cubicBezTo>
                    <a:pt x="1282" y="1085"/>
                    <a:pt x="1282" y="1067"/>
                    <a:pt x="1290" y="1051"/>
                  </a:cubicBezTo>
                  <a:cubicBezTo>
                    <a:pt x="1297" y="1036"/>
                    <a:pt x="1308" y="1024"/>
                    <a:pt x="1325" y="1022"/>
                  </a:cubicBezTo>
                  <a:cubicBezTo>
                    <a:pt x="1342" y="1020"/>
                    <a:pt x="1358" y="1021"/>
                    <a:pt x="1371" y="1035"/>
                  </a:cubicBezTo>
                  <a:cubicBezTo>
                    <a:pt x="1376" y="1041"/>
                    <a:pt x="1378" y="1046"/>
                    <a:pt x="1378" y="1052"/>
                  </a:cubicBezTo>
                  <a:cubicBezTo>
                    <a:pt x="1378" y="1064"/>
                    <a:pt x="1378" y="1075"/>
                    <a:pt x="1378" y="1086"/>
                  </a:cubicBezTo>
                  <a:cubicBezTo>
                    <a:pt x="1378" y="1086"/>
                    <a:pt x="1378" y="1086"/>
                    <a:pt x="1378" y="1086"/>
                  </a:cubicBezTo>
                  <a:cubicBezTo>
                    <a:pt x="1378" y="1095"/>
                    <a:pt x="1378" y="1104"/>
                    <a:pt x="1378" y="1113"/>
                  </a:cubicBezTo>
                  <a:close/>
                  <a:moveTo>
                    <a:pt x="578" y="259"/>
                  </a:moveTo>
                  <a:cubicBezTo>
                    <a:pt x="603" y="241"/>
                    <a:pt x="611" y="213"/>
                    <a:pt x="614" y="183"/>
                  </a:cubicBezTo>
                  <a:cubicBezTo>
                    <a:pt x="615" y="171"/>
                    <a:pt x="610" y="159"/>
                    <a:pt x="609" y="147"/>
                  </a:cubicBezTo>
                  <a:cubicBezTo>
                    <a:pt x="608" y="137"/>
                    <a:pt x="603" y="129"/>
                    <a:pt x="599" y="121"/>
                  </a:cubicBezTo>
                  <a:cubicBezTo>
                    <a:pt x="579" y="87"/>
                    <a:pt x="527" y="70"/>
                    <a:pt x="488" y="85"/>
                  </a:cubicBezTo>
                  <a:cubicBezTo>
                    <a:pt x="453" y="99"/>
                    <a:pt x="436" y="127"/>
                    <a:pt x="431" y="163"/>
                  </a:cubicBezTo>
                  <a:cubicBezTo>
                    <a:pt x="429" y="180"/>
                    <a:pt x="430" y="196"/>
                    <a:pt x="436" y="213"/>
                  </a:cubicBezTo>
                  <a:cubicBezTo>
                    <a:pt x="439" y="222"/>
                    <a:pt x="442" y="232"/>
                    <a:pt x="447" y="239"/>
                  </a:cubicBezTo>
                  <a:cubicBezTo>
                    <a:pt x="465" y="265"/>
                    <a:pt x="491" y="277"/>
                    <a:pt x="525" y="276"/>
                  </a:cubicBezTo>
                  <a:cubicBezTo>
                    <a:pt x="543" y="278"/>
                    <a:pt x="562" y="271"/>
                    <a:pt x="578" y="259"/>
                  </a:cubicBezTo>
                  <a:close/>
                  <a:moveTo>
                    <a:pt x="471" y="205"/>
                  </a:moveTo>
                  <a:cubicBezTo>
                    <a:pt x="466" y="185"/>
                    <a:pt x="468" y="167"/>
                    <a:pt x="472" y="147"/>
                  </a:cubicBezTo>
                  <a:cubicBezTo>
                    <a:pt x="477" y="130"/>
                    <a:pt x="493" y="116"/>
                    <a:pt x="509" y="112"/>
                  </a:cubicBezTo>
                  <a:cubicBezTo>
                    <a:pt x="525" y="108"/>
                    <a:pt x="539" y="110"/>
                    <a:pt x="553" y="119"/>
                  </a:cubicBezTo>
                  <a:cubicBezTo>
                    <a:pt x="563" y="125"/>
                    <a:pt x="568" y="135"/>
                    <a:pt x="571" y="146"/>
                  </a:cubicBezTo>
                  <a:cubicBezTo>
                    <a:pt x="577" y="167"/>
                    <a:pt x="578" y="189"/>
                    <a:pt x="571" y="211"/>
                  </a:cubicBezTo>
                  <a:cubicBezTo>
                    <a:pt x="565" y="231"/>
                    <a:pt x="549" y="249"/>
                    <a:pt x="521" y="247"/>
                  </a:cubicBezTo>
                  <a:cubicBezTo>
                    <a:pt x="496" y="247"/>
                    <a:pt x="478" y="230"/>
                    <a:pt x="471" y="205"/>
                  </a:cubicBezTo>
                  <a:close/>
                  <a:moveTo>
                    <a:pt x="472" y="1122"/>
                  </a:moveTo>
                  <a:cubicBezTo>
                    <a:pt x="475" y="1136"/>
                    <a:pt x="481" y="1148"/>
                    <a:pt x="491" y="1158"/>
                  </a:cubicBezTo>
                  <a:cubicBezTo>
                    <a:pt x="506" y="1176"/>
                    <a:pt x="524" y="1185"/>
                    <a:pt x="548" y="1187"/>
                  </a:cubicBezTo>
                  <a:cubicBezTo>
                    <a:pt x="568" y="1188"/>
                    <a:pt x="587" y="1187"/>
                    <a:pt x="605" y="1177"/>
                  </a:cubicBezTo>
                  <a:cubicBezTo>
                    <a:pt x="632" y="1162"/>
                    <a:pt x="644" y="1136"/>
                    <a:pt x="649" y="1107"/>
                  </a:cubicBezTo>
                  <a:cubicBezTo>
                    <a:pt x="652" y="1089"/>
                    <a:pt x="649" y="1072"/>
                    <a:pt x="644" y="1054"/>
                  </a:cubicBezTo>
                  <a:cubicBezTo>
                    <a:pt x="638" y="1034"/>
                    <a:pt x="627" y="1019"/>
                    <a:pt x="610" y="1007"/>
                  </a:cubicBezTo>
                  <a:cubicBezTo>
                    <a:pt x="589" y="992"/>
                    <a:pt x="566" y="991"/>
                    <a:pt x="541" y="994"/>
                  </a:cubicBezTo>
                  <a:cubicBezTo>
                    <a:pt x="526" y="995"/>
                    <a:pt x="512" y="1002"/>
                    <a:pt x="500" y="1012"/>
                  </a:cubicBezTo>
                  <a:cubicBezTo>
                    <a:pt x="476" y="1032"/>
                    <a:pt x="469" y="1060"/>
                    <a:pt x="466" y="1095"/>
                  </a:cubicBezTo>
                  <a:cubicBezTo>
                    <a:pt x="465" y="1101"/>
                    <a:pt x="470" y="1111"/>
                    <a:pt x="472" y="1122"/>
                  </a:cubicBezTo>
                  <a:close/>
                  <a:moveTo>
                    <a:pt x="508" y="1113"/>
                  </a:moveTo>
                  <a:cubicBezTo>
                    <a:pt x="505" y="1095"/>
                    <a:pt x="506" y="1078"/>
                    <a:pt x="508" y="1061"/>
                  </a:cubicBezTo>
                  <a:cubicBezTo>
                    <a:pt x="511" y="1042"/>
                    <a:pt x="538" y="1021"/>
                    <a:pt x="554" y="1022"/>
                  </a:cubicBezTo>
                  <a:cubicBezTo>
                    <a:pt x="570" y="1022"/>
                    <a:pt x="586" y="1024"/>
                    <a:pt x="596" y="1037"/>
                  </a:cubicBezTo>
                  <a:cubicBezTo>
                    <a:pt x="602" y="1044"/>
                    <a:pt x="607" y="1052"/>
                    <a:pt x="608" y="1061"/>
                  </a:cubicBezTo>
                  <a:cubicBezTo>
                    <a:pt x="608" y="1064"/>
                    <a:pt x="609" y="1067"/>
                    <a:pt x="610" y="1070"/>
                  </a:cubicBezTo>
                  <a:cubicBezTo>
                    <a:pt x="618" y="1089"/>
                    <a:pt x="612" y="1107"/>
                    <a:pt x="607" y="1125"/>
                  </a:cubicBezTo>
                  <a:cubicBezTo>
                    <a:pt x="601" y="1143"/>
                    <a:pt x="588" y="1160"/>
                    <a:pt x="558" y="1157"/>
                  </a:cubicBezTo>
                  <a:cubicBezTo>
                    <a:pt x="530" y="1157"/>
                    <a:pt x="512" y="1141"/>
                    <a:pt x="508" y="1113"/>
                  </a:cubicBezTo>
                  <a:close/>
                  <a:moveTo>
                    <a:pt x="430" y="716"/>
                  </a:moveTo>
                  <a:cubicBezTo>
                    <a:pt x="450" y="703"/>
                    <a:pt x="459" y="683"/>
                    <a:pt x="464" y="661"/>
                  </a:cubicBezTo>
                  <a:cubicBezTo>
                    <a:pt x="468" y="648"/>
                    <a:pt x="467" y="635"/>
                    <a:pt x="466" y="621"/>
                  </a:cubicBezTo>
                  <a:cubicBezTo>
                    <a:pt x="463" y="592"/>
                    <a:pt x="453" y="567"/>
                    <a:pt x="427" y="550"/>
                  </a:cubicBezTo>
                  <a:cubicBezTo>
                    <a:pt x="401" y="534"/>
                    <a:pt x="372" y="532"/>
                    <a:pt x="345" y="541"/>
                  </a:cubicBezTo>
                  <a:cubicBezTo>
                    <a:pt x="310" y="552"/>
                    <a:pt x="291" y="580"/>
                    <a:pt x="287" y="617"/>
                  </a:cubicBezTo>
                  <a:cubicBezTo>
                    <a:pt x="286" y="629"/>
                    <a:pt x="286" y="641"/>
                    <a:pt x="287" y="654"/>
                  </a:cubicBezTo>
                  <a:cubicBezTo>
                    <a:pt x="289" y="671"/>
                    <a:pt x="295" y="686"/>
                    <a:pt x="306" y="700"/>
                  </a:cubicBezTo>
                  <a:cubicBezTo>
                    <a:pt x="324" y="722"/>
                    <a:pt x="348" y="733"/>
                    <a:pt x="378" y="731"/>
                  </a:cubicBezTo>
                  <a:cubicBezTo>
                    <a:pt x="396" y="733"/>
                    <a:pt x="414" y="727"/>
                    <a:pt x="430" y="716"/>
                  </a:cubicBezTo>
                  <a:close/>
                  <a:moveTo>
                    <a:pt x="331" y="592"/>
                  </a:moveTo>
                  <a:cubicBezTo>
                    <a:pt x="339" y="580"/>
                    <a:pt x="349" y="569"/>
                    <a:pt x="365" y="567"/>
                  </a:cubicBezTo>
                  <a:cubicBezTo>
                    <a:pt x="387" y="564"/>
                    <a:pt x="406" y="568"/>
                    <a:pt x="419" y="588"/>
                  </a:cubicBezTo>
                  <a:cubicBezTo>
                    <a:pt x="423" y="595"/>
                    <a:pt x="426" y="603"/>
                    <a:pt x="427" y="610"/>
                  </a:cubicBezTo>
                  <a:cubicBezTo>
                    <a:pt x="433" y="635"/>
                    <a:pt x="431" y="661"/>
                    <a:pt x="416" y="684"/>
                  </a:cubicBezTo>
                  <a:cubicBezTo>
                    <a:pt x="403" y="706"/>
                    <a:pt x="362" y="708"/>
                    <a:pt x="345" y="692"/>
                  </a:cubicBezTo>
                  <a:cubicBezTo>
                    <a:pt x="329" y="678"/>
                    <a:pt x="323" y="661"/>
                    <a:pt x="323" y="631"/>
                  </a:cubicBezTo>
                  <a:cubicBezTo>
                    <a:pt x="323" y="619"/>
                    <a:pt x="323" y="605"/>
                    <a:pt x="331" y="592"/>
                  </a:cubicBezTo>
                  <a:close/>
                  <a:moveTo>
                    <a:pt x="1073" y="259"/>
                  </a:moveTo>
                  <a:cubicBezTo>
                    <a:pt x="1073" y="269"/>
                    <a:pt x="1075" y="272"/>
                    <a:pt x="1086" y="272"/>
                  </a:cubicBezTo>
                  <a:cubicBezTo>
                    <a:pt x="1088" y="272"/>
                    <a:pt x="1090" y="272"/>
                    <a:pt x="1092" y="272"/>
                  </a:cubicBezTo>
                  <a:cubicBezTo>
                    <a:pt x="1105" y="272"/>
                    <a:pt x="1106" y="271"/>
                    <a:pt x="1106" y="258"/>
                  </a:cubicBezTo>
                  <a:cubicBezTo>
                    <a:pt x="1106" y="221"/>
                    <a:pt x="1106" y="184"/>
                    <a:pt x="1106" y="147"/>
                  </a:cubicBezTo>
                  <a:cubicBezTo>
                    <a:pt x="1106" y="143"/>
                    <a:pt x="1106" y="140"/>
                    <a:pt x="1107" y="137"/>
                  </a:cubicBezTo>
                  <a:cubicBezTo>
                    <a:pt x="1117" y="117"/>
                    <a:pt x="1157" y="104"/>
                    <a:pt x="1177" y="114"/>
                  </a:cubicBezTo>
                  <a:cubicBezTo>
                    <a:pt x="1179" y="115"/>
                    <a:pt x="1180" y="117"/>
                    <a:pt x="1182" y="118"/>
                  </a:cubicBezTo>
                  <a:cubicBezTo>
                    <a:pt x="1194" y="131"/>
                    <a:pt x="1196" y="147"/>
                    <a:pt x="1196" y="163"/>
                  </a:cubicBezTo>
                  <a:cubicBezTo>
                    <a:pt x="1197" y="195"/>
                    <a:pt x="1196" y="226"/>
                    <a:pt x="1196" y="258"/>
                  </a:cubicBezTo>
                  <a:cubicBezTo>
                    <a:pt x="1196" y="271"/>
                    <a:pt x="1197" y="272"/>
                    <a:pt x="1210" y="272"/>
                  </a:cubicBezTo>
                  <a:cubicBezTo>
                    <a:pt x="1212" y="272"/>
                    <a:pt x="1213" y="272"/>
                    <a:pt x="1215" y="272"/>
                  </a:cubicBezTo>
                  <a:cubicBezTo>
                    <a:pt x="1227" y="272"/>
                    <a:pt x="1229" y="270"/>
                    <a:pt x="1229" y="258"/>
                  </a:cubicBezTo>
                  <a:cubicBezTo>
                    <a:pt x="1229" y="222"/>
                    <a:pt x="1229" y="187"/>
                    <a:pt x="1229" y="151"/>
                  </a:cubicBezTo>
                  <a:cubicBezTo>
                    <a:pt x="1229" y="142"/>
                    <a:pt x="1228" y="132"/>
                    <a:pt x="1225" y="123"/>
                  </a:cubicBezTo>
                  <a:cubicBezTo>
                    <a:pt x="1219" y="105"/>
                    <a:pt x="1208" y="91"/>
                    <a:pt x="1189" y="85"/>
                  </a:cubicBezTo>
                  <a:cubicBezTo>
                    <a:pt x="1173" y="80"/>
                    <a:pt x="1156" y="84"/>
                    <a:pt x="1139" y="84"/>
                  </a:cubicBezTo>
                  <a:cubicBezTo>
                    <a:pt x="1137" y="84"/>
                    <a:pt x="1136" y="86"/>
                    <a:pt x="1134" y="87"/>
                  </a:cubicBezTo>
                  <a:cubicBezTo>
                    <a:pt x="1128" y="91"/>
                    <a:pt x="1121" y="96"/>
                    <a:pt x="1115" y="100"/>
                  </a:cubicBezTo>
                  <a:cubicBezTo>
                    <a:pt x="1113" y="102"/>
                    <a:pt x="1111" y="105"/>
                    <a:pt x="1108" y="103"/>
                  </a:cubicBezTo>
                  <a:cubicBezTo>
                    <a:pt x="1105" y="102"/>
                    <a:pt x="1106" y="98"/>
                    <a:pt x="1106" y="96"/>
                  </a:cubicBezTo>
                  <a:cubicBezTo>
                    <a:pt x="1106" y="69"/>
                    <a:pt x="1106" y="43"/>
                    <a:pt x="1106" y="17"/>
                  </a:cubicBezTo>
                  <a:cubicBezTo>
                    <a:pt x="1106" y="0"/>
                    <a:pt x="1106" y="0"/>
                    <a:pt x="1089" y="0"/>
                  </a:cubicBezTo>
                  <a:cubicBezTo>
                    <a:pt x="1074" y="0"/>
                    <a:pt x="1073" y="1"/>
                    <a:pt x="1073" y="16"/>
                  </a:cubicBezTo>
                  <a:cubicBezTo>
                    <a:pt x="1073" y="56"/>
                    <a:pt x="1073" y="96"/>
                    <a:pt x="1073" y="136"/>
                  </a:cubicBezTo>
                  <a:cubicBezTo>
                    <a:pt x="1073" y="177"/>
                    <a:pt x="1073" y="218"/>
                    <a:pt x="1073" y="259"/>
                  </a:cubicBezTo>
                  <a:close/>
                  <a:moveTo>
                    <a:pt x="1150" y="1092"/>
                  </a:moveTo>
                  <a:cubicBezTo>
                    <a:pt x="1168" y="1092"/>
                    <a:pt x="1186" y="1092"/>
                    <a:pt x="1204" y="1092"/>
                  </a:cubicBezTo>
                  <a:cubicBezTo>
                    <a:pt x="1215" y="1092"/>
                    <a:pt x="1218" y="1087"/>
                    <a:pt x="1219" y="1077"/>
                  </a:cubicBezTo>
                  <a:cubicBezTo>
                    <a:pt x="1220" y="1062"/>
                    <a:pt x="1216" y="1049"/>
                    <a:pt x="1210" y="1036"/>
                  </a:cubicBezTo>
                  <a:cubicBezTo>
                    <a:pt x="1204" y="1020"/>
                    <a:pt x="1193" y="1008"/>
                    <a:pt x="1177" y="1001"/>
                  </a:cubicBezTo>
                  <a:cubicBezTo>
                    <a:pt x="1155" y="992"/>
                    <a:pt x="1133" y="991"/>
                    <a:pt x="1109" y="999"/>
                  </a:cubicBezTo>
                  <a:cubicBezTo>
                    <a:pt x="1079" y="1010"/>
                    <a:pt x="1062" y="1031"/>
                    <a:pt x="1056" y="1061"/>
                  </a:cubicBezTo>
                  <a:cubicBezTo>
                    <a:pt x="1051" y="1090"/>
                    <a:pt x="1052" y="1120"/>
                    <a:pt x="1069" y="1148"/>
                  </a:cubicBezTo>
                  <a:cubicBezTo>
                    <a:pt x="1081" y="1169"/>
                    <a:pt x="1100" y="1180"/>
                    <a:pt x="1122" y="1185"/>
                  </a:cubicBezTo>
                  <a:cubicBezTo>
                    <a:pt x="1149" y="1190"/>
                    <a:pt x="1176" y="1186"/>
                    <a:pt x="1200" y="1171"/>
                  </a:cubicBezTo>
                  <a:cubicBezTo>
                    <a:pt x="1206" y="1168"/>
                    <a:pt x="1213" y="1165"/>
                    <a:pt x="1214" y="1157"/>
                  </a:cubicBezTo>
                  <a:cubicBezTo>
                    <a:pt x="1215" y="1147"/>
                    <a:pt x="1202" y="1139"/>
                    <a:pt x="1193" y="1144"/>
                  </a:cubicBezTo>
                  <a:cubicBezTo>
                    <a:pt x="1187" y="1147"/>
                    <a:pt x="1180" y="1150"/>
                    <a:pt x="1174" y="1153"/>
                  </a:cubicBezTo>
                  <a:cubicBezTo>
                    <a:pt x="1158" y="1161"/>
                    <a:pt x="1140" y="1161"/>
                    <a:pt x="1124" y="1155"/>
                  </a:cubicBezTo>
                  <a:cubicBezTo>
                    <a:pt x="1112" y="1151"/>
                    <a:pt x="1102" y="1142"/>
                    <a:pt x="1096" y="1129"/>
                  </a:cubicBezTo>
                  <a:cubicBezTo>
                    <a:pt x="1092" y="1121"/>
                    <a:pt x="1091" y="1112"/>
                    <a:pt x="1089" y="1104"/>
                  </a:cubicBezTo>
                  <a:cubicBezTo>
                    <a:pt x="1087" y="1093"/>
                    <a:pt x="1087" y="1092"/>
                    <a:pt x="1099" y="1092"/>
                  </a:cubicBezTo>
                  <a:cubicBezTo>
                    <a:pt x="1116" y="1092"/>
                    <a:pt x="1133" y="1092"/>
                    <a:pt x="1150" y="1092"/>
                  </a:cubicBezTo>
                  <a:cubicBezTo>
                    <a:pt x="1150" y="1092"/>
                    <a:pt x="1150" y="1092"/>
                    <a:pt x="1150" y="1092"/>
                  </a:cubicBezTo>
                  <a:close/>
                  <a:moveTo>
                    <a:pt x="1099" y="1070"/>
                  </a:moveTo>
                  <a:cubicBezTo>
                    <a:pt x="1092" y="1071"/>
                    <a:pt x="1089" y="1067"/>
                    <a:pt x="1091" y="1060"/>
                  </a:cubicBezTo>
                  <a:cubicBezTo>
                    <a:pt x="1094" y="1045"/>
                    <a:pt x="1108" y="1023"/>
                    <a:pt x="1128" y="1022"/>
                  </a:cubicBezTo>
                  <a:cubicBezTo>
                    <a:pt x="1142" y="1021"/>
                    <a:pt x="1156" y="1018"/>
                    <a:pt x="1168" y="1029"/>
                  </a:cubicBezTo>
                  <a:cubicBezTo>
                    <a:pt x="1181" y="1038"/>
                    <a:pt x="1185" y="1051"/>
                    <a:pt x="1187" y="1066"/>
                  </a:cubicBezTo>
                  <a:cubicBezTo>
                    <a:pt x="1188" y="1071"/>
                    <a:pt x="1183" y="1070"/>
                    <a:pt x="1180" y="1070"/>
                  </a:cubicBezTo>
                  <a:cubicBezTo>
                    <a:pt x="1166" y="1070"/>
                    <a:pt x="1153" y="1070"/>
                    <a:pt x="1139" y="1070"/>
                  </a:cubicBezTo>
                  <a:cubicBezTo>
                    <a:pt x="1139" y="1070"/>
                    <a:pt x="1139" y="1070"/>
                    <a:pt x="1139" y="1070"/>
                  </a:cubicBezTo>
                  <a:cubicBezTo>
                    <a:pt x="1126" y="1070"/>
                    <a:pt x="1113" y="1070"/>
                    <a:pt x="1099" y="1070"/>
                  </a:cubicBezTo>
                  <a:close/>
                  <a:moveTo>
                    <a:pt x="1741" y="1092"/>
                  </a:moveTo>
                  <a:cubicBezTo>
                    <a:pt x="1759" y="1092"/>
                    <a:pt x="1776" y="1092"/>
                    <a:pt x="1793" y="1092"/>
                  </a:cubicBezTo>
                  <a:cubicBezTo>
                    <a:pt x="1806" y="1092"/>
                    <a:pt x="1808" y="1089"/>
                    <a:pt x="1808" y="1076"/>
                  </a:cubicBezTo>
                  <a:cubicBezTo>
                    <a:pt x="1809" y="1063"/>
                    <a:pt x="1807" y="1051"/>
                    <a:pt x="1802" y="1038"/>
                  </a:cubicBezTo>
                  <a:cubicBezTo>
                    <a:pt x="1794" y="1021"/>
                    <a:pt x="1782" y="1008"/>
                    <a:pt x="1764" y="1000"/>
                  </a:cubicBezTo>
                  <a:cubicBezTo>
                    <a:pt x="1742" y="991"/>
                    <a:pt x="1720" y="991"/>
                    <a:pt x="1698" y="1000"/>
                  </a:cubicBezTo>
                  <a:cubicBezTo>
                    <a:pt x="1681" y="1006"/>
                    <a:pt x="1668" y="1016"/>
                    <a:pt x="1659" y="1031"/>
                  </a:cubicBezTo>
                  <a:cubicBezTo>
                    <a:pt x="1646" y="1050"/>
                    <a:pt x="1643" y="1071"/>
                    <a:pt x="1644" y="1094"/>
                  </a:cubicBezTo>
                  <a:cubicBezTo>
                    <a:pt x="1644" y="1110"/>
                    <a:pt x="1647" y="1127"/>
                    <a:pt x="1655" y="1141"/>
                  </a:cubicBezTo>
                  <a:cubicBezTo>
                    <a:pt x="1669" y="1168"/>
                    <a:pt x="1691" y="1183"/>
                    <a:pt x="1722" y="1186"/>
                  </a:cubicBezTo>
                  <a:cubicBezTo>
                    <a:pt x="1750" y="1188"/>
                    <a:pt x="1775" y="1183"/>
                    <a:pt x="1798" y="1165"/>
                  </a:cubicBezTo>
                  <a:cubicBezTo>
                    <a:pt x="1803" y="1161"/>
                    <a:pt x="1806" y="1157"/>
                    <a:pt x="1802" y="1151"/>
                  </a:cubicBezTo>
                  <a:cubicBezTo>
                    <a:pt x="1798" y="1144"/>
                    <a:pt x="1791" y="1140"/>
                    <a:pt x="1783" y="1144"/>
                  </a:cubicBezTo>
                  <a:cubicBezTo>
                    <a:pt x="1778" y="1147"/>
                    <a:pt x="1771" y="1149"/>
                    <a:pt x="1766" y="1152"/>
                  </a:cubicBezTo>
                  <a:cubicBezTo>
                    <a:pt x="1749" y="1161"/>
                    <a:pt x="1730" y="1162"/>
                    <a:pt x="1714" y="1155"/>
                  </a:cubicBezTo>
                  <a:cubicBezTo>
                    <a:pt x="1692" y="1145"/>
                    <a:pt x="1680" y="1127"/>
                    <a:pt x="1679" y="1102"/>
                  </a:cubicBezTo>
                  <a:cubicBezTo>
                    <a:pt x="1678" y="1095"/>
                    <a:pt x="1681" y="1092"/>
                    <a:pt x="1689" y="1092"/>
                  </a:cubicBezTo>
                  <a:cubicBezTo>
                    <a:pt x="1706" y="1092"/>
                    <a:pt x="1724" y="1092"/>
                    <a:pt x="1741" y="1092"/>
                  </a:cubicBezTo>
                  <a:cubicBezTo>
                    <a:pt x="1741" y="1092"/>
                    <a:pt x="1741" y="1092"/>
                    <a:pt x="1741" y="1092"/>
                  </a:cubicBezTo>
                  <a:close/>
                  <a:moveTo>
                    <a:pt x="1690" y="1070"/>
                  </a:moveTo>
                  <a:cubicBezTo>
                    <a:pt x="1683" y="1071"/>
                    <a:pt x="1680" y="1068"/>
                    <a:pt x="1681" y="1062"/>
                  </a:cubicBezTo>
                  <a:cubicBezTo>
                    <a:pt x="1683" y="1048"/>
                    <a:pt x="1697" y="1024"/>
                    <a:pt x="1716" y="1022"/>
                  </a:cubicBezTo>
                  <a:cubicBezTo>
                    <a:pt x="1731" y="1020"/>
                    <a:pt x="1747" y="1018"/>
                    <a:pt x="1760" y="1030"/>
                  </a:cubicBezTo>
                  <a:cubicBezTo>
                    <a:pt x="1771" y="1038"/>
                    <a:pt x="1775" y="1050"/>
                    <a:pt x="1778" y="1062"/>
                  </a:cubicBezTo>
                  <a:cubicBezTo>
                    <a:pt x="1780" y="1068"/>
                    <a:pt x="1775" y="1070"/>
                    <a:pt x="1769" y="1070"/>
                  </a:cubicBezTo>
                  <a:cubicBezTo>
                    <a:pt x="1756" y="1070"/>
                    <a:pt x="1742" y="1070"/>
                    <a:pt x="1729" y="1070"/>
                  </a:cubicBezTo>
                  <a:cubicBezTo>
                    <a:pt x="1729" y="1070"/>
                    <a:pt x="1729" y="1070"/>
                    <a:pt x="1729" y="1070"/>
                  </a:cubicBezTo>
                  <a:cubicBezTo>
                    <a:pt x="1716" y="1070"/>
                    <a:pt x="1703" y="1070"/>
                    <a:pt x="1690" y="1070"/>
                  </a:cubicBezTo>
                  <a:close/>
                  <a:moveTo>
                    <a:pt x="68" y="581"/>
                  </a:moveTo>
                  <a:cubicBezTo>
                    <a:pt x="68" y="573"/>
                    <a:pt x="70" y="568"/>
                    <a:pt x="80" y="569"/>
                  </a:cubicBezTo>
                  <a:cubicBezTo>
                    <a:pt x="90" y="570"/>
                    <a:pt x="101" y="570"/>
                    <a:pt x="111" y="569"/>
                  </a:cubicBezTo>
                  <a:cubicBezTo>
                    <a:pt x="120" y="569"/>
                    <a:pt x="120" y="563"/>
                    <a:pt x="120" y="556"/>
                  </a:cubicBezTo>
                  <a:cubicBezTo>
                    <a:pt x="120" y="549"/>
                    <a:pt x="119" y="544"/>
                    <a:pt x="111" y="544"/>
                  </a:cubicBezTo>
                  <a:cubicBezTo>
                    <a:pt x="104" y="544"/>
                    <a:pt x="97" y="544"/>
                    <a:pt x="91" y="544"/>
                  </a:cubicBezTo>
                  <a:cubicBezTo>
                    <a:pt x="66" y="544"/>
                    <a:pt x="65" y="543"/>
                    <a:pt x="68" y="518"/>
                  </a:cubicBezTo>
                  <a:cubicBezTo>
                    <a:pt x="69" y="504"/>
                    <a:pt x="83" y="487"/>
                    <a:pt x="99" y="489"/>
                  </a:cubicBezTo>
                  <a:cubicBezTo>
                    <a:pt x="103" y="489"/>
                    <a:pt x="107" y="489"/>
                    <a:pt x="110" y="488"/>
                  </a:cubicBezTo>
                  <a:cubicBezTo>
                    <a:pt x="118" y="487"/>
                    <a:pt x="123" y="479"/>
                    <a:pt x="123" y="471"/>
                  </a:cubicBezTo>
                  <a:cubicBezTo>
                    <a:pt x="123" y="461"/>
                    <a:pt x="116" y="462"/>
                    <a:pt x="109" y="460"/>
                  </a:cubicBezTo>
                  <a:cubicBezTo>
                    <a:pt x="100" y="458"/>
                    <a:pt x="92" y="460"/>
                    <a:pt x="84" y="460"/>
                  </a:cubicBezTo>
                  <a:cubicBezTo>
                    <a:pt x="68" y="461"/>
                    <a:pt x="56" y="469"/>
                    <a:pt x="47" y="480"/>
                  </a:cubicBezTo>
                  <a:cubicBezTo>
                    <a:pt x="34" y="493"/>
                    <a:pt x="32" y="511"/>
                    <a:pt x="32" y="529"/>
                  </a:cubicBezTo>
                  <a:cubicBezTo>
                    <a:pt x="32" y="544"/>
                    <a:pt x="32" y="544"/>
                    <a:pt x="17" y="544"/>
                  </a:cubicBezTo>
                  <a:cubicBezTo>
                    <a:pt x="4" y="543"/>
                    <a:pt x="0" y="548"/>
                    <a:pt x="4" y="561"/>
                  </a:cubicBezTo>
                  <a:cubicBezTo>
                    <a:pt x="6" y="569"/>
                    <a:pt x="13" y="568"/>
                    <a:pt x="19" y="569"/>
                  </a:cubicBezTo>
                  <a:cubicBezTo>
                    <a:pt x="32" y="571"/>
                    <a:pt x="32" y="571"/>
                    <a:pt x="32" y="584"/>
                  </a:cubicBezTo>
                  <a:cubicBezTo>
                    <a:pt x="32" y="624"/>
                    <a:pt x="32" y="664"/>
                    <a:pt x="32" y="704"/>
                  </a:cubicBezTo>
                  <a:cubicBezTo>
                    <a:pt x="32" y="731"/>
                    <a:pt x="32" y="730"/>
                    <a:pt x="57" y="731"/>
                  </a:cubicBezTo>
                  <a:cubicBezTo>
                    <a:pt x="66" y="731"/>
                    <a:pt x="68" y="727"/>
                    <a:pt x="68" y="720"/>
                  </a:cubicBezTo>
                  <a:cubicBezTo>
                    <a:pt x="68" y="697"/>
                    <a:pt x="68" y="674"/>
                    <a:pt x="68" y="651"/>
                  </a:cubicBezTo>
                  <a:cubicBezTo>
                    <a:pt x="68" y="628"/>
                    <a:pt x="68" y="605"/>
                    <a:pt x="68" y="581"/>
                  </a:cubicBezTo>
                  <a:close/>
                  <a:moveTo>
                    <a:pt x="278" y="1165"/>
                  </a:moveTo>
                  <a:cubicBezTo>
                    <a:pt x="278" y="1183"/>
                    <a:pt x="278" y="1183"/>
                    <a:pt x="296" y="1184"/>
                  </a:cubicBezTo>
                  <a:cubicBezTo>
                    <a:pt x="310" y="1184"/>
                    <a:pt x="310" y="1184"/>
                    <a:pt x="310" y="1169"/>
                  </a:cubicBezTo>
                  <a:cubicBezTo>
                    <a:pt x="310" y="1132"/>
                    <a:pt x="310" y="1095"/>
                    <a:pt x="310" y="1058"/>
                  </a:cubicBezTo>
                  <a:cubicBezTo>
                    <a:pt x="310" y="1052"/>
                    <a:pt x="312" y="1047"/>
                    <a:pt x="316" y="1042"/>
                  </a:cubicBezTo>
                  <a:cubicBezTo>
                    <a:pt x="324" y="1033"/>
                    <a:pt x="334" y="1027"/>
                    <a:pt x="345" y="1024"/>
                  </a:cubicBezTo>
                  <a:cubicBezTo>
                    <a:pt x="357" y="1020"/>
                    <a:pt x="371" y="1018"/>
                    <a:pt x="383" y="1028"/>
                  </a:cubicBezTo>
                  <a:cubicBezTo>
                    <a:pt x="397" y="1039"/>
                    <a:pt x="401" y="1054"/>
                    <a:pt x="401" y="1071"/>
                  </a:cubicBezTo>
                  <a:cubicBezTo>
                    <a:pt x="401" y="1102"/>
                    <a:pt x="401" y="1132"/>
                    <a:pt x="401" y="1163"/>
                  </a:cubicBezTo>
                  <a:cubicBezTo>
                    <a:pt x="401" y="1183"/>
                    <a:pt x="401" y="1182"/>
                    <a:pt x="420" y="1184"/>
                  </a:cubicBezTo>
                  <a:cubicBezTo>
                    <a:pt x="429" y="1185"/>
                    <a:pt x="433" y="1181"/>
                    <a:pt x="433" y="1173"/>
                  </a:cubicBezTo>
                  <a:cubicBezTo>
                    <a:pt x="432" y="1130"/>
                    <a:pt x="435" y="1087"/>
                    <a:pt x="431" y="1044"/>
                  </a:cubicBezTo>
                  <a:cubicBezTo>
                    <a:pt x="427" y="1014"/>
                    <a:pt x="404" y="996"/>
                    <a:pt x="376" y="994"/>
                  </a:cubicBezTo>
                  <a:cubicBezTo>
                    <a:pt x="353" y="992"/>
                    <a:pt x="333" y="1000"/>
                    <a:pt x="317" y="1017"/>
                  </a:cubicBezTo>
                  <a:cubicBezTo>
                    <a:pt x="312" y="1021"/>
                    <a:pt x="311" y="1019"/>
                    <a:pt x="309" y="1015"/>
                  </a:cubicBezTo>
                  <a:cubicBezTo>
                    <a:pt x="309" y="1013"/>
                    <a:pt x="308" y="1011"/>
                    <a:pt x="308" y="1008"/>
                  </a:cubicBezTo>
                  <a:cubicBezTo>
                    <a:pt x="306" y="1001"/>
                    <a:pt x="298" y="997"/>
                    <a:pt x="287" y="998"/>
                  </a:cubicBezTo>
                  <a:cubicBezTo>
                    <a:pt x="279" y="999"/>
                    <a:pt x="278" y="1004"/>
                    <a:pt x="278" y="1011"/>
                  </a:cubicBezTo>
                  <a:cubicBezTo>
                    <a:pt x="278" y="1037"/>
                    <a:pt x="278" y="1064"/>
                    <a:pt x="278" y="1091"/>
                  </a:cubicBezTo>
                  <a:cubicBezTo>
                    <a:pt x="278" y="1115"/>
                    <a:pt x="278" y="1140"/>
                    <a:pt x="278" y="1165"/>
                  </a:cubicBezTo>
                  <a:close/>
                  <a:moveTo>
                    <a:pt x="150" y="705"/>
                  </a:moveTo>
                  <a:cubicBezTo>
                    <a:pt x="150" y="734"/>
                    <a:pt x="145" y="730"/>
                    <a:pt x="176" y="731"/>
                  </a:cubicBezTo>
                  <a:cubicBezTo>
                    <a:pt x="185" y="731"/>
                    <a:pt x="187" y="727"/>
                    <a:pt x="187" y="719"/>
                  </a:cubicBezTo>
                  <a:cubicBezTo>
                    <a:pt x="187" y="685"/>
                    <a:pt x="187" y="651"/>
                    <a:pt x="187" y="618"/>
                  </a:cubicBezTo>
                  <a:cubicBezTo>
                    <a:pt x="187" y="597"/>
                    <a:pt x="204" y="578"/>
                    <a:pt x="225" y="574"/>
                  </a:cubicBezTo>
                  <a:cubicBezTo>
                    <a:pt x="232" y="572"/>
                    <a:pt x="240" y="574"/>
                    <a:pt x="247" y="575"/>
                  </a:cubicBezTo>
                  <a:cubicBezTo>
                    <a:pt x="257" y="576"/>
                    <a:pt x="261" y="572"/>
                    <a:pt x="265" y="564"/>
                  </a:cubicBezTo>
                  <a:cubicBezTo>
                    <a:pt x="269" y="556"/>
                    <a:pt x="267" y="542"/>
                    <a:pt x="261" y="540"/>
                  </a:cubicBezTo>
                  <a:cubicBezTo>
                    <a:pt x="253" y="538"/>
                    <a:pt x="244" y="534"/>
                    <a:pt x="237" y="536"/>
                  </a:cubicBezTo>
                  <a:cubicBezTo>
                    <a:pt x="228" y="537"/>
                    <a:pt x="217" y="537"/>
                    <a:pt x="209" y="544"/>
                  </a:cubicBezTo>
                  <a:cubicBezTo>
                    <a:pt x="204" y="549"/>
                    <a:pt x="198" y="553"/>
                    <a:pt x="194" y="558"/>
                  </a:cubicBezTo>
                  <a:cubicBezTo>
                    <a:pt x="192" y="561"/>
                    <a:pt x="189" y="563"/>
                    <a:pt x="185" y="562"/>
                  </a:cubicBezTo>
                  <a:cubicBezTo>
                    <a:pt x="182" y="561"/>
                    <a:pt x="182" y="558"/>
                    <a:pt x="182" y="556"/>
                  </a:cubicBezTo>
                  <a:cubicBezTo>
                    <a:pt x="180" y="539"/>
                    <a:pt x="179" y="539"/>
                    <a:pt x="162" y="539"/>
                  </a:cubicBezTo>
                  <a:cubicBezTo>
                    <a:pt x="151" y="539"/>
                    <a:pt x="150" y="540"/>
                    <a:pt x="150" y="551"/>
                  </a:cubicBezTo>
                  <a:cubicBezTo>
                    <a:pt x="150" y="579"/>
                    <a:pt x="150" y="607"/>
                    <a:pt x="150" y="635"/>
                  </a:cubicBezTo>
                  <a:cubicBezTo>
                    <a:pt x="150" y="658"/>
                    <a:pt x="149" y="682"/>
                    <a:pt x="150" y="705"/>
                  </a:cubicBezTo>
                  <a:close/>
                  <a:moveTo>
                    <a:pt x="1011" y="1049"/>
                  </a:moveTo>
                  <a:cubicBezTo>
                    <a:pt x="1011" y="1008"/>
                    <a:pt x="1011" y="966"/>
                    <a:pt x="1011" y="924"/>
                  </a:cubicBezTo>
                  <a:cubicBezTo>
                    <a:pt x="1011" y="913"/>
                    <a:pt x="1008" y="910"/>
                    <a:pt x="997" y="910"/>
                  </a:cubicBezTo>
                  <a:cubicBezTo>
                    <a:pt x="995" y="910"/>
                    <a:pt x="992" y="910"/>
                    <a:pt x="990" y="910"/>
                  </a:cubicBezTo>
                  <a:cubicBezTo>
                    <a:pt x="976" y="910"/>
                    <a:pt x="975" y="911"/>
                    <a:pt x="975" y="926"/>
                  </a:cubicBezTo>
                  <a:cubicBezTo>
                    <a:pt x="975" y="1006"/>
                    <a:pt x="975" y="1085"/>
                    <a:pt x="975" y="1165"/>
                  </a:cubicBezTo>
                  <a:cubicBezTo>
                    <a:pt x="975" y="1185"/>
                    <a:pt x="975" y="1185"/>
                    <a:pt x="994" y="1185"/>
                  </a:cubicBezTo>
                  <a:cubicBezTo>
                    <a:pt x="1009" y="1185"/>
                    <a:pt x="1011" y="1184"/>
                    <a:pt x="1011" y="1169"/>
                  </a:cubicBezTo>
                  <a:cubicBezTo>
                    <a:pt x="1011" y="1129"/>
                    <a:pt x="1011" y="1089"/>
                    <a:pt x="1011" y="1049"/>
                  </a:cubicBezTo>
                  <a:cubicBezTo>
                    <a:pt x="1011" y="1049"/>
                    <a:pt x="1011" y="1049"/>
                    <a:pt x="1011" y="1049"/>
                  </a:cubicBezTo>
                  <a:close/>
                  <a:moveTo>
                    <a:pt x="296" y="176"/>
                  </a:moveTo>
                  <a:cubicBezTo>
                    <a:pt x="296" y="201"/>
                    <a:pt x="296" y="226"/>
                    <a:pt x="296" y="251"/>
                  </a:cubicBezTo>
                  <a:cubicBezTo>
                    <a:pt x="295" y="276"/>
                    <a:pt x="296" y="274"/>
                    <a:pt x="318" y="274"/>
                  </a:cubicBezTo>
                  <a:cubicBezTo>
                    <a:pt x="330" y="274"/>
                    <a:pt x="331" y="274"/>
                    <a:pt x="331" y="260"/>
                  </a:cubicBezTo>
                  <a:cubicBezTo>
                    <a:pt x="331" y="232"/>
                    <a:pt x="331" y="204"/>
                    <a:pt x="331" y="176"/>
                  </a:cubicBezTo>
                  <a:cubicBezTo>
                    <a:pt x="331" y="165"/>
                    <a:pt x="331" y="155"/>
                    <a:pt x="337" y="145"/>
                  </a:cubicBezTo>
                  <a:cubicBezTo>
                    <a:pt x="349" y="123"/>
                    <a:pt x="359" y="117"/>
                    <a:pt x="377" y="118"/>
                  </a:cubicBezTo>
                  <a:cubicBezTo>
                    <a:pt x="383" y="118"/>
                    <a:pt x="389" y="119"/>
                    <a:pt x="395" y="120"/>
                  </a:cubicBezTo>
                  <a:cubicBezTo>
                    <a:pt x="401" y="120"/>
                    <a:pt x="407" y="118"/>
                    <a:pt x="408" y="112"/>
                  </a:cubicBezTo>
                  <a:cubicBezTo>
                    <a:pt x="409" y="103"/>
                    <a:pt x="415" y="93"/>
                    <a:pt x="407" y="85"/>
                  </a:cubicBezTo>
                  <a:cubicBezTo>
                    <a:pt x="406" y="84"/>
                    <a:pt x="404" y="84"/>
                    <a:pt x="402" y="84"/>
                  </a:cubicBezTo>
                  <a:cubicBezTo>
                    <a:pt x="376" y="78"/>
                    <a:pt x="353" y="82"/>
                    <a:pt x="337" y="106"/>
                  </a:cubicBezTo>
                  <a:cubicBezTo>
                    <a:pt x="336" y="108"/>
                    <a:pt x="335" y="110"/>
                    <a:pt x="333" y="109"/>
                  </a:cubicBezTo>
                  <a:cubicBezTo>
                    <a:pt x="331" y="109"/>
                    <a:pt x="330" y="107"/>
                    <a:pt x="330" y="105"/>
                  </a:cubicBezTo>
                  <a:cubicBezTo>
                    <a:pt x="329" y="101"/>
                    <a:pt x="329" y="97"/>
                    <a:pt x="328" y="94"/>
                  </a:cubicBezTo>
                  <a:cubicBezTo>
                    <a:pt x="325" y="85"/>
                    <a:pt x="318" y="82"/>
                    <a:pt x="303" y="84"/>
                  </a:cubicBezTo>
                  <a:cubicBezTo>
                    <a:pt x="297" y="84"/>
                    <a:pt x="295" y="86"/>
                    <a:pt x="295" y="92"/>
                  </a:cubicBezTo>
                  <a:cubicBezTo>
                    <a:pt x="296" y="120"/>
                    <a:pt x="295" y="148"/>
                    <a:pt x="295" y="176"/>
                  </a:cubicBezTo>
                  <a:cubicBezTo>
                    <a:pt x="296" y="176"/>
                    <a:pt x="296" y="176"/>
                    <a:pt x="296" y="176"/>
                  </a:cubicBezTo>
                  <a:close/>
                  <a:moveTo>
                    <a:pt x="946" y="179"/>
                  </a:moveTo>
                  <a:cubicBezTo>
                    <a:pt x="946" y="197"/>
                    <a:pt x="946" y="215"/>
                    <a:pt x="946" y="234"/>
                  </a:cubicBezTo>
                  <a:cubicBezTo>
                    <a:pt x="946" y="248"/>
                    <a:pt x="951" y="260"/>
                    <a:pt x="963" y="268"/>
                  </a:cubicBezTo>
                  <a:cubicBezTo>
                    <a:pt x="982" y="280"/>
                    <a:pt x="1011" y="277"/>
                    <a:pt x="1029" y="264"/>
                  </a:cubicBezTo>
                  <a:cubicBezTo>
                    <a:pt x="1036" y="259"/>
                    <a:pt x="1036" y="254"/>
                    <a:pt x="1032" y="248"/>
                  </a:cubicBezTo>
                  <a:cubicBezTo>
                    <a:pt x="1026" y="239"/>
                    <a:pt x="1020" y="238"/>
                    <a:pt x="1013" y="242"/>
                  </a:cubicBezTo>
                  <a:cubicBezTo>
                    <a:pt x="996" y="252"/>
                    <a:pt x="978" y="243"/>
                    <a:pt x="978" y="223"/>
                  </a:cubicBezTo>
                  <a:cubicBezTo>
                    <a:pt x="978" y="190"/>
                    <a:pt x="978" y="157"/>
                    <a:pt x="978" y="123"/>
                  </a:cubicBezTo>
                  <a:cubicBezTo>
                    <a:pt x="978" y="116"/>
                    <a:pt x="981" y="113"/>
                    <a:pt x="988" y="113"/>
                  </a:cubicBezTo>
                  <a:cubicBezTo>
                    <a:pt x="999" y="114"/>
                    <a:pt x="1011" y="113"/>
                    <a:pt x="1022" y="113"/>
                  </a:cubicBezTo>
                  <a:cubicBezTo>
                    <a:pt x="1028" y="113"/>
                    <a:pt x="1033" y="112"/>
                    <a:pt x="1033" y="104"/>
                  </a:cubicBezTo>
                  <a:cubicBezTo>
                    <a:pt x="1033" y="96"/>
                    <a:pt x="1032" y="90"/>
                    <a:pt x="1022" y="90"/>
                  </a:cubicBezTo>
                  <a:cubicBezTo>
                    <a:pt x="1011" y="90"/>
                    <a:pt x="1001" y="90"/>
                    <a:pt x="990" y="90"/>
                  </a:cubicBezTo>
                  <a:cubicBezTo>
                    <a:pt x="981" y="91"/>
                    <a:pt x="977" y="88"/>
                    <a:pt x="978" y="78"/>
                  </a:cubicBezTo>
                  <a:cubicBezTo>
                    <a:pt x="978" y="64"/>
                    <a:pt x="978" y="49"/>
                    <a:pt x="978" y="35"/>
                  </a:cubicBezTo>
                  <a:cubicBezTo>
                    <a:pt x="978" y="30"/>
                    <a:pt x="978" y="25"/>
                    <a:pt x="971" y="24"/>
                  </a:cubicBezTo>
                  <a:cubicBezTo>
                    <a:pt x="964" y="24"/>
                    <a:pt x="956" y="24"/>
                    <a:pt x="955" y="32"/>
                  </a:cubicBezTo>
                  <a:cubicBezTo>
                    <a:pt x="952" y="43"/>
                    <a:pt x="949" y="54"/>
                    <a:pt x="949" y="65"/>
                  </a:cubicBezTo>
                  <a:cubicBezTo>
                    <a:pt x="948" y="88"/>
                    <a:pt x="947" y="88"/>
                    <a:pt x="924" y="91"/>
                  </a:cubicBezTo>
                  <a:cubicBezTo>
                    <a:pt x="919" y="92"/>
                    <a:pt x="914" y="92"/>
                    <a:pt x="914" y="99"/>
                  </a:cubicBezTo>
                  <a:cubicBezTo>
                    <a:pt x="915" y="107"/>
                    <a:pt x="917" y="113"/>
                    <a:pt x="926" y="113"/>
                  </a:cubicBezTo>
                  <a:cubicBezTo>
                    <a:pt x="929" y="114"/>
                    <a:pt x="932" y="113"/>
                    <a:pt x="935" y="113"/>
                  </a:cubicBezTo>
                  <a:cubicBezTo>
                    <a:pt x="943" y="113"/>
                    <a:pt x="946" y="116"/>
                    <a:pt x="946" y="124"/>
                  </a:cubicBezTo>
                  <a:cubicBezTo>
                    <a:pt x="946" y="142"/>
                    <a:pt x="946" y="161"/>
                    <a:pt x="946" y="179"/>
                  </a:cubicBezTo>
                  <a:cubicBezTo>
                    <a:pt x="946" y="179"/>
                    <a:pt x="946" y="179"/>
                    <a:pt x="946" y="179"/>
                  </a:cubicBezTo>
                  <a:close/>
                </a:path>
              </a:pathLst>
            </a:custGeom>
            <a:solidFill>
              <a:srgbClr val="4C505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grpSp>
          <p:nvGrpSpPr>
            <p:cNvPr id="18" name="Group 4">
              <a:extLst>
                <a:ext uri="{FF2B5EF4-FFF2-40B4-BE49-F238E27FC236}">
                  <a16:creationId xmlns:a16="http://schemas.microsoft.com/office/drawing/2014/main" id="{57BD2C4C-DC67-B843-B26C-309622FC75F7}"/>
                </a:ext>
              </a:extLst>
            </p:cNvPr>
            <p:cNvGrpSpPr>
              <a:grpSpLocks noChangeAspect="1"/>
            </p:cNvGrpSpPr>
            <p:nvPr/>
          </p:nvGrpSpPr>
          <p:grpSpPr bwMode="gray">
            <a:xfrm>
              <a:off x="334963" y="296652"/>
              <a:ext cx="538094" cy="540000"/>
              <a:chOff x="2711" y="1027"/>
              <a:chExt cx="2258" cy="2266"/>
            </a:xfrm>
          </p:grpSpPr>
          <p:sp>
            <p:nvSpPr>
              <p:cNvPr id="19" name="AutoShape 3">
                <a:extLst>
                  <a:ext uri="{FF2B5EF4-FFF2-40B4-BE49-F238E27FC236}">
                    <a16:creationId xmlns:a16="http://schemas.microsoft.com/office/drawing/2014/main" id="{FE1DC41B-291E-574C-9F2C-874E70A40758}"/>
                  </a:ext>
                </a:extLst>
              </p:cNvPr>
              <p:cNvSpPr>
                <a:spLocks noChangeAspect="1" noChangeArrowheads="1" noTextEdit="1"/>
              </p:cNvSpPr>
              <p:nvPr/>
            </p:nvSpPr>
            <p:spPr bwMode="gray">
              <a:xfrm>
                <a:off x="2711" y="1027"/>
                <a:ext cx="2258" cy="22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20" name="Freeform 5">
                <a:extLst>
                  <a:ext uri="{FF2B5EF4-FFF2-40B4-BE49-F238E27FC236}">
                    <a16:creationId xmlns:a16="http://schemas.microsoft.com/office/drawing/2014/main" id="{D4B633C8-F761-C54B-9BD2-EB59D49A2DBC}"/>
                  </a:ext>
                </a:extLst>
              </p:cNvPr>
              <p:cNvSpPr>
                <a:spLocks/>
              </p:cNvSpPr>
              <p:nvPr/>
            </p:nvSpPr>
            <p:spPr bwMode="gray">
              <a:xfrm>
                <a:off x="2709" y="1029"/>
                <a:ext cx="2260" cy="2262"/>
              </a:xfrm>
              <a:custGeom>
                <a:avLst/>
                <a:gdLst>
                  <a:gd name="T0" fmla="*/ 2260 w 2260"/>
                  <a:gd name="T1" fmla="*/ 0 h 2262"/>
                  <a:gd name="T2" fmla="*/ 1612 w 2260"/>
                  <a:gd name="T3" fmla="*/ 649 h 2262"/>
                  <a:gd name="T4" fmla="*/ 1612 w 2260"/>
                  <a:gd name="T5" fmla="*/ 649 h 2262"/>
                  <a:gd name="T6" fmla="*/ 2035 w 2260"/>
                  <a:gd name="T7" fmla="*/ 0 h 2262"/>
                  <a:gd name="T8" fmla="*/ 0 w 2260"/>
                  <a:gd name="T9" fmla="*/ 0 h 2262"/>
                  <a:gd name="T10" fmla="*/ 0 w 2260"/>
                  <a:gd name="T11" fmla="*/ 2262 h 2262"/>
                  <a:gd name="T12" fmla="*/ 2260 w 2260"/>
                  <a:gd name="T13" fmla="*/ 2262 h 2262"/>
                  <a:gd name="T14" fmla="*/ 2260 w 2260"/>
                  <a:gd name="T15" fmla="*/ 0 h 2262"/>
                  <a:gd name="T16" fmla="*/ 2260 w 2260"/>
                  <a:gd name="T17" fmla="*/ 0 h 2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0" h="2262">
                    <a:moveTo>
                      <a:pt x="2260" y="0"/>
                    </a:moveTo>
                    <a:lnTo>
                      <a:pt x="1612" y="649"/>
                    </a:lnTo>
                    <a:lnTo>
                      <a:pt x="1612" y="649"/>
                    </a:lnTo>
                    <a:lnTo>
                      <a:pt x="2035" y="0"/>
                    </a:lnTo>
                    <a:lnTo>
                      <a:pt x="0" y="0"/>
                    </a:lnTo>
                    <a:lnTo>
                      <a:pt x="0" y="2262"/>
                    </a:lnTo>
                    <a:lnTo>
                      <a:pt x="2260" y="2262"/>
                    </a:lnTo>
                    <a:lnTo>
                      <a:pt x="2260" y="0"/>
                    </a:lnTo>
                    <a:lnTo>
                      <a:pt x="2260" y="0"/>
                    </a:lnTo>
                    <a:close/>
                  </a:path>
                </a:pathLst>
              </a:custGeom>
              <a:solidFill>
                <a:srgbClr val="E55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21" name="Freeform 6">
                <a:extLst>
                  <a:ext uri="{FF2B5EF4-FFF2-40B4-BE49-F238E27FC236}">
                    <a16:creationId xmlns:a16="http://schemas.microsoft.com/office/drawing/2014/main" id="{B16BAAE4-1A41-C843-9754-490F7A1E1270}"/>
                  </a:ext>
                </a:extLst>
              </p:cNvPr>
              <p:cNvSpPr>
                <a:spLocks noEditPoints="1"/>
              </p:cNvSpPr>
              <p:nvPr/>
            </p:nvSpPr>
            <p:spPr bwMode="gray">
              <a:xfrm>
                <a:off x="3623" y="1696"/>
                <a:ext cx="1167" cy="922"/>
              </a:xfrm>
              <a:custGeom>
                <a:avLst/>
                <a:gdLst>
                  <a:gd name="T0" fmla="*/ 411 w 580"/>
                  <a:gd name="T1" fmla="*/ 213 h 458"/>
                  <a:gd name="T2" fmla="*/ 570 w 580"/>
                  <a:gd name="T3" fmla="*/ 37 h 458"/>
                  <a:gd name="T4" fmla="*/ 580 w 580"/>
                  <a:gd name="T5" fmla="*/ 20 h 458"/>
                  <a:gd name="T6" fmla="*/ 545 w 580"/>
                  <a:gd name="T7" fmla="*/ 0 h 458"/>
                  <a:gd name="T8" fmla="*/ 519 w 580"/>
                  <a:gd name="T9" fmla="*/ 16 h 458"/>
                  <a:gd name="T10" fmla="*/ 344 w 580"/>
                  <a:gd name="T11" fmla="*/ 210 h 458"/>
                  <a:gd name="T12" fmla="*/ 334 w 580"/>
                  <a:gd name="T13" fmla="*/ 229 h 458"/>
                  <a:gd name="T14" fmla="*/ 344 w 580"/>
                  <a:gd name="T15" fmla="*/ 248 h 458"/>
                  <a:gd name="T16" fmla="*/ 519 w 580"/>
                  <a:gd name="T17" fmla="*/ 442 h 458"/>
                  <a:gd name="T18" fmla="*/ 545 w 580"/>
                  <a:gd name="T19" fmla="*/ 458 h 458"/>
                  <a:gd name="T20" fmla="*/ 580 w 580"/>
                  <a:gd name="T21" fmla="*/ 438 h 458"/>
                  <a:gd name="T22" fmla="*/ 570 w 580"/>
                  <a:gd name="T23" fmla="*/ 421 h 458"/>
                  <a:gd name="T24" fmla="*/ 411 w 580"/>
                  <a:gd name="T25" fmla="*/ 245 h 458"/>
                  <a:gd name="T26" fmla="*/ 399 w 580"/>
                  <a:gd name="T27" fmla="*/ 229 h 458"/>
                  <a:gd name="T28" fmla="*/ 411 w 580"/>
                  <a:gd name="T29" fmla="*/ 213 h 458"/>
                  <a:gd name="T30" fmla="*/ 252 w 580"/>
                  <a:gd name="T31" fmla="*/ 439 h 458"/>
                  <a:gd name="T32" fmla="*/ 281 w 580"/>
                  <a:gd name="T33" fmla="*/ 454 h 458"/>
                  <a:gd name="T34" fmla="*/ 309 w 580"/>
                  <a:gd name="T35" fmla="*/ 439 h 458"/>
                  <a:gd name="T36" fmla="*/ 309 w 580"/>
                  <a:gd name="T37" fmla="*/ 19 h 458"/>
                  <a:gd name="T38" fmla="*/ 281 w 580"/>
                  <a:gd name="T39" fmla="*/ 4 h 458"/>
                  <a:gd name="T40" fmla="*/ 252 w 580"/>
                  <a:gd name="T41" fmla="*/ 19 h 458"/>
                  <a:gd name="T42" fmla="*/ 252 w 580"/>
                  <a:gd name="T43" fmla="*/ 439 h 458"/>
                  <a:gd name="T44" fmla="*/ 0 w 580"/>
                  <a:gd name="T45" fmla="*/ 439 h 458"/>
                  <a:gd name="T46" fmla="*/ 28 w 580"/>
                  <a:gd name="T47" fmla="*/ 454 h 458"/>
                  <a:gd name="T48" fmla="*/ 56 w 580"/>
                  <a:gd name="T49" fmla="*/ 439 h 458"/>
                  <a:gd name="T50" fmla="*/ 56 w 580"/>
                  <a:gd name="T51" fmla="*/ 157 h 458"/>
                  <a:gd name="T52" fmla="*/ 165 w 580"/>
                  <a:gd name="T53" fmla="*/ 53 h 458"/>
                  <a:gd name="T54" fmla="*/ 180 w 580"/>
                  <a:gd name="T55" fmla="*/ 53 h 458"/>
                  <a:gd name="T56" fmla="*/ 196 w 580"/>
                  <a:gd name="T57" fmla="*/ 27 h 458"/>
                  <a:gd name="T58" fmla="*/ 154 w 580"/>
                  <a:gd name="T59" fmla="*/ 4 h 458"/>
                  <a:gd name="T60" fmla="*/ 0 w 580"/>
                  <a:gd name="T61" fmla="*/ 152 h 458"/>
                  <a:gd name="T62" fmla="*/ 0 w 580"/>
                  <a:gd name="T63" fmla="*/ 439 h 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80" h="458">
                    <a:moveTo>
                      <a:pt x="411" y="213"/>
                    </a:moveTo>
                    <a:cubicBezTo>
                      <a:pt x="570" y="37"/>
                      <a:pt x="570" y="37"/>
                      <a:pt x="570" y="37"/>
                    </a:cubicBezTo>
                    <a:cubicBezTo>
                      <a:pt x="576" y="30"/>
                      <a:pt x="580" y="25"/>
                      <a:pt x="580" y="20"/>
                    </a:cubicBezTo>
                    <a:cubicBezTo>
                      <a:pt x="580" y="10"/>
                      <a:pt x="559" y="0"/>
                      <a:pt x="545" y="0"/>
                    </a:cubicBezTo>
                    <a:cubicBezTo>
                      <a:pt x="535" y="0"/>
                      <a:pt x="526" y="8"/>
                      <a:pt x="519" y="16"/>
                    </a:cubicBezTo>
                    <a:cubicBezTo>
                      <a:pt x="344" y="210"/>
                      <a:pt x="344" y="210"/>
                      <a:pt x="344" y="210"/>
                    </a:cubicBezTo>
                    <a:cubicBezTo>
                      <a:pt x="336" y="219"/>
                      <a:pt x="334" y="224"/>
                      <a:pt x="334" y="229"/>
                    </a:cubicBezTo>
                    <a:cubicBezTo>
                      <a:pt x="334" y="234"/>
                      <a:pt x="336" y="239"/>
                      <a:pt x="344" y="248"/>
                    </a:cubicBezTo>
                    <a:cubicBezTo>
                      <a:pt x="519" y="442"/>
                      <a:pt x="519" y="442"/>
                      <a:pt x="519" y="442"/>
                    </a:cubicBezTo>
                    <a:cubicBezTo>
                      <a:pt x="526" y="450"/>
                      <a:pt x="535" y="458"/>
                      <a:pt x="545" y="458"/>
                    </a:cubicBezTo>
                    <a:cubicBezTo>
                      <a:pt x="559" y="458"/>
                      <a:pt x="580" y="448"/>
                      <a:pt x="580" y="438"/>
                    </a:cubicBezTo>
                    <a:cubicBezTo>
                      <a:pt x="580" y="433"/>
                      <a:pt x="576" y="428"/>
                      <a:pt x="570" y="421"/>
                    </a:cubicBezTo>
                    <a:cubicBezTo>
                      <a:pt x="411" y="245"/>
                      <a:pt x="411" y="245"/>
                      <a:pt x="411" y="245"/>
                    </a:cubicBezTo>
                    <a:cubicBezTo>
                      <a:pt x="403" y="236"/>
                      <a:pt x="399" y="232"/>
                      <a:pt x="399" y="229"/>
                    </a:cubicBezTo>
                    <a:cubicBezTo>
                      <a:pt x="399" y="226"/>
                      <a:pt x="403" y="222"/>
                      <a:pt x="411" y="213"/>
                    </a:cubicBezTo>
                    <a:moveTo>
                      <a:pt x="252" y="439"/>
                    </a:moveTo>
                    <a:cubicBezTo>
                      <a:pt x="252" y="449"/>
                      <a:pt x="261" y="454"/>
                      <a:pt x="281" y="454"/>
                    </a:cubicBezTo>
                    <a:cubicBezTo>
                      <a:pt x="300" y="454"/>
                      <a:pt x="309" y="449"/>
                      <a:pt x="309" y="439"/>
                    </a:cubicBezTo>
                    <a:cubicBezTo>
                      <a:pt x="309" y="19"/>
                      <a:pt x="309" y="19"/>
                      <a:pt x="309" y="19"/>
                    </a:cubicBezTo>
                    <a:cubicBezTo>
                      <a:pt x="309" y="9"/>
                      <a:pt x="300" y="4"/>
                      <a:pt x="281" y="4"/>
                    </a:cubicBezTo>
                    <a:cubicBezTo>
                      <a:pt x="261" y="4"/>
                      <a:pt x="252" y="9"/>
                      <a:pt x="252" y="19"/>
                    </a:cubicBezTo>
                    <a:lnTo>
                      <a:pt x="252" y="439"/>
                    </a:lnTo>
                    <a:close/>
                    <a:moveTo>
                      <a:pt x="0" y="439"/>
                    </a:moveTo>
                    <a:cubicBezTo>
                      <a:pt x="0" y="449"/>
                      <a:pt x="8" y="454"/>
                      <a:pt x="28" y="454"/>
                    </a:cubicBezTo>
                    <a:cubicBezTo>
                      <a:pt x="48" y="454"/>
                      <a:pt x="56" y="449"/>
                      <a:pt x="56" y="439"/>
                    </a:cubicBezTo>
                    <a:cubicBezTo>
                      <a:pt x="56" y="157"/>
                      <a:pt x="56" y="157"/>
                      <a:pt x="56" y="157"/>
                    </a:cubicBezTo>
                    <a:cubicBezTo>
                      <a:pt x="56" y="83"/>
                      <a:pt x="85" y="53"/>
                      <a:pt x="165" y="53"/>
                    </a:cubicBezTo>
                    <a:cubicBezTo>
                      <a:pt x="180" y="53"/>
                      <a:pt x="180" y="53"/>
                      <a:pt x="180" y="53"/>
                    </a:cubicBezTo>
                    <a:cubicBezTo>
                      <a:pt x="192" y="53"/>
                      <a:pt x="196" y="43"/>
                      <a:pt x="196" y="27"/>
                    </a:cubicBezTo>
                    <a:cubicBezTo>
                      <a:pt x="196" y="8"/>
                      <a:pt x="185" y="4"/>
                      <a:pt x="154" y="4"/>
                    </a:cubicBezTo>
                    <a:cubicBezTo>
                      <a:pt x="64" y="4"/>
                      <a:pt x="0" y="43"/>
                      <a:pt x="0" y="152"/>
                    </a:cubicBezTo>
                    <a:lnTo>
                      <a:pt x="0" y="43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22" name="Freeform 7">
                <a:extLst>
                  <a:ext uri="{FF2B5EF4-FFF2-40B4-BE49-F238E27FC236}">
                    <a16:creationId xmlns:a16="http://schemas.microsoft.com/office/drawing/2014/main" id="{2F32DCBD-8628-F245-85CD-97686A20ECFD}"/>
                  </a:ext>
                </a:extLst>
              </p:cNvPr>
              <p:cNvSpPr>
                <a:spLocks/>
              </p:cNvSpPr>
              <p:nvPr/>
            </p:nvSpPr>
            <p:spPr bwMode="gray">
              <a:xfrm>
                <a:off x="2880" y="1704"/>
                <a:ext cx="618" cy="916"/>
              </a:xfrm>
              <a:custGeom>
                <a:avLst/>
                <a:gdLst>
                  <a:gd name="T0" fmla="*/ 307 w 307"/>
                  <a:gd name="T1" fmla="*/ 405 h 455"/>
                  <a:gd name="T2" fmla="*/ 307 w 307"/>
                  <a:gd name="T3" fmla="*/ 244 h 455"/>
                  <a:gd name="T4" fmla="*/ 279 w 307"/>
                  <a:gd name="T5" fmla="*/ 229 h 455"/>
                  <a:gd name="T6" fmla="*/ 250 w 307"/>
                  <a:gd name="T7" fmla="*/ 244 h 455"/>
                  <a:gd name="T8" fmla="*/ 250 w 307"/>
                  <a:gd name="T9" fmla="*/ 378 h 455"/>
                  <a:gd name="T10" fmla="*/ 199 w 307"/>
                  <a:gd name="T11" fmla="*/ 408 h 455"/>
                  <a:gd name="T12" fmla="*/ 61 w 307"/>
                  <a:gd name="T13" fmla="*/ 231 h 455"/>
                  <a:gd name="T14" fmla="*/ 238 w 307"/>
                  <a:gd name="T15" fmla="*/ 49 h 455"/>
                  <a:gd name="T16" fmla="*/ 270 w 307"/>
                  <a:gd name="T17" fmla="*/ 49 h 455"/>
                  <a:gd name="T18" fmla="*/ 286 w 307"/>
                  <a:gd name="T19" fmla="*/ 23 h 455"/>
                  <a:gd name="T20" fmla="*/ 244 w 307"/>
                  <a:gd name="T21" fmla="*/ 0 h 455"/>
                  <a:gd name="T22" fmla="*/ 231 w 307"/>
                  <a:gd name="T23" fmla="*/ 0 h 455"/>
                  <a:gd name="T24" fmla="*/ 0 w 307"/>
                  <a:gd name="T25" fmla="*/ 232 h 455"/>
                  <a:gd name="T26" fmla="*/ 198 w 307"/>
                  <a:gd name="T27" fmla="*/ 455 h 455"/>
                  <a:gd name="T28" fmla="*/ 307 w 307"/>
                  <a:gd name="T29" fmla="*/ 405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7" h="455">
                    <a:moveTo>
                      <a:pt x="307" y="405"/>
                    </a:moveTo>
                    <a:cubicBezTo>
                      <a:pt x="307" y="244"/>
                      <a:pt x="307" y="244"/>
                      <a:pt x="307" y="244"/>
                    </a:cubicBezTo>
                    <a:cubicBezTo>
                      <a:pt x="307" y="234"/>
                      <a:pt x="298" y="229"/>
                      <a:pt x="279" y="229"/>
                    </a:cubicBezTo>
                    <a:cubicBezTo>
                      <a:pt x="259" y="229"/>
                      <a:pt x="250" y="234"/>
                      <a:pt x="250" y="244"/>
                    </a:cubicBezTo>
                    <a:cubicBezTo>
                      <a:pt x="250" y="378"/>
                      <a:pt x="250" y="378"/>
                      <a:pt x="250" y="378"/>
                    </a:cubicBezTo>
                    <a:cubicBezTo>
                      <a:pt x="250" y="399"/>
                      <a:pt x="241" y="408"/>
                      <a:pt x="199" y="408"/>
                    </a:cubicBezTo>
                    <a:cubicBezTo>
                      <a:pt x="114" y="408"/>
                      <a:pt x="61" y="342"/>
                      <a:pt x="61" y="231"/>
                    </a:cubicBezTo>
                    <a:cubicBezTo>
                      <a:pt x="61" y="115"/>
                      <a:pt x="126" y="49"/>
                      <a:pt x="238" y="49"/>
                    </a:cubicBezTo>
                    <a:cubicBezTo>
                      <a:pt x="270" y="49"/>
                      <a:pt x="270" y="49"/>
                      <a:pt x="270" y="49"/>
                    </a:cubicBezTo>
                    <a:cubicBezTo>
                      <a:pt x="282" y="49"/>
                      <a:pt x="286" y="39"/>
                      <a:pt x="286" y="23"/>
                    </a:cubicBezTo>
                    <a:cubicBezTo>
                      <a:pt x="286" y="4"/>
                      <a:pt x="275" y="0"/>
                      <a:pt x="244" y="0"/>
                    </a:cubicBezTo>
                    <a:cubicBezTo>
                      <a:pt x="231" y="0"/>
                      <a:pt x="231" y="0"/>
                      <a:pt x="231" y="0"/>
                    </a:cubicBezTo>
                    <a:cubicBezTo>
                      <a:pt x="101" y="0"/>
                      <a:pt x="0" y="71"/>
                      <a:pt x="0" y="232"/>
                    </a:cubicBezTo>
                    <a:cubicBezTo>
                      <a:pt x="0" y="386"/>
                      <a:pt x="88" y="455"/>
                      <a:pt x="198" y="455"/>
                    </a:cubicBezTo>
                    <a:cubicBezTo>
                      <a:pt x="286" y="455"/>
                      <a:pt x="307" y="430"/>
                      <a:pt x="307" y="40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23" name="Oval 8">
                <a:extLst>
                  <a:ext uri="{FF2B5EF4-FFF2-40B4-BE49-F238E27FC236}">
                    <a16:creationId xmlns:a16="http://schemas.microsoft.com/office/drawing/2014/main" id="{60D97C11-1A3B-5449-A48D-98A3E79B3810}"/>
                  </a:ext>
                </a:extLst>
              </p:cNvPr>
              <p:cNvSpPr>
                <a:spLocks noChangeArrowheads="1"/>
              </p:cNvSpPr>
              <p:nvPr/>
            </p:nvSpPr>
            <p:spPr bwMode="gray">
              <a:xfrm>
                <a:off x="3778" y="2099"/>
                <a:ext cx="122" cy="12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24" name="Freeform 9">
                <a:extLst>
                  <a:ext uri="{FF2B5EF4-FFF2-40B4-BE49-F238E27FC236}">
                    <a16:creationId xmlns:a16="http://schemas.microsoft.com/office/drawing/2014/main" id="{5856770D-B8F0-244E-A05D-AED190086F10}"/>
                  </a:ext>
                </a:extLst>
              </p:cNvPr>
              <p:cNvSpPr>
                <a:spLocks noEditPoints="1"/>
              </p:cNvSpPr>
              <p:nvPr/>
            </p:nvSpPr>
            <p:spPr bwMode="gray">
              <a:xfrm>
                <a:off x="3623" y="1696"/>
                <a:ext cx="1167" cy="922"/>
              </a:xfrm>
              <a:custGeom>
                <a:avLst/>
                <a:gdLst>
                  <a:gd name="T0" fmla="*/ 411 w 580"/>
                  <a:gd name="T1" fmla="*/ 213 h 458"/>
                  <a:gd name="T2" fmla="*/ 570 w 580"/>
                  <a:gd name="T3" fmla="*/ 37 h 458"/>
                  <a:gd name="T4" fmla="*/ 580 w 580"/>
                  <a:gd name="T5" fmla="*/ 20 h 458"/>
                  <a:gd name="T6" fmla="*/ 545 w 580"/>
                  <a:gd name="T7" fmla="*/ 0 h 458"/>
                  <a:gd name="T8" fmla="*/ 519 w 580"/>
                  <a:gd name="T9" fmla="*/ 16 h 458"/>
                  <a:gd name="T10" fmla="*/ 344 w 580"/>
                  <a:gd name="T11" fmla="*/ 210 h 458"/>
                  <a:gd name="T12" fmla="*/ 334 w 580"/>
                  <a:gd name="T13" fmla="*/ 229 h 458"/>
                  <a:gd name="T14" fmla="*/ 344 w 580"/>
                  <a:gd name="T15" fmla="*/ 248 h 458"/>
                  <a:gd name="T16" fmla="*/ 519 w 580"/>
                  <a:gd name="T17" fmla="*/ 442 h 458"/>
                  <a:gd name="T18" fmla="*/ 545 w 580"/>
                  <a:gd name="T19" fmla="*/ 458 h 458"/>
                  <a:gd name="T20" fmla="*/ 580 w 580"/>
                  <a:gd name="T21" fmla="*/ 438 h 458"/>
                  <a:gd name="T22" fmla="*/ 570 w 580"/>
                  <a:gd name="T23" fmla="*/ 421 h 458"/>
                  <a:gd name="T24" fmla="*/ 411 w 580"/>
                  <a:gd name="T25" fmla="*/ 245 h 458"/>
                  <a:gd name="T26" fmla="*/ 399 w 580"/>
                  <a:gd name="T27" fmla="*/ 229 h 458"/>
                  <a:gd name="T28" fmla="*/ 411 w 580"/>
                  <a:gd name="T29" fmla="*/ 213 h 458"/>
                  <a:gd name="T30" fmla="*/ 252 w 580"/>
                  <a:gd name="T31" fmla="*/ 439 h 458"/>
                  <a:gd name="T32" fmla="*/ 281 w 580"/>
                  <a:gd name="T33" fmla="*/ 454 h 458"/>
                  <a:gd name="T34" fmla="*/ 309 w 580"/>
                  <a:gd name="T35" fmla="*/ 439 h 458"/>
                  <a:gd name="T36" fmla="*/ 309 w 580"/>
                  <a:gd name="T37" fmla="*/ 19 h 458"/>
                  <a:gd name="T38" fmla="*/ 281 w 580"/>
                  <a:gd name="T39" fmla="*/ 4 h 458"/>
                  <a:gd name="T40" fmla="*/ 252 w 580"/>
                  <a:gd name="T41" fmla="*/ 19 h 458"/>
                  <a:gd name="T42" fmla="*/ 252 w 580"/>
                  <a:gd name="T43" fmla="*/ 439 h 458"/>
                  <a:gd name="T44" fmla="*/ 0 w 580"/>
                  <a:gd name="T45" fmla="*/ 439 h 458"/>
                  <a:gd name="T46" fmla="*/ 28 w 580"/>
                  <a:gd name="T47" fmla="*/ 454 h 458"/>
                  <a:gd name="T48" fmla="*/ 56 w 580"/>
                  <a:gd name="T49" fmla="*/ 439 h 458"/>
                  <a:gd name="T50" fmla="*/ 56 w 580"/>
                  <a:gd name="T51" fmla="*/ 157 h 458"/>
                  <a:gd name="T52" fmla="*/ 165 w 580"/>
                  <a:gd name="T53" fmla="*/ 53 h 458"/>
                  <a:gd name="T54" fmla="*/ 180 w 580"/>
                  <a:gd name="T55" fmla="*/ 53 h 458"/>
                  <a:gd name="T56" fmla="*/ 196 w 580"/>
                  <a:gd name="T57" fmla="*/ 27 h 458"/>
                  <a:gd name="T58" fmla="*/ 154 w 580"/>
                  <a:gd name="T59" fmla="*/ 4 h 458"/>
                  <a:gd name="T60" fmla="*/ 0 w 580"/>
                  <a:gd name="T61" fmla="*/ 152 h 458"/>
                  <a:gd name="T62" fmla="*/ 0 w 580"/>
                  <a:gd name="T63" fmla="*/ 439 h 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80" h="458">
                    <a:moveTo>
                      <a:pt x="411" y="213"/>
                    </a:moveTo>
                    <a:cubicBezTo>
                      <a:pt x="570" y="37"/>
                      <a:pt x="570" y="37"/>
                      <a:pt x="570" y="37"/>
                    </a:cubicBezTo>
                    <a:cubicBezTo>
                      <a:pt x="576" y="30"/>
                      <a:pt x="580" y="25"/>
                      <a:pt x="580" y="20"/>
                    </a:cubicBezTo>
                    <a:cubicBezTo>
                      <a:pt x="580" y="10"/>
                      <a:pt x="559" y="0"/>
                      <a:pt x="545" y="0"/>
                    </a:cubicBezTo>
                    <a:cubicBezTo>
                      <a:pt x="535" y="0"/>
                      <a:pt x="526" y="8"/>
                      <a:pt x="519" y="16"/>
                    </a:cubicBezTo>
                    <a:cubicBezTo>
                      <a:pt x="344" y="210"/>
                      <a:pt x="344" y="210"/>
                      <a:pt x="344" y="210"/>
                    </a:cubicBezTo>
                    <a:cubicBezTo>
                      <a:pt x="336" y="219"/>
                      <a:pt x="334" y="224"/>
                      <a:pt x="334" y="229"/>
                    </a:cubicBezTo>
                    <a:cubicBezTo>
                      <a:pt x="334" y="234"/>
                      <a:pt x="336" y="239"/>
                      <a:pt x="344" y="248"/>
                    </a:cubicBezTo>
                    <a:cubicBezTo>
                      <a:pt x="519" y="442"/>
                      <a:pt x="519" y="442"/>
                      <a:pt x="519" y="442"/>
                    </a:cubicBezTo>
                    <a:cubicBezTo>
                      <a:pt x="526" y="450"/>
                      <a:pt x="535" y="458"/>
                      <a:pt x="545" y="458"/>
                    </a:cubicBezTo>
                    <a:cubicBezTo>
                      <a:pt x="559" y="458"/>
                      <a:pt x="580" y="448"/>
                      <a:pt x="580" y="438"/>
                    </a:cubicBezTo>
                    <a:cubicBezTo>
                      <a:pt x="580" y="433"/>
                      <a:pt x="576" y="428"/>
                      <a:pt x="570" y="421"/>
                    </a:cubicBezTo>
                    <a:cubicBezTo>
                      <a:pt x="411" y="245"/>
                      <a:pt x="411" y="245"/>
                      <a:pt x="411" y="245"/>
                    </a:cubicBezTo>
                    <a:cubicBezTo>
                      <a:pt x="403" y="236"/>
                      <a:pt x="399" y="232"/>
                      <a:pt x="399" y="229"/>
                    </a:cubicBezTo>
                    <a:cubicBezTo>
                      <a:pt x="399" y="226"/>
                      <a:pt x="403" y="222"/>
                      <a:pt x="411" y="213"/>
                    </a:cubicBezTo>
                    <a:moveTo>
                      <a:pt x="252" y="439"/>
                    </a:moveTo>
                    <a:cubicBezTo>
                      <a:pt x="252" y="449"/>
                      <a:pt x="261" y="454"/>
                      <a:pt x="281" y="454"/>
                    </a:cubicBezTo>
                    <a:cubicBezTo>
                      <a:pt x="300" y="454"/>
                      <a:pt x="309" y="449"/>
                      <a:pt x="309" y="439"/>
                    </a:cubicBezTo>
                    <a:cubicBezTo>
                      <a:pt x="309" y="19"/>
                      <a:pt x="309" y="19"/>
                      <a:pt x="309" y="19"/>
                    </a:cubicBezTo>
                    <a:cubicBezTo>
                      <a:pt x="309" y="9"/>
                      <a:pt x="300" y="4"/>
                      <a:pt x="281" y="4"/>
                    </a:cubicBezTo>
                    <a:cubicBezTo>
                      <a:pt x="261" y="4"/>
                      <a:pt x="252" y="9"/>
                      <a:pt x="252" y="19"/>
                    </a:cubicBezTo>
                    <a:lnTo>
                      <a:pt x="252" y="439"/>
                    </a:lnTo>
                    <a:close/>
                    <a:moveTo>
                      <a:pt x="0" y="439"/>
                    </a:moveTo>
                    <a:cubicBezTo>
                      <a:pt x="0" y="449"/>
                      <a:pt x="8" y="454"/>
                      <a:pt x="28" y="454"/>
                    </a:cubicBezTo>
                    <a:cubicBezTo>
                      <a:pt x="48" y="454"/>
                      <a:pt x="56" y="449"/>
                      <a:pt x="56" y="439"/>
                    </a:cubicBezTo>
                    <a:cubicBezTo>
                      <a:pt x="56" y="157"/>
                      <a:pt x="56" y="157"/>
                      <a:pt x="56" y="157"/>
                    </a:cubicBezTo>
                    <a:cubicBezTo>
                      <a:pt x="56" y="83"/>
                      <a:pt x="85" y="53"/>
                      <a:pt x="165" y="53"/>
                    </a:cubicBezTo>
                    <a:cubicBezTo>
                      <a:pt x="180" y="53"/>
                      <a:pt x="180" y="53"/>
                      <a:pt x="180" y="53"/>
                    </a:cubicBezTo>
                    <a:cubicBezTo>
                      <a:pt x="192" y="53"/>
                      <a:pt x="196" y="43"/>
                      <a:pt x="196" y="27"/>
                    </a:cubicBezTo>
                    <a:cubicBezTo>
                      <a:pt x="196" y="8"/>
                      <a:pt x="185" y="4"/>
                      <a:pt x="154" y="4"/>
                    </a:cubicBezTo>
                    <a:cubicBezTo>
                      <a:pt x="64" y="4"/>
                      <a:pt x="0" y="43"/>
                      <a:pt x="0" y="152"/>
                    </a:cubicBezTo>
                    <a:lnTo>
                      <a:pt x="0" y="43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25" name="Freeform 10">
                <a:extLst>
                  <a:ext uri="{FF2B5EF4-FFF2-40B4-BE49-F238E27FC236}">
                    <a16:creationId xmlns:a16="http://schemas.microsoft.com/office/drawing/2014/main" id="{2B91B16B-BC11-E547-8FAC-B9B8D18EA449}"/>
                  </a:ext>
                </a:extLst>
              </p:cNvPr>
              <p:cNvSpPr>
                <a:spLocks/>
              </p:cNvSpPr>
              <p:nvPr/>
            </p:nvSpPr>
            <p:spPr bwMode="gray">
              <a:xfrm>
                <a:off x="2880" y="1704"/>
                <a:ext cx="618" cy="916"/>
              </a:xfrm>
              <a:custGeom>
                <a:avLst/>
                <a:gdLst>
                  <a:gd name="T0" fmla="*/ 307 w 307"/>
                  <a:gd name="T1" fmla="*/ 405 h 455"/>
                  <a:gd name="T2" fmla="*/ 307 w 307"/>
                  <a:gd name="T3" fmla="*/ 244 h 455"/>
                  <a:gd name="T4" fmla="*/ 279 w 307"/>
                  <a:gd name="T5" fmla="*/ 229 h 455"/>
                  <a:gd name="T6" fmla="*/ 250 w 307"/>
                  <a:gd name="T7" fmla="*/ 244 h 455"/>
                  <a:gd name="T8" fmla="*/ 250 w 307"/>
                  <a:gd name="T9" fmla="*/ 378 h 455"/>
                  <a:gd name="T10" fmla="*/ 199 w 307"/>
                  <a:gd name="T11" fmla="*/ 408 h 455"/>
                  <a:gd name="T12" fmla="*/ 61 w 307"/>
                  <a:gd name="T13" fmla="*/ 231 h 455"/>
                  <a:gd name="T14" fmla="*/ 238 w 307"/>
                  <a:gd name="T15" fmla="*/ 49 h 455"/>
                  <a:gd name="T16" fmla="*/ 270 w 307"/>
                  <a:gd name="T17" fmla="*/ 49 h 455"/>
                  <a:gd name="T18" fmla="*/ 286 w 307"/>
                  <a:gd name="T19" fmla="*/ 23 h 455"/>
                  <a:gd name="T20" fmla="*/ 244 w 307"/>
                  <a:gd name="T21" fmla="*/ 0 h 455"/>
                  <a:gd name="T22" fmla="*/ 231 w 307"/>
                  <a:gd name="T23" fmla="*/ 0 h 455"/>
                  <a:gd name="T24" fmla="*/ 0 w 307"/>
                  <a:gd name="T25" fmla="*/ 232 h 455"/>
                  <a:gd name="T26" fmla="*/ 198 w 307"/>
                  <a:gd name="T27" fmla="*/ 455 h 455"/>
                  <a:gd name="T28" fmla="*/ 307 w 307"/>
                  <a:gd name="T29" fmla="*/ 405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7" h="455">
                    <a:moveTo>
                      <a:pt x="307" y="405"/>
                    </a:moveTo>
                    <a:cubicBezTo>
                      <a:pt x="307" y="244"/>
                      <a:pt x="307" y="244"/>
                      <a:pt x="307" y="244"/>
                    </a:cubicBezTo>
                    <a:cubicBezTo>
                      <a:pt x="307" y="234"/>
                      <a:pt x="298" y="229"/>
                      <a:pt x="279" y="229"/>
                    </a:cubicBezTo>
                    <a:cubicBezTo>
                      <a:pt x="259" y="229"/>
                      <a:pt x="250" y="234"/>
                      <a:pt x="250" y="244"/>
                    </a:cubicBezTo>
                    <a:cubicBezTo>
                      <a:pt x="250" y="378"/>
                      <a:pt x="250" y="378"/>
                      <a:pt x="250" y="378"/>
                    </a:cubicBezTo>
                    <a:cubicBezTo>
                      <a:pt x="250" y="399"/>
                      <a:pt x="241" y="408"/>
                      <a:pt x="199" y="408"/>
                    </a:cubicBezTo>
                    <a:cubicBezTo>
                      <a:pt x="114" y="408"/>
                      <a:pt x="61" y="342"/>
                      <a:pt x="61" y="231"/>
                    </a:cubicBezTo>
                    <a:cubicBezTo>
                      <a:pt x="61" y="115"/>
                      <a:pt x="126" y="49"/>
                      <a:pt x="238" y="49"/>
                    </a:cubicBezTo>
                    <a:cubicBezTo>
                      <a:pt x="270" y="49"/>
                      <a:pt x="270" y="49"/>
                      <a:pt x="270" y="49"/>
                    </a:cubicBezTo>
                    <a:cubicBezTo>
                      <a:pt x="282" y="49"/>
                      <a:pt x="286" y="39"/>
                      <a:pt x="286" y="23"/>
                    </a:cubicBezTo>
                    <a:cubicBezTo>
                      <a:pt x="286" y="4"/>
                      <a:pt x="275" y="0"/>
                      <a:pt x="244" y="0"/>
                    </a:cubicBezTo>
                    <a:cubicBezTo>
                      <a:pt x="231" y="0"/>
                      <a:pt x="231" y="0"/>
                      <a:pt x="231" y="0"/>
                    </a:cubicBezTo>
                    <a:cubicBezTo>
                      <a:pt x="101" y="0"/>
                      <a:pt x="0" y="71"/>
                      <a:pt x="0" y="232"/>
                    </a:cubicBezTo>
                    <a:cubicBezTo>
                      <a:pt x="0" y="386"/>
                      <a:pt x="88" y="455"/>
                      <a:pt x="198" y="455"/>
                    </a:cubicBezTo>
                    <a:cubicBezTo>
                      <a:pt x="286" y="455"/>
                      <a:pt x="307" y="430"/>
                      <a:pt x="307" y="40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26" name="Oval 11">
                <a:extLst>
                  <a:ext uri="{FF2B5EF4-FFF2-40B4-BE49-F238E27FC236}">
                    <a16:creationId xmlns:a16="http://schemas.microsoft.com/office/drawing/2014/main" id="{14F8C3C8-4888-7646-B9B4-64EB46A1DA23}"/>
                  </a:ext>
                </a:extLst>
              </p:cNvPr>
              <p:cNvSpPr>
                <a:spLocks noChangeArrowheads="1"/>
              </p:cNvSpPr>
              <p:nvPr/>
            </p:nvSpPr>
            <p:spPr bwMode="gray">
              <a:xfrm>
                <a:off x="3778" y="2099"/>
                <a:ext cx="122" cy="12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27" name="Freeform 12">
                <a:extLst>
                  <a:ext uri="{FF2B5EF4-FFF2-40B4-BE49-F238E27FC236}">
                    <a16:creationId xmlns:a16="http://schemas.microsoft.com/office/drawing/2014/main" id="{D79D01D1-4E3E-F34B-97D7-2D387E68746E}"/>
                  </a:ext>
                </a:extLst>
              </p:cNvPr>
              <p:cNvSpPr>
                <a:spLocks/>
              </p:cNvSpPr>
              <p:nvPr/>
            </p:nvSpPr>
            <p:spPr bwMode="gray">
              <a:xfrm>
                <a:off x="4321" y="1029"/>
                <a:ext cx="648" cy="649"/>
              </a:xfrm>
              <a:custGeom>
                <a:avLst/>
                <a:gdLst>
                  <a:gd name="T0" fmla="*/ 0 w 648"/>
                  <a:gd name="T1" fmla="*/ 649 h 649"/>
                  <a:gd name="T2" fmla="*/ 2 w 648"/>
                  <a:gd name="T3" fmla="*/ 649 h 649"/>
                  <a:gd name="T4" fmla="*/ 648 w 648"/>
                  <a:gd name="T5" fmla="*/ 0 h 649"/>
                  <a:gd name="T6" fmla="*/ 423 w 648"/>
                  <a:gd name="T7" fmla="*/ 0 h 649"/>
                  <a:gd name="T8" fmla="*/ 0 w 648"/>
                  <a:gd name="T9" fmla="*/ 649 h 649"/>
                </a:gdLst>
                <a:ahLst/>
                <a:cxnLst>
                  <a:cxn ang="0">
                    <a:pos x="T0" y="T1"/>
                  </a:cxn>
                  <a:cxn ang="0">
                    <a:pos x="T2" y="T3"/>
                  </a:cxn>
                  <a:cxn ang="0">
                    <a:pos x="T4" y="T5"/>
                  </a:cxn>
                  <a:cxn ang="0">
                    <a:pos x="T6" y="T7"/>
                  </a:cxn>
                  <a:cxn ang="0">
                    <a:pos x="T8" y="T9"/>
                  </a:cxn>
                </a:cxnLst>
                <a:rect l="0" t="0" r="r" b="b"/>
                <a:pathLst>
                  <a:path w="648" h="649">
                    <a:moveTo>
                      <a:pt x="0" y="649"/>
                    </a:moveTo>
                    <a:lnTo>
                      <a:pt x="2" y="649"/>
                    </a:lnTo>
                    <a:lnTo>
                      <a:pt x="648" y="0"/>
                    </a:lnTo>
                    <a:lnTo>
                      <a:pt x="423" y="0"/>
                    </a:lnTo>
                    <a:lnTo>
                      <a:pt x="0" y="64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28" name="Freeform 13">
                <a:extLst>
                  <a:ext uri="{FF2B5EF4-FFF2-40B4-BE49-F238E27FC236}">
                    <a16:creationId xmlns:a16="http://schemas.microsoft.com/office/drawing/2014/main" id="{46549898-6C52-B147-A8F6-A73FDBE6163B}"/>
                  </a:ext>
                </a:extLst>
              </p:cNvPr>
              <p:cNvSpPr>
                <a:spLocks/>
              </p:cNvSpPr>
              <p:nvPr/>
            </p:nvSpPr>
            <p:spPr bwMode="gray">
              <a:xfrm>
                <a:off x="4321" y="1029"/>
                <a:ext cx="648" cy="649"/>
              </a:xfrm>
              <a:custGeom>
                <a:avLst/>
                <a:gdLst>
                  <a:gd name="T0" fmla="*/ 0 w 648"/>
                  <a:gd name="T1" fmla="*/ 649 h 649"/>
                  <a:gd name="T2" fmla="*/ 2 w 648"/>
                  <a:gd name="T3" fmla="*/ 649 h 649"/>
                  <a:gd name="T4" fmla="*/ 648 w 648"/>
                  <a:gd name="T5" fmla="*/ 0 h 649"/>
                  <a:gd name="T6" fmla="*/ 423 w 648"/>
                  <a:gd name="T7" fmla="*/ 0 h 649"/>
                  <a:gd name="T8" fmla="*/ 0 w 648"/>
                  <a:gd name="T9" fmla="*/ 649 h 649"/>
                </a:gdLst>
                <a:ahLst/>
                <a:cxnLst>
                  <a:cxn ang="0">
                    <a:pos x="T0" y="T1"/>
                  </a:cxn>
                  <a:cxn ang="0">
                    <a:pos x="T2" y="T3"/>
                  </a:cxn>
                  <a:cxn ang="0">
                    <a:pos x="T4" y="T5"/>
                  </a:cxn>
                  <a:cxn ang="0">
                    <a:pos x="T6" y="T7"/>
                  </a:cxn>
                  <a:cxn ang="0">
                    <a:pos x="T8" y="T9"/>
                  </a:cxn>
                </a:cxnLst>
                <a:rect l="0" t="0" r="r" b="b"/>
                <a:pathLst>
                  <a:path w="648" h="649">
                    <a:moveTo>
                      <a:pt x="0" y="649"/>
                    </a:moveTo>
                    <a:lnTo>
                      <a:pt x="2" y="649"/>
                    </a:lnTo>
                    <a:lnTo>
                      <a:pt x="648" y="0"/>
                    </a:lnTo>
                    <a:lnTo>
                      <a:pt x="423" y="0"/>
                    </a:lnTo>
                    <a:lnTo>
                      <a:pt x="0" y="64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grpSp>
      </p:grpSp>
      <p:sp>
        <p:nvSpPr>
          <p:cNvPr id="7" name="Date Placeholder 6"/>
          <p:cNvSpPr>
            <a:spLocks noGrp="1"/>
          </p:cNvSpPr>
          <p:nvPr>
            <p:ph type="dt" sz="half" idx="10"/>
          </p:nvPr>
        </p:nvSpPr>
        <p:spPr>
          <a:xfrm>
            <a:off x="0" y="0"/>
            <a:ext cx="0" cy="0"/>
          </a:xfrm>
          <a:prstGeom prst="rect">
            <a:avLst/>
          </a:prstGeom>
        </p:spPr>
        <p:txBody>
          <a:bodyPr/>
          <a:lstStyle>
            <a:lvl1pPr>
              <a:defRPr sz="100">
                <a:noFill/>
              </a:defRPr>
            </a:lvl1pPr>
          </a:lstStyle>
          <a:p>
            <a:endParaRPr lang="en-US"/>
          </a:p>
        </p:txBody>
      </p:sp>
      <p:sp>
        <p:nvSpPr>
          <p:cNvPr id="8" name="Footer Placeholder 7"/>
          <p:cNvSpPr>
            <a:spLocks noGrp="1"/>
          </p:cNvSpPr>
          <p:nvPr>
            <p:ph type="ftr" sz="quarter" idx="11"/>
          </p:nvPr>
        </p:nvSpPr>
        <p:spPr>
          <a:xfrm>
            <a:off x="0" y="0"/>
            <a:ext cx="0" cy="0"/>
          </a:xfrm>
          <a:prstGeom prst="rect">
            <a:avLst/>
          </a:prstGeom>
        </p:spPr>
        <p:txBody>
          <a:bodyPr/>
          <a:lstStyle>
            <a:lvl1pPr marL="0" indent="0">
              <a:buNone/>
              <a:defRPr sz="100">
                <a:noFill/>
              </a:defRPr>
            </a:lvl1pPr>
          </a:lstStyle>
          <a:p>
            <a:endParaRPr lang="en-US"/>
          </a:p>
        </p:txBody>
      </p:sp>
      <p:sp>
        <p:nvSpPr>
          <p:cNvPr id="9" name="Slide Number Placeholder 8"/>
          <p:cNvSpPr>
            <a:spLocks noGrp="1"/>
          </p:cNvSpPr>
          <p:nvPr>
            <p:ph type="sldNum" sz="quarter" idx="12"/>
          </p:nvPr>
        </p:nvSpPr>
        <p:spPr>
          <a:xfrm>
            <a:off x="0" y="0"/>
            <a:ext cx="0" cy="0"/>
          </a:xfrm>
          <a:prstGeom prst="rect">
            <a:avLst/>
          </a:prstGeom>
        </p:spPr>
        <p:txBody>
          <a:bodyPr/>
          <a:lstStyle>
            <a:lvl1pPr>
              <a:defRPr sz="100">
                <a:noFill/>
              </a:defRPr>
            </a:lvl1pPr>
          </a:lstStyle>
          <a:p>
            <a:fld id="{8E3B25F7-8D1F-44B5-B485-EE3C438CFD7B}" type="slidenum">
              <a:rPr lang="en-US" smtClean="0"/>
              <a:pPr/>
              <a:t>‹#›</a:t>
            </a:fld>
            <a:endParaRPr lang="en-US"/>
          </a:p>
        </p:txBody>
      </p:sp>
      <p:sp>
        <p:nvSpPr>
          <p:cNvPr id="2" name="Title 1"/>
          <p:cNvSpPr>
            <a:spLocks noGrp="1"/>
          </p:cNvSpPr>
          <p:nvPr>
            <p:ph type="ctrTitle" hasCustomPrompt="1"/>
          </p:nvPr>
        </p:nvSpPr>
        <p:spPr>
          <a:xfrm>
            <a:off x="4524589" y="1628775"/>
            <a:ext cx="5707662" cy="2236264"/>
          </a:xfrm>
        </p:spPr>
        <p:txBody>
          <a:bodyPr anchor="b"/>
          <a:lstStyle>
            <a:lvl1pPr algn="l">
              <a:defRPr sz="3600" baseline="0"/>
            </a:lvl1pPr>
          </a:lstStyle>
          <a:p>
            <a:r>
              <a:rPr lang="en-US"/>
              <a:t>Click to add a longer presentation title</a:t>
            </a:r>
          </a:p>
        </p:txBody>
      </p:sp>
      <p:sp>
        <p:nvSpPr>
          <p:cNvPr id="3" name="Subtitle 2"/>
          <p:cNvSpPr>
            <a:spLocks noGrp="1"/>
          </p:cNvSpPr>
          <p:nvPr>
            <p:ph type="subTitle" idx="1" hasCustomPrompt="1"/>
          </p:nvPr>
        </p:nvSpPr>
        <p:spPr>
          <a:xfrm>
            <a:off x="4524589" y="4094163"/>
            <a:ext cx="5707662" cy="1080000"/>
          </a:xfrm>
        </p:spPr>
        <p:txBody>
          <a:bodyPr/>
          <a:lstStyle>
            <a:lvl1pPr marL="0" indent="0" algn="l">
              <a:spcBef>
                <a:spcPts val="0"/>
              </a:spcBef>
              <a:buNone/>
              <a:defRPr sz="1800" b="1"/>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sp>
        <p:nvSpPr>
          <p:cNvPr id="31" name="Text Placeholder 30"/>
          <p:cNvSpPr>
            <a:spLocks noGrp="1"/>
          </p:cNvSpPr>
          <p:nvPr>
            <p:ph type="body" sz="quarter" idx="14" hasCustomPrompt="1"/>
          </p:nvPr>
        </p:nvSpPr>
        <p:spPr>
          <a:xfrm>
            <a:off x="417600" y="5393268"/>
            <a:ext cx="2494933" cy="296332"/>
          </a:xfrm>
        </p:spPr>
        <p:txBody>
          <a:bodyPr wrap="none"/>
          <a:lstStyle>
            <a:lvl1pPr marL="0" indent="0">
              <a:spcBef>
                <a:spcPts val="0"/>
              </a:spcBef>
              <a:buNone/>
              <a:defRPr sz="1200"/>
            </a:lvl1pPr>
            <a:lvl2pPr marL="0" indent="0">
              <a:buNone/>
              <a:defRPr sz="1200"/>
            </a:lvl2pPr>
            <a:lvl3pPr marL="0" indent="0">
              <a:buNone/>
              <a:defRPr sz="1200"/>
            </a:lvl3pPr>
            <a:lvl4pPr marL="0">
              <a:buNone/>
              <a:defRPr sz="1200"/>
            </a:lvl4pPr>
            <a:lvl5pPr marL="0" indent="0">
              <a:buNone/>
              <a:defRPr sz="1200"/>
            </a:lvl5pPr>
          </a:lstStyle>
          <a:p>
            <a:pPr lvl="0"/>
            <a:r>
              <a:rPr lang="en-US"/>
              <a:t>Name</a:t>
            </a:r>
          </a:p>
        </p:txBody>
      </p:sp>
      <p:sp>
        <p:nvSpPr>
          <p:cNvPr id="34" name="Text Placeholder 30"/>
          <p:cNvSpPr>
            <a:spLocks noGrp="1"/>
          </p:cNvSpPr>
          <p:nvPr>
            <p:ph type="body" sz="quarter" idx="15" hasCustomPrompt="1"/>
          </p:nvPr>
        </p:nvSpPr>
        <p:spPr>
          <a:xfrm>
            <a:off x="417600" y="5691446"/>
            <a:ext cx="2494933" cy="296332"/>
          </a:xfrm>
        </p:spPr>
        <p:txBody>
          <a:bodyPr wrap="none"/>
          <a:lstStyle>
            <a:lvl1pPr marL="0" indent="0">
              <a:spcBef>
                <a:spcPts val="0"/>
              </a:spcBef>
              <a:buNone/>
              <a:defRPr sz="1200"/>
            </a:lvl1pPr>
            <a:lvl2pPr marL="0" indent="0">
              <a:buNone/>
              <a:defRPr sz="1200"/>
            </a:lvl2pPr>
            <a:lvl3pPr marL="0" indent="0">
              <a:buNone/>
              <a:defRPr sz="1200"/>
            </a:lvl3pPr>
            <a:lvl4pPr marL="0">
              <a:buNone/>
              <a:defRPr sz="1200"/>
            </a:lvl4pPr>
            <a:lvl5pPr marL="0" indent="0">
              <a:buNone/>
              <a:defRPr sz="1200"/>
            </a:lvl5pPr>
          </a:lstStyle>
          <a:p>
            <a:pPr lvl="0"/>
            <a:r>
              <a:rPr lang="en-US"/>
              <a:t>Department</a:t>
            </a:r>
          </a:p>
        </p:txBody>
      </p:sp>
    </p:spTree>
    <p:extLst>
      <p:ext uri="{BB962C8B-B14F-4D97-AF65-F5344CB8AC3E}">
        <p14:creationId xmlns:p14="http://schemas.microsoft.com/office/powerpoint/2010/main" val="2620481090"/>
      </p:ext>
    </p:extLst>
  </p:cSld>
  <p:clrMapOvr>
    <a:masterClrMapping/>
  </p:clrMapOvr>
</p:sldLayout>
</file>

<file path=ppt/slideLayouts/slideLayout306.xml><?xml version="1.0" encoding="utf-8"?>
<p:sldLayout xmlns:a="http://schemas.openxmlformats.org/drawingml/2006/main" xmlns:r="http://schemas.openxmlformats.org/officeDocument/2006/relationships" xmlns:p="http://schemas.openxmlformats.org/presentationml/2006/main" showMasterSp="0" preserve="1">
  <p:cSld name="Title with picture">
    <p:spTree>
      <p:nvGrpSpPr>
        <p:cNvPr id="1" name=""/>
        <p:cNvGrpSpPr/>
        <p:nvPr/>
      </p:nvGrpSpPr>
      <p:grpSpPr>
        <a:xfrm>
          <a:off x="0" y="0"/>
          <a:ext cx="0" cy="0"/>
          <a:chOff x="0" y="0"/>
          <a:chExt cx="0" cy="0"/>
        </a:xfrm>
      </p:grpSpPr>
      <p:sp>
        <p:nvSpPr>
          <p:cNvPr id="12" name="Picture Placeholder 11"/>
          <p:cNvSpPr>
            <a:spLocks noGrp="1"/>
          </p:cNvSpPr>
          <p:nvPr>
            <p:ph type="pic" sz="quarter" idx="13" hasCustomPrompt="1"/>
          </p:nvPr>
        </p:nvSpPr>
        <p:spPr>
          <a:xfrm>
            <a:off x="3376226" y="0"/>
            <a:ext cx="8815774" cy="6858000"/>
          </a:xfrm>
          <a:custGeom>
            <a:avLst/>
            <a:gdLst>
              <a:gd name="connsiteX0" fmla="*/ 331042 w 8815774"/>
              <a:gd name="connsiteY0" fmla="*/ 0 h 6858000"/>
              <a:gd name="connsiteX1" fmla="*/ 8815774 w 8815774"/>
              <a:gd name="connsiteY1" fmla="*/ 0 h 6858000"/>
              <a:gd name="connsiteX2" fmla="*/ 8815774 w 8815774"/>
              <a:gd name="connsiteY2" fmla="*/ 6858000 h 6858000"/>
              <a:gd name="connsiteX3" fmla="*/ 0 w 8815774"/>
              <a:gd name="connsiteY3" fmla="*/ 6858000 h 6858000"/>
              <a:gd name="connsiteX4" fmla="*/ 1580491 w 8815774"/>
              <a:gd name="connsiteY4" fmla="*/ 4163677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15774" h="6858000">
                <a:moveTo>
                  <a:pt x="331042" y="0"/>
                </a:moveTo>
                <a:lnTo>
                  <a:pt x="8815774" y="0"/>
                </a:lnTo>
                <a:lnTo>
                  <a:pt x="8815774" y="6858000"/>
                </a:lnTo>
                <a:lnTo>
                  <a:pt x="0" y="6858000"/>
                </a:lnTo>
                <a:lnTo>
                  <a:pt x="1580491" y="4163677"/>
                </a:lnTo>
                <a:close/>
              </a:path>
            </a:pathLst>
          </a:custGeom>
          <a:solidFill>
            <a:srgbClr val="D9DADB"/>
          </a:solidFill>
        </p:spPr>
        <p:txBody>
          <a:bodyPr wrap="square">
            <a:noAutofit/>
          </a:bodyPr>
          <a:lstStyle>
            <a:lvl1pPr marL="0" indent="0" algn="ctr">
              <a:buNone/>
              <a:defRPr/>
            </a:lvl1pPr>
          </a:lstStyle>
          <a:p>
            <a:r>
              <a:rPr lang="en-US"/>
              <a:t>Insert picture</a:t>
            </a:r>
          </a:p>
        </p:txBody>
      </p:sp>
      <p:grpSp>
        <p:nvGrpSpPr>
          <p:cNvPr id="14" name="logo">
            <a:extLst>
              <a:ext uri="{FF2B5EF4-FFF2-40B4-BE49-F238E27FC236}">
                <a16:creationId xmlns:a16="http://schemas.microsoft.com/office/drawing/2014/main" id="{18C26D95-70F8-8A4D-9F18-DCCB92522AF8}"/>
              </a:ext>
            </a:extLst>
          </p:cNvPr>
          <p:cNvGrpSpPr/>
          <p:nvPr/>
        </p:nvGrpSpPr>
        <p:grpSpPr bwMode="gray">
          <a:xfrm>
            <a:off x="417363" y="407485"/>
            <a:ext cx="1518585" cy="646507"/>
            <a:chOff x="334963" y="296652"/>
            <a:chExt cx="1268411" cy="540000"/>
          </a:xfrm>
        </p:grpSpPr>
        <p:sp>
          <p:nvSpPr>
            <p:cNvPr id="17" name="Freeform 6">
              <a:extLst>
                <a:ext uri="{FF2B5EF4-FFF2-40B4-BE49-F238E27FC236}">
                  <a16:creationId xmlns:a16="http://schemas.microsoft.com/office/drawing/2014/main" id="{08737AD0-E375-E445-97E6-CD2E2DF60620}"/>
                </a:ext>
              </a:extLst>
            </p:cNvPr>
            <p:cNvSpPr>
              <a:spLocks noEditPoints="1"/>
            </p:cNvSpPr>
            <p:nvPr/>
          </p:nvSpPr>
          <p:spPr bwMode="gray">
            <a:xfrm>
              <a:off x="982662" y="360462"/>
              <a:ext cx="620712" cy="431800"/>
            </a:xfrm>
            <a:custGeom>
              <a:avLst/>
              <a:gdLst>
                <a:gd name="T0" fmla="*/ 19 w 1809"/>
                <a:gd name="T1" fmla="*/ 97 h 1253"/>
                <a:gd name="T2" fmla="*/ 165 w 1809"/>
                <a:gd name="T3" fmla="*/ 41 h 1253"/>
                <a:gd name="T4" fmla="*/ 211 w 1809"/>
                <a:gd name="T5" fmla="*/ 224 h 1253"/>
                <a:gd name="T6" fmla="*/ 248 w 1809"/>
                <a:gd name="T7" fmla="*/ 155 h 1253"/>
                <a:gd name="T8" fmla="*/ 931 w 1809"/>
                <a:gd name="T9" fmla="*/ 995 h 1253"/>
                <a:gd name="T10" fmla="*/ 858 w 1809"/>
                <a:gd name="T11" fmla="*/ 1115 h 1253"/>
                <a:gd name="T12" fmla="*/ 749 w 1809"/>
                <a:gd name="T13" fmla="*/ 1117 h 1253"/>
                <a:gd name="T14" fmla="*/ 681 w 1809"/>
                <a:gd name="T15" fmla="*/ 1055 h 1253"/>
                <a:gd name="T16" fmla="*/ 800 w 1809"/>
                <a:gd name="T17" fmla="*/ 1054 h 1253"/>
                <a:gd name="T18" fmla="*/ 884 w 1809"/>
                <a:gd name="T19" fmla="*/ 1181 h 1253"/>
                <a:gd name="T20" fmla="*/ 118 w 1809"/>
                <a:gd name="T21" fmla="*/ 1086 h 1253"/>
                <a:gd name="T22" fmla="*/ 147 w 1809"/>
                <a:gd name="T23" fmla="*/ 1026 h 1253"/>
                <a:gd name="T24" fmla="*/ 102 w 1809"/>
                <a:gd name="T25" fmla="*/ 1026 h 1253"/>
                <a:gd name="T26" fmla="*/ 639 w 1809"/>
                <a:gd name="T27" fmla="*/ 84 h 1253"/>
                <a:gd name="T28" fmla="*/ 763 w 1809"/>
                <a:gd name="T29" fmla="*/ 145 h 1253"/>
                <a:gd name="T30" fmla="*/ 863 w 1809"/>
                <a:gd name="T31" fmla="*/ 221 h 1253"/>
                <a:gd name="T32" fmla="*/ 834 w 1809"/>
                <a:gd name="T33" fmla="*/ 208 h 1253"/>
                <a:gd name="T34" fmla="*/ 719 w 1809"/>
                <a:gd name="T35" fmla="*/ 182 h 1253"/>
                <a:gd name="T36" fmla="*/ 507 w 1809"/>
                <a:gd name="T37" fmla="*/ 711 h 1253"/>
                <a:gd name="T38" fmla="*/ 614 w 1809"/>
                <a:gd name="T39" fmla="*/ 706 h 1253"/>
                <a:gd name="T40" fmla="*/ 736 w 1809"/>
                <a:gd name="T41" fmla="*/ 730 h 1253"/>
                <a:gd name="T42" fmla="*/ 607 w 1809"/>
                <a:gd name="T43" fmla="*/ 539 h 1253"/>
                <a:gd name="T44" fmla="*/ 1505 w 1809"/>
                <a:gd name="T45" fmla="*/ 1136 h 1253"/>
                <a:gd name="T46" fmla="*/ 1613 w 1809"/>
                <a:gd name="T47" fmla="*/ 1002 h 1253"/>
                <a:gd name="T48" fmla="*/ 1472 w 1809"/>
                <a:gd name="T49" fmla="*/ 1164 h 1253"/>
                <a:gd name="T50" fmla="*/ 1525 w 1809"/>
                <a:gd name="T51" fmla="*/ 1142 h 1253"/>
                <a:gd name="T52" fmla="*/ 1556 w 1809"/>
                <a:gd name="T53" fmla="*/ 1172 h 1253"/>
                <a:gd name="T54" fmla="*/ 1387 w 1809"/>
                <a:gd name="T55" fmla="*/ 910 h 1253"/>
                <a:gd name="T56" fmla="*/ 1261 w 1809"/>
                <a:gd name="T57" fmla="*/ 1157 h 1253"/>
                <a:gd name="T58" fmla="*/ 1413 w 1809"/>
                <a:gd name="T59" fmla="*/ 934 h 1253"/>
                <a:gd name="T60" fmla="*/ 1378 w 1809"/>
                <a:gd name="T61" fmla="*/ 1052 h 1253"/>
                <a:gd name="T62" fmla="*/ 488 w 1809"/>
                <a:gd name="T63" fmla="*/ 85 h 1253"/>
                <a:gd name="T64" fmla="*/ 509 w 1809"/>
                <a:gd name="T65" fmla="*/ 112 h 1253"/>
                <a:gd name="T66" fmla="*/ 548 w 1809"/>
                <a:gd name="T67" fmla="*/ 1187 h 1253"/>
                <a:gd name="T68" fmla="*/ 472 w 1809"/>
                <a:gd name="T69" fmla="*/ 1122 h 1253"/>
                <a:gd name="T70" fmla="*/ 558 w 1809"/>
                <a:gd name="T71" fmla="*/ 1157 h 1253"/>
                <a:gd name="T72" fmla="*/ 287 w 1809"/>
                <a:gd name="T73" fmla="*/ 654 h 1253"/>
                <a:gd name="T74" fmla="*/ 416 w 1809"/>
                <a:gd name="T75" fmla="*/ 684 h 1253"/>
                <a:gd name="T76" fmla="*/ 1106 w 1809"/>
                <a:gd name="T77" fmla="*/ 147 h 1253"/>
                <a:gd name="T78" fmla="*/ 1229 w 1809"/>
                <a:gd name="T79" fmla="*/ 258 h 1253"/>
                <a:gd name="T80" fmla="*/ 1106 w 1809"/>
                <a:gd name="T81" fmla="*/ 96 h 1253"/>
                <a:gd name="T82" fmla="*/ 1219 w 1809"/>
                <a:gd name="T83" fmla="*/ 1077 h 1253"/>
                <a:gd name="T84" fmla="*/ 1214 w 1809"/>
                <a:gd name="T85" fmla="*/ 1157 h 1253"/>
                <a:gd name="T86" fmla="*/ 1150 w 1809"/>
                <a:gd name="T87" fmla="*/ 1092 h 1253"/>
                <a:gd name="T88" fmla="*/ 1139 w 1809"/>
                <a:gd name="T89" fmla="*/ 1070 h 1253"/>
                <a:gd name="T90" fmla="*/ 1659 w 1809"/>
                <a:gd name="T91" fmla="*/ 1031 h 1253"/>
                <a:gd name="T92" fmla="*/ 1714 w 1809"/>
                <a:gd name="T93" fmla="*/ 1155 h 1253"/>
                <a:gd name="T94" fmla="*/ 1760 w 1809"/>
                <a:gd name="T95" fmla="*/ 1030 h 1253"/>
                <a:gd name="T96" fmla="*/ 111 w 1809"/>
                <a:gd name="T97" fmla="*/ 569 h 1253"/>
                <a:gd name="T98" fmla="*/ 109 w 1809"/>
                <a:gd name="T99" fmla="*/ 460 h 1253"/>
                <a:gd name="T100" fmla="*/ 32 w 1809"/>
                <a:gd name="T101" fmla="*/ 704 h 1253"/>
                <a:gd name="T102" fmla="*/ 310 w 1809"/>
                <a:gd name="T103" fmla="*/ 1058 h 1253"/>
                <a:gd name="T104" fmla="*/ 431 w 1809"/>
                <a:gd name="T105" fmla="*/ 1044 h 1253"/>
                <a:gd name="T106" fmla="*/ 278 w 1809"/>
                <a:gd name="T107" fmla="*/ 1165 h 1253"/>
                <a:gd name="T108" fmla="*/ 261 w 1809"/>
                <a:gd name="T109" fmla="*/ 540 h 1253"/>
                <a:gd name="T110" fmla="*/ 150 w 1809"/>
                <a:gd name="T111" fmla="*/ 635 h 1253"/>
                <a:gd name="T112" fmla="*/ 994 w 1809"/>
                <a:gd name="T113" fmla="*/ 1185 h 1253"/>
                <a:gd name="T114" fmla="*/ 331 w 1809"/>
                <a:gd name="T115" fmla="*/ 176 h 1253"/>
                <a:gd name="T116" fmla="*/ 333 w 1809"/>
                <a:gd name="T117" fmla="*/ 109 h 1253"/>
                <a:gd name="T118" fmla="*/ 946 w 1809"/>
                <a:gd name="T119" fmla="*/ 234 h 1253"/>
                <a:gd name="T120" fmla="*/ 1022 w 1809"/>
                <a:gd name="T121" fmla="*/ 113 h 1253"/>
                <a:gd name="T122" fmla="*/ 949 w 1809"/>
                <a:gd name="T123" fmla="*/ 65 h 1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09" h="1253">
                  <a:moveTo>
                    <a:pt x="248" y="198"/>
                  </a:moveTo>
                  <a:cubicBezTo>
                    <a:pt x="248" y="211"/>
                    <a:pt x="248" y="224"/>
                    <a:pt x="249" y="237"/>
                  </a:cubicBezTo>
                  <a:cubicBezTo>
                    <a:pt x="249" y="245"/>
                    <a:pt x="246" y="249"/>
                    <a:pt x="240" y="253"/>
                  </a:cubicBezTo>
                  <a:cubicBezTo>
                    <a:pt x="231" y="260"/>
                    <a:pt x="220" y="264"/>
                    <a:pt x="209" y="268"/>
                  </a:cubicBezTo>
                  <a:cubicBezTo>
                    <a:pt x="179" y="279"/>
                    <a:pt x="148" y="280"/>
                    <a:pt x="118" y="275"/>
                  </a:cubicBezTo>
                  <a:cubicBezTo>
                    <a:pt x="86" y="269"/>
                    <a:pt x="58" y="252"/>
                    <a:pt x="39" y="224"/>
                  </a:cubicBezTo>
                  <a:cubicBezTo>
                    <a:pt x="24" y="203"/>
                    <a:pt x="18" y="180"/>
                    <a:pt x="15" y="155"/>
                  </a:cubicBezTo>
                  <a:cubicBezTo>
                    <a:pt x="11" y="135"/>
                    <a:pt x="15" y="115"/>
                    <a:pt x="19" y="97"/>
                  </a:cubicBezTo>
                  <a:cubicBezTo>
                    <a:pt x="26" y="68"/>
                    <a:pt x="42" y="44"/>
                    <a:pt x="68" y="27"/>
                  </a:cubicBezTo>
                  <a:cubicBezTo>
                    <a:pt x="87" y="14"/>
                    <a:pt x="109" y="6"/>
                    <a:pt x="133" y="5"/>
                  </a:cubicBezTo>
                  <a:cubicBezTo>
                    <a:pt x="149" y="4"/>
                    <a:pt x="165" y="5"/>
                    <a:pt x="181" y="6"/>
                  </a:cubicBezTo>
                  <a:cubicBezTo>
                    <a:pt x="204" y="8"/>
                    <a:pt x="225" y="20"/>
                    <a:pt x="243" y="35"/>
                  </a:cubicBezTo>
                  <a:cubicBezTo>
                    <a:pt x="246" y="37"/>
                    <a:pt x="246" y="40"/>
                    <a:pt x="244" y="43"/>
                  </a:cubicBezTo>
                  <a:cubicBezTo>
                    <a:pt x="242" y="47"/>
                    <a:pt x="239" y="52"/>
                    <a:pt x="236" y="55"/>
                  </a:cubicBezTo>
                  <a:cubicBezTo>
                    <a:pt x="226" y="65"/>
                    <a:pt x="224" y="65"/>
                    <a:pt x="206" y="54"/>
                  </a:cubicBezTo>
                  <a:cubicBezTo>
                    <a:pt x="193" y="46"/>
                    <a:pt x="180" y="40"/>
                    <a:pt x="165" y="41"/>
                  </a:cubicBezTo>
                  <a:cubicBezTo>
                    <a:pt x="151" y="41"/>
                    <a:pt x="137" y="39"/>
                    <a:pt x="124" y="42"/>
                  </a:cubicBezTo>
                  <a:cubicBezTo>
                    <a:pt x="104" y="46"/>
                    <a:pt x="87" y="57"/>
                    <a:pt x="75" y="74"/>
                  </a:cubicBezTo>
                  <a:cubicBezTo>
                    <a:pt x="56" y="99"/>
                    <a:pt x="51" y="129"/>
                    <a:pt x="55" y="159"/>
                  </a:cubicBezTo>
                  <a:cubicBezTo>
                    <a:pt x="60" y="189"/>
                    <a:pt x="73" y="214"/>
                    <a:pt x="98" y="230"/>
                  </a:cubicBezTo>
                  <a:cubicBezTo>
                    <a:pt x="109" y="237"/>
                    <a:pt x="121" y="242"/>
                    <a:pt x="135" y="241"/>
                  </a:cubicBezTo>
                  <a:cubicBezTo>
                    <a:pt x="146" y="241"/>
                    <a:pt x="158" y="241"/>
                    <a:pt x="169" y="241"/>
                  </a:cubicBezTo>
                  <a:cubicBezTo>
                    <a:pt x="182" y="242"/>
                    <a:pt x="193" y="235"/>
                    <a:pt x="205" y="232"/>
                  </a:cubicBezTo>
                  <a:cubicBezTo>
                    <a:pt x="210" y="231"/>
                    <a:pt x="211" y="227"/>
                    <a:pt x="211" y="224"/>
                  </a:cubicBezTo>
                  <a:cubicBezTo>
                    <a:pt x="211" y="210"/>
                    <a:pt x="211" y="196"/>
                    <a:pt x="211" y="183"/>
                  </a:cubicBezTo>
                  <a:cubicBezTo>
                    <a:pt x="211" y="177"/>
                    <a:pt x="207" y="175"/>
                    <a:pt x="202" y="175"/>
                  </a:cubicBezTo>
                  <a:cubicBezTo>
                    <a:pt x="193" y="175"/>
                    <a:pt x="184" y="175"/>
                    <a:pt x="175" y="175"/>
                  </a:cubicBezTo>
                  <a:cubicBezTo>
                    <a:pt x="171" y="175"/>
                    <a:pt x="168" y="174"/>
                    <a:pt x="166" y="171"/>
                  </a:cubicBezTo>
                  <a:cubicBezTo>
                    <a:pt x="163" y="163"/>
                    <a:pt x="164" y="154"/>
                    <a:pt x="166" y="146"/>
                  </a:cubicBezTo>
                  <a:cubicBezTo>
                    <a:pt x="167" y="142"/>
                    <a:pt x="171" y="142"/>
                    <a:pt x="175" y="142"/>
                  </a:cubicBezTo>
                  <a:cubicBezTo>
                    <a:pt x="196" y="142"/>
                    <a:pt x="217" y="142"/>
                    <a:pt x="238" y="142"/>
                  </a:cubicBezTo>
                  <a:cubicBezTo>
                    <a:pt x="247" y="142"/>
                    <a:pt x="248" y="148"/>
                    <a:pt x="248" y="155"/>
                  </a:cubicBezTo>
                  <a:cubicBezTo>
                    <a:pt x="249" y="169"/>
                    <a:pt x="248" y="183"/>
                    <a:pt x="248" y="198"/>
                  </a:cubicBezTo>
                  <a:close/>
                  <a:moveTo>
                    <a:pt x="884" y="1181"/>
                  </a:moveTo>
                  <a:cubicBezTo>
                    <a:pt x="889" y="1167"/>
                    <a:pt x="894" y="1152"/>
                    <a:pt x="898" y="1137"/>
                  </a:cubicBezTo>
                  <a:cubicBezTo>
                    <a:pt x="901" y="1127"/>
                    <a:pt x="905" y="1116"/>
                    <a:pt x="908" y="1106"/>
                  </a:cubicBezTo>
                  <a:cubicBezTo>
                    <a:pt x="911" y="1098"/>
                    <a:pt x="912" y="1089"/>
                    <a:pt x="916" y="1081"/>
                  </a:cubicBezTo>
                  <a:cubicBezTo>
                    <a:pt x="921" y="1072"/>
                    <a:pt x="923" y="1060"/>
                    <a:pt x="927" y="1050"/>
                  </a:cubicBezTo>
                  <a:cubicBezTo>
                    <a:pt x="932" y="1037"/>
                    <a:pt x="934" y="1023"/>
                    <a:pt x="940" y="1010"/>
                  </a:cubicBezTo>
                  <a:cubicBezTo>
                    <a:pt x="945" y="1001"/>
                    <a:pt x="941" y="995"/>
                    <a:pt x="931" y="995"/>
                  </a:cubicBezTo>
                  <a:cubicBezTo>
                    <a:pt x="927" y="995"/>
                    <a:pt x="922" y="995"/>
                    <a:pt x="918" y="995"/>
                  </a:cubicBezTo>
                  <a:cubicBezTo>
                    <a:pt x="913" y="995"/>
                    <a:pt x="908" y="997"/>
                    <a:pt x="907" y="1001"/>
                  </a:cubicBezTo>
                  <a:cubicBezTo>
                    <a:pt x="904" y="1008"/>
                    <a:pt x="900" y="1015"/>
                    <a:pt x="899" y="1023"/>
                  </a:cubicBezTo>
                  <a:cubicBezTo>
                    <a:pt x="897" y="1034"/>
                    <a:pt x="893" y="1045"/>
                    <a:pt x="889" y="1055"/>
                  </a:cubicBezTo>
                  <a:cubicBezTo>
                    <a:pt x="887" y="1064"/>
                    <a:pt x="885" y="1072"/>
                    <a:pt x="882" y="1080"/>
                  </a:cubicBezTo>
                  <a:cubicBezTo>
                    <a:pt x="878" y="1091"/>
                    <a:pt x="874" y="1103"/>
                    <a:pt x="871" y="1115"/>
                  </a:cubicBezTo>
                  <a:cubicBezTo>
                    <a:pt x="870" y="1118"/>
                    <a:pt x="871" y="1124"/>
                    <a:pt x="866" y="1124"/>
                  </a:cubicBezTo>
                  <a:cubicBezTo>
                    <a:pt x="861" y="1125"/>
                    <a:pt x="859" y="1120"/>
                    <a:pt x="858" y="1115"/>
                  </a:cubicBezTo>
                  <a:cubicBezTo>
                    <a:pt x="856" y="1110"/>
                    <a:pt x="856" y="1104"/>
                    <a:pt x="854" y="1099"/>
                  </a:cubicBezTo>
                  <a:cubicBezTo>
                    <a:pt x="848" y="1080"/>
                    <a:pt x="841" y="1062"/>
                    <a:pt x="835" y="1044"/>
                  </a:cubicBezTo>
                  <a:cubicBezTo>
                    <a:pt x="831" y="1030"/>
                    <a:pt x="828" y="1016"/>
                    <a:pt x="822" y="1003"/>
                  </a:cubicBezTo>
                  <a:cubicBezTo>
                    <a:pt x="819" y="997"/>
                    <a:pt x="814" y="994"/>
                    <a:pt x="808" y="994"/>
                  </a:cubicBezTo>
                  <a:cubicBezTo>
                    <a:pt x="799" y="993"/>
                    <a:pt x="791" y="993"/>
                    <a:pt x="787" y="1001"/>
                  </a:cubicBezTo>
                  <a:cubicBezTo>
                    <a:pt x="783" y="1008"/>
                    <a:pt x="780" y="1015"/>
                    <a:pt x="779" y="1022"/>
                  </a:cubicBezTo>
                  <a:cubicBezTo>
                    <a:pt x="778" y="1034"/>
                    <a:pt x="772" y="1044"/>
                    <a:pt x="769" y="1055"/>
                  </a:cubicBezTo>
                  <a:cubicBezTo>
                    <a:pt x="762" y="1076"/>
                    <a:pt x="754" y="1096"/>
                    <a:pt x="749" y="1117"/>
                  </a:cubicBezTo>
                  <a:cubicBezTo>
                    <a:pt x="748" y="1120"/>
                    <a:pt x="747" y="1124"/>
                    <a:pt x="742" y="1124"/>
                  </a:cubicBezTo>
                  <a:cubicBezTo>
                    <a:pt x="737" y="1124"/>
                    <a:pt x="737" y="1120"/>
                    <a:pt x="736" y="1116"/>
                  </a:cubicBezTo>
                  <a:cubicBezTo>
                    <a:pt x="734" y="1104"/>
                    <a:pt x="730" y="1092"/>
                    <a:pt x="726" y="1080"/>
                  </a:cubicBezTo>
                  <a:cubicBezTo>
                    <a:pt x="720" y="1061"/>
                    <a:pt x="714" y="1040"/>
                    <a:pt x="708" y="1020"/>
                  </a:cubicBezTo>
                  <a:cubicBezTo>
                    <a:pt x="703" y="1000"/>
                    <a:pt x="698" y="994"/>
                    <a:pt x="676" y="995"/>
                  </a:cubicBezTo>
                  <a:cubicBezTo>
                    <a:pt x="665" y="996"/>
                    <a:pt x="661" y="1001"/>
                    <a:pt x="667" y="1011"/>
                  </a:cubicBezTo>
                  <a:cubicBezTo>
                    <a:pt x="669" y="1016"/>
                    <a:pt x="670" y="1021"/>
                    <a:pt x="672" y="1025"/>
                  </a:cubicBezTo>
                  <a:cubicBezTo>
                    <a:pt x="675" y="1035"/>
                    <a:pt x="678" y="1046"/>
                    <a:pt x="681" y="1055"/>
                  </a:cubicBezTo>
                  <a:cubicBezTo>
                    <a:pt x="685" y="1068"/>
                    <a:pt x="689" y="1080"/>
                    <a:pt x="693" y="1092"/>
                  </a:cubicBezTo>
                  <a:cubicBezTo>
                    <a:pt x="697" y="1103"/>
                    <a:pt x="699" y="1113"/>
                    <a:pt x="703" y="1124"/>
                  </a:cubicBezTo>
                  <a:cubicBezTo>
                    <a:pt x="707" y="1136"/>
                    <a:pt x="711" y="1147"/>
                    <a:pt x="715" y="1160"/>
                  </a:cubicBezTo>
                  <a:cubicBezTo>
                    <a:pt x="717" y="1168"/>
                    <a:pt x="720" y="1176"/>
                    <a:pt x="724" y="1183"/>
                  </a:cubicBezTo>
                  <a:cubicBezTo>
                    <a:pt x="728" y="1189"/>
                    <a:pt x="752" y="1185"/>
                    <a:pt x="757" y="1180"/>
                  </a:cubicBezTo>
                  <a:cubicBezTo>
                    <a:pt x="764" y="1173"/>
                    <a:pt x="762" y="1163"/>
                    <a:pt x="766" y="1156"/>
                  </a:cubicBezTo>
                  <a:cubicBezTo>
                    <a:pt x="774" y="1140"/>
                    <a:pt x="778" y="1122"/>
                    <a:pt x="784" y="1105"/>
                  </a:cubicBezTo>
                  <a:cubicBezTo>
                    <a:pt x="789" y="1088"/>
                    <a:pt x="796" y="1072"/>
                    <a:pt x="800" y="1054"/>
                  </a:cubicBezTo>
                  <a:cubicBezTo>
                    <a:pt x="800" y="1053"/>
                    <a:pt x="801" y="1050"/>
                    <a:pt x="803" y="1050"/>
                  </a:cubicBezTo>
                  <a:cubicBezTo>
                    <a:pt x="806" y="1050"/>
                    <a:pt x="806" y="1052"/>
                    <a:pt x="807" y="1055"/>
                  </a:cubicBezTo>
                  <a:cubicBezTo>
                    <a:pt x="807" y="1060"/>
                    <a:pt x="810" y="1066"/>
                    <a:pt x="811" y="1071"/>
                  </a:cubicBezTo>
                  <a:cubicBezTo>
                    <a:pt x="814" y="1081"/>
                    <a:pt x="818" y="1090"/>
                    <a:pt x="821" y="1099"/>
                  </a:cubicBezTo>
                  <a:cubicBezTo>
                    <a:pt x="824" y="1110"/>
                    <a:pt x="827" y="1120"/>
                    <a:pt x="831" y="1131"/>
                  </a:cubicBezTo>
                  <a:cubicBezTo>
                    <a:pt x="834" y="1142"/>
                    <a:pt x="839" y="1153"/>
                    <a:pt x="842" y="1164"/>
                  </a:cubicBezTo>
                  <a:cubicBezTo>
                    <a:pt x="846" y="1179"/>
                    <a:pt x="850" y="1188"/>
                    <a:pt x="869" y="1185"/>
                  </a:cubicBezTo>
                  <a:cubicBezTo>
                    <a:pt x="873" y="1184"/>
                    <a:pt x="881" y="1189"/>
                    <a:pt x="884" y="1181"/>
                  </a:cubicBezTo>
                  <a:close/>
                  <a:moveTo>
                    <a:pt x="33" y="1051"/>
                  </a:moveTo>
                  <a:cubicBezTo>
                    <a:pt x="33" y="1087"/>
                    <a:pt x="33" y="1124"/>
                    <a:pt x="33" y="1160"/>
                  </a:cubicBezTo>
                  <a:cubicBezTo>
                    <a:pt x="33" y="1188"/>
                    <a:pt x="29" y="1184"/>
                    <a:pt x="58" y="1185"/>
                  </a:cubicBezTo>
                  <a:cubicBezTo>
                    <a:pt x="72" y="1185"/>
                    <a:pt x="73" y="1184"/>
                    <a:pt x="73" y="1170"/>
                  </a:cubicBezTo>
                  <a:cubicBezTo>
                    <a:pt x="73" y="1138"/>
                    <a:pt x="73" y="1107"/>
                    <a:pt x="73" y="1076"/>
                  </a:cubicBezTo>
                  <a:cubicBezTo>
                    <a:pt x="73" y="1071"/>
                    <a:pt x="72" y="1067"/>
                    <a:pt x="78" y="1065"/>
                  </a:cubicBezTo>
                  <a:cubicBezTo>
                    <a:pt x="91" y="1062"/>
                    <a:pt x="102" y="1067"/>
                    <a:pt x="110" y="1076"/>
                  </a:cubicBezTo>
                  <a:cubicBezTo>
                    <a:pt x="112" y="1080"/>
                    <a:pt x="115" y="1083"/>
                    <a:pt x="118" y="1086"/>
                  </a:cubicBezTo>
                  <a:cubicBezTo>
                    <a:pt x="132" y="1103"/>
                    <a:pt x="146" y="1119"/>
                    <a:pt x="161" y="1136"/>
                  </a:cubicBezTo>
                  <a:cubicBezTo>
                    <a:pt x="173" y="1150"/>
                    <a:pt x="186" y="1165"/>
                    <a:pt x="198" y="1179"/>
                  </a:cubicBezTo>
                  <a:cubicBezTo>
                    <a:pt x="207" y="1188"/>
                    <a:pt x="218" y="1184"/>
                    <a:pt x="228" y="1185"/>
                  </a:cubicBezTo>
                  <a:cubicBezTo>
                    <a:pt x="233" y="1185"/>
                    <a:pt x="241" y="1188"/>
                    <a:pt x="244" y="1182"/>
                  </a:cubicBezTo>
                  <a:cubicBezTo>
                    <a:pt x="246" y="1178"/>
                    <a:pt x="239" y="1173"/>
                    <a:pt x="235" y="1169"/>
                  </a:cubicBezTo>
                  <a:cubicBezTo>
                    <a:pt x="206" y="1133"/>
                    <a:pt x="176" y="1098"/>
                    <a:pt x="146" y="1062"/>
                  </a:cubicBezTo>
                  <a:cubicBezTo>
                    <a:pt x="141" y="1056"/>
                    <a:pt x="131" y="1052"/>
                    <a:pt x="132" y="1044"/>
                  </a:cubicBezTo>
                  <a:cubicBezTo>
                    <a:pt x="132" y="1036"/>
                    <a:pt x="142" y="1032"/>
                    <a:pt x="147" y="1026"/>
                  </a:cubicBezTo>
                  <a:cubicBezTo>
                    <a:pt x="164" y="1006"/>
                    <a:pt x="182" y="988"/>
                    <a:pt x="198" y="968"/>
                  </a:cubicBezTo>
                  <a:cubicBezTo>
                    <a:pt x="209" y="954"/>
                    <a:pt x="221" y="942"/>
                    <a:pt x="234" y="929"/>
                  </a:cubicBezTo>
                  <a:cubicBezTo>
                    <a:pt x="236" y="926"/>
                    <a:pt x="238" y="923"/>
                    <a:pt x="237" y="920"/>
                  </a:cubicBezTo>
                  <a:cubicBezTo>
                    <a:pt x="235" y="915"/>
                    <a:pt x="231" y="917"/>
                    <a:pt x="228" y="917"/>
                  </a:cubicBezTo>
                  <a:cubicBezTo>
                    <a:pt x="224" y="918"/>
                    <a:pt x="221" y="918"/>
                    <a:pt x="217" y="918"/>
                  </a:cubicBezTo>
                  <a:cubicBezTo>
                    <a:pt x="204" y="917"/>
                    <a:pt x="193" y="922"/>
                    <a:pt x="185" y="931"/>
                  </a:cubicBezTo>
                  <a:cubicBezTo>
                    <a:pt x="172" y="946"/>
                    <a:pt x="158" y="961"/>
                    <a:pt x="145" y="977"/>
                  </a:cubicBezTo>
                  <a:cubicBezTo>
                    <a:pt x="131" y="993"/>
                    <a:pt x="117" y="1010"/>
                    <a:pt x="102" y="1026"/>
                  </a:cubicBezTo>
                  <a:cubicBezTo>
                    <a:pt x="96" y="1032"/>
                    <a:pt x="87" y="1037"/>
                    <a:pt x="78" y="1034"/>
                  </a:cubicBezTo>
                  <a:cubicBezTo>
                    <a:pt x="70" y="1030"/>
                    <a:pt x="73" y="1021"/>
                    <a:pt x="73" y="1015"/>
                  </a:cubicBezTo>
                  <a:cubicBezTo>
                    <a:pt x="73" y="991"/>
                    <a:pt x="73" y="967"/>
                    <a:pt x="73" y="944"/>
                  </a:cubicBezTo>
                  <a:cubicBezTo>
                    <a:pt x="73" y="916"/>
                    <a:pt x="75" y="917"/>
                    <a:pt x="46" y="918"/>
                  </a:cubicBezTo>
                  <a:cubicBezTo>
                    <a:pt x="33" y="918"/>
                    <a:pt x="33" y="918"/>
                    <a:pt x="33" y="931"/>
                  </a:cubicBezTo>
                  <a:cubicBezTo>
                    <a:pt x="33" y="971"/>
                    <a:pt x="33" y="1011"/>
                    <a:pt x="33" y="1051"/>
                  </a:cubicBezTo>
                  <a:cubicBezTo>
                    <a:pt x="33" y="1051"/>
                    <a:pt x="33" y="1051"/>
                    <a:pt x="33" y="1051"/>
                  </a:cubicBezTo>
                  <a:close/>
                  <a:moveTo>
                    <a:pt x="639" y="84"/>
                  </a:moveTo>
                  <a:cubicBezTo>
                    <a:pt x="627" y="84"/>
                    <a:pt x="626" y="84"/>
                    <a:pt x="629" y="95"/>
                  </a:cubicBezTo>
                  <a:cubicBezTo>
                    <a:pt x="634" y="113"/>
                    <a:pt x="640" y="131"/>
                    <a:pt x="646" y="148"/>
                  </a:cubicBezTo>
                  <a:cubicBezTo>
                    <a:pt x="652" y="166"/>
                    <a:pt x="658" y="185"/>
                    <a:pt x="664" y="203"/>
                  </a:cubicBezTo>
                  <a:cubicBezTo>
                    <a:pt x="671" y="223"/>
                    <a:pt x="676" y="244"/>
                    <a:pt x="684" y="264"/>
                  </a:cubicBezTo>
                  <a:cubicBezTo>
                    <a:pt x="688" y="274"/>
                    <a:pt x="694" y="274"/>
                    <a:pt x="702" y="274"/>
                  </a:cubicBezTo>
                  <a:cubicBezTo>
                    <a:pt x="711" y="274"/>
                    <a:pt x="719" y="272"/>
                    <a:pt x="723" y="263"/>
                  </a:cubicBezTo>
                  <a:cubicBezTo>
                    <a:pt x="733" y="236"/>
                    <a:pt x="741" y="208"/>
                    <a:pt x="750" y="181"/>
                  </a:cubicBezTo>
                  <a:cubicBezTo>
                    <a:pt x="754" y="169"/>
                    <a:pt x="757" y="156"/>
                    <a:pt x="763" y="145"/>
                  </a:cubicBezTo>
                  <a:cubicBezTo>
                    <a:pt x="764" y="143"/>
                    <a:pt x="764" y="140"/>
                    <a:pt x="767" y="140"/>
                  </a:cubicBezTo>
                  <a:cubicBezTo>
                    <a:pt x="770" y="140"/>
                    <a:pt x="770" y="143"/>
                    <a:pt x="771" y="145"/>
                  </a:cubicBezTo>
                  <a:cubicBezTo>
                    <a:pt x="771" y="156"/>
                    <a:pt x="777" y="165"/>
                    <a:pt x="780" y="175"/>
                  </a:cubicBezTo>
                  <a:cubicBezTo>
                    <a:pt x="782" y="184"/>
                    <a:pt x="785" y="193"/>
                    <a:pt x="788" y="201"/>
                  </a:cubicBezTo>
                  <a:cubicBezTo>
                    <a:pt x="794" y="219"/>
                    <a:pt x="801" y="237"/>
                    <a:pt x="806" y="255"/>
                  </a:cubicBezTo>
                  <a:cubicBezTo>
                    <a:pt x="811" y="272"/>
                    <a:pt x="825" y="280"/>
                    <a:pt x="842" y="273"/>
                  </a:cubicBezTo>
                  <a:cubicBezTo>
                    <a:pt x="845" y="271"/>
                    <a:pt x="847" y="269"/>
                    <a:pt x="848" y="266"/>
                  </a:cubicBezTo>
                  <a:cubicBezTo>
                    <a:pt x="853" y="251"/>
                    <a:pt x="859" y="236"/>
                    <a:pt x="863" y="221"/>
                  </a:cubicBezTo>
                  <a:cubicBezTo>
                    <a:pt x="867" y="202"/>
                    <a:pt x="875" y="185"/>
                    <a:pt x="880" y="166"/>
                  </a:cubicBezTo>
                  <a:cubicBezTo>
                    <a:pt x="886" y="144"/>
                    <a:pt x="895" y="123"/>
                    <a:pt x="900" y="101"/>
                  </a:cubicBezTo>
                  <a:cubicBezTo>
                    <a:pt x="901" y="96"/>
                    <a:pt x="909" y="91"/>
                    <a:pt x="904" y="86"/>
                  </a:cubicBezTo>
                  <a:cubicBezTo>
                    <a:pt x="900" y="81"/>
                    <a:pt x="892" y="84"/>
                    <a:pt x="886" y="84"/>
                  </a:cubicBezTo>
                  <a:cubicBezTo>
                    <a:pt x="885" y="84"/>
                    <a:pt x="883" y="84"/>
                    <a:pt x="881" y="84"/>
                  </a:cubicBezTo>
                  <a:cubicBezTo>
                    <a:pt x="875" y="84"/>
                    <a:pt x="872" y="86"/>
                    <a:pt x="869" y="91"/>
                  </a:cubicBezTo>
                  <a:cubicBezTo>
                    <a:pt x="860" y="110"/>
                    <a:pt x="856" y="131"/>
                    <a:pt x="850" y="151"/>
                  </a:cubicBezTo>
                  <a:cubicBezTo>
                    <a:pt x="844" y="170"/>
                    <a:pt x="836" y="188"/>
                    <a:pt x="834" y="208"/>
                  </a:cubicBezTo>
                  <a:cubicBezTo>
                    <a:pt x="833" y="211"/>
                    <a:pt x="831" y="214"/>
                    <a:pt x="827" y="214"/>
                  </a:cubicBezTo>
                  <a:cubicBezTo>
                    <a:pt x="823" y="214"/>
                    <a:pt x="822" y="210"/>
                    <a:pt x="822" y="207"/>
                  </a:cubicBezTo>
                  <a:cubicBezTo>
                    <a:pt x="817" y="188"/>
                    <a:pt x="811" y="170"/>
                    <a:pt x="805" y="152"/>
                  </a:cubicBezTo>
                  <a:cubicBezTo>
                    <a:pt x="799" y="133"/>
                    <a:pt x="794" y="114"/>
                    <a:pt x="786" y="96"/>
                  </a:cubicBezTo>
                  <a:cubicBezTo>
                    <a:pt x="783" y="87"/>
                    <a:pt x="779" y="84"/>
                    <a:pt x="770" y="84"/>
                  </a:cubicBezTo>
                  <a:cubicBezTo>
                    <a:pt x="761" y="84"/>
                    <a:pt x="752" y="82"/>
                    <a:pt x="748" y="94"/>
                  </a:cubicBezTo>
                  <a:cubicBezTo>
                    <a:pt x="744" y="109"/>
                    <a:pt x="738" y="123"/>
                    <a:pt x="734" y="138"/>
                  </a:cubicBezTo>
                  <a:cubicBezTo>
                    <a:pt x="729" y="153"/>
                    <a:pt x="724" y="167"/>
                    <a:pt x="719" y="182"/>
                  </a:cubicBezTo>
                  <a:cubicBezTo>
                    <a:pt x="716" y="192"/>
                    <a:pt x="715" y="203"/>
                    <a:pt x="708" y="212"/>
                  </a:cubicBezTo>
                  <a:cubicBezTo>
                    <a:pt x="707" y="214"/>
                    <a:pt x="707" y="217"/>
                    <a:pt x="704" y="217"/>
                  </a:cubicBezTo>
                  <a:cubicBezTo>
                    <a:pt x="701" y="217"/>
                    <a:pt x="701" y="213"/>
                    <a:pt x="700" y="211"/>
                  </a:cubicBezTo>
                  <a:cubicBezTo>
                    <a:pt x="699" y="198"/>
                    <a:pt x="694" y="186"/>
                    <a:pt x="690" y="174"/>
                  </a:cubicBezTo>
                  <a:cubicBezTo>
                    <a:pt x="684" y="153"/>
                    <a:pt x="677" y="131"/>
                    <a:pt x="672" y="110"/>
                  </a:cubicBezTo>
                  <a:cubicBezTo>
                    <a:pt x="667" y="88"/>
                    <a:pt x="663" y="84"/>
                    <a:pt x="645" y="84"/>
                  </a:cubicBezTo>
                  <a:cubicBezTo>
                    <a:pt x="643" y="84"/>
                    <a:pt x="641" y="84"/>
                    <a:pt x="639" y="84"/>
                  </a:cubicBezTo>
                  <a:close/>
                  <a:moveTo>
                    <a:pt x="507" y="711"/>
                  </a:moveTo>
                  <a:cubicBezTo>
                    <a:pt x="507" y="730"/>
                    <a:pt x="507" y="730"/>
                    <a:pt x="526" y="730"/>
                  </a:cubicBezTo>
                  <a:cubicBezTo>
                    <a:pt x="539" y="730"/>
                    <a:pt x="541" y="729"/>
                    <a:pt x="541" y="715"/>
                  </a:cubicBezTo>
                  <a:cubicBezTo>
                    <a:pt x="541" y="677"/>
                    <a:pt x="541" y="638"/>
                    <a:pt x="540" y="600"/>
                  </a:cubicBezTo>
                  <a:cubicBezTo>
                    <a:pt x="540" y="593"/>
                    <a:pt x="543" y="587"/>
                    <a:pt x="548" y="582"/>
                  </a:cubicBezTo>
                  <a:cubicBezTo>
                    <a:pt x="553" y="576"/>
                    <a:pt x="559" y="573"/>
                    <a:pt x="564" y="569"/>
                  </a:cubicBezTo>
                  <a:cubicBezTo>
                    <a:pt x="574" y="564"/>
                    <a:pt x="594" y="566"/>
                    <a:pt x="602" y="574"/>
                  </a:cubicBezTo>
                  <a:cubicBezTo>
                    <a:pt x="611" y="582"/>
                    <a:pt x="614" y="592"/>
                    <a:pt x="614" y="604"/>
                  </a:cubicBezTo>
                  <a:cubicBezTo>
                    <a:pt x="614" y="638"/>
                    <a:pt x="614" y="672"/>
                    <a:pt x="614" y="706"/>
                  </a:cubicBezTo>
                  <a:cubicBezTo>
                    <a:pt x="614" y="730"/>
                    <a:pt x="614" y="730"/>
                    <a:pt x="638" y="730"/>
                  </a:cubicBezTo>
                  <a:cubicBezTo>
                    <a:pt x="650" y="730"/>
                    <a:pt x="650" y="730"/>
                    <a:pt x="650" y="717"/>
                  </a:cubicBezTo>
                  <a:cubicBezTo>
                    <a:pt x="650" y="684"/>
                    <a:pt x="650" y="650"/>
                    <a:pt x="650" y="617"/>
                  </a:cubicBezTo>
                  <a:cubicBezTo>
                    <a:pt x="650" y="606"/>
                    <a:pt x="651" y="597"/>
                    <a:pt x="657" y="586"/>
                  </a:cubicBezTo>
                  <a:cubicBezTo>
                    <a:pt x="667" y="565"/>
                    <a:pt x="703" y="560"/>
                    <a:pt x="716" y="579"/>
                  </a:cubicBezTo>
                  <a:cubicBezTo>
                    <a:pt x="723" y="588"/>
                    <a:pt x="724" y="598"/>
                    <a:pt x="724" y="609"/>
                  </a:cubicBezTo>
                  <a:cubicBezTo>
                    <a:pt x="724" y="645"/>
                    <a:pt x="724" y="682"/>
                    <a:pt x="724" y="718"/>
                  </a:cubicBezTo>
                  <a:cubicBezTo>
                    <a:pt x="724" y="727"/>
                    <a:pt x="727" y="731"/>
                    <a:pt x="736" y="730"/>
                  </a:cubicBezTo>
                  <a:cubicBezTo>
                    <a:pt x="738" y="730"/>
                    <a:pt x="741" y="730"/>
                    <a:pt x="743" y="730"/>
                  </a:cubicBezTo>
                  <a:cubicBezTo>
                    <a:pt x="758" y="730"/>
                    <a:pt x="759" y="729"/>
                    <a:pt x="759" y="715"/>
                  </a:cubicBezTo>
                  <a:cubicBezTo>
                    <a:pt x="759" y="677"/>
                    <a:pt x="758" y="639"/>
                    <a:pt x="759" y="601"/>
                  </a:cubicBezTo>
                  <a:cubicBezTo>
                    <a:pt x="759" y="571"/>
                    <a:pt x="742" y="540"/>
                    <a:pt x="704" y="538"/>
                  </a:cubicBezTo>
                  <a:cubicBezTo>
                    <a:pt x="681" y="536"/>
                    <a:pt x="661" y="542"/>
                    <a:pt x="646" y="560"/>
                  </a:cubicBezTo>
                  <a:cubicBezTo>
                    <a:pt x="638" y="569"/>
                    <a:pt x="638" y="569"/>
                    <a:pt x="631" y="559"/>
                  </a:cubicBezTo>
                  <a:cubicBezTo>
                    <a:pt x="630" y="558"/>
                    <a:pt x="630" y="557"/>
                    <a:pt x="629" y="556"/>
                  </a:cubicBezTo>
                  <a:cubicBezTo>
                    <a:pt x="623" y="548"/>
                    <a:pt x="616" y="541"/>
                    <a:pt x="607" y="539"/>
                  </a:cubicBezTo>
                  <a:cubicBezTo>
                    <a:pt x="584" y="534"/>
                    <a:pt x="563" y="539"/>
                    <a:pt x="545" y="555"/>
                  </a:cubicBezTo>
                  <a:cubicBezTo>
                    <a:pt x="540" y="559"/>
                    <a:pt x="537" y="561"/>
                    <a:pt x="537" y="552"/>
                  </a:cubicBezTo>
                  <a:cubicBezTo>
                    <a:pt x="536" y="543"/>
                    <a:pt x="526" y="538"/>
                    <a:pt x="515" y="539"/>
                  </a:cubicBezTo>
                  <a:cubicBezTo>
                    <a:pt x="506" y="540"/>
                    <a:pt x="507" y="546"/>
                    <a:pt x="507" y="552"/>
                  </a:cubicBezTo>
                  <a:cubicBezTo>
                    <a:pt x="507" y="580"/>
                    <a:pt x="507" y="607"/>
                    <a:pt x="507" y="634"/>
                  </a:cubicBezTo>
                  <a:cubicBezTo>
                    <a:pt x="507" y="660"/>
                    <a:pt x="507" y="685"/>
                    <a:pt x="507" y="711"/>
                  </a:cubicBezTo>
                  <a:close/>
                  <a:moveTo>
                    <a:pt x="1525" y="1142"/>
                  </a:moveTo>
                  <a:cubicBezTo>
                    <a:pt x="1517" y="1143"/>
                    <a:pt x="1511" y="1141"/>
                    <a:pt x="1505" y="1136"/>
                  </a:cubicBezTo>
                  <a:cubicBezTo>
                    <a:pt x="1501" y="1133"/>
                    <a:pt x="1495" y="1130"/>
                    <a:pt x="1498" y="1124"/>
                  </a:cubicBezTo>
                  <a:cubicBezTo>
                    <a:pt x="1500" y="1118"/>
                    <a:pt x="1504" y="1114"/>
                    <a:pt x="1512" y="1114"/>
                  </a:cubicBezTo>
                  <a:cubicBezTo>
                    <a:pt x="1521" y="1115"/>
                    <a:pt x="1530" y="1114"/>
                    <a:pt x="1538" y="1115"/>
                  </a:cubicBezTo>
                  <a:cubicBezTo>
                    <a:pt x="1573" y="1117"/>
                    <a:pt x="1610" y="1084"/>
                    <a:pt x="1602" y="1044"/>
                  </a:cubicBezTo>
                  <a:cubicBezTo>
                    <a:pt x="1600" y="1035"/>
                    <a:pt x="1599" y="1028"/>
                    <a:pt x="1611" y="1027"/>
                  </a:cubicBezTo>
                  <a:cubicBezTo>
                    <a:pt x="1614" y="1027"/>
                    <a:pt x="1617" y="1024"/>
                    <a:pt x="1619" y="1023"/>
                  </a:cubicBezTo>
                  <a:cubicBezTo>
                    <a:pt x="1626" y="1019"/>
                    <a:pt x="1624" y="1013"/>
                    <a:pt x="1623" y="1008"/>
                  </a:cubicBezTo>
                  <a:cubicBezTo>
                    <a:pt x="1623" y="1002"/>
                    <a:pt x="1618" y="1003"/>
                    <a:pt x="1613" y="1002"/>
                  </a:cubicBezTo>
                  <a:cubicBezTo>
                    <a:pt x="1598" y="1002"/>
                    <a:pt x="1582" y="1004"/>
                    <a:pt x="1567" y="1000"/>
                  </a:cubicBezTo>
                  <a:cubicBezTo>
                    <a:pt x="1560" y="999"/>
                    <a:pt x="1554" y="993"/>
                    <a:pt x="1546" y="993"/>
                  </a:cubicBezTo>
                  <a:cubicBezTo>
                    <a:pt x="1536" y="994"/>
                    <a:pt x="1525" y="992"/>
                    <a:pt x="1515" y="993"/>
                  </a:cubicBezTo>
                  <a:cubicBezTo>
                    <a:pt x="1490" y="997"/>
                    <a:pt x="1469" y="1010"/>
                    <a:pt x="1462" y="1034"/>
                  </a:cubicBezTo>
                  <a:cubicBezTo>
                    <a:pt x="1455" y="1056"/>
                    <a:pt x="1457" y="1079"/>
                    <a:pt x="1476" y="1096"/>
                  </a:cubicBezTo>
                  <a:cubicBezTo>
                    <a:pt x="1483" y="1103"/>
                    <a:pt x="1483" y="1107"/>
                    <a:pt x="1476" y="1113"/>
                  </a:cubicBezTo>
                  <a:cubicBezTo>
                    <a:pt x="1462" y="1126"/>
                    <a:pt x="1462" y="1142"/>
                    <a:pt x="1473" y="1157"/>
                  </a:cubicBezTo>
                  <a:cubicBezTo>
                    <a:pt x="1476" y="1160"/>
                    <a:pt x="1476" y="1162"/>
                    <a:pt x="1472" y="1164"/>
                  </a:cubicBezTo>
                  <a:cubicBezTo>
                    <a:pt x="1470" y="1166"/>
                    <a:pt x="1468" y="1168"/>
                    <a:pt x="1466" y="1170"/>
                  </a:cubicBezTo>
                  <a:cubicBezTo>
                    <a:pt x="1449" y="1183"/>
                    <a:pt x="1444" y="1201"/>
                    <a:pt x="1454" y="1218"/>
                  </a:cubicBezTo>
                  <a:cubicBezTo>
                    <a:pt x="1464" y="1235"/>
                    <a:pt x="1479" y="1246"/>
                    <a:pt x="1499" y="1249"/>
                  </a:cubicBezTo>
                  <a:cubicBezTo>
                    <a:pt x="1517" y="1252"/>
                    <a:pt x="1535" y="1253"/>
                    <a:pt x="1553" y="1250"/>
                  </a:cubicBezTo>
                  <a:cubicBezTo>
                    <a:pt x="1584" y="1245"/>
                    <a:pt x="1607" y="1232"/>
                    <a:pt x="1619" y="1200"/>
                  </a:cubicBezTo>
                  <a:cubicBezTo>
                    <a:pt x="1627" y="1180"/>
                    <a:pt x="1611" y="1155"/>
                    <a:pt x="1593" y="1148"/>
                  </a:cubicBezTo>
                  <a:cubicBezTo>
                    <a:pt x="1578" y="1142"/>
                    <a:pt x="1563" y="1143"/>
                    <a:pt x="1549" y="1142"/>
                  </a:cubicBezTo>
                  <a:cubicBezTo>
                    <a:pt x="1540" y="1142"/>
                    <a:pt x="1532" y="1142"/>
                    <a:pt x="1525" y="1142"/>
                  </a:cubicBezTo>
                  <a:close/>
                  <a:moveTo>
                    <a:pt x="1556" y="1172"/>
                  </a:moveTo>
                  <a:cubicBezTo>
                    <a:pt x="1566" y="1172"/>
                    <a:pt x="1576" y="1176"/>
                    <a:pt x="1583" y="1183"/>
                  </a:cubicBezTo>
                  <a:cubicBezTo>
                    <a:pt x="1589" y="1190"/>
                    <a:pt x="1589" y="1198"/>
                    <a:pt x="1583" y="1205"/>
                  </a:cubicBezTo>
                  <a:cubicBezTo>
                    <a:pt x="1575" y="1215"/>
                    <a:pt x="1565" y="1220"/>
                    <a:pt x="1553" y="1223"/>
                  </a:cubicBezTo>
                  <a:cubicBezTo>
                    <a:pt x="1534" y="1228"/>
                    <a:pt x="1516" y="1225"/>
                    <a:pt x="1499" y="1219"/>
                  </a:cubicBezTo>
                  <a:cubicBezTo>
                    <a:pt x="1486" y="1214"/>
                    <a:pt x="1479" y="1203"/>
                    <a:pt x="1482" y="1193"/>
                  </a:cubicBezTo>
                  <a:cubicBezTo>
                    <a:pt x="1485" y="1182"/>
                    <a:pt x="1496" y="1168"/>
                    <a:pt x="1514" y="1171"/>
                  </a:cubicBezTo>
                  <a:cubicBezTo>
                    <a:pt x="1526" y="1173"/>
                    <a:pt x="1541" y="1171"/>
                    <a:pt x="1556" y="1172"/>
                  </a:cubicBezTo>
                  <a:close/>
                  <a:moveTo>
                    <a:pt x="1531" y="1019"/>
                  </a:moveTo>
                  <a:cubicBezTo>
                    <a:pt x="1553" y="1017"/>
                    <a:pt x="1570" y="1033"/>
                    <a:pt x="1570" y="1052"/>
                  </a:cubicBezTo>
                  <a:cubicBezTo>
                    <a:pt x="1570" y="1075"/>
                    <a:pt x="1554" y="1093"/>
                    <a:pt x="1532" y="1091"/>
                  </a:cubicBezTo>
                  <a:cubicBezTo>
                    <a:pt x="1508" y="1089"/>
                    <a:pt x="1494" y="1082"/>
                    <a:pt x="1493" y="1053"/>
                  </a:cubicBezTo>
                  <a:cubicBezTo>
                    <a:pt x="1494" y="1029"/>
                    <a:pt x="1508" y="1020"/>
                    <a:pt x="1531" y="1019"/>
                  </a:cubicBezTo>
                  <a:close/>
                  <a:moveTo>
                    <a:pt x="1413" y="934"/>
                  </a:moveTo>
                  <a:cubicBezTo>
                    <a:pt x="1413" y="909"/>
                    <a:pt x="1413" y="909"/>
                    <a:pt x="1389" y="910"/>
                  </a:cubicBezTo>
                  <a:cubicBezTo>
                    <a:pt x="1388" y="910"/>
                    <a:pt x="1387" y="910"/>
                    <a:pt x="1387" y="910"/>
                  </a:cubicBezTo>
                  <a:cubicBezTo>
                    <a:pt x="1379" y="910"/>
                    <a:pt x="1376" y="915"/>
                    <a:pt x="1376" y="921"/>
                  </a:cubicBezTo>
                  <a:cubicBezTo>
                    <a:pt x="1376" y="939"/>
                    <a:pt x="1377" y="956"/>
                    <a:pt x="1377" y="974"/>
                  </a:cubicBezTo>
                  <a:cubicBezTo>
                    <a:pt x="1377" y="983"/>
                    <a:pt x="1377" y="991"/>
                    <a:pt x="1377" y="1000"/>
                  </a:cubicBezTo>
                  <a:cubicBezTo>
                    <a:pt x="1377" y="1005"/>
                    <a:pt x="1374" y="1009"/>
                    <a:pt x="1369" y="1005"/>
                  </a:cubicBezTo>
                  <a:cubicBezTo>
                    <a:pt x="1352" y="990"/>
                    <a:pt x="1332" y="993"/>
                    <a:pt x="1312" y="993"/>
                  </a:cubicBezTo>
                  <a:cubicBezTo>
                    <a:pt x="1303" y="994"/>
                    <a:pt x="1294" y="998"/>
                    <a:pt x="1287" y="1003"/>
                  </a:cubicBezTo>
                  <a:cubicBezTo>
                    <a:pt x="1265" y="1017"/>
                    <a:pt x="1252" y="1039"/>
                    <a:pt x="1248" y="1065"/>
                  </a:cubicBezTo>
                  <a:cubicBezTo>
                    <a:pt x="1244" y="1096"/>
                    <a:pt x="1244" y="1128"/>
                    <a:pt x="1261" y="1157"/>
                  </a:cubicBezTo>
                  <a:cubicBezTo>
                    <a:pt x="1270" y="1170"/>
                    <a:pt x="1281" y="1181"/>
                    <a:pt x="1296" y="1185"/>
                  </a:cubicBezTo>
                  <a:cubicBezTo>
                    <a:pt x="1323" y="1191"/>
                    <a:pt x="1349" y="1188"/>
                    <a:pt x="1370" y="1167"/>
                  </a:cubicBezTo>
                  <a:cubicBezTo>
                    <a:pt x="1372" y="1165"/>
                    <a:pt x="1375" y="1162"/>
                    <a:pt x="1379" y="1163"/>
                  </a:cubicBezTo>
                  <a:cubicBezTo>
                    <a:pt x="1382" y="1165"/>
                    <a:pt x="1381" y="1169"/>
                    <a:pt x="1381" y="1172"/>
                  </a:cubicBezTo>
                  <a:cubicBezTo>
                    <a:pt x="1383" y="1181"/>
                    <a:pt x="1390" y="1186"/>
                    <a:pt x="1403" y="1186"/>
                  </a:cubicBezTo>
                  <a:cubicBezTo>
                    <a:pt x="1413" y="1185"/>
                    <a:pt x="1413" y="1178"/>
                    <a:pt x="1413" y="1172"/>
                  </a:cubicBezTo>
                  <a:cubicBezTo>
                    <a:pt x="1413" y="1131"/>
                    <a:pt x="1413" y="1090"/>
                    <a:pt x="1413" y="1049"/>
                  </a:cubicBezTo>
                  <a:cubicBezTo>
                    <a:pt x="1413" y="1010"/>
                    <a:pt x="1413" y="972"/>
                    <a:pt x="1413" y="934"/>
                  </a:cubicBezTo>
                  <a:close/>
                  <a:moveTo>
                    <a:pt x="1378" y="1113"/>
                  </a:moveTo>
                  <a:cubicBezTo>
                    <a:pt x="1378" y="1136"/>
                    <a:pt x="1360" y="1155"/>
                    <a:pt x="1337" y="1157"/>
                  </a:cubicBezTo>
                  <a:cubicBezTo>
                    <a:pt x="1319" y="1159"/>
                    <a:pt x="1304" y="1154"/>
                    <a:pt x="1294" y="1139"/>
                  </a:cubicBezTo>
                  <a:cubicBezTo>
                    <a:pt x="1286" y="1128"/>
                    <a:pt x="1283" y="1116"/>
                    <a:pt x="1283" y="1102"/>
                  </a:cubicBezTo>
                  <a:cubicBezTo>
                    <a:pt x="1282" y="1085"/>
                    <a:pt x="1282" y="1067"/>
                    <a:pt x="1290" y="1051"/>
                  </a:cubicBezTo>
                  <a:cubicBezTo>
                    <a:pt x="1297" y="1036"/>
                    <a:pt x="1308" y="1024"/>
                    <a:pt x="1325" y="1022"/>
                  </a:cubicBezTo>
                  <a:cubicBezTo>
                    <a:pt x="1342" y="1020"/>
                    <a:pt x="1358" y="1021"/>
                    <a:pt x="1371" y="1035"/>
                  </a:cubicBezTo>
                  <a:cubicBezTo>
                    <a:pt x="1376" y="1041"/>
                    <a:pt x="1378" y="1046"/>
                    <a:pt x="1378" y="1052"/>
                  </a:cubicBezTo>
                  <a:cubicBezTo>
                    <a:pt x="1378" y="1064"/>
                    <a:pt x="1378" y="1075"/>
                    <a:pt x="1378" y="1086"/>
                  </a:cubicBezTo>
                  <a:cubicBezTo>
                    <a:pt x="1378" y="1086"/>
                    <a:pt x="1378" y="1086"/>
                    <a:pt x="1378" y="1086"/>
                  </a:cubicBezTo>
                  <a:cubicBezTo>
                    <a:pt x="1378" y="1095"/>
                    <a:pt x="1378" y="1104"/>
                    <a:pt x="1378" y="1113"/>
                  </a:cubicBezTo>
                  <a:close/>
                  <a:moveTo>
                    <a:pt x="578" y="259"/>
                  </a:moveTo>
                  <a:cubicBezTo>
                    <a:pt x="603" y="241"/>
                    <a:pt x="611" y="213"/>
                    <a:pt x="614" y="183"/>
                  </a:cubicBezTo>
                  <a:cubicBezTo>
                    <a:pt x="615" y="171"/>
                    <a:pt x="610" y="159"/>
                    <a:pt x="609" y="147"/>
                  </a:cubicBezTo>
                  <a:cubicBezTo>
                    <a:pt x="608" y="137"/>
                    <a:pt x="603" y="129"/>
                    <a:pt x="599" y="121"/>
                  </a:cubicBezTo>
                  <a:cubicBezTo>
                    <a:pt x="579" y="87"/>
                    <a:pt x="527" y="70"/>
                    <a:pt x="488" y="85"/>
                  </a:cubicBezTo>
                  <a:cubicBezTo>
                    <a:pt x="453" y="99"/>
                    <a:pt x="436" y="127"/>
                    <a:pt x="431" y="163"/>
                  </a:cubicBezTo>
                  <a:cubicBezTo>
                    <a:pt x="429" y="180"/>
                    <a:pt x="430" y="196"/>
                    <a:pt x="436" y="213"/>
                  </a:cubicBezTo>
                  <a:cubicBezTo>
                    <a:pt x="439" y="222"/>
                    <a:pt x="442" y="232"/>
                    <a:pt x="447" y="239"/>
                  </a:cubicBezTo>
                  <a:cubicBezTo>
                    <a:pt x="465" y="265"/>
                    <a:pt x="491" y="277"/>
                    <a:pt x="525" y="276"/>
                  </a:cubicBezTo>
                  <a:cubicBezTo>
                    <a:pt x="543" y="278"/>
                    <a:pt x="562" y="271"/>
                    <a:pt x="578" y="259"/>
                  </a:cubicBezTo>
                  <a:close/>
                  <a:moveTo>
                    <a:pt x="471" y="205"/>
                  </a:moveTo>
                  <a:cubicBezTo>
                    <a:pt x="466" y="185"/>
                    <a:pt x="468" y="167"/>
                    <a:pt x="472" y="147"/>
                  </a:cubicBezTo>
                  <a:cubicBezTo>
                    <a:pt x="477" y="130"/>
                    <a:pt x="493" y="116"/>
                    <a:pt x="509" y="112"/>
                  </a:cubicBezTo>
                  <a:cubicBezTo>
                    <a:pt x="525" y="108"/>
                    <a:pt x="539" y="110"/>
                    <a:pt x="553" y="119"/>
                  </a:cubicBezTo>
                  <a:cubicBezTo>
                    <a:pt x="563" y="125"/>
                    <a:pt x="568" y="135"/>
                    <a:pt x="571" y="146"/>
                  </a:cubicBezTo>
                  <a:cubicBezTo>
                    <a:pt x="577" y="167"/>
                    <a:pt x="578" y="189"/>
                    <a:pt x="571" y="211"/>
                  </a:cubicBezTo>
                  <a:cubicBezTo>
                    <a:pt x="565" y="231"/>
                    <a:pt x="549" y="249"/>
                    <a:pt x="521" y="247"/>
                  </a:cubicBezTo>
                  <a:cubicBezTo>
                    <a:pt x="496" y="247"/>
                    <a:pt x="478" y="230"/>
                    <a:pt x="471" y="205"/>
                  </a:cubicBezTo>
                  <a:close/>
                  <a:moveTo>
                    <a:pt x="472" y="1122"/>
                  </a:moveTo>
                  <a:cubicBezTo>
                    <a:pt x="475" y="1136"/>
                    <a:pt x="481" y="1148"/>
                    <a:pt x="491" y="1158"/>
                  </a:cubicBezTo>
                  <a:cubicBezTo>
                    <a:pt x="506" y="1176"/>
                    <a:pt x="524" y="1185"/>
                    <a:pt x="548" y="1187"/>
                  </a:cubicBezTo>
                  <a:cubicBezTo>
                    <a:pt x="568" y="1188"/>
                    <a:pt x="587" y="1187"/>
                    <a:pt x="605" y="1177"/>
                  </a:cubicBezTo>
                  <a:cubicBezTo>
                    <a:pt x="632" y="1162"/>
                    <a:pt x="644" y="1136"/>
                    <a:pt x="649" y="1107"/>
                  </a:cubicBezTo>
                  <a:cubicBezTo>
                    <a:pt x="652" y="1089"/>
                    <a:pt x="649" y="1072"/>
                    <a:pt x="644" y="1054"/>
                  </a:cubicBezTo>
                  <a:cubicBezTo>
                    <a:pt x="638" y="1034"/>
                    <a:pt x="627" y="1019"/>
                    <a:pt x="610" y="1007"/>
                  </a:cubicBezTo>
                  <a:cubicBezTo>
                    <a:pt x="589" y="992"/>
                    <a:pt x="566" y="991"/>
                    <a:pt x="541" y="994"/>
                  </a:cubicBezTo>
                  <a:cubicBezTo>
                    <a:pt x="526" y="995"/>
                    <a:pt x="512" y="1002"/>
                    <a:pt x="500" y="1012"/>
                  </a:cubicBezTo>
                  <a:cubicBezTo>
                    <a:pt x="476" y="1032"/>
                    <a:pt x="469" y="1060"/>
                    <a:pt x="466" y="1095"/>
                  </a:cubicBezTo>
                  <a:cubicBezTo>
                    <a:pt x="465" y="1101"/>
                    <a:pt x="470" y="1111"/>
                    <a:pt x="472" y="1122"/>
                  </a:cubicBezTo>
                  <a:close/>
                  <a:moveTo>
                    <a:pt x="508" y="1113"/>
                  </a:moveTo>
                  <a:cubicBezTo>
                    <a:pt x="505" y="1095"/>
                    <a:pt x="506" y="1078"/>
                    <a:pt x="508" y="1061"/>
                  </a:cubicBezTo>
                  <a:cubicBezTo>
                    <a:pt x="511" y="1042"/>
                    <a:pt x="538" y="1021"/>
                    <a:pt x="554" y="1022"/>
                  </a:cubicBezTo>
                  <a:cubicBezTo>
                    <a:pt x="570" y="1022"/>
                    <a:pt x="586" y="1024"/>
                    <a:pt x="596" y="1037"/>
                  </a:cubicBezTo>
                  <a:cubicBezTo>
                    <a:pt x="602" y="1044"/>
                    <a:pt x="607" y="1052"/>
                    <a:pt x="608" y="1061"/>
                  </a:cubicBezTo>
                  <a:cubicBezTo>
                    <a:pt x="608" y="1064"/>
                    <a:pt x="609" y="1067"/>
                    <a:pt x="610" y="1070"/>
                  </a:cubicBezTo>
                  <a:cubicBezTo>
                    <a:pt x="618" y="1089"/>
                    <a:pt x="612" y="1107"/>
                    <a:pt x="607" y="1125"/>
                  </a:cubicBezTo>
                  <a:cubicBezTo>
                    <a:pt x="601" y="1143"/>
                    <a:pt x="588" y="1160"/>
                    <a:pt x="558" y="1157"/>
                  </a:cubicBezTo>
                  <a:cubicBezTo>
                    <a:pt x="530" y="1157"/>
                    <a:pt x="512" y="1141"/>
                    <a:pt x="508" y="1113"/>
                  </a:cubicBezTo>
                  <a:close/>
                  <a:moveTo>
                    <a:pt x="430" y="716"/>
                  </a:moveTo>
                  <a:cubicBezTo>
                    <a:pt x="450" y="703"/>
                    <a:pt x="459" y="683"/>
                    <a:pt x="464" y="661"/>
                  </a:cubicBezTo>
                  <a:cubicBezTo>
                    <a:pt x="468" y="648"/>
                    <a:pt x="467" y="635"/>
                    <a:pt x="466" y="621"/>
                  </a:cubicBezTo>
                  <a:cubicBezTo>
                    <a:pt x="463" y="592"/>
                    <a:pt x="453" y="567"/>
                    <a:pt x="427" y="550"/>
                  </a:cubicBezTo>
                  <a:cubicBezTo>
                    <a:pt x="401" y="534"/>
                    <a:pt x="372" y="532"/>
                    <a:pt x="345" y="541"/>
                  </a:cubicBezTo>
                  <a:cubicBezTo>
                    <a:pt x="310" y="552"/>
                    <a:pt x="291" y="580"/>
                    <a:pt x="287" y="617"/>
                  </a:cubicBezTo>
                  <a:cubicBezTo>
                    <a:pt x="286" y="629"/>
                    <a:pt x="286" y="641"/>
                    <a:pt x="287" y="654"/>
                  </a:cubicBezTo>
                  <a:cubicBezTo>
                    <a:pt x="289" y="671"/>
                    <a:pt x="295" y="686"/>
                    <a:pt x="306" y="700"/>
                  </a:cubicBezTo>
                  <a:cubicBezTo>
                    <a:pt x="324" y="722"/>
                    <a:pt x="348" y="733"/>
                    <a:pt x="378" y="731"/>
                  </a:cubicBezTo>
                  <a:cubicBezTo>
                    <a:pt x="396" y="733"/>
                    <a:pt x="414" y="727"/>
                    <a:pt x="430" y="716"/>
                  </a:cubicBezTo>
                  <a:close/>
                  <a:moveTo>
                    <a:pt x="331" y="592"/>
                  </a:moveTo>
                  <a:cubicBezTo>
                    <a:pt x="339" y="580"/>
                    <a:pt x="349" y="569"/>
                    <a:pt x="365" y="567"/>
                  </a:cubicBezTo>
                  <a:cubicBezTo>
                    <a:pt x="387" y="564"/>
                    <a:pt x="406" y="568"/>
                    <a:pt x="419" y="588"/>
                  </a:cubicBezTo>
                  <a:cubicBezTo>
                    <a:pt x="423" y="595"/>
                    <a:pt x="426" y="603"/>
                    <a:pt x="427" y="610"/>
                  </a:cubicBezTo>
                  <a:cubicBezTo>
                    <a:pt x="433" y="635"/>
                    <a:pt x="431" y="661"/>
                    <a:pt x="416" y="684"/>
                  </a:cubicBezTo>
                  <a:cubicBezTo>
                    <a:pt x="403" y="706"/>
                    <a:pt x="362" y="708"/>
                    <a:pt x="345" y="692"/>
                  </a:cubicBezTo>
                  <a:cubicBezTo>
                    <a:pt x="329" y="678"/>
                    <a:pt x="323" y="661"/>
                    <a:pt x="323" y="631"/>
                  </a:cubicBezTo>
                  <a:cubicBezTo>
                    <a:pt x="323" y="619"/>
                    <a:pt x="323" y="605"/>
                    <a:pt x="331" y="592"/>
                  </a:cubicBezTo>
                  <a:close/>
                  <a:moveTo>
                    <a:pt x="1073" y="259"/>
                  </a:moveTo>
                  <a:cubicBezTo>
                    <a:pt x="1073" y="269"/>
                    <a:pt x="1075" y="272"/>
                    <a:pt x="1086" y="272"/>
                  </a:cubicBezTo>
                  <a:cubicBezTo>
                    <a:pt x="1088" y="272"/>
                    <a:pt x="1090" y="272"/>
                    <a:pt x="1092" y="272"/>
                  </a:cubicBezTo>
                  <a:cubicBezTo>
                    <a:pt x="1105" y="272"/>
                    <a:pt x="1106" y="271"/>
                    <a:pt x="1106" y="258"/>
                  </a:cubicBezTo>
                  <a:cubicBezTo>
                    <a:pt x="1106" y="221"/>
                    <a:pt x="1106" y="184"/>
                    <a:pt x="1106" y="147"/>
                  </a:cubicBezTo>
                  <a:cubicBezTo>
                    <a:pt x="1106" y="143"/>
                    <a:pt x="1106" y="140"/>
                    <a:pt x="1107" y="137"/>
                  </a:cubicBezTo>
                  <a:cubicBezTo>
                    <a:pt x="1117" y="117"/>
                    <a:pt x="1157" y="104"/>
                    <a:pt x="1177" y="114"/>
                  </a:cubicBezTo>
                  <a:cubicBezTo>
                    <a:pt x="1179" y="115"/>
                    <a:pt x="1180" y="117"/>
                    <a:pt x="1182" y="118"/>
                  </a:cubicBezTo>
                  <a:cubicBezTo>
                    <a:pt x="1194" y="131"/>
                    <a:pt x="1196" y="147"/>
                    <a:pt x="1196" y="163"/>
                  </a:cubicBezTo>
                  <a:cubicBezTo>
                    <a:pt x="1197" y="195"/>
                    <a:pt x="1196" y="226"/>
                    <a:pt x="1196" y="258"/>
                  </a:cubicBezTo>
                  <a:cubicBezTo>
                    <a:pt x="1196" y="271"/>
                    <a:pt x="1197" y="272"/>
                    <a:pt x="1210" y="272"/>
                  </a:cubicBezTo>
                  <a:cubicBezTo>
                    <a:pt x="1212" y="272"/>
                    <a:pt x="1213" y="272"/>
                    <a:pt x="1215" y="272"/>
                  </a:cubicBezTo>
                  <a:cubicBezTo>
                    <a:pt x="1227" y="272"/>
                    <a:pt x="1229" y="270"/>
                    <a:pt x="1229" y="258"/>
                  </a:cubicBezTo>
                  <a:cubicBezTo>
                    <a:pt x="1229" y="222"/>
                    <a:pt x="1229" y="187"/>
                    <a:pt x="1229" y="151"/>
                  </a:cubicBezTo>
                  <a:cubicBezTo>
                    <a:pt x="1229" y="142"/>
                    <a:pt x="1228" y="132"/>
                    <a:pt x="1225" y="123"/>
                  </a:cubicBezTo>
                  <a:cubicBezTo>
                    <a:pt x="1219" y="105"/>
                    <a:pt x="1208" y="91"/>
                    <a:pt x="1189" y="85"/>
                  </a:cubicBezTo>
                  <a:cubicBezTo>
                    <a:pt x="1173" y="80"/>
                    <a:pt x="1156" y="84"/>
                    <a:pt x="1139" y="84"/>
                  </a:cubicBezTo>
                  <a:cubicBezTo>
                    <a:pt x="1137" y="84"/>
                    <a:pt x="1136" y="86"/>
                    <a:pt x="1134" y="87"/>
                  </a:cubicBezTo>
                  <a:cubicBezTo>
                    <a:pt x="1128" y="91"/>
                    <a:pt x="1121" y="96"/>
                    <a:pt x="1115" y="100"/>
                  </a:cubicBezTo>
                  <a:cubicBezTo>
                    <a:pt x="1113" y="102"/>
                    <a:pt x="1111" y="105"/>
                    <a:pt x="1108" y="103"/>
                  </a:cubicBezTo>
                  <a:cubicBezTo>
                    <a:pt x="1105" y="102"/>
                    <a:pt x="1106" y="98"/>
                    <a:pt x="1106" y="96"/>
                  </a:cubicBezTo>
                  <a:cubicBezTo>
                    <a:pt x="1106" y="69"/>
                    <a:pt x="1106" y="43"/>
                    <a:pt x="1106" y="17"/>
                  </a:cubicBezTo>
                  <a:cubicBezTo>
                    <a:pt x="1106" y="0"/>
                    <a:pt x="1106" y="0"/>
                    <a:pt x="1089" y="0"/>
                  </a:cubicBezTo>
                  <a:cubicBezTo>
                    <a:pt x="1074" y="0"/>
                    <a:pt x="1073" y="1"/>
                    <a:pt x="1073" y="16"/>
                  </a:cubicBezTo>
                  <a:cubicBezTo>
                    <a:pt x="1073" y="56"/>
                    <a:pt x="1073" y="96"/>
                    <a:pt x="1073" y="136"/>
                  </a:cubicBezTo>
                  <a:cubicBezTo>
                    <a:pt x="1073" y="177"/>
                    <a:pt x="1073" y="218"/>
                    <a:pt x="1073" y="259"/>
                  </a:cubicBezTo>
                  <a:close/>
                  <a:moveTo>
                    <a:pt x="1150" y="1092"/>
                  </a:moveTo>
                  <a:cubicBezTo>
                    <a:pt x="1168" y="1092"/>
                    <a:pt x="1186" y="1092"/>
                    <a:pt x="1204" y="1092"/>
                  </a:cubicBezTo>
                  <a:cubicBezTo>
                    <a:pt x="1215" y="1092"/>
                    <a:pt x="1218" y="1087"/>
                    <a:pt x="1219" y="1077"/>
                  </a:cubicBezTo>
                  <a:cubicBezTo>
                    <a:pt x="1220" y="1062"/>
                    <a:pt x="1216" y="1049"/>
                    <a:pt x="1210" y="1036"/>
                  </a:cubicBezTo>
                  <a:cubicBezTo>
                    <a:pt x="1204" y="1020"/>
                    <a:pt x="1193" y="1008"/>
                    <a:pt x="1177" y="1001"/>
                  </a:cubicBezTo>
                  <a:cubicBezTo>
                    <a:pt x="1155" y="992"/>
                    <a:pt x="1133" y="991"/>
                    <a:pt x="1109" y="999"/>
                  </a:cubicBezTo>
                  <a:cubicBezTo>
                    <a:pt x="1079" y="1010"/>
                    <a:pt x="1062" y="1031"/>
                    <a:pt x="1056" y="1061"/>
                  </a:cubicBezTo>
                  <a:cubicBezTo>
                    <a:pt x="1051" y="1090"/>
                    <a:pt x="1052" y="1120"/>
                    <a:pt x="1069" y="1148"/>
                  </a:cubicBezTo>
                  <a:cubicBezTo>
                    <a:pt x="1081" y="1169"/>
                    <a:pt x="1100" y="1180"/>
                    <a:pt x="1122" y="1185"/>
                  </a:cubicBezTo>
                  <a:cubicBezTo>
                    <a:pt x="1149" y="1190"/>
                    <a:pt x="1176" y="1186"/>
                    <a:pt x="1200" y="1171"/>
                  </a:cubicBezTo>
                  <a:cubicBezTo>
                    <a:pt x="1206" y="1168"/>
                    <a:pt x="1213" y="1165"/>
                    <a:pt x="1214" y="1157"/>
                  </a:cubicBezTo>
                  <a:cubicBezTo>
                    <a:pt x="1215" y="1147"/>
                    <a:pt x="1202" y="1139"/>
                    <a:pt x="1193" y="1144"/>
                  </a:cubicBezTo>
                  <a:cubicBezTo>
                    <a:pt x="1187" y="1147"/>
                    <a:pt x="1180" y="1150"/>
                    <a:pt x="1174" y="1153"/>
                  </a:cubicBezTo>
                  <a:cubicBezTo>
                    <a:pt x="1158" y="1161"/>
                    <a:pt x="1140" y="1161"/>
                    <a:pt x="1124" y="1155"/>
                  </a:cubicBezTo>
                  <a:cubicBezTo>
                    <a:pt x="1112" y="1151"/>
                    <a:pt x="1102" y="1142"/>
                    <a:pt x="1096" y="1129"/>
                  </a:cubicBezTo>
                  <a:cubicBezTo>
                    <a:pt x="1092" y="1121"/>
                    <a:pt x="1091" y="1112"/>
                    <a:pt x="1089" y="1104"/>
                  </a:cubicBezTo>
                  <a:cubicBezTo>
                    <a:pt x="1087" y="1093"/>
                    <a:pt x="1087" y="1092"/>
                    <a:pt x="1099" y="1092"/>
                  </a:cubicBezTo>
                  <a:cubicBezTo>
                    <a:pt x="1116" y="1092"/>
                    <a:pt x="1133" y="1092"/>
                    <a:pt x="1150" y="1092"/>
                  </a:cubicBezTo>
                  <a:cubicBezTo>
                    <a:pt x="1150" y="1092"/>
                    <a:pt x="1150" y="1092"/>
                    <a:pt x="1150" y="1092"/>
                  </a:cubicBezTo>
                  <a:close/>
                  <a:moveTo>
                    <a:pt x="1099" y="1070"/>
                  </a:moveTo>
                  <a:cubicBezTo>
                    <a:pt x="1092" y="1071"/>
                    <a:pt x="1089" y="1067"/>
                    <a:pt x="1091" y="1060"/>
                  </a:cubicBezTo>
                  <a:cubicBezTo>
                    <a:pt x="1094" y="1045"/>
                    <a:pt x="1108" y="1023"/>
                    <a:pt x="1128" y="1022"/>
                  </a:cubicBezTo>
                  <a:cubicBezTo>
                    <a:pt x="1142" y="1021"/>
                    <a:pt x="1156" y="1018"/>
                    <a:pt x="1168" y="1029"/>
                  </a:cubicBezTo>
                  <a:cubicBezTo>
                    <a:pt x="1181" y="1038"/>
                    <a:pt x="1185" y="1051"/>
                    <a:pt x="1187" y="1066"/>
                  </a:cubicBezTo>
                  <a:cubicBezTo>
                    <a:pt x="1188" y="1071"/>
                    <a:pt x="1183" y="1070"/>
                    <a:pt x="1180" y="1070"/>
                  </a:cubicBezTo>
                  <a:cubicBezTo>
                    <a:pt x="1166" y="1070"/>
                    <a:pt x="1153" y="1070"/>
                    <a:pt x="1139" y="1070"/>
                  </a:cubicBezTo>
                  <a:cubicBezTo>
                    <a:pt x="1139" y="1070"/>
                    <a:pt x="1139" y="1070"/>
                    <a:pt x="1139" y="1070"/>
                  </a:cubicBezTo>
                  <a:cubicBezTo>
                    <a:pt x="1126" y="1070"/>
                    <a:pt x="1113" y="1070"/>
                    <a:pt x="1099" y="1070"/>
                  </a:cubicBezTo>
                  <a:close/>
                  <a:moveTo>
                    <a:pt x="1741" y="1092"/>
                  </a:moveTo>
                  <a:cubicBezTo>
                    <a:pt x="1759" y="1092"/>
                    <a:pt x="1776" y="1092"/>
                    <a:pt x="1793" y="1092"/>
                  </a:cubicBezTo>
                  <a:cubicBezTo>
                    <a:pt x="1806" y="1092"/>
                    <a:pt x="1808" y="1089"/>
                    <a:pt x="1808" y="1076"/>
                  </a:cubicBezTo>
                  <a:cubicBezTo>
                    <a:pt x="1809" y="1063"/>
                    <a:pt x="1807" y="1051"/>
                    <a:pt x="1802" y="1038"/>
                  </a:cubicBezTo>
                  <a:cubicBezTo>
                    <a:pt x="1794" y="1021"/>
                    <a:pt x="1782" y="1008"/>
                    <a:pt x="1764" y="1000"/>
                  </a:cubicBezTo>
                  <a:cubicBezTo>
                    <a:pt x="1742" y="991"/>
                    <a:pt x="1720" y="991"/>
                    <a:pt x="1698" y="1000"/>
                  </a:cubicBezTo>
                  <a:cubicBezTo>
                    <a:pt x="1681" y="1006"/>
                    <a:pt x="1668" y="1016"/>
                    <a:pt x="1659" y="1031"/>
                  </a:cubicBezTo>
                  <a:cubicBezTo>
                    <a:pt x="1646" y="1050"/>
                    <a:pt x="1643" y="1071"/>
                    <a:pt x="1644" y="1094"/>
                  </a:cubicBezTo>
                  <a:cubicBezTo>
                    <a:pt x="1644" y="1110"/>
                    <a:pt x="1647" y="1127"/>
                    <a:pt x="1655" y="1141"/>
                  </a:cubicBezTo>
                  <a:cubicBezTo>
                    <a:pt x="1669" y="1168"/>
                    <a:pt x="1691" y="1183"/>
                    <a:pt x="1722" y="1186"/>
                  </a:cubicBezTo>
                  <a:cubicBezTo>
                    <a:pt x="1750" y="1188"/>
                    <a:pt x="1775" y="1183"/>
                    <a:pt x="1798" y="1165"/>
                  </a:cubicBezTo>
                  <a:cubicBezTo>
                    <a:pt x="1803" y="1161"/>
                    <a:pt x="1806" y="1157"/>
                    <a:pt x="1802" y="1151"/>
                  </a:cubicBezTo>
                  <a:cubicBezTo>
                    <a:pt x="1798" y="1144"/>
                    <a:pt x="1791" y="1140"/>
                    <a:pt x="1783" y="1144"/>
                  </a:cubicBezTo>
                  <a:cubicBezTo>
                    <a:pt x="1778" y="1147"/>
                    <a:pt x="1771" y="1149"/>
                    <a:pt x="1766" y="1152"/>
                  </a:cubicBezTo>
                  <a:cubicBezTo>
                    <a:pt x="1749" y="1161"/>
                    <a:pt x="1730" y="1162"/>
                    <a:pt x="1714" y="1155"/>
                  </a:cubicBezTo>
                  <a:cubicBezTo>
                    <a:pt x="1692" y="1145"/>
                    <a:pt x="1680" y="1127"/>
                    <a:pt x="1679" y="1102"/>
                  </a:cubicBezTo>
                  <a:cubicBezTo>
                    <a:pt x="1678" y="1095"/>
                    <a:pt x="1681" y="1092"/>
                    <a:pt x="1689" y="1092"/>
                  </a:cubicBezTo>
                  <a:cubicBezTo>
                    <a:pt x="1706" y="1092"/>
                    <a:pt x="1724" y="1092"/>
                    <a:pt x="1741" y="1092"/>
                  </a:cubicBezTo>
                  <a:cubicBezTo>
                    <a:pt x="1741" y="1092"/>
                    <a:pt x="1741" y="1092"/>
                    <a:pt x="1741" y="1092"/>
                  </a:cubicBezTo>
                  <a:close/>
                  <a:moveTo>
                    <a:pt x="1690" y="1070"/>
                  </a:moveTo>
                  <a:cubicBezTo>
                    <a:pt x="1683" y="1071"/>
                    <a:pt x="1680" y="1068"/>
                    <a:pt x="1681" y="1062"/>
                  </a:cubicBezTo>
                  <a:cubicBezTo>
                    <a:pt x="1683" y="1048"/>
                    <a:pt x="1697" y="1024"/>
                    <a:pt x="1716" y="1022"/>
                  </a:cubicBezTo>
                  <a:cubicBezTo>
                    <a:pt x="1731" y="1020"/>
                    <a:pt x="1747" y="1018"/>
                    <a:pt x="1760" y="1030"/>
                  </a:cubicBezTo>
                  <a:cubicBezTo>
                    <a:pt x="1771" y="1038"/>
                    <a:pt x="1775" y="1050"/>
                    <a:pt x="1778" y="1062"/>
                  </a:cubicBezTo>
                  <a:cubicBezTo>
                    <a:pt x="1780" y="1068"/>
                    <a:pt x="1775" y="1070"/>
                    <a:pt x="1769" y="1070"/>
                  </a:cubicBezTo>
                  <a:cubicBezTo>
                    <a:pt x="1756" y="1070"/>
                    <a:pt x="1742" y="1070"/>
                    <a:pt x="1729" y="1070"/>
                  </a:cubicBezTo>
                  <a:cubicBezTo>
                    <a:pt x="1729" y="1070"/>
                    <a:pt x="1729" y="1070"/>
                    <a:pt x="1729" y="1070"/>
                  </a:cubicBezTo>
                  <a:cubicBezTo>
                    <a:pt x="1716" y="1070"/>
                    <a:pt x="1703" y="1070"/>
                    <a:pt x="1690" y="1070"/>
                  </a:cubicBezTo>
                  <a:close/>
                  <a:moveTo>
                    <a:pt x="68" y="581"/>
                  </a:moveTo>
                  <a:cubicBezTo>
                    <a:pt x="68" y="573"/>
                    <a:pt x="70" y="568"/>
                    <a:pt x="80" y="569"/>
                  </a:cubicBezTo>
                  <a:cubicBezTo>
                    <a:pt x="90" y="570"/>
                    <a:pt x="101" y="570"/>
                    <a:pt x="111" y="569"/>
                  </a:cubicBezTo>
                  <a:cubicBezTo>
                    <a:pt x="120" y="569"/>
                    <a:pt x="120" y="563"/>
                    <a:pt x="120" y="556"/>
                  </a:cubicBezTo>
                  <a:cubicBezTo>
                    <a:pt x="120" y="549"/>
                    <a:pt x="119" y="544"/>
                    <a:pt x="111" y="544"/>
                  </a:cubicBezTo>
                  <a:cubicBezTo>
                    <a:pt x="104" y="544"/>
                    <a:pt x="97" y="544"/>
                    <a:pt x="91" y="544"/>
                  </a:cubicBezTo>
                  <a:cubicBezTo>
                    <a:pt x="66" y="544"/>
                    <a:pt x="65" y="543"/>
                    <a:pt x="68" y="518"/>
                  </a:cubicBezTo>
                  <a:cubicBezTo>
                    <a:pt x="69" y="504"/>
                    <a:pt x="83" y="487"/>
                    <a:pt x="99" y="489"/>
                  </a:cubicBezTo>
                  <a:cubicBezTo>
                    <a:pt x="103" y="489"/>
                    <a:pt x="107" y="489"/>
                    <a:pt x="110" y="488"/>
                  </a:cubicBezTo>
                  <a:cubicBezTo>
                    <a:pt x="118" y="487"/>
                    <a:pt x="123" y="479"/>
                    <a:pt x="123" y="471"/>
                  </a:cubicBezTo>
                  <a:cubicBezTo>
                    <a:pt x="123" y="461"/>
                    <a:pt x="116" y="462"/>
                    <a:pt x="109" y="460"/>
                  </a:cubicBezTo>
                  <a:cubicBezTo>
                    <a:pt x="100" y="458"/>
                    <a:pt x="92" y="460"/>
                    <a:pt x="84" y="460"/>
                  </a:cubicBezTo>
                  <a:cubicBezTo>
                    <a:pt x="68" y="461"/>
                    <a:pt x="56" y="469"/>
                    <a:pt x="47" y="480"/>
                  </a:cubicBezTo>
                  <a:cubicBezTo>
                    <a:pt x="34" y="493"/>
                    <a:pt x="32" y="511"/>
                    <a:pt x="32" y="529"/>
                  </a:cubicBezTo>
                  <a:cubicBezTo>
                    <a:pt x="32" y="544"/>
                    <a:pt x="32" y="544"/>
                    <a:pt x="17" y="544"/>
                  </a:cubicBezTo>
                  <a:cubicBezTo>
                    <a:pt x="4" y="543"/>
                    <a:pt x="0" y="548"/>
                    <a:pt x="4" y="561"/>
                  </a:cubicBezTo>
                  <a:cubicBezTo>
                    <a:pt x="6" y="569"/>
                    <a:pt x="13" y="568"/>
                    <a:pt x="19" y="569"/>
                  </a:cubicBezTo>
                  <a:cubicBezTo>
                    <a:pt x="32" y="571"/>
                    <a:pt x="32" y="571"/>
                    <a:pt x="32" y="584"/>
                  </a:cubicBezTo>
                  <a:cubicBezTo>
                    <a:pt x="32" y="624"/>
                    <a:pt x="32" y="664"/>
                    <a:pt x="32" y="704"/>
                  </a:cubicBezTo>
                  <a:cubicBezTo>
                    <a:pt x="32" y="731"/>
                    <a:pt x="32" y="730"/>
                    <a:pt x="57" y="731"/>
                  </a:cubicBezTo>
                  <a:cubicBezTo>
                    <a:pt x="66" y="731"/>
                    <a:pt x="68" y="727"/>
                    <a:pt x="68" y="720"/>
                  </a:cubicBezTo>
                  <a:cubicBezTo>
                    <a:pt x="68" y="697"/>
                    <a:pt x="68" y="674"/>
                    <a:pt x="68" y="651"/>
                  </a:cubicBezTo>
                  <a:cubicBezTo>
                    <a:pt x="68" y="628"/>
                    <a:pt x="68" y="605"/>
                    <a:pt x="68" y="581"/>
                  </a:cubicBezTo>
                  <a:close/>
                  <a:moveTo>
                    <a:pt x="278" y="1165"/>
                  </a:moveTo>
                  <a:cubicBezTo>
                    <a:pt x="278" y="1183"/>
                    <a:pt x="278" y="1183"/>
                    <a:pt x="296" y="1184"/>
                  </a:cubicBezTo>
                  <a:cubicBezTo>
                    <a:pt x="310" y="1184"/>
                    <a:pt x="310" y="1184"/>
                    <a:pt x="310" y="1169"/>
                  </a:cubicBezTo>
                  <a:cubicBezTo>
                    <a:pt x="310" y="1132"/>
                    <a:pt x="310" y="1095"/>
                    <a:pt x="310" y="1058"/>
                  </a:cubicBezTo>
                  <a:cubicBezTo>
                    <a:pt x="310" y="1052"/>
                    <a:pt x="312" y="1047"/>
                    <a:pt x="316" y="1042"/>
                  </a:cubicBezTo>
                  <a:cubicBezTo>
                    <a:pt x="324" y="1033"/>
                    <a:pt x="334" y="1027"/>
                    <a:pt x="345" y="1024"/>
                  </a:cubicBezTo>
                  <a:cubicBezTo>
                    <a:pt x="357" y="1020"/>
                    <a:pt x="371" y="1018"/>
                    <a:pt x="383" y="1028"/>
                  </a:cubicBezTo>
                  <a:cubicBezTo>
                    <a:pt x="397" y="1039"/>
                    <a:pt x="401" y="1054"/>
                    <a:pt x="401" y="1071"/>
                  </a:cubicBezTo>
                  <a:cubicBezTo>
                    <a:pt x="401" y="1102"/>
                    <a:pt x="401" y="1132"/>
                    <a:pt x="401" y="1163"/>
                  </a:cubicBezTo>
                  <a:cubicBezTo>
                    <a:pt x="401" y="1183"/>
                    <a:pt x="401" y="1182"/>
                    <a:pt x="420" y="1184"/>
                  </a:cubicBezTo>
                  <a:cubicBezTo>
                    <a:pt x="429" y="1185"/>
                    <a:pt x="433" y="1181"/>
                    <a:pt x="433" y="1173"/>
                  </a:cubicBezTo>
                  <a:cubicBezTo>
                    <a:pt x="432" y="1130"/>
                    <a:pt x="435" y="1087"/>
                    <a:pt x="431" y="1044"/>
                  </a:cubicBezTo>
                  <a:cubicBezTo>
                    <a:pt x="427" y="1014"/>
                    <a:pt x="404" y="996"/>
                    <a:pt x="376" y="994"/>
                  </a:cubicBezTo>
                  <a:cubicBezTo>
                    <a:pt x="353" y="992"/>
                    <a:pt x="333" y="1000"/>
                    <a:pt x="317" y="1017"/>
                  </a:cubicBezTo>
                  <a:cubicBezTo>
                    <a:pt x="312" y="1021"/>
                    <a:pt x="311" y="1019"/>
                    <a:pt x="309" y="1015"/>
                  </a:cubicBezTo>
                  <a:cubicBezTo>
                    <a:pt x="309" y="1013"/>
                    <a:pt x="308" y="1011"/>
                    <a:pt x="308" y="1008"/>
                  </a:cubicBezTo>
                  <a:cubicBezTo>
                    <a:pt x="306" y="1001"/>
                    <a:pt x="298" y="997"/>
                    <a:pt x="287" y="998"/>
                  </a:cubicBezTo>
                  <a:cubicBezTo>
                    <a:pt x="279" y="999"/>
                    <a:pt x="278" y="1004"/>
                    <a:pt x="278" y="1011"/>
                  </a:cubicBezTo>
                  <a:cubicBezTo>
                    <a:pt x="278" y="1037"/>
                    <a:pt x="278" y="1064"/>
                    <a:pt x="278" y="1091"/>
                  </a:cubicBezTo>
                  <a:cubicBezTo>
                    <a:pt x="278" y="1115"/>
                    <a:pt x="278" y="1140"/>
                    <a:pt x="278" y="1165"/>
                  </a:cubicBezTo>
                  <a:close/>
                  <a:moveTo>
                    <a:pt x="150" y="705"/>
                  </a:moveTo>
                  <a:cubicBezTo>
                    <a:pt x="150" y="734"/>
                    <a:pt x="145" y="730"/>
                    <a:pt x="176" y="731"/>
                  </a:cubicBezTo>
                  <a:cubicBezTo>
                    <a:pt x="185" y="731"/>
                    <a:pt x="187" y="727"/>
                    <a:pt x="187" y="719"/>
                  </a:cubicBezTo>
                  <a:cubicBezTo>
                    <a:pt x="187" y="685"/>
                    <a:pt x="187" y="651"/>
                    <a:pt x="187" y="618"/>
                  </a:cubicBezTo>
                  <a:cubicBezTo>
                    <a:pt x="187" y="597"/>
                    <a:pt x="204" y="578"/>
                    <a:pt x="225" y="574"/>
                  </a:cubicBezTo>
                  <a:cubicBezTo>
                    <a:pt x="232" y="572"/>
                    <a:pt x="240" y="574"/>
                    <a:pt x="247" y="575"/>
                  </a:cubicBezTo>
                  <a:cubicBezTo>
                    <a:pt x="257" y="576"/>
                    <a:pt x="261" y="572"/>
                    <a:pt x="265" y="564"/>
                  </a:cubicBezTo>
                  <a:cubicBezTo>
                    <a:pt x="269" y="556"/>
                    <a:pt x="267" y="542"/>
                    <a:pt x="261" y="540"/>
                  </a:cubicBezTo>
                  <a:cubicBezTo>
                    <a:pt x="253" y="538"/>
                    <a:pt x="244" y="534"/>
                    <a:pt x="237" y="536"/>
                  </a:cubicBezTo>
                  <a:cubicBezTo>
                    <a:pt x="228" y="537"/>
                    <a:pt x="217" y="537"/>
                    <a:pt x="209" y="544"/>
                  </a:cubicBezTo>
                  <a:cubicBezTo>
                    <a:pt x="204" y="549"/>
                    <a:pt x="198" y="553"/>
                    <a:pt x="194" y="558"/>
                  </a:cubicBezTo>
                  <a:cubicBezTo>
                    <a:pt x="192" y="561"/>
                    <a:pt x="189" y="563"/>
                    <a:pt x="185" y="562"/>
                  </a:cubicBezTo>
                  <a:cubicBezTo>
                    <a:pt x="182" y="561"/>
                    <a:pt x="182" y="558"/>
                    <a:pt x="182" y="556"/>
                  </a:cubicBezTo>
                  <a:cubicBezTo>
                    <a:pt x="180" y="539"/>
                    <a:pt x="179" y="539"/>
                    <a:pt x="162" y="539"/>
                  </a:cubicBezTo>
                  <a:cubicBezTo>
                    <a:pt x="151" y="539"/>
                    <a:pt x="150" y="540"/>
                    <a:pt x="150" y="551"/>
                  </a:cubicBezTo>
                  <a:cubicBezTo>
                    <a:pt x="150" y="579"/>
                    <a:pt x="150" y="607"/>
                    <a:pt x="150" y="635"/>
                  </a:cubicBezTo>
                  <a:cubicBezTo>
                    <a:pt x="150" y="658"/>
                    <a:pt x="149" y="682"/>
                    <a:pt x="150" y="705"/>
                  </a:cubicBezTo>
                  <a:close/>
                  <a:moveTo>
                    <a:pt x="1011" y="1049"/>
                  </a:moveTo>
                  <a:cubicBezTo>
                    <a:pt x="1011" y="1008"/>
                    <a:pt x="1011" y="966"/>
                    <a:pt x="1011" y="924"/>
                  </a:cubicBezTo>
                  <a:cubicBezTo>
                    <a:pt x="1011" y="913"/>
                    <a:pt x="1008" y="910"/>
                    <a:pt x="997" y="910"/>
                  </a:cubicBezTo>
                  <a:cubicBezTo>
                    <a:pt x="995" y="910"/>
                    <a:pt x="992" y="910"/>
                    <a:pt x="990" y="910"/>
                  </a:cubicBezTo>
                  <a:cubicBezTo>
                    <a:pt x="976" y="910"/>
                    <a:pt x="975" y="911"/>
                    <a:pt x="975" y="926"/>
                  </a:cubicBezTo>
                  <a:cubicBezTo>
                    <a:pt x="975" y="1006"/>
                    <a:pt x="975" y="1085"/>
                    <a:pt x="975" y="1165"/>
                  </a:cubicBezTo>
                  <a:cubicBezTo>
                    <a:pt x="975" y="1185"/>
                    <a:pt x="975" y="1185"/>
                    <a:pt x="994" y="1185"/>
                  </a:cubicBezTo>
                  <a:cubicBezTo>
                    <a:pt x="1009" y="1185"/>
                    <a:pt x="1011" y="1184"/>
                    <a:pt x="1011" y="1169"/>
                  </a:cubicBezTo>
                  <a:cubicBezTo>
                    <a:pt x="1011" y="1129"/>
                    <a:pt x="1011" y="1089"/>
                    <a:pt x="1011" y="1049"/>
                  </a:cubicBezTo>
                  <a:cubicBezTo>
                    <a:pt x="1011" y="1049"/>
                    <a:pt x="1011" y="1049"/>
                    <a:pt x="1011" y="1049"/>
                  </a:cubicBezTo>
                  <a:close/>
                  <a:moveTo>
                    <a:pt x="296" y="176"/>
                  </a:moveTo>
                  <a:cubicBezTo>
                    <a:pt x="296" y="201"/>
                    <a:pt x="296" y="226"/>
                    <a:pt x="296" y="251"/>
                  </a:cubicBezTo>
                  <a:cubicBezTo>
                    <a:pt x="295" y="276"/>
                    <a:pt x="296" y="274"/>
                    <a:pt x="318" y="274"/>
                  </a:cubicBezTo>
                  <a:cubicBezTo>
                    <a:pt x="330" y="274"/>
                    <a:pt x="331" y="274"/>
                    <a:pt x="331" y="260"/>
                  </a:cubicBezTo>
                  <a:cubicBezTo>
                    <a:pt x="331" y="232"/>
                    <a:pt x="331" y="204"/>
                    <a:pt x="331" y="176"/>
                  </a:cubicBezTo>
                  <a:cubicBezTo>
                    <a:pt x="331" y="165"/>
                    <a:pt x="331" y="155"/>
                    <a:pt x="337" y="145"/>
                  </a:cubicBezTo>
                  <a:cubicBezTo>
                    <a:pt x="349" y="123"/>
                    <a:pt x="359" y="117"/>
                    <a:pt x="377" y="118"/>
                  </a:cubicBezTo>
                  <a:cubicBezTo>
                    <a:pt x="383" y="118"/>
                    <a:pt x="389" y="119"/>
                    <a:pt x="395" y="120"/>
                  </a:cubicBezTo>
                  <a:cubicBezTo>
                    <a:pt x="401" y="120"/>
                    <a:pt x="407" y="118"/>
                    <a:pt x="408" y="112"/>
                  </a:cubicBezTo>
                  <a:cubicBezTo>
                    <a:pt x="409" y="103"/>
                    <a:pt x="415" y="93"/>
                    <a:pt x="407" y="85"/>
                  </a:cubicBezTo>
                  <a:cubicBezTo>
                    <a:pt x="406" y="84"/>
                    <a:pt x="404" y="84"/>
                    <a:pt x="402" y="84"/>
                  </a:cubicBezTo>
                  <a:cubicBezTo>
                    <a:pt x="376" y="78"/>
                    <a:pt x="353" y="82"/>
                    <a:pt x="337" y="106"/>
                  </a:cubicBezTo>
                  <a:cubicBezTo>
                    <a:pt x="336" y="108"/>
                    <a:pt x="335" y="110"/>
                    <a:pt x="333" y="109"/>
                  </a:cubicBezTo>
                  <a:cubicBezTo>
                    <a:pt x="331" y="109"/>
                    <a:pt x="330" y="107"/>
                    <a:pt x="330" y="105"/>
                  </a:cubicBezTo>
                  <a:cubicBezTo>
                    <a:pt x="329" y="101"/>
                    <a:pt x="329" y="97"/>
                    <a:pt x="328" y="94"/>
                  </a:cubicBezTo>
                  <a:cubicBezTo>
                    <a:pt x="325" y="85"/>
                    <a:pt x="318" y="82"/>
                    <a:pt x="303" y="84"/>
                  </a:cubicBezTo>
                  <a:cubicBezTo>
                    <a:pt x="297" y="84"/>
                    <a:pt x="295" y="86"/>
                    <a:pt x="295" y="92"/>
                  </a:cubicBezTo>
                  <a:cubicBezTo>
                    <a:pt x="296" y="120"/>
                    <a:pt x="295" y="148"/>
                    <a:pt x="295" y="176"/>
                  </a:cubicBezTo>
                  <a:cubicBezTo>
                    <a:pt x="296" y="176"/>
                    <a:pt x="296" y="176"/>
                    <a:pt x="296" y="176"/>
                  </a:cubicBezTo>
                  <a:close/>
                  <a:moveTo>
                    <a:pt x="946" y="179"/>
                  </a:moveTo>
                  <a:cubicBezTo>
                    <a:pt x="946" y="197"/>
                    <a:pt x="946" y="215"/>
                    <a:pt x="946" y="234"/>
                  </a:cubicBezTo>
                  <a:cubicBezTo>
                    <a:pt x="946" y="248"/>
                    <a:pt x="951" y="260"/>
                    <a:pt x="963" y="268"/>
                  </a:cubicBezTo>
                  <a:cubicBezTo>
                    <a:pt x="982" y="280"/>
                    <a:pt x="1011" y="277"/>
                    <a:pt x="1029" y="264"/>
                  </a:cubicBezTo>
                  <a:cubicBezTo>
                    <a:pt x="1036" y="259"/>
                    <a:pt x="1036" y="254"/>
                    <a:pt x="1032" y="248"/>
                  </a:cubicBezTo>
                  <a:cubicBezTo>
                    <a:pt x="1026" y="239"/>
                    <a:pt x="1020" y="238"/>
                    <a:pt x="1013" y="242"/>
                  </a:cubicBezTo>
                  <a:cubicBezTo>
                    <a:pt x="996" y="252"/>
                    <a:pt x="978" y="243"/>
                    <a:pt x="978" y="223"/>
                  </a:cubicBezTo>
                  <a:cubicBezTo>
                    <a:pt x="978" y="190"/>
                    <a:pt x="978" y="157"/>
                    <a:pt x="978" y="123"/>
                  </a:cubicBezTo>
                  <a:cubicBezTo>
                    <a:pt x="978" y="116"/>
                    <a:pt x="981" y="113"/>
                    <a:pt x="988" y="113"/>
                  </a:cubicBezTo>
                  <a:cubicBezTo>
                    <a:pt x="999" y="114"/>
                    <a:pt x="1011" y="113"/>
                    <a:pt x="1022" y="113"/>
                  </a:cubicBezTo>
                  <a:cubicBezTo>
                    <a:pt x="1028" y="113"/>
                    <a:pt x="1033" y="112"/>
                    <a:pt x="1033" y="104"/>
                  </a:cubicBezTo>
                  <a:cubicBezTo>
                    <a:pt x="1033" y="96"/>
                    <a:pt x="1032" y="90"/>
                    <a:pt x="1022" y="90"/>
                  </a:cubicBezTo>
                  <a:cubicBezTo>
                    <a:pt x="1011" y="90"/>
                    <a:pt x="1001" y="90"/>
                    <a:pt x="990" y="90"/>
                  </a:cubicBezTo>
                  <a:cubicBezTo>
                    <a:pt x="981" y="91"/>
                    <a:pt x="977" y="88"/>
                    <a:pt x="978" y="78"/>
                  </a:cubicBezTo>
                  <a:cubicBezTo>
                    <a:pt x="978" y="64"/>
                    <a:pt x="978" y="49"/>
                    <a:pt x="978" y="35"/>
                  </a:cubicBezTo>
                  <a:cubicBezTo>
                    <a:pt x="978" y="30"/>
                    <a:pt x="978" y="25"/>
                    <a:pt x="971" y="24"/>
                  </a:cubicBezTo>
                  <a:cubicBezTo>
                    <a:pt x="964" y="24"/>
                    <a:pt x="956" y="24"/>
                    <a:pt x="955" y="32"/>
                  </a:cubicBezTo>
                  <a:cubicBezTo>
                    <a:pt x="952" y="43"/>
                    <a:pt x="949" y="54"/>
                    <a:pt x="949" y="65"/>
                  </a:cubicBezTo>
                  <a:cubicBezTo>
                    <a:pt x="948" y="88"/>
                    <a:pt x="947" y="88"/>
                    <a:pt x="924" y="91"/>
                  </a:cubicBezTo>
                  <a:cubicBezTo>
                    <a:pt x="919" y="92"/>
                    <a:pt x="914" y="92"/>
                    <a:pt x="914" y="99"/>
                  </a:cubicBezTo>
                  <a:cubicBezTo>
                    <a:pt x="915" y="107"/>
                    <a:pt x="917" y="113"/>
                    <a:pt x="926" y="113"/>
                  </a:cubicBezTo>
                  <a:cubicBezTo>
                    <a:pt x="929" y="114"/>
                    <a:pt x="932" y="113"/>
                    <a:pt x="935" y="113"/>
                  </a:cubicBezTo>
                  <a:cubicBezTo>
                    <a:pt x="943" y="113"/>
                    <a:pt x="946" y="116"/>
                    <a:pt x="946" y="124"/>
                  </a:cubicBezTo>
                  <a:cubicBezTo>
                    <a:pt x="946" y="142"/>
                    <a:pt x="946" y="161"/>
                    <a:pt x="946" y="179"/>
                  </a:cubicBezTo>
                  <a:cubicBezTo>
                    <a:pt x="946" y="179"/>
                    <a:pt x="946" y="179"/>
                    <a:pt x="946" y="179"/>
                  </a:cubicBezTo>
                  <a:close/>
                </a:path>
              </a:pathLst>
            </a:custGeom>
            <a:solidFill>
              <a:srgbClr val="4C505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grpSp>
          <p:nvGrpSpPr>
            <p:cNvPr id="18" name="Group 4">
              <a:extLst>
                <a:ext uri="{FF2B5EF4-FFF2-40B4-BE49-F238E27FC236}">
                  <a16:creationId xmlns:a16="http://schemas.microsoft.com/office/drawing/2014/main" id="{57BD2C4C-DC67-B843-B26C-309622FC75F7}"/>
                </a:ext>
              </a:extLst>
            </p:cNvPr>
            <p:cNvGrpSpPr>
              <a:grpSpLocks noChangeAspect="1"/>
            </p:cNvGrpSpPr>
            <p:nvPr/>
          </p:nvGrpSpPr>
          <p:grpSpPr bwMode="gray">
            <a:xfrm>
              <a:off x="334963" y="296652"/>
              <a:ext cx="538094" cy="540000"/>
              <a:chOff x="2711" y="1027"/>
              <a:chExt cx="2258" cy="2266"/>
            </a:xfrm>
          </p:grpSpPr>
          <p:sp>
            <p:nvSpPr>
              <p:cNvPr id="19" name="AutoShape 3">
                <a:extLst>
                  <a:ext uri="{FF2B5EF4-FFF2-40B4-BE49-F238E27FC236}">
                    <a16:creationId xmlns:a16="http://schemas.microsoft.com/office/drawing/2014/main" id="{FE1DC41B-291E-574C-9F2C-874E70A40758}"/>
                  </a:ext>
                </a:extLst>
              </p:cNvPr>
              <p:cNvSpPr>
                <a:spLocks noChangeAspect="1" noChangeArrowheads="1" noTextEdit="1"/>
              </p:cNvSpPr>
              <p:nvPr/>
            </p:nvSpPr>
            <p:spPr bwMode="gray">
              <a:xfrm>
                <a:off x="2711" y="1027"/>
                <a:ext cx="2258" cy="22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20" name="Freeform 5">
                <a:extLst>
                  <a:ext uri="{FF2B5EF4-FFF2-40B4-BE49-F238E27FC236}">
                    <a16:creationId xmlns:a16="http://schemas.microsoft.com/office/drawing/2014/main" id="{D4B633C8-F761-C54B-9BD2-EB59D49A2DBC}"/>
                  </a:ext>
                </a:extLst>
              </p:cNvPr>
              <p:cNvSpPr>
                <a:spLocks/>
              </p:cNvSpPr>
              <p:nvPr/>
            </p:nvSpPr>
            <p:spPr bwMode="gray">
              <a:xfrm>
                <a:off x="2709" y="1029"/>
                <a:ext cx="2260" cy="2262"/>
              </a:xfrm>
              <a:custGeom>
                <a:avLst/>
                <a:gdLst>
                  <a:gd name="T0" fmla="*/ 2260 w 2260"/>
                  <a:gd name="T1" fmla="*/ 0 h 2262"/>
                  <a:gd name="T2" fmla="*/ 1612 w 2260"/>
                  <a:gd name="T3" fmla="*/ 649 h 2262"/>
                  <a:gd name="T4" fmla="*/ 1612 w 2260"/>
                  <a:gd name="T5" fmla="*/ 649 h 2262"/>
                  <a:gd name="T6" fmla="*/ 2035 w 2260"/>
                  <a:gd name="T7" fmla="*/ 0 h 2262"/>
                  <a:gd name="T8" fmla="*/ 0 w 2260"/>
                  <a:gd name="T9" fmla="*/ 0 h 2262"/>
                  <a:gd name="T10" fmla="*/ 0 w 2260"/>
                  <a:gd name="T11" fmla="*/ 2262 h 2262"/>
                  <a:gd name="T12" fmla="*/ 2260 w 2260"/>
                  <a:gd name="T13" fmla="*/ 2262 h 2262"/>
                  <a:gd name="T14" fmla="*/ 2260 w 2260"/>
                  <a:gd name="T15" fmla="*/ 0 h 2262"/>
                  <a:gd name="T16" fmla="*/ 2260 w 2260"/>
                  <a:gd name="T17" fmla="*/ 0 h 2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0" h="2262">
                    <a:moveTo>
                      <a:pt x="2260" y="0"/>
                    </a:moveTo>
                    <a:lnTo>
                      <a:pt x="1612" y="649"/>
                    </a:lnTo>
                    <a:lnTo>
                      <a:pt x="1612" y="649"/>
                    </a:lnTo>
                    <a:lnTo>
                      <a:pt x="2035" y="0"/>
                    </a:lnTo>
                    <a:lnTo>
                      <a:pt x="0" y="0"/>
                    </a:lnTo>
                    <a:lnTo>
                      <a:pt x="0" y="2262"/>
                    </a:lnTo>
                    <a:lnTo>
                      <a:pt x="2260" y="2262"/>
                    </a:lnTo>
                    <a:lnTo>
                      <a:pt x="2260" y="0"/>
                    </a:lnTo>
                    <a:lnTo>
                      <a:pt x="2260" y="0"/>
                    </a:lnTo>
                    <a:close/>
                  </a:path>
                </a:pathLst>
              </a:custGeom>
              <a:solidFill>
                <a:srgbClr val="E55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21" name="Freeform 6">
                <a:extLst>
                  <a:ext uri="{FF2B5EF4-FFF2-40B4-BE49-F238E27FC236}">
                    <a16:creationId xmlns:a16="http://schemas.microsoft.com/office/drawing/2014/main" id="{B16BAAE4-1A41-C843-9754-490F7A1E1270}"/>
                  </a:ext>
                </a:extLst>
              </p:cNvPr>
              <p:cNvSpPr>
                <a:spLocks noEditPoints="1"/>
              </p:cNvSpPr>
              <p:nvPr/>
            </p:nvSpPr>
            <p:spPr bwMode="gray">
              <a:xfrm>
                <a:off x="3623" y="1696"/>
                <a:ext cx="1167" cy="922"/>
              </a:xfrm>
              <a:custGeom>
                <a:avLst/>
                <a:gdLst>
                  <a:gd name="T0" fmla="*/ 411 w 580"/>
                  <a:gd name="T1" fmla="*/ 213 h 458"/>
                  <a:gd name="T2" fmla="*/ 570 w 580"/>
                  <a:gd name="T3" fmla="*/ 37 h 458"/>
                  <a:gd name="T4" fmla="*/ 580 w 580"/>
                  <a:gd name="T5" fmla="*/ 20 h 458"/>
                  <a:gd name="T6" fmla="*/ 545 w 580"/>
                  <a:gd name="T7" fmla="*/ 0 h 458"/>
                  <a:gd name="T8" fmla="*/ 519 w 580"/>
                  <a:gd name="T9" fmla="*/ 16 h 458"/>
                  <a:gd name="T10" fmla="*/ 344 w 580"/>
                  <a:gd name="T11" fmla="*/ 210 h 458"/>
                  <a:gd name="T12" fmla="*/ 334 w 580"/>
                  <a:gd name="T13" fmla="*/ 229 h 458"/>
                  <a:gd name="T14" fmla="*/ 344 w 580"/>
                  <a:gd name="T15" fmla="*/ 248 h 458"/>
                  <a:gd name="T16" fmla="*/ 519 w 580"/>
                  <a:gd name="T17" fmla="*/ 442 h 458"/>
                  <a:gd name="T18" fmla="*/ 545 w 580"/>
                  <a:gd name="T19" fmla="*/ 458 h 458"/>
                  <a:gd name="T20" fmla="*/ 580 w 580"/>
                  <a:gd name="T21" fmla="*/ 438 h 458"/>
                  <a:gd name="T22" fmla="*/ 570 w 580"/>
                  <a:gd name="T23" fmla="*/ 421 h 458"/>
                  <a:gd name="T24" fmla="*/ 411 w 580"/>
                  <a:gd name="T25" fmla="*/ 245 h 458"/>
                  <a:gd name="T26" fmla="*/ 399 w 580"/>
                  <a:gd name="T27" fmla="*/ 229 h 458"/>
                  <a:gd name="T28" fmla="*/ 411 w 580"/>
                  <a:gd name="T29" fmla="*/ 213 h 458"/>
                  <a:gd name="T30" fmla="*/ 252 w 580"/>
                  <a:gd name="T31" fmla="*/ 439 h 458"/>
                  <a:gd name="T32" fmla="*/ 281 w 580"/>
                  <a:gd name="T33" fmla="*/ 454 h 458"/>
                  <a:gd name="T34" fmla="*/ 309 w 580"/>
                  <a:gd name="T35" fmla="*/ 439 h 458"/>
                  <a:gd name="T36" fmla="*/ 309 w 580"/>
                  <a:gd name="T37" fmla="*/ 19 h 458"/>
                  <a:gd name="T38" fmla="*/ 281 w 580"/>
                  <a:gd name="T39" fmla="*/ 4 h 458"/>
                  <a:gd name="T40" fmla="*/ 252 w 580"/>
                  <a:gd name="T41" fmla="*/ 19 h 458"/>
                  <a:gd name="T42" fmla="*/ 252 w 580"/>
                  <a:gd name="T43" fmla="*/ 439 h 458"/>
                  <a:gd name="T44" fmla="*/ 0 w 580"/>
                  <a:gd name="T45" fmla="*/ 439 h 458"/>
                  <a:gd name="T46" fmla="*/ 28 w 580"/>
                  <a:gd name="T47" fmla="*/ 454 h 458"/>
                  <a:gd name="T48" fmla="*/ 56 w 580"/>
                  <a:gd name="T49" fmla="*/ 439 h 458"/>
                  <a:gd name="T50" fmla="*/ 56 w 580"/>
                  <a:gd name="T51" fmla="*/ 157 h 458"/>
                  <a:gd name="T52" fmla="*/ 165 w 580"/>
                  <a:gd name="T53" fmla="*/ 53 h 458"/>
                  <a:gd name="T54" fmla="*/ 180 w 580"/>
                  <a:gd name="T55" fmla="*/ 53 h 458"/>
                  <a:gd name="T56" fmla="*/ 196 w 580"/>
                  <a:gd name="T57" fmla="*/ 27 h 458"/>
                  <a:gd name="T58" fmla="*/ 154 w 580"/>
                  <a:gd name="T59" fmla="*/ 4 h 458"/>
                  <a:gd name="T60" fmla="*/ 0 w 580"/>
                  <a:gd name="T61" fmla="*/ 152 h 458"/>
                  <a:gd name="T62" fmla="*/ 0 w 580"/>
                  <a:gd name="T63" fmla="*/ 439 h 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80" h="458">
                    <a:moveTo>
                      <a:pt x="411" y="213"/>
                    </a:moveTo>
                    <a:cubicBezTo>
                      <a:pt x="570" y="37"/>
                      <a:pt x="570" y="37"/>
                      <a:pt x="570" y="37"/>
                    </a:cubicBezTo>
                    <a:cubicBezTo>
                      <a:pt x="576" y="30"/>
                      <a:pt x="580" y="25"/>
                      <a:pt x="580" y="20"/>
                    </a:cubicBezTo>
                    <a:cubicBezTo>
                      <a:pt x="580" y="10"/>
                      <a:pt x="559" y="0"/>
                      <a:pt x="545" y="0"/>
                    </a:cubicBezTo>
                    <a:cubicBezTo>
                      <a:pt x="535" y="0"/>
                      <a:pt x="526" y="8"/>
                      <a:pt x="519" y="16"/>
                    </a:cubicBezTo>
                    <a:cubicBezTo>
                      <a:pt x="344" y="210"/>
                      <a:pt x="344" y="210"/>
                      <a:pt x="344" y="210"/>
                    </a:cubicBezTo>
                    <a:cubicBezTo>
                      <a:pt x="336" y="219"/>
                      <a:pt x="334" y="224"/>
                      <a:pt x="334" y="229"/>
                    </a:cubicBezTo>
                    <a:cubicBezTo>
                      <a:pt x="334" y="234"/>
                      <a:pt x="336" y="239"/>
                      <a:pt x="344" y="248"/>
                    </a:cubicBezTo>
                    <a:cubicBezTo>
                      <a:pt x="519" y="442"/>
                      <a:pt x="519" y="442"/>
                      <a:pt x="519" y="442"/>
                    </a:cubicBezTo>
                    <a:cubicBezTo>
                      <a:pt x="526" y="450"/>
                      <a:pt x="535" y="458"/>
                      <a:pt x="545" y="458"/>
                    </a:cubicBezTo>
                    <a:cubicBezTo>
                      <a:pt x="559" y="458"/>
                      <a:pt x="580" y="448"/>
                      <a:pt x="580" y="438"/>
                    </a:cubicBezTo>
                    <a:cubicBezTo>
                      <a:pt x="580" y="433"/>
                      <a:pt x="576" y="428"/>
                      <a:pt x="570" y="421"/>
                    </a:cubicBezTo>
                    <a:cubicBezTo>
                      <a:pt x="411" y="245"/>
                      <a:pt x="411" y="245"/>
                      <a:pt x="411" y="245"/>
                    </a:cubicBezTo>
                    <a:cubicBezTo>
                      <a:pt x="403" y="236"/>
                      <a:pt x="399" y="232"/>
                      <a:pt x="399" y="229"/>
                    </a:cubicBezTo>
                    <a:cubicBezTo>
                      <a:pt x="399" y="226"/>
                      <a:pt x="403" y="222"/>
                      <a:pt x="411" y="213"/>
                    </a:cubicBezTo>
                    <a:moveTo>
                      <a:pt x="252" y="439"/>
                    </a:moveTo>
                    <a:cubicBezTo>
                      <a:pt x="252" y="449"/>
                      <a:pt x="261" y="454"/>
                      <a:pt x="281" y="454"/>
                    </a:cubicBezTo>
                    <a:cubicBezTo>
                      <a:pt x="300" y="454"/>
                      <a:pt x="309" y="449"/>
                      <a:pt x="309" y="439"/>
                    </a:cubicBezTo>
                    <a:cubicBezTo>
                      <a:pt x="309" y="19"/>
                      <a:pt x="309" y="19"/>
                      <a:pt x="309" y="19"/>
                    </a:cubicBezTo>
                    <a:cubicBezTo>
                      <a:pt x="309" y="9"/>
                      <a:pt x="300" y="4"/>
                      <a:pt x="281" y="4"/>
                    </a:cubicBezTo>
                    <a:cubicBezTo>
                      <a:pt x="261" y="4"/>
                      <a:pt x="252" y="9"/>
                      <a:pt x="252" y="19"/>
                    </a:cubicBezTo>
                    <a:lnTo>
                      <a:pt x="252" y="439"/>
                    </a:lnTo>
                    <a:close/>
                    <a:moveTo>
                      <a:pt x="0" y="439"/>
                    </a:moveTo>
                    <a:cubicBezTo>
                      <a:pt x="0" y="449"/>
                      <a:pt x="8" y="454"/>
                      <a:pt x="28" y="454"/>
                    </a:cubicBezTo>
                    <a:cubicBezTo>
                      <a:pt x="48" y="454"/>
                      <a:pt x="56" y="449"/>
                      <a:pt x="56" y="439"/>
                    </a:cubicBezTo>
                    <a:cubicBezTo>
                      <a:pt x="56" y="157"/>
                      <a:pt x="56" y="157"/>
                      <a:pt x="56" y="157"/>
                    </a:cubicBezTo>
                    <a:cubicBezTo>
                      <a:pt x="56" y="83"/>
                      <a:pt x="85" y="53"/>
                      <a:pt x="165" y="53"/>
                    </a:cubicBezTo>
                    <a:cubicBezTo>
                      <a:pt x="180" y="53"/>
                      <a:pt x="180" y="53"/>
                      <a:pt x="180" y="53"/>
                    </a:cubicBezTo>
                    <a:cubicBezTo>
                      <a:pt x="192" y="53"/>
                      <a:pt x="196" y="43"/>
                      <a:pt x="196" y="27"/>
                    </a:cubicBezTo>
                    <a:cubicBezTo>
                      <a:pt x="196" y="8"/>
                      <a:pt x="185" y="4"/>
                      <a:pt x="154" y="4"/>
                    </a:cubicBezTo>
                    <a:cubicBezTo>
                      <a:pt x="64" y="4"/>
                      <a:pt x="0" y="43"/>
                      <a:pt x="0" y="152"/>
                    </a:cubicBezTo>
                    <a:lnTo>
                      <a:pt x="0" y="43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22" name="Freeform 7">
                <a:extLst>
                  <a:ext uri="{FF2B5EF4-FFF2-40B4-BE49-F238E27FC236}">
                    <a16:creationId xmlns:a16="http://schemas.microsoft.com/office/drawing/2014/main" id="{2F32DCBD-8628-F245-85CD-97686A20ECFD}"/>
                  </a:ext>
                </a:extLst>
              </p:cNvPr>
              <p:cNvSpPr>
                <a:spLocks/>
              </p:cNvSpPr>
              <p:nvPr/>
            </p:nvSpPr>
            <p:spPr bwMode="gray">
              <a:xfrm>
                <a:off x="2880" y="1704"/>
                <a:ext cx="618" cy="916"/>
              </a:xfrm>
              <a:custGeom>
                <a:avLst/>
                <a:gdLst>
                  <a:gd name="T0" fmla="*/ 307 w 307"/>
                  <a:gd name="T1" fmla="*/ 405 h 455"/>
                  <a:gd name="T2" fmla="*/ 307 w 307"/>
                  <a:gd name="T3" fmla="*/ 244 h 455"/>
                  <a:gd name="T4" fmla="*/ 279 w 307"/>
                  <a:gd name="T5" fmla="*/ 229 h 455"/>
                  <a:gd name="T6" fmla="*/ 250 w 307"/>
                  <a:gd name="T7" fmla="*/ 244 h 455"/>
                  <a:gd name="T8" fmla="*/ 250 w 307"/>
                  <a:gd name="T9" fmla="*/ 378 h 455"/>
                  <a:gd name="T10" fmla="*/ 199 w 307"/>
                  <a:gd name="T11" fmla="*/ 408 h 455"/>
                  <a:gd name="T12" fmla="*/ 61 w 307"/>
                  <a:gd name="T13" fmla="*/ 231 h 455"/>
                  <a:gd name="T14" fmla="*/ 238 w 307"/>
                  <a:gd name="T15" fmla="*/ 49 h 455"/>
                  <a:gd name="T16" fmla="*/ 270 w 307"/>
                  <a:gd name="T17" fmla="*/ 49 h 455"/>
                  <a:gd name="T18" fmla="*/ 286 w 307"/>
                  <a:gd name="T19" fmla="*/ 23 h 455"/>
                  <a:gd name="T20" fmla="*/ 244 w 307"/>
                  <a:gd name="T21" fmla="*/ 0 h 455"/>
                  <a:gd name="T22" fmla="*/ 231 w 307"/>
                  <a:gd name="T23" fmla="*/ 0 h 455"/>
                  <a:gd name="T24" fmla="*/ 0 w 307"/>
                  <a:gd name="T25" fmla="*/ 232 h 455"/>
                  <a:gd name="T26" fmla="*/ 198 w 307"/>
                  <a:gd name="T27" fmla="*/ 455 h 455"/>
                  <a:gd name="T28" fmla="*/ 307 w 307"/>
                  <a:gd name="T29" fmla="*/ 405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7" h="455">
                    <a:moveTo>
                      <a:pt x="307" y="405"/>
                    </a:moveTo>
                    <a:cubicBezTo>
                      <a:pt x="307" y="244"/>
                      <a:pt x="307" y="244"/>
                      <a:pt x="307" y="244"/>
                    </a:cubicBezTo>
                    <a:cubicBezTo>
                      <a:pt x="307" y="234"/>
                      <a:pt x="298" y="229"/>
                      <a:pt x="279" y="229"/>
                    </a:cubicBezTo>
                    <a:cubicBezTo>
                      <a:pt x="259" y="229"/>
                      <a:pt x="250" y="234"/>
                      <a:pt x="250" y="244"/>
                    </a:cubicBezTo>
                    <a:cubicBezTo>
                      <a:pt x="250" y="378"/>
                      <a:pt x="250" y="378"/>
                      <a:pt x="250" y="378"/>
                    </a:cubicBezTo>
                    <a:cubicBezTo>
                      <a:pt x="250" y="399"/>
                      <a:pt x="241" y="408"/>
                      <a:pt x="199" y="408"/>
                    </a:cubicBezTo>
                    <a:cubicBezTo>
                      <a:pt x="114" y="408"/>
                      <a:pt x="61" y="342"/>
                      <a:pt x="61" y="231"/>
                    </a:cubicBezTo>
                    <a:cubicBezTo>
                      <a:pt x="61" y="115"/>
                      <a:pt x="126" y="49"/>
                      <a:pt x="238" y="49"/>
                    </a:cubicBezTo>
                    <a:cubicBezTo>
                      <a:pt x="270" y="49"/>
                      <a:pt x="270" y="49"/>
                      <a:pt x="270" y="49"/>
                    </a:cubicBezTo>
                    <a:cubicBezTo>
                      <a:pt x="282" y="49"/>
                      <a:pt x="286" y="39"/>
                      <a:pt x="286" y="23"/>
                    </a:cubicBezTo>
                    <a:cubicBezTo>
                      <a:pt x="286" y="4"/>
                      <a:pt x="275" y="0"/>
                      <a:pt x="244" y="0"/>
                    </a:cubicBezTo>
                    <a:cubicBezTo>
                      <a:pt x="231" y="0"/>
                      <a:pt x="231" y="0"/>
                      <a:pt x="231" y="0"/>
                    </a:cubicBezTo>
                    <a:cubicBezTo>
                      <a:pt x="101" y="0"/>
                      <a:pt x="0" y="71"/>
                      <a:pt x="0" y="232"/>
                    </a:cubicBezTo>
                    <a:cubicBezTo>
                      <a:pt x="0" y="386"/>
                      <a:pt x="88" y="455"/>
                      <a:pt x="198" y="455"/>
                    </a:cubicBezTo>
                    <a:cubicBezTo>
                      <a:pt x="286" y="455"/>
                      <a:pt x="307" y="430"/>
                      <a:pt x="307" y="40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23" name="Oval 8">
                <a:extLst>
                  <a:ext uri="{FF2B5EF4-FFF2-40B4-BE49-F238E27FC236}">
                    <a16:creationId xmlns:a16="http://schemas.microsoft.com/office/drawing/2014/main" id="{60D97C11-1A3B-5449-A48D-98A3E79B3810}"/>
                  </a:ext>
                </a:extLst>
              </p:cNvPr>
              <p:cNvSpPr>
                <a:spLocks noChangeArrowheads="1"/>
              </p:cNvSpPr>
              <p:nvPr/>
            </p:nvSpPr>
            <p:spPr bwMode="gray">
              <a:xfrm>
                <a:off x="3778" y="2099"/>
                <a:ext cx="122" cy="12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24" name="Freeform 9">
                <a:extLst>
                  <a:ext uri="{FF2B5EF4-FFF2-40B4-BE49-F238E27FC236}">
                    <a16:creationId xmlns:a16="http://schemas.microsoft.com/office/drawing/2014/main" id="{5856770D-B8F0-244E-A05D-AED190086F10}"/>
                  </a:ext>
                </a:extLst>
              </p:cNvPr>
              <p:cNvSpPr>
                <a:spLocks noEditPoints="1"/>
              </p:cNvSpPr>
              <p:nvPr/>
            </p:nvSpPr>
            <p:spPr bwMode="gray">
              <a:xfrm>
                <a:off x="3623" y="1696"/>
                <a:ext cx="1167" cy="922"/>
              </a:xfrm>
              <a:custGeom>
                <a:avLst/>
                <a:gdLst>
                  <a:gd name="T0" fmla="*/ 411 w 580"/>
                  <a:gd name="T1" fmla="*/ 213 h 458"/>
                  <a:gd name="T2" fmla="*/ 570 w 580"/>
                  <a:gd name="T3" fmla="*/ 37 h 458"/>
                  <a:gd name="T4" fmla="*/ 580 w 580"/>
                  <a:gd name="T5" fmla="*/ 20 h 458"/>
                  <a:gd name="T6" fmla="*/ 545 w 580"/>
                  <a:gd name="T7" fmla="*/ 0 h 458"/>
                  <a:gd name="T8" fmla="*/ 519 w 580"/>
                  <a:gd name="T9" fmla="*/ 16 h 458"/>
                  <a:gd name="T10" fmla="*/ 344 w 580"/>
                  <a:gd name="T11" fmla="*/ 210 h 458"/>
                  <a:gd name="T12" fmla="*/ 334 w 580"/>
                  <a:gd name="T13" fmla="*/ 229 h 458"/>
                  <a:gd name="T14" fmla="*/ 344 w 580"/>
                  <a:gd name="T15" fmla="*/ 248 h 458"/>
                  <a:gd name="T16" fmla="*/ 519 w 580"/>
                  <a:gd name="T17" fmla="*/ 442 h 458"/>
                  <a:gd name="T18" fmla="*/ 545 w 580"/>
                  <a:gd name="T19" fmla="*/ 458 h 458"/>
                  <a:gd name="T20" fmla="*/ 580 w 580"/>
                  <a:gd name="T21" fmla="*/ 438 h 458"/>
                  <a:gd name="T22" fmla="*/ 570 w 580"/>
                  <a:gd name="T23" fmla="*/ 421 h 458"/>
                  <a:gd name="T24" fmla="*/ 411 w 580"/>
                  <a:gd name="T25" fmla="*/ 245 h 458"/>
                  <a:gd name="T26" fmla="*/ 399 w 580"/>
                  <a:gd name="T27" fmla="*/ 229 h 458"/>
                  <a:gd name="T28" fmla="*/ 411 w 580"/>
                  <a:gd name="T29" fmla="*/ 213 h 458"/>
                  <a:gd name="T30" fmla="*/ 252 w 580"/>
                  <a:gd name="T31" fmla="*/ 439 h 458"/>
                  <a:gd name="T32" fmla="*/ 281 w 580"/>
                  <a:gd name="T33" fmla="*/ 454 h 458"/>
                  <a:gd name="T34" fmla="*/ 309 w 580"/>
                  <a:gd name="T35" fmla="*/ 439 h 458"/>
                  <a:gd name="T36" fmla="*/ 309 w 580"/>
                  <a:gd name="T37" fmla="*/ 19 h 458"/>
                  <a:gd name="T38" fmla="*/ 281 w 580"/>
                  <a:gd name="T39" fmla="*/ 4 h 458"/>
                  <a:gd name="T40" fmla="*/ 252 w 580"/>
                  <a:gd name="T41" fmla="*/ 19 h 458"/>
                  <a:gd name="T42" fmla="*/ 252 w 580"/>
                  <a:gd name="T43" fmla="*/ 439 h 458"/>
                  <a:gd name="T44" fmla="*/ 0 w 580"/>
                  <a:gd name="T45" fmla="*/ 439 h 458"/>
                  <a:gd name="T46" fmla="*/ 28 w 580"/>
                  <a:gd name="T47" fmla="*/ 454 h 458"/>
                  <a:gd name="T48" fmla="*/ 56 w 580"/>
                  <a:gd name="T49" fmla="*/ 439 h 458"/>
                  <a:gd name="T50" fmla="*/ 56 w 580"/>
                  <a:gd name="T51" fmla="*/ 157 h 458"/>
                  <a:gd name="T52" fmla="*/ 165 w 580"/>
                  <a:gd name="T53" fmla="*/ 53 h 458"/>
                  <a:gd name="T54" fmla="*/ 180 w 580"/>
                  <a:gd name="T55" fmla="*/ 53 h 458"/>
                  <a:gd name="T56" fmla="*/ 196 w 580"/>
                  <a:gd name="T57" fmla="*/ 27 h 458"/>
                  <a:gd name="T58" fmla="*/ 154 w 580"/>
                  <a:gd name="T59" fmla="*/ 4 h 458"/>
                  <a:gd name="T60" fmla="*/ 0 w 580"/>
                  <a:gd name="T61" fmla="*/ 152 h 458"/>
                  <a:gd name="T62" fmla="*/ 0 w 580"/>
                  <a:gd name="T63" fmla="*/ 439 h 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80" h="458">
                    <a:moveTo>
                      <a:pt x="411" y="213"/>
                    </a:moveTo>
                    <a:cubicBezTo>
                      <a:pt x="570" y="37"/>
                      <a:pt x="570" y="37"/>
                      <a:pt x="570" y="37"/>
                    </a:cubicBezTo>
                    <a:cubicBezTo>
                      <a:pt x="576" y="30"/>
                      <a:pt x="580" y="25"/>
                      <a:pt x="580" y="20"/>
                    </a:cubicBezTo>
                    <a:cubicBezTo>
                      <a:pt x="580" y="10"/>
                      <a:pt x="559" y="0"/>
                      <a:pt x="545" y="0"/>
                    </a:cubicBezTo>
                    <a:cubicBezTo>
                      <a:pt x="535" y="0"/>
                      <a:pt x="526" y="8"/>
                      <a:pt x="519" y="16"/>
                    </a:cubicBezTo>
                    <a:cubicBezTo>
                      <a:pt x="344" y="210"/>
                      <a:pt x="344" y="210"/>
                      <a:pt x="344" y="210"/>
                    </a:cubicBezTo>
                    <a:cubicBezTo>
                      <a:pt x="336" y="219"/>
                      <a:pt x="334" y="224"/>
                      <a:pt x="334" y="229"/>
                    </a:cubicBezTo>
                    <a:cubicBezTo>
                      <a:pt x="334" y="234"/>
                      <a:pt x="336" y="239"/>
                      <a:pt x="344" y="248"/>
                    </a:cubicBezTo>
                    <a:cubicBezTo>
                      <a:pt x="519" y="442"/>
                      <a:pt x="519" y="442"/>
                      <a:pt x="519" y="442"/>
                    </a:cubicBezTo>
                    <a:cubicBezTo>
                      <a:pt x="526" y="450"/>
                      <a:pt x="535" y="458"/>
                      <a:pt x="545" y="458"/>
                    </a:cubicBezTo>
                    <a:cubicBezTo>
                      <a:pt x="559" y="458"/>
                      <a:pt x="580" y="448"/>
                      <a:pt x="580" y="438"/>
                    </a:cubicBezTo>
                    <a:cubicBezTo>
                      <a:pt x="580" y="433"/>
                      <a:pt x="576" y="428"/>
                      <a:pt x="570" y="421"/>
                    </a:cubicBezTo>
                    <a:cubicBezTo>
                      <a:pt x="411" y="245"/>
                      <a:pt x="411" y="245"/>
                      <a:pt x="411" y="245"/>
                    </a:cubicBezTo>
                    <a:cubicBezTo>
                      <a:pt x="403" y="236"/>
                      <a:pt x="399" y="232"/>
                      <a:pt x="399" y="229"/>
                    </a:cubicBezTo>
                    <a:cubicBezTo>
                      <a:pt x="399" y="226"/>
                      <a:pt x="403" y="222"/>
                      <a:pt x="411" y="213"/>
                    </a:cubicBezTo>
                    <a:moveTo>
                      <a:pt x="252" y="439"/>
                    </a:moveTo>
                    <a:cubicBezTo>
                      <a:pt x="252" y="449"/>
                      <a:pt x="261" y="454"/>
                      <a:pt x="281" y="454"/>
                    </a:cubicBezTo>
                    <a:cubicBezTo>
                      <a:pt x="300" y="454"/>
                      <a:pt x="309" y="449"/>
                      <a:pt x="309" y="439"/>
                    </a:cubicBezTo>
                    <a:cubicBezTo>
                      <a:pt x="309" y="19"/>
                      <a:pt x="309" y="19"/>
                      <a:pt x="309" y="19"/>
                    </a:cubicBezTo>
                    <a:cubicBezTo>
                      <a:pt x="309" y="9"/>
                      <a:pt x="300" y="4"/>
                      <a:pt x="281" y="4"/>
                    </a:cubicBezTo>
                    <a:cubicBezTo>
                      <a:pt x="261" y="4"/>
                      <a:pt x="252" y="9"/>
                      <a:pt x="252" y="19"/>
                    </a:cubicBezTo>
                    <a:lnTo>
                      <a:pt x="252" y="439"/>
                    </a:lnTo>
                    <a:close/>
                    <a:moveTo>
                      <a:pt x="0" y="439"/>
                    </a:moveTo>
                    <a:cubicBezTo>
                      <a:pt x="0" y="449"/>
                      <a:pt x="8" y="454"/>
                      <a:pt x="28" y="454"/>
                    </a:cubicBezTo>
                    <a:cubicBezTo>
                      <a:pt x="48" y="454"/>
                      <a:pt x="56" y="449"/>
                      <a:pt x="56" y="439"/>
                    </a:cubicBezTo>
                    <a:cubicBezTo>
                      <a:pt x="56" y="157"/>
                      <a:pt x="56" y="157"/>
                      <a:pt x="56" y="157"/>
                    </a:cubicBezTo>
                    <a:cubicBezTo>
                      <a:pt x="56" y="83"/>
                      <a:pt x="85" y="53"/>
                      <a:pt x="165" y="53"/>
                    </a:cubicBezTo>
                    <a:cubicBezTo>
                      <a:pt x="180" y="53"/>
                      <a:pt x="180" y="53"/>
                      <a:pt x="180" y="53"/>
                    </a:cubicBezTo>
                    <a:cubicBezTo>
                      <a:pt x="192" y="53"/>
                      <a:pt x="196" y="43"/>
                      <a:pt x="196" y="27"/>
                    </a:cubicBezTo>
                    <a:cubicBezTo>
                      <a:pt x="196" y="8"/>
                      <a:pt x="185" y="4"/>
                      <a:pt x="154" y="4"/>
                    </a:cubicBezTo>
                    <a:cubicBezTo>
                      <a:pt x="64" y="4"/>
                      <a:pt x="0" y="43"/>
                      <a:pt x="0" y="152"/>
                    </a:cubicBezTo>
                    <a:lnTo>
                      <a:pt x="0" y="43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25" name="Freeform 10">
                <a:extLst>
                  <a:ext uri="{FF2B5EF4-FFF2-40B4-BE49-F238E27FC236}">
                    <a16:creationId xmlns:a16="http://schemas.microsoft.com/office/drawing/2014/main" id="{2B91B16B-BC11-E547-8FAC-B9B8D18EA449}"/>
                  </a:ext>
                </a:extLst>
              </p:cNvPr>
              <p:cNvSpPr>
                <a:spLocks/>
              </p:cNvSpPr>
              <p:nvPr/>
            </p:nvSpPr>
            <p:spPr bwMode="gray">
              <a:xfrm>
                <a:off x="2880" y="1704"/>
                <a:ext cx="618" cy="916"/>
              </a:xfrm>
              <a:custGeom>
                <a:avLst/>
                <a:gdLst>
                  <a:gd name="T0" fmla="*/ 307 w 307"/>
                  <a:gd name="T1" fmla="*/ 405 h 455"/>
                  <a:gd name="T2" fmla="*/ 307 w 307"/>
                  <a:gd name="T3" fmla="*/ 244 h 455"/>
                  <a:gd name="T4" fmla="*/ 279 w 307"/>
                  <a:gd name="T5" fmla="*/ 229 h 455"/>
                  <a:gd name="T6" fmla="*/ 250 w 307"/>
                  <a:gd name="T7" fmla="*/ 244 h 455"/>
                  <a:gd name="T8" fmla="*/ 250 w 307"/>
                  <a:gd name="T9" fmla="*/ 378 h 455"/>
                  <a:gd name="T10" fmla="*/ 199 w 307"/>
                  <a:gd name="T11" fmla="*/ 408 h 455"/>
                  <a:gd name="T12" fmla="*/ 61 w 307"/>
                  <a:gd name="T13" fmla="*/ 231 h 455"/>
                  <a:gd name="T14" fmla="*/ 238 w 307"/>
                  <a:gd name="T15" fmla="*/ 49 h 455"/>
                  <a:gd name="T16" fmla="*/ 270 w 307"/>
                  <a:gd name="T17" fmla="*/ 49 h 455"/>
                  <a:gd name="T18" fmla="*/ 286 w 307"/>
                  <a:gd name="T19" fmla="*/ 23 h 455"/>
                  <a:gd name="T20" fmla="*/ 244 w 307"/>
                  <a:gd name="T21" fmla="*/ 0 h 455"/>
                  <a:gd name="T22" fmla="*/ 231 w 307"/>
                  <a:gd name="T23" fmla="*/ 0 h 455"/>
                  <a:gd name="T24" fmla="*/ 0 w 307"/>
                  <a:gd name="T25" fmla="*/ 232 h 455"/>
                  <a:gd name="T26" fmla="*/ 198 w 307"/>
                  <a:gd name="T27" fmla="*/ 455 h 455"/>
                  <a:gd name="T28" fmla="*/ 307 w 307"/>
                  <a:gd name="T29" fmla="*/ 405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7" h="455">
                    <a:moveTo>
                      <a:pt x="307" y="405"/>
                    </a:moveTo>
                    <a:cubicBezTo>
                      <a:pt x="307" y="244"/>
                      <a:pt x="307" y="244"/>
                      <a:pt x="307" y="244"/>
                    </a:cubicBezTo>
                    <a:cubicBezTo>
                      <a:pt x="307" y="234"/>
                      <a:pt x="298" y="229"/>
                      <a:pt x="279" y="229"/>
                    </a:cubicBezTo>
                    <a:cubicBezTo>
                      <a:pt x="259" y="229"/>
                      <a:pt x="250" y="234"/>
                      <a:pt x="250" y="244"/>
                    </a:cubicBezTo>
                    <a:cubicBezTo>
                      <a:pt x="250" y="378"/>
                      <a:pt x="250" y="378"/>
                      <a:pt x="250" y="378"/>
                    </a:cubicBezTo>
                    <a:cubicBezTo>
                      <a:pt x="250" y="399"/>
                      <a:pt x="241" y="408"/>
                      <a:pt x="199" y="408"/>
                    </a:cubicBezTo>
                    <a:cubicBezTo>
                      <a:pt x="114" y="408"/>
                      <a:pt x="61" y="342"/>
                      <a:pt x="61" y="231"/>
                    </a:cubicBezTo>
                    <a:cubicBezTo>
                      <a:pt x="61" y="115"/>
                      <a:pt x="126" y="49"/>
                      <a:pt x="238" y="49"/>
                    </a:cubicBezTo>
                    <a:cubicBezTo>
                      <a:pt x="270" y="49"/>
                      <a:pt x="270" y="49"/>
                      <a:pt x="270" y="49"/>
                    </a:cubicBezTo>
                    <a:cubicBezTo>
                      <a:pt x="282" y="49"/>
                      <a:pt x="286" y="39"/>
                      <a:pt x="286" y="23"/>
                    </a:cubicBezTo>
                    <a:cubicBezTo>
                      <a:pt x="286" y="4"/>
                      <a:pt x="275" y="0"/>
                      <a:pt x="244" y="0"/>
                    </a:cubicBezTo>
                    <a:cubicBezTo>
                      <a:pt x="231" y="0"/>
                      <a:pt x="231" y="0"/>
                      <a:pt x="231" y="0"/>
                    </a:cubicBezTo>
                    <a:cubicBezTo>
                      <a:pt x="101" y="0"/>
                      <a:pt x="0" y="71"/>
                      <a:pt x="0" y="232"/>
                    </a:cubicBezTo>
                    <a:cubicBezTo>
                      <a:pt x="0" y="386"/>
                      <a:pt x="88" y="455"/>
                      <a:pt x="198" y="455"/>
                    </a:cubicBezTo>
                    <a:cubicBezTo>
                      <a:pt x="286" y="455"/>
                      <a:pt x="307" y="430"/>
                      <a:pt x="307" y="40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26" name="Oval 11">
                <a:extLst>
                  <a:ext uri="{FF2B5EF4-FFF2-40B4-BE49-F238E27FC236}">
                    <a16:creationId xmlns:a16="http://schemas.microsoft.com/office/drawing/2014/main" id="{14F8C3C8-4888-7646-B9B4-64EB46A1DA23}"/>
                  </a:ext>
                </a:extLst>
              </p:cNvPr>
              <p:cNvSpPr>
                <a:spLocks noChangeArrowheads="1"/>
              </p:cNvSpPr>
              <p:nvPr/>
            </p:nvSpPr>
            <p:spPr bwMode="gray">
              <a:xfrm>
                <a:off x="3778" y="2099"/>
                <a:ext cx="122" cy="12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27" name="Freeform 12">
                <a:extLst>
                  <a:ext uri="{FF2B5EF4-FFF2-40B4-BE49-F238E27FC236}">
                    <a16:creationId xmlns:a16="http://schemas.microsoft.com/office/drawing/2014/main" id="{D79D01D1-4E3E-F34B-97D7-2D387E68746E}"/>
                  </a:ext>
                </a:extLst>
              </p:cNvPr>
              <p:cNvSpPr>
                <a:spLocks/>
              </p:cNvSpPr>
              <p:nvPr/>
            </p:nvSpPr>
            <p:spPr bwMode="gray">
              <a:xfrm>
                <a:off x="4321" y="1029"/>
                <a:ext cx="648" cy="649"/>
              </a:xfrm>
              <a:custGeom>
                <a:avLst/>
                <a:gdLst>
                  <a:gd name="T0" fmla="*/ 0 w 648"/>
                  <a:gd name="T1" fmla="*/ 649 h 649"/>
                  <a:gd name="T2" fmla="*/ 2 w 648"/>
                  <a:gd name="T3" fmla="*/ 649 h 649"/>
                  <a:gd name="T4" fmla="*/ 648 w 648"/>
                  <a:gd name="T5" fmla="*/ 0 h 649"/>
                  <a:gd name="T6" fmla="*/ 423 w 648"/>
                  <a:gd name="T7" fmla="*/ 0 h 649"/>
                  <a:gd name="T8" fmla="*/ 0 w 648"/>
                  <a:gd name="T9" fmla="*/ 649 h 649"/>
                </a:gdLst>
                <a:ahLst/>
                <a:cxnLst>
                  <a:cxn ang="0">
                    <a:pos x="T0" y="T1"/>
                  </a:cxn>
                  <a:cxn ang="0">
                    <a:pos x="T2" y="T3"/>
                  </a:cxn>
                  <a:cxn ang="0">
                    <a:pos x="T4" y="T5"/>
                  </a:cxn>
                  <a:cxn ang="0">
                    <a:pos x="T6" y="T7"/>
                  </a:cxn>
                  <a:cxn ang="0">
                    <a:pos x="T8" y="T9"/>
                  </a:cxn>
                </a:cxnLst>
                <a:rect l="0" t="0" r="r" b="b"/>
                <a:pathLst>
                  <a:path w="648" h="649">
                    <a:moveTo>
                      <a:pt x="0" y="649"/>
                    </a:moveTo>
                    <a:lnTo>
                      <a:pt x="2" y="649"/>
                    </a:lnTo>
                    <a:lnTo>
                      <a:pt x="648" y="0"/>
                    </a:lnTo>
                    <a:lnTo>
                      <a:pt x="423" y="0"/>
                    </a:lnTo>
                    <a:lnTo>
                      <a:pt x="0" y="64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28" name="Freeform 13">
                <a:extLst>
                  <a:ext uri="{FF2B5EF4-FFF2-40B4-BE49-F238E27FC236}">
                    <a16:creationId xmlns:a16="http://schemas.microsoft.com/office/drawing/2014/main" id="{46549898-6C52-B147-A8F6-A73FDBE6163B}"/>
                  </a:ext>
                </a:extLst>
              </p:cNvPr>
              <p:cNvSpPr>
                <a:spLocks/>
              </p:cNvSpPr>
              <p:nvPr/>
            </p:nvSpPr>
            <p:spPr bwMode="gray">
              <a:xfrm>
                <a:off x="4321" y="1029"/>
                <a:ext cx="648" cy="649"/>
              </a:xfrm>
              <a:custGeom>
                <a:avLst/>
                <a:gdLst>
                  <a:gd name="T0" fmla="*/ 0 w 648"/>
                  <a:gd name="T1" fmla="*/ 649 h 649"/>
                  <a:gd name="T2" fmla="*/ 2 w 648"/>
                  <a:gd name="T3" fmla="*/ 649 h 649"/>
                  <a:gd name="T4" fmla="*/ 648 w 648"/>
                  <a:gd name="T5" fmla="*/ 0 h 649"/>
                  <a:gd name="T6" fmla="*/ 423 w 648"/>
                  <a:gd name="T7" fmla="*/ 0 h 649"/>
                  <a:gd name="T8" fmla="*/ 0 w 648"/>
                  <a:gd name="T9" fmla="*/ 649 h 649"/>
                </a:gdLst>
                <a:ahLst/>
                <a:cxnLst>
                  <a:cxn ang="0">
                    <a:pos x="T0" y="T1"/>
                  </a:cxn>
                  <a:cxn ang="0">
                    <a:pos x="T2" y="T3"/>
                  </a:cxn>
                  <a:cxn ang="0">
                    <a:pos x="T4" y="T5"/>
                  </a:cxn>
                  <a:cxn ang="0">
                    <a:pos x="T6" y="T7"/>
                  </a:cxn>
                  <a:cxn ang="0">
                    <a:pos x="T8" y="T9"/>
                  </a:cxn>
                </a:cxnLst>
                <a:rect l="0" t="0" r="r" b="b"/>
                <a:pathLst>
                  <a:path w="648" h="649">
                    <a:moveTo>
                      <a:pt x="0" y="649"/>
                    </a:moveTo>
                    <a:lnTo>
                      <a:pt x="2" y="649"/>
                    </a:lnTo>
                    <a:lnTo>
                      <a:pt x="648" y="0"/>
                    </a:lnTo>
                    <a:lnTo>
                      <a:pt x="423" y="0"/>
                    </a:lnTo>
                    <a:lnTo>
                      <a:pt x="0" y="64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grpSp>
      </p:grpSp>
      <p:sp>
        <p:nvSpPr>
          <p:cNvPr id="7" name="Date Placeholder 6"/>
          <p:cNvSpPr>
            <a:spLocks noGrp="1"/>
          </p:cNvSpPr>
          <p:nvPr>
            <p:ph type="dt" sz="half" idx="10"/>
          </p:nvPr>
        </p:nvSpPr>
        <p:spPr>
          <a:xfrm>
            <a:off x="0" y="0"/>
            <a:ext cx="0" cy="0"/>
          </a:xfrm>
          <a:prstGeom prst="rect">
            <a:avLst/>
          </a:prstGeom>
        </p:spPr>
        <p:txBody>
          <a:bodyPr/>
          <a:lstStyle>
            <a:lvl1pPr>
              <a:defRPr sz="100">
                <a:noFill/>
              </a:defRPr>
            </a:lvl1pPr>
          </a:lstStyle>
          <a:p>
            <a:endParaRPr lang="en-US"/>
          </a:p>
        </p:txBody>
      </p:sp>
      <p:sp>
        <p:nvSpPr>
          <p:cNvPr id="8" name="Footer Placeholder 7"/>
          <p:cNvSpPr>
            <a:spLocks noGrp="1"/>
          </p:cNvSpPr>
          <p:nvPr>
            <p:ph type="ftr" sz="quarter" idx="11"/>
          </p:nvPr>
        </p:nvSpPr>
        <p:spPr>
          <a:xfrm>
            <a:off x="0" y="0"/>
            <a:ext cx="0" cy="0"/>
          </a:xfrm>
          <a:prstGeom prst="rect">
            <a:avLst/>
          </a:prstGeom>
        </p:spPr>
        <p:txBody>
          <a:bodyPr/>
          <a:lstStyle>
            <a:lvl1pPr marL="0" indent="0">
              <a:buNone/>
              <a:defRPr sz="100">
                <a:noFill/>
              </a:defRPr>
            </a:lvl1pPr>
          </a:lstStyle>
          <a:p>
            <a:endParaRPr lang="en-US"/>
          </a:p>
        </p:txBody>
      </p:sp>
      <p:sp>
        <p:nvSpPr>
          <p:cNvPr id="9" name="Slide Number Placeholder 8"/>
          <p:cNvSpPr>
            <a:spLocks noGrp="1"/>
          </p:cNvSpPr>
          <p:nvPr>
            <p:ph type="sldNum" sz="quarter" idx="12"/>
          </p:nvPr>
        </p:nvSpPr>
        <p:spPr>
          <a:xfrm>
            <a:off x="0" y="0"/>
            <a:ext cx="0" cy="0"/>
          </a:xfrm>
          <a:prstGeom prst="rect">
            <a:avLst/>
          </a:prstGeom>
        </p:spPr>
        <p:txBody>
          <a:bodyPr/>
          <a:lstStyle>
            <a:lvl1pPr>
              <a:defRPr sz="100">
                <a:noFill/>
              </a:defRPr>
            </a:lvl1pPr>
          </a:lstStyle>
          <a:p>
            <a:fld id="{8E3B25F7-8D1F-44B5-B485-EE3C438CFD7B}" type="slidenum">
              <a:rPr lang="en-US" smtClean="0"/>
              <a:pPr/>
              <a:t>‹#›</a:t>
            </a:fld>
            <a:endParaRPr lang="en-US"/>
          </a:p>
        </p:txBody>
      </p:sp>
      <p:sp>
        <p:nvSpPr>
          <p:cNvPr id="2" name="Title 1"/>
          <p:cNvSpPr>
            <a:spLocks noGrp="1"/>
          </p:cNvSpPr>
          <p:nvPr>
            <p:ph type="ctrTitle" hasCustomPrompt="1"/>
          </p:nvPr>
        </p:nvSpPr>
        <p:spPr>
          <a:xfrm>
            <a:off x="417600" y="1628775"/>
            <a:ext cx="3816000" cy="2236264"/>
          </a:xfrm>
        </p:spPr>
        <p:txBody>
          <a:bodyPr anchor="b"/>
          <a:lstStyle>
            <a:lvl1pPr algn="l">
              <a:defRPr sz="3600"/>
            </a:lvl1pPr>
          </a:lstStyle>
          <a:p>
            <a:r>
              <a:rPr lang="en-US"/>
              <a:t>Click to add presentation title</a:t>
            </a:r>
          </a:p>
        </p:txBody>
      </p:sp>
      <p:sp>
        <p:nvSpPr>
          <p:cNvPr id="3" name="Subtitle 2"/>
          <p:cNvSpPr>
            <a:spLocks noGrp="1"/>
          </p:cNvSpPr>
          <p:nvPr>
            <p:ph type="subTitle" idx="1" hasCustomPrompt="1"/>
          </p:nvPr>
        </p:nvSpPr>
        <p:spPr>
          <a:xfrm>
            <a:off x="417600" y="4094163"/>
            <a:ext cx="3816000" cy="1080000"/>
          </a:xfrm>
        </p:spPr>
        <p:txBody>
          <a:bodyPr/>
          <a:lstStyle>
            <a:lvl1pPr marL="0" indent="0" algn="l">
              <a:spcBef>
                <a:spcPts val="0"/>
              </a:spcBef>
              <a:buNone/>
              <a:defRPr sz="1800" b="1"/>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sp>
        <p:nvSpPr>
          <p:cNvPr id="31" name="Text Placeholder 30"/>
          <p:cNvSpPr>
            <a:spLocks noGrp="1"/>
          </p:cNvSpPr>
          <p:nvPr>
            <p:ph type="body" sz="quarter" idx="14" hasCustomPrompt="1"/>
          </p:nvPr>
        </p:nvSpPr>
        <p:spPr>
          <a:xfrm>
            <a:off x="417600" y="5393268"/>
            <a:ext cx="3816000" cy="296332"/>
          </a:xfrm>
        </p:spPr>
        <p:txBody>
          <a:bodyPr wrap="none"/>
          <a:lstStyle>
            <a:lvl1pPr marL="0" indent="0">
              <a:spcBef>
                <a:spcPts val="0"/>
              </a:spcBef>
              <a:buNone/>
              <a:defRPr sz="1200"/>
            </a:lvl1pPr>
            <a:lvl2pPr marL="0" indent="0">
              <a:buNone/>
              <a:defRPr sz="1200"/>
            </a:lvl2pPr>
            <a:lvl3pPr marL="0" indent="0">
              <a:buNone/>
              <a:defRPr sz="1200"/>
            </a:lvl3pPr>
            <a:lvl4pPr marL="0">
              <a:buNone/>
              <a:defRPr sz="1200"/>
            </a:lvl4pPr>
            <a:lvl5pPr marL="0" indent="0">
              <a:buNone/>
              <a:defRPr sz="1200"/>
            </a:lvl5pPr>
          </a:lstStyle>
          <a:p>
            <a:pPr lvl="0"/>
            <a:r>
              <a:rPr lang="en-US"/>
              <a:t>Name</a:t>
            </a:r>
          </a:p>
        </p:txBody>
      </p:sp>
      <p:sp>
        <p:nvSpPr>
          <p:cNvPr id="34" name="Text Placeholder 30"/>
          <p:cNvSpPr>
            <a:spLocks noGrp="1"/>
          </p:cNvSpPr>
          <p:nvPr>
            <p:ph type="body" sz="quarter" idx="15" hasCustomPrompt="1"/>
          </p:nvPr>
        </p:nvSpPr>
        <p:spPr>
          <a:xfrm>
            <a:off x="417600" y="5691446"/>
            <a:ext cx="3816000" cy="296332"/>
          </a:xfrm>
        </p:spPr>
        <p:txBody>
          <a:bodyPr wrap="none"/>
          <a:lstStyle>
            <a:lvl1pPr marL="0" indent="0">
              <a:spcBef>
                <a:spcPts val="0"/>
              </a:spcBef>
              <a:buNone/>
              <a:defRPr sz="1200"/>
            </a:lvl1pPr>
            <a:lvl2pPr marL="0" indent="0">
              <a:buNone/>
              <a:defRPr sz="1200"/>
            </a:lvl2pPr>
            <a:lvl3pPr marL="0" indent="0">
              <a:buNone/>
              <a:defRPr sz="1200"/>
            </a:lvl3pPr>
            <a:lvl4pPr marL="0">
              <a:buNone/>
              <a:defRPr sz="1200"/>
            </a:lvl4pPr>
            <a:lvl5pPr marL="0" indent="0">
              <a:buNone/>
              <a:defRPr sz="1200"/>
            </a:lvl5pPr>
          </a:lstStyle>
          <a:p>
            <a:pPr lvl="0"/>
            <a:r>
              <a:rPr lang="en-US"/>
              <a:t>Department</a:t>
            </a:r>
          </a:p>
        </p:txBody>
      </p:sp>
    </p:spTree>
    <p:extLst>
      <p:ext uri="{BB962C8B-B14F-4D97-AF65-F5344CB8AC3E}">
        <p14:creationId xmlns:p14="http://schemas.microsoft.com/office/powerpoint/2010/main" val="4023979375"/>
      </p:ext>
    </p:extLst>
  </p:cSld>
  <p:clrMapOvr>
    <a:masterClrMapping/>
  </p:clrMapOvr>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p:cSld name="Divider 1">
    <p:spTree>
      <p:nvGrpSpPr>
        <p:cNvPr id="1" name=""/>
        <p:cNvGrpSpPr/>
        <p:nvPr/>
      </p:nvGrpSpPr>
      <p:grpSpPr>
        <a:xfrm>
          <a:off x="0" y="0"/>
          <a:ext cx="0" cy="0"/>
          <a:chOff x="0" y="0"/>
          <a:chExt cx="0" cy="0"/>
        </a:xfrm>
      </p:grpSpPr>
      <p:sp>
        <p:nvSpPr>
          <p:cNvPr id="12" name="Picture Placeholder 11"/>
          <p:cNvSpPr>
            <a:spLocks noGrp="1"/>
          </p:cNvSpPr>
          <p:nvPr>
            <p:ph type="pic" sz="quarter" idx="17" hasCustomPrompt="1"/>
          </p:nvPr>
        </p:nvSpPr>
        <p:spPr>
          <a:xfrm>
            <a:off x="-1" y="0"/>
            <a:ext cx="8822478" cy="6858000"/>
          </a:xfrm>
          <a:custGeom>
            <a:avLst/>
            <a:gdLst>
              <a:gd name="connsiteX0" fmla="*/ 0 w 8822478"/>
              <a:gd name="connsiteY0" fmla="*/ 0 h 6858000"/>
              <a:gd name="connsiteX1" fmla="*/ 8477306 w 8822478"/>
              <a:gd name="connsiteY1" fmla="*/ 0 h 6858000"/>
              <a:gd name="connsiteX2" fmla="*/ 6998505 w 8822478"/>
              <a:gd name="connsiteY2" fmla="*/ 3834029 h 6858000"/>
              <a:gd name="connsiteX3" fmla="*/ 8822478 w 8822478"/>
              <a:gd name="connsiteY3" fmla="*/ 6858000 h 6858000"/>
              <a:gd name="connsiteX4" fmla="*/ 0 w 8822478"/>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22478" h="6858000">
                <a:moveTo>
                  <a:pt x="0" y="0"/>
                </a:moveTo>
                <a:lnTo>
                  <a:pt x="8477306" y="0"/>
                </a:lnTo>
                <a:lnTo>
                  <a:pt x="6998505" y="3834029"/>
                </a:lnTo>
                <a:lnTo>
                  <a:pt x="8822478" y="6858000"/>
                </a:lnTo>
                <a:lnTo>
                  <a:pt x="0" y="6858000"/>
                </a:lnTo>
                <a:close/>
              </a:path>
            </a:pathLst>
          </a:custGeom>
          <a:solidFill>
            <a:srgbClr val="D9DADB"/>
          </a:solidFill>
        </p:spPr>
        <p:txBody>
          <a:bodyPr wrap="square">
            <a:noAutofit/>
          </a:bodyPr>
          <a:lstStyle>
            <a:lvl1pPr marL="0" indent="0">
              <a:buNone/>
              <a:defRPr/>
            </a:lvl1pPr>
          </a:lstStyle>
          <a:p>
            <a:r>
              <a:rPr lang="en-US"/>
              <a:t>Insert picture</a:t>
            </a:r>
          </a:p>
        </p:txBody>
      </p:sp>
      <p:sp>
        <p:nvSpPr>
          <p:cNvPr id="21" name="Date Placeholder 20"/>
          <p:cNvSpPr>
            <a:spLocks noGrp="1"/>
          </p:cNvSpPr>
          <p:nvPr>
            <p:ph type="dt" sz="half" idx="14"/>
          </p:nvPr>
        </p:nvSpPr>
        <p:spPr/>
        <p:txBody>
          <a:bodyPr/>
          <a:lstStyle>
            <a:lvl1pPr>
              <a:defRPr>
                <a:solidFill>
                  <a:schemeClr val="bg1"/>
                </a:solidFill>
              </a:defRPr>
            </a:lvl1pPr>
          </a:lstStyle>
          <a:p>
            <a:endParaRPr lang="en-US"/>
          </a:p>
        </p:txBody>
      </p:sp>
      <p:sp>
        <p:nvSpPr>
          <p:cNvPr id="22" name="Footer Placeholder 21"/>
          <p:cNvSpPr>
            <a:spLocks noGrp="1"/>
          </p:cNvSpPr>
          <p:nvPr>
            <p:ph type="ftr" sz="quarter" idx="15"/>
          </p:nvPr>
        </p:nvSpPr>
        <p:spPr/>
        <p:txBody>
          <a:bodyPr/>
          <a:lstStyle>
            <a:lvl1pPr>
              <a:defRPr>
                <a:solidFill>
                  <a:schemeClr val="bg1"/>
                </a:solidFill>
              </a:defRPr>
            </a:lvl1pPr>
          </a:lstStyle>
          <a:p>
            <a:endParaRPr lang="en-US"/>
          </a:p>
        </p:txBody>
      </p:sp>
      <p:sp>
        <p:nvSpPr>
          <p:cNvPr id="23" name="Slide Number Placeholder 22"/>
          <p:cNvSpPr>
            <a:spLocks noGrp="1"/>
          </p:cNvSpPr>
          <p:nvPr>
            <p:ph type="sldNum" sz="quarter" idx="16"/>
          </p:nvPr>
        </p:nvSpPr>
        <p:spPr/>
        <p:txBody>
          <a:bodyPr/>
          <a:lstStyle>
            <a:lvl1pPr>
              <a:defRPr>
                <a:solidFill>
                  <a:schemeClr val="tx1"/>
                </a:solidFill>
              </a:defRPr>
            </a:lvl1pPr>
          </a:lstStyle>
          <a:p>
            <a:fld id="{5F3E29E4-0979-4FCA-B4C5-5FC6044C982A}" type="slidenum">
              <a:rPr lang="en-US" smtClean="0"/>
              <a:pPr/>
              <a:t>‹#›</a:t>
            </a:fld>
            <a:endParaRPr lang="en-US"/>
          </a:p>
        </p:txBody>
      </p:sp>
      <p:sp>
        <p:nvSpPr>
          <p:cNvPr id="2" name="Title 1"/>
          <p:cNvSpPr>
            <a:spLocks noGrp="1"/>
          </p:cNvSpPr>
          <p:nvPr>
            <p:ph type="title" hasCustomPrompt="1"/>
          </p:nvPr>
        </p:nvSpPr>
        <p:spPr>
          <a:xfrm>
            <a:off x="7737533" y="2908628"/>
            <a:ext cx="4082992" cy="2103640"/>
          </a:xfrm>
        </p:spPr>
        <p:txBody>
          <a:bodyPr/>
          <a:lstStyle>
            <a:lvl1pPr>
              <a:defRPr>
                <a:solidFill>
                  <a:schemeClr val="tx1"/>
                </a:solidFill>
              </a:defRPr>
            </a:lvl1pPr>
          </a:lstStyle>
          <a:p>
            <a:r>
              <a:rPr lang="en-US"/>
              <a:t>Click to add section title</a:t>
            </a:r>
          </a:p>
        </p:txBody>
      </p:sp>
    </p:spTree>
    <p:extLst>
      <p:ext uri="{BB962C8B-B14F-4D97-AF65-F5344CB8AC3E}">
        <p14:creationId xmlns:p14="http://schemas.microsoft.com/office/powerpoint/2010/main" val="1917179792"/>
      </p:ext>
    </p:extLst>
  </p:cSld>
  <p:clrMapOvr>
    <a:masterClrMapping/>
  </p:clrMapOvr>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p:cSld name="Divider 2">
    <p:spTree>
      <p:nvGrpSpPr>
        <p:cNvPr id="1" name=""/>
        <p:cNvGrpSpPr/>
        <p:nvPr/>
      </p:nvGrpSpPr>
      <p:grpSpPr>
        <a:xfrm>
          <a:off x="0" y="0"/>
          <a:ext cx="0" cy="0"/>
          <a:chOff x="0" y="0"/>
          <a:chExt cx="0" cy="0"/>
        </a:xfrm>
      </p:grpSpPr>
      <p:sp>
        <p:nvSpPr>
          <p:cNvPr id="4" name="shp2"/>
          <p:cNvSpPr/>
          <p:nvPr/>
        </p:nvSpPr>
        <p:spPr>
          <a:xfrm>
            <a:off x="0" y="0"/>
            <a:ext cx="121932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a:p>
        </p:txBody>
      </p:sp>
      <p:sp>
        <p:nvSpPr>
          <p:cNvPr id="21" name="Date Placeholder 20"/>
          <p:cNvSpPr>
            <a:spLocks noGrp="1"/>
          </p:cNvSpPr>
          <p:nvPr>
            <p:ph type="dt" sz="half" idx="14"/>
          </p:nvPr>
        </p:nvSpPr>
        <p:spPr bwMode="ltGray"/>
        <p:txBody>
          <a:bodyPr/>
          <a:lstStyle>
            <a:lvl1pPr>
              <a:defRPr>
                <a:solidFill>
                  <a:schemeClr val="bg1"/>
                </a:solidFill>
              </a:defRPr>
            </a:lvl1pPr>
          </a:lstStyle>
          <a:p>
            <a:endParaRPr lang="en-US"/>
          </a:p>
        </p:txBody>
      </p:sp>
      <p:sp>
        <p:nvSpPr>
          <p:cNvPr id="22" name="Footer Placeholder 21"/>
          <p:cNvSpPr>
            <a:spLocks noGrp="1"/>
          </p:cNvSpPr>
          <p:nvPr>
            <p:ph type="ftr" sz="quarter" idx="15"/>
          </p:nvPr>
        </p:nvSpPr>
        <p:spPr bwMode="ltGray"/>
        <p:txBody>
          <a:bodyPr/>
          <a:lstStyle>
            <a:lvl1pPr>
              <a:defRPr>
                <a:solidFill>
                  <a:schemeClr val="bg1"/>
                </a:solidFill>
              </a:defRPr>
            </a:lvl1pPr>
          </a:lstStyle>
          <a:p>
            <a:endParaRPr lang="en-US"/>
          </a:p>
        </p:txBody>
      </p:sp>
      <p:sp>
        <p:nvSpPr>
          <p:cNvPr id="23" name="Slide Number Placeholder 22"/>
          <p:cNvSpPr>
            <a:spLocks noGrp="1"/>
          </p:cNvSpPr>
          <p:nvPr>
            <p:ph type="sldNum" sz="quarter" idx="16"/>
          </p:nvPr>
        </p:nvSpPr>
        <p:spPr bwMode="ltGray"/>
        <p:txBody>
          <a:bodyPr/>
          <a:lstStyle>
            <a:lvl1pPr>
              <a:defRPr>
                <a:solidFill>
                  <a:schemeClr val="bg1"/>
                </a:solidFill>
              </a:defRPr>
            </a:lvl1pPr>
          </a:lstStyle>
          <a:p>
            <a:fld id="{5F3E29E4-0979-4FCA-B4C5-5FC6044C982A}" type="slidenum">
              <a:rPr lang="en-US" smtClean="0"/>
              <a:pPr/>
              <a:t>‹#›</a:t>
            </a:fld>
            <a:endParaRPr lang="en-US"/>
          </a:p>
        </p:txBody>
      </p:sp>
      <p:sp>
        <p:nvSpPr>
          <p:cNvPr id="8" name="copyright"/>
          <p:cNvSpPr txBox="1"/>
          <p:nvPr/>
        </p:nvSpPr>
        <p:spPr>
          <a:xfrm>
            <a:off x="10672209" y="6237288"/>
            <a:ext cx="500617" cy="358173"/>
          </a:xfrm>
          <a:prstGeom prst="rect">
            <a:avLst/>
          </a:prstGeom>
          <a:noFill/>
        </p:spPr>
        <p:txBody>
          <a:bodyPr wrap="none" lIns="0" tIns="0" rIns="0" bIns="0" rtlCol="0" anchor="b" anchorCtr="0">
            <a:noAutofit/>
          </a:bodyPr>
          <a:lstStyle/>
          <a:p>
            <a:pPr marL="0" indent="0" algn="r">
              <a:lnSpc>
                <a:spcPct val="125000"/>
              </a:lnSpc>
              <a:buClr>
                <a:schemeClr val="tx2"/>
              </a:buClr>
              <a:buFont typeface="Wingdings" panose="05000000000000000000" pitchFamily="2" charset="2"/>
              <a:buNone/>
            </a:pPr>
            <a:r>
              <a:rPr lang="en-US" sz="800">
                <a:solidFill>
                  <a:schemeClr val="bg1"/>
                </a:solidFill>
              </a:rPr>
              <a:t>© GfK</a:t>
            </a:r>
          </a:p>
        </p:txBody>
      </p:sp>
      <p:sp>
        <p:nvSpPr>
          <p:cNvPr id="2" name="Title 1"/>
          <p:cNvSpPr>
            <a:spLocks noGrp="1"/>
          </p:cNvSpPr>
          <p:nvPr>
            <p:ph type="title" hasCustomPrompt="1"/>
          </p:nvPr>
        </p:nvSpPr>
        <p:spPr bwMode="ltGray">
          <a:xfrm>
            <a:off x="1075062" y="1519552"/>
            <a:ext cx="10097763" cy="2273171"/>
          </a:xfrm>
        </p:spPr>
        <p:txBody>
          <a:bodyPr/>
          <a:lstStyle>
            <a:lvl1pPr>
              <a:defRPr>
                <a:solidFill>
                  <a:schemeClr val="bg1"/>
                </a:solidFill>
              </a:defRPr>
            </a:lvl1pPr>
          </a:lstStyle>
          <a:p>
            <a:r>
              <a:rPr lang="en-US"/>
              <a:t>Click to add section title</a:t>
            </a:r>
          </a:p>
        </p:txBody>
      </p:sp>
      <p:grpSp>
        <p:nvGrpSpPr>
          <p:cNvPr id="9" name="logo">
            <a:extLst>
              <a:ext uri="{FF2B5EF4-FFF2-40B4-BE49-F238E27FC236}">
                <a16:creationId xmlns:a16="http://schemas.microsoft.com/office/drawing/2014/main" id="{57BD2C4C-DC67-B843-B26C-309622FC75F7}"/>
              </a:ext>
            </a:extLst>
          </p:cNvPr>
          <p:cNvGrpSpPr>
            <a:grpSpLocks noChangeAspect="1"/>
          </p:cNvGrpSpPr>
          <p:nvPr/>
        </p:nvGrpSpPr>
        <p:grpSpPr bwMode="gray">
          <a:xfrm>
            <a:off x="11174018" y="401441"/>
            <a:ext cx="644225" cy="646507"/>
            <a:chOff x="2711" y="1027"/>
            <a:chExt cx="2258" cy="2266"/>
          </a:xfrm>
        </p:grpSpPr>
        <p:sp>
          <p:nvSpPr>
            <p:cNvPr id="11" name="AutoShape 3">
              <a:extLst>
                <a:ext uri="{FF2B5EF4-FFF2-40B4-BE49-F238E27FC236}">
                  <a16:creationId xmlns:a16="http://schemas.microsoft.com/office/drawing/2014/main" id="{FE1DC41B-291E-574C-9F2C-874E70A40758}"/>
                </a:ext>
              </a:extLst>
            </p:cNvPr>
            <p:cNvSpPr>
              <a:spLocks noChangeAspect="1" noChangeArrowheads="1" noTextEdit="1"/>
            </p:cNvSpPr>
            <p:nvPr/>
          </p:nvSpPr>
          <p:spPr bwMode="gray">
            <a:xfrm>
              <a:off x="2711" y="1027"/>
              <a:ext cx="2258" cy="22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12" name="Freeform 5">
              <a:extLst>
                <a:ext uri="{FF2B5EF4-FFF2-40B4-BE49-F238E27FC236}">
                  <a16:creationId xmlns:a16="http://schemas.microsoft.com/office/drawing/2014/main" id="{D4B633C8-F761-C54B-9BD2-EB59D49A2DBC}"/>
                </a:ext>
              </a:extLst>
            </p:cNvPr>
            <p:cNvSpPr>
              <a:spLocks/>
            </p:cNvSpPr>
            <p:nvPr/>
          </p:nvSpPr>
          <p:spPr bwMode="gray">
            <a:xfrm>
              <a:off x="2709" y="1029"/>
              <a:ext cx="2260" cy="2262"/>
            </a:xfrm>
            <a:custGeom>
              <a:avLst/>
              <a:gdLst>
                <a:gd name="T0" fmla="*/ 2260 w 2260"/>
                <a:gd name="T1" fmla="*/ 0 h 2262"/>
                <a:gd name="T2" fmla="*/ 1612 w 2260"/>
                <a:gd name="T3" fmla="*/ 649 h 2262"/>
                <a:gd name="T4" fmla="*/ 1612 w 2260"/>
                <a:gd name="T5" fmla="*/ 649 h 2262"/>
                <a:gd name="T6" fmla="*/ 2035 w 2260"/>
                <a:gd name="T7" fmla="*/ 0 h 2262"/>
                <a:gd name="T8" fmla="*/ 0 w 2260"/>
                <a:gd name="T9" fmla="*/ 0 h 2262"/>
                <a:gd name="T10" fmla="*/ 0 w 2260"/>
                <a:gd name="T11" fmla="*/ 2262 h 2262"/>
                <a:gd name="T12" fmla="*/ 2260 w 2260"/>
                <a:gd name="T13" fmla="*/ 2262 h 2262"/>
                <a:gd name="T14" fmla="*/ 2260 w 2260"/>
                <a:gd name="T15" fmla="*/ 0 h 2262"/>
                <a:gd name="T16" fmla="*/ 2260 w 2260"/>
                <a:gd name="T17" fmla="*/ 0 h 2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0" h="2262">
                  <a:moveTo>
                    <a:pt x="2260" y="0"/>
                  </a:moveTo>
                  <a:lnTo>
                    <a:pt x="1612" y="649"/>
                  </a:lnTo>
                  <a:lnTo>
                    <a:pt x="1612" y="649"/>
                  </a:lnTo>
                  <a:lnTo>
                    <a:pt x="2035" y="0"/>
                  </a:lnTo>
                  <a:lnTo>
                    <a:pt x="0" y="0"/>
                  </a:lnTo>
                  <a:lnTo>
                    <a:pt x="0" y="2262"/>
                  </a:lnTo>
                  <a:lnTo>
                    <a:pt x="2260" y="2262"/>
                  </a:lnTo>
                  <a:lnTo>
                    <a:pt x="2260" y="0"/>
                  </a:lnTo>
                  <a:lnTo>
                    <a:pt x="2260" y="0"/>
                  </a:lnTo>
                  <a:close/>
                </a:path>
              </a:pathLst>
            </a:custGeom>
            <a:solidFill>
              <a:srgbClr val="E55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13" name="Freeform 6">
              <a:extLst>
                <a:ext uri="{FF2B5EF4-FFF2-40B4-BE49-F238E27FC236}">
                  <a16:creationId xmlns:a16="http://schemas.microsoft.com/office/drawing/2014/main" id="{B16BAAE4-1A41-C843-9754-490F7A1E1270}"/>
                </a:ext>
              </a:extLst>
            </p:cNvPr>
            <p:cNvSpPr>
              <a:spLocks noEditPoints="1"/>
            </p:cNvSpPr>
            <p:nvPr/>
          </p:nvSpPr>
          <p:spPr bwMode="gray">
            <a:xfrm>
              <a:off x="3623" y="1696"/>
              <a:ext cx="1167" cy="922"/>
            </a:xfrm>
            <a:custGeom>
              <a:avLst/>
              <a:gdLst>
                <a:gd name="T0" fmla="*/ 411 w 580"/>
                <a:gd name="T1" fmla="*/ 213 h 458"/>
                <a:gd name="T2" fmla="*/ 570 w 580"/>
                <a:gd name="T3" fmla="*/ 37 h 458"/>
                <a:gd name="T4" fmla="*/ 580 w 580"/>
                <a:gd name="T5" fmla="*/ 20 h 458"/>
                <a:gd name="T6" fmla="*/ 545 w 580"/>
                <a:gd name="T7" fmla="*/ 0 h 458"/>
                <a:gd name="T8" fmla="*/ 519 w 580"/>
                <a:gd name="T9" fmla="*/ 16 h 458"/>
                <a:gd name="T10" fmla="*/ 344 w 580"/>
                <a:gd name="T11" fmla="*/ 210 h 458"/>
                <a:gd name="T12" fmla="*/ 334 w 580"/>
                <a:gd name="T13" fmla="*/ 229 h 458"/>
                <a:gd name="T14" fmla="*/ 344 w 580"/>
                <a:gd name="T15" fmla="*/ 248 h 458"/>
                <a:gd name="T16" fmla="*/ 519 w 580"/>
                <a:gd name="T17" fmla="*/ 442 h 458"/>
                <a:gd name="T18" fmla="*/ 545 w 580"/>
                <a:gd name="T19" fmla="*/ 458 h 458"/>
                <a:gd name="T20" fmla="*/ 580 w 580"/>
                <a:gd name="T21" fmla="*/ 438 h 458"/>
                <a:gd name="T22" fmla="*/ 570 w 580"/>
                <a:gd name="T23" fmla="*/ 421 h 458"/>
                <a:gd name="T24" fmla="*/ 411 w 580"/>
                <a:gd name="T25" fmla="*/ 245 h 458"/>
                <a:gd name="T26" fmla="*/ 399 w 580"/>
                <a:gd name="T27" fmla="*/ 229 h 458"/>
                <a:gd name="T28" fmla="*/ 411 w 580"/>
                <a:gd name="T29" fmla="*/ 213 h 458"/>
                <a:gd name="T30" fmla="*/ 252 w 580"/>
                <a:gd name="T31" fmla="*/ 439 h 458"/>
                <a:gd name="T32" fmla="*/ 281 w 580"/>
                <a:gd name="T33" fmla="*/ 454 h 458"/>
                <a:gd name="T34" fmla="*/ 309 w 580"/>
                <a:gd name="T35" fmla="*/ 439 h 458"/>
                <a:gd name="T36" fmla="*/ 309 w 580"/>
                <a:gd name="T37" fmla="*/ 19 h 458"/>
                <a:gd name="T38" fmla="*/ 281 w 580"/>
                <a:gd name="T39" fmla="*/ 4 h 458"/>
                <a:gd name="T40" fmla="*/ 252 w 580"/>
                <a:gd name="T41" fmla="*/ 19 h 458"/>
                <a:gd name="T42" fmla="*/ 252 w 580"/>
                <a:gd name="T43" fmla="*/ 439 h 458"/>
                <a:gd name="T44" fmla="*/ 0 w 580"/>
                <a:gd name="T45" fmla="*/ 439 h 458"/>
                <a:gd name="T46" fmla="*/ 28 w 580"/>
                <a:gd name="T47" fmla="*/ 454 h 458"/>
                <a:gd name="T48" fmla="*/ 56 w 580"/>
                <a:gd name="T49" fmla="*/ 439 h 458"/>
                <a:gd name="T50" fmla="*/ 56 w 580"/>
                <a:gd name="T51" fmla="*/ 157 h 458"/>
                <a:gd name="T52" fmla="*/ 165 w 580"/>
                <a:gd name="T53" fmla="*/ 53 h 458"/>
                <a:gd name="T54" fmla="*/ 180 w 580"/>
                <a:gd name="T55" fmla="*/ 53 h 458"/>
                <a:gd name="T56" fmla="*/ 196 w 580"/>
                <a:gd name="T57" fmla="*/ 27 h 458"/>
                <a:gd name="T58" fmla="*/ 154 w 580"/>
                <a:gd name="T59" fmla="*/ 4 h 458"/>
                <a:gd name="T60" fmla="*/ 0 w 580"/>
                <a:gd name="T61" fmla="*/ 152 h 458"/>
                <a:gd name="T62" fmla="*/ 0 w 580"/>
                <a:gd name="T63" fmla="*/ 439 h 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80" h="458">
                  <a:moveTo>
                    <a:pt x="411" y="213"/>
                  </a:moveTo>
                  <a:cubicBezTo>
                    <a:pt x="570" y="37"/>
                    <a:pt x="570" y="37"/>
                    <a:pt x="570" y="37"/>
                  </a:cubicBezTo>
                  <a:cubicBezTo>
                    <a:pt x="576" y="30"/>
                    <a:pt x="580" y="25"/>
                    <a:pt x="580" y="20"/>
                  </a:cubicBezTo>
                  <a:cubicBezTo>
                    <a:pt x="580" y="10"/>
                    <a:pt x="559" y="0"/>
                    <a:pt x="545" y="0"/>
                  </a:cubicBezTo>
                  <a:cubicBezTo>
                    <a:pt x="535" y="0"/>
                    <a:pt x="526" y="8"/>
                    <a:pt x="519" y="16"/>
                  </a:cubicBezTo>
                  <a:cubicBezTo>
                    <a:pt x="344" y="210"/>
                    <a:pt x="344" y="210"/>
                    <a:pt x="344" y="210"/>
                  </a:cubicBezTo>
                  <a:cubicBezTo>
                    <a:pt x="336" y="219"/>
                    <a:pt x="334" y="224"/>
                    <a:pt x="334" y="229"/>
                  </a:cubicBezTo>
                  <a:cubicBezTo>
                    <a:pt x="334" y="234"/>
                    <a:pt x="336" y="239"/>
                    <a:pt x="344" y="248"/>
                  </a:cubicBezTo>
                  <a:cubicBezTo>
                    <a:pt x="519" y="442"/>
                    <a:pt x="519" y="442"/>
                    <a:pt x="519" y="442"/>
                  </a:cubicBezTo>
                  <a:cubicBezTo>
                    <a:pt x="526" y="450"/>
                    <a:pt x="535" y="458"/>
                    <a:pt x="545" y="458"/>
                  </a:cubicBezTo>
                  <a:cubicBezTo>
                    <a:pt x="559" y="458"/>
                    <a:pt x="580" y="448"/>
                    <a:pt x="580" y="438"/>
                  </a:cubicBezTo>
                  <a:cubicBezTo>
                    <a:pt x="580" y="433"/>
                    <a:pt x="576" y="428"/>
                    <a:pt x="570" y="421"/>
                  </a:cubicBezTo>
                  <a:cubicBezTo>
                    <a:pt x="411" y="245"/>
                    <a:pt x="411" y="245"/>
                    <a:pt x="411" y="245"/>
                  </a:cubicBezTo>
                  <a:cubicBezTo>
                    <a:pt x="403" y="236"/>
                    <a:pt x="399" y="232"/>
                    <a:pt x="399" y="229"/>
                  </a:cubicBezTo>
                  <a:cubicBezTo>
                    <a:pt x="399" y="226"/>
                    <a:pt x="403" y="222"/>
                    <a:pt x="411" y="213"/>
                  </a:cubicBezTo>
                  <a:moveTo>
                    <a:pt x="252" y="439"/>
                  </a:moveTo>
                  <a:cubicBezTo>
                    <a:pt x="252" y="449"/>
                    <a:pt x="261" y="454"/>
                    <a:pt x="281" y="454"/>
                  </a:cubicBezTo>
                  <a:cubicBezTo>
                    <a:pt x="300" y="454"/>
                    <a:pt x="309" y="449"/>
                    <a:pt x="309" y="439"/>
                  </a:cubicBezTo>
                  <a:cubicBezTo>
                    <a:pt x="309" y="19"/>
                    <a:pt x="309" y="19"/>
                    <a:pt x="309" y="19"/>
                  </a:cubicBezTo>
                  <a:cubicBezTo>
                    <a:pt x="309" y="9"/>
                    <a:pt x="300" y="4"/>
                    <a:pt x="281" y="4"/>
                  </a:cubicBezTo>
                  <a:cubicBezTo>
                    <a:pt x="261" y="4"/>
                    <a:pt x="252" y="9"/>
                    <a:pt x="252" y="19"/>
                  </a:cubicBezTo>
                  <a:lnTo>
                    <a:pt x="252" y="439"/>
                  </a:lnTo>
                  <a:close/>
                  <a:moveTo>
                    <a:pt x="0" y="439"/>
                  </a:moveTo>
                  <a:cubicBezTo>
                    <a:pt x="0" y="449"/>
                    <a:pt x="8" y="454"/>
                    <a:pt x="28" y="454"/>
                  </a:cubicBezTo>
                  <a:cubicBezTo>
                    <a:pt x="48" y="454"/>
                    <a:pt x="56" y="449"/>
                    <a:pt x="56" y="439"/>
                  </a:cubicBezTo>
                  <a:cubicBezTo>
                    <a:pt x="56" y="157"/>
                    <a:pt x="56" y="157"/>
                    <a:pt x="56" y="157"/>
                  </a:cubicBezTo>
                  <a:cubicBezTo>
                    <a:pt x="56" y="83"/>
                    <a:pt x="85" y="53"/>
                    <a:pt x="165" y="53"/>
                  </a:cubicBezTo>
                  <a:cubicBezTo>
                    <a:pt x="180" y="53"/>
                    <a:pt x="180" y="53"/>
                    <a:pt x="180" y="53"/>
                  </a:cubicBezTo>
                  <a:cubicBezTo>
                    <a:pt x="192" y="53"/>
                    <a:pt x="196" y="43"/>
                    <a:pt x="196" y="27"/>
                  </a:cubicBezTo>
                  <a:cubicBezTo>
                    <a:pt x="196" y="8"/>
                    <a:pt x="185" y="4"/>
                    <a:pt x="154" y="4"/>
                  </a:cubicBezTo>
                  <a:cubicBezTo>
                    <a:pt x="64" y="4"/>
                    <a:pt x="0" y="43"/>
                    <a:pt x="0" y="152"/>
                  </a:cubicBezTo>
                  <a:lnTo>
                    <a:pt x="0" y="43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14" name="Freeform 7">
              <a:extLst>
                <a:ext uri="{FF2B5EF4-FFF2-40B4-BE49-F238E27FC236}">
                  <a16:creationId xmlns:a16="http://schemas.microsoft.com/office/drawing/2014/main" id="{2F32DCBD-8628-F245-85CD-97686A20ECFD}"/>
                </a:ext>
              </a:extLst>
            </p:cNvPr>
            <p:cNvSpPr>
              <a:spLocks/>
            </p:cNvSpPr>
            <p:nvPr/>
          </p:nvSpPr>
          <p:spPr bwMode="gray">
            <a:xfrm>
              <a:off x="2880" y="1704"/>
              <a:ext cx="618" cy="916"/>
            </a:xfrm>
            <a:custGeom>
              <a:avLst/>
              <a:gdLst>
                <a:gd name="T0" fmla="*/ 307 w 307"/>
                <a:gd name="T1" fmla="*/ 405 h 455"/>
                <a:gd name="T2" fmla="*/ 307 w 307"/>
                <a:gd name="T3" fmla="*/ 244 h 455"/>
                <a:gd name="T4" fmla="*/ 279 w 307"/>
                <a:gd name="T5" fmla="*/ 229 h 455"/>
                <a:gd name="T6" fmla="*/ 250 w 307"/>
                <a:gd name="T7" fmla="*/ 244 h 455"/>
                <a:gd name="T8" fmla="*/ 250 w 307"/>
                <a:gd name="T9" fmla="*/ 378 h 455"/>
                <a:gd name="T10" fmla="*/ 199 w 307"/>
                <a:gd name="T11" fmla="*/ 408 h 455"/>
                <a:gd name="T12" fmla="*/ 61 w 307"/>
                <a:gd name="T13" fmla="*/ 231 h 455"/>
                <a:gd name="T14" fmla="*/ 238 w 307"/>
                <a:gd name="T15" fmla="*/ 49 h 455"/>
                <a:gd name="T16" fmla="*/ 270 w 307"/>
                <a:gd name="T17" fmla="*/ 49 h 455"/>
                <a:gd name="T18" fmla="*/ 286 w 307"/>
                <a:gd name="T19" fmla="*/ 23 h 455"/>
                <a:gd name="T20" fmla="*/ 244 w 307"/>
                <a:gd name="T21" fmla="*/ 0 h 455"/>
                <a:gd name="T22" fmla="*/ 231 w 307"/>
                <a:gd name="T23" fmla="*/ 0 h 455"/>
                <a:gd name="T24" fmla="*/ 0 w 307"/>
                <a:gd name="T25" fmla="*/ 232 h 455"/>
                <a:gd name="T26" fmla="*/ 198 w 307"/>
                <a:gd name="T27" fmla="*/ 455 h 455"/>
                <a:gd name="T28" fmla="*/ 307 w 307"/>
                <a:gd name="T29" fmla="*/ 405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7" h="455">
                  <a:moveTo>
                    <a:pt x="307" y="405"/>
                  </a:moveTo>
                  <a:cubicBezTo>
                    <a:pt x="307" y="244"/>
                    <a:pt x="307" y="244"/>
                    <a:pt x="307" y="244"/>
                  </a:cubicBezTo>
                  <a:cubicBezTo>
                    <a:pt x="307" y="234"/>
                    <a:pt x="298" y="229"/>
                    <a:pt x="279" y="229"/>
                  </a:cubicBezTo>
                  <a:cubicBezTo>
                    <a:pt x="259" y="229"/>
                    <a:pt x="250" y="234"/>
                    <a:pt x="250" y="244"/>
                  </a:cubicBezTo>
                  <a:cubicBezTo>
                    <a:pt x="250" y="378"/>
                    <a:pt x="250" y="378"/>
                    <a:pt x="250" y="378"/>
                  </a:cubicBezTo>
                  <a:cubicBezTo>
                    <a:pt x="250" y="399"/>
                    <a:pt x="241" y="408"/>
                    <a:pt x="199" y="408"/>
                  </a:cubicBezTo>
                  <a:cubicBezTo>
                    <a:pt x="114" y="408"/>
                    <a:pt x="61" y="342"/>
                    <a:pt x="61" y="231"/>
                  </a:cubicBezTo>
                  <a:cubicBezTo>
                    <a:pt x="61" y="115"/>
                    <a:pt x="126" y="49"/>
                    <a:pt x="238" y="49"/>
                  </a:cubicBezTo>
                  <a:cubicBezTo>
                    <a:pt x="270" y="49"/>
                    <a:pt x="270" y="49"/>
                    <a:pt x="270" y="49"/>
                  </a:cubicBezTo>
                  <a:cubicBezTo>
                    <a:pt x="282" y="49"/>
                    <a:pt x="286" y="39"/>
                    <a:pt x="286" y="23"/>
                  </a:cubicBezTo>
                  <a:cubicBezTo>
                    <a:pt x="286" y="4"/>
                    <a:pt x="275" y="0"/>
                    <a:pt x="244" y="0"/>
                  </a:cubicBezTo>
                  <a:cubicBezTo>
                    <a:pt x="231" y="0"/>
                    <a:pt x="231" y="0"/>
                    <a:pt x="231" y="0"/>
                  </a:cubicBezTo>
                  <a:cubicBezTo>
                    <a:pt x="101" y="0"/>
                    <a:pt x="0" y="71"/>
                    <a:pt x="0" y="232"/>
                  </a:cubicBezTo>
                  <a:cubicBezTo>
                    <a:pt x="0" y="386"/>
                    <a:pt x="88" y="455"/>
                    <a:pt x="198" y="455"/>
                  </a:cubicBezTo>
                  <a:cubicBezTo>
                    <a:pt x="286" y="455"/>
                    <a:pt x="307" y="430"/>
                    <a:pt x="307" y="40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15" name="Oval 8">
              <a:extLst>
                <a:ext uri="{FF2B5EF4-FFF2-40B4-BE49-F238E27FC236}">
                  <a16:creationId xmlns:a16="http://schemas.microsoft.com/office/drawing/2014/main" id="{60D97C11-1A3B-5449-A48D-98A3E79B3810}"/>
                </a:ext>
              </a:extLst>
            </p:cNvPr>
            <p:cNvSpPr>
              <a:spLocks noChangeArrowheads="1"/>
            </p:cNvSpPr>
            <p:nvPr/>
          </p:nvSpPr>
          <p:spPr bwMode="gray">
            <a:xfrm>
              <a:off x="3778" y="2099"/>
              <a:ext cx="122" cy="12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16" name="Freeform 9">
              <a:extLst>
                <a:ext uri="{FF2B5EF4-FFF2-40B4-BE49-F238E27FC236}">
                  <a16:creationId xmlns:a16="http://schemas.microsoft.com/office/drawing/2014/main" id="{5856770D-B8F0-244E-A05D-AED190086F10}"/>
                </a:ext>
              </a:extLst>
            </p:cNvPr>
            <p:cNvSpPr>
              <a:spLocks noEditPoints="1"/>
            </p:cNvSpPr>
            <p:nvPr/>
          </p:nvSpPr>
          <p:spPr bwMode="gray">
            <a:xfrm>
              <a:off x="3623" y="1696"/>
              <a:ext cx="1167" cy="922"/>
            </a:xfrm>
            <a:custGeom>
              <a:avLst/>
              <a:gdLst>
                <a:gd name="T0" fmla="*/ 411 w 580"/>
                <a:gd name="T1" fmla="*/ 213 h 458"/>
                <a:gd name="T2" fmla="*/ 570 w 580"/>
                <a:gd name="T3" fmla="*/ 37 h 458"/>
                <a:gd name="T4" fmla="*/ 580 w 580"/>
                <a:gd name="T5" fmla="*/ 20 h 458"/>
                <a:gd name="T6" fmla="*/ 545 w 580"/>
                <a:gd name="T7" fmla="*/ 0 h 458"/>
                <a:gd name="T8" fmla="*/ 519 w 580"/>
                <a:gd name="T9" fmla="*/ 16 h 458"/>
                <a:gd name="T10" fmla="*/ 344 w 580"/>
                <a:gd name="T11" fmla="*/ 210 h 458"/>
                <a:gd name="T12" fmla="*/ 334 w 580"/>
                <a:gd name="T13" fmla="*/ 229 h 458"/>
                <a:gd name="T14" fmla="*/ 344 w 580"/>
                <a:gd name="T15" fmla="*/ 248 h 458"/>
                <a:gd name="T16" fmla="*/ 519 w 580"/>
                <a:gd name="T17" fmla="*/ 442 h 458"/>
                <a:gd name="T18" fmla="*/ 545 w 580"/>
                <a:gd name="T19" fmla="*/ 458 h 458"/>
                <a:gd name="T20" fmla="*/ 580 w 580"/>
                <a:gd name="T21" fmla="*/ 438 h 458"/>
                <a:gd name="T22" fmla="*/ 570 w 580"/>
                <a:gd name="T23" fmla="*/ 421 h 458"/>
                <a:gd name="T24" fmla="*/ 411 w 580"/>
                <a:gd name="T25" fmla="*/ 245 h 458"/>
                <a:gd name="T26" fmla="*/ 399 w 580"/>
                <a:gd name="T27" fmla="*/ 229 h 458"/>
                <a:gd name="T28" fmla="*/ 411 w 580"/>
                <a:gd name="T29" fmla="*/ 213 h 458"/>
                <a:gd name="T30" fmla="*/ 252 w 580"/>
                <a:gd name="T31" fmla="*/ 439 h 458"/>
                <a:gd name="T32" fmla="*/ 281 w 580"/>
                <a:gd name="T33" fmla="*/ 454 h 458"/>
                <a:gd name="T34" fmla="*/ 309 w 580"/>
                <a:gd name="T35" fmla="*/ 439 h 458"/>
                <a:gd name="T36" fmla="*/ 309 w 580"/>
                <a:gd name="T37" fmla="*/ 19 h 458"/>
                <a:gd name="T38" fmla="*/ 281 w 580"/>
                <a:gd name="T39" fmla="*/ 4 h 458"/>
                <a:gd name="T40" fmla="*/ 252 w 580"/>
                <a:gd name="T41" fmla="*/ 19 h 458"/>
                <a:gd name="T42" fmla="*/ 252 w 580"/>
                <a:gd name="T43" fmla="*/ 439 h 458"/>
                <a:gd name="T44" fmla="*/ 0 w 580"/>
                <a:gd name="T45" fmla="*/ 439 h 458"/>
                <a:gd name="T46" fmla="*/ 28 w 580"/>
                <a:gd name="T47" fmla="*/ 454 h 458"/>
                <a:gd name="T48" fmla="*/ 56 w 580"/>
                <a:gd name="T49" fmla="*/ 439 h 458"/>
                <a:gd name="T50" fmla="*/ 56 w 580"/>
                <a:gd name="T51" fmla="*/ 157 h 458"/>
                <a:gd name="T52" fmla="*/ 165 w 580"/>
                <a:gd name="T53" fmla="*/ 53 h 458"/>
                <a:gd name="T54" fmla="*/ 180 w 580"/>
                <a:gd name="T55" fmla="*/ 53 h 458"/>
                <a:gd name="T56" fmla="*/ 196 w 580"/>
                <a:gd name="T57" fmla="*/ 27 h 458"/>
                <a:gd name="T58" fmla="*/ 154 w 580"/>
                <a:gd name="T59" fmla="*/ 4 h 458"/>
                <a:gd name="T60" fmla="*/ 0 w 580"/>
                <a:gd name="T61" fmla="*/ 152 h 458"/>
                <a:gd name="T62" fmla="*/ 0 w 580"/>
                <a:gd name="T63" fmla="*/ 439 h 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80" h="458">
                  <a:moveTo>
                    <a:pt x="411" y="213"/>
                  </a:moveTo>
                  <a:cubicBezTo>
                    <a:pt x="570" y="37"/>
                    <a:pt x="570" y="37"/>
                    <a:pt x="570" y="37"/>
                  </a:cubicBezTo>
                  <a:cubicBezTo>
                    <a:pt x="576" y="30"/>
                    <a:pt x="580" y="25"/>
                    <a:pt x="580" y="20"/>
                  </a:cubicBezTo>
                  <a:cubicBezTo>
                    <a:pt x="580" y="10"/>
                    <a:pt x="559" y="0"/>
                    <a:pt x="545" y="0"/>
                  </a:cubicBezTo>
                  <a:cubicBezTo>
                    <a:pt x="535" y="0"/>
                    <a:pt x="526" y="8"/>
                    <a:pt x="519" y="16"/>
                  </a:cubicBezTo>
                  <a:cubicBezTo>
                    <a:pt x="344" y="210"/>
                    <a:pt x="344" y="210"/>
                    <a:pt x="344" y="210"/>
                  </a:cubicBezTo>
                  <a:cubicBezTo>
                    <a:pt x="336" y="219"/>
                    <a:pt x="334" y="224"/>
                    <a:pt x="334" y="229"/>
                  </a:cubicBezTo>
                  <a:cubicBezTo>
                    <a:pt x="334" y="234"/>
                    <a:pt x="336" y="239"/>
                    <a:pt x="344" y="248"/>
                  </a:cubicBezTo>
                  <a:cubicBezTo>
                    <a:pt x="519" y="442"/>
                    <a:pt x="519" y="442"/>
                    <a:pt x="519" y="442"/>
                  </a:cubicBezTo>
                  <a:cubicBezTo>
                    <a:pt x="526" y="450"/>
                    <a:pt x="535" y="458"/>
                    <a:pt x="545" y="458"/>
                  </a:cubicBezTo>
                  <a:cubicBezTo>
                    <a:pt x="559" y="458"/>
                    <a:pt x="580" y="448"/>
                    <a:pt x="580" y="438"/>
                  </a:cubicBezTo>
                  <a:cubicBezTo>
                    <a:pt x="580" y="433"/>
                    <a:pt x="576" y="428"/>
                    <a:pt x="570" y="421"/>
                  </a:cubicBezTo>
                  <a:cubicBezTo>
                    <a:pt x="411" y="245"/>
                    <a:pt x="411" y="245"/>
                    <a:pt x="411" y="245"/>
                  </a:cubicBezTo>
                  <a:cubicBezTo>
                    <a:pt x="403" y="236"/>
                    <a:pt x="399" y="232"/>
                    <a:pt x="399" y="229"/>
                  </a:cubicBezTo>
                  <a:cubicBezTo>
                    <a:pt x="399" y="226"/>
                    <a:pt x="403" y="222"/>
                    <a:pt x="411" y="213"/>
                  </a:cubicBezTo>
                  <a:moveTo>
                    <a:pt x="252" y="439"/>
                  </a:moveTo>
                  <a:cubicBezTo>
                    <a:pt x="252" y="449"/>
                    <a:pt x="261" y="454"/>
                    <a:pt x="281" y="454"/>
                  </a:cubicBezTo>
                  <a:cubicBezTo>
                    <a:pt x="300" y="454"/>
                    <a:pt x="309" y="449"/>
                    <a:pt x="309" y="439"/>
                  </a:cubicBezTo>
                  <a:cubicBezTo>
                    <a:pt x="309" y="19"/>
                    <a:pt x="309" y="19"/>
                    <a:pt x="309" y="19"/>
                  </a:cubicBezTo>
                  <a:cubicBezTo>
                    <a:pt x="309" y="9"/>
                    <a:pt x="300" y="4"/>
                    <a:pt x="281" y="4"/>
                  </a:cubicBezTo>
                  <a:cubicBezTo>
                    <a:pt x="261" y="4"/>
                    <a:pt x="252" y="9"/>
                    <a:pt x="252" y="19"/>
                  </a:cubicBezTo>
                  <a:lnTo>
                    <a:pt x="252" y="439"/>
                  </a:lnTo>
                  <a:close/>
                  <a:moveTo>
                    <a:pt x="0" y="439"/>
                  </a:moveTo>
                  <a:cubicBezTo>
                    <a:pt x="0" y="449"/>
                    <a:pt x="8" y="454"/>
                    <a:pt x="28" y="454"/>
                  </a:cubicBezTo>
                  <a:cubicBezTo>
                    <a:pt x="48" y="454"/>
                    <a:pt x="56" y="449"/>
                    <a:pt x="56" y="439"/>
                  </a:cubicBezTo>
                  <a:cubicBezTo>
                    <a:pt x="56" y="157"/>
                    <a:pt x="56" y="157"/>
                    <a:pt x="56" y="157"/>
                  </a:cubicBezTo>
                  <a:cubicBezTo>
                    <a:pt x="56" y="83"/>
                    <a:pt x="85" y="53"/>
                    <a:pt x="165" y="53"/>
                  </a:cubicBezTo>
                  <a:cubicBezTo>
                    <a:pt x="180" y="53"/>
                    <a:pt x="180" y="53"/>
                    <a:pt x="180" y="53"/>
                  </a:cubicBezTo>
                  <a:cubicBezTo>
                    <a:pt x="192" y="53"/>
                    <a:pt x="196" y="43"/>
                    <a:pt x="196" y="27"/>
                  </a:cubicBezTo>
                  <a:cubicBezTo>
                    <a:pt x="196" y="8"/>
                    <a:pt x="185" y="4"/>
                    <a:pt x="154" y="4"/>
                  </a:cubicBezTo>
                  <a:cubicBezTo>
                    <a:pt x="64" y="4"/>
                    <a:pt x="0" y="43"/>
                    <a:pt x="0" y="152"/>
                  </a:cubicBezTo>
                  <a:lnTo>
                    <a:pt x="0" y="43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17" name="Freeform 10">
              <a:extLst>
                <a:ext uri="{FF2B5EF4-FFF2-40B4-BE49-F238E27FC236}">
                  <a16:creationId xmlns:a16="http://schemas.microsoft.com/office/drawing/2014/main" id="{2B91B16B-BC11-E547-8FAC-B9B8D18EA449}"/>
                </a:ext>
              </a:extLst>
            </p:cNvPr>
            <p:cNvSpPr>
              <a:spLocks/>
            </p:cNvSpPr>
            <p:nvPr/>
          </p:nvSpPr>
          <p:spPr bwMode="gray">
            <a:xfrm>
              <a:off x="2880" y="1704"/>
              <a:ext cx="618" cy="916"/>
            </a:xfrm>
            <a:custGeom>
              <a:avLst/>
              <a:gdLst>
                <a:gd name="T0" fmla="*/ 307 w 307"/>
                <a:gd name="T1" fmla="*/ 405 h 455"/>
                <a:gd name="T2" fmla="*/ 307 w 307"/>
                <a:gd name="T3" fmla="*/ 244 h 455"/>
                <a:gd name="T4" fmla="*/ 279 w 307"/>
                <a:gd name="T5" fmla="*/ 229 h 455"/>
                <a:gd name="T6" fmla="*/ 250 w 307"/>
                <a:gd name="T7" fmla="*/ 244 h 455"/>
                <a:gd name="T8" fmla="*/ 250 w 307"/>
                <a:gd name="T9" fmla="*/ 378 h 455"/>
                <a:gd name="T10" fmla="*/ 199 w 307"/>
                <a:gd name="T11" fmla="*/ 408 h 455"/>
                <a:gd name="T12" fmla="*/ 61 w 307"/>
                <a:gd name="T13" fmla="*/ 231 h 455"/>
                <a:gd name="T14" fmla="*/ 238 w 307"/>
                <a:gd name="T15" fmla="*/ 49 h 455"/>
                <a:gd name="T16" fmla="*/ 270 w 307"/>
                <a:gd name="T17" fmla="*/ 49 h 455"/>
                <a:gd name="T18" fmla="*/ 286 w 307"/>
                <a:gd name="T19" fmla="*/ 23 h 455"/>
                <a:gd name="T20" fmla="*/ 244 w 307"/>
                <a:gd name="T21" fmla="*/ 0 h 455"/>
                <a:gd name="T22" fmla="*/ 231 w 307"/>
                <a:gd name="T23" fmla="*/ 0 h 455"/>
                <a:gd name="T24" fmla="*/ 0 w 307"/>
                <a:gd name="T25" fmla="*/ 232 h 455"/>
                <a:gd name="T26" fmla="*/ 198 w 307"/>
                <a:gd name="T27" fmla="*/ 455 h 455"/>
                <a:gd name="T28" fmla="*/ 307 w 307"/>
                <a:gd name="T29" fmla="*/ 405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7" h="455">
                  <a:moveTo>
                    <a:pt x="307" y="405"/>
                  </a:moveTo>
                  <a:cubicBezTo>
                    <a:pt x="307" y="244"/>
                    <a:pt x="307" y="244"/>
                    <a:pt x="307" y="244"/>
                  </a:cubicBezTo>
                  <a:cubicBezTo>
                    <a:pt x="307" y="234"/>
                    <a:pt x="298" y="229"/>
                    <a:pt x="279" y="229"/>
                  </a:cubicBezTo>
                  <a:cubicBezTo>
                    <a:pt x="259" y="229"/>
                    <a:pt x="250" y="234"/>
                    <a:pt x="250" y="244"/>
                  </a:cubicBezTo>
                  <a:cubicBezTo>
                    <a:pt x="250" y="378"/>
                    <a:pt x="250" y="378"/>
                    <a:pt x="250" y="378"/>
                  </a:cubicBezTo>
                  <a:cubicBezTo>
                    <a:pt x="250" y="399"/>
                    <a:pt x="241" y="408"/>
                    <a:pt x="199" y="408"/>
                  </a:cubicBezTo>
                  <a:cubicBezTo>
                    <a:pt x="114" y="408"/>
                    <a:pt x="61" y="342"/>
                    <a:pt x="61" y="231"/>
                  </a:cubicBezTo>
                  <a:cubicBezTo>
                    <a:pt x="61" y="115"/>
                    <a:pt x="126" y="49"/>
                    <a:pt x="238" y="49"/>
                  </a:cubicBezTo>
                  <a:cubicBezTo>
                    <a:pt x="270" y="49"/>
                    <a:pt x="270" y="49"/>
                    <a:pt x="270" y="49"/>
                  </a:cubicBezTo>
                  <a:cubicBezTo>
                    <a:pt x="282" y="49"/>
                    <a:pt x="286" y="39"/>
                    <a:pt x="286" y="23"/>
                  </a:cubicBezTo>
                  <a:cubicBezTo>
                    <a:pt x="286" y="4"/>
                    <a:pt x="275" y="0"/>
                    <a:pt x="244" y="0"/>
                  </a:cubicBezTo>
                  <a:cubicBezTo>
                    <a:pt x="231" y="0"/>
                    <a:pt x="231" y="0"/>
                    <a:pt x="231" y="0"/>
                  </a:cubicBezTo>
                  <a:cubicBezTo>
                    <a:pt x="101" y="0"/>
                    <a:pt x="0" y="71"/>
                    <a:pt x="0" y="232"/>
                  </a:cubicBezTo>
                  <a:cubicBezTo>
                    <a:pt x="0" y="386"/>
                    <a:pt x="88" y="455"/>
                    <a:pt x="198" y="455"/>
                  </a:cubicBezTo>
                  <a:cubicBezTo>
                    <a:pt x="286" y="455"/>
                    <a:pt x="307" y="430"/>
                    <a:pt x="307" y="40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18" name="Oval 11">
              <a:extLst>
                <a:ext uri="{FF2B5EF4-FFF2-40B4-BE49-F238E27FC236}">
                  <a16:creationId xmlns:a16="http://schemas.microsoft.com/office/drawing/2014/main" id="{14F8C3C8-4888-7646-B9B4-64EB46A1DA23}"/>
                </a:ext>
              </a:extLst>
            </p:cNvPr>
            <p:cNvSpPr>
              <a:spLocks noChangeArrowheads="1"/>
            </p:cNvSpPr>
            <p:nvPr/>
          </p:nvSpPr>
          <p:spPr bwMode="gray">
            <a:xfrm>
              <a:off x="3778" y="2099"/>
              <a:ext cx="122" cy="12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19" name="Freeform 12">
              <a:extLst>
                <a:ext uri="{FF2B5EF4-FFF2-40B4-BE49-F238E27FC236}">
                  <a16:creationId xmlns:a16="http://schemas.microsoft.com/office/drawing/2014/main" id="{D79D01D1-4E3E-F34B-97D7-2D387E68746E}"/>
                </a:ext>
              </a:extLst>
            </p:cNvPr>
            <p:cNvSpPr>
              <a:spLocks/>
            </p:cNvSpPr>
            <p:nvPr/>
          </p:nvSpPr>
          <p:spPr bwMode="gray">
            <a:xfrm>
              <a:off x="4321" y="1029"/>
              <a:ext cx="648" cy="649"/>
            </a:xfrm>
            <a:custGeom>
              <a:avLst/>
              <a:gdLst>
                <a:gd name="T0" fmla="*/ 0 w 648"/>
                <a:gd name="T1" fmla="*/ 649 h 649"/>
                <a:gd name="T2" fmla="*/ 2 w 648"/>
                <a:gd name="T3" fmla="*/ 649 h 649"/>
                <a:gd name="T4" fmla="*/ 648 w 648"/>
                <a:gd name="T5" fmla="*/ 0 h 649"/>
                <a:gd name="T6" fmla="*/ 423 w 648"/>
                <a:gd name="T7" fmla="*/ 0 h 649"/>
                <a:gd name="T8" fmla="*/ 0 w 648"/>
                <a:gd name="T9" fmla="*/ 649 h 649"/>
              </a:gdLst>
              <a:ahLst/>
              <a:cxnLst>
                <a:cxn ang="0">
                  <a:pos x="T0" y="T1"/>
                </a:cxn>
                <a:cxn ang="0">
                  <a:pos x="T2" y="T3"/>
                </a:cxn>
                <a:cxn ang="0">
                  <a:pos x="T4" y="T5"/>
                </a:cxn>
                <a:cxn ang="0">
                  <a:pos x="T6" y="T7"/>
                </a:cxn>
                <a:cxn ang="0">
                  <a:pos x="T8" y="T9"/>
                </a:cxn>
              </a:cxnLst>
              <a:rect l="0" t="0" r="r" b="b"/>
              <a:pathLst>
                <a:path w="648" h="649">
                  <a:moveTo>
                    <a:pt x="0" y="649"/>
                  </a:moveTo>
                  <a:lnTo>
                    <a:pt x="2" y="649"/>
                  </a:lnTo>
                  <a:lnTo>
                    <a:pt x="648" y="0"/>
                  </a:lnTo>
                  <a:lnTo>
                    <a:pt x="423" y="0"/>
                  </a:lnTo>
                  <a:lnTo>
                    <a:pt x="0" y="64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20" name="Freeform 13">
              <a:extLst>
                <a:ext uri="{FF2B5EF4-FFF2-40B4-BE49-F238E27FC236}">
                  <a16:creationId xmlns:a16="http://schemas.microsoft.com/office/drawing/2014/main" id="{46549898-6C52-B147-A8F6-A73FDBE6163B}"/>
                </a:ext>
              </a:extLst>
            </p:cNvPr>
            <p:cNvSpPr>
              <a:spLocks/>
            </p:cNvSpPr>
            <p:nvPr/>
          </p:nvSpPr>
          <p:spPr bwMode="gray">
            <a:xfrm>
              <a:off x="4321" y="1029"/>
              <a:ext cx="648" cy="649"/>
            </a:xfrm>
            <a:custGeom>
              <a:avLst/>
              <a:gdLst>
                <a:gd name="T0" fmla="*/ 0 w 648"/>
                <a:gd name="T1" fmla="*/ 649 h 649"/>
                <a:gd name="T2" fmla="*/ 2 w 648"/>
                <a:gd name="T3" fmla="*/ 649 h 649"/>
                <a:gd name="T4" fmla="*/ 648 w 648"/>
                <a:gd name="T5" fmla="*/ 0 h 649"/>
                <a:gd name="T6" fmla="*/ 423 w 648"/>
                <a:gd name="T7" fmla="*/ 0 h 649"/>
                <a:gd name="T8" fmla="*/ 0 w 648"/>
                <a:gd name="T9" fmla="*/ 649 h 649"/>
              </a:gdLst>
              <a:ahLst/>
              <a:cxnLst>
                <a:cxn ang="0">
                  <a:pos x="T0" y="T1"/>
                </a:cxn>
                <a:cxn ang="0">
                  <a:pos x="T2" y="T3"/>
                </a:cxn>
                <a:cxn ang="0">
                  <a:pos x="T4" y="T5"/>
                </a:cxn>
                <a:cxn ang="0">
                  <a:pos x="T6" y="T7"/>
                </a:cxn>
                <a:cxn ang="0">
                  <a:pos x="T8" y="T9"/>
                </a:cxn>
              </a:cxnLst>
              <a:rect l="0" t="0" r="r" b="b"/>
              <a:pathLst>
                <a:path w="648" h="649">
                  <a:moveTo>
                    <a:pt x="0" y="649"/>
                  </a:moveTo>
                  <a:lnTo>
                    <a:pt x="2" y="649"/>
                  </a:lnTo>
                  <a:lnTo>
                    <a:pt x="648" y="0"/>
                  </a:lnTo>
                  <a:lnTo>
                    <a:pt x="423" y="0"/>
                  </a:lnTo>
                  <a:lnTo>
                    <a:pt x="0" y="64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grpSp>
    </p:spTree>
    <p:extLst>
      <p:ext uri="{BB962C8B-B14F-4D97-AF65-F5344CB8AC3E}">
        <p14:creationId xmlns:p14="http://schemas.microsoft.com/office/powerpoint/2010/main" val="1938452974"/>
      </p:ext>
    </p:extLst>
  </p:cSld>
  <p:clrMapOvr>
    <a:masterClrMapping/>
  </p:clrMapOvr>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p:cSld name="Headline only">
    <p:spTree>
      <p:nvGrpSpPr>
        <p:cNvPr id="1" name=""/>
        <p:cNvGrpSpPr/>
        <p:nvPr/>
      </p:nvGrpSpPr>
      <p:grpSpPr>
        <a:xfrm>
          <a:off x="0" y="0"/>
          <a:ext cx="0" cy="0"/>
          <a:chOff x="0" y="0"/>
          <a:chExt cx="0" cy="0"/>
        </a:xfrm>
      </p:grpSpPr>
      <p:sp>
        <p:nvSpPr>
          <p:cNvPr id="21" name="Date Placeholder 20"/>
          <p:cNvSpPr>
            <a:spLocks noGrp="1"/>
          </p:cNvSpPr>
          <p:nvPr>
            <p:ph type="dt" sz="half" idx="14"/>
          </p:nvPr>
        </p:nvSpPr>
        <p:spPr/>
        <p:txBody>
          <a:bodyPr/>
          <a:lstStyle/>
          <a:p>
            <a:endParaRPr lang="en-US"/>
          </a:p>
        </p:txBody>
      </p:sp>
      <p:sp>
        <p:nvSpPr>
          <p:cNvPr id="22" name="Footer Placeholder 21"/>
          <p:cNvSpPr>
            <a:spLocks noGrp="1"/>
          </p:cNvSpPr>
          <p:nvPr>
            <p:ph type="ftr" sz="quarter" idx="15"/>
          </p:nvPr>
        </p:nvSpPr>
        <p:spPr/>
        <p:txBody>
          <a:bodyPr/>
          <a:lstStyle/>
          <a:p>
            <a:endParaRPr lang="en-US"/>
          </a:p>
        </p:txBody>
      </p:sp>
      <p:sp>
        <p:nvSpPr>
          <p:cNvPr id="23" name="Slide Number Placeholder 22"/>
          <p:cNvSpPr>
            <a:spLocks noGrp="1"/>
          </p:cNvSpPr>
          <p:nvPr>
            <p:ph type="sldNum" sz="quarter" idx="16"/>
          </p:nvPr>
        </p:nvSpPr>
        <p:spPr/>
        <p:txBody>
          <a:bodyPr/>
          <a:lstStyle/>
          <a:p>
            <a:fld id="{5F3E29E4-0979-4FCA-B4C5-5FC6044C982A}" type="slidenum">
              <a:rPr lang="en-US" smtClean="0"/>
              <a:t>‹#›</a:t>
            </a:fld>
            <a:endParaRPr lang="en-US"/>
          </a:p>
        </p:txBody>
      </p:sp>
      <p:sp>
        <p:nvSpPr>
          <p:cNvPr id="2" name="Title 1"/>
          <p:cNvSpPr>
            <a:spLocks noGrp="1"/>
          </p:cNvSpPr>
          <p:nvPr>
            <p:ph type="title" hasCustomPrompt="1"/>
          </p:nvPr>
        </p:nvSpPr>
        <p:spPr/>
        <p:txBody>
          <a:bodyPr/>
          <a:lstStyle>
            <a:lvl1pPr>
              <a:defRPr/>
            </a:lvl1pPr>
          </a:lstStyle>
          <a:p>
            <a:r>
              <a:rPr lang="en-US"/>
              <a:t>Click to add slide title</a:t>
            </a:r>
          </a:p>
        </p:txBody>
      </p:sp>
      <p:sp>
        <p:nvSpPr>
          <p:cNvPr id="7" name="Subtitle 2"/>
          <p:cNvSpPr>
            <a:spLocks noGrp="1"/>
          </p:cNvSpPr>
          <p:nvPr>
            <p:ph type="subTitle" idx="13" hasCustomPrompt="1"/>
          </p:nvPr>
        </p:nvSpPr>
        <p:spPr>
          <a:xfrm>
            <a:off x="1075061" y="964671"/>
            <a:ext cx="7910158" cy="490042"/>
          </a:xfrm>
        </p:spPr>
        <p:txBody>
          <a:bodyPr wrap="none"/>
          <a:lstStyle>
            <a:lvl1pPr marL="0" indent="0" algn="l">
              <a:spcBef>
                <a:spcPts val="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sp>
        <p:nvSpPr>
          <p:cNvPr id="9" name="Text Placeholder 4"/>
          <p:cNvSpPr>
            <a:spLocks noGrp="1"/>
          </p:cNvSpPr>
          <p:nvPr>
            <p:ph type="body" sz="quarter" idx="17" hasCustomPrompt="1"/>
          </p:nvPr>
        </p:nvSpPr>
        <p:spPr>
          <a:xfrm>
            <a:off x="1075063" y="6307665"/>
            <a:ext cx="8162717" cy="133200"/>
          </a:xfrm>
        </p:spPr>
        <p:txBody>
          <a:bodyPr lIns="0" tIns="0" rIns="0" bIns="0" anchor="b" anchorCtr="0"/>
          <a:lstStyle>
            <a:lvl1pPr marL="0" indent="0" algn="l">
              <a:lnSpc>
                <a:spcPct val="100000"/>
              </a:lnSpc>
              <a:spcBef>
                <a:spcPts val="0"/>
              </a:spcBef>
              <a:buNone/>
              <a:defRPr sz="800" baseline="0"/>
            </a:lvl1pPr>
            <a:lvl2pPr marL="0" indent="0" algn="l">
              <a:lnSpc>
                <a:spcPct val="100000"/>
              </a:lnSpc>
              <a:spcBef>
                <a:spcPts val="0"/>
              </a:spcBef>
              <a:buNone/>
              <a:defRPr sz="800"/>
            </a:lvl2pPr>
            <a:lvl3pPr marL="0" indent="0" algn="l">
              <a:lnSpc>
                <a:spcPct val="100000"/>
              </a:lnSpc>
              <a:spcBef>
                <a:spcPts val="0"/>
              </a:spcBef>
              <a:buNone/>
              <a:defRPr sz="800"/>
            </a:lvl3pPr>
            <a:lvl4pPr marL="0" algn="l">
              <a:lnSpc>
                <a:spcPct val="100000"/>
              </a:lnSpc>
              <a:spcBef>
                <a:spcPts val="0"/>
              </a:spcBef>
              <a:buNone/>
              <a:defRPr sz="800"/>
            </a:lvl4pPr>
            <a:lvl5pPr marL="0" indent="0" algn="l">
              <a:lnSpc>
                <a:spcPct val="100000"/>
              </a:lnSpc>
              <a:spcBef>
                <a:spcPts val="0"/>
              </a:spcBef>
              <a:buNone/>
              <a:defRPr sz="800"/>
            </a:lvl5pPr>
          </a:lstStyle>
          <a:p>
            <a:pPr lvl="0"/>
            <a:r>
              <a:rPr lang="en-US"/>
              <a:t>Source line</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57905294"/>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One content">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userDrawn="1">
            <p:custDataLst>
              <p:tags r:id="rId2"/>
            </p:custDataLst>
            <p:extLst>
              <p:ext uri="{D42A27DB-BD31-4B8C-83A1-F6EECF244321}">
                <p14:modId xmlns:p14="http://schemas.microsoft.com/office/powerpoint/2010/main" val="3266396603"/>
              </p:ext>
            </p:ext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spid="_x0000_s67654" name="think-cell Slide" r:id="rId4" imgW="353" imgH="353" progId="TCLayout.ActiveDocument.1">
                  <p:embed/>
                </p:oleObj>
              </mc:Choice>
              <mc:Fallback>
                <p:oleObj name="think-cell Slide" r:id="rId4" imgW="353" imgH="353" progId="TCLayout.ActiveDocument.1">
                  <p:embed/>
                  <p:pic>
                    <p:nvPicPr>
                      <p:cNvPr id="10" name="Object 9" hidden="1"/>
                      <p:cNvPicPr/>
                      <p:nvPr/>
                    </p:nvPicPr>
                    <p:blipFill>
                      <a:blip r:embed="rId5"/>
                      <a:stretch>
                        <a:fillRect/>
                      </a:stretch>
                    </p:blipFill>
                    <p:spPr>
                      <a:xfrm>
                        <a:off x="2118" y="2118"/>
                        <a:ext cx="2116" cy="2116"/>
                      </a:xfrm>
                      <a:prstGeom prst="rect">
                        <a:avLst/>
                      </a:prstGeom>
                    </p:spPr>
                  </p:pic>
                </p:oleObj>
              </mc:Fallback>
            </mc:AlternateContent>
          </a:graphicData>
        </a:graphic>
      </p:graphicFrame>
      <p:sp>
        <p:nvSpPr>
          <p:cNvPr id="9" name="Content Placeholder 8"/>
          <p:cNvSpPr>
            <a:spLocks noGrp="1"/>
          </p:cNvSpPr>
          <p:nvPr>
            <p:ph sz="quarter" idx="12" hasCustomPrompt="1"/>
          </p:nvPr>
        </p:nvSpPr>
        <p:spPr>
          <a:xfrm>
            <a:off x="431213" y="1700760"/>
            <a:ext cx="11328987" cy="4609024"/>
          </a:xfrm>
        </p:spPr>
        <p:txBody>
          <a:bodyPr/>
          <a:lstStyle/>
          <a:p>
            <a:pPr lvl="0"/>
            <a:r>
              <a:rPr lang="en-US" noProof="0"/>
              <a:t>Click to add tex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 name="Title 1"/>
          <p:cNvSpPr>
            <a:spLocks noGrp="1"/>
          </p:cNvSpPr>
          <p:nvPr>
            <p:ph type="title" hasCustomPrompt="1"/>
          </p:nvPr>
        </p:nvSpPr>
        <p:spPr bwMode="gray"/>
        <p:txBody>
          <a:bodyPr/>
          <a:lstStyle/>
          <a:p>
            <a:r>
              <a:rPr lang="en-US"/>
              <a:t>Click to add headline</a:t>
            </a:r>
          </a:p>
        </p:txBody>
      </p:sp>
      <p:sp>
        <p:nvSpPr>
          <p:cNvPr id="4" name="Textplatzhalter 2"/>
          <p:cNvSpPr>
            <a:spLocks noGrp="1"/>
          </p:cNvSpPr>
          <p:nvPr>
            <p:ph type="body" sz="quarter" idx="10" hasCustomPrompt="1"/>
          </p:nvPr>
        </p:nvSpPr>
        <p:spPr bwMode="gray">
          <a:xfrm>
            <a:off x="431214" y="1220695"/>
            <a:ext cx="11329573" cy="384053"/>
          </a:xfrm>
        </p:spPr>
        <p:txBody>
          <a:bodyPr>
            <a:noAutofit/>
          </a:bodyPr>
          <a:lstStyle>
            <a:lvl1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1pPr>
            <a:lvl2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2pPr>
            <a:lvl3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3pPr>
            <a:lvl4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4pPr>
            <a:lvl5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5pPr>
            <a:lvl6pPr marL="0" indent="0">
              <a:lnSpc>
                <a:spcPct val="100000"/>
              </a:lnSpc>
              <a:spcBef>
                <a:spcPts val="800"/>
              </a:spcBef>
              <a:buNone/>
              <a:defRPr lang="en-GB" sz="2400" kern="1200" noProof="0" smtClean="0">
                <a:solidFill>
                  <a:schemeClr val="tx2"/>
                </a:solidFill>
                <a:latin typeface="Arial" pitchFamily="34" charset="0"/>
                <a:ea typeface="+mn-ea"/>
                <a:cs typeface="Arial" pitchFamily="34" charset="0"/>
              </a:defRPr>
            </a:lvl6pPr>
            <a:lvl7pPr marL="0" indent="0">
              <a:lnSpc>
                <a:spcPct val="100000"/>
              </a:lnSpc>
              <a:spcBef>
                <a:spcPts val="800"/>
              </a:spcBef>
              <a:buNone/>
              <a:defRPr lang="en-GB" sz="2400" kern="1200" noProof="0" smtClean="0">
                <a:solidFill>
                  <a:schemeClr val="tx2"/>
                </a:solidFill>
                <a:latin typeface="Arial" pitchFamily="34" charset="0"/>
                <a:ea typeface="+mn-ea"/>
                <a:cs typeface="Arial" pitchFamily="34" charset="0"/>
              </a:defRPr>
            </a:lvl7pPr>
            <a:lvl8pPr marL="0" indent="0">
              <a:lnSpc>
                <a:spcPct val="100000"/>
              </a:lnSpc>
              <a:spcBef>
                <a:spcPts val="800"/>
              </a:spcBef>
              <a:buNone/>
              <a:defRPr lang="en-GB" sz="2400" kern="1200" noProof="0" smtClean="0">
                <a:solidFill>
                  <a:schemeClr val="tx2"/>
                </a:solidFill>
                <a:latin typeface="Arial" pitchFamily="34" charset="0"/>
                <a:ea typeface="+mn-ea"/>
                <a:cs typeface="Arial" pitchFamily="34" charset="0"/>
              </a:defRPr>
            </a:lvl8pPr>
            <a:lvl9pPr marL="0" indent="0">
              <a:lnSpc>
                <a:spcPct val="100000"/>
              </a:lnSpc>
              <a:spcBef>
                <a:spcPts val="800"/>
              </a:spcBef>
              <a:buNone/>
              <a:defRPr lang="de-DE" sz="2400" kern="1200" noProof="0" smtClean="0">
                <a:solidFill>
                  <a:schemeClr val="tx2"/>
                </a:solidFill>
                <a:latin typeface="Arial" pitchFamily="34" charset="0"/>
                <a:ea typeface="+mn-ea"/>
                <a:cs typeface="Arial" pitchFamily="34" charset="0"/>
              </a:defRPr>
            </a:lvl9pPr>
          </a:lstStyle>
          <a:p>
            <a:pPr lvl="0"/>
            <a:r>
              <a:rPr lang="en-US"/>
              <a:t>Click to add </a:t>
            </a:r>
            <a:r>
              <a:rPr lang="en-US" err="1"/>
              <a:t>subheadline</a:t>
            </a:r>
            <a:endParaRPr lang="en-US"/>
          </a:p>
        </p:txBody>
      </p:sp>
      <p:sp>
        <p:nvSpPr>
          <p:cNvPr id="5" name="Textplatzhalter 3"/>
          <p:cNvSpPr>
            <a:spLocks noGrp="1"/>
          </p:cNvSpPr>
          <p:nvPr>
            <p:ph type="body" sz="quarter" idx="11" hasCustomPrompt="1"/>
          </p:nvPr>
        </p:nvSpPr>
        <p:spPr bwMode="gray">
          <a:xfrm>
            <a:off x="431214" y="6404736"/>
            <a:ext cx="11328557" cy="192616"/>
          </a:xfrm>
        </p:spPr>
        <p:txBody>
          <a:bodyPr tIns="0" bIns="36000" anchor="b" anchorCtr="0">
            <a:noAutofit/>
          </a:bodyPr>
          <a:lstStyle>
            <a:lvl1pPr marL="0" marR="0" indent="0" algn="l" defTabSz="1219170" rtl="0" eaLnBrk="1" fontAlgn="auto" latinLnBrk="0" hangingPunct="1">
              <a:lnSpc>
                <a:spcPct val="100000"/>
              </a:lnSpc>
              <a:spcBef>
                <a:spcPts val="0"/>
              </a:spcBef>
              <a:spcAft>
                <a:spcPts val="0"/>
              </a:spcAft>
              <a:buClrTx/>
              <a:buSzTx/>
              <a:buFont typeface="Arial" pitchFamily="34" charset="0"/>
              <a:buNone/>
              <a:tabLst/>
              <a:defRPr lang="de-DE" sz="1067" kern="1200" baseline="0" noProof="0" smtClean="0">
                <a:solidFill>
                  <a:schemeClr val="bg2"/>
                </a:solidFill>
                <a:latin typeface="Arial" pitchFamily="34" charset="0"/>
                <a:ea typeface="+mn-ea"/>
                <a:cs typeface="Arial" pitchFamily="34" charset="0"/>
              </a:defRPr>
            </a:lvl1pPr>
            <a:lvl2pPr marL="0" indent="0">
              <a:lnSpc>
                <a:spcPct val="100000"/>
              </a:lnSpc>
              <a:spcBef>
                <a:spcPts val="0"/>
              </a:spcBef>
              <a:buFont typeface="Arial" panose="020B0604020202020204" pitchFamily="34" charset="0"/>
              <a:buNone/>
              <a:defRPr lang="de-DE" sz="1067" kern="1200" baseline="0" noProof="0" smtClean="0">
                <a:solidFill>
                  <a:schemeClr val="bg2"/>
                </a:solidFill>
                <a:latin typeface="Arial" pitchFamily="34" charset="0"/>
                <a:ea typeface="+mn-ea"/>
                <a:cs typeface="Arial" pitchFamily="34" charset="0"/>
              </a:defRPr>
            </a:lvl2pPr>
            <a:lvl3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3pPr>
            <a:lvl4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4pPr>
            <a:lvl5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5pPr>
            <a:lvl6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6pPr>
            <a:lvl7pPr marL="0" indent="0">
              <a:lnSpc>
                <a:spcPct val="100000"/>
              </a:lnSpc>
              <a:spcBef>
                <a:spcPts val="0"/>
              </a:spcBef>
              <a:buNone/>
              <a:defRPr lang="de-DE" sz="1067" kern="1200" baseline="0" noProof="0" dirty="0" smtClean="0">
                <a:solidFill>
                  <a:schemeClr val="bg2"/>
                </a:solidFill>
                <a:latin typeface="Arial" pitchFamily="34" charset="0"/>
                <a:ea typeface="+mn-ea"/>
                <a:cs typeface="Arial" pitchFamily="34" charset="0"/>
              </a:defRPr>
            </a:lvl7pPr>
            <a:lvl8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8pPr>
            <a:lvl9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9pPr>
          </a:lstStyle>
          <a:p>
            <a:pPr lvl="0"/>
            <a:r>
              <a:rPr lang="en-US"/>
              <a:t>Click to add source information</a:t>
            </a:r>
          </a:p>
        </p:txBody>
      </p:sp>
    </p:spTree>
    <p:extLst>
      <p:ext uri="{BB962C8B-B14F-4D97-AF65-F5344CB8AC3E}">
        <p14:creationId xmlns:p14="http://schemas.microsoft.com/office/powerpoint/2010/main" val="4138807210"/>
      </p:ext>
    </p:extLst>
  </p:cSld>
  <p:clrMapOvr>
    <a:masterClrMapping/>
  </p:clrMapOvr>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p:cSld name="One content">
    <p:spTree>
      <p:nvGrpSpPr>
        <p:cNvPr id="1" name=""/>
        <p:cNvGrpSpPr/>
        <p:nvPr/>
      </p:nvGrpSpPr>
      <p:grpSpPr>
        <a:xfrm>
          <a:off x="0" y="0"/>
          <a:ext cx="0" cy="0"/>
          <a:chOff x="0" y="0"/>
          <a:chExt cx="0" cy="0"/>
        </a:xfrm>
      </p:grpSpPr>
      <p:sp>
        <p:nvSpPr>
          <p:cNvPr id="21" name="Date Placeholder 20"/>
          <p:cNvSpPr>
            <a:spLocks noGrp="1"/>
          </p:cNvSpPr>
          <p:nvPr>
            <p:ph type="dt" sz="half" idx="14"/>
          </p:nvPr>
        </p:nvSpPr>
        <p:spPr/>
        <p:txBody>
          <a:bodyPr/>
          <a:lstStyle/>
          <a:p>
            <a:endParaRPr lang="en-US"/>
          </a:p>
        </p:txBody>
      </p:sp>
      <p:sp>
        <p:nvSpPr>
          <p:cNvPr id="22" name="Footer Placeholder 21"/>
          <p:cNvSpPr>
            <a:spLocks noGrp="1"/>
          </p:cNvSpPr>
          <p:nvPr>
            <p:ph type="ftr" sz="quarter" idx="15"/>
          </p:nvPr>
        </p:nvSpPr>
        <p:spPr/>
        <p:txBody>
          <a:bodyPr/>
          <a:lstStyle/>
          <a:p>
            <a:endParaRPr lang="en-US"/>
          </a:p>
        </p:txBody>
      </p:sp>
      <p:sp>
        <p:nvSpPr>
          <p:cNvPr id="23" name="Slide Number Placeholder 22"/>
          <p:cNvSpPr>
            <a:spLocks noGrp="1"/>
          </p:cNvSpPr>
          <p:nvPr>
            <p:ph type="sldNum" sz="quarter" idx="16"/>
          </p:nvPr>
        </p:nvSpPr>
        <p:spPr/>
        <p:txBody>
          <a:bodyPr/>
          <a:lstStyle/>
          <a:p>
            <a:fld id="{5F3E29E4-0979-4FCA-B4C5-5FC6044C982A}" type="slidenum">
              <a:rPr lang="en-US" smtClean="0"/>
              <a:t>‹#›</a:t>
            </a:fld>
            <a:endParaRPr lang="en-US"/>
          </a:p>
        </p:txBody>
      </p:sp>
      <p:sp>
        <p:nvSpPr>
          <p:cNvPr id="2" name="Title 1"/>
          <p:cNvSpPr>
            <a:spLocks noGrp="1"/>
          </p:cNvSpPr>
          <p:nvPr>
            <p:ph type="title" hasCustomPrompt="1"/>
          </p:nvPr>
        </p:nvSpPr>
        <p:spPr/>
        <p:txBody>
          <a:bodyPr/>
          <a:lstStyle>
            <a:lvl1pPr>
              <a:defRPr/>
            </a:lvl1pPr>
          </a:lstStyle>
          <a:p>
            <a:r>
              <a:rPr lang="en-US"/>
              <a:t>Click to add slide title</a:t>
            </a:r>
          </a:p>
        </p:txBody>
      </p:sp>
      <p:sp>
        <p:nvSpPr>
          <p:cNvPr id="7" name="Subtitle 2"/>
          <p:cNvSpPr>
            <a:spLocks noGrp="1"/>
          </p:cNvSpPr>
          <p:nvPr>
            <p:ph type="subTitle" idx="13" hasCustomPrompt="1"/>
          </p:nvPr>
        </p:nvSpPr>
        <p:spPr>
          <a:xfrm>
            <a:off x="1075061" y="964671"/>
            <a:ext cx="7910158" cy="490042"/>
          </a:xfrm>
        </p:spPr>
        <p:txBody>
          <a:bodyPr wrap="none"/>
          <a:lstStyle>
            <a:lvl1pPr marL="0" indent="0" algn="l">
              <a:spcBef>
                <a:spcPts val="0"/>
              </a:spcBef>
              <a:buNone/>
              <a:defRPr sz="2400" baseline="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sp>
        <p:nvSpPr>
          <p:cNvPr id="3" name="Content Placeholder 2"/>
          <p:cNvSpPr>
            <a:spLocks noGrp="1"/>
          </p:cNvSpPr>
          <p:nvPr>
            <p:ph idx="1" hasCustomPrompt="1"/>
          </p:nvPr>
        </p:nvSpPr>
        <p:spPr/>
        <p:txBody>
          <a:bodyPr/>
          <a:lstStyle>
            <a:lvl1pPr>
              <a:defRPr baseline="0"/>
            </a:lvl1pPr>
          </a:lstStyle>
          <a:p>
            <a:pPr lvl="0"/>
            <a:r>
              <a:rPr lang="en-US"/>
              <a:t>Click to add text or content</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17" hasCustomPrompt="1"/>
          </p:nvPr>
        </p:nvSpPr>
        <p:spPr>
          <a:xfrm>
            <a:off x="1075063" y="6307665"/>
            <a:ext cx="8162717" cy="133200"/>
          </a:xfrm>
        </p:spPr>
        <p:txBody>
          <a:bodyPr lIns="0" tIns="0" rIns="0" bIns="0" anchor="b" anchorCtr="0"/>
          <a:lstStyle>
            <a:lvl1pPr marL="0" indent="0" algn="l">
              <a:lnSpc>
                <a:spcPct val="100000"/>
              </a:lnSpc>
              <a:spcBef>
                <a:spcPts val="0"/>
              </a:spcBef>
              <a:buNone/>
              <a:defRPr sz="800" baseline="0"/>
            </a:lvl1pPr>
            <a:lvl2pPr marL="0" indent="0" algn="l">
              <a:lnSpc>
                <a:spcPct val="100000"/>
              </a:lnSpc>
              <a:spcBef>
                <a:spcPts val="0"/>
              </a:spcBef>
              <a:buNone/>
              <a:defRPr sz="800"/>
            </a:lvl2pPr>
            <a:lvl3pPr marL="0" indent="0" algn="l">
              <a:lnSpc>
                <a:spcPct val="100000"/>
              </a:lnSpc>
              <a:spcBef>
                <a:spcPts val="0"/>
              </a:spcBef>
              <a:buNone/>
              <a:defRPr sz="800"/>
            </a:lvl3pPr>
            <a:lvl4pPr marL="0" algn="l">
              <a:lnSpc>
                <a:spcPct val="100000"/>
              </a:lnSpc>
              <a:spcBef>
                <a:spcPts val="0"/>
              </a:spcBef>
              <a:buNone/>
              <a:defRPr sz="800"/>
            </a:lvl4pPr>
            <a:lvl5pPr marL="0" indent="0" algn="l">
              <a:lnSpc>
                <a:spcPct val="100000"/>
              </a:lnSpc>
              <a:spcBef>
                <a:spcPts val="0"/>
              </a:spcBef>
              <a:buNone/>
              <a:defRPr sz="800"/>
            </a:lvl5pPr>
          </a:lstStyle>
          <a:p>
            <a:pPr lvl="0"/>
            <a:r>
              <a:rPr lang="en-US"/>
              <a:t>Source line</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7062061"/>
      </p:ext>
    </p:extLst>
  </p:cSld>
  <p:clrMapOvr>
    <a:masterClrMapping/>
  </p:clrMapOvr>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p:cSld name="Content and picture">
    <p:spTree>
      <p:nvGrpSpPr>
        <p:cNvPr id="1" name=""/>
        <p:cNvGrpSpPr/>
        <p:nvPr/>
      </p:nvGrpSpPr>
      <p:grpSpPr>
        <a:xfrm>
          <a:off x="0" y="0"/>
          <a:ext cx="0" cy="0"/>
          <a:chOff x="0" y="0"/>
          <a:chExt cx="0" cy="0"/>
        </a:xfrm>
      </p:grpSpPr>
      <p:sp>
        <p:nvSpPr>
          <p:cNvPr id="21" name="Date Placeholder 20"/>
          <p:cNvSpPr>
            <a:spLocks noGrp="1"/>
          </p:cNvSpPr>
          <p:nvPr>
            <p:ph type="dt" sz="half" idx="14"/>
          </p:nvPr>
        </p:nvSpPr>
        <p:spPr/>
        <p:txBody>
          <a:bodyPr/>
          <a:lstStyle/>
          <a:p>
            <a:endParaRPr lang="en-US"/>
          </a:p>
        </p:txBody>
      </p:sp>
      <p:sp>
        <p:nvSpPr>
          <p:cNvPr id="22" name="Footer Placeholder 21"/>
          <p:cNvSpPr>
            <a:spLocks noGrp="1"/>
          </p:cNvSpPr>
          <p:nvPr>
            <p:ph type="ftr" sz="quarter" idx="15"/>
          </p:nvPr>
        </p:nvSpPr>
        <p:spPr/>
        <p:txBody>
          <a:bodyPr/>
          <a:lstStyle/>
          <a:p>
            <a:endParaRPr lang="en-US"/>
          </a:p>
        </p:txBody>
      </p:sp>
      <p:sp>
        <p:nvSpPr>
          <p:cNvPr id="23" name="Slide Number Placeholder 22"/>
          <p:cNvSpPr>
            <a:spLocks noGrp="1"/>
          </p:cNvSpPr>
          <p:nvPr>
            <p:ph type="sldNum" sz="quarter" idx="16"/>
          </p:nvPr>
        </p:nvSpPr>
        <p:spPr/>
        <p:txBody>
          <a:bodyPr/>
          <a:lstStyle/>
          <a:p>
            <a:fld id="{5F3E29E4-0979-4FCA-B4C5-5FC6044C982A}" type="slidenum">
              <a:rPr lang="en-US" smtClean="0"/>
              <a:t>‹#›</a:t>
            </a:fld>
            <a:endParaRPr lang="en-US"/>
          </a:p>
        </p:txBody>
      </p:sp>
      <p:sp>
        <p:nvSpPr>
          <p:cNvPr id="2" name="Title 1"/>
          <p:cNvSpPr>
            <a:spLocks noGrp="1"/>
          </p:cNvSpPr>
          <p:nvPr>
            <p:ph type="title" hasCustomPrompt="1"/>
          </p:nvPr>
        </p:nvSpPr>
        <p:spPr/>
        <p:txBody>
          <a:bodyPr/>
          <a:lstStyle>
            <a:lvl1pPr>
              <a:defRPr/>
            </a:lvl1pPr>
          </a:lstStyle>
          <a:p>
            <a:r>
              <a:rPr lang="en-US"/>
              <a:t>Click to add slide title</a:t>
            </a:r>
          </a:p>
        </p:txBody>
      </p:sp>
      <p:sp>
        <p:nvSpPr>
          <p:cNvPr id="7" name="Subtitle 2"/>
          <p:cNvSpPr>
            <a:spLocks noGrp="1"/>
          </p:cNvSpPr>
          <p:nvPr>
            <p:ph type="subTitle" idx="13" hasCustomPrompt="1"/>
          </p:nvPr>
        </p:nvSpPr>
        <p:spPr>
          <a:xfrm>
            <a:off x="1075061" y="964671"/>
            <a:ext cx="7910158" cy="490042"/>
          </a:xfrm>
        </p:spPr>
        <p:txBody>
          <a:bodyPr wrap="none"/>
          <a:lstStyle>
            <a:lvl1pPr marL="0" indent="0" algn="l">
              <a:spcBef>
                <a:spcPts val="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sp>
        <p:nvSpPr>
          <p:cNvPr id="3" name="Content Placeholder 2"/>
          <p:cNvSpPr>
            <a:spLocks noGrp="1"/>
          </p:cNvSpPr>
          <p:nvPr>
            <p:ph idx="1" hasCustomPrompt="1"/>
          </p:nvPr>
        </p:nvSpPr>
        <p:spPr>
          <a:xfrm>
            <a:off x="1075062" y="1629618"/>
            <a:ext cx="5220000" cy="4139357"/>
          </a:xfrm>
        </p:spPr>
        <p:txBody>
          <a:bodyPr/>
          <a:lstStyle>
            <a:lvl1pPr>
              <a:defRPr/>
            </a:lvl1pPr>
          </a:lstStyle>
          <a:p>
            <a:pPr lvl="0"/>
            <a:r>
              <a:rPr lang="en-US"/>
              <a:t>Click to add text or content</a:t>
            </a:r>
          </a:p>
          <a:p>
            <a:pPr lvl="1"/>
            <a:r>
              <a:rPr lang="en-US"/>
              <a:t>Second level</a:t>
            </a:r>
          </a:p>
          <a:p>
            <a:pPr lvl="2"/>
            <a:r>
              <a:rPr lang="en-US"/>
              <a:t>Third level</a:t>
            </a:r>
          </a:p>
          <a:p>
            <a:pPr lvl="3"/>
            <a:r>
              <a:rPr lang="en-US"/>
              <a:t>Fourth level</a:t>
            </a:r>
          </a:p>
          <a:p>
            <a:pPr lvl="4"/>
            <a:r>
              <a:rPr lang="en-US"/>
              <a:t>Fifth level</a:t>
            </a:r>
          </a:p>
        </p:txBody>
      </p:sp>
      <p:sp>
        <p:nvSpPr>
          <p:cNvPr id="5" name="Picture Placeholder 4"/>
          <p:cNvSpPr>
            <a:spLocks noGrp="1"/>
          </p:cNvSpPr>
          <p:nvPr>
            <p:ph type="pic" sz="quarter" idx="17" hasCustomPrompt="1"/>
          </p:nvPr>
        </p:nvSpPr>
        <p:spPr>
          <a:xfrm>
            <a:off x="6600525" y="1637783"/>
            <a:ext cx="5220000" cy="4599506"/>
          </a:xfrm>
          <a:solidFill>
            <a:srgbClr val="D9DADB"/>
          </a:solidFill>
        </p:spPr>
        <p:txBody>
          <a:bodyPr/>
          <a:lstStyle>
            <a:lvl1pPr marL="0" indent="0">
              <a:buNone/>
              <a:defRPr/>
            </a:lvl1pPr>
          </a:lstStyle>
          <a:p>
            <a:r>
              <a:rPr lang="en-US"/>
              <a:t>Insert picture</a:t>
            </a:r>
          </a:p>
        </p:txBody>
      </p:sp>
      <p:sp>
        <p:nvSpPr>
          <p:cNvPr id="10" name="Text Placeholder 4"/>
          <p:cNvSpPr>
            <a:spLocks noGrp="1"/>
          </p:cNvSpPr>
          <p:nvPr>
            <p:ph type="body" sz="quarter" idx="18" hasCustomPrompt="1"/>
          </p:nvPr>
        </p:nvSpPr>
        <p:spPr>
          <a:xfrm>
            <a:off x="1075063" y="6307665"/>
            <a:ext cx="8162717" cy="133200"/>
          </a:xfrm>
        </p:spPr>
        <p:txBody>
          <a:bodyPr lIns="0" tIns="0" rIns="0" bIns="0" anchor="b" anchorCtr="0"/>
          <a:lstStyle>
            <a:lvl1pPr marL="0" indent="0" algn="l">
              <a:lnSpc>
                <a:spcPct val="100000"/>
              </a:lnSpc>
              <a:spcBef>
                <a:spcPts val="0"/>
              </a:spcBef>
              <a:buNone/>
              <a:defRPr sz="800" baseline="0"/>
            </a:lvl1pPr>
            <a:lvl2pPr marL="0" indent="0" algn="l">
              <a:lnSpc>
                <a:spcPct val="100000"/>
              </a:lnSpc>
              <a:spcBef>
                <a:spcPts val="0"/>
              </a:spcBef>
              <a:buNone/>
              <a:defRPr sz="800"/>
            </a:lvl2pPr>
            <a:lvl3pPr marL="0" indent="0" algn="l">
              <a:lnSpc>
                <a:spcPct val="100000"/>
              </a:lnSpc>
              <a:spcBef>
                <a:spcPts val="0"/>
              </a:spcBef>
              <a:buNone/>
              <a:defRPr sz="800"/>
            </a:lvl3pPr>
            <a:lvl4pPr marL="0" algn="l">
              <a:lnSpc>
                <a:spcPct val="100000"/>
              </a:lnSpc>
              <a:spcBef>
                <a:spcPts val="0"/>
              </a:spcBef>
              <a:buNone/>
              <a:defRPr sz="800"/>
            </a:lvl4pPr>
            <a:lvl5pPr marL="0" indent="0" algn="l">
              <a:lnSpc>
                <a:spcPct val="100000"/>
              </a:lnSpc>
              <a:spcBef>
                <a:spcPts val="0"/>
              </a:spcBef>
              <a:buNone/>
              <a:defRPr sz="800"/>
            </a:lvl5pPr>
          </a:lstStyle>
          <a:p>
            <a:pPr lvl="0"/>
            <a:r>
              <a:rPr lang="en-US"/>
              <a:t>Source line</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65367505"/>
      </p:ext>
    </p:extLst>
  </p:cSld>
  <p:clrMapOvr>
    <a:masterClrMapping/>
  </p:clrMapOvr>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p:cSld name="Content with full picture">
    <p:spTree>
      <p:nvGrpSpPr>
        <p:cNvPr id="1" name=""/>
        <p:cNvGrpSpPr/>
        <p:nvPr/>
      </p:nvGrpSpPr>
      <p:grpSpPr>
        <a:xfrm>
          <a:off x="0" y="0"/>
          <a:ext cx="0" cy="0"/>
          <a:chOff x="0" y="0"/>
          <a:chExt cx="0" cy="0"/>
        </a:xfrm>
      </p:grpSpPr>
      <p:sp>
        <p:nvSpPr>
          <p:cNvPr id="12" name="Picture Placeholder 11"/>
          <p:cNvSpPr>
            <a:spLocks noGrp="1"/>
          </p:cNvSpPr>
          <p:nvPr>
            <p:ph type="pic" sz="quarter" idx="17" hasCustomPrompt="1"/>
          </p:nvPr>
        </p:nvSpPr>
        <p:spPr>
          <a:xfrm>
            <a:off x="0" y="0"/>
            <a:ext cx="12193200" cy="6858000"/>
          </a:xfrm>
          <a:prstGeom prst="rect">
            <a:avLst/>
          </a:prstGeom>
          <a:solidFill>
            <a:srgbClr val="D9DADB"/>
          </a:solidFill>
        </p:spPr>
        <p:txBody>
          <a:bodyPr wrap="square">
            <a:noAutofit/>
          </a:bodyPr>
          <a:lstStyle>
            <a:lvl1pPr marL="0" indent="0">
              <a:buNone/>
              <a:defRPr/>
            </a:lvl1pPr>
          </a:lstStyle>
          <a:p>
            <a:r>
              <a:rPr lang="en-US"/>
              <a:t>Insert picture</a:t>
            </a:r>
          </a:p>
        </p:txBody>
      </p:sp>
      <p:sp>
        <p:nvSpPr>
          <p:cNvPr id="9" name="copyright"/>
          <p:cNvSpPr txBox="1"/>
          <p:nvPr/>
        </p:nvSpPr>
        <p:spPr>
          <a:xfrm>
            <a:off x="10672209" y="6237288"/>
            <a:ext cx="500617" cy="358173"/>
          </a:xfrm>
          <a:prstGeom prst="rect">
            <a:avLst/>
          </a:prstGeom>
          <a:noFill/>
        </p:spPr>
        <p:txBody>
          <a:bodyPr wrap="none" lIns="0" tIns="0" rIns="0" bIns="0" rtlCol="0" anchor="b" anchorCtr="0">
            <a:noAutofit/>
          </a:bodyPr>
          <a:lstStyle/>
          <a:p>
            <a:pPr marL="0" indent="0" algn="r">
              <a:lnSpc>
                <a:spcPct val="125000"/>
              </a:lnSpc>
              <a:buClr>
                <a:schemeClr val="tx2"/>
              </a:buClr>
              <a:buFont typeface="Wingdings" panose="05000000000000000000" pitchFamily="2" charset="2"/>
              <a:buNone/>
            </a:pPr>
            <a:r>
              <a:rPr lang="en-US" sz="800">
                <a:solidFill>
                  <a:schemeClr val="bg1"/>
                </a:solidFill>
              </a:rPr>
              <a:t>© GfK</a:t>
            </a:r>
          </a:p>
        </p:txBody>
      </p:sp>
      <p:sp>
        <p:nvSpPr>
          <p:cNvPr id="21" name="Date Placeholder 20"/>
          <p:cNvSpPr>
            <a:spLocks noGrp="1"/>
          </p:cNvSpPr>
          <p:nvPr>
            <p:ph type="dt" sz="half" idx="14"/>
          </p:nvPr>
        </p:nvSpPr>
        <p:spPr/>
        <p:txBody>
          <a:bodyPr/>
          <a:lstStyle>
            <a:lvl1pPr>
              <a:defRPr>
                <a:solidFill>
                  <a:schemeClr val="bg1"/>
                </a:solidFill>
              </a:defRPr>
            </a:lvl1pPr>
          </a:lstStyle>
          <a:p>
            <a:endParaRPr lang="en-US"/>
          </a:p>
        </p:txBody>
      </p:sp>
      <p:sp>
        <p:nvSpPr>
          <p:cNvPr id="22" name="Footer Placeholder 21"/>
          <p:cNvSpPr>
            <a:spLocks noGrp="1"/>
          </p:cNvSpPr>
          <p:nvPr>
            <p:ph type="ftr" sz="quarter" idx="15"/>
          </p:nvPr>
        </p:nvSpPr>
        <p:spPr/>
        <p:txBody>
          <a:bodyPr/>
          <a:lstStyle>
            <a:lvl1pPr>
              <a:defRPr>
                <a:solidFill>
                  <a:schemeClr val="bg1"/>
                </a:solidFill>
              </a:defRPr>
            </a:lvl1pPr>
          </a:lstStyle>
          <a:p>
            <a:endParaRPr lang="en-US"/>
          </a:p>
        </p:txBody>
      </p:sp>
      <p:sp>
        <p:nvSpPr>
          <p:cNvPr id="23" name="Slide Number Placeholder 22"/>
          <p:cNvSpPr>
            <a:spLocks noGrp="1"/>
          </p:cNvSpPr>
          <p:nvPr>
            <p:ph type="sldNum" sz="quarter" idx="16"/>
          </p:nvPr>
        </p:nvSpPr>
        <p:spPr/>
        <p:txBody>
          <a:bodyPr/>
          <a:lstStyle>
            <a:lvl1pPr>
              <a:defRPr>
                <a:solidFill>
                  <a:schemeClr val="bg1"/>
                </a:solidFill>
              </a:defRPr>
            </a:lvl1pPr>
          </a:lstStyle>
          <a:p>
            <a:fld id="{5F3E29E4-0979-4FCA-B4C5-5FC6044C982A}" type="slidenum">
              <a:rPr lang="en-US" smtClean="0"/>
              <a:pPr/>
              <a:t>‹#›</a:t>
            </a:fld>
            <a:endParaRPr lang="en-US"/>
          </a:p>
        </p:txBody>
      </p:sp>
      <p:sp>
        <p:nvSpPr>
          <p:cNvPr id="2" name="Title 1"/>
          <p:cNvSpPr>
            <a:spLocks noGrp="1"/>
          </p:cNvSpPr>
          <p:nvPr>
            <p:ph type="title" hasCustomPrompt="1"/>
          </p:nvPr>
        </p:nvSpPr>
        <p:spPr>
          <a:xfrm>
            <a:off x="6543675" y="1519552"/>
            <a:ext cx="4629150" cy="4249423"/>
          </a:xfrm>
        </p:spPr>
        <p:txBody>
          <a:bodyPr/>
          <a:lstStyle>
            <a:lvl1pPr>
              <a:defRPr>
                <a:solidFill>
                  <a:schemeClr val="bg1"/>
                </a:solidFill>
              </a:defRPr>
            </a:lvl1pPr>
          </a:lstStyle>
          <a:p>
            <a:r>
              <a:rPr lang="en-US"/>
              <a:t>Click to add text</a:t>
            </a:r>
          </a:p>
        </p:txBody>
      </p:sp>
      <p:sp>
        <p:nvSpPr>
          <p:cNvPr id="8" name="Text Placeholder 4"/>
          <p:cNvSpPr>
            <a:spLocks noGrp="1"/>
          </p:cNvSpPr>
          <p:nvPr>
            <p:ph type="body" sz="quarter" idx="18" hasCustomPrompt="1"/>
          </p:nvPr>
        </p:nvSpPr>
        <p:spPr>
          <a:xfrm>
            <a:off x="1075063" y="6307665"/>
            <a:ext cx="8162717" cy="133200"/>
          </a:xfrm>
        </p:spPr>
        <p:txBody>
          <a:bodyPr lIns="0" tIns="0" rIns="0" bIns="0" anchor="b" anchorCtr="0"/>
          <a:lstStyle>
            <a:lvl1pPr marL="0" indent="0" algn="l">
              <a:lnSpc>
                <a:spcPct val="100000"/>
              </a:lnSpc>
              <a:spcBef>
                <a:spcPts val="0"/>
              </a:spcBef>
              <a:buNone/>
              <a:defRPr sz="800" baseline="0">
                <a:solidFill>
                  <a:schemeClr val="bg1"/>
                </a:solidFill>
              </a:defRPr>
            </a:lvl1pPr>
            <a:lvl2pPr marL="0" indent="0" algn="l">
              <a:lnSpc>
                <a:spcPct val="100000"/>
              </a:lnSpc>
              <a:spcBef>
                <a:spcPts val="0"/>
              </a:spcBef>
              <a:buNone/>
              <a:defRPr sz="800">
                <a:solidFill>
                  <a:schemeClr val="bg1"/>
                </a:solidFill>
              </a:defRPr>
            </a:lvl2pPr>
            <a:lvl3pPr marL="0" indent="0" algn="l">
              <a:lnSpc>
                <a:spcPct val="100000"/>
              </a:lnSpc>
              <a:spcBef>
                <a:spcPts val="0"/>
              </a:spcBef>
              <a:buNone/>
              <a:defRPr sz="800">
                <a:solidFill>
                  <a:schemeClr val="bg1"/>
                </a:solidFill>
              </a:defRPr>
            </a:lvl3pPr>
            <a:lvl4pPr marL="0" algn="l">
              <a:lnSpc>
                <a:spcPct val="100000"/>
              </a:lnSpc>
              <a:spcBef>
                <a:spcPts val="0"/>
              </a:spcBef>
              <a:buNone/>
              <a:defRPr sz="800">
                <a:solidFill>
                  <a:schemeClr val="bg1"/>
                </a:solidFill>
              </a:defRPr>
            </a:lvl4pPr>
            <a:lvl5pPr marL="0" indent="0" algn="l">
              <a:lnSpc>
                <a:spcPct val="100000"/>
              </a:lnSpc>
              <a:spcBef>
                <a:spcPts val="0"/>
              </a:spcBef>
              <a:buNone/>
              <a:defRPr sz="800">
                <a:solidFill>
                  <a:schemeClr val="bg1"/>
                </a:solidFill>
              </a:defRPr>
            </a:lvl5pPr>
          </a:lstStyle>
          <a:p>
            <a:pPr lvl="0"/>
            <a:r>
              <a:rPr lang="en-US"/>
              <a:t>Source line</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84167275"/>
      </p:ext>
    </p:extLst>
  </p:cSld>
  <p:clrMapOvr>
    <a:masterClrMapping/>
  </p:clrMapOvr>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p:cSld name="Two pictures">
    <p:spTree>
      <p:nvGrpSpPr>
        <p:cNvPr id="1" name=""/>
        <p:cNvGrpSpPr/>
        <p:nvPr/>
      </p:nvGrpSpPr>
      <p:grpSpPr>
        <a:xfrm>
          <a:off x="0" y="0"/>
          <a:ext cx="0" cy="0"/>
          <a:chOff x="0" y="0"/>
          <a:chExt cx="0" cy="0"/>
        </a:xfrm>
      </p:grpSpPr>
      <p:sp>
        <p:nvSpPr>
          <p:cNvPr id="21" name="Date Placeholder 20"/>
          <p:cNvSpPr>
            <a:spLocks noGrp="1"/>
          </p:cNvSpPr>
          <p:nvPr>
            <p:ph type="dt" sz="half" idx="14"/>
          </p:nvPr>
        </p:nvSpPr>
        <p:spPr/>
        <p:txBody>
          <a:bodyPr/>
          <a:lstStyle/>
          <a:p>
            <a:endParaRPr lang="en-US"/>
          </a:p>
        </p:txBody>
      </p:sp>
      <p:sp>
        <p:nvSpPr>
          <p:cNvPr id="22" name="Footer Placeholder 21"/>
          <p:cNvSpPr>
            <a:spLocks noGrp="1"/>
          </p:cNvSpPr>
          <p:nvPr>
            <p:ph type="ftr" sz="quarter" idx="15"/>
          </p:nvPr>
        </p:nvSpPr>
        <p:spPr/>
        <p:txBody>
          <a:bodyPr/>
          <a:lstStyle/>
          <a:p>
            <a:endParaRPr lang="en-US"/>
          </a:p>
        </p:txBody>
      </p:sp>
      <p:sp>
        <p:nvSpPr>
          <p:cNvPr id="23" name="Slide Number Placeholder 22"/>
          <p:cNvSpPr>
            <a:spLocks noGrp="1"/>
          </p:cNvSpPr>
          <p:nvPr>
            <p:ph type="sldNum" sz="quarter" idx="16"/>
          </p:nvPr>
        </p:nvSpPr>
        <p:spPr/>
        <p:txBody>
          <a:bodyPr/>
          <a:lstStyle/>
          <a:p>
            <a:fld id="{5F3E29E4-0979-4FCA-B4C5-5FC6044C982A}" type="slidenum">
              <a:rPr lang="en-US" smtClean="0"/>
              <a:t>‹#›</a:t>
            </a:fld>
            <a:endParaRPr lang="en-US"/>
          </a:p>
        </p:txBody>
      </p:sp>
      <p:sp>
        <p:nvSpPr>
          <p:cNvPr id="2" name="Title 1"/>
          <p:cNvSpPr>
            <a:spLocks noGrp="1"/>
          </p:cNvSpPr>
          <p:nvPr>
            <p:ph type="title" hasCustomPrompt="1"/>
          </p:nvPr>
        </p:nvSpPr>
        <p:spPr/>
        <p:txBody>
          <a:bodyPr/>
          <a:lstStyle>
            <a:lvl1pPr>
              <a:defRPr/>
            </a:lvl1pPr>
          </a:lstStyle>
          <a:p>
            <a:r>
              <a:rPr lang="en-US"/>
              <a:t>Click to add slide title</a:t>
            </a:r>
          </a:p>
        </p:txBody>
      </p:sp>
      <p:sp>
        <p:nvSpPr>
          <p:cNvPr id="7" name="Subtitle 2"/>
          <p:cNvSpPr>
            <a:spLocks noGrp="1"/>
          </p:cNvSpPr>
          <p:nvPr>
            <p:ph type="subTitle" idx="13" hasCustomPrompt="1"/>
          </p:nvPr>
        </p:nvSpPr>
        <p:spPr>
          <a:xfrm>
            <a:off x="1075061" y="964671"/>
            <a:ext cx="7910158" cy="490042"/>
          </a:xfrm>
        </p:spPr>
        <p:txBody>
          <a:bodyPr wrap="none"/>
          <a:lstStyle>
            <a:lvl1pPr marL="0" indent="0" algn="l">
              <a:spcBef>
                <a:spcPts val="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sp>
        <p:nvSpPr>
          <p:cNvPr id="5" name="Picture Placeholder 4"/>
          <p:cNvSpPr>
            <a:spLocks noGrp="1"/>
          </p:cNvSpPr>
          <p:nvPr>
            <p:ph type="pic" sz="quarter" idx="17" hasCustomPrompt="1"/>
          </p:nvPr>
        </p:nvSpPr>
        <p:spPr>
          <a:xfrm>
            <a:off x="1075062" y="1637783"/>
            <a:ext cx="5220000" cy="4599506"/>
          </a:xfrm>
          <a:solidFill>
            <a:srgbClr val="D9DADB"/>
          </a:solidFill>
        </p:spPr>
        <p:txBody>
          <a:bodyPr/>
          <a:lstStyle>
            <a:lvl1pPr marL="0" indent="0">
              <a:buNone/>
              <a:defRPr/>
            </a:lvl1pPr>
          </a:lstStyle>
          <a:p>
            <a:r>
              <a:rPr lang="en-US"/>
              <a:t>Insert picture</a:t>
            </a:r>
          </a:p>
        </p:txBody>
      </p:sp>
      <p:sp>
        <p:nvSpPr>
          <p:cNvPr id="9" name="Picture Placeholder 4"/>
          <p:cNvSpPr>
            <a:spLocks noGrp="1"/>
          </p:cNvSpPr>
          <p:nvPr>
            <p:ph type="pic" sz="quarter" idx="18" hasCustomPrompt="1"/>
          </p:nvPr>
        </p:nvSpPr>
        <p:spPr>
          <a:xfrm>
            <a:off x="6600525" y="1637783"/>
            <a:ext cx="5220000" cy="4599506"/>
          </a:xfrm>
          <a:solidFill>
            <a:srgbClr val="D9DADB"/>
          </a:solidFill>
        </p:spPr>
        <p:txBody>
          <a:bodyPr/>
          <a:lstStyle>
            <a:lvl1pPr marL="0" indent="0">
              <a:buNone/>
              <a:defRPr/>
            </a:lvl1pPr>
          </a:lstStyle>
          <a:p>
            <a:r>
              <a:rPr lang="en-US"/>
              <a:t>Insert picture</a:t>
            </a:r>
          </a:p>
        </p:txBody>
      </p:sp>
      <p:sp>
        <p:nvSpPr>
          <p:cNvPr id="11" name="Text Placeholder 4"/>
          <p:cNvSpPr>
            <a:spLocks noGrp="1"/>
          </p:cNvSpPr>
          <p:nvPr>
            <p:ph type="body" sz="quarter" idx="19" hasCustomPrompt="1"/>
          </p:nvPr>
        </p:nvSpPr>
        <p:spPr>
          <a:xfrm>
            <a:off x="1075063" y="6307665"/>
            <a:ext cx="8162717" cy="133200"/>
          </a:xfrm>
        </p:spPr>
        <p:txBody>
          <a:bodyPr lIns="0" tIns="0" rIns="0" bIns="0" anchor="b" anchorCtr="0"/>
          <a:lstStyle>
            <a:lvl1pPr marL="0" indent="0" algn="l">
              <a:lnSpc>
                <a:spcPct val="100000"/>
              </a:lnSpc>
              <a:spcBef>
                <a:spcPts val="0"/>
              </a:spcBef>
              <a:buNone/>
              <a:defRPr sz="800" baseline="0"/>
            </a:lvl1pPr>
            <a:lvl2pPr marL="0" indent="0" algn="l">
              <a:lnSpc>
                <a:spcPct val="100000"/>
              </a:lnSpc>
              <a:spcBef>
                <a:spcPts val="0"/>
              </a:spcBef>
              <a:buNone/>
              <a:defRPr sz="800"/>
            </a:lvl2pPr>
            <a:lvl3pPr marL="0" indent="0" algn="l">
              <a:lnSpc>
                <a:spcPct val="100000"/>
              </a:lnSpc>
              <a:spcBef>
                <a:spcPts val="0"/>
              </a:spcBef>
              <a:buNone/>
              <a:defRPr sz="800"/>
            </a:lvl3pPr>
            <a:lvl4pPr marL="0" algn="l">
              <a:lnSpc>
                <a:spcPct val="100000"/>
              </a:lnSpc>
              <a:spcBef>
                <a:spcPts val="0"/>
              </a:spcBef>
              <a:buNone/>
              <a:defRPr sz="800"/>
            </a:lvl4pPr>
            <a:lvl5pPr marL="0" indent="0" algn="l">
              <a:lnSpc>
                <a:spcPct val="100000"/>
              </a:lnSpc>
              <a:spcBef>
                <a:spcPts val="0"/>
              </a:spcBef>
              <a:buNone/>
              <a:defRPr sz="800"/>
            </a:lvl5pPr>
          </a:lstStyle>
          <a:p>
            <a:pPr lvl="0"/>
            <a:r>
              <a:rPr lang="en-US"/>
              <a:t>Source line</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08396574"/>
      </p:ext>
    </p:extLst>
  </p:cSld>
  <p:clrMapOvr>
    <a:masterClrMapping/>
  </p:clrMapOvr>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p:cSld name="Two contents">
    <p:spTree>
      <p:nvGrpSpPr>
        <p:cNvPr id="1" name=""/>
        <p:cNvGrpSpPr/>
        <p:nvPr/>
      </p:nvGrpSpPr>
      <p:grpSpPr>
        <a:xfrm>
          <a:off x="0" y="0"/>
          <a:ext cx="0" cy="0"/>
          <a:chOff x="0" y="0"/>
          <a:chExt cx="0" cy="0"/>
        </a:xfrm>
      </p:grpSpPr>
      <p:sp>
        <p:nvSpPr>
          <p:cNvPr id="21" name="Date Placeholder 20"/>
          <p:cNvSpPr>
            <a:spLocks noGrp="1"/>
          </p:cNvSpPr>
          <p:nvPr>
            <p:ph type="dt" sz="half" idx="14"/>
          </p:nvPr>
        </p:nvSpPr>
        <p:spPr/>
        <p:txBody>
          <a:bodyPr/>
          <a:lstStyle/>
          <a:p>
            <a:endParaRPr lang="en-US"/>
          </a:p>
        </p:txBody>
      </p:sp>
      <p:sp>
        <p:nvSpPr>
          <p:cNvPr id="22" name="Footer Placeholder 21"/>
          <p:cNvSpPr>
            <a:spLocks noGrp="1"/>
          </p:cNvSpPr>
          <p:nvPr>
            <p:ph type="ftr" sz="quarter" idx="15"/>
          </p:nvPr>
        </p:nvSpPr>
        <p:spPr/>
        <p:txBody>
          <a:bodyPr/>
          <a:lstStyle/>
          <a:p>
            <a:endParaRPr lang="en-US"/>
          </a:p>
        </p:txBody>
      </p:sp>
      <p:sp>
        <p:nvSpPr>
          <p:cNvPr id="23" name="Slide Number Placeholder 22"/>
          <p:cNvSpPr>
            <a:spLocks noGrp="1"/>
          </p:cNvSpPr>
          <p:nvPr>
            <p:ph type="sldNum" sz="quarter" idx="16"/>
          </p:nvPr>
        </p:nvSpPr>
        <p:spPr/>
        <p:txBody>
          <a:bodyPr/>
          <a:lstStyle/>
          <a:p>
            <a:fld id="{5F3E29E4-0979-4FCA-B4C5-5FC6044C982A}" type="slidenum">
              <a:rPr lang="en-US" smtClean="0"/>
              <a:t>‹#›</a:t>
            </a:fld>
            <a:endParaRPr lang="en-US"/>
          </a:p>
        </p:txBody>
      </p:sp>
      <p:sp>
        <p:nvSpPr>
          <p:cNvPr id="2" name="Title 1"/>
          <p:cNvSpPr>
            <a:spLocks noGrp="1"/>
          </p:cNvSpPr>
          <p:nvPr>
            <p:ph type="title" hasCustomPrompt="1"/>
          </p:nvPr>
        </p:nvSpPr>
        <p:spPr/>
        <p:txBody>
          <a:bodyPr/>
          <a:lstStyle>
            <a:lvl1pPr>
              <a:defRPr/>
            </a:lvl1pPr>
          </a:lstStyle>
          <a:p>
            <a:r>
              <a:rPr lang="en-US"/>
              <a:t>Click to add slide title</a:t>
            </a:r>
          </a:p>
        </p:txBody>
      </p:sp>
      <p:sp>
        <p:nvSpPr>
          <p:cNvPr id="7" name="Subtitle 2"/>
          <p:cNvSpPr>
            <a:spLocks noGrp="1"/>
          </p:cNvSpPr>
          <p:nvPr>
            <p:ph type="subTitle" idx="13" hasCustomPrompt="1"/>
          </p:nvPr>
        </p:nvSpPr>
        <p:spPr>
          <a:xfrm>
            <a:off x="1075061" y="964671"/>
            <a:ext cx="7910158" cy="490042"/>
          </a:xfrm>
        </p:spPr>
        <p:txBody>
          <a:bodyPr wrap="none"/>
          <a:lstStyle>
            <a:lvl1pPr marL="0" indent="0" algn="l">
              <a:spcBef>
                <a:spcPts val="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sp>
        <p:nvSpPr>
          <p:cNvPr id="3" name="Content Placeholder 2"/>
          <p:cNvSpPr>
            <a:spLocks noGrp="1"/>
          </p:cNvSpPr>
          <p:nvPr>
            <p:ph idx="1" hasCustomPrompt="1"/>
          </p:nvPr>
        </p:nvSpPr>
        <p:spPr>
          <a:xfrm>
            <a:off x="1075062" y="1629618"/>
            <a:ext cx="5220000" cy="4139357"/>
          </a:xfrm>
        </p:spPr>
        <p:txBody>
          <a:bodyPr/>
          <a:lstStyle>
            <a:lvl1pPr>
              <a:defRPr/>
            </a:lvl1pPr>
          </a:lstStyle>
          <a:p>
            <a:pPr lvl="0"/>
            <a:r>
              <a:rPr lang="en-US"/>
              <a:t>Click to add text or content</a:t>
            </a:r>
          </a:p>
          <a:p>
            <a:pPr lvl="1"/>
            <a:r>
              <a:rPr lang="en-US"/>
              <a:t>Second level</a:t>
            </a:r>
          </a:p>
          <a:p>
            <a:pPr lvl="2"/>
            <a:r>
              <a:rPr lang="en-US"/>
              <a:t>Third level</a:t>
            </a:r>
          </a:p>
          <a:p>
            <a:pPr lvl="3"/>
            <a:r>
              <a:rPr lang="en-US"/>
              <a:t>Fourth level</a:t>
            </a:r>
          </a:p>
          <a:p>
            <a:pPr lvl="4"/>
            <a:r>
              <a:rPr lang="en-US"/>
              <a:t>Fifth level</a:t>
            </a:r>
          </a:p>
        </p:txBody>
      </p:sp>
      <p:sp>
        <p:nvSpPr>
          <p:cNvPr id="9" name="Content Placeholder 2"/>
          <p:cNvSpPr>
            <a:spLocks noGrp="1"/>
          </p:cNvSpPr>
          <p:nvPr>
            <p:ph idx="17" hasCustomPrompt="1"/>
          </p:nvPr>
        </p:nvSpPr>
        <p:spPr>
          <a:xfrm>
            <a:off x="6600525" y="1629618"/>
            <a:ext cx="5220000" cy="4139357"/>
          </a:xfrm>
        </p:spPr>
        <p:txBody>
          <a:bodyPr/>
          <a:lstStyle>
            <a:lvl1pPr>
              <a:defRPr/>
            </a:lvl1pPr>
          </a:lstStyle>
          <a:p>
            <a:pPr lvl="0"/>
            <a:r>
              <a:rPr lang="en-US"/>
              <a:t>Click to add text or content</a:t>
            </a:r>
          </a:p>
          <a:p>
            <a:pPr lvl="1"/>
            <a:r>
              <a:rPr lang="en-US"/>
              <a:t>Second level</a:t>
            </a:r>
          </a:p>
          <a:p>
            <a:pPr lvl="2"/>
            <a:r>
              <a:rPr lang="en-US"/>
              <a:t>Third level</a:t>
            </a:r>
          </a:p>
          <a:p>
            <a:pPr lvl="3"/>
            <a:r>
              <a:rPr lang="en-US"/>
              <a:t>Fourth level</a:t>
            </a:r>
          </a:p>
          <a:p>
            <a:pPr lvl="4"/>
            <a:r>
              <a:rPr lang="en-US"/>
              <a:t>Fifth level</a:t>
            </a:r>
          </a:p>
        </p:txBody>
      </p:sp>
      <p:sp>
        <p:nvSpPr>
          <p:cNvPr id="11" name="Text Placeholder 4"/>
          <p:cNvSpPr>
            <a:spLocks noGrp="1"/>
          </p:cNvSpPr>
          <p:nvPr>
            <p:ph type="body" sz="quarter" idx="18" hasCustomPrompt="1"/>
          </p:nvPr>
        </p:nvSpPr>
        <p:spPr>
          <a:xfrm>
            <a:off x="1075063" y="6307665"/>
            <a:ext cx="8162717" cy="133200"/>
          </a:xfrm>
        </p:spPr>
        <p:txBody>
          <a:bodyPr lIns="0" tIns="0" rIns="0" bIns="0" anchor="b" anchorCtr="0"/>
          <a:lstStyle>
            <a:lvl1pPr marL="0" indent="0" algn="l">
              <a:lnSpc>
                <a:spcPct val="100000"/>
              </a:lnSpc>
              <a:spcBef>
                <a:spcPts val="0"/>
              </a:spcBef>
              <a:buNone/>
              <a:defRPr sz="800" baseline="0"/>
            </a:lvl1pPr>
            <a:lvl2pPr marL="0" indent="0" algn="l">
              <a:lnSpc>
                <a:spcPct val="100000"/>
              </a:lnSpc>
              <a:spcBef>
                <a:spcPts val="0"/>
              </a:spcBef>
              <a:buNone/>
              <a:defRPr sz="800"/>
            </a:lvl2pPr>
            <a:lvl3pPr marL="0" indent="0" algn="l">
              <a:lnSpc>
                <a:spcPct val="100000"/>
              </a:lnSpc>
              <a:spcBef>
                <a:spcPts val="0"/>
              </a:spcBef>
              <a:buNone/>
              <a:defRPr sz="800"/>
            </a:lvl3pPr>
            <a:lvl4pPr marL="0" algn="l">
              <a:lnSpc>
                <a:spcPct val="100000"/>
              </a:lnSpc>
              <a:spcBef>
                <a:spcPts val="0"/>
              </a:spcBef>
              <a:buNone/>
              <a:defRPr sz="800"/>
            </a:lvl4pPr>
            <a:lvl5pPr marL="0" indent="0" algn="l">
              <a:lnSpc>
                <a:spcPct val="100000"/>
              </a:lnSpc>
              <a:spcBef>
                <a:spcPts val="0"/>
              </a:spcBef>
              <a:buNone/>
              <a:defRPr sz="800"/>
            </a:lvl5pPr>
          </a:lstStyle>
          <a:p>
            <a:pPr lvl="0"/>
            <a:r>
              <a:rPr lang="en-US"/>
              <a:t>Source line</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85427786"/>
      </p:ext>
    </p:extLst>
  </p:cSld>
  <p:clrMapOvr>
    <a:masterClrMapping/>
  </p:clrMapOvr>
</p:sldLayout>
</file>

<file path=ppt/slideLayouts/slideLayout315.xml><?xml version="1.0" encoding="utf-8"?>
<p:sldLayout xmlns:a="http://schemas.openxmlformats.org/drawingml/2006/main" xmlns:r="http://schemas.openxmlformats.org/officeDocument/2006/relationships" xmlns:p="http://schemas.openxmlformats.org/presentationml/2006/main" preserve="1">
  <p:cSld name="Three contents">
    <p:spTree>
      <p:nvGrpSpPr>
        <p:cNvPr id="1" name=""/>
        <p:cNvGrpSpPr/>
        <p:nvPr/>
      </p:nvGrpSpPr>
      <p:grpSpPr>
        <a:xfrm>
          <a:off x="0" y="0"/>
          <a:ext cx="0" cy="0"/>
          <a:chOff x="0" y="0"/>
          <a:chExt cx="0" cy="0"/>
        </a:xfrm>
      </p:grpSpPr>
      <p:sp>
        <p:nvSpPr>
          <p:cNvPr id="21" name="Date Placeholder 20"/>
          <p:cNvSpPr>
            <a:spLocks noGrp="1"/>
          </p:cNvSpPr>
          <p:nvPr>
            <p:ph type="dt" sz="half" idx="14"/>
          </p:nvPr>
        </p:nvSpPr>
        <p:spPr/>
        <p:txBody>
          <a:bodyPr/>
          <a:lstStyle/>
          <a:p>
            <a:endParaRPr lang="en-US"/>
          </a:p>
        </p:txBody>
      </p:sp>
      <p:sp>
        <p:nvSpPr>
          <p:cNvPr id="22" name="Footer Placeholder 21"/>
          <p:cNvSpPr>
            <a:spLocks noGrp="1"/>
          </p:cNvSpPr>
          <p:nvPr>
            <p:ph type="ftr" sz="quarter" idx="15"/>
          </p:nvPr>
        </p:nvSpPr>
        <p:spPr/>
        <p:txBody>
          <a:bodyPr/>
          <a:lstStyle/>
          <a:p>
            <a:endParaRPr lang="en-US"/>
          </a:p>
        </p:txBody>
      </p:sp>
      <p:sp>
        <p:nvSpPr>
          <p:cNvPr id="23" name="Slide Number Placeholder 22"/>
          <p:cNvSpPr>
            <a:spLocks noGrp="1"/>
          </p:cNvSpPr>
          <p:nvPr>
            <p:ph type="sldNum" sz="quarter" idx="16"/>
          </p:nvPr>
        </p:nvSpPr>
        <p:spPr/>
        <p:txBody>
          <a:bodyPr/>
          <a:lstStyle/>
          <a:p>
            <a:fld id="{5F3E29E4-0979-4FCA-B4C5-5FC6044C982A}" type="slidenum">
              <a:rPr lang="en-US" smtClean="0"/>
              <a:t>‹#›</a:t>
            </a:fld>
            <a:endParaRPr lang="en-US"/>
          </a:p>
        </p:txBody>
      </p:sp>
      <p:sp>
        <p:nvSpPr>
          <p:cNvPr id="2" name="Title 1"/>
          <p:cNvSpPr>
            <a:spLocks noGrp="1"/>
          </p:cNvSpPr>
          <p:nvPr>
            <p:ph type="title" hasCustomPrompt="1"/>
          </p:nvPr>
        </p:nvSpPr>
        <p:spPr/>
        <p:txBody>
          <a:bodyPr/>
          <a:lstStyle>
            <a:lvl1pPr>
              <a:defRPr/>
            </a:lvl1pPr>
          </a:lstStyle>
          <a:p>
            <a:r>
              <a:rPr lang="en-US"/>
              <a:t>Click to add slide title</a:t>
            </a:r>
          </a:p>
        </p:txBody>
      </p:sp>
      <p:sp>
        <p:nvSpPr>
          <p:cNvPr id="7" name="Subtitle 2"/>
          <p:cNvSpPr>
            <a:spLocks noGrp="1"/>
          </p:cNvSpPr>
          <p:nvPr>
            <p:ph type="subTitle" idx="13" hasCustomPrompt="1"/>
          </p:nvPr>
        </p:nvSpPr>
        <p:spPr>
          <a:xfrm>
            <a:off x="1075061" y="964671"/>
            <a:ext cx="7910158" cy="490042"/>
          </a:xfrm>
        </p:spPr>
        <p:txBody>
          <a:bodyPr wrap="none"/>
          <a:lstStyle>
            <a:lvl1pPr marL="0" indent="0" algn="l">
              <a:spcBef>
                <a:spcPts val="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sp>
        <p:nvSpPr>
          <p:cNvPr id="3" name="Content Placeholder 2"/>
          <p:cNvSpPr>
            <a:spLocks noGrp="1"/>
          </p:cNvSpPr>
          <p:nvPr>
            <p:ph idx="1" hasCustomPrompt="1"/>
          </p:nvPr>
        </p:nvSpPr>
        <p:spPr>
          <a:xfrm>
            <a:off x="1075061" y="1629618"/>
            <a:ext cx="3384000" cy="4139357"/>
          </a:xfrm>
        </p:spPr>
        <p:txBody>
          <a:bodyPr/>
          <a:lstStyle>
            <a:lvl1pPr>
              <a:defRPr/>
            </a:lvl1pPr>
          </a:lstStyle>
          <a:p>
            <a:pPr lvl="0"/>
            <a:r>
              <a:rPr lang="en-US"/>
              <a:t>Click to add text or content</a:t>
            </a:r>
          </a:p>
          <a:p>
            <a:pPr lvl="1"/>
            <a:r>
              <a:rPr lang="en-US"/>
              <a:t>Second level</a:t>
            </a:r>
          </a:p>
          <a:p>
            <a:pPr lvl="2"/>
            <a:r>
              <a:rPr lang="en-US"/>
              <a:t>Third level</a:t>
            </a:r>
          </a:p>
          <a:p>
            <a:pPr lvl="3"/>
            <a:r>
              <a:rPr lang="en-US"/>
              <a:t>Fourth level</a:t>
            </a:r>
          </a:p>
          <a:p>
            <a:pPr lvl="4"/>
            <a:r>
              <a:rPr lang="en-US"/>
              <a:t>Fifth level</a:t>
            </a:r>
          </a:p>
        </p:txBody>
      </p:sp>
      <p:sp>
        <p:nvSpPr>
          <p:cNvPr id="9" name="Content Placeholder 2"/>
          <p:cNvSpPr>
            <a:spLocks noGrp="1"/>
          </p:cNvSpPr>
          <p:nvPr>
            <p:ph idx="17" hasCustomPrompt="1"/>
          </p:nvPr>
        </p:nvSpPr>
        <p:spPr>
          <a:xfrm>
            <a:off x="4755793" y="1629618"/>
            <a:ext cx="3384000" cy="4139357"/>
          </a:xfrm>
        </p:spPr>
        <p:txBody>
          <a:bodyPr/>
          <a:lstStyle>
            <a:lvl1pPr>
              <a:defRPr/>
            </a:lvl1pPr>
          </a:lstStyle>
          <a:p>
            <a:pPr lvl="0"/>
            <a:r>
              <a:rPr lang="en-US"/>
              <a:t>Click to add text or content</a:t>
            </a:r>
          </a:p>
          <a:p>
            <a:pPr lvl="1"/>
            <a:r>
              <a:rPr lang="en-US"/>
              <a:t>Second level</a:t>
            </a:r>
          </a:p>
          <a:p>
            <a:pPr lvl="2"/>
            <a:r>
              <a:rPr lang="en-US"/>
              <a:t>Third level</a:t>
            </a:r>
          </a:p>
          <a:p>
            <a:pPr lvl="3"/>
            <a:r>
              <a:rPr lang="en-US"/>
              <a:t>Fourth level</a:t>
            </a:r>
          </a:p>
          <a:p>
            <a:pPr lvl="4"/>
            <a:r>
              <a:rPr lang="en-US"/>
              <a:t>Fifth level</a:t>
            </a:r>
          </a:p>
        </p:txBody>
      </p:sp>
      <p:sp>
        <p:nvSpPr>
          <p:cNvPr id="10" name="Content Placeholder 2"/>
          <p:cNvSpPr>
            <a:spLocks noGrp="1"/>
          </p:cNvSpPr>
          <p:nvPr>
            <p:ph idx="18" hasCustomPrompt="1"/>
          </p:nvPr>
        </p:nvSpPr>
        <p:spPr>
          <a:xfrm>
            <a:off x="8436525" y="1629618"/>
            <a:ext cx="3384000" cy="4139357"/>
          </a:xfrm>
        </p:spPr>
        <p:txBody>
          <a:bodyPr/>
          <a:lstStyle>
            <a:lvl1pPr>
              <a:defRPr/>
            </a:lvl1pPr>
          </a:lstStyle>
          <a:p>
            <a:pPr lvl="0"/>
            <a:r>
              <a:rPr lang="en-US"/>
              <a:t>Click to add text or content</a:t>
            </a:r>
          </a:p>
          <a:p>
            <a:pPr lvl="1"/>
            <a:r>
              <a:rPr lang="en-US"/>
              <a:t>Second level</a:t>
            </a:r>
          </a:p>
          <a:p>
            <a:pPr lvl="2"/>
            <a:r>
              <a:rPr lang="en-US"/>
              <a:t>Third level</a:t>
            </a:r>
          </a:p>
          <a:p>
            <a:pPr lvl="3"/>
            <a:r>
              <a:rPr lang="en-US"/>
              <a:t>Fourth level</a:t>
            </a:r>
          </a:p>
          <a:p>
            <a:pPr lvl="4"/>
            <a:r>
              <a:rPr lang="en-US"/>
              <a:t>Fifth level</a:t>
            </a:r>
          </a:p>
        </p:txBody>
      </p:sp>
      <p:sp>
        <p:nvSpPr>
          <p:cNvPr id="12" name="Text Placeholder 4"/>
          <p:cNvSpPr>
            <a:spLocks noGrp="1"/>
          </p:cNvSpPr>
          <p:nvPr>
            <p:ph type="body" sz="quarter" idx="19" hasCustomPrompt="1"/>
          </p:nvPr>
        </p:nvSpPr>
        <p:spPr>
          <a:xfrm>
            <a:off x="1075063" y="6307665"/>
            <a:ext cx="8162717" cy="133200"/>
          </a:xfrm>
        </p:spPr>
        <p:txBody>
          <a:bodyPr lIns="0" tIns="0" rIns="0" bIns="0" anchor="b" anchorCtr="0"/>
          <a:lstStyle>
            <a:lvl1pPr marL="0" indent="0" algn="l">
              <a:lnSpc>
                <a:spcPct val="100000"/>
              </a:lnSpc>
              <a:spcBef>
                <a:spcPts val="0"/>
              </a:spcBef>
              <a:buNone/>
              <a:defRPr sz="800" baseline="0"/>
            </a:lvl1pPr>
            <a:lvl2pPr marL="0" indent="0" algn="l">
              <a:lnSpc>
                <a:spcPct val="100000"/>
              </a:lnSpc>
              <a:spcBef>
                <a:spcPts val="0"/>
              </a:spcBef>
              <a:buNone/>
              <a:defRPr sz="800"/>
            </a:lvl2pPr>
            <a:lvl3pPr marL="0" indent="0" algn="l">
              <a:lnSpc>
                <a:spcPct val="100000"/>
              </a:lnSpc>
              <a:spcBef>
                <a:spcPts val="0"/>
              </a:spcBef>
              <a:buNone/>
              <a:defRPr sz="800"/>
            </a:lvl3pPr>
            <a:lvl4pPr marL="0" algn="l">
              <a:lnSpc>
                <a:spcPct val="100000"/>
              </a:lnSpc>
              <a:spcBef>
                <a:spcPts val="0"/>
              </a:spcBef>
              <a:buNone/>
              <a:defRPr sz="800"/>
            </a:lvl4pPr>
            <a:lvl5pPr marL="0" indent="0" algn="l">
              <a:lnSpc>
                <a:spcPct val="100000"/>
              </a:lnSpc>
              <a:spcBef>
                <a:spcPts val="0"/>
              </a:spcBef>
              <a:buNone/>
              <a:defRPr sz="800"/>
            </a:lvl5pPr>
          </a:lstStyle>
          <a:p>
            <a:pPr lvl="0"/>
            <a:r>
              <a:rPr lang="en-US"/>
              <a:t>Source line</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61392117"/>
      </p:ext>
    </p:extLst>
  </p:cSld>
  <p:clrMapOvr>
    <a:masterClrMapping/>
  </p:clrMapOvr>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p:cSld name="Four contents 1">
    <p:spTree>
      <p:nvGrpSpPr>
        <p:cNvPr id="1" name=""/>
        <p:cNvGrpSpPr/>
        <p:nvPr/>
      </p:nvGrpSpPr>
      <p:grpSpPr>
        <a:xfrm>
          <a:off x="0" y="0"/>
          <a:ext cx="0" cy="0"/>
          <a:chOff x="0" y="0"/>
          <a:chExt cx="0" cy="0"/>
        </a:xfrm>
      </p:grpSpPr>
      <p:sp>
        <p:nvSpPr>
          <p:cNvPr id="21" name="Date Placeholder 20"/>
          <p:cNvSpPr>
            <a:spLocks noGrp="1"/>
          </p:cNvSpPr>
          <p:nvPr>
            <p:ph type="dt" sz="half" idx="14"/>
          </p:nvPr>
        </p:nvSpPr>
        <p:spPr/>
        <p:txBody>
          <a:bodyPr/>
          <a:lstStyle/>
          <a:p>
            <a:endParaRPr lang="en-US"/>
          </a:p>
        </p:txBody>
      </p:sp>
      <p:sp>
        <p:nvSpPr>
          <p:cNvPr id="22" name="Footer Placeholder 21"/>
          <p:cNvSpPr>
            <a:spLocks noGrp="1"/>
          </p:cNvSpPr>
          <p:nvPr>
            <p:ph type="ftr" sz="quarter" idx="15"/>
          </p:nvPr>
        </p:nvSpPr>
        <p:spPr/>
        <p:txBody>
          <a:bodyPr/>
          <a:lstStyle/>
          <a:p>
            <a:endParaRPr lang="en-US"/>
          </a:p>
        </p:txBody>
      </p:sp>
      <p:sp>
        <p:nvSpPr>
          <p:cNvPr id="23" name="Slide Number Placeholder 22"/>
          <p:cNvSpPr>
            <a:spLocks noGrp="1"/>
          </p:cNvSpPr>
          <p:nvPr>
            <p:ph type="sldNum" sz="quarter" idx="16"/>
          </p:nvPr>
        </p:nvSpPr>
        <p:spPr/>
        <p:txBody>
          <a:bodyPr/>
          <a:lstStyle/>
          <a:p>
            <a:fld id="{5F3E29E4-0979-4FCA-B4C5-5FC6044C982A}" type="slidenum">
              <a:rPr lang="en-US" smtClean="0"/>
              <a:t>‹#›</a:t>
            </a:fld>
            <a:endParaRPr lang="en-US"/>
          </a:p>
        </p:txBody>
      </p:sp>
      <p:sp>
        <p:nvSpPr>
          <p:cNvPr id="2" name="Title 1"/>
          <p:cNvSpPr>
            <a:spLocks noGrp="1"/>
          </p:cNvSpPr>
          <p:nvPr>
            <p:ph type="title" hasCustomPrompt="1"/>
          </p:nvPr>
        </p:nvSpPr>
        <p:spPr/>
        <p:txBody>
          <a:bodyPr/>
          <a:lstStyle>
            <a:lvl1pPr>
              <a:defRPr/>
            </a:lvl1pPr>
          </a:lstStyle>
          <a:p>
            <a:r>
              <a:rPr lang="en-US"/>
              <a:t>Click to add slide title</a:t>
            </a:r>
          </a:p>
        </p:txBody>
      </p:sp>
      <p:sp>
        <p:nvSpPr>
          <p:cNvPr id="7" name="Subtitle 2"/>
          <p:cNvSpPr>
            <a:spLocks noGrp="1"/>
          </p:cNvSpPr>
          <p:nvPr>
            <p:ph type="subTitle" idx="13" hasCustomPrompt="1"/>
          </p:nvPr>
        </p:nvSpPr>
        <p:spPr>
          <a:xfrm>
            <a:off x="1075061" y="964671"/>
            <a:ext cx="7910158" cy="490042"/>
          </a:xfrm>
        </p:spPr>
        <p:txBody>
          <a:bodyPr wrap="none"/>
          <a:lstStyle>
            <a:lvl1pPr marL="0" indent="0" algn="l">
              <a:spcBef>
                <a:spcPts val="0"/>
              </a:spcBef>
              <a:buNone/>
              <a:defRPr sz="2400" baseline="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sp>
        <p:nvSpPr>
          <p:cNvPr id="3" name="Content Placeholder 2"/>
          <p:cNvSpPr>
            <a:spLocks noGrp="1"/>
          </p:cNvSpPr>
          <p:nvPr>
            <p:ph idx="1" hasCustomPrompt="1"/>
          </p:nvPr>
        </p:nvSpPr>
        <p:spPr>
          <a:xfrm>
            <a:off x="192088" y="1629618"/>
            <a:ext cx="2682000" cy="4139357"/>
          </a:xfrm>
        </p:spPr>
        <p:txBody>
          <a:bodyPr/>
          <a:lstStyle>
            <a:lvl1pPr>
              <a:defRPr/>
            </a:lvl1pPr>
          </a:lstStyle>
          <a:p>
            <a:pPr lvl="0"/>
            <a:r>
              <a:rPr lang="en-US"/>
              <a:t>Click to add text or content</a:t>
            </a:r>
          </a:p>
          <a:p>
            <a:pPr lvl="1"/>
            <a:r>
              <a:rPr lang="en-US"/>
              <a:t>Second level</a:t>
            </a:r>
          </a:p>
          <a:p>
            <a:pPr lvl="2"/>
            <a:r>
              <a:rPr lang="en-US"/>
              <a:t>Third level</a:t>
            </a:r>
          </a:p>
          <a:p>
            <a:pPr lvl="3"/>
            <a:r>
              <a:rPr lang="en-US"/>
              <a:t>Fourth level</a:t>
            </a:r>
          </a:p>
          <a:p>
            <a:pPr lvl="4"/>
            <a:r>
              <a:rPr lang="en-US"/>
              <a:t>Fifth level</a:t>
            </a:r>
          </a:p>
        </p:txBody>
      </p:sp>
      <p:sp>
        <p:nvSpPr>
          <p:cNvPr id="9" name="Content Placeholder 2"/>
          <p:cNvSpPr>
            <a:spLocks noGrp="1"/>
          </p:cNvSpPr>
          <p:nvPr>
            <p:ph idx="17" hasCustomPrompt="1"/>
          </p:nvPr>
        </p:nvSpPr>
        <p:spPr>
          <a:xfrm>
            <a:off x="3174234" y="1629618"/>
            <a:ext cx="2682000" cy="4139357"/>
          </a:xfrm>
        </p:spPr>
        <p:txBody>
          <a:bodyPr/>
          <a:lstStyle>
            <a:lvl1pPr>
              <a:defRPr/>
            </a:lvl1pPr>
          </a:lstStyle>
          <a:p>
            <a:pPr lvl="0"/>
            <a:r>
              <a:rPr lang="en-US"/>
              <a:t>Click to add text or content</a:t>
            </a:r>
          </a:p>
          <a:p>
            <a:pPr lvl="1"/>
            <a:r>
              <a:rPr lang="en-US"/>
              <a:t>Second level</a:t>
            </a:r>
          </a:p>
          <a:p>
            <a:pPr lvl="2"/>
            <a:r>
              <a:rPr lang="en-US"/>
              <a:t>Third level</a:t>
            </a:r>
          </a:p>
          <a:p>
            <a:pPr lvl="3"/>
            <a:r>
              <a:rPr lang="en-US"/>
              <a:t>Fourth level</a:t>
            </a:r>
          </a:p>
          <a:p>
            <a:pPr lvl="4"/>
            <a:r>
              <a:rPr lang="en-US"/>
              <a:t>Fifth level</a:t>
            </a:r>
          </a:p>
        </p:txBody>
      </p:sp>
      <p:sp>
        <p:nvSpPr>
          <p:cNvPr id="10" name="Content Placeholder 2"/>
          <p:cNvSpPr>
            <a:spLocks noGrp="1"/>
          </p:cNvSpPr>
          <p:nvPr>
            <p:ph idx="18" hasCustomPrompt="1"/>
          </p:nvPr>
        </p:nvSpPr>
        <p:spPr>
          <a:xfrm>
            <a:off x="6156380" y="1629618"/>
            <a:ext cx="2682000" cy="4139357"/>
          </a:xfrm>
        </p:spPr>
        <p:txBody>
          <a:bodyPr/>
          <a:lstStyle>
            <a:lvl1pPr>
              <a:defRPr/>
            </a:lvl1pPr>
          </a:lstStyle>
          <a:p>
            <a:pPr lvl="0"/>
            <a:r>
              <a:rPr lang="en-US"/>
              <a:t>Click to add text or content</a:t>
            </a:r>
          </a:p>
          <a:p>
            <a:pPr lvl="1"/>
            <a:r>
              <a:rPr lang="en-US"/>
              <a:t>Second level</a:t>
            </a:r>
          </a:p>
          <a:p>
            <a:pPr lvl="2"/>
            <a:r>
              <a:rPr lang="en-US"/>
              <a:t>Third level</a:t>
            </a:r>
          </a:p>
          <a:p>
            <a:pPr lvl="3"/>
            <a:r>
              <a:rPr lang="en-US"/>
              <a:t>Fourth level</a:t>
            </a:r>
          </a:p>
          <a:p>
            <a:pPr lvl="4"/>
            <a:r>
              <a:rPr lang="en-US"/>
              <a:t>Fifth level</a:t>
            </a:r>
          </a:p>
        </p:txBody>
      </p:sp>
      <p:sp>
        <p:nvSpPr>
          <p:cNvPr id="13" name="Content Placeholder 2"/>
          <p:cNvSpPr>
            <a:spLocks noGrp="1"/>
          </p:cNvSpPr>
          <p:nvPr>
            <p:ph idx="19" hasCustomPrompt="1"/>
          </p:nvPr>
        </p:nvSpPr>
        <p:spPr>
          <a:xfrm>
            <a:off x="9138525" y="1629618"/>
            <a:ext cx="2682000" cy="4139357"/>
          </a:xfrm>
        </p:spPr>
        <p:txBody>
          <a:bodyPr/>
          <a:lstStyle>
            <a:lvl1pPr>
              <a:defRPr/>
            </a:lvl1pPr>
          </a:lstStyle>
          <a:p>
            <a:pPr lvl="0"/>
            <a:r>
              <a:rPr lang="en-US"/>
              <a:t>Click to add text or content</a:t>
            </a:r>
          </a:p>
          <a:p>
            <a:pPr lvl="1"/>
            <a:r>
              <a:rPr lang="en-US"/>
              <a:t>Second level</a:t>
            </a:r>
          </a:p>
          <a:p>
            <a:pPr lvl="2"/>
            <a:r>
              <a:rPr lang="en-US"/>
              <a:t>Third level</a:t>
            </a:r>
          </a:p>
          <a:p>
            <a:pPr lvl="3"/>
            <a:r>
              <a:rPr lang="en-US"/>
              <a:t>Fourth level</a:t>
            </a:r>
          </a:p>
          <a:p>
            <a:pPr lvl="4"/>
            <a:r>
              <a:rPr lang="en-US"/>
              <a:t>Fifth level</a:t>
            </a:r>
          </a:p>
        </p:txBody>
      </p:sp>
      <p:sp>
        <p:nvSpPr>
          <p:cNvPr id="12" name="Text Placeholder 4"/>
          <p:cNvSpPr>
            <a:spLocks noGrp="1"/>
          </p:cNvSpPr>
          <p:nvPr>
            <p:ph type="body" sz="quarter" idx="20" hasCustomPrompt="1"/>
          </p:nvPr>
        </p:nvSpPr>
        <p:spPr>
          <a:xfrm>
            <a:off x="1075063" y="6307665"/>
            <a:ext cx="8162717" cy="133200"/>
          </a:xfrm>
        </p:spPr>
        <p:txBody>
          <a:bodyPr lIns="0" tIns="0" rIns="0" bIns="0" anchor="b" anchorCtr="0"/>
          <a:lstStyle>
            <a:lvl1pPr marL="0" indent="0" algn="l">
              <a:lnSpc>
                <a:spcPct val="100000"/>
              </a:lnSpc>
              <a:spcBef>
                <a:spcPts val="0"/>
              </a:spcBef>
              <a:buNone/>
              <a:defRPr sz="800" baseline="0"/>
            </a:lvl1pPr>
            <a:lvl2pPr marL="0" indent="0" algn="l">
              <a:lnSpc>
                <a:spcPct val="100000"/>
              </a:lnSpc>
              <a:spcBef>
                <a:spcPts val="0"/>
              </a:spcBef>
              <a:buNone/>
              <a:defRPr sz="800"/>
            </a:lvl2pPr>
            <a:lvl3pPr marL="0" indent="0" algn="l">
              <a:lnSpc>
                <a:spcPct val="100000"/>
              </a:lnSpc>
              <a:spcBef>
                <a:spcPts val="0"/>
              </a:spcBef>
              <a:buNone/>
              <a:defRPr sz="800"/>
            </a:lvl3pPr>
            <a:lvl4pPr marL="0" algn="l">
              <a:lnSpc>
                <a:spcPct val="100000"/>
              </a:lnSpc>
              <a:spcBef>
                <a:spcPts val="0"/>
              </a:spcBef>
              <a:buNone/>
              <a:defRPr sz="800"/>
            </a:lvl4pPr>
            <a:lvl5pPr marL="0" indent="0" algn="l">
              <a:lnSpc>
                <a:spcPct val="100000"/>
              </a:lnSpc>
              <a:spcBef>
                <a:spcPts val="0"/>
              </a:spcBef>
              <a:buNone/>
              <a:defRPr sz="800"/>
            </a:lvl5pPr>
          </a:lstStyle>
          <a:p>
            <a:pPr lvl="0"/>
            <a:r>
              <a:rPr lang="en-US"/>
              <a:t>Source line</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02766163"/>
      </p:ext>
    </p:extLst>
  </p:cSld>
  <p:clrMapOvr>
    <a:masterClrMapping/>
  </p:clrMapOvr>
</p:sldLayout>
</file>

<file path=ppt/slideLayouts/slideLayout317.xml><?xml version="1.0" encoding="utf-8"?>
<p:sldLayout xmlns:a="http://schemas.openxmlformats.org/drawingml/2006/main" xmlns:r="http://schemas.openxmlformats.org/officeDocument/2006/relationships" xmlns:p="http://schemas.openxmlformats.org/presentationml/2006/main" preserve="1">
  <p:cSld name="Four contents 2">
    <p:spTree>
      <p:nvGrpSpPr>
        <p:cNvPr id="1" name=""/>
        <p:cNvGrpSpPr/>
        <p:nvPr/>
      </p:nvGrpSpPr>
      <p:grpSpPr>
        <a:xfrm>
          <a:off x="0" y="0"/>
          <a:ext cx="0" cy="0"/>
          <a:chOff x="0" y="0"/>
          <a:chExt cx="0" cy="0"/>
        </a:xfrm>
      </p:grpSpPr>
      <p:sp>
        <p:nvSpPr>
          <p:cNvPr id="21" name="Date Placeholder 20"/>
          <p:cNvSpPr>
            <a:spLocks noGrp="1"/>
          </p:cNvSpPr>
          <p:nvPr>
            <p:ph type="dt" sz="half" idx="14"/>
          </p:nvPr>
        </p:nvSpPr>
        <p:spPr/>
        <p:txBody>
          <a:bodyPr/>
          <a:lstStyle/>
          <a:p>
            <a:endParaRPr lang="en-US"/>
          </a:p>
        </p:txBody>
      </p:sp>
      <p:sp>
        <p:nvSpPr>
          <p:cNvPr id="22" name="Footer Placeholder 21"/>
          <p:cNvSpPr>
            <a:spLocks noGrp="1"/>
          </p:cNvSpPr>
          <p:nvPr>
            <p:ph type="ftr" sz="quarter" idx="15"/>
          </p:nvPr>
        </p:nvSpPr>
        <p:spPr/>
        <p:txBody>
          <a:bodyPr/>
          <a:lstStyle/>
          <a:p>
            <a:endParaRPr lang="en-US"/>
          </a:p>
        </p:txBody>
      </p:sp>
      <p:sp>
        <p:nvSpPr>
          <p:cNvPr id="23" name="Slide Number Placeholder 22"/>
          <p:cNvSpPr>
            <a:spLocks noGrp="1"/>
          </p:cNvSpPr>
          <p:nvPr>
            <p:ph type="sldNum" sz="quarter" idx="16"/>
          </p:nvPr>
        </p:nvSpPr>
        <p:spPr/>
        <p:txBody>
          <a:bodyPr/>
          <a:lstStyle/>
          <a:p>
            <a:fld id="{5F3E29E4-0979-4FCA-B4C5-5FC6044C982A}" type="slidenum">
              <a:rPr lang="en-US" smtClean="0"/>
              <a:t>‹#›</a:t>
            </a:fld>
            <a:endParaRPr lang="en-US"/>
          </a:p>
        </p:txBody>
      </p:sp>
      <p:sp>
        <p:nvSpPr>
          <p:cNvPr id="2" name="Title 1"/>
          <p:cNvSpPr>
            <a:spLocks noGrp="1"/>
          </p:cNvSpPr>
          <p:nvPr>
            <p:ph type="title" hasCustomPrompt="1"/>
          </p:nvPr>
        </p:nvSpPr>
        <p:spPr/>
        <p:txBody>
          <a:bodyPr/>
          <a:lstStyle>
            <a:lvl1pPr>
              <a:defRPr/>
            </a:lvl1pPr>
          </a:lstStyle>
          <a:p>
            <a:r>
              <a:rPr lang="en-US"/>
              <a:t>Click to add slide title</a:t>
            </a:r>
          </a:p>
        </p:txBody>
      </p:sp>
      <p:sp>
        <p:nvSpPr>
          <p:cNvPr id="7" name="Subtitle 2"/>
          <p:cNvSpPr>
            <a:spLocks noGrp="1"/>
          </p:cNvSpPr>
          <p:nvPr>
            <p:ph type="subTitle" idx="13" hasCustomPrompt="1"/>
          </p:nvPr>
        </p:nvSpPr>
        <p:spPr>
          <a:xfrm>
            <a:off x="1075061" y="964671"/>
            <a:ext cx="7910158" cy="490042"/>
          </a:xfrm>
        </p:spPr>
        <p:txBody>
          <a:bodyPr wrap="none"/>
          <a:lstStyle>
            <a:lvl1pPr marL="0" indent="0" algn="l">
              <a:spcBef>
                <a:spcPts val="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sp>
        <p:nvSpPr>
          <p:cNvPr id="3" name="Content Placeholder 2"/>
          <p:cNvSpPr>
            <a:spLocks noGrp="1"/>
          </p:cNvSpPr>
          <p:nvPr>
            <p:ph idx="1" hasCustomPrompt="1"/>
          </p:nvPr>
        </p:nvSpPr>
        <p:spPr>
          <a:xfrm>
            <a:off x="192088" y="1629617"/>
            <a:ext cx="6102974" cy="2160000"/>
          </a:xfrm>
        </p:spPr>
        <p:txBody>
          <a:bodyPr/>
          <a:lstStyle>
            <a:lvl1pPr>
              <a:defRPr/>
            </a:lvl1pPr>
          </a:lstStyle>
          <a:p>
            <a:pPr lvl="0"/>
            <a:r>
              <a:rPr lang="en-US"/>
              <a:t>Click to add text or content</a:t>
            </a:r>
          </a:p>
          <a:p>
            <a:pPr lvl="1"/>
            <a:r>
              <a:rPr lang="en-US"/>
              <a:t>Second level</a:t>
            </a:r>
          </a:p>
          <a:p>
            <a:pPr lvl="2"/>
            <a:r>
              <a:rPr lang="en-US"/>
              <a:t>Third level</a:t>
            </a:r>
          </a:p>
          <a:p>
            <a:pPr lvl="3"/>
            <a:r>
              <a:rPr lang="en-US"/>
              <a:t>Fourth level</a:t>
            </a:r>
          </a:p>
          <a:p>
            <a:pPr lvl="4"/>
            <a:r>
              <a:rPr lang="en-US"/>
              <a:t>Fifth level</a:t>
            </a:r>
          </a:p>
        </p:txBody>
      </p:sp>
      <p:sp>
        <p:nvSpPr>
          <p:cNvPr id="9" name="Content Placeholder 2"/>
          <p:cNvSpPr>
            <a:spLocks noGrp="1"/>
          </p:cNvSpPr>
          <p:nvPr>
            <p:ph idx="17" hasCustomPrompt="1"/>
          </p:nvPr>
        </p:nvSpPr>
        <p:spPr>
          <a:xfrm>
            <a:off x="6600525" y="1629617"/>
            <a:ext cx="5234144" cy="2160000"/>
          </a:xfrm>
        </p:spPr>
        <p:txBody>
          <a:bodyPr/>
          <a:lstStyle>
            <a:lvl1pPr>
              <a:defRPr/>
            </a:lvl1pPr>
          </a:lstStyle>
          <a:p>
            <a:pPr lvl="0"/>
            <a:r>
              <a:rPr lang="en-US"/>
              <a:t>Click to add text or content</a:t>
            </a:r>
          </a:p>
          <a:p>
            <a:pPr lvl="1"/>
            <a:r>
              <a:rPr lang="en-US"/>
              <a:t>Second level</a:t>
            </a:r>
          </a:p>
          <a:p>
            <a:pPr lvl="2"/>
            <a:r>
              <a:rPr lang="en-US"/>
              <a:t>Third level</a:t>
            </a:r>
          </a:p>
          <a:p>
            <a:pPr lvl="3"/>
            <a:r>
              <a:rPr lang="en-US"/>
              <a:t>Fourth level</a:t>
            </a:r>
          </a:p>
          <a:p>
            <a:pPr lvl="4"/>
            <a:r>
              <a:rPr lang="en-US"/>
              <a:t>Fifth level</a:t>
            </a:r>
          </a:p>
        </p:txBody>
      </p:sp>
      <p:sp>
        <p:nvSpPr>
          <p:cNvPr id="10" name="Content Placeholder 2"/>
          <p:cNvSpPr>
            <a:spLocks noGrp="1"/>
          </p:cNvSpPr>
          <p:nvPr>
            <p:ph idx="18" hasCustomPrompt="1"/>
          </p:nvPr>
        </p:nvSpPr>
        <p:spPr>
          <a:xfrm>
            <a:off x="192088" y="4077289"/>
            <a:ext cx="6102974" cy="2160000"/>
          </a:xfrm>
        </p:spPr>
        <p:txBody>
          <a:bodyPr/>
          <a:lstStyle>
            <a:lvl1pPr>
              <a:defRPr/>
            </a:lvl1pPr>
          </a:lstStyle>
          <a:p>
            <a:pPr lvl="0"/>
            <a:r>
              <a:rPr lang="en-US"/>
              <a:t>Click to add text or content</a:t>
            </a:r>
          </a:p>
          <a:p>
            <a:pPr lvl="1"/>
            <a:r>
              <a:rPr lang="en-US"/>
              <a:t>Second level</a:t>
            </a:r>
          </a:p>
          <a:p>
            <a:pPr lvl="2"/>
            <a:r>
              <a:rPr lang="en-US"/>
              <a:t>Third level</a:t>
            </a:r>
          </a:p>
          <a:p>
            <a:pPr lvl="3"/>
            <a:r>
              <a:rPr lang="en-US"/>
              <a:t>Fourth level</a:t>
            </a:r>
          </a:p>
          <a:p>
            <a:pPr lvl="4"/>
            <a:r>
              <a:rPr lang="en-US"/>
              <a:t>Fifth level</a:t>
            </a:r>
          </a:p>
        </p:txBody>
      </p:sp>
      <p:sp>
        <p:nvSpPr>
          <p:cNvPr id="13" name="Content Placeholder 2"/>
          <p:cNvSpPr>
            <a:spLocks noGrp="1"/>
          </p:cNvSpPr>
          <p:nvPr>
            <p:ph idx="19" hasCustomPrompt="1"/>
          </p:nvPr>
        </p:nvSpPr>
        <p:spPr>
          <a:xfrm>
            <a:off x="6600525" y="4077289"/>
            <a:ext cx="5234144" cy="2160000"/>
          </a:xfrm>
        </p:spPr>
        <p:txBody>
          <a:bodyPr/>
          <a:lstStyle>
            <a:lvl1pPr>
              <a:defRPr/>
            </a:lvl1pPr>
          </a:lstStyle>
          <a:p>
            <a:pPr lvl="0"/>
            <a:r>
              <a:rPr lang="en-US"/>
              <a:t>Click to add text or content</a:t>
            </a:r>
          </a:p>
          <a:p>
            <a:pPr lvl="1"/>
            <a:r>
              <a:rPr lang="en-US"/>
              <a:t>Second level</a:t>
            </a:r>
          </a:p>
          <a:p>
            <a:pPr lvl="2"/>
            <a:r>
              <a:rPr lang="en-US"/>
              <a:t>Third level</a:t>
            </a:r>
          </a:p>
          <a:p>
            <a:pPr lvl="3"/>
            <a:r>
              <a:rPr lang="en-US"/>
              <a:t>Fourth level</a:t>
            </a:r>
          </a:p>
          <a:p>
            <a:pPr lvl="4"/>
            <a:r>
              <a:rPr lang="en-US"/>
              <a:t>Fifth level</a:t>
            </a:r>
          </a:p>
        </p:txBody>
      </p:sp>
      <p:sp>
        <p:nvSpPr>
          <p:cNvPr id="12" name="Text Placeholder 4"/>
          <p:cNvSpPr>
            <a:spLocks noGrp="1"/>
          </p:cNvSpPr>
          <p:nvPr>
            <p:ph type="body" sz="quarter" idx="20" hasCustomPrompt="1"/>
          </p:nvPr>
        </p:nvSpPr>
        <p:spPr>
          <a:xfrm>
            <a:off x="1075063" y="6307665"/>
            <a:ext cx="8162717" cy="133200"/>
          </a:xfrm>
        </p:spPr>
        <p:txBody>
          <a:bodyPr lIns="0" tIns="0" rIns="0" bIns="0" anchor="b" anchorCtr="0"/>
          <a:lstStyle>
            <a:lvl1pPr marL="0" indent="0" algn="l">
              <a:lnSpc>
                <a:spcPct val="100000"/>
              </a:lnSpc>
              <a:spcBef>
                <a:spcPts val="0"/>
              </a:spcBef>
              <a:buNone/>
              <a:defRPr sz="800" baseline="0"/>
            </a:lvl1pPr>
            <a:lvl2pPr marL="0" indent="0" algn="l">
              <a:lnSpc>
                <a:spcPct val="100000"/>
              </a:lnSpc>
              <a:spcBef>
                <a:spcPts val="0"/>
              </a:spcBef>
              <a:buNone/>
              <a:defRPr sz="800"/>
            </a:lvl2pPr>
            <a:lvl3pPr marL="0" indent="0" algn="l">
              <a:lnSpc>
                <a:spcPct val="100000"/>
              </a:lnSpc>
              <a:spcBef>
                <a:spcPts val="0"/>
              </a:spcBef>
              <a:buNone/>
              <a:defRPr sz="800"/>
            </a:lvl3pPr>
            <a:lvl4pPr marL="0" algn="l">
              <a:lnSpc>
                <a:spcPct val="100000"/>
              </a:lnSpc>
              <a:spcBef>
                <a:spcPts val="0"/>
              </a:spcBef>
              <a:buNone/>
              <a:defRPr sz="800"/>
            </a:lvl4pPr>
            <a:lvl5pPr marL="0" indent="0" algn="l">
              <a:lnSpc>
                <a:spcPct val="100000"/>
              </a:lnSpc>
              <a:spcBef>
                <a:spcPts val="0"/>
              </a:spcBef>
              <a:buNone/>
              <a:defRPr sz="800"/>
            </a:lvl5pPr>
          </a:lstStyle>
          <a:p>
            <a:pPr lvl="0"/>
            <a:r>
              <a:rPr lang="en-US"/>
              <a:t>Source line</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65968874"/>
      </p:ext>
    </p:extLst>
  </p:cSld>
  <p:clrMapOvr>
    <a:masterClrMapping/>
  </p:clrMapOvr>
</p:sldLayout>
</file>

<file path=ppt/slideLayouts/slideLayout318.xml><?xml version="1.0" encoding="utf-8"?>
<p:sldLayout xmlns:a="http://schemas.openxmlformats.org/drawingml/2006/main" xmlns:r="http://schemas.openxmlformats.org/officeDocument/2006/relationships" xmlns:p="http://schemas.openxmlformats.org/presentationml/2006/main" preserve="1">
  <p:cSld name="Large charts and tables">
    <p:spTree>
      <p:nvGrpSpPr>
        <p:cNvPr id="1" name=""/>
        <p:cNvGrpSpPr/>
        <p:nvPr/>
      </p:nvGrpSpPr>
      <p:grpSpPr>
        <a:xfrm>
          <a:off x="0" y="0"/>
          <a:ext cx="0" cy="0"/>
          <a:chOff x="0" y="0"/>
          <a:chExt cx="0" cy="0"/>
        </a:xfrm>
      </p:grpSpPr>
      <p:sp>
        <p:nvSpPr>
          <p:cNvPr id="21" name="Date Placeholder 20"/>
          <p:cNvSpPr>
            <a:spLocks noGrp="1"/>
          </p:cNvSpPr>
          <p:nvPr>
            <p:ph type="dt" sz="half" idx="14"/>
          </p:nvPr>
        </p:nvSpPr>
        <p:spPr/>
        <p:txBody>
          <a:bodyPr/>
          <a:lstStyle/>
          <a:p>
            <a:endParaRPr lang="en-US"/>
          </a:p>
        </p:txBody>
      </p:sp>
      <p:sp>
        <p:nvSpPr>
          <p:cNvPr id="22" name="Footer Placeholder 21"/>
          <p:cNvSpPr>
            <a:spLocks noGrp="1"/>
          </p:cNvSpPr>
          <p:nvPr>
            <p:ph type="ftr" sz="quarter" idx="15"/>
          </p:nvPr>
        </p:nvSpPr>
        <p:spPr/>
        <p:txBody>
          <a:bodyPr/>
          <a:lstStyle/>
          <a:p>
            <a:endParaRPr lang="en-US"/>
          </a:p>
        </p:txBody>
      </p:sp>
      <p:sp>
        <p:nvSpPr>
          <p:cNvPr id="23" name="Slide Number Placeholder 22"/>
          <p:cNvSpPr>
            <a:spLocks noGrp="1"/>
          </p:cNvSpPr>
          <p:nvPr>
            <p:ph type="sldNum" sz="quarter" idx="16"/>
          </p:nvPr>
        </p:nvSpPr>
        <p:spPr/>
        <p:txBody>
          <a:bodyPr/>
          <a:lstStyle/>
          <a:p>
            <a:fld id="{5F3E29E4-0979-4FCA-B4C5-5FC6044C982A}" type="slidenum">
              <a:rPr lang="en-US" smtClean="0"/>
              <a:t>‹#›</a:t>
            </a:fld>
            <a:endParaRPr lang="en-US"/>
          </a:p>
        </p:txBody>
      </p:sp>
      <p:sp>
        <p:nvSpPr>
          <p:cNvPr id="2" name="Title 1"/>
          <p:cNvSpPr>
            <a:spLocks noGrp="1"/>
          </p:cNvSpPr>
          <p:nvPr>
            <p:ph type="title" hasCustomPrompt="1"/>
          </p:nvPr>
        </p:nvSpPr>
        <p:spPr/>
        <p:txBody>
          <a:bodyPr/>
          <a:lstStyle>
            <a:lvl1pPr>
              <a:defRPr/>
            </a:lvl1pPr>
          </a:lstStyle>
          <a:p>
            <a:r>
              <a:rPr lang="en-US"/>
              <a:t>Click to add slide title</a:t>
            </a:r>
          </a:p>
        </p:txBody>
      </p:sp>
      <p:sp>
        <p:nvSpPr>
          <p:cNvPr id="7" name="Subtitle 2"/>
          <p:cNvSpPr>
            <a:spLocks noGrp="1"/>
          </p:cNvSpPr>
          <p:nvPr>
            <p:ph type="subTitle" idx="13" hasCustomPrompt="1"/>
          </p:nvPr>
        </p:nvSpPr>
        <p:spPr>
          <a:xfrm>
            <a:off x="1075061" y="964671"/>
            <a:ext cx="7910158" cy="490042"/>
          </a:xfrm>
        </p:spPr>
        <p:txBody>
          <a:bodyPr wrap="none"/>
          <a:lstStyle>
            <a:lvl1pPr marL="0" indent="0" algn="l">
              <a:spcBef>
                <a:spcPts val="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sp>
        <p:nvSpPr>
          <p:cNvPr id="3" name="Content Placeholder 2"/>
          <p:cNvSpPr>
            <a:spLocks noGrp="1"/>
          </p:cNvSpPr>
          <p:nvPr>
            <p:ph idx="1" hasCustomPrompt="1"/>
          </p:nvPr>
        </p:nvSpPr>
        <p:spPr>
          <a:xfrm>
            <a:off x="192088" y="1629617"/>
            <a:ext cx="11642581" cy="4599506"/>
          </a:xfrm>
        </p:spPr>
        <p:txBody>
          <a:bodyPr anchor="t"/>
          <a:lstStyle>
            <a:lvl1pPr marL="0" indent="0" algn="ctr">
              <a:spcBef>
                <a:spcPts val="1000"/>
              </a:spcBef>
              <a:buNone/>
              <a:defRPr sz="2800" baseline="0"/>
            </a:lvl1pPr>
            <a:lvl2pPr marL="0" indent="0">
              <a:spcBef>
                <a:spcPts val="1000"/>
              </a:spcBef>
              <a:buNone/>
              <a:defRPr sz="2800"/>
            </a:lvl2pPr>
            <a:lvl3pPr marL="0" indent="0">
              <a:spcBef>
                <a:spcPts val="1000"/>
              </a:spcBef>
              <a:buNone/>
              <a:defRPr sz="2800"/>
            </a:lvl3pPr>
            <a:lvl4pPr>
              <a:spcBef>
                <a:spcPts val="1000"/>
              </a:spcBef>
              <a:buNone/>
              <a:defRPr sz="2800"/>
            </a:lvl4pPr>
            <a:lvl5pPr marL="0" indent="0">
              <a:spcBef>
                <a:spcPts val="1000"/>
              </a:spcBef>
              <a:buNone/>
              <a:defRPr sz="2800"/>
            </a:lvl5pPr>
          </a:lstStyle>
          <a:p>
            <a:pPr lvl="0"/>
            <a:r>
              <a:rPr lang="en-US"/>
              <a:t>Use this layout for large charts and tables only. Please, do not use with text.</a:t>
            </a:r>
          </a:p>
          <a:p>
            <a:pPr lvl="1"/>
            <a:r>
              <a:rPr lang="en-US"/>
              <a:t>Second level</a:t>
            </a:r>
          </a:p>
          <a:p>
            <a:pPr lvl="2"/>
            <a:r>
              <a:rPr lang="en-US"/>
              <a:t>Third level</a:t>
            </a:r>
          </a:p>
          <a:p>
            <a:pPr lvl="3"/>
            <a:r>
              <a:rPr lang="en-US"/>
              <a:t>Fourth level</a:t>
            </a:r>
          </a:p>
          <a:p>
            <a:pPr lvl="4"/>
            <a:r>
              <a:rPr lang="en-US"/>
              <a:t>Fifth level</a:t>
            </a:r>
          </a:p>
        </p:txBody>
      </p:sp>
      <p:sp>
        <p:nvSpPr>
          <p:cNvPr id="9" name="Text Placeholder 4"/>
          <p:cNvSpPr>
            <a:spLocks noGrp="1"/>
          </p:cNvSpPr>
          <p:nvPr>
            <p:ph type="body" sz="quarter" idx="17" hasCustomPrompt="1"/>
          </p:nvPr>
        </p:nvSpPr>
        <p:spPr>
          <a:xfrm>
            <a:off x="1075063" y="6307665"/>
            <a:ext cx="8162717" cy="133200"/>
          </a:xfrm>
        </p:spPr>
        <p:txBody>
          <a:bodyPr lIns="0" tIns="0" rIns="0" bIns="0" anchor="b" anchorCtr="0"/>
          <a:lstStyle>
            <a:lvl1pPr marL="0" indent="0" algn="l">
              <a:lnSpc>
                <a:spcPct val="100000"/>
              </a:lnSpc>
              <a:spcBef>
                <a:spcPts val="0"/>
              </a:spcBef>
              <a:buNone/>
              <a:defRPr sz="800" baseline="0"/>
            </a:lvl1pPr>
            <a:lvl2pPr marL="0" indent="0" algn="l">
              <a:lnSpc>
                <a:spcPct val="100000"/>
              </a:lnSpc>
              <a:spcBef>
                <a:spcPts val="0"/>
              </a:spcBef>
              <a:buNone/>
              <a:defRPr sz="800"/>
            </a:lvl2pPr>
            <a:lvl3pPr marL="0" indent="0" algn="l">
              <a:lnSpc>
                <a:spcPct val="100000"/>
              </a:lnSpc>
              <a:spcBef>
                <a:spcPts val="0"/>
              </a:spcBef>
              <a:buNone/>
              <a:defRPr sz="800"/>
            </a:lvl3pPr>
            <a:lvl4pPr marL="0" algn="l">
              <a:lnSpc>
                <a:spcPct val="100000"/>
              </a:lnSpc>
              <a:spcBef>
                <a:spcPts val="0"/>
              </a:spcBef>
              <a:buNone/>
              <a:defRPr sz="800"/>
            </a:lvl4pPr>
            <a:lvl5pPr marL="0" indent="0" algn="l">
              <a:lnSpc>
                <a:spcPct val="100000"/>
              </a:lnSpc>
              <a:spcBef>
                <a:spcPts val="0"/>
              </a:spcBef>
              <a:buNone/>
              <a:defRPr sz="800"/>
            </a:lvl5pPr>
          </a:lstStyle>
          <a:p>
            <a:pPr lvl="0"/>
            <a:r>
              <a:rPr lang="en-US"/>
              <a:t>Source line</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61126477"/>
      </p:ext>
    </p:extLst>
  </p:cSld>
  <p:clrMapOvr>
    <a:masterClrMapping/>
  </p:clrMapOvr>
</p:sldLayout>
</file>

<file path=ppt/slideLayouts/slideLayout319.xml><?xml version="1.0" encoding="utf-8"?>
<p:sldLayout xmlns:a="http://schemas.openxmlformats.org/drawingml/2006/main" xmlns:r="http://schemas.openxmlformats.org/officeDocument/2006/relationships" xmlns:p="http://schemas.openxmlformats.org/presentationml/2006/main" preserve="1">
  <p:cSld name="Chart with description">
    <p:spTree>
      <p:nvGrpSpPr>
        <p:cNvPr id="1" name=""/>
        <p:cNvGrpSpPr/>
        <p:nvPr/>
      </p:nvGrpSpPr>
      <p:grpSpPr>
        <a:xfrm>
          <a:off x="0" y="0"/>
          <a:ext cx="0" cy="0"/>
          <a:chOff x="0" y="0"/>
          <a:chExt cx="0" cy="0"/>
        </a:xfrm>
      </p:grpSpPr>
      <p:sp>
        <p:nvSpPr>
          <p:cNvPr id="21" name="Date Placeholder 20"/>
          <p:cNvSpPr>
            <a:spLocks noGrp="1"/>
          </p:cNvSpPr>
          <p:nvPr>
            <p:ph type="dt" sz="half" idx="14"/>
          </p:nvPr>
        </p:nvSpPr>
        <p:spPr/>
        <p:txBody>
          <a:bodyPr/>
          <a:lstStyle/>
          <a:p>
            <a:endParaRPr lang="en-US"/>
          </a:p>
        </p:txBody>
      </p:sp>
      <p:sp>
        <p:nvSpPr>
          <p:cNvPr id="22" name="Footer Placeholder 21"/>
          <p:cNvSpPr>
            <a:spLocks noGrp="1"/>
          </p:cNvSpPr>
          <p:nvPr>
            <p:ph type="ftr" sz="quarter" idx="15"/>
          </p:nvPr>
        </p:nvSpPr>
        <p:spPr/>
        <p:txBody>
          <a:bodyPr/>
          <a:lstStyle/>
          <a:p>
            <a:endParaRPr lang="en-US"/>
          </a:p>
        </p:txBody>
      </p:sp>
      <p:sp>
        <p:nvSpPr>
          <p:cNvPr id="23" name="Slide Number Placeholder 22"/>
          <p:cNvSpPr>
            <a:spLocks noGrp="1"/>
          </p:cNvSpPr>
          <p:nvPr>
            <p:ph type="sldNum" sz="quarter" idx="16"/>
          </p:nvPr>
        </p:nvSpPr>
        <p:spPr/>
        <p:txBody>
          <a:bodyPr/>
          <a:lstStyle/>
          <a:p>
            <a:fld id="{5F3E29E4-0979-4FCA-B4C5-5FC6044C982A}" type="slidenum">
              <a:rPr lang="en-US" smtClean="0"/>
              <a:t>‹#›</a:t>
            </a:fld>
            <a:endParaRPr lang="en-US"/>
          </a:p>
        </p:txBody>
      </p:sp>
      <p:sp>
        <p:nvSpPr>
          <p:cNvPr id="2" name="Title 1"/>
          <p:cNvSpPr>
            <a:spLocks noGrp="1"/>
          </p:cNvSpPr>
          <p:nvPr>
            <p:ph type="title" hasCustomPrompt="1"/>
          </p:nvPr>
        </p:nvSpPr>
        <p:spPr/>
        <p:txBody>
          <a:bodyPr/>
          <a:lstStyle>
            <a:lvl1pPr>
              <a:defRPr/>
            </a:lvl1pPr>
          </a:lstStyle>
          <a:p>
            <a:r>
              <a:rPr lang="en-US"/>
              <a:t>Click to add slide title</a:t>
            </a:r>
          </a:p>
        </p:txBody>
      </p:sp>
      <p:sp>
        <p:nvSpPr>
          <p:cNvPr id="7" name="Subtitle 2"/>
          <p:cNvSpPr>
            <a:spLocks noGrp="1"/>
          </p:cNvSpPr>
          <p:nvPr>
            <p:ph type="subTitle" idx="13" hasCustomPrompt="1"/>
          </p:nvPr>
        </p:nvSpPr>
        <p:spPr>
          <a:xfrm>
            <a:off x="1075061" y="964671"/>
            <a:ext cx="7910158" cy="490042"/>
          </a:xfrm>
        </p:spPr>
        <p:txBody>
          <a:bodyPr wrap="none"/>
          <a:lstStyle>
            <a:lvl1pPr marL="0" indent="0" algn="l">
              <a:spcBef>
                <a:spcPts val="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sp>
        <p:nvSpPr>
          <p:cNvPr id="4" name="Chart Placeholder 3"/>
          <p:cNvSpPr>
            <a:spLocks noGrp="1"/>
          </p:cNvSpPr>
          <p:nvPr>
            <p:ph type="chart" sz="quarter" idx="17" hasCustomPrompt="1"/>
          </p:nvPr>
        </p:nvSpPr>
        <p:spPr>
          <a:xfrm>
            <a:off x="192088" y="1629617"/>
            <a:ext cx="5903913" cy="4599506"/>
          </a:xfrm>
        </p:spPr>
        <p:txBody>
          <a:bodyPr/>
          <a:lstStyle>
            <a:lvl1pPr>
              <a:defRPr/>
            </a:lvl1pPr>
          </a:lstStyle>
          <a:p>
            <a:r>
              <a:rPr lang="en-US"/>
              <a:t>Click to add chart</a:t>
            </a:r>
          </a:p>
        </p:txBody>
      </p:sp>
      <p:sp>
        <p:nvSpPr>
          <p:cNvPr id="6" name="Text Placeholder 5"/>
          <p:cNvSpPr>
            <a:spLocks noGrp="1"/>
          </p:cNvSpPr>
          <p:nvPr>
            <p:ph type="body" sz="quarter" idx="18" hasCustomPrompt="1"/>
          </p:nvPr>
        </p:nvSpPr>
        <p:spPr>
          <a:xfrm>
            <a:off x="6206067" y="3393019"/>
            <a:ext cx="5628602" cy="2023841"/>
          </a:xfrm>
          <a:solidFill>
            <a:srgbClr val="D9DADB"/>
          </a:solidFill>
        </p:spPr>
        <p:txBody>
          <a:bodyPr lIns="108000" tIns="108000" rIns="108000" bIns="108000"/>
          <a:lstStyle>
            <a:lvl1pPr>
              <a:defRPr sz="1600"/>
            </a:lvl1pPr>
            <a:lvl2pPr>
              <a:defRPr sz="1600"/>
            </a:lvl2pPr>
            <a:lvl3pPr>
              <a:defRPr sz="1600"/>
            </a:lvl3pPr>
            <a:lvl4pPr>
              <a:defRPr sz="1600"/>
            </a:lvl4pPr>
            <a:lvl5pPr>
              <a:defRPr sz="1600"/>
            </a:lvl5pPr>
          </a:lstStyle>
          <a:p>
            <a:pPr lvl="0"/>
            <a:r>
              <a:rPr lang="en-US"/>
              <a:t>Click to add text</a:t>
            </a:r>
          </a:p>
          <a:p>
            <a:pPr lvl="1"/>
            <a:r>
              <a:rPr lang="en-US"/>
              <a:t>Second level</a:t>
            </a:r>
          </a:p>
          <a:p>
            <a:pPr lvl="2"/>
            <a:r>
              <a:rPr lang="en-US"/>
              <a:t>Third level</a:t>
            </a:r>
          </a:p>
          <a:p>
            <a:pPr lvl="3"/>
            <a:r>
              <a:rPr lang="en-US"/>
              <a:t>Fourth level</a:t>
            </a:r>
          </a:p>
          <a:p>
            <a:pPr lvl="4"/>
            <a:r>
              <a:rPr lang="en-US"/>
              <a:t>Fifth level</a:t>
            </a:r>
          </a:p>
        </p:txBody>
      </p:sp>
      <p:sp>
        <p:nvSpPr>
          <p:cNvPr id="10" name="Text Placeholder 4"/>
          <p:cNvSpPr>
            <a:spLocks noGrp="1"/>
          </p:cNvSpPr>
          <p:nvPr>
            <p:ph type="body" sz="quarter" idx="19" hasCustomPrompt="1"/>
          </p:nvPr>
        </p:nvSpPr>
        <p:spPr>
          <a:xfrm>
            <a:off x="1075063" y="6307665"/>
            <a:ext cx="8162717" cy="133200"/>
          </a:xfrm>
        </p:spPr>
        <p:txBody>
          <a:bodyPr lIns="0" tIns="0" rIns="0" bIns="0" anchor="b" anchorCtr="0"/>
          <a:lstStyle>
            <a:lvl1pPr marL="0" indent="0" algn="l">
              <a:lnSpc>
                <a:spcPct val="100000"/>
              </a:lnSpc>
              <a:spcBef>
                <a:spcPts val="0"/>
              </a:spcBef>
              <a:buNone/>
              <a:defRPr sz="800" baseline="0"/>
            </a:lvl1pPr>
            <a:lvl2pPr marL="0" indent="0" algn="l">
              <a:lnSpc>
                <a:spcPct val="100000"/>
              </a:lnSpc>
              <a:spcBef>
                <a:spcPts val="0"/>
              </a:spcBef>
              <a:buNone/>
              <a:defRPr sz="800"/>
            </a:lvl2pPr>
            <a:lvl3pPr marL="0" indent="0" algn="l">
              <a:lnSpc>
                <a:spcPct val="100000"/>
              </a:lnSpc>
              <a:spcBef>
                <a:spcPts val="0"/>
              </a:spcBef>
              <a:buNone/>
              <a:defRPr sz="800"/>
            </a:lvl3pPr>
            <a:lvl4pPr marL="0" algn="l">
              <a:lnSpc>
                <a:spcPct val="100000"/>
              </a:lnSpc>
              <a:spcBef>
                <a:spcPts val="0"/>
              </a:spcBef>
              <a:buNone/>
              <a:defRPr sz="800"/>
            </a:lvl4pPr>
            <a:lvl5pPr marL="0" indent="0" algn="l">
              <a:lnSpc>
                <a:spcPct val="100000"/>
              </a:lnSpc>
              <a:spcBef>
                <a:spcPts val="0"/>
              </a:spcBef>
              <a:buNone/>
              <a:defRPr sz="800"/>
            </a:lvl5pPr>
          </a:lstStyle>
          <a:p>
            <a:pPr lvl="0"/>
            <a:r>
              <a:rPr lang="en-US"/>
              <a:t>Source line</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9820694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wo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p>
            <a:r>
              <a:rPr lang="en-US"/>
              <a:t>Click to add headline</a:t>
            </a:r>
          </a:p>
        </p:txBody>
      </p:sp>
      <p:sp>
        <p:nvSpPr>
          <p:cNvPr id="7" name="Textplatzhalter 2"/>
          <p:cNvSpPr>
            <a:spLocks noGrp="1"/>
          </p:cNvSpPr>
          <p:nvPr>
            <p:ph type="body" sz="quarter" idx="11" hasCustomPrompt="1"/>
          </p:nvPr>
        </p:nvSpPr>
        <p:spPr bwMode="gray">
          <a:xfrm>
            <a:off x="431213" y="1220755"/>
            <a:ext cx="11328987" cy="384340"/>
          </a:xfrm>
        </p:spPr>
        <p:txBody>
          <a:bodyPr>
            <a:noAutofit/>
          </a:bodyPr>
          <a:lstStyle>
            <a:lvl1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1pPr>
            <a:lvl2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2pPr>
            <a:lvl3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3pPr>
            <a:lvl4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4pPr>
            <a:lvl5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5pPr>
            <a:lvl6pPr marL="0" indent="0">
              <a:lnSpc>
                <a:spcPct val="100000"/>
              </a:lnSpc>
              <a:spcBef>
                <a:spcPts val="800"/>
              </a:spcBef>
              <a:buNone/>
              <a:defRPr lang="en-GB" sz="2400" kern="1200" noProof="0" smtClean="0">
                <a:solidFill>
                  <a:schemeClr val="tx2"/>
                </a:solidFill>
                <a:latin typeface="Arial" pitchFamily="34" charset="0"/>
                <a:ea typeface="+mn-ea"/>
                <a:cs typeface="Arial" pitchFamily="34" charset="0"/>
              </a:defRPr>
            </a:lvl6pPr>
            <a:lvl7pPr marL="0" indent="0">
              <a:lnSpc>
                <a:spcPct val="100000"/>
              </a:lnSpc>
              <a:spcBef>
                <a:spcPts val="800"/>
              </a:spcBef>
              <a:buNone/>
              <a:defRPr lang="en-GB" sz="2400" kern="1200" noProof="0" smtClean="0">
                <a:solidFill>
                  <a:schemeClr val="tx2"/>
                </a:solidFill>
                <a:latin typeface="Arial" pitchFamily="34" charset="0"/>
                <a:ea typeface="+mn-ea"/>
                <a:cs typeface="Arial" pitchFamily="34" charset="0"/>
              </a:defRPr>
            </a:lvl7pPr>
            <a:lvl8pPr marL="0" indent="0">
              <a:lnSpc>
                <a:spcPct val="100000"/>
              </a:lnSpc>
              <a:spcBef>
                <a:spcPts val="800"/>
              </a:spcBef>
              <a:buNone/>
              <a:defRPr lang="en-GB" sz="2400" kern="1200" noProof="0" smtClean="0">
                <a:solidFill>
                  <a:schemeClr val="tx2"/>
                </a:solidFill>
                <a:latin typeface="Arial" pitchFamily="34" charset="0"/>
                <a:ea typeface="+mn-ea"/>
                <a:cs typeface="Arial" pitchFamily="34" charset="0"/>
              </a:defRPr>
            </a:lvl8pPr>
            <a:lvl9pPr marL="0" indent="0">
              <a:lnSpc>
                <a:spcPct val="100000"/>
              </a:lnSpc>
              <a:spcBef>
                <a:spcPts val="800"/>
              </a:spcBef>
              <a:buNone/>
              <a:defRPr lang="de-DE" sz="2400" kern="1200" noProof="0" smtClean="0">
                <a:solidFill>
                  <a:schemeClr val="tx2"/>
                </a:solidFill>
                <a:latin typeface="Arial" pitchFamily="34" charset="0"/>
                <a:ea typeface="+mn-ea"/>
                <a:cs typeface="Arial" pitchFamily="34" charset="0"/>
              </a:defRPr>
            </a:lvl9pPr>
          </a:lstStyle>
          <a:p>
            <a:pPr lvl="0"/>
            <a:r>
              <a:rPr lang="en-US"/>
              <a:t>Click to add </a:t>
            </a:r>
            <a:r>
              <a:rPr lang="en-US" err="1"/>
              <a:t>subheadline</a:t>
            </a:r>
            <a:endParaRPr lang="en-US"/>
          </a:p>
        </p:txBody>
      </p:sp>
      <p:sp>
        <p:nvSpPr>
          <p:cNvPr id="9" name="Textplatzhalter 3"/>
          <p:cNvSpPr>
            <a:spLocks noGrp="1"/>
          </p:cNvSpPr>
          <p:nvPr>
            <p:ph type="body" sz="quarter" idx="12" hasCustomPrompt="1"/>
          </p:nvPr>
        </p:nvSpPr>
        <p:spPr bwMode="gray">
          <a:xfrm>
            <a:off x="431371" y="6404736"/>
            <a:ext cx="11328400" cy="192616"/>
          </a:xfrm>
        </p:spPr>
        <p:txBody>
          <a:bodyPr tIns="0" bIns="36000" anchor="b" anchorCtr="0">
            <a:noAutofit/>
          </a:bodyPr>
          <a:lstStyle>
            <a:lvl1pPr marL="0" marR="0" indent="0" algn="l" defTabSz="1219170" rtl="0" eaLnBrk="1" fontAlgn="auto" latinLnBrk="0" hangingPunct="1">
              <a:lnSpc>
                <a:spcPct val="100000"/>
              </a:lnSpc>
              <a:spcBef>
                <a:spcPts val="0"/>
              </a:spcBef>
              <a:spcAft>
                <a:spcPts val="0"/>
              </a:spcAft>
              <a:buClrTx/>
              <a:buSzTx/>
              <a:buFont typeface="Arial" pitchFamily="34" charset="0"/>
              <a:buNone/>
              <a:tabLst/>
              <a:defRPr lang="de-DE" sz="1067" kern="1200" baseline="0" noProof="0" smtClean="0">
                <a:solidFill>
                  <a:schemeClr val="bg2"/>
                </a:solidFill>
                <a:latin typeface="Arial" pitchFamily="34" charset="0"/>
                <a:ea typeface="+mn-ea"/>
                <a:cs typeface="Arial" pitchFamily="34" charset="0"/>
              </a:defRPr>
            </a:lvl1pPr>
            <a:lvl2pPr marL="0" indent="0">
              <a:lnSpc>
                <a:spcPct val="100000"/>
              </a:lnSpc>
              <a:spcBef>
                <a:spcPts val="0"/>
              </a:spcBef>
              <a:buFont typeface="Arial" panose="020B0604020202020204" pitchFamily="34" charset="0"/>
              <a:buNone/>
              <a:defRPr lang="de-DE" sz="1067" kern="1200" baseline="0" noProof="0" smtClean="0">
                <a:solidFill>
                  <a:schemeClr val="bg2"/>
                </a:solidFill>
                <a:latin typeface="Arial" pitchFamily="34" charset="0"/>
                <a:ea typeface="+mn-ea"/>
                <a:cs typeface="Arial" pitchFamily="34" charset="0"/>
              </a:defRPr>
            </a:lvl2pPr>
            <a:lvl3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3pPr>
            <a:lvl4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4pPr>
            <a:lvl5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5pPr>
            <a:lvl6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6pPr>
            <a:lvl7pPr marL="0" indent="0">
              <a:lnSpc>
                <a:spcPct val="100000"/>
              </a:lnSpc>
              <a:spcBef>
                <a:spcPts val="0"/>
              </a:spcBef>
              <a:buNone/>
              <a:defRPr lang="de-DE" sz="1067" kern="1200" baseline="0" noProof="0" dirty="0" smtClean="0">
                <a:solidFill>
                  <a:schemeClr val="bg2"/>
                </a:solidFill>
                <a:latin typeface="Arial" pitchFamily="34" charset="0"/>
                <a:ea typeface="+mn-ea"/>
                <a:cs typeface="Arial" pitchFamily="34" charset="0"/>
              </a:defRPr>
            </a:lvl7pPr>
            <a:lvl8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8pPr>
            <a:lvl9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9pPr>
          </a:lstStyle>
          <a:p>
            <a:pPr lvl="0"/>
            <a:r>
              <a:rPr lang="en-US"/>
              <a:t>Click to add source information</a:t>
            </a:r>
          </a:p>
        </p:txBody>
      </p:sp>
      <p:sp>
        <p:nvSpPr>
          <p:cNvPr id="4" name="Content Placeholder 3"/>
          <p:cNvSpPr>
            <a:spLocks noGrp="1"/>
          </p:cNvSpPr>
          <p:nvPr>
            <p:ph sz="quarter" idx="13" hasCustomPrompt="1"/>
          </p:nvPr>
        </p:nvSpPr>
        <p:spPr>
          <a:xfrm>
            <a:off x="431215" y="1700760"/>
            <a:ext cx="5568773" cy="4609024"/>
          </a:xfrm>
        </p:spPr>
        <p:txBody>
          <a:bodyPr/>
          <a:lstStyle/>
          <a:p>
            <a:pPr lvl="0"/>
            <a:r>
              <a:rPr lang="en-US" noProof="0"/>
              <a:t>Click to add tex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Content Placeholder 9"/>
          <p:cNvSpPr>
            <a:spLocks noGrp="1"/>
          </p:cNvSpPr>
          <p:nvPr>
            <p:ph sz="quarter" idx="14" hasCustomPrompt="1"/>
          </p:nvPr>
        </p:nvSpPr>
        <p:spPr>
          <a:xfrm>
            <a:off x="6192014" y="1700760"/>
            <a:ext cx="5568773" cy="4609024"/>
          </a:xfrm>
        </p:spPr>
        <p:txBody>
          <a:bodyPr/>
          <a:lstStyle/>
          <a:p>
            <a:pPr lvl="0"/>
            <a:r>
              <a:rPr lang="en-US" noProof="0"/>
              <a:t>Click to add text</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385056636"/>
      </p:ext>
    </p:extLst>
  </p:cSld>
  <p:clrMapOvr>
    <a:masterClrMapping/>
  </p:clrMapOvr>
</p:sldLayout>
</file>

<file path=ppt/slideLayouts/slideLayout320.xml><?xml version="1.0" encoding="utf-8"?>
<p:sldLayout xmlns:a="http://schemas.openxmlformats.org/drawingml/2006/main" xmlns:r="http://schemas.openxmlformats.org/officeDocument/2006/relationships" xmlns:p="http://schemas.openxmlformats.org/presentationml/2006/main" preserve="1">
  <p:cSld name="Notebook">
    <p:spTree>
      <p:nvGrpSpPr>
        <p:cNvPr id="1" name=""/>
        <p:cNvGrpSpPr/>
        <p:nvPr/>
      </p:nvGrpSpPr>
      <p:grpSpPr>
        <a:xfrm>
          <a:off x="0" y="0"/>
          <a:ext cx="0" cy="0"/>
          <a:chOff x="0" y="0"/>
          <a:chExt cx="0" cy="0"/>
        </a:xfrm>
      </p:grpSpPr>
      <p:pic>
        <p:nvPicPr>
          <p:cNvPr id="13" name="Notebook">
            <a:extLst>
              <a:ext uri="{FF2B5EF4-FFF2-40B4-BE49-F238E27FC236}">
                <a16:creationId xmlns:a16="http://schemas.microsoft.com/office/drawing/2014/main" id="{6DEE1461-64EC-7246-8FA6-71C6BF497627}"/>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3651351" y="1267197"/>
            <a:ext cx="8528460" cy="5161713"/>
          </a:xfrm>
          <a:prstGeom prst="rect">
            <a:avLst/>
          </a:prstGeom>
        </p:spPr>
      </p:pic>
      <p:sp>
        <p:nvSpPr>
          <p:cNvPr id="21" name="Date Placeholder 20"/>
          <p:cNvSpPr>
            <a:spLocks noGrp="1"/>
          </p:cNvSpPr>
          <p:nvPr>
            <p:ph type="dt" sz="half" idx="14"/>
          </p:nvPr>
        </p:nvSpPr>
        <p:spPr/>
        <p:txBody>
          <a:bodyPr/>
          <a:lstStyle/>
          <a:p>
            <a:endParaRPr lang="en-US"/>
          </a:p>
        </p:txBody>
      </p:sp>
      <p:sp>
        <p:nvSpPr>
          <p:cNvPr id="22" name="Footer Placeholder 21"/>
          <p:cNvSpPr>
            <a:spLocks noGrp="1"/>
          </p:cNvSpPr>
          <p:nvPr>
            <p:ph type="ftr" sz="quarter" idx="15"/>
          </p:nvPr>
        </p:nvSpPr>
        <p:spPr/>
        <p:txBody>
          <a:bodyPr/>
          <a:lstStyle/>
          <a:p>
            <a:endParaRPr lang="en-US"/>
          </a:p>
        </p:txBody>
      </p:sp>
      <p:sp>
        <p:nvSpPr>
          <p:cNvPr id="23" name="Slide Number Placeholder 22"/>
          <p:cNvSpPr>
            <a:spLocks noGrp="1"/>
          </p:cNvSpPr>
          <p:nvPr>
            <p:ph type="sldNum" sz="quarter" idx="16"/>
          </p:nvPr>
        </p:nvSpPr>
        <p:spPr/>
        <p:txBody>
          <a:bodyPr/>
          <a:lstStyle/>
          <a:p>
            <a:fld id="{5F3E29E4-0979-4FCA-B4C5-5FC6044C982A}" type="slidenum">
              <a:rPr lang="en-US" smtClean="0"/>
              <a:t>‹#›</a:t>
            </a:fld>
            <a:endParaRPr lang="en-US"/>
          </a:p>
        </p:txBody>
      </p:sp>
      <p:sp>
        <p:nvSpPr>
          <p:cNvPr id="2" name="Title 1"/>
          <p:cNvSpPr>
            <a:spLocks noGrp="1"/>
          </p:cNvSpPr>
          <p:nvPr>
            <p:ph type="title" hasCustomPrompt="1"/>
          </p:nvPr>
        </p:nvSpPr>
        <p:spPr/>
        <p:txBody>
          <a:bodyPr/>
          <a:lstStyle>
            <a:lvl1pPr>
              <a:defRPr/>
            </a:lvl1pPr>
          </a:lstStyle>
          <a:p>
            <a:r>
              <a:rPr lang="en-US"/>
              <a:t>Click to add slide title</a:t>
            </a:r>
          </a:p>
        </p:txBody>
      </p:sp>
      <p:sp>
        <p:nvSpPr>
          <p:cNvPr id="7" name="Subtitle 2"/>
          <p:cNvSpPr>
            <a:spLocks noGrp="1"/>
          </p:cNvSpPr>
          <p:nvPr>
            <p:ph type="subTitle" idx="13" hasCustomPrompt="1"/>
          </p:nvPr>
        </p:nvSpPr>
        <p:spPr>
          <a:xfrm>
            <a:off x="1075061" y="964671"/>
            <a:ext cx="7910158" cy="490042"/>
          </a:xfrm>
        </p:spPr>
        <p:txBody>
          <a:bodyPr wrap="none"/>
          <a:lstStyle>
            <a:lvl1pPr marL="0" indent="0" algn="l">
              <a:spcBef>
                <a:spcPts val="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sp>
        <p:nvSpPr>
          <p:cNvPr id="3" name="Content Placeholder 2"/>
          <p:cNvSpPr>
            <a:spLocks noGrp="1"/>
          </p:cNvSpPr>
          <p:nvPr>
            <p:ph idx="1" hasCustomPrompt="1"/>
          </p:nvPr>
        </p:nvSpPr>
        <p:spPr>
          <a:xfrm>
            <a:off x="1075062" y="1852623"/>
            <a:ext cx="3287388" cy="3658714"/>
          </a:xfrm>
        </p:spPr>
        <p:txBody>
          <a:bodyPr anchor="ctr"/>
          <a:lstStyle>
            <a:lvl1pPr>
              <a:defRPr sz="1600"/>
            </a:lvl1pPr>
            <a:lvl2pPr>
              <a:defRPr sz="1600"/>
            </a:lvl2pPr>
            <a:lvl3pPr>
              <a:defRPr sz="1600"/>
            </a:lvl3pPr>
            <a:lvl4pPr>
              <a:defRPr sz="1600"/>
            </a:lvl4pPr>
            <a:lvl5pPr>
              <a:defRPr sz="1600"/>
            </a:lvl5pPr>
          </a:lstStyle>
          <a:p>
            <a:pPr lvl="0"/>
            <a:r>
              <a:rPr lang="en-US"/>
              <a:t>Click to add text</a:t>
            </a:r>
          </a:p>
          <a:p>
            <a:pPr lvl="1"/>
            <a:r>
              <a:rPr lang="en-US"/>
              <a:t>Second level</a:t>
            </a:r>
          </a:p>
          <a:p>
            <a:pPr lvl="2"/>
            <a:r>
              <a:rPr lang="en-US"/>
              <a:t>Third level</a:t>
            </a:r>
          </a:p>
          <a:p>
            <a:pPr lvl="3"/>
            <a:r>
              <a:rPr lang="en-US"/>
              <a:t>Fourth level</a:t>
            </a:r>
          </a:p>
          <a:p>
            <a:pPr lvl="4"/>
            <a:r>
              <a:rPr lang="en-US"/>
              <a:t>Fifth level</a:t>
            </a:r>
          </a:p>
        </p:txBody>
      </p:sp>
      <p:sp>
        <p:nvSpPr>
          <p:cNvPr id="5" name="Picture Placeholder 4"/>
          <p:cNvSpPr>
            <a:spLocks noGrp="1"/>
          </p:cNvSpPr>
          <p:nvPr>
            <p:ph type="pic" sz="quarter" idx="17" hasCustomPrompt="1"/>
          </p:nvPr>
        </p:nvSpPr>
        <p:spPr>
          <a:xfrm>
            <a:off x="4904507" y="1821610"/>
            <a:ext cx="6001200" cy="3664800"/>
          </a:xfrm>
          <a:solidFill>
            <a:srgbClr val="D9DADB"/>
          </a:solidFill>
        </p:spPr>
        <p:txBody>
          <a:bodyPr/>
          <a:lstStyle>
            <a:lvl1pPr marL="0" indent="0">
              <a:buNone/>
              <a:defRPr/>
            </a:lvl1pPr>
          </a:lstStyle>
          <a:p>
            <a:r>
              <a:rPr lang="en-US"/>
              <a:t>Insert picture</a:t>
            </a:r>
          </a:p>
        </p:txBody>
      </p:sp>
      <p:sp>
        <p:nvSpPr>
          <p:cNvPr id="11" name="Text Placeholder 4"/>
          <p:cNvSpPr>
            <a:spLocks noGrp="1"/>
          </p:cNvSpPr>
          <p:nvPr>
            <p:ph type="body" sz="quarter" idx="18" hasCustomPrompt="1"/>
          </p:nvPr>
        </p:nvSpPr>
        <p:spPr>
          <a:xfrm>
            <a:off x="1075063" y="6307665"/>
            <a:ext cx="8162717" cy="133200"/>
          </a:xfrm>
        </p:spPr>
        <p:txBody>
          <a:bodyPr lIns="0" tIns="0" rIns="0" bIns="0" anchor="b" anchorCtr="0"/>
          <a:lstStyle>
            <a:lvl1pPr marL="0" indent="0" algn="l">
              <a:lnSpc>
                <a:spcPct val="100000"/>
              </a:lnSpc>
              <a:spcBef>
                <a:spcPts val="0"/>
              </a:spcBef>
              <a:buNone/>
              <a:defRPr sz="800" baseline="0"/>
            </a:lvl1pPr>
            <a:lvl2pPr marL="0" indent="0" algn="l">
              <a:lnSpc>
                <a:spcPct val="100000"/>
              </a:lnSpc>
              <a:spcBef>
                <a:spcPts val="0"/>
              </a:spcBef>
              <a:buNone/>
              <a:defRPr sz="800"/>
            </a:lvl2pPr>
            <a:lvl3pPr marL="0" indent="0" algn="l">
              <a:lnSpc>
                <a:spcPct val="100000"/>
              </a:lnSpc>
              <a:spcBef>
                <a:spcPts val="0"/>
              </a:spcBef>
              <a:buNone/>
              <a:defRPr sz="800"/>
            </a:lvl3pPr>
            <a:lvl4pPr marL="0" algn="l">
              <a:lnSpc>
                <a:spcPct val="100000"/>
              </a:lnSpc>
              <a:spcBef>
                <a:spcPts val="0"/>
              </a:spcBef>
              <a:buNone/>
              <a:defRPr sz="800"/>
            </a:lvl4pPr>
            <a:lvl5pPr marL="0" indent="0" algn="l">
              <a:lnSpc>
                <a:spcPct val="100000"/>
              </a:lnSpc>
              <a:spcBef>
                <a:spcPts val="0"/>
              </a:spcBef>
              <a:buNone/>
              <a:defRPr sz="800"/>
            </a:lvl5pPr>
          </a:lstStyle>
          <a:p>
            <a:pPr lvl="0"/>
            <a:r>
              <a:rPr lang="en-US"/>
              <a:t>Source line</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10317187"/>
      </p:ext>
    </p:extLst>
  </p:cSld>
  <p:clrMapOvr>
    <a:masterClrMapping/>
  </p:clrMapOvr>
</p:sldLayout>
</file>

<file path=ppt/slideLayouts/slideLayout321.xml><?xml version="1.0" encoding="utf-8"?>
<p:sldLayout xmlns:a="http://schemas.openxmlformats.org/drawingml/2006/main" xmlns:r="http://schemas.openxmlformats.org/officeDocument/2006/relationships" xmlns:p="http://schemas.openxmlformats.org/presentationml/2006/main" preserve="1">
  <p:cSld name="Tablet">
    <p:spTree>
      <p:nvGrpSpPr>
        <p:cNvPr id="1" name=""/>
        <p:cNvGrpSpPr/>
        <p:nvPr/>
      </p:nvGrpSpPr>
      <p:grpSpPr>
        <a:xfrm>
          <a:off x="0" y="0"/>
          <a:ext cx="0" cy="0"/>
          <a:chOff x="0" y="0"/>
          <a:chExt cx="0" cy="0"/>
        </a:xfrm>
      </p:grpSpPr>
      <p:pic>
        <p:nvPicPr>
          <p:cNvPr id="12" name="Grafik 3">
            <a:extLst>
              <a:ext uri="{FF2B5EF4-FFF2-40B4-BE49-F238E27FC236}">
                <a16:creationId xmlns:a16="http://schemas.microsoft.com/office/drawing/2014/main" id="{1D97A272-8DE5-144D-9076-0F435EC79171}"/>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4422451" y="1441279"/>
            <a:ext cx="6858000" cy="5323585"/>
          </a:xfrm>
          <a:prstGeom prst="rect">
            <a:avLst/>
          </a:prstGeom>
        </p:spPr>
      </p:pic>
      <p:sp>
        <p:nvSpPr>
          <p:cNvPr id="21" name="Date Placeholder 20"/>
          <p:cNvSpPr>
            <a:spLocks noGrp="1"/>
          </p:cNvSpPr>
          <p:nvPr>
            <p:ph type="dt" sz="half" idx="14"/>
          </p:nvPr>
        </p:nvSpPr>
        <p:spPr/>
        <p:txBody>
          <a:bodyPr/>
          <a:lstStyle/>
          <a:p>
            <a:endParaRPr lang="en-US"/>
          </a:p>
        </p:txBody>
      </p:sp>
      <p:sp>
        <p:nvSpPr>
          <p:cNvPr id="22" name="Footer Placeholder 21"/>
          <p:cNvSpPr>
            <a:spLocks noGrp="1"/>
          </p:cNvSpPr>
          <p:nvPr>
            <p:ph type="ftr" sz="quarter" idx="15"/>
          </p:nvPr>
        </p:nvSpPr>
        <p:spPr/>
        <p:txBody>
          <a:bodyPr/>
          <a:lstStyle/>
          <a:p>
            <a:endParaRPr lang="en-US"/>
          </a:p>
        </p:txBody>
      </p:sp>
      <p:sp>
        <p:nvSpPr>
          <p:cNvPr id="23" name="Slide Number Placeholder 22"/>
          <p:cNvSpPr>
            <a:spLocks noGrp="1"/>
          </p:cNvSpPr>
          <p:nvPr>
            <p:ph type="sldNum" sz="quarter" idx="16"/>
          </p:nvPr>
        </p:nvSpPr>
        <p:spPr/>
        <p:txBody>
          <a:bodyPr/>
          <a:lstStyle/>
          <a:p>
            <a:fld id="{5F3E29E4-0979-4FCA-B4C5-5FC6044C982A}" type="slidenum">
              <a:rPr lang="en-US" smtClean="0"/>
              <a:t>‹#›</a:t>
            </a:fld>
            <a:endParaRPr lang="en-US"/>
          </a:p>
        </p:txBody>
      </p:sp>
      <p:sp>
        <p:nvSpPr>
          <p:cNvPr id="2" name="Title 1"/>
          <p:cNvSpPr>
            <a:spLocks noGrp="1"/>
          </p:cNvSpPr>
          <p:nvPr>
            <p:ph type="title" hasCustomPrompt="1"/>
          </p:nvPr>
        </p:nvSpPr>
        <p:spPr/>
        <p:txBody>
          <a:bodyPr/>
          <a:lstStyle>
            <a:lvl1pPr>
              <a:defRPr/>
            </a:lvl1pPr>
          </a:lstStyle>
          <a:p>
            <a:r>
              <a:rPr lang="en-US"/>
              <a:t>Click to add slide title</a:t>
            </a:r>
          </a:p>
        </p:txBody>
      </p:sp>
      <p:sp>
        <p:nvSpPr>
          <p:cNvPr id="7" name="Subtitle 2"/>
          <p:cNvSpPr>
            <a:spLocks noGrp="1"/>
          </p:cNvSpPr>
          <p:nvPr>
            <p:ph type="subTitle" idx="13" hasCustomPrompt="1"/>
          </p:nvPr>
        </p:nvSpPr>
        <p:spPr>
          <a:xfrm>
            <a:off x="1075061" y="964671"/>
            <a:ext cx="7910158" cy="490042"/>
          </a:xfrm>
        </p:spPr>
        <p:txBody>
          <a:bodyPr wrap="none"/>
          <a:lstStyle>
            <a:lvl1pPr marL="0" indent="0" algn="l">
              <a:spcBef>
                <a:spcPts val="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sp>
        <p:nvSpPr>
          <p:cNvPr id="3" name="Content Placeholder 2"/>
          <p:cNvSpPr>
            <a:spLocks noGrp="1"/>
          </p:cNvSpPr>
          <p:nvPr>
            <p:ph idx="1" hasCustomPrompt="1"/>
          </p:nvPr>
        </p:nvSpPr>
        <p:spPr>
          <a:xfrm>
            <a:off x="1075062" y="1852623"/>
            <a:ext cx="3287388" cy="3658714"/>
          </a:xfrm>
        </p:spPr>
        <p:txBody>
          <a:bodyPr anchor="ctr"/>
          <a:lstStyle>
            <a:lvl1pPr>
              <a:defRPr sz="1600"/>
            </a:lvl1pPr>
            <a:lvl2pPr>
              <a:defRPr sz="1600"/>
            </a:lvl2pPr>
            <a:lvl3pPr>
              <a:defRPr sz="1600"/>
            </a:lvl3pPr>
            <a:lvl4pPr>
              <a:defRPr sz="1600"/>
            </a:lvl4pPr>
            <a:lvl5pPr>
              <a:defRPr sz="1600"/>
            </a:lvl5pPr>
          </a:lstStyle>
          <a:p>
            <a:pPr lvl="0"/>
            <a:r>
              <a:rPr lang="en-US"/>
              <a:t>Click to add text</a:t>
            </a:r>
          </a:p>
          <a:p>
            <a:pPr lvl="1"/>
            <a:r>
              <a:rPr lang="en-US"/>
              <a:t>Second level</a:t>
            </a:r>
          </a:p>
          <a:p>
            <a:pPr lvl="2"/>
            <a:r>
              <a:rPr lang="en-US"/>
              <a:t>Third level</a:t>
            </a:r>
          </a:p>
          <a:p>
            <a:pPr lvl="3"/>
            <a:r>
              <a:rPr lang="en-US"/>
              <a:t>Fourth level</a:t>
            </a:r>
          </a:p>
          <a:p>
            <a:pPr lvl="4"/>
            <a:r>
              <a:rPr lang="en-US"/>
              <a:t>Fifth level</a:t>
            </a:r>
          </a:p>
        </p:txBody>
      </p:sp>
      <p:sp>
        <p:nvSpPr>
          <p:cNvPr id="5" name="Picture Placeholder 4"/>
          <p:cNvSpPr>
            <a:spLocks noGrp="1"/>
          </p:cNvSpPr>
          <p:nvPr>
            <p:ph type="pic" sz="quarter" idx="17" hasCustomPrompt="1"/>
          </p:nvPr>
        </p:nvSpPr>
        <p:spPr>
          <a:xfrm>
            <a:off x="5135561" y="2010934"/>
            <a:ext cx="5491064" cy="3428280"/>
          </a:xfrm>
          <a:solidFill>
            <a:srgbClr val="D9DADB"/>
          </a:solidFill>
        </p:spPr>
        <p:txBody>
          <a:bodyPr/>
          <a:lstStyle>
            <a:lvl1pPr marL="0" indent="0">
              <a:buNone/>
              <a:defRPr/>
            </a:lvl1pPr>
          </a:lstStyle>
          <a:p>
            <a:r>
              <a:rPr lang="en-US"/>
              <a:t>Insert picture</a:t>
            </a:r>
          </a:p>
        </p:txBody>
      </p:sp>
      <p:sp>
        <p:nvSpPr>
          <p:cNvPr id="11" name="Text Placeholder 4"/>
          <p:cNvSpPr>
            <a:spLocks noGrp="1"/>
          </p:cNvSpPr>
          <p:nvPr>
            <p:ph type="body" sz="quarter" idx="18" hasCustomPrompt="1"/>
          </p:nvPr>
        </p:nvSpPr>
        <p:spPr>
          <a:xfrm>
            <a:off x="1075063" y="6307665"/>
            <a:ext cx="8162717" cy="133200"/>
          </a:xfrm>
        </p:spPr>
        <p:txBody>
          <a:bodyPr lIns="0" tIns="0" rIns="0" bIns="0" anchor="b" anchorCtr="0"/>
          <a:lstStyle>
            <a:lvl1pPr marL="0" indent="0" algn="l">
              <a:lnSpc>
                <a:spcPct val="100000"/>
              </a:lnSpc>
              <a:spcBef>
                <a:spcPts val="0"/>
              </a:spcBef>
              <a:buNone/>
              <a:defRPr sz="800" baseline="0"/>
            </a:lvl1pPr>
            <a:lvl2pPr marL="0" indent="0" algn="l">
              <a:lnSpc>
                <a:spcPct val="100000"/>
              </a:lnSpc>
              <a:spcBef>
                <a:spcPts val="0"/>
              </a:spcBef>
              <a:buNone/>
              <a:defRPr sz="800"/>
            </a:lvl2pPr>
            <a:lvl3pPr marL="0" indent="0" algn="l">
              <a:lnSpc>
                <a:spcPct val="100000"/>
              </a:lnSpc>
              <a:spcBef>
                <a:spcPts val="0"/>
              </a:spcBef>
              <a:buNone/>
              <a:defRPr sz="800"/>
            </a:lvl3pPr>
            <a:lvl4pPr marL="0" algn="l">
              <a:lnSpc>
                <a:spcPct val="100000"/>
              </a:lnSpc>
              <a:spcBef>
                <a:spcPts val="0"/>
              </a:spcBef>
              <a:buNone/>
              <a:defRPr sz="800"/>
            </a:lvl4pPr>
            <a:lvl5pPr marL="0" indent="0" algn="l">
              <a:lnSpc>
                <a:spcPct val="100000"/>
              </a:lnSpc>
              <a:spcBef>
                <a:spcPts val="0"/>
              </a:spcBef>
              <a:buNone/>
              <a:defRPr sz="800"/>
            </a:lvl5pPr>
          </a:lstStyle>
          <a:p>
            <a:pPr lvl="0"/>
            <a:r>
              <a:rPr lang="en-US"/>
              <a:t>Source line</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47631389"/>
      </p:ext>
    </p:extLst>
  </p:cSld>
  <p:clrMapOvr>
    <a:masterClrMapping/>
  </p:clrMapOvr>
</p:sldLayout>
</file>

<file path=ppt/slideLayouts/slideLayout322.xml><?xml version="1.0" encoding="utf-8"?>
<p:sldLayout xmlns:a="http://schemas.openxmlformats.org/drawingml/2006/main" xmlns:r="http://schemas.openxmlformats.org/officeDocument/2006/relationships" xmlns:p="http://schemas.openxmlformats.org/presentationml/2006/main" preserve="1">
  <p:cSld name="Smartphone">
    <p:spTree>
      <p:nvGrpSpPr>
        <p:cNvPr id="1" name=""/>
        <p:cNvGrpSpPr/>
        <p:nvPr/>
      </p:nvGrpSpPr>
      <p:grpSpPr>
        <a:xfrm>
          <a:off x="0" y="0"/>
          <a:ext cx="0" cy="0"/>
          <a:chOff x="0" y="0"/>
          <a:chExt cx="0" cy="0"/>
        </a:xfrm>
      </p:grpSpPr>
      <p:pic>
        <p:nvPicPr>
          <p:cNvPr id="10" name="Grafik 2">
            <a:extLst>
              <a:ext uri="{FF2B5EF4-FFF2-40B4-BE49-F238E27FC236}">
                <a16:creationId xmlns:a16="http://schemas.microsoft.com/office/drawing/2014/main" id="{6421FD8A-F5D4-E041-A727-98ABA693B1A7}"/>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5472449" y="1362516"/>
            <a:ext cx="4953000" cy="4865134"/>
          </a:xfrm>
          <a:prstGeom prst="rect">
            <a:avLst/>
          </a:prstGeom>
          <a:effectLst>
            <a:reflection blurRad="6350" stA="48000" endPos="6000" dir="5400000" sy="-100000" algn="bl" rotWithShape="0"/>
          </a:effectLst>
        </p:spPr>
      </p:pic>
      <p:sp>
        <p:nvSpPr>
          <p:cNvPr id="21" name="Date Placeholder 20"/>
          <p:cNvSpPr>
            <a:spLocks noGrp="1"/>
          </p:cNvSpPr>
          <p:nvPr>
            <p:ph type="dt" sz="half" idx="14"/>
          </p:nvPr>
        </p:nvSpPr>
        <p:spPr/>
        <p:txBody>
          <a:bodyPr/>
          <a:lstStyle/>
          <a:p>
            <a:endParaRPr lang="en-US"/>
          </a:p>
        </p:txBody>
      </p:sp>
      <p:sp>
        <p:nvSpPr>
          <p:cNvPr id="22" name="Footer Placeholder 21"/>
          <p:cNvSpPr>
            <a:spLocks noGrp="1"/>
          </p:cNvSpPr>
          <p:nvPr>
            <p:ph type="ftr" sz="quarter" idx="15"/>
          </p:nvPr>
        </p:nvSpPr>
        <p:spPr/>
        <p:txBody>
          <a:bodyPr/>
          <a:lstStyle/>
          <a:p>
            <a:endParaRPr lang="en-US"/>
          </a:p>
        </p:txBody>
      </p:sp>
      <p:sp>
        <p:nvSpPr>
          <p:cNvPr id="23" name="Slide Number Placeholder 22"/>
          <p:cNvSpPr>
            <a:spLocks noGrp="1"/>
          </p:cNvSpPr>
          <p:nvPr>
            <p:ph type="sldNum" sz="quarter" idx="16"/>
          </p:nvPr>
        </p:nvSpPr>
        <p:spPr/>
        <p:txBody>
          <a:bodyPr/>
          <a:lstStyle/>
          <a:p>
            <a:fld id="{5F3E29E4-0979-4FCA-B4C5-5FC6044C982A}" type="slidenum">
              <a:rPr lang="en-US" smtClean="0"/>
              <a:t>‹#›</a:t>
            </a:fld>
            <a:endParaRPr lang="en-US"/>
          </a:p>
        </p:txBody>
      </p:sp>
      <p:sp>
        <p:nvSpPr>
          <p:cNvPr id="2" name="Title 1"/>
          <p:cNvSpPr>
            <a:spLocks noGrp="1"/>
          </p:cNvSpPr>
          <p:nvPr>
            <p:ph type="title" hasCustomPrompt="1"/>
          </p:nvPr>
        </p:nvSpPr>
        <p:spPr/>
        <p:txBody>
          <a:bodyPr/>
          <a:lstStyle>
            <a:lvl1pPr>
              <a:defRPr/>
            </a:lvl1pPr>
          </a:lstStyle>
          <a:p>
            <a:r>
              <a:rPr lang="en-US"/>
              <a:t>Click to add slide title</a:t>
            </a:r>
          </a:p>
        </p:txBody>
      </p:sp>
      <p:sp>
        <p:nvSpPr>
          <p:cNvPr id="7" name="Subtitle 2"/>
          <p:cNvSpPr>
            <a:spLocks noGrp="1"/>
          </p:cNvSpPr>
          <p:nvPr>
            <p:ph type="subTitle" idx="13" hasCustomPrompt="1"/>
          </p:nvPr>
        </p:nvSpPr>
        <p:spPr>
          <a:xfrm>
            <a:off x="1075061" y="964671"/>
            <a:ext cx="7910158" cy="490042"/>
          </a:xfrm>
        </p:spPr>
        <p:txBody>
          <a:bodyPr wrap="none"/>
          <a:lstStyle>
            <a:lvl1pPr marL="0" indent="0" algn="l">
              <a:spcBef>
                <a:spcPts val="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sp>
        <p:nvSpPr>
          <p:cNvPr id="3" name="Content Placeholder 2"/>
          <p:cNvSpPr>
            <a:spLocks noGrp="1"/>
          </p:cNvSpPr>
          <p:nvPr>
            <p:ph idx="1" hasCustomPrompt="1"/>
          </p:nvPr>
        </p:nvSpPr>
        <p:spPr>
          <a:xfrm>
            <a:off x="1075061" y="1852623"/>
            <a:ext cx="5241071" cy="3658714"/>
          </a:xfrm>
        </p:spPr>
        <p:txBody>
          <a:bodyPr anchor="ctr"/>
          <a:lstStyle>
            <a:lvl1pPr>
              <a:defRPr sz="1600"/>
            </a:lvl1pPr>
            <a:lvl2pPr>
              <a:defRPr sz="1600"/>
            </a:lvl2pPr>
            <a:lvl3pPr>
              <a:defRPr sz="1600"/>
            </a:lvl3pPr>
            <a:lvl4pPr>
              <a:defRPr sz="1600"/>
            </a:lvl4pPr>
            <a:lvl5pPr>
              <a:defRPr sz="1600"/>
            </a:lvl5pPr>
          </a:lstStyle>
          <a:p>
            <a:pPr lvl="0"/>
            <a:r>
              <a:rPr lang="en-US"/>
              <a:t>Click to add text</a:t>
            </a:r>
          </a:p>
          <a:p>
            <a:pPr lvl="1"/>
            <a:r>
              <a:rPr lang="en-US"/>
              <a:t>Second level</a:t>
            </a:r>
          </a:p>
          <a:p>
            <a:pPr lvl="2"/>
            <a:r>
              <a:rPr lang="en-US"/>
              <a:t>Third level</a:t>
            </a:r>
          </a:p>
          <a:p>
            <a:pPr lvl="3"/>
            <a:r>
              <a:rPr lang="en-US"/>
              <a:t>Fourth level</a:t>
            </a:r>
          </a:p>
          <a:p>
            <a:pPr lvl="4"/>
            <a:r>
              <a:rPr lang="en-US"/>
              <a:t>Fifth level</a:t>
            </a:r>
          </a:p>
        </p:txBody>
      </p:sp>
      <p:sp>
        <p:nvSpPr>
          <p:cNvPr id="5" name="Picture Placeholder 4"/>
          <p:cNvSpPr>
            <a:spLocks noGrp="1"/>
          </p:cNvSpPr>
          <p:nvPr>
            <p:ph type="pic" sz="quarter" idx="17" hasCustomPrompt="1"/>
          </p:nvPr>
        </p:nvSpPr>
        <p:spPr>
          <a:xfrm>
            <a:off x="6923531" y="1784822"/>
            <a:ext cx="2006654" cy="4104000"/>
          </a:xfrm>
          <a:solidFill>
            <a:srgbClr val="D9DADB"/>
          </a:solidFill>
        </p:spPr>
        <p:txBody>
          <a:bodyPr/>
          <a:lstStyle>
            <a:lvl1pPr marL="0" indent="0">
              <a:buNone/>
              <a:defRPr/>
            </a:lvl1pPr>
          </a:lstStyle>
          <a:p>
            <a:r>
              <a:rPr lang="en-US"/>
              <a:t>Insert picture</a:t>
            </a:r>
          </a:p>
        </p:txBody>
      </p:sp>
      <p:sp>
        <p:nvSpPr>
          <p:cNvPr id="12" name="Text Placeholder 4"/>
          <p:cNvSpPr>
            <a:spLocks noGrp="1"/>
          </p:cNvSpPr>
          <p:nvPr>
            <p:ph type="body" sz="quarter" idx="18" hasCustomPrompt="1"/>
          </p:nvPr>
        </p:nvSpPr>
        <p:spPr>
          <a:xfrm>
            <a:off x="1075063" y="6307665"/>
            <a:ext cx="8162717" cy="133200"/>
          </a:xfrm>
        </p:spPr>
        <p:txBody>
          <a:bodyPr lIns="0" tIns="0" rIns="0" bIns="0" anchor="b" anchorCtr="0"/>
          <a:lstStyle>
            <a:lvl1pPr marL="0" indent="0" algn="l">
              <a:lnSpc>
                <a:spcPct val="100000"/>
              </a:lnSpc>
              <a:spcBef>
                <a:spcPts val="0"/>
              </a:spcBef>
              <a:buNone/>
              <a:defRPr sz="800" baseline="0"/>
            </a:lvl1pPr>
            <a:lvl2pPr marL="0" indent="0" algn="l">
              <a:lnSpc>
                <a:spcPct val="100000"/>
              </a:lnSpc>
              <a:spcBef>
                <a:spcPts val="0"/>
              </a:spcBef>
              <a:buNone/>
              <a:defRPr sz="800"/>
            </a:lvl2pPr>
            <a:lvl3pPr marL="0" indent="0" algn="l">
              <a:lnSpc>
                <a:spcPct val="100000"/>
              </a:lnSpc>
              <a:spcBef>
                <a:spcPts val="0"/>
              </a:spcBef>
              <a:buNone/>
              <a:defRPr sz="800"/>
            </a:lvl3pPr>
            <a:lvl4pPr marL="0" algn="l">
              <a:lnSpc>
                <a:spcPct val="100000"/>
              </a:lnSpc>
              <a:spcBef>
                <a:spcPts val="0"/>
              </a:spcBef>
              <a:buNone/>
              <a:defRPr sz="800"/>
            </a:lvl4pPr>
            <a:lvl5pPr marL="0" indent="0" algn="l">
              <a:lnSpc>
                <a:spcPct val="100000"/>
              </a:lnSpc>
              <a:spcBef>
                <a:spcPts val="0"/>
              </a:spcBef>
              <a:buNone/>
              <a:defRPr sz="800"/>
            </a:lvl5pPr>
          </a:lstStyle>
          <a:p>
            <a:pPr lvl="0"/>
            <a:r>
              <a:rPr lang="en-US"/>
              <a:t>Source line</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17581984"/>
      </p:ext>
    </p:extLst>
  </p:cSld>
  <p:clrMapOvr>
    <a:masterClrMapping/>
  </p:clrMapOvr>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p:cSld name="One contact">
    <p:spTree>
      <p:nvGrpSpPr>
        <p:cNvPr id="1" name=""/>
        <p:cNvGrpSpPr/>
        <p:nvPr/>
      </p:nvGrpSpPr>
      <p:grpSpPr>
        <a:xfrm>
          <a:off x="0" y="0"/>
          <a:ext cx="0" cy="0"/>
          <a:chOff x="0" y="0"/>
          <a:chExt cx="0" cy="0"/>
        </a:xfrm>
      </p:grpSpPr>
      <p:sp>
        <p:nvSpPr>
          <p:cNvPr id="4" name="Picture Placeholder 3"/>
          <p:cNvSpPr>
            <a:spLocks noGrp="1"/>
          </p:cNvSpPr>
          <p:nvPr>
            <p:ph type="pic" sz="quarter" idx="17" hasCustomPrompt="1"/>
          </p:nvPr>
        </p:nvSpPr>
        <p:spPr>
          <a:xfrm>
            <a:off x="1056217" y="1833656"/>
            <a:ext cx="3203503" cy="3935319"/>
          </a:xfrm>
          <a:solidFill>
            <a:srgbClr val="D9DADB"/>
          </a:solidFill>
        </p:spPr>
        <p:txBody>
          <a:bodyPr/>
          <a:lstStyle>
            <a:lvl1pPr marL="0" indent="0">
              <a:buNone/>
              <a:defRPr sz="1400"/>
            </a:lvl1pPr>
          </a:lstStyle>
          <a:p>
            <a:r>
              <a:rPr lang="en-US"/>
              <a:t>Insert picture</a:t>
            </a:r>
          </a:p>
        </p:txBody>
      </p:sp>
      <p:sp>
        <p:nvSpPr>
          <p:cNvPr id="21" name="Date Placeholder 20"/>
          <p:cNvSpPr>
            <a:spLocks noGrp="1"/>
          </p:cNvSpPr>
          <p:nvPr>
            <p:ph type="dt" sz="half" idx="14"/>
          </p:nvPr>
        </p:nvSpPr>
        <p:spPr/>
        <p:txBody>
          <a:bodyPr/>
          <a:lstStyle/>
          <a:p>
            <a:endParaRPr lang="en-US"/>
          </a:p>
        </p:txBody>
      </p:sp>
      <p:sp>
        <p:nvSpPr>
          <p:cNvPr id="22" name="Footer Placeholder 21"/>
          <p:cNvSpPr>
            <a:spLocks noGrp="1"/>
          </p:cNvSpPr>
          <p:nvPr>
            <p:ph type="ftr" sz="quarter" idx="15"/>
          </p:nvPr>
        </p:nvSpPr>
        <p:spPr/>
        <p:txBody>
          <a:bodyPr/>
          <a:lstStyle/>
          <a:p>
            <a:endParaRPr lang="en-US"/>
          </a:p>
        </p:txBody>
      </p:sp>
      <p:sp>
        <p:nvSpPr>
          <p:cNvPr id="23" name="Slide Number Placeholder 22"/>
          <p:cNvSpPr>
            <a:spLocks noGrp="1"/>
          </p:cNvSpPr>
          <p:nvPr>
            <p:ph type="sldNum" sz="quarter" idx="16"/>
          </p:nvPr>
        </p:nvSpPr>
        <p:spPr/>
        <p:txBody>
          <a:bodyPr/>
          <a:lstStyle/>
          <a:p>
            <a:fld id="{5F3E29E4-0979-4FCA-B4C5-5FC6044C982A}" type="slidenum">
              <a:rPr lang="en-US" smtClean="0"/>
              <a:t>‹#›</a:t>
            </a:fld>
            <a:endParaRPr lang="en-US"/>
          </a:p>
        </p:txBody>
      </p:sp>
      <p:sp>
        <p:nvSpPr>
          <p:cNvPr id="2" name="Title 1"/>
          <p:cNvSpPr>
            <a:spLocks noGrp="1"/>
          </p:cNvSpPr>
          <p:nvPr>
            <p:ph type="title" hasCustomPrompt="1"/>
          </p:nvPr>
        </p:nvSpPr>
        <p:spPr/>
        <p:txBody>
          <a:bodyPr/>
          <a:lstStyle>
            <a:lvl1pPr>
              <a:defRPr/>
            </a:lvl1pPr>
          </a:lstStyle>
          <a:p>
            <a:r>
              <a:rPr lang="en-US"/>
              <a:t>Click to add contact title</a:t>
            </a:r>
          </a:p>
        </p:txBody>
      </p:sp>
      <p:sp>
        <p:nvSpPr>
          <p:cNvPr id="7" name="Subtitle 2"/>
          <p:cNvSpPr>
            <a:spLocks noGrp="1"/>
          </p:cNvSpPr>
          <p:nvPr>
            <p:ph type="subTitle" idx="13" hasCustomPrompt="1"/>
          </p:nvPr>
        </p:nvSpPr>
        <p:spPr>
          <a:xfrm>
            <a:off x="1075061" y="964671"/>
            <a:ext cx="7910158" cy="490042"/>
          </a:xfrm>
        </p:spPr>
        <p:txBody>
          <a:bodyPr wrap="none"/>
          <a:lstStyle>
            <a:lvl1pPr marL="0" indent="0" algn="l">
              <a:spcBef>
                <a:spcPts val="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grpSp>
        <p:nvGrpSpPr>
          <p:cNvPr id="8" name="Gruppieren 80">
            <a:extLst>
              <a:ext uri="{FF2B5EF4-FFF2-40B4-BE49-F238E27FC236}">
                <a16:creationId xmlns:a16="http://schemas.microsoft.com/office/drawing/2014/main" id="{6B969E7B-9C39-4443-9B02-74C1E7C5CCAC}"/>
              </a:ext>
            </a:extLst>
          </p:cNvPr>
          <p:cNvGrpSpPr/>
          <p:nvPr/>
        </p:nvGrpSpPr>
        <p:grpSpPr>
          <a:xfrm>
            <a:off x="4451001" y="2884199"/>
            <a:ext cx="171180" cy="171180"/>
            <a:chOff x="3392092" y="1841122"/>
            <a:chExt cx="646508" cy="646508"/>
          </a:xfrm>
        </p:grpSpPr>
        <p:sp>
          <p:nvSpPr>
            <p:cNvPr id="9" name="Rechteck 14">
              <a:extLst>
                <a:ext uri="{FF2B5EF4-FFF2-40B4-BE49-F238E27FC236}">
                  <a16:creationId xmlns:a16="http://schemas.microsoft.com/office/drawing/2014/main" id="{D78F58EA-5525-8D43-8295-FEA52ECF6BFA}"/>
                </a:ext>
              </a:extLst>
            </p:cNvPr>
            <p:cNvSpPr>
              <a:spLocks noChangeAspect="1"/>
            </p:cNvSpPr>
            <p:nvPr/>
          </p:nvSpPr>
          <p:spPr bwMode="gray">
            <a:xfrm>
              <a:off x="3392092" y="1841122"/>
              <a:ext cx="646508" cy="646508"/>
            </a:xfrm>
            <a:prstGeom prst="rect">
              <a:avLst/>
            </a:prstGeom>
            <a:solidFill>
              <a:srgbClr val="E55A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pPr>
              <a:endParaRPr lang="en-US" sz="1000">
                <a:solidFill>
                  <a:schemeClr val="tx1"/>
                </a:solidFill>
                <a:latin typeface="Arial" pitchFamily="34" charset="0"/>
                <a:cs typeface="Arial" pitchFamily="34" charset="0"/>
              </a:endParaRPr>
            </a:p>
          </p:txBody>
        </p:sp>
        <p:sp>
          <p:nvSpPr>
            <p:cNvPr id="10" name="Freeform 67">
              <a:extLst>
                <a:ext uri="{FF2B5EF4-FFF2-40B4-BE49-F238E27FC236}">
                  <a16:creationId xmlns:a16="http://schemas.microsoft.com/office/drawing/2014/main" id="{D01A6292-2776-4945-B828-483D79DC4908}"/>
                </a:ext>
              </a:extLst>
            </p:cNvPr>
            <p:cNvSpPr>
              <a:spLocks noChangeAspect="1"/>
            </p:cNvSpPr>
            <p:nvPr/>
          </p:nvSpPr>
          <p:spPr bwMode="auto">
            <a:xfrm>
              <a:off x="3546638" y="1970424"/>
              <a:ext cx="337415" cy="387905"/>
            </a:xfrm>
            <a:custGeom>
              <a:avLst/>
              <a:gdLst>
                <a:gd name="T0" fmla="*/ 573 w 1624"/>
                <a:gd name="T1" fmla="*/ 1257 h 1867"/>
                <a:gd name="T2" fmla="*/ 662 w 1624"/>
                <a:gd name="T3" fmla="*/ 1288 h 1867"/>
                <a:gd name="T4" fmla="*/ 938 w 1624"/>
                <a:gd name="T5" fmla="*/ 1051 h 1867"/>
                <a:gd name="T6" fmla="*/ 1106 w 1624"/>
                <a:gd name="T7" fmla="*/ 731 h 1867"/>
                <a:gd name="T8" fmla="*/ 1059 w 1624"/>
                <a:gd name="T9" fmla="*/ 645 h 1867"/>
                <a:gd name="T10" fmla="*/ 1001 w 1624"/>
                <a:gd name="T11" fmla="*/ 613 h 1867"/>
                <a:gd name="T12" fmla="*/ 924 w 1624"/>
                <a:gd name="T13" fmla="*/ 432 h 1867"/>
                <a:gd name="T14" fmla="*/ 1114 w 1624"/>
                <a:gd name="T15" fmla="*/ 81 h 1867"/>
                <a:gd name="T16" fmla="*/ 1287 w 1624"/>
                <a:gd name="T17" fmla="*/ 35 h 1867"/>
                <a:gd name="T18" fmla="*/ 1350 w 1624"/>
                <a:gd name="T19" fmla="*/ 69 h 1867"/>
                <a:gd name="T20" fmla="*/ 1527 w 1624"/>
                <a:gd name="T21" fmla="*/ 235 h 1867"/>
                <a:gd name="T22" fmla="*/ 1583 w 1624"/>
                <a:gd name="T23" fmla="*/ 555 h 1867"/>
                <a:gd name="T24" fmla="*/ 1172 w 1624"/>
                <a:gd name="T25" fmla="*/ 1253 h 1867"/>
                <a:gd name="T26" fmla="*/ 586 w 1624"/>
                <a:gd name="T27" fmla="*/ 1803 h 1867"/>
                <a:gd name="T28" fmla="*/ 269 w 1624"/>
                <a:gd name="T29" fmla="*/ 1807 h 1867"/>
                <a:gd name="T30" fmla="*/ 33 w 1624"/>
                <a:gd name="T31" fmla="*/ 1602 h 1867"/>
                <a:gd name="T32" fmla="*/ 2 w 1624"/>
                <a:gd name="T33" fmla="*/ 1508 h 1867"/>
                <a:gd name="T34" fmla="*/ 45 w 1624"/>
                <a:gd name="T35" fmla="*/ 1421 h 1867"/>
                <a:gd name="T36" fmla="*/ 346 w 1624"/>
                <a:gd name="T37" fmla="*/ 1158 h 1867"/>
                <a:gd name="T38" fmla="*/ 448 w 1624"/>
                <a:gd name="T39" fmla="*/ 1145 h 1867"/>
                <a:gd name="T40" fmla="*/ 573 w 1624"/>
                <a:gd name="T41" fmla="*/ 1257 h 18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24" h="1867">
                  <a:moveTo>
                    <a:pt x="573" y="1257"/>
                  </a:moveTo>
                  <a:cubicBezTo>
                    <a:pt x="592" y="1282"/>
                    <a:pt x="630" y="1303"/>
                    <a:pt x="662" y="1288"/>
                  </a:cubicBezTo>
                  <a:cubicBezTo>
                    <a:pt x="753" y="1245"/>
                    <a:pt x="854" y="1156"/>
                    <a:pt x="938" y="1051"/>
                  </a:cubicBezTo>
                  <a:cubicBezTo>
                    <a:pt x="1020" y="948"/>
                    <a:pt x="1084" y="831"/>
                    <a:pt x="1106" y="731"/>
                  </a:cubicBezTo>
                  <a:cubicBezTo>
                    <a:pt x="1113" y="696"/>
                    <a:pt x="1089" y="661"/>
                    <a:pt x="1059" y="645"/>
                  </a:cubicBezTo>
                  <a:cubicBezTo>
                    <a:pt x="1001" y="613"/>
                    <a:pt x="1001" y="613"/>
                    <a:pt x="1001" y="613"/>
                  </a:cubicBezTo>
                  <a:cubicBezTo>
                    <a:pt x="942" y="580"/>
                    <a:pt x="888" y="499"/>
                    <a:pt x="924" y="432"/>
                  </a:cubicBezTo>
                  <a:cubicBezTo>
                    <a:pt x="1114" y="81"/>
                    <a:pt x="1114" y="81"/>
                    <a:pt x="1114" y="81"/>
                  </a:cubicBezTo>
                  <a:cubicBezTo>
                    <a:pt x="1150" y="16"/>
                    <a:pt x="1224" y="0"/>
                    <a:pt x="1287" y="35"/>
                  </a:cubicBezTo>
                  <a:cubicBezTo>
                    <a:pt x="1350" y="69"/>
                    <a:pt x="1350" y="69"/>
                    <a:pt x="1350" y="69"/>
                  </a:cubicBezTo>
                  <a:cubicBezTo>
                    <a:pt x="1415" y="105"/>
                    <a:pt x="1479" y="165"/>
                    <a:pt x="1527" y="235"/>
                  </a:cubicBezTo>
                  <a:cubicBezTo>
                    <a:pt x="1593" y="332"/>
                    <a:pt x="1624" y="442"/>
                    <a:pt x="1583" y="555"/>
                  </a:cubicBezTo>
                  <a:cubicBezTo>
                    <a:pt x="1500" y="781"/>
                    <a:pt x="1351" y="1030"/>
                    <a:pt x="1172" y="1253"/>
                  </a:cubicBezTo>
                  <a:cubicBezTo>
                    <a:pt x="994" y="1477"/>
                    <a:pt x="786" y="1676"/>
                    <a:pt x="586" y="1803"/>
                  </a:cubicBezTo>
                  <a:cubicBezTo>
                    <a:pt x="486" y="1867"/>
                    <a:pt x="375" y="1856"/>
                    <a:pt x="269" y="1807"/>
                  </a:cubicBezTo>
                  <a:cubicBezTo>
                    <a:pt x="157" y="1755"/>
                    <a:pt x="106" y="1695"/>
                    <a:pt x="33" y="1602"/>
                  </a:cubicBezTo>
                  <a:cubicBezTo>
                    <a:pt x="11" y="1573"/>
                    <a:pt x="0" y="1540"/>
                    <a:pt x="2" y="1508"/>
                  </a:cubicBezTo>
                  <a:cubicBezTo>
                    <a:pt x="4" y="1475"/>
                    <a:pt x="18" y="1444"/>
                    <a:pt x="45" y="1421"/>
                  </a:cubicBezTo>
                  <a:cubicBezTo>
                    <a:pt x="70" y="1399"/>
                    <a:pt x="346" y="1158"/>
                    <a:pt x="346" y="1158"/>
                  </a:cubicBezTo>
                  <a:cubicBezTo>
                    <a:pt x="376" y="1134"/>
                    <a:pt x="413" y="1133"/>
                    <a:pt x="448" y="1145"/>
                  </a:cubicBezTo>
                  <a:cubicBezTo>
                    <a:pt x="510" y="1166"/>
                    <a:pt x="536" y="1210"/>
                    <a:pt x="573" y="1257"/>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351"/>
            </a:p>
          </p:txBody>
        </p:sp>
      </p:grpSp>
      <p:grpSp>
        <p:nvGrpSpPr>
          <p:cNvPr id="11" name="Group 3">
            <a:extLst>
              <a:ext uri="{FF2B5EF4-FFF2-40B4-BE49-F238E27FC236}">
                <a16:creationId xmlns:a16="http://schemas.microsoft.com/office/drawing/2014/main" id="{DED6A25A-5DE2-1441-8BA2-C68D3B4F9209}"/>
              </a:ext>
            </a:extLst>
          </p:cNvPr>
          <p:cNvGrpSpPr>
            <a:grpSpLocks noChangeAspect="1"/>
          </p:cNvGrpSpPr>
          <p:nvPr>
            <p:custDataLst>
              <p:tags r:id="rId1"/>
            </p:custDataLst>
          </p:nvPr>
        </p:nvGrpSpPr>
        <p:grpSpPr>
          <a:xfrm>
            <a:off x="4451002" y="3169087"/>
            <a:ext cx="171180" cy="171180"/>
            <a:chOff x="328396" y="5313940"/>
            <a:chExt cx="720000" cy="720000"/>
          </a:xfrm>
        </p:grpSpPr>
        <p:sp>
          <p:nvSpPr>
            <p:cNvPr id="12" name="Rectangle 4">
              <a:extLst>
                <a:ext uri="{FF2B5EF4-FFF2-40B4-BE49-F238E27FC236}">
                  <a16:creationId xmlns:a16="http://schemas.microsoft.com/office/drawing/2014/main" id="{5F49E67F-D4FA-9D48-96BC-59AE946ECD15}"/>
                </a:ext>
              </a:extLst>
            </p:cNvPr>
            <p:cNvSpPr/>
            <p:nvPr/>
          </p:nvSpPr>
          <p:spPr bwMode="gray">
            <a:xfrm>
              <a:off x="328396" y="5313940"/>
              <a:ext cx="720000" cy="720000"/>
            </a:xfrm>
            <a:prstGeom prst="rect">
              <a:avLst/>
            </a:prstGeom>
            <a:solidFill>
              <a:srgbClr val="E55A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pPr>
              <a:endParaRPr lang="en-US" sz="1000">
                <a:solidFill>
                  <a:schemeClr val="tx1"/>
                </a:solidFill>
                <a:latin typeface="Arial" pitchFamily="34" charset="0"/>
                <a:cs typeface="Arial" pitchFamily="34" charset="0"/>
              </a:endParaRPr>
            </a:p>
          </p:txBody>
        </p:sp>
        <p:sp>
          <p:nvSpPr>
            <p:cNvPr id="13" name="Freeform 76">
              <a:extLst>
                <a:ext uri="{FF2B5EF4-FFF2-40B4-BE49-F238E27FC236}">
                  <a16:creationId xmlns:a16="http://schemas.microsoft.com/office/drawing/2014/main" id="{187E70E6-AF3F-2549-908E-DF4BA61040AA}"/>
                </a:ext>
              </a:extLst>
            </p:cNvPr>
            <p:cNvSpPr>
              <a:spLocks noChangeAspect="1" noEditPoints="1"/>
            </p:cNvSpPr>
            <p:nvPr/>
          </p:nvSpPr>
          <p:spPr bwMode="auto">
            <a:xfrm>
              <a:off x="456202" y="5509222"/>
              <a:ext cx="504000" cy="329436"/>
            </a:xfrm>
            <a:custGeom>
              <a:avLst/>
              <a:gdLst>
                <a:gd name="T0" fmla="*/ 0 w 2080"/>
                <a:gd name="T1" fmla="*/ 65 h 1360"/>
                <a:gd name="T2" fmla="*/ 0 w 2080"/>
                <a:gd name="T3" fmla="*/ 0 h 1360"/>
                <a:gd name="T4" fmla="*/ 2080 w 2080"/>
                <a:gd name="T5" fmla="*/ 0 h 1360"/>
                <a:gd name="T6" fmla="*/ 2080 w 2080"/>
                <a:gd name="T7" fmla="*/ 65 h 1360"/>
                <a:gd name="T8" fmla="*/ 1089 w 2080"/>
                <a:gd name="T9" fmla="*/ 862 h 1360"/>
                <a:gd name="T10" fmla="*/ 991 w 2080"/>
                <a:gd name="T11" fmla="*/ 862 h 1360"/>
                <a:gd name="T12" fmla="*/ 0 w 2080"/>
                <a:gd name="T13" fmla="*/ 65 h 1360"/>
                <a:gd name="T14" fmla="*/ 1139 w 2080"/>
                <a:gd name="T15" fmla="*/ 924 h 1360"/>
                <a:gd name="T16" fmla="*/ 1282 w 2080"/>
                <a:gd name="T17" fmla="*/ 810 h 1360"/>
                <a:gd name="T18" fmla="*/ 2076 w 2080"/>
                <a:gd name="T19" fmla="*/ 1360 h 1360"/>
                <a:gd name="T20" fmla="*/ 4 w 2080"/>
                <a:gd name="T21" fmla="*/ 1360 h 1360"/>
                <a:gd name="T22" fmla="*/ 798 w 2080"/>
                <a:gd name="T23" fmla="*/ 810 h 1360"/>
                <a:gd name="T24" fmla="*/ 941 w 2080"/>
                <a:gd name="T25" fmla="*/ 924 h 1360"/>
                <a:gd name="T26" fmla="*/ 1139 w 2080"/>
                <a:gd name="T27" fmla="*/ 924 h 1360"/>
                <a:gd name="T28" fmla="*/ 2 w 2080"/>
                <a:gd name="T29" fmla="*/ 137 h 1360"/>
                <a:gd name="T30" fmla="*/ 42 w 2080"/>
                <a:gd name="T31" fmla="*/ 201 h 1360"/>
                <a:gd name="T32" fmla="*/ 734 w 2080"/>
                <a:gd name="T33" fmla="*/ 758 h 1360"/>
                <a:gd name="T34" fmla="*/ 0 w 2080"/>
                <a:gd name="T35" fmla="*/ 1266 h 1360"/>
                <a:gd name="T36" fmla="*/ 0 w 2080"/>
                <a:gd name="T37" fmla="*/ 135 h 1360"/>
                <a:gd name="T38" fmla="*/ 2 w 2080"/>
                <a:gd name="T39" fmla="*/ 137 h 1360"/>
                <a:gd name="T40" fmla="*/ 2080 w 2080"/>
                <a:gd name="T41" fmla="*/ 136 h 1360"/>
                <a:gd name="T42" fmla="*/ 2080 w 2080"/>
                <a:gd name="T43" fmla="*/ 1265 h 1360"/>
                <a:gd name="T44" fmla="*/ 1346 w 2080"/>
                <a:gd name="T45" fmla="*/ 758 h 1360"/>
                <a:gd name="T46" fmla="*/ 2038 w 2080"/>
                <a:gd name="T47" fmla="*/ 201 h 1360"/>
                <a:gd name="T48" fmla="*/ 2080 w 2080"/>
                <a:gd name="T49" fmla="*/ 136 h 1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080" h="1360">
                  <a:moveTo>
                    <a:pt x="0" y="65"/>
                  </a:moveTo>
                  <a:cubicBezTo>
                    <a:pt x="0" y="0"/>
                    <a:pt x="0" y="0"/>
                    <a:pt x="0" y="0"/>
                  </a:cubicBezTo>
                  <a:cubicBezTo>
                    <a:pt x="2080" y="0"/>
                    <a:pt x="2080" y="0"/>
                    <a:pt x="2080" y="0"/>
                  </a:cubicBezTo>
                  <a:cubicBezTo>
                    <a:pt x="2080" y="65"/>
                    <a:pt x="2080" y="65"/>
                    <a:pt x="2080" y="65"/>
                  </a:cubicBezTo>
                  <a:cubicBezTo>
                    <a:pt x="1089" y="862"/>
                    <a:pt x="1089" y="862"/>
                    <a:pt x="1089" y="862"/>
                  </a:cubicBezTo>
                  <a:cubicBezTo>
                    <a:pt x="1060" y="886"/>
                    <a:pt x="1020" y="886"/>
                    <a:pt x="991" y="862"/>
                  </a:cubicBezTo>
                  <a:lnTo>
                    <a:pt x="0" y="65"/>
                  </a:lnTo>
                  <a:close/>
                  <a:moveTo>
                    <a:pt x="1139" y="924"/>
                  </a:moveTo>
                  <a:cubicBezTo>
                    <a:pt x="1282" y="810"/>
                    <a:pt x="1282" y="810"/>
                    <a:pt x="1282" y="810"/>
                  </a:cubicBezTo>
                  <a:cubicBezTo>
                    <a:pt x="2076" y="1360"/>
                    <a:pt x="2076" y="1360"/>
                    <a:pt x="2076" y="1360"/>
                  </a:cubicBezTo>
                  <a:cubicBezTo>
                    <a:pt x="4" y="1360"/>
                    <a:pt x="4" y="1360"/>
                    <a:pt x="4" y="1360"/>
                  </a:cubicBezTo>
                  <a:cubicBezTo>
                    <a:pt x="798" y="810"/>
                    <a:pt x="798" y="810"/>
                    <a:pt x="798" y="810"/>
                  </a:cubicBezTo>
                  <a:cubicBezTo>
                    <a:pt x="941" y="924"/>
                    <a:pt x="941" y="924"/>
                    <a:pt x="941" y="924"/>
                  </a:cubicBezTo>
                  <a:cubicBezTo>
                    <a:pt x="1000" y="972"/>
                    <a:pt x="1080" y="972"/>
                    <a:pt x="1139" y="924"/>
                  </a:cubicBezTo>
                  <a:close/>
                  <a:moveTo>
                    <a:pt x="2" y="137"/>
                  </a:moveTo>
                  <a:cubicBezTo>
                    <a:pt x="8" y="163"/>
                    <a:pt x="22" y="185"/>
                    <a:pt x="42" y="201"/>
                  </a:cubicBezTo>
                  <a:cubicBezTo>
                    <a:pt x="734" y="758"/>
                    <a:pt x="734" y="758"/>
                    <a:pt x="734" y="758"/>
                  </a:cubicBezTo>
                  <a:cubicBezTo>
                    <a:pt x="0" y="1266"/>
                    <a:pt x="0" y="1266"/>
                    <a:pt x="0" y="1266"/>
                  </a:cubicBezTo>
                  <a:cubicBezTo>
                    <a:pt x="0" y="135"/>
                    <a:pt x="0" y="135"/>
                    <a:pt x="0" y="135"/>
                  </a:cubicBezTo>
                  <a:lnTo>
                    <a:pt x="2" y="137"/>
                  </a:lnTo>
                  <a:close/>
                  <a:moveTo>
                    <a:pt x="2080" y="136"/>
                  </a:moveTo>
                  <a:cubicBezTo>
                    <a:pt x="2080" y="1265"/>
                    <a:pt x="2080" y="1265"/>
                    <a:pt x="2080" y="1265"/>
                  </a:cubicBezTo>
                  <a:cubicBezTo>
                    <a:pt x="1346" y="758"/>
                    <a:pt x="1346" y="758"/>
                    <a:pt x="1346" y="758"/>
                  </a:cubicBezTo>
                  <a:cubicBezTo>
                    <a:pt x="2038" y="201"/>
                    <a:pt x="2038" y="201"/>
                    <a:pt x="2038" y="201"/>
                  </a:cubicBezTo>
                  <a:cubicBezTo>
                    <a:pt x="2060" y="182"/>
                    <a:pt x="2072" y="162"/>
                    <a:pt x="2080" y="13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000"/>
            </a:p>
          </p:txBody>
        </p:sp>
      </p:grpSp>
      <p:cxnSp>
        <p:nvCxnSpPr>
          <p:cNvPr id="20" name="Straight Connector 19"/>
          <p:cNvCxnSpPr/>
          <p:nvPr/>
        </p:nvCxnSpPr>
        <p:spPr>
          <a:xfrm>
            <a:off x="4451001" y="3494093"/>
            <a:ext cx="2463190" cy="0"/>
          </a:xfrm>
          <a:prstGeom prst="line">
            <a:avLst/>
          </a:prstGeom>
          <a:ln w="6350">
            <a:solidFill>
              <a:schemeClr val="tx2"/>
            </a:solidFill>
            <a:prstDash val="dash"/>
          </a:ln>
        </p:spPr>
        <p:style>
          <a:lnRef idx="1">
            <a:schemeClr val="accent1"/>
          </a:lnRef>
          <a:fillRef idx="0">
            <a:schemeClr val="accent1"/>
          </a:fillRef>
          <a:effectRef idx="0">
            <a:schemeClr val="accent1"/>
          </a:effectRef>
          <a:fontRef idx="minor">
            <a:schemeClr val="tx1"/>
          </a:fontRef>
        </p:style>
      </p:cxnSp>
      <p:sp>
        <p:nvSpPr>
          <p:cNvPr id="6" name="Text Placeholder 5"/>
          <p:cNvSpPr>
            <a:spLocks noGrp="1"/>
          </p:cNvSpPr>
          <p:nvPr>
            <p:ph type="body" sz="quarter" idx="19" hasCustomPrompt="1"/>
          </p:nvPr>
        </p:nvSpPr>
        <p:spPr>
          <a:xfrm>
            <a:off x="4451001" y="1824401"/>
            <a:ext cx="2463190" cy="192360"/>
          </a:xfrm>
        </p:spPr>
        <p:txBody>
          <a:bodyPr lIns="0" tIns="0" rIns="0" bIns="0" anchor="ctr" anchorCtr="0"/>
          <a:lstStyle>
            <a:lvl1pPr marL="0" indent="0" algn="l">
              <a:lnSpc>
                <a:spcPct val="100000"/>
              </a:lnSpc>
              <a:buNone/>
              <a:defRPr sz="100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Country</a:t>
            </a:r>
          </a:p>
        </p:txBody>
      </p:sp>
      <p:sp>
        <p:nvSpPr>
          <p:cNvPr id="26" name="Text Placeholder 5"/>
          <p:cNvSpPr>
            <a:spLocks noGrp="1"/>
          </p:cNvSpPr>
          <p:nvPr>
            <p:ph type="body" sz="quarter" idx="20" hasCustomPrompt="1"/>
          </p:nvPr>
        </p:nvSpPr>
        <p:spPr>
          <a:xfrm>
            <a:off x="4451001" y="2036217"/>
            <a:ext cx="2463190" cy="266182"/>
          </a:xfrm>
        </p:spPr>
        <p:txBody>
          <a:bodyPr lIns="0" tIns="0" rIns="0" bIns="0" anchor="b" anchorCtr="0"/>
          <a:lstStyle>
            <a:lvl1pPr marL="0" indent="0" algn="l">
              <a:lnSpc>
                <a:spcPct val="100000"/>
              </a:lnSpc>
              <a:buNone/>
              <a:defRPr sz="1400" b="1" baseline="0">
                <a:solidFill>
                  <a:schemeClr val="tx2"/>
                </a:solidFill>
              </a:defRPr>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Name, Surname</a:t>
            </a:r>
          </a:p>
        </p:txBody>
      </p:sp>
      <p:sp>
        <p:nvSpPr>
          <p:cNvPr id="27" name="Text Placeholder 5"/>
          <p:cNvSpPr>
            <a:spLocks noGrp="1"/>
          </p:cNvSpPr>
          <p:nvPr>
            <p:ph type="body" sz="quarter" idx="21" hasCustomPrompt="1"/>
          </p:nvPr>
        </p:nvSpPr>
        <p:spPr>
          <a:xfrm>
            <a:off x="4451001" y="2332792"/>
            <a:ext cx="2463190"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Job Position</a:t>
            </a:r>
          </a:p>
        </p:txBody>
      </p:sp>
      <p:sp>
        <p:nvSpPr>
          <p:cNvPr id="28" name="Text Placeholder 5"/>
          <p:cNvSpPr>
            <a:spLocks noGrp="1"/>
          </p:cNvSpPr>
          <p:nvPr>
            <p:ph type="body" sz="quarter" idx="22" hasCustomPrompt="1"/>
          </p:nvPr>
        </p:nvSpPr>
        <p:spPr>
          <a:xfrm>
            <a:off x="4695884" y="2861468"/>
            <a:ext cx="2218307"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Phone number</a:t>
            </a:r>
          </a:p>
        </p:txBody>
      </p:sp>
      <p:sp>
        <p:nvSpPr>
          <p:cNvPr id="29" name="Text Placeholder 5"/>
          <p:cNvSpPr>
            <a:spLocks noGrp="1"/>
          </p:cNvSpPr>
          <p:nvPr>
            <p:ph type="body" sz="quarter" idx="23" hasCustomPrompt="1"/>
          </p:nvPr>
        </p:nvSpPr>
        <p:spPr>
          <a:xfrm>
            <a:off x="4695884" y="3144275"/>
            <a:ext cx="2218307"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Email address</a:t>
            </a:r>
          </a:p>
        </p:txBody>
      </p:sp>
      <p:sp>
        <p:nvSpPr>
          <p:cNvPr id="35" name="Text Placeholder 34"/>
          <p:cNvSpPr>
            <a:spLocks noGrp="1"/>
          </p:cNvSpPr>
          <p:nvPr>
            <p:ph type="body" sz="quarter" idx="24" hasCustomPrompt="1"/>
          </p:nvPr>
        </p:nvSpPr>
        <p:spPr>
          <a:xfrm>
            <a:off x="4492626" y="3681413"/>
            <a:ext cx="4492594" cy="2087562"/>
          </a:xfrm>
        </p:spPr>
        <p:txBody>
          <a:bodyPr/>
          <a:lstStyle>
            <a:lvl1pPr>
              <a:defRPr sz="1400" baseline="0"/>
            </a:lvl1pPr>
            <a:lvl2pPr>
              <a:defRPr sz="1400"/>
            </a:lvl2pPr>
            <a:lvl3pPr>
              <a:defRPr sz="1400"/>
            </a:lvl3pPr>
            <a:lvl4pPr>
              <a:defRPr sz="1400"/>
            </a:lvl4pPr>
            <a:lvl5pPr>
              <a:defRPr sz="1400"/>
            </a:lvl5pPr>
          </a:lstStyle>
          <a:p>
            <a:pPr lvl="0"/>
            <a:r>
              <a:rPr lang="en-US"/>
              <a:t>Additional information (if needed)</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97400289"/>
      </p:ext>
    </p:extLst>
  </p:cSld>
  <p:clrMapOvr>
    <a:masterClrMapping/>
  </p:clrMapOvr>
</p:sldLayout>
</file>

<file path=ppt/slideLayouts/slideLayout324.xml><?xml version="1.0" encoding="utf-8"?>
<p:sldLayout xmlns:a="http://schemas.openxmlformats.org/drawingml/2006/main" xmlns:r="http://schemas.openxmlformats.org/officeDocument/2006/relationships" xmlns:p="http://schemas.openxmlformats.org/presentationml/2006/main" preserve="1">
  <p:cSld name="Two contacts">
    <p:spTree>
      <p:nvGrpSpPr>
        <p:cNvPr id="1" name=""/>
        <p:cNvGrpSpPr/>
        <p:nvPr/>
      </p:nvGrpSpPr>
      <p:grpSpPr>
        <a:xfrm>
          <a:off x="0" y="0"/>
          <a:ext cx="0" cy="0"/>
          <a:chOff x="0" y="0"/>
          <a:chExt cx="0" cy="0"/>
        </a:xfrm>
      </p:grpSpPr>
      <p:sp>
        <p:nvSpPr>
          <p:cNvPr id="21" name="Date Placeholder 20"/>
          <p:cNvSpPr>
            <a:spLocks noGrp="1"/>
          </p:cNvSpPr>
          <p:nvPr>
            <p:ph type="dt" sz="half" idx="14"/>
          </p:nvPr>
        </p:nvSpPr>
        <p:spPr/>
        <p:txBody>
          <a:bodyPr/>
          <a:lstStyle/>
          <a:p>
            <a:endParaRPr lang="en-US"/>
          </a:p>
        </p:txBody>
      </p:sp>
      <p:sp>
        <p:nvSpPr>
          <p:cNvPr id="22" name="Footer Placeholder 21"/>
          <p:cNvSpPr>
            <a:spLocks noGrp="1"/>
          </p:cNvSpPr>
          <p:nvPr>
            <p:ph type="ftr" sz="quarter" idx="15"/>
          </p:nvPr>
        </p:nvSpPr>
        <p:spPr/>
        <p:txBody>
          <a:bodyPr/>
          <a:lstStyle/>
          <a:p>
            <a:endParaRPr lang="en-US"/>
          </a:p>
        </p:txBody>
      </p:sp>
      <p:sp>
        <p:nvSpPr>
          <p:cNvPr id="23" name="Slide Number Placeholder 22"/>
          <p:cNvSpPr>
            <a:spLocks noGrp="1"/>
          </p:cNvSpPr>
          <p:nvPr>
            <p:ph type="sldNum" sz="quarter" idx="16"/>
          </p:nvPr>
        </p:nvSpPr>
        <p:spPr/>
        <p:txBody>
          <a:bodyPr/>
          <a:lstStyle/>
          <a:p>
            <a:fld id="{5F3E29E4-0979-4FCA-B4C5-5FC6044C982A}" type="slidenum">
              <a:rPr lang="en-US" smtClean="0"/>
              <a:t>‹#›</a:t>
            </a:fld>
            <a:endParaRPr lang="en-US"/>
          </a:p>
        </p:txBody>
      </p:sp>
      <p:sp>
        <p:nvSpPr>
          <p:cNvPr id="2" name="Title 1"/>
          <p:cNvSpPr>
            <a:spLocks noGrp="1"/>
          </p:cNvSpPr>
          <p:nvPr>
            <p:ph type="title" hasCustomPrompt="1"/>
          </p:nvPr>
        </p:nvSpPr>
        <p:spPr/>
        <p:txBody>
          <a:bodyPr/>
          <a:lstStyle>
            <a:lvl1pPr>
              <a:defRPr/>
            </a:lvl1pPr>
          </a:lstStyle>
          <a:p>
            <a:r>
              <a:rPr lang="en-US"/>
              <a:t>Click to add contact title</a:t>
            </a:r>
          </a:p>
        </p:txBody>
      </p:sp>
      <p:sp>
        <p:nvSpPr>
          <p:cNvPr id="7" name="Subtitle 2"/>
          <p:cNvSpPr>
            <a:spLocks noGrp="1"/>
          </p:cNvSpPr>
          <p:nvPr>
            <p:ph type="subTitle" idx="13" hasCustomPrompt="1"/>
          </p:nvPr>
        </p:nvSpPr>
        <p:spPr>
          <a:xfrm>
            <a:off x="1075061" y="964671"/>
            <a:ext cx="7910158" cy="490042"/>
          </a:xfrm>
        </p:spPr>
        <p:txBody>
          <a:bodyPr wrap="none"/>
          <a:lstStyle>
            <a:lvl1pPr marL="0" indent="0" algn="l">
              <a:spcBef>
                <a:spcPts val="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grpSp>
        <p:nvGrpSpPr>
          <p:cNvPr id="8" name="Gruppieren 80">
            <a:extLst>
              <a:ext uri="{FF2B5EF4-FFF2-40B4-BE49-F238E27FC236}">
                <a16:creationId xmlns:a16="http://schemas.microsoft.com/office/drawing/2014/main" id="{6B969E7B-9C39-4443-9B02-74C1E7C5CCAC}"/>
              </a:ext>
            </a:extLst>
          </p:cNvPr>
          <p:cNvGrpSpPr/>
          <p:nvPr/>
        </p:nvGrpSpPr>
        <p:grpSpPr>
          <a:xfrm>
            <a:off x="3770065" y="2868319"/>
            <a:ext cx="171180" cy="171180"/>
            <a:chOff x="3392092" y="1841122"/>
            <a:chExt cx="646508" cy="646508"/>
          </a:xfrm>
        </p:grpSpPr>
        <p:sp>
          <p:nvSpPr>
            <p:cNvPr id="9" name="Rechteck 14">
              <a:extLst>
                <a:ext uri="{FF2B5EF4-FFF2-40B4-BE49-F238E27FC236}">
                  <a16:creationId xmlns:a16="http://schemas.microsoft.com/office/drawing/2014/main" id="{D78F58EA-5525-8D43-8295-FEA52ECF6BFA}"/>
                </a:ext>
              </a:extLst>
            </p:cNvPr>
            <p:cNvSpPr>
              <a:spLocks noChangeAspect="1"/>
            </p:cNvSpPr>
            <p:nvPr/>
          </p:nvSpPr>
          <p:spPr bwMode="gray">
            <a:xfrm>
              <a:off x="3392092" y="1841122"/>
              <a:ext cx="646508" cy="646508"/>
            </a:xfrm>
            <a:prstGeom prst="rect">
              <a:avLst/>
            </a:prstGeom>
            <a:solidFill>
              <a:srgbClr val="E55A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pPr>
              <a:endParaRPr lang="en-US" sz="1000">
                <a:solidFill>
                  <a:schemeClr val="tx1"/>
                </a:solidFill>
                <a:latin typeface="Arial" pitchFamily="34" charset="0"/>
                <a:cs typeface="Arial" pitchFamily="34" charset="0"/>
              </a:endParaRPr>
            </a:p>
          </p:txBody>
        </p:sp>
        <p:sp>
          <p:nvSpPr>
            <p:cNvPr id="10" name="Freeform 67">
              <a:extLst>
                <a:ext uri="{FF2B5EF4-FFF2-40B4-BE49-F238E27FC236}">
                  <a16:creationId xmlns:a16="http://schemas.microsoft.com/office/drawing/2014/main" id="{D01A6292-2776-4945-B828-483D79DC4908}"/>
                </a:ext>
              </a:extLst>
            </p:cNvPr>
            <p:cNvSpPr>
              <a:spLocks noChangeAspect="1"/>
            </p:cNvSpPr>
            <p:nvPr/>
          </p:nvSpPr>
          <p:spPr bwMode="auto">
            <a:xfrm>
              <a:off x="3546638" y="1970424"/>
              <a:ext cx="337415" cy="387905"/>
            </a:xfrm>
            <a:custGeom>
              <a:avLst/>
              <a:gdLst>
                <a:gd name="T0" fmla="*/ 573 w 1624"/>
                <a:gd name="T1" fmla="*/ 1257 h 1867"/>
                <a:gd name="T2" fmla="*/ 662 w 1624"/>
                <a:gd name="T3" fmla="*/ 1288 h 1867"/>
                <a:gd name="T4" fmla="*/ 938 w 1624"/>
                <a:gd name="T5" fmla="*/ 1051 h 1867"/>
                <a:gd name="T6" fmla="*/ 1106 w 1624"/>
                <a:gd name="T7" fmla="*/ 731 h 1867"/>
                <a:gd name="T8" fmla="*/ 1059 w 1624"/>
                <a:gd name="T9" fmla="*/ 645 h 1867"/>
                <a:gd name="T10" fmla="*/ 1001 w 1624"/>
                <a:gd name="T11" fmla="*/ 613 h 1867"/>
                <a:gd name="T12" fmla="*/ 924 w 1624"/>
                <a:gd name="T13" fmla="*/ 432 h 1867"/>
                <a:gd name="T14" fmla="*/ 1114 w 1624"/>
                <a:gd name="T15" fmla="*/ 81 h 1867"/>
                <a:gd name="T16" fmla="*/ 1287 w 1624"/>
                <a:gd name="T17" fmla="*/ 35 h 1867"/>
                <a:gd name="T18" fmla="*/ 1350 w 1624"/>
                <a:gd name="T19" fmla="*/ 69 h 1867"/>
                <a:gd name="T20" fmla="*/ 1527 w 1624"/>
                <a:gd name="T21" fmla="*/ 235 h 1867"/>
                <a:gd name="T22" fmla="*/ 1583 w 1624"/>
                <a:gd name="T23" fmla="*/ 555 h 1867"/>
                <a:gd name="T24" fmla="*/ 1172 w 1624"/>
                <a:gd name="T25" fmla="*/ 1253 h 1867"/>
                <a:gd name="T26" fmla="*/ 586 w 1624"/>
                <a:gd name="T27" fmla="*/ 1803 h 1867"/>
                <a:gd name="T28" fmla="*/ 269 w 1624"/>
                <a:gd name="T29" fmla="*/ 1807 h 1867"/>
                <a:gd name="T30" fmla="*/ 33 w 1624"/>
                <a:gd name="T31" fmla="*/ 1602 h 1867"/>
                <a:gd name="T32" fmla="*/ 2 w 1624"/>
                <a:gd name="T33" fmla="*/ 1508 h 1867"/>
                <a:gd name="T34" fmla="*/ 45 w 1624"/>
                <a:gd name="T35" fmla="*/ 1421 h 1867"/>
                <a:gd name="T36" fmla="*/ 346 w 1624"/>
                <a:gd name="T37" fmla="*/ 1158 h 1867"/>
                <a:gd name="T38" fmla="*/ 448 w 1624"/>
                <a:gd name="T39" fmla="*/ 1145 h 1867"/>
                <a:gd name="T40" fmla="*/ 573 w 1624"/>
                <a:gd name="T41" fmla="*/ 1257 h 18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24" h="1867">
                  <a:moveTo>
                    <a:pt x="573" y="1257"/>
                  </a:moveTo>
                  <a:cubicBezTo>
                    <a:pt x="592" y="1282"/>
                    <a:pt x="630" y="1303"/>
                    <a:pt x="662" y="1288"/>
                  </a:cubicBezTo>
                  <a:cubicBezTo>
                    <a:pt x="753" y="1245"/>
                    <a:pt x="854" y="1156"/>
                    <a:pt x="938" y="1051"/>
                  </a:cubicBezTo>
                  <a:cubicBezTo>
                    <a:pt x="1020" y="948"/>
                    <a:pt x="1084" y="831"/>
                    <a:pt x="1106" y="731"/>
                  </a:cubicBezTo>
                  <a:cubicBezTo>
                    <a:pt x="1113" y="696"/>
                    <a:pt x="1089" y="661"/>
                    <a:pt x="1059" y="645"/>
                  </a:cubicBezTo>
                  <a:cubicBezTo>
                    <a:pt x="1001" y="613"/>
                    <a:pt x="1001" y="613"/>
                    <a:pt x="1001" y="613"/>
                  </a:cubicBezTo>
                  <a:cubicBezTo>
                    <a:pt x="942" y="580"/>
                    <a:pt x="888" y="499"/>
                    <a:pt x="924" y="432"/>
                  </a:cubicBezTo>
                  <a:cubicBezTo>
                    <a:pt x="1114" y="81"/>
                    <a:pt x="1114" y="81"/>
                    <a:pt x="1114" y="81"/>
                  </a:cubicBezTo>
                  <a:cubicBezTo>
                    <a:pt x="1150" y="16"/>
                    <a:pt x="1224" y="0"/>
                    <a:pt x="1287" y="35"/>
                  </a:cubicBezTo>
                  <a:cubicBezTo>
                    <a:pt x="1350" y="69"/>
                    <a:pt x="1350" y="69"/>
                    <a:pt x="1350" y="69"/>
                  </a:cubicBezTo>
                  <a:cubicBezTo>
                    <a:pt x="1415" y="105"/>
                    <a:pt x="1479" y="165"/>
                    <a:pt x="1527" y="235"/>
                  </a:cubicBezTo>
                  <a:cubicBezTo>
                    <a:pt x="1593" y="332"/>
                    <a:pt x="1624" y="442"/>
                    <a:pt x="1583" y="555"/>
                  </a:cubicBezTo>
                  <a:cubicBezTo>
                    <a:pt x="1500" y="781"/>
                    <a:pt x="1351" y="1030"/>
                    <a:pt x="1172" y="1253"/>
                  </a:cubicBezTo>
                  <a:cubicBezTo>
                    <a:pt x="994" y="1477"/>
                    <a:pt x="786" y="1676"/>
                    <a:pt x="586" y="1803"/>
                  </a:cubicBezTo>
                  <a:cubicBezTo>
                    <a:pt x="486" y="1867"/>
                    <a:pt x="375" y="1856"/>
                    <a:pt x="269" y="1807"/>
                  </a:cubicBezTo>
                  <a:cubicBezTo>
                    <a:pt x="157" y="1755"/>
                    <a:pt x="106" y="1695"/>
                    <a:pt x="33" y="1602"/>
                  </a:cubicBezTo>
                  <a:cubicBezTo>
                    <a:pt x="11" y="1573"/>
                    <a:pt x="0" y="1540"/>
                    <a:pt x="2" y="1508"/>
                  </a:cubicBezTo>
                  <a:cubicBezTo>
                    <a:pt x="4" y="1475"/>
                    <a:pt x="18" y="1444"/>
                    <a:pt x="45" y="1421"/>
                  </a:cubicBezTo>
                  <a:cubicBezTo>
                    <a:pt x="70" y="1399"/>
                    <a:pt x="346" y="1158"/>
                    <a:pt x="346" y="1158"/>
                  </a:cubicBezTo>
                  <a:cubicBezTo>
                    <a:pt x="376" y="1134"/>
                    <a:pt x="413" y="1133"/>
                    <a:pt x="448" y="1145"/>
                  </a:cubicBezTo>
                  <a:cubicBezTo>
                    <a:pt x="510" y="1166"/>
                    <a:pt x="536" y="1210"/>
                    <a:pt x="573" y="1257"/>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351"/>
            </a:p>
          </p:txBody>
        </p:sp>
      </p:grpSp>
      <p:grpSp>
        <p:nvGrpSpPr>
          <p:cNvPr id="11" name="Group 3">
            <a:extLst>
              <a:ext uri="{FF2B5EF4-FFF2-40B4-BE49-F238E27FC236}">
                <a16:creationId xmlns:a16="http://schemas.microsoft.com/office/drawing/2014/main" id="{DED6A25A-5DE2-1441-8BA2-C68D3B4F9209}"/>
              </a:ext>
            </a:extLst>
          </p:cNvPr>
          <p:cNvGrpSpPr>
            <a:grpSpLocks noChangeAspect="1"/>
          </p:cNvGrpSpPr>
          <p:nvPr>
            <p:custDataLst>
              <p:tags r:id="rId1"/>
            </p:custDataLst>
          </p:nvPr>
        </p:nvGrpSpPr>
        <p:grpSpPr>
          <a:xfrm>
            <a:off x="3770066" y="3153207"/>
            <a:ext cx="171180" cy="171180"/>
            <a:chOff x="328396" y="5313940"/>
            <a:chExt cx="720000" cy="720000"/>
          </a:xfrm>
        </p:grpSpPr>
        <p:sp>
          <p:nvSpPr>
            <p:cNvPr id="12" name="Rectangle 4">
              <a:extLst>
                <a:ext uri="{FF2B5EF4-FFF2-40B4-BE49-F238E27FC236}">
                  <a16:creationId xmlns:a16="http://schemas.microsoft.com/office/drawing/2014/main" id="{5F49E67F-D4FA-9D48-96BC-59AE946ECD15}"/>
                </a:ext>
              </a:extLst>
            </p:cNvPr>
            <p:cNvSpPr/>
            <p:nvPr/>
          </p:nvSpPr>
          <p:spPr bwMode="gray">
            <a:xfrm>
              <a:off x="328396" y="5313940"/>
              <a:ext cx="720000" cy="720000"/>
            </a:xfrm>
            <a:prstGeom prst="rect">
              <a:avLst/>
            </a:prstGeom>
            <a:solidFill>
              <a:srgbClr val="E55A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pPr>
              <a:endParaRPr lang="en-US" sz="1000">
                <a:solidFill>
                  <a:schemeClr val="tx1"/>
                </a:solidFill>
                <a:latin typeface="Arial" pitchFamily="34" charset="0"/>
                <a:cs typeface="Arial" pitchFamily="34" charset="0"/>
              </a:endParaRPr>
            </a:p>
          </p:txBody>
        </p:sp>
        <p:sp>
          <p:nvSpPr>
            <p:cNvPr id="13" name="Freeform 76">
              <a:extLst>
                <a:ext uri="{FF2B5EF4-FFF2-40B4-BE49-F238E27FC236}">
                  <a16:creationId xmlns:a16="http://schemas.microsoft.com/office/drawing/2014/main" id="{187E70E6-AF3F-2549-908E-DF4BA61040AA}"/>
                </a:ext>
              </a:extLst>
            </p:cNvPr>
            <p:cNvSpPr>
              <a:spLocks noChangeAspect="1" noEditPoints="1"/>
            </p:cNvSpPr>
            <p:nvPr/>
          </p:nvSpPr>
          <p:spPr bwMode="auto">
            <a:xfrm>
              <a:off x="456202" y="5509222"/>
              <a:ext cx="504000" cy="329436"/>
            </a:xfrm>
            <a:custGeom>
              <a:avLst/>
              <a:gdLst>
                <a:gd name="T0" fmla="*/ 0 w 2080"/>
                <a:gd name="T1" fmla="*/ 65 h 1360"/>
                <a:gd name="T2" fmla="*/ 0 w 2080"/>
                <a:gd name="T3" fmla="*/ 0 h 1360"/>
                <a:gd name="T4" fmla="*/ 2080 w 2080"/>
                <a:gd name="T5" fmla="*/ 0 h 1360"/>
                <a:gd name="T6" fmla="*/ 2080 w 2080"/>
                <a:gd name="T7" fmla="*/ 65 h 1360"/>
                <a:gd name="T8" fmla="*/ 1089 w 2080"/>
                <a:gd name="T9" fmla="*/ 862 h 1360"/>
                <a:gd name="T10" fmla="*/ 991 w 2080"/>
                <a:gd name="T11" fmla="*/ 862 h 1360"/>
                <a:gd name="T12" fmla="*/ 0 w 2080"/>
                <a:gd name="T13" fmla="*/ 65 h 1360"/>
                <a:gd name="T14" fmla="*/ 1139 w 2080"/>
                <a:gd name="T15" fmla="*/ 924 h 1360"/>
                <a:gd name="T16" fmla="*/ 1282 w 2080"/>
                <a:gd name="T17" fmla="*/ 810 h 1360"/>
                <a:gd name="T18" fmla="*/ 2076 w 2080"/>
                <a:gd name="T19" fmla="*/ 1360 h 1360"/>
                <a:gd name="T20" fmla="*/ 4 w 2080"/>
                <a:gd name="T21" fmla="*/ 1360 h 1360"/>
                <a:gd name="T22" fmla="*/ 798 w 2080"/>
                <a:gd name="T23" fmla="*/ 810 h 1360"/>
                <a:gd name="T24" fmla="*/ 941 w 2080"/>
                <a:gd name="T25" fmla="*/ 924 h 1360"/>
                <a:gd name="T26" fmla="*/ 1139 w 2080"/>
                <a:gd name="T27" fmla="*/ 924 h 1360"/>
                <a:gd name="T28" fmla="*/ 2 w 2080"/>
                <a:gd name="T29" fmla="*/ 137 h 1360"/>
                <a:gd name="T30" fmla="*/ 42 w 2080"/>
                <a:gd name="T31" fmla="*/ 201 h 1360"/>
                <a:gd name="T32" fmla="*/ 734 w 2080"/>
                <a:gd name="T33" fmla="*/ 758 h 1360"/>
                <a:gd name="T34" fmla="*/ 0 w 2080"/>
                <a:gd name="T35" fmla="*/ 1266 h 1360"/>
                <a:gd name="T36" fmla="*/ 0 w 2080"/>
                <a:gd name="T37" fmla="*/ 135 h 1360"/>
                <a:gd name="T38" fmla="*/ 2 w 2080"/>
                <a:gd name="T39" fmla="*/ 137 h 1360"/>
                <a:gd name="T40" fmla="*/ 2080 w 2080"/>
                <a:gd name="T41" fmla="*/ 136 h 1360"/>
                <a:gd name="T42" fmla="*/ 2080 w 2080"/>
                <a:gd name="T43" fmla="*/ 1265 h 1360"/>
                <a:gd name="T44" fmla="*/ 1346 w 2080"/>
                <a:gd name="T45" fmla="*/ 758 h 1360"/>
                <a:gd name="T46" fmla="*/ 2038 w 2080"/>
                <a:gd name="T47" fmla="*/ 201 h 1360"/>
                <a:gd name="T48" fmla="*/ 2080 w 2080"/>
                <a:gd name="T49" fmla="*/ 136 h 1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080" h="1360">
                  <a:moveTo>
                    <a:pt x="0" y="65"/>
                  </a:moveTo>
                  <a:cubicBezTo>
                    <a:pt x="0" y="0"/>
                    <a:pt x="0" y="0"/>
                    <a:pt x="0" y="0"/>
                  </a:cubicBezTo>
                  <a:cubicBezTo>
                    <a:pt x="2080" y="0"/>
                    <a:pt x="2080" y="0"/>
                    <a:pt x="2080" y="0"/>
                  </a:cubicBezTo>
                  <a:cubicBezTo>
                    <a:pt x="2080" y="65"/>
                    <a:pt x="2080" y="65"/>
                    <a:pt x="2080" y="65"/>
                  </a:cubicBezTo>
                  <a:cubicBezTo>
                    <a:pt x="1089" y="862"/>
                    <a:pt x="1089" y="862"/>
                    <a:pt x="1089" y="862"/>
                  </a:cubicBezTo>
                  <a:cubicBezTo>
                    <a:pt x="1060" y="886"/>
                    <a:pt x="1020" y="886"/>
                    <a:pt x="991" y="862"/>
                  </a:cubicBezTo>
                  <a:lnTo>
                    <a:pt x="0" y="65"/>
                  </a:lnTo>
                  <a:close/>
                  <a:moveTo>
                    <a:pt x="1139" y="924"/>
                  </a:moveTo>
                  <a:cubicBezTo>
                    <a:pt x="1282" y="810"/>
                    <a:pt x="1282" y="810"/>
                    <a:pt x="1282" y="810"/>
                  </a:cubicBezTo>
                  <a:cubicBezTo>
                    <a:pt x="2076" y="1360"/>
                    <a:pt x="2076" y="1360"/>
                    <a:pt x="2076" y="1360"/>
                  </a:cubicBezTo>
                  <a:cubicBezTo>
                    <a:pt x="4" y="1360"/>
                    <a:pt x="4" y="1360"/>
                    <a:pt x="4" y="1360"/>
                  </a:cubicBezTo>
                  <a:cubicBezTo>
                    <a:pt x="798" y="810"/>
                    <a:pt x="798" y="810"/>
                    <a:pt x="798" y="810"/>
                  </a:cubicBezTo>
                  <a:cubicBezTo>
                    <a:pt x="941" y="924"/>
                    <a:pt x="941" y="924"/>
                    <a:pt x="941" y="924"/>
                  </a:cubicBezTo>
                  <a:cubicBezTo>
                    <a:pt x="1000" y="972"/>
                    <a:pt x="1080" y="972"/>
                    <a:pt x="1139" y="924"/>
                  </a:cubicBezTo>
                  <a:close/>
                  <a:moveTo>
                    <a:pt x="2" y="137"/>
                  </a:moveTo>
                  <a:cubicBezTo>
                    <a:pt x="8" y="163"/>
                    <a:pt x="22" y="185"/>
                    <a:pt x="42" y="201"/>
                  </a:cubicBezTo>
                  <a:cubicBezTo>
                    <a:pt x="734" y="758"/>
                    <a:pt x="734" y="758"/>
                    <a:pt x="734" y="758"/>
                  </a:cubicBezTo>
                  <a:cubicBezTo>
                    <a:pt x="0" y="1266"/>
                    <a:pt x="0" y="1266"/>
                    <a:pt x="0" y="1266"/>
                  </a:cubicBezTo>
                  <a:cubicBezTo>
                    <a:pt x="0" y="135"/>
                    <a:pt x="0" y="135"/>
                    <a:pt x="0" y="135"/>
                  </a:cubicBezTo>
                  <a:lnTo>
                    <a:pt x="2" y="137"/>
                  </a:lnTo>
                  <a:close/>
                  <a:moveTo>
                    <a:pt x="2080" y="136"/>
                  </a:moveTo>
                  <a:cubicBezTo>
                    <a:pt x="2080" y="1265"/>
                    <a:pt x="2080" y="1265"/>
                    <a:pt x="2080" y="1265"/>
                  </a:cubicBezTo>
                  <a:cubicBezTo>
                    <a:pt x="1346" y="758"/>
                    <a:pt x="1346" y="758"/>
                    <a:pt x="1346" y="758"/>
                  </a:cubicBezTo>
                  <a:cubicBezTo>
                    <a:pt x="2038" y="201"/>
                    <a:pt x="2038" y="201"/>
                    <a:pt x="2038" y="201"/>
                  </a:cubicBezTo>
                  <a:cubicBezTo>
                    <a:pt x="2060" y="182"/>
                    <a:pt x="2072" y="162"/>
                    <a:pt x="2080" y="13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000"/>
            </a:p>
          </p:txBody>
        </p:sp>
      </p:grpSp>
      <p:grpSp>
        <p:nvGrpSpPr>
          <p:cNvPr id="14" name="Gruppieren 2">
            <a:extLst>
              <a:ext uri="{FF2B5EF4-FFF2-40B4-BE49-F238E27FC236}">
                <a16:creationId xmlns:a16="http://schemas.microsoft.com/office/drawing/2014/main" id="{BE697CE9-EBDE-6B4A-BE70-582D92A8A831}"/>
              </a:ext>
            </a:extLst>
          </p:cNvPr>
          <p:cNvGrpSpPr/>
          <p:nvPr/>
        </p:nvGrpSpPr>
        <p:grpSpPr>
          <a:xfrm>
            <a:off x="8701917" y="2868319"/>
            <a:ext cx="171180" cy="171180"/>
            <a:chOff x="3392092" y="1841122"/>
            <a:chExt cx="646508" cy="646508"/>
          </a:xfrm>
        </p:grpSpPr>
        <p:sp>
          <p:nvSpPr>
            <p:cNvPr id="15" name="Rechteck 14">
              <a:extLst>
                <a:ext uri="{FF2B5EF4-FFF2-40B4-BE49-F238E27FC236}">
                  <a16:creationId xmlns:a16="http://schemas.microsoft.com/office/drawing/2014/main" id="{E142A731-19B7-C34D-9534-9E05108F895F}"/>
                </a:ext>
              </a:extLst>
            </p:cNvPr>
            <p:cNvSpPr>
              <a:spLocks noChangeAspect="1"/>
            </p:cNvSpPr>
            <p:nvPr/>
          </p:nvSpPr>
          <p:spPr bwMode="gray">
            <a:xfrm>
              <a:off x="3392092" y="1841122"/>
              <a:ext cx="646508" cy="646508"/>
            </a:xfrm>
            <a:prstGeom prst="rect">
              <a:avLst/>
            </a:prstGeom>
            <a:solidFill>
              <a:srgbClr val="E55A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pPr>
              <a:endParaRPr lang="en-US" sz="1000">
                <a:solidFill>
                  <a:schemeClr val="tx1"/>
                </a:solidFill>
                <a:latin typeface="Arial" pitchFamily="34" charset="0"/>
                <a:cs typeface="Arial" pitchFamily="34" charset="0"/>
              </a:endParaRPr>
            </a:p>
          </p:txBody>
        </p:sp>
        <p:sp>
          <p:nvSpPr>
            <p:cNvPr id="16" name="Freeform 15">
              <a:extLst>
                <a:ext uri="{FF2B5EF4-FFF2-40B4-BE49-F238E27FC236}">
                  <a16:creationId xmlns:a16="http://schemas.microsoft.com/office/drawing/2014/main" id="{F97E84AE-4AD9-4B44-9AA1-F797FC373809}"/>
                </a:ext>
              </a:extLst>
            </p:cNvPr>
            <p:cNvSpPr>
              <a:spLocks noChangeAspect="1"/>
            </p:cNvSpPr>
            <p:nvPr/>
          </p:nvSpPr>
          <p:spPr bwMode="auto">
            <a:xfrm>
              <a:off x="3546638" y="1970424"/>
              <a:ext cx="337415" cy="387905"/>
            </a:xfrm>
            <a:custGeom>
              <a:avLst/>
              <a:gdLst>
                <a:gd name="T0" fmla="*/ 573 w 1624"/>
                <a:gd name="T1" fmla="*/ 1257 h 1867"/>
                <a:gd name="T2" fmla="*/ 662 w 1624"/>
                <a:gd name="T3" fmla="*/ 1288 h 1867"/>
                <a:gd name="T4" fmla="*/ 938 w 1624"/>
                <a:gd name="T5" fmla="*/ 1051 h 1867"/>
                <a:gd name="T6" fmla="*/ 1106 w 1624"/>
                <a:gd name="T7" fmla="*/ 731 h 1867"/>
                <a:gd name="T8" fmla="*/ 1059 w 1624"/>
                <a:gd name="T9" fmla="*/ 645 h 1867"/>
                <a:gd name="T10" fmla="*/ 1001 w 1624"/>
                <a:gd name="T11" fmla="*/ 613 h 1867"/>
                <a:gd name="T12" fmla="*/ 924 w 1624"/>
                <a:gd name="T13" fmla="*/ 432 h 1867"/>
                <a:gd name="T14" fmla="*/ 1114 w 1624"/>
                <a:gd name="T15" fmla="*/ 81 h 1867"/>
                <a:gd name="T16" fmla="*/ 1287 w 1624"/>
                <a:gd name="T17" fmla="*/ 35 h 1867"/>
                <a:gd name="T18" fmla="*/ 1350 w 1624"/>
                <a:gd name="T19" fmla="*/ 69 h 1867"/>
                <a:gd name="T20" fmla="*/ 1527 w 1624"/>
                <a:gd name="T21" fmla="*/ 235 h 1867"/>
                <a:gd name="T22" fmla="*/ 1583 w 1624"/>
                <a:gd name="T23" fmla="*/ 555 h 1867"/>
                <a:gd name="T24" fmla="*/ 1172 w 1624"/>
                <a:gd name="T25" fmla="*/ 1253 h 1867"/>
                <a:gd name="T26" fmla="*/ 586 w 1624"/>
                <a:gd name="T27" fmla="*/ 1803 h 1867"/>
                <a:gd name="T28" fmla="*/ 269 w 1624"/>
                <a:gd name="T29" fmla="*/ 1807 h 1867"/>
                <a:gd name="T30" fmla="*/ 33 w 1624"/>
                <a:gd name="T31" fmla="*/ 1602 h 1867"/>
                <a:gd name="T32" fmla="*/ 2 w 1624"/>
                <a:gd name="T33" fmla="*/ 1508 h 1867"/>
                <a:gd name="T34" fmla="*/ 45 w 1624"/>
                <a:gd name="T35" fmla="*/ 1421 h 1867"/>
                <a:gd name="T36" fmla="*/ 346 w 1624"/>
                <a:gd name="T37" fmla="*/ 1158 h 1867"/>
                <a:gd name="T38" fmla="*/ 448 w 1624"/>
                <a:gd name="T39" fmla="*/ 1145 h 1867"/>
                <a:gd name="T40" fmla="*/ 573 w 1624"/>
                <a:gd name="T41" fmla="*/ 1257 h 18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24" h="1867">
                  <a:moveTo>
                    <a:pt x="573" y="1257"/>
                  </a:moveTo>
                  <a:cubicBezTo>
                    <a:pt x="592" y="1282"/>
                    <a:pt x="630" y="1303"/>
                    <a:pt x="662" y="1288"/>
                  </a:cubicBezTo>
                  <a:cubicBezTo>
                    <a:pt x="753" y="1245"/>
                    <a:pt x="854" y="1156"/>
                    <a:pt x="938" y="1051"/>
                  </a:cubicBezTo>
                  <a:cubicBezTo>
                    <a:pt x="1020" y="948"/>
                    <a:pt x="1084" y="831"/>
                    <a:pt x="1106" y="731"/>
                  </a:cubicBezTo>
                  <a:cubicBezTo>
                    <a:pt x="1113" y="696"/>
                    <a:pt x="1089" y="661"/>
                    <a:pt x="1059" y="645"/>
                  </a:cubicBezTo>
                  <a:cubicBezTo>
                    <a:pt x="1001" y="613"/>
                    <a:pt x="1001" y="613"/>
                    <a:pt x="1001" y="613"/>
                  </a:cubicBezTo>
                  <a:cubicBezTo>
                    <a:pt x="942" y="580"/>
                    <a:pt x="888" y="499"/>
                    <a:pt x="924" y="432"/>
                  </a:cubicBezTo>
                  <a:cubicBezTo>
                    <a:pt x="1114" y="81"/>
                    <a:pt x="1114" y="81"/>
                    <a:pt x="1114" y="81"/>
                  </a:cubicBezTo>
                  <a:cubicBezTo>
                    <a:pt x="1150" y="16"/>
                    <a:pt x="1224" y="0"/>
                    <a:pt x="1287" y="35"/>
                  </a:cubicBezTo>
                  <a:cubicBezTo>
                    <a:pt x="1350" y="69"/>
                    <a:pt x="1350" y="69"/>
                    <a:pt x="1350" y="69"/>
                  </a:cubicBezTo>
                  <a:cubicBezTo>
                    <a:pt x="1415" y="105"/>
                    <a:pt x="1479" y="165"/>
                    <a:pt x="1527" y="235"/>
                  </a:cubicBezTo>
                  <a:cubicBezTo>
                    <a:pt x="1593" y="332"/>
                    <a:pt x="1624" y="442"/>
                    <a:pt x="1583" y="555"/>
                  </a:cubicBezTo>
                  <a:cubicBezTo>
                    <a:pt x="1500" y="781"/>
                    <a:pt x="1351" y="1030"/>
                    <a:pt x="1172" y="1253"/>
                  </a:cubicBezTo>
                  <a:cubicBezTo>
                    <a:pt x="994" y="1477"/>
                    <a:pt x="786" y="1676"/>
                    <a:pt x="586" y="1803"/>
                  </a:cubicBezTo>
                  <a:cubicBezTo>
                    <a:pt x="486" y="1867"/>
                    <a:pt x="375" y="1856"/>
                    <a:pt x="269" y="1807"/>
                  </a:cubicBezTo>
                  <a:cubicBezTo>
                    <a:pt x="157" y="1755"/>
                    <a:pt x="106" y="1695"/>
                    <a:pt x="33" y="1602"/>
                  </a:cubicBezTo>
                  <a:cubicBezTo>
                    <a:pt x="11" y="1573"/>
                    <a:pt x="0" y="1540"/>
                    <a:pt x="2" y="1508"/>
                  </a:cubicBezTo>
                  <a:cubicBezTo>
                    <a:pt x="4" y="1475"/>
                    <a:pt x="18" y="1444"/>
                    <a:pt x="45" y="1421"/>
                  </a:cubicBezTo>
                  <a:cubicBezTo>
                    <a:pt x="70" y="1399"/>
                    <a:pt x="346" y="1158"/>
                    <a:pt x="346" y="1158"/>
                  </a:cubicBezTo>
                  <a:cubicBezTo>
                    <a:pt x="376" y="1134"/>
                    <a:pt x="413" y="1133"/>
                    <a:pt x="448" y="1145"/>
                  </a:cubicBezTo>
                  <a:cubicBezTo>
                    <a:pt x="510" y="1166"/>
                    <a:pt x="536" y="1210"/>
                    <a:pt x="573" y="1257"/>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351"/>
            </a:p>
          </p:txBody>
        </p:sp>
      </p:grpSp>
      <p:grpSp>
        <p:nvGrpSpPr>
          <p:cNvPr id="17" name="Group 3">
            <a:extLst>
              <a:ext uri="{FF2B5EF4-FFF2-40B4-BE49-F238E27FC236}">
                <a16:creationId xmlns:a16="http://schemas.microsoft.com/office/drawing/2014/main" id="{7104BADD-8CD1-6F4A-B894-869C3BDB3EEB}"/>
              </a:ext>
            </a:extLst>
          </p:cNvPr>
          <p:cNvGrpSpPr>
            <a:grpSpLocks noChangeAspect="1"/>
          </p:cNvGrpSpPr>
          <p:nvPr>
            <p:custDataLst>
              <p:tags r:id="rId2"/>
            </p:custDataLst>
          </p:nvPr>
        </p:nvGrpSpPr>
        <p:grpSpPr>
          <a:xfrm>
            <a:off x="8701918" y="3153207"/>
            <a:ext cx="171180" cy="171180"/>
            <a:chOff x="328396" y="5313940"/>
            <a:chExt cx="720000" cy="720000"/>
          </a:xfrm>
        </p:grpSpPr>
        <p:sp>
          <p:nvSpPr>
            <p:cNvPr id="18" name="Rectangle 4">
              <a:extLst>
                <a:ext uri="{FF2B5EF4-FFF2-40B4-BE49-F238E27FC236}">
                  <a16:creationId xmlns:a16="http://schemas.microsoft.com/office/drawing/2014/main" id="{74BE3D5F-1445-6E40-8B49-72E15568383B}"/>
                </a:ext>
              </a:extLst>
            </p:cNvPr>
            <p:cNvSpPr/>
            <p:nvPr/>
          </p:nvSpPr>
          <p:spPr bwMode="gray">
            <a:xfrm>
              <a:off x="328396" y="5313940"/>
              <a:ext cx="720000" cy="720000"/>
            </a:xfrm>
            <a:prstGeom prst="rect">
              <a:avLst/>
            </a:prstGeom>
            <a:solidFill>
              <a:srgbClr val="E55A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pPr>
              <a:endParaRPr lang="en-US" sz="1000">
                <a:solidFill>
                  <a:schemeClr val="tx1"/>
                </a:solidFill>
                <a:latin typeface="Arial" pitchFamily="34" charset="0"/>
                <a:cs typeface="Arial" pitchFamily="34" charset="0"/>
              </a:endParaRPr>
            </a:p>
          </p:txBody>
        </p:sp>
        <p:sp>
          <p:nvSpPr>
            <p:cNvPr id="19" name="Freeform 76">
              <a:extLst>
                <a:ext uri="{FF2B5EF4-FFF2-40B4-BE49-F238E27FC236}">
                  <a16:creationId xmlns:a16="http://schemas.microsoft.com/office/drawing/2014/main" id="{55DB3C95-7D0C-D141-901E-96D692794D2B}"/>
                </a:ext>
              </a:extLst>
            </p:cNvPr>
            <p:cNvSpPr>
              <a:spLocks noChangeAspect="1" noEditPoints="1"/>
            </p:cNvSpPr>
            <p:nvPr/>
          </p:nvSpPr>
          <p:spPr bwMode="auto">
            <a:xfrm>
              <a:off x="456202" y="5509222"/>
              <a:ext cx="504000" cy="329436"/>
            </a:xfrm>
            <a:custGeom>
              <a:avLst/>
              <a:gdLst>
                <a:gd name="T0" fmla="*/ 0 w 2080"/>
                <a:gd name="T1" fmla="*/ 65 h 1360"/>
                <a:gd name="T2" fmla="*/ 0 w 2080"/>
                <a:gd name="T3" fmla="*/ 0 h 1360"/>
                <a:gd name="T4" fmla="*/ 2080 w 2080"/>
                <a:gd name="T5" fmla="*/ 0 h 1360"/>
                <a:gd name="T6" fmla="*/ 2080 w 2080"/>
                <a:gd name="T7" fmla="*/ 65 h 1360"/>
                <a:gd name="T8" fmla="*/ 1089 w 2080"/>
                <a:gd name="T9" fmla="*/ 862 h 1360"/>
                <a:gd name="T10" fmla="*/ 991 w 2080"/>
                <a:gd name="T11" fmla="*/ 862 h 1360"/>
                <a:gd name="T12" fmla="*/ 0 w 2080"/>
                <a:gd name="T13" fmla="*/ 65 h 1360"/>
                <a:gd name="T14" fmla="*/ 1139 w 2080"/>
                <a:gd name="T15" fmla="*/ 924 h 1360"/>
                <a:gd name="T16" fmla="*/ 1282 w 2080"/>
                <a:gd name="T17" fmla="*/ 810 h 1360"/>
                <a:gd name="T18" fmla="*/ 2076 w 2080"/>
                <a:gd name="T19" fmla="*/ 1360 h 1360"/>
                <a:gd name="T20" fmla="*/ 4 w 2080"/>
                <a:gd name="T21" fmla="*/ 1360 h 1360"/>
                <a:gd name="T22" fmla="*/ 798 w 2080"/>
                <a:gd name="T23" fmla="*/ 810 h 1360"/>
                <a:gd name="T24" fmla="*/ 941 w 2080"/>
                <a:gd name="T25" fmla="*/ 924 h 1360"/>
                <a:gd name="T26" fmla="*/ 1139 w 2080"/>
                <a:gd name="T27" fmla="*/ 924 h 1360"/>
                <a:gd name="T28" fmla="*/ 2 w 2080"/>
                <a:gd name="T29" fmla="*/ 137 h 1360"/>
                <a:gd name="T30" fmla="*/ 42 w 2080"/>
                <a:gd name="T31" fmla="*/ 201 h 1360"/>
                <a:gd name="T32" fmla="*/ 734 w 2080"/>
                <a:gd name="T33" fmla="*/ 758 h 1360"/>
                <a:gd name="T34" fmla="*/ 0 w 2080"/>
                <a:gd name="T35" fmla="*/ 1266 h 1360"/>
                <a:gd name="T36" fmla="*/ 0 w 2080"/>
                <a:gd name="T37" fmla="*/ 135 h 1360"/>
                <a:gd name="T38" fmla="*/ 2 w 2080"/>
                <a:gd name="T39" fmla="*/ 137 h 1360"/>
                <a:gd name="T40" fmla="*/ 2080 w 2080"/>
                <a:gd name="T41" fmla="*/ 136 h 1360"/>
                <a:gd name="T42" fmla="*/ 2080 w 2080"/>
                <a:gd name="T43" fmla="*/ 1265 h 1360"/>
                <a:gd name="T44" fmla="*/ 1346 w 2080"/>
                <a:gd name="T45" fmla="*/ 758 h 1360"/>
                <a:gd name="T46" fmla="*/ 2038 w 2080"/>
                <a:gd name="T47" fmla="*/ 201 h 1360"/>
                <a:gd name="T48" fmla="*/ 2080 w 2080"/>
                <a:gd name="T49" fmla="*/ 136 h 1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080" h="1360">
                  <a:moveTo>
                    <a:pt x="0" y="65"/>
                  </a:moveTo>
                  <a:cubicBezTo>
                    <a:pt x="0" y="0"/>
                    <a:pt x="0" y="0"/>
                    <a:pt x="0" y="0"/>
                  </a:cubicBezTo>
                  <a:cubicBezTo>
                    <a:pt x="2080" y="0"/>
                    <a:pt x="2080" y="0"/>
                    <a:pt x="2080" y="0"/>
                  </a:cubicBezTo>
                  <a:cubicBezTo>
                    <a:pt x="2080" y="65"/>
                    <a:pt x="2080" y="65"/>
                    <a:pt x="2080" y="65"/>
                  </a:cubicBezTo>
                  <a:cubicBezTo>
                    <a:pt x="1089" y="862"/>
                    <a:pt x="1089" y="862"/>
                    <a:pt x="1089" y="862"/>
                  </a:cubicBezTo>
                  <a:cubicBezTo>
                    <a:pt x="1060" y="886"/>
                    <a:pt x="1020" y="886"/>
                    <a:pt x="991" y="862"/>
                  </a:cubicBezTo>
                  <a:lnTo>
                    <a:pt x="0" y="65"/>
                  </a:lnTo>
                  <a:close/>
                  <a:moveTo>
                    <a:pt x="1139" y="924"/>
                  </a:moveTo>
                  <a:cubicBezTo>
                    <a:pt x="1282" y="810"/>
                    <a:pt x="1282" y="810"/>
                    <a:pt x="1282" y="810"/>
                  </a:cubicBezTo>
                  <a:cubicBezTo>
                    <a:pt x="2076" y="1360"/>
                    <a:pt x="2076" y="1360"/>
                    <a:pt x="2076" y="1360"/>
                  </a:cubicBezTo>
                  <a:cubicBezTo>
                    <a:pt x="4" y="1360"/>
                    <a:pt x="4" y="1360"/>
                    <a:pt x="4" y="1360"/>
                  </a:cubicBezTo>
                  <a:cubicBezTo>
                    <a:pt x="798" y="810"/>
                    <a:pt x="798" y="810"/>
                    <a:pt x="798" y="810"/>
                  </a:cubicBezTo>
                  <a:cubicBezTo>
                    <a:pt x="941" y="924"/>
                    <a:pt x="941" y="924"/>
                    <a:pt x="941" y="924"/>
                  </a:cubicBezTo>
                  <a:cubicBezTo>
                    <a:pt x="1000" y="972"/>
                    <a:pt x="1080" y="972"/>
                    <a:pt x="1139" y="924"/>
                  </a:cubicBezTo>
                  <a:close/>
                  <a:moveTo>
                    <a:pt x="2" y="137"/>
                  </a:moveTo>
                  <a:cubicBezTo>
                    <a:pt x="8" y="163"/>
                    <a:pt x="22" y="185"/>
                    <a:pt x="42" y="201"/>
                  </a:cubicBezTo>
                  <a:cubicBezTo>
                    <a:pt x="734" y="758"/>
                    <a:pt x="734" y="758"/>
                    <a:pt x="734" y="758"/>
                  </a:cubicBezTo>
                  <a:cubicBezTo>
                    <a:pt x="0" y="1266"/>
                    <a:pt x="0" y="1266"/>
                    <a:pt x="0" y="1266"/>
                  </a:cubicBezTo>
                  <a:cubicBezTo>
                    <a:pt x="0" y="135"/>
                    <a:pt x="0" y="135"/>
                    <a:pt x="0" y="135"/>
                  </a:cubicBezTo>
                  <a:lnTo>
                    <a:pt x="2" y="137"/>
                  </a:lnTo>
                  <a:close/>
                  <a:moveTo>
                    <a:pt x="2080" y="136"/>
                  </a:moveTo>
                  <a:cubicBezTo>
                    <a:pt x="2080" y="1265"/>
                    <a:pt x="2080" y="1265"/>
                    <a:pt x="2080" y="1265"/>
                  </a:cubicBezTo>
                  <a:cubicBezTo>
                    <a:pt x="1346" y="758"/>
                    <a:pt x="1346" y="758"/>
                    <a:pt x="1346" y="758"/>
                  </a:cubicBezTo>
                  <a:cubicBezTo>
                    <a:pt x="2038" y="201"/>
                    <a:pt x="2038" y="201"/>
                    <a:pt x="2038" y="201"/>
                  </a:cubicBezTo>
                  <a:cubicBezTo>
                    <a:pt x="2060" y="182"/>
                    <a:pt x="2072" y="162"/>
                    <a:pt x="2080" y="13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000"/>
            </a:p>
          </p:txBody>
        </p:sp>
      </p:grpSp>
      <p:cxnSp>
        <p:nvCxnSpPr>
          <p:cNvPr id="20" name="Straight Connector 19"/>
          <p:cNvCxnSpPr/>
          <p:nvPr/>
        </p:nvCxnSpPr>
        <p:spPr>
          <a:xfrm>
            <a:off x="2371725" y="3478213"/>
            <a:ext cx="3888000" cy="0"/>
          </a:xfrm>
          <a:prstGeom prst="line">
            <a:avLst/>
          </a:prstGeom>
          <a:ln w="6350">
            <a:solidFill>
              <a:schemeClr val="tx2"/>
            </a:solidFill>
            <a:prstDash val="dash"/>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p:nvCxnSpPr>
        <p:spPr>
          <a:xfrm>
            <a:off x="7287766" y="3478213"/>
            <a:ext cx="3888000" cy="0"/>
          </a:xfrm>
          <a:prstGeom prst="line">
            <a:avLst/>
          </a:prstGeom>
          <a:ln w="6350">
            <a:solidFill>
              <a:schemeClr val="tx2"/>
            </a:solidFill>
            <a:prstDash val="dash"/>
          </a:ln>
        </p:spPr>
        <p:style>
          <a:lnRef idx="1">
            <a:schemeClr val="accent1"/>
          </a:lnRef>
          <a:fillRef idx="0">
            <a:schemeClr val="accent1"/>
          </a:fillRef>
          <a:effectRef idx="0">
            <a:schemeClr val="accent1"/>
          </a:effectRef>
          <a:fontRef idx="minor">
            <a:schemeClr val="tx1"/>
          </a:fontRef>
        </p:style>
      </p:cxnSp>
      <p:sp>
        <p:nvSpPr>
          <p:cNvPr id="4" name="Picture Placeholder 3"/>
          <p:cNvSpPr>
            <a:spLocks noGrp="1"/>
          </p:cNvSpPr>
          <p:nvPr>
            <p:ph type="pic" sz="quarter" idx="17" hasCustomPrompt="1"/>
          </p:nvPr>
        </p:nvSpPr>
        <p:spPr>
          <a:xfrm>
            <a:off x="2355914" y="1808984"/>
            <a:ext cx="1188677" cy="1547840"/>
          </a:xfrm>
          <a:solidFill>
            <a:srgbClr val="D9DADB"/>
          </a:solidFill>
        </p:spPr>
        <p:txBody>
          <a:bodyPr/>
          <a:lstStyle>
            <a:lvl1pPr marL="0" indent="0">
              <a:buNone/>
              <a:defRPr sz="1400"/>
            </a:lvl1pPr>
          </a:lstStyle>
          <a:p>
            <a:r>
              <a:rPr lang="en-US"/>
              <a:t>Insert picture</a:t>
            </a:r>
          </a:p>
        </p:txBody>
      </p:sp>
      <p:sp>
        <p:nvSpPr>
          <p:cNvPr id="25" name="Picture Placeholder 3"/>
          <p:cNvSpPr>
            <a:spLocks noGrp="1"/>
          </p:cNvSpPr>
          <p:nvPr>
            <p:ph type="pic" sz="quarter" idx="18" hasCustomPrompt="1"/>
          </p:nvPr>
        </p:nvSpPr>
        <p:spPr>
          <a:xfrm>
            <a:off x="7287766" y="1808984"/>
            <a:ext cx="1188677" cy="1547840"/>
          </a:xfrm>
          <a:solidFill>
            <a:srgbClr val="D9DADB"/>
          </a:solidFill>
        </p:spPr>
        <p:txBody>
          <a:bodyPr/>
          <a:lstStyle>
            <a:lvl1pPr marL="0" indent="0">
              <a:buNone/>
              <a:defRPr sz="1400"/>
            </a:lvl1pPr>
          </a:lstStyle>
          <a:p>
            <a:r>
              <a:rPr lang="en-US"/>
              <a:t>Insert picture</a:t>
            </a:r>
          </a:p>
        </p:txBody>
      </p:sp>
      <p:sp>
        <p:nvSpPr>
          <p:cNvPr id="6" name="Text Placeholder 5"/>
          <p:cNvSpPr>
            <a:spLocks noGrp="1"/>
          </p:cNvSpPr>
          <p:nvPr>
            <p:ph type="body" sz="quarter" idx="19" hasCustomPrompt="1"/>
          </p:nvPr>
        </p:nvSpPr>
        <p:spPr>
          <a:xfrm>
            <a:off x="3770065" y="1808521"/>
            <a:ext cx="2463190" cy="192360"/>
          </a:xfrm>
        </p:spPr>
        <p:txBody>
          <a:bodyPr lIns="0" tIns="0" rIns="0" bIns="0" anchor="ctr" anchorCtr="0"/>
          <a:lstStyle>
            <a:lvl1pPr marL="0" indent="0" algn="l">
              <a:lnSpc>
                <a:spcPct val="100000"/>
              </a:lnSpc>
              <a:buNone/>
              <a:defRPr sz="100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Country</a:t>
            </a:r>
          </a:p>
        </p:txBody>
      </p:sp>
      <p:sp>
        <p:nvSpPr>
          <p:cNvPr id="26" name="Text Placeholder 5"/>
          <p:cNvSpPr>
            <a:spLocks noGrp="1"/>
          </p:cNvSpPr>
          <p:nvPr>
            <p:ph type="body" sz="quarter" idx="20" hasCustomPrompt="1"/>
          </p:nvPr>
        </p:nvSpPr>
        <p:spPr>
          <a:xfrm>
            <a:off x="3770065" y="2020337"/>
            <a:ext cx="2463190" cy="266182"/>
          </a:xfrm>
        </p:spPr>
        <p:txBody>
          <a:bodyPr lIns="0" tIns="0" rIns="0" bIns="0" anchor="b" anchorCtr="0"/>
          <a:lstStyle>
            <a:lvl1pPr marL="0" indent="0" algn="l">
              <a:lnSpc>
                <a:spcPct val="100000"/>
              </a:lnSpc>
              <a:buNone/>
              <a:defRPr sz="1400" b="1" baseline="0">
                <a:solidFill>
                  <a:schemeClr val="tx2"/>
                </a:solidFill>
              </a:defRPr>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Name, Surname</a:t>
            </a:r>
          </a:p>
        </p:txBody>
      </p:sp>
      <p:sp>
        <p:nvSpPr>
          <p:cNvPr id="27" name="Text Placeholder 5"/>
          <p:cNvSpPr>
            <a:spLocks noGrp="1"/>
          </p:cNvSpPr>
          <p:nvPr>
            <p:ph type="body" sz="quarter" idx="21" hasCustomPrompt="1"/>
          </p:nvPr>
        </p:nvSpPr>
        <p:spPr>
          <a:xfrm>
            <a:off x="3770065" y="2316912"/>
            <a:ext cx="2463190"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Job Position</a:t>
            </a:r>
          </a:p>
        </p:txBody>
      </p:sp>
      <p:sp>
        <p:nvSpPr>
          <p:cNvPr id="28" name="Text Placeholder 5"/>
          <p:cNvSpPr>
            <a:spLocks noGrp="1"/>
          </p:cNvSpPr>
          <p:nvPr>
            <p:ph type="body" sz="quarter" idx="22" hasCustomPrompt="1"/>
          </p:nvPr>
        </p:nvSpPr>
        <p:spPr>
          <a:xfrm>
            <a:off x="4014948" y="2845588"/>
            <a:ext cx="2218307"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Phone number</a:t>
            </a:r>
          </a:p>
        </p:txBody>
      </p:sp>
      <p:sp>
        <p:nvSpPr>
          <p:cNvPr id="29" name="Text Placeholder 5"/>
          <p:cNvSpPr>
            <a:spLocks noGrp="1"/>
          </p:cNvSpPr>
          <p:nvPr>
            <p:ph type="body" sz="quarter" idx="23" hasCustomPrompt="1"/>
          </p:nvPr>
        </p:nvSpPr>
        <p:spPr>
          <a:xfrm>
            <a:off x="4014948" y="3128395"/>
            <a:ext cx="2218307"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Email address</a:t>
            </a:r>
          </a:p>
        </p:txBody>
      </p:sp>
      <p:sp>
        <p:nvSpPr>
          <p:cNvPr id="30" name="Text Placeholder 5"/>
          <p:cNvSpPr>
            <a:spLocks noGrp="1"/>
          </p:cNvSpPr>
          <p:nvPr>
            <p:ph type="body" sz="quarter" idx="24" hasCustomPrompt="1"/>
          </p:nvPr>
        </p:nvSpPr>
        <p:spPr>
          <a:xfrm>
            <a:off x="8701917" y="1808521"/>
            <a:ext cx="2463190" cy="192360"/>
          </a:xfrm>
        </p:spPr>
        <p:txBody>
          <a:bodyPr lIns="0" tIns="0" rIns="0" bIns="0" anchor="ctr" anchorCtr="0"/>
          <a:lstStyle>
            <a:lvl1pPr marL="0" indent="0" algn="l">
              <a:lnSpc>
                <a:spcPct val="100000"/>
              </a:lnSpc>
              <a:buNone/>
              <a:defRPr sz="100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Country</a:t>
            </a:r>
          </a:p>
        </p:txBody>
      </p:sp>
      <p:sp>
        <p:nvSpPr>
          <p:cNvPr id="31" name="Text Placeholder 5"/>
          <p:cNvSpPr>
            <a:spLocks noGrp="1"/>
          </p:cNvSpPr>
          <p:nvPr>
            <p:ph type="body" sz="quarter" idx="25" hasCustomPrompt="1"/>
          </p:nvPr>
        </p:nvSpPr>
        <p:spPr>
          <a:xfrm>
            <a:off x="8701917" y="2020337"/>
            <a:ext cx="2463190" cy="266182"/>
          </a:xfrm>
        </p:spPr>
        <p:txBody>
          <a:bodyPr lIns="0" tIns="0" rIns="0" bIns="0" anchor="b" anchorCtr="0"/>
          <a:lstStyle>
            <a:lvl1pPr marL="0" indent="0" algn="l">
              <a:lnSpc>
                <a:spcPct val="100000"/>
              </a:lnSpc>
              <a:buNone/>
              <a:defRPr sz="1400" b="1" baseline="0">
                <a:solidFill>
                  <a:schemeClr val="tx2"/>
                </a:solidFill>
              </a:defRPr>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Name, Surname</a:t>
            </a:r>
          </a:p>
        </p:txBody>
      </p:sp>
      <p:sp>
        <p:nvSpPr>
          <p:cNvPr id="32" name="Text Placeholder 5"/>
          <p:cNvSpPr>
            <a:spLocks noGrp="1"/>
          </p:cNvSpPr>
          <p:nvPr>
            <p:ph type="body" sz="quarter" idx="26" hasCustomPrompt="1"/>
          </p:nvPr>
        </p:nvSpPr>
        <p:spPr>
          <a:xfrm>
            <a:off x="8701917" y="2316912"/>
            <a:ext cx="2463190"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Job Position</a:t>
            </a:r>
          </a:p>
        </p:txBody>
      </p:sp>
      <p:sp>
        <p:nvSpPr>
          <p:cNvPr id="33" name="Text Placeholder 5"/>
          <p:cNvSpPr>
            <a:spLocks noGrp="1"/>
          </p:cNvSpPr>
          <p:nvPr>
            <p:ph type="body" sz="quarter" idx="27" hasCustomPrompt="1"/>
          </p:nvPr>
        </p:nvSpPr>
        <p:spPr>
          <a:xfrm>
            <a:off x="8946800" y="2845588"/>
            <a:ext cx="2218307"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Phone number</a:t>
            </a:r>
          </a:p>
        </p:txBody>
      </p:sp>
      <p:sp>
        <p:nvSpPr>
          <p:cNvPr id="34" name="Text Placeholder 5"/>
          <p:cNvSpPr>
            <a:spLocks noGrp="1"/>
          </p:cNvSpPr>
          <p:nvPr>
            <p:ph type="body" sz="quarter" idx="28" hasCustomPrompt="1"/>
          </p:nvPr>
        </p:nvSpPr>
        <p:spPr>
          <a:xfrm>
            <a:off x="8946800" y="3128395"/>
            <a:ext cx="2218307"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Email address</a:t>
            </a:r>
          </a:p>
        </p:txBody>
      </p:sp>
    </p:spTree>
    <p:extLst>
      <p:ext uri="{BB962C8B-B14F-4D97-AF65-F5344CB8AC3E}">
        <p14:creationId xmlns:p14="http://schemas.microsoft.com/office/powerpoint/2010/main" val="105531051"/>
      </p:ext>
    </p:extLst>
  </p:cSld>
  <p:clrMapOvr>
    <a:masterClrMapping/>
  </p:clrMapOvr>
</p:sldLayout>
</file>

<file path=ppt/slideLayouts/slideLayout325.xml><?xml version="1.0" encoding="utf-8"?>
<p:sldLayout xmlns:a="http://schemas.openxmlformats.org/drawingml/2006/main" xmlns:r="http://schemas.openxmlformats.org/officeDocument/2006/relationships" xmlns:p="http://schemas.openxmlformats.org/presentationml/2006/main" preserve="1">
  <p:cSld name="Three contacts">
    <p:spTree>
      <p:nvGrpSpPr>
        <p:cNvPr id="1" name=""/>
        <p:cNvGrpSpPr/>
        <p:nvPr/>
      </p:nvGrpSpPr>
      <p:grpSpPr>
        <a:xfrm>
          <a:off x="0" y="0"/>
          <a:ext cx="0" cy="0"/>
          <a:chOff x="0" y="0"/>
          <a:chExt cx="0" cy="0"/>
        </a:xfrm>
      </p:grpSpPr>
      <p:sp>
        <p:nvSpPr>
          <p:cNvPr id="21" name="Date Placeholder 20"/>
          <p:cNvSpPr>
            <a:spLocks noGrp="1"/>
          </p:cNvSpPr>
          <p:nvPr>
            <p:ph type="dt" sz="half" idx="14"/>
          </p:nvPr>
        </p:nvSpPr>
        <p:spPr/>
        <p:txBody>
          <a:bodyPr/>
          <a:lstStyle/>
          <a:p>
            <a:endParaRPr lang="en-US"/>
          </a:p>
        </p:txBody>
      </p:sp>
      <p:sp>
        <p:nvSpPr>
          <p:cNvPr id="22" name="Footer Placeholder 21"/>
          <p:cNvSpPr>
            <a:spLocks noGrp="1"/>
          </p:cNvSpPr>
          <p:nvPr>
            <p:ph type="ftr" sz="quarter" idx="15"/>
          </p:nvPr>
        </p:nvSpPr>
        <p:spPr/>
        <p:txBody>
          <a:bodyPr/>
          <a:lstStyle/>
          <a:p>
            <a:endParaRPr lang="en-US"/>
          </a:p>
        </p:txBody>
      </p:sp>
      <p:sp>
        <p:nvSpPr>
          <p:cNvPr id="23" name="Slide Number Placeholder 22"/>
          <p:cNvSpPr>
            <a:spLocks noGrp="1"/>
          </p:cNvSpPr>
          <p:nvPr>
            <p:ph type="sldNum" sz="quarter" idx="16"/>
          </p:nvPr>
        </p:nvSpPr>
        <p:spPr/>
        <p:txBody>
          <a:bodyPr/>
          <a:lstStyle/>
          <a:p>
            <a:fld id="{5F3E29E4-0979-4FCA-B4C5-5FC6044C982A}" type="slidenum">
              <a:rPr lang="en-US" smtClean="0"/>
              <a:t>‹#›</a:t>
            </a:fld>
            <a:endParaRPr lang="en-US"/>
          </a:p>
        </p:txBody>
      </p:sp>
      <p:sp>
        <p:nvSpPr>
          <p:cNvPr id="2" name="Title 1"/>
          <p:cNvSpPr>
            <a:spLocks noGrp="1"/>
          </p:cNvSpPr>
          <p:nvPr>
            <p:ph type="title" hasCustomPrompt="1"/>
          </p:nvPr>
        </p:nvSpPr>
        <p:spPr/>
        <p:txBody>
          <a:bodyPr/>
          <a:lstStyle>
            <a:lvl1pPr>
              <a:defRPr/>
            </a:lvl1pPr>
          </a:lstStyle>
          <a:p>
            <a:r>
              <a:rPr lang="en-US"/>
              <a:t>Click to add contact title</a:t>
            </a:r>
          </a:p>
        </p:txBody>
      </p:sp>
      <p:sp>
        <p:nvSpPr>
          <p:cNvPr id="7" name="Subtitle 2"/>
          <p:cNvSpPr>
            <a:spLocks noGrp="1"/>
          </p:cNvSpPr>
          <p:nvPr>
            <p:ph type="subTitle" idx="13" hasCustomPrompt="1"/>
          </p:nvPr>
        </p:nvSpPr>
        <p:spPr>
          <a:xfrm>
            <a:off x="1075061" y="964671"/>
            <a:ext cx="7910158" cy="490042"/>
          </a:xfrm>
        </p:spPr>
        <p:txBody>
          <a:bodyPr wrap="none"/>
          <a:lstStyle>
            <a:lvl1pPr marL="0" indent="0" algn="l">
              <a:spcBef>
                <a:spcPts val="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grpSp>
        <p:nvGrpSpPr>
          <p:cNvPr id="8" name="Gruppieren 80">
            <a:extLst>
              <a:ext uri="{FF2B5EF4-FFF2-40B4-BE49-F238E27FC236}">
                <a16:creationId xmlns:a16="http://schemas.microsoft.com/office/drawing/2014/main" id="{6B969E7B-9C39-4443-9B02-74C1E7C5CCAC}"/>
              </a:ext>
            </a:extLst>
          </p:cNvPr>
          <p:cNvGrpSpPr/>
          <p:nvPr/>
        </p:nvGrpSpPr>
        <p:grpSpPr>
          <a:xfrm>
            <a:off x="3770065" y="2868319"/>
            <a:ext cx="171180" cy="171180"/>
            <a:chOff x="3392092" y="1841122"/>
            <a:chExt cx="646508" cy="646508"/>
          </a:xfrm>
        </p:grpSpPr>
        <p:sp>
          <p:nvSpPr>
            <p:cNvPr id="9" name="Rechteck 14">
              <a:extLst>
                <a:ext uri="{FF2B5EF4-FFF2-40B4-BE49-F238E27FC236}">
                  <a16:creationId xmlns:a16="http://schemas.microsoft.com/office/drawing/2014/main" id="{D78F58EA-5525-8D43-8295-FEA52ECF6BFA}"/>
                </a:ext>
              </a:extLst>
            </p:cNvPr>
            <p:cNvSpPr>
              <a:spLocks noChangeAspect="1"/>
            </p:cNvSpPr>
            <p:nvPr/>
          </p:nvSpPr>
          <p:spPr bwMode="gray">
            <a:xfrm>
              <a:off x="3392092" y="1841122"/>
              <a:ext cx="646508" cy="646508"/>
            </a:xfrm>
            <a:prstGeom prst="rect">
              <a:avLst/>
            </a:prstGeom>
            <a:solidFill>
              <a:srgbClr val="E55A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pPr>
              <a:endParaRPr lang="en-US" sz="1000">
                <a:solidFill>
                  <a:schemeClr val="tx1"/>
                </a:solidFill>
                <a:latin typeface="Arial" pitchFamily="34" charset="0"/>
                <a:cs typeface="Arial" pitchFamily="34" charset="0"/>
              </a:endParaRPr>
            </a:p>
          </p:txBody>
        </p:sp>
        <p:sp>
          <p:nvSpPr>
            <p:cNvPr id="10" name="Freeform 67">
              <a:extLst>
                <a:ext uri="{FF2B5EF4-FFF2-40B4-BE49-F238E27FC236}">
                  <a16:creationId xmlns:a16="http://schemas.microsoft.com/office/drawing/2014/main" id="{D01A6292-2776-4945-B828-483D79DC4908}"/>
                </a:ext>
              </a:extLst>
            </p:cNvPr>
            <p:cNvSpPr>
              <a:spLocks noChangeAspect="1"/>
            </p:cNvSpPr>
            <p:nvPr/>
          </p:nvSpPr>
          <p:spPr bwMode="auto">
            <a:xfrm>
              <a:off x="3546638" y="1970424"/>
              <a:ext cx="337415" cy="387905"/>
            </a:xfrm>
            <a:custGeom>
              <a:avLst/>
              <a:gdLst>
                <a:gd name="T0" fmla="*/ 573 w 1624"/>
                <a:gd name="T1" fmla="*/ 1257 h 1867"/>
                <a:gd name="T2" fmla="*/ 662 w 1624"/>
                <a:gd name="T3" fmla="*/ 1288 h 1867"/>
                <a:gd name="T4" fmla="*/ 938 w 1624"/>
                <a:gd name="T5" fmla="*/ 1051 h 1867"/>
                <a:gd name="T6" fmla="*/ 1106 w 1624"/>
                <a:gd name="T7" fmla="*/ 731 h 1867"/>
                <a:gd name="T8" fmla="*/ 1059 w 1624"/>
                <a:gd name="T9" fmla="*/ 645 h 1867"/>
                <a:gd name="T10" fmla="*/ 1001 w 1624"/>
                <a:gd name="T11" fmla="*/ 613 h 1867"/>
                <a:gd name="T12" fmla="*/ 924 w 1624"/>
                <a:gd name="T13" fmla="*/ 432 h 1867"/>
                <a:gd name="T14" fmla="*/ 1114 w 1624"/>
                <a:gd name="T15" fmla="*/ 81 h 1867"/>
                <a:gd name="T16" fmla="*/ 1287 w 1624"/>
                <a:gd name="T17" fmla="*/ 35 h 1867"/>
                <a:gd name="T18" fmla="*/ 1350 w 1624"/>
                <a:gd name="T19" fmla="*/ 69 h 1867"/>
                <a:gd name="T20" fmla="*/ 1527 w 1624"/>
                <a:gd name="T21" fmla="*/ 235 h 1867"/>
                <a:gd name="T22" fmla="*/ 1583 w 1624"/>
                <a:gd name="T23" fmla="*/ 555 h 1867"/>
                <a:gd name="T24" fmla="*/ 1172 w 1624"/>
                <a:gd name="T25" fmla="*/ 1253 h 1867"/>
                <a:gd name="T26" fmla="*/ 586 w 1624"/>
                <a:gd name="T27" fmla="*/ 1803 h 1867"/>
                <a:gd name="T28" fmla="*/ 269 w 1624"/>
                <a:gd name="T29" fmla="*/ 1807 h 1867"/>
                <a:gd name="T30" fmla="*/ 33 w 1624"/>
                <a:gd name="T31" fmla="*/ 1602 h 1867"/>
                <a:gd name="T32" fmla="*/ 2 w 1624"/>
                <a:gd name="T33" fmla="*/ 1508 h 1867"/>
                <a:gd name="T34" fmla="*/ 45 w 1624"/>
                <a:gd name="T35" fmla="*/ 1421 h 1867"/>
                <a:gd name="T36" fmla="*/ 346 w 1624"/>
                <a:gd name="T37" fmla="*/ 1158 h 1867"/>
                <a:gd name="T38" fmla="*/ 448 w 1624"/>
                <a:gd name="T39" fmla="*/ 1145 h 1867"/>
                <a:gd name="T40" fmla="*/ 573 w 1624"/>
                <a:gd name="T41" fmla="*/ 1257 h 18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24" h="1867">
                  <a:moveTo>
                    <a:pt x="573" y="1257"/>
                  </a:moveTo>
                  <a:cubicBezTo>
                    <a:pt x="592" y="1282"/>
                    <a:pt x="630" y="1303"/>
                    <a:pt x="662" y="1288"/>
                  </a:cubicBezTo>
                  <a:cubicBezTo>
                    <a:pt x="753" y="1245"/>
                    <a:pt x="854" y="1156"/>
                    <a:pt x="938" y="1051"/>
                  </a:cubicBezTo>
                  <a:cubicBezTo>
                    <a:pt x="1020" y="948"/>
                    <a:pt x="1084" y="831"/>
                    <a:pt x="1106" y="731"/>
                  </a:cubicBezTo>
                  <a:cubicBezTo>
                    <a:pt x="1113" y="696"/>
                    <a:pt x="1089" y="661"/>
                    <a:pt x="1059" y="645"/>
                  </a:cubicBezTo>
                  <a:cubicBezTo>
                    <a:pt x="1001" y="613"/>
                    <a:pt x="1001" y="613"/>
                    <a:pt x="1001" y="613"/>
                  </a:cubicBezTo>
                  <a:cubicBezTo>
                    <a:pt x="942" y="580"/>
                    <a:pt x="888" y="499"/>
                    <a:pt x="924" y="432"/>
                  </a:cubicBezTo>
                  <a:cubicBezTo>
                    <a:pt x="1114" y="81"/>
                    <a:pt x="1114" y="81"/>
                    <a:pt x="1114" y="81"/>
                  </a:cubicBezTo>
                  <a:cubicBezTo>
                    <a:pt x="1150" y="16"/>
                    <a:pt x="1224" y="0"/>
                    <a:pt x="1287" y="35"/>
                  </a:cubicBezTo>
                  <a:cubicBezTo>
                    <a:pt x="1350" y="69"/>
                    <a:pt x="1350" y="69"/>
                    <a:pt x="1350" y="69"/>
                  </a:cubicBezTo>
                  <a:cubicBezTo>
                    <a:pt x="1415" y="105"/>
                    <a:pt x="1479" y="165"/>
                    <a:pt x="1527" y="235"/>
                  </a:cubicBezTo>
                  <a:cubicBezTo>
                    <a:pt x="1593" y="332"/>
                    <a:pt x="1624" y="442"/>
                    <a:pt x="1583" y="555"/>
                  </a:cubicBezTo>
                  <a:cubicBezTo>
                    <a:pt x="1500" y="781"/>
                    <a:pt x="1351" y="1030"/>
                    <a:pt x="1172" y="1253"/>
                  </a:cubicBezTo>
                  <a:cubicBezTo>
                    <a:pt x="994" y="1477"/>
                    <a:pt x="786" y="1676"/>
                    <a:pt x="586" y="1803"/>
                  </a:cubicBezTo>
                  <a:cubicBezTo>
                    <a:pt x="486" y="1867"/>
                    <a:pt x="375" y="1856"/>
                    <a:pt x="269" y="1807"/>
                  </a:cubicBezTo>
                  <a:cubicBezTo>
                    <a:pt x="157" y="1755"/>
                    <a:pt x="106" y="1695"/>
                    <a:pt x="33" y="1602"/>
                  </a:cubicBezTo>
                  <a:cubicBezTo>
                    <a:pt x="11" y="1573"/>
                    <a:pt x="0" y="1540"/>
                    <a:pt x="2" y="1508"/>
                  </a:cubicBezTo>
                  <a:cubicBezTo>
                    <a:pt x="4" y="1475"/>
                    <a:pt x="18" y="1444"/>
                    <a:pt x="45" y="1421"/>
                  </a:cubicBezTo>
                  <a:cubicBezTo>
                    <a:pt x="70" y="1399"/>
                    <a:pt x="346" y="1158"/>
                    <a:pt x="346" y="1158"/>
                  </a:cubicBezTo>
                  <a:cubicBezTo>
                    <a:pt x="376" y="1134"/>
                    <a:pt x="413" y="1133"/>
                    <a:pt x="448" y="1145"/>
                  </a:cubicBezTo>
                  <a:cubicBezTo>
                    <a:pt x="510" y="1166"/>
                    <a:pt x="536" y="1210"/>
                    <a:pt x="573" y="1257"/>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351"/>
            </a:p>
          </p:txBody>
        </p:sp>
      </p:grpSp>
      <p:grpSp>
        <p:nvGrpSpPr>
          <p:cNvPr id="11" name="Group 3">
            <a:extLst>
              <a:ext uri="{FF2B5EF4-FFF2-40B4-BE49-F238E27FC236}">
                <a16:creationId xmlns:a16="http://schemas.microsoft.com/office/drawing/2014/main" id="{DED6A25A-5DE2-1441-8BA2-C68D3B4F9209}"/>
              </a:ext>
            </a:extLst>
          </p:cNvPr>
          <p:cNvGrpSpPr>
            <a:grpSpLocks noChangeAspect="1"/>
          </p:cNvGrpSpPr>
          <p:nvPr>
            <p:custDataLst>
              <p:tags r:id="rId1"/>
            </p:custDataLst>
          </p:nvPr>
        </p:nvGrpSpPr>
        <p:grpSpPr>
          <a:xfrm>
            <a:off x="3770066" y="3153207"/>
            <a:ext cx="171180" cy="171180"/>
            <a:chOff x="328396" y="5313940"/>
            <a:chExt cx="720000" cy="720000"/>
          </a:xfrm>
        </p:grpSpPr>
        <p:sp>
          <p:nvSpPr>
            <p:cNvPr id="12" name="Rectangle 4">
              <a:extLst>
                <a:ext uri="{FF2B5EF4-FFF2-40B4-BE49-F238E27FC236}">
                  <a16:creationId xmlns:a16="http://schemas.microsoft.com/office/drawing/2014/main" id="{5F49E67F-D4FA-9D48-96BC-59AE946ECD15}"/>
                </a:ext>
              </a:extLst>
            </p:cNvPr>
            <p:cNvSpPr/>
            <p:nvPr/>
          </p:nvSpPr>
          <p:spPr bwMode="gray">
            <a:xfrm>
              <a:off x="328396" y="5313940"/>
              <a:ext cx="720000" cy="720000"/>
            </a:xfrm>
            <a:prstGeom prst="rect">
              <a:avLst/>
            </a:prstGeom>
            <a:solidFill>
              <a:srgbClr val="E55A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pPr>
              <a:endParaRPr lang="en-US" sz="1000">
                <a:solidFill>
                  <a:schemeClr val="tx1"/>
                </a:solidFill>
                <a:latin typeface="Arial" pitchFamily="34" charset="0"/>
                <a:cs typeface="Arial" pitchFamily="34" charset="0"/>
              </a:endParaRPr>
            </a:p>
          </p:txBody>
        </p:sp>
        <p:sp>
          <p:nvSpPr>
            <p:cNvPr id="13" name="Freeform 76">
              <a:extLst>
                <a:ext uri="{FF2B5EF4-FFF2-40B4-BE49-F238E27FC236}">
                  <a16:creationId xmlns:a16="http://schemas.microsoft.com/office/drawing/2014/main" id="{187E70E6-AF3F-2549-908E-DF4BA61040AA}"/>
                </a:ext>
              </a:extLst>
            </p:cNvPr>
            <p:cNvSpPr>
              <a:spLocks noChangeAspect="1" noEditPoints="1"/>
            </p:cNvSpPr>
            <p:nvPr/>
          </p:nvSpPr>
          <p:spPr bwMode="auto">
            <a:xfrm>
              <a:off x="456202" y="5509222"/>
              <a:ext cx="504000" cy="329436"/>
            </a:xfrm>
            <a:custGeom>
              <a:avLst/>
              <a:gdLst>
                <a:gd name="T0" fmla="*/ 0 w 2080"/>
                <a:gd name="T1" fmla="*/ 65 h 1360"/>
                <a:gd name="T2" fmla="*/ 0 w 2080"/>
                <a:gd name="T3" fmla="*/ 0 h 1360"/>
                <a:gd name="T4" fmla="*/ 2080 w 2080"/>
                <a:gd name="T5" fmla="*/ 0 h 1360"/>
                <a:gd name="T6" fmla="*/ 2080 w 2080"/>
                <a:gd name="T7" fmla="*/ 65 h 1360"/>
                <a:gd name="T8" fmla="*/ 1089 w 2080"/>
                <a:gd name="T9" fmla="*/ 862 h 1360"/>
                <a:gd name="T10" fmla="*/ 991 w 2080"/>
                <a:gd name="T11" fmla="*/ 862 h 1360"/>
                <a:gd name="T12" fmla="*/ 0 w 2080"/>
                <a:gd name="T13" fmla="*/ 65 h 1360"/>
                <a:gd name="T14" fmla="*/ 1139 w 2080"/>
                <a:gd name="T15" fmla="*/ 924 h 1360"/>
                <a:gd name="T16" fmla="*/ 1282 w 2080"/>
                <a:gd name="T17" fmla="*/ 810 h 1360"/>
                <a:gd name="T18" fmla="*/ 2076 w 2080"/>
                <a:gd name="T19" fmla="*/ 1360 h 1360"/>
                <a:gd name="T20" fmla="*/ 4 w 2080"/>
                <a:gd name="T21" fmla="*/ 1360 h 1360"/>
                <a:gd name="T22" fmla="*/ 798 w 2080"/>
                <a:gd name="T23" fmla="*/ 810 h 1360"/>
                <a:gd name="T24" fmla="*/ 941 w 2080"/>
                <a:gd name="T25" fmla="*/ 924 h 1360"/>
                <a:gd name="T26" fmla="*/ 1139 w 2080"/>
                <a:gd name="T27" fmla="*/ 924 h 1360"/>
                <a:gd name="T28" fmla="*/ 2 w 2080"/>
                <a:gd name="T29" fmla="*/ 137 h 1360"/>
                <a:gd name="T30" fmla="*/ 42 w 2080"/>
                <a:gd name="T31" fmla="*/ 201 h 1360"/>
                <a:gd name="T32" fmla="*/ 734 w 2080"/>
                <a:gd name="T33" fmla="*/ 758 h 1360"/>
                <a:gd name="T34" fmla="*/ 0 w 2080"/>
                <a:gd name="T35" fmla="*/ 1266 h 1360"/>
                <a:gd name="T36" fmla="*/ 0 w 2080"/>
                <a:gd name="T37" fmla="*/ 135 h 1360"/>
                <a:gd name="T38" fmla="*/ 2 w 2080"/>
                <a:gd name="T39" fmla="*/ 137 h 1360"/>
                <a:gd name="T40" fmla="*/ 2080 w 2080"/>
                <a:gd name="T41" fmla="*/ 136 h 1360"/>
                <a:gd name="T42" fmla="*/ 2080 w 2080"/>
                <a:gd name="T43" fmla="*/ 1265 h 1360"/>
                <a:gd name="T44" fmla="*/ 1346 w 2080"/>
                <a:gd name="T45" fmla="*/ 758 h 1360"/>
                <a:gd name="T46" fmla="*/ 2038 w 2080"/>
                <a:gd name="T47" fmla="*/ 201 h 1360"/>
                <a:gd name="T48" fmla="*/ 2080 w 2080"/>
                <a:gd name="T49" fmla="*/ 136 h 1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080" h="1360">
                  <a:moveTo>
                    <a:pt x="0" y="65"/>
                  </a:moveTo>
                  <a:cubicBezTo>
                    <a:pt x="0" y="0"/>
                    <a:pt x="0" y="0"/>
                    <a:pt x="0" y="0"/>
                  </a:cubicBezTo>
                  <a:cubicBezTo>
                    <a:pt x="2080" y="0"/>
                    <a:pt x="2080" y="0"/>
                    <a:pt x="2080" y="0"/>
                  </a:cubicBezTo>
                  <a:cubicBezTo>
                    <a:pt x="2080" y="65"/>
                    <a:pt x="2080" y="65"/>
                    <a:pt x="2080" y="65"/>
                  </a:cubicBezTo>
                  <a:cubicBezTo>
                    <a:pt x="1089" y="862"/>
                    <a:pt x="1089" y="862"/>
                    <a:pt x="1089" y="862"/>
                  </a:cubicBezTo>
                  <a:cubicBezTo>
                    <a:pt x="1060" y="886"/>
                    <a:pt x="1020" y="886"/>
                    <a:pt x="991" y="862"/>
                  </a:cubicBezTo>
                  <a:lnTo>
                    <a:pt x="0" y="65"/>
                  </a:lnTo>
                  <a:close/>
                  <a:moveTo>
                    <a:pt x="1139" y="924"/>
                  </a:moveTo>
                  <a:cubicBezTo>
                    <a:pt x="1282" y="810"/>
                    <a:pt x="1282" y="810"/>
                    <a:pt x="1282" y="810"/>
                  </a:cubicBezTo>
                  <a:cubicBezTo>
                    <a:pt x="2076" y="1360"/>
                    <a:pt x="2076" y="1360"/>
                    <a:pt x="2076" y="1360"/>
                  </a:cubicBezTo>
                  <a:cubicBezTo>
                    <a:pt x="4" y="1360"/>
                    <a:pt x="4" y="1360"/>
                    <a:pt x="4" y="1360"/>
                  </a:cubicBezTo>
                  <a:cubicBezTo>
                    <a:pt x="798" y="810"/>
                    <a:pt x="798" y="810"/>
                    <a:pt x="798" y="810"/>
                  </a:cubicBezTo>
                  <a:cubicBezTo>
                    <a:pt x="941" y="924"/>
                    <a:pt x="941" y="924"/>
                    <a:pt x="941" y="924"/>
                  </a:cubicBezTo>
                  <a:cubicBezTo>
                    <a:pt x="1000" y="972"/>
                    <a:pt x="1080" y="972"/>
                    <a:pt x="1139" y="924"/>
                  </a:cubicBezTo>
                  <a:close/>
                  <a:moveTo>
                    <a:pt x="2" y="137"/>
                  </a:moveTo>
                  <a:cubicBezTo>
                    <a:pt x="8" y="163"/>
                    <a:pt x="22" y="185"/>
                    <a:pt x="42" y="201"/>
                  </a:cubicBezTo>
                  <a:cubicBezTo>
                    <a:pt x="734" y="758"/>
                    <a:pt x="734" y="758"/>
                    <a:pt x="734" y="758"/>
                  </a:cubicBezTo>
                  <a:cubicBezTo>
                    <a:pt x="0" y="1266"/>
                    <a:pt x="0" y="1266"/>
                    <a:pt x="0" y="1266"/>
                  </a:cubicBezTo>
                  <a:cubicBezTo>
                    <a:pt x="0" y="135"/>
                    <a:pt x="0" y="135"/>
                    <a:pt x="0" y="135"/>
                  </a:cubicBezTo>
                  <a:lnTo>
                    <a:pt x="2" y="137"/>
                  </a:lnTo>
                  <a:close/>
                  <a:moveTo>
                    <a:pt x="2080" y="136"/>
                  </a:moveTo>
                  <a:cubicBezTo>
                    <a:pt x="2080" y="1265"/>
                    <a:pt x="2080" y="1265"/>
                    <a:pt x="2080" y="1265"/>
                  </a:cubicBezTo>
                  <a:cubicBezTo>
                    <a:pt x="1346" y="758"/>
                    <a:pt x="1346" y="758"/>
                    <a:pt x="1346" y="758"/>
                  </a:cubicBezTo>
                  <a:cubicBezTo>
                    <a:pt x="2038" y="201"/>
                    <a:pt x="2038" y="201"/>
                    <a:pt x="2038" y="201"/>
                  </a:cubicBezTo>
                  <a:cubicBezTo>
                    <a:pt x="2060" y="182"/>
                    <a:pt x="2072" y="162"/>
                    <a:pt x="2080" y="13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000"/>
            </a:p>
          </p:txBody>
        </p:sp>
      </p:grpSp>
      <p:grpSp>
        <p:nvGrpSpPr>
          <p:cNvPr id="14" name="Gruppieren 2">
            <a:extLst>
              <a:ext uri="{FF2B5EF4-FFF2-40B4-BE49-F238E27FC236}">
                <a16:creationId xmlns:a16="http://schemas.microsoft.com/office/drawing/2014/main" id="{BE697CE9-EBDE-6B4A-BE70-582D92A8A831}"/>
              </a:ext>
            </a:extLst>
          </p:cNvPr>
          <p:cNvGrpSpPr/>
          <p:nvPr/>
        </p:nvGrpSpPr>
        <p:grpSpPr>
          <a:xfrm>
            <a:off x="8701917" y="2868319"/>
            <a:ext cx="171180" cy="171180"/>
            <a:chOff x="3392092" y="1841122"/>
            <a:chExt cx="646508" cy="646508"/>
          </a:xfrm>
        </p:grpSpPr>
        <p:sp>
          <p:nvSpPr>
            <p:cNvPr id="15" name="Rechteck 14">
              <a:extLst>
                <a:ext uri="{FF2B5EF4-FFF2-40B4-BE49-F238E27FC236}">
                  <a16:creationId xmlns:a16="http://schemas.microsoft.com/office/drawing/2014/main" id="{E142A731-19B7-C34D-9534-9E05108F895F}"/>
                </a:ext>
              </a:extLst>
            </p:cNvPr>
            <p:cNvSpPr>
              <a:spLocks noChangeAspect="1"/>
            </p:cNvSpPr>
            <p:nvPr/>
          </p:nvSpPr>
          <p:spPr bwMode="gray">
            <a:xfrm>
              <a:off x="3392092" y="1841122"/>
              <a:ext cx="646508" cy="646508"/>
            </a:xfrm>
            <a:prstGeom prst="rect">
              <a:avLst/>
            </a:prstGeom>
            <a:solidFill>
              <a:srgbClr val="E55A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pPr>
              <a:endParaRPr lang="en-US" sz="1000">
                <a:solidFill>
                  <a:schemeClr val="tx1"/>
                </a:solidFill>
                <a:latin typeface="Arial" pitchFamily="34" charset="0"/>
                <a:cs typeface="Arial" pitchFamily="34" charset="0"/>
              </a:endParaRPr>
            </a:p>
          </p:txBody>
        </p:sp>
        <p:sp>
          <p:nvSpPr>
            <p:cNvPr id="16" name="Freeform 15">
              <a:extLst>
                <a:ext uri="{FF2B5EF4-FFF2-40B4-BE49-F238E27FC236}">
                  <a16:creationId xmlns:a16="http://schemas.microsoft.com/office/drawing/2014/main" id="{F97E84AE-4AD9-4B44-9AA1-F797FC373809}"/>
                </a:ext>
              </a:extLst>
            </p:cNvPr>
            <p:cNvSpPr>
              <a:spLocks noChangeAspect="1"/>
            </p:cNvSpPr>
            <p:nvPr/>
          </p:nvSpPr>
          <p:spPr bwMode="auto">
            <a:xfrm>
              <a:off x="3546638" y="1970424"/>
              <a:ext cx="337415" cy="387905"/>
            </a:xfrm>
            <a:custGeom>
              <a:avLst/>
              <a:gdLst>
                <a:gd name="T0" fmla="*/ 573 w 1624"/>
                <a:gd name="T1" fmla="*/ 1257 h 1867"/>
                <a:gd name="T2" fmla="*/ 662 w 1624"/>
                <a:gd name="T3" fmla="*/ 1288 h 1867"/>
                <a:gd name="T4" fmla="*/ 938 w 1624"/>
                <a:gd name="T5" fmla="*/ 1051 h 1867"/>
                <a:gd name="T6" fmla="*/ 1106 w 1624"/>
                <a:gd name="T7" fmla="*/ 731 h 1867"/>
                <a:gd name="T8" fmla="*/ 1059 w 1624"/>
                <a:gd name="T9" fmla="*/ 645 h 1867"/>
                <a:gd name="T10" fmla="*/ 1001 w 1624"/>
                <a:gd name="T11" fmla="*/ 613 h 1867"/>
                <a:gd name="T12" fmla="*/ 924 w 1624"/>
                <a:gd name="T13" fmla="*/ 432 h 1867"/>
                <a:gd name="T14" fmla="*/ 1114 w 1624"/>
                <a:gd name="T15" fmla="*/ 81 h 1867"/>
                <a:gd name="T16" fmla="*/ 1287 w 1624"/>
                <a:gd name="T17" fmla="*/ 35 h 1867"/>
                <a:gd name="T18" fmla="*/ 1350 w 1624"/>
                <a:gd name="T19" fmla="*/ 69 h 1867"/>
                <a:gd name="T20" fmla="*/ 1527 w 1624"/>
                <a:gd name="T21" fmla="*/ 235 h 1867"/>
                <a:gd name="T22" fmla="*/ 1583 w 1624"/>
                <a:gd name="T23" fmla="*/ 555 h 1867"/>
                <a:gd name="T24" fmla="*/ 1172 w 1624"/>
                <a:gd name="T25" fmla="*/ 1253 h 1867"/>
                <a:gd name="T26" fmla="*/ 586 w 1624"/>
                <a:gd name="T27" fmla="*/ 1803 h 1867"/>
                <a:gd name="T28" fmla="*/ 269 w 1624"/>
                <a:gd name="T29" fmla="*/ 1807 h 1867"/>
                <a:gd name="T30" fmla="*/ 33 w 1624"/>
                <a:gd name="T31" fmla="*/ 1602 h 1867"/>
                <a:gd name="T32" fmla="*/ 2 w 1624"/>
                <a:gd name="T33" fmla="*/ 1508 h 1867"/>
                <a:gd name="T34" fmla="*/ 45 w 1624"/>
                <a:gd name="T35" fmla="*/ 1421 h 1867"/>
                <a:gd name="T36" fmla="*/ 346 w 1624"/>
                <a:gd name="T37" fmla="*/ 1158 h 1867"/>
                <a:gd name="T38" fmla="*/ 448 w 1624"/>
                <a:gd name="T39" fmla="*/ 1145 h 1867"/>
                <a:gd name="T40" fmla="*/ 573 w 1624"/>
                <a:gd name="T41" fmla="*/ 1257 h 18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24" h="1867">
                  <a:moveTo>
                    <a:pt x="573" y="1257"/>
                  </a:moveTo>
                  <a:cubicBezTo>
                    <a:pt x="592" y="1282"/>
                    <a:pt x="630" y="1303"/>
                    <a:pt x="662" y="1288"/>
                  </a:cubicBezTo>
                  <a:cubicBezTo>
                    <a:pt x="753" y="1245"/>
                    <a:pt x="854" y="1156"/>
                    <a:pt x="938" y="1051"/>
                  </a:cubicBezTo>
                  <a:cubicBezTo>
                    <a:pt x="1020" y="948"/>
                    <a:pt x="1084" y="831"/>
                    <a:pt x="1106" y="731"/>
                  </a:cubicBezTo>
                  <a:cubicBezTo>
                    <a:pt x="1113" y="696"/>
                    <a:pt x="1089" y="661"/>
                    <a:pt x="1059" y="645"/>
                  </a:cubicBezTo>
                  <a:cubicBezTo>
                    <a:pt x="1001" y="613"/>
                    <a:pt x="1001" y="613"/>
                    <a:pt x="1001" y="613"/>
                  </a:cubicBezTo>
                  <a:cubicBezTo>
                    <a:pt x="942" y="580"/>
                    <a:pt x="888" y="499"/>
                    <a:pt x="924" y="432"/>
                  </a:cubicBezTo>
                  <a:cubicBezTo>
                    <a:pt x="1114" y="81"/>
                    <a:pt x="1114" y="81"/>
                    <a:pt x="1114" y="81"/>
                  </a:cubicBezTo>
                  <a:cubicBezTo>
                    <a:pt x="1150" y="16"/>
                    <a:pt x="1224" y="0"/>
                    <a:pt x="1287" y="35"/>
                  </a:cubicBezTo>
                  <a:cubicBezTo>
                    <a:pt x="1350" y="69"/>
                    <a:pt x="1350" y="69"/>
                    <a:pt x="1350" y="69"/>
                  </a:cubicBezTo>
                  <a:cubicBezTo>
                    <a:pt x="1415" y="105"/>
                    <a:pt x="1479" y="165"/>
                    <a:pt x="1527" y="235"/>
                  </a:cubicBezTo>
                  <a:cubicBezTo>
                    <a:pt x="1593" y="332"/>
                    <a:pt x="1624" y="442"/>
                    <a:pt x="1583" y="555"/>
                  </a:cubicBezTo>
                  <a:cubicBezTo>
                    <a:pt x="1500" y="781"/>
                    <a:pt x="1351" y="1030"/>
                    <a:pt x="1172" y="1253"/>
                  </a:cubicBezTo>
                  <a:cubicBezTo>
                    <a:pt x="994" y="1477"/>
                    <a:pt x="786" y="1676"/>
                    <a:pt x="586" y="1803"/>
                  </a:cubicBezTo>
                  <a:cubicBezTo>
                    <a:pt x="486" y="1867"/>
                    <a:pt x="375" y="1856"/>
                    <a:pt x="269" y="1807"/>
                  </a:cubicBezTo>
                  <a:cubicBezTo>
                    <a:pt x="157" y="1755"/>
                    <a:pt x="106" y="1695"/>
                    <a:pt x="33" y="1602"/>
                  </a:cubicBezTo>
                  <a:cubicBezTo>
                    <a:pt x="11" y="1573"/>
                    <a:pt x="0" y="1540"/>
                    <a:pt x="2" y="1508"/>
                  </a:cubicBezTo>
                  <a:cubicBezTo>
                    <a:pt x="4" y="1475"/>
                    <a:pt x="18" y="1444"/>
                    <a:pt x="45" y="1421"/>
                  </a:cubicBezTo>
                  <a:cubicBezTo>
                    <a:pt x="70" y="1399"/>
                    <a:pt x="346" y="1158"/>
                    <a:pt x="346" y="1158"/>
                  </a:cubicBezTo>
                  <a:cubicBezTo>
                    <a:pt x="376" y="1134"/>
                    <a:pt x="413" y="1133"/>
                    <a:pt x="448" y="1145"/>
                  </a:cubicBezTo>
                  <a:cubicBezTo>
                    <a:pt x="510" y="1166"/>
                    <a:pt x="536" y="1210"/>
                    <a:pt x="573" y="1257"/>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351"/>
            </a:p>
          </p:txBody>
        </p:sp>
      </p:grpSp>
      <p:grpSp>
        <p:nvGrpSpPr>
          <p:cNvPr id="17" name="Group 3">
            <a:extLst>
              <a:ext uri="{FF2B5EF4-FFF2-40B4-BE49-F238E27FC236}">
                <a16:creationId xmlns:a16="http://schemas.microsoft.com/office/drawing/2014/main" id="{7104BADD-8CD1-6F4A-B894-869C3BDB3EEB}"/>
              </a:ext>
            </a:extLst>
          </p:cNvPr>
          <p:cNvGrpSpPr>
            <a:grpSpLocks noChangeAspect="1"/>
          </p:cNvGrpSpPr>
          <p:nvPr>
            <p:custDataLst>
              <p:tags r:id="rId2"/>
            </p:custDataLst>
          </p:nvPr>
        </p:nvGrpSpPr>
        <p:grpSpPr>
          <a:xfrm>
            <a:off x="8701918" y="3153207"/>
            <a:ext cx="171180" cy="171180"/>
            <a:chOff x="328396" y="5313940"/>
            <a:chExt cx="720000" cy="720000"/>
          </a:xfrm>
        </p:grpSpPr>
        <p:sp>
          <p:nvSpPr>
            <p:cNvPr id="18" name="Rectangle 4">
              <a:extLst>
                <a:ext uri="{FF2B5EF4-FFF2-40B4-BE49-F238E27FC236}">
                  <a16:creationId xmlns:a16="http://schemas.microsoft.com/office/drawing/2014/main" id="{74BE3D5F-1445-6E40-8B49-72E15568383B}"/>
                </a:ext>
              </a:extLst>
            </p:cNvPr>
            <p:cNvSpPr/>
            <p:nvPr/>
          </p:nvSpPr>
          <p:spPr bwMode="gray">
            <a:xfrm>
              <a:off x="328396" y="5313940"/>
              <a:ext cx="720000" cy="720000"/>
            </a:xfrm>
            <a:prstGeom prst="rect">
              <a:avLst/>
            </a:prstGeom>
            <a:solidFill>
              <a:srgbClr val="E55A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pPr>
              <a:endParaRPr lang="en-US" sz="1000">
                <a:solidFill>
                  <a:schemeClr val="tx1"/>
                </a:solidFill>
                <a:latin typeface="Arial" pitchFamily="34" charset="0"/>
                <a:cs typeface="Arial" pitchFamily="34" charset="0"/>
              </a:endParaRPr>
            </a:p>
          </p:txBody>
        </p:sp>
        <p:sp>
          <p:nvSpPr>
            <p:cNvPr id="19" name="Freeform 76">
              <a:extLst>
                <a:ext uri="{FF2B5EF4-FFF2-40B4-BE49-F238E27FC236}">
                  <a16:creationId xmlns:a16="http://schemas.microsoft.com/office/drawing/2014/main" id="{55DB3C95-7D0C-D141-901E-96D692794D2B}"/>
                </a:ext>
              </a:extLst>
            </p:cNvPr>
            <p:cNvSpPr>
              <a:spLocks noChangeAspect="1" noEditPoints="1"/>
            </p:cNvSpPr>
            <p:nvPr/>
          </p:nvSpPr>
          <p:spPr bwMode="auto">
            <a:xfrm>
              <a:off x="456202" y="5509222"/>
              <a:ext cx="504000" cy="329436"/>
            </a:xfrm>
            <a:custGeom>
              <a:avLst/>
              <a:gdLst>
                <a:gd name="T0" fmla="*/ 0 w 2080"/>
                <a:gd name="T1" fmla="*/ 65 h 1360"/>
                <a:gd name="T2" fmla="*/ 0 w 2080"/>
                <a:gd name="T3" fmla="*/ 0 h 1360"/>
                <a:gd name="T4" fmla="*/ 2080 w 2080"/>
                <a:gd name="T5" fmla="*/ 0 h 1360"/>
                <a:gd name="T6" fmla="*/ 2080 w 2080"/>
                <a:gd name="T7" fmla="*/ 65 h 1360"/>
                <a:gd name="T8" fmla="*/ 1089 w 2080"/>
                <a:gd name="T9" fmla="*/ 862 h 1360"/>
                <a:gd name="T10" fmla="*/ 991 w 2080"/>
                <a:gd name="T11" fmla="*/ 862 h 1360"/>
                <a:gd name="T12" fmla="*/ 0 w 2080"/>
                <a:gd name="T13" fmla="*/ 65 h 1360"/>
                <a:gd name="T14" fmla="*/ 1139 w 2080"/>
                <a:gd name="T15" fmla="*/ 924 h 1360"/>
                <a:gd name="T16" fmla="*/ 1282 w 2080"/>
                <a:gd name="T17" fmla="*/ 810 h 1360"/>
                <a:gd name="T18" fmla="*/ 2076 w 2080"/>
                <a:gd name="T19" fmla="*/ 1360 h 1360"/>
                <a:gd name="T20" fmla="*/ 4 w 2080"/>
                <a:gd name="T21" fmla="*/ 1360 h 1360"/>
                <a:gd name="T22" fmla="*/ 798 w 2080"/>
                <a:gd name="T23" fmla="*/ 810 h 1360"/>
                <a:gd name="T24" fmla="*/ 941 w 2080"/>
                <a:gd name="T25" fmla="*/ 924 h 1360"/>
                <a:gd name="T26" fmla="*/ 1139 w 2080"/>
                <a:gd name="T27" fmla="*/ 924 h 1360"/>
                <a:gd name="T28" fmla="*/ 2 w 2080"/>
                <a:gd name="T29" fmla="*/ 137 h 1360"/>
                <a:gd name="T30" fmla="*/ 42 w 2080"/>
                <a:gd name="T31" fmla="*/ 201 h 1360"/>
                <a:gd name="T32" fmla="*/ 734 w 2080"/>
                <a:gd name="T33" fmla="*/ 758 h 1360"/>
                <a:gd name="T34" fmla="*/ 0 w 2080"/>
                <a:gd name="T35" fmla="*/ 1266 h 1360"/>
                <a:gd name="T36" fmla="*/ 0 w 2080"/>
                <a:gd name="T37" fmla="*/ 135 h 1360"/>
                <a:gd name="T38" fmla="*/ 2 w 2080"/>
                <a:gd name="T39" fmla="*/ 137 h 1360"/>
                <a:gd name="T40" fmla="*/ 2080 w 2080"/>
                <a:gd name="T41" fmla="*/ 136 h 1360"/>
                <a:gd name="T42" fmla="*/ 2080 w 2080"/>
                <a:gd name="T43" fmla="*/ 1265 h 1360"/>
                <a:gd name="T44" fmla="*/ 1346 w 2080"/>
                <a:gd name="T45" fmla="*/ 758 h 1360"/>
                <a:gd name="T46" fmla="*/ 2038 w 2080"/>
                <a:gd name="T47" fmla="*/ 201 h 1360"/>
                <a:gd name="T48" fmla="*/ 2080 w 2080"/>
                <a:gd name="T49" fmla="*/ 136 h 1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080" h="1360">
                  <a:moveTo>
                    <a:pt x="0" y="65"/>
                  </a:moveTo>
                  <a:cubicBezTo>
                    <a:pt x="0" y="0"/>
                    <a:pt x="0" y="0"/>
                    <a:pt x="0" y="0"/>
                  </a:cubicBezTo>
                  <a:cubicBezTo>
                    <a:pt x="2080" y="0"/>
                    <a:pt x="2080" y="0"/>
                    <a:pt x="2080" y="0"/>
                  </a:cubicBezTo>
                  <a:cubicBezTo>
                    <a:pt x="2080" y="65"/>
                    <a:pt x="2080" y="65"/>
                    <a:pt x="2080" y="65"/>
                  </a:cubicBezTo>
                  <a:cubicBezTo>
                    <a:pt x="1089" y="862"/>
                    <a:pt x="1089" y="862"/>
                    <a:pt x="1089" y="862"/>
                  </a:cubicBezTo>
                  <a:cubicBezTo>
                    <a:pt x="1060" y="886"/>
                    <a:pt x="1020" y="886"/>
                    <a:pt x="991" y="862"/>
                  </a:cubicBezTo>
                  <a:lnTo>
                    <a:pt x="0" y="65"/>
                  </a:lnTo>
                  <a:close/>
                  <a:moveTo>
                    <a:pt x="1139" y="924"/>
                  </a:moveTo>
                  <a:cubicBezTo>
                    <a:pt x="1282" y="810"/>
                    <a:pt x="1282" y="810"/>
                    <a:pt x="1282" y="810"/>
                  </a:cubicBezTo>
                  <a:cubicBezTo>
                    <a:pt x="2076" y="1360"/>
                    <a:pt x="2076" y="1360"/>
                    <a:pt x="2076" y="1360"/>
                  </a:cubicBezTo>
                  <a:cubicBezTo>
                    <a:pt x="4" y="1360"/>
                    <a:pt x="4" y="1360"/>
                    <a:pt x="4" y="1360"/>
                  </a:cubicBezTo>
                  <a:cubicBezTo>
                    <a:pt x="798" y="810"/>
                    <a:pt x="798" y="810"/>
                    <a:pt x="798" y="810"/>
                  </a:cubicBezTo>
                  <a:cubicBezTo>
                    <a:pt x="941" y="924"/>
                    <a:pt x="941" y="924"/>
                    <a:pt x="941" y="924"/>
                  </a:cubicBezTo>
                  <a:cubicBezTo>
                    <a:pt x="1000" y="972"/>
                    <a:pt x="1080" y="972"/>
                    <a:pt x="1139" y="924"/>
                  </a:cubicBezTo>
                  <a:close/>
                  <a:moveTo>
                    <a:pt x="2" y="137"/>
                  </a:moveTo>
                  <a:cubicBezTo>
                    <a:pt x="8" y="163"/>
                    <a:pt x="22" y="185"/>
                    <a:pt x="42" y="201"/>
                  </a:cubicBezTo>
                  <a:cubicBezTo>
                    <a:pt x="734" y="758"/>
                    <a:pt x="734" y="758"/>
                    <a:pt x="734" y="758"/>
                  </a:cubicBezTo>
                  <a:cubicBezTo>
                    <a:pt x="0" y="1266"/>
                    <a:pt x="0" y="1266"/>
                    <a:pt x="0" y="1266"/>
                  </a:cubicBezTo>
                  <a:cubicBezTo>
                    <a:pt x="0" y="135"/>
                    <a:pt x="0" y="135"/>
                    <a:pt x="0" y="135"/>
                  </a:cubicBezTo>
                  <a:lnTo>
                    <a:pt x="2" y="137"/>
                  </a:lnTo>
                  <a:close/>
                  <a:moveTo>
                    <a:pt x="2080" y="136"/>
                  </a:moveTo>
                  <a:cubicBezTo>
                    <a:pt x="2080" y="1265"/>
                    <a:pt x="2080" y="1265"/>
                    <a:pt x="2080" y="1265"/>
                  </a:cubicBezTo>
                  <a:cubicBezTo>
                    <a:pt x="1346" y="758"/>
                    <a:pt x="1346" y="758"/>
                    <a:pt x="1346" y="758"/>
                  </a:cubicBezTo>
                  <a:cubicBezTo>
                    <a:pt x="2038" y="201"/>
                    <a:pt x="2038" y="201"/>
                    <a:pt x="2038" y="201"/>
                  </a:cubicBezTo>
                  <a:cubicBezTo>
                    <a:pt x="2060" y="182"/>
                    <a:pt x="2072" y="162"/>
                    <a:pt x="2080" y="13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000"/>
            </a:p>
          </p:txBody>
        </p:sp>
      </p:grpSp>
      <p:cxnSp>
        <p:nvCxnSpPr>
          <p:cNvPr id="20" name="Straight Connector 19"/>
          <p:cNvCxnSpPr/>
          <p:nvPr/>
        </p:nvCxnSpPr>
        <p:spPr>
          <a:xfrm>
            <a:off x="2371725" y="3478213"/>
            <a:ext cx="3888000" cy="0"/>
          </a:xfrm>
          <a:prstGeom prst="line">
            <a:avLst/>
          </a:prstGeom>
          <a:ln w="6350">
            <a:solidFill>
              <a:schemeClr val="tx2"/>
            </a:solidFill>
            <a:prstDash val="dash"/>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p:nvCxnSpPr>
        <p:spPr>
          <a:xfrm>
            <a:off x="7287766" y="3478213"/>
            <a:ext cx="3888000" cy="0"/>
          </a:xfrm>
          <a:prstGeom prst="line">
            <a:avLst/>
          </a:prstGeom>
          <a:ln w="6350">
            <a:solidFill>
              <a:schemeClr val="tx2"/>
            </a:solidFill>
            <a:prstDash val="dash"/>
          </a:ln>
        </p:spPr>
        <p:style>
          <a:lnRef idx="1">
            <a:schemeClr val="accent1"/>
          </a:lnRef>
          <a:fillRef idx="0">
            <a:schemeClr val="accent1"/>
          </a:fillRef>
          <a:effectRef idx="0">
            <a:schemeClr val="accent1"/>
          </a:effectRef>
          <a:fontRef idx="minor">
            <a:schemeClr val="tx1"/>
          </a:fontRef>
        </p:style>
      </p:cxnSp>
      <p:sp>
        <p:nvSpPr>
          <p:cNvPr id="4" name="Picture Placeholder 3"/>
          <p:cNvSpPr>
            <a:spLocks noGrp="1"/>
          </p:cNvSpPr>
          <p:nvPr>
            <p:ph type="pic" sz="quarter" idx="17" hasCustomPrompt="1"/>
          </p:nvPr>
        </p:nvSpPr>
        <p:spPr>
          <a:xfrm>
            <a:off x="2355914" y="1808984"/>
            <a:ext cx="1188677" cy="1547840"/>
          </a:xfrm>
          <a:solidFill>
            <a:srgbClr val="D9DADB"/>
          </a:solidFill>
        </p:spPr>
        <p:txBody>
          <a:bodyPr/>
          <a:lstStyle>
            <a:lvl1pPr marL="0" indent="0">
              <a:buNone/>
              <a:defRPr sz="1400"/>
            </a:lvl1pPr>
          </a:lstStyle>
          <a:p>
            <a:r>
              <a:rPr lang="en-US"/>
              <a:t>Insert picture</a:t>
            </a:r>
          </a:p>
        </p:txBody>
      </p:sp>
      <p:sp>
        <p:nvSpPr>
          <p:cNvPr id="25" name="Picture Placeholder 3"/>
          <p:cNvSpPr>
            <a:spLocks noGrp="1"/>
          </p:cNvSpPr>
          <p:nvPr>
            <p:ph type="pic" sz="quarter" idx="18" hasCustomPrompt="1"/>
          </p:nvPr>
        </p:nvSpPr>
        <p:spPr>
          <a:xfrm>
            <a:off x="7287766" y="1808984"/>
            <a:ext cx="1188677" cy="1547840"/>
          </a:xfrm>
          <a:solidFill>
            <a:srgbClr val="D9DADB"/>
          </a:solidFill>
        </p:spPr>
        <p:txBody>
          <a:bodyPr/>
          <a:lstStyle>
            <a:lvl1pPr marL="0" indent="0">
              <a:buNone/>
              <a:defRPr sz="1400"/>
            </a:lvl1pPr>
          </a:lstStyle>
          <a:p>
            <a:r>
              <a:rPr lang="en-US"/>
              <a:t>Insert picture</a:t>
            </a:r>
          </a:p>
        </p:txBody>
      </p:sp>
      <p:sp>
        <p:nvSpPr>
          <p:cNvPr id="6" name="Text Placeholder 5"/>
          <p:cNvSpPr>
            <a:spLocks noGrp="1"/>
          </p:cNvSpPr>
          <p:nvPr>
            <p:ph type="body" sz="quarter" idx="19" hasCustomPrompt="1"/>
          </p:nvPr>
        </p:nvSpPr>
        <p:spPr>
          <a:xfrm>
            <a:off x="3770065" y="1808521"/>
            <a:ext cx="2463190" cy="192360"/>
          </a:xfrm>
        </p:spPr>
        <p:txBody>
          <a:bodyPr lIns="0" tIns="0" rIns="0" bIns="0" anchor="ctr" anchorCtr="0"/>
          <a:lstStyle>
            <a:lvl1pPr marL="0" indent="0" algn="l">
              <a:lnSpc>
                <a:spcPct val="100000"/>
              </a:lnSpc>
              <a:buNone/>
              <a:defRPr sz="100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Country</a:t>
            </a:r>
          </a:p>
        </p:txBody>
      </p:sp>
      <p:sp>
        <p:nvSpPr>
          <p:cNvPr id="26" name="Text Placeholder 5"/>
          <p:cNvSpPr>
            <a:spLocks noGrp="1"/>
          </p:cNvSpPr>
          <p:nvPr>
            <p:ph type="body" sz="quarter" idx="20" hasCustomPrompt="1"/>
          </p:nvPr>
        </p:nvSpPr>
        <p:spPr>
          <a:xfrm>
            <a:off x="3770065" y="2020337"/>
            <a:ext cx="2463190" cy="266182"/>
          </a:xfrm>
        </p:spPr>
        <p:txBody>
          <a:bodyPr lIns="0" tIns="0" rIns="0" bIns="0" anchor="b" anchorCtr="0"/>
          <a:lstStyle>
            <a:lvl1pPr marL="0" indent="0" algn="l">
              <a:lnSpc>
                <a:spcPct val="100000"/>
              </a:lnSpc>
              <a:buNone/>
              <a:defRPr sz="1400" b="1" baseline="0">
                <a:solidFill>
                  <a:schemeClr val="tx2"/>
                </a:solidFill>
              </a:defRPr>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Name, Surname</a:t>
            </a:r>
          </a:p>
        </p:txBody>
      </p:sp>
      <p:sp>
        <p:nvSpPr>
          <p:cNvPr id="27" name="Text Placeholder 5"/>
          <p:cNvSpPr>
            <a:spLocks noGrp="1"/>
          </p:cNvSpPr>
          <p:nvPr>
            <p:ph type="body" sz="quarter" idx="21" hasCustomPrompt="1"/>
          </p:nvPr>
        </p:nvSpPr>
        <p:spPr>
          <a:xfrm>
            <a:off x="3770065" y="2316912"/>
            <a:ext cx="2463190"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Job Position</a:t>
            </a:r>
          </a:p>
        </p:txBody>
      </p:sp>
      <p:sp>
        <p:nvSpPr>
          <p:cNvPr id="28" name="Text Placeholder 5"/>
          <p:cNvSpPr>
            <a:spLocks noGrp="1"/>
          </p:cNvSpPr>
          <p:nvPr>
            <p:ph type="body" sz="quarter" idx="22" hasCustomPrompt="1"/>
          </p:nvPr>
        </p:nvSpPr>
        <p:spPr>
          <a:xfrm>
            <a:off x="4014948" y="2845588"/>
            <a:ext cx="2218307"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Phone number</a:t>
            </a:r>
          </a:p>
        </p:txBody>
      </p:sp>
      <p:sp>
        <p:nvSpPr>
          <p:cNvPr id="29" name="Text Placeholder 5"/>
          <p:cNvSpPr>
            <a:spLocks noGrp="1"/>
          </p:cNvSpPr>
          <p:nvPr>
            <p:ph type="body" sz="quarter" idx="23" hasCustomPrompt="1"/>
          </p:nvPr>
        </p:nvSpPr>
        <p:spPr>
          <a:xfrm>
            <a:off x="4014948" y="3128395"/>
            <a:ext cx="2218307"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Email address</a:t>
            </a:r>
          </a:p>
        </p:txBody>
      </p:sp>
      <p:sp>
        <p:nvSpPr>
          <p:cNvPr id="30" name="Text Placeholder 5"/>
          <p:cNvSpPr>
            <a:spLocks noGrp="1"/>
          </p:cNvSpPr>
          <p:nvPr>
            <p:ph type="body" sz="quarter" idx="24" hasCustomPrompt="1"/>
          </p:nvPr>
        </p:nvSpPr>
        <p:spPr>
          <a:xfrm>
            <a:off x="8701917" y="1808521"/>
            <a:ext cx="2463190" cy="192360"/>
          </a:xfrm>
        </p:spPr>
        <p:txBody>
          <a:bodyPr lIns="0" tIns="0" rIns="0" bIns="0" anchor="ctr" anchorCtr="0"/>
          <a:lstStyle>
            <a:lvl1pPr marL="0" indent="0" algn="l">
              <a:lnSpc>
                <a:spcPct val="100000"/>
              </a:lnSpc>
              <a:buNone/>
              <a:defRPr sz="100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Country</a:t>
            </a:r>
          </a:p>
        </p:txBody>
      </p:sp>
      <p:sp>
        <p:nvSpPr>
          <p:cNvPr id="31" name="Text Placeholder 5"/>
          <p:cNvSpPr>
            <a:spLocks noGrp="1"/>
          </p:cNvSpPr>
          <p:nvPr>
            <p:ph type="body" sz="quarter" idx="25" hasCustomPrompt="1"/>
          </p:nvPr>
        </p:nvSpPr>
        <p:spPr>
          <a:xfrm>
            <a:off x="8701917" y="2020337"/>
            <a:ext cx="2463190" cy="266182"/>
          </a:xfrm>
        </p:spPr>
        <p:txBody>
          <a:bodyPr lIns="0" tIns="0" rIns="0" bIns="0" anchor="b" anchorCtr="0"/>
          <a:lstStyle>
            <a:lvl1pPr marL="0" indent="0" algn="l">
              <a:lnSpc>
                <a:spcPct val="100000"/>
              </a:lnSpc>
              <a:buNone/>
              <a:defRPr sz="1400" b="1" baseline="0">
                <a:solidFill>
                  <a:schemeClr val="tx2"/>
                </a:solidFill>
              </a:defRPr>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Name, Surname</a:t>
            </a:r>
          </a:p>
        </p:txBody>
      </p:sp>
      <p:sp>
        <p:nvSpPr>
          <p:cNvPr id="32" name="Text Placeholder 5"/>
          <p:cNvSpPr>
            <a:spLocks noGrp="1"/>
          </p:cNvSpPr>
          <p:nvPr>
            <p:ph type="body" sz="quarter" idx="26" hasCustomPrompt="1"/>
          </p:nvPr>
        </p:nvSpPr>
        <p:spPr>
          <a:xfrm>
            <a:off x="8701917" y="2316912"/>
            <a:ext cx="2463190"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Job Position</a:t>
            </a:r>
          </a:p>
        </p:txBody>
      </p:sp>
      <p:sp>
        <p:nvSpPr>
          <p:cNvPr id="33" name="Text Placeholder 5"/>
          <p:cNvSpPr>
            <a:spLocks noGrp="1"/>
          </p:cNvSpPr>
          <p:nvPr>
            <p:ph type="body" sz="quarter" idx="27" hasCustomPrompt="1"/>
          </p:nvPr>
        </p:nvSpPr>
        <p:spPr>
          <a:xfrm>
            <a:off x="8946800" y="2845588"/>
            <a:ext cx="2218307"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Phone number</a:t>
            </a:r>
          </a:p>
        </p:txBody>
      </p:sp>
      <p:sp>
        <p:nvSpPr>
          <p:cNvPr id="34" name="Text Placeholder 5"/>
          <p:cNvSpPr>
            <a:spLocks noGrp="1"/>
          </p:cNvSpPr>
          <p:nvPr>
            <p:ph type="body" sz="quarter" idx="28" hasCustomPrompt="1"/>
          </p:nvPr>
        </p:nvSpPr>
        <p:spPr>
          <a:xfrm>
            <a:off x="8946800" y="3128395"/>
            <a:ext cx="2218307"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Email address</a:t>
            </a:r>
          </a:p>
        </p:txBody>
      </p:sp>
      <p:grpSp>
        <p:nvGrpSpPr>
          <p:cNvPr id="35" name="Gruppieren 2">
            <a:extLst>
              <a:ext uri="{FF2B5EF4-FFF2-40B4-BE49-F238E27FC236}">
                <a16:creationId xmlns:a16="http://schemas.microsoft.com/office/drawing/2014/main" id="{BE697CE9-EBDE-6B4A-BE70-582D92A8A831}"/>
              </a:ext>
            </a:extLst>
          </p:cNvPr>
          <p:cNvGrpSpPr/>
          <p:nvPr/>
        </p:nvGrpSpPr>
        <p:grpSpPr>
          <a:xfrm>
            <a:off x="3770065" y="5045939"/>
            <a:ext cx="171180" cy="171180"/>
            <a:chOff x="3392092" y="1841122"/>
            <a:chExt cx="646508" cy="646508"/>
          </a:xfrm>
        </p:grpSpPr>
        <p:sp>
          <p:nvSpPr>
            <p:cNvPr id="36" name="Rechteck 14">
              <a:extLst>
                <a:ext uri="{FF2B5EF4-FFF2-40B4-BE49-F238E27FC236}">
                  <a16:creationId xmlns:a16="http://schemas.microsoft.com/office/drawing/2014/main" id="{E142A731-19B7-C34D-9534-9E05108F895F}"/>
                </a:ext>
              </a:extLst>
            </p:cNvPr>
            <p:cNvSpPr>
              <a:spLocks noChangeAspect="1"/>
            </p:cNvSpPr>
            <p:nvPr/>
          </p:nvSpPr>
          <p:spPr bwMode="gray">
            <a:xfrm>
              <a:off x="3392092" y="1841122"/>
              <a:ext cx="646508" cy="646508"/>
            </a:xfrm>
            <a:prstGeom prst="rect">
              <a:avLst/>
            </a:prstGeom>
            <a:solidFill>
              <a:srgbClr val="E55A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pPr>
              <a:endParaRPr lang="en-US" sz="1000">
                <a:solidFill>
                  <a:schemeClr val="tx1"/>
                </a:solidFill>
                <a:latin typeface="Arial" pitchFamily="34" charset="0"/>
                <a:cs typeface="Arial" pitchFamily="34" charset="0"/>
              </a:endParaRPr>
            </a:p>
          </p:txBody>
        </p:sp>
        <p:sp>
          <p:nvSpPr>
            <p:cNvPr id="37" name="Freeform 36">
              <a:extLst>
                <a:ext uri="{FF2B5EF4-FFF2-40B4-BE49-F238E27FC236}">
                  <a16:creationId xmlns:a16="http://schemas.microsoft.com/office/drawing/2014/main" id="{F97E84AE-4AD9-4B44-9AA1-F797FC373809}"/>
                </a:ext>
              </a:extLst>
            </p:cNvPr>
            <p:cNvSpPr>
              <a:spLocks noChangeAspect="1"/>
            </p:cNvSpPr>
            <p:nvPr/>
          </p:nvSpPr>
          <p:spPr bwMode="auto">
            <a:xfrm>
              <a:off x="3546638" y="1970424"/>
              <a:ext cx="337415" cy="387905"/>
            </a:xfrm>
            <a:custGeom>
              <a:avLst/>
              <a:gdLst>
                <a:gd name="T0" fmla="*/ 573 w 1624"/>
                <a:gd name="T1" fmla="*/ 1257 h 1867"/>
                <a:gd name="T2" fmla="*/ 662 w 1624"/>
                <a:gd name="T3" fmla="*/ 1288 h 1867"/>
                <a:gd name="T4" fmla="*/ 938 w 1624"/>
                <a:gd name="T5" fmla="*/ 1051 h 1867"/>
                <a:gd name="T6" fmla="*/ 1106 w 1624"/>
                <a:gd name="T7" fmla="*/ 731 h 1867"/>
                <a:gd name="T8" fmla="*/ 1059 w 1624"/>
                <a:gd name="T9" fmla="*/ 645 h 1867"/>
                <a:gd name="T10" fmla="*/ 1001 w 1624"/>
                <a:gd name="T11" fmla="*/ 613 h 1867"/>
                <a:gd name="T12" fmla="*/ 924 w 1624"/>
                <a:gd name="T13" fmla="*/ 432 h 1867"/>
                <a:gd name="T14" fmla="*/ 1114 w 1624"/>
                <a:gd name="T15" fmla="*/ 81 h 1867"/>
                <a:gd name="T16" fmla="*/ 1287 w 1624"/>
                <a:gd name="T17" fmla="*/ 35 h 1867"/>
                <a:gd name="T18" fmla="*/ 1350 w 1624"/>
                <a:gd name="T19" fmla="*/ 69 h 1867"/>
                <a:gd name="T20" fmla="*/ 1527 w 1624"/>
                <a:gd name="T21" fmla="*/ 235 h 1867"/>
                <a:gd name="T22" fmla="*/ 1583 w 1624"/>
                <a:gd name="T23" fmla="*/ 555 h 1867"/>
                <a:gd name="T24" fmla="*/ 1172 w 1624"/>
                <a:gd name="T25" fmla="*/ 1253 h 1867"/>
                <a:gd name="T26" fmla="*/ 586 w 1624"/>
                <a:gd name="T27" fmla="*/ 1803 h 1867"/>
                <a:gd name="T28" fmla="*/ 269 w 1624"/>
                <a:gd name="T29" fmla="*/ 1807 h 1867"/>
                <a:gd name="T30" fmla="*/ 33 w 1624"/>
                <a:gd name="T31" fmla="*/ 1602 h 1867"/>
                <a:gd name="T32" fmla="*/ 2 w 1624"/>
                <a:gd name="T33" fmla="*/ 1508 h 1867"/>
                <a:gd name="T34" fmla="*/ 45 w 1624"/>
                <a:gd name="T35" fmla="*/ 1421 h 1867"/>
                <a:gd name="T36" fmla="*/ 346 w 1624"/>
                <a:gd name="T37" fmla="*/ 1158 h 1867"/>
                <a:gd name="T38" fmla="*/ 448 w 1624"/>
                <a:gd name="T39" fmla="*/ 1145 h 1867"/>
                <a:gd name="T40" fmla="*/ 573 w 1624"/>
                <a:gd name="T41" fmla="*/ 1257 h 18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24" h="1867">
                  <a:moveTo>
                    <a:pt x="573" y="1257"/>
                  </a:moveTo>
                  <a:cubicBezTo>
                    <a:pt x="592" y="1282"/>
                    <a:pt x="630" y="1303"/>
                    <a:pt x="662" y="1288"/>
                  </a:cubicBezTo>
                  <a:cubicBezTo>
                    <a:pt x="753" y="1245"/>
                    <a:pt x="854" y="1156"/>
                    <a:pt x="938" y="1051"/>
                  </a:cubicBezTo>
                  <a:cubicBezTo>
                    <a:pt x="1020" y="948"/>
                    <a:pt x="1084" y="831"/>
                    <a:pt x="1106" y="731"/>
                  </a:cubicBezTo>
                  <a:cubicBezTo>
                    <a:pt x="1113" y="696"/>
                    <a:pt x="1089" y="661"/>
                    <a:pt x="1059" y="645"/>
                  </a:cubicBezTo>
                  <a:cubicBezTo>
                    <a:pt x="1001" y="613"/>
                    <a:pt x="1001" y="613"/>
                    <a:pt x="1001" y="613"/>
                  </a:cubicBezTo>
                  <a:cubicBezTo>
                    <a:pt x="942" y="580"/>
                    <a:pt x="888" y="499"/>
                    <a:pt x="924" y="432"/>
                  </a:cubicBezTo>
                  <a:cubicBezTo>
                    <a:pt x="1114" y="81"/>
                    <a:pt x="1114" y="81"/>
                    <a:pt x="1114" y="81"/>
                  </a:cubicBezTo>
                  <a:cubicBezTo>
                    <a:pt x="1150" y="16"/>
                    <a:pt x="1224" y="0"/>
                    <a:pt x="1287" y="35"/>
                  </a:cubicBezTo>
                  <a:cubicBezTo>
                    <a:pt x="1350" y="69"/>
                    <a:pt x="1350" y="69"/>
                    <a:pt x="1350" y="69"/>
                  </a:cubicBezTo>
                  <a:cubicBezTo>
                    <a:pt x="1415" y="105"/>
                    <a:pt x="1479" y="165"/>
                    <a:pt x="1527" y="235"/>
                  </a:cubicBezTo>
                  <a:cubicBezTo>
                    <a:pt x="1593" y="332"/>
                    <a:pt x="1624" y="442"/>
                    <a:pt x="1583" y="555"/>
                  </a:cubicBezTo>
                  <a:cubicBezTo>
                    <a:pt x="1500" y="781"/>
                    <a:pt x="1351" y="1030"/>
                    <a:pt x="1172" y="1253"/>
                  </a:cubicBezTo>
                  <a:cubicBezTo>
                    <a:pt x="994" y="1477"/>
                    <a:pt x="786" y="1676"/>
                    <a:pt x="586" y="1803"/>
                  </a:cubicBezTo>
                  <a:cubicBezTo>
                    <a:pt x="486" y="1867"/>
                    <a:pt x="375" y="1856"/>
                    <a:pt x="269" y="1807"/>
                  </a:cubicBezTo>
                  <a:cubicBezTo>
                    <a:pt x="157" y="1755"/>
                    <a:pt x="106" y="1695"/>
                    <a:pt x="33" y="1602"/>
                  </a:cubicBezTo>
                  <a:cubicBezTo>
                    <a:pt x="11" y="1573"/>
                    <a:pt x="0" y="1540"/>
                    <a:pt x="2" y="1508"/>
                  </a:cubicBezTo>
                  <a:cubicBezTo>
                    <a:pt x="4" y="1475"/>
                    <a:pt x="18" y="1444"/>
                    <a:pt x="45" y="1421"/>
                  </a:cubicBezTo>
                  <a:cubicBezTo>
                    <a:pt x="70" y="1399"/>
                    <a:pt x="346" y="1158"/>
                    <a:pt x="346" y="1158"/>
                  </a:cubicBezTo>
                  <a:cubicBezTo>
                    <a:pt x="376" y="1134"/>
                    <a:pt x="413" y="1133"/>
                    <a:pt x="448" y="1145"/>
                  </a:cubicBezTo>
                  <a:cubicBezTo>
                    <a:pt x="510" y="1166"/>
                    <a:pt x="536" y="1210"/>
                    <a:pt x="573" y="1257"/>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351"/>
            </a:p>
          </p:txBody>
        </p:sp>
      </p:grpSp>
      <p:grpSp>
        <p:nvGrpSpPr>
          <p:cNvPr id="38" name="Group 3">
            <a:extLst>
              <a:ext uri="{FF2B5EF4-FFF2-40B4-BE49-F238E27FC236}">
                <a16:creationId xmlns:a16="http://schemas.microsoft.com/office/drawing/2014/main" id="{7104BADD-8CD1-6F4A-B894-869C3BDB3EEB}"/>
              </a:ext>
            </a:extLst>
          </p:cNvPr>
          <p:cNvGrpSpPr>
            <a:grpSpLocks noChangeAspect="1"/>
          </p:cNvGrpSpPr>
          <p:nvPr>
            <p:custDataLst>
              <p:tags r:id="rId3"/>
            </p:custDataLst>
          </p:nvPr>
        </p:nvGrpSpPr>
        <p:grpSpPr>
          <a:xfrm>
            <a:off x="3770066" y="5330827"/>
            <a:ext cx="171180" cy="171180"/>
            <a:chOff x="328396" y="5313940"/>
            <a:chExt cx="720000" cy="720000"/>
          </a:xfrm>
        </p:grpSpPr>
        <p:sp>
          <p:nvSpPr>
            <p:cNvPr id="39" name="Rectangle 4">
              <a:extLst>
                <a:ext uri="{FF2B5EF4-FFF2-40B4-BE49-F238E27FC236}">
                  <a16:creationId xmlns:a16="http://schemas.microsoft.com/office/drawing/2014/main" id="{74BE3D5F-1445-6E40-8B49-72E15568383B}"/>
                </a:ext>
              </a:extLst>
            </p:cNvPr>
            <p:cNvSpPr/>
            <p:nvPr/>
          </p:nvSpPr>
          <p:spPr bwMode="gray">
            <a:xfrm>
              <a:off x="328396" y="5313940"/>
              <a:ext cx="720000" cy="720000"/>
            </a:xfrm>
            <a:prstGeom prst="rect">
              <a:avLst/>
            </a:prstGeom>
            <a:solidFill>
              <a:srgbClr val="E55A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pPr>
              <a:endParaRPr lang="en-US" sz="1000">
                <a:solidFill>
                  <a:schemeClr val="tx1"/>
                </a:solidFill>
                <a:latin typeface="Arial" pitchFamily="34" charset="0"/>
                <a:cs typeface="Arial" pitchFamily="34" charset="0"/>
              </a:endParaRPr>
            </a:p>
          </p:txBody>
        </p:sp>
        <p:sp>
          <p:nvSpPr>
            <p:cNvPr id="40" name="Freeform 76">
              <a:extLst>
                <a:ext uri="{FF2B5EF4-FFF2-40B4-BE49-F238E27FC236}">
                  <a16:creationId xmlns:a16="http://schemas.microsoft.com/office/drawing/2014/main" id="{55DB3C95-7D0C-D141-901E-96D692794D2B}"/>
                </a:ext>
              </a:extLst>
            </p:cNvPr>
            <p:cNvSpPr>
              <a:spLocks noChangeAspect="1" noEditPoints="1"/>
            </p:cNvSpPr>
            <p:nvPr/>
          </p:nvSpPr>
          <p:spPr bwMode="auto">
            <a:xfrm>
              <a:off x="456202" y="5509222"/>
              <a:ext cx="504000" cy="329436"/>
            </a:xfrm>
            <a:custGeom>
              <a:avLst/>
              <a:gdLst>
                <a:gd name="T0" fmla="*/ 0 w 2080"/>
                <a:gd name="T1" fmla="*/ 65 h 1360"/>
                <a:gd name="T2" fmla="*/ 0 w 2080"/>
                <a:gd name="T3" fmla="*/ 0 h 1360"/>
                <a:gd name="T4" fmla="*/ 2080 w 2080"/>
                <a:gd name="T5" fmla="*/ 0 h 1360"/>
                <a:gd name="T6" fmla="*/ 2080 w 2080"/>
                <a:gd name="T7" fmla="*/ 65 h 1360"/>
                <a:gd name="T8" fmla="*/ 1089 w 2080"/>
                <a:gd name="T9" fmla="*/ 862 h 1360"/>
                <a:gd name="T10" fmla="*/ 991 w 2080"/>
                <a:gd name="T11" fmla="*/ 862 h 1360"/>
                <a:gd name="T12" fmla="*/ 0 w 2080"/>
                <a:gd name="T13" fmla="*/ 65 h 1360"/>
                <a:gd name="T14" fmla="*/ 1139 w 2080"/>
                <a:gd name="T15" fmla="*/ 924 h 1360"/>
                <a:gd name="T16" fmla="*/ 1282 w 2080"/>
                <a:gd name="T17" fmla="*/ 810 h 1360"/>
                <a:gd name="T18" fmla="*/ 2076 w 2080"/>
                <a:gd name="T19" fmla="*/ 1360 h 1360"/>
                <a:gd name="T20" fmla="*/ 4 w 2080"/>
                <a:gd name="T21" fmla="*/ 1360 h 1360"/>
                <a:gd name="T22" fmla="*/ 798 w 2080"/>
                <a:gd name="T23" fmla="*/ 810 h 1360"/>
                <a:gd name="T24" fmla="*/ 941 w 2080"/>
                <a:gd name="T25" fmla="*/ 924 h 1360"/>
                <a:gd name="T26" fmla="*/ 1139 w 2080"/>
                <a:gd name="T27" fmla="*/ 924 h 1360"/>
                <a:gd name="T28" fmla="*/ 2 w 2080"/>
                <a:gd name="T29" fmla="*/ 137 h 1360"/>
                <a:gd name="T30" fmla="*/ 42 w 2080"/>
                <a:gd name="T31" fmla="*/ 201 h 1360"/>
                <a:gd name="T32" fmla="*/ 734 w 2080"/>
                <a:gd name="T33" fmla="*/ 758 h 1360"/>
                <a:gd name="T34" fmla="*/ 0 w 2080"/>
                <a:gd name="T35" fmla="*/ 1266 h 1360"/>
                <a:gd name="T36" fmla="*/ 0 w 2080"/>
                <a:gd name="T37" fmla="*/ 135 h 1360"/>
                <a:gd name="T38" fmla="*/ 2 w 2080"/>
                <a:gd name="T39" fmla="*/ 137 h 1360"/>
                <a:gd name="T40" fmla="*/ 2080 w 2080"/>
                <a:gd name="T41" fmla="*/ 136 h 1360"/>
                <a:gd name="T42" fmla="*/ 2080 w 2080"/>
                <a:gd name="T43" fmla="*/ 1265 h 1360"/>
                <a:gd name="T44" fmla="*/ 1346 w 2080"/>
                <a:gd name="T45" fmla="*/ 758 h 1360"/>
                <a:gd name="T46" fmla="*/ 2038 w 2080"/>
                <a:gd name="T47" fmla="*/ 201 h 1360"/>
                <a:gd name="T48" fmla="*/ 2080 w 2080"/>
                <a:gd name="T49" fmla="*/ 136 h 1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080" h="1360">
                  <a:moveTo>
                    <a:pt x="0" y="65"/>
                  </a:moveTo>
                  <a:cubicBezTo>
                    <a:pt x="0" y="0"/>
                    <a:pt x="0" y="0"/>
                    <a:pt x="0" y="0"/>
                  </a:cubicBezTo>
                  <a:cubicBezTo>
                    <a:pt x="2080" y="0"/>
                    <a:pt x="2080" y="0"/>
                    <a:pt x="2080" y="0"/>
                  </a:cubicBezTo>
                  <a:cubicBezTo>
                    <a:pt x="2080" y="65"/>
                    <a:pt x="2080" y="65"/>
                    <a:pt x="2080" y="65"/>
                  </a:cubicBezTo>
                  <a:cubicBezTo>
                    <a:pt x="1089" y="862"/>
                    <a:pt x="1089" y="862"/>
                    <a:pt x="1089" y="862"/>
                  </a:cubicBezTo>
                  <a:cubicBezTo>
                    <a:pt x="1060" y="886"/>
                    <a:pt x="1020" y="886"/>
                    <a:pt x="991" y="862"/>
                  </a:cubicBezTo>
                  <a:lnTo>
                    <a:pt x="0" y="65"/>
                  </a:lnTo>
                  <a:close/>
                  <a:moveTo>
                    <a:pt x="1139" y="924"/>
                  </a:moveTo>
                  <a:cubicBezTo>
                    <a:pt x="1282" y="810"/>
                    <a:pt x="1282" y="810"/>
                    <a:pt x="1282" y="810"/>
                  </a:cubicBezTo>
                  <a:cubicBezTo>
                    <a:pt x="2076" y="1360"/>
                    <a:pt x="2076" y="1360"/>
                    <a:pt x="2076" y="1360"/>
                  </a:cubicBezTo>
                  <a:cubicBezTo>
                    <a:pt x="4" y="1360"/>
                    <a:pt x="4" y="1360"/>
                    <a:pt x="4" y="1360"/>
                  </a:cubicBezTo>
                  <a:cubicBezTo>
                    <a:pt x="798" y="810"/>
                    <a:pt x="798" y="810"/>
                    <a:pt x="798" y="810"/>
                  </a:cubicBezTo>
                  <a:cubicBezTo>
                    <a:pt x="941" y="924"/>
                    <a:pt x="941" y="924"/>
                    <a:pt x="941" y="924"/>
                  </a:cubicBezTo>
                  <a:cubicBezTo>
                    <a:pt x="1000" y="972"/>
                    <a:pt x="1080" y="972"/>
                    <a:pt x="1139" y="924"/>
                  </a:cubicBezTo>
                  <a:close/>
                  <a:moveTo>
                    <a:pt x="2" y="137"/>
                  </a:moveTo>
                  <a:cubicBezTo>
                    <a:pt x="8" y="163"/>
                    <a:pt x="22" y="185"/>
                    <a:pt x="42" y="201"/>
                  </a:cubicBezTo>
                  <a:cubicBezTo>
                    <a:pt x="734" y="758"/>
                    <a:pt x="734" y="758"/>
                    <a:pt x="734" y="758"/>
                  </a:cubicBezTo>
                  <a:cubicBezTo>
                    <a:pt x="0" y="1266"/>
                    <a:pt x="0" y="1266"/>
                    <a:pt x="0" y="1266"/>
                  </a:cubicBezTo>
                  <a:cubicBezTo>
                    <a:pt x="0" y="135"/>
                    <a:pt x="0" y="135"/>
                    <a:pt x="0" y="135"/>
                  </a:cubicBezTo>
                  <a:lnTo>
                    <a:pt x="2" y="137"/>
                  </a:lnTo>
                  <a:close/>
                  <a:moveTo>
                    <a:pt x="2080" y="136"/>
                  </a:moveTo>
                  <a:cubicBezTo>
                    <a:pt x="2080" y="1265"/>
                    <a:pt x="2080" y="1265"/>
                    <a:pt x="2080" y="1265"/>
                  </a:cubicBezTo>
                  <a:cubicBezTo>
                    <a:pt x="1346" y="758"/>
                    <a:pt x="1346" y="758"/>
                    <a:pt x="1346" y="758"/>
                  </a:cubicBezTo>
                  <a:cubicBezTo>
                    <a:pt x="2038" y="201"/>
                    <a:pt x="2038" y="201"/>
                    <a:pt x="2038" y="201"/>
                  </a:cubicBezTo>
                  <a:cubicBezTo>
                    <a:pt x="2060" y="182"/>
                    <a:pt x="2072" y="162"/>
                    <a:pt x="2080" y="13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000"/>
            </a:p>
          </p:txBody>
        </p:sp>
      </p:grpSp>
      <p:cxnSp>
        <p:nvCxnSpPr>
          <p:cNvPr id="41" name="Straight Connector 40"/>
          <p:cNvCxnSpPr/>
          <p:nvPr/>
        </p:nvCxnSpPr>
        <p:spPr>
          <a:xfrm>
            <a:off x="2355914" y="5655833"/>
            <a:ext cx="3888000" cy="0"/>
          </a:xfrm>
          <a:prstGeom prst="line">
            <a:avLst/>
          </a:prstGeom>
          <a:ln w="6350">
            <a:solidFill>
              <a:schemeClr val="tx2"/>
            </a:solidFill>
            <a:prstDash val="dash"/>
          </a:ln>
        </p:spPr>
        <p:style>
          <a:lnRef idx="1">
            <a:schemeClr val="accent1"/>
          </a:lnRef>
          <a:fillRef idx="0">
            <a:schemeClr val="accent1"/>
          </a:fillRef>
          <a:effectRef idx="0">
            <a:schemeClr val="accent1"/>
          </a:effectRef>
          <a:fontRef idx="minor">
            <a:schemeClr val="tx1"/>
          </a:fontRef>
        </p:style>
      </p:cxnSp>
      <p:sp>
        <p:nvSpPr>
          <p:cNvPr id="42" name="Picture Placeholder 3"/>
          <p:cNvSpPr>
            <a:spLocks noGrp="1"/>
          </p:cNvSpPr>
          <p:nvPr>
            <p:ph type="pic" sz="quarter" idx="29" hasCustomPrompt="1"/>
          </p:nvPr>
        </p:nvSpPr>
        <p:spPr>
          <a:xfrm>
            <a:off x="2355914" y="3986604"/>
            <a:ext cx="1188677" cy="1547840"/>
          </a:xfrm>
          <a:solidFill>
            <a:srgbClr val="D9DADB"/>
          </a:solidFill>
        </p:spPr>
        <p:txBody>
          <a:bodyPr/>
          <a:lstStyle>
            <a:lvl1pPr marL="0" indent="0">
              <a:buNone/>
              <a:defRPr sz="1400"/>
            </a:lvl1pPr>
          </a:lstStyle>
          <a:p>
            <a:r>
              <a:rPr lang="en-US"/>
              <a:t>Insert picture</a:t>
            </a:r>
          </a:p>
        </p:txBody>
      </p:sp>
      <p:sp>
        <p:nvSpPr>
          <p:cNvPr id="43" name="Text Placeholder 5"/>
          <p:cNvSpPr>
            <a:spLocks noGrp="1"/>
          </p:cNvSpPr>
          <p:nvPr>
            <p:ph type="body" sz="quarter" idx="30" hasCustomPrompt="1"/>
          </p:nvPr>
        </p:nvSpPr>
        <p:spPr>
          <a:xfrm>
            <a:off x="3770065" y="3986141"/>
            <a:ext cx="2463190" cy="192360"/>
          </a:xfrm>
        </p:spPr>
        <p:txBody>
          <a:bodyPr lIns="0" tIns="0" rIns="0" bIns="0" anchor="ctr" anchorCtr="0"/>
          <a:lstStyle>
            <a:lvl1pPr marL="0" indent="0" algn="l">
              <a:lnSpc>
                <a:spcPct val="100000"/>
              </a:lnSpc>
              <a:buNone/>
              <a:defRPr sz="100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Country</a:t>
            </a:r>
          </a:p>
        </p:txBody>
      </p:sp>
      <p:sp>
        <p:nvSpPr>
          <p:cNvPr id="44" name="Text Placeholder 5"/>
          <p:cNvSpPr>
            <a:spLocks noGrp="1"/>
          </p:cNvSpPr>
          <p:nvPr>
            <p:ph type="body" sz="quarter" idx="31" hasCustomPrompt="1"/>
          </p:nvPr>
        </p:nvSpPr>
        <p:spPr>
          <a:xfrm>
            <a:off x="3770065" y="4197957"/>
            <a:ext cx="2463190" cy="266182"/>
          </a:xfrm>
        </p:spPr>
        <p:txBody>
          <a:bodyPr lIns="0" tIns="0" rIns="0" bIns="0" anchor="b" anchorCtr="0"/>
          <a:lstStyle>
            <a:lvl1pPr marL="0" indent="0" algn="l">
              <a:lnSpc>
                <a:spcPct val="100000"/>
              </a:lnSpc>
              <a:buNone/>
              <a:defRPr sz="1400" b="1" baseline="0">
                <a:solidFill>
                  <a:schemeClr val="tx2"/>
                </a:solidFill>
              </a:defRPr>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Name, Surname</a:t>
            </a:r>
          </a:p>
        </p:txBody>
      </p:sp>
      <p:sp>
        <p:nvSpPr>
          <p:cNvPr id="45" name="Text Placeholder 5"/>
          <p:cNvSpPr>
            <a:spLocks noGrp="1"/>
          </p:cNvSpPr>
          <p:nvPr>
            <p:ph type="body" sz="quarter" idx="32" hasCustomPrompt="1"/>
          </p:nvPr>
        </p:nvSpPr>
        <p:spPr>
          <a:xfrm>
            <a:off x="3770065" y="4494532"/>
            <a:ext cx="2463190"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Job Position</a:t>
            </a:r>
          </a:p>
        </p:txBody>
      </p:sp>
      <p:sp>
        <p:nvSpPr>
          <p:cNvPr id="46" name="Text Placeholder 5"/>
          <p:cNvSpPr>
            <a:spLocks noGrp="1"/>
          </p:cNvSpPr>
          <p:nvPr>
            <p:ph type="body" sz="quarter" idx="33" hasCustomPrompt="1"/>
          </p:nvPr>
        </p:nvSpPr>
        <p:spPr>
          <a:xfrm>
            <a:off x="4014948" y="5023208"/>
            <a:ext cx="2218307"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Phone number</a:t>
            </a:r>
          </a:p>
        </p:txBody>
      </p:sp>
      <p:sp>
        <p:nvSpPr>
          <p:cNvPr id="47" name="Text Placeholder 5"/>
          <p:cNvSpPr>
            <a:spLocks noGrp="1"/>
          </p:cNvSpPr>
          <p:nvPr>
            <p:ph type="body" sz="quarter" idx="34" hasCustomPrompt="1"/>
          </p:nvPr>
        </p:nvSpPr>
        <p:spPr>
          <a:xfrm>
            <a:off x="4014948" y="5306015"/>
            <a:ext cx="2218307"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Email address</a:t>
            </a:r>
          </a:p>
        </p:txBody>
      </p:sp>
    </p:spTree>
    <p:extLst>
      <p:ext uri="{BB962C8B-B14F-4D97-AF65-F5344CB8AC3E}">
        <p14:creationId xmlns:p14="http://schemas.microsoft.com/office/powerpoint/2010/main" val="2648800077"/>
      </p:ext>
    </p:extLst>
  </p:cSld>
  <p:clrMapOvr>
    <a:masterClrMapping/>
  </p:clrMapOvr>
</p:sldLayout>
</file>

<file path=ppt/slideLayouts/slideLayout326.xml><?xml version="1.0" encoding="utf-8"?>
<p:sldLayout xmlns:a="http://schemas.openxmlformats.org/drawingml/2006/main" xmlns:r="http://schemas.openxmlformats.org/officeDocument/2006/relationships" xmlns:p="http://schemas.openxmlformats.org/presentationml/2006/main" preserve="1">
  <p:cSld name="Four contacts">
    <p:spTree>
      <p:nvGrpSpPr>
        <p:cNvPr id="1" name=""/>
        <p:cNvGrpSpPr/>
        <p:nvPr/>
      </p:nvGrpSpPr>
      <p:grpSpPr>
        <a:xfrm>
          <a:off x="0" y="0"/>
          <a:ext cx="0" cy="0"/>
          <a:chOff x="0" y="0"/>
          <a:chExt cx="0" cy="0"/>
        </a:xfrm>
      </p:grpSpPr>
      <p:sp>
        <p:nvSpPr>
          <p:cNvPr id="21" name="Date Placeholder 20"/>
          <p:cNvSpPr>
            <a:spLocks noGrp="1"/>
          </p:cNvSpPr>
          <p:nvPr>
            <p:ph type="dt" sz="half" idx="14"/>
          </p:nvPr>
        </p:nvSpPr>
        <p:spPr/>
        <p:txBody>
          <a:bodyPr/>
          <a:lstStyle/>
          <a:p>
            <a:endParaRPr lang="en-US"/>
          </a:p>
        </p:txBody>
      </p:sp>
      <p:sp>
        <p:nvSpPr>
          <p:cNvPr id="22" name="Footer Placeholder 21"/>
          <p:cNvSpPr>
            <a:spLocks noGrp="1"/>
          </p:cNvSpPr>
          <p:nvPr>
            <p:ph type="ftr" sz="quarter" idx="15"/>
          </p:nvPr>
        </p:nvSpPr>
        <p:spPr/>
        <p:txBody>
          <a:bodyPr/>
          <a:lstStyle/>
          <a:p>
            <a:endParaRPr lang="en-US"/>
          </a:p>
        </p:txBody>
      </p:sp>
      <p:sp>
        <p:nvSpPr>
          <p:cNvPr id="23" name="Slide Number Placeholder 22"/>
          <p:cNvSpPr>
            <a:spLocks noGrp="1"/>
          </p:cNvSpPr>
          <p:nvPr>
            <p:ph type="sldNum" sz="quarter" idx="16"/>
          </p:nvPr>
        </p:nvSpPr>
        <p:spPr/>
        <p:txBody>
          <a:bodyPr/>
          <a:lstStyle/>
          <a:p>
            <a:fld id="{5F3E29E4-0979-4FCA-B4C5-5FC6044C982A}" type="slidenum">
              <a:rPr lang="en-US" smtClean="0"/>
              <a:t>‹#›</a:t>
            </a:fld>
            <a:endParaRPr lang="en-US"/>
          </a:p>
        </p:txBody>
      </p:sp>
      <p:sp>
        <p:nvSpPr>
          <p:cNvPr id="2" name="Title 1"/>
          <p:cNvSpPr>
            <a:spLocks noGrp="1"/>
          </p:cNvSpPr>
          <p:nvPr>
            <p:ph type="title" hasCustomPrompt="1"/>
          </p:nvPr>
        </p:nvSpPr>
        <p:spPr/>
        <p:txBody>
          <a:bodyPr/>
          <a:lstStyle>
            <a:lvl1pPr>
              <a:defRPr/>
            </a:lvl1pPr>
          </a:lstStyle>
          <a:p>
            <a:r>
              <a:rPr lang="en-US"/>
              <a:t>Click to add contact title</a:t>
            </a:r>
          </a:p>
        </p:txBody>
      </p:sp>
      <p:sp>
        <p:nvSpPr>
          <p:cNvPr id="7" name="Subtitle 2"/>
          <p:cNvSpPr>
            <a:spLocks noGrp="1"/>
          </p:cNvSpPr>
          <p:nvPr>
            <p:ph type="subTitle" idx="13" hasCustomPrompt="1"/>
          </p:nvPr>
        </p:nvSpPr>
        <p:spPr>
          <a:xfrm>
            <a:off x="1075061" y="964671"/>
            <a:ext cx="7910158" cy="490042"/>
          </a:xfrm>
        </p:spPr>
        <p:txBody>
          <a:bodyPr wrap="none"/>
          <a:lstStyle>
            <a:lvl1pPr marL="0" indent="0" algn="l">
              <a:spcBef>
                <a:spcPts val="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grpSp>
        <p:nvGrpSpPr>
          <p:cNvPr id="8" name="Gruppieren 80">
            <a:extLst>
              <a:ext uri="{FF2B5EF4-FFF2-40B4-BE49-F238E27FC236}">
                <a16:creationId xmlns:a16="http://schemas.microsoft.com/office/drawing/2014/main" id="{6B969E7B-9C39-4443-9B02-74C1E7C5CCAC}"/>
              </a:ext>
            </a:extLst>
          </p:cNvPr>
          <p:cNvGrpSpPr/>
          <p:nvPr/>
        </p:nvGrpSpPr>
        <p:grpSpPr>
          <a:xfrm>
            <a:off x="3770065" y="2868319"/>
            <a:ext cx="171180" cy="171180"/>
            <a:chOff x="3392092" y="1841122"/>
            <a:chExt cx="646508" cy="646508"/>
          </a:xfrm>
        </p:grpSpPr>
        <p:sp>
          <p:nvSpPr>
            <p:cNvPr id="9" name="Rechteck 14">
              <a:extLst>
                <a:ext uri="{FF2B5EF4-FFF2-40B4-BE49-F238E27FC236}">
                  <a16:creationId xmlns:a16="http://schemas.microsoft.com/office/drawing/2014/main" id="{D78F58EA-5525-8D43-8295-FEA52ECF6BFA}"/>
                </a:ext>
              </a:extLst>
            </p:cNvPr>
            <p:cNvSpPr>
              <a:spLocks noChangeAspect="1"/>
            </p:cNvSpPr>
            <p:nvPr/>
          </p:nvSpPr>
          <p:spPr bwMode="gray">
            <a:xfrm>
              <a:off x="3392092" y="1841122"/>
              <a:ext cx="646508" cy="646508"/>
            </a:xfrm>
            <a:prstGeom prst="rect">
              <a:avLst/>
            </a:prstGeom>
            <a:solidFill>
              <a:srgbClr val="E55A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pPr>
              <a:endParaRPr lang="en-US" sz="1000">
                <a:solidFill>
                  <a:schemeClr val="tx1"/>
                </a:solidFill>
                <a:latin typeface="Arial" pitchFamily="34" charset="0"/>
                <a:cs typeface="Arial" pitchFamily="34" charset="0"/>
              </a:endParaRPr>
            </a:p>
          </p:txBody>
        </p:sp>
        <p:sp>
          <p:nvSpPr>
            <p:cNvPr id="10" name="Freeform 67">
              <a:extLst>
                <a:ext uri="{FF2B5EF4-FFF2-40B4-BE49-F238E27FC236}">
                  <a16:creationId xmlns:a16="http://schemas.microsoft.com/office/drawing/2014/main" id="{D01A6292-2776-4945-B828-483D79DC4908}"/>
                </a:ext>
              </a:extLst>
            </p:cNvPr>
            <p:cNvSpPr>
              <a:spLocks noChangeAspect="1"/>
            </p:cNvSpPr>
            <p:nvPr/>
          </p:nvSpPr>
          <p:spPr bwMode="auto">
            <a:xfrm>
              <a:off x="3546638" y="1970424"/>
              <a:ext cx="337415" cy="387905"/>
            </a:xfrm>
            <a:custGeom>
              <a:avLst/>
              <a:gdLst>
                <a:gd name="T0" fmla="*/ 573 w 1624"/>
                <a:gd name="T1" fmla="*/ 1257 h 1867"/>
                <a:gd name="T2" fmla="*/ 662 w 1624"/>
                <a:gd name="T3" fmla="*/ 1288 h 1867"/>
                <a:gd name="T4" fmla="*/ 938 w 1624"/>
                <a:gd name="T5" fmla="*/ 1051 h 1867"/>
                <a:gd name="T6" fmla="*/ 1106 w 1624"/>
                <a:gd name="T7" fmla="*/ 731 h 1867"/>
                <a:gd name="T8" fmla="*/ 1059 w 1624"/>
                <a:gd name="T9" fmla="*/ 645 h 1867"/>
                <a:gd name="T10" fmla="*/ 1001 w 1624"/>
                <a:gd name="T11" fmla="*/ 613 h 1867"/>
                <a:gd name="T12" fmla="*/ 924 w 1624"/>
                <a:gd name="T13" fmla="*/ 432 h 1867"/>
                <a:gd name="T14" fmla="*/ 1114 w 1624"/>
                <a:gd name="T15" fmla="*/ 81 h 1867"/>
                <a:gd name="T16" fmla="*/ 1287 w 1624"/>
                <a:gd name="T17" fmla="*/ 35 h 1867"/>
                <a:gd name="T18" fmla="*/ 1350 w 1624"/>
                <a:gd name="T19" fmla="*/ 69 h 1867"/>
                <a:gd name="T20" fmla="*/ 1527 w 1624"/>
                <a:gd name="T21" fmla="*/ 235 h 1867"/>
                <a:gd name="T22" fmla="*/ 1583 w 1624"/>
                <a:gd name="T23" fmla="*/ 555 h 1867"/>
                <a:gd name="T24" fmla="*/ 1172 w 1624"/>
                <a:gd name="T25" fmla="*/ 1253 h 1867"/>
                <a:gd name="T26" fmla="*/ 586 w 1624"/>
                <a:gd name="T27" fmla="*/ 1803 h 1867"/>
                <a:gd name="T28" fmla="*/ 269 w 1624"/>
                <a:gd name="T29" fmla="*/ 1807 h 1867"/>
                <a:gd name="T30" fmla="*/ 33 w 1624"/>
                <a:gd name="T31" fmla="*/ 1602 h 1867"/>
                <a:gd name="T32" fmla="*/ 2 w 1624"/>
                <a:gd name="T33" fmla="*/ 1508 h 1867"/>
                <a:gd name="T34" fmla="*/ 45 w 1624"/>
                <a:gd name="T35" fmla="*/ 1421 h 1867"/>
                <a:gd name="T36" fmla="*/ 346 w 1624"/>
                <a:gd name="T37" fmla="*/ 1158 h 1867"/>
                <a:gd name="T38" fmla="*/ 448 w 1624"/>
                <a:gd name="T39" fmla="*/ 1145 h 1867"/>
                <a:gd name="T40" fmla="*/ 573 w 1624"/>
                <a:gd name="T41" fmla="*/ 1257 h 18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24" h="1867">
                  <a:moveTo>
                    <a:pt x="573" y="1257"/>
                  </a:moveTo>
                  <a:cubicBezTo>
                    <a:pt x="592" y="1282"/>
                    <a:pt x="630" y="1303"/>
                    <a:pt x="662" y="1288"/>
                  </a:cubicBezTo>
                  <a:cubicBezTo>
                    <a:pt x="753" y="1245"/>
                    <a:pt x="854" y="1156"/>
                    <a:pt x="938" y="1051"/>
                  </a:cubicBezTo>
                  <a:cubicBezTo>
                    <a:pt x="1020" y="948"/>
                    <a:pt x="1084" y="831"/>
                    <a:pt x="1106" y="731"/>
                  </a:cubicBezTo>
                  <a:cubicBezTo>
                    <a:pt x="1113" y="696"/>
                    <a:pt x="1089" y="661"/>
                    <a:pt x="1059" y="645"/>
                  </a:cubicBezTo>
                  <a:cubicBezTo>
                    <a:pt x="1001" y="613"/>
                    <a:pt x="1001" y="613"/>
                    <a:pt x="1001" y="613"/>
                  </a:cubicBezTo>
                  <a:cubicBezTo>
                    <a:pt x="942" y="580"/>
                    <a:pt x="888" y="499"/>
                    <a:pt x="924" y="432"/>
                  </a:cubicBezTo>
                  <a:cubicBezTo>
                    <a:pt x="1114" y="81"/>
                    <a:pt x="1114" y="81"/>
                    <a:pt x="1114" y="81"/>
                  </a:cubicBezTo>
                  <a:cubicBezTo>
                    <a:pt x="1150" y="16"/>
                    <a:pt x="1224" y="0"/>
                    <a:pt x="1287" y="35"/>
                  </a:cubicBezTo>
                  <a:cubicBezTo>
                    <a:pt x="1350" y="69"/>
                    <a:pt x="1350" y="69"/>
                    <a:pt x="1350" y="69"/>
                  </a:cubicBezTo>
                  <a:cubicBezTo>
                    <a:pt x="1415" y="105"/>
                    <a:pt x="1479" y="165"/>
                    <a:pt x="1527" y="235"/>
                  </a:cubicBezTo>
                  <a:cubicBezTo>
                    <a:pt x="1593" y="332"/>
                    <a:pt x="1624" y="442"/>
                    <a:pt x="1583" y="555"/>
                  </a:cubicBezTo>
                  <a:cubicBezTo>
                    <a:pt x="1500" y="781"/>
                    <a:pt x="1351" y="1030"/>
                    <a:pt x="1172" y="1253"/>
                  </a:cubicBezTo>
                  <a:cubicBezTo>
                    <a:pt x="994" y="1477"/>
                    <a:pt x="786" y="1676"/>
                    <a:pt x="586" y="1803"/>
                  </a:cubicBezTo>
                  <a:cubicBezTo>
                    <a:pt x="486" y="1867"/>
                    <a:pt x="375" y="1856"/>
                    <a:pt x="269" y="1807"/>
                  </a:cubicBezTo>
                  <a:cubicBezTo>
                    <a:pt x="157" y="1755"/>
                    <a:pt x="106" y="1695"/>
                    <a:pt x="33" y="1602"/>
                  </a:cubicBezTo>
                  <a:cubicBezTo>
                    <a:pt x="11" y="1573"/>
                    <a:pt x="0" y="1540"/>
                    <a:pt x="2" y="1508"/>
                  </a:cubicBezTo>
                  <a:cubicBezTo>
                    <a:pt x="4" y="1475"/>
                    <a:pt x="18" y="1444"/>
                    <a:pt x="45" y="1421"/>
                  </a:cubicBezTo>
                  <a:cubicBezTo>
                    <a:pt x="70" y="1399"/>
                    <a:pt x="346" y="1158"/>
                    <a:pt x="346" y="1158"/>
                  </a:cubicBezTo>
                  <a:cubicBezTo>
                    <a:pt x="376" y="1134"/>
                    <a:pt x="413" y="1133"/>
                    <a:pt x="448" y="1145"/>
                  </a:cubicBezTo>
                  <a:cubicBezTo>
                    <a:pt x="510" y="1166"/>
                    <a:pt x="536" y="1210"/>
                    <a:pt x="573" y="1257"/>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351"/>
            </a:p>
          </p:txBody>
        </p:sp>
      </p:grpSp>
      <p:grpSp>
        <p:nvGrpSpPr>
          <p:cNvPr id="11" name="Group 3">
            <a:extLst>
              <a:ext uri="{FF2B5EF4-FFF2-40B4-BE49-F238E27FC236}">
                <a16:creationId xmlns:a16="http://schemas.microsoft.com/office/drawing/2014/main" id="{DED6A25A-5DE2-1441-8BA2-C68D3B4F9209}"/>
              </a:ext>
            </a:extLst>
          </p:cNvPr>
          <p:cNvGrpSpPr>
            <a:grpSpLocks noChangeAspect="1"/>
          </p:cNvGrpSpPr>
          <p:nvPr>
            <p:custDataLst>
              <p:tags r:id="rId1"/>
            </p:custDataLst>
          </p:nvPr>
        </p:nvGrpSpPr>
        <p:grpSpPr>
          <a:xfrm>
            <a:off x="3770066" y="3153207"/>
            <a:ext cx="171180" cy="171180"/>
            <a:chOff x="328396" y="5313940"/>
            <a:chExt cx="720000" cy="720000"/>
          </a:xfrm>
        </p:grpSpPr>
        <p:sp>
          <p:nvSpPr>
            <p:cNvPr id="12" name="Rectangle 4">
              <a:extLst>
                <a:ext uri="{FF2B5EF4-FFF2-40B4-BE49-F238E27FC236}">
                  <a16:creationId xmlns:a16="http://schemas.microsoft.com/office/drawing/2014/main" id="{5F49E67F-D4FA-9D48-96BC-59AE946ECD15}"/>
                </a:ext>
              </a:extLst>
            </p:cNvPr>
            <p:cNvSpPr/>
            <p:nvPr/>
          </p:nvSpPr>
          <p:spPr bwMode="gray">
            <a:xfrm>
              <a:off x="328396" y="5313940"/>
              <a:ext cx="720000" cy="720000"/>
            </a:xfrm>
            <a:prstGeom prst="rect">
              <a:avLst/>
            </a:prstGeom>
            <a:solidFill>
              <a:srgbClr val="E55A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pPr>
              <a:endParaRPr lang="en-US" sz="1000">
                <a:solidFill>
                  <a:schemeClr val="tx1"/>
                </a:solidFill>
                <a:latin typeface="Arial" pitchFamily="34" charset="0"/>
                <a:cs typeface="Arial" pitchFamily="34" charset="0"/>
              </a:endParaRPr>
            </a:p>
          </p:txBody>
        </p:sp>
        <p:sp>
          <p:nvSpPr>
            <p:cNvPr id="13" name="Freeform 76">
              <a:extLst>
                <a:ext uri="{FF2B5EF4-FFF2-40B4-BE49-F238E27FC236}">
                  <a16:creationId xmlns:a16="http://schemas.microsoft.com/office/drawing/2014/main" id="{187E70E6-AF3F-2549-908E-DF4BA61040AA}"/>
                </a:ext>
              </a:extLst>
            </p:cNvPr>
            <p:cNvSpPr>
              <a:spLocks noChangeAspect="1" noEditPoints="1"/>
            </p:cNvSpPr>
            <p:nvPr/>
          </p:nvSpPr>
          <p:spPr bwMode="auto">
            <a:xfrm>
              <a:off x="456202" y="5509222"/>
              <a:ext cx="504000" cy="329436"/>
            </a:xfrm>
            <a:custGeom>
              <a:avLst/>
              <a:gdLst>
                <a:gd name="T0" fmla="*/ 0 w 2080"/>
                <a:gd name="T1" fmla="*/ 65 h 1360"/>
                <a:gd name="T2" fmla="*/ 0 w 2080"/>
                <a:gd name="T3" fmla="*/ 0 h 1360"/>
                <a:gd name="T4" fmla="*/ 2080 w 2080"/>
                <a:gd name="T5" fmla="*/ 0 h 1360"/>
                <a:gd name="T6" fmla="*/ 2080 w 2080"/>
                <a:gd name="T7" fmla="*/ 65 h 1360"/>
                <a:gd name="T8" fmla="*/ 1089 w 2080"/>
                <a:gd name="T9" fmla="*/ 862 h 1360"/>
                <a:gd name="T10" fmla="*/ 991 w 2080"/>
                <a:gd name="T11" fmla="*/ 862 h 1360"/>
                <a:gd name="T12" fmla="*/ 0 w 2080"/>
                <a:gd name="T13" fmla="*/ 65 h 1360"/>
                <a:gd name="T14" fmla="*/ 1139 w 2080"/>
                <a:gd name="T15" fmla="*/ 924 h 1360"/>
                <a:gd name="T16" fmla="*/ 1282 w 2080"/>
                <a:gd name="T17" fmla="*/ 810 h 1360"/>
                <a:gd name="T18" fmla="*/ 2076 w 2080"/>
                <a:gd name="T19" fmla="*/ 1360 h 1360"/>
                <a:gd name="T20" fmla="*/ 4 w 2080"/>
                <a:gd name="T21" fmla="*/ 1360 h 1360"/>
                <a:gd name="T22" fmla="*/ 798 w 2080"/>
                <a:gd name="T23" fmla="*/ 810 h 1360"/>
                <a:gd name="T24" fmla="*/ 941 w 2080"/>
                <a:gd name="T25" fmla="*/ 924 h 1360"/>
                <a:gd name="T26" fmla="*/ 1139 w 2080"/>
                <a:gd name="T27" fmla="*/ 924 h 1360"/>
                <a:gd name="T28" fmla="*/ 2 w 2080"/>
                <a:gd name="T29" fmla="*/ 137 h 1360"/>
                <a:gd name="T30" fmla="*/ 42 w 2080"/>
                <a:gd name="T31" fmla="*/ 201 h 1360"/>
                <a:gd name="T32" fmla="*/ 734 w 2080"/>
                <a:gd name="T33" fmla="*/ 758 h 1360"/>
                <a:gd name="T34" fmla="*/ 0 w 2080"/>
                <a:gd name="T35" fmla="*/ 1266 h 1360"/>
                <a:gd name="T36" fmla="*/ 0 w 2080"/>
                <a:gd name="T37" fmla="*/ 135 h 1360"/>
                <a:gd name="T38" fmla="*/ 2 w 2080"/>
                <a:gd name="T39" fmla="*/ 137 h 1360"/>
                <a:gd name="T40" fmla="*/ 2080 w 2080"/>
                <a:gd name="T41" fmla="*/ 136 h 1360"/>
                <a:gd name="T42" fmla="*/ 2080 w 2080"/>
                <a:gd name="T43" fmla="*/ 1265 h 1360"/>
                <a:gd name="T44" fmla="*/ 1346 w 2080"/>
                <a:gd name="T45" fmla="*/ 758 h 1360"/>
                <a:gd name="T46" fmla="*/ 2038 w 2080"/>
                <a:gd name="T47" fmla="*/ 201 h 1360"/>
                <a:gd name="T48" fmla="*/ 2080 w 2080"/>
                <a:gd name="T49" fmla="*/ 136 h 1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080" h="1360">
                  <a:moveTo>
                    <a:pt x="0" y="65"/>
                  </a:moveTo>
                  <a:cubicBezTo>
                    <a:pt x="0" y="0"/>
                    <a:pt x="0" y="0"/>
                    <a:pt x="0" y="0"/>
                  </a:cubicBezTo>
                  <a:cubicBezTo>
                    <a:pt x="2080" y="0"/>
                    <a:pt x="2080" y="0"/>
                    <a:pt x="2080" y="0"/>
                  </a:cubicBezTo>
                  <a:cubicBezTo>
                    <a:pt x="2080" y="65"/>
                    <a:pt x="2080" y="65"/>
                    <a:pt x="2080" y="65"/>
                  </a:cubicBezTo>
                  <a:cubicBezTo>
                    <a:pt x="1089" y="862"/>
                    <a:pt x="1089" y="862"/>
                    <a:pt x="1089" y="862"/>
                  </a:cubicBezTo>
                  <a:cubicBezTo>
                    <a:pt x="1060" y="886"/>
                    <a:pt x="1020" y="886"/>
                    <a:pt x="991" y="862"/>
                  </a:cubicBezTo>
                  <a:lnTo>
                    <a:pt x="0" y="65"/>
                  </a:lnTo>
                  <a:close/>
                  <a:moveTo>
                    <a:pt x="1139" y="924"/>
                  </a:moveTo>
                  <a:cubicBezTo>
                    <a:pt x="1282" y="810"/>
                    <a:pt x="1282" y="810"/>
                    <a:pt x="1282" y="810"/>
                  </a:cubicBezTo>
                  <a:cubicBezTo>
                    <a:pt x="2076" y="1360"/>
                    <a:pt x="2076" y="1360"/>
                    <a:pt x="2076" y="1360"/>
                  </a:cubicBezTo>
                  <a:cubicBezTo>
                    <a:pt x="4" y="1360"/>
                    <a:pt x="4" y="1360"/>
                    <a:pt x="4" y="1360"/>
                  </a:cubicBezTo>
                  <a:cubicBezTo>
                    <a:pt x="798" y="810"/>
                    <a:pt x="798" y="810"/>
                    <a:pt x="798" y="810"/>
                  </a:cubicBezTo>
                  <a:cubicBezTo>
                    <a:pt x="941" y="924"/>
                    <a:pt x="941" y="924"/>
                    <a:pt x="941" y="924"/>
                  </a:cubicBezTo>
                  <a:cubicBezTo>
                    <a:pt x="1000" y="972"/>
                    <a:pt x="1080" y="972"/>
                    <a:pt x="1139" y="924"/>
                  </a:cubicBezTo>
                  <a:close/>
                  <a:moveTo>
                    <a:pt x="2" y="137"/>
                  </a:moveTo>
                  <a:cubicBezTo>
                    <a:pt x="8" y="163"/>
                    <a:pt x="22" y="185"/>
                    <a:pt x="42" y="201"/>
                  </a:cubicBezTo>
                  <a:cubicBezTo>
                    <a:pt x="734" y="758"/>
                    <a:pt x="734" y="758"/>
                    <a:pt x="734" y="758"/>
                  </a:cubicBezTo>
                  <a:cubicBezTo>
                    <a:pt x="0" y="1266"/>
                    <a:pt x="0" y="1266"/>
                    <a:pt x="0" y="1266"/>
                  </a:cubicBezTo>
                  <a:cubicBezTo>
                    <a:pt x="0" y="135"/>
                    <a:pt x="0" y="135"/>
                    <a:pt x="0" y="135"/>
                  </a:cubicBezTo>
                  <a:lnTo>
                    <a:pt x="2" y="137"/>
                  </a:lnTo>
                  <a:close/>
                  <a:moveTo>
                    <a:pt x="2080" y="136"/>
                  </a:moveTo>
                  <a:cubicBezTo>
                    <a:pt x="2080" y="1265"/>
                    <a:pt x="2080" y="1265"/>
                    <a:pt x="2080" y="1265"/>
                  </a:cubicBezTo>
                  <a:cubicBezTo>
                    <a:pt x="1346" y="758"/>
                    <a:pt x="1346" y="758"/>
                    <a:pt x="1346" y="758"/>
                  </a:cubicBezTo>
                  <a:cubicBezTo>
                    <a:pt x="2038" y="201"/>
                    <a:pt x="2038" y="201"/>
                    <a:pt x="2038" y="201"/>
                  </a:cubicBezTo>
                  <a:cubicBezTo>
                    <a:pt x="2060" y="182"/>
                    <a:pt x="2072" y="162"/>
                    <a:pt x="2080" y="13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000"/>
            </a:p>
          </p:txBody>
        </p:sp>
      </p:grpSp>
      <p:grpSp>
        <p:nvGrpSpPr>
          <p:cNvPr id="14" name="Gruppieren 2">
            <a:extLst>
              <a:ext uri="{FF2B5EF4-FFF2-40B4-BE49-F238E27FC236}">
                <a16:creationId xmlns:a16="http://schemas.microsoft.com/office/drawing/2014/main" id="{BE697CE9-EBDE-6B4A-BE70-582D92A8A831}"/>
              </a:ext>
            </a:extLst>
          </p:cNvPr>
          <p:cNvGrpSpPr/>
          <p:nvPr/>
        </p:nvGrpSpPr>
        <p:grpSpPr>
          <a:xfrm>
            <a:off x="8701917" y="2868319"/>
            <a:ext cx="171180" cy="171180"/>
            <a:chOff x="3392092" y="1841122"/>
            <a:chExt cx="646508" cy="646508"/>
          </a:xfrm>
        </p:grpSpPr>
        <p:sp>
          <p:nvSpPr>
            <p:cNvPr id="15" name="Rechteck 14">
              <a:extLst>
                <a:ext uri="{FF2B5EF4-FFF2-40B4-BE49-F238E27FC236}">
                  <a16:creationId xmlns:a16="http://schemas.microsoft.com/office/drawing/2014/main" id="{E142A731-19B7-C34D-9534-9E05108F895F}"/>
                </a:ext>
              </a:extLst>
            </p:cNvPr>
            <p:cNvSpPr>
              <a:spLocks noChangeAspect="1"/>
            </p:cNvSpPr>
            <p:nvPr/>
          </p:nvSpPr>
          <p:spPr bwMode="gray">
            <a:xfrm>
              <a:off x="3392092" y="1841122"/>
              <a:ext cx="646508" cy="646508"/>
            </a:xfrm>
            <a:prstGeom prst="rect">
              <a:avLst/>
            </a:prstGeom>
            <a:solidFill>
              <a:srgbClr val="E55A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pPr>
              <a:endParaRPr lang="en-US" sz="1000">
                <a:solidFill>
                  <a:schemeClr val="tx1"/>
                </a:solidFill>
                <a:latin typeface="Arial" pitchFamily="34" charset="0"/>
                <a:cs typeface="Arial" pitchFamily="34" charset="0"/>
              </a:endParaRPr>
            </a:p>
          </p:txBody>
        </p:sp>
        <p:sp>
          <p:nvSpPr>
            <p:cNvPr id="16" name="Freeform 15">
              <a:extLst>
                <a:ext uri="{FF2B5EF4-FFF2-40B4-BE49-F238E27FC236}">
                  <a16:creationId xmlns:a16="http://schemas.microsoft.com/office/drawing/2014/main" id="{F97E84AE-4AD9-4B44-9AA1-F797FC373809}"/>
                </a:ext>
              </a:extLst>
            </p:cNvPr>
            <p:cNvSpPr>
              <a:spLocks noChangeAspect="1"/>
            </p:cNvSpPr>
            <p:nvPr/>
          </p:nvSpPr>
          <p:spPr bwMode="auto">
            <a:xfrm>
              <a:off x="3546638" y="1970424"/>
              <a:ext cx="337415" cy="387905"/>
            </a:xfrm>
            <a:custGeom>
              <a:avLst/>
              <a:gdLst>
                <a:gd name="T0" fmla="*/ 573 w 1624"/>
                <a:gd name="T1" fmla="*/ 1257 h 1867"/>
                <a:gd name="T2" fmla="*/ 662 w 1624"/>
                <a:gd name="T3" fmla="*/ 1288 h 1867"/>
                <a:gd name="T4" fmla="*/ 938 w 1624"/>
                <a:gd name="T5" fmla="*/ 1051 h 1867"/>
                <a:gd name="T6" fmla="*/ 1106 w 1624"/>
                <a:gd name="T7" fmla="*/ 731 h 1867"/>
                <a:gd name="T8" fmla="*/ 1059 w 1624"/>
                <a:gd name="T9" fmla="*/ 645 h 1867"/>
                <a:gd name="T10" fmla="*/ 1001 w 1624"/>
                <a:gd name="T11" fmla="*/ 613 h 1867"/>
                <a:gd name="T12" fmla="*/ 924 w 1624"/>
                <a:gd name="T13" fmla="*/ 432 h 1867"/>
                <a:gd name="T14" fmla="*/ 1114 w 1624"/>
                <a:gd name="T15" fmla="*/ 81 h 1867"/>
                <a:gd name="T16" fmla="*/ 1287 w 1624"/>
                <a:gd name="T17" fmla="*/ 35 h 1867"/>
                <a:gd name="T18" fmla="*/ 1350 w 1624"/>
                <a:gd name="T19" fmla="*/ 69 h 1867"/>
                <a:gd name="T20" fmla="*/ 1527 w 1624"/>
                <a:gd name="T21" fmla="*/ 235 h 1867"/>
                <a:gd name="T22" fmla="*/ 1583 w 1624"/>
                <a:gd name="T23" fmla="*/ 555 h 1867"/>
                <a:gd name="T24" fmla="*/ 1172 w 1624"/>
                <a:gd name="T25" fmla="*/ 1253 h 1867"/>
                <a:gd name="T26" fmla="*/ 586 w 1624"/>
                <a:gd name="T27" fmla="*/ 1803 h 1867"/>
                <a:gd name="T28" fmla="*/ 269 w 1624"/>
                <a:gd name="T29" fmla="*/ 1807 h 1867"/>
                <a:gd name="T30" fmla="*/ 33 w 1624"/>
                <a:gd name="T31" fmla="*/ 1602 h 1867"/>
                <a:gd name="T32" fmla="*/ 2 w 1624"/>
                <a:gd name="T33" fmla="*/ 1508 h 1867"/>
                <a:gd name="T34" fmla="*/ 45 w 1624"/>
                <a:gd name="T35" fmla="*/ 1421 h 1867"/>
                <a:gd name="T36" fmla="*/ 346 w 1624"/>
                <a:gd name="T37" fmla="*/ 1158 h 1867"/>
                <a:gd name="T38" fmla="*/ 448 w 1624"/>
                <a:gd name="T39" fmla="*/ 1145 h 1867"/>
                <a:gd name="T40" fmla="*/ 573 w 1624"/>
                <a:gd name="T41" fmla="*/ 1257 h 18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24" h="1867">
                  <a:moveTo>
                    <a:pt x="573" y="1257"/>
                  </a:moveTo>
                  <a:cubicBezTo>
                    <a:pt x="592" y="1282"/>
                    <a:pt x="630" y="1303"/>
                    <a:pt x="662" y="1288"/>
                  </a:cubicBezTo>
                  <a:cubicBezTo>
                    <a:pt x="753" y="1245"/>
                    <a:pt x="854" y="1156"/>
                    <a:pt x="938" y="1051"/>
                  </a:cubicBezTo>
                  <a:cubicBezTo>
                    <a:pt x="1020" y="948"/>
                    <a:pt x="1084" y="831"/>
                    <a:pt x="1106" y="731"/>
                  </a:cubicBezTo>
                  <a:cubicBezTo>
                    <a:pt x="1113" y="696"/>
                    <a:pt x="1089" y="661"/>
                    <a:pt x="1059" y="645"/>
                  </a:cubicBezTo>
                  <a:cubicBezTo>
                    <a:pt x="1001" y="613"/>
                    <a:pt x="1001" y="613"/>
                    <a:pt x="1001" y="613"/>
                  </a:cubicBezTo>
                  <a:cubicBezTo>
                    <a:pt x="942" y="580"/>
                    <a:pt x="888" y="499"/>
                    <a:pt x="924" y="432"/>
                  </a:cubicBezTo>
                  <a:cubicBezTo>
                    <a:pt x="1114" y="81"/>
                    <a:pt x="1114" y="81"/>
                    <a:pt x="1114" y="81"/>
                  </a:cubicBezTo>
                  <a:cubicBezTo>
                    <a:pt x="1150" y="16"/>
                    <a:pt x="1224" y="0"/>
                    <a:pt x="1287" y="35"/>
                  </a:cubicBezTo>
                  <a:cubicBezTo>
                    <a:pt x="1350" y="69"/>
                    <a:pt x="1350" y="69"/>
                    <a:pt x="1350" y="69"/>
                  </a:cubicBezTo>
                  <a:cubicBezTo>
                    <a:pt x="1415" y="105"/>
                    <a:pt x="1479" y="165"/>
                    <a:pt x="1527" y="235"/>
                  </a:cubicBezTo>
                  <a:cubicBezTo>
                    <a:pt x="1593" y="332"/>
                    <a:pt x="1624" y="442"/>
                    <a:pt x="1583" y="555"/>
                  </a:cubicBezTo>
                  <a:cubicBezTo>
                    <a:pt x="1500" y="781"/>
                    <a:pt x="1351" y="1030"/>
                    <a:pt x="1172" y="1253"/>
                  </a:cubicBezTo>
                  <a:cubicBezTo>
                    <a:pt x="994" y="1477"/>
                    <a:pt x="786" y="1676"/>
                    <a:pt x="586" y="1803"/>
                  </a:cubicBezTo>
                  <a:cubicBezTo>
                    <a:pt x="486" y="1867"/>
                    <a:pt x="375" y="1856"/>
                    <a:pt x="269" y="1807"/>
                  </a:cubicBezTo>
                  <a:cubicBezTo>
                    <a:pt x="157" y="1755"/>
                    <a:pt x="106" y="1695"/>
                    <a:pt x="33" y="1602"/>
                  </a:cubicBezTo>
                  <a:cubicBezTo>
                    <a:pt x="11" y="1573"/>
                    <a:pt x="0" y="1540"/>
                    <a:pt x="2" y="1508"/>
                  </a:cubicBezTo>
                  <a:cubicBezTo>
                    <a:pt x="4" y="1475"/>
                    <a:pt x="18" y="1444"/>
                    <a:pt x="45" y="1421"/>
                  </a:cubicBezTo>
                  <a:cubicBezTo>
                    <a:pt x="70" y="1399"/>
                    <a:pt x="346" y="1158"/>
                    <a:pt x="346" y="1158"/>
                  </a:cubicBezTo>
                  <a:cubicBezTo>
                    <a:pt x="376" y="1134"/>
                    <a:pt x="413" y="1133"/>
                    <a:pt x="448" y="1145"/>
                  </a:cubicBezTo>
                  <a:cubicBezTo>
                    <a:pt x="510" y="1166"/>
                    <a:pt x="536" y="1210"/>
                    <a:pt x="573" y="1257"/>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351"/>
            </a:p>
          </p:txBody>
        </p:sp>
      </p:grpSp>
      <p:grpSp>
        <p:nvGrpSpPr>
          <p:cNvPr id="17" name="Group 3">
            <a:extLst>
              <a:ext uri="{FF2B5EF4-FFF2-40B4-BE49-F238E27FC236}">
                <a16:creationId xmlns:a16="http://schemas.microsoft.com/office/drawing/2014/main" id="{7104BADD-8CD1-6F4A-B894-869C3BDB3EEB}"/>
              </a:ext>
            </a:extLst>
          </p:cNvPr>
          <p:cNvGrpSpPr>
            <a:grpSpLocks noChangeAspect="1"/>
          </p:cNvGrpSpPr>
          <p:nvPr>
            <p:custDataLst>
              <p:tags r:id="rId2"/>
            </p:custDataLst>
          </p:nvPr>
        </p:nvGrpSpPr>
        <p:grpSpPr>
          <a:xfrm>
            <a:off x="8701918" y="3153207"/>
            <a:ext cx="171180" cy="171180"/>
            <a:chOff x="328396" y="5313940"/>
            <a:chExt cx="720000" cy="720000"/>
          </a:xfrm>
        </p:grpSpPr>
        <p:sp>
          <p:nvSpPr>
            <p:cNvPr id="18" name="Rectangle 4">
              <a:extLst>
                <a:ext uri="{FF2B5EF4-FFF2-40B4-BE49-F238E27FC236}">
                  <a16:creationId xmlns:a16="http://schemas.microsoft.com/office/drawing/2014/main" id="{74BE3D5F-1445-6E40-8B49-72E15568383B}"/>
                </a:ext>
              </a:extLst>
            </p:cNvPr>
            <p:cNvSpPr/>
            <p:nvPr/>
          </p:nvSpPr>
          <p:spPr bwMode="gray">
            <a:xfrm>
              <a:off x="328396" y="5313940"/>
              <a:ext cx="720000" cy="720000"/>
            </a:xfrm>
            <a:prstGeom prst="rect">
              <a:avLst/>
            </a:prstGeom>
            <a:solidFill>
              <a:srgbClr val="E55A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pPr>
              <a:endParaRPr lang="en-US" sz="1000">
                <a:solidFill>
                  <a:schemeClr val="tx1"/>
                </a:solidFill>
                <a:latin typeface="Arial" pitchFamily="34" charset="0"/>
                <a:cs typeface="Arial" pitchFamily="34" charset="0"/>
              </a:endParaRPr>
            </a:p>
          </p:txBody>
        </p:sp>
        <p:sp>
          <p:nvSpPr>
            <p:cNvPr id="19" name="Freeform 76">
              <a:extLst>
                <a:ext uri="{FF2B5EF4-FFF2-40B4-BE49-F238E27FC236}">
                  <a16:creationId xmlns:a16="http://schemas.microsoft.com/office/drawing/2014/main" id="{55DB3C95-7D0C-D141-901E-96D692794D2B}"/>
                </a:ext>
              </a:extLst>
            </p:cNvPr>
            <p:cNvSpPr>
              <a:spLocks noChangeAspect="1" noEditPoints="1"/>
            </p:cNvSpPr>
            <p:nvPr/>
          </p:nvSpPr>
          <p:spPr bwMode="auto">
            <a:xfrm>
              <a:off x="456202" y="5509222"/>
              <a:ext cx="504000" cy="329436"/>
            </a:xfrm>
            <a:custGeom>
              <a:avLst/>
              <a:gdLst>
                <a:gd name="T0" fmla="*/ 0 w 2080"/>
                <a:gd name="T1" fmla="*/ 65 h 1360"/>
                <a:gd name="T2" fmla="*/ 0 w 2080"/>
                <a:gd name="T3" fmla="*/ 0 h 1360"/>
                <a:gd name="T4" fmla="*/ 2080 w 2080"/>
                <a:gd name="T5" fmla="*/ 0 h 1360"/>
                <a:gd name="T6" fmla="*/ 2080 w 2080"/>
                <a:gd name="T7" fmla="*/ 65 h 1360"/>
                <a:gd name="T8" fmla="*/ 1089 w 2080"/>
                <a:gd name="T9" fmla="*/ 862 h 1360"/>
                <a:gd name="T10" fmla="*/ 991 w 2080"/>
                <a:gd name="T11" fmla="*/ 862 h 1360"/>
                <a:gd name="T12" fmla="*/ 0 w 2080"/>
                <a:gd name="T13" fmla="*/ 65 h 1360"/>
                <a:gd name="T14" fmla="*/ 1139 w 2080"/>
                <a:gd name="T15" fmla="*/ 924 h 1360"/>
                <a:gd name="T16" fmla="*/ 1282 w 2080"/>
                <a:gd name="T17" fmla="*/ 810 h 1360"/>
                <a:gd name="T18" fmla="*/ 2076 w 2080"/>
                <a:gd name="T19" fmla="*/ 1360 h 1360"/>
                <a:gd name="T20" fmla="*/ 4 w 2080"/>
                <a:gd name="T21" fmla="*/ 1360 h 1360"/>
                <a:gd name="T22" fmla="*/ 798 w 2080"/>
                <a:gd name="T23" fmla="*/ 810 h 1360"/>
                <a:gd name="T24" fmla="*/ 941 w 2080"/>
                <a:gd name="T25" fmla="*/ 924 h 1360"/>
                <a:gd name="T26" fmla="*/ 1139 w 2080"/>
                <a:gd name="T27" fmla="*/ 924 h 1360"/>
                <a:gd name="T28" fmla="*/ 2 w 2080"/>
                <a:gd name="T29" fmla="*/ 137 h 1360"/>
                <a:gd name="T30" fmla="*/ 42 w 2080"/>
                <a:gd name="T31" fmla="*/ 201 h 1360"/>
                <a:gd name="T32" fmla="*/ 734 w 2080"/>
                <a:gd name="T33" fmla="*/ 758 h 1360"/>
                <a:gd name="T34" fmla="*/ 0 w 2080"/>
                <a:gd name="T35" fmla="*/ 1266 h 1360"/>
                <a:gd name="T36" fmla="*/ 0 w 2080"/>
                <a:gd name="T37" fmla="*/ 135 h 1360"/>
                <a:gd name="T38" fmla="*/ 2 w 2080"/>
                <a:gd name="T39" fmla="*/ 137 h 1360"/>
                <a:gd name="T40" fmla="*/ 2080 w 2080"/>
                <a:gd name="T41" fmla="*/ 136 h 1360"/>
                <a:gd name="T42" fmla="*/ 2080 w 2080"/>
                <a:gd name="T43" fmla="*/ 1265 h 1360"/>
                <a:gd name="T44" fmla="*/ 1346 w 2080"/>
                <a:gd name="T45" fmla="*/ 758 h 1360"/>
                <a:gd name="T46" fmla="*/ 2038 w 2080"/>
                <a:gd name="T47" fmla="*/ 201 h 1360"/>
                <a:gd name="T48" fmla="*/ 2080 w 2080"/>
                <a:gd name="T49" fmla="*/ 136 h 1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080" h="1360">
                  <a:moveTo>
                    <a:pt x="0" y="65"/>
                  </a:moveTo>
                  <a:cubicBezTo>
                    <a:pt x="0" y="0"/>
                    <a:pt x="0" y="0"/>
                    <a:pt x="0" y="0"/>
                  </a:cubicBezTo>
                  <a:cubicBezTo>
                    <a:pt x="2080" y="0"/>
                    <a:pt x="2080" y="0"/>
                    <a:pt x="2080" y="0"/>
                  </a:cubicBezTo>
                  <a:cubicBezTo>
                    <a:pt x="2080" y="65"/>
                    <a:pt x="2080" y="65"/>
                    <a:pt x="2080" y="65"/>
                  </a:cubicBezTo>
                  <a:cubicBezTo>
                    <a:pt x="1089" y="862"/>
                    <a:pt x="1089" y="862"/>
                    <a:pt x="1089" y="862"/>
                  </a:cubicBezTo>
                  <a:cubicBezTo>
                    <a:pt x="1060" y="886"/>
                    <a:pt x="1020" y="886"/>
                    <a:pt x="991" y="862"/>
                  </a:cubicBezTo>
                  <a:lnTo>
                    <a:pt x="0" y="65"/>
                  </a:lnTo>
                  <a:close/>
                  <a:moveTo>
                    <a:pt x="1139" y="924"/>
                  </a:moveTo>
                  <a:cubicBezTo>
                    <a:pt x="1282" y="810"/>
                    <a:pt x="1282" y="810"/>
                    <a:pt x="1282" y="810"/>
                  </a:cubicBezTo>
                  <a:cubicBezTo>
                    <a:pt x="2076" y="1360"/>
                    <a:pt x="2076" y="1360"/>
                    <a:pt x="2076" y="1360"/>
                  </a:cubicBezTo>
                  <a:cubicBezTo>
                    <a:pt x="4" y="1360"/>
                    <a:pt x="4" y="1360"/>
                    <a:pt x="4" y="1360"/>
                  </a:cubicBezTo>
                  <a:cubicBezTo>
                    <a:pt x="798" y="810"/>
                    <a:pt x="798" y="810"/>
                    <a:pt x="798" y="810"/>
                  </a:cubicBezTo>
                  <a:cubicBezTo>
                    <a:pt x="941" y="924"/>
                    <a:pt x="941" y="924"/>
                    <a:pt x="941" y="924"/>
                  </a:cubicBezTo>
                  <a:cubicBezTo>
                    <a:pt x="1000" y="972"/>
                    <a:pt x="1080" y="972"/>
                    <a:pt x="1139" y="924"/>
                  </a:cubicBezTo>
                  <a:close/>
                  <a:moveTo>
                    <a:pt x="2" y="137"/>
                  </a:moveTo>
                  <a:cubicBezTo>
                    <a:pt x="8" y="163"/>
                    <a:pt x="22" y="185"/>
                    <a:pt x="42" y="201"/>
                  </a:cubicBezTo>
                  <a:cubicBezTo>
                    <a:pt x="734" y="758"/>
                    <a:pt x="734" y="758"/>
                    <a:pt x="734" y="758"/>
                  </a:cubicBezTo>
                  <a:cubicBezTo>
                    <a:pt x="0" y="1266"/>
                    <a:pt x="0" y="1266"/>
                    <a:pt x="0" y="1266"/>
                  </a:cubicBezTo>
                  <a:cubicBezTo>
                    <a:pt x="0" y="135"/>
                    <a:pt x="0" y="135"/>
                    <a:pt x="0" y="135"/>
                  </a:cubicBezTo>
                  <a:lnTo>
                    <a:pt x="2" y="137"/>
                  </a:lnTo>
                  <a:close/>
                  <a:moveTo>
                    <a:pt x="2080" y="136"/>
                  </a:moveTo>
                  <a:cubicBezTo>
                    <a:pt x="2080" y="1265"/>
                    <a:pt x="2080" y="1265"/>
                    <a:pt x="2080" y="1265"/>
                  </a:cubicBezTo>
                  <a:cubicBezTo>
                    <a:pt x="1346" y="758"/>
                    <a:pt x="1346" y="758"/>
                    <a:pt x="1346" y="758"/>
                  </a:cubicBezTo>
                  <a:cubicBezTo>
                    <a:pt x="2038" y="201"/>
                    <a:pt x="2038" y="201"/>
                    <a:pt x="2038" y="201"/>
                  </a:cubicBezTo>
                  <a:cubicBezTo>
                    <a:pt x="2060" y="182"/>
                    <a:pt x="2072" y="162"/>
                    <a:pt x="2080" y="13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000"/>
            </a:p>
          </p:txBody>
        </p:sp>
      </p:grpSp>
      <p:cxnSp>
        <p:nvCxnSpPr>
          <p:cNvPr id="20" name="Straight Connector 19"/>
          <p:cNvCxnSpPr/>
          <p:nvPr/>
        </p:nvCxnSpPr>
        <p:spPr>
          <a:xfrm>
            <a:off x="2371725" y="3478213"/>
            <a:ext cx="3888000" cy="0"/>
          </a:xfrm>
          <a:prstGeom prst="line">
            <a:avLst/>
          </a:prstGeom>
          <a:ln w="6350">
            <a:solidFill>
              <a:schemeClr val="tx2"/>
            </a:solidFill>
            <a:prstDash val="dash"/>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p:nvCxnSpPr>
        <p:spPr>
          <a:xfrm>
            <a:off x="7287766" y="3478213"/>
            <a:ext cx="3888000" cy="0"/>
          </a:xfrm>
          <a:prstGeom prst="line">
            <a:avLst/>
          </a:prstGeom>
          <a:ln w="6350">
            <a:solidFill>
              <a:schemeClr val="tx2"/>
            </a:solidFill>
            <a:prstDash val="dash"/>
          </a:ln>
        </p:spPr>
        <p:style>
          <a:lnRef idx="1">
            <a:schemeClr val="accent1"/>
          </a:lnRef>
          <a:fillRef idx="0">
            <a:schemeClr val="accent1"/>
          </a:fillRef>
          <a:effectRef idx="0">
            <a:schemeClr val="accent1"/>
          </a:effectRef>
          <a:fontRef idx="minor">
            <a:schemeClr val="tx1"/>
          </a:fontRef>
        </p:style>
      </p:cxnSp>
      <p:sp>
        <p:nvSpPr>
          <p:cNvPr id="4" name="Picture Placeholder 3"/>
          <p:cNvSpPr>
            <a:spLocks noGrp="1"/>
          </p:cNvSpPr>
          <p:nvPr>
            <p:ph type="pic" sz="quarter" idx="17" hasCustomPrompt="1"/>
          </p:nvPr>
        </p:nvSpPr>
        <p:spPr>
          <a:xfrm>
            <a:off x="2355914" y="1808984"/>
            <a:ext cx="1188677" cy="1547840"/>
          </a:xfrm>
          <a:solidFill>
            <a:srgbClr val="D9DADB"/>
          </a:solidFill>
        </p:spPr>
        <p:txBody>
          <a:bodyPr/>
          <a:lstStyle>
            <a:lvl1pPr marL="0" indent="0">
              <a:buNone/>
              <a:defRPr sz="1400"/>
            </a:lvl1pPr>
          </a:lstStyle>
          <a:p>
            <a:r>
              <a:rPr lang="en-US"/>
              <a:t>Insert picture</a:t>
            </a:r>
          </a:p>
        </p:txBody>
      </p:sp>
      <p:sp>
        <p:nvSpPr>
          <p:cNvPr id="25" name="Picture Placeholder 3"/>
          <p:cNvSpPr>
            <a:spLocks noGrp="1"/>
          </p:cNvSpPr>
          <p:nvPr>
            <p:ph type="pic" sz="quarter" idx="18" hasCustomPrompt="1"/>
          </p:nvPr>
        </p:nvSpPr>
        <p:spPr>
          <a:xfrm>
            <a:off x="7287766" y="1808984"/>
            <a:ext cx="1188677" cy="1547840"/>
          </a:xfrm>
          <a:solidFill>
            <a:srgbClr val="D9DADB"/>
          </a:solidFill>
        </p:spPr>
        <p:txBody>
          <a:bodyPr/>
          <a:lstStyle>
            <a:lvl1pPr marL="0" indent="0">
              <a:buNone/>
              <a:defRPr sz="1400"/>
            </a:lvl1pPr>
          </a:lstStyle>
          <a:p>
            <a:r>
              <a:rPr lang="en-US"/>
              <a:t>Insert picture</a:t>
            </a:r>
          </a:p>
        </p:txBody>
      </p:sp>
      <p:sp>
        <p:nvSpPr>
          <p:cNvPr id="6" name="Text Placeholder 5"/>
          <p:cNvSpPr>
            <a:spLocks noGrp="1"/>
          </p:cNvSpPr>
          <p:nvPr>
            <p:ph type="body" sz="quarter" idx="19" hasCustomPrompt="1"/>
          </p:nvPr>
        </p:nvSpPr>
        <p:spPr>
          <a:xfrm>
            <a:off x="3770065" y="1808521"/>
            <a:ext cx="2463190" cy="192360"/>
          </a:xfrm>
        </p:spPr>
        <p:txBody>
          <a:bodyPr lIns="0" tIns="0" rIns="0" bIns="0" anchor="ctr" anchorCtr="0"/>
          <a:lstStyle>
            <a:lvl1pPr marL="0" indent="0" algn="l">
              <a:lnSpc>
                <a:spcPct val="100000"/>
              </a:lnSpc>
              <a:buNone/>
              <a:defRPr sz="100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Country</a:t>
            </a:r>
          </a:p>
        </p:txBody>
      </p:sp>
      <p:sp>
        <p:nvSpPr>
          <p:cNvPr id="26" name="Text Placeholder 5"/>
          <p:cNvSpPr>
            <a:spLocks noGrp="1"/>
          </p:cNvSpPr>
          <p:nvPr>
            <p:ph type="body" sz="quarter" idx="20" hasCustomPrompt="1"/>
          </p:nvPr>
        </p:nvSpPr>
        <p:spPr>
          <a:xfrm>
            <a:off x="3770065" y="2020337"/>
            <a:ext cx="2463190" cy="266182"/>
          </a:xfrm>
        </p:spPr>
        <p:txBody>
          <a:bodyPr lIns="0" tIns="0" rIns="0" bIns="0" anchor="b" anchorCtr="0"/>
          <a:lstStyle>
            <a:lvl1pPr marL="0" indent="0" algn="l">
              <a:lnSpc>
                <a:spcPct val="100000"/>
              </a:lnSpc>
              <a:buNone/>
              <a:defRPr sz="1400" b="1" baseline="0">
                <a:solidFill>
                  <a:schemeClr val="tx2"/>
                </a:solidFill>
              </a:defRPr>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Name, Surname</a:t>
            </a:r>
          </a:p>
        </p:txBody>
      </p:sp>
      <p:sp>
        <p:nvSpPr>
          <p:cNvPr id="27" name="Text Placeholder 5"/>
          <p:cNvSpPr>
            <a:spLocks noGrp="1"/>
          </p:cNvSpPr>
          <p:nvPr>
            <p:ph type="body" sz="quarter" idx="21" hasCustomPrompt="1"/>
          </p:nvPr>
        </p:nvSpPr>
        <p:spPr>
          <a:xfrm>
            <a:off x="3770065" y="2316912"/>
            <a:ext cx="2463190"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Job Position</a:t>
            </a:r>
          </a:p>
        </p:txBody>
      </p:sp>
      <p:sp>
        <p:nvSpPr>
          <p:cNvPr id="28" name="Text Placeholder 5"/>
          <p:cNvSpPr>
            <a:spLocks noGrp="1"/>
          </p:cNvSpPr>
          <p:nvPr>
            <p:ph type="body" sz="quarter" idx="22" hasCustomPrompt="1"/>
          </p:nvPr>
        </p:nvSpPr>
        <p:spPr>
          <a:xfrm>
            <a:off x="4014948" y="2845588"/>
            <a:ext cx="2218307"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Phone number</a:t>
            </a:r>
          </a:p>
        </p:txBody>
      </p:sp>
      <p:sp>
        <p:nvSpPr>
          <p:cNvPr id="29" name="Text Placeholder 5"/>
          <p:cNvSpPr>
            <a:spLocks noGrp="1"/>
          </p:cNvSpPr>
          <p:nvPr>
            <p:ph type="body" sz="quarter" idx="23" hasCustomPrompt="1"/>
          </p:nvPr>
        </p:nvSpPr>
        <p:spPr>
          <a:xfrm>
            <a:off x="4014948" y="3128395"/>
            <a:ext cx="2218307"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Email address</a:t>
            </a:r>
          </a:p>
        </p:txBody>
      </p:sp>
      <p:sp>
        <p:nvSpPr>
          <p:cNvPr id="30" name="Text Placeholder 5"/>
          <p:cNvSpPr>
            <a:spLocks noGrp="1"/>
          </p:cNvSpPr>
          <p:nvPr>
            <p:ph type="body" sz="quarter" idx="24" hasCustomPrompt="1"/>
          </p:nvPr>
        </p:nvSpPr>
        <p:spPr>
          <a:xfrm>
            <a:off x="8701917" y="1808521"/>
            <a:ext cx="2463190" cy="192360"/>
          </a:xfrm>
        </p:spPr>
        <p:txBody>
          <a:bodyPr lIns="0" tIns="0" rIns="0" bIns="0" anchor="ctr" anchorCtr="0"/>
          <a:lstStyle>
            <a:lvl1pPr marL="0" indent="0" algn="l">
              <a:lnSpc>
                <a:spcPct val="100000"/>
              </a:lnSpc>
              <a:buNone/>
              <a:defRPr sz="100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Country</a:t>
            </a:r>
          </a:p>
        </p:txBody>
      </p:sp>
      <p:sp>
        <p:nvSpPr>
          <p:cNvPr id="31" name="Text Placeholder 5"/>
          <p:cNvSpPr>
            <a:spLocks noGrp="1"/>
          </p:cNvSpPr>
          <p:nvPr>
            <p:ph type="body" sz="quarter" idx="25" hasCustomPrompt="1"/>
          </p:nvPr>
        </p:nvSpPr>
        <p:spPr>
          <a:xfrm>
            <a:off x="8701917" y="2020337"/>
            <a:ext cx="2463190" cy="266182"/>
          </a:xfrm>
        </p:spPr>
        <p:txBody>
          <a:bodyPr lIns="0" tIns="0" rIns="0" bIns="0" anchor="b" anchorCtr="0"/>
          <a:lstStyle>
            <a:lvl1pPr marL="0" indent="0" algn="l">
              <a:lnSpc>
                <a:spcPct val="100000"/>
              </a:lnSpc>
              <a:buNone/>
              <a:defRPr sz="1400" b="1" baseline="0">
                <a:solidFill>
                  <a:schemeClr val="tx2"/>
                </a:solidFill>
              </a:defRPr>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Name, Surname</a:t>
            </a:r>
          </a:p>
        </p:txBody>
      </p:sp>
      <p:sp>
        <p:nvSpPr>
          <p:cNvPr id="32" name="Text Placeholder 5"/>
          <p:cNvSpPr>
            <a:spLocks noGrp="1"/>
          </p:cNvSpPr>
          <p:nvPr>
            <p:ph type="body" sz="quarter" idx="26" hasCustomPrompt="1"/>
          </p:nvPr>
        </p:nvSpPr>
        <p:spPr>
          <a:xfrm>
            <a:off x="8701917" y="2316912"/>
            <a:ext cx="2463190"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Job Position</a:t>
            </a:r>
          </a:p>
        </p:txBody>
      </p:sp>
      <p:sp>
        <p:nvSpPr>
          <p:cNvPr id="33" name="Text Placeholder 5"/>
          <p:cNvSpPr>
            <a:spLocks noGrp="1"/>
          </p:cNvSpPr>
          <p:nvPr>
            <p:ph type="body" sz="quarter" idx="27" hasCustomPrompt="1"/>
          </p:nvPr>
        </p:nvSpPr>
        <p:spPr>
          <a:xfrm>
            <a:off x="8946800" y="2845588"/>
            <a:ext cx="2218307"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Phone number</a:t>
            </a:r>
          </a:p>
        </p:txBody>
      </p:sp>
      <p:sp>
        <p:nvSpPr>
          <p:cNvPr id="34" name="Text Placeholder 5"/>
          <p:cNvSpPr>
            <a:spLocks noGrp="1"/>
          </p:cNvSpPr>
          <p:nvPr>
            <p:ph type="body" sz="quarter" idx="28" hasCustomPrompt="1"/>
          </p:nvPr>
        </p:nvSpPr>
        <p:spPr>
          <a:xfrm>
            <a:off x="8946800" y="3128395"/>
            <a:ext cx="2218307"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Email address</a:t>
            </a:r>
          </a:p>
        </p:txBody>
      </p:sp>
      <p:grpSp>
        <p:nvGrpSpPr>
          <p:cNvPr id="35" name="Gruppieren 2">
            <a:extLst>
              <a:ext uri="{FF2B5EF4-FFF2-40B4-BE49-F238E27FC236}">
                <a16:creationId xmlns:a16="http://schemas.microsoft.com/office/drawing/2014/main" id="{BE697CE9-EBDE-6B4A-BE70-582D92A8A831}"/>
              </a:ext>
            </a:extLst>
          </p:cNvPr>
          <p:cNvGrpSpPr/>
          <p:nvPr/>
        </p:nvGrpSpPr>
        <p:grpSpPr>
          <a:xfrm>
            <a:off x="3770065" y="5045939"/>
            <a:ext cx="171180" cy="171180"/>
            <a:chOff x="3392092" y="1841122"/>
            <a:chExt cx="646508" cy="646508"/>
          </a:xfrm>
        </p:grpSpPr>
        <p:sp>
          <p:nvSpPr>
            <p:cNvPr id="36" name="Rechteck 14">
              <a:extLst>
                <a:ext uri="{FF2B5EF4-FFF2-40B4-BE49-F238E27FC236}">
                  <a16:creationId xmlns:a16="http://schemas.microsoft.com/office/drawing/2014/main" id="{E142A731-19B7-C34D-9534-9E05108F895F}"/>
                </a:ext>
              </a:extLst>
            </p:cNvPr>
            <p:cNvSpPr>
              <a:spLocks noChangeAspect="1"/>
            </p:cNvSpPr>
            <p:nvPr/>
          </p:nvSpPr>
          <p:spPr bwMode="gray">
            <a:xfrm>
              <a:off x="3392092" y="1841122"/>
              <a:ext cx="646508" cy="646508"/>
            </a:xfrm>
            <a:prstGeom prst="rect">
              <a:avLst/>
            </a:prstGeom>
            <a:solidFill>
              <a:srgbClr val="E55A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pPr>
              <a:endParaRPr lang="en-US" sz="1000">
                <a:solidFill>
                  <a:schemeClr val="tx1"/>
                </a:solidFill>
                <a:latin typeface="Arial" pitchFamily="34" charset="0"/>
                <a:cs typeface="Arial" pitchFamily="34" charset="0"/>
              </a:endParaRPr>
            </a:p>
          </p:txBody>
        </p:sp>
        <p:sp>
          <p:nvSpPr>
            <p:cNvPr id="37" name="Freeform 36">
              <a:extLst>
                <a:ext uri="{FF2B5EF4-FFF2-40B4-BE49-F238E27FC236}">
                  <a16:creationId xmlns:a16="http://schemas.microsoft.com/office/drawing/2014/main" id="{F97E84AE-4AD9-4B44-9AA1-F797FC373809}"/>
                </a:ext>
              </a:extLst>
            </p:cNvPr>
            <p:cNvSpPr>
              <a:spLocks noChangeAspect="1"/>
            </p:cNvSpPr>
            <p:nvPr/>
          </p:nvSpPr>
          <p:spPr bwMode="auto">
            <a:xfrm>
              <a:off x="3546638" y="1970424"/>
              <a:ext cx="337415" cy="387905"/>
            </a:xfrm>
            <a:custGeom>
              <a:avLst/>
              <a:gdLst>
                <a:gd name="T0" fmla="*/ 573 w 1624"/>
                <a:gd name="T1" fmla="*/ 1257 h 1867"/>
                <a:gd name="T2" fmla="*/ 662 w 1624"/>
                <a:gd name="T3" fmla="*/ 1288 h 1867"/>
                <a:gd name="T4" fmla="*/ 938 w 1624"/>
                <a:gd name="T5" fmla="*/ 1051 h 1867"/>
                <a:gd name="T6" fmla="*/ 1106 w 1624"/>
                <a:gd name="T7" fmla="*/ 731 h 1867"/>
                <a:gd name="T8" fmla="*/ 1059 w 1624"/>
                <a:gd name="T9" fmla="*/ 645 h 1867"/>
                <a:gd name="T10" fmla="*/ 1001 w 1624"/>
                <a:gd name="T11" fmla="*/ 613 h 1867"/>
                <a:gd name="T12" fmla="*/ 924 w 1624"/>
                <a:gd name="T13" fmla="*/ 432 h 1867"/>
                <a:gd name="T14" fmla="*/ 1114 w 1624"/>
                <a:gd name="T15" fmla="*/ 81 h 1867"/>
                <a:gd name="T16" fmla="*/ 1287 w 1624"/>
                <a:gd name="T17" fmla="*/ 35 h 1867"/>
                <a:gd name="T18" fmla="*/ 1350 w 1624"/>
                <a:gd name="T19" fmla="*/ 69 h 1867"/>
                <a:gd name="T20" fmla="*/ 1527 w 1624"/>
                <a:gd name="T21" fmla="*/ 235 h 1867"/>
                <a:gd name="T22" fmla="*/ 1583 w 1624"/>
                <a:gd name="T23" fmla="*/ 555 h 1867"/>
                <a:gd name="T24" fmla="*/ 1172 w 1624"/>
                <a:gd name="T25" fmla="*/ 1253 h 1867"/>
                <a:gd name="T26" fmla="*/ 586 w 1624"/>
                <a:gd name="T27" fmla="*/ 1803 h 1867"/>
                <a:gd name="T28" fmla="*/ 269 w 1624"/>
                <a:gd name="T29" fmla="*/ 1807 h 1867"/>
                <a:gd name="T30" fmla="*/ 33 w 1624"/>
                <a:gd name="T31" fmla="*/ 1602 h 1867"/>
                <a:gd name="T32" fmla="*/ 2 w 1624"/>
                <a:gd name="T33" fmla="*/ 1508 h 1867"/>
                <a:gd name="T34" fmla="*/ 45 w 1624"/>
                <a:gd name="T35" fmla="*/ 1421 h 1867"/>
                <a:gd name="T36" fmla="*/ 346 w 1624"/>
                <a:gd name="T37" fmla="*/ 1158 h 1867"/>
                <a:gd name="T38" fmla="*/ 448 w 1624"/>
                <a:gd name="T39" fmla="*/ 1145 h 1867"/>
                <a:gd name="T40" fmla="*/ 573 w 1624"/>
                <a:gd name="T41" fmla="*/ 1257 h 18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24" h="1867">
                  <a:moveTo>
                    <a:pt x="573" y="1257"/>
                  </a:moveTo>
                  <a:cubicBezTo>
                    <a:pt x="592" y="1282"/>
                    <a:pt x="630" y="1303"/>
                    <a:pt x="662" y="1288"/>
                  </a:cubicBezTo>
                  <a:cubicBezTo>
                    <a:pt x="753" y="1245"/>
                    <a:pt x="854" y="1156"/>
                    <a:pt x="938" y="1051"/>
                  </a:cubicBezTo>
                  <a:cubicBezTo>
                    <a:pt x="1020" y="948"/>
                    <a:pt x="1084" y="831"/>
                    <a:pt x="1106" y="731"/>
                  </a:cubicBezTo>
                  <a:cubicBezTo>
                    <a:pt x="1113" y="696"/>
                    <a:pt x="1089" y="661"/>
                    <a:pt x="1059" y="645"/>
                  </a:cubicBezTo>
                  <a:cubicBezTo>
                    <a:pt x="1001" y="613"/>
                    <a:pt x="1001" y="613"/>
                    <a:pt x="1001" y="613"/>
                  </a:cubicBezTo>
                  <a:cubicBezTo>
                    <a:pt x="942" y="580"/>
                    <a:pt x="888" y="499"/>
                    <a:pt x="924" y="432"/>
                  </a:cubicBezTo>
                  <a:cubicBezTo>
                    <a:pt x="1114" y="81"/>
                    <a:pt x="1114" y="81"/>
                    <a:pt x="1114" y="81"/>
                  </a:cubicBezTo>
                  <a:cubicBezTo>
                    <a:pt x="1150" y="16"/>
                    <a:pt x="1224" y="0"/>
                    <a:pt x="1287" y="35"/>
                  </a:cubicBezTo>
                  <a:cubicBezTo>
                    <a:pt x="1350" y="69"/>
                    <a:pt x="1350" y="69"/>
                    <a:pt x="1350" y="69"/>
                  </a:cubicBezTo>
                  <a:cubicBezTo>
                    <a:pt x="1415" y="105"/>
                    <a:pt x="1479" y="165"/>
                    <a:pt x="1527" y="235"/>
                  </a:cubicBezTo>
                  <a:cubicBezTo>
                    <a:pt x="1593" y="332"/>
                    <a:pt x="1624" y="442"/>
                    <a:pt x="1583" y="555"/>
                  </a:cubicBezTo>
                  <a:cubicBezTo>
                    <a:pt x="1500" y="781"/>
                    <a:pt x="1351" y="1030"/>
                    <a:pt x="1172" y="1253"/>
                  </a:cubicBezTo>
                  <a:cubicBezTo>
                    <a:pt x="994" y="1477"/>
                    <a:pt x="786" y="1676"/>
                    <a:pt x="586" y="1803"/>
                  </a:cubicBezTo>
                  <a:cubicBezTo>
                    <a:pt x="486" y="1867"/>
                    <a:pt x="375" y="1856"/>
                    <a:pt x="269" y="1807"/>
                  </a:cubicBezTo>
                  <a:cubicBezTo>
                    <a:pt x="157" y="1755"/>
                    <a:pt x="106" y="1695"/>
                    <a:pt x="33" y="1602"/>
                  </a:cubicBezTo>
                  <a:cubicBezTo>
                    <a:pt x="11" y="1573"/>
                    <a:pt x="0" y="1540"/>
                    <a:pt x="2" y="1508"/>
                  </a:cubicBezTo>
                  <a:cubicBezTo>
                    <a:pt x="4" y="1475"/>
                    <a:pt x="18" y="1444"/>
                    <a:pt x="45" y="1421"/>
                  </a:cubicBezTo>
                  <a:cubicBezTo>
                    <a:pt x="70" y="1399"/>
                    <a:pt x="346" y="1158"/>
                    <a:pt x="346" y="1158"/>
                  </a:cubicBezTo>
                  <a:cubicBezTo>
                    <a:pt x="376" y="1134"/>
                    <a:pt x="413" y="1133"/>
                    <a:pt x="448" y="1145"/>
                  </a:cubicBezTo>
                  <a:cubicBezTo>
                    <a:pt x="510" y="1166"/>
                    <a:pt x="536" y="1210"/>
                    <a:pt x="573" y="1257"/>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351"/>
            </a:p>
          </p:txBody>
        </p:sp>
      </p:grpSp>
      <p:grpSp>
        <p:nvGrpSpPr>
          <p:cNvPr id="38" name="Group 3">
            <a:extLst>
              <a:ext uri="{FF2B5EF4-FFF2-40B4-BE49-F238E27FC236}">
                <a16:creationId xmlns:a16="http://schemas.microsoft.com/office/drawing/2014/main" id="{7104BADD-8CD1-6F4A-B894-869C3BDB3EEB}"/>
              </a:ext>
            </a:extLst>
          </p:cNvPr>
          <p:cNvGrpSpPr>
            <a:grpSpLocks noChangeAspect="1"/>
          </p:cNvGrpSpPr>
          <p:nvPr>
            <p:custDataLst>
              <p:tags r:id="rId3"/>
            </p:custDataLst>
          </p:nvPr>
        </p:nvGrpSpPr>
        <p:grpSpPr>
          <a:xfrm>
            <a:off x="3770066" y="5330827"/>
            <a:ext cx="171180" cy="171180"/>
            <a:chOff x="328396" y="5313940"/>
            <a:chExt cx="720000" cy="720000"/>
          </a:xfrm>
        </p:grpSpPr>
        <p:sp>
          <p:nvSpPr>
            <p:cNvPr id="39" name="Rectangle 4">
              <a:extLst>
                <a:ext uri="{FF2B5EF4-FFF2-40B4-BE49-F238E27FC236}">
                  <a16:creationId xmlns:a16="http://schemas.microsoft.com/office/drawing/2014/main" id="{74BE3D5F-1445-6E40-8B49-72E15568383B}"/>
                </a:ext>
              </a:extLst>
            </p:cNvPr>
            <p:cNvSpPr/>
            <p:nvPr/>
          </p:nvSpPr>
          <p:spPr bwMode="gray">
            <a:xfrm>
              <a:off x="328396" y="5313940"/>
              <a:ext cx="720000" cy="720000"/>
            </a:xfrm>
            <a:prstGeom prst="rect">
              <a:avLst/>
            </a:prstGeom>
            <a:solidFill>
              <a:srgbClr val="E55A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pPr>
              <a:endParaRPr lang="en-US" sz="1000">
                <a:solidFill>
                  <a:schemeClr val="tx1"/>
                </a:solidFill>
                <a:latin typeface="Arial" pitchFamily="34" charset="0"/>
                <a:cs typeface="Arial" pitchFamily="34" charset="0"/>
              </a:endParaRPr>
            </a:p>
          </p:txBody>
        </p:sp>
        <p:sp>
          <p:nvSpPr>
            <p:cNvPr id="40" name="Freeform 76">
              <a:extLst>
                <a:ext uri="{FF2B5EF4-FFF2-40B4-BE49-F238E27FC236}">
                  <a16:creationId xmlns:a16="http://schemas.microsoft.com/office/drawing/2014/main" id="{55DB3C95-7D0C-D141-901E-96D692794D2B}"/>
                </a:ext>
              </a:extLst>
            </p:cNvPr>
            <p:cNvSpPr>
              <a:spLocks noChangeAspect="1" noEditPoints="1"/>
            </p:cNvSpPr>
            <p:nvPr/>
          </p:nvSpPr>
          <p:spPr bwMode="auto">
            <a:xfrm>
              <a:off x="456202" y="5509222"/>
              <a:ext cx="504000" cy="329436"/>
            </a:xfrm>
            <a:custGeom>
              <a:avLst/>
              <a:gdLst>
                <a:gd name="T0" fmla="*/ 0 w 2080"/>
                <a:gd name="T1" fmla="*/ 65 h 1360"/>
                <a:gd name="T2" fmla="*/ 0 w 2080"/>
                <a:gd name="T3" fmla="*/ 0 h 1360"/>
                <a:gd name="T4" fmla="*/ 2080 w 2080"/>
                <a:gd name="T5" fmla="*/ 0 h 1360"/>
                <a:gd name="T6" fmla="*/ 2080 w 2080"/>
                <a:gd name="T7" fmla="*/ 65 h 1360"/>
                <a:gd name="T8" fmla="*/ 1089 w 2080"/>
                <a:gd name="T9" fmla="*/ 862 h 1360"/>
                <a:gd name="T10" fmla="*/ 991 w 2080"/>
                <a:gd name="T11" fmla="*/ 862 h 1360"/>
                <a:gd name="T12" fmla="*/ 0 w 2080"/>
                <a:gd name="T13" fmla="*/ 65 h 1360"/>
                <a:gd name="T14" fmla="*/ 1139 w 2080"/>
                <a:gd name="T15" fmla="*/ 924 h 1360"/>
                <a:gd name="T16" fmla="*/ 1282 w 2080"/>
                <a:gd name="T17" fmla="*/ 810 h 1360"/>
                <a:gd name="T18" fmla="*/ 2076 w 2080"/>
                <a:gd name="T19" fmla="*/ 1360 h 1360"/>
                <a:gd name="T20" fmla="*/ 4 w 2080"/>
                <a:gd name="T21" fmla="*/ 1360 h 1360"/>
                <a:gd name="T22" fmla="*/ 798 w 2080"/>
                <a:gd name="T23" fmla="*/ 810 h 1360"/>
                <a:gd name="T24" fmla="*/ 941 w 2080"/>
                <a:gd name="T25" fmla="*/ 924 h 1360"/>
                <a:gd name="T26" fmla="*/ 1139 w 2080"/>
                <a:gd name="T27" fmla="*/ 924 h 1360"/>
                <a:gd name="T28" fmla="*/ 2 w 2080"/>
                <a:gd name="T29" fmla="*/ 137 h 1360"/>
                <a:gd name="T30" fmla="*/ 42 w 2080"/>
                <a:gd name="T31" fmla="*/ 201 h 1360"/>
                <a:gd name="T32" fmla="*/ 734 w 2080"/>
                <a:gd name="T33" fmla="*/ 758 h 1360"/>
                <a:gd name="T34" fmla="*/ 0 w 2080"/>
                <a:gd name="T35" fmla="*/ 1266 h 1360"/>
                <a:gd name="T36" fmla="*/ 0 w 2080"/>
                <a:gd name="T37" fmla="*/ 135 h 1360"/>
                <a:gd name="T38" fmla="*/ 2 w 2080"/>
                <a:gd name="T39" fmla="*/ 137 h 1360"/>
                <a:gd name="T40" fmla="*/ 2080 w 2080"/>
                <a:gd name="T41" fmla="*/ 136 h 1360"/>
                <a:gd name="T42" fmla="*/ 2080 w 2080"/>
                <a:gd name="T43" fmla="*/ 1265 h 1360"/>
                <a:gd name="T44" fmla="*/ 1346 w 2080"/>
                <a:gd name="T45" fmla="*/ 758 h 1360"/>
                <a:gd name="T46" fmla="*/ 2038 w 2080"/>
                <a:gd name="T47" fmla="*/ 201 h 1360"/>
                <a:gd name="T48" fmla="*/ 2080 w 2080"/>
                <a:gd name="T49" fmla="*/ 136 h 1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080" h="1360">
                  <a:moveTo>
                    <a:pt x="0" y="65"/>
                  </a:moveTo>
                  <a:cubicBezTo>
                    <a:pt x="0" y="0"/>
                    <a:pt x="0" y="0"/>
                    <a:pt x="0" y="0"/>
                  </a:cubicBezTo>
                  <a:cubicBezTo>
                    <a:pt x="2080" y="0"/>
                    <a:pt x="2080" y="0"/>
                    <a:pt x="2080" y="0"/>
                  </a:cubicBezTo>
                  <a:cubicBezTo>
                    <a:pt x="2080" y="65"/>
                    <a:pt x="2080" y="65"/>
                    <a:pt x="2080" y="65"/>
                  </a:cubicBezTo>
                  <a:cubicBezTo>
                    <a:pt x="1089" y="862"/>
                    <a:pt x="1089" y="862"/>
                    <a:pt x="1089" y="862"/>
                  </a:cubicBezTo>
                  <a:cubicBezTo>
                    <a:pt x="1060" y="886"/>
                    <a:pt x="1020" y="886"/>
                    <a:pt x="991" y="862"/>
                  </a:cubicBezTo>
                  <a:lnTo>
                    <a:pt x="0" y="65"/>
                  </a:lnTo>
                  <a:close/>
                  <a:moveTo>
                    <a:pt x="1139" y="924"/>
                  </a:moveTo>
                  <a:cubicBezTo>
                    <a:pt x="1282" y="810"/>
                    <a:pt x="1282" y="810"/>
                    <a:pt x="1282" y="810"/>
                  </a:cubicBezTo>
                  <a:cubicBezTo>
                    <a:pt x="2076" y="1360"/>
                    <a:pt x="2076" y="1360"/>
                    <a:pt x="2076" y="1360"/>
                  </a:cubicBezTo>
                  <a:cubicBezTo>
                    <a:pt x="4" y="1360"/>
                    <a:pt x="4" y="1360"/>
                    <a:pt x="4" y="1360"/>
                  </a:cubicBezTo>
                  <a:cubicBezTo>
                    <a:pt x="798" y="810"/>
                    <a:pt x="798" y="810"/>
                    <a:pt x="798" y="810"/>
                  </a:cubicBezTo>
                  <a:cubicBezTo>
                    <a:pt x="941" y="924"/>
                    <a:pt x="941" y="924"/>
                    <a:pt x="941" y="924"/>
                  </a:cubicBezTo>
                  <a:cubicBezTo>
                    <a:pt x="1000" y="972"/>
                    <a:pt x="1080" y="972"/>
                    <a:pt x="1139" y="924"/>
                  </a:cubicBezTo>
                  <a:close/>
                  <a:moveTo>
                    <a:pt x="2" y="137"/>
                  </a:moveTo>
                  <a:cubicBezTo>
                    <a:pt x="8" y="163"/>
                    <a:pt x="22" y="185"/>
                    <a:pt x="42" y="201"/>
                  </a:cubicBezTo>
                  <a:cubicBezTo>
                    <a:pt x="734" y="758"/>
                    <a:pt x="734" y="758"/>
                    <a:pt x="734" y="758"/>
                  </a:cubicBezTo>
                  <a:cubicBezTo>
                    <a:pt x="0" y="1266"/>
                    <a:pt x="0" y="1266"/>
                    <a:pt x="0" y="1266"/>
                  </a:cubicBezTo>
                  <a:cubicBezTo>
                    <a:pt x="0" y="135"/>
                    <a:pt x="0" y="135"/>
                    <a:pt x="0" y="135"/>
                  </a:cubicBezTo>
                  <a:lnTo>
                    <a:pt x="2" y="137"/>
                  </a:lnTo>
                  <a:close/>
                  <a:moveTo>
                    <a:pt x="2080" y="136"/>
                  </a:moveTo>
                  <a:cubicBezTo>
                    <a:pt x="2080" y="1265"/>
                    <a:pt x="2080" y="1265"/>
                    <a:pt x="2080" y="1265"/>
                  </a:cubicBezTo>
                  <a:cubicBezTo>
                    <a:pt x="1346" y="758"/>
                    <a:pt x="1346" y="758"/>
                    <a:pt x="1346" y="758"/>
                  </a:cubicBezTo>
                  <a:cubicBezTo>
                    <a:pt x="2038" y="201"/>
                    <a:pt x="2038" y="201"/>
                    <a:pt x="2038" y="201"/>
                  </a:cubicBezTo>
                  <a:cubicBezTo>
                    <a:pt x="2060" y="182"/>
                    <a:pt x="2072" y="162"/>
                    <a:pt x="2080" y="13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000"/>
            </a:p>
          </p:txBody>
        </p:sp>
      </p:grpSp>
      <p:cxnSp>
        <p:nvCxnSpPr>
          <p:cNvPr id="41" name="Straight Connector 40"/>
          <p:cNvCxnSpPr/>
          <p:nvPr/>
        </p:nvCxnSpPr>
        <p:spPr>
          <a:xfrm>
            <a:off x="2355914" y="5655833"/>
            <a:ext cx="3888000" cy="0"/>
          </a:xfrm>
          <a:prstGeom prst="line">
            <a:avLst/>
          </a:prstGeom>
          <a:ln w="6350">
            <a:solidFill>
              <a:schemeClr val="tx2"/>
            </a:solidFill>
            <a:prstDash val="dash"/>
          </a:ln>
        </p:spPr>
        <p:style>
          <a:lnRef idx="1">
            <a:schemeClr val="accent1"/>
          </a:lnRef>
          <a:fillRef idx="0">
            <a:schemeClr val="accent1"/>
          </a:fillRef>
          <a:effectRef idx="0">
            <a:schemeClr val="accent1"/>
          </a:effectRef>
          <a:fontRef idx="minor">
            <a:schemeClr val="tx1"/>
          </a:fontRef>
        </p:style>
      </p:cxnSp>
      <p:sp>
        <p:nvSpPr>
          <p:cNvPr id="42" name="Picture Placeholder 3"/>
          <p:cNvSpPr>
            <a:spLocks noGrp="1"/>
          </p:cNvSpPr>
          <p:nvPr>
            <p:ph type="pic" sz="quarter" idx="29" hasCustomPrompt="1"/>
          </p:nvPr>
        </p:nvSpPr>
        <p:spPr>
          <a:xfrm>
            <a:off x="2355914" y="3986604"/>
            <a:ext cx="1188677" cy="1547840"/>
          </a:xfrm>
          <a:solidFill>
            <a:srgbClr val="D9DADB"/>
          </a:solidFill>
        </p:spPr>
        <p:txBody>
          <a:bodyPr/>
          <a:lstStyle>
            <a:lvl1pPr marL="0" indent="0">
              <a:buNone/>
              <a:defRPr sz="1400"/>
            </a:lvl1pPr>
          </a:lstStyle>
          <a:p>
            <a:r>
              <a:rPr lang="en-US"/>
              <a:t>Insert picture</a:t>
            </a:r>
          </a:p>
        </p:txBody>
      </p:sp>
      <p:sp>
        <p:nvSpPr>
          <p:cNvPr id="43" name="Text Placeholder 5"/>
          <p:cNvSpPr>
            <a:spLocks noGrp="1"/>
          </p:cNvSpPr>
          <p:nvPr>
            <p:ph type="body" sz="quarter" idx="30" hasCustomPrompt="1"/>
          </p:nvPr>
        </p:nvSpPr>
        <p:spPr>
          <a:xfrm>
            <a:off x="3770065" y="3986141"/>
            <a:ext cx="2463190" cy="192360"/>
          </a:xfrm>
        </p:spPr>
        <p:txBody>
          <a:bodyPr lIns="0" tIns="0" rIns="0" bIns="0" anchor="ctr" anchorCtr="0"/>
          <a:lstStyle>
            <a:lvl1pPr marL="0" indent="0" algn="l">
              <a:lnSpc>
                <a:spcPct val="100000"/>
              </a:lnSpc>
              <a:buNone/>
              <a:defRPr sz="100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Country</a:t>
            </a:r>
          </a:p>
        </p:txBody>
      </p:sp>
      <p:sp>
        <p:nvSpPr>
          <p:cNvPr id="44" name="Text Placeholder 5"/>
          <p:cNvSpPr>
            <a:spLocks noGrp="1"/>
          </p:cNvSpPr>
          <p:nvPr>
            <p:ph type="body" sz="quarter" idx="31" hasCustomPrompt="1"/>
          </p:nvPr>
        </p:nvSpPr>
        <p:spPr>
          <a:xfrm>
            <a:off x="3770065" y="4197957"/>
            <a:ext cx="2463190" cy="266182"/>
          </a:xfrm>
        </p:spPr>
        <p:txBody>
          <a:bodyPr lIns="0" tIns="0" rIns="0" bIns="0" anchor="b" anchorCtr="0"/>
          <a:lstStyle>
            <a:lvl1pPr marL="0" indent="0" algn="l">
              <a:lnSpc>
                <a:spcPct val="100000"/>
              </a:lnSpc>
              <a:buNone/>
              <a:defRPr sz="1400" b="1" baseline="0">
                <a:solidFill>
                  <a:schemeClr val="tx2"/>
                </a:solidFill>
              </a:defRPr>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Name, Surname</a:t>
            </a:r>
          </a:p>
        </p:txBody>
      </p:sp>
      <p:sp>
        <p:nvSpPr>
          <p:cNvPr id="45" name="Text Placeholder 5"/>
          <p:cNvSpPr>
            <a:spLocks noGrp="1"/>
          </p:cNvSpPr>
          <p:nvPr>
            <p:ph type="body" sz="quarter" idx="32" hasCustomPrompt="1"/>
          </p:nvPr>
        </p:nvSpPr>
        <p:spPr>
          <a:xfrm>
            <a:off x="3770065" y="4494532"/>
            <a:ext cx="2463190"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Job Position</a:t>
            </a:r>
          </a:p>
        </p:txBody>
      </p:sp>
      <p:sp>
        <p:nvSpPr>
          <p:cNvPr id="46" name="Text Placeholder 5"/>
          <p:cNvSpPr>
            <a:spLocks noGrp="1"/>
          </p:cNvSpPr>
          <p:nvPr>
            <p:ph type="body" sz="quarter" idx="33" hasCustomPrompt="1"/>
          </p:nvPr>
        </p:nvSpPr>
        <p:spPr>
          <a:xfrm>
            <a:off x="4014948" y="5023208"/>
            <a:ext cx="2218307"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Phone number</a:t>
            </a:r>
          </a:p>
        </p:txBody>
      </p:sp>
      <p:sp>
        <p:nvSpPr>
          <p:cNvPr id="47" name="Text Placeholder 5"/>
          <p:cNvSpPr>
            <a:spLocks noGrp="1"/>
          </p:cNvSpPr>
          <p:nvPr>
            <p:ph type="body" sz="quarter" idx="34" hasCustomPrompt="1"/>
          </p:nvPr>
        </p:nvSpPr>
        <p:spPr>
          <a:xfrm>
            <a:off x="4014948" y="5306015"/>
            <a:ext cx="2218307"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Email address</a:t>
            </a:r>
          </a:p>
        </p:txBody>
      </p:sp>
      <p:grpSp>
        <p:nvGrpSpPr>
          <p:cNvPr id="48" name="Gruppieren 2">
            <a:extLst>
              <a:ext uri="{FF2B5EF4-FFF2-40B4-BE49-F238E27FC236}">
                <a16:creationId xmlns:a16="http://schemas.microsoft.com/office/drawing/2014/main" id="{BE697CE9-EBDE-6B4A-BE70-582D92A8A831}"/>
              </a:ext>
            </a:extLst>
          </p:cNvPr>
          <p:cNvGrpSpPr/>
          <p:nvPr/>
        </p:nvGrpSpPr>
        <p:grpSpPr>
          <a:xfrm>
            <a:off x="8701917" y="5043528"/>
            <a:ext cx="171180" cy="171180"/>
            <a:chOff x="3392092" y="1841122"/>
            <a:chExt cx="646508" cy="646508"/>
          </a:xfrm>
        </p:grpSpPr>
        <p:sp>
          <p:nvSpPr>
            <p:cNvPr id="49" name="Rechteck 14">
              <a:extLst>
                <a:ext uri="{FF2B5EF4-FFF2-40B4-BE49-F238E27FC236}">
                  <a16:creationId xmlns:a16="http://schemas.microsoft.com/office/drawing/2014/main" id="{E142A731-19B7-C34D-9534-9E05108F895F}"/>
                </a:ext>
              </a:extLst>
            </p:cNvPr>
            <p:cNvSpPr>
              <a:spLocks noChangeAspect="1"/>
            </p:cNvSpPr>
            <p:nvPr/>
          </p:nvSpPr>
          <p:spPr bwMode="gray">
            <a:xfrm>
              <a:off x="3392092" y="1841122"/>
              <a:ext cx="646508" cy="646508"/>
            </a:xfrm>
            <a:prstGeom prst="rect">
              <a:avLst/>
            </a:prstGeom>
            <a:solidFill>
              <a:srgbClr val="E55A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pPr>
              <a:endParaRPr lang="en-US" sz="1000">
                <a:solidFill>
                  <a:schemeClr val="tx1"/>
                </a:solidFill>
                <a:latin typeface="Arial" pitchFamily="34" charset="0"/>
                <a:cs typeface="Arial" pitchFamily="34" charset="0"/>
              </a:endParaRPr>
            </a:p>
          </p:txBody>
        </p:sp>
        <p:sp>
          <p:nvSpPr>
            <p:cNvPr id="50" name="Freeform 49">
              <a:extLst>
                <a:ext uri="{FF2B5EF4-FFF2-40B4-BE49-F238E27FC236}">
                  <a16:creationId xmlns:a16="http://schemas.microsoft.com/office/drawing/2014/main" id="{F97E84AE-4AD9-4B44-9AA1-F797FC373809}"/>
                </a:ext>
              </a:extLst>
            </p:cNvPr>
            <p:cNvSpPr>
              <a:spLocks noChangeAspect="1"/>
            </p:cNvSpPr>
            <p:nvPr/>
          </p:nvSpPr>
          <p:spPr bwMode="auto">
            <a:xfrm>
              <a:off x="3546638" y="1970424"/>
              <a:ext cx="337415" cy="387905"/>
            </a:xfrm>
            <a:custGeom>
              <a:avLst/>
              <a:gdLst>
                <a:gd name="T0" fmla="*/ 573 w 1624"/>
                <a:gd name="T1" fmla="*/ 1257 h 1867"/>
                <a:gd name="T2" fmla="*/ 662 w 1624"/>
                <a:gd name="T3" fmla="*/ 1288 h 1867"/>
                <a:gd name="T4" fmla="*/ 938 w 1624"/>
                <a:gd name="T5" fmla="*/ 1051 h 1867"/>
                <a:gd name="T6" fmla="*/ 1106 w 1624"/>
                <a:gd name="T7" fmla="*/ 731 h 1867"/>
                <a:gd name="T8" fmla="*/ 1059 w 1624"/>
                <a:gd name="T9" fmla="*/ 645 h 1867"/>
                <a:gd name="T10" fmla="*/ 1001 w 1624"/>
                <a:gd name="T11" fmla="*/ 613 h 1867"/>
                <a:gd name="T12" fmla="*/ 924 w 1624"/>
                <a:gd name="T13" fmla="*/ 432 h 1867"/>
                <a:gd name="T14" fmla="*/ 1114 w 1624"/>
                <a:gd name="T15" fmla="*/ 81 h 1867"/>
                <a:gd name="T16" fmla="*/ 1287 w 1624"/>
                <a:gd name="T17" fmla="*/ 35 h 1867"/>
                <a:gd name="T18" fmla="*/ 1350 w 1624"/>
                <a:gd name="T19" fmla="*/ 69 h 1867"/>
                <a:gd name="T20" fmla="*/ 1527 w 1624"/>
                <a:gd name="T21" fmla="*/ 235 h 1867"/>
                <a:gd name="T22" fmla="*/ 1583 w 1624"/>
                <a:gd name="T23" fmla="*/ 555 h 1867"/>
                <a:gd name="T24" fmla="*/ 1172 w 1624"/>
                <a:gd name="T25" fmla="*/ 1253 h 1867"/>
                <a:gd name="T26" fmla="*/ 586 w 1624"/>
                <a:gd name="T27" fmla="*/ 1803 h 1867"/>
                <a:gd name="T28" fmla="*/ 269 w 1624"/>
                <a:gd name="T29" fmla="*/ 1807 h 1867"/>
                <a:gd name="T30" fmla="*/ 33 w 1624"/>
                <a:gd name="T31" fmla="*/ 1602 h 1867"/>
                <a:gd name="T32" fmla="*/ 2 w 1624"/>
                <a:gd name="T33" fmla="*/ 1508 h 1867"/>
                <a:gd name="T34" fmla="*/ 45 w 1624"/>
                <a:gd name="T35" fmla="*/ 1421 h 1867"/>
                <a:gd name="T36" fmla="*/ 346 w 1624"/>
                <a:gd name="T37" fmla="*/ 1158 h 1867"/>
                <a:gd name="T38" fmla="*/ 448 w 1624"/>
                <a:gd name="T39" fmla="*/ 1145 h 1867"/>
                <a:gd name="T40" fmla="*/ 573 w 1624"/>
                <a:gd name="T41" fmla="*/ 1257 h 18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24" h="1867">
                  <a:moveTo>
                    <a:pt x="573" y="1257"/>
                  </a:moveTo>
                  <a:cubicBezTo>
                    <a:pt x="592" y="1282"/>
                    <a:pt x="630" y="1303"/>
                    <a:pt x="662" y="1288"/>
                  </a:cubicBezTo>
                  <a:cubicBezTo>
                    <a:pt x="753" y="1245"/>
                    <a:pt x="854" y="1156"/>
                    <a:pt x="938" y="1051"/>
                  </a:cubicBezTo>
                  <a:cubicBezTo>
                    <a:pt x="1020" y="948"/>
                    <a:pt x="1084" y="831"/>
                    <a:pt x="1106" y="731"/>
                  </a:cubicBezTo>
                  <a:cubicBezTo>
                    <a:pt x="1113" y="696"/>
                    <a:pt x="1089" y="661"/>
                    <a:pt x="1059" y="645"/>
                  </a:cubicBezTo>
                  <a:cubicBezTo>
                    <a:pt x="1001" y="613"/>
                    <a:pt x="1001" y="613"/>
                    <a:pt x="1001" y="613"/>
                  </a:cubicBezTo>
                  <a:cubicBezTo>
                    <a:pt x="942" y="580"/>
                    <a:pt x="888" y="499"/>
                    <a:pt x="924" y="432"/>
                  </a:cubicBezTo>
                  <a:cubicBezTo>
                    <a:pt x="1114" y="81"/>
                    <a:pt x="1114" y="81"/>
                    <a:pt x="1114" y="81"/>
                  </a:cubicBezTo>
                  <a:cubicBezTo>
                    <a:pt x="1150" y="16"/>
                    <a:pt x="1224" y="0"/>
                    <a:pt x="1287" y="35"/>
                  </a:cubicBezTo>
                  <a:cubicBezTo>
                    <a:pt x="1350" y="69"/>
                    <a:pt x="1350" y="69"/>
                    <a:pt x="1350" y="69"/>
                  </a:cubicBezTo>
                  <a:cubicBezTo>
                    <a:pt x="1415" y="105"/>
                    <a:pt x="1479" y="165"/>
                    <a:pt x="1527" y="235"/>
                  </a:cubicBezTo>
                  <a:cubicBezTo>
                    <a:pt x="1593" y="332"/>
                    <a:pt x="1624" y="442"/>
                    <a:pt x="1583" y="555"/>
                  </a:cubicBezTo>
                  <a:cubicBezTo>
                    <a:pt x="1500" y="781"/>
                    <a:pt x="1351" y="1030"/>
                    <a:pt x="1172" y="1253"/>
                  </a:cubicBezTo>
                  <a:cubicBezTo>
                    <a:pt x="994" y="1477"/>
                    <a:pt x="786" y="1676"/>
                    <a:pt x="586" y="1803"/>
                  </a:cubicBezTo>
                  <a:cubicBezTo>
                    <a:pt x="486" y="1867"/>
                    <a:pt x="375" y="1856"/>
                    <a:pt x="269" y="1807"/>
                  </a:cubicBezTo>
                  <a:cubicBezTo>
                    <a:pt x="157" y="1755"/>
                    <a:pt x="106" y="1695"/>
                    <a:pt x="33" y="1602"/>
                  </a:cubicBezTo>
                  <a:cubicBezTo>
                    <a:pt x="11" y="1573"/>
                    <a:pt x="0" y="1540"/>
                    <a:pt x="2" y="1508"/>
                  </a:cubicBezTo>
                  <a:cubicBezTo>
                    <a:pt x="4" y="1475"/>
                    <a:pt x="18" y="1444"/>
                    <a:pt x="45" y="1421"/>
                  </a:cubicBezTo>
                  <a:cubicBezTo>
                    <a:pt x="70" y="1399"/>
                    <a:pt x="346" y="1158"/>
                    <a:pt x="346" y="1158"/>
                  </a:cubicBezTo>
                  <a:cubicBezTo>
                    <a:pt x="376" y="1134"/>
                    <a:pt x="413" y="1133"/>
                    <a:pt x="448" y="1145"/>
                  </a:cubicBezTo>
                  <a:cubicBezTo>
                    <a:pt x="510" y="1166"/>
                    <a:pt x="536" y="1210"/>
                    <a:pt x="573" y="1257"/>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351"/>
            </a:p>
          </p:txBody>
        </p:sp>
      </p:grpSp>
      <p:grpSp>
        <p:nvGrpSpPr>
          <p:cNvPr id="51" name="Group 3">
            <a:extLst>
              <a:ext uri="{FF2B5EF4-FFF2-40B4-BE49-F238E27FC236}">
                <a16:creationId xmlns:a16="http://schemas.microsoft.com/office/drawing/2014/main" id="{7104BADD-8CD1-6F4A-B894-869C3BDB3EEB}"/>
              </a:ext>
            </a:extLst>
          </p:cNvPr>
          <p:cNvGrpSpPr>
            <a:grpSpLocks noChangeAspect="1"/>
          </p:cNvGrpSpPr>
          <p:nvPr>
            <p:custDataLst>
              <p:tags r:id="rId4"/>
            </p:custDataLst>
          </p:nvPr>
        </p:nvGrpSpPr>
        <p:grpSpPr>
          <a:xfrm>
            <a:off x="8701918" y="5328416"/>
            <a:ext cx="171180" cy="171180"/>
            <a:chOff x="328396" y="5313940"/>
            <a:chExt cx="720000" cy="720000"/>
          </a:xfrm>
        </p:grpSpPr>
        <p:sp>
          <p:nvSpPr>
            <p:cNvPr id="52" name="Rectangle 4">
              <a:extLst>
                <a:ext uri="{FF2B5EF4-FFF2-40B4-BE49-F238E27FC236}">
                  <a16:creationId xmlns:a16="http://schemas.microsoft.com/office/drawing/2014/main" id="{74BE3D5F-1445-6E40-8B49-72E15568383B}"/>
                </a:ext>
              </a:extLst>
            </p:cNvPr>
            <p:cNvSpPr/>
            <p:nvPr/>
          </p:nvSpPr>
          <p:spPr bwMode="gray">
            <a:xfrm>
              <a:off x="328396" y="5313940"/>
              <a:ext cx="720000" cy="720000"/>
            </a:xfrm>
            <a:prstGeom prst="rect">
              <a:avLst/>
            </a:prstGeom>
            <a:solidFill>
              <a:srgbClr val="E55A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pPr>
              <a:endParaRPr lang="en-US" sz="1000">
                <a:solidFill>
                  <a:schemeClr val="tx1"/>
                </a:solidFill>
                <a:latin typeface="Arial" pitchFamily="34" charset="0"/>
                <a:cs typeface="Arial" pitchFamily="34" charset="0"/>
              </a:endParaRPr>
            </a:p>
          </p:txBody>
        </p:sp>
        <p:sp>
          <p:nvSpPr>
            <p:cNvPr id="53" name="Freeform 76">
              <a:extLst>
                <a:ext uri="{FF2B5EF4-FFF2-40B4-BE49-F238E27FC236}">
                  <a16:creationId xmlns:a16="http://schemas.microsoft.com/office/drawing/2014/main" id="{55DB3C95-7D0C-D141-901E-96D692794D2B}"/>
                </a:ext>
              </a:extLst>
            </p:cNvPr>
            <p:cNvSpPr>
              <a:spLocks noChangeAspect="1" noEditPoints="1"/>
            </p:cNvSpPr>
            <p:nvPr/>
          </p:nvSpPr>
          <p:spPr bwMode="auto">
            <a:xfrm>
              <a:off x="456202" y="5509222"/>
              <a:ext cx="504000" cy="329436"/>
            </a:xfrm>
            <a:custGeom>
              <a:avLst/>
              <a:gdLst>
                <a:gd name="T0" fmla="*/ 0 w 2080"/>
                <a:gd name="T1" fmla="*/ 65 h 1360"/>
                <a:gd name="T2" fmla="*/ 0 w 2080"/>
                <a:gd name="T3" fmla="*/ 0 h 1360"/>
                <a:gd name="T4" fmla="*/ 2080 w 2080"/>
                <a:gd name="T5" fmla="*/ 0 h 1360"/>
                <a:gd name="T6" fmla="*/ 2080 w 2080"/>
                <a:gd name="T7" fmla="*/ 65 h 1360"/>
                <a:gd name="T8" fmla="*/ 1089 w 2080"/>
                <a:gd name="T9" fmla="*/ 862 h 1360"/>
                <a:gd name="T10" fmla="*/ 991 w 2080"/>
                <a:gd name="T11" fmla="*/ 862 h 1360"/>
                <a:gd name="T12" fmla="*/ 0 w 2080"/>
                <a:gd name="T13" fmla="*/ 65 h 1360"/>
                <a:gd name="T14" fmla="*/ 1139 w 2080"/>
                <a:gd name="T15" fmla="*/ 924 h 1360"/>
                <a:gd name="T16" fmla="*/ 1282 w 2080"/>
                <a:gd name="T17" fmla="*/ 810 h 1360"/>
                <a:gd name="T18" fmla="*/ 2076 w 2080"/>
                <a:gd name="T19" fmla="*/ 1360 h 1360"/>
                <a:gd name="T20" fmla="*/ 4 w 2080"/>
                <a:gd name="T21" fmla="*/ 1360 h 1360"/>
                <a:gd name="T22" fmla="*/ 798 w 2080"/>
                <a:gd name="T23" fmla="*/ 810 h 1360"/>
                <a:gd name="T24" fmla="*/ 941 w 2080"/>
                <a:gd name="T25" fmla="*/ 924 h 1360"/>
                <a:gd name="T26" fmla="*/ 1139 w 2080"/>
                <a:gd name="T27" fmla="*/ 924 h 1360"/>
                <a:gd name="T28" fmla="*/ 2 w 2080"/>
                <a:gd name="T29" fmla="*/ 137 h 1360"/>
                <a:gd name="T30" fmla="*/ 42 w 2080"/>
                <a:gd name="T31" fmla="*/ 201 h 1360"/>
                <a:gd name="T32" fmla="*/ 734 w 2080"/>
                <a:gd name="T33" fmla="*/ 758 h 1360"/>
                <a:gd name="T34" fmla="*/ 0 w 2080"/>
                <a:gd name="T35" fmla="*/ 1266 h 1360"/>
                <a:gd name="T36" fmla="*/ 0 w 2080"/>
                <a:gd name="T37" fmla="*/ 135 h 1360"/>
                <a:gd name="T38" fmla="*/ 2 w 2080"/>
                <a:gd name="T39" fmla="*/ 137 h 1360"/>
                <a:gd name="T40" fmla="*/ 2080 w 2080"/>
                <a:gd name="T41" fmla="*/ 136 h 1360"/>
                <a:gd name="T42" fmla="*/ 2080 w 2080"/>
                <a:gd name="T43" fmla="*/ 1265 h 1360"/>
                <a:gd name="T44" fmla="*/ 1346 w 2080"/>
                <a:gd name="T45" fmla="*/ 758 h 1360"/>
                <a:gd name="T46" fmla="*/ 2038 w 2080"/>
                <a:gd name="T47" fmla="*/ 201 h 1360"/>
                <a:gd name="T48" fmla="*/ 2080 w 2080"/>
                <a:gd name="T49" fmla="*/ 136 h 1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080" h="1360">
                  <a:moveTo>
                    <a:pt x="0" y="65"/>
                  </a:moveTo>
                  <a:cubicBezTo>
                    <a:pt x="0" y="0"/>
                    <a:pt x="0" y="0"/>
                    <a:pt x="0" y="0"/>
                  </a:cubicBezTo>
                  <a:cubicBezTo>
                    <a:pt x="2080" y="0"/>
                    <a:pt x="2080" y="0"/>
                    <a:pt x="2080" y="0"/>
                  </a:cubicBezTo>
                  <a:cubicBezTo>
                    <a:pt x="2080" y="65"/>
                    <a:pt x="2080" y="65"/>
                    <a:pt x="2080" y="65"/>
                  </a:cubicBezTo>
                  <a:cubicBezTo>
                    <a:pt x="1089" y="862"/>
                    <a:pt x="1089" y="862"/>
                    <a:pt x="1089" y="862"/>
                  </a:cubicBezTo>
                  <a:cubicBezTo>
                    <a:pt x="1060" y="886"/>
                    <a:pt x="1020" y="886"/>
                    <a:pt x="991" y="862"/>
                  </a:cubicBezTo>
                  <a:lnTo>
                    <a:pt x="0" y="65"/>
                  </a:lnTo>
                  <a:close/>
                  <a:moveTo>
                    <a:pt x="1139" y="924"/>
                  </a:moveTo>
                  <a:cubicBezTo>
                    <a:pt x="1282" y="810"/>
                    <a:pt x="1282" y="810"/>
                    <a:pt x="1282" y="810"/>
                  </a:cubicBezTo>
                  <a:cubicBezTo>
                    <a:pt x="2076" y="1360"/>
                    <a:pt x="2076" y="1360"/>
                    <a:pt x="2076" y="1360"/>
                  </a:cubicBezTo>
                  <a:cubicBezTo>
                    <a:pt x="4" y="1360"/>
                    <a:pt x="4" y="1360"/>
                    <a:pt x="4" y="1360"/>
                  </a:cubicBezTo>
                  <a:cubicBezTo>
                    <a:pt x="798" y="810"/>
                    <a:pt x="798" y="810"/>
                    <a:pt x="798" y="810"/>
                  </a:cubicBezTo>
                  <a:cubicBezTo>
                    <a:pt x="941" y="924"/>
                    <a:pt x="941" y="924"/>
                    <a:pt x="941" y="924"/>
                  </a:cubicBezTo>
                  <a:cubicBezTo>
                    <a:pt x="1000" y="972"/>
                    <a:pt x="1080" y="972"/>
                    <a:pt x="1139" y="924"/>
                  </a:cubicBezTo>
                  <a:close/>
                  <a:moveTo>
                    <a:pt x="2" y="137"/>
                  </a:moveTo>
                  <a:cubicBezTo>
                    <a:pt x="8" y="163"/>
                    <a:pt x="22" y="185"/>
                    <a:pt x="42" y="201"/>
                  </a:cubicBezTo>
                  <a:cubicBezTo>
                    <a:pt x="734" y="758"/>
                    <a:pt x="734" y="758"/>
                    <a:pt x="734" y="758"/>
                  </a:cubicBezTo>
                  <a:cubicBezTo>
                    <a:pt x="0" y="1266"/>
                    <a:pt x="0" y="1266"/>
                    <a:pt x="0" y="1266"/>
                  </a:cubicBezTo>
                  <a:cubicBezTo>
                    <a:pt x="0" y="135"/>
                    <a:pt x="0" y="135"/>
                    <a:pt x="0" y="135"/>
                  </a:cubicBezTo>
                  <a:lnTo>
                    <a:pt x="2" y="137"/>
                  </a:lnTo>
                  <a:close/>
                  <a:moveTo>
                    <a:pt x="2080" y="136"/>
                  </a:moveTo>
                  <a:cubicBezTo>
                    <a:pt x="2080" y="1265"/>
                    <a:pt x="2080" y="1265"/>
                    <a:pt x="2080" y="1265"/>
                  </a:cubicBezTo>
                  <a:cubicBezTo>
                    <a:pt x="1346" y="758"/>
                    <a:pt x="1346" y="758"/>
                    <a:pt x="1346" y="758"/>
                  </a:cubicBezTo>
                  <a:cubicBezTo>
                    <a:pt x="2038" y="201"/>
                    <a:pt x="2038" y="201"/>
                    <a:pt x="2038" y="201"/>
                  </a:cubicBezTo>
                  <a:cubicBezTo>
                    <a:pt x="2060" y="182"/>
                    <a:pt x="2072" y="162"/>
                    <a:pt x="2080" y="13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000"/>
            </a:p>
          </p:txBody>
        </p:sp>
      </p:grpSp>
      <p:cxnSp>
        <p:nvCxnSpPr>
          <p:cNvPr id="54" name="Straight Connector 53"/>
          <p:cNvCxnSpPr/>
          <p:nvPr/>
        </p:nvCxnSpPr>
        <p:spPr>
          <a:xfrm>
            <a:off x="7287766" y="5653422"/>
            <a:ext cx="3888000" cy="0"/>
          </a:xfrm>
          <a:prstGeom prst="line">
            <a:avLst/>
          </a:prstGeom>
          <a:ln w="6350">
            <a:solidFill>
              <a:schemeClr val="tx2"/>
            </a:solidFill>
            <a:prstDash val="dash"/>
          </a:ln>
        </p:spPr>
        <p:style>
          <a:lnRef idx="1">
            <a:schemeClr val="accent1"/>
          </a:lnRef>
          <a:fillRef idx="0">
            <a:schemeClr val="accent1"/>
          </a:fillRef>
          <a:effectRef idx="0">
            <a:schemeClr val="accent1"/>
          </a:effectRef>
          <a:fontRef idx="minor">
            <a:schemeClr val="tx1"/>
          </a:fontRef>
        </p:style>
      </p:cxnSp>
      <p:sp>
        <p:nvSpPr>
          <p:cNvPr id="55" name="Picture Placeholder 3"/>
          <p:cNvSpPr>
            <a:spLocks noGrp="1"/>
          </p:cNvSpPr>
          <p:nvPr>
            <p:ph type="pic" sz="quarter" idx="35" hasCustomPrompt="1"/>
          </p:nvPr>
        </p:nvSpPr>
        <p:spPr>
          <a:xfrm>
            <a:off x="7287766" y="3984193"/>
            <a:ext cx="1188677" cy="1547840"/>
          </a:xfrm>
          <a:solidFill>
            <a:srgbClr val="D9DADB"/>
          </a:solidFill>
        </p:spPr>
        <p:txBody>
          <a:bodyPr/>
          <a:lstStyle>
            <a:lvl1pPr marL="0" indent="0">
              <a:buNone/>
              <a:defRPr sz="1400"/>
            </a:lvl1pPr>
          </a:lstStyle>
          <a:p>
            <a:r>
              <a:rPr lang="en-US"/>
              <a:t>Insert picture</a:t>
            </a:r>
          </a:p>
        </p:txBody>
      </p:sp>
      <p:sp>
        <p:nvSpPr>
          <p:cNvPr id="56" name="Text Placeholder 5"/>
          <p:cNvSpPr>
            <a:spLocks noGrp="1"/>
          </p:cNvSpPr>
          <p:nvPr>
            <p:ph type="body" sz="quarter" idx="36" hasCustomPrompt="1"/>
          </p:nvPr>
        </p:nvSpPr>
        <p:spPr>
          <a:xfrm>
            <a:off x="8701917" y="3983730"/>
            <a:ext cx="2463190" cy="192360"/>
          </a:xfrm>
        </p:spPr>
        <p:txBody>
          <a:bodyPr lIns="0" tIns="0" rIns="0" bIns="0" anchor="ctr" anchorCtr="0"/>
          <a:lstStyle>
            <a:lvl1pPr marL="0" indent="0" algn="l">
              <a:lnSpc>
                <a:spcPct val="100000"/>
              </a:lnSpc>
              <a:buNone/>
              <a:defRPr sz="100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Country</a:t>
            </a:r>
          </a:p>
        </p:txBody>
      </p:sp>
      <p:sp>
        <p:nvSpPr>
          <p:cNvPr id="57" name="Text Placeholder 5"/>
          <p:cNvSpPr>
            <a:spLocks noGrp="1"/>
          </p:cNvSpPr>
          <p:nvPr>
            <p:ph type="body" sz="quarter" idx="37" hasCustomPrompt="1"/>
          </p:nvPr>
        </p:nvSpPr>
        <p:spPr>
          <a:xfrm>
            <a:off x="8701917" y="4195546"/>
            <a:ext cx="2463190" cy="266182"/>
          </a:xfrm>
        </p:spPr>
        <p:txBody>
          <a:bodyPr lIns="0" tIns="0" rIns="0" bIns="0" anchor="b" anchorCtr="0"/>
          <a:lstStyle>
            <a:lvl1pPr marL="0" indent="0" algn="l">
              <a:lnSpc>
                <a:spcPct val="100000"/>
              </a:lnSpc>
              <a:buNone/>
              <a:defRPr sz="1400" b="1" baseline="0">
                <a:solidFill>
                  <a:schemeClr val="tx2"/>
                </a:solidFill>
              </a:defRPr>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Name, Surname</a:t>
            </a:r>
          </a:p>
        </p:txBody>
      </p:sp>
      <p:sp>
        <p:nvSpPr>
          <p:cNvPr id="58" name="Text Placeholder 5"/>
          <p:cNvSpPr>
            <a:spLocks noGrp="1"/>
          </p:cNvSpPr>
          <p:nvPr>
            <p:ph type="body" sz="quarter" idx="38" hasCustomPrompt="1"/>
          </p:nvPr>
        </p:nvSpPr>
        <p:spPr>
          <a:xfrm>
            <a:off x="8701917" y="4492121"/>
            <a:ext cx="2463190"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Job Position</a:t>
            </a:r>
          </a:p>
        </p:txBody>
      </p:sp>
      <p:sp>
        <p:nvSpPr>
          <p:cNvPr id="59" name="Text Placeholder 5"/>
          <p:cNvSpPr>
            <a:spLocks noGrp="1"/>
          </p:cNvSpPr>
          <p:nvPr>
            <p:ph type="body" sz="quarter" idx="39" hasCustomPrompt="1"/>
          </p:nvPr>
        </p:nvSpPr>
        <p:spPr>
          <a:xfrm>
            <a:off x="8946800" y="5020797"/>
            <a:ext cx="2218307"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Phone number</a:t>
            </a:r>
          </a:p>
        </p:txBody>
      </p:sp>
      <p:sp>
        <p:nvSpPr>
          <p:cNvPr id="60" name="Text Placeholder 5"/>
          <p:cNvSpPr>
            <a:spLocks noGrp="1"/>
          </p:cNvSpPr>
          <p:nvPr>
            <p:ph type="body" sz="quarter" idx="40" hasCustomPrompt="1"/>
          </p:nvPr>
        </p:nvSpPr>
        <p:spPr>
          <a:xfrm>
            <a:off x="8946800" y="5303604"/>
            <a:ext cx="2218307"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Email address</a:t>
            </a:r>
          </a:p>
        </p:txBody>
      </p:sp>
    </p:spTree>
    <p:extLst>
      <p:ext uri="{BB962C8B-B14F-4D97-AF65-F5344CB8AC3E}">
        <p14:creationId xmlns:p14="http://schemas.microsoft.com/office/powerpoint/2010/main" val="4020210403"/>
      </p:ext>
    </p:extLst>
  </p:cSld>
  <p:clrMapOvr>
    <a:masterClrMapping/>
  </p:clrMapOvr>
</p:sldLayout>
</file>

<file path=ppt/slideLayouts/slideLayout327.xml><?xml version="1.0" encoding="utf-8"?>
<p:sldLayout xmlns:a="http://schemas.openxmlformats.org/drawingml/2006/main" xmlns:r="http://schemas.openxmlformats.org/officeDocument/2006/relationships" xmlns:p="http://schemas.openxmlformats.org/presentationml/2006/main" showMasterSp="0" preserve="1">
  <p:cSld name="End slide">
    <p:spTree>
      <p:nvGrpSpPr>
        <p:cNvPr id="1" name=""/>
        <p:cNvGrpSpPr/>
        <p:nvPr/>
      </p:nvGrpSpPr>
      <p:grpSpPr>
        <a:xfrm>
          <a:off x="0" y="0"/>
          <a:ext cx="0" cy="0"/>
          <a:chOff x="0" y="0"/>
          <a:chExt cx="0" cy="0"/>
        </a:xfrm>
      </p:grpSpPr>
      <p:pic>
        <p:nvPicPr>
          <p:cNvPr id="30" name="picture">
            <a:extLst>
              <a:ext uri="{FF2B5EF4-FFF2-40B4-BE49-F238E27FC236}">
                <a16:creationId xmlns:a16="http://schemas.microsoft.com/office/drawing/2014/main" id="{8BF907F5-A9CD-2740-AF54-6BACB62334AE}"/>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2620212" y="-8808"/>
            <a:ext cx="9697299" cy="6866807"/>
          </a:xfrm>
          <a:prstGeom prst="rect">
            <a:avLst/>
          </a:prstGeom>
        </p:spPr>
      </p:pic>
      <p:sp>
        <p:nvSpPr>
          <p:cNvPr id="29" name="shpPicture"/>
          <p:cNvSpPr/>
          <p:nvPr/>
        </p:nvSpPr>
        <p:spPr>
          <a:xfrm>
            <a:off x="0" y="0"/>
            <a:ext cx="4347306" cy="6858000"/>
          </a:xfrm>
          <a:custGeom>
            <a:avLst/>
            <a:gdLst>
              <a:gd name="connsiteX0" fmla="*/ 0 w 4347306"/>
              <a:gd name="connsiteY0" fmla="*/ 0 h 6858000"/>
              <a:gd name="connsiteX1" fmla="*/ 3252806 w 4347306"/>
              <a:gd name="connsiteY1" fmla="*/ 0 h 6858000"/>
              <a:gd name="connsiteX2" fmla="*/ 4347306 w 4347306"/>
              <a:gd name="connsiteY2" fmla="*/ 4140909 h 6858000"/>
              <a:gd name="connsiteX3" fmla="*/ 2943442 w 4347306"/>
              <a:gd name="connsiteY3" fmla="*/ 6858000 h 6858000"/>
              <a:gd name="connsiteX4" fmla="*/ 0 w 4347306"/>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47306" h="6858000">
                <a:moveTo>
                  <a:pt x="0" y="0"/>
                </a:moveTo>
                <a:lnTo>
                  <a:pt x="3252806" y="0"/>
                </a:lnTo>
                <a:lnTo>
                  <a:pt x="4347306" y="4140909"/>
                </a:lnTo>
                <a:lnTo>
                  <a:pt x="2943442"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US" sz="1600"/>
          </a:p>
        </p:txBody>
      </p:sp>
      <p:grpSp>
        <p:nvGrpSpPr>
          <p:cNvPr id="14" name="logo">
            <a:extLst>
              <a:ext uri="{FF2B5EF4-FFF2-40B4-BE49-F238E27FC236}">
                <a16:creationId xmlns:a16="http://schemas.microsoft.com/office/drawing/2014/main" id="{18C26D95-70F8-8A4D-9F18-DCCB92522AF8}"/>
              </a:ext>
            </a:extLst>
          </p:cNvPr>
          <p:cNvGrpSpPr/>
          <p:nvPr/>
        </p:nvGrpSpPr>
        <p:grpSpPr bwMode="gray">
          <a:xfrm>
            <a:off x="417363" y="407485"/>
            <a:ext cx="1518585" cy="646507"/>
            <a:chOff x="334963" y="296652"/>
            <a:chExt cx="1268411" cy="540000"/>
          </a:xfrm>
        </p:grpSpPr>
        <p:sp>
          <p:nvSpPr>
            <p:cNvPr id="17" name="Freeform 6">
              <a:extLst>
                <a:ext uri="{FF2B5EF4-FFF2-40B4-BE49-F238E27FC236}">
                  <a16:creationId xmlns:a16="http://schemas.microsoft.com/office/drawing/2014/main" id="{08737AD0-E375-E445-97E6-CD2E2DF60620}"/>
                </a:ext>
              </a:extLst>
            </p:cNvPr>
            <p:cNvSpPr>
              <a:spLocks noEditPoints="1"/>
            </p:cNvSpPr>
            <p:nvPr/>
          </p:nvSpPr>
          <p:spPr bwMode="gray">
            <a:xfrm>
              <a:off x="982662" y="360462"/>
              <a:ext cx="620712" cy="431800"/>
            </a:xfrm>
            <a:custGeom>
              <a:avLst/>
              <a:gdLst>
                <a:gd name="T0" fmla="*/ 19 w 1809"/>
                <a:gd name="T1" fmla="*/ 97 h 1253"/>
                <a:gd name="T2" fmla="*/ 165 w 1809"/>
                <a:gd name="T3" fmla="*/ 41 h 1253"/>
                <a:gd name="T4" fmla="*/ 211 w 1809"/>
                <a:gd name="T5" fmla="*/ 224 h 1253"/>
                <a:gd name="T6" fmla="*/ 248 w 1809"/>
                <a:gd name="T7" fmla="*/ 155 h 1253"/>
                <a:gd name="T8" fmla="*/ 931 w 1809"/>
                <a:gd name="T9" fmla="*/ 995 h 1253"/>
                <a:gd name="T10" fmla="*/ 858 w 1809"/>
                <a:gd name="T11" fmla="*/ 1115 h 1253"/>
                <a:gd name="T12" fmla="*/ 749 w 1809"/>
                <a:gd name="T13" fmla="*/ 1117 h 1253"/>
                <a:gd name="T14" fmla="*/ 681 w 1809"/>
                <a:gd name="T15" fmla="*/ 1055 h 1253"/>
                <a:gd name="T16" fmla="*/ 800 w 1809"/>
                <a:gd name="T17" fmla="*/ 1054 h 1253"/>
                <a:gd name="T18" fmla="*/ 884 w 1809"/>
                <a:gd name="T19" fmla="*/ 1181 h 1253"/>
                <a:gd name="T20" fmla="*/ 118 w 1809"/>
                <a:gd name="T21" fmla="*/ 1086 h 1253"/>
                <a:gd name="T22" fmla="*/ 147 w 1809"/>
                <a:gd name="T23" fmla="*/ 1026 h 1253"/>
                <a:gd name="T24" fmla="*/ 102 w 1809"/>
                <a:gd name="T25" fmla="*/ 1026 h 1253"/>
                <a:gd name="T26" fmla="*/ 639 w 1809"/>
                <a:gd name="T27" fmla="*/ 84 h 1253"/>
                <a:gd name="T28" fmla="*/ 763 w 1809"/>
                <a:gd name="T29" fmla="*/ 145 h 1253"/>
                <a:gd name="T30" fmla="*/ 863 w 1809"/>
                <a:gd name="T31" fmla="*/ 221 h 1253"/>
                <a:gd name="T32" fmla="*/ 834 w 1809"/>
                <a:gd name="T33" fmla="*/ 208 h 1253"/>
                <a:gd name="T34" fmla="*/ 719 w 1809"/>
                <a:gd name="T35" fmla="*/ 182 h 1253"/>
                <a:gd name="T36" fmla="*/ 507 w 1809"/>
                <a:gd name="T37" fmla="*/ 711 h 1253"/>
                <a:gd name="T38" fmla="*/ 614 w 1809"/>
                <a:gd name="T39" fmla="*/ 706 h 1253"/>
                <a:gd name="T40" fmla="*/ 736 w 1809"/>
                <a:gd name="T41" fmla="*/ 730 h 1253"/>
                <a:gd name="T42" fmla="*/ 607 w 1809"/>
                <a:gd name="T43" fmla="*/ 539 h 1253"/>
                <a:gd name="T44" fmla="*/ 1505 w 1809"/>
                <a:gd name="T45" fmla="*/ 1136 h 1253"/>
                <a:gd name="T46" fmla="*/ 1613 w 1809"/>
                <a:gd name="T47" fmla="*/ 1002 h 1253"/>
                <a:gd name="T48" fmla="*/ 1472 w 1809"/>
                <a:gd name="T49" fmla="*/ 1164 h 1253"/>
                <a:gd name="T50" fmla="*/ 1525 w 1809"/>
                <a:gd name="T51" fmla="*/ 1142 h 1253"/>
                <a:gd name="T52" fmla="*/ 1556 w 1809"/>
                <a:gd name="T53" fmla="*/ 1172 h 1253"/>
                <a:gd name="T54" fmla="*/ 1387 w 1809"/>
                <a:gd name="T55" fmla="*/ 910 h 1253"/>
                <a:gd name="T56" fmla="*/ 1261 w 1809"/>
                <a:gd name="T57" fmla="*/ 1157 h 1253"/>
                <a:gd name="T58" fmla="*/ 1413 w 1809"/>
                <a:gd name="T59" fmla="*/ 934 h 1253"/>
                <a:gd name="T60" fmla="*/ 1378 w 1809"/>
                <a:gd name="T61" fmla="*/ 1052 h 1253"/>
                <a:gd name="T62" fmla="*/ 488 w 1809"/>
                <a:gd name="T63" fmla="*/ 85 h 1253"/>
                <a:gd name="T64" fmla="*/ 509 w 1809"/>
                <a:gd name="T65" fmla="*/ 112 h 1253"/>
                <a:gd name="T66" fmla="*/ 548 w 1809"/>
                <a:gd name="T67" fmla="*/ 1187 h 1253"/>
                <a:gd name="T68" fmla="*/ 472 w 1809"/>
                <a:gd name="T69" fmla="*/ 1122 h 1253"/>
                <a:gd name="T70" fmla="*/ 558 w 1809"/>
                <a:gd name="T71" fmla="*/ 1157 h 1253"/>
                <a:gd name="T72" fmla="*/ 287 w 1809"/>
                <a:gd name="T73" fmla="*/ 654 h 1253"/>
                <a:gd name="T74" fmla="*/ 416 w 1809"/>
                <a:gd name="T75" fmla="*/ 684 h 1253"/>
                <a:gd name="T76" fmla="*/ 1106 w 1809"/>
                <a:gd name="T77" fmla="*/ 147 h 1253"/>
                <a:gd name="T78" fmla="*/ 1229 w 1809"/>
                <a:gd name="T79" fmla="*/ 258 h 1253"/>
                <a:gd name="T80" fmla="*/ 1106 w 1809"/>
                <a:gd name="T81" fmla="*/ 96 h 1253"/>
                <a:gd name="T82" fmla="*/ 1219 w 1809"/>
                <a:gd name="T83" fmla="*/ 1077 h 1253"/>
                <a:gd name="T84" fmla="*/ 1214 w 1809"/>
                <a:gd name="T85" fmla="*/ 1157 h 1253"/>
                <a:gd name="T86" fmla="*/ 1150 w 1809"/>
                <a:gd name="T87" fmla="*/ 1092 h 1253"/>
                <a:gd name="T88" fmla="*/ 1139 w 1809"/>
                <a:gd name="T89" fmla="*/ 1070 h 1253"/>
                <a:gd name="T90" fmla="*/ 1659 w 1809"/>
                <a:gd name="T91" fmla="*/ 1031 h 1253"/>
                <a:gd name="T92" fmla="*/ 1714 w 1809"/>
                <a:gd name="T93" fmla="*/ 1155 h 1253"/>
                <a:gd name="T94" fmla="*/ 1760 w 1809"/>
                <a:gd name="T95" fmla="*/ 1030 h 1253"/>
                <a:gd name="T96" fmla="*/ 111 w 1809"/>
                <a:gd name="T97" fmla="*/ 569 h 1253"/>
                <a:gd name="T98" fmla="*/ 109 w 1809"/>
                <a:gd name="T99" fmla="*/ 460 h 1253"/>
                <a:gd name="T100" fmla="*/ 32 w 1809"/>
                <a:gd name="T101" fmla="*/ 704 h 1253"/>
                <a:gd name="T102" fmla="*/ 310 w 1809"/>
                <a:gd name="T103" fmla="*/ 1058 h 1253"/>
                <a:gd name="T104" fmla="*/ 431 w 1809"/>
                <a:gd name="T105" fmla="*/ 1044 h 1253"/>
                <a:gd name="T106" fmla="*/ 278 w 1809"/>
                <a:gd name="T107" fmla="*/ 1165 h 1253"/>
                <a:gd name="T108" fmla="*/ 261 w 1809"/>
                <a:gd name="T109" fmla="*/ 540 h 1253"/>
                <a:gd name="T110" fmla="*/ 150 w 1809"/>
                <a:gd name="T111" fmla="*/ 635 h 1253"/>
                <a:gd name="T112" fmla="*/ 994 w 1809"/>
                <a:gd name="T113" fmla="*/ 1185 h 1253"/>
                <a:gd name="T114" fmla="*/ 331 w 1809"/>
                <a:gd name="T115" fmla="*/ 176 h 1253"/>
                <a:gd name="T116" fmla="*/ 333 w 1809"/>
                <a:gd name="T117" fmla="*/ 109 h 1253"/>
                <a:gd name="T118" fmla="*/ 946 w 1809"/>
                <a:gd name="T119" fmla="*/ 234 h 1253"/>
                <a:gd name="T120" fmla="*/ 1022 w 1809"/>
                <a:gd name="T121" fmla="*/ 113 h 1253"/>
                <a:gd name="T122" fmla="*/ 949 w 1809"/>
                <a:gd name="T123" fmla="*/ 65 h 1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09" h="1253">
                  <a:moveTo>
                    <a:pt x="248" y="198"/>
                  </a:moveTo>
                  <a:cubicBezTo>
                    <a:pt x="248" y="211"/>
                    <a:pt x="248" y="224"/>
                    <a:pt x="249" y="237"/>
                  </a:cubicBezTo>
                  <a:cubicBezTo>
                    <a:pt x="249" y="245"/>
                    <a:pt x="246" y="249"/>
                    <a:pt x="240" y="253"/>
                  </a:cubicBezTo>
                  <a:cubicBezTo>
                    <a:pt x="231" y="260"/>
                    <a:pt x="220" y="264"/>
                    <a:pt x="209" y="268"/>
                  </a:cubicBezTo>
                  <a:cubicBezTo>
                    <a:pt x="179" y="279"/>
                    <a:pt x="148" y="280"/>
                    <a:pt x="118" y="275"/>
                  </a:cubicBezTo>
                  <a:cubicBezTo>
                    <a:pt x="86" y="269"/>
                    <a:pt x="58" y="252"/>
                    <a:pt x="39" y="224"/>
                  </a:cubicBezTo>
                  <a:cubicBezTo>
                    <a:pt x="24" y="203"/>
                    <a:pt x="18" y="180"/>
                    <a:pt x="15" y="155"/>
                  </a:cubicBezTo>
                  <a:cubicBezTo>
                    <a:pt x="11" y="135"/>
                    <a:pt x="15" y="115"/>
                    <a:pt x="19" y="97"/>
                  </a:cubicBezTo>
                  <a:cubicBezTo>
                    <a:pt x="26" y="68"/>
                    <a:pt x="42" y="44"/>
                    <a:pt x="68" y="27"/>
                  </a:cubicBezTo>
                  <a:cubicBezTo>
                    <a:pt x="87" y="14"/>
                    <a:pt x="109" y="6"/>
                    <a:pt x="133" y="5"/>
                  </a:cubicBezTo>
                  <a:cubicBezTo>
                    <a:pt x="149" y="4"/>
                    <a:pt x="165" y="5"/>
                    <a:pt x="181" y="6"/>
                  </a:cubicBezTo>
                  <a:cubicBezTo>
                    <a:pt x="204" y="8"/>
                    <a:pt x="225" y="20"/>
                    <a:pt x="243" y="35"/>
                  </a:cubicBezTo>
                  <a:cubicBezTo>
                    <a:pt x="246" y="37"/>
                    <a:pt x="246" y="40"/>
                    <a:pt x="244" y="43"/>
                  </a:cubicBezTo>
                  <a:cubicBezTo>
                    <a:pt x="242" y="47"/>
                    <a:pt x="239" y="52"/>
                    <a:pt x="236" y="55"/>
                  </a:cubicBezTo>
                  <a:cubicBezTo>
                    <a:pt x="226" y="65"/>
                    <a:pt x="224" y="65"/>
                    <a:pt x="206" y="54"/>
                  </a:cubicBezTo>
                  <a:cubicBezTo>
                    <a:pt x="193" y="46"/>
                    <a:pt x="180" y="40"/>
                    <a:pt x="165" y="41"/>
                  </a:cubicBezTo>
                  <a:cubicBezTo>
                    <a:pt x="151" y="41"/>
                    <a:pt x="137" y="39"/>
                    <a:pt x="124" y="42"/>
                  </a:cubicBezTo>
                  <a:cubicBezTo>
                    <a:pt x="104" y="46"/>
                    <a:pt x="87" y="57"/>
                    <a:pt x="75" y="74"/>
                  </a:cubicBezTo>
                  <a:cubicBezTo>
                    <a:pt x="56" y="99"/>
                    <a:pt x="51" y="129"/>
                    <a:pt x="55" y="159"/>
                  </a:cubicBezTo>
                  <a:cubicBezTo>
                    <a:pt x="60" y="189"/>
                    <a:pt x="73" y="214"/>
                    <a:pt x="98" y="230"/>
                  </a:cubicBezTo>
                  <a:cubicBezTo>
                    <a:pt x="109" y="237"/>
                    <a:pt x="121" y="242"/>
                    <a:pt x="135" y="241"/>
                  </a:cubicBezTo>
                  <a:cubicBezTo>
                    <a:pt x="146" y="241"/>
                    <a:pt x="158" y="241"/>
                    <a:pt x="169" y="241"/>
                  </a:cubicBezTo>
                  <a:cubicBezTo>
                    <a:pt x="182" y="242"/>
                    <a:pt x="193" y="235"/>
                    <a:pt x="205" y="232"/>
                  </a:cubicBezTo>
                  <a:cubicBezTo>
                    <a:pt x="210" y="231"/>
                    <a:pt x="211" y="227"/>
                    <a:pt x="211" y="224"/>
                  </a:cubicBezTo>
                  <a:cubicBezTo>
                    <a:pt x="211" y="210"/>
                    <a:pt x="211" y="196"/>
                    <a:pt x="211" y="183"/>
                  </a:cubicBezTo>
                  <a:cubicBezTo>
                    <a:pt x="211" y="177"/>
                    <a:pt x="207" y="175"/>
                    <a:pt x="202" y="175"/>
                  </a:cubicBezTo>
                  <a:cubicBezTo>
                    <a:pt x="193" y="175"/>
                    <a:pt x="184" y="175"/>
                    <a:pt x="175" y="175"/>
                  </a:cubicBezTo>
                  <a:cubicBezTo>
                    <a:pt x="171" y="175"/>
                    <a:pt x="168" y="174"/>
                    <a:pt x="166" y="171"/>
                  </a:cubicBezTo>
                  <a:cubicBezTo>
                    <a:pt x="163" y="163"/>
                    <a:pt x="164" y="154"/>
                    <a:pt x="166" y="146"/>
                  </a:cubicBezTo>
                  <a:cubicBezTo>
                    <a:pt x="167" y="142"/>
                    <a:pt x="171" y="142"/>
                    <a:pt x="175" y="142"/>
                  </a:cubicBezTo>
                  <a:cubicBezTo>
                    <a:pt x="196" y="142"/>
                    <a:pt x="217" y="142"/>
                    <a:pt x="238" y="142"/>
                  </a:cubicBezTo>
                  <a:cubicBezTo>
                    <a:pt x="247" y="142"/>
                    <a:pt x="248" y="148"/>
                    <a:pt x="248" y="155"/>
                  </a:cubicBezTo>
                  <a:cubicBezTo>
                    <a:pt x="249" y="169"/>
                    <a:pt x="248" y="183"/>
                    <a:pt x="248" y="198"/>
                  </a:cubicBezTo>
                  <a:close/>
                  <a:moveTo>
                    <a:pt x="884" y="1181"/>
                  </a:moveTo>
                  <a:cubicBezTo>
                    <a:pt x="889" y="1167"/>
                    <a:pt x="894" y="1152"/>
                    <a:pt x="898" y="1137"/>
                  </a:cubicBezTo>
                  <a:cubicBezTo>
                    <a:pt x="901" y="1127"/>
                    <a:pt x="905" y="1116"/>
                    <a:pt x="908" y="1106"/>
                  </a:cubicBezTo>
                  <a:cubicBezTo>
                    <a:pt x="911" y="1098"/>
                    <a:pt x="912" y="1089"/>
                    <a:pt x="916" y="1081"/>
                  </a:cubicBezTo>
                  <a:cubicBezTo>
                    <a:pt x="921" y="1072"/>
                    <a:pt x="923" y="1060"/>
                    <a:pt x="927" y="1050"/>
                  </a:cubicBezTo>
                  <a:cubicBezTo>
                    <a:pt x="932" y="1037"/>
                    <a:pt x="934" y="1023"/>
                    <a:pt x="940" y="1010"/>
                  </a:cubicBezTo>
                  <a:cubicBezTo>
                    <a:pt x="945" y="1001"/>
                    <a:pt x="941" y="995"/>
                    <a:pt x="931" y="995"/>
                  </a:cubicBezTo>
                  <a:cubicBezTo>
                    <a:pt x="927" y="995"/>
                    <a:pt x="922" y="995"/>
                    <a:pt x="918" y="995"/>
                  </a:cubicBezTo>
                  <a:cubicBezTo>
                    <a:pt x="913" y="995"/>
                    <a:pt x="908" y="997"/>
                    <a:pt x="907" y="1001"/>
                  </a:cubicBezTo>
                  <a:cubicBezTo>
                    <a:pt x="904" y="1008"/>
                    <a:pt x="900" y="1015"/>
                    <a:pt x="899" y="1023"/>
                  </a:cubicBezTo>
                  <a:cubicBezTo>
                    <a:pt x="897" y="1034"/>
                    <a:pt x="893" y="1045"/>
                    <a:pt x="889" y="1055"/>
                  </a:cubicBezTo>
                  <a:cubicBezTo>
                    <a:pt x="887" y="1064"/>
                    <a:pt x="885" y="1072"/>
                    <a:pt x="882" y="1080"/>
                  </a:cubicBezTo>
                  <a:cubicBezTo>
                    <a:pt x="878" y="1091"/>
                    <a:pt x="874" y="1103"/>
                    <a:pt x="871" y="1115"/>
                  </a:cubicBezTo>
                  <a:cubicBezTo>
                    <a:pt x="870" y="1118"/>
                    <a:pt x="871" y="1124"/>
                    <a:pt x="866" y="1124"/>
                  </a:cubicBezTo>
                  <a:cubicBezTo>
                    <a:pt x="861" y="1125"/>
                    <a:pt x="859" y="1120"/>
                    <a:pt x="858" y="1115"/>
                  </a:cubicBezTo>
                  <a:cubicBezTo>
                    <a:pt x="856" y="1110"/>
                    <a:pt x="856" y="1104"/>
                    <a:pt x="854" y="1099"/>
                  </a:cubicBezTo>
                  <a:cubicBezTo>
                    <a:pt x="848" y="1080"/>
                    <a:pt x="841" y="1062"/>
                    <a:pt x="835" y="1044"/>
                  </a:cubicBezTo>
                  <a:cubicBezTo>
                    <a:pt x="831" y="1030"/>
                    <a:pt x="828" y="1016"/>
                    <a:pt x="822" y="1003"/>
                  </a:cubicBezTo>
                  <a:cubicBezTo>
                    <a:pt x="819" y="997"/>
                    <a:pt x="814" y="994"/>
                    <a:pt x="808" y="994"/>
                  </a:cubicBezTo>
                  <a:cubicBezTo>
                    <a:pt x="799" y="993"/>
                    <a:pt x="791" y="993"/>
                    <a:pt x="787" y="1001"/>
                  </a:cubicBezTo>
                  <a:cubicBezTo>
                    <a:pt x="783" y="1008"/>
                    <a:pt x="780" y="1015"/>
                    <a:pt x="779" y="1022"/>
                  </a:cubicBezTo>
                  <a:cubicBezTo>
                    <a:pt x="778" y="1034"/>
                    <a:pt x="772" y="1044"/>
                    <a:pt x="769" y="1055"/>
                  </a:cubicBezTo>
                  <a:cubicBezTo>
                    <a:pt x="762" y="1076"/>
                    <a:pt x="754" y="1096"/>
                    <a:pt x="749" y="1117"/>
                  </a:cubicBezTo>
                  <a:cubicBezTo>
                    <a:pt x="748" y="1120"/>
                    <a:pt x="747" y="1124"/>
                    <a:pt x="742" y="1124"/>
                  </a:cubicBezTo>
                  <a:cubicBezTo>
                    <a:pt x="737" y="1124"/>
                    <a:pt x="737" y="1120"/>
                    <a:pt x="736" y="1116"/>
                  </a:cubicBezTo>
                  <a:cubicBezTo>
                    <a:pt x="734" y="1104"/>
                    <a:pt x="730" y="1092"/>
                    <a:pt x="726" y="1080"/>
                  </a:cubicBezTo>
                  <a:cubicBezTo>
                    <a:pt x="720" y="1061"/>
                    <a:pt x="714" y="1040"/>
                    <a:pt x="708" y="1020"/>
                  </a:cubicBezTo>
                  <a:cubicBezTo>
                    <a:pt x="703" y="1000"/>
                    <a:pt x="698" y="994"/>
                    <a:pt x="676" y="995"/>
                  </a:cubicBezTo>
                  <a:cubicBezTo>
                    <a:pt x="665" y="996"/>
                    <a:pt x="661" y="1001"/>
                    <a:pt x="667" y="1011"/>
                  </a:cubicBezTo>
                  <a:cubicBezTo>
                    <a:pt x="669" y="1016"/>
                    <a:pt x="670" y="1021"/>
                    <a:pt x="672" y="1025"/>
                  </a:cubicBezTo>
                  <a:cubicBezTo>
                    <a:pt x="675" y="1035"/>
                    <a:pt x="678" y="1046"/>
                    <a:pt x="681" y="1055"/>
                  </a:cubicBezTo>
                  <a:cubicBezTo>
                    <a:pt x="685" y="1068"/>
                    <a:pt x="689" y="1080"/>
                    <a:pt x="693" y="1092"/>
                  </a:cubicBezTo>
                  <a:cubicBezTo>
                    <a:pt x="697" y="1103"/>
                    <a:pt x="699" y="1113"/>
                    <a:pt x="703" y="1124"/>
                  </a:cubicBezTo>
                  <a:cubicBezTo>
                    <a:pt x="707" y="1136"/>
                    <a:pt x="711" y="1147"/>
                    <a:pt x="715" y="1160"/>
                  </a:cubicBezTo>
                  <a:cubicBezTo>
                    <a:pt x="717" y="1168"/>
                    <a:pt x="720" y="1176"/>
                    <a:pt x="724" y="1183"/>
                  </a:cubicBezTo>
                  <a:cubicBezTo>
                    <a:pt x="728" y="1189"/>
                    <a:pt x="752" y="1185"/>
                    <a:pt x="757" y="1180"/>
                  </a:cubicBezTo>
                  <a:cubicBezTo>
                    <a:pt x="764" y="1173"/>
                    <a:pt x="762" y="1163"/>
                    <a:pt x="766" y="1156"/>
                  </a:cubicBezTo>
                  <a:cubicBezTo>
                    <a:pt x="774" y="1140"/>
                    <a:pt x="778" y="1122"/>
                    <a:pt x="784" y="1105"/>
                  </a:cubicBezTo>
                  <a:cubicBezTo>
                    <a:pt x="789" y="1088"/>
                    <a:pt x="796" y="1072"/>
                    <a:pt x="800" y="1054"/>
                  </a:cubicBezTo>
                  <a:cubicBezTo>
                    <a:pt x="800" y="1053"/>
                    <a:pt x="801" y="1050"/>
                    <a:pt x="803" y="1050"/>
                  </a:cubicBezTo>
                  <a:cubicBezTo>
                    <a:pt x="806" y="1050"/>
                    <a:pt x="806" y="1052"/>
                    <a:pt x="807" y="1055"/>
                  </a:cubicBezTo>
                  <a:cubicBezTo>
                    <a:pt x="807" y="1060"/>
                    <a:pt x="810" y="1066"/>
                    <a:pt x="811" y="1071"/>
                  </a:cubicBezTo>
                  <a:cubicBezTo>
                    <a:pt x="814" y="1081"/>
                    <a:pt x="818" y="1090"/>
                    <a:pt x="821" y="1099"/>
                  </a:cubicBezTo>
                  <a:cubicBezTo>
                    <a:pt x="824" y="1110"/>
                    <a:pt x="827" y="1120"/>
                    <a:pt x="831" y="1131"/>
                  </a:cubicBezTo>
                  <a:cubicBezTo>
                    <a:pt x="834" y="1142"/>
                    <a:pt x="839" y="1153"/>
                    <a:pt x="842" y="1164"/>
                  </a:cubicBezTo>
                  <a:cubicBezTo>
                    <a:pt x="846" y="1179"/>
                    <a:pt x="850" y="1188"/>
                    <a:pt x="869" y="1185"/>
                  </a:cubicBezTo>
                  <a:cubicBezTo>
                    <a:pt x="873" y="1184"/>
                    <a:pt x="881" y="1189"/>
                    <a:pt x="884" y="1181"/>
                  </a:cubicBezTo>
                  <a:close/>
                  <a:moveTo>
                    <a:pt x="33" y="1051"/>
                  </a:moveTo>
                  <a:cubicBezTo>
                    <a:pt x="33" y="1087"/>
                    <a:pt x="33" y="1124"/>
                    <a:pt x="33" y="1160"/>
                  </a:cubicBezTo>
                  <a:cubicBezTo>
                    <a:pt x="33" y="1188"/>
                    <a:pt x="29" y="1184"/>
                    <a:pt x="58" y="1185"/>
                  </a:cubicBezTo>
                  <a:cubicBezTo>
                    <a:pt x="72" y="1185"/>
                    <a:pt x="73" y="1184"/>
                    <a:pt x="73" y="1170"/>
                  </a:cubicBezTo>
                  <a:cubicBezTo>
                    <a:pt x="73" y="1138"/>
                    <a:pt x="73" y="1107"/>
                    <a:pt x="73" y="1076"/>
                  </a:cubicBezTo>
                  <a:cubicBezTo>
                    <a:pt x="73" y="1071"/>
                    <a:pt x="72" y="1067"/>
                    <a:pt x="78" y="1065"/>
                  </a:cubicBezTo>
                  <a:cubicBezTo>
                    <a:pt x="91" y="1062"/>
                    <a:pt x="102" y="1067"/>
                    <a:pt x="110" y="1076"/>
                  </a:cubicBezTo>
                  <a:cubicBezTo>
                    <a:pt x="112" y="1080"/>
                    <a:pt x="115" y="1083"/>
                    <a:pt x="118" y="1086"/>
                  </a:cubicBezTo>
                  <a:cubicBezTo>
                    <a:pt x="132" y="1103"/>
                    <a:pt x="146" y="1119"/>
                    <a:pt x="161" y="1136"/>
                  </a:cubicBezTo>
                  <a:cubicBezTo>
                    <a:pt x="173" y="1150"/>
                    <a:pt x="186" y="1165"/>
                    <a:pt x="198" y="1179"/>
                  </a:cubicBezTo>
                  <a:cubicBezTo>
                    <a:pt x="207" y="1188"/>
                    <a:pt x="218" y="1184"/>
                    <a:pt x="228" y="1185"/>
                  </a:cubicBezTo>
                  <a:cubicBezTo>
                    <a:pt x="233" y="1185"/>
                    <a:pt x="241" y="1188"/>
                    <a:pt x="244" y="1182"/>
                  </a:cubicBezTo>
                  <a:cubicBezTo>
                    <a:pt x="246" y="1178"/>
                    <a:pt x="239" y="1173"/>
                    <a:pt x="235" y="1169"/>
                  </a:cubicBezTo>
                  <a:cubicBezTo>
                    <a:pt x="206" y="1133"/>
                    <a:pt x="176" y="1098"/>
                    <a:pt x="146" y="1062"/>
                  </a:cubicBezTo>
                  <a:cubicBezTo>
                    <a:pt x="141" y="1056"/>
                    <a:pt x="131" y="1052"/>
                    <a:pt x="132" y="1044"/>
                  </a:cubicBezTo>
                  <a:cubicBezTo>
                    <a:pt x="132" y="1036"/>
                    <a:pt x="142" y="1032"/>
                    <a:pt x="147" y="1026"/>
                  </a:cubicBezTo>
                  <a:cubicBezTo>
                    <a:pt x="164" y="1006"/>
                    <a:pt x="182" y="988"/>
                    <a:pt x="198" y="968"/>
                  </a:cubicBezTo>
                  <a:cubicBezTo>
                    <a:pt x="209" y="954"/>
                    <a:pt x="221" y="942"/>
                    <a:pt x="234" y="929"/>
                  </a:cubicBezTo>
                  <a:cubicBezTo>
                    <a:pt x="236" y="926"/>
                    <a:pt x="238" y="923"/>
                    <a:pt x="237" y="920"/>
                  </a:cubicBezTo>
                  <a:cubicBezTo>
                    <a:pt x="235" y="915"/>
                    <a:pt x="231" y="917"/>
                    <a:pt x="228" y="917"/>
                  </a:cubicBezTo>
                  <a:cubicBezTo>
                    <a:pt x="224" y="918"/>
                    <a:pt x="221" y="918"/>
                    <a:pt x="217" y="918"/>
                  </a:cubicBezTo>
                  <a:cubicBezTo>
                    <a:pt x="204" y="917"/>
                    <a:pt x="193" y="922"/>
                    <a:pt x="185" y="931"/>
                  </a:cubicBezTo>
                  <a:cubicBezTo>
                    <a:pt x="172" y="946"/>
                    <a:pt x="158" y="961"/>
                    <a:pt x="145" y="977"/>
                  </a:cubicBezTo>
                  <a:cubicBezTo>
                    <a:pt x="131" y="993"/>
                    <a:pt x="117" y="1010"/>
                    <a:pt x="102" y="1026"/>
                  </a:cubicBezTo>
                  <a:cubicBezTo>
                    <a:pt x="96" y="1032"/>
                    <a:pt x="87" y="1037"/>
                    <a:pt x="78" y="1034"/>
                  </a:cubicBezTo>
                  <a:cubicBezTo>
                    <a:pt x="70" y="1030"/>
                    <a:pt x="73" y="1021"/>
                    <a:pt x="73" y="1015"/>
                  </a:cubicBezTo>
                  <a:cubicBezTo>
                    <a:pt x="73" y="991"/>
                    <a:pt x="73" y="967"/>
                    <a:pt x="73" y="944"/>
                  </a:cubicBezTo>
                  <a:cubicBezTo>
                    <a:pt x="73" y="916"/>
                    <a:pt x="75" y="917"/>
                    <a:pt x="46" y="918"/>
                  </a:cubicBezTo>
                  <a:cubicBezTo>
                    <a:pt x="33" y="918"/>
                    <a:pt x="33" y="918"/>
                    <a:pt x="33" y="931"/>
                  </a:cubicBezTo>
                  <a:cubicBezTo>
                    <a:pt x="33" y="971"/>
                    <a:pt x="33" y="1011"/>
                    <a:pt x="33" y="1051"/>
                  </a:cubicBezTo>
                  <a:cubicBezTo>
                    <a:pt x="33" y="1051"/>
                    <a:pt x="33" y="1051"/>
                    <a:pt x="33" y="1051"/>
                  </a:cubicBezTo>
                  <a:close/>
                  <a:moveTo>
                    <a:pt x="639" y="84"/>
                  </a:moveTo>
                  <a:cubicBezTo>
                    <a:pt x="627" y="84"/>
                    <a:pt x="626" y="84"/>
                    <a:pt x="629" y="95"/>
                  </a:cubicBezTo>
                  <a:cubicBezTo>
                    <a:pt x="634" y="113"/>
                    <a:pt x="640" y="131"/>
                    <a:pt x="646" y="148"/>
                  </a:cubicBezTo>
                  <a:cubicBezTo>
                    <a:pt x="652" y="166"/>
                    <a:pt x="658" y="185"/>
                    <a:pt x="664" y="203"/>
                  </a:cubicBezTo>
                  <a:cubicBezTo>
                    <a:pt x="671" y="223"/>
                    <a:pt x="676" y="244"/>
                    <a:pt x="684" y="264"/>
                  </a:cubicBezTo>
                  <a:cubicBezTo>
                    <a:pt x="688" y="274"/>
                    <a:pt x="694" y="274"/>
                    <a:pt x="702" y="274"/>
                  </a:cubicBezTo>
                  <a:cubicBezTo>
                    <a:pt x="711" y="274"/>
                    <a:pt x="719" y="272"/>
                    <a:pt x="723" y="263"/>
                  </a:cubicBezTo>
                  <a:cubicBezTo>
                    <a:pt x="733" y="236"/>
                    <a:pt x="741" y="208"/>
                    <a:pt x="750" y="181"/>
                  </a:cubicBezTo>
                  <a:cubicBezTo>
                    <a:pt x="754" y="169"/>
                    <a:pt x="757" y="156"/>
                    <a:pt x="763" y="145"/>
                  </a:cubicBezTo>
                  <a:cubicBezTo>
                    <a:pt x="764" y="143"/>
                    <a:pt x="764" y="140"/>
                    <a:pt x="767" y="140"/>
                  </a:cubicBezTo>
                  <a:cubicBezTo>
                    <a:pt x="770" y="140"/>
                    <a:pt x="770" y="143"/>
                    <a:pt x="771" y="145"/>
                  </a:cubicBezTo>
                  <a:cubicBezTo>
                    <a:pt x="771" y="156"/>
                    <a:pt x="777" y="165"/>
                    <a:pt x="780" y="175"/>
                  </a:cubicBezTo>
                  <a:cubicBezTo>
                    <a:pt x="782" y="184"/>
                    <a:pt x="785" y="193"/>
                    <a:pt x="788" y="201"/>
                  </a:cubicBezTo>
                  <a:cubicBezTo>
                    <a:pt x="794" y="219"/>
                    <a:pt x="801" y="237"/>
                    <a:pt x="806" y="255"/>
                  </a:cubicBezTo>
                  <a:cubicBezTo>
                    <a:pt x="811" y="272"/>
                    <a:pt x="825" y="280"/>
                    <a:pt x="842" y="273"/>
                  </a:cubicBezTo>
                  <a:cubicBezTo>
                    <a:pt x="845" y="271"/>
                    <a:pt x="847" y="269"/>
                    <a:pt x="848" y="266"/>
                  </a:cubicBezTo>
                  <a:cubicBezTo>
                    <a:pt x="853" y="251"/>
                    <a:pt x="859" y="236"/>
                    <a:pt x="863" y="221"/>
                  </a:cubicBezTo>
                  <a:cubicBezTo>
                    <a:pt x="867" y="202"/>
                    <a:pt x="875" y="185"/>
                    <a:pt x="880" y="166"/>
                  </a:cubicBezTo>
                  <a:cubicBezTo>
                    <a:pt x="886" y="144"/>
                    <a:pt x="895" y="123"/>
                    <a:pt x="900" y="101"/>
                  </a:cubicBezTo>
                  <a:cubicBezTo>
                    <a:pt x="901" y="96"/>
                    <a:pt x="909" y="91"/>
                    <a:pt x="904" y="86"/>
                  </a:cubicBezTo>
                  <a:cubicBezTo>
                    <a:pt x="900" y="81"/>
                    <a:pt x="892" y="84"/>
                    <a:pt x="886" y="84"/>
                  </a:cubicBezTo>
                  <a:cubicBezTo>
                    <a:pt x="885" y="84"/>
                    <a:pt x="883" y="84"/>
                    <a:pt x="881" y="84"/>
                  </a:cubicBezTo>
                  <a:cubicBezTo>
                    <a:pt x="875" y="84"/>
                    <a:pt x="872" y="86"/>
                    <a:pt x="869" y="91"/>
                  </a:cubicBezTo>
                  <a:cubicBezTo>
                    <a:pt x="860" y="110"/>
                    <a:pt x="856" y="131"/>
                    <a:pt x="850" y="151"/>
                  </a:cubicBezTo>
                  <a:cubicBezTo>
                    <a:pt x="844" y="170"/>
                    <a:pt x="836" y="188"/>
                    <a:pt x="834" y="208"/>
                  </a:cubicBezTo>
                  <a:cubicBezTo>
                    <a:pt x="833" y="211"/>
                    <a:pt x="831" y="214"/>
                    <a:pt x="827" y="214"/>
                  </a:cubicBezTo>
                  <a:cubicBezTo>
                    <a:pt x="823" y="214"/>
                    <a:pt x="822" y="210"/>
                    <a:pt x="822" y="207"/>
                  </a:cubicBezTo>
                  <a:cubicBezTo>
                    <a:pt x="817" y="188"/>
                    <a:pt x="811" y="170"/>
                    <a:pt x="805" y="152"/>
                  </a:cubicBezTo>
                  <a:cubicBezTo>
                    <a:pt x="799" y="133"/>
                    <a:pt x="794" y="114"/>
                    <a:pt x="786" y="96"/>
                  </a:cubicBezTo>
                  <a:cubicBezTo>
                    <a:pt x="783" y="87"/>
                    <a:pt x="779" y="84"/>
                    <a:pt x="770" y="84"/>
                  </a:cubicBezTo>
                  <a:cubicBezTo>
                    <a:pt x="761" y="84"/>
                    <a:pt x="752" y="82"/>
                    <a:pt x="748" y="94"/>
                  </a:cubicBezTo>
                  <a:cubicBezTo>
                    <a:pt x="744" y="109"/>
                    <a:pt x="738" y="123"/>
                    <a:pt x="734" y="138"/>
                  </a:cubicBezTo>
                  <a:cubicBezTo>
                    <a:pt x="729" y="153"/>
                    <a:pt x="724" y="167"/>
                    <a:pt x="719" y="182"/>
                  </a:cubicBezTo>
                  <a:cubicBezTo>
                    <a:pt x="716" y="192"/>
                    <a:pt x="715" y="203"/>
                    <a:pt x="708" y="212"/>
                  </a:cubicBezTo>
                  <a:cubicBezTo>
                    <a:pt x="707" y="214"/>
                    <a:pt x="707" y="217"/>
                    <a:pt x="704" y="217"/>
                  </a:cubicBezTo>
                  <a:cubicBezTo>
                    <a:pt x="701" y="217"/>
                    <a:pt x="701" y="213"/>
                    <a:pt x="700" y="211"/>
                  </a:cubicBezTo>
                  <a:cubicBezTo>
                    <a:pt x="699" y="198"/>
                    <a:pt x="694" y="186"/>
                    <a:pt x="690" y="174"/>
                  </a:cubicBezTo>
                  <a:cubicBezTo>
                    <a:pt x="684" y="153"/>
                    <a:pt x="677" y="131"/>
                    <a:pt x="672" y="110"/>
                  </a:cubicBezTo>
                  <a:cubicBezTo>
                    <a:pt x="667" y="88"/>
                    <a:pt x="663" y="84"/>
                    <a:pt x="645" y="84"/>
                  </a:cubicBezTo>
                  <a:cubicBezTo>
                    <a:pt x="643" y="84"/>
                    <a:pt x="641" y="84"/>
                    <a:pt x="639" y="84"/>
                  </a:cubicBezTo>
                  <a:close/>
                  <a:moveTo>
                    <a:pt x="507" y="711"/>
                  </a:moveTo>
                  <a:cubicBezTo>
                    <a:pt x="507" y="730"/>
                    <a:pt x="507" y="730"/>
                    <a:pt x="526" y="730"/>
                  </a:cubicBezTo>
                  <a:cubicBezTo>
                    <a:pt x="539" y="730"/>
                    <a:pt x="541" y="729"/>
                    <a:pt x="541" y="715"/>
                  </a:cubicBezTo>
                  <a:cubicBezTo>
                    <a:pt x="541" y="677"/>
                    <a:pt x="541" y="638"/>
                    <a:pt x="540" y="600"/>
                  </a:cubicBezTo>
                  <a:cubicBezTo>
                    <a:pt x="540" y="593"/>
                    <a:pt x="543" y="587"/>
                    <a:pt x="548" y="582"/>
                  </a:cubicBezTo>
                  <a:cubicBezTo>
                    <a:pt x="553" y="576"/>
                    <a:pt x="559" y="573"/>
                    <a:pt x="564" y="569"/>
                  </a:cubicBezTo>
                  <a:cubicBezTo>
                    <a:pt x="574" y="564"/>
                    <a:pt x="594" y="566"/>
                    <a:pt x="602" y="574"/>
                  </a:cubicBezTo>
                  <a:cubicBezTo>
                    <a:pt x="611" y="582"/>
                    <a:pt x="614" y="592"/>
                    <a:pt x="614" y="604"/>
                  </a:cubicBezTo>
                  <a:cubicBezTo>
                    <a:pt x="614" y="638"/>
                    <a:pt x="614" y="672"/>
                    <a:pt x="614" y="706"/>
                  </a:cubicBezTo>
                  <a:cubicBezTo>
                    <a:pt x="614" y="730"/>
                    <a:pt x="614" y="730"/>
                    <a:pt x="638" y="730"/>
                  </a:cubicBezTo>
                  <a:cubicBezTo>
                    <a:pt x="650" y="730"/>
                    <a:pt x="650" y="730"/>
                    <a:pt x="650" y="717"/>
                  </a:cubicBezTo>
                  <a:cubicBezTo>
                    <a:pt x="650" y="684"/>
                    <a:pt x="650" y="650"/>
                    <a:pt x="650" y="617"/>
                  </a:cubicBezTo>
                  <a:cubicBezTo>
                    <a:pt x="650" y="606"/>
                    <a:pt x="651" y="597"/>
                    <a:pt x="657" y="586"/>
                  </a:cubicBezTo>
                  <a:cubicBezTo>
                    <a:pt x="667" y="565"/>
                    <a:pt x="703" y="560"/>
                    <a:pt x="716" y="579"/>
                  </a:cubicBezTo>
                  <a:cubicBezTo>
                    <a:pt x="723" y="588"/>
                    <a:pt x="724" y="598"/>
                    <a:pt x="724" y="609"/>
                  </a:cubicBezTo>
                  <a:cubicBezTo>
                    <a:pt x="724" y="645"/>
                    <a:pt x="724" y="682"/>
                    <a:pt x="724" y="718"/>
                  </a:cubicBezTo>
                  <a:cubicBezTo>
                    <a:pt x="724" y="727"/>
                    <a:pt x="727" y="731"/>
                    <a:pt x="736" y="730"/>
                  </a:cubicBezTo>
                  <a:cubicBezTo>
                    <a:pt x="738" y="730"/>
                    <a:pt x="741" y="730"/>
                    <a:pt x="743" y="730"/>
                  </a:cubicBezTo>
                  <a:cubicBezTo>
                    <a:pt x="758" y="730"/>
                    <a:pt x="759" y="729"/>
                    <a:pt x="759" y="715"/>
                  </a:cubicBezTo>
                  <a:cubicBezTo>
                    <a:pt x="759" y="677"/>
                    <a:pt x="758" y="639"/>
                    <a:pt x="759" y="601"/>
                  </a:cubicBezTo>
                  <a:cubicBezTo>
                    <a:pt x="759" y="571"/>
                    <a:pt x="742" y="540"/>
                    <a:pt x="704" y="538"/>
                  </a:cubicBezTo>
                  <a:cubicBezTo>
                    <a:pt x="681" y="536"/>
                    <a:pt x="661" y="542"/>
                    <a:pt x="646" y="560"/>
                  </a:cubicBezTo>
                  <a:cubicBezTo>
                    <a:pt x="638" y="569"/>
                    <a:pt x="638" y="569"/>
                    <a:pt x="631" y="559"/>
                  </a:cubicBezTo>
                  <a:cubicBezTo>
                    <a:pt x="630" y="558"/>
                    <a:pt x="630" y="557"/>
                    <a:pt x="629" y="556"/>
                  </a:cubicBezTo>
                  <a:cubicBezTo>
                    <a:pt x="623" y="548"/>
                    <a:pt x="616" y="541"/>
                    <a:pt x="607" y="539"/>
                  </a:cubicBezTo>
                  <a:cubicBezTo>
                    <a:pt x="584" y="534"/>
                    <a:pt x="563" y="539"/>
                    <a:pt x="545" y="555"/>
                  </a:cubicBezTo>
                  <a:cubicBezTo>
                    <a:pt x="540" y="559"/>
                    <a:pt x="537" y="561"/>
                    <a:pt x="537" y="552"/>
                  </a:cubicBezTo>
                  <a:cubicBezTo>
                    <a:pt x="536" y="543"/>
                    <a:pt x="526" y="538"/>
                    <a:pt x="515" y="539"/>
                  </a:cubicBezTo>
                  <a:cubicBezTo>
                    <a:pt x="506" y="540"/>
                    <a:pt x="507" y="546"/>
                    <a:pt x="507" y="552"/>
                  </a:cubicBezTo>
                  <a:cubicBezTo>
                    <a:pt x="507" y="580"/>
                    <a:pt x="507" y="607"/>
                    <a:pt x="507" y="634"/>
                  </a:cubicBezTo>
                  <a:cubicBezTo>
                    <a:pt x="507" y="660"/>
                    <a:pt x="507" y="685"/>
                    <a:pt x="507" y="711"/>
                  </a:cubicBezTo>
                  <a:close/>
                  <a:moveTo>
                    <a:pt x="1525" y="1142"/>
                  </a:moveTo>
                  <a:cubicBezTo>
                    <a:pt x="1517" y="1143"/>
                    <a:pt x="1511" y="1141"/>
                    <a:pt x="1505" y="1136"/>
                  </a:cubicBezTo>
                  <a:cubicBezTo>
                    <a:pt x="1501" y="1133"/>
                    <a:pt x="1495" y="1130"/>
                    <a:pt x="1498" y="1124"/>
                  </a:cubicBezTo>
                  <a:cubicBezTo>
                    <a:pt x="1500" y="1118"/>
                    <a:pt x="1504" y="1114"/>
                    <a:pt x="1512" y="1114"/>
                  </a:cubicBezTo>
                  <a:cubicBezTo>
                    <a:pt x="1521" y="1115"/>
                    <a:pt x="1530" y="1114"/>
                    <a:pt x="1538" y="1115"/>
                  </a:cubicBezTo>
                  <a:cubicBezTo>
                    <a:pt x="1573" y="1117"/>
                    <a:pt x="1610" y="1084"/>
                    <a:pt x="1602" y="1044"/>
                  </a:cubicBezTo>
                  <a:cubicBezTo>
                    <a:pt x="1600" y="1035"/>
                    <a:pt x="1599" y="1028"/>
                    <a:pt x="1611" y="1027"/>
                  </a:cubicBezTo>
                  <a:cubicBezTo>
                    <a:pt x="1614" y="1027"/>
                    <a:pt x="1617" y="1024"/>
                    <a:pt x="1619" y="1023"/>
                  </a:cubicBezTo>
                  <a:cubicBezTo>
                    <a:pt x="1626" y="1019"/>
                    <a:pt x="1624" y="1013"/>
                    <a:pt x="1623" y="1008"/>
                  </a:cubicBezTo>
                  <a:cubicBezTo>
                    <a:pt x="1623" y="1002"/>
                    <a:pt x="1618" y="1003"/>
                    <a:pt x="1613" y="1002"/>
                  </a:cubicBezTo>
                  <a:cubicBezTo>
                    <a:pt x="1598" y="1002"/>
                    <a:pt x="1582" y="1004"/>
                    <a:pt x="1567" y="1000"/>
                  </a:cubicBezTo>
                  <a:cubicBezTo>
                    <a:pt x="1560" y="999"/>
                    <a:pt x="1554" y="993"/>
                    <a:pt x="1546" y="993"/>
                  </a:cubicBezTo>
                  <a:cubicBezTo>
                    <a:pt x="1536" y="994"/>
                    <a:pt x="1525" y="992"/>
                    <a:pt x="1515" y="993"/>
                  </a:cubicBezTo>
                  <a:cubicBezTo>
                    <a:pt x="1490" y="997"/>
                    <a:pt x="1469" y="1010"/>
                    <a:pt x="1462" y="1034"/>
                  </a:cubicBezTo>
                  <a:cubicBezTo>
                    <a:pt x="1455" y="1056"/>
                    <a:pt x="1457" y="1079"/>
                    <a:pt x="1476" y="1096"/>
                  </a:cubicBezTo>
                  <a:cubicBezTo>
                    <a:pt x="1483" y="1103"/>
                    <a:pt x="1483" y="1107"/>
                    <a:pt x="1476" y="1113"/>
                  </a:cubicBezTo>
                  <a:cubicBezTo>
                    <a:pt x="1462" y="1126"/>
                    <a:pt x="1462" y="1142"/>
                    <a:pt x="1473" y="1157"/>
                  </a:cubicBezTo>
                  <a:cubicBezTo>
                    <a:pt x="1476" y="1160"/>
                    <a:pt x="1476" y="1162"/>
                    <a:pt x="1472" y="1164"/>
                  </a:cubicBezTo>
                  <a:cubicBezTo>
                    <a:pt x="1470" y="1166"/>
                    <a:pt x="1468" y="1168"/>
                    <a:pt x="1466" y="1170"/>
                  </a:cubicBezTo>
                  <a:cubicBezTo>
                    <a:pt x="1449" y="1183"/>
                    <a:pt x="1444" y="1201"/>
                    <a:pt x="1454" y="1218"/>
                  </a:cubicBezTo>
                  <a:cubicBezTo>
                    <a:pt x="1464" y="1235"/>
                    <a:pt x="1479" y="1246"/>
                    <a:pt x="1499" y="1249"/>
                  </a:cubicBezTo>
                  <a:cubicBezTo>
                    <a:pt x="1517" y="1252"/>
                    <a:pt x="1535" y="1253"/>
                    <a:pt x="1553" y="1250"/>
                  </a:cubicBezTo>
                  <a:cubicBezTo>
                    <a:pt x="1584" y="1245"/>
                    <a:pt x="1607" y="1232"/>
                    <a:pt x="1619" y="1200"/>
                  </a:cubicBezTo>
                  <a:cubicBezTo>
                    <a:pt x="1627" y="1180"/>
                    <a:pt x="1611" y="1155"/>
                    <a:pt x="1593" y="1148"/>
                  </a:cubicBezTo>
                  <a:cubicBezTo>
                    <a:pt x="1578" y="1142"/>
                    <a:pt x="1563" y="1143"/>
                    <a:pt x="1549" y="1142"/>
                  </a:cubicBezTo>
                  <a:cubicBezTo>
                    <a:pt x="1540" y="1142"/>
                    <a:pt x="1532" y="1142"/>
                    <a:pt x="1525" y="1142"/>
                  </a:cubicBezTo>
                  <a:close/>
                  <a:moveTo>
                    <a:pt x="1556" y="1172"/>
                  </a:moveTo>
                  <a:cubicBezTo>
                    <a:pt x="1566" y="1172"/>
                    <a:pt x="1576" y="1176"/>
                    <a:pt x="1583" y="1183"/>
                  </a:cubicBezTo>
                  <a:cubicBezTo>
                    <a:pt x="1589" y="1190"/>
                    <a:pt x="1589" y="1198"/>
                    <a:pt x="1583" y="1205"/>
                  </a:cubicBezTo>
                  <a:cubicBezTo>
                    <a:pt x="1575" y="1215"/>
                    <a:pt x="1565" y="1220"/>
                    <a:pt x="1553" y="1223"/>
                  </a:cubicBezTo>
                  <a:cubicBezTo>
                    <a:pt x="1534" y="1228"/>
                    <a:pt x="1516" y="1225"/>
                    <a:pt x="1499" y="1219"/>
                  </a:cubicBezTo>
                  <a:cubicBezTo>
                    <a:pt x="1486" y="1214"/>
                    <a:pt x="1479" y="1203"/>
                    <a:pt x="1482" y="1193"/>
                  </a:cubicBezTo>
                  <a:cubicBezTo>
                    <a:pt x="1485" y="1182"/>
                    <a:pt x="1496" y="1168"/>
                    <a:pt x="1514" y="1171"/>
                  </a:cubicBezTo>
                  <a:cubicBezTo>
                    <a:pt x="1526" y="1173"/>
                    <a:pt x="1541" y="1171"/>
                    <a:pt x="1556" y="1172"/>
                  </a:cubicBezTo>
                  <a:close/>
                  <a:moveTo>
                    <a:pt x="1531" y="1019"/>
                  </a:moveTo>
                  <a:cubicBezTo>
                    <a:pt x="1553" y="1017"/>
                    <a:pt x="1570" y="1033"/>
                    <a:pt x="1570" y="1052"/>
                  </a:cubicBezTo>
                  <a:cubicBezTo>
                    <a:pt x="1570" y="1075"/>
                    <a:pt x="1554" y="1093"/>
                    <a:pt x="1532" y="1091"/>
                  </a:cubicBezTo>
                  <a:cubicBezTo>
                    <a:pt x="1508" y="1089"/>
                    <a:pt x="1494" y="1082"/>
                    <a:pt x="1493" y="1053"/>
                  </a:cubicBezTo>
                  <a:cubicBezTo>
                    <a:pt x="1494" y="1029"/>
                    <a:pt x="1508" y="1020"/>
                    <a:pt x="1531" y="1019"/>
                  </a:cubicBezTo>
                  <a:close/>
                  <a:moveTo>
                    <a:pt x="1413" y="934"/>
                  </a:moveTo>
                  <a:cubicBezTo>
                    <a:pt x="1413" y="909"/>
                    <a:pt x="1413" y="909"/>
                    <a:pt x="1389" y="910"/>
                  </a:cubicBezTo>
                  <a:cubicBezTo>
                    <a:pt x="1388" y="910"/>
                    <a:pt x="1387" y="910"/>
                    <a:pt x="1387" y="910"/>
                  </a:cubicBezTo>
                  <a:cubicBezTo>
                    <a:pt x="1379" y="910"/>
                    <a:pt x="1376" y="915"/>
                    <a:pt x="1376" y="921"/>
                  </a:cubicBezTo>
                  <a:cubicBezTo>
                    <a:pt x="1376" y="939"/>
                    <a:pt x="1377" y="956"/>
                    <a:pt x="1377" y="974"/>
                  </a:cubicBezTo>
                  <a:cubicBezTo>
                    <a:pt x="1377" y="983"/>
                    <a:pt x="1377" y="991"/>
                    <a:pt x="1377" y="1000"/>
                  </a:cubicBezTo>
                  <a:cubicBezTo>
                    <a:pt x="1377" y="1005"/>
                    <a:pt x="1374" y="1009"/>
                    <a:pt x="1369" y="1005"/>
                  </a:cubicBezTo>
                  <a:cubicBezTo>
                    <a:pt x="1352" y="990"/>
                    <a:pt x="1332" y="993"/>
                    <a:pt x="1312" y="993"/>
                  </a:cubicBezTo>
                  <a:cubicBezTo>
                    <a:pt x="1303" y="994"/>
                    <a:pt x="1294" y="998"/>
                    <a:pt x="1287" y="1003"/>
                  </a:cubicBezTo>
                  <a:cubicBezTo>
                    <a:pt x="1265" y="1017"/>
                    <a:pt x="1252" y="1039"/>
                    <a:pt x="1248" y="1065"/>
                  </a:cubicBezTo>
                  <a:cubicBezTo>
                    <a:pt x="1244" y="1096"/>
                    <a:pt x="1244" y="1128"/>
                    <a:pt x="1261" y="1157"/>
                  </a:cubicBezTo>
                  <a:cubicBezTo>
                    <a:pt x="1270" y="1170"/>
                    <a:pt x="1281" y="1181"/>
                    <a:pt x="1296" y="1185"/>
                  </a:cubicBezTo>
                  <a:cubicBezTo>
                    <a:pt x="1323" y="1191"/>
                    <a:pt x="1349" y="1188"/>
                    <a:pt x="1370" y="1167"/>
                  </a:cubicBezTo>
                  <a:cubicBezTo>
                    <a:pt x="1372" y="1165"/>
                    <a:pt x="1375" y="1162"/>
                    <a:pt x="1379" y="1163"/>
                  </a:cubicBezTo>
                  <a:cubicBezTo>
                    <a:pt x="1382" y="1165"/>
                    <a:pt x="1381" y="1169"/>
                    <a:pt x="1381" y="1172"/>
                  </a:cubicBezTo>
                  <a:cubicBezTo>
                    <a:pt x="1383" y="1181"/>
                    <a:pt x="1390" y="1186"/>
                    <a:pt x="1403" y="1186"/>
                  </a:cubicBezTo>
                  <a:cubicBezTo>
                    <a:pt x="1413" y="1185"/>
                    <a:pt x="1413" y="1178"/>
                    <a:pt x="1413" y="1172"/>
                  </a:cubicBezTo>
                  <a:cubicBezTo>
                    <a:pt x="1413" y="1131"/>
                    <a:pt x="1413" y="1090"/>
                    <a:pt x="1413" y="1049"/>
                  </a:cubicBezTo>
                  <a:cubicBezTo>
                    <a:pt x="1413" y="1010"/>
                    <a:pt x="1413" y="972"/>
                    <a:pt x="1413" y="934"/>
                  </a:cubicBezTo>
                  <a:close/>
                  <a:moveTo>
                    <a:pt x="1378" y="1113"/>
                  </a:moveTo>
                  <a:cubicBezTo>
                    <a:pt x="1378" y="1136"/>
                    <a:pt x="1360" y="1155"/>
                    <a:pt x="1337" y="1157"/>
                  </a:cubicBezTo>
                  <a:cubicBezTo>
                    <a:pt x="1319" y="1159"/>
                    <a:pt x="1304" y="1154"/>
                    <a:pt x="1294" y="1139"/>
                  </a:cubicBezTo>
                  <a:cubicBezTo>
                    <a:pt x="1286" y="1128"/>
                    <a:pt x="1283" y="1116"/>
                    <a:pt x="1283" y="1102"/>
                  </a:cubicBezTo>
                  <a:cubicBezTo>
                    <a:pt x="1282" y="1085"/>
                    <a:pt x="1282" y="1067"/>
                    <a:pt x="1290" y="1051"/>
                  </a:cubicBezTo>
                  <a:cubicBezTo>
                    <a:pt x="1297" y="1036"/>
                    <a:pt x="1308" y="1024"/>
                    <a:pt x="1325" y="1022"/>
                  </a:cubicBezTo>
                  <a:cubicBezTo>
                    <a:pt x="1342" y="1020"/>
                    <a:pt x="1358" y="1021"/>
                    <a:pt x="1371" y="1035"/>
                  </a:cubicBezTo>
                  <a:cubicBezTo>
                    <a:pt x="1376" y="1041"/>
                    <a:pt x="1378" y="1046"/>
                    <a:pt x="1378" y="1052"/>
                  </a:cubicBezTo>
                  <a:cubicBezTo>
                    <a:pt x="1378" y="1064"/>
                    <a:pt x="1378" y="1075"/>
                    <a:pt x="1378" y="1086"/>
                  </a:cubicBezTo>
                  <a:cubicBezTo>
                    <a:pt x="1378" y="1086"/>
                    <a:pt x="1378" y="1086"/>
                    <a:pt x="1378" y="1086"/>
                  </a:cubicBezTo>
                  <a:cubicBezTo>
                    <a:pt x="1378" y="1095"/>
                    <a:pt x="1378" y="1104"/>
                    <a:pt x="1378" y="1113"/>
                  </a:cubicBezTo>
                  <a:close/>
                  <a:moveTo>
                    <a:pt x="578" y="259"/>
                  </a:moveTo>
                  <a:cubicBezTo>
                    <a:pt x="603" y="241"/>
                    <a:pt x="611" y="213"/>
                    <a:pt x="614" y="183"/>
                  </a:cubicBezTo>
                  <a:cubicBezTo>
                    <a:pt x="615" y="171"/>
                    <a:pt x="610" y="159"/>
                    <a:pt x="609" y="147"/>
                  </a:cubicBezTo>
                  <a:cubicBezTo>
                    <a:pt x="608" y="137"/>
                    <a:pt x="603" y="129"/>
                    <a:pt x="599" y="121"/>
                  </a:cubicBezTo>
                  <a:cubicBezTo>
                    <a:pt x="579" y="87"/>
                    <a:pt x="527" y="70"/>
                    <a:pt x="488" y="85"/>
                  </a:cubicBezTo>
                  <a:cubicBezTo>
                    <a:pt x="453" y="99"/>
                    <a:pt x="436" y="127"/>
                    <a:pt x="431" y="163"/>
                  </a:cubicBezTo>
                  <a:cubicBezTo>
                    <a:pt x="429" y="180"/>
                    <a:pt x="430" y="196"/>
                    <a:pt x="436" y="213"/>
                  </a:cubicBezTo>
                  <a:cubicBezTo>
                    <a:pt x="439" y="222"/>
                    <a:pt x="442" y="232"/>
                    <a:pt x="447" y="239"/>
                  </a:cubicBezTo>
                  <a:cubicBezTo>
                    <a:pt x="465" y="265"/>
                    <a:pt x="491" y="277"/>
                    <a:pt x="525" y="276"/>
                  </a:cubicBezTo>
                  <a:cubicBezTo>
                    <a:pt x="543" y="278"/>
                    <a:pt x="562" y="271"/>
                    <a:pt x="578" y="259"/>
                  </a:cubicBezTo>
                  <a:close/>
                  <a:moveTo>
                    <a:pt x="471" y="205"/>
                  </a:moveTo>
                  <a:cubicBezTo>
                    <a:pt x="466" y="185"/>
                    <a:pt x="468" y="167"/>
                    <a:pt x="472" y="147"/>
                  </a:cubicBezTo>
                  <a:cubicBezTo>
                    <a:pt x="477" y="130"/>
                    <a:pt x="493" y="116"/>
                    <a:pt x="509" y="112"/>
                  </a:cubicBezTo>
                  <a:cubicBezTo>
                    <a:pt x="525" y="108"/>
                    <a:pt x="539" y="110"/>
                    <a:pt x="553" y="119"/>
                  </a:cubicBezTo>
                  <a:cubicBezTo>
                    <a:pt x="563" y="125"/>
                    <a:pt x="568" y="135"/>
                    <a:pt x="571" y="146"/>
                  </a:cubicBezTo>
                  <a:cubicBezTo>
                    <a:pt x="577" y="167"/>
                    <a:pt x="578" y="189"/>
                    <a:pt x="571" y="211"/>
                  </a:cubicBezTo>
                  <a:cubicBezTo>
                    <a:pt x="565" y="231"/>
                    <a:pt x="549" y="249"/>
                    <a:pt x="521" y="247"/>
                  </a:cubicBezTo>
                  <a:cubicBezTo>
                    <a:pt x="496" y="247"/>
                    <a:pt x="478" y="230"/>
                    <a:pt x="471" y="205"/>
                  </a:cubicBezTo>
                  <a:close/>
                  <a:moveTo>
                    <a:pt x="472" y="1122"/>
                  </a:moveTo>
                  <a:cubicBezTo>
                    <a:pt x="475" y="1136"/>
                    <a:pt x="481" y="1148"/>
                    <a:pt x="491" y="1158"/>
                  </a:cubicBezTo>
                  <a:cubicBezTo>
                    <a:pt x="506" y="1176"/>
                    <a:pt x="524" y="1185"/>
                    <a:pt x="548" y="1187"/>
                  </a:cubicBezTo>
                  <a:cubicBezTo>
                    <a:pt x="568" y="1188"/>
                    <a:pt x="587" y="1187"/>
                    <a:pt x="605" y="1177"/>
                  </a:cubicBezTo>
                  <a:cubicBezTo>
                    <a:pt x="632" y="1162"/>
                    <a:pt x="644" y="1136"/>
                    <a:pt x="649" y="1107"/>
                  </a:cubicBezTo>
                  <a:cubicBezTo>
                    <a:pt x="652" y="1089"/>
                    <a:pt x="649" y="1072"/>
                    <a:pt x="644" y="1054"/>
                  </a:cubicBezTo>
                  <a:cubicBezTo>
                    <a:pt x="638" y="1034"/>
                    <a:pt x="627" y="1019"/>
                    <a:pt x="610" y="1007"/>
                  </a:cubicBezTo>
                  <a:cubicBezTo>
                    <a:pt x="589" y="992"/>
                    <a:pt x="566" y="991"/>
                    <a:pt x="541" y="994"/>
                  </a:cubicBezTo>
                  <a:cubicBezTo>
                    <a:pt x="526" y="995"/>
                    <a:pt x="512" y="1002"/>
                    <a:pt x="500" y="1012"/>
                  </a:cubicBezTo>
                  <a:cubicBezTo>
                    <a:pt x="476" y="1032"/>
                    <a:pt x="469" y="1060"/>
                    <a:pt x="466" y="1095"/>
                  </a:cubicBezTo>
                  <a:cubicBezTo>
                    <a:pt x="465" y="1101"/>
                    <a:pt x="470" y="1111"/>
                    <a:pt x="472" y="1122"/>
                  </a:cubicBezTo>
                  <a:close/>
                  <a:moveTo>
                    <a:pt x="508" y="1113"/>
                  </a:moveTo>
                  <a:cubicBezTo>
                    <a:pt x="505" y="1095"/>
                    <a:pt x="506" y="1078"/>
                    <a:pt x="508" y="1061"/>
                  </a:cubicBezTo>
                  <a:cubicBezTo>
                    <a:pt x="511" y="1042"/>
                    <a:pt x="538" y="1021"/>
                    <a:pt x="554" y="1022"/>
                  </a:cubicBezTo>
                  <a:cubicBezTo>
                    <a:pt x="570" y="1022"/>
                    <a:pt x="586" y="1024"/>
                    <a:pt x="596" y="1037"/>
                  </a:cubicBezTo>
                  <a:cubicBezTo>
                    <a:pt x="602" y="1044"/>
                    <a:pt x="607" y="1052"/>
                    <a:pt x="608" y="1061"/>
                  </a:cubicBezTo>
                  <a:cubicBezTo>
                    <a:pt x="608" y="1064"/>
                    <a:pt x="609" y="1067"/>
                    <a:pt x="610" y="1070"/>
                  </a:cubicBezTo>
                  <a:cubicBezTo>
                    <a:pt x="618" y="1089"/>
                    <a:pt x="612" y="1107"/>
                    <a:pt x="607" y="1125"/>
                  </a:cubicBezTo>
                  <a:cubicBezTo>
                    <a:pt x="601" y="1143"/>
                    <a:pt x="588" y="1160"/>
                    <a:pt x="558" y="1157"/>
                  </a:cubicBezTo>
                  <a:cubicBezTo>
                    <a:pt x="530" y="1157"/>
                    <a:pt x="512" y="1141"/>
                    <a:pt x="508" y="1113"/>
                  </a:cubicBezTo>
                  <a:close/>
                  <a:moveTo>
                    <a:pt x="430" y="716"/>
                  </a:moveTo>
                  <a:cubicBezTo>
                    <a:pt x="450" y="703"/>
                    <a:pt x="459" y="683"/>
                    <a:pt x="464" y="661"/>
                  </a:cubicBezTo>
                  <a:cubicBezTo>
                    <a:pt x="468" y="648"/>
                    <a:pt x="467" y="635"/>
                    <a:pt x="466" y="621"/>
                  </a:cubicBezTo>
                  <a:cubicBezTo>
                    <a:pt x="463" y="592"/>
                    <a:pt x="453" y="567"/>
                    <a:pt x="427" y="550"/>
                  </a:cubicBezTo>
                  <a:cubicBezTo>
                    <a:pt x="401" y="534"/>
                    <a:pt x="372" y="532"/>
                    <a:pt x="345" y="541"/>
                  </a:cubicBezTo>
                  <a:cubicBezTo>
                    <a:pt x="310" y="552"/>
                    <a:pt x="291" y="580"/>
                    <a:pt x="287" y="617"/>
                  </a:cubicBezTo>
                  <a:cubicBezTo>
                    <a:pt x="286" y="629"/>
                    <a:pt x="286" y="641"/>
                    <a:pt x="287" y="654"/>
                  </a:cubicBezTo>
                  <a:cubicBezTo>
                    <a:pt x="289" y="671"/>
                    <a:pt x="295" y="686"/>
                    <a:pt x="306" y="700"/>
                  </a:cubicBezTo>
                  <a:cubicBezTo>
                    <a:pt x="324" y="722"/>
                    <a:pt x="348" y="733"/>
                    <a:pt x="378" y="731"/>
                  </a:cubicBezTo>
                  <a:cubicBezTo>
                    <a:pt x="396" y="733"/>
                    <a:pt x="414" y="727"/>
                    <a:pt x="430" y="716"/>
                  </a:cubicBezTo>
                  <a:close/>
                  <a:moveTo>
                    <a:pt x="331" y="592"/>
                  </a:moveTo>
                  <a:cubicBezTo>
                    <a:pt x="339" y="580"/>
                    <a:pt x="349" y="569"/>
                    <a:pt x="365" y="567"/>
                  </a:cubicBezTo>
                  <a:cubicBezTo>
                    <a:pt x="387" y="564"/>
                    <a:pt x="406" y="568"/>
                    <a:pt x="419" y="588"/>
                  </a:cubicBezTo>
                  <a:cubicBezTo>
                    <a:pt x="423" y="595"/>
                    <a:pt x="426" y="603"/>
                    <a:pt x="427" y="610"/>
                  </a:cubicBezTo>
                  <a:cubicBezTo>
                    <a:pt x="433" y="635"/>
                    <a:pt x="431" y="661"/>
                    <a:pt x="416" y="684"/>
                  </a:cubicBezTo>
                  <a:cubicBezTo>
                    <a:pt x="403" y="706"/>
                    <a:pt x="362" y="708"/>
                    <a:pt x="345" y="692"/>
                  </a:cubicBezTo>
                  <a:cubicBezTo>
                    <a:pt x="329" y="678"/>
                    <a:pt x="323" y="661"/>
                    <a:pt x="323" y="631"/>
                  </a:cubicBezTo>
                  <a:cubicBezTo>
                    <a:pt x="323" y="619"/>
                    <a:pt x="323" y="605"/>
                    <a:pt x="331" y="592"/>
                  </a:cubicBezTo>
                  <a:close/>
                  <a:moveTo>
                    <a:pt x="1073" y="259"/>
                  </a:moveTo>
                  <a:cubicBezTo>
                    <a:pt x="1073" y="269"/>
                    <a:pt x="1075" y="272"/>
                    <a:pt x="1086" y="272"/>
                  </a:cubicBezTo>
                  <a:cubicBezTo>
                    <a:pt x="1088" y="272"/>
                    <a:pt x="1090" y="272"/>
                    <a:pt x="1092" y="272"/>
                  </a:cubicBezTo>
                  <a:cubicBezTo>
                    <a:pt x="1105" y="272"/>
                    <a:pt x="1106" y="271"/>
                    <a:pt x="1106" y="258"/>
                  </a:cubicBezTo>
                  <a:cubicBezTo>
                    <a:pt x="1106" y="221"/>
                    <a:pt x="1106" y="184"/>
                    <a:pt x="1106" y="147"/>
                  </a:cubicBezTo>
                  <a:cubicBezTo>
                    <a:pt x="1106" y="143"/>
                    <a:pt x="1106" y="140"/>
                    <a:pt x="1107" y="137"/>
                  </a:cubicBezTo>
                  <a:cubicBezTo>
                    <a:pt x="1117" y="117"/>
                    <a:pt x="1157" y="104"/>
                    <a:pt x="1177" y="114"/>
                  </a:cubicBezTo>
                  <a:cubicBezTo>
                    <a:pt x="1179" y="115"/>
                    <a:pt x="1180" y="117"/>
                    <a:pt x="1182" y="118"/>
                  </a:cubicBezTo>
                  <a:cubicBezTo>
                    <a:pt x="1194" y="131"/>
                    <a:pt x="1196" y="147"/>
                    <a:pt x="1196" y="163"/>
                  </a:cubicBezTo>
                  <a:cubicBezTo>
                    <a:pt x="1197" y="195"/>
                    <a:pt x="1196" y="226"/>
                    <a:pt x="1196" y="258"/>
                  </a:cubicBezTo>
                  <a:cubicBezTo>
                    <a:pt x="1196" y="271"/>
                    <a:pt x="1197" y="272"/>
                    <a:pt x="1210" y="272"/>
                  </a:cubicBezTo>
                  <a:cubicBezTo>
                    <a:pt x="1212" y="272"/>
                    <a:pt x="1213" y="272"/>
                    <a:pt x="1215" y="272"/>
                  </a:cubicBezTo>
                  <a:cubicBezTo>
                    <a:pt x="1227" y="272"/>
                    <a:pt x="1229" y="270"/>
                    <a:pt x="1229" y="258"/>
                  </a:cubicBezTo>
                  <a:cubicBezTo>
                    <a:pt x="1229" y="222"/>
                    <a:pt x="1229" y="187"/>
                    <a:pt x="1229" y="151"/>
                  </a:cubicBezTo>
                  <a:cubicBezTo>
                    <a:pt x="1229" y="142"/>
                    <a:pt x="1228" y="132"/>
                    <a:pt x="1225" y="123"/>
                  </a:cubicBezTo>
                  <a:cubicBezTo>
                    <a:pt x="1219" y="105"/>
                    <a:pt x="1208" y="91"/>
                    <a:pt x="1189" y="85"/>
                  </a:cubicBezTo>
                  <a:cubicBezTo>
                    <a:pt x="1173" y="80"/>
                    <a:pt x="1156" y="84"/>
                    <a:pt x="1139" y="84"/>
                  </a:cubicBezTo>
                  <a:cubicBezTo>
                    <a:pt x="1137" y="84"/>
                    <a:pt x="1136" y="86"/>
                    <a:pt x="1134" y="87"/>
                  </a:cubicBezTo>
                  <a:cubicBezTo>
                    <a:pt x="1128" y="91"/>
                    <a:pt x="1121" y="96"/>
                    <a:pt x="1115" y="100"/>
                  </a:cubicBezTo>
                  <a:cubicBezTo>
                    <a:pt x="1113" y="102"/>
                    <a:pt x="1111" y="105"/>
                    <a:pt x="1108" y="103"/>
                  </a:cubicBezTo>
                  <a:cubicBezTo>
                    <a:pt x="1105" y="102"/>
                    <a:pt x="1106" y="98"/>
                    <a:pt x="1106" y="96"/>
                  </a:cubicBezTo>
                  <a:cubicBezTo>
                    <a:pt x="1106" y="69"/>
                    <a:pt x="1106" y="43"/>
                    <a:pt x="1106" y="17"/>
                  </a:cubicBezTo>
                  <a:cubicBezTo>
                    <a:pt x="1106" y="0"/>
                    <a:pt x="1106" y="0"/>
                    <a:pt x="1089" y="0"/>
                  </a:cubicBezTo>
                  <a:cubicBezTo>
                    <a:pt x="1074" y="0"/>
                    <a:pt x="1073" y="1"/>
                    <a:pt x="1073" y="16"/>
                  </a:cubicBezTo>
                  <a:cubicBezTo>
                    <a:pt x="1073" y="56"/>
                    <a:pt x="1073" y="96"/>
                    <a:pt x="1073" y="136"/>
                  </a:cubicBezTo>
                  <a:cubicBezTo>
                    <a:pt x="1073" y="177"/>
                    <a:pt x="1073" y="218"/>
                    <a:pt x="1073" y="259"/>
                  </a:cubicBezTo>
                  <a:close/>
                  <a:moveTo>
                    <a:pt x="1150" y="1092"/>
                  </a:moveTo>
                  <a:cubicBezTo>
                    <a:pt x="1168" y="1092"/>
                    <a:pt x="1186" y="1092"/>
                    <a:pt x="1204" y="1092"/>
                  </a:cubicBezTo>
                  <a:cubicBezTo>
                    <a:pt x="1215" y="1092"/>
                    <a:pt x="1218" y="1087"/>
                    <a:pt x="1219" y="1077"/>
                  </a:cubicBezTo>
                  <a:cubicBezTo>
                    <a:pt x="1220" y="1062"/>
                    <a:pt x="1216" y="1049"/>
                    <a:pt x="1210" y="1036"/>
                  </a:cubicBezTo>
                  <a:cubicBezTo>
                    <a:pt x="1204" y="1020"/>
                    <a:pt x="1193" y="1008"/>
                    <a:pt x="1177" y="1001"/>
                  </a:cubicBezTo>
                  <a:cubicBezTo>
                    <a:pt x="1155" y="992"/>
                    <a:pt x="1133" y="991"/>
                    <a:pt x="1109" y="999"/>
                  </a:cubicBezTo>
                  <a:cubicBezTo>
                    <a:pt x="1079" y="1010"/>
                    <a:pt x="1062" y="1031"/>
                    <a:pt x="1056" y="1061"/>
                  </a:cubicBezTo>
                  <a:cubicBezTo>
                    <a:pt x="1051" y="1090"/>
                    <a:pt x="1052" y="1120"/>
                    <a:pt x="1069" y="1148"/>
                  </a:cubicBezTo>
                  <a:cubicBezTo>
                    <a:pt x="1081" y="1169"/>
                    <a:pt x="1100" y="1180"/>
                    <a:pt x="1122" y="1185"/>
                  </a:cubicBezTo>
                  <a:cubicBezTo>
                    <a:pt x="1149" y="1190"/>
                    <a:pt x="1176" y="1186"/>
                    <a:pt x="1200" y="1171"/>
                  </a:cubicBezTo>
                  <a:cubicBezTo>
                    <a:pt x="1206" y="1168"/>
                    <a:pt x="1213" y="1165"/>
                    <a:pt x="1214" y="1157"/>
                  </a:cubicBezTo>
                  <a:cubicBezTo>
                    <a:pt x="1215" y="1147"/>
                    <a:pt x="1202" y="1139"/>
                    <a:pt x="1193" y="1144"/>
                  </a:cubicBezTo>
                  <a:cubicBezTo>
                    <a:pt x="1187" y="1147"/>
                    <a:pt x="1180" y="1150"/>
                    <a:pt x="1174" y="1153"/>
                  </a:cubicBezTo>
                  <a:cubicBezTo>
                    <a:pt x="1158" y="1161"/>
                    <a:pt x="1140" y="1161"/>
                    <a:pt x="1124" y="1155"/>
                  </a:cubicBezTo>
                  <a:cubicBezTo>
                    <a:pt x="1112" y="1151"/>
                    <a:pt x="1102" y="1142"/>
                    <a:pt x="1096" y="1129"/>
                  </a:cubicBezTo>
                  <a:cubicBezTo>
                    <a:pt x="1092" y="1121"/>
                    <a:pt x="1091" y="1112"/>
                    <a:pt x="1089" y="1104"/>
                  </a:cubicBezTo>
                  <a:cubicBezTo>
                    <a:pt x="1087" y="1093"/>
                    <a:pt x="1087" y="1092"/>
                    <a:pt x="1099" y="1092"/>
                  </a:cubicBezTo>
                  <a:cubicBezTo>
                    <a:pt x="1116" y="1092"/>
                    <a:pt x="1133" y="1092"/>
                    <a:pt x="1150" y="1092"/>
                  </a:cubicBezTo>
                  <a:cubicBezTo>
                    <a:pt x="1150" y="1092"/>
                    <a:pt x="1150" y="1092"/>
                    <a:pt x="1150" y="1092"/>
                  </a:cubicBezTo>
                  <a:close/>
                  <a:moveTo>
                    <a:pt x="1099" y="1070"/>
                  </a:moveTo>
                  <a:cubicBezTo>
                    <a:pt x="1092" y="1071"/>
                    <a:pt x="1089" y="1067"/>
                    <a:pt x="1091" y="1060"/>
                  </a:cubicBezTo>
                  <a:cubicBezTo>
                    <a:pt x="1094" y="1045"/>
                    <a:pt x="1108" y="1023"/>
                    <a:pt x="1128" y="1022"/>
                  </a:cubicBezTo>
                  <a:cubicBezTo>
                    <a:pt x="1142" y="1021"/>
                    <a:pt x="1156" y="1018"/>
                    <a:pt x="1168" y="1029"/>
                  </a:cubicBezTo>
                  <a:cubicBezTo>
                    <a:pt x="1181" y="1038"/>
                    <a:pt x="1185" y="1051"/>
                    <a:pt x="1187" y="1066"/>
                  </a:cubicBezTo>
                  <a:cubicBezTo>
                    <a:pt x="1188" y="1071"/>
                    <a:pt x="1183" y="1070"/>
                    <a:pt x="1180" y="1070"/>
                  </a:cubicBezTo>
                  <a:cubicBezTo>
                    <a:pt x="1166" y="1070"/>
                    <a:pt x="1153" y="1070"/>
                    <a:pt x="1139" y="1070"/>
                  </a:cubicBezTo>
                  <a:cubicBezTo>
                    <a:pt x="1139" y="1070"/>
                    <a:pt x="1139" y="1070"/>
                    <a:pt x="1139" y="1070"/>
                  </a:cubicBezTo>
                  <a:cubicBezTo>
                    <a:pt x="1126" y="1070"/>
                    <a:pt x="1113" y="1070"/>
                    <a:pt x="1099" y="1070"/>
                  </a:cubicBezTo>
                  <a:close/>
                  <a:moveTo>
                    <a:pt x="1741" y="1092"/>
                  </a:moveTo>
                  <a:cubicBezTo>
                    <a:pt x="1759" y="1092"/>
                    <a:pt x="1776" y="1092"/>
                    <a:pt x="1793" y="1092"/>
                  </a:cubicBezTo>
                  <a:cubicBezTo>
                    <a:pt x="1806" y="1092"/>
                    <a:pt x="1808" y="1089"/>
                    <a:pt x="1808" y="1076"/>
                  </a:cubicBezTo>
                  <a:cubicBezTo>
                    <a:pt x="1809" y="1063"/>
                    <a:pt x="1807" y="1051"/>
                    <a:pt x="1802" y="1038"/>
                  </a:cubicBezTo>
                  <a:cubicBezTo>
                    <a:pt x="1794" y="1021"/>
                    <a:pt x="1782" y="1008"/>
                    <a:pt x="1764" y="1000"/>
                  </a:cubicBezTo>
                  <a:cubicBezTo>
                    <a:pt x="1742" y="991"/>
                    <a:pt x="1720" y="991"/>
                    <a:pt x="1698" y="1000"/>
                  </a:cubicBezTo>
                  <a:cubicBezTo>
                    <a:pt x="1681" y="1006"/>
                    <a:pt x="1668" y="1016"/>
                    <a:pt x="1659" y="1031"/>
                  </a:cubicBezTo>
                  <a:cubicBezTo>
                    <a:pt x="1646" y="1050"/>
                    <a:pt x="1643" y="1071"/>
                    <a:pt x="1644" y="1094"/>
                  </a:cubicBezTo>
                  <a:cubicBezTo>
                    <a:pt x="1644" y="1110"/>
                    <a:pt x="1647" y="1127"/>
                    <a:pt x="1655" y="1141"/>
                  </a:cubicBezTo>
                  <a:cubicBezTo>
                    <a:pt x="1669" y="1168"/>
                    <a:pt x="1691" y="1183"/>
                    <a:pt x="1722" y="1186"/>
                  </a:cubicBezTo>
                  <a:cubicBezTo>
                    <a:pt x="1750" y="1188"/>
                    <a:pt x="1775" y="1183"/>
                    <a:pt x="1798" y="1165"/>
                  </a:cubicBezTo>
                  <a:cubicBezTo>
                    <a:pt x="1803" y="1161"/>
                    <a:pt x="1806" y="1157"/>
                    <a:pt x="1802" y="1151"/>
                  </a:cubicBezTo>
                  <a:cubicBezTo>
                    <a:pt x="1798" y="1144"/>
                    <a:pt x="1791" y="1140"/>
                    <a:pt x="1783" y="1144"/>
                  </a:cubicBezTo>
                  <a:cubicBezTo>
                    <a:pt x="1778" y="1147"/>
                    <a:pt x="1771" y="1149"/>
                    <a:pt x="1766" y="1152"/>
                  </a:cubicBezTo>
                  <a:cubicBezTo>
                    <a:pt x="1749" y="1161"/>
                    <a:pt x="1730" y="1162"/>
                    <a:pt x="1714" y="1155"/>
                  </a:cubicBezTo>
                  <a:cubicBezTo>
                    <a:pt x="1692" y="1145"/>
                    <a:pt x="1680" y="1127"/>
                    <a:pt x="1679" y="1102"/>
                  </a:cubicBezTo>
                  <a:cubicBezTo>
                    <a:pt x="1678" y="1095"/>
                    <a:pt x="1681" y="1092"/>
                    <a:pt x="1689" y="1092"/>
                  </a:cubicBezTo>
                  <a:cubicBezTo>
                    <a:pt x="1706" y="1092"/>
                    <a:pt x="1724" y="1092"/>
                    <a:pt x="1741" y="1092"/>
                  </a:cubicBezTo>
                  <a:cubicBezTo>
                    <a:pt x="1741" y="1092"/>
                    <a:pt x="1741" y="1092"/>
                    <a:pt x="1741" y="1092"/>
                  </a:cubicBezTo>
                  <a:close/>
                  <a:moveTo>
                    <a:pt x="1690" y="1070"/>
                  </a:moveTo>
                  <a:cubicBezTo>
                    <a:pt x="1683" y="1071"/>
                    <a:pt x="1680" y="1068"/>
                    <a:pt x="1681" y="1062"/>
                  </a:cubicBezTo>
                  <a:cubicBezTo>
                    <a:pt x="1683" y="1048"/>
                    <a:pt x="1697" y="1024"/>
                    <a:pt x="1716" y="1022"/>
                  </a:cubicBezTo>
                  <a:cubicBezTo>
                    <a:pt x="1731" y="1020"/>
                    <a:pt x="1747" y="1018"/>
                    <a:pt x="1760" y="1030"/>
                  </a:cubicBezTo>
                  <a:cubicBezTo>
                    <a:pt x="1771" y="1038"/>
                    <a:pt x="1775" y="1050"/>
                    <a:pt x="1778" y="1062"/>
                  </a:cubicBezTo>
                  <a:cubicBezTo>
                    <a:pt x="1780" y="1068"/>
                    <a:pt x="1775" y="1070"/>
                    <a:pt x="1769" y="1070"/>
                  </a:cubicBezTo>
                  <a:cubicBezTo>
                    <a:pt x="1756" y="1070"/>
                    <a:pt x="1742" y="1070"/>
                    <a:pt x="1729" y="1070"/>
                  </a:cubicBezTo>
                  <a:cubicBezTo>
                    <a:pt x="1729" y="1070"/>
                    <a:pt x="1729" y="1070"/>
                    <a:pt x="1729" y="1070"/>
                  </a:cubicBezTo>
                  <a:cubicBezTo>
                    <a:pt x="1716" y="1070"/>
                    <a:pt x="1703" y="1070"/>
                    <a:pt x="1690" y="1070"/>
                  </a:cubicBezTo>
                  <a:close/>
                  <a:moveTo>
                    <a:pt x="68" y="581"/>
                  </a:moveTo>
                  <a:cubicBezTo>
                    <a:pt x="68" y="573"/>
                    <a:pt x="70" y="568"/>
                    <a:pt x="80" y="569"/>
                  </a:cubicBezTo>
                  <a:cubicBezTo>
                    <a:pt x="90" y="570"/>
                    <a:pt x="101" y="570"/>
                    <a:pt x="111" y="569"/>
                  </a:cubicBezTo>
                  <a:cubicBezTo>
                    <a:pt x="120" y="569"/>
                    <a:pt x="120" y="563"/>
                    <a:pt x="120" y="556"/>
                  </a:cubicBezTo>
                  <a:cubicBezTo>
                    <a:pt x="120" y="549"/>
                    <a:pt x="119" y="544"/>
                    <a:pt x="111" y="544"/>
                  </a:cubicBezTo>
                  <a:cubicBezTo>
                    <a:pt x="104" y="544"/>
                    <a:pt x="97" y="544"/>
                    <a:pt x="91" y="544"/>
                  </a:cubicBezTo>
                  <a:cubicBezTo>
                    <a:pt x="66" y="544"/>
                    <a:pt x="65" y="543"/>
                    <a:pt x="68" y="518"/>
                  </a:cubicBezTo>
                  <a:cubicBezTo>
                    <a:pt x="69" y="504"/>
                    <a:pt x="83" y="487"/>
                    <a:pt x="99" y="489"/>
                  </a:cubicBezTo>
                  <a:cubicBezTo>
                    <a:pt x="103" y="489"/>
                    <a:pt x="107" y="489"/>
                    <a:pt x="110" y="488"/>
                  </a:cubicBezTo>
                  <a:cubicBezTo>
                    <a:pt x="118" y="487"/>
                    <a:pt x="123" y="479"/>
                    <a:pt x="123" y="471"/>
                  </a:cubicBezTo>
                  <a:cubicBezTo>
                    <a:pt x="123" y="461"/>
                    <a:pt x="116" y="462"/>
                    <a:pt x="109" y="460"/>
                  </a:cubicBezTo>
                  <a:cubicBezTo>
                    <a:pt x="100" y="458"/>
                    <a:pt x="92" y="460"/>
                    <a:pt x="84" y="460"/>
                  </a:cubicBezTo>
                  <a:cubicBezTo>
                    <a:pt x="68" y="461"/>
                    <a:pt x="56" y="469"/>
                    <a:pt x="47" y="480"/>
                  </a:cubicBezTo>
                  <a:cubicBezTo>
                    <a:pt x="34" y="493"/>
                    <a:pt x="32" y="511"/>
                    <a:pt x="32" y="529"/>
                  </a:cubicBezTo>
                  <a:cubicBezTo>
                    <a:pt x="32" y="544"/>
                    <a:pt x="32" y="544"/>
                    <a:pt x="17" y="544"/>
                  </a:cubicBezTo>
                  <a:cubicBezTo>
                    <a:pt x="4" y="543"/>
                    <a:pt x="0" y="548"/>
                    <a:pt x="4" y="561"/>
                  </a:cubicBezTo>
                  <a:cubicBezTo>
                    <a:pt x="6" y="569"/>
                    <a:pt x="13" y="568"/>
                    <a:pt x="19" y="569"/>
                  </a:cubicBezTo>
                  <a:cubicBezTo>
                    <a:pt x="32" y="571"/>
                    <a:pt x="32" y="571"/>
                    <a:pt x="32" y="584"/>
                  </a:cubicBezTo>
                  <a:cubicBezTo>
                    <a:pt x="32" y="624"/>
                    <a:pt x="32" y="664"/>
                    <a:pt x="32" y="704"/>
                  </a:cubicBezTo>
                  <a:cubicBezTo>
                    <a:pt x="32" y="731"/>
                    <a:pt x="32" y="730"/>
                    <a:pt x="57" y="731"/>
                  </a:cubicBezTo>
                  <a:cubicBezTo>
                    <a:pt x="66" y="731"/>
                    <a:pt x="68" y="727"/>
                    <a:pt x="68" y="720"/>
                  </a:cubicBezTo>
                  <a:cubicBezTo>
                    <a:pt x="68" y="697"/>
                    <a:pt x="68" y="674"/>
                    <a:pt x="68" y="651"/>
                  </a:cubicBezTo>
                  <a:cubicBezTo>
                    <a:pt x="68" y="628"/>
                    <a:pt x="68" y="605"/>
                    <a:pt x="68" y="581"/>
                  </a:cubicBezTo>
                  <a:close/>
                  <a:moveTo>
                    <a:pt x="278" y="1165"/>
                  </a:moveTo>
                  <a:cubicBezTo>
                    <a:pt x="278" y="1183"/>
                    <a:pt x="278" y="1183"/>
                    <a:pt x="296" y="1184"/>
                  </a:cubicBezTo>
                  <a:cubicBezTo>
                    <a:pt x="310" y="1184"/>
                    <a:pt x="310" y="1184"/>
                    <a:pt x="310" y="1169"/>
                  </a:cubicBezTo>
                  <a:cubicBezTo>
                    <a:pt x="310" y="1132"/>
                    <a:pt x="310" y="1095"/>
                    <a:pt x="310" y="1058"/>
                  </a:cubicBezTo>
                  <a:cubicBezTo>
                    <a:pt x="310" y="1052"/>
                    <a:pt x="312" y="1047"/>
                    <a:pt x="316" y="1042"/>
                  </a:cubicBezTo>
                  <a:cubicBezTo>
                    <a:pt x="324" y="1033"/>
                    <a:pt x="334" y="1027"/>
                    <a:pt x="345" y="1024"/>
                  </a:cubicBezTo>
                  <a:cubicBezTo>
                    <a:pt x="357" y="1020"/>
                    <a:pt x="371" y="1018"/>
                    <a:pt x="383" y="1028"/>
                  </a:cubicBezTo>
                  <a:cubicBezTo>
                    <a:pt x="397" y="1039"/>
                    <a:pt x="401" y="1054"/>
                    <a:pt x="401" y="1071"/>
                  </a:cubicBezTo>
                  <a:cubicBezTo>
                    <a:pt x="401" y="1102"/>
                    <a:pt x="401" y="1132"/>
                    <a:pt x="401" y="1163"/>
                  </a:cubicBezTo>
                  <a:cubicBezTo>
                    <a:pt x="401" y="1183"/>
                    <a:pt x="401" y="1182"/>
                    <a:pt x="420" y="1184"/>
                  </a:cubicBezTo>
                  <a:cubicBezTo>
                    <a:pt x="429" y="1185"/>
                    <a:pt x="433" y="1181"/>
                    <a:pt x="433" y="1173"/>
                  </a:cubicBezTo>
                  <a:cubicBezTo>
                    <a:pt x="432" y="1130"/>
                    <a:pt x="435" y="1087"/>
                    <a:pt x="431" y="1044"/>
                  </a:cubicBezTo>
                  <a:cubicBezTo>
                    <a:pt x="427" y="1014"/>
                    <a:pt x="404" y="996"/>
                    <a:pt x="376" y="994"/>
                  </a:cubicBezTo>
                  <a:cubicBezTo>
                    <a:pt x="353" y="992"/>
                    <a:pt x="333" y="1000"/>
                    <a:pt x="317" y="1017"/>
                  </a:cubicBezTo>
                  <a:cubicBezTo>
                    <a:pt x="312" y="1021"/>
                    <a:pt x="311" y="1019"/>
                    <a:pt x="309" y="1015"/>
                  </a:cubicBezTo>
                  <a:cubicBezTo>
                    <a:pt x="309" y="1013"/>
                    <a:pt x="308" y="1011"/>
                    <a:pt x="308" y="1008"/>
                  </a:cubicBezTo>
                  <a:cubicBezTo>
                    <a:pt x="306" y="1001"/>
                    <a:pt x="298" y="997"/>
                    <a:pt x="287" y="998"/>
                  </a:cubicBezTo>
                  <a:cubicBezTo>
                    <a:pt x="279" y="999"/>
                    <a:pt x="278" y="1004"/>
                    <a:pt x="278" y="1011"/>
                  </a:cubicBezTo>
                  <a:cubicBezTo>
                    <a:pt x="278" y="1037"/>
                    <a:pt x="278" y="1064"/>
                    <a:pt x="278" y="1091"/>
                  </a:cubicBezTo>
                  <a:cubicBezTo>
                    <a:pt x="278" y="1115"/>
                    <a:pt x="278" y="1140"/>
                    <a:pt x="278" y="1165"/>
                  </a:cubicBezTo>
                  <a:close/>
                  <a:moveTo>
                    <a:pt x="150" y="705"/>
                  </a:moveTo>
                  <a:cubicBezTo>
                    <a:pt x="150" y="734"/>
                    <a:pt x="145" y="730"/>
                    <a:pt x="176" y="731"/>
                  </a:cubicBezTo>
                  <a:cubicBezTo>
                    <a:pt x="185" y="731"/>
                    <a:pt x="187" y="727"/>
                    <a:pt x="187" y="719"/>
                  </a:cubicBezTo>
                  <a:cubicBezTo>
                    <a:pt x="187" y="685"/>
                    <a:pt x="187" y="651"/>
                    <a:pt x="187" y="618"/>
                  </a:cubicBezTo>
                  <a:cubicBezTo>
                    <a:pt x="187" y="597"/>
                    <a:pt x="204" y="578"/>
                    <a:pt x="225" y="574"/>
                  </a:cubicBezTo>
                  <a:cubicBezTo>
                    <a:pt x="232" y="572"/>
                    <a:pt x="240" y="574"/>
                    <a:pt x="247" y="575"/>
                  </a:cubicBezTo>
                  <a:cubicBezTo>
                    <a:pt x="257" y="576"/>
                    <a:pt x="261" y="572"/>
                    <a:pt x="265" y="564"/>
                  </a:cubicBezTo>
                  <a:cubicBezTo>
                    <a:pt x="269" y="556"/>
                    <a:pt x="267" y="542"/>
                    <a:pt x="261" y="540"/>
                  </a:cubicBezTo>
                  <a:cubicBezTo>
                    <a:pt x="253" y="538"/>
                    <a:pt x="244" y="534"/>
                    <a:pt x="237" y="536"/>
                  </a:cubicBezTo>
                  <a:cubicBezTo>
                    <a:pt x="228" y="537"/>
                    <a:pt x="217" y="537"/>
                    <a:pt x="209" y="544"/>
                  </a:cubicBezTo>
                  <a:cubicBezTo>
                    <a:pt x="204" y="549"/>
                    <a:pt x="198" y="553"/>
                    <a:pt x="194" y="558"/>
                  </a:cubicBezTo>
                  <a:cubicBezTo>
                    <a:pt x="192" y="561"/>
                    <a:pt x="189" y="563"/>
                    <a:pt x="185" y="562"/>
                  </a:cubicBezTo>
                  <a:cubicBezTo>
                    <a:pt x="182" y="561"/>
                    <a:pt x="182" y="558"/>
                    <a:pt x="182" y="556"/>
                  </a:cubicBezTo>
                  <a:cubicBezTo>
                    <a:pt x="180" y="539"/>
                    <a:pt x="179" y="539"/>
                    <a:pt x="162" y="539"/>
                  </a:cubicBezTo>
                  <a:cubicBezTo>
                    <a:pt x="151" y="539"/>
                    <a:pt x="150" y="540"/>
                    <a:pt x="150" y="551"/>
                  </a:cubicBezTo>
                  <a:cubicBezTo>
                    <a:pt x="150" y="579"/>
                    <a:pt x="150" y="607"/>
                    <a:pt x="150" y="635"/>
                  </a:cubicBezTo>
                  <a:cubicBezTo>
                    <a:pt x="150" y="658"/>
                    <a:pt x="149" y="682"/>
                    <a:pt x="150" y="705"/>
                  </a:cubicBezTo>
                  <a:close/>
                  <a:moveTo>
                    <a:pt x="1011" y="1049"/>
                  </a:moveTo>
                  <a:cubicBezTo>
                    <a:pt x="1011" y="1008"/>
                    <a:pt x="1011" y="966"/>
                    <a:pt x="1011" y="924"/>
                  </a:cubicBezTo>
                  <a:cubicBezTo>
                    <a:pt x="1011" y="913"/>
                    <a:pt x="1008" y="910"/>
                    <a:pt x="997" y="910"/>
                  </a:cubicBezTo>
                  <a:cubicBezTo>
                    <a:pt x="995" y="910"/>
                    <a:pt x="992" y="910"/>
                    <a:pt x="990" y="910"/>
                  </a:cubicBezTo>
                  <a:cubicBezTo>
                    <a:pt x="976" y="910"/>
                    <a:pt x="975" y="911"/>
                    <a:pt x="975" y="926"/>
                  </a:cubicBezTo>
                  <a:cubicBezTo>
                    <a:pt x="975" y="1006"/>
                    <a:pt x="975" y="1085"/>
                    <a:pt x="975" y="1165"/>
                  </a:cubicBezTo>
                  <a:cubicBezTo>
                    <a:pt x="975" y="1185"/>
                    <a:pt x="975" y="1185"/>
                    <a:pt x="994" y="1185"/>
                  </a:cubicBezTo>
                  <a:cubicBezTo>
                    <a:pt x="1009" y="1185"/>
                    <a:pt x="1011" y="1184"/>
                    <a:pt x="1011" y="1169"/>
                  </a:cubicBezTo>
                  <a:cubicBezTo>
                    <a:pt x="1011" y="1129"/>
                    <a:pt x="1011" y="1089"/>
                    <a:pt x="1011" y="1049"/>
                  </a:cubicBezTo>
                  <a:cubicBezTo>
                    <a:pt x="1011" y="1049"/>
                    <a:pt x="1011" y="1049"/>
                    <a:pt x="1011" y="1049"/>
                  </a:cubicBezTo>
                  <a:close/>
                  <a:moveTo>
                    <a:pt x="296" y="176"/>
                  </a:moveTo>
                  <a:cubicBezTo>
                    <a:pt x="296" y="201"/>
                    <a:pt x="296" y="226"/>
                    <a:pt x="296" y="251"/>
                  </a:cubicBezTo>
                  <a:cubicBezTo>
                    <a:pt x="295" y="276"/>
                    <a:pt x="296" y="274"/>
                    <a:pt x="318" y="274"/>
                  </a:cubicBezTo>
                  <a:cubicBezTo>
                    <a:pt x="330" y="274"/>
                    <a:pt x="331" y="274"/>
                    <a:pt x="331" y="260"/>
                  </a:cubicBezTo>
                  <a:cubicBezTo>
                    <a:pt x="331" y="232"/>
                    <a:pt x="331" y="204"/>
                    <a:pt x="331" y="176"/>
                  </a:cubicBezTo>
                  <a:cubicBezTo>
                    <a:pt x="331" y="165"/>
                    <a:pt x="331" y="155"/>
                    <a:pt x="337" y="145"/>
                  </a:cubicBezTo>
                  <a:cubicBezTo>
                    <a:pt x="349" y="123"/>
                    <a:pt x="359" y="117"/>
                    <a:pt x="377" y="118"/>
                  </a:cubicBezTo>
                  <a:cubicBezTo>
                    <a:pt x="383" y="118"/>
                    <a:pt x="389" y="119"/>
                    <a:pt x="395" y="120"/>
                  </a:cubicBezTo>
                  <a:cubicBezTo>
                    <a:pt x="401" y="120"/>
                    <a:pt x="407" y="118"/>
                    <a:pt x="408" y="112"/>
                  </a:cubicBezTo>
                  <a:cubicBezTo>
                    <a:pt x="409" y="103"/>
                    <a:pt x="415" y="93"/>
                    <a:pt x="407" y="85"/>
                  </a:cubicBezTo>
                  <a:cubicBezTo>
                    <a:pt x="406" y="84"/>
                    <a:pt x="404" y="84"/>
                    <a:pt x="402" y="84"/>
                  </a:cubicBezTo>
                  <a:cubicBezTo>
                    <a:pt x="376" y="78"/>
                    <a:pt x="353" y="82"/>
                    <a:pt x="337" y="106"/>
                  </a:cubicBezTo>
                  <a:cubicBezTo>
                    <a:pt x="336" y="108"/>
                    <a:pt x="335" y="110"/>
                    <a:pt x="333" y="109"/>
                  </a:cubicBezTo>
                  <a:cubicBezTo>
                    <a:pt x="331" y="109"/>
                    <a:pt x="330" y="107"/>
                    <a:pt x="330" y="105"/>
                  </a:cubicBezTo>
                  <a:cubicBezTo>
                    <a:pt x="329" y="101"/>
                    <a:pt x="329" y="97"/>
                    <a:pt x="328" y="94"/>
                  </a:cubicBezTo>
                  <a:cubicBezTo>
                    <a:pt x="325" y="85"/>
                    <a:pt x="318" y="82"/>
                    <a:pt x="303" y="84"/>
                  </a:cubicBezTo>
                  <a:cubicBezTo>
                    <a:pt x="297" y="84"/>
                    <a:pt x="295" y="86"/>
                    <a:pt x="295" y="92"/>
                  </a:cubicBezTo>
                  <a:cubicBezTo>
                    <a:pt x="296" y="120"/>
                    <a:pt x="295" y="148"/>
                    <a:pt x="295" y="176"/>
                  </a:cubicBezTo>
                  <a:cubicBezTo>
                    <a:pt x="296" y="176"/>
                    <a:pt x="296" y="176"/>
                    <a:pt x="296" y="176"/>
                  </a:cubicBezTo>
                  <a:close/>
                  <a:moveTo>
                    <a:pt x="946" y="179"/>
                  </a:moveTo>
                  <a:cubicBezTo>
                    <a:pt x="946" y="197"/>
                    <a:pt x="946" y="215"/>
                    <a:pt x="946" y="234"/>
                  </a:cubicBezTo>
                  <a:cubicBezTo>
                    <a:pt x="946" y="248"/>
                    <a:pt x="951" y="260"/>
                    <a:pt x="963" y="268"/>
                  </a:cubicBezTo>
                  <a:cubicBezTo>
                    <a:pt x="982" y="280"/>
                    <a:pt x="1011" y="277"/>
                    <a:pt x="1029" y="264"/>
                  </a:cubicBezTo>
                  <a:cubicBezTo>
                    <a:pt x="1036" y="259"/>
                    <a:pt x="1036" y="254"/>
                    <a:pt x="1032" y="248"/>
                  </a:cubicBezTo>
                  <a:cubicBezTo>
                    <a:pt x="1026" y="239"/>
                    <a:pt x="1020" y="238"/>
                    <a:pt x="1013" y="242"/>
                  </a:cubicBezTo>
                  <a:cubicBezTo>
                    <a:pt x="996" y="252"/>
                    <a:pt x="978" y="243"/>
                    <a:pt x="978" y="223"/>
                  </a:cubicBezTo>
                  <a:cubicBezTo>
                    <a:pt x="978" y="190"/>
                    <a:pt x="978" y="157"/>
                    <a:pt x="978" y="123"/>
                  </a:cubicBezTo>
                  <a:cubicBezTo>
                    <a:pt x="978" y="116"/>
                    <a:pt x="981" y="113"/>
                    <a:pt x="988" y="113"/>
                  </a:cubicBezTo>
                  <a:cubicBezTo>
                    <a:pt x="999" y="114"/>
                    <a:pt x="1011" y="113"/>
                    <a:pt x="1022" y="113"/>
                  </a:cubicBezTo>
                  <a:cubicBezTo>
                    <a:pt x="1028" y="113"/>
                    <a:pt x="1033" y="112"/>
                    <a:pt x="1033" y="104"/>
                  </a:cubicBezTo>
                  <a:cubicBezTo>
                    <a:pt x="1033" y="96"/>
                    <a:pt x="1032" y="90"/>
                    <a:pt x="1022" y="90"/>
                  </a:cubicBezTo>
                  <a:cubicBezTo>
                    <a:pt x="1011" y="90"/>
                    <a:pt x="1001" y="90"/>
                    <a:pt x="990" y="90"/>
                  </a:cubicBezTo>
                  <a:cubicBezTo>
                    <a:pt x="981" y="91"/>
                    <a:pt x="977" y="88"/>
                    <a:pt x="978" y="78"/>
                  </a:cubicBezTo>
                  <a:cubicBezTo>
                    <a:pt x="978" y="64"/>
                    <a:pt x="978" y="49"/>
                    <a:pt x="978" y="35"/>
                  </a:cubicBezTo>
                  <a:cubicBezTo>
                    <a:pt x="978" y="30"/>
                    <a:pt x="978" y="25"/>
                    <a:pt x="971" y="24"/>
                  </a:cubicBezTo>
                  <a:cubicBezTo>
                    <a:pt x="964" y="24"/>
                    <a:pt x="956" y="24"/>
                    <a:pt x="955" y="32"/>
                  </a:cubicBezTo>
                  <a:cubicBezTo>
                    <a:pt x="952" y="43"/>
                    <a:pt x="949" y="54"/>
                    <a:pt x="949" y="65"/>
                  </a:cubicBezTo>
                  <a:cubicBezTo>
                    <a:pt x="948" y="88"/>
                    <a:pt x="947" y="88"/>
                    <a:pt x="924" y="91"/>
                  </a:cubicBezTo>
                  <a:cubicBezTo>
                    <a:pt x="919" y="92"/>
                    <a:pt x="914" y="92"/>
                    <a:pt x="914" y="99"/>
                  </a:cubicBezTo>
                  <a:cubicBezTo>
                    <a:pt x="915" y="107"/>
                    <a:pt x="917" y="113"/>
                    <a:pt x="926" y="113"/>
                  </a:cubicBezTo>
                  <a:cubicBezTo>
                    <a:pt x="929" y="114"/>
                    <a:pt x="932" y="113"/>
                    <a:pt x="935" y="113"/>
                  </a:cubicBezTo>
                  <a:cubicBezTo>
                    <a:pt x="943" y="113"/>
                    <a:pt x="946" y="116"/>
                    <a:pt x="946" y="124"/>
                  </a:cubicBezTo>
                  <a:cubicBezTo>
                    <a:pt x="946" y="142"/>
                    <a:pt x="946" y="161"/>
                    <a:pt x="946" y="179"/>
                  </a:cubicBezTo>
                  <a:cubicBezTo>
                    <a:pt x="946" y="179"/>
                    <a:pt x="946" y="179"/>
                    <a:pt x="946" y="179"/>
                  </a:cubicBezTo>
                  <a:close/>
                </a:path>
              </a:pathLst>
            </a:custGeom>
            <a:solidFill>
              <a:srgbClr val="4C505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grpSp>
          <p:nvGrpSpPr>
            <p:cNvPr id="18" name="Group 4">
              <a:extLst>
                <a:ext uri="{FF2B5EF4-FFF2-40B4-BE49-F238E27FC236}">
                  <a16:creationId xmlns:a16="http://schemas.microsoft.com/office/drawing/2014/main" id="{57BD2C4C-DC67-B843-B26C-309622FC75F7}"/>
                </a:ext>
              </a:extLst>
            </p:cNvPr>
            <p:cNvGrpSpPr>
              <a:grpSpLocks noChangeAspect="1"/>
            </p:cNvGrpSpPr>
            <p:nvPr/>
          </p:nvGrpSpPr>
          <p:grpSpPr bwMode="gray">
            <a:xfrm>
              <a:off x="334963" y="296652"/>
              <a:ext cx="538094" cy="540000"/>
              <a:chOff x="2711" y="1027"/>
              <a:chExt cx="2258" cy="2266"/>
            </a:xfrm>
          </p:grpSpPr>
          <p:sp>
            <p:nvSpPr>
              <p:cNvPr id="19" name="AutoShape 3">
                <a:extLst>
                  <a:ext uri="{FF2B5EF4-FFF2-40B4-BE49-F238E27FC236}">
                    <a16:creationId xmlns:a16="http://schemas.microsoft.com/office/drawing/2014/main" id="{FE1DC41B-291E-574C-9F2C-874E70A40758}"/>
                  </a:ext>
                </a:extLst>
              </p:cNvPr>
              <p:cNvSpPr>
                <a:spLocks noChangeAspect="1" noChangeArrowheads="1" noTextEdit="1"/>
              </p:cNvSpPr>
              <p:nvPr/>
            </p:nvSpPr>
            <p:spPr bwMode="gray">
              <a:xfrm>
                <a:off x="2711" y="1027"/>
                <a:ext cx="2258" cy="22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20" name="Freeform 5">
                <a:extLst>
                  <a:ext uri="{FF2B5EF4-FFF2-40B4-BE49-F238E27FC236}">
                    <a16:creationId xmlns:a16="http://schemas.microsoft.com/office/drawing/2014/main" id="{D4B633C8-F761-C54B-9BD2-EB59D49A2DBC}"/>
                  </a:ext>
                </a:extLst>
              </p:cNvPr>
              <p:cNvSpPr>
                <a:spLocks/>
              </p:cNvSpPr>
              <p:nvPr/>
            </p:nvSpPr>
            <p:spPr bwMode="gray">
              <a:xfrm>
                <a:off x="2709" y="1029"/>
                <a:ext cx="2260" cy="2262"/>
              </a:xfrm>
              <a:custGeom>
                <a:avLst/>
                <a:gdLst>
                  <a:gd name="T0" fmla="*/ 2260 w 2260"/>
                  <a:gd name="T1" fmla="*/ 0 h 2262"/>
                  <a:gd name="T2" fmla="*/ 1612 w 2260"/>
                  <a:gd name="T3" fmla="*/ 649 h 2262"/>
                  <a:gd name="T4" fmla="*/ 1612 w 2260"/>
                  <a:gd name="T5" fmla="*/ 649 h 2262"/>
                  <a:gd name="T6" fmla="*/ 2035 w 2260"/>
                  <a:gd name="T7" fmla="*/ 0 h 2262"/>
                  <a:gd name="T8" fmla="*/ 0 w 2260"/>
                  <a:gd name="T9" fmla="*/ 0 h 2262"/>
                  <a:gd name="T10" fmla="*/ 0 w 2260"/>
                  <a:gd name="T11" fmla="*/ 2262 h 2262"/>
                  <a:gd name="T12" fmla="*/ 2260 w 2260"/>
                  <a:gd name="T13" fmla="*/ 2262 h 2262"/>
                  <a:gd name="T14" fmla="*/ 2260 w 2260"/>
                  <a:gd name="T15" fmla="*/ 0 h 2262"/>
                  <a:gd name="T16" fmla="*/ 2260 w 2260"/>
                  <a:gd name="T17" fmla="*/ 0 h 2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0" h="2262">
                    <a:moveTo>
                      <a:pt x="2260" y="0"/>
                    </a:moveTo>
                    <a:lnTo>
                      <a:pt x="1612" y="649"/>
                    </a:lnTo>
                    <a:lnTo>
                      <a:pt x="1612" y="649"/>
                    </a:lnTo>
                    <a:lnTo>
                      <a:pt x="2035" y="0"/>
                    </a:lnTo>
                    <a:lnTo>
                      <a:pt x="0" y="0"/>
                    </a:lnTo>
                    <a:lnTo>
                      <a:pt x="0" y="2262"/>
                    </a:lnTo>
                    <a:lnTo>
                      <a:pt x="2260" y="2262"/>
                    </a:lnTo>
                    <a:lnTo>
                      <a:pt x="2260" y="0"/>
                    </a:lnTo>
                    <a:lnTo>
                      <a:pt x="2260" y="0"/>
                    </a:lnTo>
                    <a:close/>
                  </a:path>
                </a:pathLst>
              </a:custGeom>
              <a:solidFill>
                <a:srgbClr val="E55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21" name="Freeform 6">
                <a:extLst>
                  <a:ext uri="{FF2B5EF4-FFF2-40B4-BE49-F238E27FC236}">
                    <a16:creationId xmlns:a16="http://schemas.microsoft.com/office/drawing/2014/main" id="{B16BAAE4-1A41-C843-9754-490F7A1E1270}"/>
                  </a:ext>
                </a:extLst>
              </p:cNvPr>
              <p:cNvSpPr>
                <a:spLocks noEditPoints="1"/>
              </p:cNvSpPr>
              <p:nvPr/>
            </p:nvSpPr>
            <p:spPr bwMode="gray">
              <a:xfrm>
                <a:off x="3623" y="1696"/>
                <a:ext cx="1167" cy="922"/>
              </a:xfrm>
              <a:custGeom>
                <a:avLst/>
                <a:gdLst>
                  <a:gd name="T0" fmla="*/ 411 w 580"/>
                  <a:gd name="T1" fmla="*/ 213 h 458"/>
                  <a:gd name="T2" fmla="*/ 570 w 580"/>
                  <a:gd name="T3" fmla="*/ 37 h 458"/>
                  <a:gd name="T4" fmla="*/ 580 w 580"/>
                  <a:gd name="T5" fmla="*/ 20 h 458"/>
                  <a:gd name="T6" fmla="*/ 545 w 580"/>
                  <a:gd name="T7" fmla="*/ 0 h 458"/>
                  <a:gd name="T8" fmla="*/ 519 w 580"/>
                  <a:gd name="T9" fmla="*/ 16 h 458"/>
                  <a:gd name="T10" fmla="*/ 344 w 580"/>
                  <a:gd name="T11" fmla="*/ 210 h 458"/>
                  <a:gd name="T12" fmla="*/ 334 w 580"/>
                  <a:gd name="T13" fmla="*/ 229 h 458"/>
                  <a:gd name="T14" fmla="*/ 344 w 580"/>
                  <a:gd name="T15" fmla="*/ 248 h 458"/>
                  <a:gd name="T16" fmla="*/ 519 w 580"/>
                  <a:gd name="T17" fmla="*/ 442 h 458"/>
                  <a:gd name="T18" fmla="*/ 545 w 580"/>
                  <a:gd name="T19" fmla="*/ 458 h 458"/>
                  <a:gd name="T20" fmla="*/ 580 w 580"/>
                  <a:gd name="T21" fmla="*/ 438 h 458"/>
                  <a:gd name="T22" fmla="*/ 570 w 580"/>
                  <a:gd name="T23" fmla="*/ 421 h 458"/>
                  <a:gd name="T24" fmla="*/ 411 w 580"/>
                  <a:gd name="T25" fmla="*/ 245 h 458"/>
                  <a:gd name="T26" fmla="*/ 399 w 580"/>
                  <a:gd name="T27" fmla="*/ 229 h 458"/>
                  <a:gd name="T28" fmla="*/ 411 w 580"/>
                  <a:gd name="T29" fmla="*/ 213 h 458"/>
                  <a:gd name="T30" fmla="*/ 252 w 580"/>
                  <a:gd name="T31" fmla="*/ 439 h 458"/>
                  <a:gd name="T32" fmla="*/ 281 w 580"/>
                  <a:gd name="T33" fmla="*/ 454 h 458"/>
                  <a:gd name="T34" fmla="*/ 309 w 580"/>
                  <a:gd name="T35" fmla="*/ 439 h 458"/>
                  <a:gd name="T36" fmla="*/ 309 w 580"/>
                  <a:gd name="T37" fmla="*/ 19 h 458"/>
                  <a:gd name="T38" fmla="*/ 281 w 580"/>
                  <a:gd name="T39" fmla="*/ 4 h 458"/>
                  <a:gd name="T40" fmla="*/ 252 w 580"/>
                  <a:gd name="T41" fmla="*/ 19 h 458"/>
                  <a:gd name="T42" fmla="*/ 252 w 580"/>
                  <a:gd name="T43" fmla="*/ 439 h 458"/>
                  <a:gd name="T44" fmla="*/ 0 w 580"/>
                  <a:gd name="T45" fmla="*/ 439 h 458"/>
                  <a:gd name="T46" fmla="*/ 28 w 580"/>
                  <a:gd name="T47" fmla="*/ 454 h 458"/>
                  <a:gd name="T48" fmla="*/ 56 w 580"/>
                  <a:gd name="T49" fmla="*/ 439 h 458"/>
                  <a:gd name="T50" fmla="*/ 56 w 580"/>
                  <a:gd name="T51" fmla="*/ 157 h 458"/>
                  <a:gd name="T52" fmla="*/ 165 w 580"/>
                  <a:gd name="T53" fmla="*/ 53 h 458"/>
                  <a:gd name="T54" fmla="*/ 180 w 580"/>
                  <a:gd name="T55" fmla="*/ 53 h 458"/>
                  <a:gd name="T56" fmla="*/ 196 w 580"/>
                  <a:gd name="T57" fmla="*/ 27 h 458"/>
                  <a:gd name="T58" fmla="*/ 154 w 580"/>
                  <a:gd name="T59" fmla="*/ 4 h 458"/>
                  <a:gd name="T60" fmla="*/ 0 w 580"/>
                  <a:gd name="T61" fmla="*/ 152 h 458"/>
                  <a:gd name="T62" fmla="*/ 0 w 580"/>
                  <a:gd name="T63" fmla="*/ 439 h 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80" h="458">
                    <a:moveTo>
                      <a:pt x="411" y="213"/>
                    </a:moveTo>
                    <a:cubicBezTo>
                      <a:pt x="570" y="37"/>
                      <a:pt x="570" y="37"/>
                      <a:pt x="570" y="37"/>
                    </a:cubicBezTo>
                    <a:cubicBezTo>
                      <a:pt x="576" y="30"/>
                      <a:pt x="580" y="25"/>
                      <a:pt x="580" y="20"/>
                    </a:cubicBezTo>
                    <a:cubicBezTo>
                      <a:pt x="580" y="10"/>
                      <a:pt x="559" y="0"/>
                      <a:pt x="545" y="0"/>
                    </a:cubicBezTo>
                    <a:cubicBezTo>
                      <a:pt x="535" y="0"/>
                      <a:pt x="526" y="8"/>
                      <a:pt x="519" y="16"/>
                    </a:cubicBezTo>
                    <a:cubicBezTo>
                      <a:pt x="344" y="210"/>
                      <a:pt x="344" y="210"/>
                      <a:pt x="344" y="210"/>
                    </a:cubicBezTo>
                    <a:cubicBezTo>
                      <a:pt x="336" y="219"/>
                      <a:pt x="334" y="224"/>
                      <a:pt x="334" y="229"/>
                    </a:cubicBezTo>
                    <a:cubicBezTo>
                      <a:pt x="334" y="234"/>
                      <a:pt x="336" y="239"/>
                      <a:pt x="344" y="248"/>
                    </a:cubicBezTo>
                    <a:cubicBezTo>
                      <a:pt x="519" y="442"/>
                      <a:pt x="519" y="442"/>
                      <a:pt x="519" y="442"/>
                    </a:cubicBezTo>
                    <a:cubicBezTo>
                      <a:pt x="526" y="450"/>
                      <a:pt x="535" y="458"/>
                      <a:pt x="545" y="458"/>
                    </a:cubicBezTo>
                    <a:cubicBezTo>
                      <a:pt x="559" y="458"/>
                      <a:pt x="580" y="448"/>
                      <a:pt x="580" y="438"/>
                    </a:cubicBezTo>
                    <a:cubicBezTo>
                      <a:pt x="580" y="433"/>
                      <a:pt x="576" y="428"/>
                      <a:pt x="570" y="421"/>
                    </a:cubicBezTo>
                    <a:cubicBezTo>
                      <a:pt x="411" y="245"/>
                      <a:pt x="411" y="245"/>
                      <a:pt x="411" y="245"/>
                    </a:cubicBezTo>
                    <a:cubicBezTo>
                      <a:pt x="403" y="236"/>
                      <a:pt x="399" y="232"/>
                      <a:pt x="399" y="229"/>
                    </a:cubicBezTo>
                    <a:cubicBezTo>
                      <a:pt x="399" y="226"/>
                      <a:pt x="403" y="222"/>
                      <a:pt x="411" y="213"/>
                    </a:cubicBezTo>
                    <a:moveTo>
                      <a:pt x="252" y="439"/>
                    </a:moveTo>
                    <a:cubicBezTo>
                      <a:pt x="252" y="449"/>
                      <a:pt x="261" y="454"/>
                      <a:pt x="281" y="454"/>
                    </a:cubicBezTo>
                    <a:cubicBezTo>
                      <a:pt x="300" y="454"/>
                      <a:pt x="309" y="449"/>
                      <a:pt x="309" y="439"/>
                    </a:cubicBezTo>
                    <a:cubicBezTo>
                      <a:pt x="309" y="19"/>
                      <a:pt x="309" y="19"/>
                      <a:pt x="309" y="19"/>
                    </a:cubicBezTo>
                    <a:cubicBezTo>
                      <a:pt x="309" y="9"/>
                      <a:pt x="300" y="4"/>
                      <a:pt x="281" y="4"/>
                    </a:cubicBezTo>
                    <a:cubicBezTo>
                      <a:pt x="261" y="4"/>
                      <a:pt x="252" y="9"/>
                      <a:pt x="252" y="19"/>
                    </a:cubicBezTo>
                    <a:lnTo>
                      <a:pt x="252" y="439"/>
                    </a:lnTo>
                    <a:close/>
                    <a:moveTo>
                      <a:pt x="0" y="439"/>
                    </a:moveTo>
                    <a:cubicBezTo>
                      <a:pt x="0" y="449"/>
                      <a:pt x="8" y="454"/>
                      <a:pt x="28" y="454"/>
                    </a:cubicBezTo>
                    <a:cubicBezTo>
                      <a:pt x="48" y="454"/>
                      <a:pt x="56" y="449"/>
                      <a:pt x="56" y="439"/>
                    </a:cubicBezTo>
                    <a:cubicBezTo>
                      <a:pt x="56" y="157"/>
                      <a:pt x="56" y="157"/>
                      <a:pt x="56" y="157"/>
                    </a:cubicBezTo>
                    <a:cubicBezTo>
                      <a:pt x="56" y="83"/>
                      <a:pt x="85" y="53"/>
                      <a:pt x="165" y="53"/>
                    </a:cubicBezTo>
                    <a:cubicBezTo>
                      <a:pt x="180" y="53"/>
                      <a:pt x="180" y="53"/>
                      <a:pt x="180" y="53"/>
                    </a:cubicBezTo>
                    <a:cubicBezTo>
                      <a:pt x="192" y="53"/>
                      <a:pt x="196" y="43"/>
                      <a:pt x="196" y="27"/>
                    </a:cubicBezTo>
                    <a:cubicBezTo>
                      <a:pt x="196" y="8"/>
                      <a:pt x="185" y="4"/>
                      <a:pt x="154" y="4"/>
                    </a:cubicBezTo>
                    <a:cubicBezTo>
                      <a:pt x="64" y="4"/>
                      <a:pt x="0" y="43"/>
                      <a:pt x="0" y="152"/>
                    </a:cubicBezTo>
                    <a:lnTo>
                      <a:pt x="0" y="43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22" name="Freeform 7">
                <a:extLst>
                  <a:ext uri="{FF2B5EF4-FFF2-40B4-BE49-F238E27FC236}">
                    <a16:creationId xmlns:a16="http://schemas.microsoft.com/office/drawing/2014/main" id="{2F32DCBD-8628-F245-85CD-97686A20ECFD}"/>
                  </a:ext>
                </a:extLst>
              </p:cNvPr>
              <p:cNvSpPr>
                <a:spLocks/>
              </p:cNvSpPr>
              <p:nvPr/>
            </p:nvSpPr>
            <p:spPr bwMode="gray">
              <a:xfrm>
                <a:off x="2880" y="1704"/>
                <a:ext cx="618" cy="916"/>
              </a:xfrm>
              <a:custGeom>
                <a:avLst/>
                <a:gdLst>
                  <a:gd name="T0" fmla="*/ 307 w 307"/>
                  <a:gd name="T1" fmla="*/ 405 h 455"/>
                  <a:gd name="T2" fmla="*/ 307 w 307"/>
                  <a:gd name="T3" fmla="*/ 244 h 455"/>
                  <a:gd name="T4" fmla="*/ 279 w 307"/>
                  <a:gd name="T5" fmla="*/ 229 h 455"/>
                  <a:gd name="T6" fmla="*/ 250 w 307"/>
                  <a:gd name="T7" fmla="*/ 244 h 455"/>
                  <a:gd name="T8" fmla="*/ 250 w 307"/>
                  <a:gd name="T9" fmla="*/ 378 h 455"/>
                  <a:gd name="T10" fmla="*/ 199 w 307"/>
                  <a:gd name="T11" fmla="*/ 408 h 455"/>
                  <a:gd name="T12" fmla="*/ 61 w 307"/>
                  <a:gd name="T13" fmla="*/ 231 h 455"/>
                  <a:gd name="T14" fmla="*/ 238 w 307"/>
                  <a:gd name="T15" fmla="*/ 49 h 455"/>
                  <a:gd name="T16" fmla="*/ 270 w 307"/>
                  <a:gd name="T17" fmla="*/ 49 h 455"/>
                  <a:gd name="T18" fmla="*/ 286 w 307"/>
                  <a:gd name="T19" fmla="*/ 23 h 455"/>
                  <a:gd name="T20" fmla="*/ 244 w 307"/>
                  <a:gd name="T21" fmla="*/ 0 h 455"/>
                  <a:gd name="T22" fmla="*/ 231 w 307"/>
                  <a:gd name="T23" fmla="*/ 0 h 455"/>
                  <a:gd name="T24" fmla="*/ 0 w 307"/>
                  <a:gd name="T25" fmla="*/ 232 h 455"/>
                  <a:gd name="T26" fmla="*/ 198 w 307"/>
                  <a:gd name="T27" fmla="*/ 455 h 455"/>
                  <a:gd name="T28" fmla="*/ 307 w 307"/>
                  <a:gd name="T29" fmla="*/ 405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7" h="455">
                    <a:moveTo>
                      <a:pt x="307" y="405"/>
                    </a:moveTo>
                    <a:cubicBezTo>
                      <a:pt x="307" y="244"/>
                      <a:pt x="307" y="244"/>
                      <a:pt x="307" y="244"/>
                    </a:cubicBezTo>
                    <a:cubicBezTo>
                      <a:pt x="307" y="234"/>
                      <a:pt x="298" y="229"/>
                      <a:pt x="279" y="229"/>
                    </a:cubicBezTo>
                    <a:cubicBezTo>
                      <a:pt x="259" y="229"/>
                      <a:pt x="250" y="234"/>
                      <a:pt x="250" y="244"/>
                    </a:cubicBezTo>
                    <a:cubicBezTo>
                      <a:pt x="250" y="378"/>
                      <a:pt x="250" y="378"/>
                      <a:pt x="250" y="378"/>
                    </a:cubicBezTo>
                    <a:cubicBezTo>
                      <a:pt x="250" y="399"/>
                      <a:pt x="241" y="408"/>
                      <a:pt x="199" y="408"/>
                    </a:cubicBezTo>
                    <a:cubicBezTo>
                      <a:pt x="114" y="408"/>
                      <a:pt x="61" y="342"/>
                      <a:pt x="61" y="231"/>
                    </a:cubicBezTo>
                    <a:cubicBezTo>
                      <a:pt x="61" y="115"/>
                      <a:pt x="126" y="49"/>
                      <a:pt x="238" y="49"/>
                    </a:cubicBezTo>
                    <a:cubicBezTo>
                      <a:pt x="270" y="49"/>
                      <a:pt x="270" y="49"/>
                      <a:pt x="270" y="49"/>
                    </a:cubicBezTo>
                    <a:cubicBezTo>
                      <a:pt x="282" y="49"/>
                      <a:pt x="286" y="39"/>
                      <a:pt x="286" y="23"/>
                    </a:cubicBezTo>
                    <a:cubicBezTo>
                      <a:pt x="286" y="4"/>
                      <a:pt x="275" y="0"/>
                      <a:pt x="244" y="0"/>
                    </a:cubicBezTo>
                    <a:cubicBezTo>
                      <a:pt x="231" y="0"/>
                      <a:pt x="231" y="0"/>
                      <a:pt x="231" y="0"/>
                    </a:cubicBezTo>
                    <a:cubicBezTo>
                      <a:pt x="101" y="0"/>
                      <a:pt x="0" y="71"/>
                      <a:pt x="0" y="232"/>
                    </a:cubicBezTo>
                    <a:cubicBezTo>
                      <a:pt x="0" y="386"/>
                      <a:pt x="88" y="455"/>
                      <a:pt x="198" y="455"/>
                    </a:cubicBezTo>
                    <a:cubicBezTo>
                      <a:pt x="286" y="455"/>
                      <a:pt x="307" y="430"/>
                      <a:pt x="307" y="40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23" name="Oval 8">
                <a:extLst>
                  <a:ext uri="{FF2B5EF4-FFF2-40B4-BE49-F238E27FC236}">
                    <a16:creationId xmlns:a16="http://schemas.microsoft.com/office/drawing/2014/main" id="{60D97C11-1A3B-5449-A48D-98A3E79B3810}"/>
                  </a:ext>
                </a:extLst>
              </p:cNvPr>
              <p:cNvSpPr>
                <a:spLocks noChangeArrowheads="1"/>
              </p:cNvSpPr>
              <p:nvPr/>
            </p:nvSpPr>
            <p:spPr bwMode="gray">
              <a:xfrm>
                <a:off x="3778" y="2099"/>
                <a:ext cx="122" cy="12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24" name="Freeform 9">
                <a:extLst>
                  <a:ext uri="{FF2B5EF4-FFF2-40B4-BE49-F238E27FC236}">
                    <a16:creationId xmlns:a16="http://schemas.microsoft.com/office/drawing/2014/main" id="{5856770D-B8F0-244E-A05D-AED190086F10}"/>
                  </a:ext>
                </a:extLst>
              </p:cNvPr>
              <p:cNvSpPr>
                <a:spLocks noEditPoints="1"/>
              </p:cNvSpPr>
              <p:nvPr/>
            </p:nvSpPr>
            <p:spPr bwMode="gray">
              <a:xfrm>
                <a:off x="3623" y="1696"/>
                <a:ext cx="1167" cy="922"/>
              </a:xfrm>
              <a:custGeom>
                <a:avLst/>
                <a:gdLst>
                  <a:gd name="T0" fmla="*/ 411 w 580"/>
                  <a:gd name="T1" fmla="*/ 213 h 458"/>
                  <a:gd name="T2" fmla="*/ 570 w 580"/>
                  <a:gd name="T3" fmla="*/ 37 h 458"/>
                  <a:gd name="T4" fmla="*/ 580 w 580"/>
                  <a:gd name="T5" fmla="*/ 20 h 458"/>
                  <a:gd name="T6" fmla="*/ 545 w 580"/>
                  <a:gd name="T7" fmla="*/ 0 h 458"/>
                  <a:gd name="T8" fmla="*/ 519 w 580"/>
                  <a:gd name="T9" fmla="*/ 16 h 458"/>
                  <a:gd name="T10" fmla="*/ 344 w 580"/>
                  <a:gd name="T11" fmla="*/ 210 h 458"/>
                  <a:gd name="T12" fmla="*/ 334 w 580"/>
                  <a:gd name="T13" fmla="*/ 229 h 458"/>
                  <a:gd name="T14" fmla="*/ 344 w 580"/>
                  <a:gd name="T15" fmla="*/ 248 h 458"/>
                  <a:gd name="T16" fmla="*/ 519 w 580"/>
                  <a:gd name="T17" fmla="*/ 442 h 458"/>
                  <a:gd name="T18" fmla="*/ 545 w 580"/>
                  <a:gd name="T19" fmla="*/ 458 h 458"/>
                  <a:gd name="T20" fmla="*/ 580 w 580"/>
                  <a:gd name="T21" fmla="*/ 438 h 458"/>
                  <a:gd name="T22" fmla="*/ 570 w 580"/>
                  <a:gd name="T23" fmla="*/ 421 h 458"/>
                  <a:gd name="T24" fmla="*/ 411 w 580"/>
                  <a:gd name="T25" fmla="*/ 245 h 458"/>
                  <a:gd name="T26" fmla="*/ 399 w 580"/>
                  <a:gd name="T27" fmla="*/ 229 h 458"/>
                  <a:gd name="T28" fmla="*/ 411 w 580"/>
                  <a:gd name="T29" fmla="*/ 213 h 458"/>
                  <a:gd name="T30" fmla="*/ 252 w 580"/>
                  <a:gd name="T31" fmla="*/ 439 h 458"/>
                  <a:gd name="T32" fmla="*/ 281 w 580"/>
                  <a:gd name="T33" fmla="*/ 454 h 458"/>
                  <a:gd name="T34" fmla="*/ 309 w 580"/>
                  <a:gd name="T35" fmla="*/ 439 h 458"/>
                  <a:gd name="T36" fmla="*/ 309 w 580"/>
                  <a:gd name="T37" fmla="*/ 19 h 458"/>
                  <a:gd name="T38" fmla="*/ 281 w 580"/>
                  <a:gd name="T39" fmla="*/ 4 h 458"/>
                  <a:gd name="T40" fmla="*/ 252 w 580"/>
                  <a:gd name="T41" fmla="*/ 19 h 458"/>
                  <a:gd name="T42" fmla="*/ 252 w 580"/>
                  <a:gd name="T43" fmla="*/ 439 h 458"/>
                  <a:gd name="T44" fmla="*/ 0 w 580"/>
                  <a:gd name="T45" fmla="*/ 439 h 458"/>
                  <a:gd name="T46" fmla="*/ 28 w 580"/>
                  <a:gd name="T47" fmla="*/ 454 h 458"/>
                  <a:gd name="T48" fmla="*/ 56 w 580"/>
                  <a:gd name="T49" fmla="*/ 439 h 458"/>
                  <a:gd name="T50" fmla="*/ 56 w 580"/>
                  <a:gd name="T51" fmla="*/ 157 h 458"/>
                  <a:gd name="T52" fmla="*/ 165 w 580"/>
                  <a:gd name="T53" fmla="*/ 53 h 458"/>
                  <a:gd name="T54" fmla="*/ 180 w 580"/>
                  <a:gd name="T55" fmla="*/ 53 h 458"/>
                  <a:gd name="T56" fmla="*/ 196 w 580"/>
                  <a:gd name="T57" fmla="*/ 27 h 458"/>
                  <a:gd name="T58" fmla="*/ 154 w 580"/>
                  <a:gd name="T59" fmla="*/ 4 h 458"/>
                  <a:gd name="T60" fmla="*/ 0 w 580"/>
                  <a:gd name="T61" fmla="*/ 152 h 458"/>
                  <a:gd name="T62" fmla="*/ 0 w 580"/>
                  <a:gd name="T63" fmla="*/ 439 h 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80" h="458">
                    <a:moveTo>
                      <a:pt x="411" y="213"/>
                    </a:moveTo>
                    <a:cubicBezTo>
                      <a:pt x="570" y="37"/>
                      <a:pt x="570" y="37"/>
                      <a:pt x="570" y="37"/>
                    </a:cubicBezTo>
                    <a:cubicBezTo>
                      <a:pt x="576" y="30"/>
                      <a:pt x="580" y="25"/>
                      <a:pt x="580" y="20"/>
                    </a:cubicBezTo>
                    <a:cubicBezTo>
                      <a:pt x="580" y="10"/>
                      <a:pt x="559" y="0"/>
                      <a:pt x="545" y="0"/>
                    </a:cubicBezTo>
                    <a:cubicBezTo>
                      <a:pt x="535" y="0"/>
                      <a:pt x="526" y="8"/>
                      <a:pt x="519" y="16"/>
                    </a:cubicBezTo>
                    <a:cubicBezTo>
                      <a:pt x="344" y="210"/>
                      <a:pt x="344" y="210"/>
                      <a:pt x="344" y="210"/>
                    </a:cubicBezTo>
                    <a:cubicBezTo>
                      <a:pt x="336" y="219"/>
                      <a:pt x="334" y="224"/>
                      <a:pt x="334" y="229"/>
                    </a:cubicBezTo>
                    <a:cubicBezTo>
                      <a:pt x="334" y="234"/>
                      <a:pt x="336" y="239"/>
                      <a:pt x="344" y="248"/>
                    </a:cubicBezTo>
                    <a:cubicBezTo>
                      <a:pt x="519" y="442"/>
                      <a:pt x="519" y="442"/>
                      <a:pt x="519" y="442"/>
                    </a:cubicBezTo>
                    <a:cubicBezTo>
                      <a:pt x="526" y="450"/>
                      <a:pt x="535" y="458"/>
                      <a:pt x="545" y="458"/>
                    </a:cubicBezTo>
                    <a:cubicBezTo>
                      <a:pt x="559" y="458"/>
                      <a:pt x="580" y="448"/>
                      <a:pt x="580" y="438"/>
                    </a:cubicBezTo>
                    <a:cubicBezTo>
                      <a:pt x="580" y="433"/>
                      <a:pt x="576" y="428"/>
                      <a:pt x="570" y="421"/>
                    </a:cubicBezTo>
                    <a:cubicBezTo>
                      <a:pt x="411" y="245"/>
                      <a:pt x="411" y="245"/>
                      <a:pt x="411" y="245"/>
                    </a:cubicBezTo>
                    <a:cubicBezTo>
                      <a:pt x="403" y="236"/>
                      <a:pt x="399" y="232"/>
                      <a:pt x="399" y="229"/>
                    </a:cubicBezTo>
                    <a:cubicBezTo>
                      <a:pt x="399" y="226"/>
                      <a:pt x="403" y="222"/>
                      <a:pt x="411" y="213"/>
                    </a:cubicBezTo>
                    <a:moveTo>
                      <a:pt x="252" y="439"/>
                    </a:moveTo>
                    <a:cubicBezTo>
                      <a:pt x="252" y="449"/>
                      <a:pt x="261" y="454"/>
                      <a:pt x="281" y="454"/>
                    </a:cubicBezTo>
                    <a:cubicBezTo>
                      <a:pt x="300" y="454"/>
                      <a:pt x="309" y="449"/>
                      <a:pt x="309" y="439"/>
                    </a:cubicBezTo>
                    <a:cubicBezTo>
                      <a:pt x="309" y="19"/>
                      <a:pt x="309" y="19"/>
                      <a:pt x="309" y="19"/>
                    </a:cubicBezTo>
                    <a:cubicBezTo>
                      <a:pt x="309" y="9"/>
                      <a:pt x="300" y="4"/>
                      <a:pt x="281" y="4"/>
                    </a:cubicBezTo>
                    <a:cubicBezTo>
                      <a:pt x="261" y="4"/>
                      <a:pt x="252" y="9"/>
                      <a:pt x="252" y="19"/>
                    </a:cubicBezTo>
                    <a:lnTo>
                      <a:pt x="252" y="439"/>
                    </a:lnTo>
                    <a:close/>
                    <a:moveTo>
                      <a:pt x="0" y="439"/>
                    </a:moveTo>
                    <a:cubicBezTo>
                      <a:pt x="0" y="449"/>
                      <a:pt x="8" y="454"/>
                      <a:pt x="28" y="454"/>
                    </a:cubicBezTo>
                    <a:cubicBezTo>
                      <a:pt x="48" y="454"/>
                      <a:pt x="56" y="449"/>
                      <a:pt x="56" y="439"/>
                    </a:cubicBezTo>
                    <a:cubicBezTo>
                      <a:pt x="56" y="157"/>
                      <a:pt x="56" y="157"/>
                      <a:pt x="56" y="157"/>
                    </a:cubicBezTo>
                    <a:cubicBezTo>
                      <a:pt x="56" y="83"/>
                      <a:pt x="85" y="53"/>
                      <a:pt x="165" y="53"/>
                    </a:cubicBezTo>
                    <a:cubicBezTo>
                      <a:pt x="180" y="53"/>
                      <a:pt x="180" y="53"/>
                      <a:pt x="180" y="53"/>
                    </a:cubicBezTo>
                    <a:cubicBezTo>
                      <a:pt x="192" y="53"/>
                      <a:pt x="196" y="43"/>
                      <a:pt x="196" y="27"/>
                    </a:cubicBezTo>
                    <a:cubicBezTo>
                      <a:pt x="196" y="8"/>
                      <a:pt x="185" y="4"/>
                      <a:pt x="154" y="4"/>
                    </a:cubicBezTo>
                    <a:cubicBezTo>
                      <a:pt x="64" y="4"/>
                      <a:pt x="0" y="43"/>
                      <a:pt x="0" y="152"/>
                    </a:cubicBezTo>
                    <a:lnTo>
                      <a:pt x="0" y="43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25" name="Freeform 10">
                <a:extLst>
                  <a:ext uri="{FF2B5EF4-FFF2-40B4-BE49-F238E27FC236}">
                    <a16:creationId xmlns:a16="http://schemas.microsoft.com/office/drawing/2014/main" id="{2B91B16B-BC11-E547-8FAC-B9B8D18EA449}"/>
                  </a:ext>
                </a:extLst>
              </p:cNvPr>
              <p:cNvSpPr>
                <a:spLocks/>
              </p:cNvSpPr>
              <p:nvPr/>
            </p:nvSpPr>
            <p:spPr bwMode="gray">
              <a:xfrm>
                <a:off x="2880" y="1704"/>
                <a:ext cx="618" cy="916"/>
              </a:xfrm>
              <a:custGeom>
                <a:avLst/>
                <a:gdLst>
                  <a:gd name="T0" fmla="*/ 307 w 307"/>
                  <a:gd name="T1" fmla="*/ 405 h 455"/>
                  <a:gd name="T2" fmla="*/ 307 w 307"/>
                  <a:gd name="T3" fmla="*/ 244 h 455"/>
                  <a:gd name="T4" fmla="*/ 279 w 307"/>
                  <a:gd name="T5" fmla="*/ 229 h 455"/>
                  <a:gd name="T6" fmla="*/ 250 w 307"/>
                  <a:gd name="T7" fmla="*/ 244 h 455"/>
                  <a:gd name="T8" fmla="*/ 250 w 307"/>
                  <a:gd name="T9" fmla="*/ 378 h 455"/>
                  <a:gd name="T10" fmla="*/ 199 w 307"/>
                  <a:gd name="T11" fmla="*/ 408 h 455"/>
                  <a:gd name="T12" fmla="*/ 61 w 307"/>
                  <a:gd name="T13" fmla="*/ 231 h 455"/>
                  <a:gd name="T14" fmla="*/ 238 w 307"/>
                  <a:gd name="T15" fmla="*/ 49 h 455"/>
                  <a:gd name="T16" fmla="*/ 270 w 307"/>
                  <a:gd name="T17" fmla="*/ 49 h 455"/>
                  <a:gd name="T18" fmla="*/ 286 w 307"/>
                  <a:gd name="T19" fmla="*/ 23 h 455"/>
                  <a:gd name="T20" fmla="*/ 244 w 307"/>
                  <a:gd name="T21" fmla="*/ 0 h 455"/>
                  <a:gd name="T22" fmla="*/ 231 w 307"/>
                  <a:gd name="T23" fmla="*/ 0 h 455"/>
                  <a:gd name="T24" fmla="*/ 0 w 307"/>
                  <a:gd name="T25" fmla="*/ 232 h 455"/>
                  <a:gd name="T26" fmla="*/ 198 w 307"/>
                  <a:gd name="T27" fmla="*/ 455 h 455"/>
                  <a:gd name="T28" fmla="*/ 307 w 307"/>
                  <a:gd name="T29" fmla="*/ 405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7" h="455">
                    <a:moveTo>
                      <a:pt x="307" y="405"/>
                    </a:moveTo>
                    <a:cubicBezTo>
                      <a:pt x="307" y="244"/>
                      <a:pt x="307" y="244"/>
                      <a:pt x="307" y="244"/>
                    </a:cubicBezTo>
                    <a:cubicBezTo>
                      <a:pt x="307" y="234"/>
                      <a:pt x="298" y="229"/>
                      <a:pt x="279" y="229"/>
                    </a:cubicBezTo>
                    <a:cubicBezTo>
                      <a:pt x="259" y="229"/>
                      <a:pt x="250" y="234"/>
                      <a:pt x="250" y="244"/>
                    </a:cubicBezTo>
                    <a:cubicBezTo>
                      <a:pt x="250" y="378"/>
                      <a:pt x="250" y="378"/>
                      <a:pt x="250" y="378"/>
                    </a:cubicBezTo>
                    <a:cubicBezTo>
                      <a:pt x="250" y="399"/>
                      <a:pt x="241" y="408"/>
                      <a:pt x="199" y="408"/>
                    </a:cubicBezTo>
                    <a:cubicBezTo>
                      <a:pt x="114" y="408"/>
                      <a:pt x="61" y="342"/>
                      <a:pt x="61" y="231"/>
                    </a:cubicBezTo>
                    <a:cubicBezTo>
                      <a:pt x="61" y="115"/>
                      <a:pt x="126" y="49"/>
                      <a:pt x="238" y="49"/>
                    </a:cubicBezTo>
                    <a:cubicBezTo>
                      <a:pt x="270" y="49"/>
                      <a:pt x="270" y="49"/>
                      <a:pt x="270" y="49"/>
                    </a:cubicBezTo>
                    <a:cubicBezTo>
                      <a:pt x="282" y="49"/>
                      <a:pt x="286" y="39"/>
                      <a:pt x="286" y="23"/>
                    </a:cubicBezTo>
                    <a:cubicBezTo>
                      <a:pt x="286" y="4"/>
                      <a:pt x="275" y="0"/>
                      <a:pt x="244" y="0"/>
                    </a:cubicBezTo>
                    <a:cubicBezTo>
                      <a:pt x="231" y="0"/>
                      <a:pt x="231" y="0"/>
                      <a:pt x="231" y="0"/>
                    </a:cubicBezTo>
                    <a:cubicBezTo>
                      <a:pt x="101" y="0"/>
                      <a:pt x="0" y="71"/>
                      <a:pt x="0" y="232"/>
                    </a:cubicBezTo>
                    <a:cubicBezTo>
                      <a:pt x="0" y="386"/>
                      <a:pt x="88" y="455"/>
                      <a:pt x="198" y="455"/>
                    </a:cubicBezTo>
                    <a:cubicBezTo>
                      <a:pt x="286" y="455"/>
                      <a:pt x="307" y="430"/>
                      <a:pt x="307" y="40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26" name="Oval 11">
                <a:extLst>
                  <a:ext uri="{FF2B5EF4-FFF2-40B4-BE49-F238E27FC236}">
                    <a16:creationId xmlns:a16="http://schemas.microsoft.com/office/drawing/2014/main" id="{14F8C3C8-4888-7646-B9B4-64EB46A1DA23}"/>
                  </a:ext>
                </a:extLst>
              </p:cNvPr>
              <p:cNvSpPr>
                <a:spLocks noChangeArrowheads="1"/>
              </p:cNvSpPr>
              <p:nvPr/>
            </p:nvSpPr>
            <p:spPr bwMode="gray">
              <a:xfrm>
                <a:off x="3778" y="2099"/>
                <a:ext cx="122" cy="12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27" name="Freeform 12">
                <a:extLst>
                  <a:ext uri="{FF2B5EF4-FFF2-40B4-BE49-F238E27FC236}">
                    <a16:creationId xmlns:a16="http://schemas.microsoft.com/office/drawing/2014/main" id="{D79D01D1-4E3E-F34B-97D7-2D387E68746E}"/>
                  </a:ext>
                </a:extLst>
              </p:cNvPr>
              <p:cNvSpPr>
                <a:spLocks/>
              </p:cNvSpPr>
              <p:nvPr/>
            </p:nvSpPr>
            <p:spPr bwMode="gray">
              <a:xfrm>
                <a:off x="4321" y="1029"/>
                <a:ext cx="648" cy="649"/>
              </a:xfrm>
              <a:custGeom>
                <a:avLst/>
                <a:gdLst>
                  <a:gd name="T0" fmla="*/ 0 w 648"/>
                  <a:gd name="T1" fmla="*/ 649 h 649"/>
                  <a:gd name="T2" fmla="*/ 2 w 648"/>
                  <a:gd name="T3" fmla="*/ 649 h 649"/>
                  <a:gd name="T4" fmla="*/ 648 w 648"/>
                  <a:gd name="T5" fmla="*/ 0 h 649"/>
                  <a:gd name="T6" fmla="*/ 423 w 648"/>
                  <a:gd name="T7" fmla="*/ 0 h 649"/>
                  <a:gd name="T8" fmla="*/ 0 w 648"/>
                  <a:gd name="T9" fmla="*/ 649 h 649"/>
                </a:gdLst>
                <a:ahLst/>
                <a:cxnLst>
                  <a:cxn ang="0">
                    <a:pos x="T0" y="T1"/>
                  </a:cxn>
                  <a:cxn ang="0">
                    <a:pos x="T2" y="T3"/>
                  </a:cxn>
                  <a:cxn ang="0">
                    <a:pos x="T4" y="T5"/>
                  </a:cxn>
                  <a:cxn ang="0">
                    <a:pos x="T6" y="T7"/>
                  </a:cxn>
                  <a:cxn ang="0">
                    <a:pos x="T8" y="T9"/>
                  </a:cxn>
                </a:cxnLst>
                <a:rect l="0" t="0" r="r" b="b"/>
                <a:pathLst>
                  <a:path w="648" h="649">
                    <a:moveTo>
                      <a:pt x="0" y="649"/>
                    </a:moveTo>
                    <a:lnTo>
                      <a:pt x="2" y="649"/>
                    </a:lnTo>
                    <a:lnTo>
                      <a:pt x="648" y="0"/>
                    </a:lnTo>
                    <a:lnTo>
                      <a:pt x="423" y="0"/>
                    </a:lnTo>
                    <a:lnTo>
                      <a:pt x="0" y="64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28" name="Freeform 13">
                <a:extLst>
                  <a:ext uri="{FF2B5EF4-FFF2-40B4-BE49-F238E27FC236}">
                    <a16:creationId xmlns:a16="http://schemas.microsoft.com/office/drawing/2014/main" id="{46549898-6C52-B147-A8F6-A73FDBE6163B}"/>
                  </a:ext>
                </a:extLst>
              </p:cNvPr>
              <p:cNvSpPr>
                <a:spLocks/>
              </p:cNvSpPr>
              <p:nvPr/>
            </p:nvSpPr>
            <p:spPr bwMode="gray">
              <a:xfrm>
                <a:off x="4321" y="1029"/>
                <a:ext cx="648" cy="649"/>
              </a:xfrm>
              <a:custGeom>
                <a:avLst/>
                <a:gdLst>
                  <a:gd name="T0" fmla="*/ 0 w 648"/>
                  <a:gd name="T1" fmla="*/ 649 h 649"/>
                  <a:gd name="T2" fmla="*/ 2 w 648"/>
                  <a:gd name="T3" fmla="*/ 649 h 649"/>
                  <a:gd name="T4" fmla="*/ 648 w 648"/>
                  <a:gd name="T5" fmla="*/ 0 h 649"/>
                  <a:gd name="T6" fmla="*/ 423 w 648"/>
                  <a:gd name="T7" fmla="*/ 0 h 649"/>
                  <a:gd name="T8" fmla="*/ 0 w 648"/>
                  <a:gd name="T9" fmla="*/ 649 h 649"/>
                </a:gdLst>
                <a:ahLst/>
                <a:cxnLst>
                  <a:cxn ang="0">
                    <a:pos x="T0" y="T1"/>
                  </a:cxn>
                  <a:cxn ang="0">
                    <a:pos x="T2" y="T3"/>
                  </a:cxn>
                  <a:cxn ang="0">
                    <a:pos x="T4" y="T5"/>
                  </a:cxn>
                  <a:cxn ang="0">
                    <a:pos x="T6" y="T7"/>
                  </a:cxn>
                  <a:cxn ang="0">
                    <a:pos x="T8" y="T9"/>
                  </a:cxn>
                </a:cxnLst>
                <a:rect l="0" t="0" r="r" b="b"/>
                <a:pathLst>
                  <a:path w="648" h="649">
                    <a:moveTo>
                      <a:pt x="0" y="649"/>
                    </a:moveTo>
                    <a:lnTo>
                      <a:pt x="2" y="649"/>
                    </a:lnTo>
                    <a:lnTo>
                      <a:pt x="648" y="0"/>
                    </a:lnTo>
                    <a:lnTo>
                      <a:pt x="423" y="0"/>
                    </a:lnTo>
                    <a:lnTo>
                      <a:pt x="0" y="64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grpSp>
      </p:grpSp>
      <p:sp>
        <p:nvSpPr>
          <p:cNvPr id="7" name="Date Placeholder 6"/>
          <p:cNvSpPr>
            <a:spLocks noGrp="1"/>
          </p:cNvSpPr>
          <p:nvPr>
            <p:ph type="dt" sz="half" idx="10"/>
          </p:nvPr>
        </p:nvSpPr>
        <p:spPr>
          <a:xfrm>
            <a:off x="0" y="0"/>
            <a:ext cx="0" cy="0"/>
          </a:xfrm>
          <a:prstGeom prst="rect">
            <a:avLst/>
          </a:prstGeom>
        </p:spPr>
        <p:txBody>
          <a:bodyPr/>
          <a:lstStyle>
            <a:lvl1pPr>
              <a:defRPr sz="100">
                <a:noFill/>
              </a:defRPr>
            </a:lvl1pPr>
          </a:lstStyle>
          <a:p>
            <a:endParaRPr lang="en-US"/>
          </a:p>
        </p:txBody>
      </p:sp>
      <p:sp>
        <p:nvSpPr>
          <p:cNvPr id="8" name="Footer Placeholder 7"/>
          <p:cNvSpPr>
            <a:spLocks noGrp="1"/>
          </p:cNvSpPr>
          <p:nvPr>
            <p:ph type="ftr" sz="quarter" idx="11"/>
          </p:nvPr>
        </p:nvSpPr>
        <p:spPr>
          <a:xfrm>
            <a:off x="0" y="0"/>
            <a:ext cx="0" cy="0"/>
          </a:xfrm>
          <a:prstGeom prst="rect">
            <a:avLst/>
          </a:prstGeom>
        </p:spPr>
        <p:txBody>
          <a:bodyPr/>
          <a:lstStyle>
            <a:lvl1pPr marL="0" indent="0">
              <a:buNone/>
              <a:defRPr sz="100">
                <a:noFill/>
              </a:defRPr>
            </a:lvl1pPr>
          </a:lstStyle>
          <a:p>
            <a:endParaRPr lang="en-US"/>
          </a:p>
        </p:txBody>
      </p:sp>
      <p:sp>
        <p:nvSpPr>
          <p:cNvPr id="9" name="Slide Number Placeholder 8"/>
          <p:cNvSpPr>
            <a:spLocks noGrp="1"/>
          </p:cNvSpPr>
          <p:nvPr>
            <p:ph type="sldNum" sz="quarter" idx="12"/>
          </p:nvPr>
        </p:nvSpPr>
        <p:spPr>
          <a:xfrm>
            <a:off x="0" y="0"/>
            <a:ext cx="0" cy="0"/>
          </a:xfrm>
          <a:prstGeom prst="rect">
            <a:avLst/>
          </a:prstGeom>
        </p:spPr>
        <p:txBody>
          <a:bodyPr/>
          <a:lstStyle>
            <a:lvl1pPr>
              <a:defRPr sz="100">
                <a:noFill/>
              </a:defRPr>
            </a:lvl1pPr>
          </a:lstStyle>
          <a:p>
            <a:fld id="{8E3B25F7-8D1F-44B5-B485-EE3C438CFD7B}" type="slidenum">
              <a:rPr lang="en-US" smtClean="0"/>
              <a:pPr/>
              <a:t>‹#›</a:t>
            </a:fld>
            <a:endParaRPr lang="en-US"/>
          </a:p>
        </p:txBody>
      </p:sp>
      <p:sp>
        <p:nvSpPr>
          <p:cNvPr id="2" name="Title 1"/>
          <p:cNvSpPr>
            <a:spLocks noGrp="1"/>
          </p:cNvSpPr>
          <p:nvPr>
            <p:ph type="ctrTitle" hasCustomPrompt="1"/>
          </p:nvPr>
        </p:nvSpPr>
        <p:spPr>
          <a:xfrm>
            <a:off x="4777671" y="2019727"/>
            <a:ext cx="3816000" cy="2236264"/>
          </a:xfrm>
        </p:spPr>
        <p:txBody>
          <a:bodyPr anchor="b"/>
          <a:lstStyle>
            <a:lvl1pPr algn="l">
              <a:defRPr sz="3600"/>
            </a:lvl1pPr>
          </a:lstStyle>
          <a:p>
            <a:r>
              <a:rPr lang="en-US"/>
              <a:t>Click to add thank you</a:t>
            </a:r>
          </a:p>
        </p:txBody>
      </p:sp>
    </p:spTree>
    <p:extLst>
      <p:ext uri="{BB962C8B-B14F-4D97-AF65-F5344CB8AC3E}">
        <p14:creationId xmlns:p14="http://schemas.microsoft.com/office/powerpoint/2010/main" val="1107825972"/>
      </p:ext>
    </p:extLst>
  </p:cSld>
  <p:clrMapOvr>
    <a:masterClrMapping/>
  </p:clrMapOvr>
</p:sldLayout>
</file>

<file path=ppt/slideLayouts/slideLayout328.xml><?xml version="1.0" encoding="utf-8"?>
<p:sldLayout xmlns:a="http://schemas.openxmlformats.org/drawingml/2006/main" xmlns:r="http://schemas.openxmlformats.org/officeDocument/2006/relationships" xmlns:p="http://schemas.openxmlformats.org/presentationml/2006/main">
  <p:cSld name="2_Headline only">
    <p:spTree>
      <p:nvGrpSpPr>
        <p:cNvPr id="1" name=""/>
        <p:cNvGrpSpPr/>
        <p:nvPr/>
      </p:nvGrpSpPr>
      <p:grpSpPr>
        <a:xfrm>
          <a:off x="0" y="0"/>
          <a:ext cx="0" cy="0"/>
          <a:chOff x="0" y="0"/>
          <a:chExt cx="0" cy="0"/>
        </a:xfrm>
      </p:grpSpPr>
      <p:sp>
        <p:nvSpPr>
          <p:cNvPr id="21" name="Date Placeholder 20"/>
          <p:cNvSpPr>
            <a:spLocks noGrp="1"/>
          </p:cNvSpPr>
          <p:nvPr>
            <p:ph type="dt" sz="half" idx="14"/>
          </p:nvPr>
        </p:nvSpPr>
        <p:spPr>
          <a:xfrm>
            <a:off x="192089" y="6237288"/>
            <a:ext cx="863600" cy="358173"/>
          </a:xfrm>
          <a:prstGeom prst="rect">
            <a:avLst/>
          </a:prstGeom>
        </p:spPr>
        <p:txBody>
          <a:bodyPr/>
          <a:lstStyle/>
          <a:p>
            <a:fld id="{7DCAAD07-09FD-49C1-9253-3DC58F499B21}" type="datetime5">
              <a:rPr lang="en-US" smtClean="0"/>
              <a:t>26-Jun-20</a:t>
            </a:fld>
            <a:endParaRPr lang="en-US"/>
          </a:p>
        </p:txBody>
      </p:sp>
      <p:sp>
        <p:nvSpPr>
          <p:cNvPr id="22" name="Footer Placeholder 21"/>
          <p:cNvSpPr>
            <a:spLocks noGrp="1"/>
          </p:cNvSpPr>
          <p:nvPr>
            <p:ph type="ftr" sz="quarter" idx="15"/>
          </p:nvPr>
        </p:nvSpPr>
        <p:spPr>
          <a:xfrm>
            <a:off x="1177999" y="6237288"/>
            <a:ext cx="8162717" cy="358173"/>
          </a:xfrm>
          <a:prstGeom prst="rect">
            <a:avLst/>
          </a:prstGeom>
        </p:spPr>
        <p:txBody>
          <a:bodyPr/>
          <a:lstStyle/>
          <a:p>
            <a:r>
              <a:rPr lang="en-US"/>
              <a:t>Portfolio </a:t>
            </a:r>
            <a:r>
              <a:rPr lang="en-US" err="1"/>
              <a:t>Multiclient</a:t>
            </a:r>
            <a:r>
              <a:rPr lang="en-US"/>
              <a:t> 2019</a:t>
            </a:r>
          </a:p>
        </p:txBody>
      </p:sp>
      <p:sp>
        <p:nvSpPr>
          <p:cNvPr id="23" name="Slide Number Placeholder 22"/>
          <p:cNvSpPr>
            <a:spLocks noGrp="1"/>
          </p:cNvSpPr>
          <p:nvPr>
            <p:ph type="sldNum" sz="quarter" idx="16"/>
          </p:nvPr>
        </p:nvSpPr>
        <p:spPr/>
        <p:txBody>
          <a:bodyPr/>
          <a:lstStyle/>
          <a:p>
            <a:fld id="{5F3E29E4-0979-4FCA-B4C5-5FC6044C982A}" type="slidenum">
              <a:rPr lang="en-US" smtClean="0"/>
              <a:t>‹#›</a:t>
            </a:fld>
            <a:endParaRPr lang="en-US"/>
          </a:p>
        </p:txBody>
      </p:sp>
      <p:sp>
        <p:nvSpPr>
          <p:cNvPr id="2" name="Title 1"/>
          <p:cNvSpPr>
            <a:spLocks noGrp="1"/>
          </p:cNvSpPr>
          <p:nvPr>
            <p:ph type="title" hasCustomPrompt="1"/>
          </p:nvPr>
        </p:nvSpPr>
        <p:spPr/>
        <p:txBody>
          <a:bodyPr/>
          <a:lstStyle>
            <a:lvl1pPr>
              <a:defRPr/>
            </a:lvl1pPr>
          </a:lstStyle>
          <a:p>
            <a:r>
              <a:rPr lang="en-US"/>
              <a:t>Click to add slide title</a:t>
            </a:r>
          </a:p>
        </p:txBody>
      </p:sp>
      <p:sp>
        <p:nvSpPr>
          <p:cNvPr id="7" name="Subtitle 2"/>
          <p:cNvSpPr>
            <a:spLocks noGrp="1"/>
          </p:cNvSpPr>
          <p:nvPr>
            <p:ph type="subTitle" idx="13" hasCustomPrompt="1"/>
          </p:nvPr>
        </p:nvSpPr>
        <p:spPr>
          <a:xfrm>
            <a:off x="1075061" y="964671"/>
            <a:ext cx="7910158" cy="490042"/>
          </a:xfrm>
        </p:spPr>
        <p:txBody>
          <a:bodyPr wrap="none"/>
          <a:lstStyle>
            <a:lvl1pPr marL="0" indent="0" algn="l">
              <a:spcBef>
                <a:spcPts val="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spTree>
    <p:extLst>
      <p:ext uri="{BB962C8B-B14F-4D97-AF65-F5344CB8AC3E}">
        <p14:creationId xmlns:p14="http://schemas.microsoft.com/office/powerpoint/2010/main" val="1193243838"/>
      </p:ext>
    </p:extLst>
  </p:cSld>
  <p:clrMapOvr>
    <a:masterClrMapping/>
  </p:clrMapOvr>
</p:sldLayout>
</file>

<file path=ppt/slideLayouts/slideLayout329.xml><?xml version="1.0" encoding="utf-8"?>
<p:sldLayout xmlns:a="http://schemas.openxmlformats.org/drawingml/2006/main" xmlns:r="http://schemas.openxmlformats.org/officeDocument/2006/relationships" xmlns:p="http://schemas.openxmlformats.org/presentationml/2006/main">
  <p:cSld name="1_Two contents">
    <p:spTree>
      <p:nvGrpSpPr>
        <p:cNvPr id="1" name=""/>
        <p:cNvGrpSpPr/>
        <p:nvPr/>
      </p:nvGrpSpPr>
      <p:grpSpPr>
        <a:xfrm>
          <a:off x="0" y="0"/>
          <a:ext cx="0" cy="0"/>
          <a:chOff x="0" y="0"/>
          <a:chExt cx="0" cy="0"/>
        </a:xfrm>
      </p:grpSpPr>
      <p:sp>
        <p:nvSpPr>
          <p:cNvPr id="21" name="Date Placeholder 20"/>
          <p:cNvSpPr>
            <a:spLocks noGrp="1"/>
          </p:cNvSpPr>
          <p:nvPr>
            <p:ph type="dt" sz="half" idx="14"/>
          </p:nvPr>
        </p:nvSpPr>
        <p:spPr/>
        <p:txBody>
          <a:bodyPr/>
          <a:lstStyle/>
          <a:p>
            <a:fld id="{9D45F382-CD09-4611-8552-1549F9F12240}" type="datetime5">
              <a:rPr lang="en-US" smtClean="0"/>
              <a:t>26-Jun-20</a:t>
            </a:fld>
            <a:endParaRPr lang="en-US"/>
          </a:p>
        </p:txBody>
      </p:sp>
      <p:sp>
        <p:nvSpPr>
          <p:cNvPr id="22" name="Footer Placeholder 21"/>
          <p:cNvSpPr>
            <a:spLocks noGrp="1"/>
          </p:cNvSpPr>
          <p:nvPr>
            <p:ph type="ftr" sz="quarter" idx="15"/>
          </p:nvPr>
        </p:nvSpPr>
        <p:spPr/>
        <p:txBody>
          <a:bodyPr/>
          <a:lstStyle/>
          <a:p>
            <a:r>
              <a:rPr lang="en-US"/>
              <a:t>Title of presentation (Insert / Header &amp; Footer / Apply to All)</a:t>
            </a:r>
          </a:p>
        </p:txBody>
      </p:sp>
      <p:sp>
        <p:nvSpPr>
          <p:cNvPr id="23" name="Slide Number Placeholder 22"/>
          <p:cNvSpPr>
            <a:spLocks noGrp="1"/>
          </p:cNvSpPr>
          <p:nvPr>
            <p:ph type="sldNum" sz="quarter" idx="16"/>
          </p:nvPr>
        </p:nvSpPr>
        <p:spPr/>
        <p:txBody>
          <a:bodyPr/>
          <a:lstStyle/>
          <a:p>
            <a:fld id="{5F3E29E4-0979-4FCA-B4C5-5FC6044C982A}" type="slidenum">
              <a:rPr lang="en-US" smtClean="0"/>
              <a:t>‹#›</a:t>
            </a:fld>
            <a:endParaRPr lang="en-US"/>
          </a:p>
        </p:txBody>
      </p:sp>
      <p:sp>
        <p:nvSpPr>
          <p:cNvPr id="2" name="Title 1"/>
          <p:cNvSpPr>
            <a:spLocks noGrp="1"/>
          </p:cNvSpPr>
          <p:nvPr>
            <p:ph type="title" hasCustomPrompt="1"/>
          </p:nvPr>
        </p:nvSpPr>
        <p:spPr/>
        <p:txBody>
          <a:bodyPr/>
          <a:lstStyle>
            <a:lvl1pPr>
              <a:defRPr/>
            </a:lvl1pPr>
          </a:lstStyle>
          <a:p>
            <a:r>
              <a:rPr lang="en-US"/>
              <a:t>Click to add slide title</a:t>
            </a:r>
          </a:p>
        </p:txBody>
      </p:sp>
      <p:sp>
        <p:nvSpPr>
          <p:cNvPr id="7" name="Subtitle 2"/>
          <p:cNvSpPr>
            <a:spLocks noGrp="1"/>
          </p:cNvSpPr>
          <p:nvPr>
            <p:ph type="subTitle" idx="13" hasCustomPrompt="1"/>
          </p:nvPr>
        </p:nvSpPr>
        <p:spPr>
          <a:xfrm>
            <a:off x="1075061" y="964671"/>
            <a:ext cx="7910158" cy="490042"/>
          </a:xfrm>
        </p:spPr>
        <p:txBody>
          <a:bodyPr wrap="none"/>
          <a:lstStyle>
            <a:lvl1pPr marL="0" indent="0" algn="l">
              <a:spcBef>
                <a:spcPts val="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sp>
        <p:nvSpPr>
          <p:cNvPr id="3" name="Content Placeholder 2"/>
          <p:cNvSpPr>
            <a:spLocks noGrp="1"/>
          </p:cNvSpPr>
          <p:nvPr>
            <p:ph idx="1" hasCustomPrompt="1"/>
          </p:nvPr>
        </p:nvSpPr>
        <p:spPr>
          <a:xfrm>
            <a:off x="1075062" y="1629618"/>
            <a:ext cx="5220000" cy="4139357"/>
          </a:xfrm>
        </p:spPr>
        <p:txBody>
          <a:bodyPr/>
          <a:lstStyle>
            <a:lvl1pPr>
              <a:defRPr/>
            </a:lvl1pPr>
          </a:lstStyle>
          <a:p>
            <a:pPr lvl="0"/>
            <a:r>
              <a:rPr lang="en-US"/>
              <a:t>Click to add text or content</a:t>
            </a:r>
          </a:p>
          <a:p>
            <a:pPr lvl="1"/>
            <a:r>
              <a:rPr lang="en-US"/>
              <a:t>Second level</a:t>
            </a:r>
          </a:p>
          <a:p>
            <a:pPr lvl="2"/>
            <a:r>
              <a:rPr lang="en-US"/>
              <a:t>Third level</a:t>
            </a:r>
          </a:p>
          <a:p>
            <a:pPr lvl="3"/>
            <a:r>
              <a:rPr lang="en-US"/>
              <a:t>Fourth level</a:t>
            </a:r>
          </a:p>
          <a:p>
            <a:pPr lvl="4"/>
            <a:r>
              <a:rPr lang="en-US"/>
              <a:t>Fifth level</a:t>
            </a:r>
          </a:p>
        </p:txBody>
      </p:sp>
      <p:sp>
        <p:nvSpPr>
          <p:cNvPr id="9" name="Content Placeholder 2"/>
          <p:cNvSpPr>
            <a:spLocks noGrp="1"/>
          </p:cNvSpPr>
          <p:nvPr>
            <p:ph idx="17" hasCustomPrompt="1"/>
          </p:nvPr>
        </p:nvSpPr>
        <p:spPr>
          <a:xfrm>
            <a:off x="6600525" y="1629618"/>
            <a:ext cx="5220000" cy="4139357"/>
          </a:xfrm>
        </p:spPr>
        <p:txBody>
          <a:bodyPr/>
          <a:lstStyle>
            <a:lvl1pPr>
              <a:defRPr/>
            </a:lvl1pPr>
          </a:lstStyle>
          <a:p>
            <a:pPr lvl="0"/>
            <a:r>
              <a:rPr lang="en-US"/>
              <a:t>Click to add text or conten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04438705"/>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hree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p>
            <a:r>
              <a:rPr lang="en-US"/>
              <a:t>Click to add headline</a:t>
            </a:r>
          </a:p>
        </p:txBody>
      </p:sp>
      <p:sp>
        <p:nvSpPr>
          <p:cNvPr id="7" name="Textplatzhalter 2"/>
          <p:cNvSpPr>
            <a:spLocks noGrp="1"/>
          </p:cNvSpPr>
          <p:nvPr>
            <p:ph type="body" sz="quarter" idx="11" hasCustomPrompt="1"/>
          </p:nvPr>
        </p:nvSpPr>
        <p:spPr bwMode="gray">
          <a:xfrm>
            <a:off x="431214" y="1220694"/>
            <a:ext cx="11329573" cy="384055"/>
          </a:xfrm>
        </p:spPr>
        <p:txBody>
          <a:bodyPr>
            <a:noAutofit/>
          </a:bodyPr>
          <a:lstStyle>
            <a:lvl1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1pPr>
            <a:lvl2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2pPr>
            <a:lvl3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3pPr>
            <a:lvl4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4pPr>
            <a:lvl5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5pPr>
            <a:lvl6pPr marL="0" indent="0">
              <a:lnSpc>
                <a:spcPct val="100000"/>
              </a:lnSpc>
              <a:spcBef>
                <a:spcPts val="800"/>
              </a:spcBef>
              <a:buNone/>
              <a:defRPr lang="en-GB" sz="2400" kern="1200" noProof="0" smtClean="0">
                <a:solidFill>
                  <a:schemeClr val="tx2"/>
                </a:solidFill>
                <a:latin typeface="Arial" pitchFamily="34" charset="0"/>
                <a:ea typeface="+mn-ea"/>
                <a:cs typeface="Arial" pitchFamily="34" charset="0"/>
              </a:defRPr>
            </a:lvl6pPr>
            <a:lvl7pPr marL="0" indent="0">
              <a:lnSpc>
                <a:spcPct val="100000"/>
              </a:lnSpc>
              <a:spcBef>
                <a:spcPts val="800"/>
              </a:spcBef>
              <a:buNone/>
              <a:defRPr lang="en-GB" sz="2400" kern="1200" noProof="0" smtClean="0">
                <a:solidFill>
                  <a:schemeClr val="tx2"/>
                </a:solidFill>
                <a:latin typeface="Arial" pitchFamily="34" charset="0"/>
                <a:ea typeface="+mn-ea"/>
                <a:cs typeface="Arial" pitchFamily="34" charset="0"/>
              </a:defRPr>
            </a:lvl7pPr>
            <a:lvl8pPr marL="0" indent="0">
              <a:lnSpc>
                <a:spcPct val="100000"/>
              </a:lnSpc>
              <a:spcBef>
                <a:spcPts val="800"/>
              </a:spcBef>
              <a:buNone/>
              <a:defRPr lang="en-GB" sz="2400" kern="1200" noProof="0" smtClean="0">
                <a:solidFill>
                  <a:schemeClr val="tx2"/>
                </a:solidFill>
                <a:latin typeface="Arial" pitchFamily="34" charset="0"/>
                <a:ea typeface="+mn-ea"/>
                <a:cs typeface="Arial" pitchFamily="34" charset="0"/>
              </a:defRPr>
            </a:lvl8pPr>
            <a:lvl9pPr marL="0" indent="0">
              <a:lnSpc>
                <a:spcPct val="100000"/>
              </a:lnSpc>
              <a:spcBef>
                <a:spcPts val="800"/>
              </a:spcBef>
              <a:buNone/>
              <a:defRPr lang="de-DE" sz="2400" kern="1200" noProof="0" smtClean="0">
                <a:solidFill>
                  <a:schemeClr val="tx2"/>
                </a:solidFill>
                <a:latin typeface="Arial" pitchFamily="34" charset="0"/>
                <a:ea typeface="+mn-ea"/>
                <a:cs typeface="Arial" pitchFamily="34" charset="0"/>
              </a:defRPr>
            </a:lvl9pPr>
          </a:lstStyle>
          <a:p>
            <a:pPr lvl="0"/>
            <a:r>
              <a:rPr lang="en-US"/>
              <a:t>Click to add </a:t>
            </a:r>
            <a:r>
              <a:rPr lang="en-US" err="1"/>
              <a:t>subheadline</a:t>
            </a:r>
            <a:endParaRPr lang="en-US"/>
          </a:p>
        </p:txBody>
      </p:sp>
      <p:sp>
        <p:nvSpPr>
          <p:cNvPr id="8" name="Textplatzhalter 3"/>
          <p:cNvSpPr>
            <a:spLocks noGrp="1"/>
          </p:cNvSpPr>
          <p:nvPr>
            <p:ph type="body" sz="quarter" idx="12" hasCustomPrompt="1"/>
          </p:nvPr>
        </p:nvSpPr>
        <p:spPr bwMode="gray">
          <a:xfrm>
            <a:off x="431371" y="6404736"/>
            <a:ext cx="11328400" cy="192616"/>
          </a:xfrm>
        </p:spPr>
        <p:txBody>
          <a:bodyPr tIns="0" bIns="36000" anchor="b" anchorCtr="0">
            <a:noAutofit/>
          </a:bodyPr>
          <a:lstStyle>
            <a:lvl1pPr marL="0" marR="0" indent="0" algn="l" defTabSz="1219170" rtl="0" eaLnBrk="1" fontAlgn="auto" latinLnBrk="0" hangingPunct="1">
              <a:lnSpc>
                <a:spcPct val="100000"/>
              </a:lnSpc>
              <a:spcBef>
                <a:spcPts val="0"/>
              </a:spcBef>
              <a:spcAft>
                <a:spcPts val="0"/>
              </a:spcAft>
              <a:buClrTx/>
              <a:buSzTx/>
              <a:buFont typeface="Arial" pitchFamily="34" charset="0"/>
              <a:buNone/>
              <a:tabLst/>
              <a:defRPr lang="de-DE" sz="1067" kern="1200" baseline="0" noProof="0" smtClean="0">
                <a:solidFill>
                  <a:schemeClr val="bg2"/>
                </a:solidFill>
                <a:latin typeface="Arial" pitchFamily="34" charset="0"/>
                <a:ea typeface="+mn-ea"/>
                <a:cs typeface="Arial" pitchFamily="34" charset="0"/>
              </a:defRPr>
            </a:lvl1pPr>
            <a:lvl2pPr marL="0" indent="0">
              <a:lnSpc>
                <a:spcPct val="100000"/>
              </a:lnSpc>
              <a:spcBef>
                <a:spcPts val="0"/>
              </a:spcBef>
              <a:buFont typeface="Arial" panose="020B0604020202020204" pitchFamily="34" charset="0"/>
              <a:buNone/>
              <a:defRPr lang="de-DE" sz="1067" kern="1200" baseline="0" noProof="0" smtClean="0">
                <a:solidFill>
                  <a:schemeClr val="bg2"/>
                </a:solidFill>
                <a:latin typeface="Arial" pitchFamily="34" charset="0"/>
                <a:ea typeface="+mn-ea"/>
                <a:cs typeface="Arial" pitchFamily="34" charset="0"/>
              </a:defRPr>
            </a:lvl2pPr>
            <a:lvl3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3pPr>
            <a:lvl4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4pPr>
            <a:lvl5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5pPr>
            <a:lvl6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6pPr>
            <a:lvl7pPr marL="0" indent="0">
              <a:lnSpc>
                <a:spcPct val="100000"/>
              </a:lnSpc>
              <a:spcBef>
                <a:spcPts val="0"/>
              </a:spcBef>
              <a:buNone/>
              <a:defRPr lang="de-DE" sz="1067" kern="1200" baseline="0" noProof="0" dirty="0" smtClean="0">
                <a:solidFill>
                  <a:schemeClr val="bg2"/>
                </a:solidFill>
                <a:latin typeface="Arial" pitchFamily="34" charset="0"/>
                <a:ea typeface="+mn-ea"/>
                <a:cs typeface="Arial" pitchFamily="34" charset="0"/>
              </a:defRPr>
            </a:lvl7pPr>
            <a:lvl8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8pPr>
            <a:lvl9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9pPr>
          </a:lstStyle>
          <a:p>
            <a:pPr lvl="0"/>
            <a:r>
              <a:rPr lang="en-US"/>
              <a:t>Click to add source information</a:t>
            </a:r>
          </a:p>
        </p:txBody>
      </p:sp>
      <p:sp>
        <p:nvSpPr>
          <p:cNvPr id="4" name="Content Placeholder 3"/>
          <p:cNvSpPr>
            <a:spLocks noGrp="1"/>
          </p:cNvSpPr>
          <p:nvPr>
            <p:ph sz="quarter" idx="13" hasCustomPrompt="1"/>
          </p:nvPr>
        </p:nvSpPr>
        <p:spPr>
          <a:xfrm>
            <a:off x="431214" y="1700760"/>
            <a:ext cx="3647604" cy="4609024"/>
          </a:xfrm>
        </p:spPr>
        <p:txBody>
          <a:bodyPr/>
          <a:lstStyle/>
          <a:p>
            <a:pPr lvl="0"/>
            <a:r>
              <a:rPr lang="en-US" noProof="0"/>
              <a:t>Click to add tex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Content Placeholder 10"/>
          <p:cNvSpPr>
            <a:spLocks noGrp="1"/>
          </p:cNvSpPr>
          <p:nvPr>
            <p:ph sz="quarter" idx="14" hasCustomPrompt="1"/>
          </p:nvPr>
        </p:nvSpPr>
        <p:spPr>
          <a:xfrm>
            <a:off x="4271746" y="1701800"/>
            <a:ext cx="3648508" cy="4607984"/>
          </a:xfrm>
        </p:spPr>
        <p:txBody>
          <a:bodyPr/>
          <a:lstStyle/>
          <a:p>
            <a:pPr lvl="0"/>
            <a:r>
              <a:rPr lang="en-US" noProof="0"/>
              <a:t>Click to add tex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Content Placeholder 12"/>
          <p:cNvSpPr>
            <a:spLocks noGrp="1"/>
          </p:cNvSpPr>
          <p:nvPr>
            <p:ph sz="quarter" idx="15" hasCustomPrompt="1"/>
          </p:nvPr>
        </p:nvSpPr>
        <p:spPr>
          <a:xfrm>
            <a:off x="8112280" y="1701800"/>
            <a:ext cx="3648507" cy="4607984"/>
          </a:xfrm>
        </p:spPr>
        <p:txBody>
          <a:bodyPr/>
          <a:lstStyle/>
          <a:p>
            <a:pPr lvl="0"/>
            <a:r>
              <a:rPr lang="en-US" noProof="0"/>
              <a:t>Click to add text</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3181127900"/>
      </p:ext>
    </p:extLst>
  </p:cSld>
  <p:clrMapOvr>
    <a:masterClrMapping/>
  </p:clrMapOvr>
</p:sldLayout>
</file>

<file path=ppt/slideLayouts/slideLayout330.xml><?xml version="1.0" encoding="utf-8"?>
<p:sldLayout xmlns:a="http://schemas.openxmlformats.org/drawingml/2006/main" xmlns:r="http://schemas.openxmlformats.org/officeDocument/2006/relationships" xmlns:p="http://schemas.openxmlformats.org/presentationml/2006/main">
  <p:cSld name="1_One content">
    <p:spTree>
      <p:nvGrpSpPr>
        <p:cNvPr id="1" name=""/>
        <p:cNvGrpSpPr/>
        <p:nvPr/>
      </p:nvGrpSpPr>
      <p:grpSpPr>
        <a:xfrm>
          <a:off x="0" y="0"/>
          <a:ext cx="0" cy="0"/>
          <a:chOff x="0" y="0"/>
          <a:chExt cx="0" cy="0"/>
        </a:xfrm>
      </p:grpSpPr>
      <p:sp>
        <p:nvSpPr>
          <p:cNvPr id="21" name="Date Placeholder 20"/>
          <p:cNvSpPr>
            <a:spLocks noGrp="1"/>
          </p:cNvSpPr>
          <p:nvPr>
            <p:ph type="dt" sz="half" idx="14"/>
          </p:nvPr>
        </p:nvSpPr>
        <p:spPr/>
        <p:txBody>
          <a:bodyPr/>
          <a:lstStyle/>
          <a:p>
            <a:fld id="{4CC19292-71B2-4BF0-8023-C669B9188137}" type="datetime5">
              <a:rPr lang="en-US" smtClean="0"/>
              <a:t>26-Jun-20</a:t>
            </a:fld>
            <a:endParaRPr lang="en-US"/>
          </a:p>
        </p:txBody>
      </p:sp>
      <p:sp>
        <p:nvSpPr>
          <p:cNvPr id="22" name="Footer Placeholder 21"/>
          <p:cNvSpPr>
            <a:spLocks noGrp="1"/>
          </p:cNvSpPr>
          <p:nvPr>
            <p:ph type="ftr" sz="quarter" idx="15"/>
          </p:nvPr>
        </p:nvSpPr>
        <p:spPr/>
        <p:txBody>
          <a:bodyPr/>
          <a:lstStyle/>
          <a:p>
            <a:r>
              <a:rPr lang="en-US"/>
              <a:t>Syndicated Surveys  Portfolio 2019</a:t>
            </a:r>
          </a:p>
        </p:txBody>
      </p:sp>
      <p:sp>
        <p:nvSpPr>
          <p:cNvPr id="23" name="Slide Number Placeholder 22"/>
          <p:cNvSpPr>
            <a:spLocks noGrp="1"/>
          </p:cNvSpPr>
          <p:nvPr>
            <p:ph type="sldNum" sz="quarter" idx="16"/>
          </p:nvPr>
        </p:nvSpPr>
        <p:spPr/>
        <p:txBody>
          <a:bodyPr/>
          <a:lstStyle/>
          <a:p>
            <a:fld id="{5F3E29E4-0979-4FCA-B4C5-5FC6044C982A}" type="slidenum">
              <a:rPr lang="en-US" smtClean="0"/>
              <a:t>‹#›</a:t>
            </a:fld>
            <a:endParaRPr lang="en-US"/>
          </a:p>
        </p:txBody>
      </p:sp>
      <p:sp>
        <p:nvSpPr>
          <p:cNvPr id="2" name="Title 1"/>
          <p:cNvSpPr>
            <a:spLocks noGrp="1"/>
          </p:cNvSpPr>
          <p:nvPr>
            <p:ph type="title" hasCustomPrompt="1"/>
          </p:nvPr>
        </p:nvSpPr>
        <p:spPr/>
        <p:txBody>
          <a:bodyPr/>
          <a:lstStyle>
            <a:lvl1pPr>
              <a:defRPr/>
            </a:lvl1pPr>
          </a:lstStyle>
          <a:p>
            <a:r>
              <a:rPr lang="en-US"/>
              <a:t>Click to add slide title</a:t>
            </a:r>
          </a:p>
        </p:txBody>
      </p:sp>
      <p:sp>
        <p:nvSpPr>
          <p:cNvPr id="7" name="Subtitle 2"/>
          <p:cNvSpPr>
            <a:spLocks noGrp="1"/>
          </p:cNvSpPr>
          <p:nvPr>
            <p:ph type="subTitle" idx="13" hasCustomPrompt="1"/>
          </p:nvPr>
        </p:nvSpPr>
        <p:spPr>
          <a:xfrm>
            <a:off x="1075061" y="964671"/>
            <a:ext cx="7910158" cy="490042"/>
          </a:xfrm>
        </p:spPr>
        <p:txBody>
          <a:bodyPr wrap="none"/>
          <a:lstStyle>
            <a:lvl1pPr marL="0" indent="0" algn="l">
              <a:spcBef>
                <a:spcPts val="0"/>
              </a:spcBef>
              <a:buNone/>
              <a:defRPr sz="2400" baseline="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sp>
        <p:nvSpPr>
          <p:cNvPr id="3" name="Content Placeholder 2"/>
          <p:cNvSpPr>
            <a:spLocks noGrp="1"/>
          </p:cNvSpPr>
          <p:nvPr>
            <p:ph idx="1" hasCustomPrompt="1"/>
          </p:nvPr>
        </p:nvSpPr>
        <p:spPr/>
        <p:txBody>
          <a:bodyPr/>
          <a:lstStyle>
            <a:lvl1pPr>
              <a:defRPr baseline="0"/>
            </a:lvl1pPr>
          </a:lstStyle>
          <a:p>
            <a:pPr lvl="0"/>
            <a:r>
              <a:rPr lang="en-US"/>
              <a:t>Click to add text or conten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10198643"/>
      </p:ext>
    </p:extLst>
  </p:cSld>
  <p:clrMapOvr>
    <a:masterClrMapping/>
  </p:clrMapOvr>
</p:sldLayout>
</file>

<file path=ppt/slideLayouts/slideLayout331.xml><?xml version="1.0" encoding="utf-8"?>
<p:sldLayout xmlns:a="http://schemas.openxmlformats.org/drawingml/2006/main" xmlns:r="http://schemas.openxmlformats.org/officeDocument/2006/relationships" xmlns:p="http://schemas.openxmlformats.org/presentationml/2006/main" userDrawn="1">
  <p:cSld name="1_Headline only">
    <p:spTree>
      <p:nvGrpSpPr>
        <p:cNvPr id="1" name=""/>
        <p:cNvGrpSpPr/>
        <p:nvPr/>
      </p:nvGrpSpPr>
      <p:grpSpPr>
        <a:xfrm>
          <a:off x="0" y="0"/>
          <a:ext cx="0" cy="0"/>
          <a:chOff x="0" y="0"/>
          <a:chExt cx="0" cy="0"/>
        </a:xfrm>
      </p:grpSpPr>
      <p:sp>
        <p:nvSpPr>
          <p:cNvPr id="3" name="Textplatzhalter 2"/>
          <p:cNvSpPr>
            <a:spLocks noGrp="1"/>
          </p:cNvSpPr>
          <p:nvPr>
            <p:ph type="body" sz="quarter" idx="10" hasCustomPrompt="1"/>
          </p:nvPr>
        </p:nvSpPr>
        <p:spPr bwMode="gray">
          <a:xfrm>
            <a:off x="431213" y="1220755"/>
            <a:ext cx="11328987" cy="384340"/>
          </a:xfrm>
        </p:spPr>
        <p:txBody>
          <a:bodyPr>
            <a:noAutofit/>
          </a:bodyPr>
          <a:lstStyle>
            <a:lvl1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1pPr>
            <a:lvl2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2pPr>
            <a:lvl3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3pPr>
            <a:lvl4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4pPr>
            <a:lvl5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5pPr>
            <a:lvl6pPr marL="0" indent="0">
              <a:lnSpc>
                <a:spcPct val="100000"/>
              </a:lnSpc>
              <a:spcBef>
                <a:spcPts val="800"/>
              </a:spcBef>
              <a:buNone/>
              <a:defRPr lang="en-GB" sz="2400" kern="1200" noProof="0" smtClean="0">
                <a:solidFill>
                  <a:schemeClr val="tx2"/>
                </a:solidFill>
                <a:latin typeface="Arial" pitchFamily="34" charset="0"/>
                <a:ea typeface="+mn-ea"/>
                <a:cs typeface="Arial" pitchFamily="34" charset="0"/>
              </a:defRPr>
            </a:lvl6pPr>
            <a:lvl7pPr marL="0" indent="0">
              <a:lnSpc>
                <a:spcPct val="100000"/>
              </a:lnSpc>
              <a:spcBef>
                <a:spcPts val="800"/>
              </a:spcBef>
              <a:buNone/>
              <a:defRPr lang="en-GB" sz="2400" kern="1200" noProof="0" smtClean="0">
                <a:solidFill>
                  <a:schemeClr val="tx2"/>
                </a:solidFill>
                <a:latin typeface="Arial" pitchFamily="34" charset="0"/>
                <a:ea typeface="+mn-ea"/>
                <a:cs typeface="Arial" pitchFamily="34" charset="0"/>
              </a:defRPr>
            </a:lvl7pPr>
            <a:lvl8pPr marL="0" indent="0">
              <a:lnSpc>
                <a:spcPct val="100000"/>
              </a:lnSpc>
              <a:spcBef>
                <a:spcPts val="800"/>
              </a:spcBef>
              <a:buNone/>
              <a:defRPr lang="en-GB" sz="2400" kern="1200" noProof="0" smtClean="0">
                <a:solidFill>
                  <a:schemeClr val="tx2"/>
                </a:solidFill>
                <a:latin typeface="Arial" pitchFamily="34" charset="0"/>
                <a:ea typeface="+mn-ea"/>
                <a:cs typeface="Arial" pitchFamily="34" charset="0"/>
              </a:defRPr>
            </a:lvl8pPr>
            <a:lvl9pPr marL="0" indent="0">
              <a:lnSpc>
                <a:spcPct val="100000"/>
              </a:lnSpc>
              <a:spcBef>
                <a:spcPts val="800"/>
              </a:spcBef>
              <a:buNone/>
              <a:defRPr lang="de-DE" sz="2400" kern="1200" noProof="0" smtClean="0">
                <a:solidFill>
                  <a:schemeClr val="tx2"/>
                </a:solidFill>
                <a:latin typeface="Arial" pitchFamily="34" charset="0"/>
                <a:ea typeface="+mn-ea"/>
                <a:cs typeface="Arial" pitchFamily="34" charset="0"/>
              </a:defRPr>
            </a:lvl9pPr>
          </a:lstStyle>
          <a:p>
            <a:pPr lvl="0"/>
            <a:r>
              <a:rPr lang="en-US"/>
              <a:t>Click to add </a:t>
            </a:r>
            <a:r>
              <a:rPr lang="en-US" err="1"/>
              <a:t>subheadline</a:t>
            </a:r>
            <a:endParaRPr lang="en-US"/>
          </a:p>
        </p:txBody>
      </p:sp>
      <p:sp>
        <p:nvSpPr>
          <p:cNvPr id="4" name="Textplatzhalter 3"/>
          <p:cNvSpPr>
            <a:spLocks noGrp="1"/>
          </p:cNvSpPr>
          <p:nvPr>
            <p:ph type="body" sz="quarter" idx="11" hasCustomPrompt="1"/>
          </p:nvPr>
        </p:nvSpPr>
        <p:spPr bwMode="gray">
          <a:xfrm>
            <a:off x="431371" y="6404736"/>
            <a:ext cx="11328400" cy="192616"/>
          </a:xfrm>
        </p:spPr>
        <p:txBody>
          <a:bodyPr tIns="0" bIns="36000" anchor="b" anchorCtr="0">
            <a:noAutofit/>
          </a:bodyPr>
          <a:lstStyle>
            <a:lvl1pPr marL="0" marR="0" indent="0" algn="l" defTabSz="1219170" rtl="0" eaLnBrk="1" fontAlgn="auto" latinLnBrk="0" hangingPunct="1">
              <a:lnSpc>
                <a:spcPct val="100000"/>
              </a:lnSpc>
              <a:spcBef>
                <a:spcPts val="0"/>
              </a:spcBef>
              <a:spcAft>
                <a:spcPts val="0"/>
              </a:spcAft>
              <a:buClrTx/>
              <a:buSzTx/>
              <a:buFont typeface="Arial" pitchFamily="34" charset="0"/>
              <a:buNone/>
              <a:tabLst/>
              <a:defRPr lang="de-DE" sz="1067" kern="1200" baseline="0" noProof="0" smtClean="0">
                <a:solidFill>
                  <a:schemeClr val="bg2"/>
                </a:solidFill>
                <a:latin typeface="Arial" pitchFamily="34" charset="0"/>
                <a:ea typeface="+mn-ea"/>
                <a:cs typeface="Arial" pitchFamily="34" charset="0"/>
              </a:defRPr>
            </a:lvl1pPr>
            <a:lvl2pPr marL="0" indent="0">
              <a:lnSpc>
                <a:spcPct val="100000"/>
              </a:lnSpc>
              <a:spcBef>
                <a:spcPts val="0"/>
              </a:spcBef>
              <a:buFont typeface="Arial" panose="020B0604020202020204" pitchFamily="34" charset="0"/>
              <a:buNone/>
              <a:defRPr lang="de-DE" sz="1067" kern="1200" baseline="0" noProof="0" smtClean="0">
                <a:solidFill>
                  <a:schemeClr val="bg2"/>
                </a:solidFill>
                <a:latin typeface="Arial" pitchFamily="34" charset="0"/>
                <a:ea typeface="+mn-ea"/>
                <a:cs typeface="Arial" pitchFamily="34" charset="0"/>
              </a:defRPr>
            </a:lvl2pPr>
            <a:lvl3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3pPr>
            <a:lvl4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4pPr>
            <a:lvl5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5pPr>
            <a:lvl6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6pPr>
            <a:lvl7pPr marL="0" indent="0">
              <a:lnSpc>
                <a:spcPct val="100000"/>
              </a:lnSpc>
              <a:spcBef>
                <a:spcPts val="0"/>
              </a:spcBef>
              <a:buNone/>
              <a:defRPr lang="de-DE" sz="1067" kern="1200" baseline="0" noProof="0" dirty="0" smtClean="0">
                <a:solidFill>
                  <a:schemeClr val="bg2"/>
                </a:solidFill>
                <a:latin typeface="Arial" pitchFamily="34" charset="0"/>
                <a:ea typeface="+mn-ea"/>
                <a:cs typeface="Arial" pitchFamily="34" charset="0"/>
              </a:defRPr>
            </a:lvl7pPr>
            <a:lvl8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8pPr>
            <a:lvl9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9pPr>
          </a:lstStyle>
          <a:p>
            <a:pPr lvl="0"/>
            <a:r>
              <a:rPr lang="en-US"/>
              <a:t>Click to add source information</a:t>
            </a:r>
          </a:p>
        </p:txBody>
      </p:sp>
      <p:sp>
        <p:nvSpPr>
          <p:cNvPr id="5" name="Title 4"/>
          <p:cNvSpPr>
            <a:spLocks noGrp="1"/>
          </p:cNvSpPr>
          <p:nvPr>
            <p:ph type="title" hasCustomPrompt="1"/>
          </p:nvPr>
        </p:nvSpPr>
        <p:spPr/>
        <p:txBody>
          <a:bodyPr/>
          <a:lstStyle/>
          <a:p>
            <a:r>
              <a:rPr lang="en-US"/>
              <a:t>Click to add headline</a:t>
            </a:r>
          </a:p>
        </p:txBody>
      </p:sp>
    </p:spTree>
    <p:extLst>
      <p:ext uri="{BB962C8B-B14F-4D97-AF65-F5344CB8AC3E}">
        <p14:creationId xmlns:p14="http://schemas.microsoft.com/office/powerpoint/2010/main" val="1657910120"/>
      </p:ext>
    </p:extLst>
  </p:cSld>
  <p:clrMapOvr>
    <a:masterClrMapping/>
  </p:clrMapOvr>
</p:sldLayout>
</file>

<file path=ppt/slideLayouts/slideLayout332.xml><?xml version="1.0" encoding="utf-8"?>
<p:sldLayout xmlns:a="http://schemas.openxmlformats.org/drawingml/2006/main" xmlns:r="http://schemas.openxmlformats.org/officeDocument/2006/relationships" xmlns:p="http://schemas.openxmlformats.org/presentationml/2006/main" showMasterSp="0" preserve="1">
  <p:cSld name="Title 1">
    <p:spTree>
      <p:nvGrpSpPr>
        <p:cNvPr id="1" name=""/>
        <p:cNvGrpSpPr/>
        <p:nvPr/>
      </p:nvGrpSpPr>
      <p:grpSpPr>
        <a:xfrm>
          <a:off x="0" y="0"/>
          <a:ext cx="0" cy="0"/>
          <a:chOff x="0" y="0"/>
          <a:chExt cx="0" cy="0"/>
        </a:xfrm>
      </p:grpSpPr>
      <p:pic>
        <p:nvPicPr>
          <p:cNvPr id="32" name="picture">
            <a:extLst>
              <a:ext uri="{FF2B5EF4-FFF2-40B4-BE49-F238E27FC236}">
                <a16:creationId xmlns:a16="http://schemas.microsoft.com/office/drawing/2014/main" id="{4F153214-AFE7-D540-937D-96E89FDAD54B}"/>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2620212" y="-8808"/>
            <a:ext cx="9697299" cy="6866807"/>
          </a:xfrm>
          <a:prstGeom prst="rect">
            <a:avLst/>
          </a:prstGeom>
        </p:spPr>
      </p:pic>
      <p:sp>
        <p:nvSpPr>
          <p:cNvPr id="29" name="shpPicture"/>
          <p:cNvSpPr/>
          <p:nvPr/>
        </p:nvSpPr>
        <p:spPr>
          <a:xfrm>
            <a:off x="0" y="0"/>
            <a:ext cx="4956718" cy="6858000"/>
          </a:xfrm>
          <a:custGeom>
            <a:avLst/>
            <a:gdLst>
              <a:gd name="connsiteX0" fmla="*/ 0 w 4956718"/>
              <a:gd name="connsiteY0" fmla="*/ 0 h 6858000"/>
              <a:gd name="connsiteX1" fmla="*/ 3707268 w 4956718"/>
              <a:gd name="connsiteY1" fmla="*/ 0 h 6858000"/>
              <a:gd name="connsiteX2" fmla="*/ 4956718 w 4956718"/>
              <a:gd name="connsiteY2" fmla="*/ 4163677 h 6858000"/>
              <a:gd name="connsiteX3" fmla="*/ 3376226 w 4956718"/>
              <a:gd name="connsiteY3" fmla="*/ 6858000 h 6858000"/>
              <a:gd name="connsiteX4" fmla="*/ 0 w 4956718"/>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56718" h="6858000">
                <a:moveTo>
                  <a:pt x="0" y="0"/>
                </a:moveTo>
                <a:lnTo>
                  <a:pt x="3707268" y="0"/>
                </a:lnTo>
                <a:lnTo>
                  <a:pt x="4956718" y="4163677"/>
                </a:lnTo>
                <a:lnTo>
                  <a:pt x="3376226"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125000"/>
              </a:lnSpc>
            </a:pPr>
            <a:endParaRPr lang="en-US" sz="1600"/>
          </a:p>
        </p:txBody>
      </p:sp>
      <p:grpSp>
        <p:nvGrpSpPr>
          <p:cNvPr id="14" name="logo">
            <a:extLst>
              <a:ext uri="{FF2B5EF4-FFF2-40B4-BE49-F238E27FC236}">
                <a16:creationId xmlns:a16="http://schemas.microsoft.com/office/drawing/2014/main" id="{18C26D95-70F8-8A4D-9F18-DCCB92522AF8}"/>
              </a:ext>
            </a:extLst>
          </p:cNvPr>
          <p:cNvGrpSpPr/>
          <p:nvPr/>
        </p:nvGrpSpPr>
        <p:grpSpPr bwMode="gray">
          <a:xfrm>
            <a:off x="417363" y="407485"/>
            <a:ext cx="1518585" cy="646507"/>
            <a:chOff x="334963" y="296652"/>
            <a:chExt cx="1268411" cy="540000"/>
          </a:xfrm>
        </p:grpSpPr>
        <p:sp>
          <p:nvSpPr>
            <p:cNvPr id="17" name="Freeform 6">
              <a:extLst>
                <a:ext uri="{FF2B5EF4-FFF2-40B4-BE49-F238E27FC236}">
                  <a16:creationId xmlns:a16="http://schemas.microsoft.com/office/drawing/2014/main" id="{08737AD0-E375-E445-97E6-CD2E2DF60620}"/>
                </a:ext>
              </a:extLst>
            </p:cNvPr>
            <p:cNvSpPr>
              <a:spLocks noEditPoints="1"/>
            </p:cNvSpPr>
            <p:nvPr/>
          </p:nvSpPr>
          <p:spPr bwMode="gray">
            <a:xfrm>
              <a:off x="982662" y="360462"/>
              <a:ext cx="620712" cy="431800"/>
            </a:xfrm>
            <a:custGeom>
              <a:avLst/>
              <a:gdLst>
                <a:gd name="T0" fmla="*/ 19 w 1809"/>
                <a:gd name="T1" fmla="*/ 97 h 1253"/>
                <a:gd name="T2" fmla="*/ 165 w 1809"/>
                <a:gd name="T3" fmla="*/ 41 h 1253"/>
                <a:gd name="T4" fmla="*/ 211 w 1809"/>
                <a:gd name="T5" fmla="*/ 224 h 1253"/>
                <a:gd name="T6" fmla="*/ 248 w 1809"/>
                <a:gd name="T7" fmla="*/ 155 h 1253"/>
                <a:gd name="T8" fmla="*/ 931 w 1809"/>
                <a:gd name="T9" fmla="*/ 995 h 1253"/>
                <a:gd name="T10" fmla="*/ 858 w 1809"/>
                <a:gd name="T11" fmla="*/ 1115 h 1253"/>
                <a:gd name="T12" fmla="*/ 749 w 1809"/>
                <a:gd name="T13" fmla="*/ 1117 h 1253"/>
                <a:gd name="T14" fmla="*/ 681 w 1809"/>
                <a:gd name="T15" fmla="*/ 1055 h 1253"/>
                <a:gd name="T16" fmla="*/ 800 w 1809"/>
                <a:gd name="T17" fmla="*/ 1054 h 1253"/>
                <a:gd name="T18" fmla="*/ 884 w 1809"/>
                <a:gd name="T19" fmla="*/ 1181 h 1253"/>
                <a:gd name="T20" fmla="*/ 118 w 1809"/>
                <a:gd name="T21" fmla="*/ 1086 h 1253"/>
                <a:gd name="T22" fmla="*/ 147 w 1809"/>
                <a:gd name="T23" fmla="*/ 1026 h 1253"/>
                <a:gd name="T24" fmla="*/ 102 w 1809"/>
                <a:gd name="T25" fmla="*/ 1026 h 1253"/>
                <a:gd name="T26" fmla="*/ 639 w 1809"/>
                <a:gd name="T27" fmla="*/ 84 h 1253"/>
                <a:gd name="T28" fmla="*/ 763 w 1809"/>
                <a:gd name="T29" fmla="*/ 145 h 1253"/>
                <a:gd name="T30" fmla="*/ 863 w 1809"/>
                <a:gd name="T31" fmla="*/ 221 h 1253"/>
                <a:gd name="T32" fmla="*/ 834 w 1809"/>
                <a:gd name="T33" fmla="*/ 208 h 1253"/>
                <a:gd name="T34" fmla="*/ 719 w 1809"/>
                <a:gd name="T35" fmla="*/ 182 h 1253"/>
                <a:gd name="T36" fmla="*/ 507 w 1809"/>
                <a:gd name="T37" fmla="*/ 711 h 1253"/>
                <a:gd name="T38" fmla="*/ 614 w 1809"/>
                <a:gd name="T39" fmla="*/ 706 h 1253"/>
                <a:gd name="T40" fmla="*/ 736 w 1809"/>
                <a:gd name="T41" fmla="*/ 730 h 1253"/>
                <a:gd name="T42" fmla="*/ 607 w 1809"/>
                <a:gd name="T43" fmla="*/ 539 h 1253"/>
                <a:gd name="T44" fmla="*/ 1505 w 1809"/>
                <a:gd name="T45" fmla="*/ 1136 h 1253"/>
                <a:gd name="T46" fmla="*/ 1613 w 1809"/>
                <a:gd name="T47" fmla="*/ 1002 h 1253"/>
                <a:gd name="T48" fmla="*/ 1472 w 1809"/>
                <a:gd name="T49" fmla="*/ 1164 h 1253"/>
                <a:gd name="T50" fmla="*/ 1525 w 1809"/>
                <a:gd name="T51" fmla="*/ 1142 h 1253"/>
                <a:gd name="T52" fmla="*/ 1556 w 1809"/>
                <a:gd name="T53" fmla="*/ 1172 h 1253"/>
                <a:gd name="T54" fmla="*/ 1387 w 1809"/>
                <a:gd name="T55" fmla="*/ 910 h 1253"/>
                <a:gd name="T56" fmla="*/ 1261 w 1809"/>
                <a:gd name="T57" fmla="*/ 1157 h 1253"/>
                <a:gd name="T58" fmla="*/ 1413 w 1809"/>
                <a:gd name="T59" fmla="*/ 934 h 1253"/>
                <a:gd name="T60" fmla="*/ 1378 w 1809"/>
                <a:gd name="T61" fmla="*/ 1052 h 1253"/>
                <a:gd name="T62" fmla="*/ 488 w 1809"/>
                <a:gd name="T63" fmla="*/ 85 h 1253"/>
                <a:gd name="T64" fmla="*/ 509 w 1809"/>
                <a:gd name="T65" fmla="*/ 112 h 1253"/>
                <a:gd name="T66" fmla="*/ 548 w 1809"/>
                <a:gd name="T67" fmla="*/ 1187 h 1253"/>
                <a:gd name="T68" fmla="*/ 472 w 1809"/>
                <a:gd name="T69" fmla="*/ 1122 h 1253"/>
                <a:gd name="T70" fmla="*/ 558 w 1809"/>
                <a:gd name="T71" fmla="*/ 1157 h 1253"/>
                <a:gd name="T72" fmla="*/ 287 w 1809"/>
                <a:gd name="T73" fmla="*/ 654 h 1253"/>
                <a:gd name="T74" fmla="*/ 416 w 1809"/>
                <a:gd name="T75" fmla="*/ 684 h 1253"/>
                <a:gd name="T76" fmla="*/ 1106 w 1809"/>
                <a:gd name="T77" fmla="*/ 147 h 1253"/>
                <a:gd name="T78" fmla="*/ 1229 w 1809"/>
                <a:gd name="T79" fmla="*/ 258 h 1253"/>
                <a:gd name="T80" fmla="*/ 1106 w 1809"/>
                <a:gd name="T81" fmla="*/ 96 h 1253"/>
                <a:gd name="T82" fmla="*/ 1219 w 1809"/>
                <a:gd name="T83" fmla="*/ 1077 h 1253"/>
                <a:gd name="T84" fmla="*/ 1214 w 1809"/>
                <a:gd name="T85" fmla="*/ 1157 h 1253"/>
                <a:gd name="T86" fmla="*/ 1150 w 1809"/>
                <a:gd name="T87" fmla="*/ 1092 h 1253"/>
                <a:gd name="T88" fmla="*/ 1139 w 1809"/>
                <a:gd name="T89" fmla="*/ 1070 h 1253"/>
                <a:gd name="T90" fmla="*/ 1659 w 1809"/>
                <a:gd name="T91" fmla="*/ 1031 h 1253"/>
                <a:gd name="T92" fmla="*/ 1714 w 1809"/>
                <a:gd name="T93" fmla="*/ 1155 h 1253"/>
                <a:gd name="T94" fmla="*/ 1760 w 1809"/>
                <a:gd name="T95" fmla="*/ 1030 h 1253"/>
                <a:gd name="T96" fmla="*/ 111 w 1809"/>
                <a:gd name="T97" fmla="*/ 569 h 1253"/>
                <a:gd name="T98" fmla="*/ 109 w 1809"/>
                <a:gd name="T99" fmla="*/ 460 h 1253"/>
                <a:gd name="T100" fmla="*/ 32 w 1809"/>
                <a:gd name="T101" fmla="*/ 704 h 1253"/>
                <a:gd name="T102" fmla="*/ 310 w 1809"/>
                <a:gd name="T103" fmla="*/ 1058 h 1253"/>
                <a:gd name="T104" fmla="*/ 431 w 1809"/>
                <a:gd name="T105" fmla="*/ 1044 h 1253"/>
                <a:gd name="T106" fmla="*/ 278 w 1809"/>
                <a:gd name="T107" fmla="*/ 1165 h 1253"/>
                <a:gd name="T108" fmla="*/ 261 w 1809"/>
                <a:gd name="T109" fmla="*/ 540 h 1253"/>
                <a:gd name="T110" fmla="*/ 150 w 1809"/>
                <a:gd name="T111" fmla="*/ 635 h 1253"/>
                <a:gd name="T112" fmla="*/ 994 w 1809"/>
                <a:gd name="T113" fmla="*/ 1185 h 1253"/>
                <a:gd name="T114" fmla="*/ 331 w 1809"/>
                <a:gd name="T115" fmla="*/ 176 h 1253"/>
                <a:gd name="T116" fmla="*/ 333 w 1809"/>
                <a:gd name="T117" fmla="*/ 109 h 1253"/>
                <a:gd name="T118" fmla="*/ 946 w 1809"/>
                <a:gd name="T119" fmla="*/ 234 h 1253"/>
                <a:gd name="T120" fmla="*/ 1022 w 1809"/>
                <a:gd name="T121" fmla="*/ 113 h 1253"/>
                <a:gd name="T122" fmla="*/ 949 w 1809"/>
                <a:gd name="T123" fmla="*/ 65 h 1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09" h="1253">
                  <a:moveTo>
                    <a:pt x="248" y="198"/>
                  </a:moveTo>
                  <a:cubicBezTo>
                    <a:pt x="248" y="211"/>
                    <a:pt x="248" y="224"/>
                    <a:pt x="249" y="237"/>
                  </a:cubicBezTo>
                  <a:cubicBezTo>
                    <a:pt x="249" y="245"/>
                    <a:pt x="246" y="249"/>
                    <a:pt x="240" y="253"/>
                  </a:cubicBezTo>
                  <a:cubicBezTo>
                    <a:pt x="231" y="260"/>
                    <a:pt x="220" y="264"/>
                    <a:pt x="209" y="268"/>
                  </a:cubicBezTo>
                  <a:cubicBezTo>
                    <a:pt x="179" y="279"/>
                    <a:pt x="148" y="280"/>
                    <a:pt x="118" y="275"/>
                  </a:cubicBezTo>
                  <a:cubicBezTo>
                    <a:pt x="86" y="269"/>
                    <a:pt x="58" y="252"/>
                    <a:pt x="39" y="224"/>
                  </a:cubicBezTo>
                  <a:cubicBezTo>
                    <a:pt x="24" y="203"/>
                    <a:pt x="18" y="180"/>
                    <a:pt x="15" y="155"/>
                  </a:cubicBezTo>
                  <a:cubicBezTo>
                    <a:pt x="11" y="135"/>
                    <a:pt x="15" y="115"/>
                    <a:pt x="19" y="97"/>
                  </a:cubicBezTo>
                  <a:cubicBezTo>
                    <a:pt x="26" y="68"/>
                    <a:pt x="42" y="44"/>
                    <a:pt x="68" y="27"/>
                  </a:cubicBezTo>
                  <a:cubicBezTo>
                    <a:pt x="87" y="14"/>
                    <a:pt x="109" y="6"/>
                    <a:pt x="133" y="5"/>
                  </a:cubicBezTo>
                  <a:cubicBezTo>
                    <a:pt x="149" y="4"/>
                    <a:pt x="165" y="5"/>
                    <a:pt x="181" y="6"/>
                  </a:cubicBezTo>
                  <a:cubicBezTo>
                    <a:pt x="204" y="8"/>
                    <a:pt x="225" y="20"/>
                    <a:pt x="243" y="35"/>
                  </a:cubicBezTo>
                  <a:cubicBezTo>
                    <a:pt x="246" y="37"/>
                    <a:pt x="246" y="40"/>
                    <a:pt x="244" y="43"/>
                  </a:cubicBezTo>
                  <a:cubicBezTo>
                    <a:pt x="242" y="47"/>
                    <a:pt x="239" y="52"/>
                    <a:pt x="236" y="55"/>
                  </a:cubicBezTo>
                  <a:cubicBezTo>
                    <a:pt x="226" y="65"/>
                    <a:pt x="224" y="65"/>
                    <a:pt x="206" y="54"/>
                  </a:cubicBezTo>
                  <a:cubicBezTo>
                    <a:pt x="193" y="46"/>
                    <a:pt x="180" y="40"/>
                    <a:pt x="165" y="41"/>
                  </a:cubicBezTo>
                  <a:cubicBezTo>
                    <a:pt x="151" y="41"/>
                    <a:pt x="137" y="39"/>
                    <a:pt x="124" y="42"/>
                  </a:cubicBezTo>
                  <a:cubicBezTo>
                    <a:pt x="104" y="46"/>
                    <a:pt x="87" y="57"/>
                    <a:pt x="75" y="74"/>
                  </a:cubicBezTo>
                  <a:cubicBezTo>
                    <a:pt x="56" y="99"/>
                    <a:pt x="51" y="129"/>
                    <a:pt x="55" y="159"/>
                  </a:cubicBezTo>
                  <a:cubicBezTo>
                    <a:pt x="60" y="189"/>
                    <a:pt x="73" y="214"/>
                    <a:pt x="98" y="230"/>
                  </a:cubicBezTo>
                  <a:cubicBezTo>
                    <a:pt x="109" y="237"/>
                    <a:pt x="121" y="242"/>
                    <a:pt x="135" y="241"/>
                  </a:cubicBezTo>
                  <a:cubicBezTo>
                    <a:pt x="146" y="241"/>
                    <a:pt x="158" y="241"/>
                    <a:pt x="169" y="241"/>
                  </a:cubicBezTo>
                  <a:cubicBezTo>
                    <a:pt x="182" y="242"/>
                    <a:pt x="193" y="235"/>
                    <a:pt x="205" y="232"/>
                  </a:cubicBezTo>
                  <a:cubicBezTo>
                    <a:pt x="210" y="231"/>
                    <a:pt x="211" y="227"/>
                    <a:pt x="211" y="224"/>
                  </a:cubicBezTo>
                  <a:cubicBezTo>
                    <a:pt x="211" y="210"/>
                    <a:pt x="211" y="196"/>
                    <a:pt x="211" y="183"/>
                  </a:cubicBezTo>
                  <a:cubicBezTo>
                    <a:pt x="211" y="177"/>
                    <a:pt x="207" y="175"/>
                    <a:pt x="202" y="175"/>
                  </a:cubicBezTo>
                  <a:cubicBezTo>
                    <a:pt x="193" y="175"/>
                    <a:pt x="184" y="175"/>
                    <a:pt x="175" y="175"/>
                  </a:cubicBezTo>
                  <a:cubicBezTo>
                    <a:pt x="171" y="175"/>
                    <a:pt x="168" y="174"/>
                    <a:pt x="166" y="171"/>
                  </a:cubicBezTo>
                  <a:cubicBezTo>
                    <a:pt x="163" y="163"/>
                    <a:pt x="164" y="154"/>
                    <a:pt x="166" y="146"/>
                  </a:cubicBezTo>
                  <a:cubicBezTo>
                    <a:pt x="167" y="142"/>
                    <a:pt x="171" y="142"/>
                    <a:pt x="175" y="142"/>
                  </a:cubicBezTo>
                  <a:cubicBezTo>
                    <a:pt x="196" y="142"/>
                    <a:pt x="217" y="142"/>
                    <a:pt x="238" y="142"/>
                  </a:cubicBezTo>
                  <a:cubicBezTo>
                    <a:pt x="247" y="142"/>
                    <a:pt x="248" y="148"/>
                    <a:pt x="248" y="155"/>
                  </a:cubicBezTo>
                  <a:cubicBezTo>
                    <a:pt x="249" y="169"/>
                    <a:pt x="248" y="183"/>
                    <a:pt x="248" y="198"/>
                  </a:cubicBezTo>
                  <a:close/>
                  <a:moveTo>
                    <a:pt x="884" y="1181"/>
                  </a:moveTo>
                  <a:cubicBezTo>
                    <a:pt x="889" y="1167"/>
                    <a:pt x="894" y="1152"/>
                    <a:pt x="898" y="1137"/>
                  </a:cubicBezTo>
                  <a:cubicBezTo>
                    <a:pt x="901" y="1127"/>
                    <a:pt x="905" y="1116"/>
                    <a:pt x="908" y="1106"/>
                  </a:cubicBezTo>
                  <a:cubicBezTo>
                    <a:pt x="911" y="1098"/>
                    <a:pt x="912" y="1089"/>
                    <a:pt x="916" y="1081"/>
                  </a:cubicBezTo>
                  <a:cubicBezTo>
                    <a:pt x="921" y="1072"/>
                    <a:pt x="923" y="1060"/>
                    <a:pt x="927" y="1050"/>
                  </a:cubicBezTo>
                  <a:cubicBezTo>
                    <a:pt x="932" y="1037"/>
                    <a:pt x="934" y="1023"/>
                    <a:pt x="940" y="1010"/>
                  </a:cubicBezTo>
                  <a:cubicBezTo>
                    <a:pt x="945" y="1001"/>
                    <a:pt x="941" y="995"/>
                    <a:pt x="931" y="995"/>
                  </a:cubicBezTo>
                  <a:cubicBezTo>
                    <a:pt x="927" y="995"/>
                    <a:pt x="922" y="995"/>
                    <a:pt x="918" y="995"/>
                  </a:cubicBezTo>
                  <a:cubicBezTo>
                    <a:pt x="913" y="995"/>
                    <a:pt x="908" y="997"/>
                    <a:pt x="907" y="1001"/>
                  </a:cubicBezTo>
                  <a:cubicBezTo>
                    <a:pt x="904" y="1008"/>
                    <a:pt x="900" y="1015"/>
                    <a:pt x="899" y="1023"/>
                  </a:cubicBezTo>
                  <a:cubicBezTo>
                    <a:pt x="897" y="1034"/>
                    <a:pt x="893" y="1045"/>
                    <a:pt x="889" y="1055"/>
                  </a:cubicBezTo>
                  <a:cubicBezTo>
                    <a:pt x="887" y="1064"/>
                    <a:pt x="885" y="1072"/>
                    <a:pt x="882" y="1080"/>
                  </a:cubicBezTo>
                  <a:cubicBezTo>
                    <a:pt x="878" y="1091"/>
                    <a:pt x="874" y="1103"/>
                    <a:pt x="871" y="1115"/>
                  </a:cubicBezTo>
                  <a:cubicBezTo>
                    <a:pt x="870" y="1118"/>
                    <a:pt x="871" y="1124"/>
                    <a:pt x="866" y="1124"/>
                  </a:cubicBezTo>
                  <a:cubicBezTo>
                    <a:pt x="861" y="1125"/>
                    <a:pt x="859" y="1120"/>
                    <a:pt x="858" y="1115"/>
                  </a:cubicBezTo>
                  <a:cubicBezTo>
                    <a:pt x="856" y="1110"/>
                    <a:pt x="856" y="1104"/>
                    <a:pt x="854" y="1099"/>
                  </a:cubicBezTo>
                  <a:cubicBezTo>
                    <a:pt x="848" y="1080"/>
                    <a:pt x="841" y="1062"/>
                    <a:pt x="835" y="1044"/>
                  </a:cubicBezTo>
                  <a:cubicBezTo>
                    <a:pt x="831" y="1030"/>
                    <a:pt x="828" y="1016"/>
                    <a:pt x="822" y="1003"/>
                  </a:cubicBezTo>
                  <a:cubicBezTo>
                    <a:pt x="819" y="997"/>
                    <a:pt x="814" y="994"/>
                    <a:pt x="808" y="994"/>
                  </a:cubicBezTo>
                  <a:cubicBezTo>
                    <a:pt x="799" y="993"/>
                    <a:pt x="791" y="993"/>
                    <a:pt x="787" y="1001"/>
                  </a:cubicBezTo>
                  <a:cubicBezTo>
                    <a:pt x="783" y="1008"/>
                    <a:pt x="780" y="1015"/>
                    <a:pt x="779" y="1022"/>
                  </a:cubicBezTo>
                  <a:cubicBezTo>
                    <a:pt x="778" y="1034"/>
                    <a:pt x="772" y="1044"/>
                    <a:pt x="769" y="1055"/>
                  </a:cubicBezTo>
                  <a:cubicBezTo>
                    <a:pt x="762" y="1076"/>
                    <a:pt x="754" y="1096"/>
                    <a:pt x="749" y="1117"/>
                  </a:cubicBezTo>
                  <a:cubicBezTo>
                    <a:pt x="748" y="1120"/>
                    <a:pt x="747" y="1124"/>
                    <a:pt x="742" y="1124"/>
                  </a:cubicBezTo>
                  <a:cubicBezTo>
                    <a:pt x="737" y="1124"/>
                    <a:pt x="737" y="1120"/>
                    <a:pt x="736" y="1116"/>
                  </a:cubicBezTo>
                  <a:cubicBezTo>
                    <a:pt x="734" y="1104"/>
                    <a:pt x="730" y="1092"/>
                    <a:pt x="726" y="1080"/>
                  </a:cubicBezTo>
                  <a:cubicBezTo>
                    <a:pt x="720" y="1061"/>
                    <a:pt x="714" y="1040"/>
                    <a:pt x="708" y="1020"/>
                  </a:cubicBezTo>
                  <a:cubicBezTo>
                    <a:pt x="703" y="1000"/>
                    <a:pt x="698" y="994"/>
                    <a:pt x="676" y="995"/>
                  </a:cubicBezTo>
                  <a:cubicBezTo>
                    <a:pt x="665" y="996"/>
                    <a:pt x="661" y="1001"/>
                    <a:pt x="667" y="1011"/>
                  </a:cubicBezTo>
                  <a:cubicBezTo>
                    <a:pt x="669" y="1016"/>
                    <a:pt x="670" y="1021"/>
                    <a:pt x="672" y="1025"/>
                  </a:cubicBezTo>
                  <a:cubicBezTo>
                    <a:pt x="675" y="1035"/>
                    <a:pt x="678" y="1046"/>
                    <a:pt x="681" y="1055"/>
                  </a:cubicBezTo>
                  <a:cubicBezTo>
                    <a:pt x="685" y="1068"/>
                    <a:pt x="689" y="1080"/>
                    <a:pt x="693" y="1092"/>
                  </a:cubicBezTo>
                  <a:cubicBezTo>
                    <a:pt x="697" y="1103"/>
                    <a:pt x="699" y="1113"/>
                    <a:pt x="703" y="1124"/>
                  </a:cubicBezTo>
                  <a:cubicBezTo>
                    <a:pt x="707" y="1136"/>
                    <a:pt x="711" y="1147"/>
                    <a:pt x="715" y="1160"/>
                  </a:cubicBezTo>
                  <a:cubicBezTo>
                    <a:pt x="717" y="1168"/>
                    <a:pt x="720" y="1176"/>
                    <a:pt x="724" y="1183"/>
                  </a:cubicBezTo>
                  <a:cubicBezTo>
                    <a:pt x="728" y="1189"/>
                    <a:pt x="752" y="1185"/>
                    <a:pt x="757" y="1180"/>
                  </a:cubicBezTo>
                  <a:cubicBezTo>
                    <a:pt x="764" y="1173"/>
                    <a:pt x="762" y="1163"/>
                    <a:pt x="766" y="1156"/>
                  </a:cubicBezTo>
                  <a:cubicBezTo>
                    <a:pt x="774" y="1140"/>
                    <a:pt x="778" y="1122"/>
                    <a:pt x="784" y="1105"/>
                  </a:cubicBezTo>
                  <a:cubicBezTo>
                    <a:pt x="789" y="1088"/>
                    <a:pt x="796" y="1072"/>
                    <a:pt x="800" y="1054"/>
                  </a:cubicBezTo>
                  <a:cubicBezTo>
                    <a:pt x="800" y="1053"/>
                    <a:pt x="801" y="1050"/>
                    <a:pt x="803" y="1050"/>
                  </a:cubicBezTo>
                  <a:cubicBezTo>
                    <a:pt x="806" y="1050"/>
                    <a:pt x="806" y="1052"/>
                    <a:pt x="807" y="1055"/>
                  </a:cubicBezTo>
                  <a:cubicBezTo>
                    <a:pt x="807" y="1060"/>
                    <a:pt x="810" y="1066"/>
                    <a:pt x="811" y="1071"/>
                  </a:cubicBezTo>
                  <a:cubicBezTo>
                    <a:pt x="814" y="1081"/>
                    <a:pt x="818" y="1090"/>
                    <a:pt x="821" y="1099"/>
                  </a:cubicBezTo>
                  <a:cubicBezTo>
                    <a:pt x="824" y="1110"/>
                    <a:pt x="827" y="1120"/>
                    <a:pt x="831" y="1131"/>
                  </a:cubicBezTo>
                  <a:cubicBezTo>
                    <a:pt x="834" y="1142"/>
                    <a:pt x="839" y="1153"/>
                    <a:pt x="842" y="1164"/>
                  </a:cubicBezTo>
                  <a:cubicBezTo>
                    <a:pt x="846" y="1179"/>
                    <a:pt x="850" y="1188"/>
                    <a:pt x="869" y="1185"/>
                  </a:cubicBezTo>
                  <a:cubicBezTo>
                    <a:pt x="873" y="1184"/>
                    <a:pt x="881" y="1189"/>
                    <a:pt x="884" y="1181"/>
                  </a:cubicBezTo>
                  <a:close/>
                  <a:moveTo>
                    <a:pt x="33" y="1051"/>
                  </a:moveTo>
                  <a:cubicBezTo>
                    <a:pt x="33" y="1087"/>
                    <a:pt x="33" y="1124"/>
                    <a:pt x="33" y="1160"/>
                  </a:cubicBezTo>
                  <a:cubicBezTo>
                    <a:pt x="33" y="1188"/>
                    <a:pt x="29" y="1184"/>
                    <a:pt x="58" y="1185"/>
                  </a:cubicBezTo>
                  <a:cubicBezTo>
                    <a:pt x="72" y="1185"/>
                    <a:pt x="73" y="1184"/>
                    <a:pt x="73" y="1170"/>
                  </a:cubicBezTo>
                  <a:cubicBezTo>
                    <a:pt x="73" y="1138"/>
                    <a:pt x="73" y="1107"/>
                    <a:pt x="73" y="1076"/>
                  </a:cubicBezTo>
                  <a:cubicBezTo>
                    <a:pt x="73" y="1071"/>
                    <a:pt x="72" y="1067"/>
                    <a:pt x="78" y="1065"/>
                  </a:cubicBezTo>
                  <a:cubicBezTo>
                    <a:pt x="91" y="1062"/>
                    <a:pt x="102" y="1067"/>
                    <a:pt x="110" y="1076"/>
                  </a:cubicBezTo>
                  <a:cubicBezTo>
                    <a:pt x="112" y="1080"/>
                    <a:pt x="115" y="1083"/>
                    <a:pt x="118" y="1086"/>
                  </a:cubicBezTo>
                  <a:cubicBezTo>
                    <a:pt x="132" y="1103"/>
                    <a:pt x="146" y="1119"/>
                    <a:pt x="161" y="1136"/>
                  </a:cubicBezTo>
                  <a:cubicBezTo>
                    <a:pt x="173" y="1150"/>
                    <a:pt x="186" y="1165"/>
                    <a:pt x="198" y="1179"/>
                  </a:cubicBezTo>
                  <a:cubicBezTo>
                    <a:pt x="207" y="1188"/>
                    <a:pt x="218" y="1184"/>
                    <a:pt x="228" y="1185"/>
                  </a:cubicBezTo>
                  <a:cubicBezTo>
                    <a:pt x="233" y="1185"/>
                    <a:pt x="241" y="1188"/>
                    <a:pt x="244" y="1182"/>
                  </a:cubicBezTo>
                  <a:cubicBezTo>
                    <a:pt x="246" y="1178"/>
                    <a:pt x="239" y="1173"/>
                    <a:pt x="235" y="1169"/>
                  </a:cubicBezTo>
                  <a:cubicBezTo>
                    <a:pt x="206" y="1133"/>
                    <a:pt x="176" y="1098"/>
                    <a:pt x="146" y="1062"/>
                  </a:cubicBezTo>
                  <a:cubicBezTo>
                    <a:pt x="141" y="1056"/>
                    <a:pt x="131" y="1052"/>
                    <a:pt x="132" y="1044"/>
                  </a:cubicBezTo>
                  <a:cubicBezTo>
                    <a:pt x="132" y="1036"/>
                    <a:pt x="142" y="1032"/>
                    <a:pt x="147" y="1026"/>
                  </a:cubicBezTo>
                  <a:cubicBezTo>
                    <a:pt x="164" y="1006"/>
                    <a:pt x="182" y="988"/>
                    <a:pt x="198" y="968"/>
                  </a:cubicBezTo>
                  <a:cubicBezTo>
                    <a:pt x="209" y="954"/>
                    <a:pt x="221" y="942"/>
                    <a:pt x="234" y="929"/>
                  </a:cubicBezTo>
                  <a:cubicBezTo>
                    <a:pt x="236" y="926"/>
                    <a:pt x="238" y="923"/>
                    <a:pt x="237" y="920"/>
                  </a:cubicBezTo>
                  <a:cubicBezTo>
                    <a:pt x="235" y="915"/>
                    <a:pt x="231" y="917"/>
                    <a:pt x="228" y="917"/>
                  </a:cubicBezTo>
                  <a:cubicBezTo>
                    <a:pt x="224" y="918"/>
                    <a:pt x="221" y="918"/>
                    <a:pt x="217" y="918"/>
                  </a:cubicBezTo>
                  <a:cubicBezTo>
                    <a:pt x="204" y="917"/>
                    <a:pt x="193" y="922"/>
                    <a:pt x="185" y="931"/>
                  </a:cubicBezTo>
                  <a:cubicBezTo>
                    <a:pt x="172" y="946"/>
                    <a:pt x="158" y="961"/>
                    <a:pt x="145" y="977"/>
                  </a:cubicBezTo>
                  <a:cubicBezTo>
                    <a:pt x="131" y="993"/>
                    <a:pt x="117" y="1010"/>
                    <a:pt x="102" y="1026"/>
                  </a:cubicBezTo>
                  <a:cubicBezTo>
                    <a:pt x="96" y="1032"/>
                    <a:pt x="87" y="1037"/>
                    <a:pt x="78" y="1034"/>
                  </a:cubicBezTo>
                  <a:cubicBezTo>
                    <a:pt x="70" y="1030"/>
                    <a:pt x="73" y="1021"/>
                    <a:pt x="73" y="1015"/>
                  </a:cubicBezTo>
                  <a:cubicBezTo>
                    <a:pt x="73" y="991"/>
                    <a:pt x="73" y="967"/>
                    <a:pt x="73" y="944"/>
                  </a:cubicBezTo>
                  <a:cubicBezTo>
                    <a:pt x="73" y="916"/>
                    <a:pt x="75" y="917"/>
                    <a:pt x="46" y="918"/>
                  </a:cubicBezTo>
                  <a:cubicBezTo>
                    <a:pt x="33" y="918"/>
                    <a:pt x="33" y="918"/>
                    <a:pt x="33" y="931"/>
                  </a:cubicBezTo>
                  <a:cubicBezTo>
                    <a:pt x="33" y="971"/>
                    <a:pt x="33" y="1011"/>
                    <a:pt x="33" y="1051"/>
                  </a:cubicBezTo>
                  <a:cubicBezTo>
                    <a:pt x="33" y="1051"/>
                    <a:pt x="33" y="1051"/>
                    <a:pt x="33" y="1051"/>
                  </a:cubicBezTo>
                  <a:close/>
                  <a:moveTo>
                    <a:pt x="639" y="84"/>
                  </a:moveTo>
                  <a:cubicBezTo>
                    <a:pt x="627" y="84"/>
                    <a:pt x="626" y="84"/>
                    <a:pt x="629" y="95"/>
                  </a:cubicBezTo>
                  <a:cubicBezTo>
                    <a:pt x="634" y="113"/>
                    <a:pt x="640" y="131"/>
                    <a:pt x="646" y="148"/>
                  </a:cubicBezTo>
                  <a:cubicBezTo>
                    <a:pt x="652" y="166"/>
                    <a:pt x="658" y="185"/>
                    <a:pt x="664" y="203"/>
                  </a:cubicBezTo>
                  <a:cubicBezTo>
                    <a:pt x="671" y="223"/>
                    <a:pt x="676" y="244"/>
                    <a:pt x="684" y="264"/>
                  </a:cubicBezTo>
                  <a:cubicBezTo>
                    <a:pt x="688" y="274"/>
                    <a:pt x="694" y="274"/>
                    <a:pt x="702" y="274"/>
                  </a:cubicBezTo>
                  <a:cubicBezTo>
                    <a:pt x="711" y="274"/>
                    <a:pt x="719" y="272"/>
                    <a:pt x="723" y="263"/>
                  </a:cubicBezTo>
                  <a:cubicBezTo>
                    <a:pt x="733" y="236"/>
                    <a:pt x="741" y="208"/>
                    <a:pt x="750" y="181"/>
                  </a:cubicBezTo>
                  <a:cubicBezTo>
                    <a:pt x="754" y="169"/>
                    <a:pt x="757" y="156"/>
                    <a:pt x="763" y="145"/>
                  </a:cubicBezTo>
                  <a:cubicBezTo>
                    <a:pt x="764" y="143"/>
                    <a:pt x="764" y="140"/>
                    <a:pt x="767" y="140"/>
                  </a:cubicBezTo>
                  <a:cubicBezTo>
                    <a:pt x="770" y="140"/>
                    <a:pt x="770" y="143"/>
                    <a:pt x="771" y="145"/>
                  </a:cubicBezTo>
                  <a:cubicBezTo>
                    <a:pt x="771" y="156"/>
                    <a:pt x="777" y="165"/>
                    <a:pt x="780" y="175"/>
                  </a:cubicBezTo>
                  <a:cubicBezTo>
                    <a:pt x="782" y="184"/>
                    <a:pt x="785" y="193"/>
                    <a:pt x="788" y="201"/>
                  </a:cubicBezTo>
                  <a:cubicBezTo>
                    <a:pt x="794" y="219"/>
                    <a:pt x="801" y="237"/>
                    <a:pt x="806" y="255"/>
                  </a:cubicBezTo>
                  <a:cubicBezTo>
                    <a:pt x="811" y="272"/>
                    <a:pt x="825" y="280"/>
                    <a:pt x="842" y="273"/>
                  </a:cubicBezTo>
                  <a:cubicBezTo>
                    <a:pt x="845" y="271"/>
                    <a:pt x="847" y="269"/>
                    <a:pt x="848" y="266"/>
                  </a:cubicBezTo>
                  <a:cubicBezTo>
                    <a:pt x="853" y="251"/>
                    <a:pt x="859" y="236"/>
                    <a:pt x="863" y="221"/>
                  </a:cubicBezTo>
                  <a:cubicBezTo>
                    <a:pt x="867" y="202"/>
                    <a:pt x="875" y="185"/>
                    <a:pt x="880" y="166"/>
                  </a:cubicBezTo>
                  <a:cubicBezTo>
                    <a:pt x="886" y="144"/>
                    <a:pt x="895" y="123"/>
                    <a:pt x="900" y="101"/>
                  </a:cubicBezTo>
                  <a:cubicBezTo>
                    <a:pt x="901" y="96"/>
                    <a:pt x="909" y="91"/>
                    <a:pt x="904" y="86"/>
                  </a:cubicBezTo>
                  <a:cubicBezTo>
                    <a:pt x="900" y="81"/>
                    <a:pt x="892" y="84"/>
                    <a:pt x="886" y="84"/>
                  </a:cubicBezTo>
                  <a:cubicBezTo>
                    <a:pt x="885" y="84"/>
                    <a:pt x="883" y="84"/>
                    <a:pt x="881" y="84"/>
                  </a:cubicBezTo>
                  <a:cubicBezTo>
                    <a:pt x="875" y="84"/>
                    <a:pt x="872" y="86"/>
                    <a:pt x="869" y="91"/>
                  </a:cubicBezTo>
                  <a:cubicBezTo>
                    <a:pt x="860" y="110"/>
                    <a:pt x="856" y="131"/>
                    <a:pt x="850" y="151"/>
                  </a:cubicBezTo>
                  <a:cubicBezTo>
                    <a:pt x="844" y="170"/>
                    <a:pt x="836" y="188"/>
                    <a:pt x="834" y="208"/>
                  </a:cubicBezTo>
                  <a:cubicBezTo>
                    <a:pt x="833" y="211"/>
                    <a:pt x="831" y="214"/>
                    <a:pt x="827" y="214"/>
                  </a:cubicBezTo>
                  <a:cubicBezTo>
                    <a:pt x="823" y="214"/>
                    <a:pt x="822" y="210"/>
                    <a:pt x="822" y="207"/>
                  </a:cubicBezTo>
                  <a:cubicBezTo>
                    <a:pt x="817" y="188"/>
                    <a:pt x="811" y="170"/>
                    <a:pt x="805" y="152"/>
                  </a:cubicBezTo>
                  <a:cubicBezTo>
                    <a:pt x="799" y="133"/>
                    <a:pt x="794" y="114"/>
                    <a:pt x="786" y="96"/>
                  </a:cubicBezTo>
                  <a:cubicBezTo>
                    <a:pt x="783" y="87"/>
                    <a:pt x="779" y="84"/>
                    <a:pt x="770" y="84"/>
                  </a:cubicBezTo>
                  <a:cubicBezTo>
                    <a:pt x="761" y="84"/>
                    <a:pt x="752" y="82"/>
                    <a:pt x="748" y="94"/>
                  </a:cubicBezTo>
                  <a:cubicBezTo>
                    <a:pt x="744" y="109"/>
                    <a:pt x="738" y="123"/>
                    <a:pt x="734" y="138"/>
                  </a:cubicBezTo>
                  <a:cubicBezTo>
                    <a:pt x="729" y="153"/>
                    <a:pt x="724" y="167"/>
                    <a:pt x="719" y="182"/>
                  </a:cubicBezTo>
                  <a:cubicBezTo>
                    <a:pt x="716" y="192"/>
                    <a:pt x="715" y="203"/>
                    <a:pt x="708" y="212"/>
                  </a:cubicBezTo>
                  <a:cubicBezTo>
                    <a:pt x="707" y="214"/>
                    <a:pt x="707" y="217"/>
                    <a:pt x="704" y="217"/>
                  </a:cubicBezTo>
                  <a:cubicBezTo>
                    <a:pt x="701" y="217"/>
                    <a:pt x="701" y="213"/>
                    <a:pt x="700" y="211"/>
                  </a:cubicBezTo>
                  <a:cubicBezTo>
                    <a:pt x="699" y="198"/>
                    <a:pt x="694" y="186"/>
                    <a:pt x="690" y="174"/>
                  </a:cubicBezTo>
                  <a:cubicBezTo>
                    <a:pt x="684" y="153"/>
                    <a:pt x="677" y="131"/>
                    <a:pt x="672" y="110"/>
                  </a:cubicBezTo>
                  <a:cubicBezTo>
                    <a:pt x="667" y="88"/>
                    <a:pt x="663" y="84"/>
                    <a:pt x="645" y="84"/>
                  </a:cubicBezTo>
                  <a:cubicBezTo>
                    <a:pt x="643" y="84"/>
                    <a:pt x="641" y="84"/>
                    <a:pt x="639" y="84"/>
                  </a:cubicBezTo>
                  <a:close/>
                  <a:moveTo>
                    <a:pt x="507" y="711"/>
                  </a:moveTo>
                  <a:cubicBezTo>
                    <a:pt x="507" y="730"/>
                    <a:pt x="507" y="730"/>
                    <a:pt x="526" y="730"/>
                  </a:cubicBezTo>
                  <a:cubicBezTo>
                    <a:pt x="539" y="730"/>
                    <a:pt x="541" y="729"/>
                    <a:pt x="541" y="715"/>
                  </a:cubicBezTo>
                  <a:cubicBezTo>
                    <a:pt x="541" y="677"/>
                    <a:pt x="541" y="638"/>
                    <a:pt x="540" y="600"/>
                  </a:cubicBezTo>
                  <a:cubicBezTo>
                    <a:pt x="540" y="593"/>
                    <a:pt x="543" y="587"/>
                    <a:pt x="548" y="582"/>
                  </a:cubicBezTo>
                  <a:cubicBezTo>
                    <a:pt x="553" y="576"/>
                    <a:pt x="559" y="573"/>
                    <a:pt x="564" y="569"/>
                  </a:cubicBezTo>
                  <a:cubicBezTo>
                    <a:pt x="574" y="564"/>
                    <a:pt x="594" y="566"/>
                    <a:pt x="602" y="574"/>
                  </a:cubicBezTo>
                  <a:cubicBezTo>
                    <a:pt x="611" y="582"/>
                    <a:pt x="614" y="592"/>
                    <a:pt x="614" y="604"/>
                  </a:cubicBezTo>
                  <a:cubicBezTo>
                    <a:pt x="614" y="638"/>
                    <a:pt x="614" y="672"/>
                    <a:pt x="614" y="706"/>
                  </a:cubicBezTo>
                  <a:cubicBezTo>
                    <a:pt x="614" y="730"/>
                    <a:pt x="614" y="730"/>
                    <a:pt x="638" y="730"/>
                  </a:cubicBezTo>
                  <a:cubicBezTo>
                    <a:pt x="650" y="730"/>
                    <a:pt x="650" y="730"/>
                    <a:pt x="650" y="717"/>
                  </a:cubicBezTo>
                  <a:cubicBezTo>
                    <a:pt x="650" y="684"/>
                    <a:pt x="650" y="650"/>
                    <a:pt x="650" y="617"/>
                  </a:cubicBezTo>
                  <a:cubicBezTo>
                    <a:pt x="650" y="606"/>
                    <a:pt x="651" y="597"/>
                    <a:pt x="657" y="586"/>
                  </a:cubicBezTo>
                  <a:cubicBezTo>
                    <a:pt x="667" y="565"/>
                    <a:pt x="703" y="560"/>
                    <a:pt x="716" y="579"/>
                  </a:cubicBezTo>
                  <a:cubicBezTo>
                    <a:pt x="723" y="588"/>
                    <a:pt x="724" y="598"/>
                    <a:pt x="724" y="609"/>
                  </a:cubicBezTo>
                  <a:cubicBezTo>
                    <a:pt x="724" y="645"/>
                    <a:pt x="724" y="682"/>
                    <a:pt x="724" y="718"/>
                  </a:cubicBezTo>
                  <a:cubicBezTo>
                    <a:pt x="724" y="727"/>
                    <a:pt x="727" y="731"/>
                    <a:pt x="736" y="730"/>
                  </a:cubicBezTo>
                  <a:cubicBezTo>
                    <a:pt x="738" y="730"/>
                    <a:pt x="741" y="730"/>
                    <a:pt x="743" y="730"/>
                  </a:cubicBezTo>
                  <a:cubicBezTo>
                    <a:pt x="758" y="730"/>
                    <a:pt x="759" y="729"/>
                    <a:pt x="759" y="715"/>
                  </a:cubicBezTo>
                  <a:cubicBezTo>
                    <a:pt x="759" y="677"/>
                    <a:pt x="758" y="639"/>
                    <a:pt x="759" y="601"/>
                  </a:cubicBezTo>
                  <a:cubicBezTo>
                    <a:pt x="759" y="571"/>
                    <a:pt x="742" y="540"/>
                    <a:pt x="704" y="538"/>
                  </a:cubicBezTo>
                  <a:cubicBezTo>
                    <a:pt x="681" y="536"/>
                    <a:pt x="661" y="542"/>
                    <a:pt x="646" y="560"/>
                  </a:cubicBezTo>
                  <a:cubicBezTo>
                    <a:pt x="638" y="569"/>
                    <a:pt x="638" y="569"/>
                    <a:pt x="631" y="559"/>
                  </a:cubicBezTo>
                  <a:cubicBezTo>
                    <a:pt x="630" y="558"/>
                    <a:pt x="630" y="557"/>
                    <a:pt x="629" y="556"/>
                  </a:cubicBezTo>
                  <a:cubicBezTo>
                    <a:pt x="623" y="548"/>
                    <a:pt x="616" y="541"/>
                    <a:pt x="607" y="539"/>
                  </a:cubicBezTo>
                  <a:cubicBezTo>
                    <a:pt x="584" y="534"/>
                    <a:pt x="563" y="539"/>
                    <a:pt x="545" y="555"/>
                  </a:cubicBezTo>
                  <a:cubicBezTo>
                    <a:pt x="540" y="559"/>
                    <a:pt x="537" y="561"/>
                    <a:pt x="537" y="552"/>
                  </a:cubicBezTo>
                  <a:cubicBezTo>
                    <a:pt x="536" y="543"/>
                    <a:pt x="526" y="538"/>
                    <a:pt x="515" y="539"/>
                  </a:cubicBezTo>
                  <a:cubicBezTo>
                    <a:pt x="506" y="540"/>
                    <a:pt x="507" y="546"/>
                    <a:pt x="507" y="552"/>
                  </a:cubicBezTo>
                  <a:cubicBezTo>
                    <a:pt x="507" y="580"/>
                    <a:pt x="507" y="607"/>
                    <a:pt x="507" y="634"/>
                  </a:cubicBezTo>
                  <a:cubicBezTo>
                    <a:pt x="507" y="660"/>
                    <a:pt x="507" y="685"/>
                    <a:pt x="507" y="711"/>
                  </a:cubicBezTo>
                  <a:close/>
                  <a:moveTo>
                    <a:pt x="1525" y="1142"/>
                  </a:moveTo>
                  <a:cubicBezTo>
                    <a:pt x="1517" y="1143"/>
                    <a:pt x="1511" y="1141"/>
                    <a:pt x="1505" y="1136"/>
                  </a:cubicBezTo>
                  <a:cubicBezTo>
                    <a:pt x="1501" y="1133"/>
                    <a:pt x="1495" y="1130"/>
                    <a:pt x="1498" y="1124"/>
                  </a:cubicBezTo>
                  <a:cubicBezTo>
                    <a:pt x="1500" y="1118"/>
                    <a:pt x="1504" y="1114"/>
                    <a:pt x="1512" y="1114"/>
                  </a:cubicBezTo>
                  <a:cubicBezTo>
                    <a:pt x="1521" y="1115"/>
                    <a:pt x="1530" y="1114"/>
                    <a:pt x="1538" y="1115"/>
                  </a:cubicBezTo>
                  <a:cubicBezTo>
                    <a:pt x="1573" y="1117"/>
                    <a:pt x="1610" y="1084"/>
                    <a:pt x="1602" y="1044"/>
                  </a:cubicBezTo>
                  <a:cubicBezTo>
                    <a:pt x="1600" y="1035"/>
                    <a:pt x="1599" y="1028"/>
                    <a:pt x="1611" y="1027"/>
                  </a:cubicBezTo>
                  <a:cubicBezTo>
                    <a:pt x="1614" y="1027"/>
                    <a:pt x="1617" y="1024"/>
                    <a:pt x="1619" y="1023"/>
                  </a:cubicBezTo>
                  <a:cubicBezTo>
                    <a:pt x="1626" y="1019"/>
                    <a:pt x="1624" y="1013"/>
                    <a:pt x="1623" y="1008"/>
                  </a:cubicBezTo>
                  <a:cubicBezTo>
                    <a:pt x="1623" y="1002"/>
                    <a:pt x="1618" y="1003"/>
                    <a:pt x="1613" y="1002"/>
                  </a:cubicBezTo>
                  <a:cubicBezTo>
                    <a:pt x="1598" y="1002"/>
                    <a:pt x="1582" y="1004"/>
                    <a:pt x="1567" y="1000"/>
                  </a:cubicBezTo>
                  <a:cubicBezTo>
                    <a:pt x="1560" y="999"/>
                    <a:pt x="1554" y="993"/>
                    <a:pt x="1546" y="993"/>
                  </a:cubicBezTo>
                  <a:cubicBezTo>
                    <a:pt x="1536" y="994"/>
                    <a:pt x="1525" y="992"/>
                    <a:pt x="1515" y="993"/>
                  </a:cubicBezTo>
                  <a:cubicBezTo>
                    <a:pt x="1490" y="997"/>
                    <a:pt x="1469" y="1010"/>
                    <a:pt x="1462" y="1034"/>
                  </a:cubicBezTo>
                  <a:cubicBezTo>
                    <a:pt x="1455" y="1056"/>
                    <a:pt x="1457" y="1079"/>
                    <a:pt x="1476" y="1096"/>
                  </a:cubicBezTo>
                  <a:cubicBezTo>
                    <a:pt x="1483" y="1103"/>
                    <a:pt x="1483" y="1107"/>
                    <a:pt x="1476" y="1113"/>
                  </a:cubicBezTo>
                  <a:cubicBezTo>
                    <a:pt x="1462" y="1126"/>
                    <a:pt x="1462" y="1142"/>
                    <a:pt x="1473" y="1157"/>
                  </a:cubicBezTo>
                  <a:cubicBezTo>
                    <a:pt x="1476" y="1160"/>
                    <a:pt x="1476" y="1162"/>
                    <a:pt x="1472" y="1164"/>
                  </a:cubicBezTo>
                  <a:cubicBezTo>
                    <a:pt x="1470" y="1166"/>
                    <a:pt x="1468" y="1168"/>
                    <a:pt x="1466" y="1170"/>
                  </a:cubicBezTo>
                  <a:cubicBezTo>
                    <a:pt x="1449" y="1183"/>
                    <a:pt x="1444" y="1201"/>
                    <a:pt x="1454" y="1218"/>
                  </a:cubicBezTo>
                  <a:cubicBezTo>
                    <a:pt x="1464" y="1235"/>
                    <a:pt x="1479" y="1246"/>
                    <a:pt x="1499" y="1249"/>
                  </a:cubicBezTo>
                  <a:cubicBezTo>
                    <a:pt x="1517" y="1252"/>
                    <a:pt x="1535" y="1253"/>
                    <a:pt x="1553" y="1250"/>
                  </a:cubicBezTo>
                  <a:cubicBezTo>
                    <a:pt x="1584" y="1245"/>
                    <a:pt x="1607" y="1232"/>
                    <a:pt x="1619" y="1200"/>
                  </a:cubicBezTo>
                  <a:cubicBezTo>
                    <a:pt x="1627" y="1180"/>
                    <a:pt x="1611" y="1155"/>
                    <a:pt x="1593" y="1148"/>
                  </a:cubicBezTo>
                  <a:cubicBezTo>
                    <a:pt x="1578" y="1142"/>
                    <a:pt x="1563" y="1143"/>
                    <a:pt x="1549" y="1142"/>
                  </a:cubicBezTo>
                  <a:cubicBezTo>
                    <a:pt x="1540" y="1142"/>
                    <a:pt x="1532" y="1142"/>
                    <a:pt x="1525" y="1142"/>
                  </a:cubicBezTo>
                  <a:close/>
                  <a:moveTo>
                    <a:pt x="1556" y="1172"/>
                  </a:moveTo>
                  <a:cubicBezTo>
                    <a:pt x="1566" y="1172"/>
                    <a:pt x="1576" y="1176"/>
                    <a:pt x="1583" y="1183"/>
                  </a:cubicBezTo>
                  <a:cubicBezTo>
                    <a:pt x="1589" y="1190"/>
                    <a:pt x="1589" y="1198"/>
                    <a:pt x="1583" y="1205"/>
                  </a:cubicBezTo>
                  <a:cubicBezTo>
                    <a:pt x="1575" y="1215"/>
                    <a:pt x="1565" y="1220"/>
                    <a:pt x="1553" y="1223"/>
                  </a:cubicBezTo>
                  <a:cubicBezTo>
                    <a:pt x="1534" y="1228"/>
                    <a:pt x="1516" y="1225"/>
                    <a:pt x="1499" y="1219"/>
                  </a:cubicBezTo>
                  <a:cubicBezTo>
                    <a:pt x="1486" y="1214"/>
                    <a:pt x="1479" y="1203"/>
                    <a:pt x="1482" y="1193"/>
                  </a:cubicBezTo>
                  <a:cubicBezTo>
                    <a:pt x="1485" y="1182"/>
                    <a:pt x="1496" y="1168"/>
                    <a:pt x="1514" y="1171"/>
                  </a:cubicBezTo>
                  <a:cubicBezTo>
                    <a:pt x="1526" y="1173"/>
                    <a:pt x="1541" y="1171"/>
                    <a:pt x="1556" y="1172"/>
                  </a:cubicBezTo>
                  <a:close/>
                  <a:moveTo>
                    <a:pt x="1531" y="1019"/>
                  </a:moveTo>
                  <a:cubicBezTo>
                    <a:pt x="1553" y="1017"/>
                    <a:pt x="1570" y="1033"/>
                    <a:pt x="1570" y="1052"/>
                  </a:cubicBezTo>
                  <a:cubicBezTo>
                    <a:pt x="1570" y="1075"/>
                    <a:pt x="1554" y="1093"/>
                    <a:pt x="1532" y="1091"/>
                  </a:cubicBezTo>
                  <a:cubicBezTo>
                    <a:pt x="1508" y="1089"/>
                    <a:pt x="1494" y="1082"/>
                    <a:pt x="1493" y="1053"/>
                  </a:cubicBezTo>
                  <a:cubicBezTo>
                    <a:pt x="1494" y="1029"/>
                    <a:pt x="1508" y="1020"/>
                    <a:pt x="1531" y="1019"/>
                  </a:cubicBezTo>
                  <a:close/>
                  <a:moveTo>
                    <a:pt x="1413" y="934"/>
                  </a:moveTo>
                  <a:cubicBezTo>
                    <a:pt x="1413" y="909"/>
                    <a:pt x="1413" y="909"/>
                    <a:pt x="1389" y="910"/>
                  </a:cubicBezTo>
                  <a:cubicBezTo>
                    <a:pt x="1388" y="910"/>
                    <a:pt x="1387" y="910"/>
                    <a:pt x="1387" y="910"/>
                  </a:cubicBezTo>
                  <a:cubicBezTo>
                    <a:pt x="1379" y="910"/>
                    <a:pt x="1376" y="915"/>
                    <a:pt x="1376" y="921"/>
                  </a:cubicBezTo>
                  <a:cubicBezTo>
                    <a:pt x="1376" y="939"/>
                    <a:pt x="1377" y="956"/>
                    <a:pt x="1377" y="974"/>
                  </a:cubicBezTo>
                  <a:cubicBezTo>
                    <a:pt x="1377" y="983"/>
                    <a:pt x="1377" y="991"/>
                    <a:pt x="1377" y="1000"/>
                  </a:cubicBezTo>
                  <a:cubicBezTo>
                    <a:pt x="1377" y="1005"/>
                    <a:pt x="1374" y="1009"/>
                    <a:pt x="1369" y="1005"/>
                  </a:cubicBezTo>
                  <a:cubicBezTo>
                    <a:pt x="1352" y="990"/>
                    <a:pt x="1332" y="993"/>
                    <a:pt x="1312" y="993"/>
                  </a:cubicBezTo>
                  <a:cubicBezTo>
                    <a:pt x="1303" y="994"/>
                    <a:pt x="1294" y="998"/>
                    <a:pt x="1287" y="1003"/>
                  </a:cubicBezTo>
                  <a:cubicBezTo>
                    <a:pt x="1265" y="1017"/>
                    <a:pt x="1252" y="1039"/>
                    <a:pt x="1248" y="1065"/>
                  </a:cubicBezTo>
                  <a:cubicBezTo>
                    <a:pt x="1244" y="1096"/>
                    <a:pt x="1244" y="1128"/>
                    <a:pt x="1261" y="1157"/>
                  </a:cubicBezTo>
                  <a:cubicBezTo>
                    <a:pt x="1270" y="1170"/>
                    <a:pt x="1281" y="1181"/>
                    <a:pt x="1296" y="1185"/>
                  </a:cubicBezTo>
                  <a:cubicBezTo>
                    <a:pt x="1323" y="1191"/>
                    <a:pt x="1349" y="1188"/>
                    <a:pt x="1370" y="1167"/>
                  </a:cubicBezTo>
                  <a:cubicBezTo>
                    <a:pt x="1372" y="1165"/>
                    <a:pt x="1375" y="1162"/>
                    <a:pt x="1379" y="1163"/>
                  </a:cubicBezTo>
                  <a:cubicBezTo>
                    <a:pt x="1382" y="1165"/>
                    <a:pt x="1381" y="1169"/>
                    <a:pt x="1381" y="1172"/>
                  </a:cubicBezTo>
                  <a:cubicBezTo>
                    <a:pt x="1383" y="1181"/>
                    <a:pt x="1390" y="1186"/>
                    <a:pt x="1403" y="1186"/>
                  </a:cubicBezTo>
                  <a:cubicBezTo>
                    <a:pt x="1413" y="1185"/>
                    <a:pt x="1413" y="1178"/>
                    <a:pt x="1413" y="1172"/>
                  </a:cubicBezTo>
                  <a:cubicBezTo>
                    <a:pt x="1413" y="1131"/>
                    <a:pt x="1413" y="1090"/>
                    <a:pt x="1413" y="1049"/>
                  </a:cubicBezTo>
                  <a:cubicBezTo>
                    <a:pt x="1413" y="1010"/>
                    <a:pt x="1413" y="972"/>
                    <a:pt x="1413" y="934"/>
                  </a:cubicBezTo>
                  <a:close/>
                  <a:moveTo>
                    <a:pt x="1378" y="1113"/>
                  </a:moveTo>
                  <a:cubicBezTo>
                    <a:pt x="1378" y="1136"/>
                    <a:pt x="1360" y="1155"/>
                    <a:pt x="1337" y="1157"/>
                  </a:cubicBezTo>
                  <a:cubicBezTo>
                    <a:pt x="1319" y="1159"/>
                    <a:pt x="1304" y="1154"/>
                    <a:pt x="1294" y="1139"/>
                  </a:cubicBezTo>
                  <a:cubicBezTo>
                    <a:pt x="1286" y="1128"/>
                    <a:pt x="1283" y="1116"/>
                    <a:pt x="1283" y="1102"/>
                  </a:cubicBezTo>
                  <a:cubicBezTo>
                    <a:pt x="1282" y="1085"/>
                    <a:pt x="1282" y="1067"/>
                    <a:pt x="1290" y="1051"/>
                  </a:cubicBezTo>
                  <a:cubicBezTo>
                    <a:pt x="1297" y="1036"/>
                    <a:pt x="1308" y="1024"/>
                    <a:pt x="1325" y="1022"/>
                  </a:cubicBezTo>
                  <a:cubicBezTo>
                    <a:pt x="1342" y="1020"/>
                    <a:pt x="1358" y="1021"/>
                    <a:pt x="1371" y="1035"/>
                  </a:cubicBezTo>
                  <a:cubicBezTo>
                    <a:pt x="1376" y="1041"/>
                    <a:pt x="1378" y="1046"/>
                    <a:pt x="1378" y="1052"/>
                  </a:cubicBezTo>
                  <a:cubicBezTo>
                    <a:pt x="1378" y="1064"/>
                    <a:pt x="1378" y="1075"/>
                    <a:pt x="1378" y="1086"/>
                  </a:cubicBezTo>
                  <a:cubicBezTo>
                    <a:pt x="1378" y="1086"/>
                    <a:pt x="1378" y="1086"/>
                    <a:pt x="1378" y="1086"/>
                  </a:cubicBezTo>
                  <a:cubicBezTo>
                    <a:pt x="1378" y="1095"/>
                    <a:pt x="1378" y="1104"/>
                    <a:pt x="1378" y="1113"/>
                  </a:cubicBezTo>
                  <a:close/>
                  <a:moveTo>
                    <a:pt x="578" y="259"/>
                  </a:moveTo>
                  <a:cubicBezTo>
                    <a:pt x="603" y="241"/>
                    <a:pt x="611" y="213"/>
                    <a:pt x="614" y="183"/>
                  </a:cubicBezTo>
                  <a:cubicBezTo>
                    <a:pt x="615" y="171"/>
                    <a:pt x="610" y="159"/>
                    <a:pt x="609" y="147"/>
                  </a:cubicBezTo>
                  <a:cubicBezTo>
                    <a:pt x="608" y="137"/>
                    <a:pt x="603" y="129"/>
                    <a:pt x="599" y="121"/>
                  </a:cubicBezTo>
                  <a:cubicBezTo>
                    <a:pt x="579" y="87"/>
                    <a:pt x="527" y="70"/>
                    <a:pt x="488" y="85"/>
                  </a:cubicBezTo>
                  <a:cubicBezTo>
                    <a:pt x="453" y="99"/>
                    <a:pt x="436" y="127"/>
                    <a:pt x="431" y="163"/>
                  </a:cubicBezTo>
                  <a:cubicBezTo>
                    <a:pt x="429" y="180"/>
                    <a:pt x="430" y="196"/>
                    <a:pt x="436" y="213"/>
                  </a:cubicBezTo>
                  <a:cubicBezTo>
                    <a:pt x="439" y="222"/>
                    <a:pt x="442" y="232"/>
                    <a:pt x="447" y="239"/>
                  </a:cubicBezTo>
                  <a:cubicBezTo>
                    <a:pt x="465" y="265"/>
                    <a:pt x="491" y="277"/>
                    <a:pt x="525" y="276"/>
                  </a:cubicBezTo>
                  <a:cubicBezTo>
                    <a:pt x="543" y="278"/>
                    <a:pt x="562" y="271"/>
                    <a:pt x="578" y="259"/>
                  </a:cubicBezTo>
                  <a:close/>
                  <a:moveTo>
                    <a:pt x="471" y="205"/>
                  </a:moveTo>
                  <a:cubicBezTo>
                    <a:pt x="466" y="185"/>
                    <a:pt x="468" y="167"/>
                    <a:pt x="472" y="147"/>
                  </a:cubicBezTo>
                  <a:cubicBezTo>
                    <a:pt x="477" y="130"/>
                    <a:pt x="493" y="116"/>
                    <a:pt x="509" y="112"/>
                  </a:cubicBezTo>
                  <a:cubicBezTo>
                    <a:pt x="525" y="108"/>
                    <a:pt x="539" y="110"/>
                    <a:pt x="553" y="119"/>
                  </a:cubicBezTo>
                  <a:cubicBezTo>
                    <a:pt x="563" y="125"/>
                    <a:pt x="568" y="135"/>
                    <a:pt x="571" y="146"/>
                  </a:cubicBezTo>
                  <a:cubicBezTo>
                    <a:pt x="577" y="167"/>
                    <a:pt x="578" y="189"/>
                    <a:pt x="571" y="211"/>
                  </a:cubicBezTo>
                  <a:cubicBezTo>
                    <a:pt x="565" y="231"/>
                    <a:pt x="549" y="249"/>
                    <a:pt x="521" y="247"/>
                  </a:cubicBezTo>
                  <a:cubicBezTo>
                    <a:pt x="496" y="247"/>
                    <a:pt x="478" y="230"/>
                    <a:pt x="471" y="205"/>
                  </a:cubicBezTo>
                  <a:close/>
                  <a:moveTo>
                    <a:pt x="472" y="1122"/>
                  </a:moveTo>
                  <a:cubicBezTo>
                    <a:pt x="475" y="1136"/>
                    <a:pt x="481" y="1148"/>
                    <a:pt x="491" y="1158"/>
                  </a:cubicBezTo>
                  <a:cubicBezTo>
                    <a:pt x="506" y="1176"/>
                    <a:pt x="524" y="1185"/>
                    <a:pt x="548" y="1187"/>
                  </a:cubicBezTo>
                  <a:cubicBezTo>
                    <a:pt x="568" y="1188"/>
                    <a:pt x="587" y="1187"/>
                    <a:pt x="605" y="1177"/>
                  </a:cubicBezTo>
                  <a:cubicBezTo>
                    <a:pt x="632" y="1162"/>
                    <a:pt x="644" y="1136"/>
                    <a:pt x="649" y="1107"/>
                  </a:cubicBezTo>
                  <a:cubicBezTo>
                    <a:pt x="652" y="1089"/>
                    <a:pt x="649" y="1072"/>
                    <a:pt x="644" y="1054"/>
                  </a:cubicBezTo>
                  <a:cubicBezTo>
                    <a:pt x="638" y="1034"/>
                    <a:pt x="627" y="1019"/>
                    <a:pt x="610" y="1007"/>
                  </a:cubicBezTo>
                  <a:cubicBezTo>
                    <a:pt x="589" y="992"/>
                    <a:pt x="566" y="991"/>
                    <a:pt x="541" y="994"/>
                  </a:cubicBezTo>
                  <a:cubicBezTo>
                    <a:pt x="526" y="995"/>
                    <a:pt x="512" y="1002"/>
                    <a:pt x="500" y="1012"/>
                  </a:cubicBezTo>
                  <a:cubicBezTo>
                    <a:pt x="476" y="1032"/>
                    <a:pt x="469" y="1060"/>
                    <a:pt x="466" y="1095"/>
                  </a:cubicBezTo>
                  <a:cubicBezTo>
                    <a:pt x="465" y="1101"/>
                    <a:pt x="470" y="1111"/>
                    <a:pt x="472" y="1122"/>
                  </a:cubicBezTo>
                  <a:close/>
                  <a:moveTo>
                    <a:pt x="508" y="1113"/>
                  </a:moveTo>
                  <a:cubicBezTo>
                    <a:pt x="505" y="1095"/>
                    <a:pt x="506" y="1078"/>
                    <a:pt x="508" y="1061"/>
                  </a:cubicBezTo>
                  <a:cubicBezTo>
                    <a:pt x="511" y="1042"/>
                    <a:pt x="538" y="1021"/>
                    <a:pt x="554" y="1022"/>
                  </a:cubicBezTo>
                  <a:cubicBezTo>
                    <a:pt x="570" y="1022"/>
                    <a:pt x="586" y="1024"/>
                    <a:pt x="596" y="1037"/>
                  </a:cubicBezTo>
                  <a:cubicBezTo>
                    <a:pt x="602" y="1044"/>
                    <a:pt x="607" y="1052"/>
                    <a:pt x="608" y="1061"/>
                  </a:cubicBezTo>
                  <a:cubicBezTo>
                    <a:pt x="608" y="1064"/>
                    <a:pt x="609" y="1067"/>
                    <a:pt x="610" y="1070"/>
                  </a:cubicBezTo>
                  <a:cubicBezTo>
                    <a:pt x="618" y="1089"/>
                    <a:pt x="612" y="1107"/>
                    <a:pt x="607" y="1125"/>
                  </a:cubicBezTo>
                  <a:cubicBezTo>
                    <a:pt x="601" y="1143"/>
                    <a:pt x="588" y="1160"/>
                    <a:pt x="558" y="1157"/>
                  </a:cubicBezTo>
                  <a:cubicBezTo>
                    <a:pt x="530" y="1157"/>
                    <a:pt x="512" y="1141"/>
                    <a:pt x="508" y="1113"/>
                  </a:cubicBezTo>
                  <a:close/>
                  <a:moveTo>
                    <a:pt x="430" y="716"/>
                  </a:moveTo>
                  <a:cubicBezTo>
                    <a:pt x="450" y="703"/>
                    <a:pt x="459" y="683"/>
                    <a:pt x="464" y="661"/>
                  </a:cubicBezTo>
                  <a:cubicBezTo>
                    <a:pt x="468" y="648"/>
                    <a:pt x="467" y="635"/>
                    <a:pt x="466" y="621"/>
                  </a:cubicBezTo>
                  <a:cubicBezTo>
                    <a:pt x="463" y="592"/>
                    <a:pt x="453" y="567"/>
                    <a:pt x="427" y="550"/>
                  </a:cubicBezTo>
                  <a:cubicBezTo>
                    <a:pt x="401" y="534"/>
                    <a:pt x="372" y="532"/>
                    <a:pt x="345" y="541"/>
                  </a:cubicBezTo>
                  <a:cubicBezTo>
                    <a:pt x="310" y="552"/>
                    <a:pt x="291" y="580"/>
                    <a:pt x="287" y="617"/>
                  </a:cubicBezTo>
                  <a:cubicBezTo>
                    <a:pt x="286" y="629"/>
                    <a:pt x="286" y="641"/>
                    <a:pt x="287" y="654"/>
                  </a:cubicBezTo>
                  <a:cubicBezTo>
                    <a:pt x="289" y="671"/>
                    <a:pt x="295" y="686"/>
                    <a:pt x="306" y="700"/>
                  </a:cubicBezTo>
                  <a:cubicBezTo>
                    <a:pt x="324" y="722"/>
                    <a:pt x="348" y="733"/>
                    <a:pt x="378" y="731"/>
                  </a:cubicBezTo>
                  <a:cubicBezTo>
                    <a:pt x="396" y="733"/>
                    <a:pt x="414" y="727"/>
                    <a:pt x="430" y="716"/>
                  </a:cubicBezTo>
                  <a:close/>
                  <a:moveTo>
                    <a:pt x="331" y="592"/>
                  </a:moveTo>
                  <a:cubicBezTo>
                    <a:pt x="339" y="580"/>
                    <a:pt x="349" y="569"/>
                    <a:pt x="365" y="567"/>
                  </a:cubicBezTo>
                  <a:cubicBezTo>
                    <a:pt x="387" y="564"/>
                    <a:pt x="406" y="568"/>
                    <a:pt x="419" y="588"/>
                  </a:cubicBezTo>
                  <a:cubicBezTo>
                    <a:pt x="423" y="595"/>
                    <a:pt x="426" y="603"/>
                    <a:pt x="427" y="610"/>
                  </a:cubicBezTo>
                  <a:cubicBezTo>
                    <a:pt x="433" y="635"/>
                    <a:pt x="431" y="661"/>
                    <a:pt x="416" y="684"/>
                  </a:cubicBezTo>
                  <a:cubicBezTo>
                    <a:pt x="403" y="706"/>
                    <a:pt x="362" y="708"/>
                    <a:pt x="345" y="692"/>
                  </a:cubicBezTo>
                  <a:cubicBezTo>
                    <a:pt x="329" y="678"/>
                    <a:pt x="323" y="661"/>
                    <a:pt x="323" y="631"/>
                  </a:cubicBezTo>
                  <a:cubicBezTo>
                    <a:pt x="323" y="619"/>
                    <a:pt x="323" y="605"/>
                    <a:pt x="331" y="592"/>
                  </a:cubicBezTo>
                  <a:close/>
                  <a:moveTo>
                    <a:pt x="1073" y="259"/>
                  </a:moveTo>
                  <a:cubicBezTo>
                    <a:pt x="1073" y="269"/>
                    <a:pt x="1075" y="272"/>
                    <a:pt x="1086" y="272"/>
                  </a:cubicBezTo>
                  <a:cubicBezTo>
                    <a:pt x="1088" y="272"/>
                    <a:pt x="1090" y="272"/>
                    <a:pt x="1092" y="272"/>
                  </a:cubicBezTo>
                  <a:cubicBezTo>
                    <a:pt x="1105" y="272"/>
                    <a:pt x="1106" y="271"/>
                    <a:pt x="1106" y="258"/>
                  </a:cubicBezTo>
                  <a:cubicBezTo>
                    <a:pt x="1106" y="221"/>
                    <a:pt x="1106" y="184"/>
                    <a:pt x="1106" y="147"/>
                  </a:cubicBezTo>
                  <a:cubicBezTo>
                    <a:pt x="1106" y="143"/>
                    <a:pt x="1106" y="140"/>
                    <a:pt x="1107" y="137"/>
                  </a:cubicBezTo>
                  <a:cubicBezTo>
                    <a:pt x="1117" y="117"/>
                    <a:pt x="1157" y="104"/>
                    <a:pt x="1177" y="114"/>
                  </a:cubicBezTo>
                  <a:cubicBezTo>
                    <a:pt x="1179" y="115"/>
                    <a:pt x="1180" y="117"/>
                    <a:pt x="1182" y="118"/>
                  </a:cubicBezTo>
                  <a:cubicBezTo>
                    <a:pt x="1194" y="131"/>
                    <a:pt x="1196" y="147"/>
                    <a:pt x="1196" y="163"/>
                  </a:cubicBezTo>
                  <a:cubicBezTo>
                    <a:pt x="1197" y="195"/>
                    <a:pt x="1196" y="226"/>
                    <a:pt x="1196" y="258"/>
                  </a:cubicBezTo>
                  <a:cubicBezTo>
                    <a:pt x="1196" y="271"/>
                    <a:pt x="1197" y="272"/>
                    <a:pt x="1210" y="272"/>
                  </a:cubicBezTo>
                  <a:cubicBezTo>
                    <a:pt x="1212" y="272"/>
                    <a:pt x="1213" y="272"/>
                    <a:pt x="1215" y="272"/>
                  </a:cubicBezTo>
                  <a:cubicBezTo>
                    <a:pt x="1227" y="272"/>
                    <a:pt x="1229" y="270"/>
                    <a:pt x="1229" y="258"/>
                  </a:cubicBezTo>
                  <a:cubicBezTo>
                    <a:pt x="1229" y="222"/>
                    <a:pt x="1229" y="187"/>
                    <a:pt x="1229" y="151"/>
                  </a:cubicBezTo>
                  <a:cubicBezTo>
                    <a:pt x="1229" y="142"/>
                    <a:pt x="1228" y="132"/>
                    <a:pt x="1225" y="123"/>
                  </a:cubicBezTo>
                  <a:cubicBezTo>
                    <a:pt x="1219" y="105"/>
                    <a:pt x="1208" y="91"/>
                    <a:pt x="1189" y="85"/>
                  </a:cubicBezTo>
                  <a:cubicBezTo>
                    <a:pt x="1173" y="80"/>
                    <a:pt x="1156" y="84"/>
                    <a:pt x="1139" y="84"/>
                  </a:cubicBezTo>
                  <a:cubicBezTo>
                    <a:pt x="1137" y="84"/>
                    <a:pt x="1136" y="86"/>
                    <a:pt x="1134" y="87"/>
                  </a:cubicBezTo>
                  <a:cubicBezTo>
                    <a:pt x="1128" y="91"/>
                    <a:pt x="1121" y="96"/>
                    <a:pt x="1115" y="100"/>
                  </a:cubicBezTo>
                  <a:cubicBezTo>
                    <a:pt x="1113" y="102"/>
                    <a:pt x="1111" y="105"/>
                    <a:pt x="1108" y="103"/>
                  </a:cubicBezTo>
                  <a:cubicBezTo>
                    <a:pt x="1105" y="102"/>
                    <a:pt x="1106" y="98"/>
                    <a:pt x="1106" y="96"/>
                  </a:cubicBezTo>
                  <a:cubicBezTo>
                    <a:pt x="1106" y="69"/>
                    <a:pt x="1106" y="43"/>
                    <a:pt x="1106" y="17"/>
                  </a:cubicBezTo>
                  <a:cubicBezTo>
                    <a:pt x="1106" y="0"/>
                    <a:pt x="1106" y="0"/>
                    <a:pt x="1089" y="0"/>
                  </a:cubicBezTo>
                  <a:cubicBezTo>
                    <a:pt x="1074" y="0"/>
                    <a:pt x="1073" y="1"/>
                    <a:pt x="1073" y="16"/>
                  </a:cubicBezTo>
                  <a:cubicBezTo>
                    <a:pt x="1073" y="56"/>
                    <a:pt x="1073" y="96"/>
                    <a:pt x="1073" y="136"/>
                  </a:cubicBezTo>
                  <a:cubicBezTo>
                    <a:pt x="1073" y="177"/>
                    <a:pt x="1073" y="218"/>
                    <a:pt x="1073" y="259"/>
                  </a:cubicBezTo>
                  <a:close/>
                  <a:moveTo>
                    <a:pt x="1150" y="1092"/>
                  </a:moveTo>
                  <a:cubicBezTo>
                    <a:pt x="1168" y="1092"/>
                    <a:pt x="1186" y="1092"/>
                    <a:pt x="1204" y="1092"/>
                  </a:cubicBezTo>
                  <a:cubicBezTo>
                    <a:pt x="1215" y="1092"/>
                    <a:pt x="1218" y="1087"/>
                    <a:pt x="1219" y="1077"/>
                  </a:cubicBezTo>
                  <a:cubicBezTo>
                    <a:pt x="1220" y="1062"/>
                    <a:pt x="1216" y="1049"/>
                    <a:pt x="1210" y="1036"/>
                  </a:cubicBezTo>
                  <a:cubicBezTo>
                    <a:pt x="1204" y="1020"/>
                    <a:pt x="1193" y="1008"/>
                    <a:pt x="1177" y="1001"/>
                  </a:cubicBezTo>
                  <a:cubicBezTo>
                    <a:pt x="1155" y="992"/>
                    <a:pt x="1133" y="991"/>
                    <a:pt x="1109" y="999"/>
                  </a:cubicBezTo>
                  <a:cubicBezTo>
                    <a:pt x="1079" y="1010"/>
                    <a:pt x="1062" y="1031"/>
                    <a:pt x="1056" y="1061"/>
                  </a:cubicBezTo>
                  <a:cubicBezTo>
                    <a:pt x="1051" y="1090"/>
                    <a:pt x="1052" y="1120"/>
                    <a:pt x="1069" y="1148"/>
                  </a:cubicBezTo>
                  <a:cubicBezTo>
                    <a:pt x="1081" y="1169"/>
                    <a:pt x="1100" y="1180"/>
                    <a:pt x="1122" y="1185"/>
                  </a:cubicBezTo>
                  <a:cubicBezTo>
                    <a:pt x="1149" y="1190"/>
                    <a:pt x="1176" y="1186"/>
                    <a:pt x="1200" y="1171"/>
                  </a:cubicBezTo>
                  <a:cubicBezTo>
                    <a:pt x="1206" y="1168"/>
                    <a:pt x="1213" y="1165"/>
                    <a:pt x="1214" y="1157"/>
                  </a:cubicBezTo>
                  <a:cubicBezTo>
                    <a:pt x="1215" y="1147"/>
                    <a:pt x="1202" y="1139"/>
                    <a:pt x="1193" y="1144"/>
                  </a:cubicBezTo>
                  <a:cubicBezTo>
                    <a:pt x="1187" y="1147"/>
                    <a:pt x="1180" y="1150"/>
                    <a:pt x="1174" y="1153"/>
                  </a:cubicBezTo>
                  <a:cubicBezTo>
                    <a:pt x="1158" y="1161"/>
                    <a:pt x="1140" y="1161"/>
                    <a:pt x="1124" y="1155"/>
                  </a:cubicBezTo>
                  <a:cubicBezTo>
                    <a:pt x="1112" y="1151"/>
                    <a:pt x="1102" y="1142"/>
                    <a:pt x="1096" y="1129"/>
                  </a:cubicBezTo>
                  <a:cubicBezTo>
                    <a:pt x="1092" y="1121"/>
                    <a:pt x="1091" y="1112"/>
                    <a:pt x="1089" y="1104"/>
                  </a:cubicBezTo>
                  <a:cubicBezTo>
                    <a:pt x="1087" y="1093"/>
                    <a:pt x="1087" y="1092"/>
                    <a:pt x="1099" y="1092"/>
                  </a:cubicBezTo>
                  <a:cubicBezTo>
                    <a:pt x="1116" y="1092"/>
                    <a:pt x="1133" y="1092"/>
                    <a:pt x="1150" y="1092"/>
                  </a:cubicBezTo>
                  <a:cubicBezTo>
                    <a:pt x="1150" y="1092"/>
                    <a:pt x="1150" y="1092"/>
                    <a:pt x="1150" y="1092"/>
                  </a:cubicBezTo>
                  <a:close/>
                  <a:moveTo>
                    <a:pt x="1099" y="1070"/>
                  </a:moveTo>
                  <a:cubicBezTo>
                    <a:pt x="1092" y="1071"/>
                    <a:pt x="1089" y="1067"/>
                    <a:pt x="1091" y="1060"/>
                  </a:cubicBezTo>
                  <a:cubicBezTo>
                    <a:pt x="1094" y="1045"/>
                    <a:pt x="1108" y="1023"/>
                    <a:pt x="1128" y="1022"/>
                  </a:cubicBezTo>
                  <a:cubicBezTo>
                    <a:pt x="1142" y="1021"/>
                    <a:pt x="1156" y="1018"/>
                    <a:pt x="1168" y="1029"/>
                  </a:cubicBezTo>
                  <a:cubicBezTo>
                    <a:pt x="1181" y="1038"/>
                    <a:pt x="1185" y="1051"/>
                    <a:pt x="1187" y="1066"/>
                  </a:cubicBezTo>
                  <a:cubicBezTo>
                    <a:pt x="1188" y="1071"/>
                    <a:pt x="1183" y="1070"/>
                    <a:pt x="1180" y="1070"/>
                  </a:cubicBezTo>
                  <a:cubicBezTo>
                    <a:pt x="1166" y="1070"/>
                    <a:pt x="1153" y="1070"/>
                    <a:pt x="1139" y="1070"/>
                  </a:cubicBezTo>
                  <a:cubicBezTo>
                    <a:pt x="1139" y="1070"/>
                    <a:pt x="1139" y="1070"/>
                    <a:pt x="1139" y="1070"/>
                  </a:cubicBezTo>
                  <a:cubicBezTo>
                    <a:pt x="1126" y="1070"/>
                    <a:pt x="1113" y="1070"/>
                    <a:pt x="1099" y="1070"/>
                  </a:cubicBezTo>
                  <a:close/>
                  <a:moveTo>
                    <a:pt x="1741" y="1092"/>
                  </a:moveTo>
                  <a:cubicBezTo>
                    <a:pt x="1759" y="1092"/>
                    <a:pt x="1776" y="1092"/>
                    <a:pt x="1793" y="1092"/>
                  </a:cubicBezTo>
                  <a:cubicBezTo>
                    <a:pt x="1806" y="1092"/>
                    <a:pt x="1808" y="1089"/>
                    <a:pt x="1808" y="1076"/>
                  </a:cubicBezTo>
                  <a:cubicBezTo>
                    <a:pt x="1809" y="1063"/>
                    <a:pt x="1807" y="1051"/>
                    <a:pt x="1802" y="1038"/>
                  </a:cubicBezTo>
                  <a:cubicBezTo>
                    <a:pt x="1794" y="1021"/>
                    <a:pt x="1782" y="1008"/>
                    <a:pt x="1764" y="1000"/>
                  </a:cubicBezTo>
                  <a:cubicBezTo>
                    <a:pt x="1742" y="991"/>
                    <a:pt x="1720" y="991"/>
                    <a:pt x="1698" y="1000"/>
                  </a:cubicBezTo>
                  <a:cubicBezTo>
                    <a:pt x="1681" y="1006"/>
                    <a:pt x="1668" y="1016"/>
                    <a:pt x="1659" y="1031"/>
                  </a:cubicBezTo>
                  <a:cubicBezTo>
                    <a:pt x="1646" y="1050"/>
                    <a:pt x="1643" y="1071"/>
                    <a:pt x="1644" y="1094"/>
                  </a:cubicBezTo>
                  <a:cubicBezTo>
                    <a:pt x="1644" y="1110"/>
                    <a:pt x="1647" y="1127"/>
                    <a:pt x="1655" y="1141"/>
                  </a:cubicBezTo>
                  <a:cubicBezTo>
                    <a:pt x="1669" y="1168"/>
                    <a:pt x="1691" y="1183"/>
                    <a:pt x="1722" y="1186"/>
                  </a:cubicBezTo>
                  <a:cubicBezTo>
                    <a:pt x="1750" y="1188"/>
                    <a:pt x="1775" y="1183"/>
                    <a:pt x="1798" y="1165"/>
                  </a:cubicBezTo>
                  <a:cubicBezTo>
                    <a:pt x="1803" y="1161"/>
                    <a:pt x="1806" y="1157"/>
                    <a:pt x="1802" y="1151"/>
                  </a:cubicBezTo>
                  <a:cubicBezTo>
                    <a:pt x="1798" y="1144"/>
                    <a:pt x="1791" y="1140"/>
                    <a:pt x="1783" y="1144"/>
                  </a:cubicBezTo>
                  <a:cubicBezTo>
                    <a:pt x="1778" y="1147"/>
                    <a:pt x="1771" y="1149"/>
                    <a:pt x="1766" y="1152"/>
                  </a:cubicBezTo>
                  <a:cubicBezTo>
                    <a:pt x="1749" y="1161"/>
                    <a:pt x="1730" y="1162"/>
                    <a:pt x="1714" y="1155"/>
                  </a:cubicBezTo>
                  <a:cubicBezTo>
                    <a:pt x="1692" y="1145"/>
                    <a:pt x="1680" y="1127"/>
                    <a:pt x="1679" y="1102"/>
                  </a:cubicBezTo>
                  <a:cubicBezTo>
                    <a:pt x="1678" y="1095"/>
                    <a:pt x="1681" y="1092"/>
                    <a:pt x="1689" y="1092"/>
                  </a:cubicBezTo>
                  <a:cubicBezTo>
                    <a:pt x="1706" y="1092"/>
                    <a:pt x="1724" y="1092"/>
                    <a:pt x="1741" y="1092"/>
                  </a:cubicBezTo>
                  <a:cubicBezTo>
                    <a:pt x="1741" y="1092"/>
                    <a:pt x="1741" y="1092"/>
                    <a:pt x="1741" y="1092"/>
                  </a:cubicBezTo>
                  <a:close/>
                  <a:moveTo>
                    <a:pt x="1690" y="1070"/>
                  </a:moveTo>
                  <a:cubicBezTo>
                    <a:pt x="1683" y="1071"/>
                    <a:pt x="1680" y="1068"/>
                    <a:pt x="1681" y="1062"/>
                  </a:cubicBezTo>
                  <a:cubicBezTo>
                    <a:pt x="1683" y="1048"/>
                    <a:pt x="1697" y="1024"/>
                    <a:pt x="1716" y="1022"/>
                  </a:cubicBezTo>
                  <a:cubicBezTo>
                    <a:pt x="1731" y="1020"/>
                    <a:pt x="1747" y="1018"/>
                    <a:pt x="1760" y="1030"/>
                  </a:cubicBezTo>
                  <a:cubicBezTo>
                    <a:pt x="1771" y="1038"/>
                    <a:pt x="1775" y="1050"/>
                    <a:pt x="1778" y="1062"/>
                  </a:cubicBezTo>
                  <a:cubicBezTo>
                    <a:pt x="1780" y="1068"/>
                    <a:pt x="1775" y="1070"/>
                    <a:pt x="1769" y="1070"/>
                  </a:cubicBezTo>
                  <a:cubicBezTo>
                    <a:pt x="1756" y="1070"/>
                    <a:pt x="1742" y="1070"/>
                    <a:pt x="1729" y="1070"/>
                  </a:cubicBezTo>
                  <a:cubicBezTo>
                    <a:pt x="1729" y="1070"/>
                    <a:pt x="1729" y="1070"/>
                    <a:pt x="1729" y="1070"/>
                  </a:cubicBezTo>
                  <a:cubicBezTo>
                    <a:pt x="1716" y="1070"/>
                    <a:pt x="1703" y="1070"/>
                    <a:pt x="1690" y="1070"/>
                  </a:cubicBezTo>
                  <a:close/>
                  <a:moveTo>
                    <a:pt x="68" y="581"/>
                  </a:moveTo>
                  <a:cubicBezTo>
                    <a:pt x="68" y="573"/>
                    <a:pt x="70" y="568"/>
                    <a:pt x="80" y="569"/>
                  </a:cubicBezTo>
                  <a:cubicBezTo>
                    <a:pt x="90" y="570"/>
                    <a:pt x="101" y="570"/>
                    <a:pt x="111" y="569"/>
                  </a:cubicBezTo>
                  <a:cubicBezTo>
                    <a:pt x="120" y="569"/>
                    <a:pt x="120" y="563"/>
                    <a:pt x="120" y="556"/>
                  </a:cubicBezTo>
                  <a:cubicBezTo>
                    <a:pt x="120" y="549"/>
                    <a:pt x="119" y="544"/>
                    <a:pt x="111" y="544"/>
                  </a:cubicBezTo>
                  <a:cubicBezTo>
                    <a:pt x="104" y="544"/>
                    <a:pt x="97" y="544"/>
                    <a:pt x="91" y="544"/>
                  </a:cubicBezTo>
                  <a:cubicBezTo>
                    <a:pt x="66" y="544"/>
                    <a:pt x="65" y="543"/>
                    <a:pt x="68" y="518"/>
                  </a:cubicBezTo>
                  <a:cubicBezTo>
                    <a:pt x="69" y="504"/>
                    <a:pt x="83" y="487"/>
                    <a:pt x="99" y="489"/>
                  </a:cubicBezTo>
                  <a:cubicBezTo>
                    <a:pt x="103" y="489"/>
                    <a:pt x="107" y="489"/>
                    <a:pt x="110" y="488"/>
                  </a:cubicBezTo>
                  <a:cubicBezTo>
                    <a:pt x="118" y="487"/>
                    <a:pt x="123" y="479"/>
                    <a:pt x="123" y="471"/>
                  </a:cubicBezTo>
                  <a:cubicBezTo>
                    <a:pt x="123" y="461"/>
                    <a:pt x="116" y="462"/>
                    <a:pt x="109" y="460"/>
                  </a:cubicBezTo>
                  <a:cubicBezTo>
                    <a:pt x="100" y="458"/>
                    <a:pt x="92" y="460"/>
                    <a:pt x="84" y="460"/>
                  </a:cubicBezTo>
                  <a:cubicBezTo>
                    <a:pt x="68" y="461"/>
                    <a:pt x="56" y="469"/>
                    <a:pt x="47" y="480"/>
                  </a:cubicBezTo>
                  <a:cubicBezTo>
                    <a:pt x="34" y="493"/>
                    <a:pt x="32" y="511"/>
                    <a:pt x="32" y="529"/>
                  </a:cubicBezTo>
                  <a:cubicBezTo>
                    <a:pt x="32" y="544"/>
                    <a:pt x="32" y="544"/>
                    <a:pt x="17" y="544"/>
                  </a:cubicBezTo>
                  <a:cubicBezTo>
                    <a:pt x="4" y="543"/>
                    <a:pt x="0" y="548"/>
                    <a:pt x="4" y="561"/>
                  </a:cubicBezTo>
                  <a:cubicBezTo>
                    <a:pt x="6" y="569"/>
                    <a:pt x="13" y="568"/>
                    <a:pt x="19" y="569"/>
                  </a:cubicBezTo>
                  <a:cubicBezTo>
                    <a:pt x="32" y="571"/>
                    <a:pt x="32" y="571"/>
                    <a:pt x="32" y="584"/>
                  </a:cubicBezTo>
                  <a:cubicBezTo>
                    <a:pt x="32" y="624"/>
                    <a:pt x="32" y="664"/>
                    <a:pt x="32" y="704"/>
                  </a:cubicBezTo>
                  <a:cubicBezTo>
                    <a:pt x="32" y="731"/>
                    <a:pt x="32" y="730"/>
                    <a:pt x="57" y="731"/>
                  </a:cubicBezTo>
                  <a:cubicBezTo>
                    <a:pt x="66" y="731"/>
                    <a:pt x="68" y="727"/>
                    <a:pt x="68" y="720"/>
                  </a:cubicBezTo>
                  <a:cubicBezTo>
                    <a:pt x="68" y="697"/>
                    <a:pt x="68" y="674"/>
                    <a:pt x="68" y="651"/>
                  </a:cubicBezTo>
                  <a:cubicBezTo>
                    <a:pt x="68" y="628"/>
                    <a:pt x="68" y="605"/>
                    <a:pt x="68" y="581"/>
                  </a:cubicBezTo>
                  <a:close/>
                  <a:moveTo>
                    <a:pt x="278" y="1165"/>
                  </a:moveTo>
                  <a:cubicBezTo>
                    <a:pt x="278" y="1183"/>
                    <a:pt x="278" y="1183"/>
                    <a:pt x="296" y="1184"/>
                  </a:cubicBezTo>
                  <a:cubicBezTo>
                    <a:pt x="310" y="1184"/>
                    <a:pt x="310" y="1184"/>
                    <a:pt x="310" y="1169"/>
                  </a:cubicBezTo>
                  <a:cubicBezTo>
                    <a:pt x="310" y="1132"/>
                    <a:pt x="310" y="1095"/>
                    <a:pt x="310" y="1058"/>
                  </a:cubicBezTo>
                  <a:cubicBezTo>
                    <a:pt x="310" y="1052"/>
                    <a:pt x="312" y="1047"/>
                    <a:pt x="316" y="1042"/>
                  </a:cubicBezTo>
                  <a:cubicBezTo>
                    <a:pt x="324" y="1033"/>
                    <a:pt x="334" y="1027"/>
                    <a:pt x="345" y="1024"/>
                  </a:cubicBezTo>
                  <a:cubicBezTo>
                    <a:pt x="357" y="1020"/>
                    <a:pt x="371" y="1018"/>
                    <a:pt x="383" y="1028"/>
                  </a:cubicBezTo>
                  <a:cubicBezTo>
                    <a:pt x="397" y="1039"/>
                    <a:pt x="401" y="1054"/>
                    <a:pt x="401" y="1071"/>
                  </a:cubicBezTo>
                  <a:cubicBezTo>
                    <a:pt x="401" y="1102"/>
                    <a:pt x="401" y="1132"/>
                    <a:pt x="401" y="1163"/>
                  </a:cubicBezTo>
                  <a:cubicBezTo>
                    <a:pt x="401" y="1183"/>
                    <a:pt x="401" y="1182"/>
                    <a:pt x="420" y="1184"/>
                  </a:cubicBezTo>
                  <a:cubicBezTo>
                    <a:pt x="429" y="1185"/>
                    <a:pt x="433" y="1181"/>
                    <a:pt x="433" y="1173"/>
                  </a:cubicBezTo>
                  <a:cubicBezTo>
                    <a:pt x="432" y="1130"/>
                    <a:pt x="435" y="1087"/>
                    <a:pt x="431" y="1044"/>
                  </a:cubicBezTo>
                  <a:cubicBezTo>
                    <a:pt x="427" y="1014"/>
                    <a:pt x="404" y="996"/>
                    <a:pt x="376" y="994"/>
                  </a:cubicBezTo>
                  <a:cubicBezTo>
                    <a:pt x="353" y="992"/>
                    <a:pt x="333" y="1000"/>
                    <a:pt x="317" y="1017"/>
                  </a:cubicBezTo>
                  <a:cubicBezTo>
                    <a:pt x="312" y="1021"/>
                    <a:pt x="311" y="1019"/>
                    <a:pt x="309" y="1015"/>
                  </a:cubicBezTo>
                  <a:cubicBezTo>
                    <a:pt x="309" y="1013"/>
                    <a:pt x="308" y="1011"/>
                    <a:pt x="308" y="1008"/>
                  </a:cubicBezTo>
                  <a:cubicBezTo>
                    <a:pt x="306" y="1001"/>
                    <a:pt x="298" y="997"/>
                    <a:pt x="287" y="998"/>
                  </a:cubicBezTo>
                  <a:cubicBezTo>
                    <a:pt x="279" y="999"/>
                    <a:pt x="278" y="1004"/>
                    <a:pt x="278" y="1011"/>
                  </a:cubicBezTo>
                  <a:cubicBezTo>
                    <a:pt x="278" y="1037"/>
                    <a:pt x="278" y="1064"/>
                    <a:pt x="278" y="1091"/>
                  </a:cubicBezTo>
                  <a:cubicBezTo>
                    <a:pt x="278" y="1115"/>
                    <a:pt x="278" y="1140"/>
                    <a:pt x="278" y="1165"/>
                  </a:cubicBezTo>
                  <a:close/>
                  <a:moveTo>
                    <a:pt x="150" y="705"/>
                  </a:moveTo>
                  <a:cubicBezTo>
                    <a:pt x="150" y="734"/>
                    <a:pt x="145" y="730"/>
                    <a:pt x="176" y="731"/>
                  </a:cubicBezTo>
                  <a:cubicBezTo>
                    <a:pt x="185" y="731"/>
                    <a:pt x="187" y="727"/>
                    <a:pt x="187" y="719"/>
                  </a:cubicBezTo>
                  <a:cubicBezTo>
                    <a:pt x="187" y="685"/>
                    <a:pt x="187" y="651"/>
                    <a:pt x="187" y="618"/>
                  </a:cubicBezTo>
                  <a:cubicBezTo>
                    <a:pt x="187" y="597"/>
                    <a:pt x="204" y="578"/>
                    <a:pt x="225" y="574"/>
                  </a:cubicBezTo>
                  <a:cubicBezTo>
                    <a:pt x="232" y="572"/>
                    <a:pt x="240" y="574"/>
                    <a:pt x="247" y="575"/>
                  </a:cubicBezTo>
                  <a:cubicBezTo>
                    <a:pt x="257" y="576"/>
                    <a:pt x="261" y="572"/>
                    <a:pt x="265" y="564"/>
                  </a:cubicBezTo>
                  <a:cubicBezTo>
                    <a:pt x="269" y="556"/>
                    <a:pt x="267" y="542"/>
                    <a:pt x="261" y="540"/>
                  </a:cubicBezTo>
                  <a:cubicBezTo>
                    <a:pt x="253" y="538"/>
                    <a:pt x="244" y="534"/>
                    <a:pt x="237" y="536"/>
                  </a:cubicBezTo>
                  <a:cubicBezTo>
                    <a:pt x="228" y="537"/>
                    <a:pt x="217" y="537"/>
                    <a:pt x="209" y="544"/>
                  </a:cubicBezTo>
                  <a:cubicBezTo>
                    <a:pt x="204" y="549"/>
                    <a:pt x="198" y="553"/>
                    <a:pt x="194" y="558"/>
                  </a:cubicBezTo>
                  <a:cubicBezTo>
                    <a:pt x="192" y="561"/>
                    <a:pt x="189" y="563"/>
                    <a:pt x="185" y="562"/>
                  </a:cubicBezTo>
                  <a:cubicBezTo>
                    <a:pt x="182" y="561"/>
                    <a:pt x="182" y="558"/>
                    <a:pt x="182" y="556"/>
                  </a:cubicBezTo>
                  <a:cubicBezTo>
                    <a:pt x="180" y="539"/>
                    <a:pt x="179" y="539"/>
                    <a:pt x="162" y="539"/>
                  </a:cubicBezTo>
                  <a:cubicBezTo>
                    <a:pt x="151" y="539"/>
                    <a:pt x="150" y="540"/>
                    <a:pt x="150" y="551"/>
                  </a:cubicBezTo>
                  <a:cubicBezTo>
                    <a:pt x="150" y="579"/>
                    <a:pt x="150" y="607"/>
                    <a:pt x="150" y="635"/>
                  </a:cubicBezTo>
                  <a:cubicBezTo>
                    <a:pt x="150" y="658"/>
                    <a:pt x="149" y="682"/>
                    <a:pt x="150" y="705"/>
                  </a:cubicBezTo>
                  <a:close/>
                  <a:moveTo>
                    <a:pt x="1011" y="1049"/>
                  </a:moveTo>
                  <a:cubicBezTo>
                    <a:pt x="1011" y="1008"/>
                    <a:pt x="1011" y="966"/>
                    <a:pt x="1011" y="924"/>
                  </a:cubicBezTo>
                  <a:cubicBezTo>
                    <a:pt x="1011" y="913"/>
                    <a:pt x="1008" y="910"/>
                    <a:pt x="997" y="910"/>
                  </a:cubicBezTo>
                  <a:cubicBezTo>
                    <a:pt x="995" y="910"/>
                    <a:pt x="992" y="910"/>
                    <a:pt x="990" y="910"/>
                  </a:cubicBezTo>
                  <a:cubicBezTo>
                    <a:pt x="976" y="910"/>
                    <a:pt x="975" y="911"/>
                    <a:pt x="975" y="926"/>
                  </a:cubicBezTo>
                  <a:cubicBezTo>
                    <a:pt x="975" y="1006"/>
                    <a:pt x="975" y="1085"/>
                    <a:pt x="975" y="1165"/>
                  </a:cubicBezTo>
                  <a:cubicBezTo>
                    <a:pt x="975" y="1185"/>
                    <a:pt x="975" y="1185"/>
                    <a:pt x="994" y="1185"/>
                  </a:cubicBezTo>
                  <a:cubicBezTo>
                    <a:pt x="1009" y="1185"/>
                    <a:pt x="1011" y="1184"/>
                    <a:pt x="1011" y="1169"/>
                  </a:cubicBezTo>
                  <a:cubicBezTo>
                    <a:pt x="1011" y="1129"/>
                    <a:pt x="1011" y="1089"/>
                    <a:pt x="1011" y="1049"/>
                  </a:cubicBezTo>
                  <a:cubicBezTo>
                    <a:pt x="1011" y="1049"/>
                    <a:pt x="1011" y="1049"/>
                    <a:pt x="1011" y="1049"/>
                  </a:cubicBezTo>
                  <a:close/>
                  <a:moveTo>
                    <a:pt x="296" y="176"/>
                  </a:moveTo>
                  <a:cubicBezTo>
                    <a:pt x="296" y="201"/>
                    <a:pt x="296" y="226"/>
                    <a:pt x="296" y="251"/>
                  </a:cubicBezTo>
                  <a:cubicBezTo>
                    <a:pt x="295" y="276"/>
                    <a:pt x="296" y="274"/>
                    <a:pt x="318" y="274"/>
                  </a:cubicBezTo>
                  <a:cubicBezTo>
                    <a:pt x="330" y="274"/>
                    <a:pt x="331" y="274"/>
                    <a:pt x="331" y="260"/>
                  </a:cubicBezTo>
                  <a:cubicBezTo>
                    <a:pt x="331" y="232"/>
                    <a:pt x="331" y="204"/>
                    <a:pt x="331" y="176"/>
                  </a:cubicBezTo>
                  <a:cubicBezTo>
                    <a:pt x="331" y="165"/>
                    <a:pt x="331" y="155"/>
                    <a:pt x="337" y="145"/>
                  </a:cubicBezTo>
                  <a:cubicBezTo>
                    <a:pt x="349" y="123"/>
                    <a:pt x="359" y="117"/>
                    <a:pt x="377" y="118"/>
                  </a:cubicBezTo>
                  <a:cubicBezTo>
                    <a:pt x="383" y="118"/>
                    <a:pt x="389" y="119"/>
                    <a:pt x="395" y="120"/>
                  </a:cubicBezTo>
                  <a:cubicBezTo>
                    <a:pt x="401" y="120"/>
                    <a:pt x="407" y="118"/>
                    <a:pt x="408" y="112"/>
                  </a:cubicBezTo>
                  <a:cubicBezTo>
                    <a:pt x="409" y="103"/>
                    <a:pt x="415" y="93"/>
                    <a:pt x="407" y="85"/>
                  </a:cubicBezTo>
                  <a:cubicBezTo>
                    <a:pt x="406" y="84"/>
                    <a:pt x="404" y="84"/>
                    <a:pt x="402" y="84"/>
                  </a:cubicBezTo>
                  <a:cubicBezTo>
                    <a:pt x="376" y="78"/>
                    <a:pt x="353" y="82"/>
                    <a:pt x="337" y="106"/>
                  </a:cubicBezTo>
                  <a:cubicBezTo>
                    <a:pt x="336" y="108"/>
                    <a:pt x="335" y="110"/>
                    <a:pt x="333" y="109"/>
                  </a:cubicBezTo>
                  <a:cubicBezTo>
                    <a:pt x="331" y="109"/>
                    <a:pt x="330" y="107"/>
                    <a:pt x="330" y="105"/>
                  </a:cubicBezTo>
                  <a:cubicBezTo>
                    <a:pt x="329" y="101"/>
                    <a:pt x="329" y="97"/>
                    <a:pt x="328" y="94"/>
                  </a:cubicBezTo>
                  <a:cubicBezTo>
                    <a:pt x="325" y="85"/>
                    <a:pt x="318" y="82"/>
                    <a:pt x="303" y="84"/>
                  </a:cubicBezTo>
                  <a:cubicBezTo>
                    <a:pt x="297" y="84"/>
                    <a:pt x="295" y="86"/>
                    <a:pt x="295" y="92"/>
                  </a:cubicBezTo>
                  <a:cubicBezTo>
                    <a:pt x="296" y="120"/>
                    <a:pt x="295" y="148"/>
                    <a:pt x="295" y="176"/>
                  </a:cubicBezTo>
                  <a:cubicBezTo>
                    <a:pt x="296" y="176"/>
                    <a:pt x="296" y="176"/>
                    <a:pt x="296" y="176"/>
                  </a:cubicBezTo>
                  <a:close/>
                  <a:moveTo>
                    <a:pt x="946" y="179"/>
                  </a:moveTo>
                  <a:cubicBezTo>
                    <a:pt x="946" y="197"/>
                    <a:pt x="946" y="215"/>
                    <a:pt x="946" y="234"/>
                  </a:cubicBezTo>
                  <a:cubicBezTo>
                    <a:pt x="946" y="248"/>
                    <a:pt x="951" y="260"/>
                    <a:pt x="963" y="268"/>
                  </a:cubicBezTo>
                  <a:cubicBezTo>
                    <a:pt x="982" y="280"/>
                    <a:pt x="1011" y="277"/>
                    <a:pt x="1029" y="264"/>
                  </a:cubicBezTo>
                  <a:cubicBezTo>
                    <a:pt x="1036" y="259"/>
                    <a:pt x="1036" y="254"/>
                    <a:pt x="1032" y="248"/>
                  </a:cubicBezTo>
                  <a:cubicBezTo>
                    <a:pt x="1026" y="239"/>
                    <a:pt x="1020" y="238"/>
                    <a:pt x="1013" y="242"/>
                  </a:cubicBezTo>
                  <a:cubicBezTo>
                    <a:pt x="996" y="252"/>
                    <a:pt x="978" y="243"/>
                    <a:pt x="978" y="223"/>
                  </a:cubicBezTo>
                  <a:cubicBezTo>
                    <a:pt x="978" y="190"/>
                    <a:pt x="978" y="157"/>
                    <a:pt x="978" y="123"/>
                  </a:cubicBezTo>
                  <a:cubicBezTo>
                    <a:pt x="978" y="116"/>
                    <a:pt x="981" y="113"/>
                    <a:pt x="988" y="113"/>
                  </a:cubicBezTo>
                  <a:cubicBezTo>
                    <a:pt x="999" y="114"/>
                    <a:pt x="1011" y="113"/>
                    <a:pt x="1022" y="113"/>
                  </a:cubicBezTo>
                  <a:cubicBezTo>
                    <a:pt x="1028" y="113"/>
                    <a:pt x="1033" y="112"/>
                    <a:pt x="1033" y="104"/>
                  </a:cubicBezTo>
                  <a:cubicBezTo>
                    <a:pt x="1033" y="96"/>
                    <a:pt x="1032" y="90"/>
                    <a:pt x="1022" y="90"/>
                  </a:cubicBezTo>
                  <a:cubicBezTo>
                    <a:pt x="1011" y="90"/>
                    <a:pt x="1001" y="90"/>
                    <a:pt x="990" y="90"/>
                  </a:cubicBezTo>
                  <a:cubicBezTo>
                    <a:pt x="981" y="91"/>
                    <a:pt x="977" y="88"/>
                    <a:pt x="978" y="78"/>
                  </a:cubicBezTo>
                  <a:cubicBezTo>
                    <a:pt x="978" y="64"/>
                    <a:pt x="978" y="49"/>
                    <a:pt x="978" y="35"/>
                  </a:cubicBezTo>
                  <a:cubicBezTo>
                    <a:pt x="978" y="30"/>
                    <a:pt x="978" y="25"/>
                    <a:pt x="971" y="24"/>
                  </a:cubicBezTo>
                  <a:cubicBezTo>
                    <a:pt x="964" y="24"/>
                    <a:pt x="956" y="24"/>
                    <a:pt x="955" y="32"/>
                  </a:cubicBezTo>
                  <a:cubicBezTo>
                    <a:pt x="952" y="43"/>
                    <a:pt x="949" y="54"/>
                    <a:pt x="949" y="65"/>
                  </a:cubicBezTo>
                  <a:cubicBezTo>
                    <a:pt x="948" y="88"/>
                    <a:pt x="947" y="88"/>
                    <a:pt x="924" y="91"/>
                  </a:cubicBezTo>
                  <a:cubicBezTo>
                    <a:pt x="919" y="92"/>
                    <a:pt x="914" y="92"/>
                    <a:pt x="914" y="99"/>
                  </a:cubicBezTo>
                  <a:cubicBezTo>
                    <a:pt x="915" y="107"/>
                    <a:pt x="917" y="113"/>
                    <a:pt x="926" y="113"/>
                  </a:cubicBezTo>
                  <a:cubicBezTo>
                    <a:pt x="929" y="114"/>
                    <a:pt x="932" y="113"/>
                    <a:pt x="935" y="113"/>
                  </a:cubicBezTo>
                  <a:cubicBezTo>
                    <a:pt x="943" y="113"/>
                    <a:pt x="946" y="116"/>
                    <a:pt x="946" y="124"/>
                  </a:cubicBezTo>
                  <a:cubicBezTo>
                    <a:pt x="946" y="142"/>
                    <a:pt x="946" y="161"/>
                    <a:pt x="946" y="179"/>
                  </a:cubicBezTo>
                  <a:cubicBezTo>
                    <a:pt x="946" y="179"/>
                    <a:pt x="946" y="179"/>
                    <a:pt x="946" y="179"/>
                  </a:cubicBezTo>
                  <a:close/>
                </a:path>
              </a:pathLst>
            </a:custGeom>
            <a:solidFill>
              <a:srgbClr val="4C505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grpSp>
          <p:nvGrpSpPr>
            <p:cNvPr id="18" name="Group 4">
              <a:extLst>
                <a:ext uri="{FF2B5EF4-FFF2-40B4-BE49-F238E27FC236}">
                  <a16:creationId xmlns:a16="http://schemas.microsoft.com/office/drawing/2014/main" id="{57BD2C4C-DC67-B843-B26C-309622FC75F7}"/>
                </a:ext>
              </a:extLst>
            </p:cNvPr>
            <p:cNvGrpSpPr>
              <a:grpSpLocks noChangeAspect="1"/>
            </p:cNvGrpSpPr>
            <p:nvPr/>
          </p:nvGrpSpPr>
          <p:grpSpPr bwMode="gray">
            <a:xfrm>
              <a:off x="334963" y="296652"/>
              <a:ext cx="538094" cy="540000"/>
              <a:chOff x="2711" y="1027"/>
              <a:chExt cx="2258" cy="2266"/>
            </a:xfrm>
          </p:grpSpPr>
          <p:sp>
            <p:nvSpPr>
              <p:cNvPr id="19" name="AutoShape 3">
                <a:extLst>
                  <a:ext uri="{FF2B5EF4-FFF2-40B4-BE49-F238E27FC236}">
                    <a16:creationId xmlns:a16="http://schemas.microsoft.com/office/drawing/2014/main" id="{FE1DC41B-291E-574C-9F2C-874E70A40758}"/>
                  </a:ext>
                </a:extLst>
              </p:cNvPr>
              <p:cNvSpPr>
                <a:spLocks noChangeAspect="1" noChangeArrowheads="1" noTextEdit="1"/>
              </p:cNvSpPr>
              <p:nvPr/>
            </p:nvSpPr>
            <p:spPr bwMode="gray">
              <a:xfrm>
                <a:off x="2711" y="1027"/>
                <a:ext cx="2258" cy="22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20" name="Freeform 5">
                <a:extLst>
                  <a:ext uri="{FF2B5EF4-FFF2-40B4-BE49-F238E27FC236}">
                    <a16:creationId xmlns:a16="http://schemas.microsoft.com/office/drawing/2014/main" id="{D4B633C8-F761-C54B-9BD2-EB59D49A2DBC}"/>
                  </a:ext>
                </a:extLst>
              </p:cNvPr>
              <p:cNvSpPr>
                <a:spLocks/>
              </p:cNvSpPr>
              <p:nvPr/>
            </p:nvSpPr>
            <p:spPr bwMode="gray">
              <a:xfrm>
                <a:off x="2709" y="1029"/>
                <a:ext cx="2260" cy="2262"/>
              </a:xfrm>
              <a:custGeom>
                <a:avLst/>
                <a:gdLst>
                  <a:gd name="T0" fmla="*/ 2260 w 2260"/>
                  <a:gd name="T1" fmla="*/ 0 h 2262"/>
                  <a:gd name="T2" fmla="*/ 1612 w 2260"/>
                  <a:gd name="T3" fmla="*/ 649 h 2262"/>
                  <a:gd name="T4" fmla="*/ 1612 w 2260"/>
                  <a:gd name="T5" fmla="*/ 649 h 2262"/>
                  <a:gd name="T6" fmla="*/ 2035 w 2260"/>
                  <a:gd name="T7" fmla="*/ 0 h 2262"/>
                  <a:gd name="T8" fmla="*/ 0 w 2260"/>
                  <a:gd name="T9" fmla="*/ 0 h 2262"/>
                  <a:gd name="T10" fmla="*/ 0 w 2260"/>
                  <a:gd name="T11" fmla="*/ 2262 h 2262"/>
                  <a:gd name="T12" fmla="*/ 2260 w 2260"/>
                  <a:gd name="T13" fmla="*/ 2262 h 2262"/>
                  <a:gd name="T14" fmla="*/ 2260 w 2260"/>
                  <a:gd name="T15" fmla="*/ 0 h 2262"/>
                  <a:gd name="T16" fmla="*/ 2260 w 2260"/>
                  <a:gd name="T17" fmla="*/ 0 h 2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0" h="2262">
                    <a:moveTo>
                      <a:pt x="2260" y="0"/>
                    </a:moveTo>
                    <a:lnTo>
                      <a:pt x="1612" y="649"/>
                    </a:lnTo>
                    <a:lnTo>
                      <a:pt x="1612" y="649"/>
                    </a:lnTo>
                    <a:lnTo>
                      <a:pt x="2035" y="0"/>
                    </a:lnTo>
                    <a:lnTo>
                      <a:pt x="0" y="0"/>
                    </a:lnTo>
                    <a:lnTo>
                      <a:pt x="0" y="2262"/>
                    </a:lnTo>
                    <a:lnTo>
                      <a:pt x="2260" y="2262"/>
                    </a:lnTo>
                    <a:lnTo>
                      <a:pt x="2260" y="0"/>
                    </a:lnTo>
                    <a:lnTo>
                      <a:pt x="2260" y="0"/>
                    </a:lnTo>
                    <a:close/>
                  </a:path>
                </a:pathLst>
              </a:custGeom>
              <a:solidFill>
                <a:srgbClr val="E55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21" name="Freeform 6">
                <a:extLst>
                  <a:ext uri="{FF2B5EF4-FFF2-40B4-BE49-F238E27FC236}">
                    <a16:creationId xmlns:a16="http://schemas.microsoft.com/office/drawing/2014/main" id="{B16BAAE4-1A41-C843-9754-490F7A1E1270}"/>
                  </a:ext>
                </a:extLst>
              </p:cNvPr>
              <p:cNvSpPr>
                <a:spLocks noEditPoints="1"/>
              </p:cNvSpPr>
              <p:nvPr/>
            </p:nvSpPr>
            <p:spPr bwMode="gray">
              <a:xfrm>
                <a:off x="3623" y="1696"/>
                <a:ext cx="1167" cy="922"/>
              </a:xfrm>
              <a:custGeom>
                <a:avLst/>
                <a:gdLst>
                  <a:gd name="T0" fmla="*/ 411 w 580"/>
                  <a:gd name="T1" fmla="*/ 213 h 458"/>
                  <a:gd name="T2" fmla="*/ 570 w 580"/>
                  <a:gd name="T3" fmla="*/ 37 h 458"/>
                  <a:gd name="T4" fmla="*/ 580 w 580"/>
                  <a:gd name="T5" fmla="*/ 20 h 458"/>
                  <a:gd name="T6" fmla="*/ 545 w 580"/>
                  <a:gd name="T7" fmla="*/ 0 h 458"/>
                  <a:gd name="T8" fmla="*/ 519 w 580"/>
                  <a:gd name="T9" fmla="*/ 16 h 458"/>
                  <a:gd name="T10" fmla="*/ 344 w 580"/>
                  <a:gd name="T11" fmla="*/ 210 h 458"/>
                  <a:gd name="T12" fmla="*/ 334 w 580"/>
                  <a:gd name="T13" fmla="*/ 229 h 458"/>
                  <a:gd name="T14" fmla="*/ 344 w 580"/>
                  <a:gd name="T15" fmla="*/ 248 h 458"/>
                  <a:gd name="T16" fmla="*/ 519 w 580"/>
                  <a:gd name="T17" fmla="*/ 442 h 458"/>
                  <a:gd name="T18" fmla="*/ 545 w 580"/>
                  <a:gd name="T19" fmla="*/ 458 h 458"/>
                  <a:gd name="T20" fmla="*/ 580 w 580"/>
                  <a:gd name="T21" fmla="*/ 438 h 458"/>
                  <a:gd name="T22" fmla="*/ 570 w 580"/>
                  <a:gd name="T23" fmla="*/ 421 h 458"/>
                  <a:gd name="T24" fmla="*/ 411 w 580"/>
                  <a:gd name="T25" fmla="*/ 245 h 458"/>
                  <a:gd name="T26" fmla="*/ 399 w 580"/>
                  <a:gd name="T27" fmla="*/ 229 h 458"/>
                  <a:gd name="T28" fmla="*/ 411 w 580"/>
                  <a:gd name="T29" fmla="*/ 213 h 458"/>
                  <a:gd name="T30" fmla="*/ 252 w 580"/>
                  <a:gd name="T31" fmla="*/ 439 h 458"/>
                  <a:gd name="T32" fmla="*/ 281 w 580"/>
                  <a:gd name="T33" fmla="*/ 454 h 458"/>
                  <a:gd name="T34" fmla="*/ 309 w 580"/>
                  <a:gd name="T35" fmla="*/ 439 h 458"/>
                  <a:gd name="T36" fmla="*/ 309 w 580"/>
                  <a:gd name="T37" fmla="*/ 19 h 458"/>
                  <a:gd name="T38" fmla="*/ 281 w 580"/>
                  <a:gd name="T39" fmla="*/ 4 h 458"/>
                  <a:gd name="T40" fmla="*/ 252 w 580"/>
                  <a:gd name="T41" fmla="*/ 19 h 458"/>
                  <a:gd name="T42" fmla="*/ 252 w 580"/>
                  <a:gd name="T43" fmla="*/ 439 h 458"/>
                  <a:gd name="T44" fmla="*/ 0 w 580"/>
                  <a:gd name="T45" fmla="*/ 439 h 458"/>
                  <a:gd name="T46" fmla="*/ 28 w 580"/>
                  <a:gd name="T47" fmla="*/ 454 h 458"/>
                  <a:gd name="T48" fmla="*/ 56 w 580"/>
                  <a:gd name="T49" fmla="*/ 439 h 458"/>
                  <a:gd name="T50" fmla="*/ 56 w 580"/>
                  <a:gd name="T51" fmla="*/ 157 h 458"/>
                  <a:gd name="T52" fmla="*/ 165 w 580"/>
                  <a:gd name="T53" fmla="*/ 53 h 458"/>
                  <a:gd name="T54" fmla="*/ 180 w 580"/>
                  <a:gd name="T55" fmla="*/ 53 h 458"/>
                  <a:gd name="T56" fmla="*/ 196 w 580"/>
                  <a:gd name="T57" fmla="*/ 27 h 458"/>
                  <a:gd name="T58" fmla="*/ 154 w 580"/>
                  <a:gd name="T59" fmla="*/ 4 h 458"/>
                  <a:gd name="T60" fmla="*/ 0 w 580"/>
                  <a:gd name="T61" fmla="*/ 152 h 458"/>
                  <a:gd name="T62" fmla="*/ 0 w 580"/>
                  <a:gd name="T63" fmla="*/ 439 h 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80" h="458">
                    <a:moveTo>
                      <a:pt x="411" y="213"/>
                    </a:moveTo>
                    <a:cubicBezTo>
                      <a:pt x="570" y="37"/>
                      <a:pt x="570" y="37"/>
                      <a:pt x="570" y="37"/>
                    </a:cubicBezTo>
                    <a:cubicBezTo>
                      <a:pt x="576" y="30"/>
                      <a:pt x="580" y="25"/>
                      <a:pt x="580" y="20"/>
                    </a:cubicBezTo>
                    <a:cubicBezTo>
                      <a:pt x="580" y="10"/>
                      <a:pt x="559" y="0"/>
                      <a:pt x="545" y="0"/>
                    </a:cubicBezTo>
                    <a:cubicBezTo>
                      <a:pt x="535" y="0"/>
                      <a:pt x="526" y="8"/>
                      <a:pt x="519" y="16"/>
                    </a:cubicBezTo>
                    <a:cubicBezTo>
                      <a:pt x="344" y="210"/>
                      <a:pt x="344" y="210"/>
                      <a:pt x="344" y="210"/>
                    </a:cubicBezTo>
                    <a:cubicBezTo>
                      <a:pt x="336" y="219"/>
                      <a:pt x="334" y="224"/>
                      <a:pt x="334" y="229"/>
                    </a:cubicBezTo>
                    <a:cubicBezTo>
                      <a:pt x="334" y="234"/>
                      <a:pt x="336" y="239"/>
                      <a:pt x="344" y="248"/>
                    </a:cubicBezTo>
                    <a:cubicBezTo>
                      <a:pt x="519" y="442"/>
                      <a:pt x="519" y="442"/>
                      <a:pt x="519" y="442"/>
                    </a:cubicBezTo>
                    <a:cubicBezTo>
                      <a:pt x="526" y="450"/>
                      <a:pt x="535" y="458"/>
                      <a:pt x="545" y="458"/>
                    </a:cubicBezTo>
                    <a:cubicBezTo>
                      <a:pt x="559" y="458"/>
                      <a:pt x="580" y="448"/>
                      <a:pt x="580" y="438"/>
                    </a:cubicBezTo>
                    <a:cubicBezTo>
                      <a:pt x="580" y="433"/>
                      <a:pt x="576" y="428"/>
                      <a:pt x="570" y="421"/>
                    </a:cubicBezTo>
                    <a:cubicBezTo>
                      <a:pt x="411" y="245"/>
                      <a:pt x="411" y="245"/>
                      <a:pt x="411" y="245"/>
                    </a:cubicBezTo>
                    <a:cubicBezTo>
                      <a:pt x="403" y="236"/>
                      <a:pt x="399" y="232"/>
                      <a:pt x="399" y="229"/>
                    </a:cubicBezTo>
                    <a:cubicBezTo>
                      <a:pt x="399" y="226"/>
                      <a:pt x="403" y="222"/>
                      <a:pt x="411" y="213"/>
                    </a:cubicBezTo>
                    <a:moveTo>
                      <a:pt x="252" y="439"/>
                    </a:moveTo>
                    <a:cubicBezTo>
                      <a:pt x="252" y="449"/>
                      <a:pt x="261" y="454"/>
                      <a:pt x="281" y="454"/>
                    </a:cubicBezTo>
                    <a:cubicBezTo>
                      <a:pt x="300" y="454"/>
                      <a:pt x="309" y="449"/>
                      <a:pt x="309" y="439"/>
                    </a:cubicBezTo>
                    <a:cubicBezTo>
                      <a:pt x="309" y="19"/>
                      <a:pt x="309" y="19"/>
                      <a:pt x="309" y="19"/>
                    </a:cubicBezTo>
                    <a:cubicBezTo>
                      <a:pt x="309" y="9"/>
                      <a:pt x="300" y="4"/>
                      <a:pt x="281" y="4"/>
                    </a:cubicBezTo>
                    <a:cubicBezTo>
                      <a:pt x="261" y="4"/>
                      <a:pt x="252" y="9"/>
                      <a:pt x="252" y="19"/>
                    </a:cubicBezTo>
                    <a:lnTo>
                      <a:pt x="252" y="439"/>
                    </a:lnTo>
                    <a:close/>
                    <a:moveTo>
                      <a:pt x="0" y="439"/>
                    </a:moveTo>
                    <a:cubicBezTo>
                      <a:pt x="0" y="449"/>
                      <a:pt x="8" y="454"/>
                      <a:pt x="28" y="454"/>
                    </a:cubicBezTo>
                    <a:cubicBezTo>
                      <a:pt x="48" y="454"/>
                      <a:pt x="56" y="449"/>
                      <a:pt x="56" y="439"/>
                    </a:cubicBezTo>
                    <a:cubicBezTo>
                      <a:pt x="56" y="157"/>
                      <a:pt x="56" y="157"/>
                      <a:pt x="56" y="157"/>
                    </a:cubicBezTo>
                    <a:cubicBezTo>
                      <a:pt x="56" y="83"/>
                      <a:pt x="85" y="53"/>
                      <a:pt x="165" y="53"/>
                    </a:cubicBezTo>
                    <a:cubicBezTo>
                      <a:pt x="180" y="53"/>
                      <a:pt x="180" y="53"/>
                      <a:pt x="180" y="53"/>
                    </a:cubicBezTo>
                    <a:cubicBezTo>
                      <a:pt x="192" y="53"/>
                      <a:pt x="196" y="43"/>
                      <a:pt x="196" y="27"/>
                    </a:cubicBezTo>
                    <a:cubicBezTo>
                      <a:pt x="196" y="8"/>
                      <a:pt x="185" y="4"/>
                      <a:pt x="154" y="4"/>
                    </a:cubicBezTo>
                    <a:cubicBezTo>
                      <a:pt x="64" y="4"/>
                      <a:pt x="0" y="43"/>
                      <a:pt x="0" y="152"/>
                    </a:cubicBezTo>
                    <a:lnTo>
                      <a:pt x="0" y="43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22" name="Freeform 7">
                <a:extLst>
                  <a:ext uri="{FF2B5EF4-FFF2-40B4-BE49-F238E27FC236}">
                    <a16:creationId xmlns:a16="http://schemas.microsoft.com/office/drawing/2014/main" id="{2F32DCBD-8628-F245-85CD-97686A20ECFD}"/>
                  </a:ext>
                </a:extLst>
              </p:cNvPr>
              <p:cNvSpPr>
                <a:spLocks/>
              </p:cNvSpPr>
              <p:nvPr/>
            </p:nvSpPr>
            <p:spPr bwMode="gray">
              <a:xfrm>
                <a:off x="2880" y="1704"/>
                <a:ext cx="618" cy="916"/>
              </a:xfrm>
              <a:custGeom>
                <a:avLst/>
                <a:gdLst>
                  <a:gd name="T0" fmla="*/ 307 w 307"/>
                  <a:gd name="T1" fmla="*/ 405 h 455"/>
                  <a:gd name="T2" fmla="*/ 307 w 307"/>
                  <a:gd name="T3" fmla="*/ 244 h 455"/>
                  <a:gd name="T4" fmla="*/ 279 w 307"/>
                  <a:gd name="T5" fmla="*/ 229 h 455"/>
                  <a:gd name="T6" fmla="*/ 250 w 307"/>
                  <a:gd name="T7" fmla="*/ 244 h 455"/>
                  <a:gd name="T8" fmla="*/ 250 w 307"/>
                  <a:gd name="T9" fmla="*/ 378 h 455"/>
                  <a:gd name="T10" fmla="*/ 199 w 307"/>
                  <a:gd name="T11" fmla="*/ 408 h 455"/>
                  <a:gd name="T12" fmla="*/ 61 w 307"/>
                  <a:gd name="T13" fmla="*/ 231 h 455"/>
                  <a:gd name="T14" fmla="*/ 238 w 307"/>
                  <a:gd name="T15" fmla="*/ 49 h 455"/>
                  <a:gd name="T16" fmla="*/ 270 w 307"/>
                  <a:gd name="T17" fmla="*/ 49 h 455"/>
                  <a:gd name="T18" fmla="*/ 286 w 307"/>
                  <a:gd name="T19" fmla="*/ 23 h 455"/>
                  <a:gd name="T20" fmla="*/ 244 w 307"/>
                  <a:gd name="T21" fmla="*/ 0 h 455"/>
                  <a:gd name="T22" fmla="*/ 231 w 307"/>
                  <a:gd name="T23" fmla="*/ 0 h 455"/>
                  <a:gd name="T24" fmla="*/ 0 w 307"/>
                  <a:gd name="T25" fmla="*/ 232 h 455"/>
                  <a:gd name="T26" fmla="*/ 198 w 307"/>
                  <a:gd name="T27" fmla="*/ 455 h 455"/>
                  <a:gd name="T28" fmla="*/ 307 w 307"/>
                  <a:gd name="T29" fmla="*/ 405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7" h="455">
                    <a:moveTo>
                      <a:pt x="307" y="405"/>
                    </a:moveTo>
                    <a:cubicBezTo>
                      <a:pt x="307" y="244"/>
                      <a:pt x="307" y="244"/>
                      <a:pt x="307" y="244"/>
                    </a:cubicBezTo>
                    <a:cubicBezTo>
                      <a:pt x="307" y="234"/>
                      <a:pt x="298" y="229"/>
                      <a:pt x="279" y="229"/>
                    </a:cubicBezTo>
                    <a:cubicBezTo>
                      <a:pt x="259" y="229"/>
                      <a:pt x="250" y="234"/>
                      <a:pt x="250" y="244"/>
                    </a:cubicBezTo>
                    <a:cubicBezTo>
                      <a:pt x="250" y="378"/>
                      <a:pt x="250" y="378"/>
                      <a:pt x="250" y="378"/>
                    </a:cubicBezTo>
                    <a:cubicBezTo>
                      <a:pt x="250" y="399"/>
                      <a:pt x="241" y="408"/>
                      <a:pt x="199" y="408"/>
                    </a:cubicBezTo>
                    <a:cubicBezTo>
                      <a:pt x="114" y="408"/>
                      <a:pt x="61" y="342"/>
                      <a:pt x="61" y="231"/>
                    </a:cubicBezTo>
                    <a:cubicBezTo>
                      <a:pt x="61" y="115"/>
                      <a:pt x="126" y="49"/>
                      <a:pt x="238" y="49"/>
                    </a:cubicBezTo>
                    <a:cubicBezTo>
                      <a:pt x="270" y="49"/>
                      <a:pt x="270" y="49"/>
                      <a:pt x="270" y="49"/>
                    </a:cubicBezTo>
                    <a:cubicBezTo>
                      <a:pt x="282" y="49"/>
                      <a:pt x="286" y="39"/>
                      <a:pt x="286" y="23"/>
                    </a:cubicBezTo>
                    <a:cubicBezTo>
                      <a:pt x="286" y="4"/>
                      <a:pt x="275" y="0"/>
                      <a:pt x="244" y="0"/>
                    </a:cubicBezTo>
                    <a:cubicBezTo>
                      <a:pt x="231" y="0"/>
                      <a:pt x="231" y="0"/>
                      <a:pt x="231" y="0"/>
                    </a:cubicBezTo>
                    <a:cubicBezTo>
                      <a:pt x="101" y="0"/>
                      <a:pt x="0" y="71"/>
                      <a:pt x="0" y="232"/>
                    </a:cubicBezTo>
                    <a:cubicBezTo>
                      <a:pt x="0" y="386"/>
                      <a:pt x="88" y="455"/>
                      <a:pt x="198" y="455"/>
                    </a:cubicBezTo>
                    <a:cubicBezTo>
                      <a:pt x="286" y="455"/>
                      <a:pt x="307" y="430"/>
                      <a:pt x="307" y="40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23" name="Oval 8">
                <a:extLst>
                  <a:ext uri="{FF2B5EF4-FFF2-40B4-BE49-F238E27FC236}">
                    <a16:creationId xmlns:a16="http://schemas.microsoft.com/office/drawing/2014/main" id="{60D97C11-1A3B-5449-A48D-98A3E79B3810}"/>
                  </a:ext>
                </a:extLst>
              </p:cNvPr>
              <p:cNvSpPr>
                <a:spLocks noChangeArrowheads="1"/>
              </p:cNvSpPr>
              <p:nvPr/>
            </p:nvSpPr>
            <p:spPr bwMode="gray">
              <a:xfrm>
                <a:off x="3778" y="2099"/>
                <a:ext cx="122" cy="12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24" name="Freeform 9">
                <a:extLst>
                  <a:ext uri="{FF2B5EF4-FFF2-40B4-BE49-F238E27FC236}">
                    <a16:creationId xmlns:a16="http://schemas.microsoft.com/office/drawing/2014/main" id="{5856770D-B8F0-244E-A05D-AED190086F10}"/>
                  </a:ext>
                </a:extLst>
              </p:cNvPr>
              <p:cNvSpPr>
                <a:spLocks noEditPoints="1"/>
              </p:cNvSpPr>
              <p:nvPr/>
            </p:nvSpPr>
            <p:spPr bwMode="gray">
              <a:xfrm>
                <a:off x="3623" y="1696"/>
                <a:ext cx="1167" cy="922"/>
              </a:xfrm>
              <a:custGeom>
                <a:avLst/>
                <a:gdLst>
                  <a:gd name="T0" fmla="*/ 411 w 580"/>
                  <a:gd name="T1" fmla="*/ 213 h 458"/>
                  <a:gd name="T2" fmla="*/ 570 w 580"/>
                  <a:gd name="T3" fmla="*/ 37 h 458"/>
                  <a:gd name="T4" fmla="*/ 580 w 580"/>
                  <a:gd name="T5" fmla="*/ 20 h 458"/>
                  <a:gd name="T6" fmla="*/ 545 w 580"/>
                  <a:gd name="T7" fmla="*/ 0 h 458"/>
                  <a:gd name="T8" fmla="*/ 519 w 580"/>
                  <a:gd name="T9" fmla="*/ 16 h 458"/>
                  <a:gd name="T10" fmla="*/ 344 w 580"/>
                  <a:gd name="T11" fmla="*/ 210 h 458"/>
                  <a:gd name="T12" fmla="*/ 334 w 580"/>
                  <a:gd name="T13" fmla="*/ 229 h 458"/>
                  <a:gd name="T14" fmla="*/ 344 w 580"/>
                  <a:gd name="T15" fmla="*/ 248 h 458"/>
                  <a:gd name="T16" fmla="*/ 519 w 580"/>
                  <a:gd name="T17" fmla="*/ 442 h 458"/>
                  <a:gd name="T18" fmla="*/ 545 w 580"/>
                  <a:gd name="T19" fmla="*/ 458 h 458"/>
                  <a:gd name="T20" fmla="*/ 580 w 580"/>
                  <a:gd name="T21" fmla="*/ 438 h 458"/>
                  <a:gd name="T22" fmla="*/ 570 w 580"/>
                  <a:gd name="T23" fmla="*/ 421 h 458"/>
                  <a:gd name="T24" fmla="*/ 411 w 580"/>
                  <a:gd name="T25" fmla="*/ 245 h 458"/>
                  <a:gd name="T26" fmla="*/ 399 w 580"/>
                  <a:gd name="T27" fmla="*/ 229 h 458"/>
                  <a:gd name="T28" fmla="*/ 411 w 580"/>
                  <a:gd name="T29" fmla="*/ 213 h 458"/>
                  <a:gd name="T30" fmla="*/ 252 w 580"/>
                  <a:gd name="T31" fmla="*/ 439 h 458"/>
                  <a:gd name="T32" fmla="*/ 281 w 580"/>
                  <a:gd name="T33" fmla="*/ 454 h 458"/>
                  <a:gd name="T34" fmla="*/ 309 w 580"/>
                  <a:gd name="T35" fmla="*/ 439 h 458"/>
                  <a:gd name="T36" fmla="*/ 309 w 580"/>
                  <a:gd name="T37" fmla="*/ 19 h 458"/>
                  <a:gd name="T38" fmla="*/ 281 w 580"/>
                  <a:gd name="T39" fmla="*/ 4 h 458"/>
                  <a:gd name="T40" fmla="*/ 252 w 580"/>
                  <a:gd name="T41" fmla="*/ 19 h 458"/>
                  <a:gd name="T42" fmla="*/ 252 w 580"/>
                  <a:gd name="T43" fmla="*/ 439 h 458"/>
                  <a:gd name="T44" fmla="*/ 0 w 580"/>
                  <a:gd name="T45" fmla="*/ 439 h 458"/>
                  <a:gd name="T46" fmla="*/ 28 w 580"/>
                  <a:gd name="T47" fmla="*/ 454 h 458"/>
                  <a:gd name="T48" fmla="*/ 56 w 580"/>
                  <a:gd name="T49" fmla="*/ 439 h 458"/>
                  <a:gd name="T50" fmla="*/ 56 w 580"/>
                  <a:gd name="T51" fmla="*/ 157 h 458"/>
                  <a:gd name="T52" fmla="*/ 165 w 580"/>
                  <a:gd name="T53" fmla="*/ 53 h 458"/>
                  <a:gd name="T54" fmla="*/ 180 w 580"/>
                  <a:gd name="T55" fmla="*/ 53 h 458"/>
                  <a:gd name="T56" fmla="*/ 196 w 580"/>
                  <a:gd name="T57" fmla="*/ 27 h 458"/>
                  <a:gd name="T58" fmla="*/ 154 w 580"/>
                  <a:gd name="T59" fmla="*/ 4 h 458"/>
                  <a:gd name="T60" fmla="*/ 0 w 580"/>
                  <a:gd name="T61" fmla="*/ 152 h 458"/>
                  <a:gd name="T62" fmla="*/ 0 w 580"/>
                  <a:gd name="T63" fmla="*/ 439 h 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80" h="458">
                    <a:moveTo>
                      <a:pt x="411" y="213"/>
                    </a:moveTo>
                    <a:cubicBezTo>
                      <a:pt x="570" y="37"/>
                      <a:pt x="570" y="37"/>
                      <a:pt x="570" y="37"/>
                    </a:cubicBezTo>
                    <a:cubicBezTo>
                      <a:pt x="576" y="30"/>
                      <a:pt x="580" y="25"/>
                      <a:pt x="580" y="20"/>
                    </a:cubicBezTo>
                    <a:cubicBezTo>
                      <a:pt x="580" y="10"/>
                      <a:pt x="559" y="0"/>
                      <a:pt x="545" y="0"/>
                    </a:cubicBezTo>
                    <a:cubicBezTo>
                      <a:pt x="535" y="0"/>
                      <a:pt x="526" y="8"/>
                      <a:pt x="519" y="16"/>
                    </a:cubicBezTo>
                    <a:cubicBezTo>
                      <a:pt x="344" y="210"/>
                      <a:pt x="344" y="210"/>
                      <a:pt x="344" y="210"/>
                    </a:cubicBezTo>
                    <a:cubicBezTo>
                      <a:pt x="336" y="219"/>
                      <a:pt x="334" y="224"/>
                      <a:pt x="334" y="229"/>
                    </a:cubicBezTo>
                    <a:cubicBezTo>
                      <a:pt x="334" y="234"/>
                      <a:pt x="336" y="239"/>
                      <a:pt x="344" y="248"/>
                    </a:cubicBezTo>
                    <a:cubicBezTo>
                      <a:pt x="519" y="442"/>
                      <a:pt x="519" y="442"/>
                      <a:pt x="519" y="442"/>
                    </a:cubicBezTo>
                    <a:cubicBezTo>
                      <a:pt x="526" y="450"/>
                      <a:pt x="535" y="458"/>
                      <a:pt x="545" y="458"/>
                    </a:cubicBezTo>
                    <a:cubicBezTo>
                      <a:pt x="559" y="458"/>
                      <a:pt x="580" y="448"/>
                      <a:pt x="580" y="438"/>
                    </a:cubicBezTo>
                    <a:cubicBezTo>
                      <a:pt x="580" y="433"/>
                      <a:pt x="576" y="428"/>
                      <a:pt x="570" y="421"/>
                    </a:cubicBezTo>
                    <a:cubicBezTo>
                      <a:pt x="411" y="245"/>
                      <a:pt x="411" y="245"/>
                      <a:pt x="411" y="245"/>
                    </a:cubicBezTo>
                    <a:cubicBezTo>
                      <a:pt x="403" y="236"/>
                      <a:pt x="399" y="232"/>
                      <a:pt x="399" y="229"/>
                    </a:cubicBezTo>
                    <a:cubicBezTo>
                      <a:pt x="399" y="226"/>
                      <a:pt x="403" y="222"/>
                      <a:pt x="411" y="213"/>
                    </a:cubicBezTo>
                    <a:moveTo>
                      <a:pt x="252" y="439"/>
                    </a:moveTo>
                    <a:cubicBezTo>
                      <a:pt x="252" y="449"/>
                      <a:pt x="261" y="454"/>
                      <a:pt x="281" y="454"/>
                    </a:cubicBezTo>
                    <a:cubicBezTo>
                      <a:pt x="300" y="454"/>
                      <a:pt x="309" y="449"/>
                      <a:pt x="309" y="439"/>
                    </a:cubicBezTo>
                    <a:cubicBezTo>
                      <a:pt x="309" y="19"/>
                      <a:pt x="309" y="19"/>
                      <a:pt x="309" y="19"/>
                    </a:cubicBezTo>
                    <a:cubicBezTo>
                      <a:pt x="309" y="9"/>
                      <a:pt x="300" y="4"/>
                      <a:pt x="281" y="4"/>
                    </a:cubicBezTo>
                    <a:cubicBezTo>
                      <a:pt x="261" y="4"/>
                      <a:pt x="252" y="9"/>
                      <a:pt x="252" y="19"/>
                    </a:cubicBezTo>
                    <a:lnTo>
                      <a:pt x="252" y="439"/>
                    </a:lnTo>
                    <a:close/>
                    <a:moveTo>
                      <a:pt x="0" y="439"/>
                    </a:moveTo>
                    <a:cubicBezTo>
                      <a:pt x="0" y="449"/>
                      <a:pt x="8" y="454"/>
                      <a:pt x="28" y="454"/>
                    </a:cubicBezTo>
                    <a:cubicBezTo>
                      <a:pt x="48" y="454"/>
                      <a:pt x="56" y="449"/>
                      <a:pt x="56" y="439"/>
                    </a:cubicBezTo>
                    <a:cubicBezTo>
                      <a:pt x="56" y="157"/>
                      <a:pt x="56" y="157"/>
                      <a:pt x="56" y="157"/>
                    </a:cubicBezTo>
                    <a:cubicBezTo>
                      <a:pt x="56" y="83"/>
                      <a:pt x="85" y="53"/>
                      <a:pt x="165" y="53"/>
                    </a:cubicBezTo>
                    <a:cubicBezTo>
                      <a:pt x="180" y="53"/>
                      <a:pt x="180" y="53"/>
                      <a:pt x="180" y="53"/>
                    </a:cubicBezTo>
                    <a:cubicBezTo>
                      <a:pt x="192" y="53"/>
                      <a:pt x="196" y="43"/>
                      <a:pt x="196" y="27"/>
                    </a:cubicBezTo>
                    <a:cubicBezTo>
                      <a:pt x="196" y="8"/>
                      <a:pt x="185" y="4"/>
                      <a:pt x="154" y="4"/>
                    </a:cubicBezTo>
                    <a:cubicBezTo>
                      <a:pt x="64" y="4"/>
                      <a:pt x="0" y="43"/>
                      <a:pt x="0" y="152"/>
                    </a:cubicBezTo>
                    <a:lnTo>
                      <a:pt x="0" y="43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25" name="Freeform 10">
                <a:extLst>
                  <a:ext uri="{FF2B5EF4-FFF2-40B4-BE49-F238E27FC236}">
                    <a16:creationId xmlns:a16="http://schemas.microsoft.com/office/drawing/2014/main" id="{2B91B16B-BC11-E547-8FAC-B9B8D18EA449}"/>
                  </a:ext>
                </a:extLst>
              </p:cNvPr>
              <p:cNvSpPr>
                <a:spLocks/>
              </p:cNvSpPr>
              <p:nvPr/>
            </p:nvSpPr>
            <p:spPr bwMode="gray">
              <a:xfrm>
                <a:off x="2880" y="1704"/>
                <a:ext cx="618" cy="916"/>
              </a:xfrm>
              <a:custGeom>
                <a:avLst/>
                <a:gdLst>
                  <a:gd name="T0" fmla="*/ 307 w 307"/>
                  <a:gd name="T1" fmla="*/ 405 h 455"/>
                  <a:gd name="T2" fmla="*/ 307 w 307"/>
                  <a:gd name="T3" fmla="*/ 244 h 455"/>
                  <a:gd name="T4" fmla="*/ 279 w 307"/>
                  <a:gd name="T5" fmla="*/ 229 h 455"/>
                  <a:gd name="T6" fmla="*/ 250 w 307"/>
                  <a:gd name="T7" fmla="*/ 244 h 455"/>
                  <a:gd name="T8" fmla="*/ 250 w 307"/>
                  <a:gd name="T9" fmla="*/ 378 h 455"/>
                  <a:gd name="T10" fmla="*/ 199 w 307"/>
                  <a:gd name="T11" fmla="*/ 408 h 455"/>
                  <a:gd name="T12" fmla="*/ 61 w 307"/>
                  <a:gd name="T13" fmla="*/ 231 h 455"/>
                  <a:gd name="T14" fmla="*/ 238 w 307"/>
                  <a:gd name="T15" fmla="*/ 49 h 455"/>
                  <a:gd name="T16" fmla="*/ 270 w 307"/>
                  <a:gd name="T17" fmla="*/ 49 h 455"/>
                  <a:gd name="T18" fmla="*/ 286 w 307"/>
                  <a:gd name="T19" fmla="*/ 23 h 455"/>
                  <a:gd name="T20" fmla="*/ 244 w 307"/>
                  <a:gd name="T21" fmla="*/ 0 h 455"/>
                  <a:gd name="T22" fmla="*/ 231 w 307"/>
                  <a:gd name="T23" fmla="*/ 0 h 455"/>
                  <a:gd name="T24" fmla="*/ 0 w 307"/>
                  <a:gd name="T25" fmla="*/ 232 h 455"/>
                  <a:gd name="T26" fmla="*/ 198 w 307"/>
                  <a:gd name="T27" fmla="*/ 455 h 455"/>
                  <a:gd name="T28" fmla="*/ 307 w 307"/>
                  <a:gd name="T29" fmla="*/ 405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7" h="455">
                    <a:moveTo>
                      <a:pt x="307" y="405"/>
                    </a:moveTo>
                    <a:cubicBezTo>
                      <a:pt x="307" y="244"/>
                      <a:pt x="307" y="244"/>
                      <a:pt x="307" y="244"/>
                    </a:cubicBezTo>
                    <a:cubicBezTo>
                      <a:pt x="307" y="234"/>
                      <a:pt x="298" y="229"/>
                      <a:pt x="279" y="229"/>
                    </a:cubicBezTo>
                    <a:cubicBezTo>
                      <a:pt x="259" y="229"/>
                      <a:pt x="250" y="234"/>
                      <a:pt x="250" y="244"/>
                    </a:cubicBezTo>
                    <a:cubicBezTo>
                      <a:pt x="250" y="378"/>
                      <a:pt x="250" y="378"/>
                      <a:pt x="250" y="378"/>
                    </a:cubicBezTo>
                    <a:cubicBezTo>
                      <a:pt x="250" y="399"/>
                      <a:pt x="241" y="408"/>
                      <a:pt x="199" y="408"/>
                    </a:cubicBezTo>
                    <a:cubicBezTo>
                      <a:pt x="114" y="408"/>
                      <a:pt x="61" y="342"/>
                      <a:pt x="61" y="231"/>
                    </a:cubicBezTo>
                    <a:cubicBezTo>
                      <a:pt x="61" y="115"/>
                      <a:pt x="126" y="49"/>
                      <a:pt x="238" y="49"/>
                    </a:cubicBezTo>
                    <a:cubicBezTo>
                      <a:pt x="270" y="49"/>
                      <a:pt x="270" y="49"/>
                      <a:pt x="270" y="49"/>
                    </a:cubicBezTo>
                    <a:cubicBezTo>
                      <a:pt x="282" y="49"/>
                      <a:pt x="286" y="39"/>
                      <a:pt x="286" y="23"/>
                    </a:cubicBezTo>
                    <a:cubicBezTo>
                      <a:pt x="286" y="4"/>
                      <a:pt x="275" y="0"/>
                      <a:pt x="244" y="0"/>
                    </a:cubicBezTo>
                    <a:cubicBezTo>
                      <a:pt x="231" y="0"/>
                      <a:pt x="231" y="0"/>
                      <a:pt x="231" y="0"/>
                    </a:cubicBezTo>
                    <a:cubicBezTo>
                      <a:pt x="101" y="0"/>
                      <a:pt x="0" y="71"/>
                      <a:pt x="0" y="232"/>
                    </a:cubicBezTo>
                    <a:cubicBezTo>
                      <a:pt x="0" y="386"/>
                      <a:pt x="88" y="455"/>
                      <a:pt x="198" y="455"/>
                    </a:cubicBezTo>
                    <a:cubicBezTo>
                      <a:pt x="286" y="455"/>
                      <a:pt x="307" y="430"/>
                      <a:pt x="307" y="40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26" name="Oval 11">
                <a:extLst>
                  <a:ext uri="{FF2B5EF4-FFF2-40B4-BE49-F238E27FC236}">
                    <a16:creationId xmlns:a16="http://schemas.microsoft.com/office/drawing/2014/main" id="{14F8C3C8-4888-7646-B9B4-64EB46A1DA23}"/>
                  </a:ext>
                </a:extLst>
              </p:cNvPr>
              <p:cNvSpPr>
                <a:spLocks noChangeArrowheads="1"/>
              </p:cNvSpPr>
              <p:nvPr/>
            </p:nvSpPr>
            <p:spPr bwMode="gray">
              <a:xfrm>
                <a:off x="3778" y="2099"/>
                <a:ext cx="122" cy="12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27" name="Freeform 12">
                <a:extLst>
                  <a:ext uri="{FF2B5EF4-FFF2-40B4-BE49-F238E27FC236}">
                    <a16:creationId xmlns:a16="http://schemas.microsoft.com/office/drawing/2014/main" id="{D79D01D1-4E3E-F34B-97D7-2D387E68746E}"/>
                  </a:ext>
                </a:extLst>
              </p:cNvPr>
              <p:cNvSpPr>
                <a:spLocks/>
              </p:cNvSpPr>
              <p:nvPr/>
            </p:nvSpPr>
            <p:spPr bwMode="gray">
              <a:xfrm>
                <a:off x="4321" y="1029"/>
                <a:ext cx="648" cy="649"/>
              </a:xfrm>
              <a:custGeom>
                <a:avLst/>
                <a:gdLst>
                  <a:gd name="T0" fmla="*/ 0 w 648"/>
                  <a:gd name="T1" fmla="*/ 649 h 649"/>
                  <a:gd name="T2" fmla="*/ 2 w 648"/>
                  <a:gd name="T3" fmla="*/ 649 h 649"/>
                  <a:gd name="T4" fmla="*/ 648 w 648"/>
                  <a:gd name="T5" fmla="*/ 0 h 649"/>
                  <a:gd name="T6" fmla="*/ 423 w 648"/>
                  <a:gd name="T7" fmla="*/ 0 h 649"/>
                  <a:gd name="T8" fmla="*/ 0 w 648"/>
                  <a:gd name="T9" fmla="*/ 649 h 649"/>
                </a:gdLst>
                <a:ahLst/>
                <a:cxnLst>
                  <a:cxn ang="0">
                    <a:pos x="T0" y="T1"/>
                  </a:cxn>
                  <a:cxn ang="0">
                    <a:pos x="T2" y="T3"/>
                  </a:cxn>
                  <a:cxn ang="0">
                    <a:pos x="T4" y="T5"/>
                  </a:cxn>
                  <a:cxn ang="0">
                    <a:pos x="T6" y="T7"/>
                  </a:cxn>
                  <a:cxn ang="0">
                    <a:pos x="T8" y="T9"/>
                  </a:cxn>
                </a:cxnLst>
                <a:rect l="0" t="0" r="r" b="b"/>
                <a:pathLst>
                  <a:path w="648" h="649">
                    <a:moveTo>
                      <a:pt x="0" y="649"/>
                    </a:moveTo>
                    <a:lnTo>
                      <a:pt x="2" y="649"/>
                    </a:lnTo>
                    <a:lnTo>
                      <a:pt x="648" y="0"/>
                    </a:lnTo>
                    <a:lnTo>
                      <a:pt x="423" y="0"/>
                    </a:lnTo>
                    <a:lnTo>
                      <a:pt x="0" y="64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28" name="Freeform 13">
                <a:extLst>
                  <a:ext uri="{FF2B5EF4-FFF2-40B4-BE49-F238E27FC236}">
                    <a16:creationId xmlns:a16="http://schemas.microsoft.com/office/drawing/2014/main" id="{46549898-6C52-B147-A8F6-A73FDBE6163B}"/>
                  </a:ext>
                </a:extLst>
              </p:cNvPr>
              <p:cNvSpPr>
                <a:spLocks/>
              </p:cNvSpPr>
              <p:nvPr/>
            </p:nvSpPr>
            <p:spPr bwMode="gray">
              <a:xfrm>
                <a:off x="4321" y="1029"/>
                <a:ext cx="648" cy="649"/>
              </a:xfrm>
              <a:custGeom>
                <a:avLst/>
                <a:gdLst>
                  <a:gd name="T0" fmla="*/ 0 w 648"/>
                  <a:gd name="T1" fmla="*/ 649 h 649"/>
                  <a:gd name="T2" fmla="*/ 2 w 648"/>
                  <a:gd name="T3" fmla="*/ 649 h 649"/>
                  <a:gd name="T4" fmla="*/ 648 w 648"/>
                  <a:gd name="T5" fmla="*/ 0 h 649"/>
                  <a:gd name="T6" fmla="*/ 423 w 648"/>
                  <a:gd name="T7" fmla="*/ 0 h 649"/>
                  <a:gd name="T8" fmla="*/ 0 w 648"/>
                  <a:gd name="T9" fmla="*/ 649 h 649"/>
                </a:gdLst>
                <a:ahLst/>
                <a:cxnLst>
                  <a:cxn ang="0">
                    <a:pos x="T0" y="T1"/>
                  </a:cxn>
                  <a:cxn ang="0">
                    <a:pos x="T2" y="T3"/>
                  </a:cxn>
                  <a:cxn ang="0">
                    <a:pos x="T4" y="T5"/>
                  </a:cxn>
                  <a:cxn ang="0">
                    <a:pos x="T6" y="T7"/>
                  </a:cxn>
                  <a:cxn ang="0">
                    <a:pos x="T8" y="T9"/>
                  </a:cxn>
                </a:cxnLst>
                <a:rect l="0" t="0" r="r" b="b"/>
                <a:pathLst>
                  <a:path w="648" h="649">
                    <a:moveTo>
                      <a:pt x="0" y="649"/>
                    </a:moveTo>
                    <a:lnTo>
                      <a:pt x="2" y="649"/>
                    </a:lnTo>
                    <a:lnTo>
                      <a:pt x="648" y="0"/>
                    </a:lnTo>
                    <a:lnTo>
                      <a:pt x="423" y="0"/>
                    </a:lnTo>
                    <a:lnTo>
                      <a:pt x="0" y="64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grpSp>
      </p:grpSp>
      <p:sp>
        <p:nvSpPr>
          <p:cNvPr id="7" name="Date Placeholder 6"/>
          <p:cNvSpPr>
            <a:spLocks noGrp="1"/>
          </p:cNvSpPr>
          <p:nvPr>
            <p:ph type="dt" sz="half" idx="10"/>
          </p:nvPr>
        </p:nvSpPr>
        <p:spPr>
          <a:xfrm>
            <a:off x="0" y="0"/>
            <a:ext cx="0" cy="0"/>
          </a:xfrm>
          <a:prstGeom prst="rect">
            <a:avLst/>
          </a:prstGeom>
        </p:spPr>
        <p:txBody>
          <a:bodyPr/>
          <a:lstStyle>
            <a:lvl1pPr>
              <a:defRPr sz="100">
                <a:noFill/>
              </a:defRPr>
            </a:lvl1pPr>
          </a:lstStyle>
          <a:p>
            <a:endParaRPr lang="en-US"/>
          </a:p>
        </p:txBody>
      </p:sp>
      <p:sp>
        <p:nvSpPr>
          <p:cNvPr id="8" name="Footer Placeholder 7"/>
          <p:cNvSpPr>
            <a:spLocks noGrp="1"/>
          </p:cNvSpPr>
          <p:nvPr>
            <p:ph type="ftr" sz="quarter" idx="11"/>
          </p:nvPr>
        </p:nvSpPr>
        <p:spPr>
          <a:xfrm>
            <a:off x="0" y="0"/>
            <a:ext cx="0" cy="0"/>
          </a:xfrm>
          <a:prstGeom prst="rect">
            <a:avLst/>
          </a:prstGeom>
        </p:spPr>
        <p:txBody>
          <a:bodyPr/>
          <a:lstStyle>
            <a:lvl1pPr marL="0" indent="0">
              <a:buNone/>
              <a:defRPr sz="100">
                <a:noFill/>
              </a:defRPr>
            </a:lvl1pPr>
          </a:lstStyle>
          <a:p>
            <a:endParaRPr lang="en-US"/>
          </a:p>
        </p:txBody>
      </p:sp>
      <p:sp>
        <p:nvSpPr>
          <p:cNvPr id="9" name="Slide Number Placeholder 8"/>
          <p:cNvSpPr>
            <a:spLocks noGrp="1"/>
          </p:cNvSpPr>
          <p:nvPr>
            <p:ph type="sldNum" sz="quarter" idx="12"/>
          </p:nvPr>
        </p:nvSpPr>
        <p:spPr>
          <a:xfrm>
            <a:off x="0" y="0"/>
            <a:ext cx="0" cy="0"/>
          </a:xfrm>
          <a:prstGeom prst="rect">
            <a:avLst/>
          </a:prstGeom>
        </p:spPr>
        <p:txBody>
          <a:bodyPr/>
          <a:lstStyle>
            <a:lvl1pPr>
              <a:defRPr sz="100">
                <a:noFill/>
              </a:defRPr>
            </a:lvl1pPr>
          </a:lstStyle>
          <a:p>
            <a:fld id="{8E3B25F7-8D1F-44B5-B485-EE3C438CFD7B}" type="slidenum">
              <a:rPr lang="en-US" smtClean="0"/>
              <a:pPr/>
              <a:t>‹#›</a:t>
            </a:fld>
            <a:endParaRPr lang="en-US"/>
          </a:p>
        </p:txBody>
      </p:sp>
      <p:sp>
        <p:nvSpPr>
          <p:cNvPr id="2" name="Title 1"/>
          <p:cNvSpPr>
            <a:spLocks noGrp="1"/>
          </p:cNvSpPr>
          <p:nvPr>
            <p:ph type="ctrTitle" hasCustomPrompt="1"/>
          </p:nvPr>
        </p:nvSpPr>
        <p:spPr>
          <a:xfrm>
            <a:off x="417600" y="1628775"/>
            <a:ext cx="3816000" cy="2236264"/>
          </a:xfrm>
        </p:spPr>
        <p:txBody>
          <a:bodyPr anchor="b"/>
          <a:lstStyle>
            <a:lvl1pPr algn="l">
              <a:defRPr sz="3600" baseline="0"/>
            </a:lvl1pPr>
          </a:lstStyle>
          <a:p>
            <a:r>
              <a:rPr lang="en-US"/>
              <a:t>Click to add presentation title</a:t>
            </a:r>
          </a:p>
        </p:txBody>
      </p:sp>
      <p:sp>
        <p:nvSpPr>
          <p:cNvPr id="3" name="Subtitle 2"/>
          <p:cNvSpPr>
            <a:spLocks noGrp="1"/>
          </p:cNvSpPr>
          <p:nvPr>
            <p:ph type="subTitle" idx="1" hasCustomPrompt="1"/>
          </p:nvPr>
        </p:nvSpPr>
        <p:spPr>
          <a:xfrm>
            <a:off x="417600" y="4094163"/>
            <a:ext cx="3816000" cy="1080000"/>
          </a:xfrm>
        </p:spPr>
        <p:txBody>
          <a:bodyPr/>
          <a:lstStyle>
            <a:lvl1pPr marL="0" indent="0" algn="l">
              <a:spcBef>
                <a:spcPts val="0"/>
              </a:spcBef>
              <a:buNone/>
              <a:defRPr sz="1800" b="1"/>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sp>
        <p:nvSpPr>
          <p:cNvPr id="31" name="Text Placeholder 30"/>
          <p:cNvSpPr>
            <a:spLocks noGrp="1"/>
          </p:cNvSpPr>
          <p:nvPr>
            <p:ph type="body" sz="quarter" idx="14" hasCustomPrompt="1"/>
          </p:nvPr>
        </p:nvSpPr>
        <p:spPr>
          <a:xfrm>
            <a:off x="417600" y="5393268"/>
            <a:ext cx="3816000" cy="296332"/>
          </a:xfrm>
        </p:spPr>
        <p:txBody>
          <a:bodyPr wrap="none"/>
          <a:lstStyle>
            <a:lvl1pPr marL="0" indent="0">
              <a:spcBef>
                <a:spcPts val="0"/>
              </a:spcBef>
              <a:buNone/>
              <a:defRPr sz="1200"/>
            </a:lvl1pPr>
            <a:lvl2pPr marL="0" indent="0">
              <a:buNone/>
              <a:defRPr sz="1200"/>
            </a:lvl2pPr>
            <a:lvl3pPr marL="0" indent="0">
              <a:buNone/>
              <a:defRPr sz="1200"/>
            </a:lvl3pPr>
            <a:lvl4pPr marL="0">
              <a:buNone/>
              <a:defRPr sz="1200"/>
            </a:lvl4pPr>
            <a:lvl5pPr marL="0" indent="0">
              <a:buNone/>
              <a:defRPr sz="1200"/>
            </a:lvl5pPr>
          </a:lstStyle>
          <a:p>
            <a:pPr lvl="0"/>
            <a:r>
              <a:rPr lang="en-US"/>
              <a:t>Name</a:t>
            </a:r>
          </a:p>
        </p:txBody>
      </p:sp>
      <p:sp>
        <p:nvSpPr>
          <p:cNvPr id="34" name="Text Placeholder 30"/>
          <p:cNvSpPr>
            <a:spLocks noGrp="1"/>
          </p:cNvSpPr>
          <p:nvPr>
            <p:ph type="body" sz="quarter" idx="15" hasCustomPrompt="1"/>
          </p:nvPr>
        </p:nvSpPr>
        <p:spPr>
          <a:xfrm>
            <a:off x="417600" y="5691446"/>
            <a:ext cx="3816000" cy="296332"/>
          </a:xfrm>
        </p:spPr>
        <p:txBody>
          <a:bodyPr wrap="none"/>
          <a:lstStyle>
            <a:lvl1pPr marL="0" indent="0">
              <a:spcBef>
                <a:spcPts val="0"/>
              </a:spcBef>
              <a:buNone/>
              <a:defRPr sz="1200"/>
            </a:lvl1pPr>
            <a:lvl2pPr marL="0" indent="0">
              <a:buNone/>
              <a:defRPr sz="1200"/>
            </a:lvl2pPr>
            <a:lvl3pPr marL="0" indent="0">
              <a:buNone/>
              <a:defRPr sz="1200"/>
            </a:lvl3pPr>
            <a:lvl4pPr marL="0">
              <a:buNone/>
              <a:defRPr sz="1200"/>
            </a:lvl4pPr>
            <a:lvl5pPr marL="0" indent="0">
              <a:buNone/>
              <a:defRPr sz="1200"/>
            </a:lvl5pPr>
          </a:lstStyle>
          <a:p>
            <a:pPr lvl="0"/>
            <a:r>
              <a:rPr lang="en-US"/>
              <a:t>Department</a:t>
            </a:r>
          </a:p>
        </p:txBody>
      </p:sp>
    </p:spTree>
    <p:extLst>
      <p:ext uri="{BB962C8B-B14F-4D97-AF65-F5344CB8AC3E}">
        <p14:creationId xmlns:p14="http://schemas.microsoft.com/office/powerpoint/2010/main" val="2442817528"/>
      </p:ext>
    </p:extLst>
  </p:cSld>
  <p:clrMapOvr>
    <a:masterClrMapping/>
  </p:clrMapOvr>
</p:sldLayout>
</file>

<file path=ppt/slideLayouts/slideLayout333.xml><?xml version="1.0" encoding="utf-8"?>
<p:sldLayout xmlns:a="http://schemas.openxmlformats.org/drawingml/2006/main" xmlns:r="http://schemas.openxmlformats.org/officeDocument/2006/relationships" xmlns:p="http://schemas.openxmlformats.org/presentationml/2006/main" showMasterSp="0" preserve="1">
  <p:cSld name="Title 2">
    <p:spTree>
      <p:nvGrpSpPr>
        <p:cNvPr id="1" name=""/>
        <p:cNvGrpSpPr/>
        <p:nvPr/>
      </p:nvGrpSpPr>
      <p:grpSpPr>
        <a:xfrm>
          <a:off x="0" y="0"/>
          <a:ext cx="0" cy="0"/>
          <a:chOff x="0" y="0"/>
          <a:chExt cx="0" cy="0"/>
        </a:xfrm>
      </p:grpSpPr>
      <p:pic>
        <p:nvPicPr>
          <p:cNvPr id="29" name="picture">
            <a:extLst>
              <a:ext uri="{FF2B5EF4-FFF2-40B4-BE49-F238E27FC236}">
                <a16:creationId xmlns:a16="http://schemas.microsoft.com/office/drawing/2014/main" id="{8BF907F5-A9CD-2740-AF54-6BACB62334AE}"/>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2620212" y="-8808"/>
            <a:ext cx="9697299" cy="6866807"/>
          </a:xfrm>
          <a:prstGeom prst="rect">
            <a:avLst/>
          </a:prstGeom>
        </p:spPr>
      </p:pic>
      <p:sp>
        <p:nvSpPr>
          <p:cNvPr id="32" name="shpPicture"/>
          <p:cNvSpPr/>
          <p:nvPr/>
        </p:nvSpPr>
        <p:spPr>
          <a:xfrm>
            <a:off x="1" y="0"/>
            <a:ext cx="4112145" cy="6858000"/>
          </a:xfrm>
          <a:custGeom>
            <a:avLst/>
            <a:gdLst>
              <a:gd name="connsiteX0" fmla="*/ 0 w 4112145"/>
              <a:gd name="connsiteY0" fmla="*/ 0 h 6858000"/>
              <a:gd name="connsiteX1" fmla="*/ 2588964 w 4112145"/>
              <a:gd name="connsiteY1" fmla="*/ 0 h 6858000"/>
              <a:gd name="connsiteX2" fmla="*/ 4112145 w 4112145"/>
              <a:gd name="connsiteY2" fmla="*/ 3083531 h 6858000"/>
              <a:gd name="connsiteX3" fmla="*/ 2697661 w 4112145"/>
              <a:gd name="connsiteY3" fmla="*/ 6858000 h 6858000"/>
              <a:gd name="connsiteX4" fmla="*/ 0 w 4112145"/>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12145" h="6858000">
                <a:moveTo>
                  <a:pt x="0" y="0"/>
                </a:moveTo>
                <a:lnTo>
                  <a:pt x="2588964" y="0"/>
                </a:lnTo>
                <a:lnTo>
                  <a:pt x="4112145" y="3083531"/>
                </a:lnTo>
                <a:lnTo>
                  <a:pt x="2697661"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US" sz="1600"/>
          </a:p>
        </p:txBody>
      </p:sp>
      <p:grpSp>
        <p:nvGrpSpPr>
          <p:cNvPr id="14" name="logo">
            <a:extLst>
              <a:ext uri="{FF2B5EF4-FFF2-40B4-BE49-F238E27FC236}">
                <a16:creationId xmlns:a16="http://schemas.microsoft.com/office/drawing/2014/main" id="{18C26D95-70F8-8A4D-9F18-DCCB92522AF8}"/>
              </a:ext>
            </a:extLst>
          </p:cNvPr>
          <p:cNvGrpSpPr/>
          <p:nvPr/>
        </p:nvGrpSpPr>
        <p:grpSpPr bwMode="gray">
          <a:xfrm>
            <a:off x="417363" y="407485"/>
            <a:ext cx="1518585" cy="646507"/>
            <a:chOff x="334963" y="296652"/>
            <a:chExt cx="1268411" cy="540000"/>
          </a:xfrm>
        </p:grpSpPr>
        <p:sp>
          <p:nvSpPr>
            <p:cNvPr id="17" name="Freeform 6">
              <a:extLst>
                <a:ext uri="{FF2B5EF4-FFF2-40B4-BE49-F238E27FC236}">
                  <a16:creationId xmlns:a16="http://schemas.microsoft.com/office/drawing/2014/main" id="{08737AD0-E375-E445-97E6-CD2E2DF60620}"/>
                </a:ext>
              </a:extLst>
            </p:cNvPr>
            <p:cNvSpPr>
              <a:spLocks noEditPoints="1"/>
            </p:cNvSpPr>
            <p:nvPr/>
          </p:nvSpPr>
          <p:spPr bwMode="gray">
            <a:xfrm>
              <a:off x="982662" y="360462"/>
              <a:ext cx="620712" cy="431800"/>
            </a:xfrm>
            <a:custGeom>
              <a:avLst/>
              <a:gdLst>
                <a:gd name="T0" fmla="*/ 19 w 1809"/>
                <a:gd name="T1" fmla="*/ 97 h 1253"/>
                <a:gd name="T2" fmla="*/ 165 w 1809"/>
                <a:gd name="T3" fmla="*/ 41 h 1253"/>
                <a:gd name="T4" fmla="*/ 211 w 1809"/>
                <a:gd name="T5" fmla="*/ 224 h 1253"/>
                <a:gd name="T6" fmla="*/ 248 w 1809"/>
                <a:gd name="T7" fmla="*/ 155 h 1253"/>
                <a:gd name="T8" fmla="*/ 931 w 1809"/>
                <a:gd name="T9" fmla="*/ 995 h 1253"/>
                <a:gd name="T10" fmla="*/ 858 w 1809"/>
                <a:gd name="T11" fmla="*/ 1115 h 1253"/>
                <a:gd name="T12" fmla="*/ 749 w 1809"/>
                <a:gd name="T13" fmla="*/ 1117 h 1253"/>
                <a:gd name="T14" fmla="*/ 681 w 1809"/>
                <a:gd name="T15" fmla="*/ 1055 h 1253"/>
                <a:gd name="T16" fmla="*/ 800 w 1809"/>
                <a:gd name="T17" fmla="*/ 1054 h 1253"/>
                <a:gd name="T18" fmla="*/ 884 w 1809"/>
                <a:gd name="T19" fmla="*/ 1181 h 1253"/>
                <a:gd name="T20" fmla="*/ 118 w 1809"/>
                <a:gd name="T21" fmla="*/ 1086 h 1253"/>
                <a:gd name="T22" fmla="*/ 147 w 1809"/>
                <a:gd name="T23" fmla="*/ 1026 h 1253"/>
                <a:gd name="T24" fmla="*/ 102 w 1809"/>
                <a:gd name="T25" fmla="*/ 1026 h 1253"/>
                <a:gd name="T26" fmla="*/ 639 w 1809"/>
                <a:gd name="T27" fmla="*/ 84 h 1253"/>
                <a:gd name="T28" fmla="*/ 763 w 1809"/>
                <a:gd name="T29" fmla="*/ 145 h 1253"/>
                <a:gd name="T30" fmla="*/ 863 w 1809"/>
                <a:gd name="T31" fmla="*/ 221 h 1253"/>
                <a:gd name="T32" fmla="*/ 834 w 1809"/>
                <a:gd name="T33" fmla="*/ 208 h 1253"/>
                <a:gd name="T34" fmla="*/ 719 w 1809"/>
                <a:gd name="T35" fmla="*/ 182 h 1253"/>
                <a:gd name="T36" fmla="*/ 507 w 1809"/>
                <a:gd name="T37" fmla="*/ 711 h 1253"/>
                <a:gd name="T38" fmla="*/ 614 w 1809"/>
                <a:gd name="T39" fmla="*/ 706 h 1253"/>
                <a:gd name="T40" fmla="*/ 736 w 1809"/>
                <a:gd name="T41" fmla="*/ 730 h 1253"/>
                <a:gd name="T42" fmla="*/ 607 w 1809"/>
                <a:gd name="T43" fmla="*/ 539 h 1253"/>
                <a:gd name="T44" fmla="*/ 1505 w 1809"/>
                <a:gd name="T45" fmla="*/ 1136 h 1253"/>
                <a:gd name="T46" fmla="*/ 1613 w 1809"/>
                <a:gd name="T47" fmla="*/ 1002 h 1253"/>
                <a:gd name="T48" fmla="*/ 1472 w 1809"/>
                <a:gd name="T49" fmla="*/ 1164 h 1253"/>
                <a:gd name="T50" fmla="*/ 1525 w 1809"/>
                <a:gd name="T51" fmla="*/ 1142 h 1253"/>
                <a:gd name="T52" fmla="*/ 1556 w 1809"/>
                <a:gd name="T53" fmla="*/ 1172 h 1253"/>
                <a:gd name="T54" fmla="*/ 1387 w 1809"/>
                <a:gd name="T55" fmla="*/ 910 h 1253"/>
                <a:gd name="T56" fmla="*/ 1261 w 1809"/>
                <a:gd name="T57" fmla="*/ 1157 h 1253"/>
                <a:gd name="T58" fmla="*/ 1413 w 1809"/>
                <a:gd name="T59" fmla="*/ 934 h 1253"/>
                <a:gd name="T60" fmla="*/ 1378 w 1809"/>
                <a:gd name="T61" fmla="*/ 1052 h 1253"/>
                <a:gd name="T62" fmla="*/ 488 w 1809"/>
                <a:gd name="T63" fmla="*/ 85 h 1253"/>
                <a:gd name="T64" fmla="*/ 509 w 1809"/>
                <a:gd name="T65" fmla="*/ 112 h 1253"/>
                <a:gd name="T66" fmla="*/ 548 w 1809"/>
                <a:gd name="T67" fmla="*/ 1187 h 1253"/>
                <a:gd name="T68" fmla="*/ 472 w 1809"/>
                <a:gd name="T69" fmla="*/ 1122 h 1253"/>
                <a:gd name="T70" fmla="*/ 558 w 1809"/>
                <a:gd name="T71" fmla="*/ 1157 h 1253"/>
                <a:gd name="T72" fmla="*/ 287 w 1809"/>
                <a:gd name="T73" fmla="*/ 654 h 1253"/>
                <a:gd name="T74" fmla="*/ 416 w 1809"/>
                <a:gd name="T75" fmla="*/ 684 h 1253"/>
                <a:gd name="T76" fmla="*/ 1106 w 1809"/>
                <a:gd name="T77" fmla="*/ 147 h 1253"/>
                <a:gd name="T78" fmla="*/ 1229 w 1809"/>
                <a:gd name="T79" fmla="*/ 258 h 1253"/>
                <a:gd name="T80" fmla="*/ 1106 w 1809"/>
                <a:gd name="T81" fmla="*/ 96 h 1253"/>
                <a:gd name="T82" fmla="*/ 1219 w 1809"/>
                <a:gd name="T83" fmla="*/ 1077 h 1253"/>
                <a:gd name="T84" fmla="*/ 1214 w 1809"/>
                <a:gd name="T85" fmla="*/ 1157 h 1253"/>
                <a:gd name="T86" fmla="*/ 1150 w 1809"/>
                <a:gd name="T87" fmla="*/ 1092 h 1253"/>
                <a:gd name="T88" fmla="*/ 1139 w 1809"/>
                <a:gd name="T89" fmla="*/ 1070 h 1253"/>
                <a:gd name="T90" fmla="*/ 1659 w 1809"/>
                <a:gd name="T91" fmla="*/ 1031 h 1253"/>
                <a:gd name="T92" fmla="*/ 1714 w 1809"/>
                <a:gd name="T93" fmla="*/ 1155 h 1253"/>
                <a:gd name="T94" fmla="*/ 1760 w 1809"/>
                <a:gd name="T95" fmla="*/ 1030 h 1253"/>
                <a:gd name="T96" fmla="*/ 111 w 1809"/>
                <a:gd name="T97" fmla="*/ 569 h 1253"/>
                <a:gd name="T98" fmla="*/ 109 w 1809"/>
                <a:gd name="T99" fmla="*/ 460 h 1253"/>
                <a:gd name="T100" fmla="*/ 32 w 1809"/>
                <a:gd name="T101" fmla="*/ 704 h 1253"/>
                <a:gd name="T102" fmla="*/ 310 w 1809"/>
                <a:gd name="T103" fmla="*/ 1058 h 1253"/>
                <a:gd name="T104" fmla="*/ 431 w 1809"/>
                <a:gd name="T105" fmla="*/ 1044 h 1253"/>
                <a:gd name="T106" fmla="*/ 278 w 1809"/>
                <a:gd name="T107" fmla="*/ 1165 h 1253"/>
                <a:gd name="T108" fmla="*/ 261 w 1809"/>
                <a:gd name="T109" fmla="*/ 540 h 1253"/>
                <a:gd name="T110" fmla="*/ 150 w 1809"/>
                <a:gd name="T111" fmla="*/ 635 h 1253"/>
                <a:gd name="T112" fmla="*/ 994 w 1809"/>
                <a:gd name="T113" fmla="*/ 1185 h 1253"/>
                <a:gd name="T114" fmla="*/ 331 w 1809"/>
                <a:gd name="T115" fmla="*/ 176 h 1253"/>
                <a:gd name="T116" fmla="*/ 333 w 1809"/>
                <a:gd name="T117" fmla="*/ 109 h 1253"/>
                <a:gd name="T118" fmla="*/ 946 w 1809"/>
                <a:gd name="T119" fmla="*/ 234 h 1253"/>
                <a:gd name="T120" fmla="*/ 1022 w 1809"/>
                <a:gd name="T121" fmla="*/ 113 h 1253"/>
                <a:gd name="T122" fmla="*/ 949 w 1809"/>
                <a:gd name="T123" fmla="*/ 65 h 1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09" h="1253">
                  <a:moveTo>
                    <a:pt x="248" y="198"/>
                  </a:moveTo>
                  <a:cubicBezTo>
                    <a:pt x="248" y="211"/>
                    <a:pt x="248" y="224"/>
                    <a:pt x="249" y="237"/>
                  </a:cubicBezTo>
                  <a:cubicBezTo>
                    <a:pt x="249" y="245"/>
                    <a:pt x="246" y="249"/>
                    <a:pt x="240" y="253"/>
                  </a:cubicBezTo>
                  <a:cubicBezTo>
                    <a:pt x="231" y="260"/>
                    <a:pt x="220" y="264"/>
                    <a:pt x="209" y="268"/>
                  </a:cubicBezTo>
                  <a:cubicBezTo>
                    <a:pt x="179" y="279"/>
                    <a:pt x="148" y="280"/>
                    <a:pt x="118" y="275"/>
                  </a:cubicBezTo>
                  <a:cubicBezTo>
                    <a:pt x="86" y="269"/>
                    <a:pt x="58" y="252"/>
                    <a:pt x="39" y="224"/>
                  </a:cubicBezTo>
                  <a:cubicBezTo>
                    <a:pt x="24" y="203"/>
                    <a:pt x="18" y="180"/>
                    <a:pt x="15" y="155"/>
                  </a:cubicBezTo>
                  <a:cubicBezTo>
                    <a:pt x="11" y="135"/>
                    <a:pt x="15" y="115"/>
                    <a:pt x="19" y="97"/>
                  </a:cubicBezTo>
                  <a:cubicBezTo>
                    <a:pt x="26" y="68"/>
                    <a:pt x="42" y="44"/>
                    <a:pt x="68" y="27"/>
                  </a:cubicBezTo>
                  <a:cubicBezTo>
                    <a:pt x="87" y="14"/>
                    <a:pt x="109" y="6"/>
                    <a:pt x="133" y="5"/>
                  </a:cubicBezTo>
                  <a:cubicBezTo>
                    <a:pt x="149" y="4"/>
                    <a:pt x="165" y="5"/>
                    <a:pt x="181" y="6"/>
                  </a:cubicBezTo>
                  <a:cubicBezTo>
                    <a:pt x="204" y="8"/>
                    <a:pt x="225" y="20"/>
                    <a:pt x="243" y="35"/>
                  </a:cubicBezTo>
                  <a:cubicBezTo>
                    <a:pt x="246" y="37"/>
                    <a:pt x="246" y="40"/>
                    <a:pt x="244" y="43"/>
                  </a:cubicBezTo>
                  <a:cubicBezTo>
                    <a:pt x="242" y="47"/>
                    <a:pt x="239" y="52"/>
                    <a:pt x="236" y="55"/>
                  </a:cubicBezTo>
                  <a:cubicBezTo>
                    <a:pt x="226" y="65"/>
                    <a:pt x="224" y="65"/>
                    <a:pt x="206" y="54"/>
                  </a:cubicBezTo>
                  <a:cubicBezTo>
                    <a:pt x="193" y="46"/>
                    <a:pt x="180" y="40"/>
                    <a:pt x="165" y="41"/>
                  </a:cubicBezTo>
                  <a:cubicBezTo>
                    <a:pt x="151" y="41"/>
                    <a:pt x="137" y="39"/>
                    <a:pt x="124" y="42"/>
                  </a:cubicBezTo>
                  <a:cubicBezTo>
                    <a:pt x="104" y="46"/>
                    <a:pt x="87" y="57"/>
                    <a:pt x="75" y="74"/>
                  </a:cubicBezTo>
                  <a:cubicBezTo>
                    <a:pt x="56" y="99"/>
                    <a:pt x="51" y="129"/>
                    <a:pt x="55" y="159"/>
                  </a:cubicBezTo>
                  <a:cubicBezTo>
                    <a:pt x="60" y="189"/>
                    <a:pt x="73" y="214"/>
                    <a:pt x="98" y="230"/>
                  </a:cubicBezTo>
                  <a:cubicBezTo>
                    <a:pt x="109" y="237"/>
                    <a:pt x="121" y="242"/>
                    <a:pt x="135" y="241"/>
                  </a:cubicBezTo>
                  <a:cubicBezTo>
                    <a:pt x="146" y="241"/>
                    <a:pt x="158" y="241"/>
                    <a:pt x="169" y="241"/>
                  </a:cubicBezTo>
                  <a:cubicBezTo>
                    <a:pt x="182" y="242"/>
                    <a:pt x="193" y="235"/>
                    <a:pt x="205" y="232"/>
                  </a:cubicBezTo>
                  <a:cubicBezTo>
                    <a:pt x="210" y="231"/>
                    <a:pt x="211" y="227"/>
                    <a:pt x="211" y="224"/>
                  </a:cubicBezTo>
                  <a:cubicBezTo>
                    <a:pt x="211" y="210"/>
                    <a:pt x="211" y="196"/>
                    <a:pt x="211" y="183"/>
                  </a:cubicBezTo>
                  <a:cubicBezTo>
                    <a:pt x="211" y="177"/>
                    <a:pt x="207" y="175"/>
                    <a:pt x="202" y="175"/>
                  </a:cubicBezTo>
                  <a:cubicBezTo>
                    <a:pt x="193" y="175"/>
                    <a:pt x="184" y="175"/>
                    <a:pt x="175" y="175"/>
                  </a:cubicBezTo>
                  <a:cubicBezTo>
                    <a:pt x="171" y="175"/>
                    <a:pt x="168" y="174"/>
                    <a:pt x="166" y="171"/>
                  </a:cubicBezTo>
                  <a:cubicBezTo>
                    <a:pt x="163" y="163"/>
                    <a:pt x="164" y="154"/>
                    <a:pt x="166" y="146"/>
                  </a:cubicBezTo>
                  <a:cubicBezTo>
                    <a:pt x="167" y="142"/>
                    <a:pt x="171" y="142"/>
                    <a:pt x="175" y="142"/>
                  </a:cubicBezTo>
                  <a:cubicBezTo>
                    <a:pt x="196" y="142"/>
                    <a:pt x="217" y="142"/>
                    <a:pt x="238" y="142"/>
                  </a:cubicBezTo>
                  <a:cubicBezTo>
                    <a:pt x="247" y="142"/>
                    <a:pt x="248" y="148"/>
                    <a:pt x="248" y="155"/>
                  </a:cubicBezTo>
                  <a:cubicBezTo>
                    <a:pt x="249" y="169"/>
                    <a:pt x="248" y="183"/>
                    <a:pt x="248" y="198"/>
                  </a:cubicBezTo>
                  <a:close/>
                  <a:moveTo>
                    <a:pt x="884" y="1181"/>
                  </a:moveTo>
                  <a:cubicBezTo>
                    <a:pt x="889" y="1167"/>
                    <a:pt x="894" y="1152"/>
                    <a:pt x="898" y="1137"/>
                  </a:cubicBezTo>
                  <a:cubicBezTo>
                    <a:pt x="901" y="1127"/>
                    <a:pt x="905" y="1116"/>
                    <a:pt x="908" y="1106"/>
                  </a:cubicBezTo>
                  <a:cubicBezTo>
                    <a:pt x="911" y="1098"/>
                    <a:pt x="912" y="1089"/>
                    <a:pt x="916" y="1081"/>
                  </a:cubicBezTo>
                  <a:cubicBezTo>
                    <a:pt x="921" y="1072"/>
                    <a:pt x="923" y="1060"/>
                    <a:pt x="927" y="1050"/>
                  </a:cubicBezTo>
                  <a:cubicBezTo>
                    <a:pt x="932" y="1037"/>
                    <a:pt x="934" y="1023"/>
                    <a:pt x="940" y="1010"/>
                  </a:cubicBezTo>
                  <a:cubicBezTo>
                    <a:pt x="945" y="1001"/>
                    <a:pt x="941" y="995"/>
                    <a:pt x="931" y="995"/>
                  </a:cubicBezTo>
                  <a:cubicBezTo>
                    <a:pt x="927" y="995"/>
                    <a:pt x="922" y="995"/>
                    <a:pt x="918" y="995"/>
                  </a:cubicBezTo>
                  <a:cubicBezTo>
                    <a:pt x="913" y="995"/>
                    <a:pt x="908" y="997"/>
                    <a:pt x="907" y="1001"/>
                  </a:cubicBezTo>
                  <a:cubicBezTo>
                    <a:pt x="904" y="1008"/>
                    <a:pt x="900" y="1015"/>
                    <a:pt x="899" y="1023"/>
                  </a:cubicBezTo>
                  <a:cubicBezTo>
                    <a:pt x="897" y="1034"/>
                    <a:pt x="893" y="1045"/>
                    <a:pt x="889" y="1055"/>
                  </a:cubicBezTo>
                  <a:cubicBezTo>
                    <a:pt x="887" y="1064"/>
                    <a:pt x="885" y="1072"/>
                    <a:pt x="882" y="1080"/>
                  </a:cubicBezTo>
                  <a:cubicBezTo>
                    <a:pt x="878" y="1091"/>
                    <a:pt x="874" y="1103"/>
                    <a:pt x="871" y="1115"/>
                  </a:cubicBezTo>
                  <a:cubicBezTo>
                    <a:pt x="870" y="1118"/>
                    <a:pt x="871" y="1124"/>
                    <a:pt x="866" y="1124"/>
                  </a:cubicBezTo>
                  <a:cubicBezTo>
                    <a:pt x="861" y="1125"/>
                    <a:pt x="859" y="1120"/>
                    <a:pt x="858" y="1115"/>
                  </a:cubicBezTo>
                  <a:cubicBezTo>
                    <a:pt x="856" y="1110"/>
                    <a:pt x="856" y="1104"/>
                    <a:pt x="854" y="1099"/>
                  </a:cubicBezTo>
                  <a:cubicBezTo>
                    <a:pt x="848" y="1080"/>
                    <a:pt x="841" y="1062"/>
                    <a:pt x="835" y="1044"/>
                  </a:cubicBezTo>
                  <a:cubicBezTo>
                    <a:pt x="831" y="1030"/>
                    <a:pt x="828" y="1016"/>
                    <a:pt x="822" y="1003"/>
                  </a:cubicBezTo>
                  <a:cubicBezTo>
                    <a:pt x="819" y="997"/>
                    <a:pt x="814" y="994"/>
                    <a:pt x="808" y="994"/>
                  </a:cubicBezTo>
                  <a:cubicBezTo>
                    <a:pt x="799" y="993"/>
                    <a:pt x="791" y="993"/>
                    <a:pt x="787" y="1001"/>
                  </a:cubicBezTo>
                  <a:cubicBezTo>
                    <a:pt x="783" y="1008"/>
                    <a:pt x="780" y="1015"/>
                    <a:pt x="779" y="1022"/>
                  </a:cubicBezTo>
                  <a:cubicBezTo>
                    <a:pt x="778" y="1034"/>
                    <a:pt x="772" y="1044"/>
                    <a:pt x="769" y="1055"/>
                  </a:cubicBezTo>
                  <a:cubicBezTo>
                    <a:pt x="762" y="1076"/>
                    <a:pt x="754" y="1096"/>
                    <a:pt x="749" y="1117"/>
                  </a:cubicBezTo>
                  <a:cubicBezTo>
                    <a:pt x="748" y="1120"/>
                    <a:pt x="747" y="1124"/>
                    <a:pt x="742" y="1124"/>
                  </a:cubicBezTo>
                  <a:cubicBezTo>
                    <a:pt x="737" y="1124"/>
                    <a:pt x="737" y="1120"/>
                    <a:pt x="736" y="1116"/>
                  </a:cubicBezTo>
                  <a:cubicBezTo>
                    <a:pt x="734" y="1104"/>
                    <a:pt x="730" y="1092"/>
                    <a:pt x="726" y="1080"/>
                  </a:cubicBezTo>
                  <a:cubicBezTo>
                    <a:pt x="720" y="1061"/>
                    <a:pt x="714" y="1040"/>
                    <a:pt x="708" y="1020"/>
                  </a:cubicBezTo>
                  <a:cubicBezTo>
                    <a:pt x="703" y="1000"/>
                    <a:pt x="698" y="994"/>
                    <a:pt x="676" y="995"/>
                  </a:cubicBezTo>
                  <a:cubicBezTo>
                    <a:pt x="665" y="996"/>
                    <a:pt x="661" y="1001"/>
                    <a:pt x="667" y="1011"/>
                  </a:cubicBezTo>
                  <a:cubicBezTo>
                    <a:pt x="669" y="1016"/>
                    <a:pt x="670" y="1021"/>
                    <a:pt x="672" y="1025"/>
                  </a:cubicBezTo>
                  <a:cubicBezTo>
                    <a:pt x="675" y="1035"/>
                    <a:pt x="678" y="1046"/>
                    <a:pt x="681" y="1055"/>
                  </a:cubicBezTo>
                  <a:cubicBezTo>
                    <a:pt x="685" y="1068"/>
                    <a:pt x="689" y="1080"/>
                    <a:pt x="693" y="1092"/>
                  </a:cubicBezTo>
                  <a:cubicBezTo>
                    <a:pt x="697" y="1103"/>
                    <a:pt x="699" y="1113"/>
                    <a:pt x="703" y="1124"/>
                  </a:cubicBezTo>
                  <a:cubicBezTo>
                    <a:pt x="707" y="1136"/>
                    <a:pt x="711" y="1147"/>
                    <a:pt x="715" y="1160"/>
                  </a:cubicBezTo>
                  <a:cubicBezTo>
                    <a:pt x="717" y="1168"/>
                    <a:pt x="720" y="1176"/>
                    <a:pt x="724" y="1183"/>
                  </a:cubicBezTo>
                  <a:cubicBezTo>
                    <a:pt x="728" y="1189"/>
                    <a:pt x="752" y="1185"/>
                    <a:pt x="757" y="1180"/>
                  </a:cubicBezTo>
                  <a:cubicBezTo>
                    <a:pt x="764" y="1173"/>
                    <a:pt x="762" y="1163"/>
                    <a:pt x="766" y="1156"/>
                  </a:cubicBezTo>
                  <a:cubicBezTo>
                    <a:pt x="774" y="1140"/>
                    <a:pt x="778" y="1122"/>
                    <a:pt x="784" y="1105"/>
                  </a:cubicBezTo>
                  <a:cubicBezTo>
                    <a:pt x="789" y="1088"/>
                    <a:pt x="796" y="1072"/>
                    <a:pt x="800" y="1054"/>
                  </a:cubicBezTo>
                  <a:cubicBezTo>
                    <a:pt x="800" y="1053"/>
                    <a:pt x="801" y="1050"/>
                    <a:pt x="803" y="1050"/>
                  </a:cubicBezTo>
                  <a:cubicBezTo>
                    <a:pt x="806" y="1050"/>
                    <a:pt x="806" y="1052"/>
                    <a:pt x="807" y="1055"/>
                  </a:cubicBezTo>
                  <a:cubicBezTo>
                    <a:pt x="807" y="1060"/>
                    <a:pt x="810" y="1066"/>
                    <a:pt x="811" y="1071"/>
                  </a:cubicBezTo>
                  <a:cubicBezTo>
                    <a:pt x="814" y="1081"/>
                    <a:pt x="818" y="1090"/>
                    <a:pt x="821" y="1099"/>
                  </a:cubicBezTo>
                  <a:cubicBezTo>
                    <a:pt x="824" y="1110"/>
                    <a:pt x="827" y="1120"/>
                    <a:pt x="831" y="1131"/>
                  </a:cubicBezTo>
                  <a:cubicBezTo>
                    <a:pt x="834" y="1142"/>
                    <a:pt x="839" y="1153"/>
                    <a:pt x="842" y="1164"/>
                  </a:cubicBezTo>
                  <a:cubicBezTo>
                    <a:pt x="846" y="1179"/>
                    <a:pt x="850" y="1188"/>
                    <a:pt x="869" y="1185"/>
                  </a:cubicBezTo>
                  <a:cubicBezTo>
                    <a:pt x="873" y="1184"/>
                    <a:pt x="881" y="1189"/>
                    <a:pt x="884" y="1181"/>
                  </a:cubicBezTo>
                  <a:close/>
                  <a:moveTo>
                    <a:pt x="33" y="1051"/>
                  </a:moveTo>
                  <a:cubicBezTo>
                    <a:pt x="33" y="1087"/>
                    <a:pt x="33" y="1124"/>
                    <a:pt x="33" y="1160"/>
                  </a:cubicBezTo>
                  <a:cubicBezTo>
                    <a:pt x="33" y="1188"/>
                    <a:pt x="29" y="1184"/>
                    <a:pt x="58" y="1185"/>
                  </a:cubicBezTo>
                  <a:cubicBezTo>
                    <a:pt x="72" y="1185"/>
                    <a:pt x="73" y="1184"/>
                    <a:pt x="73" y="1170"/>
                  </a:cubicBezTo>
                  <a:cubicBezTo>
                    <a:pt x="73" y="1138"/>
                    <a:pt x="73" y="1107"/>
                    <a:pt x="73" y="1076"/>
                  </a:cubicBezTo>
                  <a:cubicBezTo>
                    <a:pt x="73" y="1071"/>
                    <a:pt x="72" y="1067"/>
                    <a:pt x="78" y="1065"/>
                  </a:cubicBezTo>
                  <a:cubicBezTo>
                    <a:pt x="91" y="1062"/>
                    <a:pt x="102" y="1067"/>
                    <a:pt x="110" y="1076"/>
                  </a:cubicBezTo>
                  <a:cubicBezTo>
                    <a:pt x="112" y="1080"/>
                    <a:pt x="115" y="1083"/>
                    <a:pt x="118" y="1086"/>
                  </a:cubicBezTo>
                  <a:cubicBezTo>
                    <a:pt x="132" y="1103"/>
                    <a:pt x="146" y="1119"/>
                    <a:pt x="161" y="1136"/>
                  </a:cubicBezTo>
                  <a:cubicBezTo>
                    <a:pt x="173" y="1150"/>
                    <a:pt x="186" y="1165"/>
                    <a:pt x="198" y="1179"/>
                  </a:cubicBezTo>
                  <a:cubicBezTo>
                    <a:pt x="207" y="1188"/>
                    <a:pt x="218" y="1184"/>
                    <a:pt x="228" y="1185"/>
                  </a:cubicBezTo>
                  <a:cubicBezTo>
                    <a:pt x="233" y="1185"/>
                    <a:pt x="241" y="1188"/>
                    <a:pt x="244" y="1182"/>
                  </a:cubicBezTo>
                  <a:cubicBezTo>
                    <a:pt x="246" y="1178"/>
                    <a:pt x="239" y="1173"/>
                    <a:pt x="235" y="1169"/>
                  </a:cubicBezTo>
                  <a:cubicBezTo>
                    <a:pt x="206" y="1133"/>
                    <a:pt x="176" y="1098"/>
                    <a:pt x="146" y="1062"/>
                  </a:cubicBezTo>
                  <a:cubicBezTo>
                    <a:pt x="141" y="1056"/>
                    <a:pt x="131" y="1052"/>
                    <a:pt x="132" y="1044"/>
                  </a:cubicBezTo>
                  <a:cubicBezTo>
                    <a:pt x="132" y="1036"/>
                    <a:pt x="142" y="1032"/>
                    <a:pt x="147" y="1026"/>
                  </a:cubicBezTo>
                  <a:cubicBezTo>
                    <a:pt x="164" y="1006"/>
                    <a:pt x="182" y="988"/>
                    <a:pt x="198" y="968"/>
                  </a:cubicBezTo>
                  <a:cubicBezTo>
                    <a:pt x="209" y="954"/>
                    <a:pt x="221" y="942"/>
                    <a:pt x="234" y="929"/>
                  </a:cubicBezTo>
                  <a:cubicBezTo>
                    <a:pt x="236" y="926"/>
                    <a:pt x="238" y="923"/>
                    <a:pt x="237" y="920"/>
                  </a:cubicBezTo>
                  <a:cubicBezTo>
                    <a:pt x="235" y="915"/>
                    <a:pt x="231" y="917"/>
                    <a:pt x="228" y="917"/>
                  </a:cubicBezTo>
                  <a:cubicBezTo>
                    <a:pt x="224" y="918"/>
                    <a:pt x="221" y="918"/>
                    <a:pt x="217" y="918"/>
                  </a:cubicBezTo>
                  <a:cubicBezTo>
                    <a:pt x="204" y="917"/>
                    <a:pt x="193" y="922"/>
                    <a:pt x="185" y="931"/>
                  </a:cubicBezTo>
                  <a:cubicBezTo>
                    <a:pt x="172" y="946"/>
                    <a:pt x="158" y="961"/>
                    <a:pt x="145" y="977"/>
                  </a:cubicBezTo>
                  <a:cubicBezTo>
                    <a:pt x="131" y="993"/>
                    <a:pt x="117" y="1010"/>
                    <a:pt x="102" y="1026"/>
                  </a:cubicBezTo>
                  <a:cubicBezTo>
                    <a:pt x="96" y="1032"/>
                    <a:pt x="87" y="1037"/>
                    <a:pt x="78" y="1034"/>
                  </a:cubicBezTo>
                  <a:cubicBezTo>
                    <a:pt x="70" y="1030"/>
                    <a:pt x="73" y="1021"/>
                    <a:pt x="73" y="1015"/>
                  </a:cubicBezTo>
                  <a:cubicBezTo>
                    <a:pt x="73" y="991"/>
                    <a:pt x="73" y="967"/>
                    <a:pt x="73" y="944"/>
                  </a:cubicBezTo>
                  <a:cubicBezTo>
                    <a:pt x="73" y="916"/>
                    <a:pt x="75" y="917"/>
                    <a:pt x="46" y="918"/>
                  </a:cubicBezTo>
                  <a:cubicBezTo>
                    <a:pt x="33" y="918"/>
                    <a:pt x="33" y="918"/>
                    <a:pt x="33" y="931"/>
                  </a:cubicBezTo>
                  <a:cubicBezTo>
                    <a:pt x="33" y="971"/>
                    <a:pt x="33" y="1011"/>
                    <a:pt x="33" y="1051"/>
                  </a:cubicBezTo>
                  <a:cubicBezTo>
                    <a:pt x="33" y="1051"/>
                    <a:pt x="33" y="1051"/>
                    <a:pt x="33" y="1051"/>
                  </a:cubicBezTo>
                  <a:close/>
                  <a:moveTo>
                    <a:pt x="639" y="84"/>
                  </a:moveTo>
                  <a:cubicBezTo>
                    <a:pt x="627" y="84"/>
                    <a:pt x="626" y="84"/>
                    <a:pt x="629" y="95"/>
                  </a:cubicBezTo>
                  <a:cubicBezTo>
                    <a:pt x="634" y="113"/>
                    <a:pt x="640" y="131"/>
                    <a:pt x="646" y="148"/>
                  </a:cubicBezTo>
                  <a:cubicBezTo>
                    <a:pt x="652" y="166"/>
                    <a:pt x="658" y="185"/>
                    <a:pt x="664" y="203"/>
                  </a:cubicBezTo>
                  <a:cubicBezTo>
                    <a:pt x="671" y="223"/>
                    <a:pt x="676" y="244"/>
                    <a:pt x="684" y="264"/>
                  </a:cubicBezTo>
                  <a:cubicBezTo>
                    <a:pt x="688" y="274"/>
                    <a:pt x="694" y="274"/>
                    <a:pt x="702" y="274"/>
                  </a:cubicBezTo>
                  <a:cubicBezTo>
                    <a:pt x="711" y="274"/>
                    <a:pt x="719" y="272"/>
                    <a:pt x="723" y="263"/>
                  </a:cubicBezTo>
                  <a:cubicBezTo>
                    <a:pt x="733" y="236"/>
                    <a:pt x="741" y="208"/>
                    <a:pt x="750" y="181"/>
                  </a:cubicBezTo>
                  <a:cubicBezTo>
                    <a:pt x="754" y="169"/>
                    <a:pt x="757" y="156"/>
                    <a:pt x="763" y="145"/>
                  </a:cubicBezTo>
                  <a:cubicBezTo>
                    <a:pt x="764" y="143"/>
                    <a:pt x="764" y="140"/>
                    <a:pt x="767" y="140"/>
                  </a:cubicBezTo>
                  <a:cubicBezTo>
                    <a:pt x="770" y="140"/>
                    <a:pt x="770" y="143"/>
                    <a:pt x="771" y="145"/>
                  </a:cubicBezTo>
                  <a:cubicBezTo>
                    <a:pt x="771" y="156"/>
                    <a:pt x="777" y="165"/>
                    <a:pt x="780" y="175"/>
                  </a:cubicBezTo>
                  <a:cubicBezTo>
                    <a:pt x="782" y="184"/>
                    <a:pt x="785" y="193"/>
                    <a:pt x="788" y="201"/>
                  </a:cubicBezTo>
                  <a:cubicBezTo>
                    <a:pt x="794" y="219"/>
                    <a:pt x="801" y="237"/>
                    <a:pt x="806" y="255"/>
                  </a:cubicBezTo>
                  <a:cubicBezTo>
                    <a:pt x="811" y="272"/>
                    <a:pt x="825" y="280"/>
                    <a:pt x="842" y="273"/>
                  </a:cubicBezTo>
                  <a:cubicBezTo>
                    <a:pt x="845" y="271"/>
                    <a:pt x="847" y="269"/>
                    <a:pt x="848" y="266"/>
                  </a:cubicBezTo>
                  <a:cubicBezTo>
                    <a:pt x="853" y="251"/>
                    <a:pt x="859" y="236"/>
                    <a:pt x="863" y="221"/>
                  </a:cubicBezTo>
                  <a:cubicBezTo>
                    <a:pt x="867" y="202"/>
                    <a:pt x="875" y="185"/>
                    <a:pt x="880" y="166"/>
                  </a:cubicBezTo>
                  <a:cubicBezTo>
                    <a:pt x="886" y="144"/>
                    <a:pt x="895" y="123"/>
                    <a:pt x="900" y="101"/>
                  </a:cubicBezTo>
                  <a:cubicBezTo>
                    <a:pt x="901" y="96"/>
                    <a:pt x="909" y="91"/>
                    <a:pt x="904" y="86"/>
                  </a:cubicBezTo>
                  <a:cubicBezTo>
                    <a:pt x="900" y="81"/>
                    <a:pt x="892" y="84"/>
                    <a:pt x="886" y="84"/>
                  </a:cubicBezTo>
                  <a:cubicBezTo>
                    <a:pt x="885" y="84"/>
                    <a:pt x="883" y="84"/>
                    <a:pt x="881" y="84"/>
                  </a:cubicBezTo>
                  <a:cubicBezTo>
                    <a:pt x="875" y="84"/>
                    <a:pt x="872" y="86"/>
                    <a:pt x="869" y="91"/>
                  </a:cubicBezTo>
                  <a:cubicBezTo>
                    <a:pt x="860" y="110"/>
                    <a:pt x="856" y="131"/>
                    <a:pt x="850" y="151"/>
                  </a:cubicBezTo>
                  <a:cubicBezTo>
                    <a:pt x="844" y="170"/>
                    <a:pt x="836" y="188"/>
                    <a:pt x="834" y="208"/>
                  </a:cubicBezTo>
                  <a:cubicBezTo>
                    <a:pt x="833" y="211"/>
                    <a:pt x="831" y="214"/>
                    <a:pt x="827" y="214"/>
                  </a:cubicBezTo>
                  <a:cubicBezTo>
                    <a:pt x="823" y="214"/>
                    <a:pt x="822" y="210"/>
                    <a:pt x="822" y="207"/>
                  </a:cubicBezTo>
                  <a:cubicBezTo>
                    <a:pt x="817" y="188"/>
                    <a:pt x="811" y="170"/>
                    <a:pt x="805" y="152"/>
                  </a:cubicBezTo>
                  <a:cubicBezTo>
                    <a:pt x="799" y="133"/>
                    <a:pt x="794" y="114"/>
                    <a:pt x="786" y="96"/>
                  </a:cubicBezTo>
                  <a:cubicBezTo>
                    <a:pt x="783" y="87"/>
                    <a:pt x="779" y="84"/>
                    <a:pt x="770" y="84"/>
                  </a:cubicBezTo>
                  <a:cubicBezTo>
                    <a:pt x="761" y="84"/>
                    <a:pt x="752" y="82"/>
                    <a:pt x="748" y="94"/>
                  </a:cubicBezTo>
                  <a:cubicBezTo>
                    <a:pt x="744" y="109"/>
                    <a:pt x="738" y="123"/>
                    <a:pt x="734" y="138"/>
                  </a:cubicBezTo>
                  <a:cubicBezTo>
                    <a:pt x="729" y="153"/>
                    <a:pt x="724" y="167"/>
                    <a:pt x="719" y="182"/>
                  </a:cubicBezTo>
                  <a:cubicBezTo>
                    <a:pt x="716" y="192"/>
                    <a:pt x="715" y="203"/>
                    <a:pt x="708" y="212"/>
                  </a:cubicBezTo>
                  <a:cubicBezTo>
                    <a:pt x="707" y="214"/>
                    <a:pt x="707" y="217"/>
                    <a:pt x="704" y="217"/>
                  </a:cubicBezTo>
                  <a:cubicBezTo>
                    <a:pt x="701" y="217"/>
                    <a:pt x="701" y="213"/>
                    <a:pt x="700" y="211"/>
                  </a:cubicBezTo>
                  <a:cubicBezTo>
                    <a:pt x="699" y="198"/>
                    <a:pt x="694" y="186"/>
                    <a:pt x="690" y="174"/>
                  </a:cubicBezTo>
                  <a:cubicBezTo>
                    <a:pt x="684" y="153"/>
                    <a:pt x="677" y="131"/>
                    <a:pt x="672" y="110"/>
                  </a:cubicBezTo>
                  <a:cubicBezTo>
                    <a:pt x="667" y="88"/>
                    <a:pt x="663" y="84"/>
                    <a:pt x="645" y="84"/>
                  </a:cubicBezTo>
                  <a:cubicBezTo>
                    <a:pt x="643" y="84"/>
                    <a:pt x="641" y="84"/>
                    <a:pt x="639" y="84"/>
                  </a:cubicBezTo>
                  <a:close/>
                  <a:moveTo>
                    <a:pt x="507" y="711"/>
                  </a:moveTo>
                  <a:cubicBezTo>
                    <a:pt x="507" y="730"/>
                    <a:pt x="507" y="730"/>
                    <a:pt x="526" y="730"/>
                  </a:cubicBezTo>
                  <a:cubicBezTo>
                    <a:pt x="539" y="730"/>
                    <a:pt x="541" y="729"/>
                    <a:pt x="541" y="715"/>
                  </a:cubicBezTo>
                  <a:cubicBezTo>
                    <a:pt x="541" y="677"/>
                    <a:pt x="541" y="638"/>
                    <a:pt x="540" y="600"/>
                  </a:cubicBezTo>
                  <a:cubicBezTo>
                    <a:pt x="540" y="593"/>
                    <a:pt x="543" y="587"/>
                    <a:pt x="548" y="582"/>
                  </a:cubicBezTo>
                  <a:cubicBezTo>
                    <a:pt x="553" y="576"/>
                    <a:pt x="559" y="573"/>
                    <a:pt x="564" y="569"/>
                  </a:cubicBezTo>
                  <a:cubicBezTo>
                    <a:pt x="574" y="564"/>
                    <a:pt x="594" y="566"/>
                    <a:pt x="602" y="574"/>
                  </a:cubicBezTo>
                  <a:cubicBezTo>
                    <a:pt x="611" y="582"/>
                    <a:pt x="614" y="592"/>
                    <a:pt x="614" y="604"/>
                  </a:cubicBezTo>
                  <a:cubicBezTo>
                    <a:pt x="614" y="638"/>
                    <a:pt x="614" y="672"/>
                    <a:pt x="614" y="706"/>
                  </a:cubicBezTo>
                  <a:cubicBezTo>
                    <a:pt x="614" y="730"/>
                    <a:pt x="614" y="730"/>
                    <a:pt x="638" y="730"/>
                  </a:cubicBezTo>
                  <a:cubicBezTo>
                    <a:pt x="650" y="730"/>
                    <a:pt x="650" y="730"/>
                    <a:pt x="650" y="717"/>
                  </a:cubicBezTo>
                  <a:cubicBezTo>
                    <a:pt x="650" y="684"/>
                    <a:pt x="650" y="650"/>
                    <a:pt x="650" y="617"/>
                  </a:cubicBezTo>
                  <a:cubicBezTo>
                    <a:pt x="650" y="606"/>
                    <a:pt x="651" y="597"/>
                    <a:pt x="657" y="586"/>
                  </a:cubicBezTo>
                  <a:cubicBezTo>
                    <a:pt x="667" y="565"/>
                    <a:pt x="703" y="560"/>
                    <a:pt x="716" y="579"/>
                  </a:cubicBezTo>
                  <a:cubicBezTo>
                    <a:pt x="723" y="588"/>
                    <a:pt x="724" y="598"/>
                    <a:pt x="724" y="609"/>
                  </a:cubicBezTo>
                  <a:cubicBezTo>
                    <a:pt x="724" y="645"/>
                    <a:pt x="724" y="682"/>
                    <a:pt x="724" y="718"/>
                  </a:cubicBezTo>
                  <a:cubicBezTo>
                    <a:pt x="724" y="727"/>
                    <a:pt x="727" y="731"/>
                    <a:pt x="736" y="730"/>
                  </a:cubicBezTo>
                  <a:cubicBezTo>
                    <a:pt x="738" y="730"/>
                    <a:pt x="741" y="730"/>
                    <a:pt x="743" y="730"/>
                  </a:cubicBezTo>
                  <a:cubicBezTo>
                    <a:pt x="758" y="730"/>
                    <a:pt x="759" y="729"/>
                    <a:pt x="759" y="715"/>
                  </a:cubicBezTo>
                  <a:cubicBezTo>
                    <a:pt x="759" y="677"/>
                    <a:pt x="758" y="639"/>
                    <a:pt x="759" y="601"/>
                  </a:cubicBezTo>
                  <a:cubicBezTo>
                    <a:pt x="759" y="571"/>
                    <a:pt x="742" y="540"/>
                    <a:pt x="704" y="538"/>
                  </a:cubicBezTo>
                  <a:cubicBezTo>
                    <a:pt x="681" y="536"/>
                    <a:pt x="661" y="542"/>
                    <a:pt x="646" y="560"/>
                  </a:cubicBezTo>
                  <a:cubicBezTo>
                    <a:pt x="638" y="569"/>
                    <a:pt x="638" y="569"/>
                    <a:pt x="631" y="559"/>
                  </a:cubicBezTo>
                  <a:cubicBezTo>
                    <a:pt x="630" y="558"/>
                    <a:pt x="630" y="557"/>
                    <a:pt x="629" y="556"/>
                  </a:cubicBezTo>
                  <a:cubicBezTo>
                    <a:pt x="623" y="548"/>
                    <a:pt x="616" y="541"/>
                    <a:pt x="607" y="539"/>
                  </a:cubicBezTo>
                  <a:cubicBezTo>
                    <a:pt x="584" y="534"/>
                    <a:pt x="563" y="539"/>
                    <a:pt x="545" y="555"/>
                  </a:cubicBezTo>
                  <a:cubicBezTo>
                    <a:pt x="540" y="559"/>
                    <a:pt x="537" y="561"/>
                    <a:pt x="537" y="552"/>
                  </a:cubicBezTo>
                  <a:cubicBezTo>
                    <a:pt x="536" y="543"/>
                    <a:pt x="526" y="538"/>
                    <a:pt x="515" y="539"/>
                  </a:cubicBezTo>
                  <a:cubicBezTo>
                    <a:pt x="506" y="540"/>
                    <a:pt x="507" y="546"/>
                    <a:pt x="507" y="552"/>
                  </a:cubicBezTo>
                  <a:cubicBezTo>
                    <a:pt x="507" y="580"/>
                    <a:pt x="507" y="607"/>
                    <a:pt x="507" y="634"/>
                  </a:cubicBezTo>
                  <a:cubicBezTo>
                    <a:pt x="507" y="660"/>
                    <a:pt x="507" y="685"/>
                    <a:pt x="507" y="711"/>
                  </a:cubicBezTo>
                  <a:close/>
                  <a:moveTo>
                    <a:pt x="1525" y="1142"/>
                  </a:moveTo>
                  <a:cubicBezTo>
                    <a:pt x="1517" y="1143"/>
                    <a:pt x="1511" y="1141"/>
                    <a:pt x="1505" y="1136"/>
                  </a:cubicBezTo>
                  <a:cubicBezTo>
                    <a:pt x="1501" y="1133"/>
                    <a:pt x="1495" y="1130"/>
                    <a:pt x="1498" y="1124"/>
                  </a:cubicBezTo>
                  <a:cubicBezTo>
                    <a:pt x="1500" y="1118"/>
                    <a:pt x="1504" y="1114"/>
                    <a:pt x="1512" y="1114"/>
                  </a:cubicBezTo>
                  <a:cubicBezTo>
                    <a:pt x="1521" y="1115"/>
                    <a:pt x="1530" y="1114"/>
                    <a:pt x="1538" y="1115"/>
                  </a:cubicBezTo>
                  <a:cubicBezTo>
                    <a:pt x="1573" y="1117"/>
                    <a:pt x="1610" y="1084"/>
                    <a:pt x="1602" y="1044"/>
                  </a:cubicBezTo>
                  <a:cubicBezTo>
                    <a:pt x="1600" y="1035"/>
                    <a:pt x="1599" y="1028"/>
                    <a:pt x="1611" y="1027"/>
                  </a:cubicBezTo>
                  <a:cubicBezTo>
                    <a:pt x="1614" y="1027"/>
                    <a:pt x="1617" y="1024"/>
                    <a:pt x="1619" y="1023"/>
                  </a:cubicBezTo>
                  <a:cubicBezTo>
                    <a:pt x="1626" y="1019"/>
                    <a:pt x="1624" y="1013"/>
                    <a:pt x="1623" y="1008"/>
                  </a:cubicBezTo>
                  <a:cubicBezTo>
                    <a:pt x="1623" y="1002"/>
                    <a:pt x="1618" y="1003"/>
                    <a:pt x="1613" y="1002"/>
                  </a:cubicBezTo>
                  <a:cubicBezTo>
                    <a:pt x="1598" y="1002"/>
                    <a:pt x="1582" y="1004"/>
                    <a:pt x="1567" y="1000"/>
                  </a:cubicBezTo>
                  <a:cubicBezTo>
                    <a:pt x="1560" y="999"/>
                    <a:pt x="1554" y="993"/>
                    <a:pt x="1546" y="993"/>
                  </a:cubicBezTo>
                  <a:cubicBezTo>
                    <a:pt x="1536" y="994"/>
                    <a:pt x="1525" y="992"/>
                    <a:pt x="1515" y="993"/>
                  </a:cubicBezTo>
                  <a:cubicBezTo>
                    <a:pt x="1490" y="997"/>
                    <a:pt x="1469" y="1010"/>
                    <a:pt x="1462" y="1034"/>
                  </a:cubicBezTo>
                  <a:cubicBezTo>
                    <a:pt x="1455" y="1056"/>
                    <a:pt x="1457" y="1079"/>
                    <a:pt x="1476" y="1096"/>
                  </a:cubicBezTo>
                  <a:cubicBezTo>
                    <a:pt x="1483" y="1103"/>
                    <a:pt x="1483" y="1107"/>
                    <a:pt x="1476" y="1113"/>
                  </a:cubicBezTo>
                  <a:cubicBezTo>
                    <a:pt x="1462" y="1126"/>
                    <a:pt x="1462" y="1142"/>
                    <a:pt x="1473" y="1157"/>
                  </a:cubicBezTo>
                  <a:cubicBezTo>
                    <a:pt x="1476" y="1160"/>
                    <a:pt x="1476" y="1162"/>
                    <a:pt x="1472" y="1164"/>
                  </a:cubicBezTo>
                  <a:cubicBezTo>
                    <a:pt x="1470" y="1166"/>
                    <a:pt x="1468" y="1168"/>
                    <a:pt x="1466" y="1170"/>
                  </a:cubicBezTo>
                  <a:cubicBezTo>
                    <a:pt x="1449" y="1183"/>
                    <a:pt x="1444" y="1201"/>
                    <a:pt x="1454" y="1218"/>
                  </a:cubicBezTo>
                  <a:cubicBezTo>
                    <a:pt x="1464" y="1235"/>
                    <a:pt x="1479" y="1246"/>
                    <a:pt x="1499" y="1249"/>
                  </a:cubicBezTo>
                  <a:cubicBezTo>
                    <a:pt x="1517" y="1252"/>
                    <a:pt x="1535" y="1253"/>
                    <a:pt x="1553" y="1250"/>
                  </a:cubicBezTo>
                  <a:cubicBezTo>
                    <a:pt x="1584" y="1245"/>
                    <a:pt x="1607" y="1232"/>
                    <a:pt x="1619" y="1200"/>
                  </a:cubicBezTo>
                  <a:cubicBezTo>
                    <a:pt x="1627" y="1180"/>
                    <a:pt x="1611" y="1155"/>
                    <a:pt x="1593" y="1148"/>
                  </a:cubicBezTo>
                  <a:cubicBezTo>
                    <a:pt x="1578" y="1142"/>
                    <a:pt x="1563" y="1143"/>
                    <a:pt x="1549" y="1142"/>
                  </a:cubicBezTo>
                  <a:cubicBezTo>
                    <a:pt x="1540" y="1142"/>
                    <a:pt x="1532" y="1142"/>
                    <a:pt x="1525" y="1142"/>
                  </a:cubicBezTo>
                  <a:close/>
                  <a:moveTo>
                    <a:pt x="1556" y="1172"/>
                  </a:moveTo>
                  <a:cubicBezTo>
                    <a:pt x="1566" y="1172"/>
                    <a:pt x="1576" y="1176"/>
                    <a:pt x="1583" y="1183"/>
                  </a:cubicBezTo>
                  <a:cubicBezTo>
                    <a:pt x="1589" y="1190"/>
                    <a:pt x="1589" y="1198"/>
                    <a:pt x="1583" y="1205"/>
                  </a:cubicBezTo>
                  <a:cubicBezTo>
                    <a:pt x="1575" y="1215"/>
                    <a:pt x="1565" y="1220"/>
                    <a:pt x="1553" y="1223"/>
                  </a:cubicBezTo>
                  <a:cubicBezTo>
                    <a:pt x="1534" y="1228"/>
                    <a:pt x="1516" y="1225"/>
                    <a:pt x="1499" y="1219"/>
                  </a:cubicBezTo>
                  <a:cubicBezTo>
                    <a:pt x="1486" y="1214"/>
                    <a:pt x="1479" y="1203"/>
                    <a:pt x="1482" y="1193"/>
                  </a:cubicBezTo>
                  <a:cubicBezTo>
                    <a:pt x="1485" y="1182"/>
                    <a:pt x="1496" y="1168"/>
                    <a:pt x="1514" y="1171"/>
                  </a:cubicBezTo>
                  <a:cubicBezTo>
                    <a:pt x="1526" y="1173"/>
                    <a:pt x="1541" y="1171"/>
                    <a:pt x="1556" y="1172"/>
                  </a:cubicBezTo>
                  <a:close/>
                  <a:moveTo>
                    <a:pt x="1531" y="1019"/>
                  </a:moveTo>
                  <a:cubicBezTo>
                    <a:pt x="1553" y="1017"/>
                    <a:pt x="1570" y="1033"/>
                    <a:pt x="1570" y="1052"/>
                  </a:cubicBezTo>
                  <a:cubicBezTo>
                    <a:pt x="1570" y="1075"/>
                    <a:pt x="1554" y="1093"/>
                    <a:pt x="1532" y="1091"/>
                  </a:cubicBezTo>
                  <a:cubicBezTo>
                    <a:pt x="1508" y="1089"/>
                    <a:pt x="1494" y="1082"/>
                    <a:pt x="1493" y="1053"/>
                  </a:cubicBezTo>
                  <a:cubicBezTo>
                    <a:pt x="1494" y="1029"/>
                    <a:pt x="1508" y="1020"/>
                    <a:pt x="1531" y="1019"/>
                  </a:cubicBezTo>
                  <a:close/>
                  <a:moveTo>
                    <a:pt x="1413" y="934"/>
                  </a:moveTo>
                  <a:cubicBezTo>
                    <a:pt x="1413" y="909"/>
                    <a:pt x="1413" y="909"/>
                    <a:pt x="1389" y="910"/>
                  </a:cubicBezTo>
                  <a:cubicBezTo>
                    <a:pt x="1388" y="910"/>
                    <a:pt x="1387" y="910"/>
                    <a:pt x="1387" y="910"/>
                  </a:cubicBezTo>
                  <a:cubicBezTo>
                    <a:pt x="1379" y="910"/>
                    <a:pt x="1376" y="915"/>
                    <a:pt x="1376" y="921"/>
                  </a:cubicBezTo>
                  <a:cubicBezTo>
                    <a:pt x="1376" y="939"/>
                    <a:pt x="1377" y="956"/>
                    <a:pt x="1377" y="974"/>
                  </a:cubicBezTo>
                  <a:cubicBezTo>
                    <a:pt x="1377" y="983"/>
                    <a:pt x="1377" y="991"/>
                    <a:pt x="1377" y="1000"/>
                  </a:cubicBezTo>
                  <a:cubicBezTo>
                    <a:pt x="1377" y="1005"/>
                    <a:pt x="1374" y="1009"/>
                    <a:pt x="1369" y="1005"/>
                  </a:cubicBezTo>
                  <a:cubicBezTo>
                    <a:pt x="1352" y="990"/>
                    <a:pt x="1332" y="993"/>
                    <a:pt x="1312" y="993"/>
                  </a:cubicBezTo>
                  <a:cubicBezTo>
                    <a:pt x="1303" y="994"/>
                    <a:pt x="1294" y="998"/>
                    <a:pt x="1287" y="1003"/>
                  </a:cubicBezTo>
                  <a:cubicBezTo>
                    <a:pt x="1265" y="1017"/>
                    <a:pt x="1252" y="1039"/>
                    <a:pt x="1248" y="1065"/>
                  </a:cubicBezTo>
                  <a:cubicBezTo>
                    <a:pt x="1244" y="1096"/>
                    <a:pt x="1244" y="1128"/>
                    <a:pt x="1261" y="1157"/>
                  </a:cubicBezTo>
                  <a:cubicBezTo>
                    <a:pt x="1270" y="1170"/>
                    <a:pt x="1281" y="1181"/>
                    <a:pt x="1296" y="1185"/>
                  </a:cubicBezTo>
                  <a:cubicBezTo>
                    <a:pt x="1323" y="1191"/>
                    <a:pt x="1349" y="1188"/>
                    <a:pt x="1370" y="1167"/>
                  </a:cubicBezTo>
                  <a:cubicBezTo>
                    <a:pt x="1372" y="1165"/>
                    <a:pt x="1375" y="1162"/>
                    <a:pt x="1379" y="1163"/>
                  </a:cubicBezTo>
                  <a:cubicBezTo>
                    <a:pt x="1382" y="1165"/>
                    <a:pt x="1381" y="1169"/>
                    <a:pt x="1381" y="1172"/>
                  </a:cubicBezTo>
                  <a:cubicBezTo>
                    <a:pt x="1383" y="1181"/>
                    <a:pt x="1390" y="1186"/>
                    <a:pt x="1403" y="1186"/>
                  </a:cubicBezTo>
                  <a:cubicBezTo>
                    <a:pt x="1413" y="1185"/>
                    <a:pt x="1413" y="1178"/>
                    <a:pt x="1413" y="1172"/>
                  </a:cubicBezTo>
                  <a:cubicBezTo>
                    <a:pt x="1413" y="1131"/>
                    <a:pt x="1413" y="1090"/>
                    <a:pt x="1413" y="1049"/>
                  </a:cubicBezTo>
                  <a:cubicBezTo>
                    <a:pt x="1413" y="1010"/>
                    <a:pt x="1413" y="972"/>
                    <a:pt x="1413" y="934"/>
                  </a:cubicBezTo>
                  <a:close/>
                  <a:moveTo>
                    <a:pt x="1378" y="1113"/>
                  </a:moveTo>
                  <a:cubicBezTo>
                    <a:pt x="1378" y="1136"/>
                    <a:pt x="1360" y="1155"/>
                    <a:pt x="1337" y="1157"/>
                  </a:cubicBezTo>
                  <a:cubicBezTo>
                    <a:pt x="1319" y="1159"/>
                    <a:pt x="1304" y="1154"/>
                    <a:pt x="1294" y="1139"/>
                  </a:cubicBezTo>
                  <a:cubicBezTo>
                    <a:pt x="1286" y="1128"/>
                    <a:pt x="1283" y="1116"/>
                    <a:pt x="1283" y="1102"/>
                  </a:cubicBezTo>
                  <a:cubicBezTo>
                    <a:pt x="1282" y="1085"/>
                    <a:pt x="1282" y="1067"/>
                    <a:pt x="1290" y="1051"/>
                  </a:cubicBezTo>
                  <a:cubicBezTo>
                    <a:pt x="1297" y="1036"/>
                    <a:pt x="1308" y="1024"/>
                    <a:pt x="1325" y="1022"/>
                  </a:cubicBezTo>
                  <a:cubicBezTo>
                    <a:pt x="1342" y="1020"/>
                    <a:pt x="1358" y="1021"/>
                    <a:pt x="1371" y="1035"/>
                  </a:cubicBezTo>
                  <a:cubicBezTo>
                    <a:pt x="1376" y="1041"/>
                    <a:pt x="1378" y="1046"/>
                    <a:pt x="1378" y="1052"/>
                  </a:cubicBezTo>
                  <a:cubicBezTo>
                    <a:pt x="1378" y="1064"/>
                    <a:pt x="1378" y="1075"/>
                    <a:pt x="1378" y="1086"/>
                  </a:cubicBezTo>
                  <a:cubicBezTo>
                    <a:pt x="1378" y="1086"/>
                    <a:pt x="1378" y="1086"/>
                    <a:pt x="1378" y="1086"/>
                  </a:cubicBezTo>
                  <a:cubicBezTo>
                    <a:pt x="1378" y="1095"/>
                    <a:pt x="1378" y="1104"/>
                    <a:pt x="1378" y="1113"/>
                  </a:cubicBezTo>
                  <a:close/>
                  <a:moveTo>
                    <a:pt x="578" y="259"/>
                  </a:moveTo>
                  <a:cubicBezTo>
                    <a:pt x="603" y="241"/>
                    <a:pt x="611" y="213"/>
                    <a:pt x="614" y="183"/>
                  </a:cubicBezTo>
                  <a:cubicBezTo>
                    <a:pt x="615" y="171"/>
                    <a:pt x="610" y="159"/>
                    <a:pt x="609" y="147"/>
                  </a:cubicBezTo>
                  <a:cubicBezTo>
                    <a:pt x="608" y="137"/>
                    <a:pt x="603" y="129"/>
                    <a:pt x="599" y="121"/>
                  </a:cubicBezTo>
                  <a:cubicBezTo>
                    <a:pt x="579" y="87"/>
                    <a:pt x="527" y="70"/>
                    <a:pt x="488" y="85"/>
                  </a:cubicBezTo>
                  <a:cubicBezTo>
                    <a:pt x="453" y="99"/>
                    <a:pt x="436" y="127"/>
                    <a:pt x="431" y="163"/>
                  </a:cubicBezTo>
                  <a:cubicBezTo>
                    <a:pt x="429" y="180"/>
                    <a:pt x="430" y="196"/>
                    <a:pt x="436" y="213"/>
                  </a:cubicBezTo>
                  <a:cubicBezTo>
                    <a:pt x="439" y="222"/>
                    <a:pt x="442" y="232"/>
                    <a:pt x="447" y="239"/>
                  </a:cubicBezTo>
                  <a:cubicBezTo>
                    <a:pt x="465" y="265"/>
                    <a:pt x="491" y="277"/>
                    <a:pt x="525" y="276"/>
                  </a:cubicBezTo>
                  <a:cubicBezTo>
                    <a:pt x="543" y="278"/>
                    <a:pt x="562" y="271"/>
                    <a:pt x="578" y="259"/>
                  </a:cubicBezTo>
                  <a:close/>
                  <a:moveTo>
                    <a:pt x="471" y="205"/>
                  </a:moveTo>
                  <a:cubicBezTo>
                    <a:pt x="466" y="185"/>
                    <a:pt x="468" y="167"/>
                    <a:pt x="472" y="147"/>
                  </a:cubicBezTo>
                  <a:cubicBezTo>
                    <a:pt x="477" y="130"/>
                    <a:pt x="493" y="116"/>
                    <a:pt x="509" y="112"/>
                  </a:cubicBezTo>
                  <a:cubicBezTo>
                    <a:pt x="525" y="108"/>
                    <a:pt x="539" y="110"/>
                    <a:pt x="553" y="119"/>
                  </a:cubicBezTo>
                  <a:cubicBezTo>
                    <a:pt x="563" y="125"/>
                    <a:pt x="568" y="135"/>
                    <a:pt x="571" y="146"/>
                  </a:cubicBezTo>
                  <a:cubicBezTo>
                    <a:pt x="577" y="167"/>
                    <a:pt x="578" y="189"/>
                    <a:pt x="571" y="211"/>
                  </a:cubicBezTo>
                  <a:cubicBezTo>
                    <a:pt x="565" y="231"/>
                    <a:pt x="549" y="249"/>
                    <a:pt x="521" y="247"/>
                  </a:cubicBezTo>
                  <a:cubicBezTo>
                    <a:pt x="496" y="247"/>
                    <a:pt x="478" y="230"/>
                    <a:pt x="471" y="205"/>
                  </a:cubicBezTo>
                  <a:close/>
                  <a:moveTo>
                    <a:pt x="472" y="1122"/>
                  </a:moveTo>
                  <a:cubicBezTo>
                    <a:pt x="475" y="1136"/>
                    <a:pt x="481" y="1148"/>
                    <a:pt x="491" y="1158"/>
                  </a:cubicBezTo>
                  <a:cubicBezTo>
                    <a:pt x="506" y="1176"/>
                    <a:pt x="524" y="1185"/>
                    <a:pt x="548" y="1187"/>
                  </a:cubicBezTo>
                  <a:cubicBezTo>
                    <a:pt x="568" y="1188"/>
                    <a:pt x="587" y="1187"/>
                    <a:pt x="605" y="1177"/>
                  </a:cubicBezTo>
                  <a:cubicBezTo>
                    <a:pt x="632" y="1162"/>
                    <a:pt x="644" y="1136"/>
                    <a:pt x="649" y="1107"/>
                  </a:cubicBezTo>
                  <a:cubicBezTo>
                    <a:pt x="652" y="1089"/>
                    <a:pt x="649" y="1072"/>
                    <a:pt x="644" y="1054"/>
                  </a:cubicBezTo>
                  <a:cubicBezTo>
                    <a:pt x="638" y="1034"/>
                    <a:pt x="627" y="1019"/>
                    <a:pt x="610" y="1007"/>
                  </a:cubicBezTo>
                  <a:cubicBezTo>
                    <a:pt x="589" y="992"/>
                    <a:pt x="566" y="991"/>
                    <a:pt x="541" y="994"/>
                  </a:cubicBezTo>
                  <a:cubicBezTo>
                    <a:pt x="526" y="995"/>
                    <a:pt x="512" y="1002"/>
                    <a:pt x="500" y="1012"/>
                  </a:cubicBezTo>
                  <a:cubicBezTo>
                    <a:pt x="476" y="1032"/>
                    <a:pt x="469" y="1060"/>
                    <a:pt x="466" y="1095"/>
                  </a:cubicBezTo>
                  <a:cubicBezTo>
                    <a:pt x="465" y="1101"/>
                    <a:pt x="470" y="1111"/>
                    <a:pt x="472" y="1122"/>
                  </a:cubicBezTo>
                  <a:close/>
                  <a:moveTo>
                    <a:pt x="508" y="1113"/>
                  </a:moveTo>
                  <a:cubicBezTo>
                    <a:pt x="505" y="1095"/>
                    <a:pt x="506" y="1078"/>
                    <a:pt x="508" y="1061"/>
                  </a:cubicBezTo>
                  <a:cubicBezTo>
                    <a:pt x="511" y="1042"/>
                    <a:pt x="538" y="1021"/>
                    <a:pt x="554" y="1022"/>
                  </a:cubicBezTo>
                  <a:cubicBezTo>
                    <a:pt x="570" y="1022"/>
                    <a:pt x="586" y="1024"/>
                    <a:pt x="596" y="1037"/>
                  </a:cubicBezTo>
                  <a:cubicBezTo>
                    <a:pt x="602" y="1044"/>
                    <a:pt x="607" y="1052"/>
                    <a:pt x="608" y="1061"/>
                  </a:cubicBezTo>
                  <a:cubicBezTo>
                    <a:pt x="608" y="1064"/>
                    <a:pt x="609" y="1067"/>
                    <a:pt x="610" y="1070"/>
                  </a:cubicBezTo>
                  <a:cubicBezTo>
                    <a:pt x="618" y="1089"/>
                    <a:pt x="612" y="1107"/>
                    <a:pt x="607" y="1125"/>
                  </a:cubicBezTo>
                  <a:cubicBezTo>
                    <a:pt x="601" y="1143"/>
                    <a:pt x="588" y="1160"/>
                    <a:pt x="558" y="1157"/>
                  </a:cubicBezTo>
                  <a:cubicBezTo>
                    <a:pt x="530" y="1157"/>
                    <a:pt x="512" y="1141"/>
                    <a:pt x="508" y="1113"/>
                  </a:cubicBezTo>
                  <a:close/>
                  <a:moveTo>
                    <a:pt x="430" y="716"/>
                  </a:moveTo>
                  <a:cubicBezTo>
                    <a:pt x="450" y="703"/>
                    <a:pt x="459" y="683"/>
                    <a:pt x="464" y="661"/>
                  </a:cubicBezTo>
                  <a:cubicBezTo>
                    <a:pt x="468" y="648"/>
                    <a:pt x="467" y="635"/>
                    <a:pt x="466" y="621"/>
                  </a:cubicBezTo>
                  <a:cubicBezTo>
                    <a:pt x="463" y="592"/>
                    <a:pt x="453" y="567"/>
                    <a:pt x="427" y="550"/>
                  </a:cubicBezTo>
                  <a:cubicBezTo>
                    <a:pt x="401" y="534"/>
                    <a:pt x="372" y="532"/>
                    <a:pt x="345" y="541"/>
                  </a:cubicBezTo>
                  <a:cubicBezTo>
                    <a:pt x="310" y="552"/>
                    <a:pt x="291" y="580"/>
                    <a:pt x="287" y="617"/>
                  </a:cubicBezTo>
                  <a:cubicBezTo>
                    <a:pt x="286" y="629"/>
                    <a:pt x="286" y="641"/>
                    <a:pt x="287" y="654"/>
                  </a:cubicBezTo>
                  <a:cubicBezTo>
                    <a:pt x="289" y="671"/>
                    <a:pt x="295" y="686"/>
                    <a:pt x="306" y="700"/>
                  </a:cubicBezTo>
                  <a:cubicBezTo>
                    <a:pt x="324" y="722"/>
                    <a:pt x="348" y="733"/>
                    <a:pt x="378" y="731"/>
                  </a:cubicBezTo>
                  <a:cubicBezTo>
                    <a:pt x="396" y="733"/>
                    <a:pt x="414" y="727"/>
                    <a:pt x="430" y="716"/>
                  </a:cubicBezTo>
                  <a:close/>
                  <a:moveTo>
                    <a:pt x="331" y="592"/>
                  </a:moveTo>
                  <a:cubicBezTo>
                    <a:pt x="339" y="580"/>
                    <a:pt x="349" y="569"/>
                    <a:pt x="365" y="567"/>
                  </a:cubicBezTo>
                  <a:cubicBezTo>
                    <a:pt x="387" y="564"/>
                    <a:pt x="406" y="568"/>
                    <a:pt x="419" y="588"/>
                  </a:cubicBezTo>
                  <a:cubicBezTo>
                    <a:pt x="423" y="595"/>
                    <a:pt x="426" y="603"/>
                    <a:pt x="427" y="610"/>
                  </a:cubicBezTo>
                  <a:cubicBezTo>
                    <a:pt x="433" y="635"/>
                    <a:pt x="431" y="661"/>
                    <a:pt x="416" y="684"/>
                  </a:cubicBezTo>
                  <a:cubicBezTo>
                    <a:pt x="403" y="706"/>
                    <a:pt x="362" y="708"/>
                    <a:pt x="345" y="692"/>
                  </a:cubicBezTo>
                  <a:cubicBezTo>
                    <a:pt x="329" y="678"/>
                    <a:pt x="323" y="661"/>
                    <a:pt x="323" y="631"/>
                  </a:cubicBezTo>
                  <a:cubicBezTo>
                    <a:pt x="323" y="619"/>
                    <a:pt x="323" y="605"/>
                    <a:pt x="331" y="592"/>
                  </a:cubicBezTo>
                  <a:close/>
                  <a:moveTo>
                    <a:pt x="1073" y="259"/>
                  </a:moveTo>
                  <a:cubicBezTo>
                    <a:pt x="1073" y="269"/>
                    <a:pt x="1075" y="272"/>
                    <a:pt x="1086" y="272"/>
                  </a:cubicBezTo>
                  <a:cubicBezTo>
                    <a:pt x="1088" y="272"/>
                    <a:pt x="1090" y="272"/>
                    <a:pt x="1092" y="272"/>
                  </a:cubicBezTo>
                  <a:cubicBezTo>
                    <a:pt x="1105" y="272"/>
                    <a:pt x="1106" y="271"/>
                    <a:pt x="1106" y="258"/>
                  </a:cubicBezTo>
                  <a:cubicBezTo>
                    <a:pt x="1106" y="221"/>
                    <a:pt x="1106" y="184"/>
                    <a:pt x="1106" y="147"/>
                  </a:cubicBezTo>
                  <a:cubicBezTo>
                    <a:pt x="1106" y="143"/>
                    <a:pt x="1106" y="140"/>
                    <a:pt x="1107" y="137"/>
                  </a:cubicBezTo>
                  <a:cubicBezTo>
                    <a:pt x="1117" y="117"/>
                    <a:pt x="1157" y="104"/>
                    <a:pt x="1177" y="114"/>
                  </a:cubicBezTo>
                  <a:cubicBezTo>
                    <a:pt x="1179" y="115"/>
                    <a:pt x="1180" y="117"/>
                    <a:pt x="1182" y="118"/>
                  </a:cubicBezTo>
                  <a:cubicBezTo>
                    <a:pt x="1194" y="131"/>
                    <a:pt x="1196" y="147"/>
                    <a:pt x="1196" y="163"/>
                  </a:cubicBezTo>
                  <a:cubicBezTo>
                    <a:pt x="1197" y="195"/>
                    <a:pt x="1196" y="226"/>
                    <a:pt x="1196" y="258"/>
                  </a:cubicBezTo>
                  <a:cubicBezTo>
                    <a:pt x="1196" y="271"/>
                    <a:pt x="1197" y="272"/>
                    <a:pt x="1210" y="272"/>
                  </a:cubicBezTo>
                  <a:cubicBezTo>
                    <a:pt x="1212" y="272"/>
                    <a:pt x="1213" y="272"/>
                    <a:pt x="1215" y="272"/>
                  </a:cubicBezTo>
                  <a:cubicBezTo>
                    <a:pt x="1227" y="272"/>
                    <a:pt x="1229" y="270"/>
                    <a:pt x="1229" y="258"/>
                  </a:cubicBezTo>
                  <a:cubicBezTo>
                    <a:pt x="1229" y="222"/>
                    <a:pt x="1229" y="187"/>
                    <a:pt x="1229" y="151"/>
                  </a:cubicBezTo>
                  <a:cubicBezTo>
                    <a:pt x="1229" y="142"/>
                    <a:pt x="1228" y="132"/>
                    <a:pt x="1225" y="123"/>
                  </a:cubicBezTo>
                  <a:cubicBezTo>
                    <a:pt x="1219" y="105"/>
                    <a:pt x="1208" y="91"/>
                    <a:pt x="1189" y="85"/>
                  </a:cubicBezTo>
                  <a:cubicBezTo>
                    <a:pt x="1173" y="80"/>
                    <a:pt x="1156" y="84"/>
                    <a:pt x="1139" y="84"/>
                  </a:cubicBezTo>
                  <a:cubicBezTo>
                    <a:pt x="1137" y="84"/>
                    <a:pt x="1136" y="86"/>
                    <a:pt x="1134" y="87"/>
                  </a:cubicBezTo>
                  <a:cubicBezTo>
                    <a:pt x="1128" y="91"/>
                    <a:pt x="1121" y="96"/>
                    <a:pt x="1115" y="100"/>
                  </a:cubicBezTo>
                  <a:cubicBezTo>
                    <a:pt x="1113" y="102"/>
                    <a:pt x="1111" y="105"/>
                    <a:pt x="1108" y="103"/>
                  </a:cubicBezTo>
                  <a:cubicBezTo>
                    <a:pt x="1105" y="102"/>
                    <a:pt x="1106" y="98"/>
                    <a:pt x="1106" y="96"/>
                  </a:cubicBezTo>
                  <a:cubicBezTo>
                    <a:pt x="1106" y="69"/>
                    <a:pt x="1106" y="43"/>
                    <a:pt x="1106" y="17"/>
                  </a:cubicBezTo>
                  <a:cubicBezTo>
                    <a:pt x="1106" y="0"/>
                    <a:pt x="1106" y="0"/>
                    <a:pt x="1089" y="0"/>
                  </a:cubicBezTo>
                  <a:cubicBezTo>
                    <a:pt x="1074" y="0"/>
                    <a:pt x="1073" y="1"/>
                    <a:pt x="1073" y="16"/>
                  </a:cubicBezTo>
                  <a:cubicBezTo>
                    <a:pt x="1073" y="56"/>
                    <a:pt x="1073" y="96"/>
                    <a:pt x="1073" y="136"/>
                  </a:cubicBezTo>
                  <a:cubicBezTo>
                    <a:pt x="1073" y="177"/>
                    <a:pt x="1073" y="218"/>
                    <a:pt x="1073" y="259"/>
                  </a:cubicBezTo>
                  <a:close/>
                  <a:moveTo>
                    <a:pt x="1150" y="1092"/>
                  </a:moveTo>
                  <a:cubicBezTo>
                    <a:pt x="1168" y="1092"/>
                    <a:pt x="1186" y="1092"/>
                    <a:pt x="1204" y="1092"/>
                  </a:cubicBezTo>
                  <a:cubicBezTo>
                    <a:pt x="1215" y="1092"/>
                    <a:pt x="1218" y="1087"/>
                    <a:pt x="1219" y="1077"/>
                  </a:cubicBezTo>
                  <a:cubicBezTo>
                    <a:pt x="1220" y="1062"/>
                    <a:pt x="1216" y="1049"/>
                    <a:pt x="1210" y="1036"/>
                  </a:cubicBezTo>
                  <a:cubicBezTo>
                    <a:pt x="1204" y="1020"/>
                    <a:pt x="1193" y="1008"/>
                    <a:pt x="1177" y="1001"/>
                  </a:cubicBezTo>
                  <a:cubicBezTo>
                    <a:pt x="1155" y="992"/>
                    <a:pt x="1133" y="991"/>
                    <a:pt x="1109" y="999"/>
                  </a:cubicBezTo>
                  <a:cubicBezTo>
                    <a:pt x="1079" y="1010"/>
                    <a:pt x="1062" y="1031"/>
                    <a:pt x="1056" y="1061"/>
                  </a:cubicBezTo>
                  <a:cubicBezTo>
                    <a:pt x="1051" y="1090"/>
                    <a:pt x="1052" y="1120"/>
                    <a:pt x="1069" y="1148"/>
                  </a:cubicBezTo>
                  <a:cubicBezTo>
                    <a:pt x="1081" y="1169"/>
                    <a:pt x="1100" y="1180"/>
                    <a:pt x="1122" y="1185"/>
                  </a:cubicBezTo>
                  <a:cubicBezTo>
                    <a:pt x="1149" y="1190"/>
                    <a:pt x="1176" y="1186"/>
                    <a:pt x="1200" y="1171"/>
                  </a:cubicBezTo>
                  <a:cubicBezTo>
                    <a:pt x="1206" y="1168"/>
                    <a:pt x="1213" y="1165"/>
                    <a:pt x="1214" y="1157"/>
                  </a:cubicBezTo>
                  <a:cubicBezTo>
                    <a:pt x="1215" y="1147"/>
                    <a:pt x="1202" y="1139"/>
                    <a:pt x="1193" y="1144"/>
                  </a:cubicBezTo>
                  <a:cubicBezTo>
                    <a:pt x="1187" y="1147"/>
                    <a:pt x="1180" y="1150"/>
                    <a:pt x="1174" y="1153"/>
                  </a:cubicBezTo>
                  <a:cubicBezTo>
                    <a:pt x="1158" y="1161"/>
                    <a:pt x="1140" y="1161"/>
                    <a:pt x="1124" y="1155"/>
                  </a:cubicBezTo>
                  <a:cubicBezTo>
                    <a:pt x="1112" y="1151"/>
                    <a:pt x="1102" y="1142"/>
                    <a:pt x="1096" y="1129"/>
                  </a:cubicBezTo>
                  <a:cubicBezTo>
                    <a:pt x="1092" y="1121"/>
                    <a:pt x="1091" y="1112"/>
                    <a:pt x="1089" y="1104"/>
                  </a:cubicBezTo>
                  <a:cubicBezTo>
                    <a:pt x="1087" y="1093"/>
                    <a:pt x="1087" y="1092"/>
                    <a:pt x="1099" y="1092"/>
                  </a:cubicBezTo>
                  <a:cubicBezTo>
                    <a:pt x="1116" y="1092"/>
                    <a:pt x="1133" y="1092"/>
                    <a:pt x="1150" y="1092"/>
                  </a:cubicBezTo>
                  <a:cubicBezTo>
                    <a:pt x="1150" y="1092"/>
                    <a:pt x="1150" y="1092"/>
                    <a:pt x="1150" y="1092"/>
                  </a:cubicBezTo>
                  <a:close/>
                  <a:moveTo>
                    <a:pt x="1099" y="1070"/>
                  </a:moveTo>
                  <a:cubicBezTo>
                    <a:pt x="1092" y="1071"/>
                    <a:pt x="1089" y="1067"/>
                    <a:pt x="1091" y="1060"/>
                  </a:cubicBezTo>
                  <a:cubicBezTo>
                    <a:pt x="1094" y="1045"/>
                    <a:pt x="1108" y="1023"/>
                    <a:pt x="1128" y="1022"/>
                  </a:cubicBezTo>
                  <a:cubicBezTo>
                    <a:pt x="1142" y="1021"/>
                    <a:pt x="1156" y="1018"/>
                    <a:pt x="1168" y="1029"/>
                  </a:cubicBezTo>
                  <a:cubicBezTo>
                    <a:pt x="1181" y="1038"/>
                    <a:pt x="1185" y="1051"/>
                    <a:pt x="1187" y="1066"/>
                  </a:cubicBezTo>
                  <a:cubicBezTo>
                    <a:pt x="1188" y="1071"/>
                    <a:pt x="1183" y="1070"/>
                    <a:pt x="1180" y="1070"/>
                  </a:cubicBezTo>
                  <a:cubicBezTo>
                    <a:pt x="1166" y="1070"/>
                    <a:pt x="1153" y="1070"/>
                    <a:pt x="1139" y="1070"/>
                  </a:cubicBezTo>
                  <a:cubicBezTo>
                    <a:pt x="1139" y="1070"/>
                    <a:pt x="1139" y="1070"/>
                    <a:pt x="1139" y="1070"/>
                  </a:cubicBezTo>
                  <a:cubicBezTo>
                    <a:pt x="1126" y="1070"/>
                    <a:pt x="1113" y="1070"/>
                    <a:pt x="1099" y="1070"/>
                  </a:cubicBezTo>
                  <a:close/>
                  <a:moveTo>
                    <a:pt x="1741" y="1092"/>
                  </a:moveTo>
                  <a:cubicBezTo>
                    <a:pt x="1759" y="1092"/>
                    <a:pt x="1776" y="1092"/>
                    <a:pt x="1793" y="1092"/>
                  </a:cubicBezTo>
                  <a:cubicBezTo>
                    <a:pt x="1806" y="1092"/>
                    <a:pt x="1808" y="1089"/>
                    <a:pt x="1808" y="1076"/>
                  </a:cubicBezTo>
                  <a:cubicBezTo>
                    <a:pt x="1809" y="1063"/>
                    <a:pt x="1807" y="1051"/>
                    <a:pt x="1802" y="1038"/>
                  </a:cubicBezTo>
                  <a:cubicBezTo>
                    <a:pt x="1794" y="1021"/>
                    <a:pt x="1782" y="1008"/>
                    <a:pt x="1764" y="1000"/>
                  </a:cubicBezTo>
                  <a:cubicBezTo>
                    <a:pt x="1742" y="991"/>
                    <a:pt x="1720" y="991"/>
                    <a:pt x="1698" y="1000"/>
                  </a:cubicBezTo>
                  <a:cubicBezTo>
                    <a:pt x="1681" y="1006"/>
                    <a:pt x="1668" y="1016"/>
                    <a:pt x="1659" y="1031"/>
                  </a:cubicBezTo>
                  <a:cubicBezTo>
                    <a:pt x="1646" y="1050"/>
                    <a:pt x="1643" y="1071"/>
                    <a:pt x="1644" y="1094"/>
                  </a:cubicBezTo>
                  <a:cubicBezTo>
                    <a:pt x="1644" y="1110"/>
                    <a:pt x="1647" y="1127"/>
                    <a:pt x="1655" y="1141"/>
                  </a:cubicBezTo>
                  <a:cubicBezTo>
                    <a:pt x="1669" y="1168"/>
                    <a:pt x="1691" y="1183"/>
                    <a:pt x="1722" y="1186"/>
                  </a:cubicBezTo>
                  <a:cubicBezTo>
                    <a:pt x="1750" y="1188"/>
                    <a:pt x="1775" y="1183"/>
                    <a:pt x="1798" y="1165"/>
                  </a:cubicBezTo>
                  <a:cubicBezTo>
                    <a:pt x="1803" y="1161"/>
                    <a:pt x="1806" y="1157"/>
                    <a:pt x="1802" y="1151"/>
                  </a:cubicBezTo>
                  <a:cubicBezTo>
                    <a:pt x="1798" y="1144"/>
                    <a:pt x="1791" y="1140"/>
                    <a:pt x="1783" y="1144"/>
                  </a:cubicBezTo>
                  <a:cubicBezTo>
                    <a:pt x="1778" y="1147"/>
                    <a:pt x="1771" y="1149"/>
                    <a:pt x="1766" y="1152"/>
                  </a:cubicBezTo>
                  <a:cubicBezTo>
                    <a:pt x="1749" y="1161"/>
                    <a:pt x="1730" y="1162"/>
                    <a:pt x="1714" y="1155"/>
                  </a:cubicBezTo>
                  <a:cubicBezTo>
                    <a:pt x="1692" y="1145"/>
                    <a:pt x="1680" y="1127"/>
                    <a:pt x="1679" y="1102"/>
                  </a:cubicBezTo>
                  <a:cubicBezTo>
                    <a:pt x="1678" y="1095"/>
                    <a:pt x="1681" y="1092"/>
                    <a:pt x="1689" y="1092"/>
                  </a:cubicBezTo>
                  <a:cubicBezTo>
                    <a:pt x="1706" y="1092"/>
                    <a:pt x="1724" y="1092"/>
                    <a:pt x="1741" y="1092"/>
                  </a:cubicBezTo>
                  <a:cubicBezTo>
                    <a:pt x="1741" y="1092"/>
                    <a:pt x="1741" y="1092"/>
                    <a:pt x="1741" y="1092"/>
                  </a:cubicBezTo>
                  <a:close/>
                  <a:moveTo>
                    <a:pt x="1690" y="1070"/>
                  </a:moveTo>
                  <a:cubicBezTo>
                    <a:pt x="1683" y="1071"/>
                    <a:pt x="1680" y="1068"/>
                    <a:pt x="1681" y="1062"/>
                  </a:cubicBezTo>
                  <a:cubicBezTo>
                    <a:pt x="1683" y="1048"/>
                    <a:pt x="1697" y="1024"/>
                    <a:pt x="1716" y="1022"/>
                  </a:cubicBezTo>
                  <a:cubicBezTo>
                    <a:pt x="1731" y="1020"/>
                    <a:pt x="1747" y="1018"/>
                    <a:pt x="1760" y="1030"/>
                  </a:cubicBezTo>
                  <a:cubicBezTo>
                    <a:pt x="1771" y="1038"/>
                    <a:pt x="1775" y="1050"/>
                    <a:pt x="1778" y="1062"/>
                  </a:cubicBezTo>
                  <a:cubicBezTo>
                    <a:pt x="1780" y="1068"/>
                    <a:pt x="1775" y="1070"/>
                    <a:pt x="1769" y="1070"/>
                  </a:cubicBezTo>
                  <a:cubicBezTo>
                    <a:pt x="1756" y="1070"/>
                    <a:pt x="1742" y="1070"/>
                    <a:pt x="1729" y="1070"/>
                  </a:cubicBezTo>
                  <a:cubicBezTo>
                    <a:pt x="1729" y="1070"/>
                    <a:pt x="1729" y="1070"/>
                    <a:pt x="1729" y="1070"/>
                  </a:cubicBezTo>
                  <a:cubicBezTo>
                    <a:pt x="1716" y="1070"/>
                    <a:pt x="1703" y="1070"/>
                    <a:pt x="1690" y="1070"/>
                  </a:cubicBezTo>
                  <a:close/>
                  <a:moveTo>
                    <a:pt x="68" y="581"/>
                  </a:moveTo>
                  <a:cubicBezTo>
                    <a:pt x="68" y="573"/>
                    <a:pt x="70" y="568"/>
                    <a:pt x="80" y="569"/>
                  </a:cubicBezTo>
                  <a:cubicBezTo>
                    <a:pt x="90" y="570"/>
                    <a:pt x="101" y="570"/>
                    <a:pt x="111" y="569"/>
                  </a:cubicBezTo>
                  <a:cubicBezTo>
                    <a:pt x="120" y="569"/>
                    <a:pt x="120" y="563"/>
                    <a:pt x="120" y="556"/>
                  </a:cubicBezTo>
                  <a:cubicBezTo>
                    <a:pt x="120" y="549"/>
                    <a:pt x="119" y="544"/>
                    <a:pt x="111" y="544"/>
                  </a:cubicBezTo>
                  <a:cubicBezTo>
                    <a:pt x="104" y="544"/>
                    <a:pt x="97" y="544"/>
                    <a:pt x="91" y="544"/>
                  </a:cubicBezTo>
                  <a:cubicBezTo>
                    <a:pt x="66" y="544"/>
                    <a:pt x="65" y="543"/>
                    <a:pt x="68" y="518"/>
                  </a:cubicBezTo>
                  <a:cubicBezTo>
                    <a:pt x="69" y="504"/>
                    <a:pt x="83" y="487"/>
                    <a:pt x="99" y="489"/>
                  </a:cubicBezTo>
                  <a:cubicBezTo>
                    <a:pt x="103" y="489"/>
                    <a:pt x="107" y="489"/>
                    <a:pt x="110" y="488"/>
                  </a:cubicBezTo>
                  <a:cubicBezTo>
                    <a:pt x="118" y="487"/>
                    <a:pt x="123" y="479"/>
                    <a:pt x="123" y="471"/>
                  </a:cubicBezTo>
                  <a:cubicBezTo>
                    <a:pt x="123" y="461"/>
                    <a:pt x="116" y="462"/>
                    <a:pt x="109" y="460"/>
                  </a:cubicBezTo>
                  <a:cubicBezTo>
                    <a:pt x="100" y="458"/>
                    <a:pt x="92" y="460"/>
                    <a:pt x="84" y="460"/>
                  </a:cubicBezTo>
                  <a:cubicBezTo>
                    <a:pt x="68" y="461"/>
                    <a:pt x="56" y="469"/>
                    <a:pt x="47" y="480"/>
                  </a:cubicBezTo>
                  <a:cubicBezTo>
                    <a:pt x="34" y="493"/>
                    <a:pt x="32" y="511"/>
                    <a:pt x="32" y="529"/>
                  </a:cubicBezTo>
                  <a:cubicBezTo>
                    <a:pt x="32" y="544"/>
                    <a:pt x="32" y="544"/>
                    <a:pt x="17" y="544"/>
                  </a:cubicBezTo>
                  <a:cubicBezTo>
                    <a:pt x="4" y="543"/>
                    <a:pt x="0" y="548"/>
                    <a:pt x="4" y="561"/>
                  </a:cubicBezTo>
                  <a:cubicBezTo>
                    <a:pt x="6" y="569"/>
                    <a:pt x="13" y="568"/>
                    <a:pt x="19" y="569"/>
                  </a:cubicBezTo>
                  <a:cubicBezTo>
                    <a:pt x="32" y="571"/>
                    <a:pt x="32" y="571"/>
                    <a:pt x="32" y="584"/>
                  </a:cubicBezTo>
                  <a:cubicBezTo>
                    <a:pt x="32" y="624"/>
                    <a:pt x="32" y="664"/>
                    <a:pt x="32" y="704"/>
                  </a:cubicBezTo>
                  <a:cubicBezTo>
                    <a:pt x="32" y="731"/>
                    <a:pt x="32" y="730"/>
                    <a:pt x="57" y="731"/>
                  </a:cubicBezTo>
                  <a:cubicBezTo>
                    <a:pt x="66" y="731"/>
                    <a:pt x="68" y="727"/>
                    <a:pt x="68" y="720"/>
                  </a:cubicBezTo>
                  <a:cubicBezTo>
                    <a:pt x="68" y="697"/>
                    <a:pt x="68" y="674"/>
                    <a:pt x="68" y="651"/>
                  </a:cubicBezTo>
                  <a:cubicBezTo>
                    <a:pt x="68" y="628"/>
                    <a:pt x="68" y="605"/>
                    <a:pt x="68" y="581"/>
                  </a:cubicBezTo>
                  <a:close/>
                  <a:moveTo>
                    <a:pt x="278" y="1165"/>
                  </a:moveTo>
                  <a:cubicBezTo>
                    <a:pt x="278" y="1183"/>
                    <a:pt x="278" y="1183"/>
                    <a:pt x="296" y="1184"/>
                  </a:cubicBezTo>
                  <a:cubicBezTo>
                    <a:pt x="310" y="1184"/>
                    <a:pt x="310" y="1184"/>
                    <a:pt x="310" y="1169"/>
                  </a:cubicBezTo>
                  <a:cubicBezTo>
                    <a:pt x="310" y="1132"/>
                    <a:pt x="310" y="1095"/>
                    <a:pt x="310" y="1058"/>
                  </a:cubicBezTo>
                  <a:cubicBezTo>
                    <a:pt x="310" y="1052"/>
                    <a:pt x="312" y="1047"/>
                    <a:pt x="316" y="1042"/>
                  </a:cubicBezTo>
                  <a:cubicBezTo>
                    <a:pt x="324" y="1033"/>
                    <a:pt x="334" y="1027"/>
                    <a:pt x="345" y="1024"/>
                  </a:cubicBezTo>
                  <a:cubicBezTo>
                    <a:pt x="357" y="1020"/>
                    <a:pt x="371" y="1018"/>
                    <a:pt x="383" y="1028"/>
                  </a:cubicBezTo>
                  <a:cubicBezTo>
                    <a:pt x="397" y="1039"/>
                    <a:pt x="401" y="1054"/>
                    <a:pt x="401" y="1071"/>
                  </a:cubicBezTo>
                  <a:cubicBezTo>
                    <a:pt x="401" y="1102"/>
                    <a:pt x="401" y="1132"/>
                    <a:pt x="401" y="1163"/>
                  </a:cubicBezTo>
                  <a:cubicBezTo>
                    <a:pt x="401" y="1183"/>
                    <a:pt x="401" y="1182"/>
                    <a:pt x="420" y="1184"/>
                  </a:cubicBezTo>
                  <a:cubicBezTo>
                    <a:pt x="429" y="1185"/>
                    <a:pt x="433" y="1181"/>
                    <a:pt x="433" y="1173"/>
                  </a:cubicBezTo>
                  <a:cubicBezTo>
                    <a:pt x="432" y="1130"/>
                    <a:pt x="435" y="1087"/>
                    <a:pt x="431" y="1044"/>
                  </a:cubicBezTo>
                  <a:cubicBezTo>
                    <a:pt x="427" y="1014"/>
                    <a:pt x="404" y="996"/>
                    <a:pt x="376" y="994"/>
                  </a:cubicBezTo>
                  <a:cubicBezTo>
                    <a:pt x="353" y="992"/>
                    <a:pt x="333" y="1000"/>
                    <a:pt x="317" y="1017"/>
                  </a:cubicBezTo>
                  <a:cubicBezTo>
                    <a:pt x="312" y="1021"/>
                    <a:pt x="311" y="1019"/>
                    <a:pt x="309" y="1015"/>
                  </a:cubicBezTo>
                  <a:cubicBezTo>
                    <a:pt x="309" y="1013"/>
                    <a:pt x="308" y="1011"/>
                    <a:pt x="308" y="1008"/>
                  </a:cubicBezTo>
                  <a:cubicBezTo>
                    <a:pt x="306" y="1001"/>
                    <a:pt x="298" y="997"/>
                    <a:pt x="287" y="998"/>
                  </a:cubicBezTo>
                  <a:cubicBezTo>
                    <a:pt x="279" y="999"/>
                    <a:pt x="278" y="1004"/>
                    <a:pt x="278" y="1011"/>
                  </a:cubicBezTo>
                  <a:cubicBezTo>
                    <a:pt x="278" y="1037"/>
                    <a:pt x="278" y="1064"/>
                    <a:pt x="278" y="1091"/>
                  </a:cubicBezTo>
                  <a:cubicBezTo>
                    <a:pt x="278" y="1115"/>
                    <a:pt x="278" y="1140"/>
                    <a:pt x="278" y="1165"/>
                  </a:cubicBezTo>
                  <a:close/>
                  <a:moveTo>
                    <a:pt x="150" y="705"/>
                  </a:moveTo>
                  <a:cubicBezTo>
                    <a:pt x="150" y="734"/>
                    <a:pt x="145" y="730"/>
                    <a:pt x="176" y="731"/>
                  </a:cubicBezTo>
                  <a:cubicBezTo>
                    <a:pt x="185" y="731"/>
                    <a:pt x="187" y="727"/>
                    <a:pt x="187" y="719"/>
                  </a:cubicBezTo>
                  <a:cubicBezTo>
                    <a:pt x="187" y="685"/>
                    <a:pt x="187" y="651"/>
                    <a:pt x="187" y="618"/>
                  </a:cubicBezTo>
                  <a:cubicBezTo>
                    <a:pt x="187" y="597"/>
                    <a:pt x="204" y="578"/>
                    <a:pt x="225" y="574"/>
                  </a:cubicBezTo>
                  <a:cubicBezTo>
                    <a:pt x="232" y="572"/>
                    <a:pt x="240" y="574"/>
                    <a:pt x="247" y="575"/>
                  </a:cubicBezTo>
                  <a:cubicBezTo>
                    <a:pt x="257" y="576"/>
                    <a:pt x="261" y="572"/>
                    <a:pt x="265" y="564"/>
                  </a:cubicBezTo>
                  <a:cubicBezTo>
                    <a:pt x="269" y="556"/>
                    <a:pt x="267" y="542"/>
                    <a:pt x="261" y="540"/>
                  </a:cubicBezTo>
                  <a:cubicBezTo>
                    <a:pt x="253" y="538"/>
                    <a:pt x="244" y="534"/>
                    <a:pt x="237" y="536"/>
                  </a:cubicBezTo>
                  <a:cubicBezTo>
                    <a:pt x="228" y="537"/>
                    <a:pt x="217" y="537"/>
                    <a:pt x="209" y="544"/>
                  </a:cubicBezTo>
                  <a:cubicBezTo>
                    <a:pt x="204" y="549"/>
                    <a:pt x="198" y="553"/>
                    <a:pt x="194" y="558"/>
                  </a:cubicBezTo>
                  <a:cubicBezTo>
                    <a:pt x="192" y="561"/>
                    <a:pt x="189" y="563"/>
                    <a:pt x="185" y="562"/>
                  </a:cubicBezTo>
                  <a:cubicBezTo>
                    <a:pt x="182" y="561"/>
                    <a:pt x="182" y="558"/>
                    <a:pt x="182" y="556"/>
                  </a:cubicBezTo>
                  <a:cubicBezTo>
                    <a:pt x="180" y="539"/>
                    <a:pt x="179" y="539"/>
                    <a:pt x="162" y="539"/>
                  </a:cubicBezTo>
                  <a:cubicBezTo>
                    <a:pt x="151" y="539"/>
                    <a:pt x="150" y="540"/>
                    <a:pt x="150" y="551"/>
                  </a:cubicBezTo>
                  <a:cubicBezTo>
                    <a:pt x="150" y="579"/>
                    <a:pt x="150" y="607"/>
                    <a:pt x="150" y="635"/>
                  </a:cubicBezTo>
                  <a:cubicBezTo>
                    <a:pt x="150" y="658"/>
                    <a:pt x="149" y="682"/>
                    <a:pt x="150" y="705"/>
                  </a:cubicBezTo>
                  <a:close/>
                  <a:moveTo>
                    <a:pt x="1011" y="1049"/>
                  </a:moveTo>
                  <a:cubicBezTo>
                    <a:pt x="1011" y="1008"/>
                    <a:pt x="1011" y="966"/>
                    <a:pt x="1011" y="924"/>
                  </a:cubicBezTo>
                  <a:cubicBezTo>
                    <a:pt x="1011" y="913"/>
                    <a:pt x="1008" y="910"/>
                    <a:pt x="997" y="910"/>
                  </a:cubicBezTo>
                  <a:cubicBezTo>
                    <a:pt x="995" y="910"/>
                    <a:pt x="992" y="910"/>
                    <a:pt x="990" y="910"/>
                  </a:cubicBezTo>
                  <a:cubicBezTo>
                    <a:pt x="976" y="910"/>
                    <a:pt x="975" y="911"/>
                    <a:pt x="975" y="926"/>
                  </a:cubicBezTo>
                  <a:cubicBezTo>
                    <a:pt x="975" y="1006"/>
                    <a:pt x="975" y="1085"/>
                    <a:pt x="975" y="1165"/>
                  </a:cubicBezTo>
                  <a:cubicBezTo>
                    <a:pt x="975" y="1185"/>
                    <a:pt x="975" y="1185"/>
                    <a:pt x="994" y="1185"/>
                  </a:cubicBezTo>
                  <a:cubicBezTo>
                    <a:pt x="1009" y="1185"/>
                    <a:pt x="1011" y="1184"/>
                    <a:pt x="1011" y="1169"/>
                  </a:cubicBezTo>
                  <a:cubicBezTo>
                    <a:pt x="1011" y="1129"/>
                    <a:pt x="1011" y="1089"/>
                    <a:pt x="1011" y="1049"/>
                  </a:cubicBezTo>
                  <a:cubicBezTo>
                    <a:pt x="1011" y="1049"/>
                    <a:pt x="1011" y="1049"/>
                    <a:pt x="1011" y="1049"/>
                  </a:cubicBezTo>
                  <a:close/>
                  <a:moveTo>
                    <a:pt x="296" y="176"/>
                  </a:moveTo>
                  <a:cubicBezTo>
                    <a:pt x="296" y="201"/>
                    <a:pt x="296" y="226"/>
                    <a:pt x="296" y="251"/>
                  </a:cubicBezTo>
                  <a:cubicBezTo>
                    <a:pt x="295" y="276"/>
                    <a:pt x="296" y="274"/>
                    <a:pt x="318" y="274"/>
                  </a:cubicBezTo>
                  <a:cubicBezTo>
                    <a:pt x="330" y="274"/>
                    <a:pt x="331" y="274"/>
                    <a:pt x="331" y="260"/>
                  </a:cubicBezTo>
                  <a:cubicBezTo>
                    <a:pt x="331" y="232"/>
                    <a:pt x="331" y="204"/>
                    <a:pt x="331" y="176"/>
                  </a:cubicBezTo>
                  <a:cubicBezTo>
                    <a:pt x="331" y="165"/>
                    <a:pt x="331" y="155"/>
                    <a:pt x="337" y="145"/>
                  </a:cubicBezTo>
                  <a:cubicBezTo>
                    <a:pt x="349" y="123"/>
                    <a:pt x="359" y="117"/>
                    <a:pt x="377" y="118"/>
                  </a:cubicBezTo>
                  <a:cubicBezTo>
                    <a:pt x="383" y="118"/>
                    <a:pt x="389" y="119"/>
                    <a:pt x="395" y="120"/>
                  </a:cubicBezTo>
                  <a:cubicBezTo>
                    <a:pt x="401" y="120"/>
                    <a:pt x="407" y="118"/>
                    <a:pt x="408" y="112"/>
                  </a:cubicBezTo>
                  <a:cubicBezTo>
                    <a:pt x="409" y="103"/>
                    <a:pt x="415" y="93"/>
                    <a:pt x="407" y="85"/>
                  </a:cubicBezTo>
                  <a:cubicBezTo>
                    <a:pt x="406" y="84"/>
                    <a:pt x="404" y="84"/>
                    <a:pt x="402" y="84"/>
                  </a:cubicBezTo>
                  <a:cubicBezTo>
                    <a:pt x="376" y="78"/>
                    <a:pt x="353" y="82"/>
                    <a:pt x="337" y="106"/>
                  </a:cubicBezTo>
                  <a:cubicBezTo>
                    <a:pt x="336" y="108"/>
                    <a:pt x="335" y="110"/>
                    <a:pt x="333" y="109"/>
                  </a:cubicBezTo>
                  <a:cubicBezTo>
                    <a:pt x="331" y="109"/>
                    <a:pt x="330" y="107"/>
                    <a:pt x="330" y="105"/>
                  </a:cubicBezTo>
                  <a:cubicBezTo>
                    <a:pt x="329" y="101"/>
                    <a:pt x="329" y="97"/>
                    <a:pt x="328" y="94"/>
                  </a:cubicBezTo>
                  <a:cubicBezTo>
                    <a:pt x="325" y="85"/>
                    <a:pt x="318" y="82"/>
                    <a:pt x="303" y="84"/>
                  </a:cubicBezTo>
                  <a:cubicBezTo>
                    <a:pt x="297" y="84"/>
                    <a:pt x="295" y="86"/>
                    <a:pt x="295" y="92"/>
                  </a:cubicBezTo>
                  <a:cubicBezTo>
                    <a:pt x="296" y="120"/>
                    <a:pt x="295" y="148"/>
                    <a:pt x="295" y="176"/>
                  </a:cubicBezTo>
                  <a:cubicBezTo>
                    <a:pt x="296" y="176"/>
                    <a:pt x="296" y="176"/>
                    <a:pt x="296" y="176"/>
                  </a:cubicBezTo>
                  <a:close/>
                  <a:moveTo>
                    <a:pt x="946" y="179"/>
                  </a:moveTo>
                  <a:cubicBezTo>
                    <a:pt x="946" y="197"/>
                    <a:pt x="946" y="215"/>
                    <a:pt x="946" y="234"/>
                  </a:cubicBezTo>
                  <a:cubicBezTo>
                    <a:pt x="946" y="248"/>
                    <a:pt x="951" y="260"/>
                    <a:pt x="963" y="268"/>
                  </a:cubicBezTo>
                  <a:cubicBezTo>
                    <a:pt x="982" y="280"/>
                    <a:pt x="1011" y="277"/>
                    <a:pt x="1029" y="264"/>
                  </a:cubicBezTo>
                  <a:cubicBezTo>
                    <a:pt x="1036" y="259"/>
                    <a:pt x="1036" y="254"/>
                    <a:pt x="1032" y="248"/>
                  </a:cubicBezTo>
                  <a:cubicBezTo>
                    <a:pt x="1026" y="239"/>
                    <a:pt x="1020" y="238"/>
                    <a:pt x="1013" y="242"/>
                  </a:cubicBezTo>
                  <a:cubicBezTo>
                    <a:pt x="996" y="252"/>
                    <a:pt x="978" y="243"/>
                    <a:pt x="978" y="223"/>
                  </a:cubicBezTo>
                  <a:cubicBezTo>
                    <a:pt x="978" y="190"/>
                    <a:pt x="978" y="157"/>
                    <a:pt x="978" y="123"/>
                  </a:cubicBezTo>
                  <a:cubicBezTo>
                    <a:pt x="978" y="116"/>
                    <a:pt x="981" y="113"/>
                    <a:pt x="988" y="113"/>
                  </a:cubicBezTo>
                  <a:cubicBezTo>
                    <a:pt x="999" y="114"/>
                    <a:pt x="1011" y="113"/>
                    <a:pt x="1022" y="113"/>
                  </a:cubicBezTo>
                  <a:cubicBezTo>
                    <a:pt x="1028" y="113"/>
                    <a:pt x="1033" y="112"/>
                    <a:pt x="1033" y="104"/>
                  </a:cubicBezTo>
                  <a:cubicBezTo>
                    <a:pt x="1033" y="96"/>
                    <a:pt x="1032" y="90"/>
                    <a:pt x="1022" y="90"/>
                  </a:cubicBezTo>
                  <a:cubicBezTo>
                    <a:pt x="1011" y="90"/>
                    <a:pt x="1001" y="90"/>
                    <a:pt x="990" y="90"/>
                  </a:cubicBezTo>
                  <a:cubicBezTo>
                    <a:pt x="981" y="91"/>
                    <a:pt x="977" y="88"/>
                    <a:pt x="978" y="78"/>
                  </a:cubicBezTo>
                  <a:cubicBezTo>
                    <a:pt x="978" y="64"/>
                    <a:pt x="978" y="49"/>
                    <a:pt x="978" y="35"/>
                  </a:cubicBezTo>
                  <a:cubicBezTo>
                    <a:pt x="978" y="30"/>
                    <a:pt x="978" y="25"/>
                    <a:pt x="971" y="24"/>
                  </a:cubicBezTo>
                  <a:cubicBezTo>
                    <a:pt x="964" y="24"/>
                    <a:pt x="956" y="24"/>
                    <a:pt x="955" y="32"/>
                  </a:cubicBezTo>
                  <a:cubicBezTo>
                    <a:pt x="952" y="43"/>
                    <a:pt x="949" y="54"/>
                    <a:pt x="949" y="65"/>
                  </a:cubicBezTo>
                  <a:cubicBezTo>
                    <a:pt x="948" y="88"/>
                    <a:pt x="947" y="88"/>
                    <a:pt x="924" y="91"/>
                  </a:cubicBezTo>
                  <a:cubicBezTo>
                    <a:pt x="919" y="92"/>
                    <a:pt x="914" y="92"/>
                    <a:pt x="914" y="99"/>
                  </a:cubicBezTo>
                  <a:cubicBezTo>
                    <a:pt x="915" y="107"/>
                    <a:pt x="917" y="113"/>
                    <a:pt x="926" y="113"/>
                  </a:cubicBezTo>
                  <a:cubicBezTo>
                    <a:pt x="929" y="114"/>
                    <a:pt x="932" y="113"/>
                    <a:pt x="935" y="113"/>
                  </a:cubicBezTo>
                  <a:cubicBezTo>
                    <a:pt x="943" y="113"/>
                    <a:pt x="946" y="116"/>
                    <a:pt x="946" y="124"/>
                  </a:cubicBezTo>
                  <a:cubicBezTo>
                    <a:pt x="946" y="142"/>
                    <a:pt x="946" y="161"/>
                    <a:pt x="946" y="179"/>
                  </a:cubicBezTo>
                  <a:cubicBezTo>
                    <a:pt x="946" y="179"/>
                    <a:pt x="946" y="179"/>
                    <a:pt x="946" y="179"/>
                  </a:cubicBezTo>
                  <a:close/>
                </a:path>
              </a:pathLst>
            </a:custGeom>
            <a:solidFill>
              <a:srgbClr val="4C505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grpSp>
          <p:nvGrpSpPr>
            <p:cNvPr id="18" name="Group 4">
              <a:extLst>
                <a:ext uri="{FF2B5EF4-FFF2-40B4-BE49-F238E27FC236}">
                  <a16:creationId xmlns:a16="http://schemas.microsoft.com/office/drawing/2014/main" id="{57BD2C4C-DC67-B843-B26C-309622FC75F7}"/>
                </a:ext>
              </a:extLst>
            </p:cNvPr>
            <p:cNvGrpSpPr>
              <a:grpSpLocks noChangeAspect="1"/>
            </p:cNvGrpSpPr>
            <p:nvPr/>
          </p:nvGrpSpPr>
          <p:grpSpPr bwMode="gray">
            <a:xfrm>
              <a:off x="334963" y="296652"/>
              <a:ext cx="538094" cy="540000"/>
              <a:chOff x="2711" y="1027"/>
              <a:chExt cx="2258" cy="2266"/>
            </a:xfrm>
          </p:grpSpPr>
          <p:sp>
            <p:nvSpPr>
              <p:cNvPr id="19" name="AutoShape 3">
                <a:extLst>
                  <a:ext uri="{FF2B5EF4-FFF2-40B4-BE49-F238E27FC236}">
                    <a16:creationId xmlns:a16="http://schemas.microsoft.com/office/drawing/2014/main" id="{FE1DC41B-291E-574C-9F2C-874E70A40758}"/>
                  </a:ext>
                </a:extLst>
              </p:cNvPr>
              <p:cNvSpPr>
                <a:spLocks noChangeAspect="1" noChangeArrowheads="1" noTextEdit="1"/>
              </p:cNvSpPr>
              <p:nvPr/>
            </p:nvSpPr>
            <p:spPr bwMode="gray">
              <a:xfrm>
                <a:off x="2711" y="1027"/>
                <a:ext cx="2258" cy="22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20" name="Freeform 5">
                <a:extLst>
                  <a:ext uri="{FF2B5EF4-FFF2-40B4-BE49-F238E27FC236}">
                    <a16:creationId xmlns:a16="http://schemas.microsoft.com/office/drawing/2014/main" id="{D4B633C8-F761-C54B-9BD2-EB59D49A2DBC}"/>
                  </a:ext>
                </a:extLst>
              </p:cNvPr>
              <p:cNvSpPr>
                <a:spLocks/>
              </p:cNvSpPr>
              <p:nvPr/>
            </p:nvSpPr>
            <p:spPr bwMode="gray">
              <a:xfrm>
                <a:off x="2709" y="1029"/>
                <a:ext cx="2260" cy="2262"/>
              </a:xfrm>
              <a:custGeom>
                <a:avLst/>
                <a:gdLst>
                  <a:gd name="T0" fmla="*/ 2260 w 2260"/>
                  <a:gd name="T1" fmla="*/ 0 h 2262"/>
                  <a:gd name="T2" fmla="*/ 1612 w 2260"/>
                  <a:gd name="T3" fmla="*/ 649 h 2262"/>
                  <a:gd name="T4" fmla="*/ 1612 w 2260"/>
                  <a:gd name="T5" fmla="*/ 649 h 2262"/>
                  <a:gd name="T6" fmla="*/ 2035 w 2260"/>
                  <a:gd name="T7" fmla="*/ 0 h 2262"/>
                  <a:gd name="T8" fmla="*/ 0 w 2260"/>
                  <a:gd name="T9" fmla="*/ 0 h 2262"/>
                  <a:gd name="T10" fmla="*/ 0 w 2260"/>
                  <a:gd name="T11" fmla="*/ 2262 h 2262"/>
                  <a:gd name="T12" fmla="*/ 2260 w 2260"/>
                  <a:gd name="T13" fmla="*/ 2262 h 2262"/>
                  <a:gd name="T14" fmla="*/ 2260 w 2260"/>
                  <a:gd name="T15" fmla="*/ 0 h 2262"/>
                  <a:gd name="T16" fmla="*/ 2260 w 2260"/>
                  <a:gd name="T17" fmla="*/ 0 h 2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0" h="2262">
                    <a:moveTo>
                      <a:pt x="2260" y="0"/>
                    </a:moveTo>
                    <a:lnTo>
                      <a:pt x="1612" y="649"/>
                    </a:lnTo>
                    <a:lnTo>
                      <a:pt x="1612" y="649"/>
                    </a:lnTo>
                    <a:lnTo>
                      <a:pt x="2035" y="0"/>
                    </a:lnTo>
                    <a:lnTo>
                      <a:pt x="0" y="0"/>
                    </a:lnTo>
                    <a:lnTo>
                      <a:pt x="0" y="2262"/>
                    </a:lnTo>
                    <a:lnTo>
                      <a:pt x="2260" y="2262"/>
                    </a:lnTo>
                    <a:lnTo>
                      <a:pt x="2260" y="0"/>
                    </a:lnTo>
                    <a:lnTo>
                      <a:pt x="2260" y="0"/>
                    </a:lnTo>
                    <a:close/>
                  </a:path>
                </a:pathLst>
              </a:custGeom>
              <a:solidFill>
                <a:srgbClr val="E55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21" name="Freeform 6">
                <a:extLst>
                  <a:ext uri="{FF2B5EF4-FFF2-40B4-BE49-F238E27FC236}">
                    <a16:creationId xmlns:a16="http://schemas.microsoft.com/office/drawing/2014/main" id="{B16BAAE4-1A41-C843-9754-490F7A1E1270}"/>
                  </a:ext>
                </a:extLst>
              </p:cNvPr>
              <p:cNvSpPr>
                <a:spLocks noEditPoints="1"/>
              </p:cNvSpPr>
              <p:nvPr/>
            </p:nvSpPr>
            <p:spPr bwMode="gray">
              <a:xfrm>
                <a:off x="3623" y="1696"/>
                <a:ext cx="1167" cy="922"/>
              </a:xfrm>
              <a:custGeom>
                <a:avLst/>
                <a:gdLst>
                  <a:gd name="T0" fmla="*/ 411 w 580"/>
                  <a:gd name="T1" fmla="*/ 213 h 458"/>
                  <a:gd name="T2" fmla="*/ 570 w 580"/>
                  <a:gd name="T3" fmla="*/ 37 h 458"/>
                  <a:gd name="T4" fmla="*/ 580 w 580"/>
                  <a:gd name="T5" fmla="*/ 20 h 458"/>
                  <a:gd name="T6" fmla="*/ 545 w 580"/>
                  <a:gd name="T7" fmla="*/ 0 h 458"/>
                  <a:gd name="T8" fmla="*/ 519 w 580"/>
                  <a:gd name="T9" fmla="*/ 16 h 458"/>
                  <a:gd name="T10" fmla="*/ 344 w 580"/>
                  <a:gd name="T11" fmla="*/ 210 h 458"/>
                  <a:gd name="T12" fmla="*/ 334 w 580"/>
                  <a:gd name="T13" fmla="*/ 229 h 458"/>
                  <a:gd name="T14" fmla="*/ 344 w 580"/>
                  <a:gd name="T15" fmla="*/ 248 h 458"/>
                  <a:gd name="T16" fmla="*/ 519 w 580"/>
                  <a:gd name="T17" fmla="*/ 442 h 458"/>
                  <a:gd name="T18" fmla="*/ 545 w 580"/>
                  <a:gd name="T19" fmla="*/ 458 h 458"/>
                  <a:gd name="T20" fmla="*/ 580 w 580"/>
                  <a:gd name="T21" fmla="*/ 438 h 458"/>
                  <a:gd name="T22" fmla="*/ 570 w 580"/>
                  <a:gd name="T23" fmla="*/ 421 h 458"/>
                  <a:gd name="T24" fmla="*/ 411 w 580"/>
                  <a:gd name="T25" fmla="*/ 245 h 458"/>
                  <a:gd name="T26" fmla="*/ 399 w 580"/>
                  <a:gd name="T27" fmla="*/ 229 h 458"/>
                  <a:gd name="T28" fmla="*/ 411 w 580"/>
                  <a:gd name="T29" fmla="*/ 213 h 458"/>
                  <a:gd name="T30" fmla="*/ 252 w 580"/>
                  <a:gd name="T31" fmla="*/ 439 h 458"/>
                  <a:gd name="T32" fmla="*/ 281 w 580"/>
                  <a:gd name="T33" fmla="*/ 454 h 458"/>
                  <a:gd name="T34" fmla="*/ 309 w 580"/>
                  <a:gd name="T35" fmla="*/ 439 h 458"/>
                  <a:gd name="T36" fmla="*/ 309 w 580"/>
                  <a:gd name="T37" fmla="*/ 19 h 458"/>
                  <a:gd name="T38" fmla="*/ 281 w 580"/>
                  <a:gd name="T39" fmla="*/ 4 h 458"/>
                  <a:gd name="T40" fmla="*/ 252 w 580"/>
                  <a:gd name="T41" fmla="*/ 19 h 458"/>
                  <a:gd name="T42" fmla="*/ 252 w 580"/>
                  <a:gd name="T43" fmla="*/ 439 h 458"/>
                  <a:gd name="T44" fmla="*/ 0 w 580"/>
                  <a:gd name="T45" fmla="*/ 439 h 458"/>
                  <a:gd name="T46" fmla="*/ 28 w 580"/>
                  <a:gd name="T47" fmla="*/ 454 h 458"/>
                  <a:gd name="T48" fmla="*/ 56 w 580"/>
                  <a:gd name="T49" fmla="*/ 439 h 458"/>
                  <a:gd name="T50" fmla="*/ 56 w 580"/>
                  <a:gd name="T51" fmla="*/ 157 h 458"/>
                  <a:gd name="T52" fmla="*/ 165 w 580"/>
                  <a:gd name="T53" fmla="*/ 53 h 458"/>
                  <a:gd name="T54" fmla="*/ 180 w 580"/>
                  <a:gd name="T55" fmla="*/ 53 h 458"/>
                  <a:gd name="T56" fmla="*/ 196 w 580"/>
                  <a:gd name="T57" fmla="*/ 27 h 458"/>
                  <a:gd name="T58" fmla="*/ 154 w 580"/>
                  <a:gd name="T59" fmla="*/ 4 h 458"/>
                  <a:gd name="T60" fmla="*/ 0 w 580"/>
                  <a:gd name="T61" fmla="*/ 152 h 458"/>
                  <a:gd name="T62" fmla="*/ 0 w 580"/>
                  <a:gd name="T63" fmla="*/ 439 h 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80" h="458">
                    <a:moveTo>
                      <a:pt x="411" y="213"/>
                    </a:moveTo>
                    <a:cubicBezTo>
                      <a:pt x="570" y="37"/>
                      <a:pt x="570" y="37"/>
                      <a:pt x="570" y="37"/>
                    </a:cubicBezTo>
                    <a:cubicBezTo>
                      <a:pt x="576" y="30"/>
                      <a:pt x="580" y="25"/>
                      <a:pt x="580" y="20"/>
                    </a:cubicBezTo>
                    <a:cubicBezTo>
                      <a:pt x="580" y="10"/>
                      <a:pt x="559" y="0"/>
                      <a:pt x="545" y="0"/>
                    </a:cubicBezTo>
                    <a:cubicBezTo>
                      <a:pt x="535" y="0"/>
                      <a:pt x="526" y="8"/>
                      <a:pt x="519" y="16"/>
                    </a:cubicBezTo>
                    <a:cubicBezTo>
                      <a:pt x="344" y="210"/>
                      <a:pt x="344" y="210"/>
                      <a:pt x="344" y="210"/>
                    </a:cubicBezTo>
                    <a:cubicBezTo>
                      <a:pt x="336" y="219"/>
                      <a:pt x="334" y="224"/>
                      <a:pt x="334" y="229"/>
                    </a:cubicBezTo>
                    <a:cubicBezTo>
                      <a:pt x="334" y="234"/>
                      <a:pt x="336" y="239"/>
                      <a:pt x="344" y="248"/>
                    </a:cubicBezTo>
                    <a:cubicBezTo>
                      <a:pt x="519" y="442"/>
                      <a:pt x="519" y="442"/>
                      <a:pt x="519" y="442"/>
                    </a:cubicBezTo>
                    <a:cubicBezTo>
                      <a:pt x="526" y="450"/>
                      <a:pt x="535" y="458"/>
                      <a:pt x="545" y="458"/>
                    </a:cubicBezTo>
                    <a:cubicBezTo>
                      <a:pt x="559" y="458"/>
                      <a:pt x="580" y="448"/>
                      <a:pt x="580" y="438"/>
                    </a:cubicBezTo>
                    <a:cubicBezTo>
                      <a:pt x="580" y="433"/>
                      <a:pt x="576" y="428"/>
                      <a:pt x="570" y="421"/>
                    </a:cubicBezTo>
                    <a:cubicBezTo>
                      <a:pt x="411" y="245"/>
                      <a:pt x="411" y="245"/>
                      <a:pt x="411" y="245"/>
                    </a:cubicBezTo>
                    <a:cubicBezTo>
                      <a:pt x="403" y="236"/>
                      <a:pt x="399" y="232"/>
                      <a:pt x="399" y="229"/>
                    </a:cubicBezTo>
                    <a:cubicBezTo>
                      <a:pt x="399" y="226"/>
                      <a:pt x="403" y="222"/>
                      <a:pt x="411" y="213"/>
                    </a:cubicBezTo>
                    <a:moveTo>
                      <a:pt x="252" y="439"/>
                    </a:moveTo>
                    <a:cubicBezTo>
                      <a:pt x="252" y="449"/>
                      <a:pt x="261" y="454"/>
                      <a:pt x="281" y="454"/>
                    </a:cubicBezTo>
                    <a:cubicBezTo>
                      <a:pt x="300" y="454"/>
                      <a:pt x="309" y="449"/>
                      <a:pt x="309" y="439"/>
                    </a:cubicBezTo>
                    <a:cubicBezTo>
                      <a:pt x="309" y="19"/>
                      <a:pt x="309" y="19"/>
                      <a:pt x="309" y="19"/>
                    </a:cubicBezTo>
                    <a:cubicBezTo>
                      <a:pt x="309" y="9"/>
                      <a:pt x="300" y="4"/>
                      <a:pt x="281" y="4"/>
                    </a:cubicBezTo>
                    <a:cubicBezTo>
                      <a:pt x="261" y="4"/>
                      <a:pt x="252" y="9"/>
                      <a:pt x="252" y="19"/>
                    </a:cubicBezTo>
                    <a:lnTo>
                      <a:pt x="252" y="439"/>
                    </a:lnTo>
                    <a:close/>
                    <a:moveTo>
                      <a:pt x="0" y="439"/>
                    </a:moveTo>
                    <a:cubicBezTo>
                      <a:pt x="0" y="449"/>
                      <a:pt x="8" y="454"/>
                      <a:pt x="28" y="454"/>
                    </a:cubicBezTo>
                    <a:cubicBezTo>
                      <a:pt x="48" y="454"/>
                      <a:pt x="56" y="449"/>
                      <a:pt x="56" y="439"/>
                    </a:cubicBezTo>
                    <a:cubicBezTo>
                      <a:pt x="56" y="157"/>
                      <a:pt x="56" y="157"/>
                      <a:pt x="56" y="157"/>
                    </a:cubicBezTo>
                    <a:cubicBezTo>
                      <a:pt x="56" y="83"/>
                      <a:pt x="85" y="53"/>
                      <a:pt x="165" y="53"/>
                    </a:cubicBezTo>
                    <a:cubicBezTo>
                      <a:pt x="180" y="53"/>
                      <a:pt x="180" y="53"/>
                      <a:pt x="180" y="53"/>
                    </a:cubicBezTo>
                    <a:cubicBezTo>
                      <a:pt x="192" y="53"/>
                      <a:pt x="196" y="43"/>
                      <a:pt x="196" y="27"/>
                    </a:cubicBezTo>
                    <a:cubicBezTo>
                      <a:pt x="196" y="8"/>
                      <a:pt x="185" y="4"/>
                      <a:pt x="154" y="4"/>
                    </a:cubicBezTo>
                    <a:cubicBezTo>
                      <a:pt x="64" y="4"/>
                      <a:pt x="0" y="43"/>
                      <a:pt x="0" y="152"/>
                    </a:cubicBezTo>
                    <a:lnTo>
                      <a:pt x="0" y="43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22" name="Freeform 7">
                <a:extLst>
                  <a:ext uri="{FF2B5EF4-FFF2-40B4-BE49-F238E27FC236}">
                    <a16:creationId xmlns:a16="http://schemas.microsoft.com/office/drawing/2014/main" id="{2F32DCBD-8628-F245-85CD-97686A20ECFD}"/>
                  </a:ext>
                </a:extLst>
              </p:cNvPr>
              <p:cNvSpPr>
                <a:spLocks/>
              </p:cNvSpPr>
              <p:nvPr/>
            </p:nvSpPr>
            <p:spPr bwMode="gray">
              <a:xfrm>
                <a:off x="2880" y="1704"/>
                <a:ext cx="618" cy="916"/>
              </a:xfrm>
              <a:custGeom>
                <a:avLst/>
                <a:gdLst>
                  <a:gd name="T0" fmla="*/ 307 w 307"/>
                  <a:gd name="T1" fmla="*/ 405 h 455"/>
                  <a:gd name="T2" fmla="*/ 307 w 307"/>
                  <a:gd name="T3" fmla="*/ 244 h 455"/>
                  <a:gd name="T4" fmla="*/ 279 w 307"/>
                  <a:gd name="T5" fmla="*/ 229 h 455"/>
                  <a:gd name="T6" fmla="*/ 250 w 307"/>
                  <a:gd name="T7" fmla="*/ 244 h 455"/>
                  <a:gd name="T8" fmla="*/ 250 w 307"/>
                  <a:gd name="T9" fmla="*/ 378 h 455"/>
                  <a:gd name="T10" fmla="*/ 199 w 307"/>
                  <a:gd name="T11" fmla="*/ 408 h 455"/>
                  <a:gd name="T12" fmla="*/ 61 w 307"/>
                  <a:gd name="T13" fmla="*/ 231 h 455"/>
                  <a:gd name="T14" fmla="*/ 238 w 307"/>
                  <a:gd name="T15" fmla="*/ 49 h 455"/>
                  <a:gd name="T16" fmla="*/ 270 w 307"/>
                  <a:gd name="T17" fmla="*/ 49 h 455"/>
                  <a:gd name="T18" fmla="*/ 286 w 307"/>
                  <a:gd name="T19" fmla="*/ 23 h 455"/>
                  <a:gd name="T20" fmla="*/ 244 w 307"/>
                  <a:gd name="T21" fmla="*/ 0 h 455"/>
                  <a:gd name="T22" fmla="*/ 231 w 307"/>
                  <a:gd name="T23" fmla="*/ 0 h 455"/>
                  <a:gd name="T24" fmla="*/ 0 w 307"/>
                  <a:gd name="T25" fmla="*/ 232 h 455"/>
                  <a:gd name="T26" fmla="*/ 198 w 307"/>
                  <a:gd name="T27" fmla="*/ 455 h 455"/>
                  <a:gd name="T28" fmla="*/ 307 w 307"/>
                  <a:gd name="T29" fmla="*/ 405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7" h="455">
                    <a:moveTo>
                      <a:pt x="307" y="405"/>
                    </a:moveTo>
                    <a:cubicBezTo>
                      <a:pt x="307" y="244"/>
                      <a:pt x="307" y="244"/>
                      <a:pt x="307" y="244"/>
                    </a:cubicBezTo>
                    <a:cubicBezTo>
                      <a:pt x="307" y="234"/>
                      <a:pt x="298" y="229"/>
                      <a:pt x="279" y="229"/>
                    </a:cubicBezTo>
                    <a:cubicBezTo>
                      <a:pt x="259" y="229"/>
                      <a:pt x="250" y="234"/>
                      <a:pt x="250" y="244"/>
                    </a:cubicBezTo>
                    <a:cubicBezTo>
                      <a:pt x="250" y="378"/>
                      <a:pt x="250" y="378"/>
                      <a:pt x="250" y="378"/>
                    </a:cubicBezTo>
                    <a:cubicBezTo>
                      <a:pt x="250" y="399"/>
                      <a:pt x="241" y="408"/>
                      <a:pt x="199" y="408"/>
                    </a:cubicBezTo>
                    <a:cubicBezTo>
                      <a:pt x="114" y="408"/>
                      <a:pt x="61" y="342"/>
                      <a:pt x="61" y="231"/>
                    </a:cubicBezTo>
                    <a:cubicBezTo>
                      <a:pt x="61" y="115"/>
                      <a:pt x="126" y="49"/>
                      <a:pt x="238" y="49"/>
                    </a:cubicBezTo>
                    <a:cubicBezTo>
                      <a:pt x="270" y="49"/>
                      <a:pt x="270" y="49"/>
                      <a:pt x="270" y="49"/>
                    </a:cubicBezTo>
                    <a:cubicBezTo>
                      <a:pt x="282" y="49"/>
                      <a:pt x="286" y="39"/>
                      <a:pt x="286" y="23"/>
                    </a:cubicBezTo>
                    <a:cubicBezTo>
                      <a:pt x="286" y="4"/>
                      <a:pt x="275" y="0"/>
                      <a:pt x="244" y="0"/>
                    </a:cubicBezTo>
                    <a:cubicBezTo>
                      <a:pt x="231" y="0"/>
                      <a:pt x="231" y="0"/>
                      <a:pt x="231" y="0"/>
                    </a:cubicBezTo>
                    <a:cubicBezTo>
                      <a:pt x="101" y="0"/>
                      <a:pt x="0" y="71"/>
                      <a:pt x="0" y="232"/>
                    </a:cubicBezTo>
                    <a:cubicBezTo>
                      <a:pt x="0" y="386"/>
                      <a:pt x="88" y="455"/>
                      <a:pt x="198" y="455"/>
                    </a:cubicBezTo>
                    <a:cubicBezTo>
                      <a:pt x="286" y="455"/>
                      <a:pt x="307" y="430"/>
                      <a:pt x="307" y="40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23" name="Oval 8">
                <a:extLst>
                  <a:ext uri="{FF2B5EF4-FFF2-40B4-BE49-F238E27FC236}">
                    <a16:creationId xmlns:a16="http://schemas.microsoft.com/office/drawing/2014/main" id="{60D97C11-1A3B-5449-A48D-98A3E79B3810}"/>
                  </a:ext>
                </a:extLst>
              </p:cNvPr>
              <p:cNvSpPr>
                <a:spLocks noChangeArrowheads="1"/>
              </p:cNvSpPr>
              <p:nvPr/>
            </p:nvSpPr>
            <p:spPr bwMode="gray">
              <a:xfrm>
                <a:off x="3778" y="2099"/>
                <a:ext cx="122" cy="12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24" name="Freeform 9">
                <a:extLst>
                  <a:ext uri="{FF2B5EF4-FFF2-40B4-BE49-F238E27FC236}">
                    <a16:creationId xmlns:a16="http://schemas.microsoft.com/office/drawing/2014/main" id="{5856770D-B8F0-244E-A05D-AED190086F10}"/>
                  </a:ext>
                </a:extLst>
              </p:cNvPr>
              <p:cNvSpPr>
                <a:spLocks noEditPoints="1"/>
              </p:cNvSpPr>
              <p:nvPr/>
            </p:nvSpPr>
            <p:spPr bwMode="gray">
              <a:xfrm>
                <a:off x="3623" y="1696"/>
                <a:ext cx="1167" cy="922"/>
              </a:xfrm>
              <a:custGeom>
                <a:avLst/>
                <a:gdLst>
                  <a:gd name="T0" fmla="*/ 411 w 580"/>
                  <a:gd name="T1" fmla="*/ 213 h 458"/>
                  <a:gd name="T2" fmla="*/ 570 w 580"/>
                  <a:gd name="T3" fmla="*/ 37 h 458"/>
                  <a:gd name="T4" fmla="*/ 580 w 580"/>
                  <a:gd name="T5" fmla="*/ 20 h 458"/>
                  <a:gd name="T6" fmla="*/ 545 w 580"/>
                  <a:gd name="T7" fmla="*/ 0 h 458"/>
                  <a:gd name="T8" fmla="*/ 519 w 580"/>
                  <a:gd name="T9" fmla="*/ 16 h 458"/>
                  <a:gd name="T10" fmla="*/ 344 w 580"/>
                  <a:gd name="T11" fmla="*/ 210 h 458"/>
                  <a:gd name="T12" fmla="*/ 334 w 580"/>
                  <a:gd name="T13" fmla="*/ 229 h 458"/>
                  <a:gd name="T14" fmla="*/ 344 w 580"/>
                  <a:gd name="T15" fmla="*/ 248 h 458"/>
                  <a:gd name="T16" fmla="*/ 519 w 580"/>
                  <a:gd name="T17" fmla="*/ 442 h 458"/>
                  <a:gd name="T18" fmla="*/ 545 w 580"/>
                  <a:gd name="T19" fmla="*/ 458 h 458"/>
                  <a:gd name="T20" fmla="*/ 580 w 580"/>
                  <a:gd name="T21" fmla="*/ 438 h 458"/>
                  <a:gd name="T22" fmla="*/ 570 w 580"/>
                  <a:gd name="T23" fmla="*/ 421 h 458"/>
                  <a:gd name="T24" fmla="*/ 411 w 580"/>
                  <a:gd name="T25" fmla="*/ 245 h 458"/>
                  <a:gd name="T26" fmla="*/ 399 w 580"/>
                  <a:gd name="T27" fmla="*/ 229 h 458"/>
                  <a:gd name="T28" fmla="*/ 411 w 580"/>
                  <a:gd name="T29" fmla="*/ 213 h 458"/>
                  <a:gd name="T30" fmla="*/ 252 w 580"/>
                  <a:gd name="T31" fmla="*/ 439 h 458"/>
                  <a:gd name="T32" fmla="*/ 281 w 580"/>
                  <a:gd name="T33" fmla="*/ 454 h 458"/>
                  <a:gd name="T34" fmla="*/ 309 w 580"/>
                  <a:gd name="T35" fmla="*/ 439 h 458"/>
                  <a:gd name="T36" fmla="*/ 309 w 580"/>
                  <a:gd name="T37" fmla="*/ 19 h 458"/>
                  <a:gd name="T38" fmla="*/ 281 w 580"/>
                  <a:gd name="T39" fmla="*/ 4 h 458"/>
                  <a:gd name="T40" fmla="*/ 252 w 580"/>
                  <a:gd name="T41" fmla="*/ 19 h 458"/>
                  <a:gd name="T42" fmla="*/ 252 w 580"/>
                  <a:gd name="T43" fmla="*/ 439 h 458"/>
                  <a:gd name="T44" fmla="*/ 0 w 580"/>
                  <a:gd name="T45" fmla="*/ 439 h 458"/>
                  <a:gd name="T46" fmla="*/ 28 w 580"/>
                  <a:gd name="T47" fmla="*/ 454 h 458"/>
                  <a:gd name="T48" fmla="*/ 56 w 580"/>
                  <a:gd name="T49" fmla="*/ 439 h 458"/>
                  <a:gd name="T50" fmla="*/ 56 w 580"/>
                  <a:gd name="T51" fmla="*/ 157 h 458"/>
                  <a:gd name="T52" fmla="*/ 165 w 580"/>
                  <a:gd name="T53" fmla="*/ 53 h 458"/>
                  <a:gd name="T54" fmla="*/ 180 w 580"/>
                  <a:gd name="T55" fmla="*/ 53 h 458"/>
                  <a:gd name="T56" fmla="*/ 196 w 580"/>
                  <a:gd name="T57" fmla="*/ 27 h 458"/>
                  <a:gd name="T58" fmla="*/ 154 w 580"/>
                  <a:gd name="T59" fmla="*/ 4 h 458"/>
                  <a:gd name="T60" fmla="*/ 0 w 580"/>
                  <a:gd name="T61" fmla="*/ 152 h 458"/>
                  <a:gd name="T62" fmla="*/ 0 w 580"/>
                  <a:gd name="T63" fmla="*/ 439 h 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80" h="458">
                    <a:moveTo>
                      <a:pt x="411" y="213"/>
                    </a:moveTo>
                    <a:cubicBezTo>
                      <a:pt x="570" y="37"/>
                      <a:pt x="570" y="37"/>
                      <a:pt x="570" y="37"/>
                    </a:cubicBezTo>
                    <a:cubicBezTo>
                      <a:pt x="576" y="30"/>
                      <a:pt x="580" y="25"/>
                      <a:pt x="580" y="20"/>
                    </a:cubicBezTo>
                    <a:cubicBezTo>
                      <a:pt x="580" y="10"/>
                      <a:pt x="559" y="0"/>
                      <a:pt x="545" y="0"/>
                    </a:cubicBezTo>
                    <a:cubicBezTo>
                      <a:pt x="535" y="0"/>
                      <a:pt x="526" y="8"/>
                      <a:pt x="519" y="16"/>
                    </a:cubicBezTo>
                    <a:cubicBezTo>
                      <a:pt x="344" y="210"/>
                      <a:pt x="344" y="210"/>
                      <a:pt x="344" y="210"/>
                    </a:cubicBezTo>
                    <a:cubicBezTo>
                      <a:pt x="336" y="219"/>
                      <a:pt x="334" y="224"/>
                      <a:pt x="334" y="229"/>
                    </a:cubicBezTo>
                    <a:cubicBezTo>
                      <a:pt x="334" y="234"/>
                      <a:pt x="336" y="239"/>
                      <a:pt x="344" y="248"/>
                    </a:cubicBezTo>
                    <a:cubicBezTo>
                      <a:pt x="519" y="442"/>
                      <a:pt x="519" y="442"/>
                      <a:pt x="519" y="442"/>
                    </a:cubicBezTo>
                    <a:cubicBezTo>
                      <a:pt x="526" y="450"/>
                      <a:pt x="535" y="458"/>
                      <a:pt x="545" y="458"/>
                    </a:cubicBezTo>
                    <a:cubicBezTo>
                      <a:pt x="559" y="458"/>
                      <a:pt x="580" y="448"/>
                      <a:pt x="580" y="438"/>
                    </a:cubicBezTo>
                    <a:cubicBezTo>
                      <a:pt x="580" y="433"/>
                      <a:pt x="576" y="428"/>
                      <a:pt x="570" y="421"/>
                    </a:cubicBezTo>
                    <a:cubicBezTo>
                      <a:pt x="411" y="245"/>
                      <a:pt x="411" y="245"/>
                      <a:pt x="411" y="245"/>
                    </a:cubicBezTo>
                    <a:cubicBezTo>
                      <a:pt x="403" y="236"/>
                      <a:pt x="399" y="232"/>
                      <a:pt x="399" y="229"/>
                    </a:cubicBezTo>
                    <a:cubicBezTo>
                      <a:pt x="399" y="226"/>
                      <a:pt x="403" y="222"/>
                      <a:pt x="411" y="213"/>
                    </a:cubicBezTo>
                    <a:moveTo>
                      <a:pt x="252" y="439"/>
                    </a:moveTo>
                    <a:cubicBezTo>
                      <a:pt x="252" y="449"/>
                      <a:pt x="261" y="454"/>
                      <a:pt x="281" y="454"/>
                    </a:cubicBezTo>
                    <a:cubicBezTo>
                      <a:pt x="300" y="454"/>
                      <a:pt x="309" y="449"/>
                      <a:pt x="309" y="439"/>
                    </a:cubicBezTo>
                    <a:cubicBezTo>
                      <a:pt x="309" y="19"/>
                      <a:pt x="309" y="19"/>
                      <a:pt x="309" y="19"/>
                    </a:cubicBezTo>
                    <a:cubicBezTo>
                      <a:pt x="309" y="9"/>
                      <a:pt x="300" y="4"/>
                      <a:pt x="281" y="4"/>
                    </a:cubicBezTo>
                    <a:cubicBezTo>
                      <a:pt x="261" y="4"/>
                      <a:pt x="252" y="9"/>
                      <a:pt x="252" y="19"/>
                    </a:cubicBezTo>
                    <a:lnTo>
                      <a:pt x="252" y="439"/>
                    </a:lnTo>
                    <a:close/>
                    <a:moveTo>
                      <a:pt x="0" y="439"/>
                    </a:moveTo>
                    <a:cubicBezTo>
                      <a:pt x="0" y="449"/>
                      <a:pt x="8" y="454"/>
                      <a:pt x="28" y="454"/>
                    </a:cubicBezTo>
                    <a:cubicBezTo>
                      <a:pt x="48" y="454"/>
                      <a:pt x="56" y="449"/>
                      <a:pt x="56" y="439"/>
                    </a:cubicBezTo>
                    <a:cubicBezTo>
                      <a:pt x="56" y="157"/>
                      <a:pt x="56" y="157"/>
                      <a:pt x="56" y="157"/>
                    </a:cubicBezTo>
                    <a:cubicBezTo>
                      <a:pt x="56" y="83"/>
                      <a:pt x="85" y="53"/>
                      <a:pt x="165" y="53"/>
                    </a:cubicBezTo>
                    <a:cubicBezTo>
                      <a:pt x="180" y="53"/>
                      <a:pt x="180" y="53"/>
                      <a:pt x="180" y="53"/>
                    </a:cubicBezTo>
                    <a:cubicBezTo>
                      <a:pt x="192" y="53"/>
                      <a:pt x="196" y="43"/>
                      <a:pt x="196" y="27"/>
                    </a:cubicBezTo>
                    <a:cubicBezTo>
                      <a:pt x="196" y="8"/>
                      <a:pt x="185" y="4"/>
                      <a:pt x="154" y="4"/>
                    </a:cubicBezTo>
                    <a:cubicBezTo>
                      <a:pt x="64" y="4"/>
                      <a:pt x="0" y="43"/>
                      <a:pt x="0" y="152"/>
                    </a:cubicBezTo>
                    <a:lnTo>
                      <a:pt x="0" y="43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25" name="Freeform 10">
                <a:extLst>
                  <a:ext uri="{FF2B5EF4-FFF2-40B4-BE49-F238E27FC236}">
                    <a16:creationId xmlns:a16="http://schemas.microsoft.com/office/drawing/2014/main" id="{2B91B16B-BC11-E547-8FAC-B9B8D18EA449}"/>
                  </a:ext>
                </a:extLst>
              </p:cNvPr>
              <p:cNvSpPr>
                <a:spLocks/>
              </p:cNvSpPr>
              <p:nvPr/>
            </p:nvSpPr>
            <p:spPr bwMode="gray">
              <a:xfrm>
                <a:off x="2880" y="1704"/>
                <a:ext cx="618" cy="916"/>
              </a:xfrm>
              <a:custGeom>
                <a:avLst/>
                <a:gdLst>
                  <a:gd name="T0" fmla="*/ 307 w 307"/>
                  <a:gd name="T1" fmla="*/ 405 h 455"/>
                  <a:gd name="T2" fmla="*/ 307 w 307"/>
                  <a:gd name="T3" fmla="*/ 244 h 455"/>
                  <a:gd name="T4" fmla="*/ 279 w 307"/>
                  <a:gd name="T5" fmla="*/ 229 h 455"/>
                  <a:gd name="T6" fmla="*/ 250 w 307"/>
                  <a:gd name="T7" fmla="*/ 244 h 455"/>
                  <a:gd name="T8" fmla="*/ 250 w 307"/>
                  <a:gd name="T9" fmla="*/ 378 h 455"/>
                  <a:gd name="T10" fmla="*/ 199 w 307"/>
                  <a:gd name="T11" fmla="*/ 408 h 455"/>
                  <a:gd name="T12" fmla="*/ 61 w 307"/>
                  <a:gd name="T13" fmla="*/ 231 h 455"/>
                  <a:gd name="T14" fmla="*/ 238 w 307"/>
                  <a:gd name="T15" fmla="*/ 49 h 455"/>
                  <a:gd name="T16" fmla="*/ 270 w 307"/>
                  <a:gd name="T17" fmla="*/ 49 h 455"/>
                  <a:gd name="T18" fmla="*/ 286 w 307"/>
                  <a:gd name="T19" fmla="*/ 23 h 455"/>
                  <a:gd name="T20" fmla="*/ 244 w 307"/>
                  <a:gd name="T21" fmla="*/ 0 h 455"/>
                  <a:gd name="T22" fmla="*/ 231 w 307"/>
                  <a:gd name="T23" fmla="*/ 0 h 455"/>
                  <a:gd name="T24" fmla="*/ 0 w 307"/>
                  <a:gd name="T25" fmla="*/ 232 h 455"/>
                  <a:gd name="T26" fmla="*/ 198 w 307"/>
                  <a:gd name="T27" fmla="*/ 455 h 455"/>
                  <a:gd name="T28" fmla="*/ 307 w 307"/>
                  <a:gd name="T29" fmla="*/ 405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7" h="455">
                    <a:moveTo>
                      <a:pt x="307" y="405"/>
                    </a:moveTo>
                    <a:cubicBezTo>
                      <a:pt x="307" y="244"/>
                      <a:pt x="307" y="244"/>
                      <a:pt x="307" y="244"/>
                    </a:cubicBezTo>
                    <a:cubicBezTo>
                      <a:pt x="307" y="234"/>
                      <a:pt x="298" y="229"/>
                      <a:pt x="279" y="229"/>
                    </a:cubicBezTo>
                    <a:cubicBezTo>
                      <a:pt x="259" y="229"/>
                      <a:pt x="250" y="234"/>
                      <a:pt x="250" y="244"/>
                    </a:cubicBezTo>
                    <a:cubicBezTo>
                      <a:pt x="250" y="378"/>
                      <a:pt x="250" y="378"/>
                      <a:pt x="250" y="378"/>
                    </a:cubicBezTo>
                    <a:cubicBezTo>
                      <a:pt x="250" y="399"/>
                      <a:pt x="241" y="408"/>
                      <a:pt x="199" y="408"/>
                    </a:cubicBezTo>
                    <a:cubicBezTo>
                      <a:pt x="114" y="408"/>
                      <a:pt x="61" y="342"/>
                      <a:pt x="61" y="231"/>
                    </a:cubicBezTo>
                    <a:cubicBezTo>
                      <a:pt x="61" y="115"/>
                      <a:pt x="126" y="49"/>
                      <a:pt x="238" y="49"/>
                    </a:cubicBezTo>
                    <a:cubicBezTo>
                      <a:pt x="270" y="49"/>
                      <a:pt x="270" y="49"/>
                      <a:pt x="270" y="49"/>
                    </a:cubicBezTo>
                    <a:cubicBezTo>
                      <a:pt x="282" y="49"/>
                      <a:pt x="286" y="39"/>
                      <a:pt x="286" y="23"/>
                    </a:cubicBezTo>
                    <a:cubicBezTo>
                      <a:pt x="286" y="4"/>
                      <a:pt x="275" y="0"/>
                      <a:pt x="244" y="0"/>
                    </a:cubicBezTo>
                    <a:cubicBezTo>
                      <a:pt x="231" y="0"/>
                      <a:pt x="231" y="0"/>
                      <a:pt x="231" y="0"/>
                    </a:cubicBezTo>
                    <a:cubicBezTo>
                      <a:pt x="101" y="0"/>
                      <a:pt x="0" y="71"/>
                      <a:pt x="0" y="232"/>
                    </a:cubicBezTo>
                    <a:cubicBezTo>
                      <a:pt x="0" y="386"/>
                      <a:pt x="88" y="455"/>
                      <a:pt x="198" y="455"/>
                    </a:cubicBezTo>
                    <a:cubicBezTo>
                      <a:pt x="286" y="455"/>
                      <a:pt x="307" y="430"/>
                      <a:pt x="307" y="40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26" name="Oval 11">
                <a:extLst>
                  <a:ext uri="{FF2B5EF4-FFF2-40B4-BE49-F238E27FC236}">
                    <a16:creationId xmlns:a16="http://schemas.microsoft.com/office/drawing/2014/main" id="{14F8C3C8-4888-7646-B9B4-64EB46A1DA23}"/>
                  </a:ext>
                </a:extLst>
              </p:cNvPr>
              <p:cNvSpPr>
                <a:spLocks noChangeArrowheads="1"/>
              </p:cNvSpPr>
              <p:nvPr/>
            </p:nvSpPr>
            <p:spPr bwMode="gray">
              <a:xfrm>
                <a:off x="3778" y="2099"/>
                <a:ext cx="122" cy="12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27" name="Freeform 12">
                <a:extLst>
                  <a:ext uri="{FF2B5EF4-FFF2-40B4-BE49-F238E27FC236}">
                    <a16:creationId xmlns:a16="http://schemas.microsoft.com/office/drawing/2014/main" id="{D79D01D1-4E3E-F34B-97D7-2D387E68746E}"/>
                  </a:ext>
                </a:extLst>
              </p:cNvPr>
              <p:cNvSpPr>
                <a:spLocks/>
              </p:cNvSpPr>
              <p:nvPr/>
            </p:nvSpPr>
            <p:spPr bwMode="gray">
              <a:xfrm>
                <a:off x="4321" y="1029"/>
                <a:ext cx="648" cy="649"/>
              </a:xfrm>
              <a:custGeom>
                <a:avLst/>
                <a:gdLst>
                  <a:gd name="T0" fmla="*/ 0 w 648"/>
                  <a:gd name="T1" fmla="*/ 649 h 649"/>
                  <a:gd name="T2" fmla="*/ 2 w 648"/>
                  <a:gd name="T3" fmla="*/ 649 h 649"/>
                  <a:gd name="T4" fmla="*/ 648 w 648"/>
                  <a:gd name="T5" fmla="*/ 0 h 649"/>
                  <a:gd name="T6" fmla="*/ 423 w 648"/>
                  <a:gd name="T7" fmla="*/ 0 h 649"/>
                  <a:gd name="T8" fmla="*/ 0 w 648"/>
                  <a:gd name="T9" fmla="*/ 649 h 649"/>
                </a:gdLst>
                <a:ahLst/>
                <a:cxnLst>
                  <a:cxn ang="0">
                    <a:pos x="T0" y="T1"/>
                  </a:cxn>
                  <a:cxn ang="0">
                    <a:pos x="T2" y="T3"/>
                  </a:cxn>
                  <a:cxn ang="0">
                    <a:pos x="T4" y="T5"/>
                  </a:cxn>
                  <a:cxn ang="0">
                    <a:pos x="T6" y="T7"/>
                  </a:cxn>
                  <a:cxn ang="0">
                    <a:pos x="T8" y="T9"/>
                  </a:cxn>
                </a:cxnLst>
                <a:rect l="0" t="0" r="r" b="b"/>
                <a:pathLst>
                  <a:path w="648" h="649">
                    <a:moveTo>
                      <a:pt x="0" y="649"/>
                    </a:moveTo>
                    <a:lnTo>
                      <a:pt x="2" y="649"/>
                    </a:lnTo>
                    <a:lnTo>
                      <a:pt x="648" y="0"/>
                    </a:lnTo>
                    <a:lnTo>
                      <a:pt x="423" y="0"/>
                    </a:lnTo>
                    <a:lnTo>
                      <a:pt x="0" y="64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28" name="Freeform 13">
                <a:extLst>
                  <a:ext uri="{FF2B5EF4-FFF2-40B4-BE49-F238E27FC236}">
                    <a16:creationId xmlns:a16="http://schemas.microsoft.com/office/drawing/2014/main" id="{46549898-6C52-B147-A8F6-A73FDBE6163B}"/>
                  </a:ext>
                </a:extLst>
              </p:cNvPr>
              <p:cNvSpPr>
                <a:spLocks/>
              </p:cNvSpPr>
              <p:nvPr/>
            </p:nvSpPr>
            <p:spPr bwMode="gray">
              <a:xfrm>
                <a:off x="4321" y="1029"/>
                <a:ext cx="648" cy="649"/>
              </a:xfrm>
              <a:custGeom>
                <a:avLst/>
                <a:gdLst>
                  <a:gd name="T0" fmla="*/ 0 w 648"/>
                  <a:gd name="T1" fmla="*/ 649 h 649"/>
                  <a:gd name="T2" fmla="*/ 2 w 648"/>
                  <a:gd name="T3" fmla="*/ 649 h 649"/>
                  <a:gd name="T4" fmla="*/ 648 w 648"/>
                  <a:gd name="T5" fmla="*/ 0 h 649"/>
                  <a:gd name="T6" fmla="*/ 423 w 648"/>
                  <a:gd name="T7" fmla="*/ 0 h 649"/>
                  <a:gd name="T8" fmla="*/ 0 w 648"/>
                  <a:gd name="T9" fmla="*/ 649 h 649"/>
                </a:gdLst>
                <a:ahLst/>
                <a:cxnLst>
                  <a:cxn ang="0">
                    <a:pos x="T0" y="T1"/>
                  </a:cxn>
                  <a:cxn ang="0">
                    <a:pos x="T2" y="T3"/>
                  </a:cxn>
                  <a:cxn ang="0">
                    <a:pos x="T4" y="T5"/>
                  </a:cxn>
                  <a:cxn ang="0">
                    <a:pos x="T6" y="T7"/>
                  </a:cxn>
                  <a:cxn ang="0">
                    <a:pos x="T8" y="T9"/>
                  </a:cxn>
                </a:cxnLst>
                <a:rect l="0" t="0" r="r" b="b"/>
                <a:pathLst>
                  <a:path w="648" h="649">
                    <a:moveTo>
                      <a:pt x="0" y="649"/>
                    </a:moveTo>
                    <a:lnTo>
                      <a:pt x="2" y="649"/>
                    </a:lnTo>
                    <a:lnTo>
                      <a:pt x="648" y="0"/>
                    </a:lnTo>
                    <a:lnTo>
                      <a:pt x="423" y="0"/>
                    </a:lnTo>
                    <a:lnTo>
                      <a:pt x="0" y="64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grpSp>
      </p:grpSp>
      <p:sp>
        <p:nvSpPr>
          <p:cNvPr id="7" name="Date Placeholder 6"/>
          <p:cNvSpPr>
            <a:spLocks noGrp="1"/>
          </p:cNvSpPr>
          <p:nvPr>
            <p:ph type="dt" sz="half" idx="10"/>
          </p:nvPr>
        </p:nvSpPr>
        <p:spPr>
          <a:xfrm>
            <a:off x="0" y="0"/>
            <a:ext cx="0" cy="0"/>
          </a:xfrm>
          <a:prstGeom prst="rect">
            <a:avLst/>
          </a:prstGeom>
        </p:spPr>
        <p:txBody>
          <a:bodyPr/>
          <a:lstStyle>
            <a:lvl1pPr>
              <a:defRPr sz="100">
                <a:noFill/>
              </a:defRPr>
            </a:lvl1pPr>
          </a:lstStyle>
          <a:p>
            <a:endParaRPr lang="en-US"/>
          </a:p>
        </p:txBody>
      </p:sp>
      <p:sp>
        <p:nvSpPr>
          <p:cNvPr id="8" name="Footer Placeholder 7"/>
          <p:cNvSpPr>
            <a:spLocks noGrp="1"/>
          </p:cNvSpPr>
          <p:nvPr>
            <p:ph type="ftr" sz="quarter" idx="11"/>
          </p:nvPr>
        </p:nvSpPr>
        <p:spPr>
          <a:xfrm>
            <a:off x="0" y="0"/>
            <a:ext cx="0" cy="0"/>
          </a:xfrm>
          <a:prstGeom prst="rect">
            <a:avLst/>
          </a:prstGeom>
        </p:spPr>
        <p:txBody>
          <a:bodyPr/>
          <a:lstStyle>
            <a:lvl1pPr marL="0" indent="0">
              <a:buNone/>
              <a:defRPr sz="100">
                <a:noFill/>
              </a:defRPr>
            </a:lvl1pPr>
          </a:lstStyle>
          <a:p>
            <a:endParaRPr lang="en-US"/>
          </a:p>
        </p:txBody>
      </p:sp>
      <p:sp>
        <p:nvSpPr>
          <p:cNvPr id="9" name="Slide Number Placeholder 8"/>
          <p:cNvSpPr>
            <a:spLocks noGrp="1"/>
          </p:cNvSpPr>
          <p:nvPr>
            <p:ph type="sldNum" sz="quarter" idx="12"/>
          </p:nvPr>
        </p:nvSpPr>
        <p:spPr>
          <a:xfrm>
            <a:off x="0" y="0"/>
            <a:ext cx="0" cy="0"/>
          </a:xfrm>
          <a:prstGeom prst="rect">
            <a:avLst/>
          </a:prstGeom>
        </p:spPr>
        <p:txBody>
          <a:bodyPr/>
          <a:lstStyle>
            <a:lvl1pPr>
              <a:defRPr sz="100">
                <a:noFill/>
              </a:defRPr>
            </a:lvl1pPr>
          </a:lstStyle>
          <a:p>
            <a:fld id="{8E3B25F7-8D1F-44B5-B485-EE3C438CFD7B}" type="slidenum">
              <a:rPr lang="en-US" smtClean="0"/>
              <a:pPr/>
              <a:t>‹#›</a:t>
            </a:fld>
            <a:endParaRPr lang="en-US"/>
          </a:p>
        </p:txBody>
      </p:sp>
      <p:sp>
        <p:nvSpPr>
          <p:cNvPr id="2" name="Title 1"/>
          <p:cNvSpPr>
            <a:spLocks noGrp="1"/>
          </p:cNvSpPr>
          <p:nvPr>
            <p:ph type="ctrTitle" hasCustomPrompt="1"/>
          </p:nvPr>
        </p:nvSpPr>
        <p:spPr>
          <a:xfrm>
            <a:off x="4524589" y="1628775"/>
            <a:ext cx="5707662" cy="2236264"/>
          </a:xfrm>
        </p:spPr>
        <p:txBody>
          <a:bodyPr anchor="b"/>
          <a:lstStyle>
            <a:lvl1pPr algn="l">
              <a:defRPr sz="3600" baseline="0"/>
            </a:lvl1pPr>
          </a:lstStyle>
          <a:p>
            <a:r>
              <a:rPr lang="en-US"/>
              <a:t>Click to add a longer presentation title</a:t>
            </a:r>
          </a:p>
        </p:txBody>
      </p:sp>
      <p:sp>
        <p:nvSpPr>
          <p:cNvPr id="3" name="Subtitle 2"/>
          <p:cNvSpPr>
            <a:spLocks noGrp="1"/>
          </p:cNvSpPr>
          <p:nvPr>
            <p:ph type="subTitle" idx="1" hasCustomPrompt="1"/>
          </p:nvPr>
        </p:nvSpPr>
        <p:spPr>
          <a:xfrm>
            <a:off x="4524589" y="4094163"/>
            <a:ext cx="5707662" cy="1080000"/>
          </a:xfrm>
        </p:spPr>
        <p:txBody>
          <a:bodyPr/>
          <a:lstStyle>
            <a:lvl1pPr marL="0" indent="0" algn="l">
              <a:spcBef>
                <a:spcPts val="0"/>
              </a:spcBef>
              <a:buNone/>
              <a:defRPr sz="1800" b="1"/>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sp>
        <p:nvSpPr>
          <p:cNvPr id="31" name="Text Placeholder 30"/>
          <p:cNvSpPr>
            <a:spLocks noGrp="1"/>
          </p:cNvSpPr>
          <p:nvPr>
            <p:ph type="body" sz="quarter" idx="14" hasCustomPrompt="1"/>
          </p:nvPr>
        </p:nvSpPr>
        <p:spPr>
          <a:xfrm>
            <a:off x="417600" y="5393268"/>
            <a:ext cx="2494933" cy="296332"/>
          </a:xfrm>
        </p:spPr>
        <p:txBody>
          <a:bodyPr wrap="none"/>
          <a:lstStyle>
            <a:lvl1pPr marL="0" indent="0">
              <a:spcBef>
                <a:spcPts val="0"/>
              </a:spcBef>
              <a:buNone/>
              <a:defRPr sz="1200"/>
            </a:lvl1pPr>
            <a:lvl2pPr marL="0" indent="0">
              <a:buNone/>
              <a:defRPr sz="1200"/>
            </a:lvl2pPr>
            <a:lvl3pPr marL="0" indent="0">
              <a:buNone/>
              <a:defRPr sz="1200"/>
            </a:lvl3pPr>
            <a:lvl4pPr marL="0">
              <a:buNone/>
              <a:defRPr sz="1200"/>
            </a:lvl4pPr>
            <a:lvl5pPr marL="0" indent="0">
              <a:buNone/>
              <a:defRPr sz="1200"/>
            </a:lvl5pPr>
          </a:lstStyle>
          <a:p>
            <a:pPr lvl="0"/>
            <a:r>
              <a:rPr lang="en-US"/>
              <a:t>Name</a:t>
            </a:r>
          </a:p>
        </p:txBody>
      </p:sp>
      <p:sp>
        <p:nvSpPr>
          <p:cNvPr id="34" name="Text Placeholder 30"/>
          <p:cNvSpPr>
            <a:spLocks noGrp="1"/>
          </p:cNvSpPr>
          <p:nvPr>
            <p:ph type="body" sz="quarter" idx="15" hasCustomPrompt="1"/>
          </p:nvPr>
        </p:nvSpPr>
        <p:spPr>
          <a:xfrm>
            <a:off x="417600" y="5691446"/>
            <a:ext cx="2494933" cy="296332"/>
          </a:xfrm>
        </p:spPr>
        <p:txBody>
          <a:bodyPr wrap="none"/>
          <a:lstStyle>
            <a:lvl1pPr marL="0" indent="0">
              <a:spcBef>
                <a:spcPts val="0"/>
              </a:spcBef>
              <a:buNone/>
              <a:defRPr sz="1200"/>
            </a:lvl1pPr>
            <a:lvl2pPr marL="0" indent="0">
              <a:buNone/>
              <a:defRPr sz="1200"/>
            </a:lvl2pPr>
            <a:lvl3pPr marL="0" indent="0">
              <a:buNone/>
              <a:defRPr sz="1200"/>
            </a:lvl3pPr>
            <a:lvl4pPr marL="0">
              <a:buNone/>
              <a:defRPr sz="1200"/>
            </a:lvl4pPr>
            <a:lvl5pPr marL="0" indent="0">
              <a:buNone/>
              <a:defRPr sz="1200"/>
            </a:lvl5pPr>
          </a:lstStyle>
          <a:p>
            <a:pPr lvl="0"/>
            <a:r>
              <a:rPr lang="en-US"/>
              <a:t>Department</a:t>
            </a:r>
          </a:p>
        </p:txBody>
      </p:sp>
    </p:spTree>
    <p:extLst>
      <p:ext uri="{BB962C8B-B14F-4D97-AF65-F5344CB8AC3E}">
        <p14:creationId xmlns:p14="http://schemas.microsoft.com/office/powerpoint/2010/main" val="3911727685"/>
      </p:ext>
    </p:extLst>
  </p:cSld>
  <p:clrMapOvr>
    <a:masterClrMapping/>
  </p:clrMapOvr>
</p:sldLayout>
</file>

<file path=ppt/slideLayouts/slideLayout334.xml><?xml version="1.0" encoding="utf-8"?>
<p:sldLayout xmlns:a="http://schemas.openxmlformats.org/drawingml/2006/main" xmlns:r="http://schemas.openxmlformats.org/officeDocument/2006/relationships" xmlns:p="http://schemas.openxmlformats.org/presentationml/2006/main" showMasterSp="0" preserve="1">
  <p:cSld name="Title with picture">
    <p:spTree>
      <p:nvGrpSpPr>
        <p:cNvPr id="1" name=""/>
        <p:cNvGrpSpPr/>
        <p:nvPr/>
      </p:nvGrpSpPr>
      <p:grpSpPr>
        <a:xfrm>
          <a:off x="0" y="0"/>
          <a:ext cx="0" cy="0"/>
          <a:chOff x="0" y="0"/>
          <a:chExt cx="0" cy="0"/>
        </a:xfrm>
      </p:grpSpPr>
      <p:sp>
        <p:nvSpPr>
          <p:cNvPr id="12" name="Picture Placeholder 11"/>
          <p:cNvSpPr>
            <a:spLocks noGrp="1"/>
          </p:cNvSpPr>
          <p:nvPr>
            <p:ph type="pic" sz="quarter" idx="13" hasCustomPrompt="1"/>
          </p:nvPr>
        </p:nvSpPr>
        <p:spPr>
          <a:xfrm>
            <a:off x="3376226" y="0"/>
            <a:ext cx="8815774" cy="6858000"/>
          </a:xfrm>
          <a:custGeom>
            <a:avLst/>
            <a:gdLst>
              <a:gd name="connsiteX0" fmla="*/ 331042 w 8815774"/>
              <a:gd name="connsiteY0" fmla="*/ 0 h 6858000"/>
              <a:gd name="connsiteX1" fmla="*/ 8815774 w 8815774"/>
              <a:gd name="connsiteY1" fmla="*/ 0 h 6858000"/>
              <a:gd name="connsiteX2" fmla="*/ 8815774 w 8815774"/>
              <a:gd name="connsiteY2" fmla="*/ 6858000 h 6858000"/>
              <a:gd name="connsiteX3" fmla="*/ 0 w 8815774"/>
              <a:gd name="connsiteY3" fmla="*/ 6858000 h 6858000"/>
              <a:gd name="connsiteX4" fmla="*/ 1580491 w 8815774"/>
              <a:gd name="connsiteY4" fmla="*/ 4163677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15774" h="6858000">
                <a:moveTo>
                  <a:pt x="331042" y="0"/>
                </a:moveTo>
                <a:lnTo>
                  <a:pt x="8815774" y="0"/>
                </a:lnTo>
                <a:lnTo>
                  <a:pt x="8815774" y="6858000"/>
                </a:lnTo>
                <a:lnTo>
                  <a:pt x="0" y="6858000"/>
                </a:lnTo>
                <a:lnTo>
                  <a:pt x="1580491" y="4163677"/>
                </a:lnTo>
                <a:close/>
              </a:path>
            </a:pathLst>
          </a:custGeom>
          <a:solidFill>
            <a:srgbClr val="D9DADB"/>
          </a:solidFill>
        </p:spPr>
        <p:txBody>
          <a:bodyPr wrap="square">
            <a:noAutofit/>
          </a:bodyPr>
          <a:lstStyle>
            <a:lvl1pPr marL="0" indent="0" algn="ctr">
              <a:buNone/>
              <a:defRPr/>
            </a:lvl1pPr>
          </a:lstStyle>
          <a:p>
            <a:r>
              <a:rPr lang="en-US"/>
              <a:t>Insert picture</a:t>
            </a:r>
          </a:p>
        </p:txBody>
      </p:sp>
      <p:grpSp>
        <p:nvGrpSpPr>
          <p:cNvPr id="14" name="logo">
            <a:extLst>
              <a:ext uri="{FF2B5EF4-FFF2-40B4-BE49-F238E27FC236}">
                <a16:creationId xmlns:a16="http://schemas.microsoft.com/office/drawing/2014/main" id="{18C26D95-70F8-8A4D-9F18-DCCB92522AF8}"/>
              </a:ext>
            </a:extLst>
          </p:cNvPr>
          <p:cNvGrpSpPr/>
          <p:nvPr/>
        </p:nvGrpSpPr>
        <p:grpSpPr bwMode="gray">
          <a:xfrm>
            <a:off x="417363" y="407485"/>
            <a:ext cx="1518585" cy="646507"/>
            <a:chOff x="334963" y="296652"/>
            <a:chExt cx="1268411" cy="540000"/>
          </a:xfrm>
        </p:grpSpPr>
        <p:sp>
          <p:nvSpPr>
            <p:cNvPr id="17" name="Freeform 6">
              <a:extLst>
                <a:ext uri="{FF2B5EF4-FFF2-40B4-BE49-F238E27FC236}">
                  <a16:creationId xmlns:a16="http://schemas.microsoft.com/office/drawing/2014/main" id="{08737AD0-E375-E445-97E6-CD2E2DF60620}"/>
                </a:ext>
              </a:extLst>
            </p:cNvPr>
            <p:cNvSpPr>
              <a:spLocks noEditPoints="1"/>
            </p:cNvSpPr>
            <p:nvPr/>
          </p:nvSpPr>
          <p:spPr bwMode="gray">
            <a:xfrm>
              <a:off x="982662" y="360462"/>
              <a:ext cx="620712" cy="431800"/>
            </a:xfrm>
            <a:custGeom>
              <a:avLst/>
              <a:gdLst>
                <a:gd name="T0" fmla="*/ 19 w 1809"/>
                <a:gd name="T1" fmla="*/ 97 h 1253"/>
                <a:gd name="T2" fmla="*/ 165 w 1809"/>
                <a:gd name="T3" fmla="*/ 41 h 1253"/>
                <a:gd name="T4" fmla="*/ 211 w 1809"/>
                <a:gd name="T5" fmla="*/ 224 h 1253"/>
                <a:gd name="T6" fmla="*/ 248 w 1809"/>
                <a:gd name="T7" fmla="*/ 155 h 1253"/>
                <a:gd name="T8" fmla="*/ 931 w 1809"/>
                <a:gd name="T9" fmla="*/ 995 h 1253"/>
                <a:gd name="T10" fmla="*/ 858 w 1809"/>
                <a:gd name="T11" fmla="*/ 1115 h 1253"/>
                <a:gd name="T12" fmla="*/ 749 w 1809"/>
                <a:gd name="T13" fmla="*/ 1117 h 1253"/>
                <a:gd name="T14" fmla="*/ 681 w 1809"/>
                <a:gd name="T15" fmla="*/ 1055 h 1253"/>
                <a:gd name="T16" fmla="*/ 800 w 1809"/>
                <a:gd name="T17" fmla="*/ 1054 h 1253"/>
                <a:gd name="T18" fmla="*/ 884 w 1809"/>
                <a:gd name="T19" fmla="*/ 1181 h 1253"/>
                <a:gd name="T20" fmla="*/ 118 w 1809"/>
                <a:gd name="T21" fmla="*/ 1086 h 1253"/>
                <a:gd name="T22" fmla="*/ 147 w 1809"/>
                <a:gd name="T23" fmla="*/ 1026 h 1253"/>
                <a:gd name="T24" fmla="*/ 102 w 1809"/>
                <a:gd name="T25" fmla="*/ 1026 h 1253"/>
                <a:gd name="T26" fmla="*/ 639 w 1809"/>
                <a:gd name="T27" fmla="*/ 84 h 1253"/>
                <a:gd name="T28" fmla="*/ 763 w 1809"/>
                <a:gd name="T29" fmla="*/ 145 h 1253"/>
                <a:gd name="T30" fmla="*/ 863 w 1809"/>
                <a:gd name="T31" fmla="*/ 221 h 1253"/>
                <a:gd name="T32" fmla="*/ 834 w 1809"/>
                <a:gd name="T33" fmla="*/ 208 h 1253"/>
                <a:gd name="T34" fmla="*/ 719 w 1809"/>
                <a:gd name="T35" fmla="*/ 182 h 1253"/>
                <a:gd name="T36" fmla="*/ 507 w 1809"/>
                <a:gd name="T37" fmla="*/ 711 h 1253"/>
                <a:gd name="T38" fmla="*/ 614 w 1809"/>
                <a:gd name="T39" fmla="*/ 706 h 1253"/>
                <a:gd name="T40" fmla="*/ 736 w 1809"/>
                <a:gd name="T41" fmla="*/ 730 h 1253"/>
                <a:gd name="T42" fmla="*/ 607 w 1809"/>
                <a:gd name="T43" fmla="*/ 539 h 1253"/>
                <a:gd name="T44" fmla="*/ 1505 w 1809"/>
                <a:gd name="T45" fmla="*/ 1136 h 1253"/>
                <a:gd name="T46" fmla="*/ 1613 w 1809"/>
                <a:gd name="T47" fmla="*/ 1002 h 1253"/>
                <a:gd name="T48" fmla="*/ 1472 w 1809"/>
                <a:gd name="T49" fmla="*/ 1164 h 1253"/>
                <a:gd name="T50" fmla="*/ 1525 w 1809"/>
                <a:gd name="T51" fmla="*/ 1142 h 1253"/>
                <a:gd name="T52" fmla="*/ 1556 w 1809"/>
                <a:gd name="T53" fmla="*/ 1172 h 1253"/>
                <a:gd name="T54" fmla="*/ 1387 w 1809"/>
                <a:gd name="T55" fmla="*/ 910 h 1253"/>
                <a:gd name="T56" fmla="*/ 1261 w 1809"/>
                <a:gd name="T57" fmla="*/ 1157 h 1253"/>
                <a:gd name="T58" fmla="*/ 1413 w 1809"/>
                <a:gd name="T59" fmla="*/ 934 h 1253"/>
                <a:gd name="T60" fmla="*/ 1378 w 1809"/>
                <a:gd name="T61" fmla="*/ 1052 h 1253"/>
                <a:gd name="T62" fmla="*/ 488 w 1809"/>
                <a:gd name="T63" fmla="*/ 85 h 1253"/>
                <a:gd name="T64" fmla="*/ 509 w 1809"/>
                <a:gd name="T65" fmla="*/ 112 h 1253"/>
                <a:gd name="T66" fmla="*/ 548 w 1809"/>
                <a:gd name="T67" fmla="*/ 1187 h 1253"/>
                <a:gd name="T68" fmla="*/ 472 w 1809"/>
                <a:gd name="T69" fmla="*/ 1122 h 1253"/>
                <a:gd name="T70" fmla="*/ 558 w 1809"/>
                <a:gd name="T71" fmla="*/ 1157 h 1253"/>
                <a:gd name="T72" fmla="*/ 287 w 1809"/>
                <a:gd name="T73" fmla="*/ 654 h 1253"/>
                <a:gd name="T74" fmla="*/ 416 w 1809"/>
                <a:gd name="T75" fmla="*/ 684 h 1253"/>
                <a:gd name="T76" fmla="*/ 1106 w 1809"/>
                <a:gd name="T77" fmla="*/ 147 h 1253"/>
                <a:gd name="T78" fmla="*/ 1229 w 1809"/>
                <a:gd name="T79" fmla="*/ 258 h 1253"/>
                <a:gd name="T80" fmla="*/ 1106 w 1809"/>
                <a:gd name="T81" fmla="*/ 96 h 1253"/>
                <a:gd name="T82" fmla="*/ 1219 w 1809"/>
                <a:gd name="T83" fmla="*/ 1077 h 1253"/>
                <a:gd name="T84" fmla="*/ 1214 w 1809"/>
                <a:gd name="T85" fmla="*/ 1157 h 1253"/>
                <a:gd name="T86" fmla="*/ 1150 w 1809"/>
                <a:gd name="T87" fmla="*/ 1092 h 1253"/>
                <a:gd name="T88" fmla="*/ 1139 w 1809"/>
                <a:gd name="T89" fmla="*/ 1070 h 1253"/>
                <a:gd name="T90" fmla="*/ 1659 w 1809"/>
                <a:gd name="T91" fmla="*/ 1031 h 1253"/>
                <a:gd name="T92" fmla="*/ 1714 w 1809"/>
                <a:gd name="T93" fmla="*/ 1155 h 1253"/>
                <a:gd name="T94" fmla="*/ 1760 w 1809"/>
                <a:gd name="T95" fmla="*/ 1030 h 1253"/>
                <a:gd name="T96" fmla="*/ 111 w 1809"/>
                <a:gd name="T97" fmla="*/ 569 h 1253"/>
                <a:gd name="T98" fmla="*/ 109 w 1809"/>
                <a:gd name="T99" fmla="*/ 460 h 1253"/>
                <a:gd name="T100" fmla="*/ 32 w 1809"/>
                <a:gd name="T101" fmla="*/ 704 h 1253"/>
                <a:gd name="T102" fmla="*/ 310 w 1809"/>
                <a:gd name="T103" fmla="*/ 1058 h 1253"/>
                <a:gd name="T104" fmla="*/ 431 w 1809"/>
                <a:gd name="T105" fmla="*/ 1044 h 1253"/>
                <a:gd name="T106" fmla="*/ 278 w 1809"/>
                <a:gd name="T107" fmla="*/ 1165 h 1253"/>
                <a:gd name="T108" fmla="*/ 261 w 1809"/>
                <a:gd name="T109" fmla="*/ 540 h 1253"/>
                <a:gd name="T110" fmla="*/ 150 w 1809"/>
                <a:gd name="T111" fmla="*/ 635 h 1253"/>
                <a:gd name="T112" fmla="*/ 994 w 1809"/>
                <a:gd name="T113" fmla="*/ 1185 h 1253"/>
                <a:gd name="T114" fmla="*/ 331 w 1809"/>
                <a:gd name="T115" fmla="*/ 176 h 1253"/>
                <a:gd name="T116" fmla="*/ 333 w 1809"/>
                <a:gd name="T117" fmla="*/ 109 h 1253"/>
                <a:gd name="T118" fmla="*/ 946 w 1809"/>
                <a:gd name="T119" fmla="*/ 234 h 1253"/>
                <a:gd name="T120" fmla="*/ 1022 w 1809"/>
                <a:gd name="T121" fmla="*/ 113 h 1253"/>
                <a:gd name="T122" fmla="*/ 949 w 1809"/>
                <a:gd name="T123" fmla="*/ 65 h 1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09" h="1253">
                  <a:moveTo>
                    <a:pt x="248" y="198"/>
                  </a:moveTo>
                  <a:cubicBezTo>
                    <a:pt x="248" y="211"/>
                    <a:pt x="248" y="224"/>
                    <a:pt x="249" y="237"/>
                  </a:cubicBezTo>
                  <a:cubicBezTo>
                    <a:pt x="249" y="245"/>
                    <a:pt x="246" y="249"/>
                    <a:pt x="240" y="253"/>
                  </a:cubicBezTo>
                  <a:cubicBezTo>
                    <a:pt x="231" y="260"/>
                    <a:pt x="220" y="264"/>
                    <a:pt x="209" y="268"/>
                  </a:cubicBezTo>
                  <a:cubicBezTo>
                    <a:pt x="179" y="279"/>
                    <a:pt x="148" y="280"/>
                    <a:pt x="118" y="275"/>
                  </a:cubicBezTo>
                  <a:cubicBezTo>
                    <a:pt x="86" y="269"/>
                    <a:pt x="58" y="252"/>
                    <a:pt x="39" y="224"/>
                  </a:cubicBezTo>
                  <a:cubicBezTo>
                    <a:pt x="24" y="203"/>
                    <a:pt x="18" y="180"/>
                    <a:pt x="15" y="155"/>
                  </a:cubicBezTo>
                  <a:cubicBezTo>
                    <a:pt x="11" y="135"/>
                    <a:pt x="15" y="115"/>
                    <a:pt x="19" y="97"/>
                  </a:cubicBezTo>
                  <a:cubicBezTo>
                    <a:pt x="26" y="68"/>
                    <a:pt x="42" y="44"/>
                    <a:pt x="68" y="27"/>
                  </a:cubicBezTo>
                  <a:cubicBezTo>
                    <a:pt x="87" y="14"/>
                    <a:pt x="109" y="6"/>
                    <a:pt x="133" y="5"/>
                  </a:cubicBezTo>
                  <a:cubicBezTo>
                    <a:pt x="149" y="4"/>
                    <a:pt x="165" y="5"/>
                    <a:pt x="181" y="6"/>
                  </a:cubicBezTo>
                  <a:cubicBezTo>
                    <a:pt x="204" y="8"/>
                    <a:pt x="225" y="20"/>
                    <a:pt x="243" y="35"/>
                  </a:cubicBezTo>
                  <a:cubicBezTo>
                    <a:pt x="246" y="37"/>
                    <a:pt x="246" y="40"/>
                    <a:pt x="244" y="43"/>
                  </a:cubicBezTo>
                  <a:cubicBezTo>
                    <a:pt x="242" y="47"/>
                    <a:pt x="239" y="52"/>
                    <a:pt x="236" y="55"/>
                  </a:cubicBezTo>
                  <a:cubicBezTo>
                    <a:pt x="226" y="65"/>
                    <a:pt x="224" y="65"/>
                    <a:pt x="206" y="54"/>
                  </a:cubicBezTo>
                  <a:cubicBezTo>
                    <a:pt x="193" y="46"/>
                    <a:pt x="180" y="40"/>
                    <a:pt x="165" y="41"/>
                  </a:cubicBezTo>
                  <a:cubicBezTo>
                    <a:pt x="151" y="41"/>
                    <a:pt x="137" y="39"/>
                    <a:pt x="124" y="42"/>
                  </a:cubicBezTo>
                  <a:cubicBezTo>
                    <a:pt x="104" y="46"/>
                    <a:pt x="87" y="57"/>
                    <a:pt x="75" y="74"/>
                  </a:cubicBezTo>
                  <a:cubicBezTo>
                    <a:pt x="56" y="99"/>
                    <a:pt x="51" y="129"/>
                    <a:pt x="55" y="159"/>
                  </a:cubicBezTo>
                  <a:cubicBezTo>
                    <a:pt x="60" y="189"/>
                    <a:pt x="73" y="214"/>
                    <a:pt x="98" y="230"/>
                  </a:cubicBezTo>
                  <a:cubicBezTo>
                    <a:pt x="109" y="237"/>
                    <a:pt x="121" y="242"/>
                    <a:pt x="135" y="241"/>
                  </a:cubicBezTo>
                  <a:cubicBezTo>
                    <a:pt x="146" y="241"/>
                    <a:pt x="158" y="241"/>
                    <a:pt x="169" y="241"/>
                  </a:cubicBezTo>
                  <a:cubicBezTo>
                    <a:pt x="182" y="242"/>
                    <a:pt x="193" y="235"/>
                    <a:pt x="205" y="232"/>
                  </a:cubicBezTo>
                  <a:cubicBezTo>
                    <a:pt x="210" y="231"/>
                    <a:pt x="211" y="227"/>
                    <a:pt x="211" y="224"/>
                  </a:cubicBezTo>
                  <a:cubicBezTo>
                    <a:pt x="211" y="210"/>
                    <a:pt x="211" y="196"/>
                    <a:pt x="211" y="183"/>
                  </a:cubicBezTo>
                  <a:cubicBezTo>
                    <a:pt x="211" y="177"/>
                    <a:pt x="207" y="175"/>
                    <a:pt x="202" y="175"/>
                  </a:cubicBezTo>
                  <a:cubicBezTo>
                    <a:pt x="193" y="175"/>
                    <a:pt x="184" y="175"/>
                    <a:pt x="175" y="175"/>
                  </a:cubicBezTo>
                  <a:cubicBezTo>
                    <a:pt x="171" y="175"/>
                    <a:pt x="168" y="174"/>
                    <a:pt x="166" y="171"/>
                  </a:cubicBezTo>
                  <a:cubicBezTo>
                    <a:pt x="163" y="163"/>
                    <a:pt x="164" y="154"/>
                    <a:pt x="166" y="146"/>
                  </a:cubicBezTo>
                  <a:cubicBezTo>
                    <a:pt x="167" y="142"/>
                    <a:pt x="171" y="142"/>
                    <a:pt x="175" y="142"/>
                  </a:cubicBezTo>
                  <a:cubicBezTo>
                    <a:pt x="196" y="142"/>
                    <a:pt x="217" y="142"/>
                    <a:pt x="238" y="142"/>
                  </a:cubicBezTo>
                  <a:cubicBezTo>
                    <a:pt x="247" y="142"/>
                    <a:pt x="248" y="148"/>
                    <a:pt x="248" y="155"/>
                  </a:cubicBezTo>
                  <a:cubicBezTo>
                    <a:pt x="249" y="169"/>
                    <a:pt x="248" y="183"/>
                    <a:pt x="248" y="198"/>
                  </a:cubicBezTo>
                  <a:close/>
                  <a:moveTo>
                    <a:pt x="884" y="1181"/>
                  </a:moveTo>
                  <a:cubicBezTo>
                    <a:pt x="889" y="1167"/>
                    <a:pt x="894" y="1152"/>
                    <a:pt x="898" y="1137"/>
                  </a:cubicBezTo>
                  <a:cubicBezTo>
                    <a:pt x="901" y="1127"/>
                    <a:pt x="905" y="1116"/>
                    <a:pt x="908" y="1106"/>
                  </a:cubicBezTo>
                  <a:cubicBezTo>
                    <a:pt x="911" y="1098"/>
                    <a:pt x="912" y="1089"/>
                    <a:pt x="916" y="1081"/>
                  </a:cubicBezTo>
                  <a:cubicBezTo>
                    <a:pt x="921" y="1072"/>
                    <a:pt x="923" y="1060"/>
                    <a:pt x="927" y="1050"/>
                  </a:cubicBezTo>
                  <a:cubicBezTo>
                    <a:pt x="932" y="1037"/>
                    <a:pt x="934" y="1023"/>
                    <a:pt x="940" y="1010"/>
                  </a:cubicBezTo>
                  <a:cubicBezTo>
                    <a:pt x="945" y="1001"/>
                    <a:pt x="941" y="995"/>
                    <a:pt x="931" y="995"/>
                  </a:cubicBezTo>
                  <a:cubicBezTo>
                    <a:pt x="927" y="995"/>
                    <a:pt x="922" y="995"/>
                    <a:pt x="918" y="995"/>
                  </a:cubicBezTo>
                  <a:cubicBezTo>
                    <a:pt x="913" y="995"/>
                    <a:pt x="908" y="997"/>
                    <a:pt x="907" y="1001"/>
                  </a:cubicBezTo>
                  <a:cubicBezTo>
                    <a:pt x="904" y="1008"/>
                    <a:pt x="900" y="1015"/>
                    <a:pt x="899" y="1023"/>
                  </a:cubicBezTo>
                  <a:cubicBezTo>
                    <a:pt x="897" y="1034"/>
                    <a:pt x="893" y="1045"/>
                    <a:pt x="889" y="1055"/>
                  </a:cubicBezTo>
                  <a:cubicBezTo>
                    <a:pt x="887" y="1064"/>
                    <a:pt x="885" y="1072"/>
                    <a:pt x="882" y="1080"/>
                  </a:cubicBezTo>
                  <a:cubicBezTo>
                    <a:pt x="878" y="1091"/>
                    <a:pt x="874" y="1103"/>
                    <a:pt x="871" y="1115"/>
                  </a:cubicBezTo>
                  <a:cubicBezTo>
                    <a:pt x="870" y="1118"/>
                    <a:pt x="871" y="1124"/>
                    <a:pt x="866" y="1124"/>
                  </a:cubicBezTo>
                  <a:cubicBezTo>
                    <a:pt x="861" y="1125"/>
                    <a:pt x="859" y="1120"/>
                    <a:pt x="858" y="1115"/>
                  </a:cubicBezTo>
                  <a:cubicBezTo>
                    <a:pt x="856" y="1110"/>
                    <a:pt x="856" y="1104"/>
                    <a:pt x="854" y="1099"/>
                  </a:cubicBezTo>
                  <a:cubicBezTo>
                    <a:pt x="848" y="1080"/>
                    <a:pt x="841" y="1062"/>
                    <a:pt x="835" y="1044"/>
                  </a:cubicBezTo>
                  <a:cubicBezTo>
                    <a:pt x="831" y="1030"/>
                    <a:pt x="828" y="1016"/>
                    <a:pt x="822" y="1003"/>
                  </a:cubicBezTo>
                  <a:cubicBezTo>
                    <a:pt x="819" y="997"/>
                    <a:pt x="814" y="994"/>
                    <a:pt x="808" y="994"/>
                  </a:cubicBezTo>
                  <a:cubicBezTo>
                    <a:pt x="799" y="993"/>
                    <a:pt x="791" y="993"/>
                    <a:pt x="787" y="1001"/>
                  </a:cubicBezTo>
                  <a:cubicBezTo>
                    <a:pt x="783" y="1008"/>
                    <a:pt x="780" y="1015"/>
                    <a:pt x="779" y="1022"/>
                  </a:cubicBezTo>
                  <a:cubicBezTo>
                    <a:pt x="778" y="1034"/>
                    <a:pt x="772" y="1044"/>
                    <a:pt x="769" y="1055"/>
                  </a:cubicBezTo>
                  <a:cubicBezTo>
                    <a:pt x="762" y="1076"/>
                    <a:pt x="754" y="1096"/>
                    <a:pt x="749" y="1117"/>
                  </a:cubicBezTo>
                  <a:cubicBezTo>
                    <a:pt x="748" y="1120"/>
                    <a:pt x="747" y="1124"/>
                    <a:pt x="742" y="1124"/>
                  </a:cubicBezTo>
                  <a:cubicBezTo>
                    <a:pt x="737" y="1124"/>
                    <a:pt x="737" y="1120"/>
                    <a:pt x="736" y="1116"/>
                  </a:cubicBezTo>
                  <a:cubicBezTo>
                    <a:pt x="734" y="1104"/>
                    <a:pt x="730" y="1092"/>
                    <a:pt x="726" y="1080"/>
                  </a:cubicBezTo>
                  <a:cubicBezTo>
                    <a:pt x="720" y="1061"/>
                    <a:pt x="714" y="1040"/>
                    <a:pt x="708" y="1020"/>
                  </a:cubicBezTo>
                  <a:cubicBezTo>
                    <a:pt x="703" y="1000"/>
                    <a:pt x="698" y="994"/>
                    <a:pt x="676" y="995"/>
                  </a:cubicBezTo>
                  <a:cubicBezTo>
                    <a:pt x="665" y="996"/>
                    <a:pt x="661" y="1001"/>
                    <a:pt x="667" y="1011"/>
                  </a:cubicBezTo>
                  <a:cubicBezTo>
                    <a:pt x="669" y="1016"/>
                    <a:pt x="670" y="1021"/>
                    <a:pt x="672" y="1025"/>
                  </a:cubicBezTo>
                  <a:cubicBezTo>
                    <a:pt x="675" y="1035"/>
                    <a:pt x="678" y="1046"/>
                    <a:pt x="681" y="1055"/>
                  </a:cubicBezTo>
                  <a:cubicBezTo>
                    <a:pt x="685" y="1068"/>
                    <a:pt x="689" y="1080"/>
                    <a:pt x="693" y="1092"/>
                  </a:cubicBezTo>
                  <a:cubicBezTo>
                    <a:pt x="697" y="1103"/>
                    <a:pt x="699" y="1113"/>
                    <a:pt x="703" y="1124"/>
                  </a:cubicBezTo>
                  <a:cubicBezTo>
                    <a:pt x="707" y="1136"/>
                    <a:pt x="711" y="1147"/>
                    <a:pt x="715" y="1160"/>
                  </a:cubicBezTo>
                  <a:cubicBezTo>
                    <a:pt x="717" y="1168"/>
                    <a:pt x="720" y="1176"/>
                    <a:pt x="724" y="1183"/>
                  </a:cubicBezTo>
                  <a:cubicBezTo>
                    <a:pt x="728" y="1189"/>
                    <a:pt x="752" y="1185"/>
                    <a:pt x="757" y="1180"/>
                  </a:cubicBezTo>
                  <a:cubicBezTo>
                    <a:pt x="764" y="1173"/>
                    <a:pt x="762" y="1163"/>
                    <a:pt x="766" y="1156"/>
                  </a:cubicBezTo>
                  <a:cubicBezTo>
                    <a:pt x="774" y="1140"/>
                    <a:pt x="778" y="1122"/>
                    <a:pt x="784" y="1105"/>
                  </a:cubicBezTo>
                  <a:cubicBezTo>
                    <a:pt x="789" y="1088"/>
                    <a:pt x="796" y="1072"/>
                    <a:pt x="800" y="1054"/>
                  </a:cubicBezTo>
                  <a:cubicBezTo>
                    <a:pt x="800" y="1053"/>
                    <a:pt x="801" y="1050"/>
                    <a:pt x="803" y="1050"/>
                  </a:cubicBezTo>
                  <a:cubicBezTo>
                    <a:pt x="806" y="1050"/>
                    <a:pt x="806" y="1052"/>
                    <a:pt x="807" y="1055"/>
                  </a:cubicBezTo>
                  <a:cubicBezTo>
                    <a:pt x="807" y="1060"/>
                    <a:pt x="810" y="1066"/>
                    <a:pt x="811" y="1071"/>
                  </a:cubicBezTo>
                  <a:cubicBezTo>
                    <a:pt x="814" y="1081"/>
                    <a:pt x="818" y="1090"/>
                    <a:pt x="821" y="1099"/>
                  </a:cubicBezTo>
                  <a:cubicBezTo>
                    <a:pt x="824" y="1110"/>
                    <a:pt x="827" y="1120"/>
                    <a:pt x="831" y="1131"/>
                  </a:cubicBezTo>
                  <a:cubicBezTo>
                    <a:pt x="834" y="1142"/>
                    <a:pt x="839" y="1153"/>
                    <a:pt x="842" y="1164"/>
                  </a:cubicBezTo>
                  <a:cubicBezTo>
                    <a:pt x="846" y="1179"/>
                    <a:pt x="850" y="1188"/>
                    <a:pt x="869" y="1185"/>
                  </a:cubicBezTo>
                  <a:cubicBezTo>
                    <a:pt x="873" y="1184"/>
                    <a:pt x="881" y="1189"/>
                    <a:pt x="884" y="1181"/>
                  </a:cubicBezTo>
                  <a:close/>
                  <a:moveTo>
                    <a:pt x="33" y="1051"/>
                  </a:moveTo>
                  <a:cubicBezTo>
                    <a:pt x="33" y="1087"/>
                    <a:pt x="33" y="1124"/>
                    <a:pt x="33" y="1160"/>
                  </a:cubicBezTo>
                  <a:cubicBezTo>
                    <a:pt x="33" y="1188"/>
                    <a:pt x="29" y="1184"/>
                    <a:pt x="58" y="1185"/>
                  </a:cubicBezTo>
                  <a:cubicBezTo>
                    <a:pt x="72" y="1185"/>
                    <a:pt x="73" y="1184"/>
                    <a:pt x="73" y="1170"/>
                  </a:cubicBezTo>
                  <a:cubicBezTo>
                    <a:pt x="73" y="1138"/>
                    <a:pt x="73" y="1107"/>
                    <a:pt x="73" y="1076"/>
                  </a:cubicBezTo>
                  <a:cubicBezTo>
                    <a:pt x="73" y="1071"/>
                    <a:pt x="72" y="1067"/>
                    <a:pt x="78" y="1065"/>
                  </a:cubicBezTo>
                  <a:cubicBezTo>
                    <a:pt x="91" y="1062"/>
                    <a:pt x="102" y="1067"/>
                    <a:pt x="110" y="1076"/>
                  </a:cubicBezTo>
                  <a:cubicBezTo>
                    <a:pt x="112" y="1080"/>
                    <a:pt x="115" y="1083"/>
                    <a:pt x="118" y="1086"/>
                  </a:cubicBezTo>
                  <a:cubicBezTo>
                    <a:pt x="132" y="1103"/>
                    <a:pt x="146" y="1119"/>
                    <a:pt x="161" y="1136"/>
                  </a:cubicBezTo>
                  <a:cubicBezTo>
                    <a:pt x="173" y="1150"/>
                    <a:pt x="186" y="1165"/>
                    <a:pt x="198" y="1179"/>
                  </a:cubicBezTo>
                  <a:cubicBezTo>
                    <a:pt x="207" y="1188"/>
                    <a:pt x="218" y="1184"/>
                    <a:pt x="228" y="1185"/>
                  </a:cubicBezTo>
                  <a:cubicBezTo>
                    <a:pt x="233" y="1185"/>
                    <a:pt x="241" y="1188"/>
                    <a:pt x="244" y="1182"/>
                  </a:cubicBezTo>
                  <a:cubicBezTo>
                    <a:pt x="246" y="1178"/>
                    <a:pt x="239" y="1173"/>
                    <a:pt x="235" y="1169"/>
                  </a:cubicBezTo>
                  <a:cubicBezTo>
                    <a:pt x="206" y="1133"/>
                    <a:pt x="176" y="1098"/>
                    <a:pt x="146" y="1062"/>
                  </a:cubicBezTo>
                  <a:cubicBezTo>
                    <a:pt x="141" y="1056"/>
                    <a:pt x="131" y="1052"/>
                    <a:pt x="132" y="1044"/>
                  </a:cubicBezTo>
                  <a:cubicBezTo>
                    <a:pt x="132" y="1036"/>
                    <a:pt x="142" y="1032"/>
                    <a:pt x="147" y="1026"/>
                  </a:cubicBezTo>
                  <a:cubicBezTo>
                    <a:pt x="164" y="1006"/>
                    <a:pt x="182" y="988"/>
                    <a:pt x="198" y="968"/>
                  </a:cubicBezTo>
                  <a:cubicBezTo>
                    <a:pt x="209" y="954"/>
                    <a:pt x="221" y="942"/>
                    <a:pt x="234" y="929"/>
                  </a:cubicBezTo>
                  <a:cubicBezTo>
                    <a:pt x="236" y="926"/>
                    <a:pt x="238" y="923"/>
                    <a:pt x="237" y="920"/>
                  </a:cubicBezTo>
                  <a:cubicBezTo>
                    <a:pt x="235" y="915"/>
                    <a:pt x="231" y="917"/>
                    <a:pt x="228" y="917"/>
                  </a:cubicBezTo>
                  <a:cubicBezTo>
                    <a:pt x="224" y="918"/>
                    <a:pt x="221" y="918"/>
                    <a:pt x="217" y="918"/>
                  </a:cubicBezTo>
                  <a:cubicBezTo>
                    <a:pt x="204" y="917"/>
                    <a:pt x="193" y="922"/>
                    <a:pt x="185" y="931"/>
                  </a:cubicBezTo>
                  <a:cubicBezTo>
                    <a:pt x="172" y="946"/>
                    <a:pt x="158" y="961"/>
                    <a:pt x="145" y="977"/>
                  </a:cubicBezTo>
                  <a:cubicBezTo>
                    <a:pt x="131" y="993"/>
                    <a:pt x="117" y="1010"/>
                    <a:pt x="102" y="1026"/>
                  </a:cubicBezTo>
                  <a:cubicBezTo>
                    <a:pt x="96" y="1032"/>
                    <a:pt x="87" y="1037"/>
                    <a:pt x="78" y="1034"/>
                  </a:cubicBezTo>
                  <a:cubicBezTo>
                    <a:pt x="70" y="1030"/>
                    <a:pt x="73" y="1021"/>
                    <a:pt x="73" y="1015"/>
                  </a:cubicBezTo>
                  <a:cubicBezTo>
                    <a:pt x="73" y="991"/>
                    <a:pt x="73" y="967"/>
                    <a:pt x="73" y="944"/>
                  </a:cubicBezTo>
                  <a:cubicBezTo>
                    <a:pt x="73" y="916"/>
                    <a:pt x="75" y="917"/>
                    <a:pt x="46" y="918"/>
                  </a:cubicBezTo>
                  <a:cubicBezTo>
                    <a:pt x="33" y="918"/>
                    <a:pt x="33" y="918"/>
                    <a:pt x="33" y="931"/>
                  </a:cubicBezTo>
                  <a:cubicBezTo>
                    <a:pt x="33" y="971"/>
                    <a:pt x="33" y="1011"/>
                    <a:pt x="33" y="1051"/>
                  </a:cubicBezTo>
                  <a:cubicBezTo>
                    <a:pt x="33" y="1051"/>
                    <a:pt x="33" y="1051"/>
                    <a:pt x="33" y="1051"/>
                  </a:cubicBezTo>
                  <a:close/>
                  <a:moveTo>
                    <a:pt x="639" y="84"/>
                  </a:moveTo>
                  <a:cubicBezTo>
                    <a:pt x="627" y="84"/>
                    <a:pt x="626" y="84"/>
                    <a:pt x="629" y="95"/>
                  </a:cubicBezTo>
                  <a:cubicBezTo>
                    <a:pt x="634" y="113"/>
                    <a:pt x="640" y="131"/>
                    <a:pt x="646" y="148"/>
                  </a:cubicBezTo>
                  <a:cubicBezTo>
                    <a:pt x="652" y="166"/>
                    <a:pt x="658" y="185"/>
                    <a:pt x="664" y="203"/>
                  </a:cubicBezTo>
                  <a:cubicBezTo>
                    <a:pt x="671" y="223"/>
                    <a:pt x="676" y="244"/>
                    <a:pt x="684" y="264"/>
                  </a:cubicBezTo>
                  <a:cubicBezTo>
                    <a:pt x="688" y="274"/>
                    <a:pt x="694" y="274"/>
                    <a:pt x="702" y="274"/>
                  </a:cubicBezTo>
                  <a:cubicBezTo>
                    <a:pt x="711" y="274"/>
                    <a:pt x="719" y="272"/>
                    <a:pt x="723" y="263"/>
                  </a:cubicBezTo>
                  <a:cubicBezTo>
                    <a:pt x="733" y="236"/>
                    <a:pt x="741" y="208"/>
                    <a:pt x="750" y="181"/>
                  </a:cubicBezTo>
                  <a:cubicBezTo>
                    <a:pt x="754" y="169"/>
                    <a:pt x="757" y="156"/>
                    <a:pt x="763" y="145"/>
                  </a:cubicBezTo>
                  <a:cubicBezTo>
                    <a:pt x="764" y="143"/>
                    <a:pt x="764" y="140"/>
                    <a:pt x="767" y="140"/>
                  </a:cubicBezTo>
                  <a:cubicBezTo>
                    <a:pt x="770" y="140"/>
                    <a:pt x="770" y="143"/>
                    <a:pt x="771" y="145"/>
                  </a:cubicBezTo>
                  <a:cubicBezTo>
                    <a:pt x="771" y="156"/>
                    <a:pt x="777" y="165"/>
                    <a:pt x="780" y="175"/>
                  </a:cubicBezTo>
                  <a:cubicBezTo>
                    <a:pt x="782" y="184"/>
                    <a:pt x="785" y="193"/>
                    <a:pt x="788" y="201"/>
                  </a:cubicBezTo>
                  <a:cubicBezTo>
                    <a:pt x="794" y="219"/>
                    <a:pt x="801" y="237"/>
                    <a:pt x="806" y="255"/>
                  </a:cubicBezTo>
                  <a:cubicBezTo>
                    <a:pt x="811" y="272"/>
                    <a:pt x="825" y="280"/>
                    <a:pt x="842" y="273"/>
                  </a:cubicBezTo>
                  <a:cubicBezTo>
                    <a:pt x="845" y="271"/>
                    <a:pt x="847" y="269"/>
                    <a:pt x="848" y="266"/>
                  </a:cubicBezTo>
                  <a:cubicBezTo>
                    <a:pt x="853" y="251"/>
                    <a:pt x="859" y="236"/>
                    <a:pt x="863" y="221"/>
                  </a:cubicBezTo>
                  <a:cubicBezTo>
                    <a:pt x="867" y="202"/>
                    <a:pt x="875" y="185"/>
                    <a:pt x="880" y="166"/>
                  </a:cubicBezTo>
                  <a:cubicBezTo>
                    <a:pt x="886" y="144"/>
                    <a:pt x="895" y="123"/>
                    <a:pt x="900" y="101"/>
                  </a:cubicBezTo>
                  <a:cubicBezTo>
                    <a:pt x="901" y="96"/>
                    <a:pt x="909" y="91"/>
                    <a:pt x="904" y="86"/>
                  </a:cubicBezTo>
                  <a:cubicBezTo>
                    <a:pt x="900" y="81"/>
                    <a:pt x="892" y="84"/>
                    <a:pt x="886" y="84"/>
                  </a:cubicBezTo>
                  <a:cubicBezTo>
                    <a:pt x="885" y="84"/>
                    <a:pt x="883" y="84"/>
                    <a:pt x="881" y="84"/>
                  </a:cubicBezTo>
                  <a:cubicBezTo>
                    <a:pt x="875" y="84"/>
                    <a:pt x="872" y="86"/>
                    <a:pt x="869" y="91"/>
                  </a:cubicBezTo>
                  <a:cubicBezTo>
                    <a:pt x="860" y="110"/>
                    <a:pt x="856" y="131"/>
                    <a:pt x="850" y="151"/>
                  </a:cubicBezTo>
                  <a:cubicBezTo>
                    <a:pt x="844" y="170"/>
                    <a:pt x="836" y="188"/>
                    <a:pt x="834" y="208"/>
                  </a:cubicBezTo>
                  <a:cubicBezTo>
                    <a:pt x="833" y="211"/>
                    <a:pt x="831" y="214"/>
                    <a:pt x="827" y="214"/>
                  </a:cubicBezTo>
                  <a:cubicBezTo>
                    <a:pt x="823" y="214"/>
                    <a:pt x="822" y="210"/>
                    <a:pt x="822" y="207"/>
                  </a:cubicBezTo>
                  <a:cubicBezTo>
                    <a:pt x="817" y="188"/>
                    <a:pt x="811" y="170"/>
                    <a:pt x="805" y="152"/>
                  </a:cubicBezTo>
                  <a:cubicBezTo>
                    <a:pt x="799" y="133"/>
                    <a:pt x="794" y="114"/>
                    <a:pt x="786" y="96"/>
                  </a:cubicBezTo>
                  <a:cubicBezTo>
                    <a:pt x="783" y="87"/>
                    <a:pt x="779" y="84"/>
                    <a:pt x="770" y="84"/>
                  </a:cubicBezTo>
                  <a:cubicBezTo>
                    <a:pt x="761" y="84"/>
                    <a:pt x="752" y="82"/>
                    <a:pt x="748" y="94"/>
                  </a:cubicBezTo>
                  <a:cubicBezTo>
                    <a:pt x="744" y="109"/>
                    <a:pt x="738" y="123"/>
                    <a:pt x="734" y="138"/>
                  </a:cubicBezTo>
                  <a:cubicBezTo>
                    <a:pt x="729" y="153"/>
                    <a:pt x="724" y="167"/>
                    <a:pt x="719" y="182"/>
                  </a:cubicBezTo>
                  <a:cubicBezTo>
                    <a:pt x="716" y="192"/>
                    <a:pt x="715" y="203"/>
                    <a:pt x="708" y="212"/>
                  </a:cubicBezTo>
                  <a:cubicBezTo>
                    <a:pt x="707" y="214"/>
                    <a:pt x="707" y="217"/>
                    <a:pt x="704" y="217"/>
                  </a:cubicBezTo>
                  <a:cubicBezTo>
                    <a:pt x="701" y="217"/>
                    <a:pt x="701" y="213"/>
                    <a:pt x="700" y="211"/>
                  </a:cubicBezTo>
                  <a:cubicBezTo>
                    <a:pt x="699" y="198"/>
                    <a:pt x="694" y="186"/>
                    <a:pt x="690" y="174"/>
                  </a:cubicBezTo>
                  <a:cubicBezTo>
                    <a:pt x="684" y="153"/>
                    <a:pt x="677" y="131"/>
                    <a:pt x="672" y="110"/>
                  </a:cubicBezTo>
                  <a:cubicBezTo>
                    <a:pt x="667" y="88"/>
                    <a:pt x="663" y="84"/>
                    <a:pt x="645" y="84"/>
                  </a:cubicBezTo>
                  <a:cubicBezTo>
                    <a:pt x="643" y="84"/>
                    <a:pt x="641" y="84"/>
                    <a:pt x="639" y="84"/>
                  </a:cubicBezTo>
                  <a:close/>
                  <a:moveTo>
                    <a:pt x="507" y="711"/>
                  </a:moveTo>
                  <a:cubicBezTo>
                    <a:pt x="507" y="730"/>
                    <a:pt x="507" y="730"/>
                    <a:pt x="526" y="730"/>
                  </a:cubicBezTo>
                  <a:cubicBezTo>
                    <a:pt x="539" y="730"/>
                    <a:pt x="541" y="729"/>
                    <a:pt x="541" y="715"/>
                  </a:cubicBezTo>
                  <a:cubicBezTo>
                    <a:pt x="541" y="677"/>
                    <a:pt x="541" y="638"/>
                    <a:pt x="540" y="600"/>
                  </a:cubicBezTo>
                  <a:cubicBezTo>
                    <a:pt x="540" y="593"/>
                    <a:pt x="543" y="587"/>
                    <a:pt x="548" y="582"/>
                  </a:cubicBezTo>
                  <a:cubicBezTo>
                    <a:pt x="553" y="576"/>
                    <a:pt x="559" y="573"/>
                    <a:pt x="564" y="569"/>
                  </a:cubicBezTo>
                  <a:cubicBezTo>
                    <a:pt x="574" y="564"/>
                    <a:pt x="594" y="566"/>
                    <a:pt x="602" y="574"/>
                  </a:cubicBezTo>
                  <a:cubicBezTo>
                    <a:pt x="611" y="582"/>
                    <a:pt x="614" y="592"/>
                    <a:pt x="614" y="604"/>
                  </a:cubicBezTo>
                  <a:cubicBezTo>
                    <a:pt x="614" y="638"/>
                    <a:pt x="614" y="672"/>
                    <a:pt x="614" y="706"/>
                  </a:cubicBezTo>
                  <a:cubicBezTo>
                    <a:pt x="614" y="730"/>
                    <a:pt x="614" y="730"/>
                    <a:pt x="638" y="730"/>
                  </a:cubicBezTo>
                  <a:cubicBezTo>
                    <a:pt x="650" y="730"/>
                    <a:pt x="650" y="730"/>
                    <a:pt x="650" y="717"/>
                  </a:cubicBezTo>
                  <a:cubicBezTo>
                    <a:pt x="650" y="684"/>
                    <a:pt x="650" y="650"/>
                    <a:pt x="650" y="617"/>
                  </a:cubicBezTo>
                  <a:cubicBezTo>
                    <a:pt x="650" y="606"/>
                    <a:pt x="651" y="597"/>
                    <a:pt x="657" y="586"/>
                  </a:cubicBezTo>
                  <a:cubicBezTo>
                    <a:pt x="667" y="565"/>
                    <a:pt x="703" y="560"/>
                    <a:pt x="716" y="579"/>
                  </a:cubicBezTo>
                  <a:cubicBezTo>
                    <a:pt x="723" y="588"/>
                    <a:pt x="724" y="598"/>
                    <a:pt x="724" y="609"/>
                  </a:cubicBezTo>
                  <a:cubicBezTo>
                    <a:pt x="724" y="645"/>
                    <a:pt x="724" y="682"/>
                    <a:pt x="724" y="718"/>
                  </a:cubicBezTo>
                  <a:cubicBezTo>
                    <a:pt x="724" y="727"/>
                    <a:pt x="727" y="731"/>
                    <a:pt x="736" y="730"/>
                  </a:cubicBezTo>
                  <a:cubicBezTo>
                    <a:pt x="738" y="730"/>
                    <a:pt x="741" y="730"/>
                    <a:pt x="743" y="730"/>
                  </a:cubicBezTo>
                  <a:cubicBezTo>
                    <a:pt x="758" y="730"/>
                    <a:pt x="759" y="729"/>
                    <a:pt x="759" y="715"/>
                  </a:cubicBezTo>
                  <a:cubicBezTo>
                    <a:pt x="759" y="677"/>
                    <a:pt x="758" y="639"/>
                    <a:pt x="759" y="601"/>
                  </a:cubicBezTo>
                  <a:cubicBezTo>
                    <a:pt x="759" y="571"/>
                    <a:pt x="742" y="540"/>
                    <a:pt x="704" y="538"/>
                  </a:cubicBezTo>
                  <a:cubicBezTo>
                    <a:pt x="681" y="536"/>
                    <a:pt x="661" y="542"/>
                    <a:pt x="646" y="560"/>
                  </a:cubicBezTo>
                  <a:cubicBezTo>
                    <a:pt x="638" y="569"/>
                    <a:pt x="638" y="569"/>
                    <a:pt x="631" y="559"/>
                  </a:cubicBezTo>
                  <a:cubicBezTo>
                    <a:pt x="630" y="558"/>
                    <a:pt x="630" y="557"/>
                    <a:pt x="629" y="556"/>
                  </a:cubicBezTo>
                  <a:cubicBezTo>
                    <a:pt x="623" y="548"/>
                    <a:pt x="616" y="541"/>
                    <a:pt x="607" y="539"/>
                  </a:cubicBezTo>
                  <a:cubicBezTo>
                    <a:pt x="584" y="534"/>
                    <a:pt x="563" y="539"/>
                    <a:pt x="545" y="555"/>
                  </a:cubicBezTo>
                  <a:cubicBezTo>
                    <a:pt x="540" y="559"/>
                    <a:pt x="537" y="561"/>
                    <a:pt x="537" y="552"/>
                  </a:cubicBezTo>
                  <a:cubicBezTo>
                    <a:pt x="536" y="543"/>
                    <a:pt x="526" y="538"/>
                    <a:pt x="515" y="539"/>
                  </a:cubicBezTo>
                  <a:cubicBezTo>
                    <a:pt x="506" y="540"/>
                    <a:pt x="507" y="546"/>
                    <a:pt x="507" y="552"/>
                  </a:cubicBezTo>
                  <a:cubicBezTo>
                    <a:pt x="507" y="580"/>
                    <a:pt x="507" y="607"/>
                    <a:pt x="507" y="634"/>
                  </a:cubicBezTo>
                  <a:cubicBezTo>
                    <a:pt x="507" y="660"/>
                    <a:pt x="507" y="685"/>
                    <a:pt x="507" y="711"/>
                  </a:cubicBezTo>
                  <a:close/>
                  <a:moveTo>
                    <a:pt x="1525" y="1142"/>
                  </a:moveTo>
                  <a:cubicBezTo>
                    <a:pt x="1517" y="1143"/>
                    <a:pt x="1511" y="1141"/>
                    <a:pt x="1505" y="1136"/>
                  </a:cubicBezTo>
                  <a:cubicBezTo>
                    <a:pt x="1501" y="1133"/>
                    <a:pt x="1495" y="1130"/>
                    <a:pt x="1498" y="1124"/>
                  </a:cubicBezTo>
                  <a:cubicBezTo>
                    <a:pt x="1500" y="1118"/>
                    <a:pt x="1504" y="1114"/>
                    <a:pt x="1512" y="1114"/>
                  </a:cubicBezTo>
                  <a:cubicBezTo>
                    <a:pt x="1521" y="1115"/>
                    <a:pt x="1530" y="1114"/>
                    <a:pt x="1538" y="1115"/>
                  </a:cubicBezTo>
                  <a:cubicBezTo>
                    <a:pt x="1573" y="1117"/>
                    <a:pt x="1610" y="1084"/>
                    <a:pt x="1602" y="1044"/>
                  </a:cubicBezTo>
                  <a:cubicBezTo>
                    <a:pt x="1600" y="1035"/>
                    <a:pt x="1599" y="1028"/>
                    <a:pt x="1611" y="1027"/>
                  </a:cubicBezTo>
                  <a:cubicBezTo>
                    <a:pt x="1614" y="1027"/>
                    <a:pt x="1617" y="1024"/>
                    <a:pt x="1619" y="1023"/>
                  </a:cubicBezTo>
                  <a:cubicBezTo>
                    <a:pt x="1626" y="1019"/>
                    <a:pt x="1624" y="1013"/>
                    <a:pt x="1623" y="1008"/>
                  </a:cubicBezTo>
                  <a:cubicBezTo>
                    <a:pt x="1623" y="1002"/>
                    <a:pt x="1618" y="1003"/>
                    <a:pt x="1613" y="1002"/>
                  </a:cubicBezTo>
                  <a:cubicBezTo>
                    <a:pt x="1598" y="1002"/>
                    <a:pt x="1582" y="1004"/>
                    <a:pt x="1567" y="1000"/>
                  </a:cubicBezTo>
                  <a:cubicBezTo>
                    <a:pt x="1560" y="999"/>
                    <a:pt x="1554" y="993"/>
                    <a:pt x="1546" y="993"/>
                  </a:cubicBezTo>
                  <a:cubicBezTo>
                    <a:pt x="1536" y="994"/>
                    <a:pt x="1525" y="992"/>
                    <a:pt x="1515" y="993"/>
                  </a:cubicBezTo>
                  <a:cubicBezTo>
                    <a:pt x="1490" y="997"/>
                    <a:pt x="1469" y="1010"/>
                    <a:pt x="1462" y="1034"/>
                  </a:cubicBezTo>
                  <a:cubicBezTo>
                    <a:pt x="1455" y="1056"/>
                    <a:pt x="1457" y="1079"/>
                    <a:pt x="1476" y="1096"/>
                  </a:cubicBezTo>
                  <a:cubicBezTo>
                    <a:pt x="1483" y="1103"/>
                    <a:pt x="1483" y="1107"/>
                    <a:pt x="1476" y="1113"/>
                  </a:cubicBezTo>
                  <a:cubicBezTo>
                    <a:pt x="1462" y="1126"/>
                    <a:pt x="1462" y="1142"/>
                    <a:pt x="1473" y="1157"/>
                  </a:cubicBezTo>
                  <a:cubicBezTo>
                    <a:pt x="1476" y="1160"/>
                    <a:pt x="1476" y="1162"/>
                    <a:pt x="1472" y="1164"/>
                  </a:cubicBezTo>
                  <a:cubicBezTo>
                    <a:pt x="1470" y="1166"/>
                    <a:pt x="1468" y="1168"/>
                    <a:pt x="1466" y="1170"/>
                  </a:cubicBezTo>
                  <a:cubicBezTo>
                    <a:pt x="1449" y="1183"/>
                    <a:pt x="1444" y="1201"/>
                    <a:pt x="1454" y="1218"/>
                  </a:cubicBezTo>
                  <a:cubicBezTo>
                    <a:pt x="1464" y="1235"/>
                    <a:pt x="1479" y="1246"/>
                    <a:pt x="1499" y="1249"/>
                  </a:cubicBezTo>
                  <a:cubicBezTo>
                    <a:pt x="1517" y="1252"/>
                    <a:pt x="1535" y="1253"/>
                    <a:pt x="1553" y="1250"/>
                  </a:cubicBezTo>
                  <a:cubicBezTo>
                    <a:pt x="1584" y="1245"/>
                    <a:pt x="1607" y="1232"/>
                    <a:pt x="1619" y="1200"/>
                  </a:cubicBezTo>
                  <a:cubicBezTo>
                    <a:pt x="1627" y="1180"/>
                    <a:pt x="1611" y="1155"/>
                    <a:pt x="1593" y="1148"/>
                  </a:cubicBezTo>
                  <a:cubicBezTo>
                    <a:pt x="1578" y="1142"/>
                    <a:pt x="1563" y="1143"/>
                    <a:pt x="1549" y="1142"/>
                  </a:cubicBezTo>
                  <a:cubicBezTo>
                    <a:pt x="1540" y="1142"/>
                    <a:pt x="1532" y="1142"/>
                    <a:pt x="1525" y="1142"/>
                  </a:cubicBezTo>
                  <a:close/>
                  <a:moveTo>
                    <a:pt x="1556" y="1172"/>
                  </a:moveTo>
                  <a:cubicBezTo>
                    <a:pt x="1566" y="1172"/>
                    <a:pt x="1576" y="1176"/>
                    <a:pt x="1583" y="1183"/>
                  </a:cubicBezTo>
                  <a:cubicBezTo>
                    <a:pt x="1589" y="1190"/>
                    <a:pt x="1589" y="1198"/>
                    <a:pt x="1583" y="1205"/>
                  </a:cubicBezTo>
                  <a:cubicBezTo>
                    <a:pt x="1575" y="1215"/>
                    <a:pt x="1565" y="1220"/>
                    <a:pt x="1553" y="1223"/>
                  </a:cubicBezTo>
                  <a:cubicBezTo>
                    <a:pt x="1534" y="1228"/>
                    <a:pt x="1516" y="1225"/>
                    <a:pt x="1499" y="1219"/>
                  </a:cubicBezTo>
                  <a:cubicBezTo>
                    <a:pt x="1486" y="1214"/>
                    <a:pt x="1479" y="1203"/>
                    <a:pt x="1482" y="1193"/>
                  </a:cubicBezTo>
                  <a:cubicBezTo>
                    <a:pt x="1485" y="1182"/>
                    <a:pt x="1496" y="1168"/>
                    <a:pt x="1514" y="1171"/>
                  </a:cubicBezTo>
                  <a:cubicBezTo>
                    <a:pt x="1526" y="1173"/>
                    <a:pt x="1541" y="1171"/>
                    <a:pt x="1556" y="1172"/>
                  </a:cubicBezTo>
                  <a:close/>
                  <a:moveTo>
                    <a:pt x="1531" y="1019"/>
                  </a:moveTo>
                  <a:cubicBezTo>
                    <a:pt x="1553" y="1017"/>
                    <a:pt x="1570" y="1033"/>
                    <a:pt x="1570" y="1052"/>
                  </a:cubicBezTo>
                  <a:cubicBezTo>
                    <a:pt x="1570" y="1075"/>
                    <a:pt x="1554" y="1093"/>
                    <a:pt x="1532" y="1091"/>
                  </a:cubicBezTo>
                  <a:cubicBezTo>
                    <a:pt x="1508" y="1089"/>
                    <a:pt x="1494" y="1082"/>
                    <a:pt x="1493" y="1053"/>
                  </a:cubicBezTo>
                  <a:cubicBezTo>
                    <a:pt x="1494" y="1029"/>
                    <a:pt x="1508" y="1020"/>
                    <a:pt x="1531" y="1019"/>
                  </a:cubicBezTo>
                  <a:close/>
                  <a:moveTo>
                    <a:pt x="1413" y="934"/>
                  </a:moveTo>
                  <a:cubicBezTo>
                    <a:pt x="1413" y="909"/>
                    <a:pt x="1413" y="909"/>
                    <a:pt x="1389" y="910"/>
                  </a:cubicBezTo>
                  <a:cubicBezTo>
                    <a:pt x="1388" y="910"/>
                    <a:pt x="1387" y="910"/>
                    <a:pt x="1387" y="910"/>
                  </a:cubicBezTo>
                  <a:cubicBezTo>
                    <a:pt x="1379" y="910"/>
                    <a:pt x="1376" y="915"/>
                    <a:pt x="1376" y="921"/>
                  </a:cubicBezTo>
                  <a:cubicBezTo>
                    <a:pt x="1376" y="939"/>
                    <a:pt x="1377" y="956"/>
                    <a:pt x="1377" y="974"/>
                  </a:cubicBezTo>
                  <a:cubicBezTo>
                    <a:pt x="1377" y="983"/>
                    <a:pt x="1377" y="991"/>
                    <a:pt x="1377" y="1000"/>
                  </a:cubicBezTo>
                  <a:cubicBezTo>
                    <a:pt x="1377" y="1005"/>
                    <a:pt x="1374" y="1009"/>
                    <a:pt x="1369" y="1005"/>
                  </a:cubicBezTo>
                  <a:cubicBezTo>
                    <a:pt x="1352" y="990"/>
                    <a:pt x="1332" y="993"/>
                    <a:pt x="1312" y="993"/>
                  </a:cubicBezTo>
                  <a:cubicBezTo>
                    <a:pt x="1303" y="994"/>
                    <a:pt x="1294" y="998"/>
                    <a:pt x="1287" y="1003"/>
                  </a:cubicBezTo>
                  <a:cubicBezTo>
                    <a:pt x="1265" y="1017"/>
                    <a:pt x="1252" y="1039"/>
                    <a:pt x="1248" y="1065"/>
                  </a:cubicBezTo>
                  <a:cubicBezTo>
                    <a:pt x="1244" y="1096"/>
                    <a:pt x="1244" y="1128"/>
                    <a:pt x="1261" y="1157"/>
                  </a:cubicBezTo>
                  <a:cubicBezTo>
                    <a:pt x="1270" y="1170"/>
                    <a:pt x="1281" y="1181"/>
                    <a:pt x="1296" y="1185"/>
                  </a:cubicBezTo>
                  <a:cubicBezTo>
                    <a:pt x="1323" y="1191"/>
                    <a:pt x="1349" y="1188"/>
                    <a:pt x="1370" y="1167"/>
                  </a:cubicBezTo>
                  <a:cubicBezTo>
                    <a:pt x="1372" y="1165"/>
                    <a:pt x="1375" y="1162"/>
                    <a:pt x="1379" y="1163"/>
                  </a:cubicBezTo>
                  <a:cubicBezTo>
                    <a:pt x="1382" y="1165"/>
                    <a:pt x="1381" y="1169"/>
                    <a:pt x="1381" y="1172"/>
                  </a:cubicBezTo>
                  <a:cubicBezTo>
                    <a:pt x="1383" y="1181"/>
                    <a:pt x="1390" y="1186"/>
                    <a:pt x="1403" y="1186"/>
                  </a:cubicBezTo>
                  <a:cubicBezTo>
                    <a:pt x="1413" y="1185"/>
                    <a:pt x="1413" y="1178"/>
                    <a:pt x="1413" y="1172"/>
                  </a:cubicBezTo>
                  <a:cubicBezTo>
                    <a:pt x="1413" y="1131"/>
                    <a:pt x="1413" y="1090"/>
                    <a:pt x="1413" y="1049"/>
                  </a:cubicBezTo>
                  <a:cubicBezTo>
                    <a:pt x="1413" y="1010"/>
                    <a:pt x="1413" y="972"/>
                    <a:pt x="1413" y="934"/>
                  </a:cubicBezTo>
                  <a:close/>
                  <a:moveTo>
                    <a:pt x="1378" y="1113"/>
                  </a:moveTo>
                  <a:cubicBezTo>
                    <a:pt x="1378" y="1136"/>
                    <a:pt x="1360" y="1155"/>
                    <a:pt x="1337" y="1157"/>
                  </a:cubicBezTo>
                  <a:cubicBezTo>
                    <a:pt x="1319" y="1159"/>
                    <a:pt x="1304" y="1154"/>
                    <a:pt x="1294" y="1139"/>
                  </a:cubicBezTo>
                  <a:cubicBezTo>
                    <a:pt x="1286" y="1128"/>
                    <a:pt x="1283" y="1116"/>
                    <a:pt x="1283" y="1102"/>
                  </a:cubicBezTo>
                  <a:cubicBezTo>
                    <a:pt x="1282" y="1085"/>
                    <a:pt x="1282" y="1067"/>
                    <a:pt x="1290" y="1051"/>
                  </a:cubicBezTo>
                  <a:cubicBezTo>
                    <a:pt x="1297" y="1036"/>
                    <a:pt x="1308" y="1024"/>
                    <a:pt x="1325" y="1022"/>
                  </a:cubicBezTo>
                  <a:cubicBezTo>
                    <a:pt x="1342" y="1020"/>
                    <a:pt x="1358" y="1021"/>
                    <a:pt x="1371" y="1035"/>
                  </a:cubicBezTo>
                  <a:cubicBezTo>
                    <a:pt x="1376" y="1041"/>
                    <a:pt x="1378" y="1046"/>
                    <a:pt x="1378" y="1052"/>
                  </a:cubicBezTo>
                  <a:cubicBezTo>
                    <a:pt x="1378" y="1064"/>
                    <a:pt x="1378" y="1075"/>
                    <a:pt x="1378" y="1086"/>
                  </a:cubicBezTo>
                  <a:cubicBezTo>
                    <a:pt x="1378" y="1086"/>
                    <a:pt x="1378" y="1086"/>
                    <a:pt x="1378" y="1086"/>
                  </a:cubicBezTo>
                  <a:cubicBezTo>
                    <a:pt x="1378" y="1095"/>
                    <a:pt x="1378" y="1104"/>
                    <a:pt x="1378" y="1113"/>
                  </a:cubicBezTo>
                  <a:close/>
                  <a:moveTo>
                    <a:pt x="578" y="259"/>
                  </a:moveTo>
                  <a:cubicBezTo>
                    <a:pt x="603" y="241"/>
                    <a:pt x="611" y="213"/>
                    <a:pt x="614" y="183"/>
                  </a:cubicBezTo>
                  <a:cubicBezTo>
                    <a:pt x="615" y="171"/>
                    <a:pt x="610" y="159"/>
                    <a:pt x="609" y="147"/>
                  </a:cubicBezTo>
                  <a:cubicBezTo>
                    <a:pt x="608" y="137"/>
                    <a:pt x="603" y="129"/>
                    <a:pt x="599" y="121"/>
                  </a:cubicBezTo>
                  <a:cubicBezTo>
                    <a:pt x="579" y="87"/>
                    <a:pt x="527" y="70"/>
                    <a:pt x="488" y="85"/>
                  </a:cubicBezTo>
                  <a:cubicBezTo>
                    <a:pt x="453" y="99"/>
                    <a:pt x="436" y="127"/>
                    <a:pt x="431" y="163"/>
                  </a:cubicBezTo>
                  <a:cubicBezTo>
                    <a:pt x="429" y="180"/>
                    <a:pt x="430" y="196"/>
                    <a:pt x="436" y="213"/>
                  </a:cubicBezTo>
                  <a:cubicBezTo>
                    <a:pt x="439" y="222"/>
                    <a:pt x="442" y="232"/>
                    <a:pt x="447" y="239"/>
                  </a:cubicBezTo>
                  <a:cubicBezTo>
                    <a:pt x="465" y="265"/>
                    <a:pt x="491" y="277"/>
                    <a:pt x="525" y="276"/>
                  </a:cubicBezTo>
                  <a:cubicBezTo>
                    <a:pt x="543" y="278"/>
                    <a:pt x="562" y="271"/>
                    <a:pt x="578" y="259"/>
                  </a:cubicBezTo>
                  <a:close/>
                  <a:moveTo>
                    <a:pt x="471" y="205"/>
                  </a:moveTo>
                  <a:cubicBezTo>
                    <a:pt x="466" y="185"/>
                    <a:pt x="468" y="167"/>
                    <a:pt x="472" y="147"/>
                  </a:cubicBezTo>
                  <a:cubicBezTo>
                    <a:pt x="477" y="130"/>
                    <a:pt x="493" y="116"/>
                    <a:pt x="509" y="112"/>
                  </a:cubicBezTo>
                  <a:cubicBezTo>
                    <a:pt x="525" y="108"/>
                    <a:pt x="539" y="110"/>
                    <a:pt x="553" y="119"/>
                  </a:cubicBezTo>
                  <a:cubicBezTo>
                    <a:pt x="563" y="125"/>
                    <a:pt x="568" y="135"/>
                    <a:pt x="571" y="146"/>
                  </a:cubicBezTo>
                  <a:cubicBezTo>
                    <a:pt x="577" y="167"/>
                    <a:pt x="578" y="189"/>
                    <a:pt x="571" y="211"/>
                  </a:cubicBezTo>
                  <a:cubicBezTo>
                    <a:pt x="565" y="231"/>
                    <a:pt x="549" y="249"/>
                    <a:pt x="521" y="247"/>
                  </a:cubicBezTo>
                  <a:cubicBezTo>
                    <a:pt x="496" y="247"/>
                    <a:pt x="478" y="230"/>
                    <a:pt x="471" y="205"/>
                  </a:cubicBezTo>
                  <a:close/>
                  <a:moveTo>
                    <a:pt x="472" y="1122"/>
                  </a:moveTo>
                  <a:cubicBezTo>
                    <a:pt x="475" y="1136"/>
                    <a:pt x="481" y="1148"/>
                    <a:pt x="491" y="1158"/>
                  </a:cubicBezTo>
                  <a:cubicBezTo>
                    <a:pt x="506" y="1176"/>
                    <a:pt x="524" y="1185"/>
                    <a:pt x="548" y="1187"/>
                  </a:cubicBezTo>
                  <a:cubicBezTo>
                    <a:pt x="568" y="1188"/>
                    <a:pt x="587" y="1187"/>
                    <a:pt x="605" y="1177"/>
                  </a:cubicBezTo>
                  <a:cubicBezTo>
                    <a:pt x="632" y="1162"/>
                    <a:pt x="644" y="1136"/>
                    <a:pt x="649" y="1107"/>
                  </a:cubicBezTo>
                  <a:cubicBezTo>
                    <a:pt x="652" y="1089"/>
                    <a:pt x="649" y="1072"/>
                    <a:pt x="644" y="1054"/>
                  </a:cubicBezTo>
                  <a:cubicBezTo>
                    <a:pt x="638" y="1034"/>
                    <a:pt x="627" y="1019"/>
                    <a:pt x="610" y="1007"/>
                  </a:cubicBezTo>
                  <a:cubicBezTo>
                    <a:pt x="589" y="992"/>
                    <a:pt x="566" y="991"/>
                    <a:pt x="541" y="994"/>
                  </a:cubicBezTo>
                  <a:cubicBezTo>
                    <a:pt x="526" y="995"/>
                    <a:pt x="512" y="1002"/>
                    <a:pt x="500" y="1012"/>
                  </a:cubicBezTo>
                  <a:cubicBezTo>
                    <a:pt x="476" y="1032"/>
                    <a:pt x="469" y="1060"/>
                    <a:pt x="466" y="1095"/>
                  </a:cubicBezTo>
                  <a:cubicBezTo>
                    <a:pt x="465" y="1101"/>
                    <a:pt x="470" y="1111"/>
                    <a:pt x="472" y="1122"/>
                  </a:cubicBezTo>
                  <a:close/>
                  <a:moveTo>
                    <a:pt x="508" y="1113"/>
                  </a:moveTo>
                  <a:cubicBezTo>
                    <a:pt x="505" y="1095"/>
                    <a:pt x="506" y="1078"/>
                    <a:pt x="508" y="1061"/>
                  </a:cubicBezTo>
                  <a:cubicBezTo>
                    <a:pt x="511" y="1042"/>
                    <a:pt x="538" y="1021"/>
                    <a:pt x="554" y="1022"/>
                  </a:cubicBezTo>
                  <a:cubicBezTo>
                    <a:pt x="570" y="1022"/>
                    <a:pt x="586" y="1024"/>
                    <a:pt x="596" y="1037"/>
                  </a:cubicBezTo>
                  <a:cubicBezTo>
                    <a:pt x="602" y="1044"/>
                    <a:pt x="607" y="1052"/>
                    <a:pt x="608" y="1061"/>
                  </a:cubicBezTo>
                  <a:cubicBezTo>
                    <a:pt x="608" y="1064"/>
                    <a:pt x="609" y="1067"/>
                    <a:pt x="610" y="1070"/>
                  </a:cubicBezTo>
                  <a:cubicBezTo>
                    <a:pt x="618" y="1089"/>
                    <a:pt x="612" y="1107"/>
                    <a:pt x="607" y="1125"/>
                  </a:cubicBezTo>
                  <a:cubicBezTo>
                    <a:pt x="601" y="1143"/>
                    <a:pt x="588" y="1160"/>
                    <a:pt x="558" y="1157"/>
                  </a:cubicBezTo>
                  <a:cubicBezTo>
                    <a:pt x="530" y="1157"/>
                    <a:pt x="512" y="1141"/>
                    <a:pt x="508" y="1113"/>
                  </a:cubicBezTo>
                  <a:close/>
                  <a:moveTo>
                    <a:pt x="430" y="716"/>
                  </a:moveTo>
                  <a:cubicBezTo>
                    <a:pt x="450" y="703"/>
                    <a:pt x="459" y="683"/>
                    <a:pt x="464" y="661"/>
                  </a:cubicBezTo>
                  <a:cubicBezTo>
                    <a:pt x="468" y="648"/>
                    <a:pt x="467" y="635"/>
                    <a:pt x="466" y="621"/>
                  </a:cubicBezTo>
                  <a:cubicBezTo>
                    <a:pt x="463" y="592"/>
                    <a:pt x="453" y="567"/>
                    <a:pt x="427" y="550"/>
                  </a:cubicBezTo>
                  <a:cubicBezTo>
                    <a:pt x="401" y="534"/>
                    <a:pt x="372" y="532"/>
                    <a:pt x="345" y="541"/>
                  </a:cubicBezTo>
                  <a:cubicBezTo>
                    <a:pt x="310" y="552"/>
                    <a:pt x="291" y="580"/>
                    <a:pt x="287" y="617"/>
                  </a:cubicBezTo>
                  <a:cubicBezTo>
                    <a:pt x="286" y="629"/>
                    <a:pt x="286" y="641"/>
                    <a:pt x="287" y="654"/>
                  </a:cubicBezTo>
                  <a:cubicBezTo>
                    <a:pt x="289" y="671"/>
                    <a:pt x="295" y="686"/>
                    <a:pt x="306" y="700"/>
                  </a:cubicBezTo>
                  <a:cubicBezTo>
                    <a:pt x="324" y="722"/>
                    <a:pt x="348" y="733"/>
                    <a:pt x="378" y="731"/>
                  </a:cubicBezTo>
                  <a:cubicBezTo>
                    <a:pt x="396" y="733"/>
                    <a:pt x="414" y="727"/>
                    <a:pt x="430" y="716"/>
                  </a:cubicBezTo>
                  <a:close/>
                  <a:moveTo>
                    <a:pt x="331" y="592"/>
                  </a:moveTo>
                  <a:cubicBezTo>
                    <a:pt x="339" y="580"/>
                    <a:pt x="349" y="569"/>
                    <a:pt x="365" y="567"/>
                  </a:cubicBezTo>
                  <a:cubicBezTo>
                    <a:pt x="387" y="564"/>
                    <a:pt x="406" y="568"/>
                    <a:pt x="419" y="588"/>
                  </a:cubicBezTo>
                  <a:cubicBezTo>
                    <a:pt x="423" y="595"/>
                    <a:pt x="426" y="603"/>
                    <a:pt x="427" y="610"/>
                  </a:cubicBezTo>
                  <a:cubicBezTo>
                    <a:pt x="433" y="635"/>
                    <a:pt x="431" y="661"/>
                    <a:pt x="416" y="684"/>
                  </a:cubicBezTo>
                  <a:cubicBezTo>
                    <a:pt x="403" y="706"/>
                    <a:pt x="362" y="708"/>
                    <a:pt x="345" y="692"/>
                  </a:cubicBezTo>
                  <a:cubicBezTo>
                    <a:pt x="329" y="678"/>
                    <a:pt x="323" y="661"/>
                    <a:pt x="323" y="631"/>
                  </a:cubicBezTo>
                  <a:cubicBezTo>
                    <a:pt x="323" y="619"/>
                    <a:pt x="323" y="605"/>
                    <a:pt x="331" y="592"/>
                  </a:cubicBezTo>
                  <a:close/>
                  <a:moveTo>
                    <a:pt x="1073" y="259"/>
                  </a:moveTo>
                  <a:cubicBezTo>
                    <a:pt x="1073" y="269"/>
                    <a:pt x="1075" y="272"/>
                    <a:pt x="1086" y="272"/>
                  </a:cubicBezTo>
                  <a:cubicBezTo>
                    <a:pt x="1088" y="272"/>
                    <a:pt x="1090" y="272"/>
                    <a:pt x="1092" y="272"/>
                  </a:cubicBezTo>
                  <a:cubicBezTo>
                    <a:pt x="1105" y="272"/>
                    <a:pt x="1106" y="271"/>
                    <a:pt x="1106" y="258"/>
                  </a:cubicBezTo>
                  <a:cubicBezTo>
                    <a:pt x="1106" y="221"/>
                    <a:pt x="1106" y="184"/>
                    <a:pt x="1106" y="147"/>
                  </a:cubicBezTo>
                  <a:cubicBezTo>
                    <a:pt x="1106" y="143"/>
                    <a:pt x="1106" y="140"/>
                    <a:pt x="1107" y="137"/>
                  </a:cubicBezTo>
                  <a:cubicBezTo>
                    <a:pt x="1117" y="117"/>
                    <a:pt x="1157" y="104"/>
                    <a:pt x="1177" y="114"/>
                  </a:cubicBezTo>
                  <a:cubicBezTo>
                    <a:pt x="1179" y="115"/>
                    <a:pt x="1180" y="117"/>
                    <a:pt x="1182" y="118"/>
                  </a:cubicBezTo>
                  <a:cubicBezTo>
                    <a:pt x="1194" y="131"/>
                    <a:pt x="1196" y="147"/>
                    <a:pt x="1196" y="163"/>
                  </a:cubicBezTo>
                  <a:cubicBezTo>
                    <a:pt x="1197" y="195"/>
                    <a:pt x="1196" y="226"/>
                    <a:pt x="1196" y="258"/>
                  </a:cubicBezTo>
                  <a:cubicBezTo>
                    <a:pt x="1196" y="271"/>
                    <a:pt x="1197" y="272"/>
                    <a:pt x="1210" y="272"/>
                  </a:cubicBezTo>
                  <a:cubicBezTo>
                    <a:pt x="1212" y="272"/>
                    <a:pt x="1213" y="272"/>
                    <a:pt x="1215" y="272"/>
                  </a:cubicBezTo>
                  <a:cubicBezTo>
                    <a:pt x="1227" y="272"/>
                    <a:pt x="1229" y="270"/>
                    <a:pt x="1229" y="258"/>
                  </a:cubicBezTo>
                  <a:cubicBezTo>
                    <a:pt x="1229" y="222"/>
                    <a:pt x="1229" y="187"/>
                    <a:pt x="1229" y="151"/>
                  </a:cubicBezTo>
                  <a:cubicBezTo>
                    <a:pt x="1229" y="142"/>
                    <a:pt x="1228" y="132"/>
                    <a:pt x="1225" y="123"/>
                  </a:cubicBezTo>
                  <a:cubicBezTo>
                    <a:pt x="1219" y="105"/>
                    <a:pt x="1208" y="91"/>
                    <a:pt x="1189" y="85"/>
                  </a:cubicBezTo>
                  <a:cubicBezTo>
                    <a:pt x="1173" y="80"/>
                    <a:pt x="1156" y="84"/>
                    <a:pt x="1139" y="84"/>
                  </a:cubicBezTo>
                  <a:cubicBezTo>
                    <a:pt x="1137" y="84"/>
                    <a:pt x="1136" y="86"/>
                    <a:pt x="1134" y="87"/>
                  </a:cubicBezTo>
                  <a:cubicBezTo>
                    <a:pt x="1128" y="91"/>
                    <a:pt x="1121" y="96"/>
                    <a:pt x="1115" y="100"/>
                  </a:cubicBezTo>
                  <a:cubicBezTo>
                    <a:pt x="1113" y="102"/>
                    <a:pt x="1111" y="105"/>
                    <a:pt x="1108" y="103"/>
                  </a:cubicBezTo>
                  <a:cubicBezTo>
                    <a:pt x="1105" y="102"/>
                    <a:pt x="1106" y="98"/>
                    <a:pt x="1106" y="96"/>
                  </a:cubicBezTo>
                  <a:cubicBezTo>
                    <a:pt x="1106" y="69"/>
                    <a:pt x="1106" y="43"/>
                    <a:pt x="1106" y="17"/>
                  </a:cubicBezTo>
                  <a:cubicBezTo>
                    <a:pt x="1106" y="0"/>
                    <a:pt x="1106" y="0"/>
                    <a:pt x="1089" y="0"/>
                  </a:cubicBezTo>
                  <a:cubicBezTo>
                    <a:pt x="1074" y="0"/>
                    <a:pt x="1073" y="1"/>
                    <a:pt x="1073" y="16"/>
                  </a:cubicBezTo>
                  <a:cubicBezTo>
                    <a:pt x="1073" y="56"/>
                    <a:pt x="1073" y="96"/>
                    <a:pt x="1073" y="136"/>
                  </a:cubicBezTo>
                  <a:cubicBezTo>
                    <a:pt x="1073" y="177"/>
                    <a:pt x="1073" y="218"/>
                    <a:pt x="1073" y="259"/>
                  </a:cubicBezTo>
                  <a:close/>
                  <a:moveTo>
                    <a:pt x="1150" y="1092"/>
                  </a:moveTo>
                  <a:cubicBezTo>
                    <a:pt x="1168" y="1092"/>
                    <a:pt x="1186" y="1092"/>
                    <a:pt x="1204" y="1092"/>
                  </a:cubicBezTo>
                  <a:cubicBezTo>
                    <a:pt x="1215" y="1092"/>
                    <a:pt x="1218" y="1087"/>
                    <a:pt x="1219" y="1077"/>
                  </a:cubicBezTo>
                  <a:cubicBezTo>
                    <a:pt x="1220" y="1062"/>
                    <a:pt x="1216" y="1049"/>
                    <a:pt x="1210" y="1036"/>
                  </a:cubicBezTo>
                  <a:cubicBezTo>
                    <a:pt x="1204" y="1020"/>
                    <a:pt x="1193" y="1008"/>
                    <a:pt x="1177" y="1001"/>
                  </a:cubicBezTo>
                  <a:cubicBezTo>
                    <a:pt x="1155" y="992"/>
                    <a:pt x="1133" y="991"/>
                    <a:pt x="1109" y="999"/>
                  </a:cubicBezTo>
                  <a:cubicBezTo>
                    <a:pt x="1079" y="1010"/>
                    <a:pt x="1062" y="1031"/>
                    <a:pt x="1056" y="1061"/>
                  </a:cubicBezTo>
                  <a:cubicBezTo>
                    <a:pt x="1051" y="1090"/>
                    <a:pt x="1052" y="1120"/>
                    <a:pt x="1069" y="1148"/>
                  </a:cubicBezTo>
                  <a:cubicBezTo>
                    <a:pt x="1081" y="1169"/>
                    <a:pt x="1100" y="1180"/>
                    <a:pt x="1122" y="1185"/>
                  </a:cubicBezTo>
                  <a:cubicBezTo>
                    <a:pt x="1149" y="1190"/>
                    <a:pt x="1176" y="1186"/>
                    <a:pt x="1200" y="1171"/>
                  </a:cubicBezTo>
                  <a:cubicBezTo>
                    <a:pt x="1206" y="1168"/>
                    <a:pt x="1213" y="1165"/>
                    <a:pt x="1214" y="1157"/>
                  </a:cubicBezTo>
                  <a:cubicBezTo>
                    <a:pt x="1215" y="1147"/>
                    <a:pt x="1202" y="1139"/>
                    <a:pt x="1193" y="1144"/>
                  </a:cubicBezTo>
                  <a:cubicBezTo>
                    <a:pt x="1187" y="1147"/>
                    <a:pt x="1180" y="1150"/>
                    <a:pt x="1174" y="1153"/>
                  </a:cubicBezTo>
                  <a:cubicBezTo>
                    <a:pt x="1158" y="1161"/>
                    <a:pt x="1140" y="1161"/>
                    <a:pt x="1124" y="1155"/>
                  </a:cubicBezTo>
                  <a:cubicBezTo>
                    <a:pt x="1112" y="1151"/>
                    <a:pt x="1102" y="1142"/>
                    <a:pt x="1096" y="1129"/>
                  </a:cubicBezTo>
                  <a:cubicBezTo>
                    <a:pt x="1092" y="1121"/>
                    <a:pt x="1091" y="1112"/>
                    <a:pt x="1089" y="1104"/>
                  </a:cubicBezTo>
                  <a:cubicBezTo>
                    <a:pt x="1087" y="1093"/>
                    <a:pt x="1087" y="1092"/>
                    <a:pt x="1099" y="1092"/>
                  </a:cubicBezTo>
                  <a:cubicBezTo>
                    <a:pt x="1116" y="1092"/>
                    <a:pt x="1133" y="1092"/>
                    <a:pt x="1150" y="1092"/>
                  </a:cubicBezTo>
                  <a:cubicBezTo>
                    <a:pt x="1150" y="1092"/>
                    <a:pt x="1150" y="1092"/>
                    <a:pt x="1150" y="1092"/>
                  </a:cubicBezTo>
                  <a:close/>
                  <a:moveTo>
                    <a:pt x="1099" y="1070"/>
                  </a:moveTo>
                  <a:cubicBezTo>
                    <a:pt x="1092" y="1071"/>
                    <a:pt x="1089" y="1067"/>
                    <a:pt x="1091" y="1060"/>
                  </a:cubicBezTo>
                  <a:cubicBezTo>
                    <a:pt x="1094" y="1045"/>
                    <a:pt x="1108" y="1023"/>
                    <a:pt x="1128" y="1022"/>
                  </a:cubicBezTo>
                  <a:cubicBezTo>
                    <a:pt x="1142" y="1021"/>
                    <a:pt x="1156" y="1018"/>
                    <a:pt x="1168" y="1029"/>
                  </a:cubicBezTo>
                  <a:cubicBezTo>
                    <a:pt x="1181" y="1038"/>
                    <a:pt x="1185" y="1051"/>
                    <a:pt x="1187" y="1066"/>
                  </a:cubicBezTo>
                  <a:cubicBezTo>
                    <a:pt x="1188" y="1071"/>
                    <a:pt x="1183" y="1070"/>
                    <a:pt x="1180" y="1070"/>
                  </a:cubicBezTo>
                  <a:cubicBezTo>
                    <a:pt x="1166" y="1070"/>
                    <a:pt x="1153" y="1070"/>
                    <a:pt x="1139" y="1070"/>
                  </a:cubicBezTo>
                  <a:cubicBezTo>
                    <a:pt x="1139" y="1070"/>
                    <a:pt x="1139" y="1070"/>
                    <a:pt x="1139" y="1070"/>
                  </a:cubicBezTo>
                  <a:cubicBezTo>
                    <a:pt x="1126" y="1070"/>
                    <a:pt x="1113" y="1070"/>
                    <a:pt x="1099" y="1070"/>
                  </a:cubicBezTo>
                  <a:close/>
                  <a:moveTo>
                    <a:pt x="1741" y="1092"/>
                  </a:moveTo>
                  <a:cubicBezTo>
                    <a:pt x="1759" y="1092"/>
                    <a:pt x="1776" y="1092"/>
                    <a:pt x="1793" y="1092"/>
                  </a:cubicBezTo>
                  <a:cubicBezTo>
                    <a:pt x="1806" y="1092"/>
                    <a:pt x="1808" y="1089"/>
                    <a:pt x="1808" y="1076"/>
                  </a:cubicBezTo>
                  <a:cubicBezTo>
                    <a:pt x="1809" y="1063"/>
                    <a:pt x="1807" y="1051"/>
                    <a:pt x="1802" y="1038"/>
                  </a:cubicBezTo>
                  <a:cubicBezTo>
                    <a:pt x="1794" y="1021"/>
                    <a:pt x="1782" y="1008"/>
                    <a:pt x="1764" y="1000"/>
                  </a:cubicBezTo>
                  <a:cubicBezTo>
                    <a:pt x="1742" y="991"/>
                    <a:pt x="1720" y="991"/>
                    <a:pt x="1698" y="1000"/>
                  </a:cubicBezTo>
                  <a:cubicBezTo>
                    <a:pt x="1681" y="1006"/>
                    <a:pt x="1668" y="1016"/>
                    <a:pt x="1659" y="1031"/>
                  </a:cubicBezTo>
                  <a:cubicBezTo>
                    <a:pt x="1646" y="1050"/>
                    <a:pt x="1643" y="1071"/>
                    <a:pt x="1644" y="1094"/>
                  </a:cubicBezTo>
                  <a:cubicBezTo>
                    <a:pt x="1644" y="1110"/>
                    <a:pt x="1647" y="1127"/>
                    <a:pt x="1655" y="1141"/>
                  </a:cubicBezTo>
                  <a:cubicBezTo>
                    <a:pt x="1669" y="1168"/>
                    <a:pt x="1691" y="1183"/>
                    <a:pt x="1722" y="1186"/>
                  </a:cubicBezTo>
                  <a:cubicBezTo>
                    <a:pt x="1750" y="1188"/>
                    <a:pt x="1775" y="1183"/>
                    <a:pt x="1798" y="1165"/>
                  </a:cubicBezTo>
                  <a:cubicBezTo>
                    <a:pt x="1803" y="1161"/>
                    <a:pt x="1806" y="1157"/>
                    <a:pt x="1802" y="1151"/>
                  </a:cubicBezTo>
                  <a:cubicBezTo>
                    <a:pt x="1798" y="1144"/>
                    <a:pt x="1791" y="1140"/>
                    <a:pt x="1783" y="1144"/>
                  </a:cubicBezTo>
                  <a:cubicBezTo>
                    <a:pt x="1778" y="1147"/>
                    <a:pt x="1771" y="1149"/>
                    <a:pt x="1766" y="1152"/>
                  </a:cubicBezTo>
                  <a:cubicBezTo>
                    <a:pt x="1749" y="1161"/>
                    <a:pt x="1730" y="1162"/>
                    <a:pt x="1714" y="1155"/>
                  </a:cubicBezTo>
                  <a:cubicBezTo>
                    <a:pt x="1692" y="1145"/>
                    <a:pt x="1680" y="1127"/>
                    <a:pt x="1679" y="1102"/>
                  </a:cubicBezTo>
                  <a:cubicBezTo>
                    <a:pt x="1678" y="1095"/>
                    <a:pt x="1681" y="1092"/>
                    <a:pt x="1689" y="1092"/>
                  </a:cubicBezTo>
                  <a:cubicBezTo>
                    <a:pt x="1706" y="1092"/>
                    <a:pt x="1724" y="1092"/>
                    <a:pt x="1741" y="1092"/>
                  </a:cubicBezTo>
                  <a:cubicBezTo>
                    <a:pt x="1741" y="1092"/>
                    <a:pt x="1741" y="1092"/>
                    <a:pt x="1741" y="1092"/>
                  </a:cubicBezTo>
                  <a:close/>
                  <a:moveTo>
                    <a:pt x="1690" y="1070"/>
                  </a:moveTo>
                  <a:cubicBezTo>
                    <a:pt x="1683" y="1071"/>
                    <a:pt x="1680" y="1068"/>
                    <a:pt x="1681" y="1062"/>
                  </a:cubicBezTo>
                  <a:cubicBezTo>
                    <a:pt x="1683" y="1048"/>
                    <a:pt x="1697" y="1024"/>
                    <a:pt x="1716" y="1022"/>
                  </a:cubicBezTo>
                  <a:cubicBezTo>
                    <a:pt x="1731" y="1020"/>
                    <a:pt x="1747" y="1018"/>
                    <a:pt x="1760" y="1030"/>
                  </a:cubicBezTo>
                  <a:cubicBezTo>
                    <a:pt x="1771" y="1038"/>
                    <a:pt x="1775" y="1050"/>
                    <a:pt x="1778" y="1062"/>
                  </a:cubicBezTo>
                  <a:cubicBezTo>
                    <a:pt x="1780" y="1068"/>
                    <a:pt x="1775" y="1070"/>
                    <a:pt x="1769" y="1070"/>
                  </a:cubicBezTo>
                  <a:cubicBezTo>
                    <a:pt x="1756" y="1070"/>
                    <a:pt x="1742" y="1070"/>
                    <a:pt x="1729" y="1070"/>
                  </a:cubicBezTo>
                  <a:cubicBezTo>
                    <a:pt x="1729" y="1070"/>
                    <a:pt x="1729" y="1070"/>
                    <a:pt x="1729" y="1070"/>
                  </a:cubicBezTo>
                  <a:cubicBezTo>
                    <a:pt x="1716" y="1070"/>
                    <a:pt x="1703" y="1070"/>
                    <a:pt x="1690" y="1070"/>
                  </a:cubicBezTo>
                  <a:close/>
                  <a:moveTo>
                    <a:pt x="68" y="581"/>
                  </a:moveTo>
                  <a:cubicBezTo>
                    <a:pt x="68" y="573"/>
                    <a:pt x="70" y="568"/>
                    <a:pt x="80" y="569"/>
                  </a:cubicBezTo>
                  <a:cubicBezTo>
                    <a:pt x="90" y="570"/>
                    <a:pt x="101" y="570"/>
                    <a:pt x="111" y="569"/>
                  </a:cubicBezTo>
                  <a:cubicBezTo>
                    <a:pt x="120" y="569"/>
                    <a:pt x="120" y="563"/>
                    <a:pt x="120" y="556"/>
                  </a:cubicBezTo>
                  <a:cubicBezTo>
                    <a:pt x="120" y="549"/>
                    <a:pt x="119" y="544"/>
                    <a:pt x="111" y="544"/>
                  </a:cubicBezTo>
                  <a:cubicBezTo>
                    <a:pt x="104" y="544"/>
                    <a:pt x="97" y="544"/>
                    <a:pt x="91" y="544"/>
                  </a:cubicBezTo>
                  <a:cubicBezTo>
                    <a:pt x="66" y="544"/>
                    <a:pt x="65" y="543"/>
                    <a:pt x="68" y="518"/>
                  </a:cubicBezTo>
                  <a:cubicBezTo>
                    <a:pt x="69" y="504"/>
                    <a:pt x="83" y="487"/>
                    <a:pt x="99" y="489"/>
                  </a:cubicBezTo>
                  <a:cubicBezTo>
                    <a:pt x="103" y="489"/>
                    <a:pt x="107" y="489"/>
                    <a:pt x="110" y="488"/>
                  </a:cubicBezTo>
                  <a:cubicBezTo>
                    <a:pt x="118" y="487"/>
                    <a:pt x="123" y="479"/>
                    <a:pt x="123" y="471"/>
                  </a:cubicBezTo>
                  <a:cubicBezTo>
                    <a:pt x="123" y="461"/>
                    <a:pt x="116" y="462"/>
                    <a:pt x="109" y="460"/>
                  </a:cubicBezTo>
                  <a:cubicBezTo>
                    <a:pt x="100" y="458"/>
                    <a:pt x="92" y="460"/>
                    <a:pt x="84" y="460"/>
                  </a:cubicBezTo>
                  <a:cubicBezTo>
                    <a:pt x="68" y="461"/>
                    <a:pt x="56" y="469"/>
                    <a:pt x="47" y="480"/>
                  </a:cubicBezTo>
                  <a:cubicBezTo>
                    <a:pt x="34" y="493"/>
                    <a:pt x="32" y="511"/>
                    <a:pt x="32" y="529"/>
                  </a:cubicBezTo>
                  <a:cubicBezTo>
                    <a:pt x="32" y="544"/>
                    <a:pt x="32" y="544"/>
                    <a:pt x="17" y="544"/>
                  </a:cubicBezTo>
                  <a:cubicBezTo>
                    <a:pt x="4" y="543"/>
                    <a:pt x="0" y="548"/>
                    <a:pt x="4" y="561"/>
                  </a:cubicBezTo>
                  <a:cubicBezTo>
                    <a:pt x="6" y="569"/>
                    <a:pt x="13" y="568"/>
                    <a:pt x="19" y="569"/>
                  </a:cubicBezTo>
                  <a:cubicBezTo>
                    <a:pt x="32" y="571"/>
                    <a:pt x="32" y="571"/>
                    <a:pt x="32" y="584"/>
                  </a:cubicBezTo>
                  <a:cubicBezTo>
                    <a:pt x="32" y="624"/>
                    <a:pt x="32" y="664"/>
                    <a:pt x="32" y="704"/>
                  </a:cubicBezTo>
                  <a:cubicBezTo>
                    <a:pt x="32" y="731"/>
                    <a:pt x="32" y="730"/>
                    <a:pt x="57" y="731"/>
                  </a:cubicBezTo>
                  <a:cubicBezTo>
                    <a:pt x="66" y="731"/>
                    <a:pt x="68" y="727"/>
                    <a:pt x="68" y="720"/>
                  </a:cubicBezTo>
                  <a:cubicBezTo>
                    <a:pt x="68" y="697"/>
                    <a:pt x="68" y="674"/>
                    <a:pt x="68" y="651"/>
                  </a:cubicBezTo>
                  <a:cubicBezTo>
                    <a:pt x="68" y="628"/>
                    <a:pt x="68" y="605"/>
                    <a:pt x="68" y="581"/>
                  </a:cubicBezTo>
                  <a:close/>
                  <a:moveTo>
                    <a:pt x="278" y="1165"/>
                  </a:moveTo>
                  <a:cubicBezTo>
                    <a:pt x="278" y="1183"/>
                    <a:pt x="278" y="1183"/>
                    <a:pt x="296" y="1184"/>
                  </a:cubicBezTo>
                  <a:cubicBezTo>
                    <a:pt x="310" y="1184"/>
                    <a:pt x="310" y="1184"/>
                    <a:pt x="310" y="1169"/>
                  </a:cubicBezTo>
                  <a:cubicBezTo>
                    <a:pt x="310" y="1132"/>
                    <a:pt x="310" y="1095"/>
                    <a:pt x="310" y="1058"/>
                  </a:cubicBezTo>
                  <a:cubicBezTo>
                    <a:pt x="310" y="1052"/>
                    <a:pt x="312" y="1047"/>
                    <a:pt x="316" y="1042"/>
                  </a:cubicBezTo>
                  <a:cubicBezTo>
                    <a:pt x="324" y="1033"/>
                    <a:pt x="334" y="1027"/>
                    <a:pt x="345" y="1024"/>
                  </a:cubicBezTo>
                  <a:cubicBezTo>
                    <a:pt x="357" y="1020"/>
                    <a:pt x="371" y="1018"/>
                    <a:pt x="383" y="1028"/>
                  </a:cubicBezTo>
                  <a:cubicBezTo>
                    <a:pt x="397" y="1039"/>
                    <a:pt x="401" y="1054"/>
                    <a:pt x="401" y="1071"/>
                  </a:cubicBezTo>
                  <a:cubicBezTo>
                    <a:pt x="401" y="1102"/>
                    <a:pt x="401" y="1132"/>
                    <a:pt x="401" y="1163"/>
                  </a:cubicBezTo>
                  <a:cubicBezTo>
                    <a:pt x="401" y="1183"/>
                    <a:pt x="401" y="1182"/>
                    <a:pt x="420" y="1184"/>
                  </a:cubicBezTo>
                  <a:cubicBezTo>
                    <a:pt x="429" y="1185"/>
                    <a:pt x="433" y="1181"/>
                    <a:pt x="433" y="1173"/>
                  </a:cubicBezTo>
                  <a:cubicBezTo>
                    <a:pt x="432" y="1130"/>
                    <a:pt x="435" y="1087"/>
                    <a:pt x="431" y="1044"/>
                  </a:cubicBezTo>
                  <a:cubicBezTo>
                    <a:pt x="427" y="1014"/>
                    <a:pt x="404" y="996"/>
                    <a:pt x="376" y="994"/>
                  </a:cubicBezTo>
                  <a:cubicBezTo>
                    <a:pt x="353" y="992"/>
                    <a:pt x="333" y="1000"/>
                    <a:pt x="317" y="1017"/>
                  </a:cubicBezTo>
                  <a:cubicBezTo>
                    <a:pt x="312" y="1021"/>
                    <a:pt x="311" y="1019"/>
                    <a:pt x="309" y="1015"/>
                  </a:cubicBezTo>
                  <a:cubicBezTo>
                    <a:pt x="309" y="1013"/>
                    <a:pt x="308" y="1011"/>
                    <a:pt x="308" y="1008"/>
                  </a:cubicBezTo>
                  <a:cubicBezTo>
                    <a:pt x="306" y="1001"/>
                    <a:pt x="298" y="997"/>
                    <a:pt x="287" y="998"/>
                  </a:cubicBezTo>
                  <a:cubicBezTo>
                    <a:pt x="279" y="999"/>
                    <a:pt x="278" y="1004"/>
                    <a:pt x="278" y="1011"/>
                  </a:cubicBezTo>
                  <a:cubicBezTo>
                    <a:pt x="278" y="1037"/>
                    <a:pt x="278" y="1064"/>
                    <a:pt x="278" y="1091"/>
                  </a:cubicBezTo>
                  <a:cubicBezTo>
                    <a:pt x="278" y="1115"/>
                    <a:pt x="278" y="1140"/>
                    <a:pt x="278" y="1165"/>
                  </a:cubicBezTo>
                  <a:close/>
                  <a:moveTo>
                    <a:pt x="150" y="705"/>
                  </a:moveTo>
                  <a:cubicBezTo>
                    <a:pt x="150" y="734"/>
                    <a:pt x="145" y="730"/>
                    <a:pt x="176" y="731"/>
                  </a:cubicBezTo>
                  <a:cubicBezTo>
                    <a:pt x="185" y="731"/>
                    <a:pt x="187" y="727"/>
                    <a:pt x="187" y="719"/>
                  </a:cubicBezTo>
                  <a:cubicBezTo>
                    <a:pt x="187" y="685"/>
                    <a:pt x="187" y="651"/>
                    <a:pt x="187" y="618"/>
                  </a:cubicBezTo>
                  <a:cubicBezTo>
                    <a:pt x="187" y="597"/>
                    <a:pt x="204" y="578"/>
                    <a:pt x="225" y="574"/>
                  </a:cubicBezTo>
                  <a:cubicBezTo>
                    <a:pt x="232" y="572"/>
                    <a:pt x="240" y="574"/>
                    <a:pt x="247" y="575"/>
                  </a:cubicBezTo>
                  <a:cubicBezTo>
                    <a:pt x="257" y="576"/>
                    <a:pt x="261" y="572"/>
                    <a:pt x="265" y="564"/>
                  </a:cubicBezTo>
                  <a:cubicBezTo>
                    <a:pt x="269" y="556"/>
                    <a:pt x="267" y="542"/>
                    <a:pt x="261" y="540"/>
                  </a:cubicBezTo>
                  <a:cubicBezTo>
                    <a:pt x="253" y="538"/>
                    <a:pt x="244" y="534"/>
                    <a:pt x="237" y="536"/>
                  </a:cubicBezTo>
                  <a:cubicBezTo>
                    <a:pt x="228" y="537"/>
                    <a:pt x="217" y="537"/>
                    <a:pt x="209" y="544"/>
                  </a:cubicBezTo>
                  <a:cubicBezTo>
                    <a:pt x="204" y="549"/>
                    <a:pt x="198" y="553"/>
                    <a:pt x="194" y="558"/>
                  </a:cubicBezTo>
                  <a:cubicBezTo>
                    <a:pt x="192" y="561"/>
                    <a:pt x="189" y="563"/>
                    <a:pt x="185" y="562"/>
                  </a:cubicBezTo>
                  <a:cubicBezTo>
                    <a:pt x="182" y="561"/>
                    <a:pt x="182" y="558"/>
                    <a:pt x="182" y="556"/>
                  </a:cubicBezTo>
                  <a:cubicBezTo>
                    <a:pt x="180" y="539"/>
                    <a:pt x="179" y="539"/>
                    <a:pt x="162" y="539"/>
                  </a:cubicBezTo>
                  <a:cubicBezTo>
                    <a:pt x="151" y="539"/>
                    <a:pt x="150" y="540"/>
                    <a:pt x="150" y="551"/>
                  </a:cubicBezTo>
                  <a:cubicBezTo>
                    <a:pt x="150" y="579"/>
                    <a:pt x="150" y="607"/>
                    <a:pt x="150" y="635"/>
                  </a:cubicBezTo>
                  <a:cubicBezTo>
                    <a:pt x="150" y="658"/>
                    <a:pt x="149" y="682"/>
                    <a:pt x="150" y="705"/>
                  </a:cubicBezTo>
                  <a:close/>
                  <a:moveTo>
                    <a:pt x="1011" y="1049"/>
                  </a:moveTo>
                  <a:cubicBezTo>
                    <a:pt x="1011" y="1008"/>
                    <a:pt x="1011" y="966"/>
                    <a:pt x="1011" y="924"/>
                  </a:cubicBezTo>
                  <a:cubicBezTo>
                    <a:pt x="1011" y="913"/>
                    <a:pt x="1008" y="910"/>
                    <a:pt x="997" y="910"/>
                  </a:cubicBezTo>
                  <a:cubicBezTo>
                    <a:pt x="995" y="910"/>
                    <a:pt x="992" y="910"/>
                    <a:pt x="990" y="910"/>
                  </a:cubicBezTo>
                  <a:cubicBezTo>
                    <a:pt x="976" y="910"/>
                    <a:pt x="975" y="911"/>
                    <a:pt x="975" y="926"/>
                  </a:cubicBezTo>
                  <a:cubicBezTo>
                    <a:pt x="975" y="1006"/>
                    <a:pt x="975" y="1085"/>
                    <a:pt x="975" y="1165"/>
                  </a:cubicBezTo>
                  <a:cubicBezTo>
                    <a:pt x="975" y="1185"/>
                    <a:pt x="975" y="1185"/>
                    <a:pt x="994" y="1185"/>
                  </a:cubicBezTo>
                  <a:cubicBezTo>
                    <a:pt x="1009" y="1185"/>
                    <a:pt x="1011" y="1184"/>
                    <a:pt x="1011" y="1169"/>
                  </a:cubicBezTo>
                  <a:cubicBezTo>
                    <a:pt x="1011" y="1129"/>
                    <a:pt x="1011" y="1089"/>
                    <a:pt x="1011" y="1049"/>
                  </a:cubicBezTo>
                  <a:cubicBezTo>
                    <a:pt x="1011" y="1049"/>
                    <a:pt x="1011" y="1049"/>
                    <a:pt x="1011" y="1049"/>
                  </a:cubicBezTo>
                  <a:close/>
                  <a:moveTo>
                    <a:pt x="296" y="176"/>
                  </a:moveTo>
                  <a:cubicBezTo>
                    <a:pt x="296" y="201"/>
                    <a:pt x="296" y="226"/>
                    <a:pt x="296" y="251"/>
                  </a:cubicBezTo>
                  <a:cubicBezTo>
                    <a:pt x="295" y="276"/>
                    <a:pt x="296" y="274"/>
                    <a:pt x="318" y="274"/>
                  </a:cubicBezTo>
                  <a:cubicBezTo>
                    <a:pt x="330" y="274"/>
                    <a:pt x="331" y="274"/>
                    <a:pt x="331" y="260"/>
                  </a:cubicBezTo>
                  <a:cubicBezTo>
                    <a:pt x="331" y="232"/>
                    <a:pt x="331" y="204"/>
                    <a:pt x="331" y="176"/>
                  </a:cubicBezTo>
                  <a:cubicBezTo>
                    <a:pt x="331" y="165"/>
                    <a:pt x="331" y="155"/>
                    <a:pt x="337" y="145"/>
                  </a:cubicBezTo>
                  <a:cubicBezTo>
                    <a:pt x="349" y="123"/>
                    <a:pt x="359" y="117"/>
                    <a:pt x="377" y="118"/>
                  </a:cubicBezTo>
                  <a:cubicBezTo>
                    <a:pt x="383" y="118"/>
                    <a:pt x="389" y="119"/>
                    <a:pt x="395" y="120"/>
                  </a:cubicBezTo>
                  <a:cubicBezTo>
                    <a:pt x="401" y="120"/>
                    <a:pt x="407" y="118"/>
                    <a:pt x="408" y="112"/>
                  </a:cubicBezTo>
                  <a:cubicBezTo>
                    <a:pt x="409" y="103"/>
                    <a:pt x="415" y="93"/>
                    <a:pt x="407" y="85"/>
                  </a:cubicBezTo>
                  <a:cubicBezTo>
                    <a:pt x="406" y="84"/>
                    <a:pt x="404" y="84"/>
                    <a:pt x="402" y="84"/>
                  </a:cubicBezTo>
                  <a:cubicBezTo>
                    <a:pt x="376" y="78"/>
                    <a:pt x="353" y="82"/>
                    <a:pt x="337" y="106"/>
                  </a:cubicBezTo>
                  <a:cubicBezTo>
                    <a:pt x="336" y="108"/>
                    <a:pt x="335" y="110"/>
                    <a:pt x="333" y="109"/>
                  </a:cubicBezTo>
                  <a:cubicBezTo>
                    <a:pt x="331" y="109"/>
                    <a:pt x="330" y="107"/>
                    <a:pt x="330" y="105"/>
                  </a:cubicBezTo>
                  <a:cubicBezTo>
                    <a:pt x="329" y="101"/>
                    <a:pt x="329" y="97"/>
                    <a:pt x="328" y="94"/>
                  </a:cubicBezTo>
                  <a:cubicBezTo>
                    <a:pt x="325" y="85"/>
                    <a:pt x="318" y="82"/>
                    <a:pt x="303" y="84"/>
                  </a:cubicBezTo>
                  <a:cubicBezTo>
                    <a:pt x="297" y="84"/>
                    <a:pt x="295" y="86"/>
                    <a:pt x="295" y="92"/>
                  </a:cubicBezTo>
                  <a:cubicBezTo>
                    <a:pt x="296" y="120"/>
                    <a:pt x="295" y="148"/>
                    <a:pt x="295" y="176"/>
                  </a:cubicBezTo>
                  <a:cubicBezTo>
                    <a:pt x="296" y="176"/>
                    <a:pt x="296" y="176"/>
                    <a:pt x="296" y="176"/>
                  </a:cubicBezTo>
                  <a:close/>
                  <a:moveTo>
                    <a:pt x="946" y="179"/>
                  </a:moveTo>
                  <a:cubicBezTo>
                    <a:pt x="946" y="197"/>
                    <a:pt x="946" y="215"/>
                    <a:pt x="946" y="234"/>
                  </a:cubicBezTo>
                  <a:cubicBezTo>
                    <a:pt x="946" y="248"/>
                    <a:pt x="951" y="260"/>
                    <a:pt x="963" y="268"/>
                  </a:cubicBezTo>
                  <a:cubicBezTo>
                    <a:pt x="982" y="280"/>
                    <a:pt x="1011" y="277"/>
                    <a:pt x="1029" y="264"/>
                  </a:cubicBezTo>
                  <a:cubicBezTo>
                    <a:pt x="1036" y="259"/>
                    <a:pt x="1036" y="254"/>
                    <a:pt x="1032" y="248"/>
                  </a:cubicBezTo>
                  <a:cubicBezTo>
                    <a:pt x="1026" y="239"/>
                    <a:pt x="1020" y="238"/>
                    <a:pt x="1013" y="242"/>
                  </a:cubicBezTo>
                  <a:cubicBezTo>
                    <a:pt x="996" y="252"/>
                    <a:pt x="978" y="243"/>
                    <a:pt x="978" y="223"/>
                  </a:cubicBezTo>
                  <a:cubicBezTo>
                    <a:pt x="978" y="190"/>
                    <a:pt x="978" y="157"/>
                    <a:pt x="978" y="123"/>
                  </a:cubicBezTo>
                  <a:cubicBezTo>
                    <a:pt x="978" y="116"/>
                    <a:pt x="981" y="113"/>
                    <a:pt x="988" y="113"/>
                  </a:cubicBezTo>
                  <a:cubicBezTo>
                    <a:pt x="999" y="114"/>
                    <a:pt x="1011" y="113"/>
                    <a:pt x="1022" y="113"/>
                  </a:cubicBezTo>
                  <a:cubicBezTo>
                    <a:pt x="1028" y="113"/>
                    <a:pt x="1033" y="112"/>
                    <a:pt x="1033" y="104"/>
                  </a:cubicBezTo>
                  <a:cubicBezTo>
                    <a:pt x="1033" y="96"/>
                    <a:pt x="1032" y="90"/>
                    <a:pt x="1022" y="90"/>
                  </a:cubicBezTo>
                  <a:cubicBezTo>
                    <a:pt x="1011" y="90"/>
                    <a:pt x="1001" y="90"/>
                    <a:pt x="990" y="90"/>
                  </a:cubicBezTo>
                  <a:cubicBezTo>
                    <a:pt x="981" y="91"/>
                    <a:pt x="977" y="88"/>
                    <a:pt x="978" y="78"/>
                  </a:cubicBezTo>
                  <a:cubicBezTo>
                    <a:pt x="978" y="64"/>
                    <a:pt x="978" y="49"/>
                    <a:pt x="978" y="35"/>
                  </a:cubicBezTo>
                  <a:cubicBezTo>
                    <a:pt x="978" y="30"/>
                    <a:pt x="978" y="25"/>
                    <a:pt x="971" y="24"/>
                  </a:cubicBezTo>
                  <a:cubicBezTo>
                    <a:pt x="964" y="24"/>
                    <a:pt x="956" y="24"/>
                    <a:pt x="955" y="32"/>
                  </a:cubicBezTo>
                  <a:cubicBezTo>
                    <a:pt x="952" y="43"/>
                    <a:pt x="949" y="54"/>
                    <a:pt x="949" y="65"/>
                  </a:cubicBezTo>
                  <a:cubicBezTo>
                    <a:pt x="948" y="88"/>
                    <a:pt x="947" y="88"/>
                    <a:pt x="924" y="91"/>
                  </a:cubicBezTo>
                  <a:cubicBezTo>
                    <a:pt x="919" y="92"/>
                    <a:pt x="914" y="92"/>
                    <a:pt x="914" y="99"/>
                  </a:cubicBezTo>
                  <a:cubicBezTo>
                    <a:pt x="915" y="107"/>
                    <a:pt x="917" y="113"/>
                    <a:pt x="926" y="113"/>
                  </a:cubicBezTo>
                  <a:cubicBezTo>
                    <a:pt x="929" y="114"/>
                    <a:pt x="932" y="113"/>
                    <a:pt x="935" y="113"/>
                  </a:cubicBezTo>
                  <a:cubicBezTo>
                    <a:pt x="943" y="113"/>
                    <a:pt x="946" y="116"/>
                    <a:pt x="946" y="124"/>
                  </a:cubicBezTo>
                  <a:cubicBezTo>
                    <a:pt x="946" y="142"/>
                    <a:pt x="946" y="161"/>
                    <a:pt x="946" y="179"/>
                  </a:cubicBezTo>
                  <a:cubicBezTo>
                    <a:pt x="946" y="179"/>
                    <a:pt x="946" y="179"/>
                    <a:pt x="946" y="179"/>
                  </a:cubicBezTo>
                  <a:close/>
                </a:path>
              </a:pathLst>
            </a:custGeom>
            <a:solidFill>
              <a:srgbClr val="4C505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grpSp>
          <p:nvGrpSpPr>
            <p:cNvPr id="18" name="Group 4">
              <a:extLst>
                <a:ext uri="{FF2B5EF4-FFF2-40B4-BE49-F238E27FC236}">
                  <a16:creationId xmlns:a16="http://schemas.microsoft.com/office/drawing/2014/main" id="{57BD2C4C-DC67-B843-B26C-309622FC75F7}"/>
                </a:ext>
              </a:extLst>
            </p:cNvPr>
            <p:cNvGrpSpPr>
              <a:grpSpLocks noChangeAspect="1"/>
            </p:cNvGrpSpPr>
            <p:nvPr/>
          </p:nvGrpSpPr>
          <p:grpSpPr bwMode="gray">
            <a:xfrm>
              <a:off x="334963" y="296652"/>
              <a:ext cx="538094" cy="540000"/>
              <a:chOff x="2711" y="1027"/>
              <a:chExt cx="2258" cy="2266"/>
            </a:xfrm>
          </p:grpSpPr>
          <p:sp>
            <p:nvSpPr>
              <p:cNvPr id="19" name="AutoShape 3">
                <a:extLst>
                  <a:ext uri="{FF2B5EF4-FFF2-40B4-BE49-F238E27FC236}">
                    <a16:creationId xmlns:a16="http://schemas.microsoft.com/office/drawing/2014/main" id="{FE1DC41B-291E-574C-9F2C-874E70A40758}"/>
                  </a:ext>
                </a:extLst>
              </p:cNvPr>
              <p:cNvSpPr>
                <a:spLocks noChangeAspect="1" noChangeArrowheads="1" noTextEdit="1"/>
              </p:cNvSpPr>
              <p:nvPr/>
            </p:nvSpPr>
            <p:spPr bwMode="gray">
              <a:xfrm>
                <a:off x="2711" y="1027"/>
                <a:ext cx="2258" cy="22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20" name="Freeform 5">
                <a:extLst>
                  <a:ext uri="{FF2B5EF4-FFF2-40B4-BE49-F238E27FC236}">
                    <a16:creationId xmlns:a16="http://schemas.microsoft.com/office/drawing/2014/main" id="{D4B633C8-F761-C54B-9BD2-EB59D49A2DBC}"/>
                  </a:ext>
                </a:extLst>
              </p:cNvPr>
              <p:cNvSpPr>
                <a:spLocks/>
              </p:cNvSpPr>
              <p:nvPr/>
            </p:nvSpPr>
            <p:spPr bwMode="gray">
              <a:xfrm>
                <a:off x="2709" y="1029"/>
                <a:ext cx="2260" cy="2262"/>
              </a:xfrm>
              <a:custGeom>
                <a:avLst/>
                <a:gdLst>
                  <a:gd name="T0" fmla="*/ 2260 w 2260"/>
                  <a:gd name="T1" fmla="*/ 0 h 2262"/>
                  <a:gd name="T2" fmla="*/ 1612 w 2260"/>
                  <a:gd name="T3" fmla="*/ 649 h 2262"/>
                  <a:gd name="T4" fmla="*/ 1612 w 2260"/>
                  <a:gd name="T5" fmla="*/ 649 h 2262"/>
                  <a:gd name="T6" fmla="*/ 2035 w 2260"/>
                  <a:gd name="T7" fmla="*/ 0 h 2262"/>
                  <a:gd name="T8" fmla="*/ 0 w 2260"/>
                  <a:gd name="T9" fmla="*/ 0 h 2262"/>
                  <a:gd name="T10" fmla="*/ 0 w 2260"/>
                  <a:gd name="T11" fmla="*/ 2262 h 2262"/>
                  <a:gd name="T12" fmla="*/ 2260 w 2260"/>
                  <a:gd name="T13" fmla="*/ 2262 h 2262"/>
                  <a:gd name="T14" fmla="*/ 2260 w 2260"/>
                  <a:gd name="T15" fmla="*/ 0 h 2262"/>
                  <a:gd name="T16" fmla="*/ 2260 w 2260"/>
                  <a:gd name="T17" fmla="*/ 0 h 2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0" h="2262">
                    <a:moveTo>
                      <a:pt x="2260" y="0"/>
                    </a:moveTo>
                    <a:lnTo>
                      <a:pt x="1612" y="649"/>
                    </a:lnTo>
                    <a:lnTo>
                      <a:pt x="1612" y="649"/>
                    </a:lnTo>
                    <a:lnTo>
                      <a:pt x="2035" y="0"/>
                    </a:lnTo>
                    <a:lnTo>
                      <a:pt x="0" y="0"/>
                    </a:lnTo>
                    <a:lnTo>
                      <a:pt x="0" y="2262"/>
                    </a:lnTo>
                    <a:lnTo>
                      <a:pt x="2260" y="2262"/>
                    </a:lnTo>
                    <a:lnTo>
                      <a:pt x="2260" y="0"/>
                    </a:lnTo>
                    <a:lnTo>
                      <a:pt x="2260" y="0"/>
                    </a:lnTo>
                    <a:close/>
                  </a:path>
                </a:pathLst>
              </a:custGeom>
              <a:solidFill>
                <a:srgbClr val="E55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21" name="Freeform 6">
                <a:extLst>
                  <a:ext uri="{FF2B5EF4-FFF2-40B4-BE49-F238E27FC236}">
                    <a16:creationId xmlns:a16="http://schemas.microsoft.com/office/drawing/2014/main" id="{B16BAAE4-1A41-C843-9754-490F7A1E1270}"/>
                  </a:ext>
                </a:extLst>
              </p:cNvPr>
              <p:cNvSpPr>
                <a:spLocks noEditPoints="1"/>
              </p:cNvSpPr>
              <p:nvPr/>
            </p:nvSpPr>
            <p:spPr bwMode="gray">
              <a:xfrm>
                <a:off x="3623" y="1696"/>
                <a:ext cx="1167" cy="922"/>
              </a:xfrm>
              <a:custGeom>
                <a:avLst/>
                <a:gdLst>
                  <a:gd name="T0" fmla="*/ 411 w 580"/>
                  <a:gd name="T1" fmla="*/ 213 h 458"/>
                  <a:gd name="T2" fmla="*/ 570 w 580"/>
                  <a:gd name="T3" fmla="*/ 37 h 458"/>
                  <a:gd name="T4" fmla="*/ 580 w 580"/>
                  <a:gd name="T5" fmla="*/ 20 h 458"/>
                  <a:gd name="T6" fmla="*/ 545 w 580"/>
                  <a:gd name="T7" fmla="*/ 0 h 458"/>
                  <a:gd name="T8" fmla="*/ 519 w 580"/>
                  <a:gd name="T9" fmla="*/ 16 h 458"/>
                  <a:gd name="T10" fmla="*/ 344 w 580"/>
                  <a:gd name="T11" fmla="*/ 210 h 458"/>
                  <a:gd name="T12" fmla="*/ 334 w 580"/>
                  <a:gd name="T13" fmla="*/ 229 h 458"/>
                  <a:gd name="T14" fmla="*/ 344 w 580"/>
                  <a:gd name="T15" fmla="*/ 248 h 458"/>
                  <a:gd name="T16" fmla="*/ 519 w 580"/>
                  <a:gd name="T17" fmla="*/ 442 h 458"/>
                  <a:gd name="T18" fmla="*/ 545 w 580"/>
                  <a:gd name="T19" fmla="*/ 458 h 458"/>
                  <a:gd name="T20" fmla="*/ 580 w 580"/>
                  <a:gd name="T21" fmla="*/ 438 h 458"/>
                  <a:gd name="T22" fmla="*/ 570 w 580"/>
                  <a:gd name="T23" fmla="*/ 421 h 458"/>
                  <a:gd name="T24" fmla="*/ 411 w 580"/>
                  <a:gd name="T25" fmla="*/ 245 h 458"/>
                  <a:gd name="T26" fmla="*/ 399 w 580"/>
                  <a:gd name="T27" fmla="*/ 229 h 458"/>
                  <a:gd name="T28" fmla="*/ 411 w 580"/>
                  <a:gd name="T29" fmla="*/ 213 h 458"/>
                  <a:gd name="T30" fmla="*/ 252 w 580"/>
                  <a:gd name="T31" fmla="*/ 439 h 458"/>
                  <a:gd name="T32" fmla="*/ 281 w 580"/>
                  <a:gd name="T33" fmla="*/ 454 h 458"/>
                  <a:gd name="T34" fmla="*/ 309 w 580"/>
                  <a:gd name="T35" fmla="*/ 439 h 458"/>
                  <a:gd name="T36" fmla="*/ 309 w 580"/>
                  <a:gd name="T37" fmla="*/ 19 h 458"/>
                  <a:gd name="T38" fmla="*/ 281 w 580"/>
                  <a:gd name="T39" fmla="*/ 4 h 458"/>
                  <a:gd name="T40" fmla="*/ 252 w 580"/>
                  <a:gd name="T41" fmla="*/ 19 h 458"/>
                  <a:gd name="T42" fmla="*/ 252 w 580"/>
                  <a:gd name="T43" fmla="*/ 439 h 458"/>
                  <a:gd name="T44" fmla="*/ 0 w 580"/>
                  <a:gd name="T45" fmla="*/ 439 h 458"/>
                  <a:gd name="T46" fmla="*/ 28 w 580"/>
                  <a:gd name="T47" fmla="*/ 454 h 458"/>
                  <a:gd name="T48" fmla="*/ 56 w 580"/>
                  <a:gd name="T49" fmla="*/ 439 h 458"/>
                  <a:gd name="T50" fmla="*/ 56 w 580"/>
                  <a:gd name="T51" fmla="*/ 157 h 458"/>
                  <a:gd name="T52" fmla="*/ 165 w 580"/>
                  <a:gd name="T53" fmla="*/ 53 h 458"/>
                  <a:gd name="T54" fmla="*/ 180 w 580"/>
                  <a:gd name="T55" fmla="*/ 53 h 458"/>
                  <a:gd name="T56" fmla="*/ 196 w 580"/>
                  <a:gd name="T57" fmla="*/ 27 h 458"/>
                  <a:gd name="T58" fmla="*/ 154 w 580"/>
                  <a:gd name="T59" fmla="*/ 4 h 458"/>
                  <a:gd name="T60" fmla="*/ 0 w 580"/>
                  <a:gd name="T61" fmla="*/ 152 h 458"/>
                  <a:gd name="T62" fmla="*/ 0 w 580"/>
                  <a:gd name="T63" fmla="*/ 439 h 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80" h="458">
                    <a:moveTo>
                      <a:pt x="411" y="213"/>
                    </a:moveTo>
                    <a:cubicBezTo>
                      <a:pt x="570" y="37"/>
                      <a:pt x="570" y="37"/>
                      <a:pt x="570" y="37"/>
                    </a:cubicBezTo>
                    <a:cubicBezTo>
                      <a:pt x="576" y="30"/>
                      <a:pt x="580" y="25"/>
                      <a:pt x="580" y="20"/>
                    </a:cubicBezTo>
                    <a:cubicBezTo>
                      <a:pt x="580" y="10"/>
                      <a:pt x="559" y="0"/>
                      <a:pt x="545" y="0"/>
                    </a:cubicBezTo>
                    <a:cubicBezTo>
                      <a:pt x="535" y="0"/>
                      <a:pt x="526" y="8"/>
                      <a:pt x="519" y="16"/>
                    </a:cubicBezTo>
                    <a:cubicBezTo>
                      <a:pt x="344" y="210"/>
                      <a:pt x="344" y="210"/>
                      <a:pt x="344" y="210"/>
                    </a:cubicBezTo>
                    <a:cubicBezTo>
                      <a:pt x="336" y="219"/>
                      <a:pt x="334" y="224"/>
                      <a:pt x="334" y="229"/>
                    </a:cubicBezTo>
                    <a:cubicBezTo>
                      <a:pt x="334" y="234"/>
                      <a:pt x="336" y="239"/>
                      <a:pt x="344" y="248"/>
                    </a:cubicBezTo>
                    <a:cubicBezTo>
                      <a:pt x="519" y="442"/>
                      <a:pt x="519" y="442"/>
                      <a:pt x="519" y="442"/>
                    </a:cubicBezTo>
                    <a:cubicBezTo>
                      <a:pt x="526" y="450"/>
                      <a:pt x="535" y="458"/>
                      <a:pt x="545" y="458"/>
                    </a:cubicBezTo>
                    <a:cubicBezTo>
                      <a:pt x="559" y="458"/>
                      <a:pt x="580" y="448"/>
                      <a:pt x="580" y="438"/>
                    </a:cubicBezTo>
                    <a:cubicBezTo>
                      <a:pt x="580" y="433"/>
                      <a:pt x="576" y="428"/>
                      <a:pt x="570" y="421"/>
                    </a:cubicBezTo>
                    <a:cubicBezTo>
                      <a:pt x="411" y="245"/>
                      <a:pt x="411" y="245"/>
                      <a:pt x="411" y="245"/>
                    </a:cubicBezTo>
                    <a:cubicBezTo>
                      <a:pt x="403" y="236"/>
                      <a:pt x="399" y="232"/>
                      <a:pt x="399" y="229"/>
                    </a:cubicBezTo>
                    <a:cubicBezTo>
                      <a:pt x="399" y="226"/>
                      <a:pt x="403" y="222"/>
                      <a:pt x="411" y="213"/>
                    </a:cubicBezTo>
                    <a:moveTo>
                      <a:pt x="252" y="439"/>
                    </a:moveTo>
                    <a:cubicBezTo>
                      <a:pt x="252" y="449"/>
                      <a:pt x="261" y="454"/>
                      <a:pt x="281" y="454"/>
                    </a:cubicBezTo>
                    <a:cubicBezTo>
                      <a:pt x="300" y="454"/>
                      <a:pt x="309" y="449"/>
                      <a:pt x="309" y="439"/>
                    </a:cubicBezTo>
                    <a:cubicBezTo>
                      <a:pt x="309" y="19"/>
                      <a:pt x="309" y="19"/>
                      <a:pt x="309" y="19"/>
                    </a:cubicBezTo>
                    <a:cubicBezTo>
                      <a:pt x="309" y="9"/>
                      <a:pt x="300" y="4"/>
                      <a:pt x="281" y="4"/>
                    </a:cubicBezTo>
                    <a:cubicBezTo>
                      <a:pt x="261" y="4"/>
                      <a:pt x="252" y="9"/>
                      <a:pt x="252" y="19"/>
                    </a:cubicBezTo>
                    <a:lnTo>
                      <a:pt x="252" y="439"/>
                    </a:lnTo>
                    <a:close/>
                    <a:moveTo>
                      <a:pt x="0" y="439"/>
                    </a:moveTo>
                    <a:cubicBezTo>
                      <a:pt x="0" y="449"/>
                      <a:pt x="8" y="454"/>
                      <a:pt x="28" y="454"/>
                    </a:cubicBezTo>
                    <a:cubicBezTo>
                      <a:pt x="48" y="454"/>
                      <a:pt x="56" y="449"/>
                      <a:pt x="56" y="439"/>
                    </a:cubicBezTo>
                    <a:cubicBezTo>
                      <a:pt x="56" y="157"/>
                      <a:pt x="56" y="157"/>
                      <a:pt x="56" y="157"/>
                    </a:cubicBezTo>
                    <a:cubicBezTo>
                      <a:pt x="56" y="83"/>
                      <a:pt x="85" y="53"/>
                      <a:pt x="165" y="53"/>
                    </a:cubicBezTo>
                    <a:cubicBezTo>
                      <a:pt x="180" y="53"/>
                      <a:pt x="180" y="53"/>
                      <a:pt x="180" y="53"/>
                    </a:cubicBezTo>
                    <a:cubicBezTo>
                      <a:pt x="192" y="53"/>
                      <a:pt x="196" y="43"/>
                      <a:pt x="196" y="27"/>
                    </a:cubicBezTo>
                    <a:cubicBezTo>
                      <a:pt x="196" y="8"/>
                      <a:pt x="185" y="4"/>
                      <a:pt x="154" y="4"/>
                    </a:cubicBezTo>
                    <a:cubicBezTo>
                      <a:pt x="64" y="4"/>
                      <a:pt x="0" y="43"/>
                      <a:pt x="0" y="152"/>
                    </a:cubicBezTo>
                    <a:lnTo>
                      <a:pt x="0" y="43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22" name="Freeform 7">
                <a:extLst>
                  <a:ext uri="{FF2B5EF4-FFF2-40B4-BE49-F238E27FC236}">
                    <a16:creationId xmlns:a16="http://schemas.microsoft.com/office/drawing/2014/main" id="{2F32DCBD-8628-F245-85CD-97686A20ECFD}"/>
                  </a:ext>
                </a:extLst>
              </p:cNvPr>
              <p:cNvSpPr>
                <a:spLocks/>
              </p:cNvSpPr>
              <p:nvPr/>
            </p:nvSpPr>
            <p:spPr bwMode="gray">
              <a:xfrm>
                <a:off x="2880" y="1704"/>
                <a:ext cx="618" cy="916"/>
              </a:xfrm>
              <a:custGeom>
                <a:avLst/>
                <a:gdLst>
                  <a:gd name="T0" fmla="*/ 307 w 307"/>
                  <a:gd name="T1" fmla="*/ 405 h 455"/>
                  <a:gd name="T2" fmla="*/ 307 w 307"/>
                  <a:gd name="T3" fmla="*/ 244 h 455"/>
                  <a:gd name="T4" fmla="*/ 279 w 307"/>
                  <a:gd name="T5" fmla="*/ 229 h 455"/>
                  <a:gd name="T6" fmla="*/ 250 w 307"/>
                  <a:gd name="T7" fmla="*/ 244 h 455"/>
                  <a:gd name="T8" fmla="*/ 250 w 307"/>
                  <a:gd name="T9" fmla="*/ 378 h 455"/>
                  <a:gd name="T10" fmla="*/ 199 w 307"/>
                  <a:gd name="T11" fmla="*/ 408 h 455"/>
                  <a:gd name="T12" fmla="*/ 61 w 307"/>
                  <a:gd name="T13" fmla="*/ 231 h 455"/>
                  <a:gd name="T14" fmla="*/ 238 w 307"/>
                  <a:gd name="T15" fmla="*/ 49 h 455"/>
                  <a:gd name="T16" fmla="*/ 270 w 307"/>
                  <a:gd name="T17" fmla="*/ 49 h 455"/>
                  <a:gd name="T18" fmla="*/ 286 w 307"/>
                  <a:gd name="T19" fmla="*/ 23 h 455"/>
                  <a:gd name="T20" fmla="*/ 244 w 307"/>
                  <a:gd name="T21" fmla="*/ 0 h 455"/>
                  <a:gd name="T22" fmla="*/ 231 w 307"/>
                  <a:gd name="T23" fmla="*/ 0 h 455"/>
                  <a:gd name="T24" fmla="*/ 0 w 307"/>
                  <a:gd name="T25" fmla="*/ 232 h 455"/>
                  <a:gd name="T26" fmla="*/ 198 w 307"/>
                  <a:gd name="T27" fmla="*/ 455 h 455"/>
                  <a:gd name="T28" fmla="*/ 307 w 307"/>
                  <a:gd name="T29" fmla="*/ 405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7" h="455">
                    <a:moveTo>
                      <a:pt x="307" y="405"/>
                    </a:moveTo>
                    <a:cubicBezTo>
                      <a:pt x="307" y="244"/>
                      <a:pt x="307" y="244"/>
                      <a:pt x="307" y="244"/>
                    </a:cubicBezTo>
                    <a:cubicBezTo>
                      <a:pt x="307" y="234"/>
                      <a:pt x="298" y="229"/>
                      <a:pt x="279" y="229"/>
                    </a:cubicBezTo>
                    <a:cubicBezTo>
                      <a:pt x="259" y="229"/>
                      <a:pt x="250" y="234"/>
                      <a:pt x="250" y="244"/>
                    </a:cubicBezTo>
                    <a:cubicBezTo>
                      <a:pt x="250" y="378"/>
                      <a:pt x="250" y="378"/>
                      <a:pt x="250" y="378"/>
                    </a:cubicBezTo>
                    <a:cubicBezTo>
                      <a:pt x="250" y="399"/>
                      <a:pt x="241" y="408"/>
                      <a:pt x="199" y="408"/>
                    </a:cubicBezTo>
                    <a:cubicBezTo>
                      <a:pt x="114" y="408"/>
                      <a:pt x="61" y="342"/>
                      <a:pt x="61" y="231"/>
                    </a:cubicBezTo>
                    <a:cubicBezTo>
                      <a:pt x="61" y="115"/>
                      <a:pt x="126" y="49"/>
                      <a:pt x="238" y="49"/>
                    </a:cubicBezTo>
                    <a:cubicBezTo>
                      <a:pt x="270" y="49"/>
                      <a:pt x="270" y="49"/>
                      <a:pt x="270" y="49"/>
                    </a:cubicBezTo>
                    <a:cubicBezTo>
                      <a:pt x="282" y="49"/>
                      <a:pt x="286" y="39"/>
                      <a:pt x="286" y="23"/>
                    </a:cubicBezTo>
                    <a:cubicBezTo>
                      <a:pt x="286" y="4"/>
                      <a:pt x="275" y="0"/>
                      <a:pt x="244" y="0"/>
                    </a:cubicBezTo>
                    <a:cubicBezTo>
                      <a:pt x="231" y="0"/>
                      <a:pt x="231" y="0"/>
                      <a:pt x="231" y="0"/>
                    </a:cubicBezTo>
                    <a:cubicBezTo>
                      <a:pt x="101" y="0"/>
                      <a:pt x="0" y="71"/>
                      <a:pt x="0" y="232"/>
                    </a:cubicBezTo>
                    <a:cubicBezTo>
                      <a:pt x="0" y="386"/>
                      <a:pt x="88" y="455"/>
                      <a:pt x="198" y="455"/>
                    </a:cubicBezTo>
                    <a:cubicBezTo>
                      <a:pt x="286" y="455"/>
                      <a:pt x="307" y="430"/>
                      <a:pt x="307" y="40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23" name="Oval 8">
                <a:extLst>
                  <a:ext uri="{FF2B5EF4-FFF2-40B4-BE49-F238E27FC236}">
                    <a16:creationId xmlns:a16="http://schemas.microsoft.com/office/drawing/2014/main" id="{60D97C11-1A3B-5449-A48D-98A3E79B3810}"/>
                  </a:ext>
                </a:extLst>
              </p:cNvPr>
              <p:cNvSpPr>
                <a:spLocks noChangeArrowheads="1"/>
              </p:cNvSpPr>
              <p:nvPr/>
            </p:nvSpPr>
            <p:spPr bwMode="gray">
              <a:xfrm>
                <a:off x="3778" y="2099"/>
                <a:ext cx="122" cy="12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24" name="Freeform 9">
                <a:extLst>
                  <a:ext uri="{FF2B5EF4-FFF2-40B4-BE49-F238E27FC236}">
                    <a16:creationId xmlns:a16="http://schemas.microsoft.com/office/drawing/2014/main" id="{5856770D-B8F0-244E-A05D-AED190086F10}"/>
                  </a:ext>
                </a:extLst>
              </p:cNvPr>
              <p:cNvSpPr>
                <a:spLocks noEditPoints="1"/>
              </p:cNvSpPr>
              <p:nvPr/>
            </p:nvSpPr>
            <p:spPr bwMode="gray">
              <a:xfrm>
                <a:off x="3623" y="1696"/>
                <a:ext cx="1167" cy="922"/>
              </a:xfrm>
              <a:custGeom>
                <a:avLst/>
                <a:gdLst>
                  <a:gd name="T0" fmla="*/ 411 w 580"/>
                  <a:gd name="T1" fmla="*/ 213 h 458"/>
                  <a:gd name="T2" fmla="*/ 570 w 580"/>
                  <a:gd name="T3" fmla="*/ 37 h 458"/>
                  <a:gd name="T4" fmla="*/ 580 w 580"/>
                  <a:gd name="T5" fmla="*/ 20 h 458"/>
                  <a:gd name="T6" fmla="*/ 545 w 580"/>
                  <a:gd name="T7" fmla="*/ 0 h 458"/>
                  <a:gd name="T8" fmla="*/ 519 w 580"/>
                  <a:gd name="T9" fmla="*/ 16 h 458"/>
                  <a:gd name="T10" fmla="*/ 344 w 580"/>
                  <a:gd name="T11" fmla="*/ 210 h 458"/>
                  <a:gd name="T12" fmla="*/ 334 w 580"/>
                  <a:gd name="T13" fmla="*/ 229 h 458"/>
                  <a:gd name="T14" fmla="*/ 344 w 580"/>
                  <a:gd name="T15" fmla="*/ 248 h 458"/>
                  <a:gd name="T16" fmla="*/ 519 w 580"/>
                  <a:gd name="T17" fmla="*/ 442 h 458"/>
                  <a:gd name="T18" fmla="*/ 545 w 580"/>
                  <a:gd name="T19" fmla="*/ 458 h 458"/>
                  <a:gd name="T20" fmla="*/ 580 w 580"/>
                  <a:gd name="T21" fmla="*/ 438 h 458"/>
                  <a:gd name="T22" fmla="*/ 570 w 580"/>
                  <a:gd name="T23" fmla="*/ 421 h 458"/>
                  <a:gd name="T24" fmla="*/ 411 w 580"/>
                  <a:gd name="T25" fmla="*/ 245 h 458"/>
                  <a:gd name="T26" fmla="*/ 399 w 580"/>
                  <a:gd name="T27" fmla="*/ 229 h 458"/>
                  <a:gd name="T28" fmla="*/ 411 w 580"/>
                  <a:gd name="T29" fmla="*/ 213 h 458"/>
                  <a:gd name="T30" fmla="*/ 252 w 580"/>
                  <a:gd name="T31" fmla="*/ 439 h 458"/>
                  <a:gd name="T32" fmla="*/ 281 w 580"/>
                  <a:gd name="T33" fmla="*/ 454 h 458"/>
                  <a:gd name="T34" fmla="*/ 309 w 580"/>
                  <a:gd name="T35" fmla="*/ 439 h 458"/>
                  <a:gd name="T36" fmla="*/ 309 w 580"/>
                  <a:gd name="T37" fmla="*/ 19 h 458"/>
                  <a:gd name="T38" fmla="*/ 281 w 580"/>
                  <a:gd name="T39" fmla="*/ 4 h 458"/>
                  <a:gd name="T40" fmla="*/ 252 w 580"/>
                  <a:gd name="T41" fmla="*/ 19 h 458"/>
                  <a:gd name="T42" fmla="*/ 252 w 580"/>
                  <a:gd name="T43" fmla="*/ 439 h 458"/>
                  <a:gd name="T44" fmla="*/ 0 w 580"/>
                  <a:gd name="T45" fmla="*/ 439 h 458"/>
                  <a:gd name="T46" fmla="*/ 28 w 580"/>
                  <a:gd name="T47" fmla="*/ 454 h 458"/>
                  <a:gd name="T48" fmla="*/ 56 w 580"/>
                  <a:gd name="T49" fmla="*/ 439 h 458"/>
                  <a:gd name="T50" fmla="*/ 56 w 580"/>
                  <a:gd name="T51" fmla="*/ 157 h 458"/>
                  <a:gd name="T52" fmla="*/ 165 w 580"/>
                  <a:gd name="T53" fmla="*/ 53 h 458"/>
                  <a:gd name="T54" fmla="*/ 180 w 580"/>
                  <a:gd name="T55" fmla="*/ 53 h 458"/>
                  <a:gd name="T56" fmla="*/ 196 w 580"/>
                  <a:gd name="T57" fmla="*/ 27 h 458"/>
                  <a:gd name="T58" fmla="*/ 154 w 580"/>
                  <a:gd name="T59" fmla="*/ 4 h 458"/>
                  <a:gd name="T60" fmla="*/ 0 w 580"/>
                  <a:gd name="T61" fmla="*/ 152 h 458"/>
                  <a:gd name="T62" fmla="*/ 0 w 580"/>
                  <a:gd name="T63" fmla="*/ 439 h 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80" h="458">
                    <a:moveTo>
                      <a:pt x="411" y="213"/>
                    </a:moveTo>
                    <a:cubicBezTo>
                      <a:pt x="570" y="37"/>
                      <a:pt x="570" y="37"/>
                      <a:pt x="570" y="37"/>
                    </a:cubicBezTo>
                    <a:cubicBezTo>
                      <a:pt x="576" y="30"/>
                      <a:pt x="580" y="25"/>
                      <a:pt x="580" y="20"/>
                    </a:cubicBezTo>
                    <a:cubicBezTo>
                      <a:pt x="580" y="10"/>
                      <a:pt x="559" y="0"/>
                      <a:pt x="545" y="0"/>
                    </a:cubicBezTo>
                    <a:cubicBezTo>
                      <a:pt x="535" y="0"/>
                      <a:pt x="526" y="8"/>
                      <a:pt x="519" y="16"/>
                    </a:cubicBezTo>
                    <a:cubicBezTo>
                      <a:pt x="344" y="210"/>
                      <a:pt x="344" y="210"/>
                      <a:pt x="344" y="210"/>
                    </a:cubicBezTo>
                    <a:cubicBezTo>
                      <a:pt x="336" y="219"/>
                      <a:pt x="334" y="224"/>
                      <a:pt x="334" y="229"/>
                    </a:cubicBezTo>
                    <a:cubicBezTo>
                      <a:pt x="334" y="234"/>
                      <a:pt x="336" y="239"/>
                      <a:pt x="344" y="248"/>
                    </a:cubicBezTo>
                    <a:cubicBezTo>
                      <a:pt x="519" y="442"/>
                      <a:pt x="519" y="442"/>
                      <a:pt x="519" y="442"/>
                    </a:cubicBezTo>
                    <a:cubicBezTo>
                      <a:pt x="526" y="450"/>
                      <a:pt x="535" y="458"/>
                      <a:pt x="545" y="458"/>
                    </a:cubicBezTo>
                    <a:cubicBezTo>
                      <a:pt x="559" y="458"/>
                      <a:pt x="580" y="448"/>
                      <a:pt x="580" y="438"/>
                    </a:cubicBezTo>
                    <a:cubicBezTo>
                      <a:pt x="580" y="433"/>
                      <a:pt x="576" y="428"/>
                      <a:pt x="570" y="421"/>
                    </a:cubicBezTo>
                    <a:cubicBezTo>
                      <a:pt x="411" y="245"/>
                      <a:pt x="411" y="245"/>
                      <a:pt x="411" y="245"/>
                    </a:cubicBezTo>
                    <a:cubicBezTo>
                      <a:pt x="403" y="236"/>
                      <a:pt x="399" y="232"/>
                      <a:pt x="399" y="229"/>
                    </a:cubicBezTo>
                    <a:cubicBezTo>
                      <a:pt x="399" y="226"/>
                      <a:pt x="403" y="222"/>
                      <a:pt x="411" y="213"/>
                    </a:cubicBezTo>
                    <a:moveTo>
                      <a:pt x="252" y="439"/>
                    </a:moveTo>
                    <a:cubicBezTo>
                      <a:pt x="252" y="449"/>
                      <a:pt x="261" y="454"/>
                      <a:pt x="281" y="454"/>
                    </a:cubicBezTo>
                    <a:cubicBezTo>
                      <a:pt x="300" y="454"/>
                      <a:pt x="309" y="449"/>
                      <a:pt x="309" y="439"/>
                    </a:cubicBezTo>
                    <a:cubicBezTo>
                      <a:pt x="309" y="19"/>
                      <a:pt x="309" y="19"/>
                      <a:pt x="309" y="19"/>
                    </a:cubicBezTo>
                    <a:cubicBezTo>
                      <a:pt x="309" y="9"/>
                      <a:pt x="300" y="4"/>
                      <a:pt x="281" y="4"/>
                    </a:cubicBezTo>
                    <a:cubicBezTo>
                      <a:pt x="261" y="4"/>
                      <a:pt x="252" y="9"/>
                      <a:pt x="252" y="19"/>
                    </a:cubicBezTo>
                    <a:lnTo>
                      <a:pt x="252" y="439"/>
                    </a:lnTo>
                    <a:close/>
                    <a:moveTo>
                      <a:pt x="0" y="439"/>
                    </a:moveTo>
                    <a:cubicBezTo>
                      <a:pt x="0" y="449"/>
                      <a:pt x="8" y="454"/>
                      <a:pt x="28" y="454"/>
                    </a:cubicBezTo>
                    <a:cubicBezTo>
                      <a:pt x="48" y="454"/>
                      <a:pt x="56" y="449"/>
                      <a:pt x="56" y="439"/>
                    </a:cubicBezTo>
                    <a:cubicBezTo>
                      <a:pt x="56" y="157"/>
                      <a:pt x="56" y="157"/>
                      <a:pt x="56" y="157"/>
                    </a:cubicBezTo>
                    <a:cubicBezTo>
                      <a:pt x="56" y="83"/>
                      <a:pt x="85" y="53"/>
                      <a:pt x="165" y="53"/>
                    </a:cubicBezTo>
                    <a:cubicBezTo>
                      <a:pt x="180" y="53"/>
                      <a:pt x="180" y="53"/>
                      <a:pt x="180" y="53"/>
                    </a:cubicBezTo>
                    <a:cubicBezTo>
                      <a:pt x="192" y="53"/>
                      <a:pt x="196" y="43"/>
                      <a:pt x="196" y="27"/>
                    </a:cubicBezTo>
                    <a:cubicBezTo>
                      <a:pt x="196" y="8"/>
                      <a:pt x="185" y="4"/>
                      <a:pt x="154" y="4"/>
                    </a:cubicBezTo>
                    <a:cubicBezTo>
                      <a:pt x="64" y="4"/>
                      <a:pt x="0" y="43"/>
                      <a:pt x="0" y="152"/>
                    </a:cubicBezTo>
                    <a:lnTo>
                      <a:pt x="0" y="43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25" name="Freeform 10">
                <a:extLst>
                  <a:ext uri="{FF2B5EF4-FFF2-40B4-BE49-F238E27FC236}">
                    <a16:creationId xmlns:a16="http://schemas.microsoft.com/office/drawing/2014/main" id="{2B91B16B-BC11-E547-8FAC-B9B8D18EA449}"/>
                  </a:ext>
                </a:extLst>
              </p:cNvPr>
              <p:cNvSpPr>
                <a:spLocks/>
              </p:cNvSpPr>
              <p:nvPr/>
            </p:nvSpPr>
            <p:spPr bwMode="gray">
              <a:xfrm>
                <a:off x="2880" y="1704"/>
                <a:ext cx="618" cy="916"/>
              </a:xfrm>
              <a:custGeom>
                <a:avLst/>
                <a:gdLst>
                  <a:gd name="T0" fmla="*/ 307 w 307"/>
                  <a:gd name="T1" fmla="*/ 405 h 455"/>
                  <a:gd name="T2" fmla="*/ 307 w 307"/>
                  <a:gd name="T3" fmla="*/ 244 h 455"/>
                  <a:gd name="T4" fmla="*/ 279 w 307"/>
                  <a:gd name="T5" fmla="*/ 229 h 455"/>
                  <a:gd name="T6" fmla="*/ 250 w 307"/>
                  <a:gd name="T7" fmla="*/ 244 h 455"/>
                  <a:gd name="T8" fmla="*/ 250 w 307"/>
                  <a:gd name="T9" fmla="*/ 378 h 455"/>
                  <a:gd name="T10" fmla="*/ 199 w 307"/>
                  <a:gd name="T11" fmla="*/ 408 h 455"/>
                  <a:gd name="T12" fmla="*/ 61 w 307"/>
                  <a:gd name="T13" fmla="*/ 231 h 455"/>
                  <a:gd name="T14" fmla="*/ 238 w 307"/>
                  <a:gd name="T15" fmla="*/ 49 h 455"/>
                  <a:gd name="T16" fmla="*/ 270 w 307"/>
                  <a:gd name="T17" fmla="*/ 49 h 455"/>
                  <a:gd name="T18" fmla="*/ 286 w 307"/>
                  <a:gd name="T19" fmla="*/ 23 h 455"/>
                  <a:gd name="T20" fmla="*/ 244 w 307"/>
                  <a:gd name="T21" fmla="*/ 0 h 455"/>
                  <a:gd name="T22" fmla="*/ 231 w 307"/>
                  <a:gd name="T23" fmla="*/ 0 h 455"/>
                  <a:gd name="T24" fmla="*/ 0 w 307"/>
                  <a:gd name="T25" fmla="*/ 232 h 455"/>
                  <a:gd name="T26" fmla="*/ 198 w 307"/>
                  <a:gd name="T27" fmla="*/ 455 h 455"/>
                  <a:gd name="T28" fmla="*/ 307 w 307"/>
                  <a:gd name="T29" fmla="*/ 405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7" h="455">
                    <a:moveTo>
                      <a:pt x="307" y="405"/>
                    </a:moveTo>
                    <a:cubicBezTo>
                      <a:pt x="307" y="244"/>
                      <a:pt x="307" y="244"/>
                      <a:pt x="307" y="244"/>
                    </a:cubicBezTo>
                    <a:cubicBezTo>
                      <a:pt x="307" y="234"/>
                      <a:pt x="298" y="229"/>
                      <a:pt x="279" y="229"/>
                    </a:cubicBezTo>
                    <a:cubicBezTo>
                      <a:pt x="259" y="229"/>
                      <a:pt x="250" y="234"/>
                      <a:pt x="250" y="244"/>
                    </a:cubicBezTo>
                    <a:cubicBezTo>
                      <a:pt x="250" y="378"/>
                      <a:pt x="250" y="378"/>
                      <a:pt x="250" y="378"/>
                    </a:cubicBezTo>
                    <a:cubicBezTo>
                      <a:pt x="250" y="399"/>
                      <a:pt x="241" y="408"/>
                      <a:pt x="199" y="408"/>
                    </a:cubicBezTo>
                    <a:cubicBezTo>
                      <a:pt x="114" y="408"/>
                      <a:pt x="61" y="342"/>
                      <a:pt x="61" y="231"/>
                    </a:cubicBezTo>
                    <a:cubicBezTo>
                      <a:pt x="61" y="115"/>
                      <a:pt x="126" y="49"/>
                      <a:pt x="238" y="49"/>
                    </a:cubicBezTo>
                    <a:cubicBezTo>
                      <a:pt x="270" y="49"/>
                      <a:pt x="270" y="49"/>
                      <a:pt x="270" y="49"/>
                    </a:cubicBezTo>
                    <a:cubicBezTo>
                      <a:pt x="282" y="49"/>
                      <a:pt x="286" y="39"/>
                      <a:pt x="286" y="23"/>
                    </a:cubicBezTo>
                    <a:cubicBezTo>
                      <a:pt x="286" y="4"/>
                      <a:pt x="275" y="0"/>
                      <a:pt x="244" y="0"/>
                    </a:cubicBezTo>
                    <a:cubicBezTo>
                      <a:pt x="231" y="0"/>
                      <a:pt x="231" y="0"/>
                      <a:pt x="231" y="0"/>
                    </a:cubicBezTo>
                    <a:cubicBezTo>
                      <a:pt x="101" y="0"/>
                      <a:pt x="0" y="71"/>
                      <a:pt x="0" y="232"/>
                    </a:cubicBezTo>
                    <a:cubicBezTo>
                      <a:pt x="0" y="386"/>
                      <a:pt x="88" y="455"/>
                      <a:pt x="198" y="455"/>
                    </a:cubicBezTo>
                    <a:cubicBezTo>
                      <a:pt x="286" y="455"/>
                      <a:pt x="307" y="430"/>
                      <a:pt x="307" y="40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26" name="Oval 11">
                <a:extLst>
                  <a:ext uri="{FF2B5EF4-FFF2-40B4-BE49-F238E27FC236}">
                    <a16:creationId xmlns:a16="http://schemas.microsoft.com/office/drawing/2014/main" id="{14F8C3C8-4888-7646-B9B4-64EB46A1DA23}"/>
                  </a:ext>
                </a:extLst>
              </p:cNvPr>
              <p:cNvSpPr>
                <a:spLocks noChangeArrowheads="1"/>
              </p:cNvSpPr>
              <p:nvPr/>
            </p:nvSpPr>
            <p:spPr bwMode="gray">
              <a:xfrm>
                <a:off x="3778" y="2099"/>
                <a:ext cx="122" cy="12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27" name="Freeform 12">
                <a:extLst>
                  <a:ext uri="{FF2B5EF4-FFF2-40B4-BE49-F238E27FC236}">
                    <a16:creationId xmlns:a16="http://schemas.microsoft.com/office/drawing/2014/main" id="{D79D01D1-4E3E-F34B-97D7-2D387E68746E}"/>
                  </a:ext>
                </a:extLst>
              </p:cNvPr>
              <p:cNvSpPr>
                <a:spLocks/>
              </p:cNvSpPr>
              <p:nvPr/>
            </p:nvSpPr>
            <p:spPr bwMode="gray">
              <a:xfrm>
                <a:off x="4321" y="1029"/>
                <a:ext cx="648" cy="649"/>
              </a:xfrm>
              <a:custGeom>
                <a:avLst/>
                <a:gdLst>
                  <a:gd name="T0" fmla="*/ 0 w 648"/>
                  <a:gd name="T1" fmla="*/ 649 h 649"/>
                  <a:gd name="T2" fmla="*/ 2 w 648"/>
                  <a:gd name="T3" fmla="*/ 649 h 649"/>
                  <a:gd name="T4" fmla="*/ 648 w 648"/>
                  <a:gd name="T5" fmla="*/ 0 h 649"/>
                  <a:gd name="T6" fmla="*/ 423 w 648"/>
                  <a:gd name="T7" fmla="*/ 0 h 649"/>
                  <a:gd name="T8" fmla="*/ 0 w 648"/>
                  <a:gd name="T9" fmla="*/ 649 h 649"/>
                </a:gdLst>
                <a:ahLst/>
                <a:cxnLst>
                  <a:cxn ang="0">
                    <a:pos x="T0" y="T1"/>
                  </a:cxn>
                  <a:cxn ang="0">
                    <a:pos x="T2" y="T3"/>
                  </a:cxn>
                  <a:cxn ang="0">
                    <a:pos x="T4" y="T5"/>
                  </a:cxn>
                  <a:cxn ang="0">
                    <a:pos x="T6" y="T7"/>
                  </a:cxn>
                  <a:cxn ang="0">
                    <a:pos x="T8" y="T9"/>
                  </a:cxn>
                </a:cxnLst>
                <a:rect l="0" t="0" r="r" b="b"/>
                <a:pathLst>
                  <a:path w="648" h="649">
                    <a:moveTo>
                      <a:pt x="0" y="649"/>
                    </a:moveTo>
                    <a:lnTo>
                      <a:pt x="2" y="649"/>
                    </a:lnTo>
                    <a:lnTo>
                      <a:pt x="648" y="0"/>
                    </a:lnTo>
                    <a:lnTo>
                      <a:pt x="423" y="0"/>
                    </a:lnTo>
                    <a:lnTo>
                      <a:pt x="0" y="64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28" name="Freeform 13">
                <a:extLst>
                  <a:ext uri="{FF2B5EF4-FFF2-40B4-BE49-F238E27FC236}">
                    <a16:creationId xmlns:a16="http://schemas.microsoft.com/office/drawing/2014/main" id="{46549898-6C52-B147-A8F6-A73FDBE6163B}"/>
                  </a:ext>
                </a:extLst>
              </p:cNvPr>
              <p:cNvSpPr>
                <a:spLocks/>
              </p:cNvSpPr>
              <p:nvPr/>
            </p:nvSpPr>
            <p:spPr bwMode="gray">
              <a:xfrm>
                <a:off x="4321" y="1029"/>
                <a:ext cx="648" cy="649"/>
              </a:xfrm>
              <a:custGeom>
                <a:avLst/>
                <a:gdLst>
                  <a:gd name="T0" fmla="*/ 0 w 648"/>
                  <a:gd name="T1" fmla="*/ 649 h 649"/>
                  <a:gd name="T2" fmla="*/ 2 w 648"/>
                  <a:gd name="T3" fmla="*/ 649 h 649"/>
                  <a:gd name="T4" fmla="*/ 648 w 648"/>
                  <a:gd name="T5" fmla="*/ 0 h 649"/>
                  <a:gd name="T6" fmla="*/ 423 w 648"/>
                  <a:gd name="T7" fmla="*/ 0 h 649"/>
                  <a:gd name="T8" fmla="*/ 0 w 648"/>
                  <a:gd name="T9" fmla="*/ 649 h 649"/>
                </a:gdLst>
                <a:ahLst/>
                <a:cxnLst>
                  <a:cxn ang="0">
                    <a:pos x="T0" y="T1"/>
                  </a:cxn>
                  <a:cxn ang="0">
                    <a:pos x="T2" y="T3"/>
                  </a:cxn>
                  <a:cxn ang="0">
                    <a:pos x="T4" y="T5"/>
                  </a:cxn>
                  <a:cxn ang="0">
                    <a:pos x="T6" y="T7"/>
                  </a:cxn>
                  <a:cxn ang="0">
                    <a:pos x="T8" y="T9"/>
                  </a:cxn>
                </a:cxnLst>
                <a:rect l="0" t="0" r="r" b="b"/>
                <a:pathLst>
                  <a:path w="648" h="649">
                    <a:moveTo>
                      <a:pt x="0" y="649"/>
                    </a:moveTo>
                    <a:lnTo>
                      <a:pt x="2" y="649"/>
                    </a:lnTo>
                    <a:lnTo>
                      <a:pt x="648" y="0"/>
                    </a:lnTo>
                    <a:lnTo>
                      <a:pt x="423" y="0"/>
                    </a:lnTo>
                    <a:lnTo>
                      <a:pt x="0" y="64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grpSp>
      </p:grpSp>
      <p:sp>
        <p:nvSpPr>
          <p:cNvPr id="7" name="Date Placeholder 6"/>
          <p:cNvSpPr>
            <a:spLocks noGrp="1"/>
          </p:cNvSpPr>
          <p:nvPr>
            <p:ph type="dt" sz="half" idx="10"/>
          </p:nvPr>
        </p:nvSpPr>
        <p:spPr>
          <a:xfrm>
            <a:off x="0" y="0"/>
            <a:ext cx="0" cy="0"/>
          </a:xfrm>
          <a:prstGeom prst="rect">
            <a:avLst/>
          </a:prstGeom>
        </p:spPr>
        <p:txBody>
          <a:bodyPr/>
          <a:lstStyle>
            <a:lvl1pPr>
              <a:defRPr sz="100">
                <a:noFill/>
              </a:defRPr>
            </a:lvl1pPr>
          </a:lstStyle>
          <a:p>
            <a:endParaRPr lang="en-US"/>
          </a:p>
        </p:txBody>
      </p:sp>
      <p:sp>
        <p:nvSpPr>
          <p:cNvPr id="8" name="Footer Placeholder 7"/>
          <p:cNvSpPr>
            <a:spLocks noGrp="1"/>
          </p:cNvSpPr>
          <p:nvPr>
            <p:ph type="ftr" sz="quarter" idx="11"/>
          </p:nvPr>
        </p:nvSpPr>
        <p:spPr>
          <a:xfrm>
            <a:off x="0" y="0"/>
            <a:ext cx="0" cy="0"/>
          </a:xfrm>
          <a:prstGeom prst="rect">
            <a:avLst/>
          </a:prstGeom>
        </p:spPr>
        <p:txBody>
          <a:bodyPr/>
          <a:lstStyle>
            <a:lvl1pPr marL="0" indent="0">
              <a:buNone/>
              <a:defRPr sz="100">
                <a:noFill/>
              </a:defRPr>
            </a:lvl1pPr>
          </a:lstStyle>
          <a:p>
            <a:endParaRPr lang="en-US"/>
          </a:p>
        </p:txBody>
      </p:sp>
      <p:sp>
        <p:nvSpPr>
          <p:cNvPr id="9" name="Slide Number Placeholder 8"/>
          <p:cNvSpPr>
            <a:spLocks noGrp="1"/>
          </p:cNvSpPr>
          <p:nvPr>
            <p:ph type="sldNum" sz="quarter" idx="12"/>
          </p:nvPr>
        </p:nvSpPr>
        <p:spPr>
          <a:xfrm>
            <a:off x="0" y="0"/>
            <a:ext cx="0" cy="0"/>
          </a:xfrm>
          <a:prstGeom prst="rect">
            <a:avLst/>
          </a:prstGeom>
        </p:spPr>
        <p:txBody>
          <a:bodyPr/>
          <a:lstStyle>
            <a:lvl1pPr>
              <a:defRPr sz="100">
                <a:noFill/>
              </a:defRPr>
            </a:lvl1pPr>
          </a:lstStyle>
          <a:p>
            <a:fld id="{8E3B25F7-8D1F-44B5-B485-EE3C438CFD7B}" type="slidenum">
              <a:rPr lang="en-US" smtClean="0"/>
              <a:pPr/>
              <a:t>‹#›</a:t>
            </a:fld>
            <a:endParaRPr lang="en-US"/>
          </a:p>
        </p:txBody>
      </p:sp>
      <p:sp>
        <p:nvSpPr>
          <p:cNvPr id="2" name="Title 1"/>
          <p:cNvSpPr>
            <a:spLocks noGrp="1"/>
          </p:cNvSpPr>
          <p:nvPr>
            <p:ph type="ctrTitle" hasCustomPrompt="1"/>
          </p:nvPr>
        </p:nvSpPr>
        <p:spPr>
          <a:xfrm>
            <a:off x="417600" y="1628775"/>
            <a:ext cx="3816000" cy="2236264"/>
          </a:xfrm>
        </p:spPr>
        <p:txBody>
          <a:bodyPr anchor="b"/>
          <a:lstStyle>
            <a:lvl1pPr algn="l">
              <a:defRPr sz="3600"/>
            </a:lvl1pPr>
          </a:lstStyle>
          <a:p>
            <a:r>
              <a:rPr lang="en-US"/>
              <a:t>Click to add presentation title</a:t>
            </a:r>
          </a:p>
        </p:txBody>
      </p:sp>
      <p:sp>
        <p:nvSpPr>
          <p:cNvPr id="3" name="Subtitle 2"/>
          <p:cNvSpPr>
            <a:spLocks noGrp="1"/>
          </p:cNvSpPr>
          <p:nvPr>
            <p:ph type="subTitle" idx="1" hasCustomPrompt="1"/>
          </p:nvPr>
        </p:nvSpPr>
        <p:spPr>
          <a:xfrm>
            <a:off x="417600" y="4094163"/>
            <a:ext cx="3816000" cy="1080000"/>
          </a:xfrm>
        </p:spPr>
        <p:txBody>
          <a:bodyPr/>
          <a:lstStyle>
            <a:lvl1pPr marL="0" indent="0" algn="l">
              <a:spcBef>
                <a:spcPts val="0"/>
              </a:spcBef>
              <a:buNone/>
              <a:defRPr sz="1800" b="1"/>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sp>
        <p:nvSpPr>
          <p:cNvPr id="31" name="Text Placeholder 30"/>
          <p:cNvSpPr>
            <a:spLocks noGrp="1"/>
          </p:cNvSpPr>
          <p:nvPr>
            <p:ph type="body" sz="quarter" idx="14" hasCustomPrompt="1"/>
          </p:nvPr>
        </p:nvSpPr>
        <p:spPr>
          <a:xfrm>
            <a:off x="417600" y="5393268"/>
            <a:ext cx="3816000" cy="296332"/>
          </a:xfrm>
        </p:spPr>
        <p:txBody>
          <a:bodyPr wrap="none"/>
          <a:lstStyle>
            <a:lvl1pPr marL="0" indent="0">
              <a:spcBef>
                <a:spcPts val="0"/>
              </a:spcBef>
              <a:buNone/>
              <a:defRPr sz="1200"/>
            </a:lvl1pPr>
            <a:lvl2pPr marL="0" indent="0">
              <a:buNone/>
              <a:defRPr sz="1200"/>
            </a:lvl2pPr>
            <a:lvl3pPr marL="0" indent="0">
              <a:buNone/>
              <a:defRPr sz="1200"/>
            </a:lvl3pPr>
            <a:lvl4pPr marL="0">
              <a:buNone/>
              <a:defRPr sz="1200"/>
            </a:lvl4pPr>
            <a:lvl5pPr marL="0" indent="0">
              <a:buNone/>
              <a:defRPr sz="1200"/>
            </a:lvl5pPr>
          </a:lstStyle>
          <a:p>
            <a:pPr lvl="0"/>
            <a:r>
              <a:rPr lang="en-US"/>
              <a:t>Name</a:t>
            </a:r>
          </a:p>
        </p:txBody>
      </p:sp>
      <p:sp>
        <p:nvSpPr>
          <p:cNvPr id="34" name="Text Placeholder 30"/>
          <p:cNvSpPr>
            <a:spLocks noGrp="1"/>
          </p:cNvSpPr>
          <p:nvPr>
            <p:ph type="body" sz="quarter" idx="15" hasCustomPrompt="1"/>
          </p:nvPr>
        </p:nvSpPr>
        <p:spPr>
          <a:xfrm>
            <a:off x="417600" y="5691446"/>
            <a:ext cx="3816000" cy="296332"/>
          </a:xfrm>
        </p:spPr>
        <p:txBody>
          <a:bodyPr wrap="none"/>
          <a:lstStyle>
            <a:lvl1pPr marL="0" indent="0">
              <a:spcBef>
                <a:spcPts val="0"/>
              </a:spcBef>
              <a:buNone/>
              <a:defRPr sz="1200"/>
            </a:lvl1pPr>
            <a:lvl2pPr marL="0" indent="0">
              <a:buNone/>
              <a:defRPr sz="1200"/>
            </a:lvl2pPr>
            <a:lvl3pPr marL="0" indent="0">
              <a:buNone/>
              <a:defRPr sz="1200"/>
            </a:lvl3pPr>
            <a:lvl4pPr marL="0">
              <a:buNone/>
              <a:defRPr sz="1200"/>
            </a:lvl4pPr>
            <a:lvl5pPr marL="0" indent="0">
              <a:buNone/>
              <a:defRPr sz="1200"/>
            </a:lvl5pPr>
          </a:lstStyle>
          <a:p>
            <a:pPr lvl="0"/>
            <a:r>
              <a:rPr lang="en-US"/>
              <a:t>Department</a:t>
            </a:r>
          </a:p>
        </p:txBody>
      </p:sp>
    </p:spTree>
    <p:extLst>
      <p:ext uri="{BB962C8B-B14F-4D97-AF65-F5344CB8AC3E}">
        <p14:creationId xmlns:p14="http://schemas.microsoft.com/office/powerpoint/2010/main" val="1503284612"/>
      </p:ext>
    </p:extLst>
  </p:cSld>
  <p:clrMapOvr>
    <a:masterClrMapping/>
  </p:clrMapOvr>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p:cSld name="Divider 1">
    <p:spTree>
      <p:nvGrpSpPr>
        <p:cNvPr id="1" name=""/>
        <p:cNvGrpSpPr/>
        <p:nvPr/>
      </p:nvGrpSpPr>
      <p:grpSpPr>
        <a:xfrm>
          <a:off x="0" y="0"/>
          <a:ext cx="0" cy="0"/>
          <a:chOff x="0" y="0"/>
          <a:chExt cx="0" cy="0"/>
        </a:xfrm>
      </p:grpSpPr>
      <p:sp>
        <p:nvSpPr>
          <p:cNvPr id="12" name="Picture Placeholder 11"/>
          <p:cNvSpPr>
            <a:spLocks noGrp="1"/>
          </p:cNvSpPr>
          <p:nvPr>
            <p:ph type="pic" sz="quarter" idx="17" hasCustomPrompt="1"/>
          </p:nvPr>
        </p:nvSpPr>
        <p:spPr>
          <a:xfrm>
            <a:off x="-1" y="0"/>
            <a:ext cx="8822478" cy="6858000"/>
          </a:xfrm>
          <a:custGeom>
            <a:avLst/>
            <a:gdLst>
              <a:gd name="connsiteX0" fmla="*/ 0 w 8822478"/>
              <a:gd name="connsiteY0" fmla="*/ 0 h 6858000"/>
              <a:gd name="connsiteX1" fmla="*/ 8477306 w 8822478"/>
              <a:gd name="connsiteY1" fmla="*/ 0 h 6858000"/>
              <a:gd name="connsiteX2" fmla="*/ 6998505 w 8822478"/>
              <a:gd name="connsiteY2" fmla="*/ 3834029 h 6858000"/>
              <a:gd name="connsiteX3" fmla="*/ 8822478 w 8822478"/>
              <a:gd name="connsiteY3" fmla="*/ 6858000 h 6858000"/>
              <a:gd name="connsiteX4" fmla="*/ 0 w 8822478"/>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22478" h="6858000">
                <a:moveTo>
                  <a:pt x="0" y="0"/>
                </a:moveTo>
                <a:lnTo>
                  <a:pt x="8477306" y="0"/>
                </a:lnTo>
                <a:lnTo>
                  <a:pt x="6998505" y="3834029"/>
                </a:lnTo>
                <a:lnTo>
                  <a:pt x="8822478" y="6858000"/>
                </a:lnTo>
                <a:lnTo>
                  <a:pt x="0" y="6858000"/>
                </a:lnTo>
                <a:close/>
              </a:path>
            </a:pathLst>
          </a:custGeom>
          <a:solidFill>
            <a:srgbClr val="D9DADB"/>
          </a:solidFill>
        </p:spPr>
        <p:txBody>
          <a:bodyPr wrap="square">
            <a:noAutofit/>
          </a:bodyPr>
          <a:lstStyle>
            <a:lvl1pPr marL="0" indent="0">
              <a:buNone/>
              <a:defRPr/>
            </a:lvl1pPr>
          </a:lstStyle>
          <a:p>
            <a:r>
              <a:rPr lang="en-US"/>
              <a:t>Insert picture</a:t>
            </a:r>
          </a:p>
        </p:txBody>
      </p:sp>
      <p:sp>
        <p:nvSpPr>
          <p:cNvPr id="21" name="Date Placeholder 20"/>
          <p:cNvSpPr>
            <a:spLocks noGrp="1"/>
          </p:cNvSpPr>
          <p:nvPr>
            <p:ph type="dt" sz="half" idx="14"/>
          </p:nvPr>
        </p:nvSpPr>
        <p:spPr/>
        <p:txBody>
          <a:bodyPr/>
          <a:lstStyle>
            <a:lvl1pPr>
              <a:defRPr>
                <a:solidFill>
                  <a:schemeClr val="bg1"/>
                </a:solidFill>
              </a:defRPr>
            </a:lvl1pPr>
          </a:lstStyle>
          <a:p>
            <a:endParaRPr lang="en-US"/>
          </a:p>
        </p:txBody>
      </p:sp>
      <p:sp>
        <p:nvSpPr>
          <p:cNvPr id="22" name="Footer Placeholder 21"/>
          <p:cNvSpPr>
            <a:spLocks noGrp="1"/>
          </p:cNvSpPr>
          <p:nvPr>
            <p:ph type="ftr" sz="quarter" idx="15"/>
          </p:nvPr>
        </p:nvSpPr>
        <p:spPr/>
        <p:txBody>
          <a:bodyPr/>
          <a:lstStyle>
            <a:lvl1pPr>
              <a:defRPr>
                <a:solidFill>
                  <a:schemeClr val="bg1"/>
                </a:solidFill>
              </a:defRPr>
            </a:lvl1pPr>
          </a:lstStyle>
          <a:p>
            <a:endParaRPr lang="en-US"/>
          </a:p>
        </p:txBody>
      </p:sp>
      <p:sp>
        <p:nvSpPr>
          <p:cNvPr id="23" name="Slide Number Placeholder 22"/>
          <p:cNvSpPr>
            <a:spLocks noGrp="1"/>
          </p:cNvSpPr>
          <p:nvPr>
            <p:ph type="sldNum" sz="quarter" idx="16"/>
          </p:nvPr>
        </p:nvSpPr>
        <p:spPr/>
        <p:txBody>
          <a:bodyPr/>
          <a:lstStyle>
            <a:lvl1pPr>
              <a:defRPr>
                <a:solidFill>
                  <a:schemeClr val="tx1"/>
                </a:solidFill>
              </a:defRPr>
            </a:lvl1pPr>
          </a:lstStyle>
          <a:p>
            <a:fld id="{5F3E29E4-0979-4FCA-B4C5-5FC6044C982A}" type="slidenum">
              <a:rPr lang="en-US" smtClean="0"/>
              <a:pPr/>
              <a:t>‹#›</a:t>
            </a:fld>
            <a:endParaRPr lang="en-US"/>
          </a:p>
        </p:txBody>
      </p:sp>
      <p:sp>
        <p:nvSpPr>
          <p:cNvPr id="2" name="Title 1"/>
          <p:cNvSpPr>
            <a:spLocks noGrp="1"/>
          </p:cNvSpPr>
          <p:nvPr>
            <p:ph type="title" hasCustomPrompt="1"/>
          </p:nvPr>
        </p:nvSpPr>
        <p:spPr>
          <a:xfrm>
            <a:off x="7737533" y="2908628"/>
            <a:ext cx="4082992" cy="2103640"/>
          </a:xfrm>
        </p:spPr>
        <p:txBody>
          <a:bodyPr/>
          <a:lstStyle>
            <a:lvl1pPr>
              <a:defRPr>
                <a:solidFill>
                  <a:schemeClr val="tx1"/>
                </a:solidFill>
              </a:defRPr>
            </a:lvl1pPr>
          </a:lstStyle>
          <a:p>
            <a:r>
              <a:rPr lang="en-US"/>
              <a:t>Click to add section title</a:t>
            </a:r>
          </a:p>
        </p:txBody>
      </p:sp>
    </p:spTree>
    <p:extLst>
      <p:ext uri="{BB962C8B-B14F-4D97-AF65-F5344CB8AC3E}">
        <p14:creationId xmlns:p14="http://schemas.microsoft.com/office/powerpoint/2010/main" val="2669373256"/>
      </p:ext>
    </p:extLst>
  </p:cSld>
  <p:clrMapOvr>
    <a:masterClrMapping/>
  </p:clrMapOvr>
</p:sldLayout>
</file>

<file path=ppt/slideLayouts/slideLayout336.xml><?xml version="1.0" encoding="utf-8"?>
<p:sldLayout xmlns:a="http://schemas.openxmlformats.org/drawingml/2006/main" xmlns:r="http://schemas.openxmlformats.org/officeDocument/2006/relationships" xmlns:p="http://schemas.openxmlformats.org/presentationml/2006/main" preserve="1">
  <p:cSld name="Divider 2">
    <p:spTree>
      <p:nvGrpSpPr>
        <p:cNvPr id="1" name=""/>
        <p:cNvGrpSpPr/>
        <p:nvPr/>
      </p:nvGrpSpPr>
      <p:grpSpPr>
        <a:xfrm>
          <a:off x="0" y="0"/>
          <a:ext cx="0" cy="0"/>
          <a:chOff x="0" y="0"/>
          <a:chExt cx="0" cy="0"/>
        </a:xfrm>
      </p:grpSpPr>
      <p:sp>
        <p:nvSpPr>
          <p:cNvPr id="4" name="shp2"/>
          <p:cNvSpPr/>
          <p:nvPr/>
        </p:nvSpPr>
        <p:spPr>
          <a:xfrm>
            <a:off x="0" y="0"/>
            <a:ext cx="121932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a:p>
        </p:txBody>
      </p:sp>
      <p:sp>
        <p:nvSpPr>
          <p:cNvPr id="21" name="Date Placeholder 20"/>
          <p:cNvSpPr>
            <a:spLocks noGrp="1"/>
          </p:cNvSpPr>
          <p:nvPr>
            <p:ph type="dt" sz="half" idx="14"/>
          </p:nvPr>
        </p:nvSpPr>
        <p:spPr bwMode="ltGray"/>
        <p:txBody>
          <a:bodyPr/>
          <a:lstStyle>
            <a:lvl1pPr>
              <a:defRPr>
                <a:solidFill>
                  <a:schemeClr val="bg1"/>
                </a:solidFill>
              </a:defRPr>
            </a:lvl1pPr>
          </a:lstStyle>
          <a:p>
            <a:endParaRPr lang="en-US"/>
          </a:p>
        </p:txBody>
      </p:sp>
      <p:sp>
        <p:nvSpPr>
          <p:cNvPr id="22" name="Footer Placeholder 21"/>
          <p:cNvSpPr>
            <a:spLocks noGrp="1"/>
          </p:cNvSpPr>
          <p:nvPr>
            <p:ph type="ftr" sz="quarter" idx="15"/>
          </p:nvPr>
        </p:nvSpPr>
        <p:spPr bwMode="ltGray"/>
        <p:txBody>
          <a:bodyPr/>
          <a:lstStyle>
            <a:lvl1pPr>
              <a:defRPr>
                <a:solidFill>
                  <a:schemeClr val="bg1"/>
                </a:solidFill>
              </a:defRPr>
            </a:lvl1pPr>
          </a:lstStyle>
          <a:p>
            <a:endParaRPr lang="en-US"/>
          </a:p>
        </p:txBody>
      </p:sp>
      <p:sp>
        <p:nvSpPr>
          <p:cNvPr id="23" name="Slide Number Placeholder 22"/>
          <p:cNvSpPr>
            <a:spLocks noGrp="1"/>
          </p:cNvSpPr>
          <p:nvPr>
            <p:ph type="sldNum" sz="quarter" idx="16"/>
          </p:nvPr>
        </p:nvSpPr>
        <p:spPr bwMode="ltGray"/>
        <p:txBody>
          <a:bodyPr/>
          <a:lstStyle>
            <a:lvl1pPr>
              <a:defRPr>
                <a:solidFill>
                  <a:schemeClr val="bg1"/>
                </a:solidFill>
              </a:defRPr>
            </a:lvl1pPr>
          </a:lstStyle>
          <a:p>
            <a:fld id="{5F3E29E4-0979-4FCA-B4C5-5FC6044C982A}" type="slidenum">
              <a:rPr lang="en-US" smtClean="0"/>
              <a:pPr/>
              <a:t>‹#›</a:t>
            </a:fld>
            <a:endParaRPr lang="en-US"/>
          </a:p>
        </p:txBody>
      </p:sp>
      <p:sp>
        <p:nvSpPr>
          <p:cNvPr id="8" name="copyright"/>
          <p:cNvSpPr txBox="1"/>
          <p:nvPr/>
        </p:nvSpPr>
        <p:spPr>
          <a:xfrm>
            <a:off x="10672209" y="6237288"/>
            <a:ext cx="500617" cy="358173"/>
          </a:xfrm>
          <a:prstGeom prst="rect">
            <a:avLst/>
          </a:prstGeom>
          <a:noFill/>
        </p:spPr>
        <p:txBody>
          <a:bodyPr wrap="none" lIns="0" tIns="0" rIns="0" bIns="0" rtlCol="0" anchor="b" anchorCtr="0">
            <a:noAutofit/>
          </a:bodyPr>
          <a:lstStyle/>
          <a:p>
            <a:pPr marL="0" indent="0" algn="r">
              <a:lnSpc>
                <a:spcPct val="125000"/>
              </a:lnSpc>
              <a:buClr>
                <a:schemeClr val="tx2"/>
              </a:buClr>
              <a:buFont typeface="Wingdings" panose="05000000000000000000" pitchFamily="2" charset="2"/>
              <a:buNone/>
            </a:pPr>
            <a:r>
              <a:rPr lang="en-US" sz="800">
                <a:solidFill>
                  <a:schemeClr val="bg1"/>
                </a:solidFill>
              </a:rPr>
              <a:t>© GfK</a:t>
            </a:r>
          </a:p>
        </p:txBody>
      </p:sp>
      <p:sp>
        <p:nvSpPr>
          <p:cNvPr id="2" name="Title 1"/>
          <p:cNvSpPr>
            <a:spLocks noGrp="1"/>
          </p:cNvSpPr>
          <p:nvPr>
            <p:ph type="title" hasCustomPrompt="1"/>
          </p:nvPr>
        </p:nvSpPr>
        <p:spPr bwMode="ltGray">
          <a:xfrm>
            <a:off x="1075062" y="1519552"/>
            <a:ext cx="10097763" cy="2273171"/>
          </a:xfrm>
        </p:spPr>
        <p:txBody>
          <a:bodyPr/>
          <a:lstStyle>
            <a:lvl1pPr>
              <a:defRPr>
                <a:solidFill>
                  <a:schemeClr val="bg1"/>
                </a:solidFill>
              </a:defRPr>
            </a:lvl1pPr>
          </a:lstStyle>
          <a:p>
            <a:r>
              <a:rPr lang="en-US"/>
              <a:t>Click to add section title</a:t>
            </a:r>
          </a:p>
        </p:txBody>
      </p:sp>
      <p:grpSp>
        <p:nvGrpSpPr>
          <p:cNvPr id="9" name="logo">
            <a:extLst>
              <a:ext uri="{FF2B5EF4-FFF2-40B4-BE49-F238E27FC236}">
                <a16:creationId xmlns:a16="http://schemas.microsoft.com/office/drawing/2014/main" id="{57BD2C4C-DC67-B843-B26C-309622FC75F7}"/>
              </a:ext>
            </a:extLst>
          </p:cNvPr>
          <p:cNvGrpSpPr>
            <a:grpSpLocks noChangeAspect="1"/>
          </p:cNvGrpSpPr>
          <p:nvPr/>
        </p:nvGrpSpPr>
        <p:grpSpPr bwMode="gray">
          <a:xfrm>
            <a:off x="11174018" y="401441"/>
            <a:ext cx="644225" cy="646507"/>
            <a:chOff x="2711" y="1027"/>
            <a:chExt cx="2258" cy="2266"/>
          </a:xfrm>
        </p:grpSpPr>
        <p:sp>
          <p:nvSpPr>
            <p:cNvPr id="11" name="AutoShape 3">
              <a:extLst>
                <a:ext uri="{FF2B5EF4-FFF2-40B4-BE49-F238E27FC236}">
                  <a16:creationId xmlns:a16="http://schemas.microsoft.com/office/drawing/2014/main" id="{FE1DC41B-291E-574C-9F2C-874E70A40758}"/>
                </a:ext>
              </a:extLst>
            </p:cNvPr>
            <p:cNvSpPr>
              <a:spLocks noChangeAspect="1" noChangeArrowheads="1" noTextEdit="1"/>
            </p:cNvSpPr>
            <p:nvPr/>
          </p:nvSpPr>
          <p:spPr bwMode="gray">
            <a:xfrm>
              <a:off x="2711" y="1027"/>
              <a:ext cx="2258" cy="22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12" name="Freeform 5">
              <a:extLst>
                <a:ext uri="{FF2B5EF4-FFF2-40B4-BE49-F238E27FC236}">
                  <a16:creationId xmlns:a16="http://schemas.microsoft.com/office/drawing/2014/main" id="{D4B633C8-F761-C54B-9BD2-EB59D49A2DBC}"/>
                </a:ext>
              </a:extLst>
            </p:cNvPr>
            <p:cNvSpPr>
              <a:spLocks/>
            </p:cNvSpPr>
            <p:nvPr/>
          </p:nvSpPr>
          <p:spPr bwMode="gray">
            <a:xfrm>
              <a:off x="2709" y="1029"/>
              <a:ext cx="2260" cy="2262"/>
            </a:xfrm>
            <a:custGeom>
              <a:avLst/>
              <a:gdLst>
                <a:gd name="T0" fmla="*/ 2260 w 2260"/>
                <a:gd name="T1" fmla="*/ 0 h 2262"/>
                <a:gd name="T2" fmla="*/ 1612 w 2260"/>
                <a:gd name="T3" fmla="*/ 649 h 2262"/>
                <a:gd name="T4" fmla="*/ 1612 w 2260"/>
                <a:gd name="T5" fmla="*/ 649 h 2262"/>
                <a:gd name="T6" fmla="*/ 2035 w 2260"/>
                <a:gd name="T7" fmla="*/ 0 h 2262"/>
                <a:gd name="T8" fmla="*/ 0 w 2260"/>
                <a:gd name="T9" fmla="*/ 0 h 2262"/>
                <a:gd name="T10" fmla="*/ 0 w 2260"/>
                <a:gd name="T11" fmla="*/ 2262 h 2262"/>
                <a:gd name="T12" fmla="*/ 2260 w 2260"/>
                <a:gd name="T13" fmla="*/ 2262 h 2262"/>
                <a:gd name="T14" fmla="*/ 2260 w 2260"/>
                <a:gd name="T15" fmla="*/ 0 h 2262"/>
                <a:gd name="T16" fmla="*/ 2260 w 2260"/>
                <a:gd name="T17" fmla="*/ 0 h 2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0" h="2262">
                  <a:moveTo>
                    <a:pt x="2260" y="0"/>
                  </a:moveTo>
                  <a:lnTo>
                    <a:pt x="1612" y="649"/>
                  </a:lnTo>
                  <a:lnTo>
                    <a:pt x="1612" y="649"/>
                  </a:lnTo>
                  <a:lnTo>
                    <a:pt x="2035" y="0"/>
                  </a:lnTo>
                  <a:lnTo>
                    <a:pt x="0" y="0"/>
                  </a:lnTo>
                  <a:lnTo>
                    <a:pt x="0" y="2262"/>
                  </a:lnTo>
                  <a:lnTo>
                    <a:pt x="2260" y="2262"/>
                  </a:lnTo>
                  <a:lnTo>
                    <a:pt x="2260" y="0"/>
                  </a:lnTo>
                  <a:lnTo>
                    <a:pt x="2260" y="0"/>
                  </a:lnTo>
                  <a:close/>
                </a:path>
              </a:pathLst>
            </a:custGeom>
            <a:solidFill>
              <a:srgbClr val="E55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13" name="Freeform 6">
              <a:extLst>
                <a:ext uri="{FF2B5EF4-FFF2-40B4-BE49-F238E27FC236}">
                  <a16:creationId xmlns:a16="http://schemas.microsoft.com/office/drawing/2014/main" id="{B16BAAE4-1A41-C843-9754-490F7A1E1270}"/>
                </a:ext>
              </a:extLst>
            </p:cNvPr>
            <p:cNvSpPr>
              <a:spLocks noEditPoints="1"/>
            </p:cNvSpPr>
            <p:nvPr/>
          </p:nvSpPr>
          <p:spPr bwMode="gray">
            <a:xfrm>
              <a:off x="3623" y="1696"/>
              <a:ext cx="1167" cy="922"/>
            </a:xfrm>
            <a:custGeom>
              <a:avLst/>
              <a:gdLst>
                <a:gd name="T0" fmla="*/ 411 w 580"/>
                <a:gd name="T1" fmla="*/ 213 h 458"/>
                <a:gd name="T2" fmla="*/ 570 w 580"/>
                <a:gd name="T3" fmla="*/ 37 h 458"/>
                <a:gd name="T4" fmla="*/ 580 w 580"/>
                <a:gd name="T5" fmla="*/ 20 h 458"/>
                <a:gd name="T6" fmla="*/ 545 w 580"/>
                <a:gd name="T7" fmla="*/ 0 h 458"/>
                <a:gd name="T8" fmla="*/ 519 w 580"/>
                <a:gd name="T9" fmla="*/ 16 h 458"/>
                <a:gd name="T10" fmla="*/ 344 w 580"/>
                <a:gd name="T11" fmla="*/ 210 h 458"/>
                <a:gd name="T12" fmla="*/ 334 w 580"/>
                <a:gd name="T13" fmla="*/ 229 h 458"/>
                <a:gd name="T14" fmla="*/ 344 w 580"/>
                <a:gd name="T15" fmla="*/ 248 h 458"/>
                <a:gd name="T16" fmla="*/ 519 w 580"/>
                <a:gd name="T17" fmla="*/ 442 h 458"/>
                <a:gd name="T18" fmla="*/ 545 w 580"/>
                <a:gd name="T19" fmla="*/ 458 h 458"/>
                <a:gd name="T20" fmla="*/ 580 w 580"/>
                <a:gd name="T21" fmla="*/ 438 h 458"/>
                <a:gd name="T22" fmla="*/ 570 w 580"/>
                <a:gd name="T23" fmla="*/ 421 h 458"/>
                <a:gd name="T24" fmla="*/ 411 w 580"/>
                <a:gd name="T25" fmla="*/ 245 h 458"/>
                <a:gd name="T26" fmla="*/ 399 w 580"/>
                <a:gd name="T27" fmla="*/ 229 h 458"/>
                <a:gd name="T28" fmla="*/ 411 w 580"/>
                <a:gd name="T29" fmla="*/ 213 h 458"/>
                <a:gd name="T30" fmla="*/ 252 w 580"/>
                <a:gd name="T31" fmla="*/ 439 h 458"/>
                <a:gd name="T32" fmla="*/ 281 w 580"/>
                <a:gd name="T33" fmla="*/ 454 h 458"/>
                <a:gd name="T34" fmla="*/ 309 w 580"/>
                <a:gd name="T35" fmla="*/ 439 h 458"/>
                <a:gd name="T36" fmla="*/ 309 w 580"/>
                <a:gd name="T37" fmla="*/ 19 h 458"/>
                <a:gd name="T38" fmla="*/ 281 w 580"/>
                <a:gd name="T39" fmla="*/ 4 h 458"/>
                <a:gd name="T40" fmla="*/ 252 w 580"/>
                <a:gd name="T41" fmla="*/ 19 h 458"/>
                <a:gd name="T42" fmla="*/ 252 w 580"/>
                <a:gd name="T43" fmla="*/ 439 h 458"/>
                <a:gd name="T44" fmla="*/ 0 w 580"/>
                <a:gd name="T45" fmla="*/ 439 h 458"/>
                <a:gd name="T46" fmla="*/ 28 w 580"/>
                <a:gd name="T47" fmla="*/ 454 h 458"/>
                <a:gd name="T48" fmla="*/ 56 w 580"/>
                <a:gd name="T49" fmla="*/ 439 h 458"/>
                <a:gd name="T50" fmla="*/ 56 w 580"/>
                <a:gd name="T51" fmla="*/ 157 h 458"/>
                <a:gd name="T52" fmla="*/ 165 w 580"/>
                <a:gd name="T53" fmla="*/ 53 h 458"/>
                <a:gd name="T54" fmla="*/ 180 w 580"/>
                <a:gd name="T55" fmla="*/ 53 h 458"/>
                <a:gd name="T56" fmla="*/ 196 w 580"/>
                <a:gd name="T57" fmla="*/ 27 h 458"/>
                <a:gd name="T58" fmla="*/ 154 w 580"/>
                <a:gd name="T59" fmla="*/ 4 h 458"/>
                <a:gd name="T60" fmla="*/ 0 w 580"/>
                <a:gd name="T61" fmla="*/ 152 h 458"/>
                <a:gd name="T62" fmla="*/ 0 w 580"/>
                <a:gd name="T63" fmla="*/ 439 h 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80" h="458">
                  <a:moveTo>
                    <a:pt x="411" y="213"/>
                  </a:moveTo>
                  <a:cubicBezTo>
                    <a:pt x="570" y="37"/>
                    <a:pt x="570" y="37"/>
                    <a:pt x="570" y="37"/>
                  </a:cubicBezTo>
                  <a:cubicBezTo>
                    <a:pt x="576" y="30"/>
                    <a:pt x="580" y="25"/>
                    <a:pt x="580" y="20"/>
                  </a:cubicBezTo>
                  <a:cubicBezTo>
                    <a:pt x="580" y="10"/>
                    <a:pt x="559" y="0"/>
                    <a:pt x="545" y="0"/>
                  </a:cubicBezTo>
                  <a:cubicBezTo>
                    <a:pt x="535" y="0"/>
                    <a:pt x="526" y="8"/>
                    <a:pt x="519" y="16"/>
                  </a:cubicBezTo>
                  <a:cubicBezTo>
                    <a:pt x="344" y="210"/>
                    <a:pt x="344" y="210"/>
                    <a:pt x="344" y="210"/>
                  </a:cubicBezTo>
                  <a:cubicBezTo>
                    <a:pt x="336" y="219"/>
                    <a:pt x="334" y="224"/>
                    <a:pt x="334" y="229"/>
                  </a:cubicBezTo>
                  <a:cubicBezTo>
                    <a:pt x="334" y="234"/>
                    <a:pt x="336" y="239"/>
                    <a:pt x="344" y="248"/>
                  </a:cubicBezTo>
                  <a:cubicBezTo>
                    <a:pt x="519" y="442"/>
                    <a:pt x="519" y="442"/>
                    <a:pt x="519" y="442"/>
                  </a:cubicBezTo>
                  <a:cubicBezTo>
                    <a:pt x="526" y="450"/>
                    <a:pt x="535" y="458"/>
                    <a:pt x="545" y="458"/>
                  </a:cubicBezTo>
                  <a:cubicBezTo>
                    <a:pt x="559" y="458"/>
                    <a:pt x="580" y="448"/>
                    <a:pt x="580" y="438"/>
                  </a:cubicBezTo>
                  <a:cubicBezTo>
                    <a:pt x="580" y="433"/>
                    <a:pt x="576" y="428"/>
                    <a:pt x="570" y="421"/>
                  </a:cubicBezTo>
                  <a:cubicBezTo>
                    <a:pt x="411" y="245"/>
                    <a:pt x="411" y="245"/>
                    <a:pt x="411" y="245"/>
                  </a:cubicBezTo>
                  <a:cubicBezTo>
                    <a:pt x="403" y="236"/>
                    <a:pt x="399" y="232"/>
                    <a:pt x="399" y="229"/>
                  </a:cubicBezTo>
                  <a:cubicBezTo>
                    <a:pt x="399" y="226"/>
                    <a:pt x="403" y="222"/>
                    <a:pt x="411" y="213"/>
                  </a:cubicBezTo>
                  <a:moveTo>
                    <a:pt x="252" y="439"/>
                  </a:moveTo>
                  <a:cubicBezTo>
                    <a:pt x="252" y="449"/>
                    <a:pt x="261" y="454"/>
                    <a:pt x="281" y="454"/>
                  </a:cubicBezTo>
                  <a:cubicBezTo>
                    <a:pt x="300" y="454"/>
                    <a:pt x="309" y="449"/>
                    <a:pt x="309" y="439"/>
                  </a:cubicBezTo>
                  <a:cubicBezTo>
                    <a:pt x="309" y="19"/>
                    <a:pt x="309" y="19"/>
                    <a:pt x="309" y="19"/>
                  </a:cubicBezTo>
                  <a:cubicBezTo>
                    <a:pt x="309" y="9"/>
                    <a:pt x="300" y="4"/>
                    <a:pt x="281" y="4"/>
                  </a:cubicBezTo>
                  <a:cubicBezTo>
                    <a:pt x="261" y="4"/>
                    <a:pt x="252" y="9"/>
                    <a:pt x="252" y="19"/>
                  </a:cubicBezTo>
                  <a:lnTo>
                    <a:pt x="252" y="439"/>
                  </a:lnTo>
                  <a:close/>
                  <a:moveTo>
                    <a:pt x="0" y="439"/>
                  </a:moveTo>
                  <a:cubicBezTo>
                    <a:pt x="0" y="449"/>
                    <a:pt x="8" y="454"/>
                    <a:pt x="28" y="454"/>
                  </a:cubicBezTo>
                  <a:cubicBezTo>
                    <a:pt x="48" y="454"/>
                    <a:pt x="56" y="449"/>
                    <a:pt x="56" y="439"/>
                  </a:cubicBezTo>
                  <a:cubicBezTo>
                    <a:pt x="56" y="157"/>
                    <a:pt x="56" y="157"/>
                    <a:pt x="56" y="157"/>
                  </a:cubicBezTo>
                  <a:cubicBezTo>
                    <a:pt x="56" y="83"/>
                    <a:pt x="85" y="53"/>
                    <a:pt x="165" y="53"/>
                  </a:cubicBezTo>
                  <a:cubicBezTo>
                    <a:pt x="180" y="53"/>
                    <a:pt x="180" y="53"/>
                    <a:pt x="180" y="53"/>
                  </a:cubicBezTo>
                  <a:cubicBezTo>
                    <a:pt x="192" y="53"/>
                    <a:pt x="196" y="43"/>
                    <a:pt x="196" y="27"/>
                  </a:cubicBezTo>
                  <a:cubicBezTo>
                    <a:pt x="196" y="8"/>
                    <a:pt x="185" y="4"/>
                    <a:pt x="154" y="4"/>
                  </a:cubicBezTo>
                  <a:cubicBezTo>
                    <a:pt x="64" y="4"/>
                    <a:pt x="0" y="43"/>
                    <a:pt x="0" y="152"/>
                  </a:cubicBezTo>
                  <a:lnTo>
                    <a:pt x="0" y="43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14" name="Freeform 7">
              <a:extLst>
                <a:ext uri="{FF2B5EF4-FFF2-40B4-BE49-F238E27FC236}">
                  <a16:creationId xmlns:a16="http://schemas.microsoft.com/office/drawing/2014/main" id="{2F32DCBD-8628-F245-85CD-97686A20ECFD}"/>
                </a:ext>
              </a:extLst>
            </p:cNvPr>
            <p:cNvSpPr>
              <a:spLocks/>
            </p:cNvSpPr>
            <p:nvPr/>
          </p:nvSpPr>
          <p:spPr bwMode="gray">
            <a:xfrm>
              <a:off x="2880" y="1704"/>
              <a:ext cx="618" cy="916"/>
            </a:xfrm>
            <a:custGeom>
              <a:avLst/>
              <a:gdLst>
                <a:gd name="T0" fmla="*/ 307 w 307"/>
                <a:gd name="T1" fmla="*/ 405 h 455"/>
                <a:gd name="T2" fmla="*/ 307 w 307"/>
                <a:gd name="T3" fmla="*/ 244 h 455"/>
                <a:gd name="T4" fmla="*/ 279 w 307"/>
                <a:gd name="T5" fmla="*/ 229 h 455"/>
                <a:gd name="T6" fmla="*/ 250 w 307"/>
                <a:gd name="T7" fmla="*/ 244 h 455"/>
                <a:gd name="T8" fmla="*/ 250 w 307"/>
                <a:gd name="T9" fmla="*/ 378 h 455"/>
                <a:gd name="T10" fmla="*/ 199 w 307"/>
                <a:gd name="T11" fmla="*/ 408 h 455"/>
                <a:gd name="T12" fmla="*/ 61 w 307"/>
                <a:gd name="T13" fmla="*/ 231 h 455"/>
                <a:gd name="T14" fmla="*/ 238 w 307"/>
                <a:gd name="T15" fmla="*/ 49 h 455"/>
                <a:gd name="T16" fmla="*/ 270 w 307"/>
                <a:gd name="T17" fmla="*/ 49 h 455"/>
                <a:gd name="T18" fmla="*/ 286 w 307"/>
                <a:gd name="T19" fmla="*/ 23 h 455"/>
                <a:gd name="T20" fmla="*/ 244 w 307"/>
                <a:gd name="T21" fmla="*/ 0 h 455"/>
                <a:gd name="T22" fmla="*/ 231 w 307"/>
                <a:gd name="T23" fmla="*/ 0 h 455"/>
                <a:gd name="T24" fmla="*/ 0 w 307"/>
                <a:gd name="T25" fmla="*/ 232 h 455"/>
                <a:gd name="T26" fmla="*/ 198 w 307"/>
                <a:gd name="T27" fmla="*/ 455 h 455"/>
                <a:gd name="T28" fmla="*/ 307 w 307"/>
                <a:gd name="T29" fmla="*/ 405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7" h="455">
                  <a:moveTo>
                    <a:pt x="307" y="405"/>
                  </a:moveTo>
                  <a:cubicBezTo>
                    <a:pt x="307" y="244"/>
                    <a:pt x="307" y="244"/>
                    <a:pt x="307" y="244"/>
                  </a:cubicBezTo>
                  <a:cubicBezTo>
                    <a:pt x="307" y="234"/>
                    <a:pt x="298" y="229"/>
                    <a:pt x="279" y="229"/>
                  </a:cubicBezTo>
                  <a:cubicBezTo>
                    <a:pt x="259" y="229"/>
                    <a:pt x="250" y="234"/>
                    <a:pt x="250" y="244"/>
                  </a:cubicBezTo>
                  <a:cubicBezTo>
                    <a:pt x="250" y="378"/>
                    <a:pt x="250" y="378"/>
                    <a:pt x="250" y="378"/>
                  </a:cubicBezTo>
                  <a:cubicBezTo>
                    <a:pt x="250" y="399"/>
                    <a:pt x="241" y="408"/>
                    <a:pt x="199" y="408"/>
                  </a:cubicBezTo>
                  <a:cubicBezTo>
                    <a:pt x="114" y="408"/>
                    <a:pt x="61" y="342"/>
                    <a:pt x="61" y="231"/>
                  </a:cubicBezTo>
                  <a:cubicBezTo>
                    <a:pt x="61" y="115"/>
                    <a:pt x="126" y="49"/>
                    <a:pt x="238" y="49"/>
                  </a:cubicBezTo>
                  <a:cubicBezTo>
                    <a:pt x="270" y="49"/>
                    <a:pt x="270" y="49"/>
                    <a:pt x="270" y="49"/>
                  </a:cubicBezTo>
                  <a:cubicBezTo>
                    <a:pt x="282" y="49"/>
                    <a:pt x="286" y="39"/>
                    <a:pt x="286" y="23"/>
                  </a:cubicBezTo>
                  <a:cubicBezTo>
                    <a:pt x="286" y="4"/>
                    <a:pt x="275" y="0"/>
                    <a:pt x="244" y="0"/>
                  </a:cubicBezTo>
                  <a:cubicBezTo>
                    <a:pt x="231" y="0"/>
                    <a:pt x="231" y="0"/>
                    <a:pt x="231" y="0"/>
                  </a:cubicBezTo>
                  <a:cubicBezTo>
                    <a:pt x="101" y="0"/>
                    <a:pt x="0" y="71"/>
                    <a:pt x="0" y="232"/>
                  </a:cubicBezTo>
                  <a:cubicBezTo>
                    <a:pt x="0" y="386"/>
                    <a:pt x="88" y="455"/>
                    <a:pt x="198" y="455"/>
                  </a:cubicBezTo>
                  <a:cubicBezTo>
                    <a:pt x="286" y="455"/>
                    <a:pt x="307" y="430"/>
                    <a:pt x="307" y="40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15" name="Oval 8">
              <a:extLst>
                <a:ext uri="{FF2B5EF4-FFF2-40B4-BE49-F238E27FC236}">
                  <a16:creationId xmlns:a16="http://schemas.microsoft.com/office/drawing/2014/main" id="{60D97C11-1A3B-5449-A48D-98A3E79B3810}"/>
                </a:ext>
              </a:extLst>
            </p:cNvPr>
            <p:cNvSpPr>
              <a:spLocks noChangeArrowheads="1"/>
            </p:cNvSpPr>
            <p:nvPr/>
          </p:nvSpPr>
          <p:spPr bwMode="gray">
            <a:xfrm>
              <a:off x="3778" y="2099"/>
              <a:ext cx="122" cy="12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16" name="Freeform 9">
              <a:extLst>
                <a:ext uri="{FF2B5EF4-FFF2-40B4-BE49-F238E27FC236}">
                  <a16:creationId xmlns:a16="http://schemas.microsoft.com/office/drawing/2014/main" id="{5856770D-B8F0-244E-A05D-AED190086F10}"/>
                </a:ext>
              </a:extLst>
            </p:cNvPr>
            <p:cNvSpPr>
              <a:spLocks noEditPoints="1"/>
            </p:cNvSpPr>
            <p:nvPr/>
          </p:nvSpPr>
          <p:spPr bwMode="gray">
            <a:xfrm>
              <a:off x="3623" y="1696"/>
              <a:ext cx="1167" cy="922"/>
            </a:xfrm>
            <a:custGeom>
              <a:avLst/>
              <a:gdLst>
                <a:gd name="T0" fmla="*/ 411 w 580"/>
                <a:gd name="T1" fmla="*/ 213 h 458"/>
                <a:gd name="T2" fmla="*/ 570 w 580"/>
                <a:gd name="T3" fmla="*/ 37 h 458"/>
                <a:gd name="T4" fmla="*/ 580 w 580"/>
                <a:gd name="T5" fmla="*/ 20 h 458"/>
                <a:gd name="T6" fmla="*/ 545 w 580"/>
                <a:gd name="T7" fmla="*/ 0 h 458"/>
                <a:gd name="T8" fmla="*/ 519 w 580"/>
                <a:gd name="T9" fmla="*/ 16 h 458"/>
                <a:gd name="T10" fmla="*/ 344 w 580"/>
                <a:gd name="T11" fmla="*/ 210 h 458"/>
                <a:gd name="T12" fmla="*/ 334 w 580"/>
                <a:gd name="T13" fmla="*/ 229 h 458"/>
                <a:gd name="T14" fmla="*/ 344 w 580"/>
                <a:gd name="T15" fmla="*/ 248 h 458"/>
                <a:gd name="T16" fmla="*/ 519 w 580"/>
                <a:gd name="T17" fmla="*/ 442 h 458"/>
                <a:gd name="T18" fmla="*/ 545 w 580"/>
                <a:gd name="T19" fmla="*/ 458 h 458"/>
                <a:gd name="T20" fmla="*/ 580 w 580"/>
                <a:gd name="T21" fmla="*/ 438 h 458"/>
                <a:gd name="T22" fmla="*/ 570 w 580"/>
                <a:gd name="T23" fmla="*/ 421 h 458"/>
                <a:gd name="T24" fmla="*/ 411 w 580"/>
                <a:gd name="T25" fmla="*/ 245 h 458"/>
                <a:gd name="T26" fmla="*/ 399 w 580"/>
                <a:gd name="T27" fmla="*/ 229 h 458"/>
                <a:gd name="T28" fmla="*/ 411 w 580"/>
                <a:gd name="T29" fmla="*/ 213 h 458"/>
                <a:gd name="T30" fmla="*/ 252 w 580"/>
                <a:gd name="T31" fmla="*/ 439 h 458"/>
                <a:gd name="T32" fmla="*/ 281 w 580"/>
                <a:gd name="T33" fmla="*/ 454 h 458"/>
                <a:gd name="T34" fmla="*/ 309 w 580"/>
                <a:gd name="T35" fmla="*/ 439 h 458"/>
                <a:gd name="T36" fmla="*/ 309 w 580"/>
                <a:gd name="T37" fmla="*/ 19 h 458"/>
                <a:gd name="T38" fmla="*/ 281 w 580"/>
                <a:gd name="T39" fmla="*/ 4 h 458"/>
                <a:gd name="T40" fmla="*/ 252 w 580"/>
                <a:gd name="T41" fmla="*/ 19 h 458"/>
                <a:gd name="T42" fmla="*/ 252 w 580"/>
                <a:gd name="T43" fmla="*/ 439 h 458"/>
                <a:gd name="T44" fmla="*/ 0 w 580"/>
                <a:gd name="T45" fmla="*/ 439 h 458"/>
                <a:gd name="T46" fmla="*/ 28 w 580"/>
                <a:gd name="T47" fmla="*/ 454 h 458"/>
                <a:gd name="T48" fmla="*/ 56 w 580"/>
                <a:gd name="T49" fmla="*/ 439 h 458"/>
                <a:gd name="T50" fmla="*/ 56 w 580"/>
                <a:gd name="T51" fmla="*/ 157 h 458"/>
                <a:gd name="T52" fmla="*/ 165 w 580"/>
                <a:gd name="T53" fmla="*/ 53 h 458"/>
                <a:gd name="T54" fmla="*/ 180 w 580"/>
                <a:gd name="T55" fmla="*/ 53 h 458"/>
                <a:gd name="T56" fmla="*/ 196 w 580"/>
                <a:gd name="T57" fmla="*/ 27 h 458"/>
                <a:gd name="T58" fmla="*/ 154 w 580"/>
                <a:gd name="T59" fmla="*/ 4 h 458"/>
                <a:gd name="T60" fmla="*/ 0 w 580"/>
                <a:gd name="T61" fmla="*/ 152 h 458"/>
                <a:gd name="T62" fmla="*/ 0 w 580"/>
                <a:gd name="T63" fmla="*/ 439 h 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80" h="458">
                  <a:moveTo>
                    <a:pt x="411" y="213"/>
                  </a:moveTo>
                  <a:cubicBezTo>
                    <a:pt x="570" y="37"/>
                    <a:pt x="570" y="37"/>
                    <a:pt x="570" y="37"/>
                  </a:cubicBezTo>
                  <a:cubicBezTo>
                    <a:pt x="576" y="30"/>
                    <a:pt x="580" y="25"/>
                    <a:pt x="580" y="20"/>
                  </a:cubicBezTo>
                  <a:cubicBezTo>
                    <a:pt x="580" y="10"/>
                    <a:pt x="559" y="0"/>
                    <a:pt x="545" y="0"/>
                  </a:cubicBezTo>
                  <a:cubicBezTo>
                    <a:pt x="535" y="0"/>
                    <a:pt x="526" y="8"/>
                    <a:pt x="519" y="16"/>
                  </a:cubicBezTo>
                  <a:cubicBezTo>
                    <a:pt x="344" y="210"/>
                    <a:pt x="344" y="210"/>
                    <a:pt x="344" y="210"/>
                  </a:cubicBezTo>
                  <a:cubicBezTo>
                    <a:pt x="336" y="219"/>
                    <a:pt x="334" y="224"/>
                    <a:pt x="334" y="229"/>
                  </a:cubicBezTo>
                  <a:cubicBezTo>
                    <a:pt x="334" y="234"/>
                    <a:pt x="336" y="239"/>
                    <a:pt x="344" y="248"/>
                  </a:cubicBezTo>
                  <a:cubicBezTo>
                    <a:pt x="519" y="442"/>
                    <a:pt x="519" y="442"/>
                    <a:pt x="519" y="442"/>
                  </a:cubicBezTo>
                  <a:cubicBezTo>
                    <a:pt x="526" y="450"/>
                    <a:pt x="535" y="458"/>
                    <a:pt x="545" y="458"/>
                  </a:cubicBezTo>
                  <a:cubicBezTo>
                    <a:pt x="559" y="458"/>
                    <a:pt x="580" y="448"/>
                    <a:pt x="580" y="438"/>
                  </a:cubicBezTo>
                  <a:cubicBezTo>
                    <a:pt x="580" y="433"/>
                    <a:pt x="576" y="428"/>
                    <a:pt x="570" y="421"/>
                  </a:cubicBezTo>
                  <a:cubicBezTo>
                    <a:pt x="411" y="245"/>
                    <a:pt x="411" y="245"/>
                    <a:pt x="411" y="245"/>
                  </a:cubicBezTo>
                  <a:cubicBezTo>
                    <a:pt x="403" y="236"/>
                    <a:pt x="399" y="232"/>
                    <a:pt x="399" y="229"/>
                  </a:cubicBezTo>
                  <a:cubicBezTo>
                    <a:pt x="399" y="226"/>
                    <a:pt x="403" y="222"/>
                    <a:pt x="411" y="213"/>
                  </a:cubicBezTo>
                  <a:moveTo>
                    <a:pt x="252" y="439"/>
                  </a:moveTo>
                  <a:cubicBezTo>
                    <a:pt x="252" y="449"/>
                    <a:pt x="261" y="454"/>
                    <a:pt x="281" y="454"/>
                  </a:cubicBezTo>
                  <a:cubicBezTo>
                    <a:pt x="300" y="454"/>
                    <a:pt x="309" y="449"/>
                    <a:pt x="309" y="439"/>
                  </a:cubicBezTo>
                  <a:cubicBezTo>
                    <a:pt x="309" y="19"/>
                    <a:pt x="309" y="19"/>
                    <a:pt x="309" y="19"/>
                  </a:cubicBezTo>
                  <a:cubicBezTo>
                    <a:pt x="309" y="9"/>
                    <a:pt x="300" y="4"/>
                    <a:pt x="281" y="4"/>
                  </a:cubicBezTo>
                  <a:cubicBezTo>
                    <a:pt x="261" y="4"/>
                    <a:pt x="252" y="9"/>
                    <a:pt x="252" y="19"/>
                  </a:cubicBezTo>
                  <a:lnTo>
                    <a:pt x="252" y="439"/>
                  </a:lnTo>
                  <a:close/>
                  <a:moveTo>
                    <a:pt x="0" y="439"/>
                  </a:moveTo>
                  <a:cubicBezTo>
                    <a:pt x="0" y="449"/>
                    <a:pt x="8" y="454"/>
                    <a:pt x="28" y="454"/>
                  </a:cubicBezTo>
                  <a:cubicBezTo>
                    <a:pt x="48" y="454"/>
                    <a:pt x="56" y="449"/>
                    <a:pt x="56" y="439"/>
                  </a:cubicBezTo>
                  <a:cubicBezTo>
                    <a:pt x="56" y="157"/>
                    <a:pt x="56" y="157"/>
                    <a:pt x="56" y="157"/>
                  </a:cubicBezTo>
                  <a:cubicBezTo>
                    <a:pt x="56" y="83"/>
                    <a:pt x="85" y="53"/>
                    <a:pt x="165" y="53"/>
                  </a:cubicBezTo>
                  <a:cubicBezTo>
                    <a:pt x="180" y="53"/>
                    <a:pt x="180" y="53"/>
                    <a:pt x="180" y="53"/>
                  </a:cubicBezTo>
                  <a:cubicBezTo>
                    <a:pt x="192" y="53"/>
                    <a:pt x="196" y="43"/>
                    <a:pt x="196" y="27"/>
                  </a:cubicBezTo>
                  <a:cubicBezTo>
                    <a:pt x="196" y="8"/>
                    <a:pt x="185" y="4"/>
                    <a:pt x="154" y="4"/>
                  </a:cubicBezTo>
                  <a:cubicBezTo>
                    <a:pt x="64" y="4"/>
                    <a:pt x="0" y="43"/>
                    <a:pt x="0" y="152"/>
                  </a:cubicBezTo>
                  <a:lnTo>
                    <a:pt x="0" y="43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17" name="Freeform 10">
              <a:extLst>
                <a:ext uri="{FF2B5EF4-FFF2-40B4-BE49-F238E27FC236}">
                  <a16:creationId xmlns:a16="http://schemas.microsoft.com/office/drawing/2014/main" id="{2B91B16B-BC11-E547-8FAC-B9B8D18EA449}"/>
                </a:ext>
              </a:extLst>
            </p:cNvPr>
            <p:cNvSpPr>
              <a:spLocks/>
            </p:cNvSpPr>
            <p:nvPr/>
          </p:nvSpPr>
          <p:spPr bwMode="gray">
            <a:xfrm>
              <a:off x="2880" y="1704"/>
              <a:ext cx="618" cy="916"/>
            </a:xfrm>
            <a:custGeom>
              <a:avLst/>
              <a:gdLst>
                <a:gd name="T0" fmla="*/ 307 w 307"/>
                <a:gd name="T1" fmla="*/ 405 h 455"/>
                <a:gd name="T2" fmla="*/ 307 w 307"/>
                <a:gd name="T3" fmla="*/ 244 h 455"/>
                <a:gd name="T4" fmla="*/ 279 w 307"/>
                <a:gd name="T5" fmla="*/ 229 h 455"/>
                <a:gd name="T6" fmla="*/ 250 w 307"/>
                <a:gd name="T7" fmla="*/ 244 h 455"/>
                <a:gd name="T8" fmla="*/ 250 w 307"/>
                <a:gd name="T9" fmla="*/ 378 h 455"/>
                <a:gd name="T10" fmla="*/ 199 w 307"/>
                <a:gd name="T11" fmla="*/ 408 h 455"/>
                <a:gd name="T12" fmla="*/ 61 w 307"/>
                <a:gd name="T13" fmla="*/ 231 h 455"/>
                <a:gd name="T14" fmla="*/ 238 w 307"/>
                <a:gd name="T15" fmla="*/ 49 h 455"/>
                <a:gd name="T16" fmla="*/ 270 w 307"/>
                <a:gd name="T17" fmla="*/ 49 h 455"/>
                <a:gd name="T18" fmla="*/ 286 w 307"/>
                <a:gd name="T19" fmla="*/ 23 h 455"/>
                <a:gd name="T20" fmla="*/ 244 w 307"/>
                <a:gd name="T21" fmla="*/ 0 h 455"/>
                <a:gd name="T22" fmla="*/ 231 w 307"/>
                <a:gd name="T23" fmla="*/ 0 h 455"/>
                <a:gd name="T24" fmla="*/ 0 w 307"/>
                <a:gd name="T25" fmla="*/ 232 h 455"/>
                <a:gd name="T26" fmla="*/ 198 w 307"/>
                <a:gd name="T27" fmla="*/ 455 h 455"/>
                <a:gd name="T28" fmla="*/ 307 w 307"/>
                <a:gd name="T29" fmla="*/ 405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7" h="455">
                  <a:moveTo>
                    <a:pt x="307" y="405"/>
                  </a:moveTo>
                  <a:cubicBezTo>
                    <a:pt x="307" y="244"/>
                    <a:pt x="307" y="244"/>
                    <a:pt x="307" y="244"/>
                  </a:cubicBezTo>
                  <a:cubicBezTo>
                    <a:pt x="307" y="234"/>
                    <a:pt x="298" y="229"/>
                    <a:pt x="279" y="229"/>
                  </a:cubicBezTo>
                  <a:cubicBezTo>
                    <a:pt x="259" y="229"/>
                    <a:pt x="250" y="234"/>
                    <a:pt x="250" y="244"/>
                  </a:cubicBezTo>
                  <a:cubicBezTo>
                    <a:pt x="250" y="378"/>
                    <a:pt x="250" y="378"/>
                    <a:pt x="250" y="378"/>
                  </a:cubicBezTo>
                  <a:cubicBezTo>
                    <a:pt x="250" y="399"/>
                    <a:pt x="241" y="408"/>
                    <a:pt x="199" y="408"/>
                  </a:cubicBezTo>
                  <a:cubicBezTo>
                    <a:pt x="114" y="408"/>
                    <a:pt x="61" y="342"/>
                    <a:pt x="61" y="231"/>
                  </a:cubicBezTo>
                  <a:cubicBezTo>
                    <a:pt x="61" y="115"/>
                    <a:pt x="126" y="49"/>
                    <a:pt x="238" y="49"/>
                  </a:cubicBezTo>
                  <a:cubicBezTo>
                    <a:pt x="270" y="49"/>
                    <a:pt x="270" y="49"/>
                    <a:pt x="270" y="49"/>
                  </a:cubicBezTo>
                  <a:cubicBezTo>
                    <a:pt x="282" y="49"/>
                    <a:pt x="286" y="39"/>
                    <a:pt x="286" y="23"/>
                  </a:cubicBezTo>
                  <a:cubicBezTo>
                    <a:pt x="286" y="4"/>
                    <a:pt x="275" y="0"/>
                    <a:pt x="244" y="0"/>
                  </a:cubicBezTo>
                  <a:cubicBezTo>
                    <a:pt x="231" y="0"/>
                    <a:pt x="231" y="0"/>
                    <a:pt x="231" y="0"/>
                  </a:cubicBezTo>
                  <a:cubicBezTo>
                    <a:pt x="101" y="0"/>
                    <a:pt x="0" y="71"/>
                    <a:pt x="0" y="232"/>
                  </a:cubicBezTo>
                  <a:cubicBezTo>
                    <a:pt x="0" y="386"/>
                    <a:pt x="88" y="455"/>
                    <a:pt x="198" y="455"/>
                  </a:cubicBezTo>
                  <a:cubicBezTo>
                    <a:pt x="286" y="455"/>
                    <a:pt x="307" y="430"/>
                    <a:pt x="307" y="40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18" name="Oval 11">
              <a:extLst>
                <a:ext uri="{FF2B5EF4-FFF2-40B4-BE49-F238E27FC236}">
                  <a16:creationId xmlns:a16="http://schemas.microsoft.com/office/drawing/2014/main" id="{14F8C3C8-4888-7646-B9B4-64EB46A1DA23}"/>
                </a:ext>
              </a:extLst>
            </p:cNvPr>
            <p:cNvSpPr>
              <a:spLocks noChangeArrowheads="1"/>
            </p:cNvSpPr>
            <p:nvPr/>
          </p:nvSpPr>
          <p:spPr bwMode="gray">
            <a:xfrm>
              <a:off x="3778" y="2099"/>
              <a:ext cx="122" cy="12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19" name="Freeform 12">
              <a:extLst>
                <a:ext uri="{FF2B5EF4-FFF2-40B4-BE49-F238E27FC236}">
                  <a16:creationId xmlns:a16="http://schemas.microsoft.com/office/drawing/2014/main" id="{D79D01D1-4E3E-F34B-97D7-2D387E68746E}"/>
                </a:ext>
              </a:extLst>
            </p:cNvPr>
            <p:cNvSpPr>
              <a:spLocks/>
            </p:cNvSpPr>
            <p:nvPr/>
          </p:nvSpPr>
          <p:spPr bwMode="gray">
            <a:xfrm>
              <a:off x="4321" y="1029"/>
              <a:ext cx="648" cy="649"/>
            </a:xfrm>
            <a:custGeom>
              <a:avLst/>
              <a:gdLst>
                <a:gd name="T0" fmla="*/ 0 w 648"/>
                <a:gd name="T1" fmla="*/ 649 h 649"/>
                <a:gd name="T2" fmla="*/ 2 w 648"/>
                <a:gd name="T3" fmla="*/ 649 h 649"/>
                <a:gd name="T4" fmla="*/ 648 w 648"/>
                <a:gd name="T5" fmla="*/ 0 h 649"/>
                <a:gd name="T6" fmla="*/ 423 w 648"/>
                <a:gd name="T7" fmla="*/ 0 h 649"/>
                <a:gd name="T8" fmla="*/ 0 w 648"/>
                <a:gd name="T9" fmla="*/ 649 h 649"/>
              </a:gdLst>
              <a:ahLst/>
              <a:cxnLst>
                <a:cxn ang="0">
                  <a:pos x="T0" y="T1"/>
                </a:cxn>
                <a:cxn ang="0">
                  <a:pos x="T2" y="T3"/>
                </a:cxn>
                <a:cxn ang="0">
                  <a:pos x="T4" y="T5"/>
                </a:cxn>
                <a:cxn ang="0">
                  <a:pos x="T6" y="T7"/>
                </a:cxn>
                <a:cxn ang="0">
                  <a:pos x="T8" y="T9"/>
                </a:cxn>
              </a:cxnLst>
              <a:rect l="0" t="0" r="r" b="b"/>
              <a:pathLst>
                <a:path w="648" h="649">
                  <a:moveTo>
                    <a:pt x="0" y="649"/>
                  </a:moveTo>
                  <a:lnTo>
                    <a:pt x="2" y="649"/>
                  </a:lnTo>
                  <a:lnTo>
                    <a:pt x="648" y="0"/>
                  </a:lnTo>
                  <a:lnTo>
                    <a:pt x="423" y="0"/>
                  </a:lnTo>
                  <a:lnTo>
                    <a:pt x="0" y="64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20" name="Freeform 13">
              <a:extLst>
                <a:ext uri="{FF2B5EF4-FFF2-40B4-BE49-F238E27FC236}">
                  <a16:creationId xmlns:a16="http://schemas.microsoft.com/office/drawing/2014/main" id="{46549898-6C52-B147-A8F6-A73FDBE6163B}"/>
                </a:ext>
              </a:extLst>
            </p:cNvPr>
            <p:cNvSpPr>
              <a:spLocks/>
            </p:cNvSpPr>
            <p:nvPr/>
          </p:nvSpPr>
          <p:spPr bwMode="gray">
            <a:xfrm>
              <a:off x="4321" y="1029"/>
              <a:ext cx="648" cy="649"/>
            </a:xfrm>
            <a:custGeom>
              <a:avLst/>
              <a:gdLst>
                <a:gd name="T0" fmla="*/ 0 w 648"/>
                <a:gd name="T1" fmla="*/ 649 h 649"/>
                <a:gd name="T2" fmla="*/ 2 w 648"/>
                <a:gd name="T3" fmla="*/ 649 h 649"/>
                <a:gd name="T4" fmla="*/ 648 w 648"/>
                <a:gd name="T5" fmla="*/ 0 h 649"/>
                <a:gd name="T6" fmla="*/ 423 w 648"/>
                <a:gd name="T7" fmla="*/ 0 h 649"/>
                <a:gd name="T8" fmla="*/ 0 w 648"/>
                <a:gd name="T9" fmla="*/ 649 h 649"/>
              </a:gdLst>
              <a:ahLst/>
              <a:cxnLst>
                <a:cxn ang="0">
                  <a:pos x="T0" y="T1"/>
                </a:cxn>
                <a:cxn ang="0">
                  <a:pos x="T2" y="T3"/>
                </a:cxn>
                <a:cxn ang="0">
                  <a:pos x="T4" y="T5"/>
                </a:cxn>
                <a:cxn ang="0">
                  <a:pos x="T6" y="T7"/>
                </a:cxn>
                <a:cxn ang="0">
                  <a:pos x="T8" y="T9"/>
                </a:cxn>
              </a:cxnLst>
              <a:rect l="0" t="0" r="r" b="b"/>
              <a:pathLst>
                <a:path w="648" h="649">
                  <a:moveTo>
                    <a:pt x="0" y="649"/>
                  </a:moveTo>
                  <a:lnTo>
                    <a:pt x="2" y="649"/>
                  </a:lnTo>
                  <a:lnTo>
                    <a:pt x="648" y="0"/>
                  </a:lnTo>
                  <a:lnTo>
                    <a:pt x="423" y="0"/>
                  </a:lnTo>
                  <a:lnTo>
                    <a:pt x="0" y="64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grpSp>
    </p:spTree>
    <p:extLst>
      <p:ext uri="{BB962C8B-B14F-4D97-AF65-F5344CB8AC3E}">
        <p14:creationId xmlns:p14="http://schemas.microsoft.com/office/powerpoint/2010/main" val="4155584506"/>
      </p:ext>
    </p:extLst>
  </p:cSld>
  <p:clrMapOvr>
    <a:masterClrMapping/>
  </p:clrMapOvr>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p:cSld name="Headline only">
    <p:spTree>
      <p:nvGrpSpPr>
        <p:cNvPr id="1" name=""/>
        <p:cNvGrpSpPr/>
        <p:nvPr/>
      </p:nvGrpSpPr>
      <p:grpSpPr>
        <a:xfrm>
          <a:off x="0" y="0"/>
          <a:ext cx="0" cy="0"/>
          <a:chOff x="0" y="0"/>
          <a:chExt cx="0" cy="0"/>
        </a:xfrm>
      </p:grpSpPr>
      <p:sp>
        <p:nvSpPr>
          <p:cNvPr id="21" name="Date Placeholder 20"/>
          <p:cNvSpPr>
            <a:spLocks noGrp="1"/>
          </p:cNvSpPr>
          <p:nvPr>
            <p:ph type="dt" sz="half" idx="14"/>
          </p:nvPr>
        </p:nvSpPr>
        <p:spPr/>
        <p:txBody>
          <a:bodyPr/>
          <a:lstStyle/>
          <a:p>
            <a:endParaRPr lang="en-US"/>
          </a:p>
        </p:txBody>
      </p:sp>
      <p:sp>
        <p:nvSpPr>
          <p:cNvPr id="22" name="Footer Placeholder 21"/>
          <p:cNvSpPr>
            <a:spLocks noGrp="1"/>
          </p:cNvSpPr>
          <p:nvPr>
            <p:ph type="ftr" sz="quarter" idx="15"/>
          </p:nvPr>
        </p:nvSpPr>
        <p:spPr/>
        <p:txBody>
          <a:bodyPr/>
          <a:lstStyle/>
          <a:p>
            <a:endParaRPr lang="en-US"/>
          </a:p>
        </p:txBody>
      </p:sp>
      <p:sp>
        <p:nvSpPr>
          <p:cNvPr id="23" name="Slide Number Placeholder 22"/>
          <p:cNvSpPr>
            <a:spLocks noGrp="1"/>
          </p:cNvSpPr>
          <p:nvPr>
            <p:ph type="sldNum" sz="quarter" idx="16"/>
          </p:nvPr>
        </p:nvSpPr>
        <p:spPr/>
        <p:txBody>
          <a:bodyPr/>
          <a:lstStyle/>
          <a:p>
            <a:fld id="{5F3E29E4-0979-4FCA-B4C5-5FC6044C982A}" type="slidenum">
              <a:rPr lang="en-US" smtClean="0"/>
              <a:t>‹#›</a:t>
            </a:fld>
            <a:endParaRPr lang="en-US"/>
          </a:p>
        </p:txBody>
      </p:sp>
      <p:sp>
        <p:nvSpPr>
          <p:cNvPr id="2" name="Title 1"/>
          <p:cNvSpPr>
            <a:spLocks noGrp="1"/>
          </p:cNvSpPr>
          <p:nvPr>
            <p:ph type="title" hasCustomPrompt="1"/>
          </p:nvPr>
        </p:nvSpPr>
        <p:spPr/>
        <p:txBody>
          <a:bodyPr/>
          <a:lstStyle>
            <a:lvl1pPr>
              <a:defRPr/>
            </a:lvl1pPr>
          </a:lstStyle>
          <a:p>
            <a:r>
              <a:rPr lang="en-US"/>
              <a:t>Click to add slide title</a:t>
            </a:r>
          </a:p>
        </p:txBody>
      </p:sp>
      <p:sp>
        <p:nvSpPr>
          <p:cNvPr id="7" name="Subtitle 2"/>
          <p:cNvSpPr>
            <a:spLocks noGrp="1"/>
          </p:cNvSpPr>
          <p:nvPr>
            <p:ph type="subTitle" idx="13" hasCustomPrompt="1"/>
          </p:nvPr>
        </p:nvSpPr>
        <p:spPr>
          <a:xfrm>
            <a:off x="1075061" y="964671"/>
            <a:ext cx="7910158" cy="490042"/>
          </a:xfrm>
        </p:spPr>
        <p:txBody>
          <a:bodyPr wrap="none"/>
          <a:lstStyle>
            <a:lvl1pPr marL="0" indent="0" algn="l">
              <a:spcBef>
                <a:spcPts val="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sp>
        <p:nvSpPr>
          <p:cNvPr id="9" name="Text Placeholder 4"/>
          <p:cNvSpPr>
            <a:spLocks noGrp="1"/>
          </p:cNvSpPr>
          <p:nvPr>
            <p:ph type="body" sz="quarter" idx="17" hasCustomPrompt="1"/>
          </p:nvPr>
        </p:nvSpPr>
        <p:spPr>
          <a:xfrm>
            <a:off x="1075063" y="6307665"/>
            <a:ext cx="8162717" cy="133200"/>
          </a:xfrm>
        </p:spPr>
        <p:txBody>
          <a:bodyPr lIns="0" tIns="0" rIns="0" bIns="0" anchor="b" anchorCtr="0"/>
          <a:lstStyle>
            <a:lvl1pPr marL="0" indent="0" algn="l">
              <a:lnSpc>
                <a:spcPct val="100000"/>
              </a:lnSpc>
              <a:spcBef>
                <a:spcPts val="0"/>
              </a:spcBef>
              <a:buNone/>
              <a:defRPr sz="800" baseline="0"/>
            </a:lvl1pPr>
            <a:lvl2pPr marL="0" indent="0" algn="l">
              <a:lnSpc>
                <a:spcPct val="100000"/>
              </a:lnSpc>
              <a:spcBef>
                <a:spcPts val="0"/>
              </a:spcBef>
              <a:buNone/>
              <a:defRPr sz="800"/>
            </a:lvl2pPr>
            <a:lvl3pPr marL="0" indent="0" algn="l">
              <a:lnSpc>
                <a:spcPct val="100000"/>
              </a:lnSpc>
              <a:spcBef>
                <a:spcPts val="0"/>
              </a:spcBef>
              <a:buNone/>
              <a:defRPr sz="800"/>
            </a:lvl3pPr>
            <a:lvl4pPr marL="0" algn="l">
              <a:lnSpc>
                <a:spcPct val="100000"/>
              </a:lnSpc>
              <a:spcBef>
                <a:spcPts val="0"/>
              </a:spcBef>
              <a:buNone/>
              <a:defRPr sz="800"/>
            </a:lvl4pPr>
            <a:lvl5pPr marL="0" indent="0" algn="l">
              <a:lnSpc>
                <a:spcPct val="100000"/>
              </a:lnSpc>
              <a:spcBef>
                <a:spcPts val="0"/>
              </a:spcBef>
              <a:buNone/>
              <a:defRPr sz="800"/>
            </a:lvl5pPr>
          </a:lstStyle>
          <a:p>
            <a:pPr lvl="0"/>
            <a:r>
              <a:rPr lang="en-US"/>
              <a:t>Source line</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49357125"/>
      </p:ext>
    </p:extLst>
  </p:cSld>
  <p:clrMapOvr>
    <a:masterClrMapping/>
  </p:clrMapOvr>
</p:sldLayout>
</file>

<file path=ppt/slideLayouts/slideLayout338.xml><?xml version="1.0" encoding="utf-8"?>
<p:sldLayout xmlns:a="http://schemas.openxmlformats.org/drawingml/2006/main" xmlns:r="http://schemas.openxmlformats.org/officeDocument/2006/relationships" xmlns:p="http://schemas.openxmlformats.org/presentationml/2006/main" preserve="1">
  <p:cSld name="One content">
    <p:spTree>
      <p:nvGrpSpPr>
        <p:cNvPr id="1" name=""/>
        <p:cNvGrpSpPr/>
        <p:nvPr/>
      </p:nvGrpSpPr>
      <p:grpSpPr>
        <a:xfrm>
          <a:off x="0" y="0"/>
          <a:ext cx="0" cy="0"/>
          <a:chOff x="0" y="0"/>
          <a:chExt cx="0" cy="0"/>
        </a:xfrm>
      </p:grpSpPr>
      <p:sp>
        <p:nvSpPr>
          <p:cNvPr id="21" name="Date Placeholder 20"/>
          <p:cNvSpPr>
            <a:spLocks noGrp="1"/>
          </p:cNvSpPr>
          <p:nvPr>
            <p:ph type="dt" sz="half" idx="14"/>
          </p:nvPr>
        </p:nvSpPr>
        <p:spPr/>
        <p:txBody>
          <a:bodyPr/>
          <a:lstStyle/>
          <a:p>
            <a:endParaRPr lang="en-US"/>
          </a:p>
        </p:txBody>
      </p:sp>
      <p:sp>
        <p:nvSpPr>
          <p:cNvPr id="22" name="Footer Placeholder 21"/>
          <p:cNvSpPr>
            <a:spLocks noGrp="1"/>
          </p:cNvSpPr>
          <p:nvPr>
            <p:ph type="ftr" sz="quarter" idx="15"/>
          </p:nvPr>
        </p:nvSpPr>
        <p:spPr/>
        <p:txBody>
          <a:bodyPr/>
          <a:lstStyle/>
          <a:p>
            <a:endParaRPr lang="en-US"/>
          </a:p>
        </p:txBody>
      </p:sp>
      <p:sp>
        <p:nvSpPr>
          <p:cNvPr id="23" name="Slide Number Placeholder 22"/>
          <p:cNvSpPr>
            <a:spLocks noGrp="1"/>
          </p:cNvSpPr>
          <p:nvPr>
            <p:ph type="sldNum" sz="quarter" idx="16"/>
          </p:nvPr>
        </p:nvSpPr>
        <p:spPr/>
        <p:txBody>
          <a:bodyPr/>
          <a:lstStyle/>
          <a:p>
            <a:fld id="{5F3E29E4-0979-4FCA-B4C5-5FC6044C982A}" type="slidenum">
              <a:rPr lang="en-US" smtClean="0"/>
              <a:t>‹#›</a:t>
            </a:fld>
            <a:endParaRPr lang="en-US"/>
          </a:p>
        </p:txBody>
      </p:sp>
      <p:sp>
        <p:nvSpPr>
          <p:cNvPr id="2" name="Title 1"/>
          <p:cNvSpPr>
            <a:spLocks noGrp="1"/>
          </p:cNvSpPr>
          <p:nvPr>
            <p:ph type="title" hasCustomPrompt="1"/>
          </p:nvPr>
        </p:nvSpPr>
        <p:spPr/>
        <p:txBody>
          <a:bodyPr/>
          <a:lstStyle>
            <a:lvl1pPr>
              <a:defRPr/>
            </a:lvl1pPr>
          </a:lstStyle>
          <a:p>
            <a:r>
              <a:rPr lang="en-US"/>
              <a:t>Click to add slide title</a:t>
            </a:r>
          </a:p>
        </p:txBody>
      </p:sp>
      <p:sp>
        <p:nvSpPr>
          <p:cNvPr id="7" name="Subtitle 2"/>
          <p:cNvSpPr>
            <a:spLocks noGrp="1"/>
          </p:cNvSpPr>
          <p:nvPr>
            <p:ph type="subTitle" idx="13" hasCustomPrompt="1"/>
          </p:nvPr>
        </p:nvSpPr>
        <p:spPr>
          <a:xfrm>
            <a:off x="1075061" y="964671"/>
            <a:ext cx="7910158" cy="490042"/>
          </a:xfrm>
        </p:spPr>
        <p:txBody>
          <a:bodyPr wrap="none"/>
          <a:lstStyle>
            <a:lvl1pPr marL="0" indent="0" algn="l">
              <a:spcBef>
                <a:spcPts val="0"/>
              </a:spcBef>
              <a:buNone/>
              <a:defRPr sz="2400" baseline="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sp>
        <p:nvSpPr>
          <p:cNvPr id="3" name="Content Placeholder 2"/>
          <p:cNvSpPr>
            <a:spLocks noGrp="1"/>
          </p:cNvSpPr>
          <p:nvPr>
            <p:ph idx="1" hasCustomPrompt="1"/>
          </p:nvPr>
        </p:nvSpPr>
        <p:spPr/>
        <p:txBody>
          <a:bodyPr/>
          <a:lstStyle>
            <a:lvl1pPr>
              <a:defRPr baseline="0"/>
            </a:lvl1pPr>
          </a:lstStyle>
          <a:p>
            <a:pPr lvl="0"/>
            <a:r>
              <a:rPr lang="en-US"/>
              <a:t>Click to add text or content</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17" hasCustomPrompt="1"/>
          </p:nvPr>
        </p:nvSpPr>
        <p:spPr>
          <a:xfrm>
            <a:off x="1075063" y="6307665"/>
            <a:ext cx="8162717" cy="133200"/>
          </a:xfrm>
        </p:spPr>
        <p:txBody>
          <a:bodyPr lIns="0" tIns="0" rIns="0" bIns="0" anchor="b" anchorCtr="0"/>
          <a:lstStyle>
            <a:lvl1pPr marL="0" indent="0" algn="l">
              <a:lnSpc>
                <a:spcPct val="100000"/>
              </a:lnSpc>
              <a:spcBef>
                <a:spcPts val="0"/>
              </a:spcBef>
              <a:buNone/>
              <a:defRPr sz="800" baseline="0"/>
            </a:lvl1pPr>
            <a:lvl2pPr marL="0" indent="0" algn="l">
              <a:lnSpc>
                <a:spcPct val="100000"/>
              </a:lnSpc>
              <a:spcBef>
                <a:spcPts val="0"/>
              </a:spcBef>
              <a:buNone/>
              <a:defRPr sz="800"/>
            </a:lvl2pPr>
            <a:lvl3pPr marL="0" indent="0" algn="l">
              <a:lnSpc>
                <a:spcPct val="100000"/>
              </a:lnSpc>
              <a:spcBef>
                <a:spcPts val="0"/>
              </a:spcBef>
              <a:buNone/>
              <a:defRPr sz="800"/>
            </a:lvl3pPr>
            <a:lvl4pPr marL="0" algn="l">
              <a:lnSpc>
                <a:spcPct val="100000"/>
              </a:lnSpc>
              <a:spcBef>
                <a:spcPts val="0"/>
              </a:spcBef>
              <a:buNone/>
              <a:defRPr sz="800"/>
            </a:lvl4pPr>
            <a:lvl5pPr marL="0" indent="0" algn="l">
              <a:lnSpc>
                <a:spcPct val="100000"/>
              </a:lnSpc>
              <a:spcBef>
                <a:spcPts val="0"/>
              </a:spcBef>
              <a:buNone/>
              <a:defRPr sz="800"/>
            </a:lvl5pPr>
          </a:lstStyle>
          <a:p>
            <a:pPr lvl="0"/>
            <a:r>
              <a:rPr lang="en-US"/>
              <a:t>Source line</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09295496"/>
      </p:ext>
    </p:extLst>
  </p:cSld>
  <p:clrMapOvr>
    <a:masterClrMapping/>
  </p:clrMapOvr>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p:cSld name="Content and picture">
    <p:spTree>
      <p:nvGrpSpPr>
        <p:cNvPr id="1" name=""/>
        <p:cNvGrpSpPr/>
        <p:nvPr/>
      </p:nvGrpSpPr>
      <p:grpSpPr>
        <a:xfrm>
          <a:off x="0" y="0"/>
          <a:ext cx="0" cy="0"/>
          <a:chOff x="0" y="0"/>
          <a:chExt cx="0" cy="0"/>
        </a:xfrm>
      </p:grpSpPr>
      <p:sp>
        <p:nvSpPr>
          <p:cNvPr id="21" name="Date Placeholder 20"/>
          <p:cNvSpPr>
            <a:spLocks noGrp="1"/>
          </p:cNvSpPr>
          <p:nvPr>
            <p:ph type="dt" sz="half" idx="14"/>
          </p:nvPr>
        </p:nvSpPr>
        <p:spPr/>
        <p:txBody>
          <a:bodyPr/>
          <a:lstStyle/>
          <a:p>
            <a:endParaRPr lang="en-US"/>
          </a:p>
        </p:txBody>
      </p:sp>
      <p:sp>
        <p:nvSpPr>
          <p:cNvPr id="22" name="Footer Placeholder 21"/>
          <p:cNvSpPr>
            <a:spLocks noGrp="1"/>
          </p:cNvSpPr>
          <p:nvPr>
            <p:ph type="ftr" sz="quarter" idx="15"/>
          </p:nvPr>
        </p:nvSpPr>
        <p:spPr/>
        <p:txBody>
          <a:bodyPr/>
          <a:lstStyle/>
          <a:p>
            <a:endParaRPr lang="en-US"/>
          </a:p>
        </p:txBody>
      </p:sp>
      <p:sp>
        <p:nvSpPr>
          <p:cNvPr id="23" name="Slide Number Placeholder 22"/>
          <p:cNvSpPr>
            <a:spLocks noGrp="1"/>
          </p:cNvSpPr>
          <p:nvPr>
            <p:ph type="sldNum" sz="quarter" idx="16"/>
          </p:nvPr>
        </p:nvSpPr>
        <p:spPr/>
        <p:txBody>
          <a:bodyPr/>
          <a:lstStyle/>
          <a:p>
            <a:fld id="{5F3E29E4-0979-4FCA-B4C5-5FC6044C982A}" type="slidenum">
              <a:rPr lang="en-US" smtClean="0"/>
              <a:t>‹#›</a:t>
            </a:fld>
            <a:endParaRPr lang="en-US"/>
          </a:p>
        </p:txBody>
      </p:sp>
      <p:sp>
        <p:nvSpPr>
          <p:cNvPr id="2" name="Title 1"/>
          <p:cNvSpPr>
            <a:spLocks noGrp="1"/>
          </p:cNvSpPr>
          <p:nvPr>
            <p:ph type="title" hasCustomPrompt="1"/>
          </p:nvPr>
        </p:nvSpPr>
        <p:spPr/>
        <p:txBody>
          <a:bodyPr/>
          <a:lstStyle>
            <a:lvl1pPr>
              <a:defRPr/>
            </a:lvl1pPr>
          </a:lstStyle>
          <a:p>
            <a:r>
              <a:rPr lang="en-US"/>
              <a:t>Click to add slide title</a:t>
            </a:r>
          </a:p>
        </p:txBody>
      </p:sp>
      <p:sp>
        <p:nvSpPr>
          <p:cNvPr id="7" name="Subtitle 2"/>
          <p:cNvSpPr>
            <a:spLocks noGrp="1"/>
          </p:cNvSpPr>
          <p:nvPr>
            <p:ph type="subTitle" idx="13" hasCustomPrompt="1"/>
          </p:nvPr>
        </p:nvSpPr>
        <p:spPr>
          <a:xfrm>
            <a:off x="1075061" y="964671"/>
            <a:ext cx="7910158" cy="490042"/>
          </a:xfrm>
        </p:spPr>
        <p:txBody>
          <a:bodyPr wrap="none"/>
          <a:lstStyle>
            <a:lvl1pPr marL="0" indent="0" algn="l">
              <a:spcBef>
                <a:spcPts val="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sp>
        <p:nvSpPr>
          <p:cNvPr id="3" name="Content Placeholder 2"/>
          <p:cNvSpPr>
            <a:spLocks noGrp="1"/>
          </p:cNvSpPr>
          <p:nvPr>
            <p:ph idx="1" hasCustomPrompt="1"/>
          </p:nvPr>
        </p:nvSpPr>
        <p:spPr>
          <a:xfrm>
            <a:off x="1075062" y="1629618"/>
            <a:ext cx="5220000" cy="4139357"/>
          </a:xfrm>
        </p:spPr>
        <p:txBody>
          <a:bodyPr/>
          <a:lstStyle>
            <a:lvl1pPr>
              <a:defRPr/>
            </a:lvl1pPr>
          </a:lstStyle>
          <a:p>
            <a:pPr lvl="0"/>
            <a:r>
              <a:rPr lang="en-US"/>
              <a:t>Click to add text or content</a:t>
            </a:r>
          </a:p>
          <a:p>
            <a:pPr lvl="1"/>
            <a:r>
              <a:rPr lang="en-US"/>
              <a:t>Second level</a:t>
            </a:r>
          </a:p>
          <a:p>
            <a:pPr lvl="2"/>
            <a:r>
              <a:rPr lang="en-US"/>
              <a:t>Third level</a:t>
            </a:r>
          </a:p>
          <a:p>
            <a:pPr lvl="3"/>
            <a:r>
              <a:rPr lang="en-US"/>
              <a:t>Fourth level</a:t>
            </a:r>
          </a:p>
          <a:p>
            <a:pPr lvl="4"/>
            <a:r>
              <a:rPr lang="en-US"/>
              <a:t>Fifth level</a:t>
            </a:r>
          </a:p>
        </p:txBody>
      </p:sp>
      <p:sp>
        <p:nvSpPr>
          <p:cNvPr id="5" name="Picture Placeholder 4"/>
          <p:cNvSpPr>
            <a:spLocks noGrp="1"/>
          </p:cNvSpPr>
          <p:nvPr>
            <p:ph type="pic" sz="quarter" idx="17" hasCustomPrompt="1"/>
          </p:nvPr>
        </p:nvSpPr>
        <p:spPr>
          <a:xfrm>
            <a:off x="6600525" y="1637783"/>
            <a:ext cx="5220000" cy="4599506"/>
          </a:xfrm>
          <a:solidFill>
            <a:srgbClr val="D9DADB"/>
          </a:solidFill>
        </p:spPr>
        <p:txBody>
          <a:bodyPr/>
          <a:lstStyle>
            <a:lvl1pPr marL="0" indent="0">
              <a:buNone/>
              <a:defRPr/>
            </a:lvl1pPr>
          </a:lstStyle>
          <a:p>
            <a:r>
              <a:rPr lang="en-US"/>
              <a:t>Insert picture</a:t>
            </a:r>
          </a:p>
        </p:txBody>
      </p:sp>
      <p:sp>
        <p:nvSpPr>
          <p:cNvPr id="10" name="Text Placeholder 4"/>
          <p:cNvSpPr>
            <a:spLocks noGrp="1"/>
          </p:cNvSpPr>
          <p:nvPr>
            <p:ph type="body" sz="quarter" idx="18" hasCustomPrompt="1"/>
          </p:nvPr>
        </p:nvSpPr>
        <p:spPr>
          <a:xfrm>
            <a:off x="1075063" y="6307665"/>
            <a:ext cx="8162717" cy="133200"/>
          </a:xfrm>
        </p:spPr>
        <p:txBody>
          <a:bodyPr lIns="0" tIns="0" rIns="0" bIns="0" anchor="b" anchorCtr="0"/>
          <a:lstStyle>
            <a:lvl1pPr marL="0" indent="0" algn="l">
              <a:lnSpc>
                <a:spcPct val="100000"/>
              </a:lnSpc>
              <a:spcBef>
                <a:spcPts val="0"/>
              </a:spcBef>
              <a:buNone/>
              <a:defRPr sz="800" baseline="0"/>
            </a:lvl1pPr>
            <a:lvl2pPr marL="0" indent="0" algn="l">
              <a:lnSpc>
                <a:spcPct val="100000"/>
              </a:lnSpc>
              <a:spcBef>
                <a:spcPts val="0"/>
              </a:spcBef>
              <a:buNone/>
              <a:defRPr sz="800"/>
            </a:lvl2pPr>
            <a:lvl3pPr marL="0" indent="0" algn="l">
              <a:lnSpc>
                <a:spcPct val="100000"/>
              </a:lnSpc>
              <a:spcBef>
                <a:spcPts val="0"/>
              </a:spcBef>
              <a:buNone/>
              <a:defRPr sz="800"/>
            </a:lvl3pPr>
            <a:lvl4pPr marL="0" algn="l">
              <a:lnSpc>
                <a:spcPct val="100000"/>
              </a:lnSpc>
              <a:spcBef>
                <a:spcPts val="0"/>
              </a:spcBef>
              <a:buNone/>
              <a:defRPr sz="800"/>
            </a:lvl4pPr>
            <a:lvl5pPr marL="0" indent="0" algn="l">
              <a:lnSpc>
                <a:spcPct val="100000"/>
              </a:lnSpc>
              <a:spcBef>
                <a:spcPts val="0"/>
              </a:spcBef>
              <a:buNone/>
              <a:defRPr sz="800"/>
            </a:lvl5pPr>
          </a:lstStyle>
          <a:p>
            <a:pPr lvl="0"/>
            <a:r>
              <a:rPr lang="en-US"/>
              <a:t>Source line</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5264533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Four contents (1)">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1075723690"/>
              </p:ext>
            </p:ext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spid="_x0000_s70726" name="think-cell Slide" r:id="rId4" imgW="353" imgH="353" progId="TCLayout.ActiveDocument.1">
                  <p:embed/>
                </p:oleObj>
              </mc:Choice>
              <mc:Fallback>
                <p:oleObj name="think-cell Slide" r:id="rId4" imgW="353" imgH="353" progId="TCLayout.ActiveDocument.1">
                  <p:embed/>
                  <p:pic>
                    <p:nvPicPr>
                      <p:cNvPr id="5" name="Object 4" hidden="1"/>
                      <p:cNvPicPr/>
                      <p:nvPr/>
                    </p:nvPicPr>
                    <p:blipFill>
                      <a:blip r:embed="rId5"/>
                      <a:stretch>
                        <a:fillRect/>
                      </a:stretch>
                    </p:blipFill>
                    <p:spPr>
                      <a:xfrm>
                        <a:off x="2118" y="2118"/>
                        <a:ext cx="2116" cy="2116"/>
                      </a:xfrm>
                      <a:prstGeom prst="rect">
                        <a:avLst/>
                      </a:prstGeom>
                    </p:spPr>
                  </p:pic>
                </p:oleObj>
              </mc:Fallback>
            </mc:AlternateContent>
          </a:graphicData>
        </a:graphic>
      </p:graphicFrame>
      <p:sp>
        <p:nvSpPr>
          <p:cNvPr id="4" name="Content Placeholder 3"/>
          <p:cNvSpPr>
            <a:spLocks noGrp="1"/>
          </p:cNvSpPr>
          <p:nvPr>
            <p:ph sz="quarter" idx="16" hasCustomPrompt="1"/>
          </p:nvPr>
        </p:nvSpPr>
        <p:spPr>
          <a:xfrm>
            <a:off x="431215" y="1700760"/>
            <a:ext cx="2688373" cy="4609024"/>
          </a:xfrm>
        </p:spPr>
        <p:txBody>
          <a:bodyPr/>
          <a:lstStyle/>
          <a:p>
            <a:pPr lvl="0"/>
            <a:r>
              <a:rPr lang="en-US" noProof="0"/>
              <a:t>Click to add tex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2" name="Content Placeholder 3"/>
          <p:cNvSpPr>
            <a:spLocks noGrp="1"/>
          </p:cNvSpPr>
          <p:nvPr>
            <p:ph sz="quarter" idx="17" hasCustomPrompt="1"/>
          </p:nvPr>
        </p:nvSpPr>
        <p:spPr>
          <a:xfrm>
            <a:off x="3311615" y="1700760"/>
            <a:ext cx="2688372" cy="4607984"/>
          </a:xfrm>
        </p:spPr>
        <p:txBody>
          <a:bodyPr/>
          <a:lstStyle/>
          <a:p>
            <a:pPr lvl="0"/>
            <a:r>
              <a:rPr lang="en-US" noProof="0"/>
              <a:t>Click to add tex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Content Placeholder 3"/>
          <p:cNvSpPr>
            <a:spLocks noGrp="1"/>
          </p:cNvSpPr>
          <p:nvPr>
            <p:ph sz="quarter" idx="18" hasCustomPrompt="1"/>
          </p:nvPr>
        </p:nvSpPr>
        <p:spPr>
          <a:xfrm>
            <a:off x="6192014" y="1700760"/>
            <a:ext cx="2688373" cy="4606944"/>
          </a:xfrm>
        </p:spPr>
        <p:txBody>
          <a:bodyPr/>
          <a:lstStyle/>
          <a:p>
            <a:pPr lvl="0"/>
            <a:r>
              <a:rPr lang="en-US" noProof="0"/>
              <a:t>Click to add tex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4" name="Content Placeholder 3"/>
          <p:cNvSpPr>
            <a:spLocks noGrp="1"/>
          </p:cNvSpPr>
          <p:nvPr>
            <p:ph sz="quarter" idx="19" hasCustomPrompt="1"/>
          </p:nvPr>
        </p:nvSpPr>
        <p:spPr>
          <a:xfrm>
            <a:off x="9072414" y="1700760"/>
            <a:ext cx="2688373" cy="4605904"/>
          </a:xfrm>
        </p:spPr>
        <p:txBody>
          <a:bodyPr/>
          <a:lstStyle/>
          <a:p>
            <a:pPr lvl="0"/>
            <a:r>
              <a:rPr lang="en-US" noProof="0"/>
              <a:t>Click to add tex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 name="Title 1"/>
          <p:cNvSpPr>
            <a:spLocks noGrp="1"/>
          </p:cNvSpPr>
          <p:nvPr>
            <p:ph type="title" hasCustomPrompt="1"/>
          </p:nvPr>
        </p:nvSpPr>
        <p:spPr bwMode="gray"/>
        <p:txBody>
          <a:bodyPr/>
          <a:lstStyle/>
          <a:p>
            <a:r>
              <a:rPr lang="en-US"/>
              <a:t>Click to add headline</a:t>
            </a:r>
          </a:p>
        </p:txBody>
      </p:sp>
      <p:sp>
        <p:nvSpPr>
          <p:cNvPr id="7" name="Textplatzhalter 2"/>
          <p:cNvSpPr>
            <a:spLocks noGrp="1"/>
          </p:cNvSpPr>
          <p:nvPr>
            <p:ph type="body" sz="quarter" idx="11" hasCustomPrompt="1"/>
          </p:nvPr>
        </p:nvSpPr>
        <p:spPr bwMode="gray">
          <a:xfrm>
            <a:off x="431213" y="1220755"/>
            <a:ext cx="11328987" cy="384340"/>
          </a:xfrm>
        </p:spPr>
        <p:txBody>
          <a:bodyPr>
            <a:noAutofit/>
          </a:bodyPr>
          <a:lstStyle>
            <a:lvl1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1pPr>
            <a:lvl2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2pPr>
            <a:lvl3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3pPr>
            <a:lvl4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4pPr>
            <a:lvl5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5pPr>
            <a:lvl6pPr marL="0" indent="0">
              <a:lnSpc>
                <a:spcPct val="100000"/>
              </a:lnSpc>
              <a:spcBef>
                <a:spcPts val="800"/>
              </a:spcBef>
              <a:buNone/>
              <a:defRPr lang="en-GB" sz="2400" kern="1200" noProof="0" smtClean="0">
                <a:solidFill>
                  <a:schemeClr val="tx2"/>
                </a:solidFill>
                <a:latin typeface="Arial" pitchFamily="34" charset="0"/>
                <a:ea typeface="+mn-ea"/>
                <a:cs typeface="Arial" pitchFamily="34" charset="0"/>
              </a:defRPr>
            </a:lvl6pPr>
            <a:lvl7pPr marL="0" indent="0">
              <a:lnSpc>
                <a:spcPct val="100000"/>
              </a:lnSpc>
              <a:spcBef>
                <a:spcPts val="800"/>
              </a:spcBef>
              <a:buNone/>
              <a:defRPr lang="en-GB" sz="2400" kern="1200" noProof="0" smtClean="0">
                <a:solidFill>
                  <a:schemeClr val="tx2"/>
                </a:solidFill>
                <a:latin typeface="Arial" pitchFamily="34" charset="0"/>
                <a:ea typeface="+mn-ea"/>
                <a:cs typeface="Arial" pitchFamily="34" charset="0"/>
              </a:defRPr>
            </a:lvl7pPr>
            <a:lvl8pPr marL="0" indent="0">
              <a:lnSpc>
                <a:spcPct val="100000"/>
              </a:lnSpc>
              <a:spcBef>
                <a:spcPts val="800"/>
              </a:spcBef>
              <a:buNone/>
              <a:defRPr lang="en-GB" sz="2400" kern="1200" noProof="0" smtClean="0">
                <a:solidFill>
                  <a:schemeClr val="tx2"/>
                </a:solidFill>
                <a:latin typeface="Arial" pitchFamily="34" charset="0"/>
                <a:ea typeface="+mn-ea"/>
                <a:cs typeface="Arial" pitchFamily="34" charset="0"/>
              </a:defRPr>
            </a:lvl8pPr>
            <a:lvl9pPr marL="0" indent="0">
              <a:lnSpc>
                <a:spcPct val="100000"/>
              </a:lnSpc>
              <a:spcBef>
                <a:spcPts val="800"/>
              </a:spcBef>
              <a:buNone/>
              <a:defRPr lang="de-DE" sz="2400" kern="1200" noProof="0" smtClean="0">
                <a:solidFill>
                  <a:schemeClr val="tx2"/>
                </a:solidFill>
                <a:latin typeface="Arial" pitchFamily="34" charset="0"/>
                <a:ea typeface="+mn-ea"/>
                <a:cs typeface="Arial" pitchFamily="34" charset="0"/>
              </a:defRPr>
            </a:lvl9pPr>
          </a:lstStyle>
          <a:p>
            <a:pPr lvl="0"/>
            <a:r>
              <a:rPr lang="en-US"/>
              <a:t>Click to add </a:t>
            </a:r>
            <a:r>
              <a:rPr lang="en-US" err="1"/>
              <a:t>subheadline</a:t>
            </a:r>
            <a:endParaRPr lang="en-US"/>
          </a:p>
        </p:txBody>
      </p:sp>
      <p:sp>
        <p:nvSpPr>
          <p:cNvPr id="8" name="Textplatzhalter 3"/>
          <p:cNvSpPr>
            <a:spLocks noGrp="1"/>
          </p:cNvSpPr>
          <p:nvPr>
            <p:ph type="body" sz="quarter" idx="12" hasCustomPrompt="1"/>
          </p:nvPr>
        </p:nvSpPr>
        <p:spPr bwMode="gray">
          <a:xfrm>
            <a:off x="431371" y="6404736"/>
            <a:ext cx="11328400" cy="192616"/>
          </a:xfrm>
        </p:spPr>
        <p:txBody>
          <a:bodyPr tIns="0" bIns="36000" anchor="b" anchorCtr="0">
            <a:noAutofit/>
          </a:bodyPr>
          <a:lstStyle>
            <a:lvl1pPr marL="0" marR="0" indent="0" algn="l" defTabSz="1219170" rtl="0" eaLnBrk="1" fontAlgn="auto" latinLnBrk="0" hangingPunct="1">
              <a:lnSpc>
                <a:spcPct val="100000"/>
              </a:lnSpc>
              <a:spcBef>
                <a:spcPts val="0"/>
              </a:spcBef>
              <a:spcAft>
                <a:spcPts val="0"/>
              </a:spcAft>
              <a:buClrTx/>
              <a:buSzTx/>
              <a:buFont typeface="Arial" pitchFamily="34" charset="0"/>
              <a:buNone/>
              <a:tabLst/>
              <a:defRPr lang="de-DE" sz="1067" kern="1200" baseline="0" noProof="0" smtClean="0">
                <a:solidFill>
                  <a:schemeClr val="bg2"/>
                </a:solidFill>
                <a:latin typeface="Arial" pitchFamily="34" charset="0"/>
                <a:ea typeface="+mn-ea"/>
                <a:cs typeface="Arial" pitchFamily="34" charset="0"/>
              </a:defRPr>
            </a:lvl1pPr>
            <a:lvl2pPr marL="0" indent="0">
              <a:lnSpc>
                <a:spcPct val="100000"/>
              </a:lnSpc>
              <a:spcBef>
                <a:spcPts val="0"/>
              </a:spcBef>
              <a:buFont typeface="Arial" panose="020B0604020202020204" pitchFamily="34" charset="0"/>
              <a:buNone/>
              <a:defRPr lang="de-DE" sz="1067" kern="1200" baseline="0" noProof="0" smtClean="0">
                <a:solidFill>
                  <a:schemeClr val="bg2"/>
                </a:solidFill>
                <a:latin typeface="Arial" pitchFamily="34" charset="0"/>
                <a:ea typeface="+mn-ea"/>
                <a:cs typeface="Arial" pitchFamily="34" charset="0"/>
              </a:defRPr>
            </a:lvl2pPr>
            <a:lvl3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3pPr>
            <a:lvl4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4pPr>
            <a:lvl5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5pPr>
            <a:lvl6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6pPr>
            <a:lvl7pPr marL="0" indent="0">
              <a:lnSpc>
                <a:spcPct val="100000"/>
              </a:lnSpc>
              <a:spcBef>
                <a:spcPts val="0"/>
              </a:spcBef>
              <a:buNone/>
              <a:defRPr lang="de-DE" sz="1067" kern="1200" baseline="0" noProof="0" dirty="0" smtClean="0">
                <a:solidFill>
                  <a:schemeClr val="bg2"/>
                </a:solidFill>
                <a:latin typeface="Arial" pitchFamily="34" charset="0"/>
                <a:ea typeface="+mn-ea"/>
                <a:cs typeface="Arial" pitchFamily="34" charset="0"/>
              </a:defRPr>
            </a:lvl7pPr>
            <a:lvl8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8pPr>
            <a:lvl9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9pPr>
          </a:lstStyle>
          <a:p>
            <a:pPr lvl="0"/>
            <a:r>
              <a:rPr lang="en-US"/>
              <a:t>Click to add source information</a:t>
            </a:r>
          </a:p>
        </p:txBody>
      </p:sp>
    </p:spTree>
    <p:extLst>
      <p:ext uri="{BB962C8B-B14F-4D97-AF65-F5344CB8AC3E}">
        <p14:creationId xmlns:p14="http://schemas.microsoft.com/office/powerpoint/2010/main" val="3076364435"/>
      </p:ext>
    </p:extLst>
  </p:cSld>
  <p:clrMapOvr>
    <a:masterClrMapping/>
  </p:clrMapOvr>
</p:sldLayout>
</file>

<file path=ppt/slideLayouts/slideLayout340.xml><?xml version="1.0" encoding="utf-8"?>
<p:sldLayout xmlns:a="http://schemas.openxmlformats.org/drawingml/2006/main" xmlns:r="http://schemas.openxmlformats.org/officeDocument/2006/relationships" xmlns:p="http://schemas.openxmlformats.org/presentationml/2006/main" preserve="1">
  <p:cSld name="Content with full picture">
    <p:spTree>
      <p:nvGrpSpPr>
        <p:cNvPr id="1" name=""/>
        <p:cNvGrpSpPr/>
        <p:nvPr/>
      </p:nvGrpSpPr>
      <p:grpSpPr>
        <a:xfrm>
          <a:off x="0" y="0"/>
          <a:ext cx="0" cy="0"/>
          <a:chOff x="0" y="0"/>
          <a:chExt cx="0" cy="0"/>
        </a:xfrm>
      </p:grpSpPr>
      <p:sp>
        <p:nvSpPr>
          <p:cNvPr id="12" name="Picture Placeholder 11"/>
          <p:cNvSpPr>
            <a:spLocks noGrp="1"/>
          </p:cNvSpPr>
          <p:nvPr>
            <p:ph type="pic" sz="quarter" idx="17" hasCustomPrompt="1"/>
          </p:nvPr>
        </p:nvSpPr>
        <p:spPr>
          <a:xfrm>
            <a:off x="0" y="0"/>
            <a:ext cx="12193200" cy="6858000"/>
          </a:xfrm>
          <a:prstGeom prst="rect">
            <a:avLst/>
          </a:prstGeom>
          <a:solidFill>
            <a:srgbClr val="D9DADB"/>
          </a:solidFill>
        </p:spPr>
        <p:txBody>
          <a:bodyPr wrap="square">
            <a:noAutofit/>
          </a:bodyPr>
          <a:lstStyle>
            <a:lvl1pPr marL="0" indent="0">
              <a:buNone/>
              <a:defRPr/>
            </a:lvl1pPr>
          </a:lstStyle>
          <a:p>
            <a:r>
              <a:rPr lang="en-US"/>
              <a:t>Insert picture</a:t>
            </a:r>
          </a:p>
        </p:txBody>
      </p:sp>
      <p:sp>
        <p:nvSpPr>
          <p:cNvPr id="9" name="copyright"/>
          <p:cNvSpPr txBox="1"/>
          <p:nvPr/>
        </p:nvSpPr>
        <p:spPr>
          <a:xfrm>
            <a:off x="10672209" y="6237288"/>
            <a:ext cx="500617" cy="358173"/>
          </a:xfrm>
          <a:prstGeom prst="rect">
            <a:avLst/>
          </a:prstGeom>
          <a:noFill/>
        </p:spPr>
        <p:txBody>
          <a:bodyPr wrap="none" lIns="0" tIns="0" rIns="0" bIns="0" rtlCol="0" anchor="b" anchorCtr="0">
            <a:noAutofit/>
          </a:bodyPr>
          <a:lstStyle/>
          <a:p>
            <a:pPr marL="0" indent="0" algn="r">
              <a:lnSpc>
                <a:spcPct val="125000"/>
              </a:lnSpc>
              <a:buClr>
                <a:schemeClr val="tx2"/>
              </a:buClr>
              <a:buFont typeface="Wingdings" panose="05000000000000000000" pitchFamily="2" charset="2"/>
              <a:buNone/>
            </a:pPr>
            <a:r>
              <a:rPr lang="en-US" sz="800">
                <a:solidFill>
                  <a:schemeClr val="bg1"/>
                </a:solidFill>
              </a:rPr>
              <a:t>© GfK</a:t>
            </a:r>
          </a:p>
        </p:txBody>
      </p:sp>
      <p:sp>
        <p:nvSpPr>
          <p:cNvPr id="21" name="Date Placeholder 20"/>
          <p:cNvSpPr>
            <a:spLocks noGrp="1"/>
          </p:cNvSpPr>
          <p:nvPr>
            <p:ph type="dt" sz="half" idx="14"/>
          </p:nvPr>
        </p:nvSpPr>
        <p:spPr/>
        <p:txBody>
          <a:bodyPr/>
          <a:lstStyle>
            <a:lvl1pPr>
              <a:defRPr>
                <a:solidFill>
                  <a:schemeClr val="bg1"/>
                </a:solidFill>
              </a:defRPr>
            </a:lvl1pPr>
          </a:lstStyle>
          <a:p>
            <a:endParaRPr lang="en-US"/>
          </a:p>
        </p:txBody>
      </p:sp>
      <p:sp>
        <p:nvSpPr>
          <p:cNvPr id="22" name="Footer Placeholder 21"/>
          <p:cNvSpPr>
            <a:spLocks noGrp="1"/>
          </p:cNvSpPr>
          <p:nvPr>
            <p:ph type="ftr" sz="quarter" idx="15"/>
          </p:nvPr>
        </p:nvSpPr>
        <p:spPr/>
        <p:txBody>
          <a:bodyPr/>
          <a:lstStyle>
            <a:lvl1pPr>
              <a:defRPr>
                <a:solidFill>
                  <a:schemeClr val="bg1"/>
                </a:solidFill>
              </a:defRPr>
            </a:lvl1pPr>
          </a:lstStyle>
          <a:p>
            <a:endParaRPr lang="en-US"/>
          </a:p>
        </p:txBody>
      </p:sp>
      <p:sp>
        <p:nvSpPr>
          <p:cNvPr id="23" name="Slide Number Placeholder 22"/>
          <p:cNvSpPr>
            <a:spLocks noGrp="1"/>
          </p:cNvSpPr>
          <p:nvPr>
            <p:ph type="sldNum" sz="quarter" idx="16"/>
          </p:nvPr>
        </p:nvSpPr>
        <p:spPr/>
        <p:txBody>
          <a:bodyPr/>
          <a:lstStyle>
            <a:lvl1pPr>
              <a:defRPr>
                <a:solidFill>
                  <a:schemeClr val="bg1"/>
                </a:solidFill>
              </a:defRPr>
            </a:lvl1pPr>
          </a:lstStyle>
          <a:p>
            <a:fld id="{5F3E29E4-0979-4FCA-B4C5-5FC6044C982A}" type="slidenum">
              <a:rPr lang="en-US" smtClean="0"/>
              <a:pPr/>
              <a:t>‹#›</a:t>
            </a:fld>
            <a:endParaRPr lang="en-US"/>
          </a:p>
        </p:txBody>
      </p:sp>
      <p:sp>
        <p:nvSpPr>
          <p:cNvPr id="2" name="Title 1"/>
          <p:cNvSpPr>
            <a:spLocks noGrp="1"/>
          </p:cNvSpPr>
          <p:nvPr>
            <p:ph type="title" hasCustomPrompt="1"/>
          </p:nvPr>
        </p:nvSpPr>
        <p:spPr>
          <a:xfrm>
            <a:off x="6543675" y="1519552"/>
            <a:ext cx="4629150" cy="4249423"/>
          </a:xfrm>
        </p:spPr>
        <p:txBody>
          <a:bodyPr/>
          <a:lstStyle>
            <a:lvl1pPr>
              <a:defRPr>
                <a:solidFill>
                  <a:schemeClr val="bg1"/>
                </a:solidFill>
              </a:defRPr>
            </a:lvl1pPr>
          </a:lstStyle>
          <a:p>
            <a:r>
              <a:rPr lang="en-US"/>
              <a:t>Click to add text</a:t>
            </a:r>
          </a:p>
        </p:txBody>
      </p:sp>
      <p:sp>
        <p:nvSpPr>
          <p:cNvPr id="8" name="Text Placeholder 4"/>
          <p:cNvSpPr>
            <a:spLocks noGrp="1"/>
          </p:cNvSpPr>
          <p:nvPr>
            <p:ph type="body" sz="quarter" idx="18" hasCustomPrompt="1"/>
          </p:nvPr>
        </p:nvSpPr>
        <p:spPr>
          <a:xfrm>
            <a:off x="1075063" y="6307665"/>
            <a:ext cx="8162717" cy="133200"/>
          </a:xfrm>
        </p:spPr>
        <p:txBody>
          <a:bodyPr lIns="0" tIns="0" rIns="0" bIns="0" anchor="b" anchorCtr="0"/>
          <a:lstStyle>
            <a:lvl1pPr marL="0" indent="0" algn="l">
              <a:lnSpc>
                <a:spcPct val="100000"/>
              </a:lnSpc>
              <a:spcBef>
                <a:spcPts val="0"/>
              </a:spcBef>
              <a:buNone/>
              <a:defRPr sz="800" baseline="0">
                <a:solidFill>
                  <a:schemeClr val="bg1"/>
                </a:solidFill>
              </a:defRPr>
            </a:lvl1pPr>
            <a:lvl2pPr marL="0" indent="0" algn="l">
              <a:lnSpc>
                <a:spcPct val="100000"/>
              </a:lnSpc>
              <a:spcBef>
                <a:spcPts val="0"/>
              </a:spcBef>
              <a:buNone/>
              <a:defRPr sz="800">
                <a:solidFill>
                  <a:schemeClr val="bg1"/>
                </a:solidFill>
              </a:defRPr>
            </a:lvl2pPr>
            <a:lvl3pPr marL="0" indent="0" algn="l">
              <a:lnSpc>
                <a:spcPct val="100000"/>
              </a:lnSpc>
              <a:spcBef>
                <a:spcPts val="0"/>
              </a:spcBef>
              <a:buNone/>
              <a:defRPr sz="800">
                <a:solidFill>
                  <a:schemeClr val="bg1"/>
                </a:solidFill>
              </a:defRPr>
            </a:lvl3pPr>
            <a:lvl4pPr marL="0" algn="l">
              <a:lnSpc>
                <a:spcPct val="100000"/>
              </a:lnSpc>
              <a:spcBef>
                <a:spcPts val="0"/>
              </a:spcBef>
              <a:buNone/>
              <a:defRPr sz="800">
                <a:solidFill>
                  <a:schemeClr val="bg1"/>
                </a:solidFill>
              </a:defRPr>
            </a:lvl4pPr>
            <a:lvl5pPr marL="0" indent="0" algn="l">
              <a:lnSpc>
                <a:spcPct val="100000"/>
              </a:lnSpc>
              <a:spcBef>
                <a:spcPts val="0"/>
              </a:spcBef>
              <a:buNone/>
              <a:defRPr sz="800">
                <a:solidFill>
                  <a:schemeClr val="bg1"/>
                </a:solidFill>
              </a:defRPr>
            </a:lvl5pPr>
          </a:lstStyle>
          <a:p>
            <a:pPr lvl="0"/>
            <a:r>
              <a:rPr lang="en-US"/>
              <a:t>Source line</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50318667"/>
      </p:ext>
    </p:extLst>
  </p:cSld>
  <p:clrMapOvr>
    <a:masterClrMapping/>
  </p:clrMapOvr>
</p:sldLayout>
</file>

<file path=ppt/slideLayouts/slideLayout341.xml><?xml version="1.0" encoding="utf-8"?>
<p:sldLayout xmlns:a="http://schemas.openxmlformats.org/drawingml/2006/main" xmlns:r="http://schemas.openxmlformats.org/officeDocument/2006/relationships" xmlns:p="http://schemas.openxmlformats.org/presentationml/2006/main" preserve="1">
  <p:cSld name="Two pictures">
    <p:spTree>
      <p:nvGrpSpPr>
        <p:cNvPr id="1" name=""/>
        <p:cNvGrpSpPr/>
        <p:nvPr/>
      </p:nvGrpSpPr>
      <p:grpSpPr>
        <a:xfrm>
          <a:off x="0" y="0"/>
          <a:ext cx="0" cy="0"/>
          <a:chOff x="0" y="0"/>
          <a:chExt cx="0" cy="0"/>
        </a:xfrm>
      </p:grpSpPr>
      <p:sp>
        <p:nvSpPr>
          <p:cNvPr id="21" name="Date Placeholder 20"/>
          <p:cNvSpPr>
            <a:spLocks noGrp="1"/>
          </p:cNvSpPr>
          <p:nvPr>
            <p:ph type="dt" sz="half" idx="14"/>
          </p:nvPr>
        </p:nvSpPr>
        <p:spPr/>
        <p:txBody>
          <a:bodyPr/>
          <a:lstStyle/>
          <a:p>
            <a:endParaRPr lang="en-US"/>
          </a:p>
        </p:txBody>
      </p:sp>
      <p:sp>
        <p:nvSpPr>
          <p:cNvPr id="22" name="Footer Placeholder 21"/>
          <p:cNvSpPr>
            <a:spLocks noGrp="1"/>
          </p:cNvSpPr>
          <p:nvPr>
            <p:ph type="ftr" sz="quarter" idx="15"/>
          </p:nvPr>
        </p:nvSpPr>
        <p:spPr/>
        <p:txBody>
          <a:bodyPr/>
          <a:lstStyle/>
          <a:p>
            <a:endParaRPr lang="en-US"/>
          </a:p>
        </p:txBody>
      </p:sp>
      <p:sp>
        <p:nvSpPr>
          <p:cNvPr id="23" name="Slide Number Placeholder 22"/>
          <p:cNvSpPr>
            <a:spLocks noGrp="1"/>
          </p:cNvSpPr>
          <p:nvPr>
            <p:ph type="sldNum" sz="quarter" idx="16"/>
          </p:nvPr>
        </p:nvSpPr>
        <p:spPr/>
        <p:txBody>
          <a:bodyPr/>
          <a:lstStyle/>
          <a:p>
            <a:fld id="{5F3E29E4-0979-4FCA-B4C5-5FC6044C982A}" type="slidenum">
              <a:rPr lang="en-US" smtClean="0"/>
              <a:t>‹#›</a:t>
            </a:fld>
            <a:endParaRPr lang="en-US"/>
          </a:p>
        </p:txBody>
      </p:sp>
      <p:sp>
        <p:nvSpPr>
          <p:cNvPr id="2" name="Title 1"/>
          <p:cNvSpPr>
            <a:spLocks noGrp="1"/>
          </p:cNvSpPr>
          <p:nvPr>
            <p:ph type="title" hasCustomPrompt="1"/>
          </p:nvPr>
        </p:nvSpPr>
        <p:spPr/>
        <p:txBody>
          <a:bodyPr/>
          <a:lstStyle>
            <a:lvl1pPr>
              <a:defRPr/>
            </a:lvl1pPr>
          </a:lstStyle>
          <a:p>
            <a:r>
              <a:rPr lang="en-US"/>
              <a:t>Click to add slide title</a:t>
            </a:r>
          </a:p>
        </p:txBody>
      </p:sp>
      <p:sp>
        <p:nvSpPr>
          <p:cNvPr id="7" name="Subtitle 2"/>
          <p:cNvSpPr>
            <a:spLocks noGrp="1"/>
          </p:cNvSpPr>
          <p:nvPr>
            <p:ph type="subTitle" idx="13" hasCustomPrompt="1"/>
          </p:nvPr>
        </p:nvSpPr>
        <p:spPr>
          <a:xfrm>
            <a:off x="1075061" y="964671"/>
            <a:ext cx="7910158" cy="490042"/>
          </a:xfrm>
        </p:spPr>
        <p:txBody>
          <a:bodyPr wrap="none"/>
          <a:lstStyle>
            <a:lvl1pPr marL="0" indent="0" algn="l">
              <a:spcBef>
                <a:spcPts val="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sp>
        <p:nvSpPr>
          <p:cNvPr id="5" name="Picture Placeholder 4"/>
          <p:cNvSpPr>
            <a:spLocks noGrp="1"/>
          </p:cNvSpPr>
          <p:nvPr>
            <p:ph type="pic" sz="quarter" idx="17" hasCustomPrompt="1"/>
          </p:nvPr>
        </p:nvSpPr>
        <p:spPr>
          <a:xfrm>
            <a:off x="1075062" y="1637783"/>
            <a:ext cx="5220000" cy="4599506"/>
          </a:xfrm>
          <a:solidFill>
            <a:srgbClr val="D9DADB"/>
          </a:solidFill>
        </p:spPr>
        <p:txBody>
          <a:bodyPr/>
          <a:lstStyle>
            <a:lvl1pPr marL="0" indent="0">
              <a:buNone/>
              <a:defRPr/>
            </a:lvl1pPr>
          </a:lstStyle>
          <a:p>
            <a:r>
              <a:rPr lang="en-US"/>
              <a:t>Insert picture</a:t>
            </a:r>
          </a:p>
        </p:txBody>
      </p:sp>
      <p:sp>
        <p:nvSpPr>
          <p:cNvPr id="9" name="Picture Placeholder 4"/>
          <p:cNvSpPr>
            <a:spLocks noGrp="1"/>
          </p:cNvSpPr>
          <p:nvPr>
            <p:ph type="pic" sz="quarter" idx="18" hasCustomPrompt="1"/>
          </p:nvPr>
        </p:nvSpPr>
        <p:spPr>
          <a:xfrm>
            <a:off x="6600525" y="1637783"/>
            <a:ext cx="5220000" cy="4599506"/>
          </a:xfrm>
          <a:solidFill>
            <a:srgbClr val="D9DADB"/>
          </a:solidFill>
        </p:spPr>
        <p:txBody>
          <a:bodyPr/>
          <a:lstStyle>
            <a:lvl1pPr marL="0" indent="0">
              <a:buNone/>
              <a:defRPr/>
            </a:lvl1pPr>
          </a:lstStyle>
          <a:p>
            <a:r>
              <a:rPr lang="en-US"/>
              <a:t>Insert picture</a:t>
            </a:r>
          </a:p>
        </p:txBody>
      </p:sp>
      <p:sp>
        <p:nvSpPr>
          <p:cNvPr id="11" name="Text Placeholder 4"/>
          <p:cNvSpPr>
            <a:spLocks noGrp="1"/>
          </p:cNvSpPr>
          <p:nvPr>
            <p:ph type="body" sz="quarter" idx="19" hasCustomPrompt="1"/>
          </p:nvPr>
        </p:nvSpPr>
        <p:spPr>
          <a:xfrm>
            <a:off x="1075063" y="6307665"/>
            <a:ext cx="8162717" cy="133200"/>
          </a:xfrm>
        </p:spPr>
        <p:txBody>
          <a:bodyPr lIns="0" tIns="0" rIns="0" bIns="0" anchor="b" anchorCtr="0"/>
          <a:lstStyle>
            <a:lvl1pPr marL="0" indent="0" algn="l">
              <a:lnSpc>
                <a:spcPct val="100000"/>
              </a:lnSpc>
              <a:spcBef>
                <a:spcPts val="0"/>
              </a:spcBef>
              <a:buNone/>
              <a:defRPr sz="800" baseline="0"/>
            </a:lvl1pPr>
            <a:lvl2pPr marL="0" indent="0" algn="l">
              <a:lnSpc>
                <a:spcPct val="100000"/>
              </a:lnSpc>
              <a:spcBef>
                <a:spcPts val="0"/>
              </a:spcBef>
              <a:buNone/>
              <a:defRPr sz="800"/>
            </a:lvl2pPr>
            <a:lvl3pPr marL="0" indent="0" algn="l">
              <a:lnSpc>
                <a:spcPct val="100000"/>
              </a:lnSpc>
              <a:spcBef>
                <a:spcPts val="0"/>
              </a:spcBef>
              <a:buNone/>
              <a:defRPr sz="800"/>
            </a:lvl3pPr>
            <a:lvl4pPr marL="0" algn="l">
              <a:lnSpc>
                <a:spcPct val="100000"/>
              </a:lnSpc>
              <a:spcBef>
                <a:spcPts val="0"/>
              </a:spcBef>
              <a:buNone/>
              <a:defRPr sz="800"/>
            </a:lvl4pPr>
            <a:lvl5pPr marL="0" indent="0" algn="l">
              <a:lnSpc>
                <a:spcPct val="100000"/>
              </a:lnSpc>
              <a:spcBef>
                <a:spcPts val="0"/>
              </a:spcBef>
              <a:buNone/>
              <a:defRPr sz="800"/>
            </a:lvl5pPr>
          </a:lstStyle>
          <a:p>
            <a:pPr lvl="0"/>
            <a:r>
              <a:rPr lang="en-US"/>
              <a:t>Source line</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14584973"/>
      </p:ext>
    </p:extLst>
  </p:cSld>
  <p:clrMapOvr>
    <a:masterClrMapping/>
  </p:clrMapOvr>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p:cSld name="Two contents">
    <p:spTree>
      <p:nvGrpSpPr>
        <p:cNvPr id="1" name=""/>
        <p:cNvGrpSpPr/>
        <p:nvPr/>
      </p:nvGrpSpPr>
      <p:grpSpPr>
        <a:xfrm>
          <a:off x="0" y="0"/>
          <a:ext cx="0" cy="0"/>
          <a:chOff x="0" y="0"/>
          <a:chExt cx="0" cy="0"/>
        </a:xfrm>
      </p:grpSpPr>
      <p:sp>
        <p:nvSpPr>
          <p:cNvPr id="21" name="Date Placeholder 20"/>
          <p:cNvSpPr>
            <a:spLocks noGrp="1"/>
          </p:cNvSpPr>
          <p:nvPr>
            <p:ph type="dt" sz="half" idx="14"/>
          </p:nvPr>
        </p:nvSpPr>
        <p:spPr/>
        <p:txBody>
          <a:bodyPr/>
          <a:lstStyle/>
          <a:p>
            <a:endParaRPr lang="en-US"/>
          </a:p>
        </p:txBody>
      </p:sp>
      <p:sp>
        <p:nvSpPr>
          <p:cNvPr id="22" name="Footer Placeholder 21"/>
          <p:cNvSpPr>
            <a:spLocks noGrp="1"/>
          </p:cNvSpPr>
          <p:nvPr>
            <p:ph type="ftr" sz="quarter" idx="15"/>
          </p:nvPr>
        </p:nvSpPr>
        <p:spPr/>
        <p:txBody>
          <a:bodyPr/>
          <a:lstStyle/>
          <a:p>
            <a:endParaRPr lang="en-US"/>
          </a:p>
        </p:txBody>
      </p:sp>
      <p:sp>
        <p:nvSpPr>
          <p:cNvPr id="23" name="Slide Number Placeholder 22"/>
          <p:cNvSpPr>
            <a:spLocks noGrp="1"/>
          </p:cNvSpPr>
          <p:nvPr>
            <p:ph type="sldNum" sz="quarter" idx="16"/>
          </p:nvPr>
        </p:nvSpPr>
        <p:spPr/>
        <p:txBody>
          <a:bodyPr/>
          <a:lstStyle/>
          <a:p>
            <a:fld id="{5F3E29E4-0979-4FCA-B4C5-5FC6044C982A}" type="slidenum">
              <a:rPr lang="en-US" smtClean="0"/>
              <a:t>‹#›</a:t>
            </a:fld>
            <a:endParaRPr lang="en-US"/>
          </a:p>
        </p:txBody>
      </p:sp>
      <p:sp>
        <p:nvSpPr>
          <p:cNvPr id="2" name="Title 1"/>
          <p:cNvSpPr>
            <a:spLocks noGrp="1"/>
          </p:cNvSpPr>
          <p:nvPr>
            <p:ph type="title" hasCustomPrompt="1"/>
          </p:nvPr>
        </p:nvSpPr>
        <p:spPr/>
        <p:txBody>
          <a:bodyPr/>
          <a:lstStyle>
            <a:lvl1pPr>
              <a:defRPr/>
            </a:lvl1pPr>
          </a:lstStyle>
          <a:p>
            <a:r>
              <a:rPr lang="en-US"/>
              <a:t>Click to add slide title</a:t>
            </a:r>
          </a:p>
        </p:txBody>
      </p:sp>
      <p:sp>
        <p:nvSpPr>
          <p:cNvPr id="7" name="Subtitle 2"/>
          <p:cNvSpPr>
            <a:spLocks noGrp="1"/>
          </p:cNvSpPr>
          <p:nvPr>
            <p:ph type="subTitle" idx="13" hasCustomPrompt="1"/>
          </p:nvPr>
        </p:nvSpPr>
        <p:spPr>
          <a:xfrm>
            <a:off x="1075061" y="964671"/>
            <a:ext cx="7910158" cy="490042"/>
          </a:xfrm>
        </p:spPr>
        <p:txBody>
          <a:bodyPr wrap="none"/>
          <a:lstStyle>
            <a:lvl1pPr marL="0" indent="0" algn="l">
              <a:spcBef>
                <a:spcPts val="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sp>
        <p:nvSpPr>
          <p:cNvPr id="3" name="Content Placeholder 2"/>
          <p:cNvSpPr>
            <a:spLocks noGrp="1"/>
          </p:cNvSpPr>
          <p:nvPr>
            <p:ph idx="1" hasCustomPrompt="1"/>
          </p:nvPr>
        </p:nvSpPr>
        <p:spPr>
          <a:xfrm>
            <a:off x="1075062" y="1629618"/>
            <a:ext cx="5220000" cy="4139357"/>
          </a:xfrm>
        </p:spPr>
        <p:txBody>
          <a:bodyPr/>
          <a:lstStyle>
            <a:lvl1pPr>
              <a:defRPr/>
            </a:lvl1pPr>
          </a:lstStyle>
          <a:p>
            <a:pPr lvl="0"/>
            <a:r>
              <a:rPr lang="en-US"/>
              <a:t>Click to add text or content</a:t>
            </a:r>
          </a:p>
          <a:p>
            <a:pPr lvl="1"/>
            <a:r>
              <a:rPr lang="en-US"/>
              <a:t>Second level</a:t>
            </a:r>
          </a:p>
          <a:p>
            <a:pPr lvl="2"/>
            <a:r>
              <a:rPr lang="en-US"/>
              <a:t>Third level</a:t>
            </a:r>
          </a:p>
          <a:p>
            <a:pPr lvl="3"/>
            <a:r>
              <a:rPr lang="en-US"/>
              <a:t>Fourth level</a:t>
            </a:r>
          </a:p>
          <a:p>
            <a:pPr lvl="4"/>
            <a:r>
              <a:rPr lang="en-US"/>
              <a:t>Fifth level</a:t>
            </a:r>
          </a:p>
        </p:txBody>
      </p:sp>
      <p:sp>
        <p:nvSpPr>
          <p:cNvPr id="9" name="Content Placeholder 2"/>
          <p:cNvSpPr>
            <a:spLocks noGrp="1"/>
          </p:cNvSpPr>
          <p:nvPr>
            <p:ph idx="17" hasCustomPrompt="1"/>
          </p:nvPr>
        </p:nvSpPr>
        <p:spPr>
          <a:xfrm>
            <a:off x="6600525" y="1629618"/>
            <a:ext cx="5220000" cy="4139357"/>
          </a:xfrm>
        </p:spPr>
        <p:txBody>
          <a:bodyPr/>
          <a:lstStyle>
            <a:lvl1pPr>
              <a:defRPr/>
            </a:lvl1pPr>
          </a:lstStyle>
          <a:p>
            <a:pPr lvl="0"/>
            <a:r>
              <a:rPr lang="en-US"/>
              <a:t>Click to add text or content</a:t>
            </a:r>
          </a:p>
          <a:p>
            <a:pPr lvl="1"/>
            <a:r>
              <a:rPr lang="en-US"/>
              <a:t>Second level</a:t>
            </a:r>
          </a:p>
          <a:p>
            <a:pPr lvl="2"/>
            <a:r>
              <a:rPr lang="en-US"/>
              <a:t>Third level</a:t>
            </a:r>
          </a:p>
          <a:p>
            <a:pPr lvl="3"/>
            <a:r>
              <a:rPr lang="en-US"/>
              <a:t>Fourth level</a:t>
            </a:r>
          </a:p>
          <a:p>
            <a:pPr lvl="4"/>
            <a:r>
              <a:rPr lang="en-US"/>
              <a:t>Fifth level</a:t>
            </a:r>
          </a:p>
        </p:txBody>
      </p:sp>
      <p:sp>
        <p:nvSpPr>
          <p:cNvPr id="11" name="Text Placeholder 4"/>
          <p:cNvSpPr>
            <a:spLocks noGrp="1"/>
          </p:cNvSpPr>
          <p:nvPr>
            <p:ph type="body" sz="quarter" idx="18" hasCustomPrompt="1"/>
          </p:nvPr>
        </p:nvSpPr>
        <p:spPr>
          <a:xfrm>
            <a:off x="1075063" y="6307665"/>
            <a:ext cx="8162717" cy="133200"/>
          </a:xfrm>
        </p:spPr>
        <p:txBody>
          <a:bodyPr lIns="0" tIns="0" rIns="0" bIns="0" anchor="b" anchorCtr="0"/>
          <a:lstStyle>
            <a:lvl1pPr marL="0" indent="0" algn="l">
              <a:lnSpc>
                <a:spcPct val="100000"/>
              </a:lnSpc>
              <a:spcBef>
                <a:spcPts val="0"/>
              </a:spcBef>
              <a:buNone/>
              <a:defRPr sz="800" baseline="0"/>
            </a:lvl1pPr>
            <a:lvl2pPr marL="0" indent="0" algn="l">
              <a:lnSpc>
                <a:spcPct val="100000"/>
              </a:lnSpc>
              <a:spcBef>
                <a:spcPts val="0"/>
              </a:spcBef>
              <a:buNone/>
              <a:defRPr sz="800"/>
            </a:lvl2pPr>
            <a:lvl3pPr marL="0" indent="0" algn="l">
              <a:lnSpc>
                <a:spcPct val="100000"/>
              </a:lnSpc>
              <a:spcBef>
                <a:spcPts val="0"/>
              </a:spcBef>
              <a:buNone/>
              <a:defRPr sz="800"/>
            </a:lvl3pPr>
            <a:lvl4pPr marL="0" algn="l">
              <a:lnSpc>
                <a:spcPct val="100000"/>
              </a:lnSpc>
              <a:spcBef>
                <a:spcPts val="0"/>
              </a:spcBef>
              <a:buNone/>
              <a:defRPr sz="800"/>
            </a:lvl4pPr>
            <a:lvl5pPr marL="0" indent="0" algn="l">
              <a:lnSpc>
                <a:spcPct val="100000"/>
              </a:lnSpc>
              <a:spcBef>
                <a:spcPts val="0"/>
              </a:spcBef>
              <a:buNone/>
              <a:defRPr sz="800"/>
            </a:lvl5pPr>
          </a:lstStyle>
          <a:p>
            <a:pPr lvl="0"/>
            <a:r>
              <a:rPr lang="en-US"/>
              <a:t>Source line</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39790877"/>
      </p:ext>
    </p:extLst>
  </p:cSld>
  <p:clrMapOvr>
    <a:masterClrMapping/>
  </p:clrMapOvr>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p:cSld name="Three contents">
    <p:spTree>
      <p:nvGrpSpPr>
        <p:cNvPr id="1" name=""/>
        <p:cNvGrpSpPr/>
        <p:nvPr/>
      </p:nvGrpSpPr>
      <p:grpSpPr>
        <a:xfrm>
          <a:off x="0" y="0"/>
          <a:ext cx="0" cy="0"/>
          <a:chOff x="0" y="0"/>
          <a:chExt cx="0" cy="0"/>
        </a:xfrm>
      </p:grpSpPr>
      <p:sp>
        <p:nvSpPr>
          <p:cNvPr id="21" name="Date Placeholder 20"/>
          <p:cNvSpPr>
            <a:spLocks noGrp="1"/>
          </p:cNvSpPr>
          <p:nvPr>
            <p:ph type="dt" sz="half" idx="14"/>
          </p:nvPr>
        </p:nvSpPr>
        <p:spPr/>
        <p:txBody>
          <a:bodyPr/>
          <a:lstStyle/>
          <a:p>
            <a:endParaRPr lang="en-US"/>
          </a:p>
        </p:txBody>
      </p:sp>
      <p:sp>
        <p:nvSpPr>
          <p:cNvPr id="22" name="Footer Placeholder 21"/>
          <p:cNvSpPr>
            <a:spLocks noGrp="1"/>
          </p:cNvSpPr>
          <p:nvPr>
            <p:ph type="ftr" sz="quarter" idx="15"/>
          </p:nvPr>
        </p:nvSpPr>
        <p:spPr/>
        <p:txBody>
          <a:bodyPr/>
          <a:lstStyle/>
          <a:p>
            <a:endParaRPr lang="en-US"/>
          </a:p>
        </p:txBody>
      </p:sp>
      <p:sp>
        <p:nvSpPr>
          <p:cNvPr id="23" name="Slide Number Placeholder 22"/>
          <p:cNvSpPr>
            <a:spLocks noGrp="1"/>
          </p:cNvSpPr>
          <p:nvPr>
            <p:ph type="sldNum" sz="quarter" idx="16"/>
          </p:nvPr>
        </p:nvSpPr>
        <p:spPr/>
        <p:txBody>
          <a:bodyPr/>
          <a:lstStyle/>
          <a:p>
            <a:fld id="{5F3E29E4-0979-4FCA-B4C5-5FC6044C982A}" type="slidenum">
              <a:rPr lang="en-US" smtClean="0"/>
              <a:t>‹#›</a:t>
            </a:fld>
            <a:endParaRPr lang="en-US"/>
          </a:p>
        </p:txBody>
      </p:sp>
      <p:sp>
        <p:nvSpPr>
          <p:cNvPr id="2" name="Title 1"/>
          <p:cNvSpPr>
            <a:spLocks noGrp="1"/>
          </p:cNvSpPr>
          <p:nvPr>
            <p:ph type="title" hasCustomPrompt="1"/>
          </p:nvPr>
        </p:nvSpPr>
        <p:spPr/>
        <p:txBody>
          <a:bodyPr/>
          <a:lstStyle>
            <a:lvl1pPr>
              <a:defRPr/>
            </a:lvl1pPr>
          </a:lstStyle>
          <a:p>
            <a:r>
              <a:rPr lang="en-US"/>
              <a:t>Click to add slide title</a:t>
            </a:r>
          </a:p>
        </p:txBody>
      </p:sp>
      <p:sp>
        <p:nvSpPr>
          <p:cNvPr id="7" name="Subtitle 2"/>
          <p:cNvSpPr>
            <a:spLocks noGrp="1"/>
          </p:cNvSpPr>
          <p:nvPr>
            <p:ph type="subTitle" idx="13" hasCustomPrompt="1"/>
          </p:nvPr>
        </p:nvSpPr>
        <p:spPr>
          <a:xfrm>
            <a:off x="1075061" y="964671"/>
            <a:ext cx="7910158" cy="490042"/>
          </a:xfrm>
        </p:spPr>
        <p:txBody>
          <a:bodyPr wrap="none"/>
          <a:lstStyle>
            <a:lvl1pPr marL="0" indent="0" algn="l">
              <a:spcBef>
                <a:spcPts val="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sp>
        <p:nvSpPr>
          <p:cNvPr id="3" name="Content Placeholder 2"/>
          <p:cNvSpPr>
            <a:spLocks noGrp="1"/>
          </p:cNvSpPr>
          <p:nvPr>
            <p:ph idx="1" hasCustomPrompt="1"/>
          </p:nvPr>
        </p:nvSpPr>
        <p:spPr>
          <a:xfrm>
            <a:off x="1075061" y="1629618"/>
            <a:ext cx="3384000" cy="4139357"/>
          </a:xfrm>
        </p:spPr>
        <p:txBody>
          <a:bodyPr/>
          <a:lstStyle>
            <a:lvl1pPr>
              <a:defRPr/>
            </a:lvl1pPr>
          </a:lstStyle>
          <a:p>
            <a:pPr lvl="0"/>
            <a:r>
              <a:rPr lang="en-US"/>
              <a:t>Click to add text or content</a:t>
            </a:r>
          </a:p>
          <a:p>
            <a:pPr lvl="1"/>
            <a:r>
              <a:rPr lang="en-US"/>
              <a:t>Second level</a:t>
            </a:r>
          </a:p>
          <a:p>
            <a:pPr lvl="2"/>
            <a:r>
              <a:rPr lang="en-US"/>
              <a:t>Third level</a:t>
            </a:r>
          </a:p>
          <a:p>
            <a:pPr lvl="3"/>
            <a:r>
              <a:rPr lang="en-US"/>
              <a:t>Fourth level</a:t>
            </a:r>
          </a:p>
          <a:p>
            <a:pPr lvl="4"/>
            <a:r>
              <a:rPr lang="en-US"/>
              <a:t>Fifth level</a:t>
            </a:r>
          </a:p>
        </p:txBody>
      </p:sp>
      <p:sp>
        <p:nvSpPr>
          <p:cNvPr id="9" name="Content Placeholder 2"/>
          <p:cNvSpPr>
            <a:spLocks noGrp="1"/>
          </p:cNvSpPr>
          <p:nvPr>
            <p:ph idx="17" hasCustomPrompt="1"/>
          </p:nvPr>
        </p:nvSpPr>
        <p:spPr>
          <a:xfrm>
            <a:off x="4755793" y="1629618"/>
            <a:ext cx="3384000" cy="4139357"/>
          </a:xfrm>
        </p:spPr>
        <p:txBody>
          <a:bodyPr/>
          <a:lstStyle>
            <a:lvl1pPr>
              <a:defRPr/>
            </a:lvl1pPr>
          </a:lstStyle>
          <a:p>
            <a:pPr lvl="0"/>
            <a:r>
              <a:rPr lang="en-US"/>
              <a:t>Click to add text or content</a:t>
            </a:r>
          </a:p>
          <a:p>
            <a:pPr lvl="1"/>
            <a:r>
              <a:rPr lang="en-US"/>
              <a:t>Second level</a:t>
            </a:r>
          </a:p>
          <a:p>
            <a:pPr lvl="2"/>
            <a:r>
              <a:rPr lang="en-US"/>
              <a:t>Third level</a:t>
            </a:r>
          </a:p>
          <a:p>
            <a:pPr lvl="3"/>
            <a:r>
              <a:rPr lang="en-US"/>
              <a:t>Fourth level</a:t>
            </a:r>
          </a:p>
          <a:p>
            <a:pPr lvl="4"/>
            <a:r>
              <a:rPr lang="en-US"/>
              <a:t>Fifth level</a:t>
            </a:r>
          </a:p>
        </p:txBody>
      </p:sp>
      <p:sp>
        <p:nvSpPr>
          <p:cNvPr id="10" name="Content Placeholder 2"/>
          <p:cNvSpPr>
            <a:spLocks noGrp="1"/>
          </p:cNvSpPr>
          <p:nvPr>
            <p:ph idx="18" hasCustomPrompt="1"/>
          </p:nvPr>
        </p:nvSpPr>
        <p:spPr>
          <a:xfrm>
            <a:off x="8436525" y="1629618"/>
            <a:ext cx="3384000" cy="4139357"/>
          </a:xfrm>
        </p:spPr>
        <p:txBody>
          <a:bodyPr/>
          <a:lstStyle>
            <a:lvl1pPr>
              <a:defRPr/>
            </a:lvl1pPr>
          </a:lstStyle>
          <a:p>
            <a:pPr lvl="0"/>
            <a:r>
              <a:rPr lang="en-US"/>
              <a:t>Click to add text or content</a:t>
            </a:r>
          </a:p>
          <a:p>
            <a:pPr lvl="1"/>
            <a:r>
              <a:rPr lang="en-US"/>
              <a:t>Second level</a:t>
            </a:r>
          </a:p>
          <a:p>
            <a:pPr lvl="2"/>
            <a:r>
              <a:rPr lang="en-US"/>
              <a:t>Third level</a:t>
            </a:r>
          </a:p>
          <a:p>
            <a:pPr lvl="3"/>
            <a:r>
              <a:rPr lang="en-US"/>
              <a:t>Fourth level</a:t>
            </a:r>
          </a:p>
          <a:p>
            <a:pPr lvl="4"/>
            <a:r>
              <a:rPr lang="en-US"/>
              <a:t>Fifth level</a:t>
            </a:r>
          </a:p>
        </p:txBody>
      </p:sp>
      <p:sp>
        <p:nvSpPr>
          <p:cNvPr id="12" name="Text Placeholder 4"/>
          <p:cNvSpPr>
            <a:spLocks noGrp="1"/>
          </p:cNvSpPr>
          <p:nvPr>
            <p:ph type="body" sz="quarter" idx="19" hasCustomPrompt="1"/>
          </p:nvPr>
        </p:nvSpPr>
        <p:spPr>
          <a:xfrm>
            <a:off x="1075063" y="6307665"/>
            <a:ext cx="8162717" cy="133200"/>
          </a:xfrm>
        </p:spPr>
        <p:txBody>
          <a:bodyPr lIns="0" tIns="0" rIns="0" bIns="0" anchor="b" anchorCtr="0"/>
          <a:lstStyle>
            <a:lvl1pPr marL="0" indent="0" algn="l">
              <a:lnSpc>
                <a:spcPct val="100000"/>
              </a:lnSpc>
              <a:spcBef>
                <a:spcPts val="0"/>
              </a:spcBef>
              <a:buNone/>
              <a:defRPr sz="800" baseline="0"/>
            </a:lvl1pPr>
            <a:lvl2pPr marL="0" indent="0" algn="l">
              <a:lnSpc>
                <a:spcPct val="100000"/>
              </a:lnSpc>
              <a:spcBef>
                <a:spcPts val="0"/>
              </a:spcBef>
              <a:buNone/>
              <a:defRPr sz="800"/>
            </a:lvl2pPr>
            <a:lvl3pPr marL="0" indent="0" algn="l">
              <a:lnSpc>
                <a:spcPct val="100000"/>
              </a:lnSpc>
              <a:spcBef>
                <a:spcPts val="0"/>
              </a:spcBef>
              <a:buNone/>
              <a:defRPr sz="800"/>
            </a:lvl3pPr>
            <a:lvl4pPr marL="0" algn="l">
              <a:lnSpc>
                <a:spcPct val="100000"/>
              </a:lnSpc>
              <a:spcBef>
                <a:spcPts val="0"/>
              </a:spcBef>
              <a:buNone/>
              <a:defRPr sz="800"/>
            </a:lvl4pPr>
            <a:lvl5pPr marL="0" indent="0" algn="l">
              <a:lnSpc>
                <a:spcPct val="100000"/>
              </a:lnSpc>
              <a:spcBef>
                <a:spcPts val="0"/>
              </a:spcBef>
              <a:buNone/>
              <a:defRPr sz="800"/>
            </a:lvl5pPr>
          </a:lstStyle>
          <a:p>
            <a:pPr lvl="0"/>
            <a:r>
              <a:rPr lang="en-US"/>
              <a:t>Source line</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73058439"/>
      </p:ext>
    </p:extLst>
  </p:cSld>
  <p:clrMapOvr>
    <a:masterClrMapping/>
  </p:clrMapOvr>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p:cSld name="Four contents 1">
    <p:spTree>
      <p:nvGrpSpPr>
        <p:cNvPr id="1" name=""/>
        <p:cNvGrpSpPr/>
        <p:nvPr/>
      </p:nvGrpSpPr>
      <p:grpSpPr>
        <a:xfrm>
          <a:off x="0" y="0"/>
          <a:ext cx="0" cy="0"/>
          <a:chOff x="0" y="0"/>
          <a:chExt cx="0" cy="0"/>
        </a:xfrm>
      </p:grpSpPr>
      <p:sp>
        <p:nvSpPr>
          <p:cNvPr id="21" name="Date Placeholder 20"/>
          <p:cNvSpPr>
            <a:spLocks noGrp="1"/>
          </p:cNvSpPr>
          <p:nvPr>
            <p:ph type="dt" sz="half" idx="14"/>
          </p:nvPr>
        </p:nvSpPr>
        <p:spPr/>
        <p:txBody>
          <a:bodyPr/>
          <a:lstStyle/>
          <a:p>
            <a:endParaRPr lang="en-US"/>
          </a:p>
        </p:txBody>
      </p:sp>
      <p:sp>
        <p:nvSpPr>
          <p:cNvPr id="22" name="Footer Placeholder 21"/>
          <p:cNvSpPr>
            <a:spLocks noGrp="1"/>
          </p:cNvSpPr>
          <p:nvPr>
            <p:ph type="ftr" sz="quarter" idx="15"/>
          </p:nvPr>
        </p:nvSpPr>
        <p:spPr/>
        <p:txBody>
          <a:bodyPr/>
          <a:lstStyle/>
          <a:p>
            <a:endParaRPr lang="en-US"/>
          </a:p>
        </p:txBody>
      </p:sp>
      <p:sp>
        <p:nvSpPr>
          <p:cNvPr id="23" name="Slide Number Placeholder 22"/>
          <p:cNvSpPr>
            <a:spLocks noGrp="1"/>
          </p:cNvSpPr>
          <p:nvPr>
            <p:ph type="sldNum" sz="quarter" idx="16"/>
          </p:nvPr>
        </p:nvSpPr>
        <p:spPr/>
        <p:txBody>
          <a:bodyPr/>
          <a:lstStyle/>
          <a:p>
            <a:fld id="{5F3E29E4-0979-4FCA-B4C5-5FC6044C982A}" type="slidenum">
              <a:rPr lang="en-US" smtClean="0"/>
              <a:t>‹#›</a:t>
            </a:fld>
            <a:endParaRPr lang="en-US"/>
          </a:p>
        </p:txBody>
      </p:sp>
      <p:sp>
        <p:nvSpPr>
          <p:cNvPr id="2" name="Title 1"/>
          <p:cNvSpPr>
            <a:spLocks noGrp="1"/>
          </p:cNvSpPr>
          <p:nvPr>
            <p:ph type="title" hasCustomPrompt="1"/>
          </p:nvPr>
        </p:nvSpPr>
        <p:spPr/>
        <p:txBody>
          <a:bodyPr/>
          <a:lstStyle>
            <a:lvl1pPr>
              <a:defRPr/>
            </a:lvl1pPr>
          </a:lstStyle>
          <a:p>
            <a:r>
              <a:rPr lang="en-US"/>
              <a:t>Click to add slide title</a:t>
            </a:r>
          </a:p>
        </p:txBody>
      </p:sp>
      <p:sp>
        <p:nvSpPr>
          <p:cNvPr id="7" name="Subtitle 2"/>
          <p:cNvSpPr>
            <a:spLocks noGrp="1"/>
          </p:cNvSpPr>
          <p:nvPr>
            <p:ph type="subTitle" idx="13" hasCustomPrompt="1"/>
          </p:nvPr>
        </p:nvSpPr>
        <p:spPr>
          <a:xfrm>
            <a:off x="1075061" y="964671"/>
            <a:ext cx="7910158" cy="490042"/>
          </a:xfrm>
        </p:spPr>
        <p:txBody>
          <a:bodyPr wrap="none"/>
          <a:lstStyle>
            <a:lvl1pPr marL="0" indent="0" algn="l">
              <a:spcBef>
                <a:spcPts val="0"/>
              </a:spcBef>
              <a:buNone/>
              <a:defRPr sz="2400" baseline="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sp>
        <p:nvSpPr>
          <p:cNvPr id="3" name="Content Placeholder 2"/>
          <p:cNvSpPr>
            <a:spLocks noGrp="1"/>
          </p:cNvSpPr>
          <p:nvPr>
            <p:ph idx="1" hasCustomPrompt="1"/>
          </p:nvPr>
        </p:nvSpPr>
        <p:spPr>
          <a:xfrm>
            <a:off x="192088" y="1629618"/>
            <a:ext cx="2682000" cy="4139357"/>
          </a:xfrm>
        </p:spPr>
        <p:txBody>
          <a:bodyPr/>
          <a:lstStyle>
            <a:lvl1pPr>
              <a:defRPr/>
            </a:lvl1pPr>
          </a:lstStyle>
          <a:p>
            <a:pPr lvl="0"/>
            <a:r>
              <a:rPr lang="en-US"/>
              <a:t>Click to add text or content</a:t>
            </a:r>
          </a:p>
          <a:p>
            <a:pPr lvl="1"/>
            <a:r>
              <a:rPr lang="en-US"/>
              <a:t>Second level</a:t>
            </a:r>
          </a:p>
          <a:p>
            <a:pPr lvl="2"/>
            <a:r>
              <a:rPr lang="en-US"/>
              <a:t>Third level</a:t>
            </a:r>
          </a:p>
          <a:p>
            <a:pPr lvl="3"/>
            <a:r>
              <a:rPr lang="en-US"/>
              <a:t>Fourth level</a:t>
            </a:r>
          </a:p>
          <a:p>
            <a:pPr lvl="4"/>
            <a:r>
              <a:rPr lang="en-US"/>
              <a:t>Fifth level</a:t>
            </a:r>
          </a:p>
        </p:txBody>
      </p:sp>
      <p:sp>
        <p:nvSpPr>
          <p:cNvPr id="9" name="Content Placeholder 2"/>
          <p:cNvSpPr>
            <a:spLocks noGrp="1"/>
          </p:cNvSpPr>
          <p:nvPr>
            <p:ph idx="17" hasCustomPrompt="1"/>
          </p:nvPr>
        </p:nvSpPr>
        <p:spPr>
          <a:xfrm>
            <a:off x="3174234" y="1629618"/>
            <a:ext cx="2682000" cy="4139357"/>
          </a:xfrm>
        </p:spPr>
        <p:txBody>
          <a:bodyPr/>
          <a:lstStyle>
            <a:lvl1pPr>
              <a:defRPr/>
            </a:lvl1pPr>
          </a:lstStyle>
          <a:p>
            <a:pPr lvl="0"/>
            <a:r>
              <a:rPr lang="en-US"/>
              <a:t>Click to add text or content</a:t>
            </a:r>
          </a:p>
          <a:p>
            <a:pPr lvl="1"/>
            <a:r>
              <a:rPr lang="en-US"/>
              <a:t>Second level</a:t>
            </a:r>
          </a:p>
          <a:p>
            <a:pPr lvl="2"/>
            <a:r>
              <a:rPr lang="en-US"/>
              <a:t>Third level</a:t>
            </a:r>
          </a:p>
          <a:p>
            <a:pPr lvl="3"/>
            <a:r>
              <a:rPr lang="en-US"/>
              <a:t>Fourth level</a:t>
            </a:r>
          </a:p>
          <a:p>
            <a:pPr lvl="4"/>
            <a:r>
              <a:rPr lang="en-US"/>
              <a:t>Fifth level</a:t>
            </a:r>
          </a:p>
        </p:txBody>
      </p:sp>
      <p:sp>
        <p:nvSpPr>
          <p:cNvPr id="10" name="Content Placeholder 2"/>
          <p:cNvSpPr>
            <a:spLocks noGrp="1"/>
          </p:cNvSpPr>
          <p:nvPr>
            <p:ph idx="18" hasCustomPrompt="1"/>
          </p:nvPr>
        </p:nvSpPr>
        <p:spPr>
          <a:xfrm>
            <a:off x="6156380" y="1629618"/>
            <a:ext cx="2682000" cy="4139357"/>
          </a:xfrm>
        </p:spPr>
        <p:txBody>
          <a:bodyPr/>
          <a:lstStyle>
            <a:lvl1pPr>
              <a:defRPr/>
            </a:lvl1pPr>
          </a:lstStyle>
          <a:p>
            <a:pPr lvl="0"/>
            <a:r>
              <a:rPr lang="en-US"/>
              <a:t>Click to add text or content</a:t>
            </a:r>
          </a:p>
          <a:p>
            <a:pPr lvl="1"/>
            <a:r>
              <a:rPr lang="en-US"/>
              <a:t>Second level</a:t>
            </a:r>
          </a:p>
          <a:p>
            <a:pPr lvl="2"/>
            <a:r>
              <a:rPr lang="en-US"/>
              <a:t>Third level</a:t>
            </a:r>
          </a:p>
          <a:p>
            <a:pPr lvl="3"/>
            <a:r>
              <a:rPr lang="en-US"/>
              <a:t>Fourth level</a:t>
            </a:r>
          </a:p>
          <a:p>
            <a:pPr lvl="4"/>
            <a:r>
              <a:rPr lang="en-US"/>
              <a:t>Fifth level</a:t>
            </a:r>
          </a:p>
        </p:txBody>
      </p:sp>
      <p:sp>
        <p:nvSpPr>
          <p:cNvPr id="13" name="Content Placeholder 2"/>
          <p:cNvSpPr>
            <a:spLocks noGrp="1"/>
          </p:cNvSpPr>
          <p:nvPr>
            <p:ph idx="19" hasCustomPrompt="1"/>
          </p:nvPr>
        </p:nvSpPr>
        <p:spPr>
          <a:xfrm>
            <a:off x="9138525" y="1629618"/>
            <a:ext cx="2682000" cy="4139357"/>
          </a:xfrm>
        </p:spPr>
        <p:txBody>
          <a:bodyPr/>
          <a:lstStyle>
            <a:lvl1pPr>
              <a:defRPr/>
            </a:lvl1pPr>
          </a:lstStyle>
          <a:p>
            <a:pPr lvl="0"/>
            <a:r>
              <a:rPr lang="en-US"/>
              <a:t>Click to add text or content</a:t>
            </a:r>
          </a:p>
          <a:p>
            <a:pPr lvl="1"/>
            <a:r>
              <a:rPr lang="en-US"/>
              <a:t>Second level</a:t>
            </a:r>
          </a:p>
          <a:p>
            <a:pPr lvl="2"/>
            <a:r>
              <a:rPr lang="en-US"/>
              <a:t>Third level</a:t>
            </a:r>
          </a:p>
          <a:p>
            <a:pPr lvl="3"/>
            <a:r>
              <a:rPr lang="en-US"/>
              <a:t>Fourth level</a:t>
            </a:r>
          </a:p>
          <a:p>
            <a:pPr lvl="4"/>
            <a:r>
              <a:rPr lang="en-US"/>
              <a:t>Fifth level</a:t>
            </a:r>
          </a:p>
        </p:txBody>
      </p:sp>
      <p:sp>
        <p:nvSpPr>
          <p:cNvPr id="12" name="Text Placeholder 4"/>
          <p:cNvSpPr>
            <a:spLocks noGrp="1"/>
          </p:cNvSpPr>
          <p:nvPr>
            <p:ph type="body" sz="quarter" idx="20" hasCustomPrompt="1"/>
          </p:nvPr>
        </p:nvSpPr>
        <p:spPr>
          <a:xfrm>
            <a:off x="1075063" y="6307665"/>
            <a:ext cx="8162717" cy="133200"/>
          </a:xfrm>
        </p:spPr>
        <p:txBody>
          <a:bodyPr lIns="0" tIns="0" rIns="0" bIns="0" anchor="b" anchorCtr="0"/>
          <a:lstStyle>
            <a:lvl1pPr marL="0" indent="0" algn="l">
              <a:lnSpc>
                <a:spcPct val="100000"/>
              </a:lnSpc>
              <a:spcBef>
                <a:spcPts val="0"/>
              </a:spcBef>
              <a:buNone/>
              <a:defRPr sz="800" baseline="0"/>
            </a:lvl1pPr>
            <a:lvl2pPr marL="0" indent="0" algn="l">
              <a:lnSpc>
                <a:spcPct val="100000"/>
              </a:lnSpc>
              <a:spcBef>
                <a:spcPts val="0"/>
              </a:spcBef>
              <a:buNone/>
              <a:defRPr sz="800"/>
            </a:lvl2pPr>
            <a:lvl3pPr marL="0" indent="0" algn="l">
              <a:lnSpc>
                <a:spcPct val="100000"/>
              </a:lnSpc>
              <a:spcBef>
                <a:spcPts val="0"/>
              </a:spcBef>
              <a:buNone/>
              <a:defRPr sz="800"/>
            </a:lvl3pPr>
            <a:lvl4pPr marL="0" algn="l">
              <a:lnSpc>
                <a:spcPct val="100000"/>
              </a:lnSpc>
              <a:spcBef>
                <a:spcPts val="0"/>
              </a:spcBef>
              <a:buNone/>
              <a:defRPr sz="800"/>
            </a:lvl4pPr>
            <a:lvl5pPr marL="0" indent="0" algn="l">
              <a:lnSpc>
                <a:spcPct val="100000"/>
              </a:lnSpc>
              <a:spcBef>
                <a:spcPts val="0"/>
              </a:spcBef>
              <a:buNone/>
              <a:defRPr sz="800"/>
            </a:lvl5pPr>
          </a:lstStyle>
          <a:p>
            <a:pPr lvl="0"/>
            <a:r>
              <a:rPr lang="en-US"/>
              <a:t>Source line</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9758681"/>
      </p:ext>
    </p:extLst>
  </p:cSld>
  <p:clrMapOvr>
    <a:masterClrMapping/>
  </p:clrMapOvr>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p:cSld name="Four contents 2">
    <p:spTree>
      <p:nvGrpSpPr>
        <p:cNvPr id="1" name=""/>
        <p:cNvGrpSpPr/>
        <p:nvPr/>
      </p:nvGrpSpPr>
      <p:grpSpPr>
        <a:xfrm>
          <a:off x="0" y="0"/>
          <a:ext cx="0" cy="0"/>
          <a:chOff x="0" y="0"/>
          <a:chExt cx="0" cy="0"/>
        </a:xfrm>
      </p:grpSpPr>
      <p:sp>
        <p:nvSpPr>
          <p:cNvPr id="21" name="Date Placeholder 20"/>
          <p:cNvSpPr>
            <a:spLocks noGrp="1"/>
          </p:cNvSpPr>
          <p:nvPr>
            <p:ph type="dt" sz="half" idx="14"/>
          </p:nvPr>
        </p:nvSpPr>
        <p:spPr/>
        <p:txBody>
          <a:bodyPr/>
          <a:lstStyle/>
          <a:p>
            <a:endParaRPr lang="en-US"/>
          </a:p>
        </p:txBody>
      </p:sp>
      <p:sp>
        <p:nvSpPr>
          <p:cNvPr id="22" name="Footer Placeholder 21"/>
          <p:cNvSpPr>
            <a:spLocks noGrp="1"/>
          </p:cNvSpPr>
          <p:nvPr>
            <p:ph type="ftr" sz="quarter" idx="15"/>
          </p:nvPr>
        </p:nvSpPr>
        <p:spPr/>
        <p:txBody>
          <a:bodyPr/>
          <a:lstStyle/>
          <a:p>
            <a:endParaRPr lang="en-US"/>
          </a:p>
        </p:txBody>
      </p:sp>
      <p:sp>
        <p:nvSpPr>
          <p:cNvPr id="23" name="Slide Number Placeholder 22"/>
          <p:cNvSpPr>
            <a:spLocks noGrp="1"/>
          </p:cNvSpPr>
          <p:nvPr>
            <p:ph type="sldNum" sz="quarter" idx="16"/>
          </p:nvPr>
        </p:nvSpPr>
        <p:spPr/>
        <p:txBody>
          <a:bodyPr/>
          <a:lstStyle/>
          <a:p>
            <a:fld id="{5F3E29E4-0979-4FCA-B4C5-5FC6044C982A}" type="slidenum">
              <a:rPr lang="en-US" smtClean="0"/>
              <a:t>‹#›</a:t>
            </a:fld>
            <a:endParaRPr lang="en-US"/>
          </a:p>
        </p:txBody>
      </p:sp>
      <p:sp>
        <p:nvSpPr>
          <p:cNvPr id="2" name="Title 1"/>
          <p:cNvSpPr>
            <a:spLocks noGrp="1"/>
          </p:cNvSpPr>
          <p:nvPr>
            <p:ph type="title" hasCustomPrompt="1"/>
          </p:nvPr>
        </p:nvSpPr>
        <p:spPr/>
        <p:txBody>
          <a:bodyPr/>
          <a:lstStyle>
            <a:lvl1pPr>
              <a:defRPr/>
            </a:lvl1pPr>
          </a:lstStyle>
          <a:p>
            <a:r>
              <a:rPr lang="en-US"/>
              <a:t>Click to add slide title</a:t>
            </a:r>
          </a:p>
        </p:txBody>
      </p:sp>
      <p:sp>
        <p:nvSpPr>
          <p:cNvPr id="7" name="Subtitle 2"/>
          <p:cNvSpPr>
            <a:spLocks noGrp="1"/>
          </p:cNvSpPr>
          <p:nvPr>
            <p:ph type="subTitle" idx="13" hasCustomPrompt="1"/>
          </p:nvPr>
        </p:nvSpPr>
        <p:spPr>
          <a:xfrm>
            <a:off x="1075061" y="964671"/>
            <a:ext cx="7910158" cy="490042"/>
          </a:xfrm>
        </p:spPr>
        <p:txBody>
          <a:bodyPr wrap="none"/>
          <a:lstStyle>
            <a:lvl1pPr marL="0" indent="0" algn="l">
              <a:spcBef>
                <a:spcPts val="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sp>
        <p:nvSpPr>
          <p:cNvPr id="3" name="Content Placeholder 2"/>
          <p:cNvSpPr>
            <a:spLocks noGrp="1"/>
          </p:cNvSpPr>
          <p:nvPr>
            <p:ph idx="1" hasCustomPrompt="1"/>
          </p:nvPr>
        </p:nvSpPr>
        <p:spPr>
          <a:xfrm>
            <a:off x="192088" y="1629617"/>
            <a:ext cx="6102974" cy="2160000"/>
          </a:xfrm>
        </p:spPr>
        <p:txBody>
          <a:bodyPr/>
          <a:lstStyle>
            <a:lvl1pPr>
              <a:defRPr/>
            </a:lvl1pPr>
          </a:lstStyle>
          <a:p>
            <a:pPr lvl="0"/>
            <a:r>
              <a:rPr lang="en-US"/>
              <a:t>Click to add text or content</a:t>
            </a:r>
          </a:p>
          <a:p>
            <a:pPr lvl="1"/>
            <a:r>
              <a:rPr lang="en-US"/>
              <a:t>Second level</a:t>
            </a:r>
          </a:p>
          <a:p>
            <a:pPr lvl="2"/>
            <a:r>
              <a:rPr lang="en-US"/>
              <a:t>Third level</a:t>
            </a:r>
          </a:p>
          <a:p>
            <a:pPr lvl="3"/>
            <a:r>
              <a:rPr lang="en-US"/>
              <a:t>Fourth level</a:t>
            </a:r>
          </a:p>
          <a:p>
            <a:pPr lvl="4"/>
            <a:r>
              <a:rPr lang="en-US"/>
              <a:t>Fifth level</a:t>
            </a:r>
          </a:p>
        </p:txBody>
      </p:sp>
      <p:sp>
        <p:nvSpPr>
          <p:cNvPr id="9" name="Content Placeholder 2"/>
          <p:cNvSpPr>
            <a:spLocks noGrp="1"/>
          </p:cNvSpPr>
          <p:nvPr>
            <p:ph idx="17" hasCustomPrompt="1"/>
          </p:nvPr>
        </p:nvSpPr>
        <p:spPr>
          <a:xfrm>
            <a:off x="6600525" y="1629617"/>
            <a:ext cx="5234144" cy="2160000"/>
          </a:xfrm>
        </p:spPr>
        <p:txBody>
          <a:bodyPr/>
          <a:lstStyle>
            <a:lvl1pPr>
              <a:defRPr/>
            </a:lvl1pPr>
          </a:lstStyle>
          <a:p>
            <a:pPr lvl="0"/>
            <a:r>
              <a:rPr lang="en-US"/>
              <a:t>Click to add text or content</a:t>
            </a:r>
          </a:p>
          <a:p>
            <a:pPr lvl="1"/>
            <a:r>
              <a:rPr lang="en-US"/>
              <a:t>Second level</a:t>
            </a:r>
          </a:p>
          <a:p>
            <a:pPr lvl="2"/>
            <a:r>
              <a:rPr lang="en-US"/>
              <a:t>Third level</a:t>
            </a:r>
          </a:p>
          <a:p>
            <a:pPr lvl="3"/>
            <a:r>
              <a:rPr lang="en-US"/>
              <a:t>Fourth level</a:t>
            </a:r>
          </a:p>
          <a:p>
            <a:pPr lvl="4"/>
            <a:r>
              <a:rPr lang="en-US"/>
              <a:t>Fifth level</a:t>
            </a:r>
          </a:p>
        </p:txBody>
      </p:sp>
      <p:sp>
        <p:nvSpPr>
          <p:cNvPr id="10" name="Content Placeholder 2"/>
          <p:cNvSpPr>
            <a:spLocks noGrp="1"/>
          </p:cNvSpPr>
          <p:nvPr>
            <p:ph idx="18" hasCustomPrompt="1"/>
          </p:nvPr>
        </p:nvSpPr>
        <p:spPr>
          <a:xfrm>
            <a:off x="192088" y="4077289"/>
            <a:ext cx="6102974" cy="2160000"/>
          </a:xfrm>
        </p:spPr>
        <p:txBody>
          <a:bodyPr/>
          <a:lstStyle>
            <a:lvl1pPr>
              <a:defRPr/>
            </a:lvl1pPr>
          </a:lstStyle>
          <a:p>
            <a:pPr lvl="0"/>
            <a:r>
              <a:rPr lang="en-US"/>
              <a:t>Click to add text or content</a:t>
            </a:r>
          </a:p>
          <a:p>
            <a:pPr lvl="1"/>
            <a:r>
              <a:rPr lang="en-US"/>
              <a:t>Second level</a:t>
            </a:r>
          </a:p>
          <a:p>
            <a:pPr lvl="2"/>
            <a:r>
              <a:rPr lang="en-US"/>
              <a:t>Third level</a:t>
            </a:r>
          </a:p>
          <a:p>
            <a:pPr lvl="3"/>
            <a:r>
              <a:rPr lang="en-US"/>
              <a:t>Fourth level</a:t>
            </a:r>
          </a:p>
          <a:p>
            <a:pPr lvl="4"/>
            <a:r>
              <a:rPr lang="en-US"/>
              <a:t>Fifth level</a:t>
            </a:r>
          </a:p>
        </p:txBody>
      </p:sp>
      <p:sp>
        <p:nvSpPr>
          <p:cNvPr id="13" name="Content Placeholder 2"/>
          <p:cNvSpPr>
            <a:spLocks noGrp="1"/>
          </p:cNvSpPr>
          <p:nvPr>
            <p:ph idx="19" hasCustomPrompt="1"/>
          </p:nvPr>
        </p:nvSpPr>
        <p:spPr>
          <a:xfrm>
            <a:off x="6600525" y="4077289"/>
            <a:ext cx="5234144" cy="2160000"/>
          </a:xfrm>
        </p:spPr>
        <p:txBody>
          <a:bodyPr/>
          <a:lstStyle>
            <a:lvl1pPr>
              <a:defRPr/>
            </a:lvl1pPr>
          </a:lstStyle>
          <a:p>
            <a:pPr lvl="0"/>
            <a:r>
              <a:rPr lang="en-US"/>
              <a:t>Click to add text or content</a:t>
            </a:r>
          </a:p>
          <a:p>
            <a:pPr lvl="1"/>
            <a:r>
              <a:rPr lang="en-US"/>
              <a:t>Second level</a:t>
            </a:r>
          </a:p>
          <a:p>
            <a:pPr lvl="2"/>
            <a:r>
              <a:rPr lang="en-US"/>
              <a:t>Third level</a:t>
            </a:r>
          </a:p>
          <a:p>
            <a:pPr lvl="3"/>
            <a:r>
              <a:rPr lang="en-US"/>
              <a:t>Fourth level</a:t>
            </a:r>
          </a:p>
          <a:p>
            <a:pPr lvl="4"/>
            <a:r>
              <a:rPr lang="en-US"/>
              <a:t>Fifth level</a:t>
            </a:r>
          </a:p>
        </p:txBody>
      </p:sp>
      <p:sp>
        <p:nvSpPr>
          <p:cNvPr id="12" name="Text Placeholder 4"/>
          <p:cNvSpPr>
            <a:spLocks noGrp="1"/>
          </p:cNvSpPr>
          <p:nvPr>
            <p:ph type="body" sz="quarter" idx="20" hasCustomPrompt="1"/>
          </p:nvPr>
        </p:nvSpPr>
        <p:spPr>
          <a:xfrm>
            <a:off x="1075063" y="6307665"/>
            <a:ext cx="8162717" cy="133200"/>
          </a:xfrm>
        </p:spPr>
        <p:txBody>
          <a:bodyPr lIns="0" tIns="0" rIns="0" bIns="0" anchor="b" anchorCtr="0"/>
          <a:lstStyle>
            <a:lvl1pPr marL="0" indent="0" algn="l">
              <a:lnSpc>
                <a:spcPct val="100000"/>
              </a:lnSpc>
              <a:spcBef>
                <a:spcPts val="0"/>
              </a:spcBef>
              <a:buNone/>
              <a:defRPr sz="800" baseline="0"/>
            </a:lvl1pPr>
            <a:lvl2pPr marL="0" indent="0" algn="l">
              <a:lnSpc>
                <a:spcPct val="100000"/>
              </a:lnSpc>
              <a:spcBef>
                <a:spcPts val="0"/>
              </a:spcBef>
              <a:buNone/>
              <a:defRPr sz="800"/>
            </a:lvl2pPr>
            <a:lvl3pPr marL="0" indent="0" algn="l">
              <a:lnSpc>
                <a:spcPct val="100000"/>
              </a:lnSpc>
              <a:spcBef>
                <a:spcPts val="0"/>
              </a:spcBef>
              <a:buNone/>
              <a:defRPr sz="800"/>
            </a:lvl3pPr>
            <a:lvl4pPr marL="0" algn="l">
              <a:lnSpc>
                <a:spcPct val="100000"/>
              </a:lnSpc>
              <a:spcBef>
                <a:spcPts val="0"/>
              </a:spcBef>
              <a:buNone/>
              <a:defRPr sz="800"/>
            </a:lvl4pPr>
            <a:lvl5pPr marL="0" indent="0" algn="l">
              <a:lnSpc>
                <a:spcPct val="100000"/>
              </a:lnSpc>
              <a:spcBef>
                <a:spcPts val="0"/>
              </a:spcBef>
              <a:buNone/>
              <a:defRPr sz="800"/>
            </a:lvl5pPr>
          </a:lstStyle>
          <a:p>
            <a:pPr lvl="0"/>
            <a:r>
              <a:rPr lang="en-US"/>
              <a:t>Source line</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85497826"/>
      </p:ext>
    </p:extLst>
  </p:cSld>
  <p:clrMapOvr>
    <a:masterClrMapping/>
  </p:clrMapOvr>
</p:sldLayout>
</file>

<file path=ppt/slideLayouts/slideLayout346.xml><?xml version="1.0" encoding="utf-8"?>
<p:sldLayout xmlns:a="http://schemas.openxmlformats.org/drawingml/2006/main" xmlns:r="http://schemas.openxmlformats.org/officeDocument/2006/relationships" xmlns:p="http://schemas.openxmlformats.org/presentationml/2006/main" preserve="1">
  <p:cSld name="Large charts and tables">
    <p:spTree>
      <p:nvGrpSpPr>
        <p:cNvPr id="1" name=""/>
        <p:cNvGrpSpPr/>
        <p:nvPr/>
      </p:nvGrpSpPr>
      <p:grpSpPr>
        <a:xfrm>
          <a:off x="0" y="0"/>
          <a:ext cx="0" cy="0"/>
          <a:chOff x="0" y="0"/>
          <a:chExt cx="0" cy="0"/>
        </a:xfrm>
      </p:grpSpPr>
      <p:sp>
        <p:nvSpPr>
          <p:cNvPr id="21" name="Date Placeholder 20"/>
          <p:cNvSpPr>
            <a:spLocks noGrp="1"/>
          </p:cNvSpPr>
          <p:nvPr>
            <p:ph type="dt" sz="half" idx="14"/>
          </p:nvPr>
        </p:nvSpPr>
        <p:spPr/>
        <p:txBody>
          <a:bodyPr/>
          <a:lstStyle/>
          <a:p>
            <a:endParaRPr lang="en-US"/>
          </a:p>
        </p:txBody>
      </p:sp>
      <p:sp>
        <p:nvSpPr>
          <p:cNvPr id="22" name="Footer Placeholder 21"/>
          <p:cNvSpPr>
            <a:spLocks noGrp="1"/>
          </p:cNvSpPr>
          <p:nvPr>
            <p:ph type="ftr" sz="quarter" idx="15"/>
          </p:nvPr>
        </p:nvSpPr>
        <p:spPr/>
        <p:txBody>
          <a:bodyPr/>
          <a:lstStyle/>
          <a:p>
            <a:endParaRPr lang="en-US"/>
          </a:p>
        </p:txBody>
      </p:sp>
      <p:sp>
        <p:nvSpPr>
          <p:cNvPr id="23" name="Slide Number Placeholder 22"/>
          <p:cNvSpPr>
            <a:spLocks noGrp="1"/>
          </p:cNvSpPr>
          <p:nvPr>
            <p:ph type="sldNum" sz="quarter" idx="16"/>
          </p:nvPr>
        </p:nvSpPr>
        <p:spPr/>
        <p:txBody>
          <a:bodyPr/>
          <a:lstStyle/>
          <a:p>
            <a:fld id="{5F3E29E4-0979-4FCA-B4C5-5FC6044C982A}" type="slidenum">
              <a:rPr lang="en-US" smtClean="0"/>
              <a:t>‹#›</a:t>
            </a:fld>
            <a:endParaRPr lang="en-US"/>
          </a:p>
        </p:txBody>
      </p:sp>
      <p:sp>
        <p:nvSpPr>
          <p:cNvPr id="2" name="Title 1"/>
          <p:cNvSpPr>
            <a:spLocks noGrp="1"/>
          </p:cNvSpPr>
          <p:nvPr>
            <p:ph type="title" hasCustomPrompt="1"/>
          </p:nvPr>
        </p:nvSpPr>
        <p:spPr/>
        <p:txBody>
          <a:bodyPr/>
          <a:lstStyle>
            <a:lvl1pPr>
              <a:defRPr/>
            </a:lvl1pPr>
          </a:lstStyle>
          <a:p>
            <a:r>
              <a:rPr lang="en-US"/>
              <a:t>Click to add slide title</a:t>
            </a:r>
          </a:p>
        </p:txBody>
      </p:sp>
      <p:sp>
        <p:nvSpPr>
          <p:cNvPr id="7" name="Subtitle 2"/>
          <p:cNvSpPr>
            <a:spLocks noGrp="1"/>
          </p:cNvSpPr>
          <p:nvPr>
            <p:ph type="subTitle" idx="13" hasCustomPrompt="1"/>
          </p:nvPr>
        </p:nvSpPr>
        <p:spPr>
          <a:xfrm>
            <a:off x="1075061" y="964671"/>
            <a:ext cx="7910158" cy="490042"/>
          </a:xfrm>
        </p:spPr>
        <p:txBody>
          <a:bodyPr wrap="none"/>
          <a:lstStyle>
            <a:lvl1pPr marL="0" indent="0" algn="l">
              <a:spcBef>
                <a:spcPts val="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sp>
        <p:nvSpPr>
          <p:cNvPr id="3" name="Content Placeholder 2"/>
          <p:cNvSpPr>
            <a:spLocks noGrp="1"/>
          </p:cNvSpPr>
          <p:nvPr>
            <p:ph idx="1" hasCustomPrompt="1"/>
          </p:nvPr>
        </p:nvSpPr>
        <p:spPr>
          <a:xfrm>
            <a:off x="192088" y="1629617"/>
            <a:ext cx="11642581" cy="4599506"/>
          </a:xfrm>
        </p:spPr>
        <p:txBody>
          <a:bodyPr anchor="t"/>
          <a:lstStyle>
            <a:lvl1pPr marL="0" indent="0" algn="ctr">
              <a:spcBef>
                <a:spcPts val="1000"/>
              </a:spcBef>
              <a:buNone/>
              <a:defRPr sz="2800" baseline="0"/>
            </a:lvl1pPr>
            <a:lvl2pPr marL="0" indent="0">
              <a:spcBef>
                <a:spcPts val="1000"/>
              </a:spcBef>
              <a:buNone/>
              <a:defRPr sz="2800"/>
            </a:lvl2pPr>
            <a:lvl3pPr marL="0" indent="0">
              <a:spcBef>
                <a:spcPts val="1000"/>
              </a:spcBef>
              <a:buNone/>
              <a:defRPr sz="2800"/>
            </a:lvl3pPr>
            <a:lvl4pPr>
              <a:spcBef>
                <a:spcPts val="1000"/>
              </a:spcBef>
              <a:buNone/>
              <a:defRPr sz="2800"/>
            </a:lvl4pPr>
            <a:lvl5pPr marL="0" indent="0">
              <a:spcBef>
                <a:spcPts val="1000"/>
              </a:spcBef>
              <a:buNone/>
              <a:defRPr sz="2800"/>
            </a:lvl5pPr>
          </a:lstStyle>
          <a:p>
            <a:pPr lvl="0"/>
            <a:r>
              <a:rPr lang="en-US"/>
              <a:t>Use this layout for large charts and tables only. Please, do not use with text.</a:t>
            </a:r>
          </a:p>
          <a:p>
            <a:pPr lvl="1"/>
            <a:r>
              <a:rPr lang="en-US"/>
              <a:t>Second level</a:t>
            </a:r>
          </a:p>
          <a:p>
            <a:pPr lvl="2"/>
            <a:r>
              <a:rPr lang="en-US"/>
              <a:t>Third level</a:t>
            </a:r>
          </a:p>
          <a:p>
            <a:pPr lvl="3"/>
            <a:r>
              <a:rPr lang="en-US"/>
              <a:t>Fourth level</a:t>
            </a:r>
          </a:p>
          <a:p>
            <a:pPr lvl="4"/>
            <a:r>
              <a:rPr lang="en-US"/>
              <a:t>Fifth level</a:t>
            </a:r>
          </a:p>
        </p:txBody>
      </p:sp>
      <p:sp>
        <p:nvSpPr>
          <p:cNvPr id="9" name="Text Placeholder 4"/>
          <p:cNvSpPr>
            <a:spLocks noGrp="1"/>
          </p:cNvSpPr>
          <p:nvPr>
            <p:ph type="body" sz="quarter" idx="17" hasCustomPrompt="1"/>
          </p:nvPr>
        </p:nvSpPr>
        <p:spPr>
          <a:xfrm>
            <a:off x="1075063" y="6307665"/>
            <a:ext cx="8162717" cy="133200"/>
          </a:xfrm>
        </p:spPr>
        <p:txBody>
          <a:bodyPr lIns="0" tIns="0" rIns="0" bIns="0" anchor="b" anchorCtr="0"/>
          <a:lstStyle>
            <a:lvl1pPr marL="0" indent="0" algn="l">
              <a:lnSpc>
                <a:spcPct val="100000"/>
              </a:lnSpc>
              <a:spcBef>
                <a:spcPts val="0"/>
              </a:spcBef>
              <a:buNone/>
              <a:defRPr sz="800" baseline="0"/>
            </a:lvl1pPr>
            <a:lvl2pPr marL="0" indent="0" algn="l">
              <a:lnSpc>
                <a:spcPct val="100000"/>
              </a:lnSpc>
              <a:spcBef>
                <a:spcPts val="0"/>
              </a:spcBef>
              <a:buNone/>
              <a:defRPr sz="800"/>
            </a:lvl2pPr>
            <a:lvl3pPr marL="0" indent="0" algn="l">
              <a:lnSpc>
                <a:spcPct val="100000"/>
              </a:lnSpc>
              <a:spcBef>
                <a:spcPts val="0"/>
              </a:spcBef>
              <a:buNone/>
              <a:defRPr sz="800"/>
            </a:lvl3pPr>
            <a:lvl4pPr marL="0" algn="l">
              <a:lnSpc>
                <a:spcPct val="100000"/>
              </a:lnSpc>
              <a:spcBef>
                <a:spcPts val="0"/>
              </a:spcBef>
              <a:buNone/>
              <a:defRPr sz="800"/>
            </a:lvl4pPr>
            <a:lvl5pPr marL="0" indent="0" algn="l">
              <a:lnSpc>
                <a:spcPct val="100000"/>
              </a:lnSpc>
              <a:spcBef>
                <a:spcPts val="0"/>
              </a:spcBef>
              <a:buNone/>
              <a:defRPr sz="800"/>
            </a:lvl5pPr>
          </a:lstStyle>
          <a:p>
            <a:pPr lvl="0"/>
            <a:r>
              <a:rPr lang="en-US"/>
              <a:t>Source line</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37643023"/>
      </p:ext>
    </p:extLst>
  </p:cSld>
  <p:clrMapOvr>
    <a:masterClrMapping/>
  </p:clrMapOvr>
</p:sldLayout>
</file>

<file path=ppt/slideLayouts/slideLayout347.xml><?xml version="1.0" encoding="utf-8"?>
<p:sldLayout xmlns:a="http://schemas.openxmlformats.org/drawingml/2006/main" xmlns:r="http://schemas.openxmlformats.org/officeDocument/2006/relationships" xmlns:p="http://schemas.openxmlformats.org/presentationml/2006/main" preserve="1">
  <p:cSld name="Chart with description">
    <p:spTree>
      <p:nvGrpSpPr>
        <p:cNvPr id="1" name=""/>
        <p:cNvGrpSpPr/>
        <p:nvPr/>
      </p:nvGrpSpPr>
      <p:grpSpPr>
        <a:xfrm>
          <a:off x="0" y="0"/>
          <a:ext cx="0" cy="0"/>
          <a:chOff x="0" y="0"/>
          <a:chExt cx="0" cy="0"/>
        </a:xfrm>
      </p:grpSpPr>
      <p:sp>
        <p:nvSpPr>
          <p:cNvPr id="21" name="Date Placeholder 20"/>
          <p:cNvSpPr>
            <a:spLocks noGrp="1"/>
          </p:cNvSpPr>
          <p:nvPr>
            <p:ph type="dt" sz="half" idx="14"/>
          </p:nvPr>
        </p:nvSpPr>
        <p:spPr/>
        <p:txBody>
          <a:bodyPr/>
          <a:lstStyle/>
          <a:p>
            <a:endParaRPr lang="en-US"/>
          </a:p>
        </p:txBody>
      </p:sp>
      <p:sp>
        <p:nvSpPr>
          <p:cNvPr id="22" name="Footer Placeholder 21"/>
          <p:cNvSpPr>
            <a:spLocks noGrp="1"/>
          </p:cNvSpPr>
          <p:nvPr>
            <p:ph type="ftr" sz="quarter" idx="15"/>
          </p:nvPr>
        </p:nvSpPr>
        <p:spPr/>
        <p:txBody>
          <a:bodyPr/>
          <a:lstStyle/>
          <a:p>
            <a:endParaRPr lang="en-US"/>
          </a:p>
        </p:txBody>
      </p:sp>
      <p:sp>
        <p:nvSpPr>
          <p:cNvPr id="23" name="Slide Number Placeholder 22"/>
          <p:cNvSpPr>
            <a:spLocks noGrp="1"/>
          </p:cNvSpPr>
          <p:nvPr>
            <p:ph type="sldNum" sz="quarter" idx="16"/>
          </p:nvPr>
        </p:nvSpPr>
        <p:spPr/>
        <p:txBody>
          <a:bodyPr/>
          <a:lstStyle/>
          <a:p>
            <a:fld id="{5F3E29E4-0979-4FCA-B4C5-5FC6044C982A}" type="slidenum">
              <a:rPr lang="en-US" smtClean="0"/>
              <a:t>‹#›</a:t>
            </a:fld>
            <a:endParaRPr lang="en-US"/>
          </a:p>
        </p:txBody>
      </p:sp>
      <p:sp>
        <p:nvSpPr>
          <p:cNvPr id="2" name="Title 1"/>
          <p:cNvSpPr>
            <a:spLocks noGrp="1"/>
          </p:cNvSpPr>
          <p:nvPr>
            <p:ph type="title" hasCustomPrompt="1"/>
          </p:nvPr>
        </p:nvSpPr>
        <p:spPr/>
        <p:txBody>
          <a:bodyPr/>
          <a:lstStyle>
            <a:lvl1pPr>
              <a:defRPr/>
            </a:lvl1pPr>
          </a:lstStyle>
          <a:p>
            <a:r>
              <a:rPr lang="en-US"/>
              <a:t>Click to add slide title</a:t>
            </a:r>
          </a:p>
        </p:txBody>
      </p:sp>
      <p:sp>
        <p:nvSpPr>
          <p:cNvPr id="7" name="Subtitle 2"/>
          <p:cNvSpPr>
            <a:spLocks noGrp="1"/>
          </p:cNvSpPr>
          <p:nvPr>
            <p:ph type="subTitle" idx="13" hasCustomPrompt="1"/>
          </p:nvPr>
        </p:nvSpPr>
        <p:spPr>
          <a:xfrm>
            <a:off x="1075061" y="964671"/>
            <a:ext cx="7910158" cy="490042"/>
          </a:xfrm>
        </p:spPr>
        <p:txBody>
          <a:bodyPr wrap="none"/>
          <a:lstStyle>
            <a:lvl1pPr marL="0" indent="0" algn="l">
              <a:spcBef>
                <a:spcPts val="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sp>
        <p:nvSpPr>
          <p:cNvPr id="4" name="Chart Placeholder 3"/>
          <p:cNvSpPr>
            <a:spLocks noGrp="1"/>
          </p:cNvSpPr>
          <p:nvPr>
            <p:ph type="chart" sz="quarter" idx="17" hasCustomPrompt="1"/>
          </p:nvPr>
        </p:nvSpPr>
        <p:spPr>
          <a:xfrm>
            <a:off x="192088" y="1629617"/>
            <a:ext cx="5903913" cy="4599506"/>
          </a:xfrm>
        </p:spPr>
        <p:txBody>
          <a:bodyPr/>
          <a:lstStyle>
            <a:lvl1pPr>
              <a:defRPr/>
            </a:lvl1pPr>
          </a:lstStyle>
          <a:p>
            <a:r>
              <a:rPr lang="en-US"/>
              <a:t>Click to add chart</a:t>
            </a:r>
          </a:p>
        </p:txBody>
      </p:sp>
      <p:sp>
        <p:nvSpPr>
          <p:cNvPr id="6" name="Text Placeholder 5"/>
          <p:cNvSpPr>
            <a:spLocks noGrp="1"/>
          </p:cNvSpPr>
          <p:nvPr>
            <p:ph type="body" sz="quarter" idx="18" hasCustomPrompt="1"/>
          </p:nvPr>
        </p:nvSpPr>
        <p:spPr>
          <a:xfrm>
            <a:off x="6206067" y="3393019"/>
            <a:ext cx="5628602" cy="2023841"/>
          </a:xfrm>
          <a:solidFill>
            <a:srgbClr val="D9DADB"/>
          </a:solidFill>
        </p:spPr>
        <p:txBody>
          <a:bodyPr lIns="108000" tIns="108000" rIns="108000" bIns="108000"/>
          <a:lstStyle>
            <a:lvl1pPr>
              <a:defRPr sz="1600"/>
            </a:lvl1pPr>
            <a:lvl2pPr>
              <a:defRPr sz="1600"/>
            </a:lvl2pPr>
            <a:lvl3pPr>
              <a:defRPr sz="1600"/>
            </a:lvl3pPr>
            <a:lvl4pPr>
              <a:defRPr sz="1600"/>
            </a:lvl4pPr>
            <a:lvl5pPr>
              <a:defRPr sz="1600"/>
            </a:lvl5pPr>
          </a:lstStyle>
          <a:p>
            <a:pPr lvl="0"/>
            <a:r>
              <a:rPr lang="en-US"/>
              <a:t>Click to add text</a:t>
            </a:r>
          </a:p>
          <a:p>
            <a:pPr lvl="1"/>
            <a:r>
              <a:rPr lang="en-US"/>
              <a:t>Second level</a:t>
            </a:r>
          </a:p>
          <a:p>
            <a:pPr lvl="2"/>
            <a:r>
              <a:rPr lang="en-US"/>
              <a:t>Third level</a:t>
            </a:r>
          </a:p>
          <a:p>
            <a:pPr lvl="3"/>
            <a:r>
              <a:rPr lang="en-US"/>
              <a:t>Fourth level</a:t>
            </a:r>
          </a:p>
          <a:p>
            <a:pPr lvl="4"/>
            <a:r>
              <a:rPr lang="en-US"/>
              <a:t>Fifth level</a:t>
            </a:r>
          </a:p>
        </p:txBody>
      </p:sp>
      <p:sp>
        <p:nvSpPr>
          <p:cNvPr id="10" name="Text Placeholder 4"/>
          <p:cNvSpPr>
            <a:spLocks noGrp="1"/>
          </p:cNvSpPr>
          <p:nvPr>
            <p:ph type="body" sz="quarter" idx="19" hasCustomPrompt="1"/>
          </p:nvPr>
        </p:nvSpPr>
        <p:spPr>
          <a:xfrm>
            <a:off x="1075063" y="6307665"/>
            <a:ext cx="8162717" cy="133200"/>
          </a:xfrm>
        </p:spPr>
        <p:txBody>
          <a:bodyPr lIns="0" tIns="0" rIns="0" bIns="0" anchor="b" anchorCtr="0"/>
          <a:lstStyle>
            <a:lvl1pPr marL="0" indent="0" algn="l">
              <a:lnSpc>
                <a:spcPct val="100000"/>
              </a:lnSpc>
              <a:spcBef>
                <a:spcPts val="0"/>
              </a:spcBef>
              <a:buNone/>
              <a:defRPr sz="800" baseline="0"/>
            </a:lvl1pPr>
            <a:lvl2pPr marL="0" indent="0" algn="l">
              <a:lnSpc>
                <a:spcPct val="100000"/>
              </a:lnSpc>
              <a:spcBef>
                <a:spcPts val="0"/>
              </a:spcBef>
              <a:buNone/>
              <a:defRPr sz="800"/>
            </a:lvl2pPr>
            <a:lvl3pPr marL="0" indent="0" algn="l">
              <a:lnSpc>
                <a:spcPct val="100000"/>
              </a:lnSpc>
              <a:spcBef>
                <a:spcPts val="0"/>
              </a:spcBef>
              <a:buNone/>
              <a:defRPr sz="800"/>
            </a:lvl3pPr>
            <a:lvl4pPr marL="0" algn="l">
              <a:lnSpc>
                <a:spcPct val="100000"/>
              </a:lnSpc>
              <a:spcBef>
                <a:spcPts val="0"/>
              </a:spcBef>
              <a:buNone/>
              <a:defRPr sz="800"/>
            </a:lvl4pPr>
            <a:lvl5pPr marL="0" indent="0" algn="l">
              <a:lnSpc>
                <a:spcPct val="100000"/>
              </a:lnSpc>
              <a:spcBef>
                <a:spcPts val="0"/>
              </a:spcBef>
              <a:buNone/>
              <a:defRPr sz="800"/>
            </a:lvl5pPr>
          </a:lstStyle>
          <a:p>
            <a:pPr lvl="0"/>
            <a:r>
              <a:rPr lang="en-US"/>
              <a:t>Source line</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06185268"/>
      </p:ext>
    </p:extLst>
  </p:cSld>
  <p:clrMapOvr>
    <a:masterClrMapping/>
  </p:clrMapOvr>
</p:sldLayout>
</file>

<file path=ppt/slideLayouts/slideLayout348.xml><?xml version="1.0" encoding="utf-8"?>
<p:sldLayout xmlns:a="http://schemas.openxmlformats.org/drawingml/2006/main" xmlns:r="http://schemas.openxmlformats.org/officeDocument/2006/relationships" xmlns:p="http://schemas.openxmlformats.org/presentationml/2006/main" preserve="1">
  <p:cSld name="Notebook">
    <p:spTree>
      <p:nvGrpSpPr>
        <p:cNvPr id="1" name=""/>
        <p:cNvGrpSpPr/>
        <p:nvPr/>
      </p:nvGrpSpPr>
      <p:grpSpPr>
        <a:xfrm>
          <a:off x="0" y="0"/>
          <a:ext cx="0" cy="0"/>
          <a:chOff x="0" y="0"/>
          <a:chExt cx="0" cy="0"/>
        </a:xfrm>
      </p:grpSpPr>
      <p:pic>
        <p:nvPicPr>
          <p:cNvPr id="13" name="Notebook">
            <a:extLst>
              <a:ext uri="{FF2B5EF4-FFF2-40B4-BE49-F238E27FC236}">
                <a16:creationId xmlns:a16="http://schemas.microsoft.com/office/drawing/2014/main" id="{6DEE1461-64EC-7246-8FA6-71C6BF497627}"/>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3651351" y="1267197"/>
            <a:ext cx="8528460" cy="5161713"/>
          </a:xfrm>
          <a:prstGeom prst="rect">
            <a:avLst/>
          </a:prstGeom>
        </p:spPr>
      </p:pic>
      <p:sp>
        <p:nvSpPr>
          <p:cNvPr id="21" name="Date Placeholder 20"/>
          <p:cNvSpPr>
            <a:spLocks noGrp="1"/>
          </p:cNvSpPr>
          <p:nvPr>
            <p:ph type="dt" sz="half" idx="14"/>
          </p:nvPr>
        </p:nvSpPr>
        <p:spPr/>
        <p:txBody>
          <a:bodyPr/>
          <a:lstStyle/>
          <a:p>
            <a:endParaRPr lang="en-US"/>
          </a:p>
        </p:txBody>
      </p:sp>
      <p:sp>
        <p:nvSpPr>
          <p:cNvPr id="22" name="Footer Placeholder 21"/>
          <p:cNvSpPr>
            <a:spLocks noGrp="1"/>
          </p:cNvSpPr>
          <p:nvPr>
            <p:ph type="ftr" sz="quarter" idx="15"/>
          </p:nvPr>
        </p:nvSpPr>
        <p:spPr/>
        <p:txBody>
          <a:bodyPr/>
          <a:lstStyle/>
          <a:p>
            <a:endParaRPr lang="en-US"/>
          </a:p>
        </p:txBody>
      </p:sp>
      <p:sp>
        <p:nvSpPr>
          <p:cNvPr id="23" name="Slide Number Placeholder 22"/>
          <p:cNvSpPr>
            <a:spLocks noGrp="1"/>
          </p:cNvSpPr>
          <p:nvPr>
            <p:ph type="sldNum" sz="quarter" idx="16"/>
          </p:nvPr>
        </p:nvSpPr>
        <p:spPr/>
        <p:txBody>
          <a:bodyPr/>
          <a:lstStyle/>
          <a:p>
            <a:fld id="{5F3E29E4-0979-4FCA-B4C5-5FC6044C982A}" type="slidenum">
              <a:rPr lang="en-US" smtClean="0"/>
              <a:t>‹#›</a:t>
            </a:fld>
            <a:endParaRPr lang="en-US"/>
          </a:p>
        </p:txBody>
      </p:sp>
      <p:sp>
        <p:nvSpPr>
          <p:cNvPr id="2" name="Title 1"/>
          <p:cNvSpPr>
            <a:spLocks noGrp="1"/>
          </p:cNvSpPr>
          <p:nvPr>
            <p:ph type="title" hasCustomPrompt="1"/>
          </p:nvPr>
        </p:nvSpPr>
        <p:spPr/>
        <p:txBody>
          <a:bodyPr/>
          <a:lstStyle>
            <a:lvl1pPr>
              <a:defRPr/>
            </a:lvl1pPr>
          </a:lstStyle>
          <a:p>
            <a:r>
              <a:rPr lang="en-US"/>
              <a:t>Click to add slide title</a:t>
            </a:r>
          </a:p>
        </p:txBody>
      </p:sp>
      <p:sp>
        <p:nvSpPr>
          <p:cNvPr id="7" name="Subtitle 2"/>
          <p:cNvSpPr>
            <a:spLocks noGrp="1"/>
          </p:cNvSpPr>
          <p:nvPr>
            <p:ph type="subTitle" idx="13" hasCustomPrompt="1"/>
          </p:nvPr>
        </p:nvSpPr>
        <p:spPr>
          <a:xfrm>
            <a:off x="1075061" y="964671"/>
            <a:ext cx="7910158" cy="490042"/>
          </a:xfrm>
        </p:spPr>
        <p:txBody>
          <a:bodyPr wrap="none"/>
          <a:lstStyle>
            <a:lvl1pPr marL="0" indent="0" algn="l">
              <a:spcBef>
                <a:spcPts val="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sp>
        <p:nvSpPr>
          <p:cNvPr id="3" name="Content Placeholder 2"/>
          <p:cNvSpPr>
            <a:spLocks noGrp="1"/>
          </p:cNvSpPr>
          <p:nvPr>
            <p:ph idx="1" hasCustomPrompt="1"/>
          </p:nvPr>
        </p:nvSpPr>
        <p:spPr>
          <a:xfrm>
            <a:off x="1075062" y="1852623"/>
            <a:ext cx="3287388" cy="3658714"/>
          </a:xfrm>
        </p:spPr>
        <p:txBody>
          <a:bodyPr anchor="ctr"/>
          <a:lstStyle>
            <a:lvl1pPr>
              <a:defRPr sz="1600"/>
            </a:lvl1pPr>
            <a:lvl2pPr>
              <a:defRPr sz="1600"/>
            </a:lvl2pPr>
            <a:lvl3pPr>
              <a:defRPr sz="1600"/>
            </a:lvl3pPr>
            <a:lvl4pPr>
              <a:defRPr sz="1600"/>
            </a:lvl4pPr>
            <a:lvl5pPr>
              <a:defRPr sz="1600"/>
            </a:lvl5pPr>
          </a:lstStyle>
          <a:p>
            <a:pPr lvl="0"/>
            <a:r>
              <a:rPr lang="en-US"/>
              <a:t>Click to add text</a:t>
            </a:r>
          </a:p>
          <a:p>
            <a:pPr lvl="1"/>
            <a:r>
              <a:rPr lang="en-US"/>
              <a:t>Second level</a:t>
            </a:r>
          </a:p>
          <a:p>
            <a:pPr lvl="2"/>
            <a:r>
              <a:rPr lang="en-US"/>
              <a:t>Third level</a:t>
            </a:r>
          </a:p>
          <a:p>
            <a:pPr lvl="3"/>
            <a:r>
              <a:rPr lang="en-US"/>
              <a:t>Fourth level</a:t>
            </a:r>
          </a:p>
          <a:p>
            <a:pPr lvl="4"/>
            <a:r>
              <a:rPr lang="en-US"/>
              <a:t>Fifth level</a:t>
            </a:r>
          </a:p>
        </p:txBody>
      </p:sp>
      <p:sp>
        <p:nvSpPr>
          <p:cNvPr id="5" name="Picture Placeholder 4"/>
          <p:cNvSpPr>
            <a:spLocks noGrp="1"/>
          </p:cNvSpPr>
          <p:nvPr>
            <p:ph type="pic" sz="quarter" idx="17" hasCustomPrompt="1"/>
          </p:nvPr>
        </p:nvSpPr>
        <p:spPr>
          <a:xfrm>
            <a:off x="4904507" y="1821610"/>
            <a:ext cx="6001200" cy="3664800"/>
          </a:xfrm>
          <a:solidFill>
            <a:srgbClr val="D9DADB"/>
          </a:solidFill>
        </p:spPr>
        <p:txBody>
          <a:bodyPr/>
          <a:lstStyle>
            <a:lvl1pPr marL="0" indent="0">
              <a:buNone/>
              <a:defRPr/>
            </a:lvl1pPr>
          </a:lstStyle>
          <a:p>
            <a:r>
              <a:rPr lang="en-US"/>
              <a:t>Insert picture</a:t>
            </a:r>
          </a:p>
        </p:txBody>
      </p:sp>
      <p:sp>
        <p:nvSpPr>
          <p:cNvPr id="11" name="Text Placeholder 4"/>
          <p:cNvSpPr>
            <a:spLocks noGrp="1"/>
          </p:cNvSpPr>
          <p:nvPr>
            <p:ph type="body" sz="quarter" idx="18" hasCustomPrompt="1"/>
          </p:nvPr>
        </p:nvSpPr>
        <p:spPr>
          <a:xfrm>
            <a:off x="1075063" y="6307665"/>
            <a:ext cx="8162717" cy="133200"/>
          </a:xfrm>
        </p:spPr>
        <p:txBody>
          <a:bodyPr lIns="0" tIns="0" rIns="0" bIns="0" anchor="b" anchorCtr="0"/>
          <a:lstStyle>
            <a:lvl1pPr marL="0" indent="0" algn="l">
              <a:lnSpc>
                <a:spcPct val="100000"/>
              </a:lnSpc>
              <a:spcBef>
                <a:spcPts val="0"/>
              </a:spcBef>
              <a:buNone/>
              <a:defRPr sz="800" baseline="0"/>
            </a:lvl1pPr>
            <a:lvl2pPr marL="0" indent="0" algn="l">
              <a:lnSpc>
                <a:spcPct val="100000"/>
              </a:lnSpc>
              <a:spcBef>
                <a:spcPts val="0"/>
              </a:spcBef>
              <a:buNone/>
              <a:defRPr sz="800"/>
            </a:lvl2pPr>
            <a:lvl3pPr marL="0" indent="0" algn="l">
              <a:lnSpc>
                <a:spcPct val="100000"/>
              </a:lnSpc>
              <a:spcBef>
                <a:spcPts val="0"/>
              </a:spcBef>
              <a:buNone/>
              <a:defRPr sz="800"/>
            </a:lvl3pPr>
            <a:lvl4pPr marL="0" algn="l">
              <a:lnSpc>
                <a:spcPct val="100000"/>
              </a:lnSpc>
              <a:spcBef>
                <a:spcPts val="0"/>
              </a:spcBef>
              <a:buNone/>
              <a:defRPr sz="800"/>
            </a:lvl4pPr>
            <a:lvl5pPr marL="0" indent="0" algn="l">
              <a:lnSpc>
                <a:spcPct val="100000"/>
              </a:lnSpc>
              <a:spcBef>
                <a:spcPts val="0"/>
              </a:spcBef>
              <a:buNone/>
              <a:defRPr sz="800"/>
            </a:lvl5pPr>
          </a:lstStyle>
          <a:p>
            <a:pPr lvl="0"/>
            <a:r>
              <a:rPr lang="en-US"/>
              <a:t>Source line</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30819161"/>
      </p:ext>
    </p:extLst>
  </p:cSld>
  <p:clrMapOvr>
    <a:masterClrMapping/>
  </p:clrMapOvr>
</p:sldLayout>
</file>

<file path=ppt/slideLayouts/slideLayout349.xml><?xml version="1.0" encoding="utf-8"?>
<p:sldLayout xmlns:a="http://schemas.openxmlformats.org/drawingml/2006/main" xmlns:r="http://schemas.openxmlformats.org/officeDocument/2006/relationships" xmlns:p="http://schemas.openxmlformats.org/presentationml/2006/main" preserve="1">
  <p:cSld name="Tablet">
    <p:spTree>
      <p:nvGrpSpPr>
        <p:cNvPr id="1" name=""/>
        <p:cNvGrpSpPr/>
        <p:nvPr/>
      </p:nvGrpSpPr>
      <p:grpSpPr>
        <a:xfrm>
          <a:off x="0" y="0"/>
          <a:ext cx="0" cy="0"/>
          <a:chOff x="0" y="0"/>
          <a:chExt cx="0" cy="0"/>
        </a:xfrm>
      </p:grpSpPr>
      <p:pic>
        <p:nvPicPr>
          <p:cNvPr id="12" name="Grafik 3">
            <a:extLst>
              <a:ext uri="{FF2B5EF4-FFF2-40B4-BE49-F238E27FC236}">
                <a16:creationId xmlns:a16="http://schemas.microsoft.com/office/drawing/2014/main" id="{1D97A272-8DE5-144D-9076-0F435EC79171}"/>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4422451" y="1441279"/>
            <a:ext cx="6858000" cy="5323585"/>
          </a:xfrm>
          <a:prstGeom prst="rect">
            <a:avLst/>
          </a:prstGeom>
        </p:spPr>
      </p:pic>
      <p:sp>
        <p:nvSpPr>
          <p:cNvPr id="21" name="Date Placeholder 20"/>
          <p:cNvSpPr>
            <a:spLocks noGrp="1"/>
          </p:cNvSpPr>
          <p:nvPr>
            <p:ph type="dt" sz="half" idx="14"/>
          </p:nvPr>
        </p:nvSpPr>
        <p:spPr/>
        <p:txBody>
          <a:bodyPr/>
          <a:lstStyle/>
          <a:p>
            <a:endParaRPr lang="en-US"/>
          </a:p>
        </p:txBody>
      </p:sp>
      <p:sp>
        <p:nvSpPr>
          <p:cNvPr id="22" name="Footer Placeholder 21"/>
          <p:cNvSpPr>
            <a:spLocks noGrp="1"/>
          </p:cNvSpPr>
          <p:nvPr>
            <p:ph type="ftr" sz="quarter" idx="15"/>
          </p:nvPr>
        </p:nvSpPr>
        <p:spPr/>
        <p:txBody>
          <a:bodyPr/>
          <a:lstStyle/>
          <a:p>
            <a:endParaRPr lang="en-US"/>
          </a:p>
        </p:txBody>
      </p:sp>
      <p:sp>
        <p:nvSpPr>
          <p:cNvPr id="23" name="Slide Number Placeholder 22"/>
          <p:cNvSpPr>
            <a:spLocks noGrp="1"/>
          </p:cNvSpPr>
          <p:nvPr>
            <p:ph type="sldNum" sz="quarter" idx="16"/>
          </p:nvPr>
        </p:nvSpPr>
        <p:spPr/>
        <p:txBody>
          <a:bodyPr/>
          <a:lstStyle/>
          <a:p>
            <a:fld id="{5F3E29E4-0979-4FCA-B4C5-5FC6044C982A}" type="slidenum">
              <a:rPr lang="en-US" smtClean="0"/>
              <a:t>‹#›</a:t>
            </a:fld>
            <a:endParaRPr lang="en-US"/>
          </a:p>
        </p:txBody>
      </p:sp>
      <p:sp>
        <p:nvSpPr>
          <p:cNvPr id="2" name="Title 1"/>
          <p:cNvSpPr>
            <a:spLocks noGrp="1"/>
          </p:cNvSpPr>
          <p:nvPr>
            <p:ph type="title" hasCustomPrompt="1"/>
          </p:nvPr>
        </p:nvSpPr>
        <p:spPr/>
        <p:txBody>
          <a:bodyPr/>
          <a:lstStyle>
            <a:lvl1pPr>
              <a:defRPr/>
            </a:lvl1pPr>
          </a:lstStyle>
          <a:p>
            <a:r>
              <a:rPr lang="en-US"/>
              <a:t>Click to add slide title</a:t>
            </a:r>
          </a:p>
        </p:txBody>
      </p:sp>
      <p:sp>
        <p:nvSpPr>
          <p:cNvPr id="7" name="Subtitle 2"/>
          <p:cNvSpPr>
            <a:spLocks noGrp="1"/>
          </p:cNvSpPr>
          <p:nvPr>
            <p:ph type="subTitle" idx="13" hasCustomPrompt="1"/>
          </p:nvPr>
        </p:nvSpPr>
        <p:spPr>
          <a:xfrm>
            <a:off x="1075061" y="964671"/>
            <a:ext cx="7910158" cy="490042"/>
          </a:xfrm>
        </p:spPr>
        <p:txBody>
          <a:bodyPr wrap="none"/>
          <a:lstStyle>
            <a:lvl1pPr marL="0" indent="0" algn="l">
              <a:spcBef>
                <a:spcPts val="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sp>
        <p:nvSpPr>
          <p:cNvPr id="3" name="Content Placeholder 2"/>
          <p:cNvSpPr>
            <a:spLocks noGrp="1"/>
          </p:cNvSpPr>
          <p:nvPr>
            <p:ph idx="1" hasCustomPrompt="1"/>
          </p:nvPr>
        </p:nvSpPr>
        <p:spPr>
          <a:xfrm>
            <a:off x="1075062" y="1852623"/>
            <a:ext cx="3287388" cy="3658714"/>
          </a:xfrm>
        </p:spPr>
        <p:txBody>
          <a:bodyPr anchor="ctr"/>
          <a:lstStyle>
            <a:lvl1pPr>
              <a:defRPr sz="1600"/>
            </a:lvl1pPr>
            <a:lvl2pPr>
              <a:defRPr sz="1600"/>
            </a:lvl2pPr>
            <a:lvl3pPr>
              <a:defRPr sz="1600"/>
            </a:lvl3pPr>
            <a:lvl4pPr>
              <a:defRPr sz="1600"/>
            </a:lvl4pPr>
            <a:lvl5pPr>
              <a:defRPr sz="1600"/>
            </a:lvl5pPr>
          </a:lstStyle>
          <a:p>
            <a:pPr lvl="0"/>
            <a:r>
              <a:rPr lang="en-US"/>
              <a:t>Click to add text</a:t>
            </a:r>
          </a:p>
          <a:p>
            <a:pPr lvl="1"/>
            <a:r>
              <a:rPr lang="en-US"/>
              <a:t>Second level</a:t>
            </a:r>
          </a:p>
          <a:p>
            <a:pPr lvl="2"/>
            <a:r>
              <a:rPr lang="en-US"/>
              <a:t>Third level</a:t>
            </a:r>
          </a:p>
          <a:p>
            <a:pPr lvl="3"/>
            <a:r>
              <a:rPr lang="en-US"/>
              <a:t>Fourth level</a:t>
            </a:r>
          </a:p>
          <a:p>
            <a:pPr lvl="4"/>
            <a:r>
              <a:rPr lang="en-US"/>
              <a:t>Fifth level</a:t>
            </a:r>
          </a:p>
        </p:txBody>
      </p:sp>
      <p:sp>
        <p:nvSpPr>
          <p:cNvPr id="5" name="Picture Placeholder 4"/>
          <p:cNvSpPr>
            <a:spLocks noGrp="1"/>
          </p:cNvSpPr>
          <p:nvPr>
            <p:ph type="pic" sz="quarter" idx="17" hasCustomPrompt="1"/>
          </p:nvPr>
        </p:nvSpPr>
        <p:spPr>
          <a:xfrm>
            <a:off x="5135561" y="2010934"/>
            <a:ext cx="5491064" cy="3428280"/>
          </a:xfrm>
          <a:solidFill>
            <a:srgbClr val="D9DADB"/>
          </a:solidFill>
        </p:spPr>
        <p:txBody>
          <a:bodyPr/>
          <a:lstStyle>
            <a:lvl1pPr marL="0" indent="0">
              <a:buNone/>
              <a:defRPr/>
            </a:lvl1pPr>
          </a:lstStyle>
          <a:p>
            <a:r>
              <a:rPr lang="en-US"/>
              <a:t>Insert picture</a:t>
            </a:r>
          </a:p>
        </p:txBody>
      </p:sp>
      <p:sp>
        <p:nvSpPr>
          <p:cNvPr id="11" name="Text Placeholder 4"/>
          <p:cNvSpPr>
            <a:spLocks noGrp="1"/>
          </p:cNvSpPr>
          <p:nvPr>
            <p:ph type="body" sz="quarter" idx="18" hasCustomPrompt="1"/>
          </p:nvPr>
        </p:nvSpPr>
        <p:spPr>
          <a:xfrm>
            <a:off x="1075063" y="6307665"/>
            <a:ext cx="8162717" cy="133200"/>
          </a:xfrm>
        </p:spPr>
        <p:txBody>
          <a:bodyPr lIns="0" tIns="0" rIns="0" bIns="0" anchor="b" anchorCtr="0"/>
          <a:lstStyle>
            <a:lvl1pPr marL="0" indent="0" algn="l">
              <a:lnSpc>
                <a:spcPct val="100000"/>
              </a:lnSpc>
              <a:spcBef>
                <a:spcPts val="0"/>
              </a:spcBef>
              <a:buNone/>
              <a:defRPr sz="800" baseline="0"/>
            </a:lvl1pPr>
            <a:lvl2pPr marL="0" indent="0" algn="l">
              <a:lnSpc>
                <a:spcPct val="100000"/>
              </a:lnSpc>
              <a:spcBef>
                <a:spcPts val="0"/>
              </a:spcBef>
              <a:buNone/>
              <a:defRPr sz="800"/>
            </a:lvl2pPr>
            <a:lvl3pPr marL="0" indent="0" algn="l">
              <a:lnSpc>
                <a:spcPct val="100000"/>
              </a:lnSpc>
              <a:spcBef>
                <a:spcPts val="0"/>
              </a:spcBef>
              <a:buNone/>
              <a:defRPr sz="800"/>
            </a:lvl3pPr>
            <a:lvl4pPr marL="0" algn="l">
              <a:lnSpc>
                <a:spcPct val="100000"/>
              </a:lnSpc>
              <a:spcBef>
                <a:spcPts val="0"/>
              </a:spcBef>
              <a:buNone/>
              <a:defRPr sz="800"/>
            </a:lvl4pPr>
            <a:lvl5pPr marL="0" indent="0" algn="l">
              <a:lnSpc>
                <a:spcPct val="100000"/>
              </a:lnSpc>
              <a:spcBef>
                <a:spcPts val="0"/>
              </a:spcBef>
              <a:buNone/>
              <a:defRPr sz="800"/>
            </a:lvl5pPr>
          </a:lstStyle>
          <a:p>
            <a:pPr lvl="0"/>
            <a:r>
              <a:rPr lang="en-US"/>
              <a:t>Source line</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25729652"/>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Four contents (2)">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p>
            <a:r>
              <a:rPr lang="en-US"/>
              <a:t>Click to add headline</a:t>
            </a:r>
          </a:p>
        </p:txBody>
      </p:sp>
      <p:sp>
        <p:nvSpPr>
          <p:cNvPr id="7" name="Textplatzhalter 2"/>
          <p:cNvSpPr>
            <a:spLocks noGrp="1"/>
          </p:cNvSpPr>
          <p:nvPr>
            <p:ph type="body" sz="quarter" idx="11" hasCustomPrompt="1"/>
          </p:nvPr>
        </p:nvSpPr>
        <p:spPr bwMode="gray">
          <a:xfrm>
            <a:off x="431213" y="1220755"/>
            <a:ext cx="11328987" cy="384340"/>
          </a:xfrm>
        </p:spPr>
        <p:txBody>
          <a:bodyPr>
            <a:noAutofit/>
          </a:bodyPr>
          <a:lstStyle>
            <a:lvl1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1pPr>
            <a:lvl2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2pPr>
            <a:lvl3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3pPr>
            <a:lvl4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4pPr>
            <a:lvl5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5pPr>
            <a:lvl6pPr marL="0" indent="0">
              <a:lnSpc>
                <a:spcPct val="100000"/>
              </a:lnSpc>
              <a:spcBef>
                <a:spcPts val="800"/>
              </a:spcBef>
              <a:buNone/>
              <a:defRPr lang="en-GB" sz="2400" kern="1200" noProof="0" smtClean="0">
                <a:solidFill>
                  <a:schemeClr val="tx2"/>
                </a:solidFill>
                <a:latin typeface="Arial" pitchFamily="34" charset="0"/>
                <a:ea typeface="+mn-ea"/>
                <a:cs typeface="Arial" pitchFamily="34" charset="0"/>
              </a:defRPr>
            </a:lvl6pPr>
            <a:lvl7pPr marL="0" indent="0">
              <a:lnSpc>
                <a:spcPct val="100000"/>
              </a:lnSpc>
              <a:spcBef>
                <a:spcPts val="800"/>
              </a:spcBef>
              <a:buNone/>
              <a:defRPr lang="en-GB" sz="2400" kern="1200" noProof="0" smtClean="0">
                <a:solidFill>
                  <a:schemeClr val="tx2"/>
                </a:solidFill>
                <a:latin typeface="Arial" pitchFamily="34" charset="0"/>
                <a:ea typeface="+mn-ea"/>
                <a:cs typeface="Arial" pitchFamily="34" charset="0"/>
              </a:defRPr>
            </a:lvl7pPr>
            <a:lvl8pPr marL="0" indent="0">
              <a:lnSpc>
                <a:spcPct val="100000"/>
              </a:lnSpc>
              <a:spcBef>
                <a:spcPts val="800"/>
              </a:spcBef>
              <a:buNone/>
              <a:defRPr lang="en-GB" sz="2400" kern="1200" noProof="0" smtClean="0">
                <a:solidFill>
                  <a:schemeClr val="tx2"/>
                </a:solidFill>
                <a:latin typeface="Arial" pitchFamily="34" charset="0"/>
                <a:ea typeface="+mn-ea"/>
                <a:cs typeface="Arial" pitchFamily="34" charset="0"/>
              </a:defRPr>
            </a:lvl8pPr>
            <a:lvl9pPr marL="0" indent="0">
              <a:lnSpc>
                <a:spcPct val="100000"/>
              </a:lnSpc>
              <a:spcBef>
                <a:spcPts val="800"/>
              </a:spcBef>
              <a:buNone/>
              <a:defRPr lang="de-DE" sz="2400" kern="1200" noProof="0" smtClean="0">
                <a:solidFill>
                  <a:schemeClr val="tx2"/>
                </a:solidFill>
                <a:latin typeface="Arial" pitchFamily="34" charset="0"/>
                <a:ea typeface="+mn-ea"/>
                <a:cs typeface="Arial" pitchFamily="34" charset="0"/>
              </a:defRPr>
            </a:lvl9pPr>
          </a:lstStyle>
          <a:p>
            <a:pPr lvl="0"/>
            <a:r>
              <a:rPr lang="en-US"/>
              <a:t>Click to add </a:t>
            </a:r>
            <a:r>
              <a:rPr lang="en-US" err="1"/>
              <a:t>subheadline</a:t>
            </a:r>
            <a:endParaRPr lang="en-US"/>
          </a:p>
        </p:txBody>
      </p:sp>
      <p:sp>
        <p:nvSpPr>
          <p:cNvPr id="8" name="Textplatzhalter 3"/>
          <p:cNvSpPr>
            <a:spLocks noGrp="1"/>
          </p:cNvSpPr>
          <p:nvPr>
            <p:ph type="body" sz="quarter" idx="12" hasCustomPrompt="1"/>
          </p:nvPr>
        </p:nvSpPr>
        <p:spPr bwMode="gray">
          <a:xfrm>
            <a:off x="431371" y="6404736"/>
            <a:ext cx="11328400" cy="192616"/>
          </a:xfrm>
        </p:spPr>
        <p:txBody>
          <a:bodyPr tIns="0" bIns="36000" anchor="b" anchorCtr="0">
            <a:noAutofit/>
          </a:bodyPr>
          <a:lstStyle>
            <a:lvl1pPr marL="0" marR="0" indent="0" algn="l" defTabSz="1219170" rtl="0" eaLnBrk="1" fontAlgn="auto" latinLnBrk="0" hangingPunct="1">
              <a:lnSpc>
                <a:spcPct val="100000"/>
              </a:lnSpc>
              <a:spcBef>
                <a:spcPts val="0"/>
              </a:spcBef>
              <a:spcAft>
                <a:spcPts val="0"/>
              </a:spcAft>
              <a:buClrTx/>
              <a:buSzTx/>
              <a:buFont typeface="Arial" pitchFamily="34" charset="0"/>
              <a:buNone/>
              <a:tabLst/>
              <a:defRPr lang="de-DE" sz="1067" kern="1200" baseline="0" noProof="0" smtClean="0">
                <a:solidFill>
                  <a:schemeClr val="bg2"/>
                </a:solidFill>
                <a:latin typeface="Arial" pitchFamily="34" charset="0"/>
                <a:ea typeface="+mn-ea"/>
                <a:cs typeface="Arial" pitchFamily="34" charset="0"/>
              </a:defRPr>
            </a:lvl1pPr>
            <a:lvl2pPr marL="0" indent="0">
              <a:lnSpc>
                <a:spcPct val="100000"/>
              </a:lnSpc>
              <a:spcBef>
                <a:spcPts val="0"/>
              </a:spcBef>
              <a:buFont typeface="Arial" panose="020B0604020202020204" pitchFamily="34" charset="0"/>
              <a:buNone/>
              <a:defRPr lang="de-DE" sz="1067" kern="1200" baseline="0" noProof="0" smtClean="0">
                <a:solidFill>
                  <a:schemeClr val="bg2"/>
                </a:solidFill>
                <a:latin typeface="Arial" pitchFamily="34" charset="0"/>
                <a:ea typeface="+mn-ea"/>
                <a:cs typeface="Arial" pitchFamily="34" charset="0"/>
              </a:defRPr>
            </a:lvl2pPr>
            <a:lvl3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3pPr>
            <a:lvl4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4pPr>
            <a:lvl5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5pPr>
            <a:lvl6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6pPr>
            <a:lvl7pPr marL="0" indent="0">
              <a:lnSpc>
                <a:spcPct val="100000"/>
              </a:lnSpc>
              <a:spcBef>
                <a:spcPts val="0"/>
              </a:spcBef>
              <a:buNone/>
              <a:defRPr lang="de-DE" sz="1067" kern="1200" baseline="0" noProof="0" dirty="0" smtClean="0">
                <a:solidFill>
                  <a:schemeClr val="bg2"/>
                </a:solidFill>
                <a:latin typeface="Arial" pitchFamily="34" charset="0"/>
                <a:ea typeface="+mn-ea"/>
                <a:cs typeface="Arial" pitchFamily="34" charset="0"/>
              </a:defRPr>
            </a:lvl7pPr>
            <a:lvl8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8pPr>
            <a:lvl9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9pPr>
          </a:lstStyle>
          <a:p>
            <a:pPr lvl="0"/>
            <a:r>
              <a:rPr lang="en-US"/>
              <a:t>Click to add source information</a:t>
            </a:r>
          </a:p>
        </p:txBody>
      </p:sp>
      <p:sp>
        <p:nvSpPr>
          <p:cNvPr id="4" name="Content Placeholder 3"/>
          <p:cNvSpPr>
            <a:spLocks noGrp="1"/>
          </p:cNvSpPr>
          <p:nvPr>
            <p:ph sz="quarter" idx="13" hasCustomPrompt="1"/>
          </p:nvPr>
        </p:nvSpPr>
        <p:spPr>
          <a:xfrm>
            <a:off x="431215" y="1700760"/>
            <a:ext cx="5568773" cy="2208307"/>
          </a:xfrm>
        </p:spPr>
        <p:txBody>
          <a:bodyPr/>
          <a:lstStyle/>
          <a:p>
            <a:pPr lvl="0"/>
            <a:r>
              <a:rPr lang="en-US" noProof="0"/>
              <a:t>Click to add tex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Content Placeholder 3"/>
          <p:cNvSpPr>
            <a:spLocks noGrp="1"/>
          </p:cNvSpPr>
          <p:nvPr>
            <p:ph sz="quarter" idx="14" hasCustomPrompt="1"/>
          </p:nvPr>
        </p:nvSpPr>
        <p:spPr>
          <a:xfrm>
            <a:off x="6192014" y="1700760"/>
            <a:ext cx="5568773" cy="2208307"/>
          </a:xfrm>
        </p:spPr>
        <p:txBody>
          <a:bodyPr/>
          <a:lstStyle/>
          <a:p>
            <a:pPr lvl="0"/>
            <a:r>
              <a:rPr lang="en-US" noProof="0"/>
              <a:t>Click to add tex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Content Placeholder 3"/>
          <p:cNvSpPr>
            <a:spLocks noGrp="1"/>
          </p:cNvSpPr>
          <p:nvPr>
            <p:ph sz="quarter" idx="15" hasCustomPrompt="1"/>
          </p:nvPr>
        </p:nvSpPr>
        <p:spPr>
          <a:xfrm>
            <a:off x="431215" y="4101093"/>
            <a:ext cx="5568773" cy="2208307"/>
          </a:xfrm>
        </p:spPr>
        <p:txBody>
          <a:bodyPr/>
          <a:lstStyle/>
          <a:p>
            <a:pPr lvl="0"/>
            <a:r>
              <a:rPr lang="en-US" noProof="0"/>
              <a:t>Click to add tex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5" name="Content Placeholder 3"/>
          <p:cNvSpPr>
            <a:spLocks noGrp="1"/>
          </p:cNvSpPr>
          <p:nvPr>
            <p:ph sz="quarter" idx="16" hasCustomPrompt="1"/>
          </p:nvPr>
        </p:nvSpPr>
        <p:spPr>
          <a:xfrm>
            <a:off x="6192014" y="4101093"/>
            <a:ext cx="5568773" cy="2208307"/>
          </a:xfrm>
        </p:spPr>
        <p:txBody>
          <a:bodyPr/>
          <a:lstStyle/>
          <a:p>
            <a:pPr lvl="0"/>
            <a:r>
              <a:rPr lang="en-US" noProof="0"/>
              <a:t>Click to add text</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2749356167"/>
      </p:ext>
    </p:extLst>
  </p:cSld>
  <p:clrMapOvr>
    <a:masterClrMapping/>
  </p:clrMapOvr>
</p:sldLayout>
</file>

<file path=ppt/slideLayouts/slideLayout350.xml><?xml version="1.0" encoding="utf-8"?>
<p:sldLayout xmlns:a="http://schemas.openxmlformats.org/drawingml/2006/main" xmlns:r="http://schemas.openxmlformats.org/officeDocument/2006/relationships" xmlns:p="http://schemas.openxmlformats.org/presentationml/2006/main" preserve="1">
  <p:cSld name="Smartphone">
    <p:spTree>
      <p:nvGrpSpPr>
        <p:cNvPr id="1" name=""/>
        <p:cNvGrpSpPr/>
        <p:nvPr/>
      </p:nvGrpSpPr>
      <p:grpSpPr>
        <a:xfrm>
          <a:off x="0" y="0"/>
          <a:ext cx="0" cy="0"/>
          <a:chOff x="0" y="0"/>
          <a:chExt cx="0" cy="0"/>
        </a:xfrm>
      </p:grpSpPr>
      <p:pic>
        <p:nvPicPr>
          <p:cNvPr id="10" name="Grafik 2">
            <a:extLst>
              <a:ext uri="{FF2B5EF4-FFF2-40B4-BE49-F238E27FC236}">
                <a16:creationId xmlns:a16="http://schemas.microsoft.com/office/drawing/2014/main" id="{6421FD8A-F5D4-E041-A727-98ABA693B1A7}"/>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5472449" y="1362516"/>
            <a:ext cx="4953000" cy="4865134"/>
          </a:xfrm>
          <a:prstGeom prst="rect">
            <a:avLst/>
          </a:prstGeom>
          <a:effectLst>
            <a:reflection blurRad="6350" stA="48000" endPos="6000" dir="5400000" sy="-100000" algn="bl" rotWithShape="0"/>
          </a:effectLst>
        </p:spPr>
      </p:pic>
      <p:sp>
        <p:nvSpPr>
          <p:cNvPr id="21" name="Date Placeholder 20"/>
          <p:cNvSpPr>
            <a:spLocks noGrp="1"/>
          </p:cNvSpPr>
          <p:nvPr>
            <p:ph type="dt" sz="half" idx="14"/>
          </p:nvPr>
        </p:nvSpPr>
        <p:spPr/>
        <p:txBody>
          <a:bodyPr/>
          <a:lstStyle/>
          <a:p>
            <a:endParaRPr lang="en-US"/>
          </a:p>
        </p:txBody>
      </p:sp>
      <p:sp>
        <p:nvSpPr>
          <p:cNvPr id="22" name="Footer Placeholder 21"/>
          <p:cNvSpPr>
            <a:spLocks noGrp="1"/>
          </p:cNvSpPr>
          <p:nvPr>
            <p:ph type="ftr" sz="quarter" idx="15"/>
          </p:nvPr>
        </p:nvSpPr>
        <p:spPr/>
        <p:txBody>
          <a:bodyPr/>
          <a:lstStyle/>
          <a:p>
            <a:endParaRPr lang="en-US"/>
          </a:p>
        </p:txBody>
      </p:sp>
      <p:sp>
        <p:nvSpPr>
          <p:cNvPr id="23" name="Slide Number Placeholder 22"/>
          <p:cNvSpPr>
            <a:spLocks noGrp="1"/>
          </p:cNvSpPr>
          <p:nvPr>
            <p:ph type="sldNum" sz="quarter" idx="16"/>
          </p:nvPr>
        </p:nvSpPr>
        <p:spPr/>
        <p:txBody>
          <a:bodyPr/>
          <a:lstStyle/>
          <a:p>
            <a:fld id="{5F3E29E4-0979-4FCA-B4C5-5FC6044C982A}" type="slidenum">
              <a:rPr lang="en-US" smtClean="0"/>
              <a:t>‹#›</a:t>
            </a:fld>
            <a:endParaRPr lang="en-US"/>
          </a:p>
        </p:txBody>
      </p:sp>
      <p:sp>
        <p:nvSpPr>
          <p:cNvPr id="2" name="Title 1"/>
          <p:cNvSpPr>
            <a:spLocks noGrp="1"/>
          </p:cNvSpPr>
          <p:nvPr>
            <p:ph type="title" hasCustomPrompt="1"/>
          </p:nvPr>
        </p:nvSpPr>
        <p:spPr/>
        <p:txBody>
          <a:bodyPr/>
          <a:lstStyle>
            <a:lvl1pPr>
              <a:defRPr/>
            </a:lvl1pPr>
          </a:lstStyle>
          <a:p>
            <a:r>
              <a:rPr lang="en-US"/>
              <a:t>Click to add slide title</a:t>
            </a:r>
          </a:p>
        </p:txBody>
      </p:sp>
      <p:sp>
        <p:nvSpPr>
          <p:cNvPr id="7" name="Subtitle 2"/>
          <p:cNvSpPr>
            <a:spLocks noGrp="1"/>
          </p:cNvSpPr>
          <p:nvPr>
            <p:ph type="subTitle" idx="13" hasCustomPrompt="1"/>
          </p:nvPr>
        </p:nvSpPr>
        <p:spPr>
          <a:xfrm>
            <a:off x="1075061" y="964671"/>
            <a:ext cx="7910158" cy="490042"/>
          </a:xfrm>
        </p:spPr>
        <p:txBody>
          <a:bodyPr wrap="none"/>
          <a:lstStyle>
            <a:lvl1pPr marL="0" indent="0" algn="l">
              <a:spcBef>
                <a:spcPts val="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sp>
        <p:nvSpPr>
          <p:cNvPr id="3" name="Content Placeholder 2"/>
          <p:cNvSpPr>
            <a:spLocks noGrp="1"/>
          </p:cNvSpPr>
          <p:nvPr>
            <p:ph idx="1" hasCustomPrompt="1"/>
          </p:nvPr>
        </p:nvSpPr>
        <p:spPr>
          <a:xfrm>
            <a:off x="1075061" y="1852623"/>
            <a:ext cx="5241071" cy="3658714"/>
          </a:xfrm>
        </p:spPr>
        <p:txBody>
          <a:bodyPr anchor="ctr"/>
          <a:lstStyle>
            <a:lvl1pPr>
              <a:defRPr sz="1600"/>
            </a:lvl1pPr>
            <a:lvl2pPr>
              <a:defRPr sz="1600"/>
            </a:lvl2pPr>
            <a:lvl3pPr>
              <a:defRPr sz="1600"/>
            </a:lvl3pPr>
            <a:lvl4pPr>
              <a:defRPr sz="1600"/>
            </a:lvl4pPr>
            <a:lvl5pPr>
              <a:defRPr sz="1600"/>
            </a:lvl5pPr>
          </a:lstStyle>
          <a:p>
            <a:pPr lvl="0"/>
            <a:r>
              <a:rPr lang="en-US"/>
              <a:t>Click to add text</a:t>
            </a:r>
          </a:p>
          <a:p>
            <a:pPr lvl="1"/>
            <a:r>
              <a:rPr lang="en-US"/>
              <a:t>Second level</a:t>
            </a:r>
          </a:p>
          <a:p>
            <a:pPr lvl="2"/>
            <a:r>
              <a:rPr lang="en-US"/>
              <a:t>Third level</a:t>
            </a:r>
          </a:p>
          <a:p>
            <a:pPr lvl="3"/>
            <a:r>
              <a:rPr lang="en-US"/>
              <a:t>Fourth level</a:t>
            </a:r>
          </a:p>
          <a:p>
            <a:pPr lvl="4"/>
            <a:r>
              <a:rPr lang="en-US"/>
              <a:t>Fifth level</a:t>
            </a:r>
          </a:p>
        </p:txBody>
      </p:sp>
      <p:sp>
        <p:nvSpPr>
          <p:cNvPr id="5" name="Picture Placeholder 4"/>
          <p:cNvSpPr>
            <a:spLocks noGrp="1"/>
          </p:cNvSpPr>
          <p:nvPr>
            <p:ph type="pic" sz="quarter" idx="17" hasCustomPrompt="1"/>
          </p:nvPr>
        </p:nvSpPr>
        <p:spPr>
          <a:xfrm>
            <a:off x="6923531" y="1784822"/>
            <a:ext cx="2006654" cy="4104000"/>
          </a:xfrm>
          <a:solidFill>
            <a:srgbClr val="D9DADB"/>
          </a:solidFill>
        </p:spPr>
        <p:txBody>
          <a:bodyPr/>
          <a:lstStyle>
            <a:lvl1pPr marL="0" indent="0">
              <a:buNone/>
              <a:defRPr/>
            </a:lvl1pPr>
          </a:lstStyle>
          <a:p>
            <a:r>
              <a:rPr lang="en-US"/>
              <a:t>Insert picture</a:t>
            </a:r>
          </a:p>
        </p:txBody>
      </p:sp>
      <p:sp>
        <p:nvSpPr>
          <p:cNvPr id="12" name="Text Placeholder 4"/>
          <p:cNvSpPr>
            <a:spLocks noGrp="1"/>
          </p:cNvSpPr>
          <p:nvPr>
            <p:ph type="body" sz="quarter" idx="18" hasCustomPrompt="1"/>
          </p:nvPr>
        </p:nvSpPr>
        <p:spPr>
          <a:xfrm>
            <a:off x="1075063" y="6307665"/>
            <a:ext cx="8162717" cy="133200"/>
          </a:xfrm>
        </p:spPr>
        <p:txBody>
          <a:bodyPr lIns="0" tIns="0" rIns="0" bIns="0" anchor="b" anchorCtr="0"/>
          <a:lstStyle>
            <a:lvl1pPr marL="0" indent="0" algn="l">
              <a:lnSpc>
                <a:spcPct val="100000"/>
              </a:lnSpc>
              <a:spcBef>
                <a:spcPts val="0"/>
              </a:spcBef>
              <a:buNone/>
              <a:defRPr sz="800" baseline="0"/>
            </a:lvl1pPr>
            <a:lvl2pPr marL="0" indent="0" algn="l">
              <a:lnSpc>
                <a:spcPct val="100000"/>
              </a:lnSpc>
              <a:spcBef>
                <a:spcPts val="0"/>
              </a:spcBef>
              <a:buNone/>
              <a:defRPr sz="800"/>
            </a:lvl2pPr>
            <a:lvl3pPr marL="0" indent="0" algn="l">
              <a:lnSpc>
                <a:spcPct val="100000"/>
              </a:lnSpc>
              <a:spcBef>
                <a:spcPts val="0"/>
              </a:spcBef>
              <a:buNone/>
              <a:defRPr sz="800"/>
            </a:lvl3pPr>
            <a:lvl4pPr marL="0" algn="l">
              <a:lnSpc>
                <a:spcPct val="100000"/>
              </a:lnSpc>
              <a:spcBef>
                <a:spcPts val="0"/>
              </a:spcBef>
              <a:buNone/>
              <a:defRPr sz="800"/>
            </a:lvl4pPr>
            <a:lvl5pPr marL="0" indent="0" algn="l">
              <a:lnSpc>
                <a:spcPct val="100000"/>
              </a:lnSpc>
              <a:spcBef>
                <a:spcPts val="0"/>
              </a:spcBef>
              <a:buNone/>
              <a:defRPr sz="800"/>
            </a:lvl5pPr>
          </a:lstStyle>
          <a:p>
            <a:pPr lvl="0"/>
            <a:r>
              <a:rPr lang="en-US"/>
              <a:t>Source line</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37391622"/>
      </p:ext>
    </p:extLst>
  </p:cSld>
  <p:clrMapOvr>
    <a:masterClrMapping/>
  </p:clrMapOvr>
</p:sldLayout>
</file>

<file path=ppt/slideLayouts/slideLayout351.xml><?xml version="1.0" encoding="utf-8"?>
<p:sldLayout xmlns:a="http://schemas.openxmlformats.org/drawingml/2006/main" xmlns:r="http://schemas.openxmlformats.org/officeDocument/2006/relationships" xmlns:p="http://schemas.openxmlformats.org/presentationml/2006/main" preserve="1">
  <p:cSld name="One contact">
    <p:spTree>
      <p:nvGrpSpPr>
        <p:cNvPr id="1" name=""/>
        <p:cNvGrpSpPr/>
        <p:nvPr/>
      </p:nvGrpSpPr>
      <p:grpSpPr>
        <a:xfrm>
          <a:off x="0" y="0"/>
          <a:ext cx="0" cy="0"/>
          <a:chOff x="0" y="0"/>
          <a:chExt cx="0" cy="0"/>
        </a:xfrm>
      </p:grpSpPr>
      <p:sp>
        <p:nvSpPr>
          <p:cNvPr id="4" name="Picture Placeholder 3"/>
          <p:cNvSpPr>
            <a:spLocks noGrp="1"/>
          </p:cNvSpPr>
          <p:nvPr>
            <p:ph type="pic" sz="quarter" idx="17" hasCustomPrompt="1"/>
          </p:nvPr>
        </p:nvSpPr>
        <p:spPr>
          <a:xfrm>
            <a:off x="1056217" y="1833656"/>
            <a:ext cx="3203503" cy="3935319"/>
          </a:xfrm>
          <a:solidFill>
            <a:srgbClr val="D9DADB"/>
          </a:solidFill>
        </p:spPr>
        <p:txBody>
          <a:bodyPr/>
          <a:lstStyle>
            <a:lvl1pPr marL="0" indent="0">
              <a:buNone/>
              <a:defRPr sz="1400"/>
            </a:lvl1pPr>
          </a:lstStyle>
          <a:p>
            <a:r>
              <a:rPr lang="en-US"/>
              <a:t>Insert picture</a:t>
            </a:r>
          </a:p>
        </p:txBody>
      </p:sp>
      <p:sp>
        <p:nvSpPr>
          <p:cNvPr id="21" name="Date Placeholder 20"/>
          <p:cNvSpPr>
            <a:spLocks noGrp="1"/>
          </p:cNvSpPr>
          <p:nvPr>
            <p:ph type="dt" sz="half" idx="14"/>
          </p:nvPr>
        </p:nvSpPr>
        <p:spPr/>
        <p:txBody>
          <a:bodyPr/>
          <a:lstStyle/>
          <a:p>
            <a:endParaRPr lang="en-US"/>
          </a:p>
        </p:txBody>
      </p:sp>
      <p:sp>
        <p:nvSpPr>
          <p:cNvPr id="22" name="Footer Placeholder 21"/>
          <p:cNvSpPr>
            <a:spLocks noGrp="1"/>
          </p:cNvSpPr>
          <p:nvPr>
            <p:ph type="ftr" sz="quarter" idx="15"/>
          </p:nvPr>
        </p:nvSpPr>
        <p:spPr/>
        <p:txBody>
          <a:bodyPr/>
          <a:lstStyle/>
          <a:p>
            <a:endParaRPr lang="en-US"/>
          </a:p>
        </p:txBody>
      </p:sp>
      <p:sp>
        <p:nvSpPr>
          <p:cNvPr id="23" name="Slide Number Placeholder 22"/>
          <p:cNvSpPr>
            <a:spLocks noGrp="1"/>
          </p:cNvSpPr>
          <p:nvPr>
            <p:ph type="sldNum" sz="quarter" idx="16"/>
          </p:nvPr>
        </p:nvSpPr>
        <p:spPr/>
        <p:txBody>
          <a:bodyPr/>
          <a:lstStyle/>
          <a:p>
            <a:fld id="{5F3E29E4-0979-4FCA-B4C5-5FC6044C982A}" type="slidenum">
              <a:rPr lang="en-US" smtClean="0"/>
              <a:t>‹#›</a:t>
            </a:fld>
            <a:endParaRPr lang="en-US"/>
          </a:p>
        </p:txBody>
      </p:sp>
      <p:sp>
        <p:nvSpPr>
          <p:cNvPr id="2" name="Title 1"/>
          <p:cNvSpPr>
            <a:spLocks noGrp="1"/>
          </p:cNvSpPr>
          <p:nvPr>
            <p:ph type="title" hasCustomPrompt="1"/>
          </p:nvPr>
        </p:nvSpPr>
        <p:spPr/>
        <p:txBody>
          <a:bodyPr/>
          <a:lstStyle>
            <a:lvl1pPr>
              <a:defRPr/>
            </a:lvl1pPr>
          </a:lstStyle>
          <a:p>
            <a:r>
              <a:rPr lang="en-US"/>
              <a:t>Click to add contact title</a:t>
            </a:r>
          </a:p>
        </p:txBody>
      </p:sp>
      <p:sp>
        <p:nvSpPr>
          <p:cNvPr id="7" name="Subtitle 2"/>
          <p:cNvSpPr>
            <a:spLocks noGrp="1"/>
          </p:cNvSpPr>
          <p:nvPr>
            <p:ph type="subTitle" idx="13" hasCustomPrompt="1"/>
          </p:nvPr>
        </p:nvSpPr>
        <p:spPr>
          <a:xfrm>
            <a:off x="1075061" y="964671"/>
            <a:ext cx="7910158" cy="490042"/>
          </a:xfrm>
        </p:spPr>
        <p:txBody>
          <a:bodyPr wrap="none"/>
          <a:lstStyle>
            <a:lvl1pPr marL="0" indent="0" algn="l">
              <a:spcBef>
                <a:spcPts val="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grpSp>
        <p:nvGrpSpPr>
          <p:cNvPr id="8" name="Gruppieren 80">
            <a:extLst>
              <a:ext uri="{FF2B5EF4-FFF2-40B4-BE49-F238E27FC236}">
                <a16:creationId xmlns:a16="http://schemas.microsoft.com/office/drawing/2014/main" id="{6B969E7B-9C39-4443-9B02-74C1E7C5CCAC}"/>
              </a:ext>
            </a:extLst>
          </p:cNvPr>
          <p:cNvGrpSpPr/>
          <p:nvPr/>
        </p:nvGrpSpPr>
        <p:grpSpPr>
          <a:xfrm>
            <a:off x="4451001" y="2884199"/>
            <a:ext cx="171180" cy="171180"/>
            <a:chOff x="3392092" y="1841122"/>
            <a:chExt cx="646508" cy="646508"/>
          </a:xfrm>
        </p:grpSpPr>
        <p:sp>
          <p:nvSpPr>
            <p:cNvPr id="9" name="Rechteck 14">
              <a:extLst>
                <a:ext uri="{FF2B5EF4-FFF2-40B4-BE49-F238E27FC236}">
                  <a16:creationId xmlns:a16="http://schemas.microsoft.com/office/drawing/2014/main" id="{D78F58EA-5525-8D43-8295-FEA52ECF6BFA}"/>
                </a:ext>
              </a:extLst>
            </p:cNvPr>
            <p:cNvSpPr>
              <a:spLocks noChangeAspect="1"/>
            </p:cNvSpPr>
            <p:nvPr/>
          </p:nvSpPr>
          <p:spPr bwMode="gray">
            <a:xfrm>
              <a:off x="3392092" y="1841122"/>
              <a:ext cx="646508" cy="646508"/>
            </a:xfrm>
            <a:prstGeom prst="rect">
              <a:avLst/>
            </a:prstGeom>
            <a:solidFill>
              <a:srgbClr val="E55A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pPr>
              <a:endParaRPr lang="en-US" sz="1000">
                <a:solidFill>
                  <a:schemeClr val="tx1"/>
                </a:solidFill>
                <a:latin typeface="Arial" pitchFamily="34" charset="0"/>
                <a:cs typeface="Arial" pitchFamily="34" charset="0"/>
              </a:endParaRPr>
            </a:p>
          </p:txBody>
        </p:sp>
        <p:sp>
          <p:nvSpPr>
            <p:cNvPr id="10" name="Freeform 67">
              <a:extLst>
                <a:ext uri="{FF2B5EF4-FFF2-40B4-BE49-F238E27FC236}">
                  <a16:creationId xmlns:a16="http://schemas.microsoft.com/office/drawing/2014/main" id="{D01A6292-2776-4945-B828-483D79DC4908}"/>
                </a:ext>
              </a:extLst>
            </p:cNvPr>
            <p:cNvSpPr>
              <a:spLocks noChangeAspect="1"/>
            </p:cNvSpPr>
            <p:nvPr/>
          </p:nvSpPr>
          <p:spPr bwMode="auto">
            <a:xfrm>
              <a:off x="3546638" y="1970424"/>
              <a:ext cx="337415" cy="387905"/>
            </a:xfrm>
            <a:custGeom>
              <a:avLst/>
              <a:gdLst>
                <a:gd name="T0" fmla="*/ 573 w 1624"/>
                <a:gd name="T1" fmla="*/ 1257 h 1867"/>
                <a:gd name="T2" fmla="*/ 662 w 1624"/>
                <a:gd name="T3" fmla="*/ 1288 h 1867"/>
                <a:gd name="T4" fmla="*/ 938 w 1624"/>
                <a:gd name="T5" fmla="*/ 1051 h 1867"/>
                <a:gd name="T6" fmla="*/ 1106 w 1624"/>
                <a:gd name="T7" fmla="*/ 731 h 1867"/>
                <a:gd name="T8" fmla="*/ 1059 w 1624"/>
                <a:gd name="T9" fmla="*/ 645 h 1867"/>
                <a:gd name="T10" fmla="*/ 1001 w 1624"/>
                <a:gd name="T11" fmla="*/ 613 h 1867"/>
                <a:gd name="T12" fmla="*/ 924 w 1624"/>
                <a:gd name="T13" fmla="*/ 432 h 1867"/>
                <a:gd name="T14" fmla="*/ 1114 w 1624"/>
                <a:gd name="T15" fmla="*/ 81 h 1867"/>
                <a:gd name="T16" fmla="*/ 1287 w 1624"/>
                <a:gd name="T17" fmla="*/ 35 h 1867"/>
                <a:gd name="T18" fmla="*/ 1350 w 1624"/>
                <a:gd name="T19" fmla="*/ 69 h 1867"/>
                <a:gd name="T20" fmla="*/ 1527 w 1624"/>
                <a:gd name="T21" fmla="*/ 235 h 1867"/>
                <a:gd name="T22" fmla="*/ 1583 w 1624"/>
                <a:gd name="T23" fmla="*/ 555 h 1867"/>
                <a:gd name="T24" fmla="*/ 1172 w 1624"/>
                <a:gd name="T25" fmla="*/ 1253 h 1867"/>
                <a:gd name="T26" fmla="*/ 586 w 1624"/>
                <a:gd name="T27" fmla="*/ 1803 h 1867"/>
                <a:gd name="T28" fmla="*/ 269 w 1624"/>
                <a:gd name="T29" fmla="*/ 1807 h 1867"/>
                <a:gd name="T30" fmla="*/ 33 w 1624"/>
                <a:gd name="T31" fmla="*/ 1602 h 1867"/>
                <a:gd name="T32" fmla="*/ 2 w 1624"/>
                <a:gd name="T33" fmla="*/ 1508 h 1867"/>
                <a:gd name="T34" fmla="*/ 45 w 1624"/>
                <a:gd name="T35" fmla="*/ 1421 h 1867"/>
                <a:gd name="T36" fmla="*/ 346 w 1624"/>
                <a:gd name="T37" fmla="*/ 1158 h 1867"/>
                <a:gd name="T38" fmla="*/ 448 w 1624"/>
                <a:gd name="T39" fmla="*/ 1145 h 1867"/>
                <a:gd name="T40" fmla="*/ 573 w 1624"/>
                <a:gd name="T41" fmla="*/ 1257 h 18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24" h="1867">
                  <a:moveTo>
                    <a:pt x="573" y="1257"/>
                  </a:moveTo>
                  <a:cubicBezTo>
                    <a:pt x="592" y="1282"/>
                    <a:pt x="630" y="1303"/>
                    <a:pt x="662" y="1288"/>
                  </a:cubicBezTo>
                  <a:cubicBezTo>
                    <a:pt x="753" y="1245"/>
                    <a:pt x="854" y="1156"/>
                    <a:pt x="938" y="1051"/>
                  </a:cubicBezTo>
                  <a:cubicBezTo>
                    <a:pt x="1020" y="948"/>
                    <a:pt x="1084" y="831"/>
                    <a:pt x="1106" y="731"/>
                  </a:cubicBezTo>
                  <a:cubicBezTo>
                    <a:pt x="1113" y="696"/>
                    <a:pt x="1089" y="661"/>
                    <a:pt x="1059" y="645"/>
                  </a:cubicBezTo>
                  <a:cubicBezTo>
                    <a:pt x="1001" y="613"/>
                    <a:pt x="1001" y="613"/>
                    <a:pt x="1001" y="613"/>
                  </a:cubicBezTo>
                  <a:cubicBezTo>
                    <a:pt x="942" y="580"/>
                    <a:pt x="888" y="499"/>
                    <a:pt x="924" y="432"/>
                  </a:cubicBezTo>
                  <a:cubicBezTo>
                    <a:pt x="1114" y="81"/>
                    <a:pt x="1114" y="81"/>
                    <a:pt x="1114" y="81"/>
                  </a:cubicBezTo>
                  <a:cubicBezTo>
                    <a:pt x="1150" y="16"/>
                    <a:pt x="1224" y="0"/>
                    <a:pt x="1287" y="35"/>
                  </a:cubicBezTo>
                  <a:cubicBezTo>
                    <a:pt x="1350" y="69"/>
                    <a:pt x="1350" y="69"/>
                    <a:pt x="1350" y="69"/>
                  </a:cubicBezTo>
                  <a:cubicBezTo>
                    <a:pt x="1415" y="105"/>
                    <a:pt x="1479" y="165"/>
                    <a:pt x="1527" y="235"/>
                  </a:cubicBezTo>
                  <a:cubicBezTo>
                    <a:pt x="1593" y="332"/>
                    <a:pt x="1624" y="442"/>
                    <a:pt x="1583" y="555"/>
                  </a:cubicBezTo>
                  <a:cubicBezTo>
                    <a:pt x="1500" y="781"/>
                    <a:pt x="1351" y="1030"/>
                    <a:pt x="1172" y="1253"/>
                  </a:cubicBezTo>
                  <a:cubicBezTo>
                    <a:pt x="994" y="1477"/>
                    <a:pt x="786" y="1676"/>
                    <a:pt x="586" y="1803"/>
                  </a:cubicBezTo>
                  <a:cubicBezTo>
                    <a:pt x="486" y="1867"/>
                    <a:pt x="375" y="1856"/>
                    <a:pt x="269" y="1807"/>
                  </a:cubicBezTo>
                  <a:cubicBezTo>
                    <a:pt x="157" y="1755"/>
                    <a:pt x="106" y="1695"/>
                    <a:pt x="33" y="1602"/>
                  </a:cubicBezTo>
                  <a:cubicBezTo>
                    <a:pt x="11" y="1573"/>
                    <a:pt x="0" y="1540"/>
                    <a:pt x="2" y="1508"/>
                  </a:cubicBezTo>
                  <a:cubicBezTo>
                    <a:pt x="4" y="1475"/>
                    <a:pt x="18" y="1444"/>
                    <a:pt x="45" y="1421"/>
                  </a:cubicBezTo>
                  <a:cubicBezTo>
                    <a:pt x="70" y="1399"/>
                    <a:pt x="346" y="1158"/>
                    <a:pt x="346" y="1158"/>
                  </a:cubicBezTo>
                  <a:cubicBezTo>
                    <a:pt x="376" y="1134"/>
                    <a:pt x="413" y="1133"/>
                    <a:pt x="448" y="1145"/>
                  </a:cubicBezTo>
                  <a:cubicBezTo>
                    <a:pt x="510" y="1166"/>
                    <a:pt x="536" y="1210"/>
                    <a:pt x="573" y="1257"/>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351"/>
            </a:p>
          </p:txBody>
        </p:sp>
      </p:grpSp>
      <p:grpSp>
        <p:nvGrpSpPr>
          <p:cNvPr id="11" name="Group 3">
            <a:extLst>
              <a:ext uri="{FF2B5EF4-FFF2-40B4-BE49-F238E27FC236}">
                <a16:creationId xmlns:a16="http://schemas.microsoft.com/office/drawing/2014/main" id="{DED6A25A-5DE2-1441-8BA2-C68D3B4F9209}"/>
              </a:ext>
            </a:extLst>
          </p:cNvPr>
          <p:cNvGrpSpPr>
            <a:grpSpLocks noChangeAspect="1"/>
          </p:cNvGrpSpPr>
          <p:nvPr>
            <p:custDataLst>
              <p:tags r:id="rId1"/>
            </p:custDataLst>
          </p:nvPr>
        </p:nvGrpSpPr>
        <p:grpSpPr>
          <a:xfrm>
            <a:off x="4451002" y="3169087"/>
            <a:ext cx="171180" cy="171180"/>
            <a:chOff x="328396" y="5313940"/>
            <a:chExt cx="720000" cy="720000"/>
          </a:xfrm>
        </p:grpSpPr>
        <p:sp>
          <p:nvSpPr>
            <p:cNvPr id="12" name="Rectangle 4">
              <a:extLst>
                <a:ext uri="{FF2B5EF4-FFF2-40B4-BE49-F238E27FC236}">
                  <a16:creationId xmlns:a16="http://schemas.microsoft.com/office/drawing/2014/main" id="{5F49E67F-D4FA-9D48-96BC-59AE946ECD15}"/>
                </a:ext>
              </a:extLst>
            </p:cNvPr>
            <p:cNvSpPr/>
            <p:nvPr/>
          </p:nvSpPr>
          <p:spPr bwMode="gray">
            <a:xfrm>
              <a:off x="328396" y="5313940"/>
              <a:ext cx="720000" cy="720000"/>
            </a:xfrm>
            <a:prstGeom prst="rect">
              <a:avLst/>
            </a:prstGeom>
            <a:solidFill>
              <a:srgbClr val="E55A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pPr>
              <a:endParaRPr lang="en-US" sz="1000">
                <a:solidFill>
                  <a:schemeClr val="tx1"/>
                </a:solidFill>
                <a:latin typeface="Arial" pitchFamily="34" charset="0"/>
                <a:cs typeface="Arial" pitchFamily="34" charset="0"/>
              </a:endParaRPr>
            </a:p>
          </p:txBody>
        </p:sp>
        <p:sp>
          <p:nvSpPr>
            <p:cNvPr id="13" name="Freeform 76">
              <a:extLst>
                <a:ext uri="{FF2B5EF4-FFF2-40B4-BE49-F238E27FC236}">
                  <a16:creationId xmlns:a16="http://schemas.microsoft.com/office/drawing/2014/main" id="{187E70E6-AF3F-2549-908E-DF4BA61040AA}"/>
                </a:ext>
              </a:extLst>
            </p:cNvPr>
            <p:cNvSpPr>
              <a:spLocks noChangeAspect="1" noEditPoints="1"/>
            </p:cNvSpPr>
            <p:nvPr/>
          </p:nvSpPr>
          <p:spPr bwMode="auto">
            <a:xfrm>
              <a:off x="456202" y="5509222"/>
              <a:ext cx="504000" cy="329436"/>
            </a:xfrm>
            <a:custGeom>
              <a:avLst/>
              <a:gdLst>
                <a:gd name="T0" fmla="*/ 0 w 2080"/>
                <a:gd name="T1" fmla="*/ 65 h 1360"/>
                <a:gd name="T2" fmla="*/ 0 w 2080"/>
                <a:gd name="T3" fmla="*/ 0 h 1360"/>
                <a:gd name="T4" fmla="*/ 2080 w 2080"/>
                <a:gd name="T5" fmla="*/ 0 h 1360"/>
                <a:gd name="T6" fmla="*/ 2080 w 2080"/>
                <a:gd name="T7" fmla="*/ 65 h 1360"/>
                <a:gd name="T8" fmla="*/ 1089 w 2080"/>
                <a:gd name="T9" fmla="*/ 862 h 1360"/>
                <a:gd name="T10" fmla="*/ 991 w 2080"/>
                <a:gd name="T11" fmla="*/ 862 h 1360"/>
                <a:gd name="T12" fmla="*/ 0 w 2080"/>
                <a:gd name="T13" fmla="*/ 65 h 1360"/>
                <a:gd name="T14" fmla="*/ 1139 w 2080"/>
                <a:gd name="T15" fmla="*/ 924 h 1360"/>
                <a:gd name="T16" fmla="*/ 1282 w 2080"/>
                <a:gd name="T17" fmla="*/ 810 h 1360"/>
                <a:gd name="T18" fmla="*/ 2076 w 2080"/>
                <a:gd name="T19" fmla="*/ 1360 h 1360"/>
                <a:gd name="T20" fmla="*/ 4 w 2080"/>
                <a:gd name="T21" fmla="*/ 1360 h 1360"/>
                <a:gd name="T22" fmla="*/ 798 w 2080"/>
                <a:gd name="T23" fmla="*/ 810 h 1360"/>
                <a:gd name="T24" fmla="*/ 941 w 2080"/>
                <a:gd name="T25" fmla="*/ 924 h 1360"/>
                <a:gd name="T26" fmla="*/ 1139 w 2080"/>
                <a:gd name="T27" fmla="*/ 924 h 1360"/>
                <a:gd name="T28" fmla="*/ 2 w 2080"/>
                <a:gd name="T29" fmla="*/ 137 h 1360"/>
                <a:gd name="T30" fmla="*/ 42 w 2080"/>
                <a:gd name="T31" fmla="*/ 201 h 1360"/>
                <a:gd name="T32" fmla="*/ 734 w 2080"/>
                <a:gd name="T33" fmla="*/ 758 h 1360"/>
                <a:gd name="T34" fmla="*/ 0 w 2080"/>
                <a:gd name="T35" fmla="*/ 1266 h 1360"/>
                <a:gd name="T36" fmla="*/ 0 w 2080"/>
                <a:gd name="T37" fmla="*/ 135 h 1360"/>
                <a:gd name="T38" fmla="*/ 2 w 2080"/>
                <a:gd name="T39" fmla="*/ 137 h 1360"/>
                <a:gd name="T40" fmla="*/ 2080 w 2080"/>
                <a:gd name="T41" fmla="*/ 136 h 1360"/>
                <a:gd name="T42" fmla="*/ 2080 w 2080"/>
                <a:gd name="T43" fmla="*/ 1265 h 1360"/>
                <a:gd name="T44" fmla="*/ 1346 w 2080"/>
                <a:gd name="T45" fmla="*/ 758 h 1360"/>
                <a:gd name="T46" fmla="*/ 2038 w 2080"/>
                <a:gd name="T47" fmla="*/ 201 h 1360"/>
                <a:gd name="T48" fmla="*/ 2080 w 2080"/>
                <a:gd name="T49" fmla="*/ 136 h 1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080" h="1360">
                  <a:moveTo>
                    <a:pt x="0" y="65"/>
                  </a:moveTo>
                  <a:cubicBezTo>
                    <a:pt x="0" y="0"/>
                    <a:pt x="0" y="0"/>
                    <a:pt x="0" y="0"/>
                  </a:cubicBezTo>
                  <a:cubicBezTo>
                    <a:pt x="2080" y="0"/>
                    <a:pt x="2080" y="0"/>
                    <a:pt x="2080" y="0"/>
                  </a:cubicBezTo>
                  <a:cubicBezTo>
                    <a:pt x="2080" y="65"/>
                    <a:pt x="2080" y="65"/>
                    <a:pt x="2080" y="65"/>
                  </a:cubicBezTo>
                  <a:cubicBezTo>
                    <a:pt x="1089" y="862"/>
                    <a:pt x="1089" y="862"/>
                    <a:pt x="1089" y="862"/>
                  </a:cubicBezTo>
                  <a:cubicBezTo>
                    <a:pt x="1060" y="886"/>
                    <a:pt x="1020" y="886"/>
                    <a:pt x="991" y="862"/>
                  </a:cubicBezTo>
                  <a:lnTo>
                    <a:pt x="0" y="65"/>
                  </a:lnTo>
                  <a:close/>
                  <a:moveTo>
                    <a:pt x="1139" y="924"/>
                  </a:moveTo>
                  <a:cubicBezTo>
                    <a:pt x="1282" y="810"/>
                    <a:pt x="1282" y="810"/>
                    <a:pt x="1282" y="810"/>
                  </a:cubicBezTo>
                  <a:cubicBezTo>
                    <a:pt x="2076" y="1360"/>
                    <a:pt x="2076" y="1360"/>
                    <a:pt x="2076" y="1360"/>
                  </a:cubicBezTo>
                  <a:cubicBezTo>
                    <a:pt x="4" y="1360"/>
                    <a:pt x="4" y="1360"/>
                    <a:pt x="4" y="1360"/>
                  </a:cubicBezTo>
                  <a:cubicBezTo>
                    <a:pt x="798" y="810"/>
                    <a:pt x="798" y="810"/>
                    <a:pt x="798" y="810"/>
                  </a:cubicBezTo>
                  <a:cubicBezTo>
                    <a:pt x="941" y="924"/>
                    <a:pt x="941" y="924"/>
                    <a:pt x="941" y="924"/>
                  </a:cubicBezTo>
                  <a:cubicBezTo>
                    <a:pt x="1000" y="972"/>
                    <a:pt x="1080" y="972"/>
                    <a:pt x="1139" y="924"/>
                  </a:cubicBezTo>
                  <a:close/>
                  <a:moveTo>
                    <a:pt x="2" y="137"/>
                  </a:moveTo>
                  <a:cubicBezTo>
                    <a:pt x="8" y="163"/>
                    <a:pt x="22" y="185"/>
                    <a:pt x="42" y="201"/>
                  </a:cubicBezTo>
                  <a:cubicBezTo>
                    <a:pt x="734" y="758"/>
                    <a:pt x="734" y="758"/>
                    <a:pt x="734" y="758"/>
                  </a:cubicBezTo>
                  <a:cubicBezTo>
                    <a:pt x="0" y="1266"/>
                    <a:pt x="0" y="1266"/>
                    <a:pt x="0" y="1266"/>
                  </a:cubicBezTo>
                  <a:cubicBezTo>
                    <a:pt x="0" y="135"/>
                    <a:pt x="0" y="135"/>
                    <a:pt x="0" y="135"/>
                  </a:cubicBezTo>
                  <a:lnTo>
                    <a:pt x="2" y="137"/>
                  </a:lnTo>
                  <a:close/>
                  <a:moveTo>
                    <a:pt x="2080" y="136"/>
                  </a:moveTo>
                  <a:cubicBezTo>
                    <a:pt x="2080" y="1265"/>
                    <a:pt x="2080" y="1265"/>
                    <a:pt x="2080" y="1265"/>
                  </a:cubicBezTo>
                  <a:cubicBezTo>
                    <a:pt x="1346" y="758"/>
                    <a:pt x="1346" y="758"/>
                    <a:pt x="1346" y="758"/>
                  </a:cubicBezTo>
                  <a:cubicBezTo>
                    <a:pt x="2038" y="201"/>
                    <a:pt x="2038" y="201"/>
                    <a:pt x="2038" y="201"/>
                  </a:cubicBezTo>
                  <a:cubicBezTo>
                    <a:pt x="2060" y="182"/>
                    <a:pt x="2072" y="162"/>
                    <a:pt x="2080" y="13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000"/>
            </a:p>
          </p:txBody>
        </p:sp>
      </p:grpSp>
      <p:cxnSp>
        <p:nvCxnSpPr>
          <p:cNvPr id="20" name="Straight Connector 19"/>
          <p:cNvCxnSpPr/>
          <p:nvPr/>
        </p:nvCxnSpPr>
        <p:spPr>
          <a:xfrm>
            <a:off x="4451001" y="3494093"/>
            <a:ext cx="2463190" cy="0"/>
          </a:xfrm>
          <a:prstGeom prst="line">
            <a:avLst/>
          </a:prstGeom>
          <a:ln w="6350">
            <a:solidFill>
              <a:schemeClr val="tx2"/>
            </a:solidFill>
            <a:prstDash val="dash"/>
          </a:ln>
        </p:spPr>
        <p:style>
          <a:lnRef idx="1">
            <a:schemeClr val="accent1"/>
          </a:lnRef>
          <a:fillRef idx="0">
            <a:schemeClr val="accent1"/>
          </a:fillRef>
          <a:effectRef idx="0">
            <a:schemeClr val="accent1"/>
          </a:effectRef>
          <a:fontRef idx="minor">
            <a:schemeClr val="tx1"/>
          </a:fontRef>
        </p:style>
      </p:cxnSp>
      <p:sp>
        <p:nvSpPr>
          <p:cNvPr id="6" name="Text Placeholder 5"/>
          <p:cNvSpPr>
            <a:spLocks noGrp="1"/>
          </p:cNvSpPr>
          <p:nvPr>
            <p:ph type="body" sz="quarter" idx="19" hasCustomPrompt="1"/>
          </p:nvPr>
        </p:nvSpPr>
        <p:spPr>
          <a:xfrm>
            <a:off x="4451001" y="1824401"/>
            <a:ext cx="2463190" cy="192360"/>
          </a:xfrm>
        </p:spPr>
        <p:txBody>
          <a:bodyPr lIns="0" tIns="0" rIns="0" bIns="0" anchor="ctr" anchorCtr="0"/>
          <a:lstStyle>
            <a:lvl1pPr marL="0" indent="0" algn="l">
              <a:lnSpc>
                <a:spcPct val="100000"/>
              </a:lnSpc>
              <a:buNone/>
              <a:defRPr sz="100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Country</a:t>
            </a:r>
          </a:p>
        </p:txBody>
      </p:sp>
      <p:sp>
        <p:nvSpPr>
          <p:cNvPr id="26" name="Text Placeholder 5"/>
          <p:cNvSpPr>
            <a:spLocks noGrp="1"/>
          </p:cNvSpPr>
          <p:nvPr>
            <p:ph type="body" sz="quarter" idx="20" hasCustomPrompt="1"/>
          </p:nvPr>
        </p:nvSpPr>
        <p:spPr>
          <a:xfrm>
            <a:off x="4451001" y="2036217"/>
            <a:ext cx="2463190" cy="266182"/>
          </a:xfrm>
        </p:spPr>
        <p:txBody>
          <a:bodyPr lIns="0" tIns="0" rIns="0" bIns="0" anchor="b" anchorCtr="0"/>
          <a:lstStyle>
            <a:lvl1pPr marL="0" indent="0" algn="l">
              <a:lnSpc>
                <a:spcPct val="100000"/>
              </a:lnSpc>
              <a:buNone/>
              <a:defRPr sz="1400" b="1" baseline="0">
                <a:solidFill>
                  <a:schemeClr val="tx2"/>
                </a:solidFill>
              </a:defRPr>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Name, Surname</a:t>
            </a:r>
          </a:p>
        </p:txBody>
      </p:sp>
      <p:sp>
        <p:nvSpPr>
          <p:cNvPr id="27" name="Text Placeholder 5"/>
          <p:cNvSpPr>
            <a:spLocks noGrp="1"/>
          </p:cNvSpPr>
          <p:nvPr>
            <p:ph type="body" sz="quarter" idx="21" hasCustomPrompt="1"/>
          </p:nvPr>
        </p:nvSpPr>
        <p:spPr>
          <a:xfrm>
            <a:off x="4451001" y="2332792"/>
            <a:ext cx="2463190"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Job Position</a:t>
            </a:r>
          </a:p>
        </p:txBody>
      </p:sp>
      <p:sp>
        <p:nvSpPr>
          <p:cNvPr id="28" name="Text Placeholder 5"/>
          <p:cNvSpPr>
            <a:spLocks noGrp="1"/>
          </p:cNvSpPr>
          <p:nvPr>
            <p:ph type="body" sz="quarter" idx="22" hasCustomPrompt="1"/>
          </p:nvPr>
        </p:nvSpPr>
        <p:spPr>
          <a:xfrm>
            <a:off x="4695884" y="2861468"/>
            <a:ext cx="2218307"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Phone number</a:t>
            </a:r>
          </a:p>
        </p:txBody>
      </p:sp>
      <p:sp>
        <p:nvSpPr>
          <p:cNvPr id="29" name="Text Placeholder 5"/>
          <p:cNvSpPr>
            <a:spLocks noGrp="1"/>
          </p:cNvSpPr>
          <p:nvPr>
            <p:ph type="body" sz="quarter" idx="23" hasCustomPrompt="1"/>
          </p:nvPr>
        </p:nvSpPr>
        <p:spPr>
          <a:xfrm>
            <a:off x="4695884" y="3144275"/>
            <a:ext cx="2218307"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Email address</a:t>
            </a:r>
          </a:p>
        </p:txBody>
      </p:sp>
      <p:sp>
        <p:nvSpPr>
          <p:cNvPr id="35" name="Text Placeholder 34"/>
          <p:cNvSpPr>
            <a:spLocks noGrp="1"/>
          </p:cNvSpPr>
          <p:nvPr>
            <p:ph type="body" sz="quarter" idx="24" hasCustomPrompt="1"/>
          </p:nvPr>
        </p:nvSpPr>
        <p:spPr>
          <a:xfrm>
            <a:off x="4492626" y="3681413"/>
            <a:ext cx="4492594" cy="2087562"/>
          </a:xfrm>
        </p:spPr>
        <p:txBody>
          <a:bodyPr/>
          <a:lstStyle>
            <a:lvl1pPr>
              <a:defRPr sz="1400" baseline="0"/>
            </a:lvl1pPr>
            <a:lvl2pPr>
              <a:defRPr sz="1400"/>
            </a:lvl2pPr>
            <a:lvl3pPr>
              <a:defRPr sz="1400"/>
            </a:lvl3pPr>
            <a:lvl4pPr>
              <a:defRPr sz="1400"/>
            </a:lvl4pPr>
            <a:lvl5pPr>
              <a:defRPr sz="1400"/>
            </a:lvl5pPr>
          </a:lstStyle>
          <a:p>
            <a:pPr lvl="0"/>
            <a:r>
              <a:rPr lang="en-US"/>
              <a:t>Additional information (if needed)</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99147341"/>
      </p:ext>
    </p:extLst>
  </p:cSld>
  <p:clrMapOvr>
    <a:masterClrMapping/>
  </p:clrMapOvr>
</p:sldLayout>
</file>

<file path=ppt/slideLayouts/slideLayout352.xml><?xml version="1.0" encoding="utf-8"?>
<p:sldLayout xmlns:a="http://schemas.openxmlformats.org/drawingml/2006/main" xmlns:r="http://schemas.openxmlformats.org/officeDocument/2006/relationships" xmlns:p="http://schemas.openxmlformats.org/presentationml/2006/main" preserve="1">
  <p:cSld name="Two contacts">
    <p:spTree>
      <p:nvGrpSpPr>
        <p:cNvPr id="1" name=""/>
        <p:cNvGrpSpPr/>
        <p:nvPr/>
      </p:nvGrpSpPr>
      <p:grpSpPr>
        <a:xfrm>
          <a:off x="0" y="0"/>
          <a:ext cx="0" cy="0"/>
          <a:chOff x="0" y="0"/>
          <a:chExt cx="0" cy="0"/>
        </a:xfrm>
      </p:grpSpPr>
      <p:sp>
        <p:nvSpPr>
          <p:cNvPr id="21" name="Date Placeholder 20"/>
          <p:cNvSpPr>
            <a:spLocks noGrp="1"/>
          </p:cNvSpPr>
          <p:nvPr>
            <p:ph type="dt" sz="half" idx="14"/>
          </p:nvPr>
        </p:nvSpPr>
        <p:spPr/>
        <p:txBody>
          <a:bodyPr/>
          <a:lstStyle/>
          <a:p>
            <a:endParaRPr lang="en-US"/>
          </a:p>
        </p:txBody>
      </p:sp>
      <p:sp>
        <p:nvSpPr>
          <p:cNvPr id="22" name="Footer Placeholder 21"/>
          <p:cNvSpPr>
            <a:spLocks noGrp="1"/>
          </p:cNvSpPr>
          <p:nvPr>
            <p:ph type="ftr" sz="quarter" idx="15"/>
          </p:nvPr>
        </p:nvSpPr>
        <p:spPr/>
        <p:txBody>
          <a:bodyPr/>
          <a:lstStyle/>
          <a:p>
            <a:endParaRPr lang="en-US"/>
          </a:p>
        </p:txBody>
      </p:sp>
      <p:sp>
        <p:nvSpPr>
          <p:cNvPr id="23" name="Slide Number Placeholder 22"/>
          <p:cNvSpPr>
            <a:spLocks noGrp="1"/>
          </p:cNvSpPr>
          <p:nvPr>
            <p:ph type="sldNum" sz="quarter" idx="16"/>
          </p:nvPr>
        </p:nvSpPr>
        <p:spPr/>
        <p:txBody>
          <a:bodyPr/>
          <a:lstStyle/>
          <a:p>
            <a:fld id="{5F3E29E4-0979-4FCA-B4C5-5FC6044C982A}" type="slidenum">
              <a:rPr lang="en-US" smtClean="0"/>
              <a:t>‹#›</a:t>
            </a:fld>
            <a:endParaRPr lang="en-US"/>
          </a:p>
        </p:txBody>
      </p:sp>
      <p:sp>
        <p:nvSpPr>
          <p:cNvPr id="2" name="Title 1"/>
          <p:cNvSpPr>
            <a:spLocks noGrp="1"/>
          </p:cNvSpPr>
          <p:nvPr>
            <p:ph type="title" hasCustomPrompt="1"/>
          </p:nvPr>
        </p:nvSpPr>
        <p:spPr/>
        <p:txBody>
          <a:bodyPr/>
          <a:lstStyle>
            <a:lvl1pPr>
              <a:defRPr/>
            </a:lvl1pPr>
          </a:lstStyle>
          <a:p>
            <a:r>
              <a:rPr lang="en-US"/>
              <a:t>Click to add contact title</a:t>
            </a:r>
          </a:p>
        </p:txBody>
      </p:sp>
      <p:sp>
        <p:nvSpPr>
          <p:cNvPr id="7" name="Subtitle 2"/>
          <p:cNvSpPr>
            <a:spLocks noGrp="1"/>
          </p:cNvSpPr>
          <p:nvPr>
            <p:ph type="subTitle" idx="13" hasCustomPrompt="1"/>
          </p:nvPr>
        </p:nvSpPr>
        <p:spPr>
          <a:xfrm>
            <a:off x="1075061" y="964671"/>
            <a:ext cx="7910158" cy="490042"/>
          </a:xfrm>
        </p:spPr>
        <p:txBody>
          <a:bodyPr wrap="none"/>
          <a:lstStyle>
            <a:lvl1pPr marL="0" indent="0" algn="l">
              <a:spcBef>
                <a:spcPts val="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grpSp>
        <p:nvGrpSpPr>
          <p:cNvPr id="8" name="Gruppieren 80">
            <a:extLst>
              <a:ext uri="{FF2B5EF4-FFF2-40B4-BE49-F238E27FC236}">
                <a16:creationId xmlns:a16="http://schemas.microsoft.com/office/drawing/2014/main" id="{6B969E7B-9C39-4443-9B02-74C1E7C5CCAC}"/>
              </a:ext>
            </a:extLst>
          </p:cNvPr>
          <p:cNvGrpSpPr/>
          <p:nvPr/>
        </p:nvGrpSpPr>
        <p:grpSpPr>
          <a:xfrm>
            <a:off x="3770065" y="2868319"/>
            <a:ext cx="171180" cy="171180"/>
            <a:chOff x="3392092" y="1841122"/>
            <a:chExt cx="646508" cy="646508"/>
          </a:xfrm>
        </p:grpSpPr>
        <p:sp>
          <p:nvSpPr>
            <p:cNvPr id="9" name="Rechteck 14">
              <a:extLst>
                <a:ext uri="{FF2B5EF4-FFF2-40B4-BE49-F238E27FC236}">
                  <a16:creationId xmlns:a16="http://schemas.microsoft.com/office/drawing/2014/main" id="{D78F58EA-5525-8D43-8295-FEA52ECF6BFA}"/>
                </a:ext>
              </a:extLst>
            </p:cNvPr>
            <p:cNvSpPr>
              <a:spLocks noChangeAspect="1"/>
            </p:cNvSpPr>
            <p:nvPr/>
          </p:nvSpPr>
          <p:spPr bwMode="gray">
            <a:xfrm>
              <a:off x="3392092" y="1841122"/>
              <a:ext cx="646508" cy="646508"/>
            </a:xfrm>
            <a:prstGeom prst="rect">
              <a:avLst/>
            </a:prstGeom>
            <a:solidFill>
              <a:srgbClr val="E55A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pPr>
              <a:endParaRPr lang="en-US" sz="1000">
                <a:solidFill>
                  <a:schemeClr val="tx1"/>
                </a:solidFill>
                <a:latin typeface="Arial" pitchFamily="34" charset="0"/>
                <a:cs typeface="Arial" pitchFamily="34" charset="0"/>
              </a:endParaRPr>
            </a:p>
          </p:txBody>
        </p:sp>
        <p:sp>
          <p:nvSpPr>
            <p:cNvPr id="10" name="Freeform 67">
              <a:extLst>
                <a:ext uri="{FF2B5EF4-FFF2-40B4-BE49-F238E27FC236}">
                  <a16:creationId xmlns:a16="http://schemas.microsoft.com/office/drawing/2014/main" id="{D01A6292-2776-4945-B828-483D79DC4908}"/>
                </a:ext>
              </a:extLst>
            </p:cNvPr>
            <p:cNvSpPr>
              <a:spLocks noChangeAspect="1"/>
            </p:cNvSpPr>
            <p:nvPr/>
          </p:nvSpPr>
          <p:spPr bwMode="auto">
            <a:xfrm>
              <a:off x="3546638" y="1970424"/>
              <a:ext cx="337415" cy="387905"/>
            </a:xfrm>
            <a:custGeom>
              <a:avLst/>
              <a:gdLst>
                <a:gd name="T0" fmla="*/ 573 w 1624"/>
                <a:gd name="T1" fmla="*/ 1257 h 1867"/>
                <a:gd name="T2" fmla="*/ 662 w 1624"/>
                <a:gd name="T3" fmla="*/ 1288 h 1867"/>
                <a:gd name="T4" fmla="*/ 938 w 1624"/>
                <a:gd name="T5" fmla="*/ 1051 h 1867"/>
                <a:gd name="T6" fmla="*/ 1106 w 1624"/>
                <a:gd name="T7" fmla="*/ 731 h 1867"/>
                <a:gd name="T8" fmla="*/ 1059 w 1624"/>
                <a:gd name="T9" fmla="*/ 645 h 1867"/>
                <a:gd name="T10" fmla="*/ 1001 w 1624"/>
                <a:gd name="T11" fmla="*/ 613 h 1867"/>
                <a:gd name="T12" fmla="*/ 924 w 1624"/>
                <a:gd name="T13" fmla="*/ 432 h 1867"/>
                <a:gd name="T14" fmla="*/ 1114 w 1624"/>
                <a:gd name="T15" fmla="*/ 81 h 1867"/>
                <a:gd name="T16" fmla="*/ 1287 w 1624"/>
                <a:gd name="T17" fmla="*/ 35 h 1867"/>
                <a:gd name="T18" fmla="*/ 1350 w 1624"/>
                <a:gd name="T19" fmla="*/ 69 h 1867"/>
                <a:gd name="T20" fmla="*/ 1527 w 1624"/>
                <a:gd name="T21" fmla="*/ 235 h 1867"/>
                <a:gd name="T22" fmla="*/ 1583 w 1624"/>
                <a:gd name="T23" fmla="*/ 555 h 1867"/>
                <a:gd name="T24" fmla="*/ 1172 w 1624"/>
                <a:gd name="T25" fmla="*/ 1253 h 1867"/>
                <a:gd name="T26" fmla="*/ 586 w 1624"/>
                <a:gd name="T27" fmla="*/ 1803 h 1867"/>
                <a:gd name="T28" fmla="*/ 269 w 1624"/>
                <a:gd name="T29" fmla="*/ 1807 h 1867"/>
                <a:gd name="T30" fmla="*/ 33 w 1624"/>
                <a:gd name="T31" fmla="*/ 1602 h 1867"/>
                <a:gd name="T32" fmla="*/ 2 w 1624"/>
                <a:gd name="T33" fmla="*/ 1508 h 1867"/>
                <a:gd name="T34" fmla="*/ 45 w 1624"/>
                <a:gd name="T35" fmla="*/ 1421 h 1867"/>
                <a:gd name="T36" fmla="*/ 346 w 1624"/>
                <a:gd name="T37" fmla="*/ 1158 h 1867"/>
                <a:gd name="T38" fmla="*/ 448 w 1624"/>
                <a:gd name="T39" fmla="*/ 1145 h 1867"/>
                <a:gd name="T40" fmla="*/ 573 w 1624"/>
                <a:gd name="T41" fmla="*/ 1257 h 18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24" h="1867">
                  <a:moveTo>
                    <a:pt x="573" y="1257"/>
                  </a:moveTo>
                  <a:cubicBezTo>
                    <a:pt x="592" y="1282"/>
                    <a:pt x="630" y="1303"/>
                    <a:pt x="662" y="1288"/>
                  </a:cubicBezTo>
                  <a:cubicBezTo>
                    <a:pt x="753" y="1245"/>
                    <a:pt x="854" y="1156"/>
                    <a:pt x="938" y="1051"/>
                  </a:cubicBezTo>
                  <a:cubicBezTo>
                    <a:pt x="1020" y="948"/>
                    <a:pt x="1084" y="831"/>
                    <a:pt x="1106" y="731"/>
                  </a:cubicBezTo>
                  <a:cubicBezTo>
                    <a:pt x="1113" y="696"/>
                    <a:pt x="1089" y="661"/>
                    <a:pt x="1059" y="645"/>
                  </a:cubicBezTo>
                  <a:cubicBezTo>
                    <a:pt x="1001" y="613"/>
                    <a:pt x="1001" y="613"/>
                    <a:pt x="1001" y="613"/>
                  </a:cubicBezTo>
                  <a:cubicBezTo>
                    <a:pt x="942" y="580"/>
                    <a:pt x="888" y="499"/>
                    <a:pt x="924" y="432"/>
                  </a:cubicBezTo>
                  <a:cubicBezTo>
                    <a:pt x="1114" y="81"/>
                    <a:pt x="1114" y="81"/>
                    <a:pt x="1114" y="81"/>
                  </a:cubicBezTo>
                  <a:cubicBezTo>
                    <a:pt x="1150" y="16"/>
                    <a:pt x="1224" y="0"/>
                    <a:pt x="1287" y="35"/>
                  </a:cubicBezTo>
                  <a:cubicBezTo>
                    <a:pt x="1350" y="69"/>
                    <a:pt x="1350" y="69"/>
                    <a:pt x="1350" y="69"/>
                  </a:cubicBezTo>
                  <a:cubicBezTo>
                    <a:pt x="1415" y="105"/>
                    <a:pt x="1479" y="165"/>
                    <a:pt x="1527" y="235"/>
                  </a:cubicBezTo>
                  <a:cubicBezTo>
                    <a:pt x="1593" y="332"/>
                    <a:pt x="1624" y="442"/>
                    <a:pt x="1583" y="555"/>
                  </a:cubicBezTo>
                  <a:cubicBezTo>
                    <a:pt x="1500" y="781"/>
                    <a:pt x="1351" y="1030"/>
                    <a:pt x="1172" y="1253"/>
                  </a:cubicBezTo>
                  <a:cubicBezTo>
                    <a:pt x="994" y="1477"/>
                    <a:pt x="786" y="1676"/>
                    <a:pt x="586" y="1803"/>
                  </a:cubicBezTo>
                  <a:cubicBezTo>
                    <a:pt x="486" y="1867"/>
                    <a:pt x="375" y="1856"/>
                    <a:pt x="269" y="1807"/>
                  </a:cubicBezTo>
                  <a:cubicBezTo>
                    <a:pt x="157" y="1755"/>
                    <a:pt x="106" y="1695"/>
                    <a:pt x="33" y="1602"/>
                  </a:cubicBezTo>
                  <a:cubicBezTo>
                    <a:pt x="11" y="1573"/>
                    <a:pt x="0" y="1540"/>
                    <a:pt x="2" y="1508"/>
                  </a:cubicBezTo>
                  <a:cubicBezTo>
                    <a:pt x="4" y="1475"/>
                    <a:pt x="18" y="1444"/>
                    <a:pt x="45" y="1421"/>
                  </a:cubicBezTo>
                  <a:cubicBezTo>
                    <a:pt x="70" y="1399"/>
                    <a:pt x="346" y="1158"/>
                    <a:pt x="346" y="1158"/>
                  </a:cubicBezTo>
                  <a:cubicBezTo>
                    <a:pt x="376" y="1134"/>
                    <a:pt x="413" y="1133"/>
                    <a:pt x="448" y="1145"/>
                  </a:cubicBezTo>
                  <a:cubicBezTo>
                    <a:pt x="510" y="1166"/>
                    <a:pt x="536" y="1210"/>
                    <a:pt x="573" y="1257"/>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351"/>
            </a:p>
          </p:txBody>
        </p:sp>
      </p:grpSp>
      <p:grpSp>
        <p:nvGrpSpPr>
          <p:cNvPr id="11" name="Group 3">
            <a:extLst>
              <a:ext uri="{FF2B5EF4-FFF2-40B4-BE49-F238E27FC236}">
                <a16:creationId xmlns:a16="http://schemas.microsoft.com/office/drawing/2014/main" id="{DED6A25A-5DE2-1441-8BA2-C68D3B4F9209}"/>
              </a:ext>
            </a:extLst>
          </p:cNvPr>
          <p:cNvGrpSpPr>
            <a:grpSpLocks noChangeAspect="1"/>
          </p:cNvGrpSpPr>
          <p:nvPr>
            <p:custDataLst>
              <p:tags r:id="rId1"/>
            </p:custDataLst>
          </p:nvPr>
        </p:nvGrpSpPr>
        <p:grpSpPr>
          <a:xfrm>
            <a:off x="3770066" y="3153207"/>
            <a:ext cx="171180" cy="171180"/>
            <a:chOff x="328396" y="5313940"/>
            <a:chExt cx="720000" cy="720000"/>
          </a:xfrm>
        </p:grpSpPr>
        <p:sp>
          <p:nvSpPr>
            <p:cNvPr id="12" name="Rectangle 4">
              <a:extLst>
                <a:ext uri="{FF2B5EF4-FFF2-40B4-BE49-F238E27FC236}">
                  <a16:creationId xmlns:a16="http://schemas.microsoft.com/office/drawing/2014/main" id="{5F49E67F-D4FA-9D48-96BC-59AE946ECD15}"/>
                </a:ext>
              </a:extLst>
            </p:cNvPr>
            <p:cNvSpPr/>
            <p:nvPr/>
          </p:nvSpPr>
          <p:spPr bwMode="gray">
            <a:xfrm>
              <a:off x="328396" y="5313940"/>
              <a:ext cx="720000" cy="720000"/>
            </a:xfrm>
            <a:prstGeom prst="rect">
              <a:avLst/>
            </a:prstGeom>
            <a:solidFill>
              <a:srgbClr val="E55A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pPr>
              <a:endParaRPr lang="en-US" sz="1000">
                <a:solidFill>
                  <a:schemeClr val="tx1"/>
                </a:solidFill>
                <a:latin typeface="Arial" pitchFamily="34" charset="0"/>
                <a:cs typeface="Arial" pitchFamily="34" charset="0"/>
              </a:endParaRPr>
            </a:p>
          </p:txBody>
        </p:sp>
        <p:sp>
          <p:nvSpPr>
            <p:cNvPr id="13" name="Freeform 76">
              <a:extLst>
                <a:ext uri="{FF2B5EF4-FFF2-40B4-BE49-F238E27FC236}">
                  <a16:creationId xmlns:a16="http://schemas.microsoft.com/office/drawing/2014/main" id="{187E70E6-AF3F-2549-908E-DF4BA61040AA}"/>
                </a:ext>
              </a:extLst>
            </p:cNvPr>
            <p:cNvSpPr>
              <a:spLocks noChangeAspect="1" noEditPoints="1"/>
            </p:cNvSpPr>
            <p:nvPr/>
          </p:nvSpPr>
          <p:spPr bwMode="auto">
            <a:xfrm>
              <a:off x="456202" y="5509222"/>
              <a:ext cx="504000" cy="329436"/>
            </a:xfrm>
            <a:custGeom>
              <a:avLst/>
              <a:gdLst>
                <a:gd name="T0" fmla="*/ 0 w 2080"/>
                <a:gd name="T1" fmla="*/ 65 h 1360"/>
                <a:gd name="T2" fmla="*/ 0 w 2080"/>
                <a:gd name="T3" fmla="*/ 0 h 1360"/>
                <a:gd name="T4" fmla="*/ 2080 w 2080"/>
                <a:gd name="T5" fmla="*/ 0 h 1360"/>
                <a:gd name="T6" fmla="*/ 2080 w 2080"/>
                <a:gd name="T7" fmla="*/ 65 h 1360"/>
                <a:gd name="T8" fmla="*/ 1089 w 2080"/>
                <a:gd name="T9" fmla="*/ 862 h 1360"/>
                <a:gd name="T10" fmla="*/ 991 w 2080"/>
                <a:gd name="T11" fmla="*/ 862 h 1360"/>
                <a:gd name="T12" fmla="*/ 0 w 2080"/>
                <a:gd name="T13" fmla="*/ 65 h 1360"/>
                <a:gd name="T14" fmla="*/ 1139 w 2080"/>
                <a:gd name="T15" fmla="*/ 924 h 1360"/>
                <a:gd name="T16" fmla="*/ 1282 w 2080"/>
                <a:gd name="T17" fmla="*/ 810 h 1360"/>
                <a:gd name="T18" fmla="*/ 2076 w 2080"/>
                <a:gd name="T19" fmla="*/ 1360 h 1360"/>
                <a:gd name="T20" fmla="*/ 4 w 2080"/>
                <a:gd name="T21" fmla="*/ 1360 h 1360"/>
                <a:gd name="T22" fmla="*/ 798 w 2080"/>
                <a:gd name="T23" fmla="*/ 810 h 1360"/>
                <a:gd name="T24" fmla="*/ 941 w 2080"/>
                <a:gd name="T25" fmla="*/ 924 h 1360"/>
                <a:gd name="T26" fmla="*/ 1139 w 2080"/>
                <a:gd name="T27" fmla="*/ 924 h 1360"/>
                <a:gd name="T28" fmla="*/ 2 w 2080"/>
                <a:gd name="T29" fmla="*/ 137 h 1360"/>
                <a:gd name="T30" fmla="*/ 42 w 2080"/>
                <a:gd name="T31" fmla="*/ 201 h 1360"/>
                <a:gd name="T32" fmla="*/ 734 w 2080"/>
                <a:gd name="T33" fmla="*/ 758 h 1360"/>
                <a:gd name="T34" fmla="*/ 0 w 2080"/>
                <a:gd name="T35" fmla="*/ 1266 h 1360"/>
                <a:gd name="T36" fmla="*/ 0 w 2080"/>
                <a:gd name="T37" fmla="*/ 135 h 1360"/>
                <a:gd name="T38" fmla="*/ 2 w 2080"/>
                <a:gd name="T39" fmla="*/ 137 h 1360"/>
                <a:gd name="T40" fmla="*/ 2080 w 2080"/>
                <a:gd name="T41" fmla="*/ 136 h 1360"/>
                <a:gd name="T42" fmla="*/ 2080 w 2080"/>
                <a:gd name="T43" fmla="*/ 1265 h 1360"/>
                <a:gd name="T44" fmla="*/ 1346 w 2080"/>
                <a:gd name="T45" fmla="*/ 758 h 1360"/>
                <a:gd name="T46" fmla="*/ 2038 w 2080"/>
                <a:gd name="T47" fmla="*/ 201 h 1360"/>
                <a:gd name="T48" fmla="*/ 2080 w 2080"/>
                <a:gd name="T49" fmla="*/ 136 h 1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080" h="1360">
                  <a:moveTo>
                    <a:pt x="0" y="65"/>
                  </a:moveTo>
                  <a:cubicBezTo>
                    <a:pt x="0" y="0"/>
                    <a:pt x="0" y="0"/>
                    <a:pt x="0" y="0"/>
                  </a:cubicBezTo>
                  <a:cubicBezTo>
                    <a:pt x="2080" y="0"/>
                    <a:pt x="2080" y="0"/>
                    <a:pt x="2080" y="0"/>
                  </a:cubicBezTo>
                  <a:cubicBezTo>
                    <a:pt x="2080" y="65"/>
                    <a:pt x="2080" y="65"/>
                    <a:pt x="2080" y="65"/>
                  </a:cubicBezTo>
                  <a:cubicBezTo>
                    <a:pt x="1089" y="862"/>
                    <a:pt x="1089" y="862"/>
                    <a:pt x="1089" y="862"/>
                  </a:cubicBezTo>
                  <a:cubicBezTo>
                    <a:pt x="1060" y="886"/>
                    <a:pt x="1020" y="886"/>
                    <a:pt x="991" y="862"/>
                  </a:cubicBezTo>
                  <a:lnTo>
                    <a:pt x="0" y="65"/>
                  </a:lnTo>
                  <a:close/>
                  <a:moveTo>
                    <a:pt x="1139" y="924"/>
                  </a:moveTo>
                  <a:cubicBezTo>
                    <a:pt x="1282" y="810"/>
                    <a:pt x="1282" y="810"/>
                    <a:pt x="1282" y="810"/>
                  </a:cubicBezTo>
                  <a:cubicBezTo>
                    <a:pt x="2076" y="1360"/>
                    <a:pt x="2076" y="1360"/>
                    <a:pt x="2076" y="1360"/>
                  </a:cubicBezTo>
                  <a:cubicBezTo>
                    <a:pt x="4" y="1360"/>
                    <a:pt x="4" y="1360"/>
                    <a:pt x="4" y="1360"/>
                  </a:cubicBezTo>
                  <a:cubicBezTo>
                    <a:pt x="798" y="810"/>
                    <a:pt x="798" y="810"/>
                    <a:pt x="798" y="810"/>
                  </a:cubicBezTo>
                  <a:cubicBezTo>
                    <a:pt x="941" y="924"/>
                    <a:pt x="941" y="924"/>
                    <a:pt x="941" y="924"/>
                  </a:cubicBezTo>
                  <a:cubicBezTo>
                    <a:pt x="1000" y="972"/>
                    <a:pt x="1080" y="972"/>
                    <a:pt x="1139" y="924"/>
                  </a:cubicBezTo>
                  <a:close/>
                  <a:moveTo>
                    <a:pt x="2" y="137"/>
                  </a:moveTo>
                  <a:cubicBezTo>
                    <a:pt x="8" y="163"/>
                    <a:pt x="22" y="185"/>
                    <a:pt x="42" y="201"/>
                  </a:cubicBezTo>
                  <a:cubicBezTo>
                    <a:pt x="734" y="758"/>
                    <a:pt x="734" y="758"/>
                    <a:pt x="734" y="758"/>
                  </a:cubicBezTo>
                  <a:cubicBezTo>
                    <a:pt x="0" y="1266"/>
                    <a:pt x="0" y="1266"/>
                    <a:pt x="0" y="1266"/>
                  </a:cubicBezTo>
                  <a:cubicBezTo>
                    <a:pt x="0" y="135"/>
                    <a:pt x="0" y="135"/>
                    <a:pt x="0" y="135"/>
                  </a:cubicBezTo>
                  <a:lnTo>
                    <a:pt x="2" y="137"/>
                  </a:lnTo>
                  <a:close/>
                  <a:moveTo>
                    <a:pt x="2080" y="136"/>
                  </a:moveTo>
                  <a:cubicBezTo>
                    <a:pt x="2080" y="1265"/>
                    <a:pt x="2080" y="1265"/>
                    <a:pt x="2080" y="1265"/>
                  </a:cubicBezTo>
                  <a:cubicBezTo>
                    <a:pt x="1346" y="758"/>
                    <a:pt x="1346" y="758"/>
                    <a:pt x="1346" y="758"/>
                  </a:cubicBezTo>
                  <a:cubicBezTo>
                    <a:pt x="2038" y="201"/>
                    <a:pt x="2038" y="201"/>
                    <a:pt x="2038" y="201"/>
                  </a:cubicBezTo>
                  <a:cubicBezTo>
                    <a:pt x="2060" y="182"/>
                    <a:pt x="2072" y="162"/>
                    <a:pt x="2080" y="13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000"/>
            </a:p>
          </p:txBody>
        </p:sp>
      </p:grpSp>
      <p:grpSp>
        <p:nvGrpSpPr>
          <p:cNvPr id="14" name="Gruppieren 2">
            <a:extLst>
              <a:ext uri="{FF2B5EF4-FFF2-40B4-BE49-F238E27FC236}">
                <a16:creationId xmlns:a16="http://schemas.microsoft.com/office/drawing/2014/main" id="{BE697CE9-EBDE-6B4A-BE70-582D92A8A831}"/>
              </a:ext>
            </a:extLst>
          </p:cNvPr>
          <p:cNvGrpSpPr/>
          <p:nvPr/>
        </p:nvGrpSpPr>
        <p:grpSpPr>
          <a:xfrm>
            <a:off x="8701917" y="2868319"/>
            <a:ext cx="171180" cy="171180"/>
            <a:chOff x="3392092" y="1841122"/>
            <a:chExt cx="646508" cy="646508"/>
          </a:xfrm>
        </p:grpSpPr>
        <p:sp>
          <p:nvSpPr>
            <p:cNvPr id="15" name="Rechteck 14">
              <a:extLst>
                <a:ext uri="{FF2B5EF4-FFF2-40B4-BE49-F238E27FC236}">
                  <a16:creationId xmlns:a16="http://schemas.microsoft.com/office/drawing/2014/main" id="{E142A731-19B7-C34D-9534-9E05108F895F}"/>
                </a:ext>
              </a:extLst>
            </p:cNvPr>
            <p:cNvSpPr>
              <a:spLocks noChangeAspect="1"/>
            </p:cNvSpPr>
            <p:nvPr/>
          </p:nvSpPr>
          <p:spPr bwMode="gray">
            <a:xfrm>
              <a:off x="3392092" y="1841122"/>
              <a:ext cx="646508" cy="646508"/>
            </a:xfrm>
            <a:prstGeom prst="rect">
              <a:avLst/>
            </a:prstGeom>
            <a:solidFill>
              <a:srgbClr val="E55A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pPr>
              <a:endParaRPr lang="en-US" sz="1000">
                <a:solidFill>
                  <a:schemeClr val="tx1"/>
                </a:solidFill>
                <a:latin typeface="Arial" pitchFamily="34" charset="0"/>
                <a:cs typeface="Arial" pitchFamily="34" charset="0"/>
              </a:endParaRPr>
            </a:p>
          </p:txBody>
        </p:sp>
        <p:sp>
          <p:nvSpPr>
            <p:cNvPr id="16" name="Freeform 15">
              <a:extLst>
                <a:ext uri="{FF2B5EF4-FFF2-40B4-BE49-F238E27FC236}">
                  <a16:creationId xmlns:a16="http://schemas.microsoft.com/office/drawing/2014/main" id="{F97E84AE-4AD9-4B44-9AA1-F797FC373809}"/>
                </a:ext>
              </a:extLst>
            </p:cNvPr>
            <p:cNvSpPr>
              <a:spLocks noChangeAspect="1"/>
            </p:cNvSpPr>
            <p:nvPr/>
          </p:nvSpPr>
          <p:spPr bwMode="auto">
            <a:xfrm>
              <a:off x="3546638" y="1970424"/>
              <a:ext cx="337415" cy="387905"/>
            </a:xfrm>
            <a:custGeom>
              <a:avLst/>
              <a:gdLst>
                <a:gd name="T0" fmla="*/ 573 w 1624"/>
                <a:gd name="T1" fmla="*/ 1257 h 1867"/>
                <a:gd name="T2" fmla="*/ 662 w 1624"/>
                <a:gd name="T3" fmla="*/ 1288 h 1867"/>
                <a:gd name="T4" fmla="*/ 938 w 1624"/>
                <a:gd name="T5" fmla="*/ 1051 h 1867"/>
                <a:gd name="T6" fmla="*/ 1106 w 1624"/>
                <a:gd name="T7" fmla="*/ 731 h 1867"/>
                <a:gd name="T8" fmla="*/ 1059 w 1624"/>
                <a:gd name="T9" fmla="*/ 645 h 1867"/>
                <a:gd name="T10" fmla="*/ 1001 w 1624"/>
                <a:gd name="T11" fmla="*/ 613 h 1867"/>
                <a:gd name="T12" fmla="*/ 924 w 1624"/>
                <a:gd name="T13" fmla="*/ 432 h 1867"/>
                <a:gd name="T14" fmla="*/ 1114 w 1624"/>
                <a:gd name="T15" fmla="*/ 81 h 1867"/>
                <a:gd name="T16" fmla="*/ 1287 w 1624"/>
                <a:gd name="T17" fmla="*/ 35 h 1867"/>
                <a:gd name="T18" fmla="*/ 1350 w 1624"/>
                <a:gd name="T19" fmla="*/ 69 h 1867"/>
                <a:gd name="T20" fmla="*/ 1527 w 1624"/>
                <a:gd name="T21" fmla="*/ 235 h 1867"/>
                <a:gd name="T22" fmla="*/ 1583 w 1624"/>
                <a:gd name="T23" fmla="*/ 555 h 1867"/>
                <a:gd name="T24" fmla="*/ 1172 w 1624"/>
                <a:gd name="T25" fmla="*/ 1253 h 1867"/>
                <a:gd name="T26" fmla="*/ 586 w 1624"/>
                <a:gd name="T27" fmla="*/ 1803 h 1867"/>
                <a:gd name="T28" fmla="*/ 269 w 1624"/>
                <a:gd name="T29" fmla="*/ 1807 h 1867"/>
                <a:gd name="T30" fmla="*/ 33 w 1624"/>
                <a:gd name="T31" fmla="*/ 1602 h 1867"/>
                <a:gd name="T32" fmla="*/ 2 w 1624"/>
                <a:gd name="T33" fmla="*/ 1508 h 1867"/>
                <a:gd name="T34" fmla="*/ 45 w 1624"/>
                <a:gd name="T35" fmla="*/ 1421 h 1867"/>
                <a:gd name="T36" fmla="*/ 346 w 1624"/>
                <a:gd name="T37" fmla="*/ 1158 h 1867"/>
                <a:gd name="T38" fmla="*/ 448 w 1624"/>
                <a:gd name="T39" fmla="*/ 1145 h 1867"/>
                <a:gd name="T40" fmla="*/ 573 w 1624"/>
                <a:gd name="T41" fmla="*/ 1257 h 18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24" h="1867">
                  <a:moveTo>
                    <a:pt x="573" y="1257"/>
                  </a:moveTo>
                  <a:cubicBezTo>
                    <a:pt x="592" y="1282"/>
                    <a:pt x="630" y="1303"/>
                    <a:pt x="662" y="1288"/>
                  </a:cubicBezTo>
                  <a:cubicBezTo>
                    <a:pt x="753" y="1245"/>
                    <a:pt x="854" y="1156"/>
                    <a:pt x="938" y="1051"/>
                  </a:cubicBezTo>
                  <a:cubicBezTo>
                    <a:pt x="1020" y="948"/>
                    <a:pt x="1084" y="831"/>
                    <a:pt x="1106" y="731"/>
                  </a:cubicBezTo>
                  <a:cubicBezTo>
                    <a:pt x="1113" y="696"/>
                    <a:pt x="1089" y="661"/>
                    <a:pt x="1059" y="645"/>
                  </a:cubicBezTo>
                  <a:cubicBezTo>
                    <a:pt x="1001" y="613"/>
                    <a:pt x="1001" y="613"/>
                    <a:pt x="1001" y="613"/>
                  </a:cubicBezTo>
                  <a:cubicBezTo>
                    <a:pt x="942" y="580"/>
                    <a:pt x="888" y="499"/>
                    <a:pt x="924" y="432"/>
                  </a:cubicBezTo>
                  <a:cubicBezTo>
                    <a:pt x="1114" y="81"/>
                    <a:pt x="1114" y="81"/>
                    <a:pt x="1114" y="81"/>
                  </a:cubicBezTo>
                  <a:cubicBezTo>
                    <a:pt x="1150" y="16"/>
                    <a:pt x="1224" y="0"/>
                    <a:pt x="1287" y="35"/>
                  </a:cubicBezTo>
                  <a:cubicBezTo>
                    <a:pt x="1350" y="69"/>
                    <a:pt x="1350" y="69"/>
                    <a:pt x="1350" y="69"/>
                  </a:cubicBezTo>
                  <a:cubicBezTo>
                    <a:pt x="1415" y="105"/>
                    <a:pt x="1479" y="165"/>
                    <a:pt x="1527" y="235"/>
                  </a:cubicBezTo>
                  <a:cubicBezTo>
                    <a:pt x="1593" y="332"/>
                    <a:pt x="1624" y="442"/>
                    <a:pt x="1583" y="555"/>
                  </a:cubicBezTo>
                  <a:cubicBezTo>
                    <a:pt x="1500" y="781"/>
                    <a:pt x="1351" y="1030"/>
                    <a:pt x="1172" y="1253"/>
                  </a:cubicBezTo>
                  <a:cubicBezTo>
                    <a:pt x="994" y="1477"/>
                    <a:pt x="786" y="1676"/>
                    <a:pt x="586" y="1803"/>
                  </a:cubicBezTo>
                  <a:cubicBezTo>
                    <a:pt x="486" y="1867"/>
                    <a:pt x="375" y="1856"/>
                    <a:pt x="269" y="1807"/>
                  </a:cubicBezTo>
                  <a:cubicBezTo>
                    <a:pt x="157" y="1755"/>
                    <a:pt x="106" y="1695"/>
                    <a:pt x="33" y="1602"/>
                  </a:cubicBezTo>
                  <a:cubicBezTo>
                    <a:pt x="11" y="1573"/>
                    <a:pt x="0" y="1540"/>
                    <a:pt x="2" y="1508"/>
                  </a:cubicBezTo>
                  <a:cubicBezTo>
                    <a:pt x="4" y="1475"/>
                    <a:pt x="18" y="1444"/>
                    <a:pt x="45" y="1421"/>
                  </a:cubicBezTo>
                  <a:cubicBezTo>
                    <a:pt x="70" y="1399"/>
                    <a:pt x="346" y="1158"/>
                    <a:pt x="346" y="1158"/>
                  </a:cubicBezTo>
                  <a:cubicBezTo>
                    <a:pt x="376" y="1134"/>
                    <a:pt x="413" y="1133"/>
                    <a:pt x="448" y="1145"/>
                  </a:cubicBezTo>
                  <a:cubicBezTo>
                    <a:pt x="510" y="1166"/>
                    <a:pt x="536" y="1210"/>
                    <a:pt x="573" y="1257"/>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351"/>
            </a:p>
          </p:txBody>
        </p:sp>
      </p:grpSp>
      <p:grpSp>
        <p:nvGrpSpPr>
          <p:cNvPr id="17" name="Group 3">
            <a:extLst>
              <a:ext uri="{FF2B5EF4-FFF2-40B4-BE49-F238E27FC236}">
                <a16:creationId xmlns:a16="http://schemas.microsoft.com/office/drawing/2014/main" id="{7104BADD-8CD1-6F4A-B894-869C3BDB3EEB}"/>
              </a:ext>
            </a:extLst>
          </p:cNvPr>
          <p:cNvGrpSpPr>
            <a:grpSpLocks noChangeAspect="1"/>
          </p:cNvGrpSpPr>
          <p:nvPr>
            <p:custDataLst>
              <p:tags r:id="rId2"/>
            </p:custDataLst>
          </p:nvPr>
        </p:nvGrpSpPr>
        <p:grpSpPr>
          <a:xfrm>
            <a:off x="8701918" y="3153207"/>
            <a:ext cx="171180" cy="171180"/>
            <a:chOff x="328396" y="5313940"/>
            <a:chExt cx="720000" cy="720000"/>
          </a:xfrm>
        </p:grpSpPr>
        <p:sp>
          <p:nvSpPr>
            <p:cNvPr id="18" name="Rectangle 4">
              <a:extLst>
                <a:ext uri="{FF2B5EF4-FFF2-40B4-BE49-F238E27FC236}">
                  <a16:creationId xmlns:a16="http://schemas.microsoft.com/office/drawing/2014/main" id="{74BE3D5F-1445-6E40-8B49-72E15568383B}"/>
                </a:ext>
              </a:extLst>
            </p:cNvPr>
            <p:cNvSpPr/>
            <p:nvPr/>
          </p:nvSpPr>
          <p:spPr bwMode="gray">
            <a:xfrm>
              <a:off x="328396" y="5313940"/>
              <a:ext cx="720000" cy="720000"/>
            </a:xfrm>
            <a:prstGeom prst="rect">
              <a:avLst/>
            </a:prstGeom>
            <a:solidFill>
              <a:srgbClr val="E55A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pPr>
              <a:endParaRPr lang="en-US" sz="1000">
                <a:solidFill>
                  <a:schemeClr val="tx1"/>
                </a:solidFill>
                <a:latin typeface="Arial" pitchFamily="34" charset="0"/>
                <a:cs typeface="Arial" pitchFamily="34" charset="0"/>
              </a:endParaRPr>
            </a:p>
          </p:txBody>
        </p:sp>
        <p:sp>
          <p:nvSpPr>
            <p:cNvPr id="19" name="Freeform 76">
              <a:extLst>
                <a:ext uri="{FF2B5EF4-FFF2-40B4-BE49-F238E27FC236}">
                  <a16:creationId xmlns:a16="http://schemas.microsoft.com/office/drawing/2014/main" id="{55DB3C95-7D0C-D141-901E-96D692794D2B}"/>
                </a:ext>
              </a:extLst>
            </p:cNvPr>
            <p:cNvSpPr>
              <a:spLocks noChangeAspect="1" noEditPoints="1"/>
            </p:cNvSpPr>
            <p:nvPr/>
          </p:nvSpPr>
          <p:spPr bwMode="auto">
            <a:xfrm>
              <a:off x="456202" y="5509222"/>
              <a:ext cx="504000" cy="329436"/>
            </a:xfrm>
            <a:custGeom>
              <a:avLst/>
              <a:gdLst>
                <a:gd name="T0" fmla="*/ 0 w 2080"/>
                <a:gd name="T1" fmla="*/ 65 h 1360"/>
                <a:gd name="T2" fmla="*/ 0 w 2080"/>
                <a:gd name="T3" fmla="*/ 0 h 1360"/>
                <a:gd name="T4" fmla="*/ 2080 w 2080"/>
                <a:gd name="T5" fmla="*/ 0 h 1360"/>
                <a:gd name="T6" fmla="*/ 2080 w 2080"/>
                <a:gd name="T7" fmla="*/ 65 h 1360"/>
                <a:gd name="T8" fmla="*/ 1089 w 2080"/>
                <a:gd name="T9" fmla="*/ 862 h 1360"/>
                <a:gd name="T10" fmla="*/ 991 w 2080"/>
                <a:gd name="T11" fmla="*/ 862 h 1360"/>
                <a:gd name="T12" fmla="*/ 0 w 2080"/>
                <a:gd name="T13" fmla="*/ 65 h 1360"/>
                <a:gd name="T14" fmla="*/ 1139 w 2080"/>
                <a:gd name="T15" fmla="*/ 924 h 1360"/>
                <a:gd name="T16" fmla="*/ 1282 w 2080"/>
                <a:gd name="T17" fmla="*/ 810 h 1360"/>
                <a:gd name="T18" fmla="*/ 2076 w 2080"/>
                <a:gd name="T19" fmla="*/ 1360 h 1360"/>
                <a:gd name="T20" fmla="*/ 4 w 2080"/>
                <a:gd name="T21" fmla="*/ 1360 h 1360"/>
                <a:gd name="T22" fmla="*/ 798 w 2080"/>
                <a:gd name="T23" fmla="*/ 810 h 1360"/>
                <a:gd name="T24" fmla="*/ 941 w 2080"/>
                <a:gd name="T25" fmla="*/ 924 h 1360"/>
                <a:gd name="T26" fmla="*/ 1139 w 2080"/>
                <a:gd name="T27" fmla="*/ 924 h 1360"/>
                <a:gd name="T28" fmla="*/ 2 w 2080"/>
                <a:gd name="T29" fmla="*/ 137 h 1360"/>
                <a:gd name="T30" fmla="*/ 42 w 2080"/>
                <a:gd name="T31" fmla="*/ 201 h 1360"/>
                <a:gd name="T32" fmla="*/ 734 w 2080"/>
                <a:gd name="T33" fmla="*/ 758 h 1360"/>
                <a:gd name="T34" fmla="*/ 0 w 2080"/>
                <a:gd name="T35" fmla="*/ 1266 h 1360"/>
                <a:gd name="T36" fmla="*/ 0 w 2080"/>
                <a:gd name="T37" fmla="*/ 135 h 1360"/>
                <a:gd name="T38" fmla="*/ 2 w 2080"/>
                <a:gd name="T39" fmla="*/ 137 h 1360"/>
                <a:gd name="T40" fmla="*/ 2080 w 2080"/>
                <a:gd name="T41" fmla="*/ 136 h 1360"/>
                <a:gd name="T42" fmla="*/ 2080 w 2080"/>
                <a:gd name="T43" fmla="*/ 1265 h 1360"/>
                <a:gd name="T44" fmla="*/ 1346 w 2080"/>
                <a:gd name="T45" fmla="*/ 758 h 1360"/>
                <a:gd name="T46" fmla="*/ 2038 w 2080"/>
                <a:gd name="T47" fmla="*/ 201 h 1360"/>
                <a:gd name="T48" fmla="*/ 2080 w 2080"/>
                <a:gd name="T49" fmla="*/ 136 h 1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080" h="1360">
                  <a:moveTo>
                    <a:pt x="0" y="65"/>
                  </a:moveTo>
                  <a:cubicBezTo>
                    <a:pt x="0" y="0"/>
                    <a:pt x="0" y="0"/>
                    <a:pt x="0" y="0"/>
                  </a:cubicBezTo>
                  <a:cubicBezTo>
                    <a:pt x="2080" y="0"/>
                    <a:pt x="2080" y="0"/>
                    <a:pt x="2080" y="0"/>
                  </a:cubicBezTo>
                  <a:cubicBezTo>
                    <a:pt x="2080" y="65"/>
                    <a:pt x="2080" y="65"/>
                    <a:pt x="2080" y="65"/>
                  </a:cubicBezTo>
                  <a:cubicBezTo>
                    <a:pt x="1089" y="862"/>
                    <a:pt x="1089" y="862"/>
                    <a:pt x="1089" y="862"/>
                  </a:cubicBezTo>
                  <a:cubicBezTo>
                    <a:pt x="1060" y="886"/>
                    <a:pt x="1020" y="886"/>
                    <a:pt x="991" y="862"/>
                  </a:cubicBezTo>
                  <a:lnTo>
                    <a:pt x="0" y="65"/>
                  </a:lnTo>
                  <a:close/>
                  <a:moveTo>
                    <a:pt x="1139" y="924"/>
                  </a:moveTo>
                  <a:cubicBezTo>
                    <a:pt x="1282" y="810"/>
                    <a:pt x="1282" y="810"/>
                    <a:pt x="1282" y="810"/>
                  </a:cubicBezTo>
                  <a:cubicBezTo>
                    <a:pt x="2076" y="1360"/>
                    <a:pt x="2076" y="1360"/>
                    <a:pt x="2076" y="1360"/>
                  </a:cubicBezTo>
                  <a:cubicBezTo>
                    <a:pt x="4" y="1360"/>
                    <a:pt x="4" y="1360"/>
                    <a:pt x="4" y="1360"/>
                  </a:cubicBezTo>
                  <a:cubicBezTo>
                    <a:pt x="798" y="810"/>
                    <a:pt x="798" y="810"/>
                    <a:pt x="798" y="810"/>
                  </a:cubicBezTo>
                  <a:cubicBezTo>
                    <a:pt x="941" y="924"/>
                    <a:pt x="941" y="924"/>
                    <a:pt x="941" y="924"/>
                  </a:cubicBezTo>
                  <a:cubicBezTo>
                    <a:pt x="1000" y="972"/>
                    <a:pt x="1080" y="972"/>
                    <a:pt x="1139" y="924"/>
                  </a:cubicBezTo>
                  <a:close/>
                  <a:moveTo>
                    <a:pt x="2" y="137"/>
                  </a:moveTo>
                  <a:cubicBezTo>
                    <a:pt x="8" y="163"/>
                    <a:pt x="22" y="185"/>
                    <a:pt x="42" y="201"/>
                  </a:cubicBezTo>
                  <a:cubicBezTo>
                    <a:pt x="734" y="758"/>
                    <a:pt x="734" y="758"/>
                    <a:pt x="734" y="758"/>
                  </a:cubicBezTo>
                  <a:cubicBezTo>
                    <a:pt x="0" y="1266"/>
                    <a:pt x="0" y="1266"/>
                    <a:pt x="0" y="1266"/>
                  </a:cubicBezTo>
                  <a:cubicBezTo>
                    <a:pt x="0" y="135"/>
                    <a:pt x="0" y="135"/>
                    <a:pt x="0" y="135"/>
                  </a:cubicBezTo>
                  <a:lnTo>
                    <a:pt x="2" y="137"/>
                  </a:lnTo>
                  <a:close/>
                  <a:moveTo>
                    <a:pt x="2080" y="136"/>
                  </a:moveTo>
                  <a:cubicBezTo>
                    <a:pt x="2080" y="1265"/>
                    <a:pt x="2080" y="1265"/>
                    <a:pt x="2080" y="1265"/>
                  </a:cubicBezTo>
                  <a:cubicBezTo>
                    <a:pt x="1346" y="758"/>
                    <a:pt x="1346" y="758"/>
                    <a:pt x="1346" y="758"/>
                  </a:cubicBezTo>
                  <a:cubicBezTo>
                    <a:pt x="2038" y="201"/>
                    <a:pt x="2038" y="201"/>
                    <a:pt x="2038" y="201"/>
                  </a:cubicBezTo>
                  <a:cubicBezTo>
                    <a:pt x="2060" y="182"/>
                    <a:pt x="2072" y="162"/>
                    <a:pt x="2080" y="13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000"/>
            </a:p>
          </p:txBody>
        </p:sp>
      </p:grpSp>
      <p:cxnSp>
        <p:nvCxnSpPr>
          <p:cNvPr id="20" name="Straight Connector 19"/>
          <p:cNvCxnSpPr/>
          <p:nvPr/>
        </p:nvCxnSpPr>
        <p:spPr>
          <a:xfrm>
            <a:off x="2371725" y="3478213"/>
            <a:ext cx="3888000" cy="0"/>
          </a:xfrm>
          <a:prstGeom prst="line">
            <a:avLst/>
          </a:prstGeom>
          <a:ln w="6350">
            <a:solidFill>
              <a:schemeClr val="tx2"/>
            </a:solidFill>
            <a:prstDash val="dash"/>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p:nvCxnSpPr>
        <p:spPr>
          <a:xfrm>
            <a:off x="7287766" y="3478213"/>
            <a:ext cx="3888000" cy="0"/>
          </a:xfrm>
          <a:prstGeom prst="line">
            <a:avLst/>
          </a:prstGeom>
          <a:ln w="6350">
            <a:solidFill>
              <a:schemeClr val="tx2"/>
            </a:solidFill>
            <a:prstDash val="dash"/>
          </a:ln>
        </p:spPr>
        <p:style>
          <a:lnRef idx="1">
            <a:schemeClr val="accent1"/>
          </a:lnRef>
          <a:fillRef idx="0">
            <a:schemeClr val="accent1"/>
          </a:fillRef>
          <a:effectRef idx="0">
            <a:schemeClr val="accent1"/>
          </a:effectRef>
          <a:fontRef idx="minor">
            <a:schemeClr val="tx1"/>
          </a:fontRef>
        </p:style>
      </p:cxnSp>
      <p:sp>
        <p:nvSpPr>
          <p:cNvPr id="4" name="Picture Placeholder 3"/>
          <p:cNvSpPr>
            <a:spLocks noGrp="1"/>
          </p:cNvSpPr>
          <p:nvPr>
            <p:ph type="pic" sz="quarter" idx="17" hasCustomPrompt="1"/>
          </p:nvPr>
        </p:nvSpPr>
        <p:spPr>
          <a:xfrm>
            <a:off x="2355914" y="1808984"/>
            <a:ext cx="1188677" cy="1547840"/>
          </a:xfrm>
          <a:solidFill>
            <a:srgbClr val="D9DADB"/>
          </a:solidFill>
        </p:spPr>
        <p:txBody>
          <a:bodyPr/>
          <a:lstStyle>
            <a:lvl1pPr marL="0" indent="0">
              <a:buNone/>
              <a:defRPr sz="1400"/>
            </a:lvl1pPr>
          </a:lstStyle>
          <a:p>
            <a:r>
              <a:rPr lang="en-US"/>
              <a:t>Insert picture</a:t>
            </a:r>
          </a:p>
        </p:txBody>
      </p:sp>
      <p:sp>
        <p:nvSpPr>
          <p:cNvPr id="25" name="Picture Placeholder 3"/>
          <p:cNvSpPr>
            <a:spLocks noGrp="1"/>
          </p:cNvSpPr>
          <p:nvPr>
            <p:ph type="pic" sz="quarter" idx="18" hasCustomPrompt="1"/>
          </p:nvPr>
        </p:nvSpPr>
        <p:spPr>
          <a:xfrm>
            <a:off x="7287766" y="1808984"/>
            <a:ext cx="1188677" cy="1547840"/>
          </a:xfrm>
          <a:solidFill>
            <a:srgbClr val="D9DADB"/>
          </a:solidFill>
        </p:spPr>
        <p:txBody>
          <a:bodyPr/>
          <a:lstStyle>
            <a:lvl1pPr marL="0" indent="0">
              <a:buNone/>
              <a:defRPr sz="1400"/>
            </a:lvl1pPr>
          </a:lstStyle>
          <a:p>
            <a:r>
              <a:rPr lang="en-US"/>
              <a:t>Insert picture</a:t>
            </a:r>
          </a:p>
        </p:txBody>
      </p:sp>
      <p:sp>
        <p:nvSpPr>
          <p:cNvPr id="6" name="Text Placeholder 5"/>
          <p:cNvSpPr>
            <a:spLocks noGrp="1"/>
          </p:cNvSpPr>
          <p:nvPr>
            <p:ph type="body" sz="quarter" idx="19" hasCustomPrompt="1"/>
          </p:nvPr>
        </p:nvSpPr>
        <p:spPr>
          <a:xfrm>
            <a:off x="3770065" y="1808521"/>
            <a:ext cx="2463190" cy="192360"/>
          </a:xfrm>
        </p:spPr>
        <p:txBody>
          <a:bodyPr lIns="0" tIns="0" rIns="0" bIns="0" anchor="ctr" anchorCtr="0"/>
          <a:lstStyle>
            <a:lvl1pPr marL="0" indent="0" algn="l">
              <a:lnSpc>
                <a:spcPct val="100000"/>
              </a:lnSpc>
              <a:buNone/>
              <a:defRPr sz="100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Country</a:t>
            </a:r>
          </a:p>
        </p:txBody>
      </p:sp>
      <p:sp>
        <p:nvSpPr>
          <p:cNvPr id="26" name="Text Placeholder 5"/>
          <p:cNvSpPr>
            <a:spLocks noGrp="1"/>
          </p:cNvSpPr>
          <p:nvPr>
            <p:ph type="body" sz="quarter" idx="20" hasCustomPrompt="1"/>
          </p:nvPr>
        </p:nvSpPr>
        <p:spPr>
          <a:xfrm>
            <a:off x="3770065" y="2020337"/>
            <a:ext cx="2463190" cy="266182"/>
          </a:xfrm>
        </p:spPr>
        <p:txBody>
          <a:bodyPr lIns="0" tIns="0" rIns="0" bIns="0" anchor="b" anchorCtr="0"/>
          <a:lstStyle>
            <a:lvl1pPr marL="0" indent="0" algn="l">
              <a:lnSpc>
                <a:spcPct val="100000"/>
              </a:lnSpc>
              <a:buNone/>
              <a:defRPr sz="1400" b="1" baseline="0">
                <a:solidFill>
                  <a:schemeClr val="tx2"/>
                </a:solidFill>
              </a:defRPr>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Name, Surname</a:t>
            </a:r>
          </a:p>
        </p:txBody>
      </p:sp>
      <p:sp>
        <p:nvSpPr>
          <p:cNvPr id="27" name="Text Placeholder 5"/>
          <p:cNvSpPr>
            <a:spLocks noGrp="1"/>
          </p:cNvSpPr>
          <p:nvPr>
            <p:ph type="body" sz="quarter" idx="21" hasCustomPrompt="1"/>
          </p:nvPr>
        </p:nvSpPr>
        <p:spPr>
          <a:xfrm>
            <a:off x="3770065" y="2316912"/>
            <a:ext cx="2463190"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Job Position</a:t>
            </a:r>
          </a:p>
        </p:txBody>
      </p:sp>
      <p:sp>
        <p:nvSpPr>
          <p:cNvPr id="28" name="Text Placeholder 5"/>
          <p:cNvSpPr>
            <a:spLocks noGrp="1"/>
          </p:cNvSpPr>
          <p:nvPr>
            <p:ph type="body" sz="quarter" idx="22" hasCustomPrompt="1"/>
          </p:nvPr>
        </p:nvSpPr>
        <p:spPr>
          <a:xfrm>
            <a:off x="4014948" y="2845588"/>
            <a:ext cx="2218307"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Phone number</a:t>
            </a:r>
          </a:p>
        </p:txBody>
      </p:sp>
      <p:sp>
        <p:nvSpPr>
          <p:cNvPr id="29" name="Text Placeholder 5"/>
          <p:cNvSpPr>
            <a:spLocks noGrp="1"/>
          </p:cNvSpPr>
          <p:nvPr>
            <p:ph type="body" sz="quarter" idx="23" hasCustomPrompt="1"/>
          </p:nvPr>
        </p:nvSpPr>
        <p:spPr>
          <a:xfrm>
            <a:off x="4014948" y="3128395"/>
            <a:ext cx="2218307"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Email address</a:t>
            </a:r>
          </a:p>
        </p:txBody>
      </p:sp>
      <p:sp>
        <p:nvSpPr>
          <p:cNvPr id="30" name="Text Placeholder 5"/>
          <p:cNvSpPr>
            <a:spLocks noGrp="1"/>
          </p:cNvSpPr>
          <p:nvPr>
            <p:ph type="body" sz="quarter" idx="24" hasCustomPrompt="1"/>
          </p:nvPr>
        </p:nvSpPr>
        <p:spPr>
          <a:xfrm>
            <a:off x="8701917" y="1808521"/>
            <a:ext cx="2463190" cy="192360"/>
          </a:xfrm>
        </p:spPr>
        <p:txBody>
          <a:bodyPr lIns="0" tIns="0" rIns="0" bIns="0" anchor="ctr" anchorCtr="0"/>
          <a:lstStyle>
            <a:lvl1pPr marL="0" indent="0" algn="l">
              <a:lnSpc>
                <a:spcPct val="100000"/>
              </a:lnSpc>
              <a:buNone/>
              <a:defRPr sz="100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Country</a:t>
            </a:r>
          </a:p>
        </p:txBody>
      </p:sp>
      <p:sp>
        <p:nvSpPr>
          <p:cNvPr id="31" name="Text Placeholder 5"/>
          <p:cNvSpPr>
            <a:spLocks noGrp="1"/>
          </p:cNvSpPr>
          <p:nvPr>
            <p:ph type="body" sz="quarter" idx="25" hasCustomPrompt="1"/>
          </p:nvPr>
        </p:nvSpPr>
        <p:spPr>
          <a:xfrm>
            <a:off x="8701917" y="2020337"/>
            <a:ext cx="2463190" cy="266182"/>
          </a:xfrm>
        </p:spPr>
        <p:txBody>
          <a:bodyPr lIns="0" tIns="0" rIns="0" bIns="0" anchor="b" anchorCtr="0"/>
          <a:lstStyle>
            <a:lvl1pPr marL="0" indent="0" algn="l">
              <a:lnSpc>
                <a:spcPct val="100000"/>
              </a:lnSpc>
              <a:buNone/>
              <a:defRPr sz="1400" b="1" baseline="0">
                <a:solidFill>
                  <a:schemeClr val="tx2"/>
                </a:solidFill>
              </a:defRPr>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Name, Surname</a:t>
            </a:r>
          </a:p>
        </p:txBody>
      </p:sp>
      <p:sp>
        <p:nvSpPr>
          <p:cNvPr id="32" name="Text Placeholder 5"/>
          <p:cNvSpPr>
            <a:spLocks noGrp="1"/>
          </p:cNvSpPr>
          <p:nvPr>
            <p:ph type="body" sz="quarter" idx="26" hasCustomPrompt="1"/>
          </p:nvPr>
        </p:nvSpPr>
        <p:spPr>
          <a:xfrm>
            <a:off x="8701917" y="2316912"/>
            <a:ext cx="2463190"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Job Position</a:t>
            </a:r>
          </a:p>
        </p:txBody>
      </p:sp>
      <p:sp>
        <p:nvSpPr>
          <p:cNvPr id="33" name="Text Placeholder 5"/>
          <p:cNvSpPr>
            <a:spLocks noGrp="1"/>
          </p:cNvSpPr>
          <p:nvPr>
            <p:ph type="body" sz="quarter" idx="27" hasCustomPrompt="1"/>
          </p:nvPr>
        </p:nvSpPr>
        <p:spPr>
          <a:xfrm>
            <a:off x="8946800" y="2845588"/>
            <a:ext cx="2218307"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Phone number</a:t>
            </a:r>
          </a:p>
        </p:txBody>
      </p:sp>
      <p:sp>
        <p:nvSpPr>
          <p:cNvPr id="34" name="Text Placeholder 5"/>
          <p:cNvSpPr>
            <a:spLocks noGrp="1"/>
          </p:cNvSpPr>
          <p:nvPr>
            <p:ph type="body" sz="quarter" idx="28" hasCustomPrompt="1"/>
          </p:nvPr>
        </p:nvSpPr>
        <p:spPr>
          <a:xfrm>
            <a:off x="8946800" y="3128395"/>
            <a:ext cx="2218307"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Email address</a:t>
            </a:r>
          </a:p>
        </p:txBody>
      </p:sp>
    </p:spTree>
    <p:extLst>
      <p:ext uri="{BB962C8B-B14F-4D97-AF65-F5344CB8AC3E}">
        <p14:creationId xmlns:p14="http://schemas.microsoft.com/office/powerpoint/2010/main" val="3735125398"/>
      </p:ext>
    </p:extLst>
  </p:cSld>
  <p:clrMapOvr>
    <a:masterClrMapping/>
  </p:clrMapOvr>
</p:sldLayout>
</file>

<file path=ppt/slideLayouts/slideLayout353.xml><?xml version="1.0" encoding="utf-8"?>
<p:sldLayout xmlns:a="http://schemas.openxmlformats.org/drawingml/2006/main" xmlns:r="http://schemas.openxmlformats.org/officeDocument/2006/relationships" xmlns:p="http://schemas.openxmlformats.org/presentationml/2006/main" preserve="1">
  <p:cSld name="Three contacts">
    <p:spTree>
      <p:nvGrpSpPr>
        <p:cNvPr id="1" name=""/>
        <p:cNvGrpSpPr/>
        <p:nvPr/>
      </p:nvGrpSpPr>
      <p:grpSpPr>
        <a:xfrm>
          <a:off x="0" y="0"/>
          <a:ext cx="0" cy="0"/>
          <a:chOff x="0" y="0"/>
          <a:chExt cx="0" cy="0"/>
        </a:xfrm>
      </p:grpSpPr>
      <p:sp>
        <p:nvSpPr>
          <p:cNvPr id="21" name="Date Placeholder 20"/>
          <p:cNvSpPr>
            <a:spLocks noGrp="1"/>
          </p:cNvSpPr>
          <p:nvPr>
            <p:ph type="dt" sz="half" idx="14"/>
          </p:nvPr>
        </p:nvSpPr>
        <p:spPr/>
        <p:txBody>
          <a:bodyPr/>
          <a:lstStyle/>
          <a:p>
            <a:endParaRPr lang="en-US"/>
          </a:p>
        </p:txBody>
      </p:sp>
      <p:sp>
        <p:nvSpPr>
          <p:cNvPr id="22" name="Footer Placeholder 21"/>
          <p:cNvSpPr>
            <a:spLocks noGrp="1"/>
          </p:cNvSpPr>
          <p:nvPr>
            <p:ph type="ftr" sz="quarter" idx="15"/>
          </p:nvPr>
        </p:nvSpPr>
        <p:spPr/>
        <p:txBody>
          <a:bodyPr/>
          <a:lstStyle/>
          <a:p>
            <a:endParaRPr lang="en-US"/>
          </a:p>
        </p:txBody>
      </p:sp>
      <p:sp>
        <p:nvSpPr>
          <p:cNvPr id="23" name="Slide Number Placeholder 22"/>
          <p:cNvSpPr>
            <a:spLocks noGrp="1"/>
          </p:cNvSpPr>
          <p:nvPr>
            <p:ph type="sldNum" sz="quarter" idx="16"/>
          </p:nvPr>
        </p:nvSpPr>
        <p:spPr/>
        <p:txBody>
          <a:bodyPr/>
          <a:lstStyle/>
          <a:p>
            <a:fld id="{5F3E29E4-0979-4FCA-B4C5-5FC6044C982A}" type="slidenum">
              <a:rPr lang="en-US" smtClean="0"/>
              <a:t>‹#›</a:t>
            </a:fld>
            <a:endParaRPr lang="en-US"/>
          </a:p>
        </p:txBody>
      </p:sp>
      <p:sp>
        <p:nvSpPr>
          <p:cNvPr id="2" name="Title 1"/>
          <p:cNvSpPr>
            <a:spLocks noGrp="1"/>
          </p:cNvSpPr>
          <p:nvPr>
            <p:ph type="title" hasCustomPrompt="1"/>
          </p:nvPr>
        </p:nvSpPr>
        <p:spPr/>
        <p:txBody>
          <a:bodyPr/>
          <a:lstStyle>
            <a:lvl1pPr>
              <a:defRPr/>
            </a:lvl1pPr>
          </a:lstStyle>
          <a:p>
            <a:r>
              <a:rPr lang="en-US"/>
              <a:t>Click to add contact title</a:t>
            </a:r>
          </a:p>
        </p:txBody>
      </p:sp>
      <p:sp>
        <p:nvSpPr>
          <p:cNvPr id="7" name="Subtitle 2"/>
          <p:cNvSpPr>
            <a:spLocks noGrp="1"/>
          </p:cNvSpPr>
          <p:nvPr>
            <p:ph type="subTitle" idx="13" hasCustomPrompt="1"/>
          </p:nvPr>
        </p:nvSpPr>
        <p:spPr>
          <a:xfrm>
            <a:off x="1075061" y="964671"/>
            <a:ext cx="7910158" cy="490042"/>
          </a:xfrm>
        </p:spPr>
        <p:txBody>
          <a:bodyPr wrap="none"/>
          <a:lstStyle>
            <a:lvl1pPr marL="0" indent="0" algn="l">
              <a:spcBef>
                <a:spcPts val="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grpSp>
        <p:nvGrpSpPr>
          <p:cNvPr id="8" name="Gruppieren 80">
            <a:extLst>
              <a:ext uri="{FF2B5EF4-FFF2-40B4-BE49-F238E27FC236}">
                <a16:creationId xmlns:a16="http://schemas.microsoft.com/office/drawing/2014/main" id="{6B969E7B-9C39-4443-9B02-74C1E7C5CCAC}"/>
              </a:ext>
            </a:extLst>
          </p:cNvPr>
          <p:cNvGrpSpPr/>
          <p:nvPr/>
        </p:nvGrpSpPr>
        <p:grpSpPr>
          <a:xfrm>
            <a:off x="3770065" y="2868319"/>
            <a:ext cx="171180" cy="171180"/>
            <a:chOff x="3392092" y="1841122"/>
            <a:chExt cx="646508" cy="646508"/>
          </a:xfrm>
        </p:grpSpPr>
        <p:sp>
          <p:nvSpPr>
            <p:cNvPr id="9" name="Rechteck 14">
              <a:extLst>
                <a:ext uri="{FF2B5EF4-FFF2-40B4-BE49-F238E27FC236}">
                  <a16:creationId xmlns:a16="http://schemas.microsoft.com/office/drawing/2014/main" id="{D78F58EA-5525-8D43-8295-FEA52ECF6BFA}"/>
                </a:ext>
              </a:extLst>
            </p:cNvPr>
            <p:cNvSpPr>
              <a:spLocks noChangeAspect="1"/>
            </p:cNvSpPr>
            <p:nvPr/>
          </p:nvSpPr>
          <p:spPr bwMode="gray">
            <a:xfrm>
              <a:off x="3392092" y="1841122"/>
              <a:ext cx="646508" cy="646508"/>
            </a:xfrm>
            <a:prstGeom prst="rect">
              <a:avLst/>
            </a:prstGeom>
            <a:solidFill>
              <a:srgbClr val="E55A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pPr>
              <a:endParaRPr lang="en-US" sz="1000">
                <a:solidFill>
                  <a:schemeClr val="tx1"/>
                </a:solidFill>
                <a:latin typeface="Arial" pitchFamily="34" charset="0"/>
                <a:cs typeface="Arial" pitchFamily="34" charset="0"/>
              </a:endParaRPr>
            </a:p>
          </p:txBody>
        </p:sp>
        <p:sp>
          <p:nvSpPr>
            <p:cNvPr id="10" name="Freeform 67">
              <a:extLst>
                <a:ext uri="{FF2B5EF4-FFF2-40B4-BE49-F238E27FC236}">
                  <a16:creationId xmlns:a16="http://schemas.microsoft.com/office/drawing/2014/main" id="{D01A6292-2776-4945-B828-483D79DC4908}"/>
                </a:ext>
              </a:extLst>
            </p:cNvPr>
            <p:cNvSpPr>
              <a:spLocks noChangeAspect="1"/>
            </p:cNvSpPr>
            <p:nvPr/>
          </p:nvSpPr>
          <p:spPr bwMode="auto">
            <a:xfrm>
              <a:off x="3546638" y="1970424"/>
              <a:ext cx="337415" cy="387905"/>
            </a:xfrm>
            <a:custGeom>
              <a:avLst/>
              <a:gdLst>
                <a:gd name="T0" fmla="*/ 573 w 1624"/>
                <a:gd name="T1" fmla="*/ 1257 h 1867"/>
                <a:gd name="T2" fmla="*/ 662 w 1624"/>
                <a:gd name="T3" fmla="*/ 1288 h 1867"/>
                <a:gd name="T4" fmla="*/ 938 w 1624"/>
                <a:gd name="T5" fmla="*/ 1051 h 1867"/>
                <a:gd name="T6" fmla="*/ 1106 w 1624"/>
                <a:gd name="T7" fmla="*/ 731 h 1867"/>
                <a:gd name="T8" fmla="*/ 1059 w 1624"/>
                <a:gd name="T9" fmla="*/ 645 h 1867"/>
                <a:gd name="T10" fmla="*/ 1001 w 1624"/>
                <a:gd name="T11" fmla="*/ 613 h 1867"/>
                <a:gd name="T12" fmla="*/ 924 w 1624"/>
                <a:gd name="T13" fmla="*/ 432 h 1867"/>
                <a:gd name="T14" fmla="*/ 1114 w 1624"/>
                <a:gd name="T15" fmla="*/ 81 h 1867"/>
                <a:gd name="T16" fmla="*/ 1287 w 1624"/>
                <a:gd name="T17" fmla="*/ 35 h 1867"/>
                <a:gd name="T18" fmla="*/ 1350 w 1624"/>
                <a:gd name="T19" fmla="*/ 69 h 1867"/>
                <a:gd name="T20" fmla="*/ 1527 w 1624"/>
                <a:gd name="T21" fmla="*/ 235 h 1867"/>
                <a:gd name="T22" fmla="*/ 1583 w 1624"/>
                <a:gd name="T23" fmla="*/ 555 h 1867"/>
                <a:gd name="T24" fmla="*/ 1172 w 1624"/>
                <a:gd name="T25" fmla="*/ 1253 h 1867"/>
                <a:gd name="T26" fmla="*/ 586 w 1624"/>
                <a:gd name="T27" fmla="*/ 1803 h 1867"/>
                <a:gd name="T28" fmla="*/ 269 w 1624"/>
                <a:gd name="T29" fmla="*/ 1807 h 1867"/>
                <a:gd name="T30" fmla="*/ 33 w 1624"/>
                <a:gd name="T31" fmla="*/ 1602 h 1867"/>
                <a:gd name="T32" fmla="*/ 2 w 1624"/>
                <a:gd name="T33" fmla="*/ 1508 h 1867"/>
                <a:gd name="T34" fmla="*/ 45 w 1624"/>
                <a:gd name="T35" fmla="*/ 1421 h 1867"/>
                <a:gd name="T36" fmla="*/ 346 w 1624"/>
                <a:gd name="T37" fmla="*/ 1158 h 1867"/>
                <a:gd name="T38" fmla="*/ 448 w 1624"/>
                <a:gd name="T39" fmla="*/ 1145 h 1867"/>
                <a:gd name="T40" fmla="*/ 573 w 1624"/>
                <a:gd name="T41" fmla="*/ 1257 h 18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24" h="1867">
                  <a:moveTo>
                    <a:pt x="573" y="1257"/>
                  </a:moveTo>
                  <a:cubicBezTo>
                    <a:pt x="592" y="1282"/>
                    <a:pt x="630" y="1303"/>
                    <a:pt x="662" y="1288"/>
                  </a:cubicBezTo>
                  <a:cubicBezTo>
                    <a:pt x="753" y="1245"/>
                    <a:pt x="854" y="1156"/>
                    <a:pt x="938" y="1051"/>
                  </a:cubicBezTo>
                  <a:cubicBezTo>
                    <a:pt x="1020" y="948"/>
                    <a:pt x="1084" y="831"/>
                    <a:pt x="1106" y="731"/>
                  </a:cubicBezTo>
                  <a:cubicBezTo>
                    <a:pt x="1113" y="696"/>
                    <a:pt x="1089" y="661"/>
                    <a:pt x="1059" y="645"/>
                  </a:cubicBezTo>
                  <a:cubicBezTo>
                    <a:pt x="1001" y="613"/>
                    <a:pt x="1001" y="613"/>
                    <a:pt x="1001" y="613"/>
                  </a:cubicBezTo>
                  <a:cubicBezTo>
                    <a:pt x="942" y="580"/>
                    <a:pt x="888" y="499"/>
                    <a:pt x="924" y="432"/>
                  </a:cubicBezTo>
                  <a:cubicBezTo>
                    <a:pt x="1114" y="81"/>
                    <a:pt x="1114" y="81"/>
                    <a:pt x="1114" y="81"/>
                  </a:cubicBezTo>
                  <a:cubicBezTo>
                    <a:pt x="1150" y="16"/>
                    <a:pt x="1224" y="0"/>
                    <a:pt x="1287" y="35"/>
                  </a:cubicBezTo>
                  <a:cubicBezTo>
                    <a:pt x="1350" y="69"/>
                    <a:pt x="1350" y="69"/>
                    <a:pt x="1350" y="69"/>
                  </a:cubicBezTo>
                  <a:cubicBezTo>
                    <a:pt x="1415" y="105"/>
                    <a:pt x="1479" y="165"/>
                    <a:pt x="1527" y="235"/>
                  </a:cubicBezTo>
                  <a:cubicBezTo>
                    <a:pt x="1593" y="332"/>
                    <a:pt x="1624" y="442"/>
                    <a:pt x="1583" y="555"/>
                  </a:cubicBezTo>
                  <a:cubicBezTo>
                    <a:pt x="1500" y="781"/>
                    <a:pt x="1351" y="1030"/>
                    <a:pt x="1172" y="1253"/>
                  </a:cubicBezTo>
                  <a:cubicBezTo>
                    <a:pt x="994" y="1477"/>
                    <a:pt x="786" y="1676"/>
                    <a:pt x="586" y="1803"/>
                  </a:cubicBezTo>
                  <a:cubicBezTo>
                    <a:pt x="486" y="1867"/>
                    <a:pt x="375" y="1856"/>
                    <a:pt x="269" y="1807"/>
                  </a:cubicBezTo>
                  <a:cubicBezTo>
                    <a:pt x="157" y="1755"/>
                    <a:pt x="106" y="1695"/>
                    <a:pt x="33" y="1602"/>
                  </a:cubicBezTo>
                  <a:cubicBezTo>
                    <a:pt x="11" y="1573"/>
                    <a:pt x="0" y="1540"/>
                    <a:pt x="2" y="1508"/>
                  </a:cubicBezTo>
                  <a:cubicBezTo>
                    <a:pt x="4" y="1475"/>
                    <a:pt x="18" y="1444"/>
                    <a:pt x="45" y="1421"/>
                  </a:cubicBezTo>
                  <a:cubicBezTo>
                    <a:pt x="70" y="1399"/>
                    <a:pt x="346" y="1158"/>
                    <a:pt x="346" y="1158"/>
                  </a:cubicBezTo>
                  <a:cubicBezTo>
                    <a:pt x="376" y="1134"/>
                    <a:pt x="413" y="1133"/>
                    <a:pt x="448" y="1145"/>
                  </a:cubicBezTo>
                  <a:cubicBezTo>
                    <a:pt x="510" y="1166"/>
                    <a:pt x="536" y="1210"/>
                    <a:pt x="573" y="1257"/>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351"/>
            </a:p>
          </p:txBody>
        </p:sp>
      </p:grpSp>
      <p:grpSp>
        <p:nvGrpSpPr>
          <p:cNvPr id="11" name="Group 3">
            <a:extLst>
              <a:ext uri="{FF2B5EF4-FFF2-40B4-BE49-F238E27FC236}">
                <a16:creationId xmlns:a16="http://schemas.microsoft.com/office/drawing/2014/main" id="{DED6A25A-5DE2-1441-8BA2-C68D3B4F9209}"/>
              </a:ext>
            </a:extLst>
          </p:cNvPr>
          <p:cNvGrpSpPr>
            <a:grpSpLocks noChangeAspect="1"/>
          </p:cNvGrpSpPr>
          <p:nvPr>
            <p:custDataLst>
              <p:tags r:id="rId1"/>
            </p:custDataLst>
          </p:nvPr>
        </p:nvGrpSpPr>
        <p:grpSpPr>
          <a:xfrm>
            <a:off x="3770066" y="3153207"/>
            <a:ext cx="171180" cy="171180"/>
            <a:chOff x="328396" y="5313940"/>
            <a:chExt cx="720000" cy="720000"/>
          </a:xfrm>
        </p:grpSpPr>
        <p:sp>
          <p:nvSpPr>
            <p:cNvPr id="12" name="Rectangle 4">
              <a:extLst>
                <a:ext uri="{FF2B5EF4-FFF2-40B4-BE49-F238E27FC236}">
                  <a16:creationId xmlns:a16="http://schemas.microsoft.com/office/drawing/2014/main" id="{5F49E67F-D4FA-9D48-96BC-59AE946ECD15}"/>
                </a:ext>
              </a:extLst>
            </p:cNvPr>
            <p:cNvSpPr/>
            <p:nvPr/>
          </p:nvSpPr>
          <p:spPr bwMode="gray">
            <a:xfrm>
              <a:off x="328396" y="5313940"/>
              <a:ext cx="720000" cy="720000"/>
            </a:xfrm>
            <a:prstGeom prst="rect">
              <a:avLst/>
            </a:prstGeom>
            <a:solidFill>
              <a:srgbClr val="E55A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pPr>
              <a:endParaRPr lang="en-US" sz="1000">
                <a:solidFill>
                  <a:schemeClr val="tx1"/>
                </a:solidFill>
                <a:latin typeface="Arial" pitchFamily="34" charset="0"/>
                <a:cs typeface="Arial" pitchFamily="34" charset="0"/>
              </a:endParaRPr>
            </a:p>
          </p:txBody>
        </p:sp>
        <p:sp>
          <p:nvSpPr>
            <p:cNvPr id="13" name="Freeform 76">
              <a:extLst>
                <a:ext uri="{FF2B5EF4-FFF2-40B4-BE49-F238E27FC236}">
                  <a16:creationId xmlns:a16="http://schemas.microsoft.com/office/drawing/2014/main" id="{187E70E6-AF3F-2549-908E-DF4BA61040AA}"/>
                </a:ext>
              </a:extLst>
            </p:cNvPr>
            <p:cNvSpPr>
              <a:spLocks noChangeAspect="1" noEditPoints="1"/>
            </p:cNvSpPr>
            <p:nvPr/>
          </p:nvSpPr>
          <p:spPr bwMode="auto">
            <a:xfrm>
              <a:off x="456202" y="5509222"/>
              <a:ext cx="504000" cy="329436"/>
            </a:xfrm>
            <a:custGeom>
              <a:avLst/>
              <a:gdLst>
                <a:gd name="T0" fmla="*/ 0 w 2080"/>
                <a:gd name="T1" fmla="*/ 65 h 1360"/>
                <a:gd name="T2" fmla="*/ 0 w 2080"/>
                <a:gd name="T3" fmla="*/ 0 h 1360"/>
                <a:gd name="T4" fmla="*/ 2080 w 2080"/>
                <a:gd name="T5" fmla="*/ 0 h 1360"/>
                <a:gd name="T6" fmla="*/ 2080 w 2080"/>
                <a:gd name="T7" fmla="*/ 65 h 1360"/>
                <a:gd name="T8" fmla="*/ 1089 w 2080"/>
                <a:gd name="T9" fmla="*/ 862 h 1360"/>
                <a:gd name="T10" fmla="*/ 991 w 2080"/>
                <a:gd name="T11" fmla="*/ 862 h 1360"/>
                <a:gd name="T12" fmla="*/ 0 w 2080"/>
                <a:gd name="T13" fmla="*/ 65 h 1360"/>
                <a:gd name="T14" fmla="*/ 1139 w 2080"/>
                <a:gd name="T15" fmla="*/ 924 h 1360"/>
                <a:gd name="T16" fmla="*/ 1282 w 2080"/>
                <a:gd name="T17" fmla="*/ 810 h 1360"/>
                <a:gd name="T18" fmla="*/ 2076 w 2080"/>
                <a:gd name="T19" fmla="*/ 1360 h 1360"/>
                <a:gd name="T20" fmla="*/ 4 w 2080"/>
                <a:gd name="T21" fmla="*/ 1360 h 1360"/>
                <a:gd name="T22" fmla="*/ 798 w 2080"/>
                <a:gd name="T23" fmla="*/ 810 h 1360"/>
                <a:gd name="T24" fmla="*/ 941 w 2080"/>
                <a:gd name="T25" fmla="*/ 924 h 1360"/>
                <a:gd name="T26" fmla="*/ 1139 w 2080"/>
                <a:gd name="T27" fmla="*/ 924 h 1360"/>
                <a:gd name="T28" fmla="*/ 2 w 2080"/>
                <a:gd name="T29" fmla="*/ 137 h 1360"/>
                <a:gd name="T30" fmla="*/ 42 w 2080"/>
                <a:gd name="T31" fmla="*/ 201 h 1360"/>
                <a:gd name="T32" fmla="*/ 734 w 2080"/>
                <a:gd name="T33" fmla="*/ 758 h 1360"/>
                <a:gd name="T34" fmla="*/ 0 w 2080"/>
                <a:gd name="T35" fmla="*/ 1266 h 1360"/>
                <a:gd name="T36" fmla="*/ 0 w 2080"/>
                <a:gd name="T37" fmla="*/ 135 h 1360"/>
                <a:gd name="T38" fmla="*/ 2 w 2080"/>
                <a:gd name="T39" fmla="*/ 137 h 1360"/>
                <a:gd name="T40" fmla="*/ 2080 w 2080"/>
                <a:gd name="T41" fmla="*/ 136 h 1360"/>
                <a:gd name="T42" fmla="*/ 2080 w 2080"/>
                <a:gd name="T43" fmla="*/ 1265 h 1360"/>
                <a:gd name="T44" fmla="*/ 1346 w 2080"/>
                <a:gd name="T45" fmla="*/ 758 h 1360"/>
                <a:gd name="T46" fmla="*/ 2038 w 2080"/>
                <a:gd name="T47" fmla="*/ 201 h 1360"/>
                <a:gd name="T48" fmla="*/ 2080 w 2080"/>
                <a:gd name="T49" fmla="*/ 136 h 1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080" h="1360">
                  <a:moveTo>
                    <a:pt x="0" y="65"/>
                  </a:moveTo>
                  <a:cubicBezTo>
                    <a:pt x="0" y="0"/>
                    <a:pt x="0" y="0"/>
                    <a:pt x="0" y="0"/>
                  </a:cubicBezTo>
                  <a:cubicBezTo>
                    <a:pt x="2080" y="0"/>
                    <a:pt x="2080" y="0"/>
                    <a:pt x="2080" y="0"/>
                  </a:cubicBezTo>
                  <a:cubicBezTo>
                    <a:pt x="2080" y="65"/>
                    <a:pt x="2080" y="65"/>
                    <a:pt x="2080" y="65"/>
                  </a:cubicBezTo>
                  <a:cubicBezTo>
                    <a:pt x="1089" y="862"/>
                    <a:pt x="1089" y="862"/>
                    <a:pt x="1089" y="862"/>
                  </a:cubicBezTo>
                  <a:cubicBezTo>
                    <a:pt x="1060" y="886"/>
                    <a:pt x="1020" y="886"/>
                    <a:pt x="991" y="862"/>
                  </a:cubicBezTo>
                  <a:lnTo>
                    <a:pt x="0" y="65"/>
                  </a:lnTo>
                  <a:close/>
                  <a:moveTo>
                    <a:pt x="1139" y="924"/>
                  </a:moveTo>
                  <a:cubicBezTo>
                    <a:pt x="1282" y="810"/>
                    <a:pt x="1282" y="810"/>
                    <a:pt x="1282" y="810"/>
                  </a:cubicBezTo>
                  <a:cubicBezTo>
                    <a:pt x="2076" y="1360"/>
                    <a:pt x="2076" y="1360"/>
                    <a:pt x="2076" y="1360"/>
                  </a:cubicBezTo>
                  <a:cubicBezTo>
                    <a:pt x="4" y="1360"/>
                    <a:pt x="4" y="1360"/>
                    <a:pt x="4" y="1360"/>
                  </a:cubicBezTo>
                  <a:cubicBezTo>
                    <a:pt x="798" y="810"/>
                    <a:pt x="798" y="810"/>
                    <a:pt x="798" y="810"/>
                  </a:cubicBezTo>
                  <a:cubicBezTo>
                    <a:pt x="941" y="924"/>
                    <a:pt x="941" y="924"/>
                    <a:pt x="941" y="924"/>
                  </a:cubicBezTo>
                  <a:cubicBezTo>
                    <a:pt x="1000" y="972"/>
                    <a:pt x="1080" y="972"/>
                    <a:pt x="1139" y="924"/>
                  </a:cubicBezTo>
                  <a:close/>
                  <a:moveTo>
                    <a:pt x="2" y="137"/>
                  </a:moveTo>
                  <a:cubicBezTo>
                    <a:pt x="8" y="163"/>
                    <a:pt x="22" y="185"/>
                    <a:pt x="42" y="201"/>
                  </a:cubicBezTo>
                  <a:cubicBezTo>
                    <a:pt x="734" y="758"/>
                    <a:pt x="734" y="758"/>
                    <a:pt x="734" y="758"/>
                  </a:cubicBezTo>
                  <a:cubicBezTo>
                    <a:pt x="0" y="1266"/>
                    <a:pt x="0" y="1266"/>
                    <a:pt x="0" y="1266"/>
                  </a:cubicBezTo>
                  <a:cubicBezTo>
                    <a:pt x="0" y="135"/>
                    <a:pt x="0" y="135"/>
                    <a:pt x="0" y="135"/>
                  </a:cubicBezTo>
                  <a:lnTo>
                    <a:pt x="2" y="137"/>
                  </a:lnTo>
                  <a:close/>
                  <a:moveTo>
                    <a:pt x="2080" y="136"/>
                  </a:moveTo>
                  <a:cubicBezTo>
                    <a:pt x="2080" y="1265"/>
                    <a:pt x="2080" y="1265"/>
                    <a:pt x="2080" y="1265"/>
                  </a:cubicBezTo>
                  <a:cubicBezTo>
                    <a:pt x="1346" y="758"/>
                    <a:pt x="1346" y="758"/>
                    <a:pt x="1346" y="758"/>
                  </a:cubicBezTo>
                  <a:cubicBezTo>
                    <a:pt x="2038" y="201"/>
                    <a:pt x="2038" y="201"/>
                    <a:pt x="2038" y="201"/>
                  </a:cubicBezTo>
                  <a:cubicBezTo>
                    <a:pt x="2060" y="182"/>
                    <a:pt x="2072" y="162"/>
                    <a:pt x="2080" y="13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000"/>
            </a:p>
          </p:txBody>
        </p:sp>
      </p:grpSp>
      <p:grpSp>
        <p:nvGrpSpPr>
          <p:cNvPr id="14" name="Gruppieren 2">
            <a:extLst>
              <a:ext uri="{FF2B5EF4-FFF2-40B4-BE49-F238E27FC236}">
                <a16:creationId xmlns:a16="http://schemas.microsoft.com/office/drawing/2014/main" id="{BE697CE9-EBDE-6B4A-BE70-582D92A8A831}"/>
              </a:ext>
            </a:extLst>
          </p:cNvPr>
          <p:cNvGrpSpPr/>
          <p:nvPr/>
        </p:nvGrpSpPr>
        <p:grpSpPr>
          <a:xfrm>
            <a:off x="8701917" y="2868319"/>
            <a:ext cx="171180" cy="171180"/>
            <a:chOff x="3392092" y="1841122"/>
            <a:chExt cx="646508" cy="646508"/>
          </a:xfrm>
        </p:grpSpPr>
        <p:sp>
          <p:nvSpPr>
            <p:cNvPr id="15" name="Rechteck 14">
              <a:extLst>
                <a:ext uri="{FF2B5EF4-FFF2-40B4-BE49-F238E27FC236}">
                  <a16:creationId xmlns:a16="http://schemas.microsoft.com/office/drawing/2014/main" id="{E142A731-19B7-C34D-9534-9E05108F895F}"/>
                </a:ext>
              </a:extLst>
            </p:cNvPr>
            <p:cNvSpPr>
              <a:spLocks noChangeAspect="1"/>
            </p:cNvSpPr>
            <p:nvPr/>
          </p:nvSpPr>
          <p:spPr bwMode="gray">
            <a:xfrm>
              <a:off x="3392092" y="1841122"/>
              <a:ext cx="646508" cy="646508"/>
            </a:xfrm>
            <a:prstGeom prst="rect">
              <a:avLst/>
            </a:prstGeom>
            <a:solidFill>
              <a:srgbClr val="E55A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pPr>
              <a:endParaRPr lang="en-US" sz="1000">
                <a:solidFill>
                  <a:schemeClr val="tx1"/>
                </a:solidFill>
                <a:latin typeface="Arial" pitchFamily="34" charset="0"/>
                <a:cs typeface="Arial" pitchFamily="34" charset="0"/>
              </a:endParaRPr>
            </a:p>
          </p:txBody>
        </p:sp>
        <p:sp>
          <p:nvSpPr>
            <p:cNvPr id="16" name="Freeform 15">
              <a:extLst>
                <a:ext uri="{FF2B5EF4-FFF2-40B4-BE49-F238E27FC236}">
                  <a16:creationId xmlns:a16="http://schemas.microsoft.com/office/drawing/2014/main" id="{F97E84AE-4AD9-4B44-9AA1-F797FC373809}"/>
                </a:ext>
              </a:extLst>
            </p:cNvPr>
            <p:cNvSpPr>
              <a:spLocks noChangeAspect="1"/>
            </p:cNvSpPr>
            <p:nvPr/>
          </p:nvSpPr>
          <p:spPr bwMode="auto">
            <a:xfrm>
              <a:off x="3546638" y="1970424"/>
              <a:ext cx="337415" cy="387905"/>
            </a:xfrm>
            <a:custGeom>
              <a:avLst/>
              <a:gdLst>
                <a:gd name="T0" fmla="*/ 573 w 1624"/>
                <a:gd name="T1" fmla="*/ 1257 h 1867"/>
                <a:gd name="T2" fmla="*/ 662 w 1624"/>
                <a:gd name="T3" fmla="*/ 1288 h 1867"/>
                <a:gd name="T4" fmla="*/ 938 w 1624"/>
                <a:gd name="T5" fmla="*/ 1051 h 1867"/>
                <a:gd name="T6" fmla="*/ 1106 w 1624"/>
                <a:gd name="T7" fmla="*/ 731 h 1867"/>
                <a:gd name="T8" fmla="*/ 1059 w 1624"/>
                <a:gd name="T9" fmla="*/ 645 h 1867"/>
                <a:gd name="T10" fmla="*/ 1001 w 1624"/>
                <a:gd name="T11" fmla="*/ 613 h 1867"/>
                <a:gd name="T12" fmla="*/ 924 w 1624"/>
                <a:gd name="T13" fmla="*/ 432 h 1867"/>
                <a:gd name="T14" fmla="*/ 1114 w 1624"/>
                <a:gd name="T15" fmla="*/ 81 h 1867"/>
                <a:gd name="T16" fmla="*/ 1287 w 1624"/>
                <a:gd name="T17" fmla="*/ 35 h 1867"/>
                <a:gd name="T18" fmla="*/ 1350 w 1624"/>
                <a:gd name="T19" fmla="*/ 69 h 1867"/>
                <a:gd name="T20" fmla="*/ 1527 w 1624"/>
                <a:gd name="T21" fmla="*/ 235 h 1867"/>
                <a:gd name="T22" fmla="*/ 1583 w 1624"/>
                <a:gd name="T23" fmla="*/ 555 h 1867"/>
                <a:gd name="T24" fmla="*/ 1172 w 1624"/>
                <a:gd name="T25" fmla="*/ 1253 h 1867"/>
                <a:gd name="T26" fmla="*/ 586 w 1624"/>
                <a:gd name="T27" fmla="*/ 1803 h 1867"/>
                <a:gd name="T28" fmla="*/ 269 w 1624"/>
                <a:gd name="T29" fmla="*/ 1807 h 1867"/>
                <a:gd name="T30" fmla="*/ 33 w 1624"/>
                <a:gd name="T31" fmla="*/ 1602 h 1867"/>
                <a:gd name="T32" fmla="*/ 2 w 1624"/>
                <a:gd name="T33" fmla="*/ 1508 h 1867"/>
                <a:gd name="T34" fmla="*/ 45 w 1624"/>
                <a:gd name="T35" fmla="*/ 1421 h 1867"/>
                <a:gd name="T36" fmla="*/ 346 w 1624"/>
                <a:gd name="T37" fmla="*/ 1158 h 1867"/>
                <a:gd name="T38" fmla="*/ 448 w 1624"/>
                <a:gd name="T39" fmla="*/ 1145 h 1867"/>
                <a:gd name="T40" fmla="*/ 573 w 1624"/>
                <a:gd name="T41" fmla="*/ 1257 h 18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24" h="1867">
                  <a:moveTo>
                    <a:pt x="573" y="1257"/>
                  </a:moveTo>
                  <a:cubicBezTo>
                    <a:pt x="592" y="1282"/>
                    <a:pt x="630" y="1303"/>
                    <a:pt x="662" y="1288"/>
                  </a:cubicBezTo>
                  <a:cubicBezTo>
                    <a:pt x="753" y="1245"/>
                    <a:pt x="854" y="1156"/>
                    <a:pt x="938" y="1051"/>
                  </a:cubicBezTo>
                  <a:cubicBezTo>
                    <a:pt x="1020" y="948"/>
                    <a:pt x="1084" y="831"/>
                    <a:pt x="1106" y="731"/>
                  </a:cubicBezTo>
                  <a:cubicBezTo>
                    <a:pt x="1113" y="696"/>
                    <a:pt x="1089" y="661"/>
                    <a:pt x="1059" y="645"/>
                  </a:cubicBezTo>
                  <a:cubicBezTo>
                    <a:pt x="1001" y="613"/>
                    <a:pt x="1001" y="613"/>
                    <a:pt x="1001" y="613"/>
                  </a:cubicBezTo>
                  <a:cubicBezTo>
                    <a:pt x="942" y="580"/>
                    <a:pt x="888" y="499"/>
                    <a:pt x="924" y="432"/>
                  </a:cubicBezTo>
                  <a:cubicBezTo>
                    <a:pt x="1114" y="81"/>
                    <a:pt x="1114" y="81"/>
                    <a:pt x="1114" y="81"/>
                  </a:cubicBezTo>
                  <a:cubicBezTo>
                    <a:pt x="1150" y="16"/>
                    <a:pt x="1224" y="0"/>
                    <a:pt x="1287" y="35"/>
                  </a:cubicBezTo>
                  <a:cubicBezTo>
                    <a:pt x="1350" y="69"/>
                    <a:pt x="1350" y="69"/>
                    <a:pt x="1350" y="69"/>
                  </a:cubicBezTo>
                  <a:cubicBezTo>
                    <a:pt x="1415" y="105"/>
                    <a:pt x="1479" y="165"/>
                    <a:pt x="1527" y="235"/>
                  </a:cubicBezTo>
                  <a:cubicBezTo>
                    <a:pt x="1593" y="332"/>
                    <a:pt x="1624" y="442"/>
                    <a:pt x="1583" y="555"/>
                  </a:cubicBezTo>
                  <a:cubicBezTo>
                    <a:pt x="1500" y="781"/>
                    <a:pt x="1351" y="1030"/>
                    <a:pt x="1172" y="1253"/>
                  </a:cubicBezTo>
                  <a:cubicBezTo>
                    <a:pt x="994" y="1477"/>
                    <a:pt x="786" y="1676"/>
                    <a:pt x="586" y="1803"/>
                  </a:cubicBezTo>
                  <a:cubicBezTo>
                    <a:pt x="486" y="1867"/>
                    <a:pt x="375" y="1856"/>
                    <a:pt x="269" y="1807"/>
                  </a:cubicBezTo>
                  <a:cubicBezTo>
                    <a:pt x="157" y="1755"/>
                    <a:pt x="106" y="1695"/>
                    <a:pt x="33" y="1602"/>
                  </a:cubicBezTo>
                  <a:cubicBezTo>
                    <a:pt x="11" y="1573"/>
                    <a:pt x="0" y="1540"/>
                    <a:pt x="2" y="1508"/>
                  </a:cubicBezTo>
                  <a:cubicBezTo>
                    <a:pt x="4" y="1475"/>
                    <a:pt x="18" y="1444"/>
                    <a:pt x="45" y="1421"/>
                  </a:cubicBezTo>
                  <a:cubicBezTo>
                    <a:pt x="70" y="1399"/>
                    <a:pt x="346" y="1158"/>
                    <a:pt x="346" y="1158"/>
                  </a:cubicBezTo>
                  <a:cubicBezTo>
                    <a:pt x="376" y="1134"/>
                    <a:pt x="413" y="1133"/>
                    <a:pt x="448" y="1145"/>
                  </a:cubicBezTo>
                  <a:cubicBezTo>
                    <a:pt x="510" y="1166"/>
                    <a:pt x="536" y="1210"/>
                    <a:pt x="573" y="1257"/>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351"/>
            </a:p>
          </p:txBody>
        </p:sp>
      </p:grpSp>
      <p:grpSp>
        <p:nvGrpSpPr>
          <p:cNvPr id="17" name="Group 3">
            <a:extLst>
              <a:ext uri="{FF2B5EF4-FFF2-40B4-BE49-F238E27FC236}">
                <a16:creationId xmlns:a16="http://schemas.microsoft.com/office/drawing/2014/main" id="{7104BADD-8CD1-6F4A-B894-869C3BDB3EEB}"/>
              </a:ext>
            </a:extLst>
          </p:cNvPr>
          <p:cNvGrpSpPr>
            <a:grpSpLocks noChangeAspect="1"/>
          </p:cNvGrpSpPr>
          <p:nvPr>
            <p:custDataLst>
              <p:tags r:id="rId2"/>
            </p:custDataLst>
          </p:nvPr>
        </p:nvGrpSpPr>
        <p:grpSpPr>
          <a:xfrm>
            <a:off x="8701918" y="3153207"/>
            <a:ext cx="171180" cy="171180"/>
            <a:chOff x="328396" y="5313940"/>
            <a:chExt cx="720000" cy="720000"/>
          </a:xfrm>
        </p:grpSpPr>
        <p:sp>
          <p:nvSpPr>
            <p:cNvPr id="18" name="Rectangle 4">
              <a:extLst>
                <a:ext uri="{FF2B5EF4-FFF2-40B4-BE49-F238E27FC236}">
                  <a16:creationId xmlns:a16="http://schemas.microsoft.com/office/drawing/2014/main" id="{74BE3D5F-1445-6E40-8B49-72E15568383B}"/>
                </a:ext>
              </a:extLst>
            </p:cNvPr>
            <p:cNvSpPr/>
            <p:nvPr/>
          </p:nvSpPr>
          <p:spPr bwMode="gray">
            <a:xfrm>
              <a:off x="328396" y="5313940"/>
              <a:ext cx="720000" cy="720000"/>
            </a:xfrm>
            <a:prstGeom prst="rect">
              <a:avLst/>
            </a:prstGeom>
            <a:solidFill>
              <a:srgbClr val="E55A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pPr>
              <a:endParaRPr lang="en-US" sz="1000">
                <a:solidFill>
                  <a:schemeClr val="tx1"/>
                </a:solidFill>
                <a:latin typeface="Arial" pitchFamily="34" charset="0"/>
                <a:cs typeface="Arial" pitchFamily="34" charset="0"/>
              </a:endParaRPr>
            </a:p>
          </p:txBody>
        </p:sp>
        <p:sp>
          <p:nvSpPr>
            <p:cNvPr id="19" name="Freeform 76">
              <a:extLst>
                <a:ext uri="{FF2B5EF4-FFF2-40B4-BE49-F238E27FC236}">
                  <a16:creationId xmlns:a16="http://schemas.microsoft.com/office/drawing/2014/main" id="{55DB3C95-7D0C-D141-901E-96D692794D2B}"/>
                </a:ext>
              </a:extLst>
            </p:cNvPr>
            <p:cNvSpPr>
              <a:spLocks noChangeAspect="1" noEditPoints="1"/>
            </p:cNvSpPr>
            <p:nvPr/>
          </p:nvSpPr>
          <p:spPr bwMode="auto">
            <a:xfrm>
              <a:off x="456202" y="5509222"/>
              <a:ext cx="504000" cy="329436"/>
            </a:xfrm>
            <a:custGeom>
              <a:avLst/>
              <a:gdLst>
                <a:gd name="T0" fmla="*/ 0 w 2080"/>
                <a:gd name="T1" fmla="*/ 65 h 1360"/>
                <a:gd name="T2" fmla="*/ 0 w 2080"/>
                <a:gd name="T3" fmla="*/ 0 h 1360"/>
                <a:gd name="T4" fmla="*/ 2080 w 2080"/>
                <a:gd name="T5" fmla="*/ 0 h 1360"/>
                <a:gd name="T6" fmla="*/ 2080 w 2080"/>
                <a:gd name="T7" fmla="*/ 65 h 1360"/>
                <a:gd name="T8" fmla="*/ 1089 w 2080"/>
                <a:gd name="T9" fmla="*/ 862 h 1360"/>
                <a:gd name="T10" fmla="*/ 991 w 2080"/>
                <a:gd name="T11" fmla="*/ 862 h 1360"/>
                <a:gd name="T12" fmla="*/ 0 w 2080"/>
                <a:gd name="T13" fmla="*/ 65 h 1360"/>
                <a:gd name="T14" fmla="*/ 1139 w 2080"/>
                <a:gd name="T15" fmla="*/ 924 h 1360"/>
                <a:gd name="T16" fmla="*/ 1282 w 2080"/>
                <a:gd name="T17" fmla="*/ 810 h 1360"/>
                <a:gd name="T18" fmla="*/ 2076 w 2080"/>
                <a:gd name="T19" fmla="*/ 1360 h 1360"/>
                <a:gd name="T20" fmla="*/ 4 w 2080"/>
                <a:gd name="T21" fmla="*/ 1360 h 1360"/>
                <a:gd name="T22" fmla="*/ 798 w 2080"/>
                <a:gd name="T23" fmla="*/ 810 h 1360"/>
                <a:gd name="T24" fmla="*/ 941 w 2080"/>
                <a:gd name="T25" fmla="*/ 924 h 1360"/>
                <a:gd name="T26" fmla="*/ 1139 w 2080"/>
                <a:gd name="T27" fmla="*/ 924 h 1360"/>
                <a:gd name="T28" fmla="*/ 2 w 2080"/>
                <a:gd name="T29" fmla="*/ 137 h 1360"/>
                <a:gd name="T30" fmla="*/ 42 w 2080"/>
                <a:gd name="T31" fmla="*/ 201 h 1360"/>
                <a:gd name="T32" fmla="*/ 734 w 2080"/>
                <a:gd name="T33" fmla="*/ 758 h 1360"/>
                <a:gd name="T34" fmla="*/ 0 w 2080"/>
                <a:gd name="T35" fmla="*/ 1266 h 1360"/>
                <a:gd name="T36" fmla="*/ 0 w 2080"/>
                <a:gd name="T37" fmla="*/ 135 h 1360"/>
                <a:gd name="T38" fmla="*/ 2 w 2080"/>
                <a:gd name="T39" fmla="*/ 137 h 1360"/>
                <a:gd name="T40" fmla="*/ 2080 w 2080"/>
                <a:gd name="T41" fmla="*/ 136 h 1360"/>
                <a:gd name="T42" fmla="*/ 2080 w 2080"/>
                <a:gd name="T43" fmla="*/ 1265 h 1360"/>
                <a:gd name="T44" fmla="*/ 1346 w 2080"/>
                <a:gd name="T45" fmla="*/ 758 h 1360"/>
                <a:gd name="T46" fmla="*/ 2038 w 2080"/>
                <a:gd name="T47" fmla="*/ 201 h 1360"/>
                <a:gd name="T48" fmla="*/ 2080 w 2080"/>
                <a:gd name="T49" fmla="*/ 136 h 1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080" h="1360">
                  <a:moveTo>
                    <a:pt x="0" y="65"/>
                  </a:moveTo>
                  <a:cubicBezTo>
                    <a:pt x="0" y="0"/>
                    <a:pt x="0" y="0"/>
                    <a:pt x="0" y="0"/>
                  </a:cubicBezTo>
                  <a:cubicBezTo>
                    <a:pt x="2080" y="0"/>
                    <a:pt x="2080" y="0"/>
                    <a:pt x="2080" y="0"/>
                  </a:cubicBezTo>
                  <a:cubicBezTo>
                    <a:pt x="2080" y="65"/>
                    <a:pt x="2080" y="65"/>
                    <a:pt x="2080" y="65"/>
                  </a:cubicBezTo>
                  <a:cubicBezTo>
                    <a:pt x="1089" y="862"/>
                    <a:pt x="1089" y="862"/>
                    <a:pt x="1089" y="862"/>
                  </a:cubicBezTo>
                  <a:cubicBezTo>
                    <a:pt x="1060" y="886"/>
                    <a:pt x="1020" y="886"/>
                    <a:pt x="991" y="862"/>
                  </a:cubicBezTo>
                  <a:lnTo>
                    <a:pt x="0" y="65"/>
                  </a:lnTo>
                  <a:close/>
                  <a:moveTo>
                    <a:pt x="1139" y="924"/>
                  </a:moveTo>
                  <a:cubicBezTo>
                    <a:pt x="1282" y="810"/>
                    <a:pt x="1282" y="810"/>
                    <a:pt x="1282" y="810"/>
                  </a:cubicBezTo>
                  <a:cubicBezTo>
                    <a:pt x="2076" y="1360"/>
                    <a:pt x="2076" y="1360"/>
                    <a:pt x="2076" y="1360"/>
                  </a:cubicBezTo>
                  <a:cubicBezTo>
                    <a:pt x="4" y="1360"/>
                    <a:pt x="4" y="1360"/>
                    <a:pt x="4" y="1360"/>
                  </a:cubicBezTo>
                  <a:cubicBezTo>
                    <a:pt x="798" y="810"/>
                    <a:pt x="798" y="810"/>
                    <a:pt x="798" y="810"/>
                  </a:cubicBezTo>
                  <a:cubicBezTo>
                    <a:pt x="941" y="924"/>
                    <a:pt x="941" y="924"/>
                    <a:pt x="941" y="924"/>
                  </a:cubicBezTo>
                  <a:cubicBezTo>
                    <a:pt x="1000" y="972"/>
                    <a:pt x="1080" y="972"/>
                    <a:pt x="1139" y="924"/>
                  </a:cubicBezTo>
                  <a:close/>
                  <a:moveTo>
                    <a:pt x="2" y="137"/>
                  </a:moveTo>
                  <a:cubicBezTo>
                    <a:pt x="8" y="163"/>
                    <a:pt x="22" y="185"/>
                    <a:pt x="42" y="201"/>
                  </a:cubicBezTo>
                  <a:cubicBezTo>
                    <a:pt x="734" y="758"/>
                    <a:pt x="734" y="758"/>
                    <a:pt x="734" y="758"/>
                  </a:cubicBezTo>
                  <a:cubicBezTo>
                    <a:pt x="0" y="1266"/>
                    <a:pt x="0" y="1266"/>
                    <a:pt x="0" y="1266"/>
                  </a:cubicBezTo>
                  <a:cubicBezTo>
                    <a:pt x="0" y="135"/>
                    <a:pt x="0" y="135"/>
                    <a:pt x="0" y="135"/>
                  </a:cubicBezTo>
                  <a:lnTo>
                    <a:pt x="2" y="137"/>
                  </a:lnTo>
                  <a:close/>
                  <a:moveTo>
                    <a:pt x="2080" y="136"/>
                  </a:moveTo>
                  <a:cubicBezTo>
                    <a:pt x="2080" y="1265"/>
                    <a:pt x="2080" y="1265"/>
                    <a:pt x="2080" y="1265"/>
                  </a:cubicBezTo>
                  <a:cubicBezTo>
                    <a:pt x="1346" y="758"/>
                    <a:pt x="1346" y="758"/>
                    <a:pt x="1346" y="758"/>
                  </a:cubicBezTo>
                  <a:cubicBezTo>
                    <a:pt x="2038" y="201"/>
                    <a:pt x="2038" y="201"/>
                    <a:pt x="2038" y="201"/>
                  </a:cubicBezTo>
                  <a:cubicBezTo>
                    <a:pt x="2060" y="182"/>
                    <a:pt x="2072" y="162"/>
                    <a:pt x="2080" y="13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000"/>
            </a:p>
          </p:txBody>
        </p:sp>
      </p:grpSp>
      <p:cxnSp>
        <p:nvCxnSpPr>
          <p:cNvPr id="20" name="Straight Connector 19"/>
          <p:cNvCxnSpPr/>
          <p:nvPr/>
        </p:nvCxnSpPr>
        <p:spPr>
          <a:xfrm>
            <a:off x="2371725" y="3478213"/>
            <a:ext cx="3888000" cy="0"/>
          </a:xfrm>
          <a:prstGeom prst="line">
            <a:avLst/>
          </a:prstGeom>
          <a:ln w="6350">
            <a:solidFill>
              <a:schemeClr val="tx2"/>
            </a:solidFill>
            <a:prstDash val="dash"/>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p:nvCxnSpPr>
        <p:spPr>
          <a:xfrm>
            <a:off x="7287766" y="3478213"/>
            <a:ext cx="3888000" cy="0"/>
          </a:xfrm>
          <a:prstGeom prst="line">
            <a:avLst/>
          </a:prstGeom>
          <a:ln w="6350">
            <a:solidFill>
              <a:schemeClr val="tx2"/>
            </a:solidFill>
            <a:prstDash val="dash"/>
          </a:ln>
        </p:spPr>
        <p:style>
          <a:lnRef idx="1">
            <a:schemeClr val="accent1"/>
          </a:lnRef>
          <a:fillRef idx="0">
            <a:schemeClr val="accent1"/>
          </a:fillRef>
          <a:effectRef idx="0">
            <a:schemeClr val="accent1"/>
          </a:effectRef>
          <a:fontRef idx="minor">
            <a:schemeClr val="tx1"/>
          </a:fontRef>
        </p:style>
      </p:cxnSp>
      <p:sp>
        <p:nvSpPr>
          <p:cNvPr id="4" name="Picture Placeholder 3"/>
          <p:cNvSpPr>
            <a:spLocks noGrp="1"/>
          </p:cNvSpPr>
          <p:nvPr>
            <p:ph type="pic" sz="quarter" idx="17" hasCustomPrompt="1"/>
          </p:nvPr>
        </p:nvSpPr>
        <p:spPr>
          <a:xfrm>
            <a:off x="2355914" y="1808984"/>
            <a:ext cx="1188677" cy="1547840"/>
          </a:xfrm>
          <a:solidFill>
            <a:srgbClr val="D9DADB"/>
          </a:solidFill>
        </p:spPr>
        <p:txBody>
          <a:bodyPr/>
          <a:lstStyle>
            <a:lvl1pPr marL="0" indent="0">
              <a:buNone/>
              <a:defRPr sz="1400"/>
            </a:lvl1pPr>
          </a:lstStyle>
          <a:p>
            <a:r>
              <a:rPr lang="en-US"/>
              <a:t>Insert picture</a:t>
            </a:r>
          </a:p>
        </p:txBody>
      </p:sp>
      <p:sp>
        <p:nvSpPr>
          <p:cNvPr id="25" name="Picture Placeholder 3"/>
          <p:cNvSpPr>
            <a:spLocks noGrp="1"/>
          </p:cNvSpPr>
          <p:nvPr>
            <p:ph type="pic" sz="quarter" idx="18" hasCustomPrompt="1"/>
          </p:nvPr>
        </p:nvSpPr>
        <p:spPr>
          <a:xfrm>
            <a:off x="7287766" y="1808984"/>
            <a:ext cx="1188677" cy="1547840"/>
          </a:xfrm>
          <a:solidFill>
            <a:srgbClr val="D9DADB"/>
          </a:solidFill>
        </p:spPr>
        <p:txBody>
          <a:bodyPr/>
          <a:lstStyle>
            <a:lvl1pPr marL="0" indent="0">
              <a:buNone/>
              <a:defRPr sz="1400"/>
            </a:lvl1pPr>
          </a:lstStyle>
          <a:p>
            <a:r>
              <a:rPr lang="en-US"/>
              <a:t>Insert picture</a:t>
            </a:r>
          </a:p>
        </p:txBody>
      </p:sp>
      <p:sp>
        <p:nvSpPr>
          <p:cNvPr id="6" name="Text Placeholder 5"/>
          <p:cNvSpPr>
            <a:spLocks noGrp="1"/>
          </p:cNvSpPr>
          <p:nvPr>
            <p:ph type="body" sz="quarter" idx="19" hasCustomPrompt="1"/>
          </p:nvPr>
        </p:nvSpPr>
        <p:spPr>
          <a:xfrm>
            <a:off x="3770065" y="1808521"/>
            <a:ext cx="2463190" cy="192360"/>
          </a:xfrm>
        </p:spPr>
        <p:txBody>
          <a:bodyPr lIns="0" tIns="0" rIns="0" bIns="0" anchor="ctr" anchorCtr="0"/>
          <a:lstStyle>
            <a:lvl1pPr marL="0" indent="0" algn="l">
              <a:lnSpc>
                <a:spcPct val="100000"/>
              </a:lnSpc>
              <a:buNone/>
              <a:defRPr sz="100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Country</a:t>
            </a:r>
          </a:p>
        </p:txBody>
      </p:sp>
      <p:sp>
        <p:nvSpPr>
          <p:cNvPr id="26" name="Text Placeholder 5"/>
          <p:cNvSpPr>
            <a:spLocks noGrp="1"/>
          </p:cNvSpPr>
          <p:nvPr>
            <p:ph type="body" sz="quarter" idx="20" hasCustomPrompt="1"/>
          </p:nvPr>
        </p:nvSpPr>
        <p:spPr>
          <a:xfrm>
            <a:off x="3770065" y="2020337"/>
            <a:ext cx="2463190" cy="266182"/>
          </a:xfrm>
        </p:spPr>
        <p:txBody>
          <a:bodyPr lIns="0" tIns="0" rIns="0" bIns="0" anchor="b" anchorCtr="0"/>
          <a:lstStyle>
            <a:lvl1pPr marL="0" indent="0" algn="l">
              <a:lnSpc>
                <a:spcPct val="100000"/>
              </a:lnSpc>
              <a:buNone/>
              <a:defRPr sz="1400" b="1" baseline="0">
                <a:solidFill>
                  <a:schemeClr val="tx2"/>
                </a:solidFill>
              </a:defRPr>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Name, Surname</a:t>
            </a:r>
          </a:p>
        </p:txBody>
      </p:sp>
      <p:sp>
        <p:nvSpPr>
          <p:cNvPr id="27" name="Text Placeholder 5"/>
          <p:cNvSpPr>
            <a:spLocks noGrp="1"/>
          </p:cNvSpPr>
          <p:nvPr>
            <p:ph type="body" sz="quarter" idx="21" hasCustomPrompt="1"/>
          </p:nvPr>
        </p:nvSpPr>
        <p:spPr>
          <a:xfrm>
            <a:off x="3770065" y="2316912"/>
            <a:ext cx="2463190"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Job Position</a:t>
            </a:r>
          </a:p>
        </p:txBody>
      </p:sp>
      <p:sp>
        <p:nvSpPr>
          <p:cNvPr id="28" name="Text Placeholder 5"/>
          <p:cNvSpPr>
            <a:spLocks noGrp="1"/>
          </p:cNvSpPr>
          <p:nvPr>
            <p:ph type="body" sz="quarter" idx="22" hasCustomPrompt="1"/>
          </p:nvPr>
        </p:nvSpPr>
        <p:spPr>
          <a:xfrm>
            <a:off x="4014948" y="2845588"/>
            <a:ext cx="2218307"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Phone number</a:t>
            </a:r>
          </a:p>
        </p:txBody>
      </p:sp>
      <p:sp>
        <p:nvSpPr>
          <p:cNvPr id="29" name="Text Placeholder 5"/>
          <p:cNvSpPr>
            <a:spLocks noGrp="1"/>
          </p:cNvSpPr>
          <p:nvPr>
            <p:ph type="body" sz="quarter" idx="23" hasCustomPrompt="1"/>
          </p:nvPr>
        </p:nvSpPr>
        <p:spPr>
          <a:xfrm>
            <a:off x="4014948" y="3128395"/>
            <a:ext cx="2218307"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Email address</a:t>
            </a:r>
          </a:p>
        </p:txBody>
      </p:sp>
      <p:sp>
        <p:nvSpPr>
          <p:cNvPr id="30" name="Text Placeholder 5"/>
          <p:cNvSpPr>
            <a:spLocks noGrp="1"/>
          </p:cNvSpPr>
          <p:nvPr>
            <p:ph type="body" sz="quarter" idx="24" hasCustomPrompt="1"/>
          </p:nvPr>
        </p:nvSpPr>
        <p:spPr>
          <a:xfrm>
            <a:off x="8701917" y="1808521"/>
            <a:ext cx="2463190" cy="192360"/>
          </a:xfrm>
        </p:spPr>
        <p:txBody>
          <a:bodyPr lIns="0" tIns="0" rIns="0" bIns="0" anchor="ctr" anchorCtr="0"/>
          <a:lstStyle>
            <a:lvl1pPr marL="0" indent="0" algn="l">
              <a:lnSpc>
                <a:spcPct val="100000"/>
              </a:lnSpc>
              <a:buNone/>
              <a:defRPr sz="100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Country</a:t>
            </a:r>
          </a:p>
        </p:txBody>
      </p:sp>
      <p:sp>
        <p:nvSpPr>
          <p:cNvPr id="31" name="Text Placeholder 5"/>
          <p:cNvSpPr>
            <a:spLocks noGrp="1"/>
          </p:cNvSpPr>
          <p:nvPr>
            <p:ph type="body" sz="quarter" idx="25" hasCustomPrompt="1"/>
          </p:nvPr>
        </p:nvSpPr>
        <p:spPr>
          <a:xfrm>
            <a:off x="8701917" y="2020337"/>
            <a:ext cx="2463190" cy="266182"/>
          </a:xfrm>
        </p:spPr>
        <p:txBody>
          <a:bodyPr lIns="0" tIns="0" rIns="0" bIns="0" anchor="b" anchorCtr="0"/>
          <a:lstStyle>
            <a:lvl1pPr marL="0" indent="0" algn="l">
              <a:lnSpc>
                <a:spcPct val="100000"/>
              </a:lnSpc>
              <a:buNone/>
              <a:defRPr sz="1400" b="1" baseline="0">
                <a:solidFill>
                  <a:schemeClr val="tx2"/>
                </a:solidFill>
              </a:defRPr>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Name, Surname</a:t>
            </a:r>
          </a:p>
        </p:txBody>
      </p:sp>
      <p:sp>
        <p:nvSpPr>
          <p:cNvPr id="32" name="Text Placeholder 5"/>
          <p:cNvSpPr>
            <a:spLocks noGrp="1"/>
          </p:cNvSpPr>
          <p:nvPr>
            <p:ph type="body" sz="quarter" idx="26" hasCustomPrompt="1"/>
          </p:nvPr>
        </p:nvSpPr>
        <p:spPr>
          <a:xfrm>
            <a:off x="8701917" y="2316912"/>
            <a:ext cx="2463190"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Job Position</a:t>
            </a:r>
          </a:p>
        </p:txBody>
      </p:sp>
      <p:sp>
        <p:nvSpPr>
          <p:cNvPr id="33" name="Text Placeholder 5"/>
          <p:cNvSpPr>
            <a:spLocks noGrp="1"/>
          </p:cNvSpPr>
          <p:nvPr>
            <p:ph type="body" sz="quarter" idx="27" hasCustomPrompt="1"/>
          </p:nvPr>
        </p:nvSpPr>
        <p:spPr>
          <a:xfrm>
            <a:off x="8946800" y="2845588"/>
            <a:ext cx="2218307"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Phone number</a:t>
            </a:r>
          </a:p>
        </p:txBody>
      </p:sp>
      <p:sp>
        <p:nvSpPr>
          <p:cNvPr id="34" name="Text Placeholder 5"/>
          <p:cNvSpPr>
            <a:spLocks noGrp="1"/>
          </p:cNvSpPr>
          <p:nvPr>
            <p:ph type="body" sz="quarter" idx="28" hasCustomPrompt="1"/>
          </p:nvPr>
        </p:nvSpPr>
        <p:spPr>
          <a:xfrm>
            <a:off x="8946800" y="3128395"/>
            <a:ext cx="2218307"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Email address</a:t>
            </a:r>
          </a:p>
        </p:txBody>
      </p:sp>
      <p:grpSp>
        <p:nvGrpSpPr>
          <p:cNvPr id="35" name="Gruppieren 2">
            <a:extLst>
              <a:ext uri="{FF2B5EF4-FFF2-40B4-BE49-F238E27FC236}">
                <a16:creationId xmlns:a16="http://schemas.microsoft.com/office/drawing/2014/main" id="{BE697CE9-EBDE-6B4A-BE70-582D92A8A831}"/>
              </a:ext>
            </a:extLst>
          </p:cNvPr>
          <p:cNvGrpSpPr/>
          <p:nvPr/>
        </p:nvGrpSpPr>
        <p:grpSpPr>
          <a:xfrm>
            <a:off x="3770065" y="5045939"/>
            <a:ext cx="171180" cy="171180"/>
            <a:chOff x="3392092" y="1841122"/>
            <a:chExt cx="646508" cy="646508"/>
          </a:xfrm>
        </p:grpSpPr>
        <p:sp>
          <p:nvSpPr>
            <p:cNvPr id="36" name="Rechteck 14">
              <a:extLst>
                <a:ext uri="{FF2B5EF4-FFF2-40B4-BE49-F238E27FC236}">
                  <a16:creationId xmlns:a16="http://schemas.microsoft.com/office/drawing/2014/main" id="{E142A731-19B7-C34D-9534-9E05108F895F}"/>
                </a:ext>
              </a:extLst>
            </p:cNvPr>
            <p:cNvSpPr>
              <a:spLocks noChangeAspect="1"/>
            </p:cNvSpPr>
            <p:nvPr/>
          </p:nvSpPr>
          <p:spPr bwMode="gray">
            <a:xfrm>
              <a:off x="3392092" y="1841122"/>
              <a:ext cx="646508" cy="646508"/>
            </a:xfrm>
            <a:prstGeom prst="rect">
              <a:avLst/>
            </a:prstGeom>
            <a:solidFill>
              <a:srgbClr val="E55A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pPr>
              <a:endParaRPr lang="en-US" sz="1000">
                <a:solidFill>
                  <a:schemeClr val="tx1"/>
                </a:solidFill>
                <a:latin typeface="Arial" pitchFamily="34" charset="0"/>
                <a:cs typeface="Arial" pitchFamily="34" charset="0"/>
              </a:endParaRPr>
            </a:p>
          </p:txBody>
        </p:sp>
        <p:sp>
          <p:nvSpPr>
            <p:cNvPr id="37" name="Freeform 36">
              <a:extLst>
                <a:ext uri="{FF2B5EF4-FFF2-40B4-BE49-F238E27FC236}">
                  <a16:creationId xmlns:a16="http://schemas.microsoft.com/office/drawing/2014/main" id="{F97E84AE-4AD9-4B44-9AA1-F797FC373809}"/>
                </a:ext>
              </a:extLst>
            </p:cNvPr>
            <p:cNvSpPr>
              <a:spLocks noChangeAspect="1"/>
            </p:cNvSpPr>
            <p:nvPr/>
          </p:nvSpPr>
          <p:spPr bwMode="auto">
            <a:xfrm>
              <a:off x="3546638" y="1970424"/>
              <a:ext cx="337415" cy="387905"/>
            </a:xfrm>
            <a:custGeom>
              <a:avLst/>
              <a:gdLst>
                <a:gd name="T0" fmla="*/ 573 w 1624"/>
                <a:gd name="T1" fmla="*/ 1257 h 1867"/>
                <a:gd name="T2" fmla="*/ 662 w 1624"/>
                <a:gd name="T3" fmla="*/ 1288 h 1867"/>
                <a:gd name="T4" fmla="*/ 938 w 1624"/>
                <a:gd name="T5" fmla="*/ 1051 h 1867"/>
                <a:gd name="T6" fmla="*/ 1106 w 1624"/>
                <a:gd name="T7" fmla="*/ 731 h 1867"/>
                <a:gd name="T8" fmla="*/ 1059 w 1624"/>
                <a:gd name="T9" fmla="*/ 645 h 1867"/>
                <a:gd name="T10" fmla="*/ 1001 w 1624"/>
                <a:gd name="T11" fmla="*/ 613 h 1867"/>
                <a:gd name="T12" fmla="*/ 924 w 1624"/>
                <a:gd name="T13" fmla="*/ 432 h 1867"/>
                <a:gd name="T14" fmla="*/ 1114 w 1624"/>
                <a:gd name="T15" fmla="*/ 81 h 1867"/>
                <a:gd name="T16" fmla="*/ 1287 w 1624"/>
                <a:gd name="T17" fmla="*/ 35 h 1867"/>
                <a:gd name="T18" fmla="*/ 1350 w 1624"/>
                <a:gd name="T19" fmla="*/ 69 h 1867"/>
                <a:gd name="T20" fmla="*/ 1527 w 1624"/>
                <a:gd name="T21" fmla="*/ 235 h 1867"/>
                <a:gd name="T22" fmla="*/ 1583 w 1624"/>
                <a:gd name="T23" fmla="*/ 555 h 1867"/>
                <a:gd name="T24" fmla="*/ 1172 w 1624"/>
                <a:gd name="T25" fmla="*/ 1253 h 1867"/>
                <a:gd name="T26" fmla="*/ 586 w 1624"/>
                <a:gd name="T27" fmla="*/ 1803 h 1867"/>
                <a:gd name="T28" fmla="*/ 269 w 1624"/>
                <a:gd name="T29" fmla="*/ 1807 h 1867"/>
                <a:gd name="T30" fmla="*/ 33 w 1624"/>
                <a:gd name="T31" fmla="*/ 1602 h 1867"/>
                <a:gd name="T32" fmla="*/ 2 w 1624"/>
                <a:gd name="T33" fmla="*/ 1508 h 1867"/>
                <a:gd name="T34" fmla="*/ 45 w 1624"/>
                <a:gd name="T35" fmla="*/ 1421 h 1867"/>
                <a:gd name="T36" fmla="*/ 346 w 1624"/>
                <a:gd name="T37" fmla="*/ 1158 h 1867"/>
                <a:gd name="T38" fmla="*/ 448 w 1624"/>
                <a:gd name="T39" fmla="*/ 1145 h 1867"/>
                <a:gd name="T40" fmla="*/ 573 w 1624"/>
                <a:gd name="T41" fmla="*/ 1257 h 18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24" h="1867">
                  <a:moveTo>
                    <a:pt x="573" y="1257"/>
                  </a:moveTo>
                  <a:cubicBezTo>
                    <a:pt x="592" y="1282"/>
                    <a:pt x="630" y="1303"/>
                    <a:pt x="662" y="1288"/>
                  </a:cubicBezTo>
                  <a:cubicBezTo>
                    <a:pt x="753" y="1245"/>
                    <a:pt x="854" y="1156"/>
                    <a:pt x="938" y="1051"/>
                  </a:cubicBezTo>
                  <a:cubicBezTo>
                    <a:pt x="1020" y="948"/>
                    <a:pt x="1084" y="831"/>
                    <a:pt x="1106" y="731"/>
                  </a:cubicBezTo>
                  <a:cubicBezTo>
                    <a:pt x="1113" y="696"/>
                    <a:pt x="1089" y="661"/>
                    <a:pt x="1059" y="645"/>
                  </a:cubicBezTo>
                  <a:cubicBezTo>
                    <a:pt x="1001" y="613"/>
                    <a:pt x="1001" y="613"/>
                    <a:pt x="1001" y="613"/>
                  </a:cubicBezTo>
                  <a:cubicBezTo>
                    <a:pt x="942" y="580"/>
                    <a:pt x="888" y="499"/>
                    <a:pt x="924" y="432"/>
                  </a:cubicBezTo>
                  <a:cubicBezTo>
                    <a:pt x="1114" y="81"/>
                    <a:pt x="1114" y="81"/>
                    <a:pt x="1114" y="81"/>
                  </a:cubicBezTo>
                  <a:cubicBezTo>
                    <a:pt x="1150" y="16"/>
                    <a:pt x="1224" y="0"/>
                    <a:pt x="1287" y="35"/>
                  </a:cubicBezTo>
                  <a:cubicBezTo>
                    <a:pt x="1350" y="69"/>
                    <a:pt x="1350" y="69"/>
                    <a:pt x="1350" y="69"/>
                  </a:cubicBezTo>
                  <a:cubicBezTo>
                    <a:pt x="1415" y="105"/>
                    <a:pt x="1479" y="165"/>
                    <a:pt x="1527" y="235"/>
                  </a:cubicBezTo>
                  <a:cubicBezTo>
                    <a:pt x="1593" y="332"/>
                    <a:pt x="1624" y="442"/>
                    <a:pt x="1583" y="555"/>
                  </a:cubicBezTo>
                  <a:cubicBezTo>
                    <a:pt x="1500" y="781"/>
                    <a:pt x="1351" y="1030"/>
                    <a:pt x="1172" y="1253"/>
                  </a:cubicBezTo>
                  <a:cubicBezTo>
                    <a:pt x="994" y="1477"/>
                    <a:pt x="786" y="1676"/>
                    <a:pt x="586" y="1803"/>
                  </a:cubicBezTo>
                  <a:cubicBezTo>
                    <a:pt x="486" y="1867"/>
                    <a:pt x="375" y="1856"/>
                    <a:pt x="269" y="1807"/>
                  </a:cubicBezTo>
                  <a:cubicBezTo>
                    <a:pt x="157" y="1755"/>
                    <a:pt x="106" y="1695"/>
                    <a:pt x="33" y="1602"/>
                  </a:cubicBezTo>
                  <a:cubicBezTo>
                    <a:pt x="11" y="1573"/>
                    <a:pt x="0" y="1540"/>
                    <a:pt x="2" y="1508"/>
                  </a:cubicBezTo>
                  <a:cubicBezTo>
                    <a:pt x="4" y="1475"/>
                    <a:pt x="18" y="1444"/>
                    <a:pt x="45" y="1421"/>
                  </a:cubicBezTo>
                  <a:cubicBezTo>
                    <a:pt x="70" y="1399"/>
                    <a:pt x="346" y="1158"/>
                    <a:pt x="346" y="1158"/>
                  </a:cubicBezTo>
                  <a:cubicBezTo>
                    <a:pt x="376" y="1134"/>
                    <a:pt x="413" y="1133"/>
                    <a:pt x="448" y="1145"/>
                  </a:cubicBezTo>
                  <a:cubicBezTo>
                    <a:pt x="510" y="1166"/>
                    <a:pt x="536" y="1210"/>
                    <a:pt x="573" y="1257"/>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351"/>
            </a:p>
          </p:txBody>
        </p:sp>
      </p:grpSp>
      <p:grpSp>
        <p:nvGrpSpPr>
          <p:cNvPr id="38" name="Group 3">
            <a:extLst>
              <a:ext uri="{FF2B5EF4-FFF2-40B4-BE49-F238E27FC236}">
                <a16:creationId xmlns:a16="http://schemas.microsoft.com/office/drawing/2014/main" id="{7104BADD-8CD1-6F4A-B894-869C3BDB3EEB}"/>
              </a:ext>
            </a:extLst>
          </p:cNvPr>
          <p:cNvGrpSpPr>
            <a:grpSpLocks noChangeAspect="1"/>
          </p:cNvGrpSpPr>
          <p:nvPr>
            <p:custDataLst>
              <p:tags r:id="rId3"/>
            </p:custDataLst>
          </p:nvPr>
        </p:nvGrpSpPr>
        <p:grpSpPr>
          <a:xfrm>
            <a:off x="3770066" y="5330827"/>
            <a:ext cx="171180" cy="171180"/>
            <a:chOff x="328396" y="5313940"/>
            <a:chExt cx="720000" cy="720000"/>
          </a:xfrm>
        </p:grpSpPr>
        <p:sp>
          <p:nvSpPr>
            <p:cNvPr id="39" name="Rectangle 4">
              <a:extLst>
                <a:ext uri="{FF2B5EF4-FFF2-40B4-BE49-F238E27FC236}">
                  <a16:creationId xmlns:a16="http://schemas.microsoft.com/office/drawing/2014/main" id="{74BE3D5F-1445-6E40-8B49-72E15568383B}"/>
                </a:ext>
              </a:extLst>
            </p:cNvPr>
            <p:cNvSpPr/>
            <p:nvPr/>
          </p:nvSpPr>
          <p:spPr bwMode="gray">
            <a:xfrm>
              <a:off x="328396" y="5313940"/>
              <a:ext cx="720000" cy="720000"/>
            </a:xfrm>
            <a:prstGeom prst="rect">
              <a:avLst/>
            </a:prstGeom>
            <a:solidFill>
              <a:srgbClr val="E55A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pPr>
              <a:endParaRPr lang="en-US" sz="1000">
                <a:solidFill>
                  <a:schemeClr val="tx1"/>
                </a:solidFill>
                <a:latin typeface="Arial" pitchFamily="34" charset="0"/>
                <a:cs typeface="Arial" pitchFamily="34" charset="0"/>
              </a:endParaRPr>
            </a:p>
          </p:txBody>
        </p:sp>
        <p:sp>
          <p:nvSpPr>
            <p:cNvPr id="40" name="Freeform 76">
              <a:extLst>
                <a:ext uri="{FF2B5EF4-FFF2-40B4-BE49-F238E27FC236}">
                  <a16:creationId xmlns:a16="http://schemas.microsoft.com/office/drawing/2014/main" id="{55DB3C95-7D0C-D141-901E-96D692794D2B}"/>
                </a:ext>
              </a:extLst>
            </p:cNvPr>
            <p:cNvSpPr>
              <a:spLocks noChangeAspect="1" noEditPoints="1"/>
            </p:cNvSpPr>
            <p:nvPr/>
          </p:nvSpPr>
          <p:spPr bwMode="auto">
            <a:xfrm>
              <a:off x="456202" y="5509222"/>
              <a:ext cx="504000" cy="329436"/>
            </a:xfrm>
            <a:custGeom>
              <a:avLst/>
              <a:gdLst>
                <a:gd name="T0" fmla="*/ 0 w 2080"/>
                <a:gd name="T1" fmla="*/ 65 h 1360"/>
                <a:gd name="T2" fmla="*/ 0 w 2080"/>
                <a:gd name="T3" fmla="*/ 0 h 1360"/>
                <a:gd name="T4" fmla="*/ 2080 w 2080"/>
                <a:gd name="T5" fmla="*/ 0 h 1360"/>
                <a:gd name="T6" fmla="*/ 2080 w 2080"/>
                <a:gd name="T7" fmla="*/ 65 h 1360"/>
                <a:gd name="T8" fmla="*/ 1089 w 2080"/>
                <a:gd name="T9" fmla="*/ 862 h 1360"/>
                <a:gd name="T10" fmla="*/ 991 w 2080"/>
                <a:gd name="T11" fmla="*/ 862 h 1360"/>
                <a:gd name="T12" fmla="*/ 0 w 2080"/>
                <a:gd name="T13" fmla="*/ 65 h 1360"/>
                <a:gd name="T14" fmla="*/ 1139 w 2080"/>
                <a:gd name="T15" fmla="*/ 924 h 1360"/>
                <a:gd name="T16" fmla="*/ 1282 w 2080"/>
                <a:gd name="T17" fmla="*/ 810 h 1360"/>
                <a:gd name="T18" fmla="*/ 2076 w 2080"/>
                <a:gd name="T19" fmla="*/ 1360 h 1360"/>
                <a:gd name="T20" fmla="*/ 4 w 2080"/>
                <a:gd name="T21" fmla="*/ 1360 h 1360"/>
                <a:gd name="T22" fmla="*/ 798 w 2080"/>
                <a:gd name="T23" fmla="*/ 810 h 1360"/>
                <a:gd name="T24" fmla="*/ 941 w 2080"/>
                <a:gd name="T25" fmla="*/ 924 h 1360"/>
                <a:gd name="T26" fmla="*/ 1139 w 2080"/>
                <a:gd name="T27" fmla="*/ 924 h 1360"/>
                <a:gd name="T28" fmla="*/ 2 w 2080"/>
                <a:gd name="T29" fmla="*/ 137 h 1360"/>
                <a:gd name="T30" fmla="*/ 42 w 2080"/>
                <a:gd name="T31" fmla="*/ 201 h 1360"/>
                <a:gd name="T32" fmla="*/ 734 w 2080"/>
                <a:gd name="T33" fmla="*/ 758 h 1360"/>
                <a:gd name="T34" fmla="*/ 0 w 2080"/>
                <a:gd name="T35" fmla="*/ 1266 h 1360"/>
                <a:gd name="T36" fmla="*/ 0 w 2080"/>
                <a:gd name="T37" fmla="*/ 135 h 1360"/>
                <a:gd name="T38" fmla="*/ 2 w 2080"/>
                <a:gd name="T39" fmla="*/ 137 h 1360"/>
                <a:gd name="T40" fmla="*/ 2080 w 2080"/>
                <a:gd name="T41" fmla="*/ 136 h 1360"/>
                <a:gd name="T42" fmla="*/ 2080 w 2080"/>
                <a:gd name="T43" fmla="*/ 1265 h 1360"/>
                <a:gd name="T44" fmla="*/ 1346 w 2080"/>
                <a:gd name="T45" fmla="*/ 758 h 1360"/>
                <a:gd name="T46" fmla="*/ 2038 w 2080"/>
                <a:gd name="T47" fmla="*/ 201 h 1360"/>
                <a:gd name="T48" fmla="*/ 2080 w 2080"/>
                <a:gd name="T49" fmla="*/ 136 h 1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080" h="1360">
                  <a:moveTo>
                    <a:pt x="0" y="65"/>
                  </a:moveTo>
                  <a:cubicBezTo>
                    <a:pt x="0" y="0"/>
                    <a:pt x="0" y="0"/>
                    <a:pt x="0" y="0"/>
                  </a:cubicBezTo>
                  <a:cubicBezTo>
                    <a:pt x="2080" y="0"/>
                    <a:pt x="2080" y="0"/>
                    <a:pt x="2080" y="0"/>
                  </a:cubicBezTo>
                  <a:cubicBezTo>
                    <a:pt x="2080" y="65"/>
                    <a:pt x="2080" y="65"/>
                    <a:pt x="2080" y="65"/>
                  </a:cubicBezTo>
                  <a:cubicBezTo>
                    <a:pt x="1089" y="862"/>
                    <a:pt x="1089" y="862"/>
                    <a:pt x="1089" y="862"/>
                  </a:cubicBezTo>
                  <a:cubicBezTo>
                    <a:pt x="1060" y="886"/>
                    <a:pt x="1020" y="886"/>
                    <a:pt x="991" y="862"/>
                  </a:cubicBezTo>
                  <a:lnTo>
                    <a:pt x="0" y="65"/>
                  </a:lnTo>
                  <a:close/>
                  <a:moveTo>
                    <a:pt x="1139" y="924"/>
                  </a:moveTo>
                  <a:cubicBezTo>
                    <a:pt x="1282" y="810"/>
                    <a:pt x="1282" y="810"/>
                    <a:pt x="1282" y="810"/>
                  </a:cubicBezTo>
                  <a:cubicBezTo>
                    <a:pt x="2076" y="1360"/>
                    <a:pt x="2076" y="1360"/>
                    <a:pt x="2076" y="1360"/>
                  </a:cubicBezTo>
                  <a:cubicBezTo>
                    <a:pt x="4" y="1360"/>
                    <a:pt x="4" y="1360"/>
                    <a:pt x="4" y="1360"/>
                  </a:cubicBezTo>
                  <a:cubicBezTo>
                    <a:pt x="798" y="810"/>
                    <a:pt x="798" y="810"/>
                    <a:pt x="798" y="810"/>
                  </a:cubicBezTo>
                  <a:cubicBezTo>
                    <a:pt x="941" y="924"/>
                    <a:pt x="941" y="924"/>
                    <a:pt x="941" y="924"/>
                  </a:cubicBezTo>
                  <a:cubicBezTo>
                    <a:pt x="1000" y="972"/>
                    <a:pt x="1080" y="972"/>
                    <a:pt x="1139" y="924"/>
                  </a:cubicBezTo>
                  <a:close/>
                  <a:moveTo>
                    <a:pt x="2" y="137"/>
                  </a:moveTo>
                  <a:cubicBezTo>
                    <a:pt x="8" y="163"/>
                    <a:pt x="22" y="185"/>
                    <a:pt x="42" y="201"/>
                  </a:cubicBezTo>
                  <a:cubicBezTo>
                    <a:pt x="734" y="758"/>
                    <a:pt x="734" y="758"/>
                    <a:pt x="734" y="758"/>
                  </a:cubicBezTo>
                  <a:cubicBezTo>
                    <a:pt x="0" y="1266"/>
                    <a:pt x="0" y="1266"/>
                    <a:pt x="0" y="1266"/>
                  </a:cubicBezTo>
                  <a:cubicBezTo>
                    <a:pt x="0" y="135"/>
                    <a:pt x="0" y="135"/>
                    <a:pt x="0" y="135"/>
                  </a:cubicBezTo>
                  <a:lnTo>
                    <a:pt x="2" y="137"/>
                  </a:lnTo>
                  <a:close/>
                  <a:moveTo>
                    <a:pt x="2080" y="136"/>
                  </a:moveTo>
                  <a:cubicBezTo>
                    <a:pt x="2080" y="1265"/>
                    <a:pt x="2080" y="1265"/>
                    <a:pt x="2080" y="1265"/>
                  </a:cubicBezTo>
                  <a:cubicBezTo>
                    <a:pt x="1346" y="758"/>
                    <a:pt x="1346" y="758"/>
                    <a:pt x="1346" y="758"/>
                  </a:cubicBezTo>
                  <a:cubicBezTo>
                    <a:pt x="2038" y="201"/>
                    <a:pt x="2038" y="201"/>
                    <a:pt x="2038" y="201"/>
                  </a:cubicBezTo>
                  <a:cubicBezTo>
                    <a:pt x="2060" y="182"/>
                    <a:pt x="2072" y="162"/>
                    <a:pt x="2080" y="13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000"/>
            </a:p>
          </p:txBody>
        </p:sp>
      </p:grpSp>
      <p:cxnSp>
        <p:nvCxnSpPr>
          <p:cNvPr id="41" name="Straight Connector 40"/>
          <p:cNvCxnSpPr/>
          <p:nvPr/>
        </p:nvCxnSpPr>
        <p:spPr>
          <a:xfrm>
            <a:off x="2355914" y="5655833"/>
            <a:ext cx="3888000" cy="0"/>
          </a:xfrm>
          <a:prstGeom prst="line">
            <a:avLst/>
          </a:prstGeom>
          <a:ln w="6350">
            <a:solidFill>
              <a:schemeClr val="tx2"/>
            </a:solidFill>
            <a:prstDash val="dash"/>
          </a:ln>
        </p:spPr>
        <p:style>
          <a:lnRef idx="1">
            <a:schemeClr val="accent1"/>
          </a:lnRef>
          <a:fillRef idx="0">
            <a:schemeClr val="accent1"/>
          </a:fillRef>
          <a:effectRef idx="0">
            <a:schemeClr val="accent1"/>
          </a:effectRef>
          <a:fontRef idx="minor">
            <a:schemeClr val="tx1"/>
          </a:fontRef>
        </p:style>
      </p:cxnSp>
      <p:sp>
        <p:nvSpPr>
          <p:cNvPr id="42" name="Picture Placeholder 3"/>
          <p:cNvSpPr>
            <a:spLocks noGrp="1"/>
          </p:cNvSpPr>
          <p:nvPr>
            <p:ph type="pic" sz="quarter" idx="29" hasCustomPrompt="1"/>
          </p:nvPr>
        </p:nvSpPr>
        <p:spPr>
          <a:xfrm>
            <a:off x="2355914" y="3986604"/>
            <a:ext cx="1188677" cy="1547840"/>
          </a:xfrm>
          <a:solidFill>
            <a:srgbClr val="D9DADB"/>
          </a:solidFill>
        </p:spPr>
        <p:txBody>
          <a:bodyPr/>
          <a:lstStyle>
            <a:lvl1pPr marL="0" indent="0">
              <a:buNone/>
              <a:defRPr sz="1400"/>
            </a:lvl1pPr>
          </a:lstStyle>
          <a:p>
            <a:r>
              <a:rPr lang="en-US"/>
              <a:t>Insert picture</a:t>
            </a:r>
          </a:p>
        </p:txBody>
      </p:sp>
      <p:sp>
        <p:nvSpPr>
          <p:cNvPr id="43" name="Text Placeholder 5"/>
          <p:cNvSpPr>
            <a:spLocks noGrp="1"/>
          </p:cNvSpPr>
          <p:nvPr>
            <p:ph type="body" sz="quarter" idx="30" hasCustomPrompt="1"/>
          </p:nvPr>
        </p:nvSpPr>
        <p:spPr>
          <a:xfrm>
            <a:off x="3770065" y="3986141"/>
            <a:ext cx="2463190" cy="192360"/>
          </a:xfrm>
        </p:spPr>
        <p:txBody>
          <a:bodyPr lIns="0" tIns="0" rIns="0" bIns="0" anchor="ctr" anchorCtr="0"/>
          <a:lstStyle>
            <a:lvl1pPr marL="0" indent="0" algn="l">
              <a:lnSpc>
                <a:spcPct val="100000"/>
              </a:lnSpc>
              <a:buNone/>
              <a:defRPr sz="100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Country</a:t>
            </a:r>
          </a:p>
        </p:txBody>
      </p:sp>
      <p:sp>
        <p:nvSpPr>
          <p:cNvPr id="44" name="Text Placeholder 5"/>
          <p:cNvSpPr>
            <a:spLocks noGrp="1"/>
          </p:cNvSpPr>
          <p:nvPr>
            <p:ph type="body" sz="quarter" idx="31" hasCustomPrompt="1"/>
          </p:nvPr>
        </p:nvSpPr>
        <p:spPr>
          <a:xfrm>
            <a:off x="3770065" y="4197957"/>
            <a:ext cx="2463190" cy="266182"/>
          </a:xfrm>
        </p:spPr>
        <p:txBody>
          <a:bodyPr lIns="0" tIns="0" rIns="0" bIns="0" anchor="b" anchorCtr="0"/>
          <a:lstStyle>
            <a:lvl1pPr marL="0" indent="0" algn="l">
              <a:lnSpc>
                <a:spcPct val="100000"/>
              </a:lnSpc>
              <a:buNone/>
              <a:defRPr sz="1400" b="1" baseline="0">
                <a:solidFill>
                  <a:schemeClr val="tx2"/>
                </a:solidFill>
              </a:defRPr>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Name, Surname</a:t>
            </a:r>
          </a:p>
        </p:txBody>
      </p:sp>
      <p:sp>
        <p:nvSpPr>
          <p:cNvPr id="45" name="Text Placeholder 5"/>
          <p:cNvSpPr>
            <a:spLocks noGrp="1"/>
          </p:cNvSpPr>
          <p:nvPr>
            <p:ph type="body" sz="quarter" idx="32" hasCustomPrompt="1"/>
          </p:nvPr>
        </p:nvSpPr>
        <p:spPr>
          <a:xfrm>
            <a:off x="3770065" y="4494532"/>
            <a:ext cx="2463190"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Job Position</a:t>
            </a:r>
          </a:p>
        </p:txBody>
      </p:sp>
      <p:sp>
        <p:nvSpPr>
          <p:cNvPr id="46" name="Text Placeholder 5"/>
          <p:cNvSpPr>
            <a:spLocks noGrp="1"/>
          </p:cNvSpPr>
          <p:nvPr>
            <p:ph type="body" sz="quarter" idx="33" hasCustomPrompt="1"/>
          </p:nvPr>
        </p:nvSpPr>
        <p:spPr>
          <a:xfrm>
            <a:off x="4014948" y="5023208"/>
            <a:ext cx="2218307"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Phone number</a:t>
            </a:r>
          </a:p>
        </p:txBody>
      </p:sp>
      <p:sp>
        <p:nvSpPr>
          <p:cNvPr id="47" name="Text Placeholder 5"/>
          <p:cNvSpPr>
            <a:spLocks noGrp="1"/>
          </p:cNvSpPr>
          <p:nvPr>
            <p:ph type="body" sz="quarter" idx="34" hasCustomPrompt="1"/>
          </p:nvPr>
        </p:nvSpPr>
        <p:spPr>
          <a:xfrm>
            <a:off x="4014948" y="5306015"/>
            <a:ext cx="2218307"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Email address</a:t>
            </a:r>
          </a:p>
        </p:txBody>
      </p:sp>
    </p:spTree>
    <p:extLst>
      <p:ext uri="{BB962C8B-B14F-4D97-AF65-F5344CB8AC3E}">
        <p14:creationId xmlns:p14="http://schemas.microsoft.com/office/powerpoint/2010/main" val="3403063232"/>
      </p:ext>
    </p:extLst>
  </p:cSld>
  <p:clrMapOvr>
    <a:masterClrMapping/>
  </p:clrMapOvr>
</p:sldLayout>
</file>

<file path=ppt/slideLayouts/slideLayout354.xml><?xml version="1.0" encoding="utf-8"?>
<p:sldLayout xmlns:a="http://schemas.openxmlformats.org/drawingml/2006/main" xmlns:r="http://schemas.openxmlformats.org/officeDocument/2006/relationships" xmlns:p="http://schemas.openxmlformats.org/presentationml/2006/main" preserve="1">
  <p:cSld name="Four contacts">
    <p:spTree>
      <p:nvGrpSpPr>
        <p:cNvPr id="1" name=""/>
        <p:cNvGrpSpPr/>
        <p:nvPr/>
      </p:nvGrpSpPr>
      <p:grpSpPr>
        <a:xfrm>
          <a:off x="0" y="0"/>
          <a:ext cx="0" cy="0"/>
          <a:chOff x="0" y="0"/>
          <a:chExt cx="0" cy="0"/>
        </a:xfrm>
      </p:grpSpPr>
      <p:sp>
        <p:nvSpPr>
          <p:cNvPr id="21" name="Date Placeholder 20"/>
          <p:cNvSpPr>
            <a:spLocks noGrp="1"/>
          </p:cNvSpPr>
          <p:nvPr>
            <p:ph type="dt" sz="half" idx="14"/>
          </p:nvPr>
        </p:nvSpPr>
        <p:spPr/>
        <p:txBody>
          <a:bodyPr/>
          <a:lstStyle/>
          <a:p>
            <a:endParaRPr lang="en-US"/>
          </a:p>
        </p:txBody>
      </p:sp>
      <p:sp>
        <p:nvSpPr>
          <p:cNvPr id="22" name="Footer Placeholder 21"/>
          <p:cNvSpPr>
            <a:spLocks noGrp="1"/>
          </p:cNvSpPr>
          <p:nvPr>
            <p:ph type="ftr" sz="quarter" idx="15"/>
          </p:nvPr>
        </p:nvSpPr>
        <p:spPr/>
        <p:txBody>
          <a:bodyPr/>
          <a:lstStyle/>
          <a:p>
            <a:endParaRPr lang="en-US"/>
          </a:p>
        </p:txBody>
      </p:sp>
      <p:sp>
        <p:nvSpPr>
          <p:cNvPr id="23" name="Slide Number Placeholder 22"/>
          <p:cNvSpPr>
            <a:spLocks noGrp="1"/>
          </p:cNvSpPr>
          <p:nvPr>
            <p:ph type="sldNum" sz="quarter" idx="16"/>
          </p:nvPr>
        </p:nvSpPr>
        <p:spPr/>
        <p:txBody>
          <a:bodyPr/>
          <a:lstStyle/>
          <a:p>
            <a:fld id="{5F3E29E4-0979-4FCA-B4C5-5FC6044C982A}" type="slidenum">
              <a:rPr lang="en-US" smtClean="0"/>
              <a:t>‹#›</a:t>
            </a:fld>
            <a:endParaRPr lang="en-US"/>
          </a:p>
        </p:txBody>
      </p:sp>
      <p:sp>
        <p:nvSpPr>
          <p:cNvPr id="2" name="Title 1"/>
          <p:cNvSpPr>
            <a:spLocks noGrp="1"/>
          </p:cNvSpPr>
          <p:nvPr>
            <p:ph type="title" hasCustomPrompt="1"/>
          </p:nvPr>
        </p:nvSpPr>
        <p:spPr/>
        <p:txBody>
          <a:bodyPr/>
          <a:lstStyle>
            <a:lvl1pPr>
              <a:defRPr/>
            </a:lvl1pPr>
          </a:lstStyle>
          <a:p>
            <a:r>
              <a:rPr lang="en-US"/>
              <a:t>Click to add contact title</a:t>
            </a:r>
          </a:p>
        </p:txBody>
      </p:sp>
      <p:sp>
        <p:nvSpPr>
          <p:cNvPr id="7" name="Subtitle 2"/>
          <p:cNvSpPr>
            <a:spLocks noGrp="1"/>
          </p:cNvSpPr>
          <p:nvPr>
            <p:ph type="subTitle" idx="13" hasCustomPrompt="1"/>
          </p:nvPr>
        </p:nvSpPr>
        <p:spPr>
          <a:xfrm>
            <a:off x="1075061" y="964671"/>
            <a:ext cx="7910158" cy="490042"/>
          </a:xfrm>
        </p:spPr>
        <p:txBody>
          <a:bodyPr wrap="none"/>
          <a:lstStyle>
            <a:lvl1pPr marL="0" indent="0" algn="l">
              <a:spcBef>
                <a:spcPts val="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grpSp>
        <p:nvGrpSpPr>
          <p:cNvPr id="8" name="Gruppieren 80">
            <a:extLst>
              <a:ext uri="{FF2B5EF4-FFF2-40B4-BE49-F238E27FC236}">
                <a16:creationId xmlns:a16="http://schemas.microsoft.com/office/drawing/2014/main" id="{6B969E7B-9C39-4443-9B02-74C1E7C5CCAC}"/>
              </a:ext>
            </a:extLst>
          </p:cNvPr>
          <p:cNvGrpSpPr/>
          <p:nvPr/>
        </p:nvGrpSpPr>
        <p:grpSpPr>
          <a:xfrm>
            <a:off x="3770065" y="2868319"/>
            <a:ext cx="171180" cy="171180"/>
            <a:chOff x="3392092" y="1841122"/>
            <a:chExt cx="646508" cy="646508"/>
          </a:xfrm>
        </p:grpSpPr>
        <p:sp>
          <p:nvSpPr>
            <p:cNvPr id="9" name="Rechteck 14">
              <a:extLst>
                <a:ext uri="{FF2B5EF4-FFF2-40B4-BE49-F238E27FC236}">
                  <a16:creationId xmlns:a16="http://schemas.microsoft.com/office/drawing/2014/main" id="{D78F58EA-5525-8D43-8295-FEA52ECF6BFA}"/>
                </a:ext>
              </a:extLst>
            </p:cNvPr>
            <p:cNvSpPr>
              <a:spLocks noChangeAspect="1"/>
            </p:cNvSpPr>
            <p:nvPr/>
          </p:nvSpPr>
          <p:spPr bwMode="gray">
            <a:xfrm>
              <a:off x="3392092" y="1841122"/>
              <a:ext cx="646508" cy="646508"/>
            </a:xfrm>
            <a:prstGeom prst="rect">
              <a:avLst/>
            </a:prstGeom>
            <a:solidFill>
              <a:srgbClr val="E55A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pPr>
              <a:endParaRPr lang="en-US" sz="1000">
                <a:solidFill>
                  <a:schemeClr val="tx1"/>
                </a:solidFill>
                <a:latin typeface="Arial" pitchFamily="34" charset="0"/>
                <a:cs typeface="Arial" pitchFamily="34" charset="0"/>
              </a:endParaRPr>
            </a:p>
          </p:txBody>
        </p:sp>
        <p:sp>
          <p:nvSpPr>
            <p:cNvPr id="10" name="Freeform 67">
              <a:extLst>
                <a:ext uri="{FF2B5EF4-FFF2-40B4-BE49-F238E27FC236}">
                  <a16:creationId xmlns:a16="http://schemas.microsoft.com/office/drawing/2014/main" id="{D01A6292-2776-4945-B828-483D79DC4908}"/>
                </a:ext>
              </a:extLst>
            </p:cNvPr>
            <p:cNvSpPr>
              <a:spLocks noChangeAspect="1"/>
            </p:cNvSpPr>
            <p:nvPr/>
          </p:nvSpPr>
          <p:spPr bwMode="auto">
            <a:xfrm>
              <a:off x="3546638" y="1970424"/>
              <a:ext cx="337415" cy="387905"/>
            </a:xfrm>
            <a:custGeom>
              <a:avLst/>
              <a:gdLst>
                <a:gd name="T0" fmla="*/ 573 w 1624"/>
                <a:gd name="T1" fmla="*/ 1257 h 1867"/>
                <a:gd name="T2" fmla="*/ 662 w 1624"/>
                <a:gd name="T3" fmla="*/ 1288 h 1867"/>
                <a:gd name="T4" fmla="*/ 938 w 1624"/>
                <a:gd name="T5" fmla="*/ 1051 h 1867"/>
                <a:gd name="T6" fmla="*/ 1106 w 1624"/>
                <a:gd name="T7" fmla="*/ 731 h 1867"/>
                <a:gd name="T8" fmla="*/ 1059 w 1624"/>
                <a:gd name="T9" fmla="*/ 645 h 1867"/>
                <a:gd name="T10" fmla="*/ 1001 w 1624"/>
                <a:gd name="T11" fmla="*/ 613 h 1867"/>
                <a:gd name="T12" fmla="*/ 924 w 1624"/>
                <a:gd name="T13" fmla="*/ 432 h 1867"/>
                <a:gd name="T14" fmla="*/ 1114 w 1624"/>
                <a:gd name="T15" fmla="*/ 81 h 1867"/>
                <a:gd name="T16" fmla="*/ 1287 w 1624"/>
                <a:gd name="T17" fmla="*/ 35 h 1867"/>
                <a:gd name="T18" fmla="*/ 1350 w 1624"/>
                <a:gd name="T19" fmla="*/ 69 h 1867"/>
                <a:gd name="T20" fmla="*/ 1527 w 1624"/>
                <a:gd name="T21" fmla="*/ 235 h 1867"/>
                <a:gd name="T22" fmla="*/ 1583 w 1624"/>
                <a:gd name="T23" fmla="*/ 555 h 1867"/>
                <a:gd name="T24" fmla="*/ 1172 w 1624"/>
                <a:gd name="T25" fmla="*/ 1253 h 1867"/>
                <a:gd name="T26" fmla="*/ 586 w 1624"/>
                <a:gd name="T27" fmla="*/ 1803 h 1867"/>
                <a:gd name="T28" fmla="*/ 269 w 1624"/>
                <a:gd name="T29" fmla="*/ 1807 h 1867"/>
                <a:gd name="T30" fmla="*/ 33 w 1624"/>
                <a:gd name="T31" fmla="*/ 1602 h 1867"/>
                <a:gd name="T32" fmla="*/ 2 w 1624"/>
                <a:gd name="T33" fmla="*/ 1508 h 1867"/>
                <a:gd name="T34" fmla="*/ 45 w 1624"/>
                <a:gd name="T35" fmla="*/ 1421 h 1867"/>
                <a:gd name="T36" fmla="*/ 346 w 1624"/>
                <a:gd name="T37" fmla="*/ 1158 h 1867"/>
                <a:gd name="T38" fmla="*/ 448 w 1624"/>
                <a:gd name="T39" fmla="*/ 1145 h 1867"/>
                <a:gd name="T40" fmla="*/ 573 w 1624"/>
                <a:gd name="T41" fmla="*/ 1257 h 18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24" h="1867">
                  <a:moveTo>
                    <a:pt x="573" y="1257"/>
                  </a:moveTo>
                  <a:cubicBezTo>
                    <a:pt x="592" y="1282"/>
                    <a:pt x="630" y="1303"/>
                    <a:pt x="662" y="1288"/>
                  </a:cubicBezTo>
                  <a:cubicBezTo>
                    <a:pt x="753" y="1245"/>
                    <a:pt x="854" y="1156"/>
                    <a:pt x="938" y="1051"/>
                  </a:cubicBezTo>
                  <a:cubicBezTo>
                    <a:pt x="1020" y="948"/>
                    <a:pt x="1084" y="831"/>
                    <a:pt x="1106" y="731"/>
                  </a:cubicBezTo>
                  <a:cubicBezTo>
                    <a:pt x="1113" y="696"/>
                    <a:pt x="1089" y="661"/>
                    <a:pt x="1059" y="645"/>
                  </a:cubicBezTo>
                  <a:cubicBezTo>
                    <a:pt x="1001" y="613"/>
                    <a:pt x="1001" y="613"/>
                    <a:pt x="1001" y="613"/>
                  </a:cubicBezTo>
                  <a:cubicBezTo>
                    <a:pt x="942" y="580"/>
                    <a:pt x="888" y="499"/>
                    <a:pt x="924" y="432"/>
                  </a:cubicBezTo>
                  <a:cubicBezTo>
                    <a:pt x="1114" y="81"/>
                    <a:pt x="1114" y="81"/>
                    <a:pt x="1114" y="81"/>
                  </a:cubicBezTo>
                  <a:cubicBezTo>
                    <a:pt x="1150" y="16"/>
                    <a:pt x="1224" y="0"/>
                    <a:pt x="1287" y="35"/>
                  </a:cubicBezTo>
                  <a:cubicBezTo>
                    <a:pt x="1350" y="69"/>
                    <a:pt x="1350" y="69"/>
                    <a:pt x="1350" y="69"/>
                  </a:cubicBezTo>
                  <a:cubicBezTo>
                    <a:pt x="1415" y="105"/>
                    <a:pt x="1479" y="165"/>
                    <a:pt x="1527" y="235"/>
                  </a:cubicBezTo>
                  <a:cubicBezTo>
                    <a:pt x="1593" y="332"/>
                    <a:pt x="1624" y="442"/>
                    <a:pt x="1583" y="555"/>
                  </a:cubicBezTo>
                  <a:cubicBezTo>
                    <a:pt x="1500" y="781"/>
                    <a:pt x="1351" y="1030"/>
                    <a:pt x="1172" y="1253"/>
                  </a:cubicBezTo>
                  <a:cubicBezTo>
                    <a:pt x="994" y="1477"/>
                    <a:pt x="786" y="1676"/>
                    <a:pt x="586" y="1803"/>
                  </a:cubicBezTo>
                  <a:cubicBezTo>
                    <a:pt x="486" y="1867"/>
                    <a:pt x="375" y="1856"/>
                    <a:pt x="269" y="1807"/>
                  </a:cubicBezTo>
                  <a:cubicBezTo>
                    <a:pt x="157" y="1755"/>
                    <a:pt x="106" y="1695"/>
                    <a:pt x="33" y="1602"/>
                  </a:cubicBezTo>
                  <a:cubicBezTo>
                    <a:pt x="11" y="1573"/>
                    <a:pt x="0" y="1540"/>
                    <a:pt x="2" y="1508"/>
                  </a:cubicBezTo>
                  <a:cubicBezTo>
                    <a:pt x="4" y="1475"/>
                    <a:pt x="18" y="1444"/>
                    <a:pt x="45" y="1421"/>
                  </a:cubicBezTo>
                  <a:cubicBezTo>
                    <a:pt x="70" y="1399"/>
                    <a:pt x="346" y="1158"/>
                    <a:pt x="346" y="1158"/>
                  </a:cubicBezTo>
                  <a:cubicBezTo>
                    <a:pt x="376" y="1134"/>
                    <a:pt x="413" y="1133"/>
                    <a:pt x="448" y="1145"/>
                  </a:cubicBezTo>
                  <a:cubicBezTo>
                    <a:pt x="510" y="1166"/>
                    <a:pt x="536" y="1210"/>
                    <a:pt x="573" y="1257"/>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351"/>
            </a:p>
          </p:txBody>
        </p:sp>
      </p:grpSp>
      <p:grpSp>
        <p:nvGrpSpPr>
          <p:cNvPr id="11" name="Group 3">
            <a:extLst>
              <a:ext uri="{FF2B5EF4-FFF2-40B4-BE49-F238E27FC236}">
                <a16:creationId xmlns:a16="http://schemas.microsoft.com/office/drawing/2014/main" id="{DED6A25A-5DE2-1441-8BA2-C68D3B4F9209}"/>
              </a:ext>
            </a:extLst>
          </p:cNvPr>
          <p:cNvGrpSpPr>
            <a:grpSpLocks noChangeAspect="1"/>
          </p:cNvGrpSpPr>
          <p:nvPr>
            <p:custDataLst>
              <p:tags r:id="rId1"/>
            </p:custDataLst>
          </p:nvPr>
        </p:nvGrpSpPr>
        <p:grpSpPr>
          <a:xfrm>
            <a:off x="3770066" y="3153207"/>
            <a:ext cx="171180" cy="171180"/>
            <a:chOff x="328396" y="5313940"/>
            <a:chExt cx="720000" cy="720000"/>
          </a:xfrm>
        </p:grpSpPr>
        <p:sp>
          <p:nvSpPr>
            <p:cNvPr id="12" name="Rectangle 4">
              <a:extLst>
                <a:ext uri="{FF2B5EF4-FFF2-40B4-BE49-F238E27FC236}">
                  <a16:creationId xmlns:a16="http://schemas.microsoft.com/office/drawing/2014/main" id="{5F49E67F-D4FA-9D48-96BC-59AE946ECD15}"/>
                </a:ext>
              </a:extLst>
            </p:cNvPr>
            <p:cNvSpPr/>
            <p:nvPr/>
          </p:nvSpPr>
          <p:spPr bwMode="gray">
            <a:xfrm>
              <a:off x="328396" y="5313940"/>
              <a:ext cx="720000" cy="720000"/>
            </a:xfrm>
            <a:prstGeom prst="rect">
              <a:avLst/>
            </a:prstGeom>
            <a:solidFill>
              <a:srgbClr val="E55A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pPr>
              <a:endParaRPr lang="en-US" sz="1000">
                <a:solidFill>
                  <a:schemeClr val="tx1"/>
                </a:solidFill>
                <a:latin typeface="Arial" pitchFamily="34" charset="0"/>
                <a:cs typeface="Arial" pitchFamily="34" charset="0"/>
              </a:endParaRPr>
            </a:p>
          </p:txBody>
        </p:sp>
        <p:sp>
          <p:nvSpPr>
            <p:cNvPr id="13" name="Freeform 76">
              <a:extLst>
                <a:ext uri="{FF2B5EF4-FFF2-40B4-BE49-F238E27FC236}">
                  <a16:creationId xmlns:a16="http://schemas.microsoft.com/office/drawing/2014/main" id="{187E70E6-AF3F-2549-908E-DF4BA61040AA}"/>
                </a:ext>
              </a:extLst>
            </p:cNvPr>
            <p:cNvSpPr>
              <a:spLocks noChangeAspect="1" noEditPoints="1"/>
            </p:cNvSpPr>
            <p:nvPr/>
          </p:nvSpPr>
          <p:spPr bwMode="auto">
            <a:xfrm>
              <a:off x="456202" y="5509222"/>
              <a:ext cx="504000" cy="329436"/>
            </a:xfrm>
            <a:custGeom>
              <a:avLst/>
              <a:gdLst>
                <a:gd name="T0" fmla="*/ 0 w 2080"/>
                <a:gd name="T1" fmla="*/ 65 h 1360"/>
                <a:gd name="T2" fmla="*/ 0 w 2080"/>
                <a:gd name="T3" fmla="*/ 0 h 1360"/>
                <a:gd name="T4" fmla="*/ 2080 w 2080"/>
                <a:gd name="T5" fmla="*/ 0 h 1360"/>
                <a:gd name="T6" fmla="*/ 2080 w 2080"/>
                <a:gd name="T7" fmla="*/ 65 h 1360"/>
                <a:gd name="T8" fmla="*/ 1089 w 2080"/>
                <a:gd name="T9" fmla="*/ 862 h 1360"/>
                <a:gd name="T10" fmla="*/ 991 w 2080"/>
                <a:gd name="T11" fmla="*/ 862 h 1360"/>
                <a:gd name="T12" fmla="*/ 0 w 2080"/>
                <a:gd name="T13" fmla="*/ 65 h 1360"/>
                <a:gd name="T14" fmla="*/ 1139 w 2080"/>
                <a:gd name="T15" fmla="*/ 924 h 1360"/>
                <a:gd name="T16" fmla="*/ 1282 w 2080"/>
                <a:gd name="T17" fmla="*/ 810 h 1360"/>
                <a:gd name="T18" fmla="*/ 2076 w 2080"/>
                <a:gd name="T19" fmla="*/ 1360 h 1360"/>
                <a:gd name="T20" fmla="*/ 4 w 2080"/>
                <a:gd name="T21" fmla="*/ 1360 h 1360"/>
                <a:gd name="T22" fmla="*/ 798 w 2080"/>
                <a:gd name="T23" fmla="*/ 810 h 1360"/>
                <a:gd name="T24" fmla="*/ 941 w 2080"/>
                <a:gd name="T25" fmla="*/ 924 h 1360"/>
                <a:gd name="T26" fmla="*/ 1139 w 2080"/>
                <a:gd name="T27" fmla="*/ 924 h 1360"/>
                <a:gd name="T28" fmla="*/ 2 w 2080"/>
                <a:gd name="T29" fmla="*/ 137 h 1360"/>
                <a:gd name="T30" fmla="*/ 42 w 2080"/>
                <a:gd name="T31" fmla="*/ 201 h 1360"/>
                <a:gd name="T32" fmla="*/ 734 w 2080"/>
                <a:gd name="T33" fmla="*/ 758 h 1360"/>
                <a:gd name="T34" fmla="*/ 0 w 2080"/>
                <a:gd name="T35" fmla="*/ 1266 h 1360"/>
                <a:gd name="T36" fmla="*/ 0 w 2080"/>
                <a:gd name="T37" fmla="*/ 135 h 1360"/>
                <a:gd name="T38" fmla="*/ 2 w 2080"/>
                <a:gd name="T39" fmla="*/ 137 h 1360"/>
                <a:gd name="T40" fmla="*/ 2080 w 2080"/>
                <a:gd name="T41" fmla="*/ 136 h 1360"/>
                <a:gd name="T42" fmla="*/ 2080 w 2080"/>
                <a:gd name="T43" fmla="*/ 1265 h 1360"/>
                <a:gd name="T44" fmla="*/ 1346 w 2080"/>
                <a:gd name="T45" fmla="*/ 758 h 1360"/>
                <a:gd name="T46" fmla="*/ 2038 w 2080"/>
                <a:gd name="T47" fmla="*/ 201 h 1360"/>
                <a:gd name="T48" fmla="*/ 2080 w 2080"/>
                <a:gd name="T49" fmla="*/ 136 h 1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080" h="1360">
                  <a:moveTo>
                    <a:pt x="0" y="65"/>
                  </a:moveTo>
                  <a:cubicBezTo>
                    <a:pt x="0" y="0"/>
                    <a:pt x="0" y="0"/>
                    <a:pt x="0" y="0"/>
                  </a:cubicBezTo>
                  <a:cubicBezTo>
                    <a:pt x="2080" y="0"/>
                    <a:pt x="2080" y="0"/>
                    <a:pt x="2080" y="0"/>
                  </a:cubicBezTo>
                  <a:cubicBezTo>
                    <a:pt x="2080" y="65"/>
                    <a:pt x="2080" y="65"/>
                    <a:pt x="2080" y="65"/>
                  </a:cubicBezTo>
                  <a:cubicBezTo>
                    <a:pt x="1089" y="862"/>
                    <a:pt x="1089" y="862"/>
                    <a:pt x="1089" y="862"/>
                  </a:cubicBezTo>
                  <a:cubicBezTo>
                    <a:pt x="1060" y="886"/>
                    <a:pt x="1020" y="886"/>
                    <a:pt x="991" y="862"/>
                  </a:cubicBezTo>
                  <a:lnTo>
                    <a:pt x="0" y="65"/>
                  </a:lnTo>
                  <a:close/>
                  <a:moveTo>
                    <a:pt x="1139" y="924"/>
                  </a:moveTo>
                  <a:cubicBezTo>
                    <a:pt x="1282" y="810"/>
                    <a:pt x="1282" y="810"/>
                    <a:pt x="1282" y="810"/>
                  </a:cubicBezTo>
                  <a:cubicBezTo>
                    <a:pt x="2076" y="1360"/>
                    <a:pt x="2076" y="1360"/>
                    <a:pt x="2076" y="1360"/>
                  </a:cubicBezTo>
                  <a:cubicBezTo>
                    <a:pt x="4" y="1360"/>
                    <a:pt x="4" y="1360"/>
                    <a:pt x="4" y="1360"/>
                  </a:cubicBezTo>
                  <a:cubicBezTo>
                    <a:pt x="798" y="810"/>
                    <a:pt x="798" y="810"/>
                    <a:pt x="798" y="810"/>
                  </a:cubicBezTo>
                  <a:cubicBezTo>
                    <a:pt x="941" y="924"/>
                    <a:pt x="941" y="924"/>
                    <a:pt x="941" y="924"/>
                  </a:cubicBezTo>
                  <a:cubicBezTo>
                    <a:pt x="1000" y="972"/>
                    <a:pt x="1080" y="972"/>
                    <a:pt x="1139" y="924"/>
                  </a:cubicBezTo>
                  <a:close/>
                  <a:moveTo>
                    <a:pt x="2" y="137"/>
                  </a:moveTo>
                  <a:cubicBezTo>
                    <a:pt x="8" y="163"/>
                    <a:pt x="22" y="185"/>
                    <a:pt x="42" y="201"/>
                  </a:cubicBezTo>
                  <a:cubicBezTo>
                    <a:pt x="734" y="758"/>
                    <a:pt x="734" y="758"/>
                    <a:pt x="734" y="758"/>
                  </a:cubicBezTo>
                  <a:cubicBezTo>
                    <a:pt x="0" y="1266"/>
                    <a:pt x="0" y="1266"/>
                    <a:pt x="0" y="1266"/>
                  </a:cubicBezTo>
                  <a:cubicBezTo>
                    <a:pt x="0" y="135"/>
                    <a:pt x="0" y="135"/>
                    <a:pt x="0" y="135"/>
                  </a:cubicBezTo>
                  <a:lnTo>
                    <a:pt x="2" y="137"/>
                  </a:lnTo>
                  <a:close/>
                  <a:moveTo>
                    <a:pt x="2080" y="136"/>
                  </a:moveTo>
                  <a:cubicBezTo>
                    <a:pt x="2080" y="1265"/>
                    <a:pt x="2080" y="1265"/>
                    <a:pt x="2080" y="1265"/>
                  </a:cubicBezTo>
                  <a:cubicBezTo>
                    <a:pt x="1346" y="758"/>
                    <a:pt x="1346" y="758"/>
                    <a:pt x="1346" y="758"/>
                  </a:cubicBezTo>
                  <a:cubicBezTo>
                    <a:pt x="2038" y="201"/>
                    <a:pt x="2038" y="201"/>
                    <a:pt x="2038" y="201"/>
                  </a:cubicBezTo>
                  <a:cubicBezTo>
                    <a:pt x="2060" y="182"/>
                    <a:pt x="2072" y="162"/>
                    <a:pt x="2080" y="13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000"/>
            </a:p>
          </p:txBody>
        </p:sp>
      </p:grpSp>
      <p:grpSp>
        <p:nvGrpSpPr>
          <p:cNvPr id="14" name="Gruppieren 2">
            <a:extLst>
              <a:ext uri="{FF2B5EF4-FFF2-40B4-BE49-F238E27FC236}">
                <a16:creationId xmlns:a16="http://schemas.microsoft.com/office/drawing/2014/main" id="{BE697CE9-EBDE-6B4A-BE70-582D92A8A831}"/>
              </a:ext>
            </a:extLst>
          </p:cNvPr>
          <p:cNvGrpSpPr/>
          <p:nvPr/>
        </p:nvGrpSpPr>
        <p:grpSpPr>
          <a:xfrm>
            <a:off x="8701917" y="2868319"/>
            <a:ext cx="171180" cy="171180"/>
            <a:chOff x="3392092" y="1841122"/>
            <a:chExt cx="646508" cy="646508"/>
          </a:xfrm>
        </p:grpSpPr>
        <p:sp>
          <p:nvSpPr>
            <p:cNvPr id="15" name="Rechteck 14">
              <a:extLst>
                <a:ext uri="{FF2B5EF4-FFF2-40B4-BE49-F238E27FC236}">
                  <a16:creationId xmlns:a16="http://schemas.microsoft.com/office/drawing/2014/main" id="{E142A731-19B7-C34D-9534-9E05108F895F}"/>
                </a:ext>
              </a:extLst>
            </p:cNvPr>
            <p:cNvSpPr>
              <a:spLocks noChangeAspect="1"/>
            </p:cNvSpPr>
            <p:nvPr/>
          </p:nvSpPr>
          <p:spPr bwMode="gray">
            <a:xfrm>
              <a:off x="3392092" y="1841122"/>
              <a:ext cx="646508" cy="646508"/>
            </a:xfrm>
            <a:prstGeom prst="rect">
              <a:avLst/>
            </a:prstGeom>
            <a:solidFill>
              <a:srgbClr val="E55A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pPr>
              <a:endParaRPr lang="en-US" sz="1000">
                <a:solidFill>
                  <a:schemeClr val="tx1"/>
                </a:solidFill>
                <a:latin typeface="Arial" pitchFamily="34" charset="0"/>
                <a:cs typeface="Arial" pitchFamily="34" charset="0"/>
              </a:endParaRPr>
            </a:p>
          </p:txBody>
        </p:sp>
        <p:sp>
          <p:nvSpPr>
            <p:cNvPr id="16" name="Freeform 15">
              <a:extLst>
                <a:ext uri="{FF2B5EF4-FFF2-40B4-BE49-F238E27FC236}">
                  <a16:creationId xmlns:a16="http://schemas.microsoft.com/office/drawing/2014/main" id="{F97E84AE-4AD9-4B44-9AA1-F797FC373809}"/>
                </a:ext>
              </a:extLst>
            </p:cNvPr>
            <p:cNvSpPr>
              <a:spLocks noChangeAspect="1"/>
            </p:cNvSpPr>
            <p:nvPr/>
          </p:nvSpPr>
          <p:spPr bwMode="auto">
            <a:xfrm>
              <a:off x="3546638" y="1970424"/>
              <a:ext cx="337415" cy="387905"/>
            </a:xfrm>
            <a:custGeom>
              <a:avLst/>
              <a:gdLst>
                <a:gd name="T0" fmla="*/ 573 w 1624"/>
                <a:gd name="T1" fmla="*/ 1257 h 1867"/>
                <a:gd name="T2" fmla="*/ 662 w 1624"/>
                <a:gd name="T3" fmla="*/ 1288 h 1867"/>
                <a:gd name="T4" fmla="*/ 938 w 1624"/>
                <a:gd name="T5" fmla="*/ 1051 h 1867"/>
                <a:gd name="T6" fmla="*/ 1106 w 1624"/>
                <a:gd name="T7" fmla="*/ 731 h 1867"/>
                <a:gd name="T8" fmla="*/ 1059 w 1624"/>
                <a:gd name="T9" fmla="*/ 645 h 1867"/>
                <a:gd name="T10" fmla="*/ 1001 w 1624"/>
                <a:gd name="T11" fmla="*/ 613 h 1867"/>
                <a:gd name="T12" fmla="*/ 924 w 1624"/>
                <a:gd name="T13" fmla="*/ 432 h 1867"/>
                <a:gd name="T14" fmla="*/ 1114 w 1624"/>
                <a:gd name="T15" fmla="*/ 81 h 1867"/>
                <a:gd name="T16" fmla="*/ 1287 w 1624"/>
                <a:gd name="T17" fmla="*/ 35 h 1867"/>
                <a:gd name="T18" fmla="*/ 1350 w 1624"/>
                <a:gd name="T19" fmla="*/ 69 h 1867"/>
                <a:gd name="T20" fmla="*/ 1527 w 1624"/>
                <a:gd name="T21" fmla="*/ 235 h 1867"/>
                <a:gd name="T22" fmla="*/ 1583 w 1624"/>
                <a:gd name="T23" fmla="*/ 555 h 1867"/>
                <a:gd name="T24" fmla="*/ 1172 w 1624"/>
                <a:gd name="T25" fmla="*/ 1253 h 1867"/>
                <a:gd name="T26" fmla="*/ 586 w 1624"/>
                <a:gd name="T27" fmla="*/ 1803 h 1867"/>
                <a:gd name="T28" fmla="*/ 269 w 1624"/>
                <a:gd name="T29" fmla="*/ 1807 h 1867"/>
                <a:gd name="T30" fmla="*/ 33 w 1624"/>
                <a:gd name="T31" fmla="*/ 1602 h 1867"/>
                <a:gd name="T32" fmla="*/ 2 w 1624"/>
                <a:gd name="T33" fmla="*/ 1508 h 1867"/>
                <a:gd name="T34" fmla="*/ 45 w 1624"/>
                <a:gd name="T35" fmla="*/ 1421 h 1867"/>
                <a:gd name="T36" fmla="*/ 346 w 1624"/>
                <a:gd name="T37" fmla="*/ 1158 h 1867"/>
                <a:gd name="T38" fmla="*/ 448 w 1624"/>
                <a:gd name="T39" fmla="*/ 1145 h 1867"/>
                <a:gd name="T40" fmla="*/ 573 w 1624"/>
                <a:gd name="T41" fmla="*/ 1257 h 18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24" h="1867">
                  <a:moveTo>
                    <a:pt x="573" y="1257"/>
                  </a:moveTo>
                  <a:cubicBezTo>
                    <a:pt x="592" y="1282"/>
                    <a:pt x="630" y="1303"/>
                    <a:pt x="662" y="1288"/>
                  </a:cubicBezTo>
                  <a:cubicBezTo>
                    <a:pt x="753" y="1245"/>
                    <a:pt x="854" y="1156"/>
                    <a:pt x="938" y="1051"/>
                  </a:cubicBezTo>
                  <a:cubicBezTo>
                    <a:pt x="1020" y="948"/>
                    <a:pt x="1084" y="831"/>
                    <a:pt x="1106" y="731"/>
                  </a:cubicBezTo>
                  <a:cubicBezTo>
                    <a:pt x="1113" y="696"/>
                    <a:pt x="1089" y="661"/>
                    <a:pt x="1059" y="645"/>
                  </a:cubicBezTo>
                  <a:cubicBezTo>
                    <a:pt x="1001" y="613"/>
                    <a:pt x="1001" y="613"/>
                    <a:pt x="1001" y="613"/>
                  </a:cubicBezTo>
                  <a:cubicBezTo>
                    <a:pt x="942" y="580"/>
                    <a:pt x="888" y="499"/>
                    <a:pt x="924" y="432"/>
                  </a:cubicBezTo>
                  <a:cubicBezTo>
                    <a:pt x="1114" y="81"/>
                    <a:pt x="1114" y="81"/>
                    <a:pt x="1114" y="81"/>
                  </a:cubicBezTo>
                  <a:cubicBezTo>
                    <a:pt x="1150" y="16"/>
                    <a:pt x="1224" y="0"/>
                    <a:pt x="1287" y="35"/>
                  </a:cubicBezTo>
                  <a:cubicBezTo>
                    <a:pt x="1350" y="69"/>
                    <a:pt x="1350" y="69"/>
                    <a:pt x="1350" y="69"/>
                  </a:cubicBezTo>
                  <a:cubicBezTo>
                    <a:pt x="1415" y="105"/>
                    <a:pt x="1479" y="165"/>
                    <a:pt x="1527" y="235"/>
                  </a:cubicBezTo>
                  <a:cubicBezTo>
                    <a:pt x="1593" y="332"/>
                    <a:pt x="1624" y="442"/>
                    <a:pt x="1583" y="555"/>
                  </a:cubicBezTo>
                  <a:cubicBezTo>
                    <a:pt x="1500" y="781"/>
                    <a:pt x="1351" y="1030"/>
                    <a:pt x="1172" y="1253"/>
                  </a:cubicBezTo>
                  <a:cubicBezTo>
                    <a:pt x="994" y="1477"/>
                    <a:pt x="786" y="1676"/>
                    <a:pt x="586" y="1803"/>
                  </a:cubicBezTo>
                  <a:cubicBezTo>
                    <a:pt x="486" y="1867"/>
                    <a:pt x="375" y="1856"/>
                    <a:pt x="269" y="1807"/>
                  </a:cubicBezTo>
                  <a:cubicBezTo>
                    <a:pt x="157" y="1755"/>
                    <a:pt x="106" y="1695"/>
                    <a:pt x="33" y="1602"/>
                  </a:cubicBezTo>
                  <a:cubicBezTo>
                    <a:pt x="11" y="1573"/>
                    <a:pt x="0" y="1540"/>
                    <a:pt x="2" y="1508"/>
                  </a:cubicBezTo>
                  <a:cubicBezTo>
                    <a:pt x="4" y="1475"/>
                    <a:pt x="18" y="1444"/>
                    <a:pt x="45" y="1421"/>
                  </a:cubicBezTo>
                  <a:cubicBezTo>
                    <a:pt x="70" y="1399"/>
                    <a:pt x="346" y="1158"/>
                    <a:pt x="346" y="1158"/>
                  </a:cubicBezTo>
                  <a:cubicBezTo>
                    <a:pt x="376" y="1134"/>
                    <a:pt x="413" y="1133"/>
                    <a:pt x="448" y="1145"/>
                  </a:cubicBezTo>
                  <a:cubicBezTo>
                    <a:pt x="510" y="1166"/>
                    <a:pt x="536" y="1210"/>
                    <a:pt x="573" y="1257"/>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351"/>
            </a:p>
          </p:txBody>
        </p:sp>
      </p:grpSp>
      <p:grpSp>
        <p:nvGrpSpPr>
          <p:cNvPr id="17" name="Group 3">
            <a:extLst>
              <a:ext uri="{FF2B5EF4-FFF2-40B4-BE49-F238E27FC236}">
                <a16:creationId xmlns:a16="http://schemas.microsoft.com/office/drawing/2014/main" id="{7104BADD-8CD1-6F4A-B894-869C3BDB3EEB}"/>
              </a:ext>
            </a:extLst>
          </p:cNvPr>
          <p:cNvGrpSpPr>
            <a:grpSpLocks noChangeAspect="1"/>
          </p:cNvGrpSpPr>
          <p:nvPr>
            <p:custDataLst>
              <p:tags r:id="rId2"/>
            </p:custDataLst>
          </p:nvPr>
        </p:nvGrpSpPr>
        <p:grpSpPr>
          <a:xfrm>
            <a:off x="8701918" y="3153207"/>
            <a:ext cx="171180" cy="171180"/>
            <a:chOff x="328396" y="5313940"/>
            <a:chExt cx="720000" cy="720000"/>
          </a:xfrm>
        </p:grpSpPr>
        <p:sp>
          <p:nvSpPr>
            <p:cNvPr id="18" name="Rectangle 4">
              <a:extLst>
                <a:ext uri="{FF2B5EF4-FFF2-40B4-BE49-F238E27FC236}">
                  <a16:creationId xmlns:a16="http://schemas.microsoft.com/office/drawing/2014/main" id="{74BE3D5F-1445-6E40-8B49-72E15568383B}"/>
                </a:ext>
              </a:extLst>
            </p:cNvPr>
            <p:cNvSpPr/>
            <p:nvPr/>
          </p:nvSpPr>
          <p:spPr bwMode="gray">
            <a:xfrm>
              <a:off x="328396" y="5313940"/>
              <a:ext cx="720000" cy="720000"/>
            </a:xfrm>
            <a:prstGeom prst="rect">
              <a:avLst/>
            </a:prstGeom>
            <a:solidFill>
              <a:srgbClr val="E55A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pPr>
              <a:endParaRPr lang="en-US" sz="1000">
                <a:solidFill>
                  <a:schemeClr val="tx1"/>
                </a:solidFill>
                <a:latin typeface="Arial" pitchFamily="34" charset="0"/>
                <a:cs typeface="Arial" pitchFamily="34" charset="0"/>
              </a:endParaRPr>
            </a:p>
          </p:txBody>
        </p:sp>
        <p:sp>
          <p:nvSpPr>
            <p:cNvPr id="19" name="Freeform 76">
              <a:extLst>
                <a:ext uri="{FF2B5EF4-FFF2-40B4-BE49-F238E27FC236}">
                  <a16:creationId xmlns:a16="http://schemas.microsoft.com/office/drawing/2014/main" id="{55DB3C95-7D0C-D141-901E-96D692794D2B}"/>
                </a:ext>
              </a:extLst>
            </p:cNvPr>
            <p:cNvSpPr>
              <a:spLocks noChangeAspect="1" noEditPoints="1"/>
            </p:cNvSpPr>
            <p:nvPr/>
          </p:nvSpPr>
          <p:spPr bwMode="auto">
            <a:xfrm>
              <a:off x="456202" y="5509222"/>
              <a:ext cx="504000" cy="329436"/>
            </a:xfrm>
            <a:custGeom>
              <a:avLst/>
              <a:gdLst>
                <a:gd name="T0" fmla="*/ 0 w 2080"/>
                <a:gd name="T1" fmla="*/ 65 h 1360"/>
                <a:gd name="T2" fmla="*/ 0 w 2080"/>
                <a:gd name="T3" fmla="*/ 0 h 1360"/>
                <a:gd name="T4" fmla="*/ 2080 w 2080"/>
                <a:gd name="T5" fmla="*/ 0 h 1360"/>
                <a:gd name="T6" fmla="*/ 2080 w 2080"/>
                <a:gd name="T7" fmla="*/ 65 h 1360"/>
                <a:gd name="T8" fmla="*/ 1089 w 2080"/>
                <a:gd name="T9" fmla="*/ 862 h 1360"/>
                <a:gd name="T10" fmla="*/ 991 w 2080"/>
                <a:gd name="T11" fmla="*/ 862 h 1360"/>
                <a:gd name="T12" fmla="*/ 0 w 2080"/>
                <a:gd name="T13" fmla="*/ 65 h 1360"/>
                <a:gd name="T14" fmla="*/ 1139 w 2080"/>
                <a:gd name="T15" fmla="*/ 924 h 1360"/>
                <a:gd name="T16" fmla="*/ 1282 w 2080"/>
                <a:gd name="T17" fmla="*/ 810 h 1360"/>
                <a:gd name="T18" fmla="*/ 2076 w 2080"/>
                <a:gd name="T19" fmla="*/ 1360 h 1360"/>
                <a:gd name="T20" fmla="*/ 4 w 2080"/>
                <a:gd name="T21" fmla="*/ 1360 h 1360"/>
                <a:gd name="T22" fmla="*/ 798 w 2080"/>
                <a:gd name="T23" fmla="*/ 810 h 1360"/>
                <a:gd name="T24" fmla="*/ 941 w 2080"/>
                <a:gd name="T25" fmla="*/ 924 h 1360"/>
                <a:gd name="T26" fmla="*/ 1139 w 2080"/>
                <a:gd name="T27" fmla="*/ 924 h 1360"/>
                <a:gd name="T28" fmla="*/ 2 w 2080"/>
                <a:gd name="T29" fmla="*/ 137 h 1360"/>
                <a:gd name="T30" fmla="*/ 42 w 2080"/>
                <a:gd name="T31" fmla="*/ 201 h 1360"/>
                <a:gd name="T32" fmla="*/ 734 w 2080"/>
                <a:gd name="T33" fmla="*/ 758 h 1360"/>
                <a:gd name="T34" fmla="*/ 0 w 2080"/>
                <a:gd name="T35" fmla="*/ 1266 h 1360"/>
                <a:gd name="T36" fmla="*/ 0 w 2080"/>
                <a:gd name="T37" fmla="*/ 135 h 1360"/>
                <a:gd name="T38" fmla="*/ 2 w 2080"/>
                <a:gd name="T39" fmla="*/ 137 h 1360"/>
                <a:gd name="T40" fmla="*/ 2080 w 2080"/>
                <a:gd name="T41" fmla="*/ 136 h 1360"/>
                <a:gd name="T42" fmla="*/ 2080 w 2080"/>
                <a:gd name="T43" fmla="*/ 1265 h 1360"/>
                <a:gd name="T44" fmla="*/ 1346 w 2080"/>
                <a:gd name="T45" fmla="*/ 758 h 1360"/>
                <a:gd name="T46" fmla="*/ 2038 w 2080"/>
                <a:gd name="T47" fmla="*/ 201 h 1360"/>
                <a:gd name="T48" fmla="*/ 2080 w 2080"/>
                <a:gd name="T49" fmla="*/ 136 h 1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080" h="1360">
                  <a:moveTo>
                    <a:pt x="0" y="65"/>
                  </a:moveTo>
                  <a:cubicBezTo>
                    <a:pt x="0" y="0"/>
                    <a:pt x="0" y="0"/>
                    <a:pt x="0" y="0"/>
                  </a:cubicBezTo>
                  <a:cubicBezTo>
                    <a:pt x="2080" y="0"/>
                    <a:pt x="2080" y="0"/>
                    <a:pt x="2080" y="0"/>
                  </a:cubicBezTo>
                  <a:cubicBezTo>
                    <a:pt x="2080" y="65"/>
                    <a:pt x="2080" y="65"/>
                    <a:pt x="2080" y="65"/>
                  </a:cubicBezTo>
                  <a:cubicBezTo>
                    <a:pt x="1089" y="862"/>
                    <a:pt x="1089" y="862"/>
                    <a:pt x="1089" y="862"/>
                  </a:cubicBezTo>
                  <a:cubicBezTo>
                    <a:pt x="1060" y="886"/>
                    <a:pt x="1020" y="886"/>
                    <a:pt x="991" y="862"/>
                  </a:cubicBezTo>
                  <a:lnTo>
                    <a:pt x="0" y="65"/>
                  </a:lnTo>
                  <a:close/>
                  <a:moveTo>
                    <a:pt x="1139" y="924"/>
                  </a:moveTo>
                  <a:cubicBezTo>
                    <a:pt x="1282" y="810"/>
                    <a:pt x="1282" y="810"/>
                    <a:pt x="1282" y="810"/>
                  </a:cubicBezTo>
                  <a:cubicBezTo>
                    <a:pt x="2076" y="1360"/>
                    <a:pt x="2076" y="1360"/>
                    <a:pt x="2076" y="1360"/>
                  </a:cubicBezTo>
                  <a:cubicBezTo>
                    <a:pt x="4" y="1360"/>
                    <a:pt x="4" y="1360"/>
                    <a:pt x="4" y="1360"/>
                  </a:cubicBezTo>
                  <a:cubicBezTo>
                    <a:pt x="798" y="810"/>
                    <a:pt x="798" y="810"/>
                    <a:pt x="798" y="810"/>
                  </a:cubicBezTo>
                  <a:cubicBezTo>
                    <a:pt x="941" y="924"/>
                    <a:pt x="941" y="924"/>
                    <a:pt x="941" y="924"/>
                  </a:cubicBezTo>
                  <a:cubicBezTo>
                    <a:pt x="1000" y="972"/>
                    <a:pt x="1080" y="972"/>
                    <a:pt x="1139" y="924"/>
                  </a:cubicBezTo>
                  <a:close/>
                  <a:moveTo>
                    <a:pt x="2" y="137"/>
                  </a:moveTo>
                  <a:cubicBezTo>
                    <a:pt x="8" y="163"/>
                    <a:pt x="22" y="185"/>
                    <a:pt x="42" y="201"/>
                  </a:cubicBezTo>
                  <a:cubicBezTo>
                    <a:pt x="734" y="758"/>
                    <a:pt x="734" y="758"/>
                    <a:pt x="734" y="758"/>
                  </a:cubicBezTo>
                  <a:cubicBezTo>
                    <a:pt x="0" y="1266"/>
                    <a:pt x="0" y="1266"/>
                    <a:pt x="0" y="1266"/>
                  </a:cubicBezTo>
                  <a:cubicBezTo>
                    <a:pt x="0" y="135"/>
                    <a:pt x="0" y="135"/>
                    <a:pt x="0" y="135"/>
                  </a:cubicBezTo>
                  <a:lnTo>
                    <a:pt x="2" y="137"/>
                  </a:lnTo>
                  <a:close/>
                  <a:moveTo>
                    <a:pt x="2080" y="136"/>
                  </a:moveTo>
                  <a:cubicBezTo>
                    <a:pt x="2080" y="1265"/>
                    <a:pt x="2080" y="1265"/>
                    <a:pt x="2080" y="1265"/>
                  </a:cubicBezTo>
                  <a:cubicBezTo>
                    <a:pt x="1346" y="758"/>
                    <a:pt x="1346" y="758"/>
                    <a:pt x="1346" y="758"/>
                  </a:cubicBezTo>
                  <a:cubicBezTo>
                    <a:pt x="2038" y="201"/>
                    <a:pt x="2038" y="201"/>
                    <a:pt x="2038" y="201"/>
                  </a:cubicBezTo>
                  <a:cubicBezTo>
                    <a:pt x="2060" y="182"/>
                    <a:pt x="2072" y="162"/>
                    <a:pt x="2080" y="13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000"/>
            </a:p>
          </p:txBody>
        </p:sp>
      </p:grpSp>
      <p:cxnSp>
        <p:nvCxnSpPr>
          <p:cNvPr id="20" name="Straight Connector 19"/>
          <p:cNvCxnSpPr/>
          <p:nvPr/>
        </p:nvCxnSpPr>
        <p:spPr>
          <a:xfrm>
            <a:off x="2371725" y="3478213"/>
            <a:ext cx="3888000" cy="0"/>
          </a:xfrm>
          <a:prstGeom prst="line">
            <a:avLst/>
          </a:prstGeom>
          <a:ln w="6350">
            <a:solidFill>
              <a:schemeClr val="tx2"/>
            </a:solidFill>
            <a:prstDash val="dash"/>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p:nvCxnSpPr>
        <p:spPr>
          <a:xfrm>
            <a:off x="7287766" y="3478213"/>
            <a:ext cx="3888000" cy="0"/>
          </a:xfrm>
          <a:prstGeom prst="line">
            <a:avLst/>
          </a:prstGeom>
          <a:ln w="6350">
            <a:solidFill>
              <a:schemeClr val="tx2"/>
            </a:solidFill>
            <a:prstDash val="dash"/>
          </a:ln>
        </p:spPr>
        <p:style>
          <a:lnRef idx="1">
            <a:schemeClr val="accent1"/>
          </a:lnRef>
          <a:fillRef idx="0">
            <a:schemeClr val="accent1"/>
          </a:fillRef>
          <a:effectRef idx="0">
            <a:schemeClr val="accent1"/>
          </a:effectRef>
          <a:fontRef idx="minor">
            <a:schemeClr val="tx1"/>
          </a:fontRef>
        </p:style>
      </p:cxnSp>
      <p:sp>
        <p:nvSpPr>
          <p:cNvPr id="4" name="Picture Placeholder 3"/>
          <p:cNvSpPr>
            <a:spLocks noGrp="1"/>
          </p:cNvSpPr>
          <p:nvPr>
            <p:ph type="pic" sz="quarter" idx="17" hasCustomPrompt="1"/>
          </p:nvPr>
        </p:nvSpPr>
        <p:spPr>
          <a:xfrm>
            <a:off x="2355914" y="1808984"/>
            <a:ext cx="1188677" cy="1547840"/>
          </a:xfrm>
          <a:solidFill>
            <a:srgbClr val="D9DADB"/>
          </a:solidFill>
        </p:spPr>
        <p:txBody>
          <a:bodyPr/>
          <a:lstStyle>
            <a:lvl1pPr marL="0" indent="0">
              <a:buNone/>
              <a:defRPr sz="1400"/>
            </a:lvl1pPr>
          </a:lstStyle>
          <a:p>
            <a:r>
              <a:rPr lang="en-US"/>
              <a:t>Insert picture</a:t>
            </a:r>
          </a:p>
        </p:txBody>
      </p:sp>
      <p:sp>
        <p:nvSpPr>
          <p:cNvPr id="25" name="Picture Placeholder 3"/>
          <p:cNvSpPr>
            <a:spLocks noGrp="1"/>
          </p:cNvSpPr>
          <p:nvPr>
            <p:ph type="pic" sz="quarter" idx="18" hasCustomPrompt="1"/>
          </p:nvPr>
        </p:nvSpPr>
        <p:spPr>
          <a:xfrm>
            <a:off x="7287766" y="1808984"/>
            <a:ext cx="1188677" cy="1547840"/>
          </a:xfrm>
          <a:solidFill>
            <a:srgbClr val="D9DADB"/>
          </a:solidFill>
        </p:spPr>
        <p:txBody>
          <a:bodyPr/>
          <a:lstStyle>
            <a:lvl1pPr marL="0" indent="0">
              <a:buNone/>
              <a:defRPr sz="1400"/>
            </a:lvl1pPr>
          </a:lstStyle>
          <a:p>
            <a:r>
              <a:rPr lang="en-US"/>
              <a:t>Insert picture</a:t>
            </a:r>
          </a:p>
        </p:txBody>
      </p:sp>
      <p:sp>
        <p:nvSpPr>
          <p:cNvPr id="6" name="Text Placeholder 5"/>
          <p:cNvSpPr>
            <a:spLocks noGrp="1"/>
          </p:cNvSpPr>
          <p:nvPr>
            <p:ph type="body" sz="quarter" idx="19" hasCustomPrompt="1"/>
          </p:nvPr>
        </p:nvSpPr>
        <p:spPr>
          <a:xfrm>
            <a:off x="3770065" y="1808521"/>
            <a:ext cx="2463190" cy="192360"/>
          </a:xfrm>
        </p:spPr>
        <p:txBody>
          <a:bodyPr lIns="0" tIns="0" rIns="0" bIns="0" anchor="ctr" anchorCtr="0"/>
          <a:lstStyle>
            <a:lvl1pPr marL="0" indent="0" algn="l">
              <a:lnSpc>
                <a:spcPct val="100000"/>
              </a:lnSpc>
              <a:buNone/>
              <a:defRPr sz="100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Country</a:t>
            </a:r>
          </a:p>
        </p:txBody>
      </p:sp>
      <p:sp>
        <p:nvSpPr>
          <p:cNvPr id="26" name="Text Placeholder 5"/>
          <p:cNvSpPr>
            <a:spLocks noGrp="1"/>
          </p:cNvSpPr>
          <p:nvPr>
            <p:ph type="body" sz="quarter" idx="20" hasCustomPrompt="1"/>
          </p:nvPr>
        </p:nvSpPr>
        <p:spPr>
          <a:xfrm>
            <a:off x="3770065" y="2020337"/>
            <a:ext cx="2463190" cy="266182"/>
          </a:xfrm>
        </p:spPr>
        <p:txBody>
          <a:bodyPr lIns="0" tIns="0" rIns="0" bIns="0" anchor="b" anchorCtr="0"/>
          <a:lstStyle>
            <a:lvl1pPr marL="0" indent="0" algn="l">
              <a:lnSpc>
                <a:spcPct val="100000"/>
              </a:lnSpc>
              <a:buNone/>
              <a:defRPr sz="1400" b="1" baseline="0">
                <a:solidFill>
                  <a:schemeClr val="tx2"/>
                </a:solidFill>
              </a:defRPr>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Name, Surname</a:t>
            </a:r>
          </a:p>
        </p:txBody>
      </p:sp>
      <p:sp>
        <p:nvSpPr>
          <p:cNvPr id="27" name="Text Placeholder 5"/>
          <p:cNvSpPr>
            <a:spLocks noGrp="1"/>
          </p:cNvSpPr>
          <p:nvPr>
            <p:ph type="body" sz="quarter" idx="21" hasCustomPrompt="1"/>
          </p:nvPr>
        </p:nvSpPr>
        <p:spPr>
          <a:xfrm>
            <a:off x="3770065" y="2316912"/>
            <a:ext cx="2463190"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Job Position</a:t>
            </a:r>
          </a:p>
        </p:txBody>
      </p:sp>
      <p:sp>
        <p:nvSpPr>
          <p:cNvPr id="28" name="Text Placeholder 5"/>
          <p:cNvSpPr>
            <a:spLocks noGrp="1"/>
          </p:cNvSpPr>
          <p:nvPr>
            <p:ph type="body" sz="quarter" idx="22" hasCustomPrompt="1"/>
          </p:nvPr>
        </p:nvSpPr>
        <p:spPr>
          <a:xfrm>
            <a:off x="4014948" y="2845588"/>
            <a:ext cx="2218307"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Phone number</a:t>
            </a:r>
          </a:p>
        </p:txBody>
      </p:sp>
      <p:sp>
        <p:nvSpPr>
          <p:cNvPr id="29" name="Text Placeholder 5"/>
          <p:cNvSpPr>
            <a:spLocks noGrp="1"/>
          </p:cNvSpPr>
          <p:nvPr>
            <p:ph type="body" sz="quarter" idx="23" hasCustomPrompt="1"/>
          </p:nvPr>
        </p:nvSpPr>
        <p:spPr>
          <a:xfrm>
            <a:off x="4014948" y="3128395"/>
            <a:ext cx="2218307"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Email address</a:t>
            </a:r>
          </a:p>
        </p:txBody>
      </p:sp>
      <p:sp>
        <p:nvSpPr>
          <p:cNvPr id="30" name="Text Placeholder 5"/>
          <p:cNvSpPr>
            <a:spLocks noGrp="1"/>
          </p:cNvSpPr>
          <p:nvPr>
            <p:ph type="body" sz="quarter" idx="24" hasCustomPrompt="1"/>
          </p:nvPr>
        </p:nvSpPr>
        <p:spPr>
          <a:xfrm>
            <a:off x="8701917" y="1808521"/>
            <a:ext cx="2463190" cy="192360"/>
          </a:xfrm>
        </p:spPr>
        <p:txBody>
          <a:bodyPr lIns="0" tIns="0" rIns="0" bIns="0" anchor="ctr" anchorCtr="0"/>
          <a:lstStyle>
            <a:lvl1pPr marL="0" indent="0" algn="l">
              <a:lnSpc>
                <a:spcPct val="100000"/>
              </a:lnSpc>
              <a:buNone/>
              <a:defRPr sz="100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Country</a:t>
            </a:r>
          </a:p>
        </p:txBody>
      </p:sp>
      <p:sp>
        <p:nvSpPr>
          <p:cNvPr id="31" name="Text Placeholder 5"/>
          <p:cNvSpPr>
            <a:spLocks noGrp="1"/>
          </p:cNvSpPr>
          <p:nvPr>
            <p:ph type="body" sz="quarter" idx="25" hasCustomPrompt="1"/>
          </p:nvPr>
        </p:nvSpPr>
        <p:spPr>
          <a:xfrm>
            <a:off x="8701917" y="2020337"/>
            <a:ext cx="2463190" cy="266182"/>
          </a:xfrm>
        </p:spPr>
        <p:txBody>
          <a:bodyPr lIns="0" tIns="0" rIns="0" bIns="0" anchor="b" anchorCtr="0"/>
          <a:lstStyle>
            <a:lvl1pPr marL="0" indent="0" algn="l">
              <a:lnSpc>
                <a:spcPct val="100000"/>
              </a:lnSpc>
              <a:buNone/>
              <a:defRPr sz="1400" b="1" baseline="0">
                <a:solidFill>
                  <a:schemeClr val="tx2"/>
                </a:solidFill>
              </a:defRPr>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Name, Surname</a:t>
            </a:r>
          </a:p>
        </p:txBody>
      </p:sp>
      <p:sp>
        <p:nvSpPr>
          <p:cNvPr id="32" name="Text Placeholder 5"/>
          <p:cNvSpPr>
            <a:spLocks noGrp="1"/>
          </p:cNvSpPr>
          <p:nvPr>
            <p:ph type="body" sz="quarter" idx="26" hasCustomPrompt="1"/>
          </p:nvPr>
        </p:nvSpPr>
        <p:spPr>
          <a:xfrm>
            <a:off x="8701917" y="2316912"/>
            <a:ext cx="2463190"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Job Position</a:t>
            </a:r>
          </a:p>
        </p:txBody>
      </p:sp>
      <p:sp>
        <p:nvSpPr>
          <p:cNvPr id="33" name="Text Placeholder 5"/>
          <p:cNvSpPr>
            <a:spLocks noGrp="1"/>
          </p:cNvSpPr>
          <p:nvPr>
            <p:ph type="body" sz="quarter" idx="27" hasCustomPrompt="1"/>
          </p:nvPr>
        </p:nvSpPr>
        <p:spPr>
          <a:xfrm>
            <a:off x="8946800" y="2845588"/>
            <a:ext cx="2218307"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Phone number</a:t>
            </a:r>
          </a:p>
        </p:txBody>
      </p:sp>
      <p:sp>
        <p:nvSpPr>
          <p:cNvPr id="34" name="Text Placeholder 5"/>
          <p:cNvSpPr>
            <a:spLocks noGrp="1"/>
          </p:cNvSpPr>
          <p:nvPr>
            <p:ph type="body" sz="quarter" idx="28" hasCustomPrompt="1"/>
          </p:nvPr>
        </p:nvSpPr>
        <p:spPr>
          <a:xfrm>
            <a:off x="8946800" y="3128395"/>
            <a:ext cx="2218307"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Email address</a:t>
            </a:r>
          </a:p>
        </p:txBody>
      </p:sp>
      <p:grpSp>
        <p:nvGrpSpPr>
          <p:cNvPr id="35" name="Gruppieren 2">
            <a:extLst>
              <a:ext uri="{FF2B5EF4-FFF2-40B4-BE49-F238E27FC236}">
                <a16:creationId xmlns:a16="http://schemas.microsoft.com/office/drawing/2014/main" id="{BE697CE9-EBDE-6B4A-BE70-582D92A8A831}"/>
              </a:ext>
            </a:extLst>
          </p:cNvPr>
          <p:cNvGrpSpPr/>
          <p:nvPr/>
        </p:nvGrpSpPr>
        <p:grpSpPr>
          <a:xfrm>
            <a:off x="3770065" y="5045939"/>
            <a:ext cx="171180" cy="171180"/>
            <a:chOff x="3392092" y="1841122"/>
            <a:chExt cx="646508" cy="646508"/>
          </a:xfrm>
        </p:grpSpPr>
        <p:sp>
          <p:nvSpPr>
            <p:cNvPr id="36" name="Rechteck 14">
              <a:extLst>
                <a:ext uri="{FF2B5EF4-FFF2-40B4-BE49-F238E27FC236}">
                  <a16:creationId xmlns:a16="http://schemas.microsoft.com/office/drawing/2014/main" id="{E142A731-19B7-C34D-9534-9E05108F895F}"/>
                </a:ext>
              </a:extLst>
            </p:cNvPr>
            <p:cNvSpPr>
              <a:spLocks noChangeAspect="1"/>
            </p:cNvSpPr>
            <p:nvPr/>
          </p:nvSpPr>
          <p:spPr bwMode="gray">
            <a:xfrm>
              <a:off x="3392092" y="1841122"/>
              <a:ext cx="646508" cy="646508"/>
            </a:xfrm>
            <a:prstGeom prst="rect">
              <a:avLst/>
            </a:prstGeom>
            <a:solidFill>
              <a:srgbClr val="E55A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pPr>
              <a:endParaRPr lang="en-US" sz="1000">
                <a:solidFill>
                  <a:schemeClr val="tx1"/>
                </a:solidFill>
                <a:latin typeface="Arial" pitchFamily="34" charset="0"/>
                <a:cs typeface="Arial" pitchFamily="34" charset="0"/>
              </a:endParaRPr>
            </a:p>
          </p:txBody>
        </p:sp>
        <p:sp>
          <p:nvSpPr>
            <p:cNvPr id="37" name="Freeform 36">
              <a:extLst>
                <a:ext uri="{FF2B5EF4-FFF2-40B4-BE49-F238E27FC236}">
                  <a16:creationId xmlns:a16="http://schemas.microsoft.com/office/drawing/2014/main" id="{F97E84AE-4AD9-4B44-9AA1-F797FC373809}"/>
                </a:ext>
              </a:extLst>
            </p:cNvPr>
            <p:cNvSpPr>
              <a:spLocks noChangeAspect="1"/>
            </p:cNvSpPr>
            <p:nvPr/>
          </p:nvSpPr>
          <p:spPr bwMode="auto">
            <a:xfrm>
              <a:off x="3546638" y="1970424"/>
              <a:ext cx="337415" cy="387905"/>
            </a:xfrm>
            <a:custGeom>
              <a:avLst/>
              <a:gdLst>
                <a:gd name="T0" fmla="*/ 573 w 1624"/>
                <a:gd name="T1" fmla="*/ 1257 h 1867"/>
                <a:gd name="T2" fmla="*/ 662 w 1624"/>
                <a:gd name="T3" fmla="*/ 1288 h 1867"/>
                <a:gd name="T4" fmla="*/ 938 w 1624"/>
                <a:gd name="T5" fmla="*/ 1051 h 1867"/>
                <a:gd name="T6" fmla="*/ 1106 w 1624"/>
                <a:gd name="T7" fmla="*/ 731 h 1867"/>
                <a:gd name="T8" fmla="*/ 1059 w 1624"/>
                <a:gd name="T9" fmla="*/ 645 h 1867"/>
                <a:gd name="T10" fmla="*/ 1001 w 1624"/>
                <a:gd name="T11" fmla="*/ 613 h 1867"/>
                <a:gd name="T12" fmla="*/ 924 w 1624"/>
                <a:gd name="T13" fmla="*/ 432 h 1867"/>
                <a:gd name="T14" fmla="*/ 1114 w 1624"/>
                <a:gd name="T15" fmla="*/ 81 h 1867"/>
                <a:gd name="T16" fmla="*/ 1287 w 1624"/>
                <a:gd name="T17" fmla="*/ 35 h 1867"/>
                <a:gd name="T18" fmla="*/ 1350 w 1624"/>
                <a:gd name="T19" fmla="*/ 69 h 1867"/>
                <a:gd name="T20" fmla="*/ 1527 w 1624"/>
                <a:gd name="T21" fmla="*/ 235 h 1867"/>
                <a:gd name="T22" fmla="*/ 1583 w 1624"/>
                <a:gd name="T23" fmla="*/ 555 h 1867"/>
                <a:gd name="T24" fmla="*/ 1172 w 1624"/>
                <a:gd name="T25" fmla="*/ 1253 h 1867"/>
                <a:gd name="T26" fmla="*/ 586 w 1624"/>
                <a:gd name="T27" fmla="*/ 1803 h 1867"/>
                <a:gd name="T28" fmla="*/ 269 w 1624"/>
                <a:gd name="T29" fmla="*/ 1807 h 1867"/>
                <a:gd name="T30" fmla="*/ 33 w 1624"/>
                <a:gd name="T31" fmla="*/ 1602 h 1867"/>
                <a:gd name="T32" fmla="*/ 2 w 1624"/>
                <a:gd name="T33" fmla="*/ 1508 h 1867"/>
                <a:gd name="T34" fmla="*/ 45 w 1624"/>
                <a:gd name="T35" fmla="*/ 1421 h 1867"/>
                <a:gd name="T36" fmla="*/ 346 w 1624"/>
                <a:gd name="T37" fmla="*/ 1158 h 1867"/>
                <a:gd name="T38" fmla="*/ 448 w 1624"/>
                <a:gd name="T39" fmla="*/ 1145 h 1867"/>
                <a:gd name="T40" fmla="*/ 573 w 1624"/>
                <a:gd name="T41" fmla="*/ 1257 h 18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24" h="1867">
                  <a:moveTo>
                    <a:pt x="573" y="1257"/>
                  </a:moveTo>
                  <a:cubicBezTo>
                    <a:pt x="592" y="1282"/>
                    <a:pt x="630" y="1303"/>
                    <a:pt x="662" y="1288"/>
                  </a:cubicBezTo>
                  <a:cubicBezTo>
                    <a:pt x="753" y="1245"/>
                    <a:pt x="854" y="1156"/>
                    <a:pt x="938" y="1051"/>
                  </a:cubicBezTo>
                  <a:cubicBezTo>
                    <a:pt x="1020" y="948"/>
                    <a:pt x="1084" y="831"/>
                    <a:pt x="1106" y="731"/>
                  </a:cubicBezTo>
                  <a:cubicBezTo>
                    <a:pt x="1113" y="696"/>
                    <a:pt x="1089" y="661"/>
                    <a:pt x="1059" y="645"/>
                  </a:cubicBezTo>
                  <a:cubicBezTo>
                    <a:pt x="1001" y="613"/>
                    <a:pt x="1001" y="613"/>
                    <a:pt x="1001" y="613"/>
                  </a:cubicBezTo>
                  <a:cubicBezTo>
                    <a:pt x="942" y="580"/>
                    <a:pt x="888" y="499"/>
                    <a:pt x="924" y="432"/>
                  </a:cubicBezTo>
                  <a:cubicBezTo>
                    <a:pt x="1114" y="81"/>
                    <a:pt x="1114" y="81"/>
                    <a:pt x="1114" y="81"/>
                  </a:cubicBezTo>
                  <a:cubicBezTo>
                    <a:pt x="1150" y="16"/>
                    <a:pt x="1224" y="0"/>
                    <a:pt x="1287" y="35"/>
                  </a:cubicBezTo>
                  <a:cubicBezTo>
                    <a:pt x="1350" y="69"/>
                    <a:pt x="1350" y="69"/>
                    <a:pt x="1350" y="69"/>
                  </a:cubicBezTo>
                  <a:cubicBezTo>
                    <a:pt x="1415" y="105"/>
                    <a:pt x="1479" y="165"/>
                    <a:pt x="1527" y="235"/>
                  </a:cubicBezTo>
                  <a:cubicBezTo>
                    <a:pt x="1593" y="332"/>
                    <a:pt x="1624" y="442"/>
                    <a:pt x="1583" y="555"/>
                  </a:cubicBezTo>
                  <a:cubicBezTo>
                    <a:pt x="1500" y="781"/>
                    <a:pt x="1351" y="1030"/>
                    <a:pt x="1172" y="1253"/>
                  </a:cubicBezTo>
                  <a:cubicBezTo>
                    <a:pt x="994" y="1477"/>
                    <a:pt x="786" y="1676"/>
                    <a:pt x="586" y="1803"/>
                  </a:cubicBezTo>
                  <a:cubicBezTo>
                    <a:pt x="486" y="1867"/>
                    <a:pt x="375" y="1856"/>
                    <a:pt x="269" y="1807"/>
                  </a:cubicBezTo>
                  <a:cubicBezTo>
                    <a:pt x="157" y="1755"/>
                    <a:pt x="106" y="1695"/>
                    <a:pt x="33" y="1602"/>
                  </a:cubicBezTo>
                  <a:cubicBezTo>
                    <a:pt x="11" y="1573"/>
                    <a:pt x="0" y="1540"/>
                    <a:pt x="2" y="1508"/>
                  </a:cubicBezTo>
                  <a:cubicBezTo>
                    <a:pt x="4" y="1475"/>
                    <a:pt x="18" y="1444"/>
                    <a:pt x="45" y="1421"/>
                  </a:cubicBezTo>
                  <a:cubicBezTo>
                    <a:pt x="70" y="1399"/>
                    <a:pt x="346" y="1158"/>
                    <a:pt x="346" y="1158"/>
                  </a:cubicBezTo>
                  <a:cubicBezTo>
                    <a:pt x="376" y="1134"/>
                    <a:pt x="413" y="1133"/>
                    <a:pt x="448" y="1145"/>
                  </a:cubicBezTo>
                  <a:cubicBezTo>
                    <a:pt x="510" y="1166"/>
                    <a:pt x="536" y="1210"/>
                    <a:pt x="573" y="1257"/>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351"/>
            </a:p>
          </p:txBody>
        </p:sp>
      </p:grpSp>
      <p:grpSp>
        <p:nvGrpSpPr>
          <p:cNvPr id="38" name="Group 3">
            <a:extLst>
              <a:ext uri="{FF2B5EF4-FFF2-40B4-BE49-F238E27FC236}">
                <a16:creationId xmlns:a16="http://schemas.microsoft.com/office/drawing/2014/main" id="{7104BADD-8CD1-6F4A-B894-869C3BDB3EEB}"/>
              </a:ext>
            </a:extLst>
          </p:cNvPr>
          <p:cNvGrpSpPr>
            <a:grpSpLocks noChangeAspect="1"/>
          </p:cNvGrpSpPr>
          <p:nvPr>
            <p:custDataLst>
              <p:tags r:id="rId3"/>
            </p:custDataLst>
          </p:nvPr>
        </p:nvGrpSpPr>
        <p:grpSpPr>
          <a:xfrm>
            <a:off x="3770066" y="5330827"/>
            <a:ext cx="171180" cy="171180"/>
            <a:chOff x="328396" y="5313940"/>
            <a:chExt cx="720000" cy="720000"/>
          </a:xfrm>
        </p:grpSpPr>
        <p:sp>
          <p:nvSpPr>
            <p:cNvPr id="39" name="Rectangle 4">
              <a:extLst>
                <a:ext uri="{FF2B5EF4-FFF2-40B4-BE49-F238E27FC236}">
                  <a16:creationId xmlns:a16="http://schemas.microsoft.com/office/drawing/2014/main" id="{74BE3D5F-1445-6E40-8B49-72E15568383B}"/>
                </a:ext>
              </a:extLst>
            </p:cNvPr>
            <p:cNvSpPr/>
            <p:nvPr/>
          </p:nvSpPr>
          <p:spPr bwMode="gray">
            <a:xfrm>
              <a:off x="328396" y="5313940"/>
              <a:ext cx="720000" cy="720000"/>
            </a:xfrm>
            <a:prstGeom prst="rect">
              <a:avLst/>
            </a:prstGeom>
            <a:solidFill>
              <a:srgbClr val="E55A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pPr>
              <a:endParaRPr lang="en-US" sz="1000">
                <a:solidFill>
                  <a:schemeClr val="tx1"/>
                </a:solidFill>
                <a:latin typeface="Arial" pitchFamily="34" charset="0"/>
                <a:cs typeface="Arial" pitchFamily="34" charset="0"/>
              </a:endParaRPr>
            </a:p>
          </p:txBody>
        </p:sp>
        <p:sp>
          <p:nvSpPr>
            <p:cNvPr id="40" name="Freeform 76">
              <a:extLst>
                <a:ext uri="{FF2B5EF4-FFF2-40B4-BE49-F238E27FC236}">
                  <a16:creationId xmlns:a16="http://schemas.microsoft.com/office/drawing/2014/main" id="{55DB3C95-7D0C-D141-901E-96D692794D2B}"/>
                </a:ext>
              </a:extLst>
            </p:cNvPr>
            <p:cNvSpPr>
              <a:spLocks noChangeAspect="1" noEditPoints="1"/>
            </p:cNvSpPr>
            <p:nvPr/>
          </p:nvSpPr>
          <p:spPr bwMode="auto">
            <a:xfrm>
              <a:off x="456202" y="5509222"/>
              <a:ext cx="504000" cy="329436"/>
            </a:xfrm>
            <a:custGeom>
              <a:avLst/>
              <a:gdLst>
                <a:gd name="T0" fmla="*/ 0 w 2080"/>
                <a:gd name="T1" fmla="*/ 65 h 1360"/>
                <a:gd name="T2" fmla="*/ 0 w 2080"/>
                <a:gd name="T3" fmla="*/ 0 h 1360"/>
                <a:gd name="T4" fmla="*/ 2080 w 2080"/>
                <a:gd name="T5" fmla="*/ 0 h 1360"/>
                <a:gd name="T6" fmla="*/ 2080 w 2080"/>
                <a:gd name="T7" fmla="*/ 65 h 1360"/>
                <a:gd name="T8" fmla="*/ 1089 w 2080"/>
                <a:gd name="T9" fmla="*/ 862 h 1360"/>
                <a:gd name="T10" fmla="*/ 991 w 2080"/>
                <a:gd name="T11" fmla="*/ 862 h 1360"/>
                <a:gd name="T12" fmla="*/ 0 w 2080"/>
                <a:gd name="T13" fmla="*/ 65 h 1360"/>
                <a:gd name="T14" fmla="*/ 1139 w 2080"/>
                <a:gd name="T15" fmla="*/ 924 h 1360"/>
                <a:gd name="T16" fmla="*/ 1282 w 2080"/>
                <a:gd name="T17" fmla="*/ 810 h 1360"/>
                <a:gd name="T18" fmla="*/ 2076 w 2080"/>
                <a:gd name="T19" fmla="*/ 1360 h 1360"/>
                <a:gd name="T20" fmla="*/ 4 w 2080"/>
                <a:gd name="T21" fmla="*/ 1360 h 1360"/>
                <a:gd name="T22" fmla="*/ 798 w 2080"/>
                <a:gd name="T23" fmla="*/ 810 h 1360"/>
                <a:gd name="T24" fmla="*/ 941 w 2080"/>
                <a:gd name="T25" fmla="*/ 924 h 1360"/>
                <a:gd name="T26" fmla="*/ 1139 w 2080"/>
                <a:gd name="T27" fmla="*/ 924 h 1360"/>
                <a:gd name="T28" fmla="*/ 2 w 2080"/>
                <a:gd name="T29" fmla="*/ 137 h 1360"/>
                <a:gd name="T30" fmla="*/ 42 w 2080"/>
                <a:gd name="T31" fmla="*/ 201 h 1360"/>
                <a:gd name="T32" fmla="*/ 734 w 2080"/>
                <a:gd name="T33" fmla="*/ 758 h 1360"/>
                <a:gd name="T34" fmla="*/ 0 w 2080"/>
                <a:gd name="T35" fmla="*/ 1266 h 1360"/>
                <a:gd name="T36" fmla="*/ 0 w 2080"/>
                <a:gd name="T37" fmla="*/ 135 h 1360"/>
                <a:gd name="T38" fmla="*/ 2 w 2080"/>
                <a:gd name="T39" fmla="*/ 137 h 1360"/>
                <a:gd name="T40" fmla="*/ 2080 w 2080"/>
                <a:gd name="T41" fmla="*/ 136 h 1360"/>
                <a:gd name="T42" fmla="*/ 2080 w 2080"/>
                <a:gd name="T43" fmla="*/ 1265 h 1360"/>
                <a:gd name="T44" fmla="*/ 1346 w 2080"/>
                <a:gd name="T45" fmla="*/ 758 h 1360"/>
                <a:gd name="T46" fmla="*/ 2038 w 2080"/>
                <a:gd name="T47" fmla="*/ 201 h 1360"/>
                <a:gd name="T48" fmla="*/ 2080 w 2080"/>
                <a:gd name="T49" fmla="*/ 136 h 1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080" h="1360">
                  <a:moveTo>
                    <a:pt x="0" y="65"/>
                  </a:moveTo>
                  <a:cubicBezTo>
                    <a:pt x="0" y="0"/>
                    <a:pt x="0" y="0"/>
                    <a:pt x="0" y="0"/>
                  </a:cubicBezTo>
                  <a:cubicBezTo>
                    <a:pt x="2080" y="0"/>
                    <a:pt x="2080" y="0"/>
                    <a:pt x="2080" y="0"/>
                  </a:cubicBezTo>
                  <a:cubicBezTo>
                    <a:pt x="2080" y="65"/>
                    <a:pt x="2080" y="65"/>
                    <a:pt x="2080" y="65"/>
                  </a:cubicBezTo>
                  <a:cubicBezTo>
                    <a:pt x="1089" y="862"/>
                    <a:pt x="1089" y="862"/>
                    <a:pt x="1089" y="862"/>
                  </a:cubicBezTo>
                  <a:cubicBezTo>
                    <a:pt x="1060" y="886"/>
                    <a:pt x="1020" y="886"/>
                    <a:pt x="991" y="862"/>
                  </a:cubicBezTo>
                  <a:lnTo>
                    <a:pt x="0" y="65"/>
                  </a:lnTo>
                  <a:close/>
                  <a:moveTo>
                    <a:pt x="1139" y="924"/>
                  </a:moveTo>
                  <a:cubicBezTo>
                    <a:pt x="1282" y="810"/>
                    <a:pt x="1282" y="810"/>
                    <a:pt x="1282" y="810"/>
                  </a:cubicBezTo>
                  <a:cubicBezTo>
                    <a:pt x="2076" y="1360"/>
                    <a:pt x="2076" y="1360"/>
                    <a:pt x="2076" y="1360"/>
                  </a:cubicBezTo>
                  <a:cubicBezTo>
                    <a:pt x="4" y="1360"/>
                    <a:pt x="4" y="1360"/>
                    <a:pt x="4" y="1360"/>
                  </a:cubicBezTo>
                  <a:cubicBezTo>
                    <a:pt x="798" y="810"/>
                    <a:pt x="798" y="810"/>
                    <a:pt x="798" y="810"/>
                  </a:cubicBezTo>
                  <a:cubicBezTo>
                    <a:pt x="941" y="924"/>
                    <a:pt x="941" y="924"/>
                    <a:pt x="941" y="924"/>
                  </a:cubicBezTo>
                  <a:cubicBezTo>
                    <a:pt x="1000" y="972"/>
                    <a:pt x="1080" y="972"/>
                    <a:pt x="1139" y="924"/>
                  </a:cubicBezTo>
                  <a:close/>
                  <a:moveTo>
                    <a:pt x="2" y="137"/>
                  </a:moveTo>
                  <a:cubicBezTo>
                    <a:pt x="8" y="163"/>
                    <a:pt x="22" y="185"/>
                    <a:pt x="42" y="201"/>
                  </a:cubicBezTo>
                  <a:cubicBezTo>
                    <a:pt x="734" y="758"/>
                    <a:pt x="734" y="758"/>
                    <a:pt x="734" y="758"/>
                  </a:cubicBezTo>
                  <a:cubicBezTo>
                    <a:pt x="0" y="1266"/>
                    <a:pt x="0" y="1266"/>
                    <a:pt x="0" y="1266"/>
                  </a:cubicBezTo>
                  <a:cubicBezTo>
                    <a:pt x="0" y="135"/>
                    <a:pt x="0" y="135"/>
                    <a:pt x="0" y="135"/>
                  </a:cubicBezTo>
                  <a:lnTo>
                    <a:pt x="2" y="137"/>
                  </a:lnTo>
                  <a:close/>
                  <a:moveTo>
                    <a:pt x="2080" y="136"/>
                  </a:moveTo>
                  <a:cubicBezTo>
                    <a:pt x="2080" y="1265"/>
                    <a:pt x="2080" y="1265"/>
                    <a:pt x="2080" y="1265"/>
                  </a:cubicBezTo>
                  <a:cubicBezTo>
                    <a:pt x="1346" y="758"/>
                    <a:pt x="1346" y="758"/>
                    <a:pt x="1346" y="758"/>
                  </a:cubicBezTo>
                  <a:cubicBezTo>
                    <a:pt x="2038" y="201"/>
                    <a:pt x="2038" y="201"/>
                    <a:pt x="2038" y="201"/>
                  </a:cubicBezTo>
                  <a:cubicBezTo>
                    <a:pt x="2060" y="182"/>
                    <a:pt x="2072" y="162"/>
                    <a:pt x="2080" y="13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000"/>
            </a:p>
          </p:txBody>
        </p:sp>
      </p:grpSp>
      <p:cxnSp>
        <p:nvCxnSpPr>
          <p:cNvPr id="41" name="Straight Connector 40"/>
          <p:cNvCxnSpPr/>
          <p:nvPr/>
        </p:nvCxnSpPr>
        <p:spPr>
          <a:xfrm>
            <a:off x="2355914" y="5655833"/>
            <a:ext cx="3888000" cy="0"/>
          </a:xfrm>
          <a:prstGeom prst="line">
            <a:avLst/>
          </a:prstGeom>
          <a:ln w="6350">
            <a:solidFill>
              <a:schemeClr val="tx2"/>
            </a:solidFill>
            <a:prstDash val="dash"/>
          </a:ln>
        </p:spPr>
        <p:style>
          <a:lnRef idx="1">
            <a:schemeClr val="accent1"/>
          </a:lnRef>
          <a:fillRef idx="0">
            <a:schemeClr val="accent1"/>
          </a:fillRef>
          <a:effectRef idx="0">
            <a:schemeClr val="accent1"/>
          </a:effectRef>
          <a:fontRef idx="minor">
            <a:schemeClr val="tx1"/>
          </a:fontRef>
        </p:style>
      </p:cxnSp>
      <p:sp>
        <p:nvSpPr>
          <p:cNvPr id="42" name="Picture Placeholder 3"/>
          <p:cNvSpPr>
            <a:spLocks noGrp="1"/>
          </p:cNvSpPr>
          <p:nvPr>
            <p:ph type="pic" sz="quarter" idx="29" hasCustomPrompt="1"/>
          </p:nvPr>
        </p:nvSpPr>
        <p:spPr>
          <a:xfrm>
            <a:off x="2355914" y="3986604"/>
            <a:ext cx="1188677" cy="1547840"/>
          </a:xfrm>
          <a:solidFill>
            <a:srgbClr val="D9DADB"/>
          </a:solidFill>
        </p:spPr>
        <p:txBody>
          <a:bodyPr/>
          <a:lstStyle>
            <a:lvl1pPr marL="0" indent="0">
              <a:buNone/>
              <a:defRPr sz="1400"/>
            </a:lvl1pPr>
          </a:lstStyle>
          <a:p>
            <a:r>
              <a:rPr lang="en-US"/>
              <a:t>Insert picture</a:t>
            </a:r>
          </a:p>
        </p:txBody>
      </p:sp>
      <p:sp>
        <p:nvSpPr>
          <p:cNvPr id="43" name="Text Placeholder 5"/>
          <p:cNvSpPr>
            <a:spLocks noGrp="1"/>
          </p:cNvSpPr>
          <p:nvPr>
            <p:ph type="body" sz="quarter" idx="30" hasCustomPrompt="1"/>
          </p:nvPr>
        </p:nvSpPr>
        <p:spPr>
          <a:xfrm>
            <a:off x="3770065" y="3986141"/>
            <a:ext cx="2463190" cy="192360"/>
          </a:xfrm>
        </p:spPr>
        <p:txBody>
          <a:bodyPr lIns="0" tIns="0" rIns="0" bIns="0" anchor="ctr" anchorCtr="0"/>
          <a:lstStyle>
            <a:lvl1pPr marL="0" indent="0" algn="l">
              <a:lnSpc>
                <a:spcPct val="100000"/>
              </a:lnSpc>
              <a:buNone/>
              <a:defRPr sz="100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Country</a:t>
            </a:r>
          </a:p>
        </p:txBody>
      </p:sp>
      <p:sp>
        <p:nvSpPr>
          <p:cNvPr id="44" name="Text Placeholder 5"/>
          <p:cNvSpPr>
            <a:spLocks noGrp="1"/>
          </p:cNvSpPr>
          <p:nvPr>
            <p:ph type="body" sz="quarter" idx="31" hasCustomPrompt="1"/>
          </p:nvPr>
        </p:nvSpPr>
        <p:spPr>
          <a:xfrm>
            <a:off x="3770065" y="4197957"/>
            <a:ext cx="2463190" cy="266182"/>
          </a:xfrm>
        </p:spPr>
        <p:txBody>
          <a:bodyPr lIns="0" tIns="0" rIns="0" bIns="0" anchor="b" anchorCtr="0"/>
          <a:lstStyle>
            <a:lvl1pPr marL="0" indent="0" algn="l">
              <a:lnSpc>
                <a:spcPct val="100000"/>
              </a:lnSpc>
              <a:buNone/>
              <a:defRPr sz="1400" b="1" baseline="0">
                <a:solidFill>
                  <a:schemeClr val="tx2"/>
                </a:solidFill>
              </a:defRPr>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Name, Surname</a:t>
            </a:r>
          </a:p>
        </p:txBody>
      </p:sp>
      <p:sp>
        <p:nvSpPr>
          <p:cNvPr id="45" name="Text Placeholder 5"/>
          <p:cNvSpPr>
            <a:spLocks noGrp="1"/>
          </p:cNvSpPr>
          <p:nvPr>
            <p:ph type="body" sz="quarter" idx="32" hasCustomPrompt="1"/>
          </p:nvPr>
        </p:nvSpPr>
        <p:spPr>
          <a:xfrm>
            <a:off x="3770065" y="4494532"/>
            <a:ext cx="2463190"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Job Position</a:t>
            </a:r>
          </a:p>
        </p:txBody>
      </p:sp>
      <p:sp>
        <p:nvSpPr>
          <p:cNvPr id="46" name="Text Placeholder 5"/>
          <p:cNvSpPr>
            <a:spLocks noGrp="1"/>
          </p:cNvSpPr>
          <p:nvPr>
            <p:ph type="body" sz="quarter" idx="33" hasCustomPrompt="1"/>
          </p:nvPr>
        </p:nvSpPr>
        <p:spPr>
          <a:xfrm>
            <a:off x="4014948" y="5023208"/>
            <a:ext cx="2218307"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Phone number</a:t>
            </a:r>
          </a:p>
        </p:txBody>
      </p:sp>
      <p:sp>
        <p:nvSpPr>
          <p:cNvPr id="47" name="Text Placeholder 5"/>
          <p:cNvSpPr>
            <a:spLocks noGrp="1"/>
          </p:cNvSpPr>
          <p:nvPr>
            <p:ph type="body" sz="quarter" idx="34" hasCustomPrompt="1"/>
          </p:nvPr>
        </p:nvSpPr>
        <p:spPr>
          <a:xfrm>
            <a:off x="4014948" y="5306015"/>
            <a:ext cx="2218307"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Email address</a:t>
            </a:r>
          </a:p>
        </p:txBody>
      </p:sp>
      <p:grpSp>
        <p:nvGrpSpPr>
          <p:cNvPr id="48" name="Gruppieren 2">
            <a:extLst>
              <a:ext uri="{FF2B5EF4-FFF2-40B4-BE49-F238E27FC236}">
                <a16:creationId xmlns:a16="http://schemas.microsoft.com/office/drawing/2014/main" id="{BE697CE9-EBDE-6B4A-BE70-582D92A8A831}"/>
              </a:ext>
            </a:extLst>
          </p:cNvPr>
          <p:cNvGrpSpPr/>
          <p:nvPr/>
        </p:nvGrpSpPr>
        <p:grpSpPr>
          <a:xfrm>
            <a:off x="8701917" y="5043528"/>
            <a:ext cx="171180" cy="171180"/>
            <a:chOff x="3392092" y="1841122"/>
            <a:chExt cx="646508" cy="646508"/>
          </a:xfrm>
        </p:grpSpPr>
        <p:sp>
          <p:nvSpPr>
            <p:cNvPr id="49" name="Rechteck 14">
              <a:extLst>
                <a:ext uri="{FF2B5EF4-FFF2-40B4-BE49-F238E27FC236}">
                  <a16:creationId xmlns:a16="http://schemas.microsoft.com/office/drawing/2014/main" id="{E142A731-19B7-C34D-9534-9E05108F895F}"/>
                </a:ext>
              </a:extLst>
            </p:cNvPr>
            <p:cNvSpPr>
              <a:spLocks noChangeAspect="1"/>
            </p:cNvSpPr>
            <p:nvPr/>
          </p:nvSpPr>
          <p:spPr bwMode="gray">
            <a:xfrm>
              <a:off x="3392092" y="1841122"/>
              <a:ext cx="646508" cy="646508"/>
            </a:xfrm>
            <a:prstGeom prst="rect">
              <a:avLst/>
            </a:prstGeom>
            <a:solidFill>
              <a:srgbClr val="E55A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pPr>
              <a:endParaRPr lang="en-US" sz="1000">
                <a:solidFill>
                  <a:schemeClr val="tx1"/>
                </a:solidFill>
                <a:latin typeface="Arial" pitchFamily="34" charset="0"/>
                <a:cs typeface="Arial" pitchFamily="34" charset="0"/>
              </a:endParaRPr>
            </a:p>
          </p:txBody>
        </p:sp>
        <p:sp>
          <p:nvSpPr>
            <p:cNvPr id="50" name="Freeform 49">
              <a:extLst>
                <a:ext uri="{FF2B5EF4-FFF2-40B4-BE49-F238E27FC236}">
                  <a16:creationId xmlns:a16="http://schemas.microsoft.com/office/drawing/2014/main" id="{F97E84AE-4AD9-4B44-9AA1-F797FC373809}"/>
                </a:ext>
              </a:extLst>
            </p:cNvPr>
            <p:cNvSpPr>
              <a:spLocks noChangeAspect="1"/>
            </p:cNvSpPr>
            <p:nvPr/>
          </p:nvSpPr>
          <p:spPr bwMode="auto">
            <a:xfrm>
              <a:off x="3546638" y="1970424"/>
              <a:ext cx="337415" cy="387905"/>
            </a:xfrm>
            <a:custGeom>
              <a:avLst/>
              <a:gdLst>
                <a:gd name="T0" fmla="*/ 573 w 1624"/>
                <a:gd name="T1" fmla="*/ 1257 h 1867"/>
                <a:gd name="T2" fmla="*/ 662 w 1624"/>
                <a:gd name="T3" fmla="*/ 1288 h 1867"/>
                <a:gd name="T4" fmla="*/ 938 w 1624"/>
                <a:gd name="T5" fmla="*/ 1051 h 1867"/>
                <a:gd name="T6" fmla="*/ 1106 w 1624"/>
                <a:gd name="T7" fmla="*/ 731 h 1867"/>
                <a:gd name="T8" fmla="*/ 1059 w 1624"/>
                <a:gd name="T9" fmla="*/ 645 h 1867"/>
                <a:gd name="T10" fmla="*/ 1001 w 1624"/>
                <a:gd name="T11" fmla="*/ 613 h 1867"/>
                <a:gd name="T12" fmla="*/ 924 w 1624"/>
                <a:gd name="T13" fmla="*/ 432 h 1867"/>
                <a:gd name="T14" fmla="*/ 1114 w 1624"/>
                <a:gd name="T15" fmla="*/ 81 h 1867"/>
                <a:gd name="T16" fmla="*/ 1287 w 1624"/>
                <a:gd name="T17" fmla="*/ 35 h 1867"/>
                <a:gd name="T18" fmla="*/ 1350 w 1624"/>
                <a:gd name="T19" fmla="*/ 69 h 1867"/>
                <a:gd name="T20" fmla="*/ 1527 w 1624"/>
                <a:gd name="T21" fmla="*/ 235 h 1867"/>
                <a:gd name="T22" fmla="*/ 1583 w 1624"/>
                <a:gd name="T23" fmla="*/ 555 h 1867"/>
                <a:gd name="T24" fmla="*/ 1172 w 1624"/>
                <a:gd name="T25" fmla="*/ 1253 h 1867"/>
                <a:gd name="T26" fmla="*/ 586 w 1624"/>
                <a:gd name="T27" fmla="*/ 1803 h 1867"/>
                <a:gd name="T28" fmla="*/ 269 w 1624"/>
                <a:gd name="T29" fmla="*/ 1807 h 1867"/>
                <a:gd name="T30" fmla="*/ 33 w 1624"/>
                <a:gd name="T31" fmla="*/ 1602 h 1867"/>
                <a:gd name="T32" fmla="*/ 2 w 1624"/>
                <a:gd name="T33" fmla="*/ 1508 h 1867"/>
                <a:gd name="T34" fmla="*/ 45 w 1624"/>
                <a:gd name="T35" fmla="*/ 1421 h 1867"/>
                <a:gd name="T36" fmla="*/ 346 w 1624"/>
                <a:gd name="T37" fmla="*/ 1158 h 1867"/>
                <a:gd name="T38" fmla="*/ 448 w 1624"/>
                <a:gd name="T39" fmla="*/ 1145 h 1867"/>
                <a:gd name="T40" fmla="*/ 573 w 1624"/>
                <a:gd name="T41" fmla="*/ 1257 h 18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24" h="1867">
                  <a:moveTo>
                    <a:pt x="573" y="1257"/>
                  </a:moveTo>
                  <a:cubicBezTo>
                    <a:pt x="592" y="1282"/>
                    <a:pt x="630" y="1303"/>
                    <a:pt x="662" y="1288"/>
                  </a:cubicBezTo>
                  <a:cubicBezTo>
                    <a:pt x="753" y="1245"/>
                    <a:pt x="854" y="1156"/>
                    <a:pt x="938" y="1051"/>
                  </a:cubicBezTo>
                  <a:cubicBezTo>
                    <a:pt x="1020" y="948"/>
                    <a:pt x="1084" y="831"/>
                    <a:pt x="1106" y="731"/>
                  </a:cubicBezTo>
                  <a:cubicBezTo>
                    <a:pt x="1113" y="696"/>
                    <a:pt x="1089" y="661"/>
                    <a:pt x="1059" y="645"/>
                  </a:cubicBezTo>
                  <a:cubicBezTo>
                    <a:pt x="1001" y="613"/>
                    <a:pt x="1001" y="613"/>
                    <a:pt x="1001" y="613"/>
                  </a:cubicBezTo>
                  <a:cubicBezTo>
                    <a:pt x="942" y="580"/>
                    <a:pt x="888" y="499"/>
                    <a:pt x="924" y="432"/>
                  </a:cubicBezTo>
                  <a:cubicBezTo>
                    <a:pt x="1114" y="81"/>
                    <a:pt x="1114" y="81"/>
                    <a:pt x="1114" y="81"/>
                  </a:cubicBezTo>
                  <a:cubicBezTo>
                    <a:pt x="1150" y="16"/>
                    <a:pt x="1224" y="0"/>
                    <a:pt x="1287" y="35"/>
                  </a:cubicBezTo>
                  <a:cubicBezTo>
                    <a:pt x="1350" y="69"/>
                    <a:pt x="1350" y="69"/>
                    <a:pt x="1350" y="69"/>
                  </a:cubicBezTo>
                  <a:cubicBezTo>
                    <a:pt x="1415" y="105"/>
                    <a:pt x="1479" y="165"/>
                    <a:pt x="1527" y="235"/>
                  </a:cubicBezTo>
                  <a:cubicBezTo>
                    <a:pt x="1593" y="332"/>
                    <a:pt x="1624" y="442"/>
                    <a:pt x="1583" y="555"/>
                  </a:cubicBezTo>
                  <a:cubicBezTo>
                    <a:pt x="1500" y="781"/>
                    <a:pt x="1351" y="1030"/>
                    <a:pt x="1172" y="1253"/>
                  </a:cubicBezTo>
                  <a:cubicBezTo>
                    <a:pt x="994" y="1477"/>
                    <a:pt x="786" y="1676"/>
                    <a:pt x="586" y="1803"/>
                  </a:cubicBezTo>
                  <a:cubicBezTo>
                    <a:pt x="486" y="1867"/>
                    <a:pt x="375" y="1856"/>
                    <a:pt x="269" y="1807"/>
                  </a:cubicBezTo>
                  <a:cubicBezTo>
                    <a:pt x="157" y="1755"/>
                    <a:pt x="106" y="1695"/>
                    <a:pt x="33" y="1602"/>
                  </a:cubicBezTo>
                  <a:cubicBezTo>
                    <a:pt x="11" y="1573"/>
                    <a:pt x="0" y="1540"/>
                    <a:pt x="2" y="1508"/>
                  </a:cubicBezTo>
                  <a:cubicBezTo>
                    <a:pt x="4" y="1475"/>
                    <a:pt x="18" y="1444"/>
                    <a:pt x="45" y="1421"/>
                  </a:cubicBezTo>
                  <a:cubicBezTo>
                    <a:pt x="70" y="1399"/>
                    <a:pt x="346" y="1158"/>
                    <a:pt x="346" y="1158"/>
                  </a:cubicBezTo>
                  <a:cubicBezTo>
                    <a:pt x="376" y="1134"/>
                    <a:pt x="413" y="1133"/>
                    <a:pt x="448" y="1145"/>
                  </a:cubicBezTo>
                  <a:cubicBezTo>
                    <a:pt x="510" y="1166"/>
                    <a:pt x="536" y="1210"/>
                    <a:pt x="573" y="1257"/>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351"/>
            </a:p>
          </p:txBody>
        </p:sp>
      </p:grpSp>
      <p:grpSp>
        <p:nvGrpSpPr>
          <p:cNvPr id="51" name="Group 3">
            <a:extLst>
              <a:ext uri="{FF2B5EF4-FFF2-40B4-BE49-F238E27FC236}">
                <a16:creationId xmlns:a16="http://schemas.microsoft.com/office/drawing/2014/main" id="{7104BADD-8CD1-6F4A-B894-869C3BDB3EEB}"/>
              </a:ext>
            </a:extLst>
          </p:cNvPr>
          <p:cNvGrpSpPr>
            <a:grpSpLocks noChangeAspect="1"/>
          </p:cNvGrpSpPr>
          <p:nvPr>
            <p:custDataLst>
              <p:tags r:id="rId4"/>
            </p:custDataLst>
          </p:nvPr>
        </p:nvGrpSpPr>
        <p:grpSpPr>
          <a:xfrm>
            <a:off x="8701918" y="5328416"/>
            <a:ext cx="171180" cy="171180"/>
            <a:chOff x="328396" y="5313940"/>
            <a:chExt cx="720000" cy="720000"/>
          </a:xfrm>
        </p:grpSpPr>
        <p:sp>
          <p:nvSpPr>
            <p:cNvPr id="52" name="Rectangle 4">
              <a:extLst>
                <a:ext uri="{FF2B5EF4-FFF2-40B4-BE49-F238E27FC236}">
                  <a16:creationId xmlns:a16="http://schemas.microsoft.com/office/drawing/2014/main" id="{74BE3D5F-1445-6E40-8B49-72E15568383B}"/>
                </a:ext>
              </a:extLst>
            </p:cNvPr>
            <p:cNvSpPr/>
            <p:nvPr/>
          </p:nvSpPr>
          <p:spPr bwMode="gray">
            <a:xfrm>
              <a:off x="328396" y="5313940"/>
              <a:ext cx="720000" cy="720000"/>
            </a:xfrm>
            <a:prstGeom prst="rect">
              <a:avLst/>
            </a:prstGeom>
            <a:solidFill>
              <a:srgbClr val="E55A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pPr>
              <a:endParaRPr lang="en-US" sz="1000">
                <a:solidFill>
                  <a:schemeClr val="tx1"/>
                </a:solidFill>
                <a:latin typeface="Arial" pitchFamily="34" charset="0"/>
                <a:cs typeface="Arial" pitchFamily="34" charset="0"/>
              </a:endParaRPr>
            </a:p>
          </p:txBody>
        </p:sp>
        <p:sp>
          <p:nvSpPr>
            <p:cNvPr id="53" name="Freeform 76">
              <a:extLst>
                <a:ext uri="{FF2B5EF4-FFF2-40B4-BE49-F238E27FC236}">
                  <a16:creationId xmlns:a16="http://schemas.microsoft.com/office/drawing/2014/main" id="{55DB3C95-7D0C-D141-901E-96D692794D2B}"/>
                </a:ext>
              </a:extLst>
            </p:cNvPr>
            <p:cNvSpPr>
              <a:spLocks noChangeAspect="1" noEditPoints="1"/>
            </p:cNvSpPr>
            <p:nvPr/>
          </p:nvSpPr>
          <p:spPr bwMode="auto">
            <a:xfrm>
              <a:off x="456202" y="5509222"/>
              <a:ext cx="504000" cy="329436"/>
            </a:xfrm>
            <a:custGeom>
              <a:avLst/>
              <a:gdLst>
                <a:gd name="T0" fmla="*/ 0 w 2080"/>
                <a:gd name="T1" fmla="*/ 65 h 1360"/>
                <a:gd name="T2" fmla="*/ 0 w 2080"/>
                <a:gd name="T3" fmla="*/ 0 h 1360"/>
                <a:gd name="T4" fmla="*/ 2080 w 2080"/>
                <a:gd name="T5" fmla="*/ 0 h 1360"/>
                <a:gd name="T6" fmla="*/ 2080 w 2080"/>
                <a:gd name="T7" fmla="*/ 65 h 1360"/>
                <a:gd name="T8" fmla="*/ 1089 w 2080"/>
                <a:gd name="T9" fmla="*/ 862 h 1360"/>
                <a:gd name="T10" fmla="*/ 991 w 2080"/>
                <a:gd name="T11" fmla="*/ 862 h 1360"/>
                <a:gd name="T12" fmla="*/ 0 w 2080"/>
                <a:gd name="T13" fmla="*/ 65 h 1360"/>
                <a:gd name="T14" fmla="*/ 1139 w 2080"/>
                <a:gd name="T15" fmla="*/ 924 h 1360"/>
                <a:gd name="T16" fmla="*/ 1282 w 2080"/>
                <a:gd name="T17" fmla="*/ 810 h 1360"/>
                <a:gd name="T18" fmla="*/ 2076 w 2080"/>
                <a:gd name="T19" fmla="*/ 1360 h 1360"/>
                <a:gd name="T20" fmla="*/ 4 w 2080"/>
                <a:gd name="T21" fmla="*/ 1360 h 1360"/>
                <a:gd name="T22" fmla="*/ 798 w 2080"/>
                <a:gd name="T23" fmla="*/ 810 h 1360"/>
                <a:gd name="T24" fmla="*/ 941 w 2080"/>
                <a:gd name="T25" fmla="*/ 924 h 1360"/>
                <a:gd name="T26" fmla="*/ 1139 w 2080"/>
                <a:gd name="T27" fmla="*/ 924 h 1360"/>
                <a:gd name="T28" fmla="*/ 2 w 2080"/>
                <a:gd name="T29" fmla="*/ 137 h 1360"/>
                <a:gd name="T30" fmla="*/ 42 w 2080"/>
                <a:gd name="T31" fmla="*/ 201 h 1360"/>
                <a:gd name="T32" fmla="*/ 734 w 2080"/>
                <a:gd name="T33" fmla="*/ 758 h 1360"/>
                <a:gd name="T34" fmla="*/ 0 w 2080"/>
                <a:gd name="T35" fmla="*/ 1266 h 1360"/>
                <a:gd name="T36" fmla="*/ 0 w 2080"/>
                <a:gd name="T37" fmla="*/ 135 h 1360"/>
                <a:gd name="T38" fmla="*/ 2 w 2080"/>
                <a:gd name="T39" fmla="*/ 137 h 1360"/>
                <a:gd name="T40" fmla="*/ 2080 w 2080"/>
                <a:gd name="T41" fmla="*/ 136 h 1360"/>
                <a:gd name="T42" fmla="*/ 2080 w 2080"/>
                <a:gd name="T43" fmla="*/ 1265 h 1360"/>
                <a:gd name="T44" fmla="*/ 1346 w 2080"/>
                <a:gd name="T45" fmla="*/ 758 h 1360"/>
                <a:gd name="T46" fmla="*/ 2038 w 2080"/>
                <a:gd name="T47" fmla="*/ 201 h 1360"/>
                <a:gd name="T48" fmla="*/ 2080 w 2080"/>
                <a:gd name="T49" fmla="*/ 136 h 1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080" h="1360">
                  <a:moveTo>
                    <a:pt x="0" y="65"/>
                  </a:moveTo>
                  <a:cubicBezTo>
                    <a:pt x="0" y="0"/>
                    <a:pt x="0" y="0"/>
                    <a:pt x="0" y="0"/>
                  </a:cubicBezTo>
                  <a:cubicBezTo>
                    <a:pt x="2080" y="0"/>
                    <a:pt x="2080" y="0"/>
                    <a:pt x="2080" y="0"/>
                  </a:cubicBezTo>
                  <a:cubicBezTo>
                    <a:pt x="2080" y="65"/>
                    <a:pt x="2080" y="65"/>
                    <a:pt x="2080" y="65"/>
                  </a:cubicBezTo>
                  <a:cubicBezTo>
                    <a:pt x="1089" y="862"/>
                    <a:pt x="1089" y="862"/>
                    <a:pt x="1089" y="862"/>
                  </a:cubicBezTo>
                  <a:cubicBezTo>
                    <a:pt x="1060" y="886"/>
                    <a:pt x="1020" y="886"/>
                    <a:pt x="991" y="862"/>
                  </a:cubicBezTo>
                  <a:lnTo>
                    <a:pt x="0" y="65"/>
                  </a:lnTo>
                  <a:close/>
                  <a:moveTo>
                    <a:pt x="1139" y="924"/>
                  </a:moveTo>
                  <a:cubicBezTo>
                    <a:pt x="1282" y="810"/>
                    <a:pt x="1282" y="810"/>
                    <a:pt x="1282" y="810"/>
                  </a:cubicBezTo>
                  <a:cubicBezTo>
                    <a:pt x="2076" y="1360"/>
                    <a:pt x="2076" y="1360"/>
                    <a:pt x="2076" y="1360"/>
                  </a:cubicBezTo>
                  <a:cubicBezTo>
                    <a:pt x="4" y="1360"/>
                    <a:pt x="4" y="1360"/>
                    <a:pt x="4" y="1360"/>
                  </a:cubicBezTo>
                  <a:cubicBezTo>
                    <a:pt x="798" y="810"/>
                    <a:pt x="798" y="810"/>
                    <a:pt x="798" y="810"/>
                  </a:cubicBezTo>
                  <a:cubicBezTo>
                    <a:pt x="941" y="924"/>
                    <a:pt x="941" y="924"/>
                    <a:pt x="941" y="924"/>
                  </a:cubicBezTo>
                  <a:cubicBezTo>
                    <a:pt x="1000" y="972"/>
                    <a:pt x="1080" y="972"/>
                    <a:pt x="1139" y="924"/>
                  </a:cubicBezTo>
                  <a:close/>
                  <a:moveTo>
                    <a:pt x="2" y="137"/>
                  </a:moveTo>
                  <a:cubicBezTo>
                    <a:pt x="8" y="163"/>
                    <a:pt x="22" y="185"/>
                    <a:pt x="42" y="201"/>
                  </a:cubicBezTo>
                  <a:cubicBezTo>
                    <a:pt x="734" y="758"/>
                    <a:pt x="734" y="758"/>
                    <a:pt x="734" y="758"/>
                  </a:cubicBezTo>
                  <a:cubicBezTo>
                    <a:pt x="0" y="1266"/>
                    <a:pt x="0" y="1266"/>
                    <a:pt x="0" y="1266"/>
                  </a:cubicBezTo>
                  <a:cubicBezTo>
                    <a:pt x="0" y="135"/>
                    <a:pt x="0" y="135"/>
                    <a:pt x="0" y="135"/>
                  </a:cubicBezTo>
                  <a:lnTo>
                    <a:pt x="2" y="137"/>
                  </a:lnTo>
                  <a:close/>
                  <a:moveTo>
                    <a:pt x="2080" y="136"/>
                  </a:moveTo>
                  <a:cubicBezTo>
                    <a:pt x="2080" y="1265"/>
                    <a:pt x="2080" y="1265"/>
                    <a:pt x="2080" y="1265"/>
                  </a:cubicBezTo>
                  <a:cubicBezTo>
                    <a:pt x="1346" y="758"/>
                    <a:pt x="1346" y="758"/>
                    <a:pt x="1346" y="758"/>
                  </a:cubicBezTo>
                  <a:cubicBezTo>
                    <a:pt x="2038" y="201"/>
                    <a:pt x="2038" y="201"/>
                    <a:pt x="2038" y="201"/>
                  </a:cubicBezTo>
                  <a:cubicBezTo>
                    <a:pt x="2060" y="182"/>
                    <a:pt x="2072" y="162"/>
                    <a:pt x="2080" y="13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000"/>
            </a:p>
          </p:txBody>
        </p:sp>
      </p:grpSp>
      <p:cxnSp>
        <p:nvCxnSpPr>
          <p:cNvPr id="54" name="Straight Connector 53"/>
          <p:cNvCxnSpPr/>
          <p:nvPr/>
        </p:nvCxnSpPr>
        <p:spPr>
          <a:xfrm>
            <a:off x="7287766" y="5653422"/>
            <a:ext cx="3888000" cy="0"/>
          </a:xfrm>
          <a:prstGeom prst="line">
            <a:avLst/>
          </a:prstGeom>
          <a:ln w="6350">
            <a:solidFill>
              <a:schemeClr val="tx2"/>
            </a:solidFill>
            <a:prstDash val="dash"/>
          </a:ln>
        </p:spPr>
        <p:style>
          <a:lnRef idx="1">
            <a:schemeClr val="accent1"/>
          </a:lnRef>
          <a:fillRef idx="0">
            <a:schemeClr val="accent1"/>
          </a:fillRef>
          <a:effectRef idx="0">
            <a:schemeClr val="accent1"/>
          </a:effectRef>
          <a:fontRef idx="minor">
            <a:schemeClr val="tx1"/>
          </a:fontRef>
        </p:style>
      </p:cxnSp>
      <p:sp>
        <p:nvSpPr>
          <p:cNvPr id="55" name="Picture Placeholder 3"/>
          <p:cNvSpPr>
            <a:spLocks noGrp="1"/>
          </p:cNvSpPr>
          <p:nvPr>
            <p:ph type="pic" sz="quarter" idx="35" hasCustomPrompt="1"/>
          </p:nvPr>
        </p:nvSpPr>
        <p:spPr>
          <a:xfrm>
            <a:off x="7287766" y="3984193"/>
            <a:ext cx="1188677" cy="1547840"/>
          </a:xfrm>
          <a:solidFill>
            <a:srgbClr val="D9DADB"/>
          </a:solidFill>
        </p:spPr>
        <p:txBody>
          <a:bodyPr/>
          <a:lstStyle>
            <a:lvl1pPr marL="0" indent="0">
              <a:buNone/>
              <a:defRPr sz="1400"/>
            </a:lvl1pPr>
          </a:lstStyle>
          <a:p>
            <a:r>
              <a:rPr lang="en-US"/>
              <a:t>Insert picture</a:t>
            </a:r>
          </a:p>
        </p:txBody>
      </p:sp>
      <p:sp>
        <p:nvSpPr>
          <p:cNvPr id="56" name="Text Placeholder 5"/>
          <p:cNvSpPr>
            <a:spLocks noGrp="1"/>
          </p:cNvSpPr>
          <p:nvPr>
            <p:ph type="body" sz="quarter" idx="36" hasCustomPrompt="1"/>
          </p:nvPr>
        </p:nvSpPr>
        <p:spPr>
          <a:xfrm>
            <a:off x="8701917" y="3983730"/>
            <a:ext cx="2463190" cy="192360"/>
          </a:xfrm>
        </p:spPr>
        <p:txBody>
          <a:bodyPr lIns="0" tIns="0" rIns="0" bIns="0" anchor="ctr" anchorCtr="0"/>
          <a:lstStyle>
            <a:lvl1pPr marL="0" indent="0" algn="l">
              <a:lnSpc>
                <a:spcPct val="100000"/>
              </a:lnSpc>
              <a:buNone/>
              <a:defRPr sz="100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Country</a:t>
            </a:r>
          </a:p>
        </p:txBody>
      </p:sp>
      <p:sp>
        <p:nvSpPr>
          <p:cNvPr id="57" name="Text Placeholder 5"/>
          <p:cNvSpPr>
            <a:spLocks noGrp="1"/>
          </p:cNvSpPr>
          <p:nvPr>
            <p:ph type="body" sz="quarter" idx="37" hasCustomPrompt="1"/>
          </p:nvPr>
        </p:nvSpPr>
        <p:spPr>
          <a:xfrm>
            <a:off x="8701917" y="4195546"/>
            <a:ext cx="2463190" cy="266182"/>
          </a:xfrm>
        </p:spPr>
        <p:txBody>
          <a:bodyPr lIns="0" tIns="0" rIns="0" bIns="0" anchor="b" anchorCtr="0"/>
          <a:lstStyle>
            <a:lvl1pPr marL="0" indent="0" algn="l">
              <a:lnSpc>
                <a:spcPct val="100000"/>
              </a:lnSpc>
              <a:buNone/>
              <a:defRPr sz="1400" b="1" baseline="0">
                <a:solidFill>
                  <a:schemeClr val="tx2"/>
                </a:solidFill>
              </a:defRPr>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Name, Surname</a:t>
            </a:r>
          </a:p>
        </p:txBody>
      </p:sp>
      <p:sp>
        <p:nvSpPr>
          <p:cNvPr id="58" name="Text Placeholder 5"/>
          <p:cNvSpPr>
            <a:spLocks noGrp="1"/>
          </p:cNvSpPr>
          <p:nvPr>
            <p:ph type="body" sz="quarter" idx="38" hasCustomPrompt="1"/>
          </p:nvPr>
        </p:nvSpPr>
        <p:spPr>
          <a:xfrm>
            <a:off x="8701917" y="4492121"/>
            <a:ext cx="2463190"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Job Position</a:t>
            </a:r>
          </a:p>
        </p:txBody>
      </p:sp>
      <p:sp>
        <p:nvSpPr>
          <p:cNvPr id="59" name="Text Placeholder 5"/>
          <p:cNvSpPr>
            <a:spLocks noGrp="1"/>
          </p:cNvSpPr>
          <p:nvPr>
            <p:ph type="body" sz="quarter" idx="39" hasCustomPrompt="1"/>
          </p:nvPr>
        </p:nvSpPr>
        <p:spPr>
          <a:xfrm>
            <a:off x="8946800" y="5020797"/>
            <a:ext cx="2218307"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Phone number</a:t>
            </a:r>
          </a:p>
        </p:txBody>
      </p:sp>
      <p:sp>
        <p:nvSpPr>
          <p:cNvPr id="60" name="Text Placeholder 5"/>
          <p:cNvSpPr>
            <a:spLocks noGrp="1"/>
          </p:cNvSpPr>
          <p:nvPr>
            <p:ph type="body" sz="quarter" idx="40" hasCustomPrompt="1"/>
          </p:nvPr>
        </p:nvSpPr>
        <p:spPr>
          <a:xfrm>
            <a:off x="8946800" y="5303604"/>
            <a:ext cx="2218307"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Email address</a:t>
            </a:r>
          </a:p>
        </p:txBody>
      </p:sp>
    </p:spTree>
    <p:extLst>
      <p:ext uri="{BB962C8B-B14F-4D97-AF65-F5344CB8AC3E}">
        <p14:creationId xmlns:p14="http://schemas.microsoft.com/office/powerpoint/2010/main" val="1440415158"/>
      </p:ext>
    </p:extLst>
  </p:cSld>
  <p:clrMapOvr>
    <a:masterClrMapping/>
  </p:clrMapOvr>
</p:sldLayout>
</file>

<file path=ppt/slideLayouts/slideLayout355.xml><?xml version="1.0" encoding="utf-8"?>
<p:sldLayout xmlns:a="http://schemas.openxmlformats.org/drawingml/2006/main" xmlns:r="http://schemas.openxmlformats.org/officeDocument/2006/relationships" xmlns:p="http://schemas.openxmlformats.org/presentationml/2006/main" showMasterSp="0" preserve="1">
  <p:cSld name="End slide">
    <p:spTree>
      <p:nvGrpSpPr>
        <p:cNvPr id="1" name=""/>
        <p:cNvGrpSpPr/>
        <p:nvPr/>
      </p:nvGrpSpPr>
      <p:grpSpPr>
        <a:xfrm>
          <a:off x="0" y="0"/>
          <a:ext cx="0" cy="0"/>
          <a:chOff x="0" y="0"/>
          <a:chExt cx="0" cy="0"/>
        </a:xfrm>
      </p:grpSpPr>
      <p:pic>
        <p:nvPicPr>
          <p:cNvPr id="30" name="picture">
            <a:extLst>
              <a:ext uri="{FF2B5EF4-FFF2-40B4-BE49-F238E27FC236}">
                <a16:creationId xmlns:a16="http://schemas.microsoft.com/office/drawing/2014/main" id="{8BF907F5-A9CD-2740-AF54-6BACB62334AE}"/>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2620212" y="-8808"/>
            <a:ext cx="9697299" cy="6866807"/>
          </a:xfrm>
          <a:prstGeom prst="rect">
            <a:avLst/>
          </a:prstGeom>
        </p:spPr>
      </p:pic>
      <p:sp>
        <p:nvSpPr>
          <p:cNvPr id="29" name="shpPicture"/>
          <p:cNvSpPr/>
          <p:nvPr/>
        </p:nvSpPr>
        <p:spPr>
          <a:xfrm>
            <a:off x="0" y="0"/>
            <a:ext cx="4347306" cy="6858000"/>
          </a:xfrm>
          <a:custGeom>
            <a:avLst/>
            <a:gdLst>
              <a:gd name="connsiteX0" fmla="*/ 0 w 4347306"/>
              <a:gd name="connsiteY0" fmla="*/ 0 h 6858000"/>
              <a:gd name="connsiteX1" fmla="*/ 3252806 w 4347306"/>
              <a:gd name="connsiteY1" fmla="*/ 0 h 6858000"/>
              <a:gd name="connsiteX2" fmla="*/ 4347306 w 4347306"/>
              <a:gd name="connsiteY2" fmla="*/ 4140909 h 6858000"/>
              <a:gd name="connsiteX3" fmla="*/ 2943442 w 4347306"/>
              <a:gd name="connsiteY3" fmla="*/ 6858000 h 6858000"/>
              <a:gd name="connsiteX4" fmla="*/ 0 w 4347306"/>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47306" h="6858000">
                <a:moveTo>
                  <a:pt x="0" y="0"/>
                </a:moveTo>
                <a:lnTo>
                  <a:pt x="3252806" y="0"/>
                </a:lnTo>
                <a:lnTo>
                  <a:pt x="4347306" y="4140909"/>
                </a:lnTo>
                <a:lnTo>
                  <a:pt x="2943442"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US" sz="1600"/>
          </a:p>
        </p:txBody>
      </p:sp>
      <p:grpSp>
        <p:nvGrpSpPr>
          <p:cNvPr id="14" name="logo">
            <a:extLst>
              <a:ext uri="{FF2B5EF4-FFF2-40B4-BE49-F238E27FC236}">
                <a16:creationId xmlns:a16="http://schemas.microsoft.com/office/drawing/2014/main" id="{18C26D95-70F8-8A4D-9F18-DCCB92522AF8}"/>
              </a:ext>
            </a:extLst>
          </p:cNvPr>
          <p:cNvGrpSpPr/>
          <p:nvPr/>
        </p:nvGrpSpPr>
        <p:grpSpPr bwMode="gray">
          <a:xfrm>
            <a:off x="417363" y="407485"/>
            <a:ext cx="1518585" cy="646507"/>
            <a:chOff x="334963" y="296652"/>
            <a:chExt cx="1268411" cy="540000"/>
          </a:xfrm>
        </p:grpSpPr>
        <p:sp>
          <p:nvSpPr>
            <p:cNvPr id="17" name="Freeform 6">
              <a:extLst>
                <a:ext uri="{FF2B5EF4-FFF2-40B4-BE49-F238E27FC236}">
                  <a16:creationId xmlns:a16="http://schemas.microsoft.com/office/drawing/2014/main" id="{08737AD0-E375-E445-97E6-CD2E2DF60620}"/>
                </a:ext>
              </a:extLst>
            </p:cNvPr>
            <p:cNvSpPr>
              <a:spLocks noEditPoints="1"/>
            </p:cNvSpPr>
            <p:nvPr/>
          </p:nvSpPr>
          <p:spPr bwMode="gray">
            <a:xfrm>
              <a:off x="982662" y="360462"/>
              <a:ext cx="620712" cy="431800"/>
            </a:xfrm>
            <a:custGeom>
              <a:avLst/>
              <a:gdLst>
                <a:gd name="T0" fmla="*/ 19 w 1809"/>
                <a:gd name="T1" fmla="*/ 97 h 1253"/>
                <a:gd name="T2" fmla="*/ 165 w 1809"/>
                <a:gd name="T3" fmla="*/ 41 h 1253"/>
                <a:gd name="T4" fmla="*/ 211 w 1809"/>
                <a:gd name="T5" fmla="*/ 224 h 1253"/>
                <a:gd name="T6" fmla="*/ 248 w 1809"/>
                <a:gd name="T7" fmla="*/ 155 h 1253"/>
                <a:gd name="T8" fmla="*/ 931 w 1809"/>
                <a:gd name="T9" fmla="*/ 995 h 1253"/>
                <a:gd name="T10" fmla="*/ 858 w 1809"/>
                <a:gd name="T11" fmla="*/ 1115 h 1253"/>
                <a:gd name="T12" fmla="*/ 749 w 1809"/>
                <a:gd name="T13" fmla="*/ 1117 h 1253"/>
                <a:gd name="T14" fmla="*/ 681 w 1809"/>
                <a:gd name="T15" fmla="*/ 1055 h 1253"/>
                <a:gd name="T16" fmla="*/ 800 w 1809"/>
                <a:gd name="T17" fmla="*/ 1054 h 1253"/>
                <a:gd name="T18" fmla="*/ 884 w 1809"/>
                <a:gd name="T19" fmla="*/ 1181 h 1253"/>
                <a:gd name="T20" fmla="*/ 118 w 1809"/>
                <a:gd name="T21" fmla="*/ 1086 h 1253"/>
                <a:gd name="T22" fmla="*/ 147 w 1809"/>
                <a:gd name="T23" fmla="*/ 1026 h 1253"/>
                <a:gd name="T24" fmla="*/ 102 w 1809"/>
                <a:gd name="T25" fmla="*/ 1026 h 1253"/>
                <a:gd name="T26" fmla="*/ 639 w 1809"/>
                <a:gd name="T27" fmla="*/ 84 h 1253"/>
                <a:gd name="T28" fmla="*/ 763 w 1809"/>
                <a:gd name="T29" fmla="*/ 145 h 1253"/>
                <a:gd name="T30" fmla="*/ 863 w 1809"/>
                <a:gd name="T31" fmla="*/ 221 h 1253"/>
                <a:gd name="T32" fmla="*/ 834 w 1809"/>
                <a:gd name="T33" fmla="*/ 208 h 1253"/>
                <a:gd name="T34" fmla="*/ 719 w 1809"/>
                <a:gd name="T35" fmla="*/ 182 h 1253"/>
                <a:gd name="T36" fmla="*/ 507 w 1809"/>
                <a:gd name="T37" fmla="*/ 711 h 1253"/>
                <a:gd name="T38" fmla="*/ 614 w 1809"/>
                <a:gd name="T39" fmla="*/ 706 h 1253"/>
                <a:gd name="T40" fmla="*/ 736 w 1809"/>
                <a:gd name="T41" fmla="*/ 730 h 1253"/>
                <a:gd name="T42" fmla="*/ 607 w 1809"/>
                <a:gd name="T43" fmla="*/ 539 h 1253"/>
                <a:gd name="T44" fmla="*/ 1505 w 1809"/>
                <a:gd name="T45" fmla="*/ 1136 h 1253"/>
                <a:gd name="T46" fmla="*/ 1613 w 1809"/>
                <a:gd name="T47" fmla="*/ 1002 h 1253"/>
                <a:gd name="T48" fmla="*/ 1472 w 1809"/>
                <a:gd name="T49" fmla="*/ 1164 h 1253"/>
                <a:gd name="T50" fmla="*/ 1525 w 1809"/>
                <a:gd name="T51" fmla="*/ 1142 h 1253"/>
                <a:gd name="T52" fmla="*/ 1556 w 1809"/>
                <a:gd name="T53" fmla="*/ 1172 h 1253"/>
                <a:gd name="T54" fmla="*/ 1387 w 1809"/>
                <a:gd name="T55" fmla="*/ 910 h 1253"/>
                <a:gd name="T56" fmla="*/ 1261 w 1809"/>
                <a:gd name="T57" fmla="*/ 1157 h 1253"/>
                <a:gd name="T58" fmla="*/ 1413 w 1809"/>
                <a:gd name="T59" fmla="*/ 934 h 1253"/>
                <a:gd name="T60" fmla="*/ 1378 w 1809"/>
                <a:gd name="T61" fmla="*/ 1052 h 1253"/>
                <a:gd name="T62" fmla="*/ 488 w 1809"/>
                <a:gd name="T63" fmla="*/ 85 h 1253"/>
                <a:gd name="T64" fmla="*/ 509 w 1809"/>
                <a:gd name="T65" fmla="*/ 112 h 1253"/>
                <a:gd name="T66" fmla="*/ 548 w 1809"/>
                <a:gd name="T67" fmla="*/ 1187 h 1253"/>
                <a:gd name="T68" fmla="*/ 472 w 1809"/>
                <a:gd name="T69" fmla="*/ 1122 h 1253"/>
                <a:gd name="T70" fmla="*/ 558 w 1809"/>
                <a:gd name="T71" fmla="*/ 1157 h 1253"/>
                <a:gd name="T72" fmla="*/ 287 w 1809"/>
                <a:gd name="T73" fmla="*/ 654 h 1253"/>
                <a:gd name="T74" fmla="*/ 416 w 1809"/>
                <a:gd name="T75" fmla="*/ 684 h 1253"/>
                <a:gd name="T76" fmla="*/ 1106 w 1809"/>
                <a:gd name="T77" fmla="*/ 147 h 1253"/>
                <a:gd name="T78" fmla="*/ 1229 w 1809"/>
                <a:gd name="T79" fmla="*/ 258 h 1253"/>
                <a:gd name="T80" fmla="*/ 1106 w 1809"/>
                <a:gd name="T81" fmla="*/ 96 h 1253"/>
                <a:gd name="T82" fmla="*/ 1219 w 1809"/>
                <a:gd name="T83" fmla="*/ 1077 h 1253"/>
                <a:gd name="T84" fmla="*/ 1214 w 1809"/>
                <a:gd name="T85" fmla="*/ 1157 h 1253"/>
                <a:gd name="T86" fmla="*/ 1150 w 1809"/>
                <a:gd name="T87" fmla="*/ 1092 h 1253"/>
                <a:gd name="T88" fmla="*/ 1139 w 1809"/>
                <a:gd name="T89" fmla="*/ 1070 h 1253"/>
                <a:gd name="T90" fmla="*/ 1659 w 1809"/>
                <a:gd name="T91" fmla="*/ 1031 h 1253"/>
                <a:gd name="T92" fmla="*/ 1714 w 1809"/>
                <a:gd name="T93" fmla="*/ 1155 h 1253"/>
                <a:gd name="T94" fmla="*/ 1760 w 1809"/>
                <a:gd name="T95" fmla="*/ 1030 h 1253"/>
                <a:gd name="T96" fmla="*/ 111 w 1809"/>
                <a:gd name="T97" fmla="*/ 569 h 1253"/>
                <a:gd name="T98" fmla="*/ 109 w 1809"/>
                <a:gd name="T99" fmla="*/ 460 h 1253"/>
                <a:gd name="T100" fmla="*/ 32 w 1809"/>
                <a:gd name="T101" fmla="*/ 704 h 1253"/>
                <a:gd name="T102" fmla="*/ 310 w 1809"/>
                <a:gd name="T103" fmla="*/ 1058 h 1253"/>
                <a:gd name="T104" fmla="*/ 431 w 1809"/>
                <a:gd name="T105" fmla="*/ 1044 h 1253"/>
                <a:gd name="T106" fmla="*/ 278 w 1809"/>
                <a:gd name="T107" fmla="*/ 1165 h 1253"/>
                <a:gd name="T108" fmla="*/ 261 w 1809"/>
                <a:gd name="T109" fmla="*/ 540 h 1253"/>
                <a:gd name="T110" fmla="*/ 150 w 1809"/>
                <a:gd name="T111" fmla="*/ 635 h 1253"/>
                <a:gd name="T112" fmla="*/ 994 w 1809"/>
                <a:gd name="T113" fmla="*/ 1185 h 1253"/>
                <a:gd name="T114" fmla="*/ 331 w 1809"/>
                <a:gd name="T115" fmla="*/ 176 h 1253"/>
                <a:gd name="T116" fmla="*/ 333 w 1809"/>
                <a:gd name="T117" fmla="*/ 109 h 1253"/>
                <a:gd name="T118" fmla="*/ 946 w 1809"/>
                <a:gd name="T119" fmla="*/ 234 h 1253"/>
                <a:gd name="T120" fmla="*/ 1022 w 1809"/>
                <a:gd name="T121" fmla="*/ 113 h 1253"/>
                <a:gd name="T122" fmla="*/ 949 w 1809"/>
                <a:gd name="T123" fmla="*/ 65 h 1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09" h="1253">
                  <a:moveTo>
                    <a:pt x="248" y="198"/>
                  </a:moveTo>
                  <a:cubicBezTo>
                    <a:pt x="248" y="211"/>
                    <a:pt x="248" y="224"/>
                    <a:pt x="249" y="237"/>
                  </a:cubicBezTo>
                  <a:cubicBezTo>
                    <a:pt x="249" y="245"/>
                    <a:pt x="246" y="249"/>
                    <a:pt x="240" y="253"/>
                  </a:cubicBezTo>
                  <a:cubicBezTo>
                    <a:pt x="231" y="260"/>
                    <a:pt x="220" y="264"/>
                    <a:pt x="209" y="268"/>
                  </a:cubicBezTo>
                  <a:cubicBezTo>
                    <a:pt x="179" y="279"/>
                    <a:pt x="148" y="280"/>
                    <a:pt x="118" y="275"/>
                  </a:cubicBezTo>
                  <a:cubicBezTo>
                    <a:pt x="86" y="269"/>
                    <a:pt x="58" y="252"/>
                    <a:pt x="39" y="224"/>
                  </a:cubicBezTo>
                  <a:cubicBezTo>
                    <a:pt x="24" y="203"/>
                    <a:pt x="18" y="180"/>
                    <a:pt x="15" y="155"/>
                  </a:cubicBezTo>
                  <a:cubicBezTo>
                    <a:pt x="11" y="135"/>
                    <a:pt x="15" y="115"/>
                    <a:pt x="19" y="97"/>
                  </a:cubicBezTo>
                  <a:cubicBezTo>
                    <a:pt x="26" y="68"/>
                    <a:pt x="42" y="44"/>
                    <a:pt x="68" y="27"/>
                  </a:cubicBezTo>
                  <a:cubicBezTo>
                    <a:pt x="87" y="14"/>
                    <a:pt x="109" y="6"/>
                    <a:pt x="133" y="5"/>
                  </a:cubicBezTo>
                  <a:cubicBezTo>
                    <a:pt x="149" y="4"/>
                    <a:pt x="165" y="5"/>
                    <a:pt x="181" y="6"/>
                  </a:cubicBezTo>
                  <a:cubicBezTo>
                    <a:pt x="204" y="8"/>
                    <a:pt x="225" y="20"/>
                    <a:pt x="243" y="35"/>
                  </a:cubicBezTo>
                  <a:cubicBezTo>
                    <a:pt x="246" y="37"/>
                    <a:pt x="246" y="40"/>
                    <a:pt x="244" y="43"/>
                  </a:cubicBezTo>
                  <a:cubicBezTo>
                    <a:pt x="242" y="47"/>
                    <a:pt x="239" y="52"/>
                    <a:pt x="236" y="55"/>
                  </a:cubicBezTo>
                  <a:cubicBezTo>
                    <a:pt x="226" y="65"/>
                    <a:pt x="224" y="65"/>
                    <a:pt x="206" y="54"/>
                  </a:cubicBezTo>
                  <a:cubicBezTo>
                    <a:pt x="193" y="46"/>
                    <a:pt x="180" y="40"/>
                    <a:pt x="165" y="41"/>
                  </a:cubicBezTo>
                  <a:cubicBezTo>
                    <a:pt x="151" y="41"/>
                    <a:pt x="137" y="39"/>
                    <a:pt x="124" y="42"/>
                  </a:cubicBezTo>
                  <a:cubicBezTo>
                    <a:pt x="104" y="46"/>
                    <a:pt x="87" y="57"/>
                    <a:pt x="75" y="74"/>
                  </a:cubicBezTo>
                  <a:cubicBezTo>
                    <a:pt x="56" y="99"/>
                    <a:pt x="51" y="129"/>
                    <a:pt x="55" y="159"/>
                  </a:cubicBezTo>
                  <a:cubicBezTo>
                    <a:pt x="60" y="189"/>
                    <a:pt x="73" y="214"/>
                    <a:pt x="98" y="230"/>
                  </a:cubicBezTo>
                  <a:cubicBezTo>
                    <a:pt x="109" y="237"/>
                    <a:pt x="121" y="242"/>
                    <a:pt x="135" y="241"/>
                  </a:cubicBezTo>
                  <a:cubicBezTo>
                    <a:pt x="146" y="241"/>
                    <a:pt x="158" y="241"/>
                    <a:pt x="169" y="241"/>
                  </a:cubicBezTo>
                  <a:cubicBezTo>
                    <a:pt x="182" y="242"/>
                    <a:pt x="193" y="235"/>
                    <a:pt x="205" y="232"/>
                  </a:cubicBezTo>
                  <a:cubicBezTo>
                    <a:pt x="210" y="231"/>
                    <a:pt x="211" y="227"/>
                    <a:pt x="211" y="224"/>
                  </a:cubicBezTo>
                  <a:cubicBezTo>
                    <a:pt x="211" y="210"/>
                    <a:pt x="211" y="196"/>
                    <a:pt x="211" y="183"/>
                  </a:cubicBezTo>
                  <a:cubicBezTo>
                    <a:pt x="211" y="177"/>
                    <a:pt x="207" y="175"/>
                    <a:pt x="202" y="175"/>
                  </a:cubicBezTo>
                  <a:cubicBezTo>
                    <a:pt x="193" y="175"/>
                    <a:pt x="184" y="175"/>
                    <a:pt x="175" y="175"/>
                  </a:cubicBezTo>
                  <a:cubicBezTo>
                    <a:pt x="171" y="175"/>
                    <a:pt x="168" y="174"/>
                    <a:pt x="166" y="171"/>
                  </a:cubicBezTo>
                  <a:cubicBezTo>
                    <a:pt x="163" y="163"/>
                    <a:pt x="164" y="154"/>
                    <a:pt x="166" y="146"/>
                  </a:cubicBezTo>
                  <a:cubicBezTo>
                    <a:pt x="167" y="142"/>
                    <a:pt x="171" y="142"/>
                    <a:pt x="175" y="142"/>
                  </a:cubicBezTo>
                  <a:cubicBezTo>
                    <a:pt x="196" y="142"/>
                    <a:pt x="217" y="142"/>
                    <a:pt x="238" y="142"/>
                  </a:cubicBezTo>
                  <a:cubicBezTo>
                    <a:pt x="247" y="142"/>
                    <a:pt x="248" y="148"/>
                    <a:pt x="248" y="155"/>
                  </a:cubicBezTo>
                  <a:cubicBezTo>
                    <a:pt x="249" y="169"/>
                    <a:pt x="248" y="183"/>
                    <a:pt x="248" y="198"/>
                  </a:cubicBezTo>
                  <a:close/>
                  <a:moveTo>
                    <a:pt x="884" y="1181"/>
                  </a:moveTo>
                  <a:cubicBezTo>
                    <a:pt x="889" y="1167"/>
                    <a:pt x="894" y="1152"/>
                    <a:pt x="898" y="1137"/>
                  </a:cubicBezTo>
                  <a:cubicBezTo>
                    <a:pt x="901" y="1127"/>
                    <a:pt x="905" y="1116"/>
                    <a:pt x="908" y="1106"/>
                  </a:cubicBezTo>
                  <a:cubicBezTo>
                    <a:pt x="911" y="1098"/>
                    <a:pt x="912" y="1089"/>
                    <a:pt x="916" y="1081"/>
                  </a:cubicBezTo>
                  <a:cubicBezTo>
                    <a:pt x="921" y="1072"/>
                    <a:pt x="923" y="1060"/>
                    <a:pt x="927" y="1050"/>
                  </a:cubicBezTo>
                  <a:cubicBezTo>
                    <a:pt x="932" y="1037"/>
                    <a:pt x="934" y="1023"/>
                    <a:pt x="940" y="1010"/>
                  </a:cubicBezTo>
                  <a:cubicBezTo>
                    <a:pt x="945" y="1001"/>
                    <a:pt x="941" y="995"/>
                    <a:pt x="931" y="995"/>
                  </a:cubicBezTo>
                  <a:cubicBezTo>
                    <a:pt x="927" y="995"/>
                    <a:pt x="922" y="995"/>
                    <a:pt x="918" y="995"/>
                  </a:cubicBezTo>
                  <a:cubicBezTo>
                    <a:pt x="913" y="995"/>
                    <a:pt x="908" y="997"/>
                    <a:pt x="907" y="1001"/>
                  </a:cubicBezTo>
                  <a:cubicBezTo>
                    <a:pt x="904" y="1008"/>
                    <a:pt x="900" y="1015"/>
                    <a:pt x="899" y="1023"/>
                  </a:cubicBezTo>
                  <a:cubicBezTo>
                    <a:pt x="897" y="1034"/>
                    <a:pt x="893" y="1045"/>
                    <a:pt x="889" y="1055"/>
                  </a:cubicBezTo>
                  <a:cubicBezTo>
                    <a:pt x="887" y="1064"/>
                    <a:pt x="885" y="1072"/>
                    <a:pt x="882" y="1080"/>
                  </a:cubicBezTo>
                  <a:cubicBezTo>
                    <a:pt x="878" y="1091"/>
                    <a:pt x="874" y="1103"/>
                    <a:pt x="871" y="1115"/>
                  </a:cubicBezTo>
                  <a:cubicBezTo>
                    <a:pt x="870" y="1118"/>
                    <a:pt x="871" y="1124"/>
                    <a:pt x="866" y="1124"/>
                  </a:cubicBezTo>
                  <a:cubicBezTo>
                    <a:pt x="861" y="1125"/>
                    <a:pt x="859" y="1120"/>
                    <a:pt x="858" y="1115"/>
                  </a:cubicBezTo>
                  <a:cubicBezTo>
                    <a:pt x="856" y="1110"/>
                    <a:pt x="856" y="1104"/>
                    <a:pt x="854" y="1099"/>
                  </a:cubicBezTo>
                  <a:cubicBezTo>
                    <a:pt x="848" y="1080"/>
                    <a:pt x="841" y="1062"/>
                    <a:pt x="835" y="1044"/>
                  </a:cubicBezTo>
                  <a:cubicBezTo>
                    <a:pt x="831" y="1030"/>
                    <a:pt x="828" y="1016"/>
                    <a:pt x="822" y="1003"/>
                  </a:cubicBezTo>
                  <a:cubicBezTo>
                    <a:pt x="819" y="997"/>
                    <a:pt x="814" y="994"/>
                    <a:pt x="808" y="994"/>
                  </a:cubicBezTo>
                  <a:cubicBezTo>
                    <a:pt x="799" y="993"/>
                    <a:pt x="791" y="993"/>
                    <a:pt x="787" y="1001"/>
                  </a:cubicBezTo>
                  <a:cubicBezTo>
                    <a:pt x="783" y="1008"/>
                    <a:pt x="780" y="1015"/>
                    <a:pt x="779" y="1022"/>
                  </a:cubicBezTo>
                  <a:cubicBezTo>
                    <a:pt x="778" y="1034"/>
                    <a:pt x="772" y="1044"/>
                    <a:pt x="769" y="1055"/>
                  </a:cubicBezTo>
                  <a:cubicBezTo>
                    <a:pt x="762" y="1076"/>
                    <a:pt x="754" y="1096"/>
                    <a:pt x="749" y="1117"/>
                  </a:cubicBezTo>
                  <a:cubicBezTo>
                    <a:pt x="748" y="1120"/>
                    <a:pt x="747" y="1124"/>
                    <a:pt x="742" y="1124"/>
                  </a:cubicBezTo>
                  <a:cubicBezTo>
                    <a:pt x="737" y="1124"/>
                    <a:pt x="737" y="1120"/>
                    <a:pt x="736" y="1116"/>
                  </a:cubicBezTo>
                  <a:cubicBezTo>
                    <a:pt x="734" y="1104"/>
                    <a:pt x="730" y="1092"/>
                    <a:pt x="726" y="1080"/>
                  </a:cubicBezTo>
                  <a:cubicBezTo>
                    <a:pt x="720" y="1061"/>
                    <a:pt x="714" y="1040"/>
                    <a:pt x="708" y="1020"/>
                  </a:cubicBezTo>
                  <a:cubicBezTo>
                    <a:pt x="703" y="1000"/>
                    <a:pt x="698" y="994"/>
                    <a:pt x="676" y="995"/>
                  </a:cubicBezTo>
                  <a:cubicBezTo>
                    <a:pt x="665" y="996"/>
                    <a:pt x="661" y="1001"/>
                    <a:pt x="667" y="1011"/>
                  </a:cubicBezTo>
                  <a:cubicBezTo>
                    <a:pt x="669" y="1016"/>
                    <a:pt x="670" y="1021"/>
                    <a:pt x="672" y="1025"/>
                  </a:cubicBezTo>
                  <a:cubicBezTo>
                    <a:pt x="675" y="1035"/>
                    <a:pt x="678" y="1046"/>
                    <a:pt x="681" y="1055"/>
                  </a:cubicBezTo>
                  <a:cubicBezTo>
                    <a:pt x="685" y="1068"/>
                    <a:pt x="689" y="1080"/>
                    <a:pt x="693" y="1092"/>
                  </a:cubicBezTo>
                  <a:cubicBezTo>
                    <a:pt x="697" y="1103"/>
                    <a:pt x="699" y="1113"/>
                    <a:pt x="703" y="1124"/>
                  </a:cubicBezTo>
                  <a:cubicBezTo>
                    <a:pt x="707" y="1136"/>
                    <a:pt x="711" y="1147"/>
                    <a:pt x="715" y="1160"/>
                  </a:cubicBezTo>
                  <a:cubicBezTo>
                    <a:pt x="717" y="1168"/>
                    <a:pt x="720" y="1176"/>
                    <a:pt x="724" y="1183"/>
                  </a:cubicBezTo>
                  <a:cubicBezTo>
                    <a:pt x="728" y="1189"/>
                    <a:pt x="752" y="1185"/>
                    <a:pt x="757" y="1180"/>
                  </a:cubicBezTo>
                  <a:cubicBezTo>
                    <a:pt x="764" y="1173"/>
                    <a:pt x="762" y="1163"/>
                    <a:pt x="766" y="1156"/>
                  </a:cubicBezTo>
                  <a:cubicBezTo>
                    <a:pt x="774" y="1140"/>
                    <a:pt x="778" y="1122"/>
                    <a:pt x="784" y="1105"/>
                  </a:cubicBezTo>
                  <a:cubicBezTo>
                    <a:pt x="789" y="1088"/>
                    <a:pt x="796" y="1072"/>
                    <a:pt x="800" y="1054"/>
                  </a:cubicBezTo>
                  <a:cubicBezTo>
                    <a:pt x="800" y="1053"/>
                    <a:pt x="801" y="1050"/>
                    <a:pt x="803" y="1050"/>
                  </a:cubicBezTo>
                  <a:cubicBezTo>
                    <a:pt x="806" y="1050"/>
                    <a:pt x="806" y="1052"/>
                    <a:pt x="807" y="1055"/>
                  </a:cubicBezTo>
                  <a:cubicBezTo>
                    <a:pt x="807" y="1060"/>
                    <a:pt x="810" y="1066"/>
                    <a:pt x="811" y="1071"/>
                  </a:cubicBezTo>
                  <a:cubicBezTo>
                    <a:pt x="814" y="1081"/>
                    <a:pt x="818" y="1090"/>
                    <a:pt x="821" y="1099"/>
                  </a:cubicBezTo>
                  <a:cubicBezTo>
                    <a:pt x="824" y="1110"/>
                    <a:pt x="827" y="1120"/>
                    <a:pt x="831" y="1131"/>
                  </a:cubicBezTo>
                  <a:cubicBezTo>
                    <a:pt x="834" y="1142"/>
                    <a:pt x="839" y="1153"/>
                    <a:pt x="842" y="1164"/>
                  </a:cubicBezTo>
                  <a:cubicBezTo>
                    <a:pt x="846" y="1179"/>
                    <a:pt x="850" y="1188"/>
                    <a:pt x="869" y="1185"/>
                  </a:cubicBezTo>
                  <a:cubicBezTo>
                    <a:pt x="873" y="1184"/>
                    <a:pt x="881" y="1189"/>
                    <a:pt x="884" y="1181"/>
                  </a:cubicBezTo>
                  <a:close/>
                  <a:moveTo>
                    <a:pt x="33" y="1051"/>
                  </a:moveTo>
                  <a:cubicBezTo>
                    <a:pt x="33" y="1087"/>
                    <a:pt x="33" y="1124"/>
                    <a:pt x="33" y="1160"/>
                  </a:cubicBezTo>
                  <a:cubicBezTo>
                    <a:pt x="33" y="1188"/>
                    <a:pt x="29" y="1184"/>
                    <a:pt x="58" y="1185"/>
                  </a:cubicBezTo>
                  <a:cubicBezTo>
                    <a:pt x="72" y="1185"/>
                    <a:pt x="73" y="1184"/>
                    <a:pt x="73" y="1170"/>
                  </a:cubicBezTo>
                  <a:cubicBezTo>
                    <a:pt x="73" y="1138"/>
                    <a:pt x="73" y="1107"/>
                    <a:pt x="73" y="1076"/>
                  </a:cubicBezTo>
                  <a:cubicBezTo>
                    <a:pt x="73" y="1071"/>
                    <a:pt x="72" y="1067"/>
                    <a:pt x="78" y="1065"/>
                  </a:cubicBezTo>
                  <a:cubicBezTo>
                    <a:pt x="91" y="1062"/>
                    <a:pt x="102" y="1067"/>
                    <a:pt x="110" y="1076"/>
                  </a:cubicBezTo>
                  <a:cubicBezTo>
                    <a:pt x="112" y="1080"/>
                    <a:pt x="115" y="1083"/>
                    <a:pt x="118" y="1086"/>
                  </a:cubicBezTo>
                  <a:cubicBezTo>
                    <a:pt x="132" y="1103"/>
                    <a:pt x="146" y="1119"/>
                    <a:pt x="161" y="1136"/>
                  </a:cubicBezTo>
                  <a:cubicBezTo>
                    <a:pt x="173" y="1150"/>
                    <a:pt x="186" y="1165"/>
                    <a:pt x="198" y="1179"/>
                  </a:cubicBezTo>
                  <a:cubicBezTo>
                    <a:pt x="207" y="1188"/>
                    <a:pt x="218" y="1184"/>
                    <a:pt x="228" y="1185"/>
                  </a:cubicBezTo>
                  <a:cubicBezTo>
                    <a:pt x="233" y="1185"/>
                    <a:pt x="241" y="1188"/>
                    <a:pt x="244" y="1182"/>
                  </a:cubicBezTo>
                  <a:cubicBezTo>
                    <a:pt x="246" y="1178"/>
                    <a:pt x="239" y="1173"/>
                    <a:pt x="235" y="1169"/>
                  </a:cubicBezTo>
                  <a:cubicBezTo>
                    <a:pt x="206" y="1133"/>
                    <a:pt x="176" y="1098"/>
                    <a:pt x="146" y="1062"/>
                  </a:cubicBezTo>
                  <a:cubicBezTo>
                    <a:pt x="141" y="1056"/>
                    <a:pt x="131" y="1052"/>
                    <a:pt x="132" y="1044"/>
                  </a:cubicBezTo>
                  <a:cubicBezTo>
                    <a:pt x="132" y="1036"/>
                    <a:pt x="142" y="1032"/>
                    <a:pt x="147" y="1026"/>
                  </a:cubicBezTo>
                  <a:cubicBezTo>
                    <a:pt x="164" y="1006"/>
                    <a:pt x="182" y="988"/>
                    <a:pt x="198" y="968"/>
                  </a:cubicBezTo>
                  <a:cubicBezTo>
                    <a:pt x="209" y="954"/>
                    <a:pt x="221" y="942"/>
                    <a:pt x="234" y="929"/>
                  </a:cubicBezTo>
                  <a:cubicBezTo>
                    <a:pt x="236" y="926"/>
                    <a:pt x="238" y="923"/>
                    <a:pt x="237" y="920"/>
                  </a:cubicBezTo>
                  <a:cubicBezTo>
                    <a:pt x="235" y="915"/>
                    <a:pt x="231" y="917"/>
                    <a:pt x="228" y="917"/>
                  </a:cubicBezTo>
                  <a:cubicBezTo>
                    <a:pt x="224" y="918"/>
                    <a:pt x="221" y="918"/>
                    <a:pt x="217" y="918"/>
                  </a:cubicBezTo>
                  <a:cubicBezTo>
                    <a:pt x="204" y="917"/>
                    <a:pt x="193" y="922"/>
                    <a:pt x="185" y="931"/>
                  </a:cubicBezTo>
                  <a:cubicBezTo>
                    <a:pt x="172" y="946"/>
                    <a:pt x="158" y="961"/>
                    <a:pt x="145" y="977"/>
                  </a:cubicBezTo>
                  <a:cubicBezTo>
                    <a:pt x="131" y="993"/>
                    <a:pt x="117" y="1010"/>
                    <a:pt x="102" y="1026"/>
                  </a:cubicBezTo>
                  <a:cubicBezTo>
                    <a:pt x="96" y="1032"/>
                    <a:pt x="87" y="1037"/>
                    <a:pt x="78" y="1034"/>
                  </a:cubicBezTo>
                  <a:cubicBezTo>
                    <a:pt x="70" y="1030"/>
                    <a:pt x="73" y="1021"/>
                    <a:pt x="73" y="1015"/>
                  </a:cubicBezTo>
                  <a:cubicBezTo>
                    <a:pt x="73" y="991"/>
                    <a:pt x="73" y="967"/>
                    <a:pt x="73" y="944"/>
                  </a:cubicBezTo>
                  <a:cubicBezTo>
                    <a:pt x="73" y="916"/>
                    <a:pt x="75" y="917"/>
                    <a:pt x="46" y="918"/>
                  </a:cubicBezTo>
                  <a:cubicBezTo>
                    <a:pt x="33" y="918"/>
                    <a:pt x="33" y="918"/>
                    <a:pt x="33" y="931"/>
                  </a:cubicBezTo>
                  <a:cubicBezTo>
                    <a:pt x="33" y="971"/>
                    <a:pt x="33" y="1011"/>
                    <a:pt x="33" y="1051"/>
                  </a:cubicBezTo>
                  <a:cubicBezTo>
                    <a:pt x="33" y="1051"/>
                    <a:pt x="33" y="1051"/>
                    <a:pt x="33" y="1051"/>
                  </a:cubicBezTo>
                  <a:close/>
                  <a:moveTo>
                    <a:pt x="639" y="84"/>
                  </a:moveTo>
                  <a:cubicBezTo>
                    <a:pt x="627" y="84"/>
                    <a:pt x="626" y="84"/>
                    <a:pt x="629" y="95"/>
                  </a:cubicBezTo>
                  <a:cubicBezTo>
                    <a:pt x="634" y="113"/>
                    <a:pt x="640" y="131"/>
                    <a:pt x="646" y="148"/>
                  </a:cubicBezTo>
                  <a:cubicBezTo>
                    <a:pt x="652" y="166"/>
                    <a:pt x="658" y="185"/>
                    <a:pt x="664" y="203"/>
                  </a:cubicBezTo>
                  <a:cubicBezTo>
                    <a:pt x="671" y="223"/>
                    <a:pt x="676" y="244"/>
                    <a:pt x="684" y="264"/>
                  </a:cubicBezTo>
                  <a:cubicBezTo>
                    <a:pt x="688" y="274"/>
                    <a:pt x="694" y="274"/>
                    <a:pt x="702" y="274"/>
                  </a:cubicBezTo>
                  <a:cubicBezTo>
                    <a:pt x="711" y="274"/>
                    <a:pt x="719" y="272"/>
                    <a:pt x="723" y="263"/>
                  </a:cubicBezTo>
                  <a:cubicBezTo>
                    <a:pt x="733" y="236"/>
                    <a:pt x="741" y="208"/>
                    <a:pt x="750" y="181"/>
                  </a:cubicBezTo>
                  <a:cubicBezTo>
                    <a:pt x="754" y="169"/>
                    <a:pt x="757" y="156"/>
                    <a:pt x="763" y="145"/>
                  </a:cubicBezTo>
                  <a:cubicBezTo>
                    <a:pt x="764" y="143"/>
                    <a:pt x="764" y="140"/>
                    <a:pt x="767" y="140"/>
                  </a:cubicBezTo>
                  <a:cubicBezTo>
                    <a:pt x="770" y="140"/>
                    <a:pt x="770" y="143"/>
                    <a:pt x="771" y="145"/>
                  </a:cubicBezTo>
                  <a:cubicBezTo>
                    <a:pt x="771" y="156"/>
                    <a:pt x="777" y="165"/>
                    <a:pt x="780" y="175"/>
                  </a:cubicBezTo>
                  <a:cubicBezTo>
                    <a:pt x="782" y="184"/>
                    <a:pt x="785" y="193"/>
                    <a:pt x="788" y="201"/>
                  </a:cubicBezTo>
                  <a:cubicBezTo>
                    <a:pt x="794" y="219"/>
                    <a:pt x="801" y="237"/>
                    <a:pt x="806" y="255"/>
                  </a:cubicBezTo>
                  <a:cubicBezTo>
                    <a:pt x="811" y="272"/>
                    <a:pt x="825" y="280"/>
                    <a:pt x="842" y="273"/>
                  </a:cubicBezTo>
                  <a:cubicBezTo>
                    <a:pt x="845" y="271"/>
                    <a:pt x="847" y="269"/>
                    <a:pt x="848" y="266"/>
                  </a:cubicBezTo>
                  <a:cubicBezTo>
                    <a:pt x="853" y="251"/>
                    <a:pt x="859" y="236"/>
                    <a:pt x="863" y="221"/>
                  </a:cubicBezTo>
                  <a:cubicBezTo>
                    <a:pt x="867" y="202"/>
                    <a:pt x="875" y="185"/>
                    <a:pt x="880" y="166"/>
                  </a:cubicBezTo>
                  <a:cubicBezTo>
                    <a:pt x="886" y="144"/>
                    <a:pt x="895" y="123"/>
                    <a:pt x="900" y="101"/>
                  </a:cubicBezTo>
                  <a:cubicBezTo>
                    <a:pt x="901" y="96"/>
                    <a:pt x="909" y="91"/>
                    <a:pt x="904" y="86"/>
                  </a:cubicBezTo>
                  <a:cubicBezTo>
                    <a:pt x="900" y="81"/>
                    <a:pt x="892" y="84"/>
                    <a:pt x="886" y="84"/>
                  </a:cubicBezTo>
                  <a:cubicBezTo>
                    <a:pt x="885" y="84"/>
                    <a:pt x="883" y="84"/>
                    <a:pt x="881" y="84"/>
                  </a:cubicBezTo>
                  <a:cubicBezTo>
                    <a:pt x="875" y="84"/>
                    <a:pt x="872" y="86"/>
                    <a:pt x="869" y="91"/>
                  </a:cubicBezTo>
                  <a:cubicBezTo>
                    <a:pt x="860" y="110"/>
                    <a:pt x="856" y="131"/>
                    <a:pt x="850" y="151"/>
                  </a:cubicBezTo>
                  <a:cubicBezTo>
                    <a:pt x="844" y="170"/>
                    <a:pt x="836" y="188"/>
                    <a:pt x="834" y="208"/>
                  </a:cubicBezTo>
                  <a:cubicBezTo>
                    <a:pt x="833" y="211"/>
                    <a:pt x="831" y="214"/>
                    <a:pt x="827" y="214"/>
                  </a:cubicBezTo>
                  <a:cubicBezTo>
                    <a:pt x="823" y="214"/>
                    <a:pt x="822" y="210"/>
                    <a:pt x="822" y="207"/>
                  </a:cubicBezTo>
                  <a:cubicBezTo>
                    <a:pt x="817" y="188"/>
                    <a:pt x="811" y="170"/>
                    <a:pt x="805" y="152"/>
                  </a:cubicBezTo>
                  <a:cubicBezTo>
                    <a:pt x="799" y="133"/>
                    <a:pt x="794" y="114"/>
                    <a:pt x="786" y="96"/>
                  </a:cubicBezTo>
                  <a:cubicBezTo>
                    <a:pt x="783" y="87"/>
                    <a:pt x="779" y="84"/>
                    <a:pt x="770" y="84"/>
                  </a:cubicBezTo>
                  <a:cubicBezTo>
                    <a:pt x="761" y="84"/>
                    <a:pt x="752" y="82"/>
                    <a:pt x="748" y="94"/>
                  </a:cubicBezTo>
                  <a:cubicBezTo>
                    <a:pt x="744" y="109"/>
                    <a:pt x="738" y="123"/>
                    <a:pt x="734" y="138"/>
                  </a:cubicBezTo>
                  <a:cubicBezTo>
                    <a:pt x="729" y="153"/>
                    <a:pt x="724" y="167"/>
                    <a:pt x="719" y="182"/>
                  </a:cubicBezTo>
                  <a:cubicBezTo>
                    <a:pt x="716" y="192"/>
                    <a:pt x="715" y="203"/>
                    <a:pt x="708" y="212"/>
                  </a:cubicBezTo>
                  <a:cubicBezTo>
                    <a:pt x="707" y="214"/>
                    <a:pt x="707" y="217"/>
                    <a:pt x="704" y="217"/>
                  </a:cubicBezTo>
                  <a:cubicBezTo>
                    <a:pt x="701" y="217"/>
                    <a:pt x="701" y="213"/>
                    <a:pt x="700" y="211"/>
                  </a:cubicBezTo>
                  <a:cubicBezTo>
                    <a:pt x="699" y="198"/>
                    <a:pt x="694" y="186"/>
                    <a:pt x="690" y="174"/>
                  </a:cubicBezTo>
                  <a:cubicBezTo>
                    <a:pt x="684" y="153"/>
                    <a:pt x="677" y="131"/>
                    <a:pt x="672" y="110"/>
                  </a:cubicBezTo>
                  <a:cubicBezTo>
                    <a:pt x="667" y="88"/>
                    <a:pt x="663" y="84"/>
                    <a:pt x="645" y="84"/>
                  </a:cubicBezTo>
                  <a:cubicBezTo>
                    <a:pt x="643" y="84"/>
                    <a:pt x="641" y="84"/>
                    <a:pt x="639" y="84"/>
                  </a:cubicBezTo>
                  <a:close/>
                  <a:moveTo>
                    <a:pt x="507" y="711"/>
                  </a:moveTo>
                  <a:cubicBezTo>
                    <a:pt x="507" y="730"/>
                    <a:pt x="507" y="730"/>
                    <a:pt x="526" y="730"/>
                  </a:cubicBezTo>
                  <a:cubicBezTo>
                    <a:pt x="539" y="730"/>
                    <a:pt x="541" y="729"/>
                    <a:pt x="541" y="715"/>
                  </a:cubicBezTo>
                  <a:cubicBezTo>
                    <a:pt x="541" y="677"/>
                    <a:pt x="541" y="638"/>
                    <a:pt x="540" y="600"/>
                  </a:cubicBezTo>
                  <a:cubicBezTo>
                    <a:pt x="540" y="593"/>
                    <a:pt x="543" y="587"/>
                    <a:pt x="548" y="582"/>
                  </a:cubicBezTo>
                  <a:cubicBezTo>
                    <a:pt x="553" y="576"/>
                    <a:pt x="559" y="573"/>
                    <a:pt x="564" y="569"/>
                  </a:cubicBezTo>
                  <a:cubicBezTo>
                    <a:pt x="574" y="564"/>
                    <a:pt x="594" y="566"/>
                    <a:pt x="602" y="574"/>
                  </a:cubicBezTo>
                  <a:cubicBezTo>
                    <a:pt x="611" y="582"/>
                    <a:pt x="614" y="592"/>
                    <a:pt x="614" y="604"/>
                  </a:cubicBezTo>
                  <a:cubicBezTo>
                    <a:pt x="614" y="638"/>
                    <a:pt x="614" y="672"/>
                    <a:pt x="614" y="706"/>
                  </a:cubicBezTo>
                  <a:cubicBezTo>
                    <a:pt x="614" y="730"/>
                    <a:pt x="614" y="730"/>
                    <a:pt x="638" y="730"/>
                  </a:cubicBezTo>
                  <a:cubicBezTo>
                    <a:pt x="650" y="730"/>
                    <a:pt x="650" y="730"/>
                    <a:pt x="650" y="717"/>
                  </a:cubicBezTo>
                  <a:cubicBezTo>
                    <a:pt x="650" y="684"/>
                    <a:pt x="650" y="650"/>
                    <a:pt x="650" y="617"/>
                  </a:cubicBezTo>
                  <a:cubicBezTo>
                    <a:pt x="650" y="606"/>
                    <a:pt x="651" y="597"/>
                    <a:pt x="657" y="586"/>
                  </a:cubicBezTo>
                  <a:cubicBezTo>
                    <a:pt x="667" y="565"/>
                    <a:pt x="703" y="560"/>
                    <a:pt x="716" y="579"/>
                  </a:cubicBezTo>
                  <a:cubicBezTo>
                    <a:pt x="723" y="588"/>
                    <a:pt x="724" y="598"/>
                    <a:pt x="724" y="609"/>
                  </a:cubicBezTo>
                  <a:cubicBezTo>
                    <a:pt x="724" y="645"/>
                    <a:pt x="724" y="682"/>
                    <a:pt x="724" y="718"/>
                  </a:cubicBezTo>
                  <a:cubicBezTo>
                    <a:pt x="724" y="727"/>
                    <a:pt x="727" y="731"/>
                    <a:pt x="736" y="730"/>
                  </a:cubicBezTo>
                  <a:cubicBezTo>
                    <a:pt x="738" y="730"/>
                    <a:pt x="741" y="730"/>
                    <a:pt x="743" y="730"/>
                  </a:cubicBezTo>
                  <a:cubicBezTo>
                    <a:pt x="758" y="730"/>
                    <a:pt x="759" y="729"/>
                    <a:pt x="759" y="715"/>
                  </a:cubicBezTo>
                  <a:cubicBezTo>
                    <a:pt x="759" y="677"/>
                    <a:pt x="758" y="639"/>
                    <a:pt x="759" y="601"/>
                  </a:cubicBezTo>
                  <a:cubicBezTo>
                    <a:pt x="759" y="571"/>
                    <a:pt x="742" y="540"/>
                    <a:pt x="704" y="538"/>
                  </a:cubicBezTo>
                  <a:cubicBezTo>
                    <a:pt x="681" y="536"/>
                    <a:pt x="661" y="542"/>
                    <a:pt x="646" y="560"/>
                  </a:cubicBezTo>
                  <a:cubicBezTo>
                    <a:pt x="638" y="569"/>
                    <a:pt x="638" y="569"/>
                    <a:pt x="631" y="559"/>
                  </a:cubicBezTo>
                  <a:cubicBezTo>
                    <a:pt x="630" y="558"/>
                    <a:pt x="630" y="557"/>
                    <a:pt x="629" y="556"/>
                  </a:cubicBezTo>
                  <a:cubicBezTo>
                    <a:pt x="623" y="548"/>
                    <a:pt x="616" y="541"/>
                    <a:pt x="607" y="539"/>
                  </a:cubicBezTo>
                  <a:cubicBezTo>
                    <a:pt x="584" y="534"/>
                    <a:pt x="563" y="539"/>
                    <a:pt x="545" y="555"/>
                  </a:cubicBezTo>
                  <a:cubicBezTo>
                    <a:pt x="540" y="559"/>
                    <a:pt x="537" y="561"/>
                    <a:pt x="537" y="552"/>
                  </a:cubicBezTo>
                  <a:cubicBezTo>
                    <a:pt x="536" y="543"/>
                    <a:pt x="526" y="538"/>
                    <a:pt x="515" y="539"/>
                  </a:cubicBezTo>
                  <a:cubicBezTo>
                    <a:pt x="506" y="540"/>
                    <a:pt x="507" y="546"/>
                    <a:pt x="507" y="552"/>
                  </a:cubicBezTo>
                  <a:cubicBezTo>
                    <a:pt x="507" y="580"/>
                    <a:pt x="507" y="607"/>
                    <a:pt x="507" y="634"/>
                  </a:cubicBezTo>
                  <a:cubicBezTo>
                    <a:pt x="507" y="660"/>
                    <a:pt x="507" y="685"/>
                    <a:pt x="507" y="711"/>
                  </a:cubicBezTo>
                  <a:close/>
                  <a:moveTo>
                    <a:pt x="1525" y="1142"/>
                  </a:moveTo>
                  <a:cubicBezTo>
                    <a:pt x="1517" y="1143"/>
                    <a:pt x="1511" y="1141"/>
                    <a:pt x="1505" y="1136"/>
                  </a:cubicBezTo>
                  <a:cubicBezTo>
                    <a:pt x="1501" y="1133"/>
                    <a:pt x="1495" y="1130"/>
                    <a:pt x="1498" y="1124"/>
                  </a:cubicBezTo>
                  <a:cubicBezTo>
                    <a:pt x="1500" y="1118"/>
                    <a:pt x="1504" y="1114"/>
                    <a:pt x="1512" y="1114"/>
                  </a:cubicBezTo>
                  <a:cubicBezTo>
                    <a:pt x="1521" y="1115"/>
                    <a:pt x="1530" y="1114"/>
                    <a:pt x="1538" y="1115"/>
                  </a:cubicBezTo>
                  <a:cubicBezTo>
                    <a:pt x="1573" y="1117"/>
                    <a:pt x="1610" y="1084"/>
                    <a:pt x="1602" y="1044"/>
                  </a:cubicBezTo>
                  <a:cubicBezTo>
                    <a:pt x="1600" y="1035"/>
                    <a:pt x="1599" y="1028"/>
                    <a:pt x="1611" y="1027"/>
                  </a:cubicBezTo>
                  <a:cubicBezTo>
                    <a:pt x="1614" y="1027"/>
                    <a:pt x="1617" y="1024"/>
                    <a:pt x="1619" y="1023"/>
                  </a:cubicBezTo>
                  <a:cubicBezTo>
                    <a:pt x="1626" y="1019"/>
                    <a:pt x="1624" y="1013"/>
                    <a:pt x="1623" y="1008"/>
                  </a:cubicBezTo>
                  <a:cubicBezTo>
                    <a:pt x="1623" y="1002"/>
                    <a:pt x="1618" y="1003"/>
                    <a:pt x="1613" y="1002"/>
                  </a:cubicBezTo>
                  <a:cubicBezTo>
                    <a:pt x="1598" y="1002"/>
                    <a:pt x="1582" y="1004"/>
                    <a:pt x="1567" y="1000"/>
                  </a:cubicBezTo>
                  <a:cubicBezTo>
                    <a:pt x="1560" y="999"/>
                    <a:pt x="1554" y="993"/>
                    <a:pt x="1546" y="993"/>
                  </a:cubicBezTo>
                  <a:cubicBezTo>
                    <a:pt x="1536" y="994"/>
                    <a:pt x="1525" y="992"/>
                    <a:pt x="1515" y="993"/>
                  </a:cubicBezTo>
                  <a:cubicBezTo>
                    <a:pt x="1490" y="997"/>
                    <a:pt x="1469" y="1010"/>
                    <a:pt x="1462" y="1034"/>
                  </a:cubicBezTo>
                  <a:cubicBezTo>
                    <a:pt x="1455" y="1056"/>
                    <a:pt x="1457" y="1079"/>
                    <a:pt x="1476" y="1096"/>
                  </a:cubicBezTo>
                  <a:cubicBezTo>
                    <a:pt x="1483" y="1103"/>
                    <a:pt x="1483" y="1107"/>
                    <a:pt x="1476" y="1113"/>
                  </a:cubicBezTo>
                  <a:cubicBezTo>
                    <a:pt x="1462" y="1126"/>
                    <a:pt x="1462" y="1142"/>
                    <a:pt x="1473" y="1157"/>
                  </a:cubicBezTo>
                  <a:cubicBezTo>
                    <a:pt x="1476" y="1160"/>
                    <a:pt x="1476" y="1162"/>
                    <a:pt x="1472" y="1164"/>
                  </a:cubicBezTo>
                  <a:cubicBezTo>
                    <a:pt x="1470" y="1166"/>
                    <a:pt x="1468" y="1168"/>
                    <a:pt x="1466" y="1170"/>
                  </a:cubicBezTo>
                  <a:cubicBezTo>
                    <a:pt x="1449" y="1183"/>
                    <a:pt x="1444" y="1201"/>
                    <a:pt x="1454" y="1218"/>
                  </a:cubicBezTo>
                  <a:cubicBezTo>
                    <a:pt x="1464" y="1235"/>
                    <a:pt x="1479" y="1246"/>
                    <a:pt x="1499" y="1249"/>
                  </a:cubicBezTo>
                  <a:cubicBezTo>
                    <a:pt x="1517" y="1252"/>
                    <a:pt x="1535" y="1253"/>
                    <a:pt x="1553" y="1250"/>
                  </a:cubicBezTo>
                  <a:cubicBezTo>
                    <a:pt x="1584" y="1245"/>
                    <a:pt x="1607" y="1232"/>
                    <a:pt x="1619" y="1200"/>
                  </a:cubicBezTo>
                  <a:cubicBezTo>
                    <a:pt x="1627" y="1180"/>
                    <a:pt x="1611" y="1155"/>
                    <a:pt x="1593" y="1148"/>
                  </a:cubicBezTo>
                  <a:cubicBezTo>
                    <a:pt x="1578" y="1142"/>
                    <a:pt x="1563" y="1143"/>
                    <a:pt x="1549" y="1142"/>
                  </a:cubicBezTo>
                  <a:cubicBezTo>
                    <a:pt x="1540" y="1142"/>
                    <a:pt x="1532" y="1142"/>
                    <a:pt x="1525" y="1142"/>
                  </a:cubicBezTo>
                  <a:close/>
                  <a:moveTo>
                    <a:pt x="1556" y="1172"/>
                  </a:moveTo>
                  <a:cubicBezTo>
                    <a:pt x="1566" y="1172"/>
                    <a:pt x="1576" y="1176"/>
                    <a:pt x="1583" y="1183"/>
                  </a:cubicBezTo>
                  <a:cubicBezTo>
                    <a:pt x="1589" y="1190"/>
                    <a:pt x="1589" y="1198"/>
                    <a:pt x="1583" y="1205"/>
                  </a:cubicBezTo>
                  <a:cubicBezTo>
                    <a:pt x="1575" y="1215"/>
                    <a:pt x="1565" y="1220"/>
                    <a:pt x="1553" y="1223"/>
                  </a:cubicBezTo>
                  <a:cubicBezTo>
                    <a:pt x="1534" y="1228"/>
                    <a:pt x="1516" y="1225"/>
                    <a:pt x="1499" y="1219"/>
                  </a:cubicBezTo>
                  <a:cubicBezTo>
                    <a:pt x="1486" y="1214"/>
                    <a:pt x="1479" y="1203"/>
                    <a:pt x="1482" y="1193"/>
                  </a:cubicBezTo>
                  <a:cubicBezTo>
                    <a:pt x="1485" y="1182"/>
                    <a:pt x="1496" y="1168"/>
                    <a:pt x="1514" y="1171"/>
                  </a:cubicBezTo>
                  <a:cubicBezTo>
                    <a:pt x="1526" y="1173"/>
                    <a:pt x="1541" y="1171"/>
                    <a:pt x="1556" y="1172"/>
                  </a:cubicBezTo>
                  <a:close/>
                  <a:moveTo>
                    <a:pt x="1531" y="1019"/>
                  </a:moveTo>
                  <a:cubicBezTo>
                    <a:pt x="1553" y="1017"/>
                    <a:pt x="1570" y="1033"/>
                    <a:pt x="1570" y="1052"/>
                  </a:cubicBezTo>
                  <a:cubicBezTo>
                    <a:pt x="1570" y="1075"/>
                    <a:pt x="1554" y="1093"/>
                    <a:pt x="1532" y="1091"/>
                  </a:cubicBezTo>
                  <a:cubicBezTo>
                    <a:pt x="1508" y="1089"/>
                    <a:pt x="1494" y="1082"/>
                    <a:pt x="1493" y="1053"/>
                  </a:cubicBezTo>
                  <a:cubicBezTo>
                    <a:pt x="1494" y="1029"/>
                    <a:pt x="1508" y="1020"/>
                    <a:pt x="1531" y="1019"/>
                  </a:cubicBezTo>
                  <a:close/>
                  <a:moveTo>
                    <a:pt x="1413" y="934"/>
                  </a:moveTo>
                  <a:cubicBezTo>
                    <a:pt x="1413" y="909"/>
                    <a:pt x="1413" y="909"/>
                    <a:pt x="1389" y="910"/>
                  </a:cubicBezTo>
                  <a:cubicBezTo>
                    <a:pt x="1388" y="910"/>
                    <a:pt x="1387" y="910"/>
                    <a:pt x="1387" y="910"/>
                  </a:cubicBezTo>
                  <a:cubicBezTo>
                    <a:pt x="1379" y="910"/>
                    <a:pt x="1376" y="915"/>
                    <a:pt x="1376" y="921"/>
                  </a:cubicBezTo>
                  <a:cubicBezTo>
                    <a:pt x="1376" y="939"/>
                    <a:pt x="1377" y="956"/>
                    <a:pt x="1377" y="974"/>
                  </a:cubicBezTo>
                  <a:cubicBezTo>
                    <a:pt x="1377" y="983"/>
                    <a:pt x="1377" y="991"/>
                    <a:pt x="1377" y="1000"/>
                  </a:cubicBezTo>
                  <a:cubicBezTo>
                    <a:pt x="1377" y="1005"/>
                    <a:pt x="1374" y="1009"/>
                    <a:pt x="1369" y="1005"/>
                  </a:cubicBezTo>
                  <a:cubicBezTo>
                    <a:pt x="1352" y="990"/>
                    <a:pt x="1332" y="993"/>
                    <a:pt x="1312" y="993"/>
                  </a:cubicBezTo>
                  <a:cubicBezTo>
                    <a:pt x="1303" y="994"/>
                    <a:pt x="1294" y="998"/>
                    <a:pt x="1287" y="1003"/>
                  </a:cubicBezTo>
                  <a:cubicBezTo>
                    <a:pt x="1265" y="1017"/>
                    <a:pt x="1252" y="1039"/>
                    <a:pt x="1248" y="1065"/>
                  </a:cubicBezTo>
                  <a:cubicBezTo>
                    <a:pt x="1244" y="1096"/>
                    <a:pt x="1244" y="1128"/>
                    <a:pt x="1261" y="1157"/>
                  </a:cubicBezTo>
                  <a:cubicBezTo>
                    <a:pt x="1270" y="1170"/>
                    <a:pt x="1281" y="1181"/>
                    <a:pt x="1296" y="1185"/>
                  </a:cubicBezTo>
                  <a:cubicBezTo>
                    <a:pt x="1323" y="1191"/>
                    <a:pt x="1349" y="1188"/>
                    <a:pt x="1370" y="1167"/>
                  </a:cubicBezTo>
                  <a:cubicBezTo>
                    <a:pt x="1372" y="1165"/>
                    <a:pt x="1375" y="1162"/>
                    <a:pt x="1379" y="1163"/>
                  </a:cubicBezTo>
                  <a:cubicBezTo>
                    <a:pt x="1382" y="1165"/>
                    <a:pt x="1381" y="1169"/>
                    <a:pt x="1381" y="1172"/>
                  </a:cubicBezTo>
                  <a:cubicBezTo>
                    <a:pt x="1383" y="1181"/>
                    <a:pt x="1390" y="1186"/>
                    <a:pt x="1403" y="1186"/>
                  </a:cubicBezTo>
                  <a:cubicBezTo>
                    <a:pt x="1413" y="1185"/>
                    <a:pt x="1413" y="1178"/>
                    <a:pt x="1413" y="1172"/>
                  </a:cubicBezTo>
                  <a:cubicBezTo>
                    <a:pt x="1413" y="1131"/>
                    <a:pt x="1413" y="1090"/>
                    <a:pt x="1413" y="1049"/>
                  </a:cubicBezTo>
                  <a:cubicBezTo>
                    <a:pt x="1413" y="1010"/>
                    <a:pt x="1413" y="972"/>
                    <a:pt x="1413" y="934"/>
                  </a:cubicBezTo>
                  <a:close/>
                  <a:moveTo>
                    <a:pt x="1378" y="1113"/>
                  </a:moveTo>
                  <a:cubicBezTo>
                    <a:pt x="1378" y="1136"/>
                    <a:pt x="1360" y="1155"/>
                    <a:pt x="1337" y="1157"/>
                  </a:cubicBezTo>
                  <a:cubicBezTo>
                    <a:pt x="1319" y="1159"/>
                    <a:pt x="1304" y="1154"/>
                    <a:pt x="1294" y="1139"/>
                  </a:cubicBezTo>
                  <a:cubicBezTo>
                    <a:pt x="1286" y="1128"/>
                    <a:pt x="1283" y="1116"/>
                    <a:pt x="1283" y="1102"/>
                  </a:cubicBezTo>
                  <a:cubicBezTo>
                    <a:pt x="1282" y="1085"/>
                    <a:pt x="1282" y="1067"/>
                    <a:pt x="1290" y="1051"/>
                  </a:cubicBezTo>
                  <a:cubicBezTo>
                    <a:pt x="1297" y="1036"/>
                    <a:pt x="1308" y="1024"/>
                    <a:pt x="1325" y="1022"/>
                  </a:cubicBezTo>
                  <a:cubicBezTo>
                    <a:pt x="1342" y="1020"/>
                    <a:pt x="1358" y="1021"/>
                    <a:pt x="1371" y="1035"/>
                  </a:cubicBezTo>
                  <a:cubicBezTo>
                    <a:pt x="1376" y="1041"/>
                    <a:pt x="1378" y="1046"/>
                    <a:pt x="1378" y="1052"/>
                  </a:cubicBezTo>
                  <a:cubicBezTo>
                    <a:pt x="1378" y="1064"/>
                    <a:pt x="1378" y="1075"/>
                    <a:pt x="1378" y="1086"/>
                  </a:cubicBezTo>
                  <a:cubicBezTo>
                    <a:pt x="1378" y="1086"/>
                    <a:pt x="1378" y="1086"/>
                    <a:pt x="1378" y="1086"/>
                  </a:cubicBezTo>
                  <a:cubicBezTo>
                    <a:pt x="1378" y="1095"/>
                    <a:pt x="1378" y="1104"/>
                    <a:pt x="1378" y="1113"/>
                  </a:cubicBezTo>
                  <a:close/>
                  <a:moveTo>
                    <a:pt x="578" y="259"/>
                  </a:moveTo>
                  <a:cubicBezTo>
                    <a:pt x="603" y="241"/>
                    <a:pt x="611" y="213"/>
                    <a:pt x="614" y="183"/>
                  </a:cubicBezTo>
                  <a:cubicBezTo>
                    <a:pt x="615" y="171"/>
                    <a:pt x="610" y="159"/>
                    <a:pt x="609" y="147"/>
                  </a:cubicBezTo>
                  <a:cubicBezTo>
                    <a:pt x="608" y="137"/>
                    <a:pt x="603" y="129"/>
                    <a:pt x="599" y="121"/>
                  </a:cubicBezTo>
                  <a:cubicBezTo>
                    <a:pt x="579" y="87"/>
                    <a:pt x="527" y="70"/>
                    <a:pt x="488" y="85"/>
                  </a:cubicBezTo>
                  <a:cubicBezTo>
                    <a:pt x="453" y="99"/>
                    <a:pt x="436" y="127"/>
                    <a:pt x="431" y="163"/>
                  </a:cubicBezTo>
                  <a:cubicBezTo>
                    <a:pt x="429" y="180"/>
                    <a:pt x="430" y="196"/>
                    <a:pt x="436" y="213"/>
                  </a:cubicBezTo>
                  <a:cubicBezTo>
                    <a:pt x="439" y="222"/>
                    <a:pt x="442" y="232"/>
                    <a:pt x="447" y="239"/>
                  </a:cubicBezTo>
                  <a:cubicBezTo>
                    <a:pt x="465" y="265"/>
                    <a:pt x="491" y="277"/>
                    <a:pt x="525" y="276"/>
                  </a:cubicBezTo>
                  <a:cubicBezTo>
                    <a:pt x="543" y="278"/>
                    <a:pt x="562" y="271"/>
                    <a:pt x="578" y="259"/>
                  </a:cubicBezTo>
                  <a:close/>
                  <a:moveTo>
                    <a:pt x="471" y="205"/>
                  </a:moveTo>
                  <a:cubicBezTo>
                    <a:pt x="466" y="185"/>
                    <a:pt x="468" y="167"/>
                    <a:pt x="472" y="147"/>
                  </a:cubicBezTo>
                  <a:cubicBezTo>
                    <a:pt x="477" y="130"/>
                    <a:pt x="493" y="116"/>
                    <a:pt x="509" y="112"/>
                  </a:cubicBezTo>
                  <a:cubicBezTo>
                    <a:pt x="525" y="108"/>
                    <a:pt x="539" y="110"/>
                    <a:pt x="553" y="119"/>
                  </a:cubicBezTo>
                  <a:cubicBezTo>
                    <a:pt x="563" y="125"/>
                    <a:pt x="568" y="135"/>
                    <a:pt x="571" y="146"/>
                  </a:cubicBezTo>
                  <a:cubicBezTo>
                    <a:pt x="577" y="167"/>
                    <a:pt x="578" y="189"/>
                    <a:pt x="571" y="211"/>
                  </a:cubicBezTo>
                  <a:cubicBezTo>
                    <a:pt x="565" y="231"/>
                    <a:pt x="549" y="249"/>
                    <a:pt x="521" y="247"/>
                  </a:cubicBezTo>
                  <a:cubicBezTo>
                    <a:pt x="496" y="247"/>
                    <a:pt x="478" y="230"/>
                    <a:pt x="471" y="205"/>
                  </a:cubicBezTo>
                  <a:close/>
                  <a:moveTo>
                    <a:pt x="472" y="1122"/>
                  </a:moveTo>
                  <a:cubicBezTo>
                    <a:pt x="475" y="1136"/>
                    <a:pt x="481" y="1148"/>
                    <a:pt x="491" y="1158"/>
                  </a:cubicBezTo>
                  <a:cubicBezTo>
                    <a:pt x="506" y="1176"/>
                    <a:pt x="524" y="1185"/>
                    <a:pt x="548" y="1187"/>
                  </a:cubicBezTo>
                  <a:cubicBezTo>
                    <a:pt x="568" y="1188"/>
                    <a:pt x="587" y="1187"/>
                    <a:pt x="605" y="1177"/>
                  </a:cubicBezTo>
                  <a:cubicBezTo>
                    <a:pt x="632" y="1162"/>
                    <a:pt x="644" y="1136"/>
                    <a:pt x="649" y="1107"/>
                  </a:cubicBezTo>
                  <a:cubicBezTo>
                    <a:pt x="652" y="1089"/>
                    <a:pt x="649" y="1072"/>
                    <a:pt x="644" y="1054"/>
                  </a:cubicBezTo>
                  <a:cubicBezTo>
                    <a:pt x="638" y="1034"/>
                    <a:pt x="627" y="1019"/>
                    <a:pt x="610" y="1007"/>
                  </a:cubicBezTo>
                  <a:cubicBezTo>
                    <a:pt x="589" y="992"/>
                    <a:pt x="566" y="991"/>
                    <a:pt x="541" y="994"/>
                  </a:cubicBezTo>
                  <a:cubicBezTo>
                    <a:pt x="526" y="995"/>
                    <a:pt x="512" y="1002"/>
                    <a:pt x="500" y="1012"/>
                  </a:cubicBezTo>
                  <a:cubicBezTo>
                    <a:pt x="476" y="1032"/>
                    <a:pt x="469" y="1060"/>
                    <a:pt x="466" y="1095"/>
                  </a:cubicBezTo>
                  <a:cubicBezTo>
                    <a:pt x="465" y="1101"/>
                    <a:pt x="470" y="1111"/>
                    <a:pt x="472" y="1122"/>
                  </a:cubicBezTo>
                  <a:close/>
                  <a:moveTo>
                    <a:pt x="508" y="1113"/>
                  </a:moveTo>
                  <a:cubicBezTo>
                    <a:pt x="505" y="1095"/>
                    <a:pt x="506" y="1078"/>
                    <a:pt x="508" y="1061"/>
                  </a:cubicBezTo>
                  <a:cubicBezTo>
                    <a:pt x="511" y="1042"/>
                    <a:pt x="538" y="1021"/>
                    <a:pt x="554" y="1022"/>
                  </a:cubicBezTo>
                  <a:cubicBezTo>
                    <a:pt x="570" y="1022"/>
                    <a:pt x="586" y="1024"/>
                    <a:pt x="596" y="1037"/>
                  </a:cubicBezTo>
                  <a:cubicBezTo>
                    <a:pt x="602" y="1044"/>
                    <a:pt x="607" y="1052"/>
                    <a:pt x="608" y="1061"/>
                  </a:cubicBezTo>
                  <a:cubicBezTo>
                    <a:pt x="608" y="1064"/>
                    <a:pt x="609" y="1067"/>
                    <a:pt x="610" y="1070"/>
                  </a:cubicBezTo>
                  <a:cubicBezTo>
                    <a:pt x="618" y="1089"/>
                    <a:pt x="612" y="1107"/>
                    <a:pt x="607" y="1125"/>
                  </a:cubicBezTo>
                  <a:cubicBezTo>
                    <a:pt x="601" y="1143"/>
                    <a:pt x="588" y="1160"/>
                    <a:pt x="558" y="1157"/>
                  </a:cubicBezTo>
                  <a:cubicBezTo>
                    <a:pt x="530" y="1157"/>
                    <a:pt x="512" y="1141"/>
                    <a:pt x="508" y="1113"/>
                  </a:cubicBezTo>
                  <a:close/>
                  <a:moveTo>
                    <a:pt x="430" y="716"/>
                  </a:moveTo>
                  <a:cubicBezTo>
                    <a:pt x="450" y="703"/>
                    <a:pt x="459" y="683"/>
                    <a:pt x="464" y="661"/>
                  </a:cubicBezTo>
                  <a:cubicBezTo>
                    <a:pt x="468" y="648"/>
                    <a:pt x="467" y="635"/>
                    <a:pt x="466" y="621"/>
                  </a:cubicBezTo>
                  <a:cubicBezTo>
                    <a:pt x="463" y="592"/>
                    <a:pt x="453" y="567"/>
                    <a:pt x="427" y="550"/>
                  </a:cubicBezTo>
                  <a:cubicBezTo>
                    <a:pt x="401" y="534"/>
                    <a:pt x="372" y="532"/>
                    <a:pt x="345" y="541"/>
                  </a:cubicBezTo>
                  <a:cubicBezTo>
                    <a:pt x="310" y="552"/>
                    <a:pt x="291" y="580"/>
                    <a:pt x="287" y="617"/>
                  </a:cubicBezTo>
                  <a:cubicBezTo>
                    <a:pt x="286" y="629"/>
                    <a:pt x="286" y="641"/>
                    <a:pt x="287" y="654"/>
                  </a:cubicBezTo>
                  <a:cubicBezTo>
                    <a:pt x="289" y="671"/>
                    <a:pt x="295" y="686"/>
                    <a:pt x="306" y="700"/>
                  </a:cubicBezTo>
                  <a:cubicBezTo>
                    <a:pt x="324" y="722"/>
                    <a:pt x="348" y="733"/>
                    <a:pt x="378" y="731"/>
                  </a:cubicBezTo>
                  <a:cubicBezTo>
                    <a:pt x="396" y="733"/>
                    <a:pt x="414" y="727"/>
                    <a:pt x="430" y="716"/>
                  </a:cubicBezTo>
                  <a:close/>
                  <a:moveTo>
                    <a:pt x="331" y="592"/>
                  </a:moveTo>
                  <a:cubicBezTo>
                    <a:pt x="339" y="580"/>
                    <a:pt x="349" y="569"/>
                    <a:pt x="365" y="567"/>
                  </a:cubicBezTo>
                  <a:cubicBezTo>
                    <a:pt x="387" y="564"/>
                    <a:pt x="406" y="568"/>
                    <a:pt x="419" y="588"/>
                  </a:cubicBezTo>
                  <a:cubicBezTo>
                    <a:pt x="423" y="595"/>
                    <a:pt x="426" y="603"/>
                    <a:pt x="427" y="610"/>
                  </a:cubicBezTo>
                  <a:cubicBezTo>
                    <a:pt x="433" y="635"/>
                    <a:pt x="431" y="661"/>
                    <a:pt x="416" y="684"/>
                  </a:cubicBezTo>
                  <a:cubicBezTo>
                    <a:pt x="403" y="706"/>
                    <a:pt x="362" y="708"/>
                    <a:pt x="345" y="692"/>
                  </a:cubicBezTo>
                  <a:cubicBezTo>
                    <a:pt x="329" y="678"/>
                    <a:pt x="323" y="661"/>
                    <a:pt x="323" y="631"/>
                  </a:cubicBezTo>
                  <a:cubicBezTo>
                    <a:pt x="323" y="619"/>
                    <a:pt x="323" y="605"/>
                    <a:pt x="331" y="592"/>
                  </a:cubicBezTo>
                  <a:close/>
                  <a:moveTo>
                    <a:pt x="1073" y="259"/>
                  </a:moveTo>
                  <a:cubicBezTo>
                    <a:pt x="1073" y="269"/>
                    <a:pt x="1075" y="272"/>
                    <a:pt x="1086" y="272"/>
                  </a:cubicBezTo>
                  <a:cubicBezTo>
                    <a:pt x="1088" y="272"/>
                    <a:pt x="1090" y="272"/>
                    <a:pt x="1092" y="272"/>
                  </a:cubicBezTo>
                  <a:cubicBezTo>
                    <a:pt x="1105" y="272"/>
                    <a:pt x="1106" y="271"/>
                    <a:pt x="1106" y="258"/>
                  </a:cubicBezTo>
                  <a:cubicBezTo>
                    <a:pt x="1106" y="221"/>
                    <a:pt x="1106" y="184"/>
                    <a:pt x="1106" y="147"/>
                  </a:cubicBezTo>
                  <a:cubicBezTo>
                    <a:pt x="1106" y="143"/>
                    <a:pt x="1106" y="140"/>
                    <a:pt x="1107" y="137"/>
                  </a:cubicBezTo>
                  <a:cubicBezTo>
                    <a:pt x="1117" y="117"/>
                    <a:pt x="1157" y="104"/>
                    <a:pt x="1177" y="114"/>
                  </a:cubicBezTo>
                  <a:cubicBezTo>
                    <a:pt x="1179" y="115"/>
                    <a:pt x="1180" y="117"/>
                    <a:pt x="1182" y="118"/>
                  </a:cubicBezTo>
                  <a:cubicBezTo>
                    <a:pt x="1194" y="131"/>
                    <a:pt x="1196" y="147"/>
                    <a:pt x="1196" y="163"/>
                  </a:cubicBezTo>
                  <a:cubicBezTo>
                    <a:pt x="1197" y="195"/>
                    <a:pt x="1196" y="226"/>
                    <a:pt x="1196" y="258"/>
                  </a:cubicBezTo>
                  <a:cubicBezTo>
                    <a:pt x="1196" y="271"/>
                    <a:pt x="1197" y="272"/>
                    <a:pt x="1210" y="272"/>
                  </a:cubicBezTo>
                  <a:cubicBezTo>
                    <a:pt x="1212" y="272"/>
                    <a:pt x="1213" y="272"/>
                    <a:pt x="1215" y="272"/>
                  </a:cubicBezTo>
                  <a:cubicBezTo>
                    <a:pt x="1227" y="272"/>
                    <a:pt x="1229" y="270"/>
                    <a:pt x="1229" y="258"/>
                  </a:cubicBezTo>
                  <a:cubicBezTo>
                    <a:pt x="1229" y="222"/>
                    <a:pt x="1229" y="187"/>
                    <a:pt x="1229" y="151"/>
                  </a:cubicBezTo>
                  <a:cubicBezTo>
                    <a:pt x="1229" y="142"/>
                    <a:pt x="1228" y="132"/>
                    <a:pt x="1225" y="123"/>
                  </a:cubicBezTo>
                  <a:cubicBezTo>
                    <a:pt x="1219" y="105"/>
                    <a:pt x="1208" y="91"/>
                    <a:pt x="1189" y="85"/>
                  </a:cubicBezTo>
                  <a:cubicBezTo>
                    <a:pt x="1173" y="80"/>
                    <a:pt x="1156" y="84"/>
                    <a:pt x="1139" y="84"/>
                  </a:cubicBezTo>
                  <a:cubicBezTo>
                    <a:pt x="1137" y="84"/>
                    <a:pt x="1136" y="86"/>
                    <a:pt x="1134" y="87"/>
                  </a:cubicBezTo>
                  <a:cubicBezTo>
                    <a:pt x="1128" y="91"/>
                    <a:pt x="1121" y="96"/>
                    <a:pt x="1115" y="100"/>
                  </a:cubicBezTo>
                  <a:cubicBezTo>
                    <a:pt x="1113" y="102"/>
                    <a:pt x="1111" y="105"/>
                    <a:pt x="1108" y="103"/>
                  </a:cubicBezTo>
                  <a:cubicBezTo>
                    <a:pt x="1105" y="102"/>
                    <a:pt x="1106" y="98"/>
                    <a:pt x="1106" y="96"/>
                  </a:cubicBezTo>
                  <a:cubicBezTo>
                    <a:pt x="1106" y="69"/>
                    <a:pt x="1106" y="43"/>
                    <a:pt x="1106" y="17"/>
                  </a:cubicBezTo>
                  <a:cubicBezTo>
                    <a:pt x="1106" y="0"/>
                    <a:pt x="1106" y="0"/>
                    <a:pt x="1089" y="0"/>
                  </a:cubicBezTo>
                  <a:cubicBezTo>
                    <a:pt x="1074" y="0"/>
                    <a:pt x="1073" y="1"/>
                    <a:pt x="1073" y="16"/>
                  </a:cubicBezTo>
                  <a:cubicBezTo>
                    <a:pt x="1073" y="56"/>
                    <a:pt x="1073" y="96"/>
                    <a:pt x="1073" y="136"/>
                  </a:cubicBezTo>
                  <a:cubicBezTo>
                    <a:pt x="1073" y="177"/>
                    <a:pt x="1073" y="218"/>
                    <a:pt x="1073" y="259"/>
                  </a:cubicBezTo>
                  <a:close/>
                  <a:moveTo>
                    <a:pt x="1150" y="1092"/>
                  </a:moveTo>
                  <a:cubicBezTo>
                    <a:pt x="1168" y="1092"/>
                    <a:pt x="1186" y="1092"/>
                    <a:pt x="1204" y="1092"/>
                  </a:cubicBezTo>
                  <a:cubicBezTo>
                    <a:pt x="1215" y="1092"/>
                    <a:pt x="1218" y="1087"/>
                    <a:pt x="1219" y="1077"/>
                  </a:cubicBezTo>
                  <a:cubicBezTo>
                    <a:pt x="1220" y="1062"/>
                    <a:pt x="1216" y="1049"/>
                    <a:pt x="1210" y="1036"/>
                  </a:cubicBezTo>
                  <a:cubicBezTo>
                    <a:pt x="1204" y="1020"/>
                    <a:pt x="1193" y="1008"/>
                    <a:pt x="1177" y="1001"/>
                  </a:cubicBezTo>
                  <a:cubicBezTo>
                    <a:pt x="1155" y="992"/>
                    <a:pt x="1133" y="991"/>
                    <a:pt x="1109" y="999"/>
                  </a:cubicBezTo>
                  <a:cubicBezTo>
                    <a:pt x="1079" y="1010"/>
                    <a:pt x="1062" y="1031"/>
                    <a:pt x="1056" y="1061"/>
                  </a:cubicBezTo>
                  <a:cubicBezTo>
                    <a:pt x="1051" y="1090"/>
                    <a:pt x="1052" y="1120"/>
                    <a:pt x="1069" y="1148"/>
                  </a:cubicBezTo>
                  <a:cubicBezTo>
                    <a:pt x="1081" y="1169"/>
                    <a:pt x="1100" y="1180"/>
                    <a:pt x="1122" y="1185"/>
                  </a:cubicBezTo>
                  <a:cubicBezTo>
                    <a:pt x="1149" y="1190"/>
                    <a:pt x="1176" y="1186"/>
                    <a:pt x="1200" y="1171"/>
                  </a:cubicBezTo>
                  <a:cubicBezTo>
                    <a:pt x="1206" y="1168"/>
                    <a:pt x="1213" y="1165"/>
                    <a:pt x="1214" y="1157"/>
                  </a:cubicBezTo>
                  <a:cubicBezTo>
                    <a:pt x="1215" y="1147"/>
                    <a:pt x="1202" y="1139"/>
                    <a:pt x="1193" y="1144"/>
                  </a:cubicBezTo>
                  <a:cubicBezTo>
                    <a:pt x="1187" y="1147"/>
                    <a:pt x="1180" y="1150"/>
                    <a:pt x="1174" y="1153"/>
                  </a:cubicBezTo>
                  <a:cubicBezTo>
                    <a:pt x="1158" y="1161"/>
                    <a:pt x="1140" y="1161"/>
                    <a:pt x="1124" y="1155"/>
                  </a:cubicBezTo>
                  <a:cubicBezTo>
                    <a:pt x="1112" y="1151"/>
                    <a:pt x="1102" y="1142"/>
                    <a:pt x="1096" y="1129"/>
                  </a:cubicBezTo>
                  <a:cubicBezTo>
                    <a:pt x="1092" y="1121"/>
                    <a:pt x="1091" y="1112"/>
                    <a:pt x="1089" y="1104"/>
                  </a:cubicBezTo>
                  <a:cubicBezTo>
                    <a:pt x="1087" y="1093"/>
                    <a:pt x="1087" y="1092"/>
                    <a:pt x="1099" y="1092"/>
                  </a:cubicBezTo>
                  <a:cubicBezTo>
                    <a:pt x="1116" y="1092"/>
                    <a:pt x="1133" y="1092"/>
                    <a:pt x="1150" y="1092"/>
                  </a:cubicBezTo>
                  <a:cubicBezTo>
                    <a:pt x="1150" y="1092"/>
                    <a:pt x="1150" y="1092"/>
                    <a:pt x="1150" y="1092"/>
                  </a:cubicBezTo>
                  <a:close/>
                  <a:moveTo>
                    <a:pt x="1099" y="1070"/>
                  </a:moveTo>
                  <a:cubicBezTo>
                    <a:pt x="1092" y="1071"/>
                    <a:pt x="1089" y="1067"/>
                    <a:pt x="1091" y="1060"/>
                  </a:cubicBezTo>
                  <a:cubicBezTo>
                    <a:pt x="1094" y="1045"/>
                    <a:pt x="1108" y="1023"/>
                    <a:pt x="1128" y="1022"/>
                  </a:cubicBezTo>
                  <a:cubicBezTo>
                    <a:pt x="1142" y="1021"/>
                    <a:pt x="1156" y="1018"/>
                    <a:pt x="1168" y="1029"/>
                  </a:cubicBezTo>
                  <a:cubicBezTo>
                    <a:pt x="1181" y="1038"/>
                    <a:pt x="1185" y="1051"/>
                    <a:pt x="1187" y="1066"/>
                  </a:cubicBezTo>
                  <a:cubicBezTo>
                    <a:pt x="1188" y="1071"/>
                    <a:pt x="1183" y="1070"/>
                    <a:pt x="1180" y="1070"/>
                  </a:cubicBezTo>
                  <a:cubicBezTo>
                    <a:pt x="1166" y="1070"/>
                    <a:pt x="1153" y="1070"/>
                    <a:pt x="1139" y="1070"/>
                  </a:cubicBezTo>
                  <a:cubicBezTo>
                    <a:pt x="1139" y="1070"/>
                    <a:pt x="1139" y="1070"/>
                    <a:pt x="1139" y="1070"/>
                  </a:cubicBezTo>
                  <a:cubicBezTo>
                    <a:pt x="1126" y="1070"/>
                    <a:pt x="1113" y="1070"/>
                    <a:pt x="1099" y="1070"/>
                  </a:cubicBezTo>
                  <a:close/>
                  <a:moveTo>
                    <a:pt x="1741" y="1092"/>
                  </a:moveTo>
                  <a:cubicBezTo>
                    <a:pt x="1759" y="1092"/>
                    <a:pt x="1776" y="1092"/>
                    <a:pt x="1793" y="1092"/>
                  </a:cubicBezTo>
                  <a:cubicBezTo>
                    <a:pt x="1806" y="1092"/>
                    <a:pt x="1808" y="1089"/>
                    <a:pt x="1808" y="1076"/>
                  </a:cubicBezTo>
                  <a:cubicBezTo>
                    <a:pt x="1809" y="1063"/>
                    <a:pt x="1807" y="1051"/>
                    <a:pt x="1802" y="1038"/>
                  </a:cubicBezTo>
                  <a:cubicBezTo>
                    <a:pt x="1794" y="1021"/>
                    <a:pt x="1782" y="1008"/>
                    <a:pt x="1764" y="1000"/>
                  </a:cubicBezTo>
                  <a:cubicBezTo>
                    <a:pt x="1742" y="991"/>
                    <a:pt x="1720" y="991"/>
                    <a:pt x="1698" y="1000"/>
                  </a:cubicBezTo>
                  <a:cubicBezTo>
                    <a:pt x="1681" y="1006"/>
                    <a:pt x="1668" y="1016"/>
                    <a:pt x="1659" y="1031"/>
                  </a:cubicBezTo>
                  <a:cubicBezTo>
                    <a:pt x="1646" y="1050"/>
                    <a:pt x="1643" y="1071"/>
                    <a:pt x="1644" y="1094"/>
                  </a:cubicBezTo>
                  <a:cubicBezTo>
                    <a:pt x="1644" y="1110"/>
                    <a:pt x="1647" y="1127"/>
                    <a:pt x="1655" y="1141"/>
                  </a:cubicBezTo>
                  <a:cubicBezTo>
                    <a:pt x="1669" y="1168"/>
                    <a:pt x="1691" y="1183"/>
                    <a:pt x="1722" y="1186"/>
                  </a:cubicBezTo>
                  <a:cubicBezTo>
                    <a:pt x="1750" y="1188"/>
                    <a:pt x="1775" y="1183"/>
                    <a:pt x="1798" y="1165"/>
                  </a:cubicBezTo>
                  <a:cubicBezTo>
                    <a:pt x="1803" y="1161"/>
                    <a:pt x="1806" y="1157"/>
                    <a:pt x="1802" y="1151"/>
                  </a:cubicBezTo>
                  <a:cubicBezTo>
                    <a:pt x="1798" y="1144"/>
                    <a:pt x="1791" y="1140"/>
                    <a:pt x="1783" y="1144"/>
                  </a:cubicBezTo>
                  <a:cubicBezTo>
                    <a:pt x="1778" y="1147"/>
                    <a:pt x="1771" y="1149"/>
                    <a:pt x="1766" y="1152"/>
                  </a:cubicBezTo>
                  <a:cubicBezTo>
                    <a:pt x="1749" y="1161"/>
                    <a:pt x="1730" y="1162"/>
                    <a:pt x="1714" y="1155"/>
                  </a:cubicBezTo>
                  <a:cubicBezTo>
                    <a:pt x="1692" y="1145"/>
                    <a:pt x="1680" y="1127"/>
                    <a:pt x="1679" y="1102"/>
                  </a:cubicBezTo>
                  <a:cubicBezTo>
                    <a:pt x="1678" y="1095"/>
                    <a:pt x="1681" y="1092"/>
                    <a:pt x="1689" y="1092"/>
                  </a:cubicBezTo>
                  <a:cubicBezTo>
                    <a:pt x="1706" y="1092"/>
                    <a:pt x="1724" y="1092"/>
                    <a:pt x="1741" y="1092"/>
                  </a:cubicBezTo>
                  <a:cubicBezTo>
                    <a:pt x="1741" y="1092"/>
                    <a:pt x="1741" y="1092"/>
                    <a:pt x="1741" y="1092"/>
                  </a:cubicBezTo>
                  <a:close/>
                  <a:moveTo>
                    <a:pt x="1690" y="1070"/>
                  </a:moveTo>
                  <a:cubicBezTo>
                    <a:pt x="1683" y="1071"/>
                    <a:pt x="1680" y="1068"/>
                    <a:pt x="1681" y="1062"/>
                  </a:cubicBezTo>
                  <a:cubicBezTo>
                    <a:pt x="1683" y="1048"/>
                    <a:pt x="1697" y="1024"/>
                    <a:pt x="1716" y="1022"/>
                  </a:cubicBezTo>
                  <a:cubicBezTo>
                    <a:pt x="1731" y="1020"/>
                    <a:pt x="1747" y="1018"/>
                    <a:pt x="1760" y="1030"/>
                  </a:cubicBezTo>
                  <a:cubicBezTo>
                    <a:pt x="1771" y="1038"/>
                    <a:pt x="1775" y="1050"/>
                    <a:pt x="1778" y="1062"/>
                  </a:cubicBezTo>
                  <a:cubicBezTo>
                    <a:pt x="1780" y="1068"/>
                    <a:pt x="1775" y="1070"/>
                    <a:pt x="1769" y="1070"/>
                  </a:cubicBezTo>
                  <a:cubicBezTo>
                    <a:pt x="1756" y="1070"/>
                    <a:pt x="1742" y="1070"/>
                    <a:pt x="1729" y="1070"/>
                  </a:cubicBezTo>
                  <a:cubicBezTo>
                    <a:pt x="1729" y="1070"/>
                    <a:pt x="1729" y="1070"/>
                    <a:pt x="1729" y="1070"/>
                  </a:cubicBezTo>
                  <a:cubicBezTo>
                    <a:pt x="1716" y="1070"/>
                    <a:pt x="1703" y="1070"/>
                    <a:pt x="1690" y="1070"/>
                  </a:cubicBezTo>
                  <a:close/>
                  <a:moveTo>
                    <a:pt x="68" y="581"/>
                  </a:moveTo>
                  <a:cubicBezTo>
                    <a:pt x="68" y="573"/>
                    <a:pt x="70" y="568"/>
                    <a:pt x="80" y="569"/>
                  </a:cubicBezTo>
                  <a:cubicBezTo>
                    <a:pt x="90" y="570"/>
                    <a:pt x="101" y="570"/>
                    <a:pt x="111" y="569"/>
                  </a:cubicBezTo>
                  <a:cubicBezTo>
                    <a:pt x="120" y="569"/>
                    <a:pt x="120" y="563"/>
                    <a:pt x="120" y="556"/>
                  </a:cubicBezTo>
                  <a:cubicBezTo>
                    <a:pt x="120" y="549"/>
                    <a:pt x="119" y="544"/>
                    <a:pt x="111" y="544"/>
                  </a:cubicBezTo>
                  <a:cubicBezTo>
                    <a:pt x="104" y="544"/>
                    <a:pt x="97" y="544"/>
                    <a:pt x="91" y="544"/>
                  </a:cubicBezTo>
                  <a:cubicBezTo>
                    <a:pt x="66" y="544"/>
                    <a:pt x="65" y="543"/>
                    <a:pt x="68" y="518"/>
                  </a:cubicBezTo>
                  <a:cubicBezTo>
                    <a:pt x="69" y="504"/>
                    <a:pt x="83" y="487"/>
                    <a:pt x="99" y="489"/>
                  </a:cubicBezTo>
                  <a:cubicBezTo>
                    <a:pt x="103" y="489"/>
                    <a:pt x="107" y="489"/>
                    <a:pt x="110" y="488"/>
                  </a:cubicBezTo>
                  <a:cubicBezTo>
                    <a:pt x="118" y="487"/>
                    <a:pt x="123" y="479"/>
                    <a:pt x="123" y="471"/>
                  </a:cubicBezTo>
                  <a:cubicBezTo>
                    <a:pt x="123" y="461"/>
                    <a:pt x="116" y="462"/>
                    <a:pt x="109" y="460"/>
                  </a:cubicBezTo>
                  <a:cubicBezTo>
                    <a:pt x="100" y="458"/>
                    <a:pt x="92" y="460"/>
                    <a:pt x="84" y="460"/>
                  </a:cubicBezTo>
                  <a:cubicBezTo>
                    <a:pt x="68" y="461"/>
                    <a:pt x="56" y="469"/>
                    <a:pt x="47" y="480"/>
                  </a:cubicBezTo>
                  <a:cubicBezTo>
                    <a:pt x="34" y="493"/>
                    <a:pt x="32" y="511"/>
                    <a:pt x="32" y="529"/>
                  </a:cubicBezTo>
                  <a:cubicBezTo>
                    <a:pt x="32" y="544"/>
                    <a:pt x="32" y="544"/>
                    <a:pt x="17" y="544"/>
                  </a:cubicBezTo>
                  <a:cubicBezTo>
                    <a:pt x="4" y="543"/>
                    <a:pt x="0" y="548"/>
                    <a:pt x="4" y="561"/>
                  </a:cubicBezTo>
                  <a:cubicBezTo>
                    <a:pt x="6" y="569"/>
                    <a:pt x="13" y="568"/>
                    <a:pt x="19" y="569"/>
                  </a:cubicBezTo>
                  <a:cubicBezTo>
                    <a:pt x="32" y="571"/>
                    <a:pt x="32" y="571"/>
                    <a:pt x="32" y="584"/>
                  </a:cubicBezTo>
                  <a:cubicBezTo>
                    <a:pt x="32" y="624"/>
                    <a:pt x="32" y="664"/>
                    <a:pt x="32" y="704"/>
                  </a:cubicBezTo>
                  <a:cubicBezTo>
                    <a:pt x="32" y="731"/>
                    <a:pt x="32" y="730"/>
                    <a:pt x="57" y="731"/>
                  </a:cubicBezTo>
                  <a:cubicBezTo>
                    <a:pt x="66" y="731"/>
                    <a:pt x="68" y="727"/>
                    <a:pt x="68" y="720"/>
                  </a:cubicBezTo>
                  <a:cubicBezTo>
                    <a:pt x="68" y="697"/>
                    <a:pt x="68" y="674"/>
                    <a:pt x="68" y="651"/>
                  </a:cubicBezTo>
                  <a:cubicBezTo>
                    <a:pt x="68" y="628"/>
                    <a:pt x="68" y="605"/>
                    <a:pt x="68" y="581"/>
                  </a:cubicBezTo>
                  <a:close/>
                  <a:moveTo>
                    <a:pt x="278" y="1165"/>
                  </a:moveTo>
                  <a:cubicBezTo>
                    <a:pt x="278" y="1183"/>
                    <a:pt x="278" y="1183"/>
                    <a:pt x="296" y="1184"/>
                  </a:cubicBezTo>
                  <a:cubicBezTo>
                    <a:pt x="310" y="1184"/>
                    <a:pt x="310" y="1184"/>
                    <a:pt x="310" y="1169"/>
                  </a:cubicBezTo>
                  <a:cubicBezTo>
                    <a:pt x="310" y="1132"/>
                    <a:pt x="310" y="1095"/>
                    <a:pt x="310" y="1058"/>
                  </a:cubicBezTo>
                  <a:cubicBezTo>
                    <a:pt x="310" y="1052"/>
                    <a:pt x="312" y="1047"/>
                    <a:pt x="316" y="1042"/>
                  </a:cubicBezTo>
                  <a:cubicBezTo>
                    <a:pt x="324" y="1033"/>
                    <a:pt x="334" y="1027"/>
                    <a:pt x="345" y="1024"/>
                  </a:cubicBezTo>
                  <a:cubicBezTo>
                    <a:pt x="357" y="1020"/>
                    <a:pt x="371" y="1018"/>
                    <a:pt x="383" y="1028"/>
                  </a:cubicBezTo>
                  <a:cubicBezTo>
                    <a:pt x="397" y="1039"/>
                    <a:pt x="401" y="1054"/>
                    <a:pt x="401" y="1071"/>
                  </a:cubicBezTo>
                  <a:cubicBezTo>
                    <a:pt x="401" y="1102"/>
                    <a:pt x="401" y="1132"/>
                    <a:pt x="401" y="1163"/>
                  </a:cubicBezTo>
                  <a:cubicBezTo>
                    <a:pt x="401" y="1183"/>
                    <a:pt x="401" y="1182"/>
                    <a:pt x="420" y="1184"/>
                  </a:cubicBezTo>
                  <a:cubicBezTo>
                    <a:pt x="429" y="1185"/>
                    <a:pt x="433" y="1181"/>
                    <a:pt x="433" y="1173"/>
                  </a:cubicBezTo>
                  <a:cubicBezTo>
                    <a:pt x="432" y="1130"/>
                    <a:pt x="435" y="1087"/>
                    <a:pt x="431" y="1044"/>
                  </a:cubicBezTo>
                  <a:cubicBezTo>
                    <a:pt x="427" y="1014"/>
                    <a:pt x="404" y="996"/>
                    <a:pt x="376" y="994"/>
                  </a:cubicBezTo>
                  <a:cubicBezTo>
                    <a:pt x="353" y="992"/>
                    <a:pt x="333" y="1000"/>
                    <a:pt x="317" y="1017"/>
                  </a:cubicBezTo>
                  <a:cubicBezTo>
                    <a:pt x="312" y="1021"/>
                    <a:pt x="311" y="1019"/>
                    <a:pt x="309" y="1015"/>
                  </a:cubicBezTo>
                  <a:cubicBezTo>
                    <a:pt x="309" y="1013"/>
                    <a:pt x="308" y="1011"/>
                    <a:pt x="308" y="1008"/>
                  </a:cubicBezTo>
                  <a:cubicBezTo>
                    <a:pt x="306" y="1001"/>
                    <a:pt x="298" y="997"/>
                    <a:pt x="287" y="998"/>
                  </a:cubicBezTo>
                  <a:cubicBezTo>
                    <a:pt x="279" y="999"/>
                    <a:pt x="278" y="1004"/>
                    <a:pt x="278" y="1011"/>
                  </a:cubicBezTo>
                  <a:cubicBezTo>
                    <a:pt x="278" y="1037"/>
                    <a:pt x="278" y="1064"/>
                    <a:pt x="278" y="1091"/>
                  </a:cubicBezTo>
                  <a:cubicBezTo>
                    <a:pt x="278" y="1115"/>
                    <a:pt x="278" y="1140"/>
                    <a:pt x="278" y="1165"/>
                  </a:cubicBezTo>
                  <a:close/>
                  <a:moveTo>
                    <a:pt x="150" y="705"/>
                  </a:moveTo>
                  <a:cubicBezTo>
                    <a:pt x="150" y="734"/>
                    <a:pt x="145" y="730"/>
                    <a:pt x="176" y="731"/>
                  </a:cubicBezTo>
                  <a:cubicBezTo>
                    <a:pt x="185" y="731"/>
                    <a:pt x="187" y="727"/>
                    <a:pt x="187" y="719"/>
                  </a:cubicBezTo>
                  <a:cubicBezTo>
                    <a:pt x="187" y="685"/>
                    <a:pt x="187" y="651"/>
                    <a:pt x="187" y="618"/>
                  </a:cubicBezTo>
                  <a:cubicBezTo>
                    <a:pt x="187" y="597"/>
                    <a:pt x="204" y="578"/>
                    <a:pt x="225" y="574"/>
                  </a:cubicBezTo>
                  <a:cubicBezTo>
                    <a:pt x="232" y="572"/>
                    <a:pt x="240" y="574"/>
                    <a:pt x="247" y="575"/>
                  </a:cubicBezTo>
                  <a:cubicBezTo>
                    <a:pt x="257" y="576"/>
                    <a:pt x="261" y="572"/>
                    <a:pt x="265" y="564"/>
                  </a:cubicBezTo>
                  <a:cubicBezTo>
                    <a:pt x="269" y="556"/>
                    <a:pt x="267" y="542"/>
                    <a:pt x="261" y="540"/>
                  </a:cubicBezTo>
                  <a:cubicBezTo>
                    <a:pt x="253" y="538"/>
                    <a:pt x="244" y="534"/>
                    <a:pt x="237" y="536"/>
                  </a:cubicBezTo>
                  <a:cubicBezTo>
                    <a:pt x="228" y="537"/>
                    <a:pt x="217" y="537"/>
                    <a:pt x="209" y="544"/>
                  </a:cubicBezTo>
                  <a:cubicBezTo>
                    <a:pt x="204" y="549"/>
                    <a:pt x="198" y="553"/>
                    <a:pt x="194" y="558"/>
                  </a:cubicBezTo>
                  <a:cubicBezTo>
                    <a:pt x="192" y="561"/>
                    <a:pt x="189" y="563"/>
                    <a:pt x="185" y="562"/>
                  </a:cubicBezTo>
                  <a:cubicBezTo>
                    <a:pt x="182" y="561"/>
                    <a:pt x="182" y="558"/>
                    <a:pt x="182" y="556"/>
                  </a:cubicBezTo>
                  <a:cubicBezTo>
                    <a:pt x="180" y="539"/>
                    <a:pt x="179" y="539"/>
                    <a:pt x="162" y="539"/>
                  </a:cubicBezTo>
                  <a:cubicBezTo>
                    <a:pt x="151" y="539"/>
                    <a:pt x="150" y="540"/>
                    <a:pt x="150" y="551"/>
                  </a:cubicBezTo>
                  <a:cubicBezTo>
                    <a:pt x="150" y="579"/>
                    <a:pt x="150" y="607"/>
                    <a:pt x="150" y="635"/>
                  </a:cubicBezTo>
                  <a:cubicBezTo>
                    <a:pt x="150" y="658"/>
                    <a:pt x="149" y="682"/>
                    <a:pt x="150" y="705"/>
                  </a:cubicBezTo>
                  <a:close/>
                  <a:moveTo>
                    <a:pt x="1011" y="1049"/>
                  </a:moveTo>
                  <a:cubicBezTo>
                    <a:pt x="1011" y="1008"/>
                    <a:pt x="1011" y="966"/>
                    <a:pt x="1011" y="924"/>
                  </a:cubicBezTo>
                  <a:cubicBezTo>
                    <a:pt x="1011" y="913"/>
                    <a:pt x="1008" y="910"/>
                    <a:pt x="997" y="910"/>
                  </a:cubicBezTo>
                  <a:cubicBezTo>
                    <a:pt x="995" y="910"/>
                    <a:pt x="992" y="910"/>
                    <a:pt x="990" y="910"/>
                  </a:cubicBezTo>
                  <a:cubicBezTo>
                    <a:pt x="976" y="910"/>
                    <a:pt x="975" y="911"/>
                    <a:pt x="975" y="926"/>
                  </a:cubicBezTo>
                  <a:cubicBezTo>
                    <a:pt x="975" y="1006"/>
                    <a:pt x="975" y="1085"/>
                    <a:pt x="975" y="1165"/>
                  </a:cubicBezTo>
                  <a:cubicBezTo>
                    <a:pt x="975" y="1185"/>
                    <a:pt x="975" y="1185"/>
                    <a:pt x="994" y="1185"/>
                  </a:cubicBezTo>
                  <a:cubicBezTo>
                    <a:pt x="1009" y="1185"/>
                    <a:pt x="1011" y="1184"/>
                    <a:pt x="1011" y="1169"/>
                  </a:cubicBezTo>
                  <a:cubicBezTo>
                    <a:pt x="1011" y="1129"/>
                    <a:pt x="1011" y="1089"/>
                    <a:pt x="1011" y="1049"/>
                  </a:cubicBezTo>
                  <a:cubicBezTo>
                    <a:pt x="1011" y="1049"/>
                    <a:pt x="1011" y="1049"/>
                    <a:pt x="1011" y="1049"/>
                  </a:cubicBezTo>
                  <a:close/>
                  <a:moveTo>
                    <a:pt x="296" y="176"/>
                  </a:moveTo>
                  <a:cubicBezTo>
                    <a:pt x="296" y="201"/>
                    <a:pt x="296" y="226"/>
                    <a:pt x="296" y="251"/>
                  </a:cubicBezTo>
                  <a:cubicBezTo>
                    <a:pt x="295" y="276"/>
                    <a:pt x="296" y="274"/>
                    <a:pt x="318" y="274"/>
                  </a:cubicBezTo>
                  <a:cubicBezTo>
                    <a:pt x="330" y="274"/>
                    <a:pt x="331" y="274"/>
                    <a:pt x="331" y="260"/>
                  </a:cubicBezTo>
                  <a:cubicBezTo>
                    <a:pt x="331" y="232"/>
                    <a:pt x="331" y="204"/>
                    <a:pt x="331" y="176"/>
                  </a:cubicBezTo>
                  <a:cubicBezTo>
                    <a:pt x="331" y="165"/>
                    <a:pt x="331" y="155"/>
                    <a:pt x="337" y="145"/>
                  </a:cubicBezTo>
                  <a:cubicBezTo>
                    <a:pt x="349" y="123"/>
                    <a:pt x="359" y="117"/>
                    <a:pt x="377" y="118"/>
                  </a:cubicBezTo>
                  <a:cubicBezTo>
                    <a:pt x="383" y="118"/>
                    <a:pt x="389" y="119"/>
                    <a:pt x="395" y="120"/>
                  </a:cubicBezTo>
                  <a:cubicBezTo>
                    <a:pt x="401" y="120"/>
                    <a:pt x="407" y="118"/>
                    <a:pt x="408" y="112"/>
                  </a:cubicBezTo>
                  <a:cubicBezTo>
                    <a:pt x="409" y="103"/>
                    <a:pt x="415" y="93"/>
                    <a:pt x="407" y="85"/>
                  </a:cubicBezTo>
                  <a:cubicBezTo>
                    <a:pt x="406" y="84"/>
                    <a:pt x="404" y="84"/>
                    <a:pt x="402" y="84"/>
                  </a:cubicBezTo>
                  <a:cubicBezTo>
                    <a:pt x="376" y="78"/>
                    <a:pt x="353" y="82"/>
                    <a:pt x="337" y="106"/>
                  </a:cubicBezTo>
                  <a:cubicBezTo>
                    <a:pt x="336" y="108"/>
                    <a:pt x="335" y="110"/>
                    <a:pt x="333" y="109"/>
                  </a:cubicBezTo>
                  <a:cubicBezTo>
                    <a:pt x="331" y="109"/>
                    <a:pt x="330" y="107"/>
                    <a:pt x="330" y="105"/>
                  </a:cubicBezTo>
                  <a:cubicBezTo>
                    <a:pt x="329" y="101"/>
                    <a:pt x="329" y="97"/>
                    <a:pt x="328" y="94"/>
                  </a:cubicBezTo>
                  <a:cubicBezTo>
                    <a:pt x="325" y="85"/>
                    <a:pt x="318" y="82"/>
                    <a:pt x="303" y="84"/>
                  </a:cubicBezTo>
                  <a:cubicBezTo>
                    <a:pt x="297" y="84"/>
                    <a:pt x="295" y="86"/>
                    <a:pt x="295" y="92"/>
                  </a:cubicBezTo>
                  <a:cubicBezTo>
                    <a:pt x="296" y="120"/>
                    <a:pt x="295" y="148"/>
                    <a:pt x="295" y="176"/>
                  </a:cubicBezTo>
                  <a:cubicBezTo>
                    <a:pt x="296" y="176"/>
                    <a:pt x="296" y="176"/>
                    <a:pt x="296" y="176"/>
                  </a:cubicBezTo>
                  <a:close/>
                  <a:moveTo>
                    <a:pt x="946" y="179"/>
                  </a:moveTo>
                  <a:cubicBezTo>
                    <a:pt x="946" y="197"/>
                    <a:pt x="946" y="215"/>
                    <a:pt x="946" y="234"/>
                  </a:cubicBezTo>
                  <a:cubicBezTo>
                    <a:pt x="946" y="248"/>
                    <a:pt x="951" y="260"/>
                    <a:pt x="963" y="268"/>
                  </a:cubicBezTo>
                  <a:cubicBezTo>
                    <a:pt x="982" y="280"/>
                    <a:pt x="1011" y="277"/>
                    <a:pt x="1029" y="264"/>
                  </a:cubicBezTo>
                  <a:cubicBezTo>
                    <a:pt x="1036" y="259"/>
                    <a:pt x="1036" y="254"/>
                    <a:pt x="1032" y="248"/>
                  </a:cubicBezTo>
                  <a:cubicBezTo>
                    <a:pt x="1026" y="239"/>
                    <a:pt x="1020" y="238"/>
                    <a:pt x="1013" y="242"/>
                  </a:cubicBezTo>
                  <a:cubicBezTo>
                    <a:pt x="996" y="252"/>
                    <a:pt x="978" y="243"/>
                    <a:pt x="978" y="223"/>
                  </a:cubicBezTo>
                  <a:cubicBezTo>
                    <a:pt x="978" y="190"/>
                    <a:pt x="978" y="157"/>
                    <a:pt x="978" y="123"/>
                  </a:cubicBezTo>
                  <a:cubicBezTo>
                    <a:pt x="978" y="116"/>
                    <a:pt x="981" y="113"/>
                    <a:pt x="988" y="113"/>
                  </a:cubicBezTo>
                  <a:cubicBezTo>
                    <a:pt x="999" y="114"/>
                    <a:pt x="1011" y="113"/>
                    <a:pt x="1022" y="113"/>
                  </a:cubicBezTo>
                  <a:cubicBezTo>
                    <a:pt x="1028" y="113"/>
                    <a:pt x="1033" y="112"/>
                    <a:pt x="1033" y="104"/>
                  </a:cubicBezTo>
                  <a:cubicBezTo>
                    <a:pt x="1033" y="96"/>
                    <a:pt x="1032" y="90"/>
                    <a:pt x="1022" y="90"/>
                  </a:cubicBezTo>
                  <a:cubicBezTo>
                    <a:pt x="1011" y="90"/>
                    <a:pt x="1001" y="90"/>
                    <a:pt x="990" y="90"/>
                  </a:cubicBezTo>
                  <a:cubicBezTo>
                    <a:pt x="981" y="91"/>
                    <a:pt x="977" y="88"/>
                    <a:pt x="978" y="78"/>
                  </a:cubicBezTo>
                  <a:cubicBezTo>
                    <a:pt x="978" y="64"/>
                    <a:pt x="978" y="49"/>
                    <a:pt x="978" y="35"/>
                  </a:cubicBezTo>
                  <a:cubicBezTo>
                    <a:pt x="978" y="30"/>
                    <a:pt x="978" y="25"/>
                    <a:pt x="971" y="24"/>
                  </a:cubicBezTo>
                  <a:cubicBezTo>
                    <a:pt x="964" y="24"/>
                    <a:pt x="956" y="24"/>
                    <a:pt x="955" y="32"/>
                  </a:cubicBezTo>
                  <a:cubicBezTo>
                    <a:pt x="952" y="43"/>
                    <a:pt x="949" y="54"/>
                    <a:pt x="949" y="65"/>
                  </a:cubicBezTo>
                  <a:cubicBezTo>
                    <a:pt x="948" y="88"/>
                    <a:pt x="947" y="88"/>
                    <a:pt x="924" y="91"/>
                  </a:cubicBezTo>
                  <a:cubicBezTo>
                    <a:pt x="919" y="92"/>
                    <a:pt x="914" y="92"/>
                    <a:pt x="914" y="99"/>
                  </a:cubicBezTo>
                  <a:cubicBezTo>
                    <a:pt x="915" y="107"/>
                    <a:pt x="917" y="113"/>
                    <a:pt x="926" y="113"/>
                  </a:cubicBezTo>
                  <a:cubicBezTo>
                    <a:pt x="929" y="114"/>
                    <a:pt x="932" y="113"/>
                    <a:pt x="935" y="113"/>
                  </a:cubicBezTo>
                  <a:cubicBezTo>
                    <a:pt x="943" y="113"/>
                    <a:pt x="946" y="116"/>
                    <a:pt x="946" y="124"/>
                  </a:cubicBezTo>
                  <a:cubicBezTo>
                    <a:pt x="946" y="142"/>
                    <a:pt x="946" y="161"/>
                    <a:pt x="946" y="179"/>
                  </a:cubicBezTo>
                  <a:cubicBezTo>
                    <a:pt x="946" y="179"/>
                    <a:pt x="946" y="179"/>
                    <a:pt x="946" y="179"/>
                  </a:cubicBezTo>
                  <a:close/>
                </a:path>
              </a:pathLst>
            </a:custGeom>
            <a:solidFill>
              <a:srgbClr val="4C505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grpSp>
          <p:nvGrpSpPr>
            <p:cNvPr id="18" name="Group 4">
              <a:extLst>
                <a:ext uri="{FF2B5EF4-FFF2-40B4-BE49-F238E27FC236}">
                  <a16:creationId xmlns:a16="http://schemas.microsoft.com/office/drawing/2014/main" id="{57BD2C4C-DC67-B843-B26C-309622FC75F7}"/>
                </a:ext>
              </a:extLst>
            </p:cNvPr>
            <p:cNvGrpSpPr>
              <a:grpSpLocks noChangeAspect="1"/>
            </p:cNvGrpSpPr>
            <p:nvPr/>
          </p:nvGrpSpPr>
          <p:grpSpPr bwMode="gray">
            <a:xfrm>
              <a:off x="334963" y="296652"/>
              <a:ext cx="538094" cy="540000"/>
              <a:chOff x="2711" y="1027"/>
              <a:chExt cx="2258" cy="2266"/>
            </a:xfrm>
          </p:grpSpPr>
          <p:sp>
            <p:nvSpPr>
              <p:cNvPr id="19" name="AutoShape 3">
                <a:extLst>
                  <a:ext uri="{FF2B5EF4-FFF2-40B4-BE49-F238E27FC236}">
                    <a16:creationId xmlns:a16="http://schemas.microsoft.com/office/drawing/2014/main" id="{FE1DC41B-291E-574C-9F2C-874E70A40758}"/>
                  </a:ext>
                </a:extLst>
              </p:cNvPr>
              <p:cNvSpPr>
                <a:spLocks noChangeAspect="1" noChangeArrowheads="1" noTextEdit="1"/>
              </p:cNvSpPr>
              <p:nvPr/>
            </p:nvSpPr>
            <p:spPr bwMode="gray">
              <a:xfrm>
                <a:off x="2711" y="1027"/>
                <a:ext cx="2258" cy="22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20" name="Freeform 5">
                <a:extLst>
                  <a:ext uri="{FF2B5EF4-FFF2-40B4-BE49-F238E27FC236}">
                    <a16:creationId xmlns:a16="http://schemas.microsoft.com/office/drawing/2014/main" id="{D4B633C8-F761-C54B-9BD2-EB59D49A2DBC}"/>
                  </a:ext>
                </a:extLst>
              </p:cNvPr>
              <p:cNvSpPr>
                <a:spLocks/>
              </p:cNvSpPr>
              <p:nvPr/>
            </p:nvSpPr>
            <p:spPr bwMode="gray">
              <a:xfrm>
                <a:off x="2709" y="1029"/>
                <a:ext cx="2260" cy="2262"/>
              </a:xfrm>
              <a:custGeom>
                <a:avLst/>
                <a:gdLst>
                  <a:gd name="T0" fmla="*/ 2260 w 2260"/>
                  <a:gd name="T1" fmla="*/ 0 h 2262"/>
                  <a:gd name="T2" fmla="*/ 1612 w 2260"/>
                  <a:gd name="T3" fmla="*/ 649 h 2262"/>
                  <a:gd name="T4" fmla="*/ 1612 w 2260"/>
                  <a:gd name="T5" fmla="*/ 649 h 2262"/>
                  <a:gd name="T6" fmla="*/ 2035 w 2260"/>
                  <a:gd name="T7" fmla="*/ 0 h 2262"/>
                  <a:gd name="T8" fmla="*/ 0 w 2260"/>
                  <a:gd name="T9" fmla="*/ 0 h 2262"/>
                  <a:gd name="T10" fmla="*/ 0 w 2260"/>
                  <a:gd name="T11" fmla="*/ 2262 h 2262"/>
                  <a:gd name="T12" fmla="*/ 2260 w 2260"/>
                  <a:gd name="T13" fmla="*/ 2262 h 2262"/>
                  <a:gd name="T14" fmla="*/ 2260 w 2260"/>
                  <a:gd name="T15" fmla="*/ 0 h 2262"/>
                  <a:gd name="T16" fmla="*/ 2260 w 2260"/>
                  <a:gd name="T17" fmla="*/ 0 h 2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0" h="2262">
                    <a:moveTo>
                      <a:pt x="2260" y="0"/>
                    </a:moveTo>
                    <a:lnTo>
                      <a:pt x="1612" y="649"/>
                    </a:lnTo>
                    <a:lnTo>
                      <a:pt x="1612" y="649"/>
                    </a:lnTo>
                    <a:lnTo>
                      <a:pt x="2035" y="0"/>
                    </a:lnTo>
                    <a:lnTo>
                      <a:pt x="0" y="0"/>
                    </a:lnTo>
                    <a:lnTo>
                      <a:pt x="0" y="2262"/>
                    </a:lnTo>
                    <a:lnTo>
                      <a:pt x="2260" y="2262"/>
                    </a:lnTo>
                    <a:lnTo>
                      <a:pt x="2260" y="0"/>
                    </a:lnTo>
                    <a:lnTo>
                      <a:pt x="2260" y="0"/>
                    </a:lnTo>
                    <a:close/>
                  </a:path>
                </a:pathLst>
              </a:custGeom>
              <a:solidFill>
                <a:srgbClr val="E55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21" name="Freeform 6">
                <a:extLst>
                  <a:ext uri="{FF2B5EF4-FFF2-40B4-BE49-F238E27FC236}">
                    <a16:creationId xmlns:a16="http://schemas.microsoft.com/office/drawing/2014/main" id="{B16BAAE4-1A41-C843-9754-490F7A1E1270}"/>
                  </a:ext>
                </a:extLst>
              </p:cNvPr>
              <p:cNvSpPr>
                <a:spLocks noEditPoints="1"/>
              </p:cNvSpPr>
              <p:nvPr/>
            </p:nvSpPr>
            <p:spPr bwMode="gray">
              <a:xfrm>
                <a:off x="3623" y="1696"/>
                <a:ext cx="1167" cy="922"/>
              </a:xfrm>
              <a:custGeom>
                <a:avLst/>
                <a:gdLst>
                  <a:gd name="T0" fmla="*/ 411 w 580"/>
                  <a:gd name="T1" fmla="*/ 213 h 458"/>
                  <a:gd name="T2" fmla="*/ 570 w 580"/>
                  <a:gd name="T3" fmla="*/ 37 h 458"/>
                  <a:gd name="T4" fmla="*/ 580 w 580"/>
                  <a:gd name="T5" fmla="*/ 20 h 458"/>
                  <a:gd name="T6" fmla="*/ 545 w 580"/>
                  <a:gd name="T7" fmla="*/ 0 h 458"/>
                  <a:gd name="T8" fmla="*/ 519 w 580"/>
                  <a:gd name="T9" fmla="*/ 16 h 458"/>
                  <a:gd name="T10" fmla="*/ 344 w 580"/>
                  <a:gd name="T11" fmla="*/ 210 h 458"/>
                  <a:gd name="T12" fmla="*/ 334 w 580"/>
                  <a:gd name="T13" fmla="*/ 229 h 458"/>
                  <a:gd name="T14" fmla="*/ 344 w 580"/>
                  <a:gd name="T15" fmla="*/ 248 h 458"/>
                  <a:gd name="T16" fmla="*/ 519 w 580"/>
                  <a:gd name="T17" fmla="*/ 442 h 458"/>
                  <a:gd name="T18" fmla="*/ 545 w 580"/>
                  <a:gd name="T19" fmla="*/ 458 h 458"/>
                  <a:gd name="T20" fmla="*/ 580 w 580"/>
                  <a:gd name="T21" fmla="*/ 438 h 458"/>
                  <a:gd name="T22" fmla="*/ 570 w 580"/>
                  <a:gd name="T23" fmla="*/ 421 h 458"/>
                  <a:gd name="T24" fmla="*/ 411 w 580"/>
                  <a:gd name="T25" fmla="*/ 245 h 458"/>
                  <a:gd name="T26" fmla="*/ 399 w 580"/>
                  <a:gd name="T27" fmla="*/ 229 h 458"/>
                  <a:gd name="T28" fmla="*/ 411 w 580"/>
                  <a:gd name="T29" fmla="*/ 213 h 458"/>
                  <a:gd name="T30" fmla="*/ 252 w 580"/>
                  <a:gd name="T31" fmla="*/ 439 h 458"/>
                  <a:gd name="T32" fmla="*/ 281 w 580"/>
                  <a:gd name="T33" fmla="*/ 454 h 458"/>
                  <a:gd name="T34" fmla="*/ 309 w 580"/>
                  <a:gd name="T35" fmla="*/ 439 h 458"/>
                  <a:gd name="T36" fmla="*/ 309 w 580"/>
                  <a:gd name="T37" fmla="*/ 19 h 458"/>
                  <a:gd name="T38" fmla="*/ 281 w 580"/>
                  <a:gd name="T39" fmla="*/ 4 h 458"/>
                  <a:gd name="T40" fmla="*/ 252 w 580"/>
                  <a:gd name="T41" fmla="*/ 19 h 458"/>
                  <a:gd name="T42" fmla="*/ 252 w 580"/>
                  <a:gd name="T43" fmla="*/ 439 h 458"/>
                  <a:gd name="T44" fmla="*/ 0 w 580"/>
                  <a:gd name="T45" fmla="*/ 439 h 458"/>
                  <a:gd name="T46" fmla="*/ 28 w 580"/>
                  <a:gd name="T47" fmla="*/ 454 h 458"/>
                  <a:gd name="T48" fmla="*/ 56 w 580"/>
                  <a:gd name="T49" fmla="*/ 439 h 458"/>
                  <a:gd name="T50" fmla="*/ 56 w 580"/>
                  <a:gd name="T51" fmla="*/ 157 h 458"/>
                  <a:gd name="T52" fmla="*/ 165 w 580"/>
                  <a:gd name="T53" fmla="*/ 53 h 458"/>
                  <a:gd name="T54" fmla="*/ 180 w 580"/>
                  <a:gd name="T55" fmla="*/ 53 h 458"/>
                  <a:gd name="T56" fmla="*/ 196 w 580"/>
                  <a:gd name="T57" fmla="*/ 27 h 458"/>
                  <a:gd name="T58" fmla="*/ 154 w 580"/>
                  <a:gd name="T59" fmla="*/ 4 h 458"/>
                  <a:gd name="T60" fmla="*/ 0 w 580"/>
                  <a:gd name="T61" fmla="*/ 152 h 458"/>
                  <a:gd name="T62" fmla="*/ 0 w 580"/>
                  <a:gd name="T63" fmla="*/ 439 h 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80" h="458">
                    <a:moveTo>
                      <a:pt x="411" y="213"/>
                    </a:moveTo>
                    <a:cubicBezTo>
                      <a:pt x="570" y="37"/>
                      <a:pt x="570" y="37"/>
                      <a:pt x="570" y="37"/>
                    </a:cubicBezTo>
                    <a:cubicBezTo>
                      <a:pt x="576" y="30"/>
                      <a:pt x="580" y="25"/>
                      <a:pt x="580" y="20"/>
                    </a:cubicBezTo>
                    <a:cubicBezTo>
                      <a:pt x="580" y="10"/>
                      <a:pt x="559" y="0"/>
                      <a:pt x="545" y="0"/>
                    </a:cubicBezTo>
                    <a:cubicBezTo>
                      <a:pt x="535" y="0"/>
                      <a:pt x="526" y="8"/>
                      <a:pt x="519" y="16"/>
                    </a:cubicBezTo>
                    <a:cubicBezTo>
                      <a:pt x="344" y="210"/>
                      <a:pt x="344" y="210"/>
                      <a:pt x="344" y="210"/>
                    </a:cubicBezTo>
                    <a:cubicBezTo>
                      <a:pt x="336" y="219"/>
                      <a:pt x="334" y="224"/>
                      <a:pt x="334" y="229"/>
                    </a:cubicBezTo>
                    <a:cubicBezTo>
                      <a:pt x="334" y="234"/>
                      <a:pt x="336" y="239"/>
                      <a:pt x="344" y="248"/>
                    </a:cubicBezTo>
                    <a:cubicBezTo>
                      <a:pt x="519" y="442"/>
                      <a:pt x="519" y="442"/>
                      <a:pt x="519" y="442"/>
                    </a:cubicBezTo>
                    <a:cubicBezTo>
                      <a:pt x="526" y="450"/>
                      <a:pt x="535" y="458"/>
                      <a:pt x="545" y="458"/>
                    </a:cubicBezTo>
                    <a:cubicBezTo>
                      <a:pt x="559" y="458"/>
                      <a:pt x="580" y="448"/>
                      <a:pt x="580" y="438"/>
                    </a:cubicBezTo>
                    <a:cubicBezTo>
                      <a:pt x="580" y="433"/>
                      <a:pt x="576" y="428"/>
                      <a:pt x="570" y="421"/>
                    </a:cubicBezTo>
                    <a:cubicBezTo>
                      <a:pt x="411" y="245"/>
                      <a:pt x="411" y="245"/>
                      <a:pt x="411" y="245"/>
                    </a:cubicBezTo>
                    <a:cubicBezTo>
                      <a:pt x="403" y="236"/>
                      <a:pt x="399" y="232"/>
                      <a:pt x="399" y="229"/>
                    </a:cubicBezTo>
                    <a:cubicBezTo>
                      <a:pt x="399" y="226"/>
                      <a:pt x="403" y="222"/>
                      <a:pt x="411" y="213"/>
                    </a:cubicBezTo>
                    <a:moveTo>
                      <a:pt x="252" y="439"/>
                    </a:moveTo>
                    <a:cubicBezTo>
                      <a:pt x="252" y="449"/>
                      <a:pt x="261" y="454"/>
                      <a:pt x="281" y="454"/>
                    </a:cubicBezTo>
                    <a:cubicBezTo>
                      <a:pt x="300" y="454"/>
                      <a:pt x="309" y="449"/>
                      <a:pt x="309" y="439"/>
                    </a:cubicBezTo>
                    <a:cubicBezTo>
                      <a:pt x="309" y="19"/>
                      <a:pt x="309" y="19"/>
                      <a:pt x="309" y="19"/>
                    </a:cubicBezTo>
                    <a:cubicBezTo>
                      <a:pt x="309" y="9"/>
                      <a:pt x="300" y="4"/>
                      <a:pt x="281" y="4"/>
                    </a:cubicBezTo>
                    <a:cubicBezTo>
                      <a:pt x="261" y="4"/>
                      <a:pt x="252" y="9"/>
                      <a:pt x="252" y="19"/>
                    </a:cubicBezTo>
                    <a:lnTo>
                      <a:pt x="252" y="439"/>
                    </a:lnTo>
                    <a:close/>
                    <a:moveTo>
                      <a:pt x="0" y="439"/>
                    </a:moveTo>
                    <a:cubicBezTo>
                      <a:pt x="0" y="449"/>
                      <a:pt x="8" y="454"/>
                      <a:pt x="28" y="454"/>
                    </a:cubicBezTo>
                    <a:cubicBezTo>
                      <a:pt x="48" y="454"/>
                      <a:pt x="56" y="449"/>
                      <a:pt x="56" y="439"/>
                    </a:cubicBezTo>
                    <a:cubicBezTo>
                      <a:pt x="56" y="157"/>
                      <a:pt x="56" y="157"/>
                      <a:pt x="56" y="157"/>
                    </a:cubicBezTo>
                    <a:cubicBezTo>
                      <a:pt x="56" y="83"/>
                      <a:pt x="85" y="53"/>
                      <a:pt x="165" y="53"/>
                    </a:cubicBezTo>
                    <a:cubicBezTo>
                      <a:pt x="180" y="53"/>
                      <a:pt x="180" y="53"/>
                      <a:pt x="180" y="53"/>
                    </a:cubicBezTo>
                    <a:cubicBezTo>
                      <a:pt x="192" y="53"/>
                      <a:pt x="196" y="43"/>
                      <a:pt x="196" y="27"/>
                    </a:cubicBezTo>
                    <a:cubicBezTo>
                      <a:pt x="196" y="8"/>
                      <a:pt x="185" y="4"/>
                      <a:pt x="154" y="4"/>
                    </a:cubicBezTo>
                    <a:cubicBezTo>
                      <a:pt x="64" y="4"/>
                      <a:pt x="0" y="43"/>
                      <a:pt x="0" y="152"/>
                    </a:cubicBezTo>
                    <a:lnTo>
                      <a:pt x="0" y="43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22" name="Freeform 7">
                <a:extLst>
                  <a:ext uri="{FF2B5EF4-FFF2-40B4-BE49-F238E27FC236}">
                    <a16:creationId xmlns:a16="http://schemas.microsoft.com/office/drawing/2014/main" id="{2F32DCBD-8628-F245-85CD-97686A20ECFD}"/>
                  </a:ext>
                </a:extLst>
              </p:cNvPr>
              <p:cNvSpPr>
                <a:spLocks/>
              </p:cNvSpPr>
              <p:nvPr/>
            </p:nvSpPr>
            <p:spPr bwMode="gray">
              <a:xfrm>
                <a:off x="2880" y="1704"/>
                <a:ext cx="618" cy="916"/>
              </a:xfrm>
              <a:custGeom>
                <a:avLst/>
                <a:gdLst>
                  <a:gd name="T0" fmla="*/ 307 w 307"/>
                  <a:gd name="T1" fmla="*/ 405 h 455"/>
                  <a:gd name="T2" fmla="*/ 307 w 307"/>
                  <a:gd name="T3" fmla="*/ 244 h 455"/>
                  <a:gd name="T4" fmla="*/ 279 w 307"/>
                  <a:gd name="T5" fmla="*/ 229 h 455"/>
                  <a:gd name="T6" fmla="*/ 250 w 307"/>
                  <a:gd name="T7" fmla="*/ 244 h 455"/>
                  <a:gd name="T8" fmla="*/ 250 w 307"/>
                  <a:gd name="T9" fmla="*/ 378 h 455"/>
                  <a:gd name="T10" fmla="*/ 199 w 307"/>
                  <a:gd name="T11" fmla="*/ 408 h 455"/>
                  <a:gd name="T12" fmla="*/ 61 w 307"/>
                  <a:gd name="T13" fmla="*/ 231 h 455"/>
                  <a:gd name="T14" fmla="*/ 238 w 307"/>
                  <a:gd name="T15" fmla="*/ 49 h 455"/>
                  <a:gd name="T16" fmla="*/ 270 w 307"/>
                  <a:gd name="T17" fmla="*/ 49 h 455"/>
                  <a:gd name="T18" fmla="*/ 286 w 307"/>
                  <a:gd name="T19" fmla="*/ 23 h 455"/>
                  <a:gd name="T20" fmla="*/ 244 w 307"/>
                  <a:gd name="T21" fmla="*/ 0 h 455"/>
                  <a:gd name="T22" fmla="*/ 231 w 307"/>
                  <a:gd name="T23" fmla="*/ 0 h 455"/>
                  <a:gd name="T24" fmla="*/ 0 w 307"/>
                  <a:gd name="T25" fmla="*/ 232 h 455"/>
                  <a:gd name="T26" fmla="*/ 198 w 307"/>
                  <a:gd name="T27" fmla="*/ 455 h 455"/>
                  <a:gd name="T28" fmla="*/ 307 w 307"/>
                  <a:gd name="T29" fmla="*/ 405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7" h="455">
                    <a:moveTo>
                      <a:pt x="307" y="405"/>
                    </a:moveTo>
                    <a:cubicBezTo>
                      <a:pt x="307" y="244"/>
                      <a:pt x="307" y="244"/>
                      <a:pt x="307" y="244"/>
                    </a:cubicBezTo>
                    <a:cubicBezTo>
                      <a:pt x="307" y="234"/>
                      <a:pt x="298" y="229"/>
                      <a:pt x="279" y="229"/>
                    </a:cubicBezTo>
                    <a:cubicBezTo>
                      <a:pt x="259" y="229"/>
                      <a:pt x="250" y="234"/>
                      <a:pt x="250" y="244"/>
                    </a:cubicBezTo>
                    <a:cubicBezTo>
                      <a:pt x="250" y="378"/>
                      <a:pt x="250" y="378"/>
                      <a:pt x="250" y="378"/>
                    </a:cubicBezTo>
                    <a:cubicBezTo>
                      <a:pt x="250" y="399"/>
                      <a:pt x="241" y="408"/>
                      <a:pt x="199" y="408"/>
                    </a:cubicBezTo>
                    <a:cubicBezTo>
                      <a:pt x="114" y="408"/>
                      <a:pt x="61" y="342"/>
                      <a:pt x="61" y="231"/>
                    </a:cubicBezTo>
                    <a:cubicBezTo>
                      <a:pt x="61" y="115"/>
                      <a:pt x="126" y="49"/>
                      <a:pt x="238" y="49"/>
                    </a:cubicBezTo>
                    <a:cubicBezTo>
                      <a:pt x="270" y="49"/>
                      <a:pt x="270" y="49"/>
                      <a:pt x="270" y="49"/>
                    </a:cubicBezTo>
                    <a:cubicBezTo>
                      <a:pt x="282" y="49"/>
                      <a:pt x="286" y="39"/>
                      <a:pt x="286" y="23"/>
                    </a:cubicBezTo>
                    <a:cubicBezTo>
                      <a:pt x="286" y="4"/>
                      <a:pt x="275" y="0"/>
                      <a:pt x="244" y="0"/>
                    </a:cubicBezTo>
                    <a:cubicBezTo>
                      <a:pt x="231" y="0"/>
                      <a:pt x="231" y="0"/>
                      <a:pt x="231" y="0"/>
                    </a:cubicBezTo>
                    <a:cubicBezTo>
                      <a:pt x="101" y="0"/>
                      <a:pt x="0" y="71"/>
                      <a:pt x="0" y="232"/>
                    </a:cubicBezTo>
                    <a:cubicBezTo>
                      <a:pt x="0" y="386"/>
                      <a:pt x="88" y="455"/>
                      <a:pt x="198" y="455"/>
                    </a:cubicBezTo>
                    <a:cubicBezTo>
                      <a:pt x="286" y="455"/>
                      <a:pt x="307" y="430"/>
                      <a:pt x="307" y="40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23" name="Oval 8">
                <a:extLst>
                  <a:ext uri="{FF2B5EF4-FFF2-40B4-BE49-F238E27FC236}">
                    <a16:creationId xmlns:a16="http://schemas.microsoft.com/office/drawing/2014/main" id="{60D97C11-1A3B-5449-A48D-98A3E79B3810}"/>
                  </a:ext>
                </a:extLst>
              </p:cNvPr>
              <p:cNvSpPr>
                <a:spLocks noChangeArrowheads="1"/>
              </p:cNvSpPr>
              <p:nvPr/>
            </p:nvSpPr>
            <p:spPr bwMode="gray">
              <a:xfrm>
                <a:off x="3778" y="2099"/>
                <a:ext cx="122" cy="12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24" name="Freeform 9">
                <a:extLst>
                  <a:ext uri="{FF2B5EF4-FFF2-40B4-BE49-F238E27FC236}">
                    <a16:creationId xmlns:a16="http://schemas.microsoft.com/office/drawing/2014/main" id="{5856770D-B8F0-244E-A05D-AED190086F10}"/>
                  </a:ext>
                </a:extLst>
              </p:cNvPr>
              <p:cNvSpPr>
                <a:spLocks noEditPoints="1"/>
              </p:cNvSpPr>
              <p:nvPr/>
            </p:nvSpPr>
            <p:spPr bwMode="gray">
              <a:xfrm>
                <a:off x="3623" y="1696"/>
                <a:ext cx="1167" cy="922"/>
              </a:xfrm>
              <a:custGeom>
                <a:avLst/>
                <a:gdLst>
                  <a:gd name="T0" fmla="*/ 411 w 580"/>
                  <a:gd name="T1" fmla="*/ 213 h 458"/>
                  <a:gd name="T2" fmla="*/ 570 w 580"/>
                  <a:gd name="T3" fmla="*/ 37 h 458"/>
                  <a:gd name="T4" fmla="*/ 580 w 580"/>
                  <a:gd name="T5" fmla="*/ 20 h 458"/>
                  <a:gd name="T6" fmla="*/ 545 w 580"/>
                  <a:gd name="T7" fmla="*/ 0 h 458"/>
                  <a:gd name="T8" fmla="*/ 519 w 580"/>
                  <a:gd name="T9" fmla="*/ 16 h 458"/>
                  <a:gd name="T10" fmla="*/ 344 w 580"/>
                  <a:gd name="T11" fmla="*/ 210 h 458"/>
                  <a:gd name="T12" fmla="*/ 334 w 580"/>
                  <a:gd name="T13" fmla="*/ 229 h 458"/>
                  <a:gd name="T14" fmla="*/ 344 w 580"/>
                  <a:gd name="T15" fmla="*/ 248 h 458"/>
                  <a:gd name="T16" fmla="*/ 519 w 580"/>
                  <a:gd name="T17" fmla="*/ 442 h 458"/>
                  <a:gd name="T18" fmla="*/ 545 w 580"/>
                  <a:gd name="T19" fmla="*/ 458 h 458"/>
                  <a:gd name="T20" fmla="*/ 580 w 580"/>
                  <a:gd name="T21" fmla="*/ 438 h 458"/>
                  <a:gd name="T22" fmla="*/ 570 w 580"/>
                  <a:gd name="T23" fmla="*/ 421 h 458"/>
                  <a:gd name="T24" fmla="*/ 411 w 580"/>
                  <a:gd name="T25" fmla="*/ 245 h 458"/>
                  <a:gd name="T26" fmla="*/ 399 w 580"/>
                  <a:gd name="T27" fmla="*/ 229 h 458"/>
                  <a:gd name="T28" fmla="*/ 411 w 580"/>
                  <a:gd name="T29" fmla="*/ 213 h 458"/>
                  <a:gd name="T30" fmla="*/ 252 w 580"/>
                  <a:gd name="T31" fmla="*/ 439 h 458"/>
                  <a:gd name="T32" fmla="*/ 281 w 580"/>
                  <a:gd name="T33" fmla="*/ 454 h 458"/>
                  <a:gd name="T34" fmla="*/ 309 w 580"/>
                  <a:gd name="T35" fmla="*/ 439 h 458"/>
                  <a:gd name="T36" fmla="*/ 309 w 580"/>
                  <a:gd name="T37" fmla="*/ 19 h 458"/>
                  <a:gd name="T38" fmla="*/ 281 w 580"/>
                  <a:gd name="T39" fmla="*/ 4 h 458"/>
                  <a:gd name="T40" fmla="*/ 252 w 580"/>
                  <a:gd name="T41" fmla="*/ 19 h 458"/>
                  <a:gd name="T42" fmla="*/ 252 w 580"/>
                  <a:gd name="T43" fmla="*/ 439 h 458"/>
                  <a:gd name="T44" fmla="*/ 0 w 580"/>
                  <a:gd name="T45" fmla="*/ 439 h 458"/>
                  <a:gd name="T46" fmla="*/ 28 w 580"/>
                  <a:gd name="T47" fmla="*/ 454 h 458"/>
                  <a:gd name="T48" fmla="*/ 56 w 580"/>
                  <a:gd name="T49" fmla="*/ 439 h 458"/>
                  <a:gd name="T50" fmla="*/ 56 w 580"/>
                  <a:gd name="T51" fmla="*/ 157 h 458"/>
                  <a:gd name="T52" fmla="*/ 165 w 580"/>
                  <a:gd name="T53" fmla="*/ 53 h 458"/>
                  <a:gd name="T54" fmla="*/ 180 w 580"/>
                  <a:gd name="T55" fmla="*/ 53 h 458"/>
                  <a:gd name="T56" fmla="*/ 196 w 580"/>
                  <a:gd name="T57" fmla="*/ 27 h 458"/>
                  <a:gd name="T58" fmla="*/ 154 w 580"/>
                  <a:gd name="T59" fmla="*/ 4 h 458"/>
                  <a:gd name="T60" fmla="*/ 0 w 580"/>
                  <a:gd name="T61" fmla="*/ 152 h 458"/>
                  <a:gd name="T62" fmla="*/ 0 w 580"/>
                  <a:gd name="T63" fmla="*/ 439 h 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80" h="458">
                    <a:moveTo>
                      <a:pt x="411" y="213"/>
                    </a:moveTo>
                    <a:cubicBezTo>
                      <a:pt x="570" y="37"/>
                      <a:pt x="570" y="37"/>
                      <a:pt x="570" y="37"/>
                    </a:cubicBezTo>
                    <a:cubicBezTo>
                      <a:pt x="576" y="30"/>
                      <a:pt x="580" y="25"/>
                      <a:pt x="580" y="20"/>
                    </a:cubicBezTo>
                    <a:cubicBezTo>
                      <a:pt x="580" y="10"/>
                      <a:pt x="559" y="0"/>
                      <a:pt x="545" y="0"/>
                    </a:cubicBezTo>
                    <a:cubicBezTo>
                      <a:pt x="535" y="0"/>
                      <a:pt x="526" y="8"/>
                      <a:pt x="519" y="16"/>
                    </a:cubicBezTo>
                    <a:cubicBezTo>
                      <a:pt x="344" y="210"/>
                      <a:pt x="344" y="210"/>
                      <a:pt x="344" y="210"/>
                    </a:cubicBezTo>
                    <a:cubicBezTo>
                      <a:pt x="336" y="219"/>
                      <a:pt x="334" y="224"/>
                      <a:pt x="334" y="229"/>
                    </a:cubicBezTo>
                    <a:cubicBezTo>
                      <a:pt x="334" y="234"/>
                      <a:pt x="336" y="239"/>
                      <a:pt x="344" y="248"/>
                    </a:cubicBezTo>
                    <a:cubicBezTo>
                      <a:pt x="519" y="442"/>
                      <a:pt x="519" y="442"/>
                      <a:pt x="519" y="442"/>
                    </a:cubicBezTo>
                    <a:cubicBezTo>
                      <a:pt x="526" y="450"/>
                      <a:pt x="535" y="458"/>
                      <a:pt x="545" y="458"/>
                    </a:cubicBezTo>
                    <a:cubicBezTo>
                      <a:pt x="559" y="458"/>
                      <a:pt x="580" y="448"/>
                      <a:pt x="580" y="438"/>
                    </a:cubicBezTo>
                    <a:cubicBezTo>
                      <a:pt x="580" y="433"/>
                      <a:pt x="576" y="428"/>
                      <a:pt x="570" y="421"/>
                    </a:cubicBezTo>
                    <a:cubicBezTo>
                      <a:pt x="411" y="245"/>
                      <a:pt x="411" y="245"/>
                      <a:pt x="411" y="245"/>
                    </a:cubicBezTo>
                    <a:cubicBezTo>
                      <a:pt x="403" y="236"/>
                      <a:pt x="399" y="232"/>
                      <a:pt x="399" y="229"/>
                    </a:cubicBezTo>
                    <a:cubicBezTo>
                      <a:pt x="399" y="226"/>
                      <a:pt x="403" y="222"/>
                      <a:pt x="411" y="213"/>
                    </a:cubicBezTo>
                    <a:moveTo>
                      <a:pt x="252" y="439"/>
                    </a:moveTo>
                    <a:cubicBezTo>
                      <a:pt x="252" y="449"/>
                      <a:pt x="261" y="454"/>
                      <a:pt x="281" y="454"/>
                    </a:cubicBezTo>
                    <a:cubicBezTo>
                      <a:pt x="300" y="454"/>
                      <a:pt x="309" y="449"/>
                      <a:pt x="309" y="439"/>
                    </a:cubicBezTo>
                    <a:cubicBezTo>
                      <a:pt x="309" y="19"/>
                      <a:pt x="309" y="19"/>
                      <a:pt x="309" y="19"/>
                    </a:cubicBezTo>
                    <a:cubicBezTo>
                      <a:pt x="309" y="9"/>
                      <a:pt x="300" y="4"/>
                      <a:pt x="281" y="4"/>
                    </a:cubicBezTo>
                    <a:cubicBezTo>
                      <a:pt x="261" y="4"/>
                      <a:pt x="252" y="9"/>
                      <a:pt x="252" y="19"/>
                    </a:cubicBezTo>
                    <a:lnTo>
                      <a:pt x="252" y="439"/>
                    </a:lnTo>
                    <a:close/>
                    <a:moveTo>
                      <a:pt x="0" y="439"/>
                    </a:moveTo>
                    <a:cubicBezTo>
                      <a:pt x="0" y="449"/>
                      <a:pt x="8" y="454"/>
                      <a:pt x="28" y="454"/>
                    </a:cubicBezTo>
                    <a:cubicBezTo>
                      <a:pt x="48" y="454"/>
                      <a:pt x="56" y="449"/>
                      <a:pt x="56" y="439"/>
                    </a:cubicBezTo>
                    <a:cubicBezTo>
                      <a:pt x="56" y="157"/>
                      <a:pt x="56" y="157"/>
                      <a:pt x="56" y="157"/>
                    </a:cubicBezTo>
                    <a:cubicBezTo>
                      <a:pt x="56" y="83"/>
                      <a:pt x="85" y="53"/>
                      <a:pt x="165" y="53"/>
                    </a:cubicBezTo>
                    <a:cubicBezTo>
                      <a:pt x="180" y="53"/>
                      <a:pt x="180" y="53"/>
                      <a:pt x="180" y="53"/>
                    </a:cubicBezTo>
                    <a:cubicBezTo>
                      <a:pt x="192" y="53"/>
                      <a:pt x="196" y="43"/>
                      <a:pt x="196" y="27"/>
                    </a:cubicBezTo>
                    <a:cubicBezTo>
                      <a:pt x="196" y="8"/>
                      <a:pt x="185" y="4"/>
                      <a:pt x="154" y="4"/>
                    </a:cubicBezTo>
                    <a:cubicBezTo>
                      <a:pt x="64" y="4"/>
                      <a:pt x="0" y="43"/>
                      <a:pt x="0" y="152"/>
                    </a:cubicBezTo>
                    <a:lnTo>
                      <a:pt x="0" y="43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25" name="Freeform 10">
                <a:extLst>
                  <a:ext uri="{FF2B5EF4-FFF2-40B4-BE49-F238E27FC236}">
                    <a16:creationId xmlns:a16="http://schemas.microsoft.com/office/drawing/2014/main" id="{2B91B16B-BC11-E547-8FAC-B9B8D18EA449}"/>
                  </a:ext>
                </a:extLst>
              </p:cNvPr>
              <p:cNvSpPr>
                <a:spLocks/>
              </p:cNvSpPr>
              <p:nvPr/>
            </p:nvSpPr>
            <p:spPr bwMode="gray">
              <a:xfrm>
                <a:off x="2880" y="1704"/>
                <a:ext cx="618" cy="916"/>
              </a:xfrm>
              <a:custGeom>
                <a:avLst/>
                <a:gdLst>
                  <a:gd name="T0" fmla="*/ 307 w 307"/>
                  <a:gd name="T1" fmla="*/ 405 h 455"/>
                  <a:gd name="T2" fmla="*/ 307 w 307"/>
                  <a:gd name="T3" fmla="*/ 244 h 455"/>
                  <a:gd name="T4" fmla="*/ 279 w 307"/>
                  <a:gd name="T5" fmla="*/ 229 h 455"/>
                  <a:gd name="T6" fmla="*/ 250 w 307"/>
                  <a:gd name="T7" fmla="*/ 244 h 455"/>
                  <a:gd name="T8" fmla="*/ 250 w 307"/>
                  <a:gd name="T9" fmla="*/ 378 h 455"/>
                  <a:gd name="T10" fmla="*/ 199 w 307"/>
                  <a:gd name="T11" fmla="*/ 408 h 455"/>
                  <a:gd name="T12" fmla="*/ 61 w 307"/>
                  <a:gd name="T13" fmla="*/ 231 h 455"/>
                  <a:gd name="T14" fmla="*/ 238 w 307"/>
                  <a:gd name="T15" fmla="*/ 49 h 455"/>
                  <a:gd name="T16" fmla="*/ 270 w 307"/>
                  <a:gd name="T17" fmla="*/ 49 h 455"/>
                  <a:gd name="T18" fmla="*/ 286 w 307"/>
                  <a:gd name="T19" fmla="*/ 23 h 455"/>
                  <a:gd name="T20" fmla="*/ 244 w 307"/>
                  <a:gd name="T21" fmla="*/ 0 h 455"/>
                  <a:gd name="T22" fmla="*/ 231 w 307"/>
                  <a:gd name="T23" fmla="*/ 0 h 455"/>
                  <a:gd name="T24" fmla="*/ 0 w 307"/>
                  <a:gd name="T25" fmla="*/ 232 h 455"/>
                  <a:gd name="T26" fmla="*/ 198 w 307"/>
                  <a:gd name="T27" fmla="*/ 455 h 455"/>
                  <a:gd name="T28" fmla="*/ 307 w 307"/>
                  <a:gd name="T29" fmla="*/ 405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7" h="455">
                    <a:moveTo>
                      <a:pt x="307" y="405"/>
                    </a:moveTo>
                    <a:cubicBezTo>
                      <a:pt x="307" y="244"/>
                      <a:pt x="307" y="244"/>
                      <a:pt x="307" y="244"/>
                    </a:cubicBezTo>
                    <a:cubicBezTo>
                      <a:pt x="307" y="234"/>
                      <a:pt x="298" y="229"/>
                      <a:pt x="279" y="229"/>
                    </a:cubicBezTo>
                    <a:cubicBezTo>
                      <a:pt x="259" y="229"/>
                      <a:pt x="250" y="234"/>
                      <a:pt x="250" y="244"/>
                    </a:cubicBezTo>
                    <a:cubicBezTo>
                      <a:pt x="250" y="378"/>
                      <a:pt x="250" y="378"/>
                      <a:pt x="250" y="378"/>
                    </a:cubicBezTo>
                    <a:cubicBezTo>
                      <a:pt x="250" y="399"/>
                      <a:pt x="241" y="408"/>
                      <a:pt x="199" y="408"/>
                    </a:cubicBezTo>
                    <a:cubicBezTo>
                      <a:pt x="114" y="408"/>
                      <a:pt x="61" y="342"/>
                      <a:pt x="61" y="231"/>
                    </a:cubicBezTo>
                    <a:cubicBezTo>
                      <a:pt x="61" y="115"/>
                      <a:pt x="126" y="49"/>
                      <a:pt x="238" y="49"/>
                    </a:cubicBezTo>
                    <a:cubicBezTo>
                      <a:pt x="270" y="49"/>
                      <a:pt x="270" y="49"/>
                      <a:pt x="270" y="49"/>
                    </a:cubicBezTo>
                    <a:cubicBezTo>
                      <a:pt x="282" y="49"/>
                      <a:pt x="286" y="39"/>
                      <a:pt x="286" y="23"/>
                    </a:cubicBezTo>
                    <a:cubicBezTo>
                      <a:pt x="286" y="4"/>
                      <a:pt x="275" y="0"/>
                      <a:pt x="244" y="0"/>
                    </a:cubicBezTo>
                    <a:cubicBezTo>
                      <a:pt x="231" y="0"/>
                      <a:pt x="231" y="0"/>
                      <a:pt x="231" y="0"/>
                    </a:cubicBezTo>
                    <a:cubicBezTo>
                      <a:pt x="101" y="0"/>
                      <a:pt x="0" y="71"/>
                      <a:pt x="0" y="232"/>
                    </a:cubicBezTo>
                    <a:cubicBezTo>
                      <a:pt x="0" y="386"/>
                      <a:pt x="88" y="455"/>
                      <a:pt x="198" y="455"/>
                    </a:cubicBezTo>
                    <a:cubicBezTo>
                      <a:pt x="286" y="455"/>
                      <a:pt x="307" y="430"/>
                      <a:pt x="307" y="40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26" name="Oval 11">
                <a:extLst>
                  <a:ext uri="{FF2B5EF4-FFF2-40B4-BE49-F238E27FC236}">
                    <a16:creationId xmlns:a16="http://schemas.microsoft.com/office/drawing/2014/main" id="{14F8C3C8-4888-7646-B9B4-64EB46A1DA23}"/>
                  </a:ext>
                </a:extLst>
              </p:cNvPr>
              <p:cNvSpPr>
                <a:spLocks noChangeArrowheads="1"/>
              </p:cNvSpPr>
              <p:nvPr/>
            </p:nvSpPr>
            <p:spPr bwMode="gray">
              <a:xfrm>
                <a:off x="3778" y="2099"/>
                <a:ext cx="122" cy="12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27" name="Freeform 12">
                <a:extLst>
                  <a:ext uri="{FF2B5EF4-FFF2-40B4-BE49-F238E27FC236}">
                    <a16:creationId xmlns:a16="http://schemas.microsoft.com/office/drawing/2014/main" id="{D79D01D1-4E3E-F34B-97D7-2D387E68746E}"/>
                  </a:ext>
                </a:extLst>
              </p:cNvPr>
              <p:cNvSpPr>
                <a:spLocks/>
              </p:cNvSpPr>
              <p:nvPr/>
            </p:nvSpPr>
            <p:spPr bwMode="gray">
              <a:xfrm>
                <a:off x="4321" y="1029"/>
                <a:ext cx="648" cy="649"/>
              </a:xfrm>
              <a:custGeom>
                <a:avLst/>
                <a:gdLst>
                  <a:gd name="T0" fmla="*/ 0 w 648"/>
                  <a:gd name="T1" fmla="*/ 649 h 649"/>
                  <a:gd name="T2" fmla="*/ 2 w 648"/>
                  <a:gd name="T3" fmla="*/ 649 h 649"/>
                  <a:gd name="T4" fmla="*/ 648 w 648"/>
                  <a:gd name="T5" fmla="*/ 0 h 649"/>
                  <a:gd name="T6" fmla="*/ 423 w 648"/>
                  <a:gd name="T7" fmla="*/ 0 h 649"/>
                  <a:gd name="T8" fmla="*/ 0 w 648"/>
                  <a:gd name="T9" fmla="*/ 649 h 649"/>
                </a:gdLst>
                <a:ahLst/>
                <a:cxnLst>
                  <a:cxn ang="0">
                    <a:pos x="T0" y="T1"/>
                  </a:cxn>
                  <a:cxn ang="0">
                    <a:pos x="T2" y="T3"/>
                  </a:cxn>
                  <a:cxn ang="0">
                    <a:pos x="T4" y="T5"/>
                  </a:cxn>
                  <a:cxn ang="0">
                    <a:pos x="T6" y="T7"/>
                  </a:cxn>
                  <a:cxn ang="0">
                    <a:pos x="T8" y="T9"/>
                  </a:cxn>
                </a:cxnLst>
                <a:rect l="0" t="0" r="r" b="b"/>
                <a:pathLst>
                  <a:path w="648" h="649">
                    <a:moveTo>
                      <a:pt x="0" y="649"/>
                    </a:moveTo>
                    <a:lnTo>
                      <a:pt x="2" y="649"/>
                    </a:lnTo>
                    <a:lnTo>
                      <a:pt x="648" y="0"/>
                    </a:lnTo>
                    <a:lnTo>
                      <a:pt x="423" y="0"/>
                    </a:lnTo>
                    <a:lnTo>
                      <a:pt x="0" y="64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28" name="Freeform 13">
                <a:extLst>
                  <a:ext uri="{FF2B5EF4-FFF2-40B4-BE49-F238E27FC236}">
                    <a16:creationId xmlns:a16="http://schemas.microsoft.com/office/drawing/2014/main" id="{46549898-6C52-B147-A8F6-A73FDBE6163B}"/>
                  </a:ext>
                </a:extLst>
              </p:cNvPr>
              <p:cNvSpPr>
                <a:spLocks/>
              </p:cNvSpPr>
              <p:nvPr/>
            </p:nvSpPr>
            <p:spPr bwMode="gray">
              <a:xfrm>
                <a:off x="4321" y="1029"/>
                <a:ext cx="648" cy="649"/>
              </a:xfrm>
              <a:custGeom>
                <a:avLst/>
                <a:gdLst>
                  <a:gd name="T0" fmla="*/ 0 w 648"/>
                  <a:gd name="T1" fmla="*/ 649 h 649"/>
                  <a:gd name="T2" fmla="*/ 2 w 648"/>
                  <a:gd name="T3" fmla="*/ 649 h 649"/>
                  <a:gd name="T4" fmla="*/ 648 w 648"/>
                  <a:gd name="T5" fmla="*/ 0 h 649"/>
                  <a:gd name="T6" fmla="*/ 423 w 648"/>
                  <a:gd name="T7" fmla="*/ 0 h 649"/>
                  <a:gd name="T8" fmla="*/ 0 w 648"/>
                  <a:gd name="T9" fmla="*/ 649 h 649"/>
                </a:gdLst>
                <a:ahLst/>
                <a:cxnLst>
                  <a:cxn ang="0">
                    <a:pos x="T0" y="T1"/>
                  </a:cxn>
                  <a:cxn ang="0">
                    <a:pos x="T2" y="T3"/>
                  </a:cxn>
                  <a:cxn ang="0">
                    <a:pos x="T4" y="T5"/>
                  </a:cxn>
                  <a:cxn ang="0">
                    <a:pos x="T6" y="T7"/>
                  </a:cxn>
                  <a:cxn ang="0">
                    <a:pos x="T8" y="T9"/>
                  </a:cxn>
                </a:cxnLst>
                <a:rect l="0" t="0" r="r" b="b"/>
                <a:pathLst>
                  <a:path w="648" h="649">
                    <a:moveTo>
                      <a:pt x="0" y="649"/>
                    </a:moveTo>
                    <a:lnTo>
                      <a:pt x="2" y="649"/>
                    </a:lnTo>
                    <a:lnTo>
                      <a:pt x="648" y="0"/>
                    </a:lnTo>
                    <a:lnTo>
                      <a:pt x="423" y="0"/>
                    </a:lnTo>
                    <a:lnTo>
                      <a:pt x="0" y="64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grpSp>
      </p:grpSp>
      <p:sp>
        <p:nvSpPr>
          <p:cNvPr id="7" name="Date Placeholder 6"/>
          <p:cNvSpPr>
            <a:spLocks noGrp="1"/>
          </p:cNvSpPr>
          <p:nvPr>
            <p:ph type="dt" sz="half" idx="10"/>
          </p:nvPr>
        </p:nvSpPr>
        <p:spPr>
          <a:xfrm>
            <a:off x="0" y="0"/>
            <a:ext cx="0" cy="0"/>
          </a:xfrm>
          <a:prstGeom prst="rect">
            <a:avLst/>
          </a:prstGeom>
        </p:spPr>
        <p:txBody>
          <a:bodyPr/>
          <a:lstStyle>
            <a:lvl1pPr>
              <a:defRPr sz="100">
                <a:noFill/>
              </a:defRPr>
            </a:lvl1pPr>
          </a:lstStyle>
          <a:p>
            <a:endParaRPr lang="en-US"/>
          </a:p>
        </p:txBody>
      </p:sp>
      <p:sp>
        <p:nvSpPr>
          <p:cNvPr id="8" name="Footer Placeholder 7"/>
          <p:cNvSpPr>
            <a:spLocks noGrp="1"/>
          </p:cNvSpPr>
          <p:nvPr>
            <p:ph type="ftr" sz="quarter" idx="11"/>
          </p:nvPr>
        </p:nvSpPr>
        <p:spPr>
          <a:xfrm>
            <a:off x="0" y="0"/>
            <a:ext cx="0" cy="0"/>
          </a:xfrm>
          <a:prstGeom prst="rect">
            <a:avLst/>
          </a:prstGeom>
        </p:spPr>
        <p:txBody>
          <a:bodyPr/>
          <a:lstStyle>
            <a:lvl1pPr marL="0" indent="0">
              <a:buNone/>
              <a:defRPr sz="100">
                <a:noFill/>
              </a:defRPr>
            </a:lvl1pPr>
          </a:lstStyle>
          <a:p>
            <a:endParaRPr lang="en-US"/>
          </a:p>
        </p:txBody>
      </p:sp>
      <p:sp>
        <p:nvSpPr>
          <p:cNvPr id="9" name="Slide Number Placeholder 8"/>
          <p:cNvSpPr>
            <a:spLocks noGrp="1"/>
          </p:cNvSpPr>
          <p:nvPr>
            <p:ph type="sldNum" sz="quarter" idx="12"/>
          </p:nvPr>
        </p:nvSpPr>
        <p:spPr>
          <a:xfrm>
            <a:off x="0" y="0"/>
            <a:ext cx="0" cy="0"/>
          </a:xfrm>
          <a:prstGeom prst="rect">
            <a:avLst/>
          </a:prstGeom>
        </p:spPr>
        <p:txBody>
          <a:bodyPr/>
          <a:lstStyle>
            <a:lvl1pPr>
              <a:defRPr sz="100">
                <a:noFill/>
              </a:defRPr>
            </a:lvl1pPr>
          </a:lstStyle>
          <a:p>
            <a:fld id="{8E3B25F7-8D1F-44B5-B485-EE3C438CFD7B}" type="slidenum">
              <a:rPr lang="en-US" smtClean="0"/>
              <a:pPr/>
              <a:t>‹#›</a:t>
            </a:fld>
            <a:endParaRPr lang="en-US"/>
          </a:p>
        </p:txBody>
      </p:sp>
      <p:sp>
        <p:nvSpPr>
          <p:cNvPr id="2" name="Title 1"/>
          <p:cNvSpPr>
            <a:spLocks noGrp="1"/>
          </p:cNvSpPr>
          <p:nvPr>
            <p:ph type="ctrTitle" hasCustomPrompt="1"/>
          </p:nvPr>
        </p:nvSpPr>
        <p:spPr>
          <a:xfrm>
            <a:off x="4777671" y="2019727"/>
            <a:ext cx="3816000" cy="2236264"/>
          </a:xfrm>
        </p:spPr>
        <p:txBody>
          <a:bodyPr anchor="b"/>
          <a:lstStyle>
            <a:lvl1pPr algn="l">
              <a:defRPr sz="3600"/>
            </a:lvl1pPr>
          </a:lstStyle>
          <a:p>
            <a:r>
              <a:rPr lang="en-US"/>
              <a:t>Click to add thank you</a:t>
            </a:r>
          </a:p>
        </p:txBody>
      </p:sp>
    </p:spTree>
    <p:extLst>
      <p:ext uri="{BB962C8B-B14F-4D97-AF65-F5344CB8AC3E}">
        <p14:creationId xmlns:p14="http://schemas.microsoft.com/office/powerpoint/2010/main" val="2168833910"/>
      </p:ext>
    </p:extLst>
  </p:cSld>
  <p:clrMapOvr>
    <a:masterClrMapping/>
  </p:clrMapOvr>
</p:sldLayout>
</file>

<file path=ppt/slideLayouts/slideLayout356.xml><?xml version="1.0" encoding="utf-8"?>
<p:sldLayout xmlns:a="http://schemas.openxmlformats.org/drawingml/2006/main" xmlns:r="http://schemas.openxmlformats.org/officeDocument/2006/relationships" xmlns:p="http://schemas.openxmlformats.org/presentationml/2006/main">
  <p:cSld name="2_Headline only">
    <p:spTree>
      <p:nvGrpSpPr>
        <p:cNvPr id="1" name=""/>
        <p:cNvGrpSpPr/>
        <p:nvPr/>
      </p:nvGrpSpPr>
      <p:grpSpPr>
        <a:xfrm>
          <a:off x="0" y="0"/>
          <a:ext cx="0" cy="0"/>
          <a:chOff x="0" y="0"/>
          <a:chExt cx="0" cy="0"/>
        </a:xfrm>
      </p:grpSpPr>
      <p:sp>
        <p:nvSpPr>
          <p:cNvPr id="21" name="Date Placeholder 20"/>
          <p:cNvSpPr>
            <a:spLocks noGrp="1"/>
          </p:cNvSpPr>
          <p:nvPr>
            <p:ph type="dt" sz="half" idx="14"/>
          </p:nvPr>
        </p:nvSpPr>
        <p:spPr>
          <a:xfrm>
            <a:off x="192089" y="6237288"/>
            <a:ext cx="863600" cy="358173"/>
          </a:xfrm>
          <a:prstGeom prst="rect">
            <a:avLst/>
          </a:prstGeom>
        </p:spPr>
        <p:txBody>
          <a:bodyPr/>
          <a:lstStyle/>
          <a:p>
            <a:fld id="{7DCAAD07-09FD-49C1-9253-3DC58F499B21}" type="datetime5">
              <a:rPr lang="en-US" smtClean="0"/>
              <a:t>26-Jun-20</a:t>
            </a:fld>
            <a:endParaRPr lang="en-US"/>
          </a:p>
        </p:txBody>
      </p:sp>
      <p:sp>
        <p:nvSpPr>
          <p:cNvPr id="22" name="Footer Placeholder 21"/>
          <p:cNvSpPr>
            <a:spLocks noGrp="1"/>
          </p:cNvSpPr>
          <p:nvPr>
            <p:ph type="ftr" sz="quarter" idx="15"/>
          </p:nvPr>
        </p:nvSpPr>
        <p:spPr>
          <a:xfrm>
            <a:off x="1177999" y="6237288"/>
            <a:ext cx="8162717" cy="358173"/>
          </a:xfrm>
          <a:prstGeom prst="rect">
            <a:avLst/>
          </a:prstGeom>
        </p:spPr>
        <p:txBody>
          <a:bodyPr/>
          <a:lstStyle/>
          <a:p>
            <a:r>
              <a:rPr lang="en-US"/>
              <a:t>Portfolio </a:t>
            </a:r>
            <a:r>
              <a:rPr lang="en-US" err="1"/>
              <a:t>Multiclient</a:t>
            </a:r>
            <a:r>
              <a:rPr lang="en-US"/>
              <a:t> 2019</a:t>
            </a:r>
          </a:p>
        </p:txBody>
      </p:sp>
      <p:sp>
        <p:nvSpPr>
          <p:cNvPr id="23" name="Slide Number Placeholder 22"/>
          <p:cNvSpPr>
            <a:spLocks noGrp="1"/>
          </p:cNvSpPr>
          <p:nvPr>
            <p:ph type="sldNum" sz="quarter" idx="16"/>
          </p:nvPr>
        </p:nvSpPr>
        <p:spPr/>
        <p:txBody>
          <a:bodyPr/>
          <a:lstStyle/>
          <a:p>
            <a:fld id="{5F3E29E4-0979-4FCA-B4C5-5FC6044C982A}" type="slidenum">
              <a:rPr lang="en-US" smtClean="0"/>
              <a:t>‹#›</a:t>
            </a:fld>
            <a:endParaRPr lang="en-US"/>
          </a:p>
        </p:txBody>
      </p:sp>
      <p:sp>
        <p:nvSpPr>
          <p:cNvPr id="2" name="Title 1"/>
          <p:cNvSpPr>
            <a:spLocks noGrp="1"/>
          </p:cNvSpPr>
          <p:nvPr>
            <p:ph type="title" hasCustomPrompt="1"/>
          </p:nvPr>
        </p:nvSpPr>
        <p:spPr/>
        <p:txBody>
          <a:bodyPr/>
          <a:lstStyle>
            <a:lvl1pPr>
              <a:defRPr/>
            </a:lvl1pPr>
          </a:lstStyle>
          <a:p>
            <a:r>
              <a:rPr lang="en-US"/>
              <a:t>Click to add slide title</a:t>
            </a:r>
          </a:p>
        </p:txBody>
      </p:sp>
      <p:sp>
        <p:nvSpPr>
          <p:cNvPr id="7" name="Subtitle 2"/>
          <p:cNvSpPr>
            <a:spLocks noGrp="1"/>
          </p:cNvSpPr>
          <p:nvPr>
            <p:ph type="subTitle" idx="13" hasCustomPrompt="1"/>
          </p:nvPr>
        </p:nvSpPr>
        <p:spPr>
          <a:xfrm>
            <a:off x="1075061" y="964671"/>
            <a:ext cx="7910158" cy="490042"/>
          </a:xfrm>
        </p:spPr>
        <p:txBody>
          <a:bodyPr wrap="none"/>
          <a:lstStyle>
            <a:lvl1pPr marL="0" indent="0" algn="l">
              <a:spcBef>
                <a:spcPts val="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spTree>
    <p:extLst>
      <p:ext uri="{BB962C8B-B14F-4D97-AF65-F5344CB8AC3E}">
        <p14:creationId xmlns:p14="http://schemas.microsoft.com/office/powerpoint/2010/main" val="2490315370"/>
      </p:ext>
    </p:extLst>
  </p:cSld>
  <p:clrMapOvr>
    <a:masterClrMapping/>
  </p:clrMapOvr>
</p:sldLayout>
</file>

<file path=ppt/slideLayouts/slideLayout357.xml><?xml version="1.0" encoding="utf-8"?>
<p:sldLayout xmlns:a="http://schemas.openxmlformats.org/drawingml/2006/main" xmlns:r="http://schemas.openxmlformats.org/officeDocument/2006/relationships" xmlns:p="http://schemas.openxmlformats.org/presentationml/2006/main">
  <p:cSld name="1_Two contents">
    <p:spTree>
      <p:nvGrpSpPr>
        <p:cNvPr id="1" name=""/>
        <p:cNvGrpSpPr/>
        <p:nvPr/>
      </p:nvGrpSpPr>
      <p:grpSpPr>
        <a:xfrm>
          <a:off x="0" y="0"/>
          <a:ext cx="0" cy="0"/>
          <a:chOff x="0" y="0"/>
          <a:chExt cx="0" cy="0"/>
        </a:xfrm>
      </p:grpSpPr>
      <p:sp>
        <p:nvSpPr>
          <p:cNvPr id="21" name="Date Placeholder 20"/>
          <p:cNvSpPr>
            <a:spLocks noGrp="1"/>
          </p:cNvSpPr>
          <p:nvPr>
            <p:ph type="dt" sz="half" idx="14"/>
          </p:nvPr>
        </p:nvSpPr>
        <p:spPr/>
        <p:txBody>
          <a:bodyPr/>
          <a:lstStyle/>
          <a:p>
            <a:fld id="{9D45F382-CD09-4611-8552-1549F9F12240}" type="datetime5">
              <a:rPr lang="en-US" smtClean="0"/>
              <a:t>26-Jun-20</a:t>
            </a:fld>
            <a:endParaRPr lang="en-US"/>
          </a:p>
        </p:txBody>
      </p:sp>
      <p:sp>
        <p:nvSpPr>
          <p:cNvPr id="22" name="Footer Placeholder 21"/>
          <p:cNvSpPr>
            <a:spLocks noGrp="1"/>
          </p:cNvSpPr>
          <p:nvPr>
            <p:ph type="ftr" sz="quarter" idx="15"/>
          </p:nvPr>
        </p:nvSpPr>
        <p:spPr/>
        <p:txBody>
          <a:bodyPr/>
          <a:lstStyle/>
          <a:p>
            <a:r>
              <a:rPr lang="en-US"/>
              <a:t>Title of presentation (Insert / Header &amp; Footer / Apply to All)</a:t>
            </a:r>
          </a:p>
        </p:txBody>
      </p:sp>
      <p:sp>
        <p:nvSpPr>
          <p:cNvPr id="23" name="Slide Number Placeholder 22"/>
          <p:cNvSpPr>
            <a:spLocks noGrp="1"/>
          </p:cNvSpPr>
          <p:nvPr>
            <p:ph type="sldNum" sz="quarter" idx="16"/>
          </p:nvPr>
        </p:nvSpPr>
        <p:spPr/>
        <p:txBody>
          <a:bodyPr/>
          <a:lstStyle/>
          <a:p>
            <a:fld id="{5F3E29E4-0979-4FCA-B4C5-5FC6044C982A}" type="slidenum">
              <a:rPr lang="en-US" smtClean="0"/>
              <a:t>‹#›</a:t>
            </a:fld>
            <a:endParaRPr lang="en-US"/>
          </a:p>
        </p:txBody>
      </p:sp>
      <p:sp>
        <p:nvSpPr>
          <p:cNvPr id="2" name="Title 1"/>
          <p:cNvSpPr>
            <a:spLocks noGrp="1"/>
          </p:cNvSpPr>
          <p:nvPr>
            <p:ph type="title" hasCustomPrompt="1"/>
          </p:nvPr>
        </p:nvSpPr>
        <p:spPr/>
        <p:txBody>
          <a:bodyPr/>
          <a:lstStyle>
            <a:lvl1pPr>
              <a:defRPr/>
            </a:lvl1pPr>
          </a:lstStyle>
          <a:p>
            <a:r>
              <a:rPr lang="en-US"/>
              <a:t>Click to add slide title</a:t>
            </a:r>
          </a:p>
        </p:txBody>
      </p:sp>
      <p:sp>
        <p:nvSpPr>
          <p:cNvPr id="7" name="Subtitle 2"/>
          <p:cNvSpPr>
            <a:spLocks noGrp="1"/>
          </p:cNvSpPr>
          <p:nvPr>
            <p:ph type="subTitle" idx="13" hasCustomPrompt="1"/>
          </p:nvPr>
        </p:nvSpPr>
        <p:spPr>
          <a:xfrm>
            <a:off x="1075061" y="964671"/>
            <a:ext cx="7910158" cy="490042"/>
          </a:xfrm>
        </p:spPr>
        <p:txBody>
          <a:bodyPr wrap="none"/>
          <a:lstStyle>
            <a:lvl1pPr marL="0" indent="0" algn="l">
              <a:spcBef>
                <a:spcPts val="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sp>
        <p:nvSpPr>
          <p:cNvPr id="3" name="Content Placeholder 2"/>
          <p:cNvSpPr>
            <a:spLocks noGrp="1"/>
          </p:cNvSpPr>
          <p:nvPr>
            <p:ph idx="1" hasCustomPrompt="1"/>
          </p:nvPr>
        </p:nvSpPr>
        <p:spPr>
          <a:xfrm>
            <a:off x="1075062" y="1629618"/>
            <a:ext cx="5220000" cy="4139357"/>
          </a:xfrm>
        </p:spPr>
        <p:txBody>
          <a:bodyPr/>
          <a:lstStyle>
            <a:lvl1pPr>
              <a:defRPr/>
            </a:lvl1pPr>
          </a:lstStyle>
          <a:p>
            <a:pPr lvl="0"/>
            <a:r>
              <a:rPr lang="en-US"/>
              <a:t>Click to add text or content</a:t>
            </a:r>
          </a:p>
          <a:p>
            <a:pPr lvl="1"/>
            <a:r>
              <a:rPr lang="en-US"/>
              <a:t>Second level</a:t>
            </a:r>
          </a:p>
          <a:p>
            <a:pPr lvl="2"/>
            <a:r>
              <a:rPr lang="en-US"/>
              <a:t>Third level</a:t>
            </a:r>
          </a:p>
          <a:p>
            <a:pPr lvl="3"/>
            <a:r>
              <a:rPr lang="en-US"/>
              <a:t>Fourth level</a:t>
            </a:r>
          </a:p>
          <a:p>
            <a:pPr lvl="4"/>
            <a:r>
              <a:rPr lang="en-US"/>
              <a:t>Fifth level</a:t>
            </a:r>
          </a:p>
        </p:txBody>
      </p:sp>
      <p:sp>
        <p:nvSpPr>
          <p:cNvPr id="9" name="Content Placeholder 2"/>
          <p:cNvSpPr>
            <a:spLocks noGrp="1"/>
          </p:cNvSpPr>
          <p:nvPr>
            <p:ph idx="17" hasCustomPrompt="1"/>
          </p:nvPr>
        </p:nvSpPr>
        <p:spPr>
          <a:xfrm>
            <a:off x="6600525" y="1629618"/>
            <a:ext cx="5220000" cy="4139357"/>
          </a:xfrm>
        </p:spPr>
        <p:txBody>
          <a:bodyPr/>
          <a:lstStyle>
            <a:lvl1pPr>
              <a:defRPr/>
            </a:lvl1pPr>
          </a:lstStyle>
          <a:p>
            <a:pPr lvl="0"/>
            <a:r>
              <a:rPr lang="en-US"/>
              <a:t>Click to add text or conten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66945780"/>
      </p:ext>
    </p:extLst>
  </p:cSld>
  <p:clrMapOvr>
    <a:masterClrMapping/>
  </p:clrMapOvr>
</p:sldLayout>
</file>

<file path=ppt/slideLayouts/slideLayout358.xml><?xml version="1.0" encoding="utf-8"?>
<p:sldLayout xmlns:a="http://schemas.openxmlformats.org/drawingml/2006/main" xmlns:r="http://schemas.openxmlformats.org/officeDocument/2006/relationships" xmlns:p="http://schemas.openxmlformats.org/presentationml/2006/main">
  <p:cSld name="1_One content">
    <p:spTree>
      <p:nvGrpSpPr>
        <p:cNvPr id="1" name=""/>
        <p:cNvGrpSpPr/>
        <p:nvPr/>
      </p:nvGrpSpPr>
      <p:grpSpPr>
        <a:xfrm>
          <a:off x="0" y="0"/>
          <a:ext cx="0" cy="0"/>
          <a:chOff x="0" y="0"/>
          <a:chExt cx="0" cy="0"/>
        </a:xfrm>
      </p:grpSpPr>
      <p:sp>
        <p:nvSpPr>
          <p:cNvPr id="21" name="Date Placeholder 20"/>
          <p:cNvSpPr>
            <a:spLocks noGrp="1"/>
          </p:cNvSpPr>
          <p:nvPr>
            <p:ph type="dt" sz="half" idx="14"/>
          </p:nvPr>
        </p:nvSpPr>
        <p:spPr/>
        <p:txBody>
          <a:bodyPr/>
          <a:lstStyle/>
          <a:p>
            <a:fld id="{4CC19292-71B2-4BF0-8023-C669B9188137}" type="datetime5">
              <a:rPr lang="en-US" smtClean="0"/>
              <a:t>26-Jun-20</a:t>
            </a:fld>
            <a:endParaRPr lang="en-US"/>
          </a:p>
        </p:txBody>
      </p:sp>
      <p:sp>
        <p:nvSpPr>
          <p:cNvPr id="22" name="Footer Placeholder 21"/>
          <p:cNvSpPr>
            <a:spLocks noGrp="1"/>
          </p:cNvSpPr>
          <p:nvPr>
            <p:ph type="ftr" sz="quarter" idx="15"/>
          </p:nvPr>
        </p:nvSpPr>
        <p:spPr/>
        <p:txBody>
          <a:bodyPr/>
          <a:lstStyle/>
          <a:p>
            <a:r>
              <a:rPr lang="en-US"/>
              <a:t>Syndicated Surveys  Portfolio 2019</a:t>
            </a:r>
          </a:p>
        </p:txBody>
      </p:sp>
      <p:sp>
        <p:nvSpPr>
          <p:cNvPr id="23" name="Slide Number Placeholder 22"/>
          <p:cNvSpPr>
            <a:spLocks noGrp="1"/>
          </p:cNvSpPr>
          <p:nvPr>
            <p:ph type="sldNum" sz="quarter" idx="16"/>
          </p:nvPr>
        </p:nvSpPr>
        <p:spPr/>
        <p:txBody>
          <a:bodyPr/>
          <a:lstStyle/>
          <a:p>
            <a:fld id="{5F3E29E4-0979-4FCA-B4C5-5FC6044C982A}" type="slidenum">
              <a:rPr lang="en-US" smtClean="0"/>
              <a:t>‹#›</a:t>
            </a:fld>
            <a:endParaRPr lang="en-US"/>
          </a:p>
        </p:txBody>
      </p:sp>
      <p:sp>
        <p:nvSpPr>
          <p:cNvPr id="2" name="Title 1"/>
          <p:cNvSpPr>
            <a:spLocks noGrp="1"/>
          </p:cNvSpPr>
          <p:nvPr>
            <p:ph type="title" hasCustomPrompt="1"/>
          </p:nvPr>
        </p:nvSpPr>
        <p:spPr/>
        <p:txBody>
          <a:bodyPr/>
          <a:lstStyle>
            <a:lvl1pPr>
              <a:defRPr/>
            </a:lvl1pPr>
          </a:lstStyle>
          <a:p>
            <a:r>
              <a:rPr lang="en-US"/>
              <a:t>Click to add slide title</a:t>
            </a:r>
          </a:p>
        </p:txBody>
      </p:sp>
      <p:sp>
        <p:nvSpPr>
          <p:cNvPr id="7" name="Subtitle 2"/>
          <p:cNvSpPr>
            <a:spLocks noGrp="1"/>
          </p:cNvSpPr>
          <p:nvPr>
            <p:ph type="subTitle" idx="13" hasCustomPrompt="1"/>
          </p:nvPr>
        </p:nvSpPr>
        <p:spPr>
          <a:xfrm>
            <a:off x="1075061" y="964671"/>
            <a:ext cx="7910158" cy="490042"/>
          </a:xfrm>
        </p:spPr>
        <p:txBody>
          <a:bodyPr wrap="none"/>
          <a:lstStyle>
            <a:lvl1pPr marL="0" indent="0" algn="l">
              <a:spcBef>
                <a:spcPts val="0"/>
              </a:spcBef>
              <a:buNone/>
              <a:defRPr sz="2400" baseline="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sp>
        <p:nvSpPr>
          <p:cNvPr id="3" name="Content Placeholder 2"/>
          <p:cNvSpPr>
            <a:spLocks noGrp="1"/>
          </p:cNvSpPr>
          <p:nvPr>
            <p:ph idx="1" hasCustomPrompt="1"/>
          </p:nvPr>
        </p:nvSpPr>
        <p:spPr/>
        <p:txBody>
          <a:bodyPr/>
          <a:lstStyle>
            <a:lvl1pPr>
              <a:defRPr baseline="0"/>
            </a:lvl1pPr>
          </a:lstStyle>
          <a:p>
            <a:pPr lvl="0"/>
            <a:r>
              <a:rPr lang="en-US"/>
              <a:t>Click to add text or conten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8263319"/>
      </p:ext>
    </p:extLst>
  </p:cSld>
  <p:clrMapOvr>
    <a:masterClrMapping/>
  </p:clrMapOvr>
</p:sldLayout>
</file>

<file path=ppt/slideLayouts/slideLayout359.xml><?xml version="1.0" encoding="utf-8"?>
<p:sldLayout xmlns:a="http://schemas.openxmlformats.org/drawingml/2006/main" xmlns:r="http://schemas.openxmlformats.org/officeDocument/2006/relationships" xmlns:p="http://schemas.openxmlformats.org/presentationml/2006/main" userDrawn="1">
  <p:cSld name="1_Headline only">
    <p:spTree>
      <p:nvGrpSpPr>
        <p:cNvPr id="1" name=""/>
        <p:cNvGrpSpPr/>
        <p:nvPr/>
      </p:nvGrpSpPr>
      <p:grpSpPr>
        <a:xfrm>
          <a:off x="0" y="0"/>
          <a:ext cx="0" cy="0"/>
          <a:chOff x="0" y="0"/>
          <a:chExt cx="0" cy="0"/>
        </a:xfrm>
      </p:grpSpPr>
      <p:sp>
        <p:nvSpPr>
          <p:cNvPr id="3" name="Textplatzhalter 2"/>
          <p:cNvSpPr>
            <a:spLocks noGrp="1"/>
          </p:cNvSpPr>
          <p:nvPr>
            <p:ph type="body" sz="quarter" idx="10" hasCustomPrompt="1"/>
          </p:nvPr>
        </p:nvSpPr>
        <p:spPr bwMode="gray">
          <a:xfrm>
            <a:off x="431213" y="1220755"/>
            <a:ext cx="11328987" cy="384340"/>
          </a:xfrm>
        </p:spPr>
        <p:txBody>
          <a:bodyPr>
            <a:noAutofit/>
          </a:bodyPr>
          <a:lstStyle>
            <a:lvl1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1pPr>
            <a:lvl2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2pPr>
            <a:lvl3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3pPr>
            <a:lvl4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4pPr>
            <a:lvl5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5pPr>
            <a:lvl6pPr marL="0" indent="0">
              <a:lnSpc>
                <a:spcPct val="100000"/>
              </a:lnSpc>
              <a:spcBef>
                <a:spcPts val="800"/>
              </a:spcBef>
              <a:buNone/>
              <a:defRPr lang="en-GB" sz="2400" kern="1200" noProof="0" smtClean="0">
                <a:solidFill>
                  <a:schemeClr val="tx2"/>
                </a:solidFill>
                <a:latin typeface="Arial" pitchFamily="34" charset="0"/>
                <a:ea typeface="+mn-ea"/>
                <a:cs typeface="Arial" pitchFamily="34" charset="0"/>
              </a:defRPr>
            </a:lvl6pPr>
            <a:lvl7pPr marL="0" indent="0">
              <a:lnSpc>
                <a:spcPct val="100000"/>
              </a:lnSpc>
              <a:spcBef>
                <a:spcPts val="800"/>
              </a:spcBef>
              <a:buNone/>
              <a:defRPr lang="en-GB" sz="2400" kern="1200" noProof="0" smtClean="0">
                <a:solidFill>
                  <a:schemeClr val="tx2"/>
                </a:solidFill>
                <a:latin typeface="Arial" pitchFamily="34" charset="0"/>
                <a:ea typeface="+mn-ea"/>
                <a:cs typeface="Arial" pitchFamily="34" charset="0"/>
              </a:defRPr>
            </a:lvl7pPr>
            <a:lvl8pPr marL="0" indent="0">
              <a:lnSpc>
                <a:spcPct val="100000"/>
              </a:lnSpc>
              <a:spcBef>
                <a:spcPts val="800"/>
              </a:spcBef>
              <a:buNone/>
              <a:defRPr lang="en-GB" sz="2400" kern="1200" noProof="0" smtClean="0">
                <a:solidFill>
                  <a:schemeClr val="tx2"/>
                </a:solidFill>
                <a:latin typeface="Arial" pitchFamily="34" charset="0"/>
                <a:ea typeface="+mn-ea"/>
                <a:cs typeface="Arial" pitchFamily="34" charset="0"/>
              </a:defRPr>
            </a:lvl8pPr>
            <a:lvl9pPr marL="0" indent="0">
              <a:lnSpc>
                <a:spcPct val="100000"/>
              </a:lnSpc>
              <a:spcBef>
                <a:spcPts val="800"/>
              </a:spcBef>
              <a:buNone/>
              <a:defRPr lang="de-DE" sz="2400" kern="1200" noProof="0" smtClean="0">
                <a:solidFill>
                  <a:schemeClr val="tx2"/>
                </a:solidFill>
                <a:latin typeface="Arial" pitchFamily="34" charset="0"/>
                <a:ea typeface="+mn-ea"/>
                <a:cs typeface="Arial" pitchFamily="34" charset="0"/>
              </a:defRPr>
            </a:lvl9pPr>
          </a:lstStyle>
          <a:p>
            <a:pPr lvl="0"/>
            <a:r>
              <a:rPr lang="en-US"/>
              <a:t>Click to add </a:t>
            </a:r>
            <a:r>
              <a:rPr lang="en-US" err="1"/>
              <a:t>subheadline</a:t>
            </a:r>
            <a:endParaRPr lang="en-US"/>
          </a:p>
        </p:txBody>
      </p:sp>
      <p:sp>
        <p:nvSpPr>
          <p:cNvPr id="4" name="Textplatzhalter 3"/>
          <p:cNvSpPr>
            <a:spLocks noGrp="1"/>
          </p:cNvSpPr>
          <p:nvPr>
            <p:ph type="body" sz="quarter" idx="11" hasCustomPrompt="1"/>
          </p:nvPr>
        </p:nvSpPr>
        <p:spPr bwMode="gray">
          <a:xfrm>
            <a:off x="431371" y="6404736"/>
            <a:ext cx="11328400" cy="192616"/>
          </a:xfrm>
        </p:spPr>
        <p:txBody>
          <a:bodyPr tIns="0" bIns="36000" anchor="b" anchorCtr="0">
            <a:noAutofit/>
          </a:bodyPr>
          <a:lstStyle>
            <a:lvl1pPr marL="0" marR="0" indent="0" algn="l" defTabSz="1219170" rtl="0" eaLnBrk="1" fontAlgn="auto" latinLnBrk="0" hangingPunct="1">
              <a:lnSpc>
                <a:spcPct val="100000"/>
              </a:lnSpc>
              <a:spcBef>
                <a:spcPts val="0"/>
              </a:spcBef>
              <a:spcAft>
                <a:spcPts val="0"/>
              </a:spcAft>
              <a:buClrTx/>
              <a:buSzTx/>
              <a:buFont typeface="Arial" pitchFamily="34" charset="0"/>
              <a:buNone/>
              <a:tabLst/>
              <a:defRPr lang="de-DE" sz="1067" kern="1200" baseline="0" noProof="0" smtClean="0">
                <a:solidFill>
                  <a:schemeClr val="bg2"/>
                </a:solidFill>
                <a:latin typeface="Arial" pitchFamily="34" charset="0"/>
                <a:ea typeface="+mn-ea"/>
                <a:cs typeface="Arial" pitchFamily="34" charset="0"/>
              </a:defRPr>
            </a:lvl1pPr>
            <a:lvl2pPr marL="0" indent="0">
              <a:lnSpc>
                <a:spcPct val="100000"/>
              </a:lnSpc>
              <a:spcBef>
                <a:spcPts val="0"/>
              </a:spcBef>
              <a:buFont typeface="Arial" panose="020B0604020202020204" pitchFamily="34" charset="0"/>
              <a:buNone/>
              <a:defRPr lang="de-DE" sz="1067" kern="1200" baseline="0" noProof="0" smtClean="0">
                <a:solidFill>
                  <a:schemeClr val="bg2"/>
                </a:solidFill>
                <a:latin typeface="Arial" pitchFamily="34" charset="0"/>
                <a:ea typeface="+mn-ea"/>
                <a:cs typeface="Arial" pitchFamily="34" charset="0"/>
              </a:defRPr>
            </a:lvl2pPr>
            <a:lvl3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3pPr>
            <a:lvl4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4pPr>
            <a:lvl5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5pPr>
            <a:lvl6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6pPr>
            <a:lvl7pPr marL="0" indent="0">
              <a:lnSpc>
                <a:spcPct val="100000"/>
              </a:lnSpc>
              <a:spcBef>
                <a:spcPts val="0"/>
              </a:spcBef>
              <a:buNone/>
              <a:defRPr lang="de-DE" sz="1067" kern="1200" baseline="0" noProof="0" dirty="0" smtClean="0">
                <a:solidFill>
                  <a:schemeClr val="bg2"/>
                </a:solidFill>
                <a:latin typeface="Arial" pitchFamily="34" charset="0"/>
                <a:ea typeface="+mn-ea"/>
                <a:cs typeface="Arial" pitchFamily="34" charset="0"/>
              </a:defRPr>
            </a:lvl7pPr>
            <a:lvl8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8pPr>
            <a:lvl9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9pPr>
          </a:lstStyle>
          <a:p>
            <a:pPr lvl="0"/>
            <a:r>
              <a:rPr lang="en-US"/>
              <a:t>Click to add source information</a:t>
            </a:r>
          </a:p>
        </p:txBody>
      </p:sp>
      <p:sp>
        <p:nvSpPr>
          <p:cNvPr id="5" name="Title 4"/>
          <p:cNvSpPr>
            <a:spLocks noGrp="1"/>
          </p:cNvSpPr>
          <p:nvPr>
            <p:ph type="title" hasCustomPrompt="1"/>
          </p:nvPr>
        </p:nvSpPr>
        <p:spPr/>
        <p:txBody>
          <a:bodyPr/>
          <a:lstStyle/>
          <a:p>
            <a:r>
              <a:rPr lang="en-US"/>
              <a:t>Click to add headline</a:t>
            </a:r>
          </a:p>
        </p:txBody>
      </p:sp>
    </p:spTree>
    <p:extLst>
      <p:ext uri="{BB962C8B-B14F-4D97-AF65-F5344CB8AC3E}">
        <p14:creationId xmlns:p14="http://schemas.microsoft.com/office/powerpoint/2010/main" val="2940486461"/>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blank" preserve="1">
  <p:cSld name="Empty">
    <p:spTree>
      <p:nvGrpSpPr>
        <p:cNvPr id="1" name=""/>
        <p:cNvGrpSpPr/>
        <p:nvPr/>
      </p:nvGrpSpPr>
      <p:grpSpPr>
        <a:xfrm>
          <a:off x="0" y="0"/>
          <a:ext cx="0" cy="0"/>
          <a:chOff x="0" y="0"/>
          <a:chExt cx="0" cy="0"/>
        </a:xfrm>
      </p:grpSpPr>
      <p:sp>
        <p:nvSpPr>
          <p:cNvPr id="5" name="Rectangle 4"/>
          <p:cNvSpPr/>
          <p:nvPr userDrawn="1"/>
        </p:nvSpPr>
        <p:spPr bwMode="gray">
          <a:xfrm>
            <a:off x="0" y="0"/>
            <a:ext cx="12192000" cy="685800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indent="0" algn="ctr">
              <a:spcBef>
                <a:spcPts val="400"/>
              </a:spcBef>
              <a:buFont typeface="Courier New" pitchFamily="49" charset="0"/>
              <a:buNone/>
            </a:pPr>
            <a:endParaRPr lang="en-US" sz="2133">
              <a:solidFill>
                <a:schemeClr val="tx1"/>
              </a:solidFill>
              <a:latin typeface="Arial" pitchFamily="34" charset="0"/>
              <a:cs typeface="Arial" pitchFamily="34" charset="0"/>
            </a:endParaRPr>
          </a:p>
        </p:txBody>
      </p:sp>
    </p:spTree>
    <p:extLst>
      <p:ext uri="{BB962C8B-B14F-4D97-AF65-F5344CB8AC3E}">
        <p14:creationId xmlns:p14="http://schemas.microsoft.com/office/powerpoint/2010/main" val="3724560239"/>
      </p:ext>
    </p:extLst>
  </p:cSld>
  <p:clrMapOvr>
    <a:masterClrMapping/>
  </p:clrMapOvr>
</p:sldLayout>
</file>

<file path=ppt/slideLayouts/slideLayout360.xml><?xml version="1.0" encoding="utf-8"?>
<p:sldLayout xmlns:a="http://schemas.openxmlformats.org/drawingml/2006/main" xmlns:r="http://schemas.openxmlformats.org/officeDocument/2006/relationships" xmlns:p="http://schemas.openxmlformats.org/presentationml/2006/main" showMasterSp="0" preserve="1">
  <p:cSld name="Title 1">
    <p:spTree>
      <p:nvGrpSpPr>
        <p:cNvPr id="1" name=""/>
        <p:cNvGrpSpPr/>
        <p:nvPr/>
      </p:nvGrpSpPr>
      <p:grpSpPr>
        <a:xfrm>
          <a:off x="0" y="0"/>
          <a:ext cx="0" cy="0"/>
          <a:chOff x="0" y="0"/>
          <a:chExt cx="0" cy="0"/>
        </a:xfrm>
      </p:grpSpPr>
      <p:pic>
        <p:nvPicPr>
          <p:cNvPr id="32" name="picture">
            <a:extLst>
              <a:ext uri="{FF2B5EF4-FFF2-40B4-BE49-F238E27FC236}">
                <a16:creationId xmlns:a16="http://schemas.microsoft.com/office/drawing/2014/main" id="{4F153214-AFE7-D540-937D-96E89FDAD54B}"/>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2620212" y="-8808"/>
            <a:ext cx="9697299" cy="6866807"/>
          </a:xfrm>
          <a:prstGeom prst="rect">
            <a:avLst/>
          </a:prstGeom>
        </p:spPr>
      </p:pic>
      <p:sp>
        <p:nvSpPr>
          <p:cNvPr id="29" name="shpPicture"/>
          <p:cNvSpPr/>
          <p:nvPr/>
        </p:nvSpPr>
        <p:spPr>
          <a:xfrm>
            <a:off x="0" y="0"/>
            <a:ext cx="4956718" cy="6858000"/>
          </a:xfrm>
          <a:custGeom>
            <a:avLst/>
            <a:gdLst>
              <a:gd name="connsiteX0" fmla="*/ 0 w 4956718"/>
              <a:gd name="connsiteY0" fmla="*/ 0 h 6858000"/>
              <a:gd name="connsiteX1" fmla="*/ 3707268 w 4956718"/>
              <a:gd name="connsiteY1" fmla="*/ 0 h 6858000"/>
              <a:gd name="connsiteX2" fmla="*/ 4956718 w 4956718"/>
              <a:gd name="connsiteY2" fmla="*/ 4163677 h 6858000"/>
              <a:gd name="connsiteX3" fmla="*/ 3376226 w 4956718"/>
              <a:gd name="connsiteY3" fmla="*/ 6858000 h 6858000"/>
              <a:gd name="connsiteX4" fmla="*/ 0 w 4956718"/>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56718" h="6858000">
                <a:moveTo>
                  <a:pt x="0" y="0"/>
                </a:moveTo>
                <a:lnTo>
                  <a:pt x="3707268" y="0"/>
                </a:lnTo>
                <a:lnTo>
                  <a:pt x="4956718" y="4163677"/>
                </a:lnTo>
                <a:lnTo>
                  <a:pt x="3376226"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125000"/>
              </a:lnSpc>
            </a:pPr>
            <a:endParaRPr lang="en-US" sz="1600"/>
          </a:p>
        </p:txBody>
      </p:sp>
      <p:grpSp>
        <p:nvGrpSpPr>
          <p:cNvPr id="14" name="logo">
            <a:extLst>
              <a:ext uri="{FF2B5EF4-FFF2-40B4-BE49-F238E27FC236}">
                <a16:creationId xmlns:a16="http://schemas.microsoft.com/office/drawing/2014/main" id="{18C26D95-70F8-8A4D-9F18-DCCB92522AF8}"/>
              </a:ext>
            </a:extLst>
          </p:cNvPr>
          <p:cNvGrpSpPr/>
          <p:nvPr/>
        </p:nvGrpSpPr>
        <p:grpSpPr bwMode="gray">
          <a:xfrm>
            <a:off x="417363" y="407485"/>
            <a:ext cx="1518585" cy="646507"/>
            <a:chOff x="334963" y="296652"/>
            <a:chExt cx="1268411" cy="540000"/>
          </a:xfrm>
        </p:grpSpPr>
        <p:sp>
          <p:nvSpPr>
            <p:cNvPr id="17" name="Freeform 6">
              <a:extLst>
                <a:ext uri="{FF2B5EF4-FFF2-40B4-BE49-F238E27FC236}">
                  <a16:creationId xmlns:a16="http://schemas.microsoft.com/office/drawing/2014/main" id="{08737AD0-E375-E445-97E6-CD2E2DF60620}"/>
                </a:ext>
              </a:extLst>
            </p:cNvPr>
            <p:cNvSpPr>
              <a:spLocks noEditPoints="1"/>
            </p:cNvSpPr>
            <p:nvPr/>
          </p:nvSpPr>
          <p:spPr bwMode="gray">
            <a:xfrm>
              <a:off x="982662" y="360462"/>
              <a:ext cx="620712" cy="431800"/>
            </a:xfrm>
            <a:custGeom>
              <a:avLst/>
              <a:gdLst>
                <a:gd name="T0" fmla="*/ 19 w 1809"/>
                <a:gd name="T1" fmla="*/ 97 h 1253"/>
                <a:gd name="T2" fmla="*/ 165 w 1809"/>
                <a:gd name="T3" fmla="*/ 41 h 1253"/>
                <a:gd name="T4" fmla="*/ 211 w 1809"/>
                <a:gd name="T5" fmla="*/ 224 h 1253"/>
                <a:gd name="T6" fmla="*/ 248 w 1809"/>
                <a:gd name="T7" fmla="*/ 155 h 1253"/>
                <a:gd name="T8" fmla="*/ 931 w 1809"/>
                <a:gd name="T9" fmla="*/ 995 h 1253"/>
                <a:gd name="T10" fmla="*/ 858 w 1809"/>
                <a:gd name="T11" fmla="*/ 1115 h 1253"/>
                <a:gd name="T12" fmla="*/ 749 w 1809"/>
                <a:gd name="T13" fmla="*/ 1117 h 1253"/>
                <a:gd name="T14" fmla="*/ 681 w 1809"/>
                <a:gd name="T15" fmla="*/ 1055 h 1253"/>
                <a:gd name="T16" fmla="*/ 800 w 1809"/>
                <a:gd name="T17" fmla="*/ 1054 h 1253"/>
                <a:gd name="T18" fmla="*/ 884 w 1809"/>
                <a:gd name="T19" fmla="*/ 1181 h 1253"/>
                <a:gd name="T20" fmla="*/ 118 w 1809"/>
                <a:gd name="T21" fmla="*/ 1086 h 1253"/>
                <a:gd name="T22" fmla="*/ 147 w 1809"/>
                <a:gd name="T23" fmla="*/ 1026 h 1253"/>
                <a:gd name="T24" fmla="*/ 102 w 1809"/>
                <a:gd name="T25" fmla="*/ 1026 h 1253"/>
                <a:gd name="T26" fmla="*/ 639 w 1809"/>
                <a:gd name="T27" fmla="*/ 84 h 1253"/>
                <a:gd name="T28" fmla="*/ 763 w 1809"/>
                <a:gd name="T29" fmla="*/ 145 h 1253"/>
                <a:gd name="T30" fmla="*/ 863 w 1809"/>
                <a:gd name="T31" fmla="*/ 221 h 1253"/>
                <a:gd name="T32" fmla="*/ 834 w 1809"/>
                <a:gd name="T33" fmla="*/ 208 h 1253"/>
                <a:gd name="T34" fmla="*/ 719 w 1809"/>
                <a:gd name="T35" fmla="*/ 182 h 1253"/>
                <a:gd name="T36" fmla="*/ 507 w 1809"/>
                <a:gd name="T37" fmla="*/ 711 h 1253"/>
                <a:gd name="T38" fmla="*/ 614 w 1809"/>
                <a:gd name="T39" fmla="*/ 706 h 1253"/>
                <a:gd name="T40" fmla="*/ 736 w 1809"/>
                <a:gd name="T41" fmla="*/ 730 h 1253"/>
                <a:gd name="T42" fmla="*/ 607 w 1809"/>
                <a:gd name="T43" fmla="*/ 539 h 1253"/>
                <a:gd name="T44" fmla="*/ 1505 w 1809"/>
                <a:gd name="T45" fmla="*/ 1136 h 1253"/>
                <a:gd name="T46" fmla="*/ 1613 w 1809"/>
                <a:gd name="T47" fmla="*/ 1002 h 1253"/>
                <a:gd name="T48" fmla="*/ 1472 w 1809"/>
                <a:gd name="T49" fmla="*/ 1164 h 1253"/>
                <a:gd name="T50" fmla="*/ 1525 w 1809"/>
                <a:gd name="T51" fmla="*/ 1142 h 1253"/>
                <a:gd name="T52" fmla="*/ 1556 w 1809"/>
                <a:gd name="T53" fmla="*/ 1172 h 1253"/>
                <a:gd name="T54" fmla="*/ 1387 w 1809"/>
                <a:gd name="T55" fmla="*/ 910 h 1253"/>
                <a:gd name="T56" fmla="*/ 1261 w 1809"/>
                <a:gd name="T57" fmla="*/ 1157 h 1253"/>
                <a:gd name="T58" fmla="*/ 1413 w 1809"/>
                <a:gd name="T59" fmla="*/ 934 h 1253"/>
                <a:gd name="T60" fmla="*/ 1378 w 1809"/>
                <a:gd name="T61" fmla="*/ 1052 h 1253"/>
                <a:gd name="T62" fmla="*/ 488 w 1809"/>
                <a:gd name="T63" fmla="*/ 85 h 1253"/>
                <a:gd name="T64" fmla="*/ 509 w 1809"/>
                <a:gd name="T65" fmla="*/ 112 h 1253"/>
                <a:gd name="T66" fmla="*/ 548 w 1809"/>
                <a:gd name="T67" fmla="*/ 1187 h 1253"/>
                <a:gd name="T68" fmla="*/ 472 w 1809"/>
                <a:gd name="T69" fmla="*/ 1122 h 1253"/>
                <a:gd name="T70" fmla="*/ 558 w 1809"/>
                <a:gd name="T71" fmla="*/ 1157 h 1253"/>
                <a:gd name="T72" fmla="*/ 287 w 1809"/>
                <a:gd name="T73" fmla="*/ 654 h 1253"/>
                <a:gd name="T74" fmla="*/ 416 w 1809"/>
                <a:gd name="T75" fmla="*/ 684 h 1253"/>
                <a:gd name="T76" fmla="*/ 1106 w 1809"/>
                <a:gd name="T77" fmla="*/ 147 h 1253"/>
                <a:gd name="T78" fmla="*/ 1229 w 1809"/>
                <a:gd name="T79" fmla="*/ 258 h 1253"/>
                <a:gd name="T80" fmla="*/ 1106 w 1809"/>
                <a:gd name="T81" fmla="*/ 96 h 1253"/>
                <a:gd name="T82" fmla="*/ 1219 w 1809"/>
                <a:gd name="T83" fmla="*/ 1077 h 1253"/>
                <a:gd name="T84" fmla="*/ 1214 w 1809"/>
                <a:gd name="T85" fmla="*/ 1157 h 1253"/>
                <a:gd name="T86" fmla="*/ 1150 w 1809"/>
                <a:gd name="T87" fmla="*/ 1092 h 1253"/>
                <a:gd name="T88" fmla="*/ 1139 w 1809"/>
                <a:gd name="T89" fmla="*/ 1070 h 1253"/>
                <a:gd name="T90" fmla="*/ 1659 w 1809"/>
                <a:gd name="T91" fmla="*/ 1031 h 1253"/>
                <a:gd name="T92" fmla="*/ 1714 w 1809"/>
                <a:gd name="T93" fmla="*/ 1155 h 1253"/>
                <a:gd name="T94" fmla="*/ 1760 w 1809"/>
                <a:gd name="T95" fmla="*/ 1030 h 1253"/>
                <a:gd name="T96" fmla="*/ 111 w 1809"/>
                <a:gd name="T97" fmla="*/ 569 h 1253"/>
                <a:gd name="T98" fmla="*/ 109 w 1809"/>
                <a:gd name="T99" fmla="*/ 460 h 1253"/>
                <a:gd name="T100" fmla="*/ 32 w 1809"/>
                <a:gd name="T101" fmla="*/ 704 h 1253"/>
                <a:gd name="T102" fmla="*/ 310 w 1809"/>
                <a:gd name="T103" fmla="*/ 1058 h 1253"/>
                <a:gd name="T104" fmla="*/ 431 w 1809"/>
                <a:gd name="T105" fmla="*/ 1044 h 1253"/>
                <a:gd name="T106" fmla="*/ 278 w 1809"/>
                <a:gd name="T107" fmla="*/ 1165 h 1253"/>
                <a:gd name="T108" fmla="*/ 261 w 1809"/>
                <a:gd name="T109" fmla="*/ 540 h 1253"/>
                <a:gd name="T110" fmla="*/ 150 w 1809"/>
                <a:gd name="T111" fmla="*/ 635 h 1253"/>
                <a:gd name="T112" fmla="*/ 994 w 1809"/>
                <a:gd name="T113" fmla="*/ 1185 h 1253"/>
                <a:gd name="T114" fmla="*/ 331 w 1809"/>
                <a:gd name="T115" fmla="*/ 176 h 1253"/>
                <a:gd name="T116" fmla="*/ 333 w 1809"/>
                <a:gd name="T117" fmla="*/ 109 h 1253"/>
                <a:gd name="T118" fmla="*/ 946 w 1809"/>
                <a:gd name="T119" fmla="*/ 234 h 1253"/>
                <a:gd name="T120" fmla="*/ 1022 w 1809"/>
                <a:gd name="T121" fmla="*/ 113 h 1253"/>
                <a:gd name="T122" fmla="*/ 949 w 1809"/>
                <a:gd name="T123" fmla="*/ 65 h 1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09" h="1253">
                  <a:moveTo>
                    <a:pt x="248" y="198"/>
                  </a:moveTo>
                  <a:cubicBezTo>
                    <a:pt x="248" y="211"/>
                    <a:pt x="248" y="224"/>
                    <a:pt x="249" y="237"/>
                  </a:cubicBezTo>
                  <a:cubicBezTo>
                    <a:pt x="249" y="245"/>
                    <a:pt x="246" y="249"/>
                    <a:pt x="240" y="253"/>
                  </a:cubicBezTo>
                  <a:cubicBezTo>
                    <a:pt x="231" y="260"/>
                    <a:pt x="220" y="264"/>
                    <a:pt x="209" y="268"/>
                  </a:cubicBezTo>
                  <a:cubicBezTo>
                    <a:pt x="179" y="279"/>
                    <a:pt x="148" y="280"/>
                    <a:pt x="118" y="275"/>
                  </a:cubicBezTo>
                  <a:cubicBezTo>
                    <a:pt x="86" y="269"/>
                    <a:pt x="58" y="252"/>
                    <a:pt x="39" y="224"/>
                  </a:cubicBezTo>
                  <a:cubicBezTo>
                    <a:pt x="24" y="203"/>
                    <a:pt x="18" y="180"/>
                    <a:pt x="15" y="155"/>
                  </a:cubicBezTo>
                  <a:cubicBezTo>
                    <a:pt x="11" y="135"/>
                    <a:pt x="15" y="115"/>
                    <a:pt x="19" y="97"/>
                  </a:cubicBezTo>
                  <a:cubicBezTo>
                    <a:pt x="26" y="68"/>
                    <a:pt x="42" y="44"/>
                    <a:pt x="68" y="27"/>
                  </a:cubicBezTo>
                  <a:cubicBezTo>
                    <a:pt x="87" y="14"/>
                    <a:pt x="109" y="6"/>
                    <a:pt x="133" y="5"/>
                  </a:cubicBezTo>
                  <a:cubicBezTo>
                    <a:pt x="149" y="4"/>
                    <a:pt x="165" y="5"/>
                    <a:pt x="181" y="6"/>
                  </a:cubicBezTo>
                  <a:cubicBezTo>
                    <a:pt x="204" y="8"/>
                    <a:pt x="225" y="20"/>
                    <a:pt x="243" y="35"/>
                  </a:cubicBezTo>
                  <a:cubicBezTo>
                    <a:pt x="246" y="37"/>
                    <a:pt x="246" y="40"/>
                    <a:pt x="244" y="43"/>
                  </a:cubicBezTo>
                  <a:cubicBezTo>
                    <a:pt x="242" y="47"/>
                    <a:pt x="239" y="52"/>
                    <a:pt x="236" y="55"/>
                  </a:cubicBezTo>
                  <a:cubicBezTo>
                    <a:pt x="226" y="65"/>
                    <a:pt x="224" y="65"/>
                    <a:pt x="206" y="54"/>
                  </a:cubicBezTo>
                  <a:cubicBezTo>
                    <a:pt x="193" y="46"/>
                    <a:pt x="180" y="40"/>
                    <a:pt x="165" y="41"/>
                  </a:cubicBezTo>
                  <a:cubicBezTo>
                    <a:pt x="151" y="41"/>
                    <a:pt x="137" y="39"/>
                    <a:pt x="124" y="42"/>
                  </a:cubicBezTo>
                  <a:cubicBezTo>
                    <a:pt x="104" y="46"/>
                    <a:pt x="87" y="57"/>
                    <a:pt x="75" y="74"/>
                  </a:cubicBezTo>
                  <a:cubicBezTo>
                    <a:pt x="56" y="99"/>
                    <a:pt x="51" y="129"/>
                    <a:pt x="55" y="159"/>
                  </a:cubicBezTo>
                  <a:cubicBezTo>
                    <a:pt x="60" y="189"/>
                    <a:pt x="73" y="214"/>
                    <a:pt x="98" y="230"/>
                  </a:cubicBezTo>
                  <a:cubicBezTo>
                    <a:pt x="109" y="237"/>
                    <a:pt x="121" y="242"/>
                    <a:pt x="135" y="241"/>
                  </a:cubicBezTo>
                  <a:cubicBezTo>
                    <a:pt x="146" y="241"/>
                    <a:pt x="158" y="241"/>
                    <a:pt x="169" y="241"/>
                  </a:cubicBezTo>
                  <a:cubicBezTo>
                    <a:pt x="182" y="242"/>
                    <a:pt x="193" y="235"/>
                    <a:pt x="205" y="232"/>
                  </a:cubicBezTo>
                  <a:cubicBezTo>
                    <a:pt x="210" y="231"/>
                    <a:pt x="211" y="227"/>
                    <a:pt x="211" y="224"/>
                  </a:cubicBezTo>
                  <a:cubicBezTo>
                    <a:pt x="211" y="210"/>
                    <a:pt x="211" y="196"/>
                    <a:pt x="211" y="183"/>
                  </a:cubicBezTo>
                  <a:cubicBezTo>
                    <a:pt x="211" y="177"/>
                    <a:pt x="207" y="175"/>
                    <a:pt x="202" y="175"/>
                  </a:cubicBezTo>
                  <a:cubicBezTo>
                    <a:pt x="193" y="175"/>
                    <a:pt x="184" y="175"/>
                    <a:pt x="175" y="175"/>
                  </a:cubicBezTo>
                  <a:cubicBezTo>
                    <a:pt x="171" y="175"/>
                    <a:pt x="168" y="174"/>
                    <a:pt x="166" y="171"/>
                  </a:cubicBezTo>
                  <a:cubicBezTo>
                    <a:pt x="163" y="163"/>
                    <a:pt x="164" y="154"/>
                    <a:pt x="166" y="146"/>
                  </a:cubicBezTo>
                  <a:cubicBezTo>
                    <a:pt x="167" y="142"/>
                    <a:pt x="171" y="142"/>
                    <a:pt x="175" y="142"/>
                  </a:cubicBezTo>
                  <a:cubicBezTo>
                    <a:pt x="196" y="142"/>
                    <a:pt x="217" y="142"/>
                    <a:pt x="238" y="142"/>
                  </a:cubicBezTo>
                  <a:cubicBezTo>
                    <a:pt x="247" y="142"/>
                    <a:pt x="248" y="148"/>
                    <a:pt x="248" y="155"/>
                  </a:cubicBezTo>
                  <a:cubicBezTo>
                    <a:pt x="249" y="169"/>
                    <a:pt x="248" y="183"/>
                    <a:pt x="248" y="198"/>
                  </a:cubicBezTo>
                  <a:close/>
                  <a:moveTo>
                    <a:pt x="884" y="1181"/>
                  </a:moveTo>
                  <a:cubicBezTo>
                    <a:pt x="889" y="1167"/>
                    <a:pt x="894" y="1152"/>
                    <a:pt x="898" y="1137"/>
                  </a:cubicBezTo>
                  <a:cubicBezTo>
                    <a:pt x="901" y="1127"/>
                    <a:pt x="905" y="1116"/>
                    <a:pt x="908" y="1106"/>
                  </a:cubicBezTo>
                  <a:cubicBezTo>
                    <a:pt x="911" y="1098"/>
                    <a:pt x="912" y="1089"/>
                    <a:pt x="916" y="1081"/>
                  </a:cubicBezTo>
                  <a:cubicBezTo>
                    <a:pt x="921" y="1072"/>
                    <a:pt x="923" y="1060"/>
                    <a:pt x="927" y="1050"/>
                  </a:cubicBezTo>
                  <a:cubicBezTo>
                    <a:pt x="932" y="1037"/>
                    <a:pt x="934" y="1023"/>
                    <a:pt x="940" y="1010"/>
                  </a:cubicBezTo>
                  <a:cubicBezTo>
                    <a:pt x="945" y="1001"/>
                    <a:pt x="941" y="995"/>
                    <a:pt x="931" y="995"/>
                  </a:cubicBezTo>
                  <a:cubicBezTo>
                    <a:pt x="927" y="995"/>
                    <a:pt x="922" y="995"/>
                    <a:pt x="918" y="995"/>
                  </a:cubicBezTo>
                  <a:cubicBezTo>
                    <a:pt x="913" y="995"/>
                    <a:pt x="908" y="997"/>
                    <a:pt x="907" y="1001"/>
                  </a:cubicBezTo>
                  <a:cubicBezTo>
                    <a:pt x="904" y="1008"/>
                    <a:pt x="900" y="1015"/>
                    <a:pt x="899" y="1023"/>
                  </a:cubicBezTo>
                  <a:cubicBezTo>
                    <a:pt x="897" y="1034"/>
                    <a:pt x="893" y="1045"/>
                    <a:pt x="889" y="1055"/>
                  </a:cubicBezTo>
                  <a:cubicBezTo>
                    <a:pt x="887" y="1064"/>
                    <a:pt x="885" y="1072"/>
                    <a:pt x="882" y="1080"/>
                  </a:cubicBezTo>
                  <a:cubicBezTo>
                    <a:pt x="878" y="1091"/>
                    <a:pt x="874" y="1103"/>
                    <a:pt x="871" y="1115"/>
                  </a:cubicBezTo>
                  <a:cubicBezTo>
                    <a:pt x="870" y="1118"/>
                    <a:pt x="871" y="1124"/>
                    <a:pt x="866" y="1124"/>
                  </a:cubicBezTo>
                  <a:cubicBezTo>
                    <a:pt x="861" y="1125"/>
                    <a:pt x="859" y="1120"/>
                    <a:pt x="858" y="1115"/>
                  </a:cubicBezTo>
                  <a:cubicBezTo>
                    <a:pt x="856" y="1110"/>
                    <a:pt x="856" y="1104"/>
                    <a:pt x="854" y="1099"/>
                  </a:cubicBezTo>
                  <a:cubicBezTo>
                    <a:pt x="848" y="1080"/>
                    <a:pt x="841" y="1062"/>
                    <a:pt x="835" y="1044"/>
                  </a:cubicBezTo>
                  <a:cubicBezTo>
                    <a:pt x="831" y="1030"/>
                    <a:pt x="828" y="1016"/>
                    <a:pt x="822" y="1003"/>
                  </a:cubicBezTo>
                  <a:cubicBezTo>
                    <a:pt x="819" y="997"/>
                    <a:pt x="814" y="994"/>
                    <a:pt x="808" y="994"/>
                  </a:cubicBezTo>
                  <a:cubicBezTo>
                    <a:pt x="799" y="993"/>
                    <a:pt x="791" y="993"/>
                    <a:pt x="787" y="1001"/>
                  </a:cubicBezTo>
                  <a:cubicBezTo>
                    <a:pt x="783" y="1008"/>
                    <a:pt x="780" y="1015"/>
                    <a:pt x="779" y="1022"/>
                  </a:cubicBezTo>
                  <a:cubicBezTo>
                    <a:pt x="778" y="1034"/>
                    <a:pt x="772" y="1044"/>
                    <a:pt x="769" y="1055"/>
                  </a:cubicBezTo>
                  <a:cubicBezTo>
                    <a:pt x="762" y="1076"/>
                    <a:pt x="754" y="1096"/>
                    <a:pt x="749" y="1117"/>
                  </a:cubicBezTo>
                  <a:cubicBezTo>
                    <a:pt x="748" y="1120"/>
                    <a:pt x="747" y="1124"/>
                    <a:pt x="742" y="1124"/>
                  </a:cubicBezTo>
                  <a:cubicBezTo>
                    <a:pt x="737" y="1124"/>
                    <a:pt x="737" y="1120"/>
                    <a:pt x="736" y="1116"/>
                  </a:cubicBezTo>
                  <a:cubicBezTo>
                    <a:pt x="734" y="1104"/>
                    <a:pt x="730" y="1092"/>
                    <a:pt x="726" y="1080"/>
                  </a:cubicBezTo>
                  <a:cubicBezTo>
                    <a:pt x="720" y="1061"/>
                    <a:pt x="714" y="1040"/>
                    <a:pt x="708" y="1020"/>
                  </a:cubicBezTo>
                  <a:cubicBezTo>
                    <a:pt x="703" y="1000"/>
                    <a:pt x="698" y="994"/>
                    <a:pt x="676" y="995"/>
                  </a:cubicBezTo>
                  <a:cubicBezTo>
                    <a:pt x="665" y="996"/>
                    <a:pt x="661" y="1001"/>
                    <a:pt x="667" y="1011"/>
                  </a:cubicBezTo>
                  <a:cubicBezTo>
                    <a:pt x="669" y="1016"/>
                    <a:pt x="670" y="1021"/>
                    <a:pt x="672" y="1025"/>
                  </a:cubicBezTo>
                  <a:cubicBezTo>
                    <a:pt x="675" y="1035"/>
                    <a:pt x="678" y="1046"/>
                    <a:pt x="681" y="1055"/>
                  </a:cubicBezTo>
                  <a:cubicBezTo>
                    <a:pt x="685" y="1068"/>
                    <a:pt x="689" y="1080"/>
                    <a:pt x="693" y="1092"/>
                  </a:cubicBezTo>
                  <a:cubicBezTo>
                    <a:pt x="697" y="1103"/>
                    <a:pt x="699" y="1113"/>
                    <a:pt x="703" y="1124"/>
                  </a:cubicBezTo>
                  <a:cubicBezTo>
                    <a:pt x="707" y="1136"/>
                    <a:pt x="711" y="1147"/>
                    <a:pt x="715" y="1160"/>
                  </a:cubicBezTo>
                  <a:cubicBezTo>
                    <a:pt x="717" y="1168"/>
                    <a:pt x="720" y="1176"/>
                    <a:pt x="724" y="1183"/>
                  </a:cubicBezTo>
                  <a:cubicBezTo>
                    <a:pt x="728" y="1189"/>
                    <a:pt x="752" y="1185"/>
                    <a:pt x="757" y="1180"/>
                  </a:cubicBezTo>
                  <a:cubicBezTo>
                    <a:pt x="764" y="1173"/>
                    <a:pt x="762" y="1163"/>
                    <a:pt x="766" y="1156"/>
                  </a:cubicBezTo>
                  <a:cubicBezTo>
                    <a:pt x="774" y="1140"/>
                    <a:pt x="778" y="1122"/>
                    <a:pt x="784" y="1105"/>
                  </a:cubicBezTo>
                  <a:cubicBezTo>
                    <a:pt x="789" y="1088"/>
                    <a:pt x="796" y="1072"/>
                    <a:pt x="800" y="1054"/>
                  </a:cubicBezTo>
                  <a:cubicBezTo>
                    <a:pt x="800" y="1053"/>
                    <a:pt x="801" y="1050"/>
                    <a:pt x="803" y="1050"/>
                  </a:cubicBezTo>
                  <a:cubicBezTo>
                    <a:pt x="806" y="1050"/>
                    <a:pt x="806" y="1052"/>
                    <a:pt x="807" y="1055"/>
                  </a:cubicBezTo>
                  <a:cubicBezTo>
                    <a:pt x="807" y="1060"/>
                    <a:pt x="810" y="1066"/>
                    <a:pt x="811" y="1071"/>
                  </a:cubicBezTo>
                  <a:cubicBezTo>
                    <a:pt x="814" y="1081"/>
                    <a:pt x="818" y="1090"/>
                    <a:pt x="821" y="1099"/>
                  </a:cubicBezTo>
                  <a:cubicBezTo>
                    <a:pt x="824" y="1110"/>
                    <a:pt x="827" y="1120"/>
                    <a:pt x="831" y="1131"/>
                  </a:cubicBezTo>
                  <a:cubicBezTo>
                    <a:pt x="834" y="1142"/>
                    <a:pt x="839" y="1153"/>
                    <a:pt x="842" y="1164"/>
                  </a:cubicBezTo>
                  <a:cubicBezTo>
                    <a:pt x="846" y="1179"/>
                    <a:pt x="850" y="1188"/>
                    <a:pt x="869" y="1185"/>
                  </a:cubicBezTo>
                  <a:cubicBezTo>
                    <a:pt x="873" y="1184"/>
                    <a:pt x="881" y="1189"/>
                    <a:pt x="884" y="1181"/>
                  </a:cubicBezTo>
                  <a:close/>
                  <a:moveTo>
                    <a:pt x="33" y="1051"/>
                  </a:moveTo>
                  <a:cubicBezTo>
                    <a:pt x="33" y="1087"/>
                    <a:pt x="33" y="1124"/>
                    <a:pt x="33" y="1160"/>
                  </a:cubicBezTo>
                  <a:cubicBezTo>
                    <a:pt x="33" y="1188"/>
                    <a:pt x="29" y="1184"/>
                    <a:pt x="58" y="1185"/>
                  </a:cubicBezTo>
                  <a:cubicBezTo>
                    <a:pt x="72" y="1185"/>
                    <a:pt x="73" y="1184"/>
                    <a:pt x="73" y="1170"/>
                  </a:cubicBezTo>
                  <a:cubicBezTo>
                    <a:pt x="73" y="1138"/>
                    <a:pt x="73" y="1107"/>
                    <a:pt x="73" y="1076"/>
                  </a:cubicBezTo>
                  <a:cubicBezTo>
                    <a:pt x="73" y="1071"/>
                    <a:pt x="72" y="1067"/>
                    <a:pt x="78" y="1065"/>
                  </a:cubicBezTo>
                  <a:cubicBezTo>
                    <a:pt x="91" y="1062"/>
                    <a:pt x="102" y="1067"/>
                    <a:pt x="110" y="1076"/>
                  </a:cubicBezTo>
                  <a:cubicBezTo>
                    <a:pt x="112" y="1080"/>
                    <a:pt x="115" y="1083"/>
                    <a:pt x="118" y="1086"/>
                  </a:cubicBezTo>
                  <a:cubicBezTo>
                    <a:pt x="132" y="1103"/>
                    <a:pt x="146" y="1119"/>
                    <a:pt x="161" y="1136"/>
                  </a:cubicBezTo>
                  <a:cubicBezTo>
                    <a:pt x="173" y="1150"/>
                    <a:pt x="186" y="1165"/>
                    <a:pt x="198" y="1179"/>
                  </a:cubicBezTo>
                  <a:cubicBezTo>
                    <a:pt x="207" y="1188"/>
                    <a:pt x="218" y="1184"/>
                    <a:pt x="228" y="1185"/>
                  </a:cubicBezTo>
                  <a:cubicBezTo>
                    <a:pt x="233" y="1185"/>
                    <a:pt x="241" y="1188"/>
                    <a:pt x="244" y="1182"/>
                  </a:cubicBezTo>
                  <a:cubicBezTo>
                    <a:pt x="246" y="1178"/>
                    <a:pt x="239" y="1173"/>
                    <a:pt x="235" y="1169"/>
                  </a:cubicBezTo>
                  <a:cubicBezTo>
                    <a:pt x="206" y="1133"/>
                    <a:pt x="176" y="1098"/>
                    <a:pt x="146" y="1062"/>
                  </a:cubicBezTo>
                  <a:cubicBezTo>
                    <a:pt x="141" y="1056"/>
                    <a:pt x="131" y="1052"/>
                    <a:pt x="132" y="1044"/>
                  </a:cubicBezTo>
                  <a:cubicBezTo>
                    <a:pt x="132" y="1036"/>
                    <a:pt x="142" y="1032"/>
                    <a:pt x="147" y="1026"/>
                  </a:cubicBezTo>
                  <a:cubicBezTo>
                    <a:pt x="164" y="1006"/>
                    <a:pt x="182" y="988"/>
                    <a:pt x="198" y="968"/>
                  </a:cubicBezTo>
                  <a:cubicBezTo>
                    <a:pt x="209" y="954"/>
                    <a:pt x="221" y="942"/>
                    <a:pt x="234" y="929"/>
                  </a:cubicBezTo>
                  <a:cubicBezTo>
                    <a:pt x="236" y="926"/>
                    <a:pt x="238" y="923"/>
                    <a:pt x="237" y="920"/>
                  </a:cubicBezTo>
                  <a:cubicBezTo>
                    <a:pt x="235" y="915"/>
                    <a:pt x="231" y="917"/>
                    <a:pt x="228" y="917"/>
                  </a:cubicBezTo>
                  <a:cubicBezTo>
                    <a:pt x="224" y="918"/>
                    <a:pt x="221" y="918"/>
                    <a:pt x="217" y="918"/>
                  </a:cubicBezTo>
                  <a:cubicBezTo>
                    <a:pt x="204" y="917"/>
                    <a:pt x="193" y="922"/>
                    <a:pt x="185" y="931"/>
                  </a:cubicBezTo>
                  <a:cubicBezTo>
                    <a:pt x="172" y="946"/>
                    <a:pt x="158" y="961"/>
                    <a:pt x="145" y="977"/>
                  </a:cubicBezTo>
                  <a:cubicBezTo>
                    <a:pt x="131" y="993"/>
                    <a:pt x="117" y="1010"/>
                    <a:pt x="102" y="1026"/>
                  </a:cubicBezTo>
                  <a:cubicBezTo>
                    <a:pt x="96" y="1032"/>
                    <a:pt x="87" y="1037"/>
                    <a:pt x="78" y="1034"/>
                  </a:cubicBezTo>
                  <a:cubicBezTo>
                    <a:pt x="70" y="1030"/>
                    <a:pt x="73" y="1021"/>
                    <a:pt x="73" y="1015"/>
                  </a:cubicBezTo>
                  <a:cubicBezTo>
                    <a:pt x="73" y="991"/>
                    <a:pt x="73" y="967"/>
                    <a:pt x="73" y="944"/>
                  </a:cubicBezTo>
                  <a:cubicBezTo>
                    <a:pt x="73" y="916"/>
                    <a:pt x="75" y="917"/>
                    <a:pt x="46" y="918"/>
                  </a:cubicBezTo>
                  <a:cubicBezTo>
                    <a:pt x="33" y="918"/>
                    <a:pt x="33" y="918"/>
                    <a:pt x="33" y="931"/>
                  </a:cubicBezTo>
                  <a:cubicBezTo>
                    <a:pt x="33" y="971"/>
                    <a:pt x="33" y="1011"/>
                    <a:pt x="33" y="1051"/>
                  </a:cubicBezTo>
                  <a:cubicBezTo>
                    <a:pt x="33" y="1051"/>
                    <a:pt x="33" y="1051"/>
                    <a:pt x="33" y="1051"/>
                  </a:cubicBezTo>
                  <a:close/>
                  <a:moveTo>
                    <a:pt x="639" y="84"/>
                  </a:moveTo>
                  <a:cubicBezTo>
                    <a:pt x="627" y="84"/>
                    <a:pt x="626" y="84"/>
                    <a:pt x="629" y="95"/>
                  </a:cubicBezTo>
                  <a:cubicBezTo>
                    <a:pt x="634" y="113"/>
                    <a:pt x="640" y="131"/>
                    <a:pt x="646" y="148"/>
                  </a:cubicBezTo>
                  <a:cubicBezTo>
                    <a:pt x="652" y="166"/>
                    <a:pt x="658" y="185"/>
                    <a:pt x="664" y="203"/>
                  </a:cubicBezTo>
                  <a:cubicBezTo>
                    <a:pt x="671" y="223"/>
                    <a:pt x="676" y="244"/>
                    <a:pt x="684" y="264"/>
                  </a:cubicBezTo>
                  <a:cubicBezTo>
                    <a:pt x="688" y="274"/>
                    <a:pt x="694" y="274"/>
                    <a:pt x="702" y="274"/>
                  </a:cubicBezTo>
                  <a:cubicBezTo>
                    <a:pt x="711" y="274"/>
                    <a:pt x="719" y="272"/>
                    <a:pt x="723" y="263"/>
                  </a:cubicBezTo>
                  <a:cubicBezTo>
                    <a:pt x="733" y="236"/>
                    <a:pt x="741" y="208"/>
                    <a:pt x="750" y="181"/>
                  </a:cubicBezTo>
                  <a:cubicBezTo>
                    <a:pt x="754" y="169"/>
                    <a:pt x="757" y="156"/>
                    <a:pt x="763" y="145"/>
                  </a:cubicBezTo>
                  <a:cubicBezTo>
                    <a:pt x="764" y="143"/>
                    <a:pt x="764" y="140"/>
                    <a:pt x="767" y="140"/>
                  </a:cubicBezTo>
                  <a:cubicBezTo>
                    <a:pt x="770" y="140"/>
                    <a:pt x="770" y="143"/>
                    <a:pt x="771" y="145"/>
                  </a:cubicBezTo>
                  <a:cubicBezTo>
                    <a:pt x="771" y="156"/>
                    <a:pt x="777" y="165"/>
                    <a:pt x="780" y="175"/>
                  </a:cubicBezTo>
                  <a:cubicBezTo>
                    <a:pt x="782" y="184"/>
                    <a:pt x="785" y="193"/>
                    <a:pt x="788" y="201"/>
                  </a:cubicBezTo>
                  <a:cubicBezTo>
                    <a:pt x="794" y="219"/>
                    <a:pt x="801" y="237"/>
                    <a:pt x="806" y="255"/>
                  </a:cubicBezTo>
                  <a:cubicBezTo>
                    <a:pt x="811" y="272"/>
                    <a:pt x="825" y="280"/>
                    <a:pt x="842" y="273"/>
                  </a:cubicBezTo>
                  <a:cubicBezTo>
                    <a:pt x="845" y="271"/>
                    <a:pt x="847" y="269"/>
                    <a:pt x="848" y="266"/>
                  </a:cubicBezTo>
                  <a:cubicBezTo>
                    <a:pt x="853" y="251"/>
                    <a:pt x="859" y="236"/>
                    <a:pt x="863" y="221"/>
                  </a:cubicBezTo>
                  <a:cubicBezTo>
                    <a:pt x="867" y="202"/>
                    <a:pt x="875" y="185"/>
                    <a:pt x="880" y="166"/>
                  </a:cubicBezTo>
                  <a:cubicBezTo>
                    <a:pt x="886" y="144"/>
                    <a:pt x="895" y="123"/>
                    <a:pt x="900" y="101"/>
                  </a:cubicBezTo>
                  <a:cubicBezTo>
                    <a:pt x="901" y="96"/>
                    <a:pt x="909" y="91"/>
                    <a:pt x="904" y="86"/>
                  </a:cubicBezTo>
                  <a:cubicBezTo>
                    <a:pt x="900" y="81"/>
                    <a:pt x="892" y="84"/>
                    <a:pt x="886" y="84"/>
                  </a:cubicBezTo>
                  <a:cubicBezTo>
                    <a:pt x="885" y="84"/>
                    <a:pt x="883" y="84"/>
                    <a:pt x="881" y="84"/>
                  </a:cubicBezTo>
                  <a:cubicBezTo>
                    <a:pt x="875" y="84"/>
                    <a:pt x="872" y="86"/>
                    <a:pt x="869" y="91"/>
                  </a:cubicBezTo>
                  <a:cubicBezTo>
                    <a:pt x="860" y="110"/>
                    <a:pt x="856" y="131"/>
                    <a:pt x="850" y="151"/>
                  </a:cubicBezTo>
                  <a:cubicBezTo>
                    <a:pt x="844" y="170"/>
                    <a:pt x="836" y="188"/>
                    <a:pt x="834" y="208"/>
                  </a:cubicBezTo>
                  <a:cubicBezTo>
                    <a:pt x="833" y="211"/>
                    <a:pt x="831" y="214"/>
                    <a:pt x="827" y="214"/>
                  </a:cubicBezTo>
                  <a:cubicBezTo>
                    <a:pt x="823" y="214"/>
                    <a:pt x="822" y="210"/>
                    <a:pt x="822" y="207"/>
                  </a:cubicBezTo>
                  <a:cubicBezTo>
                    <a:pt x="817" y="188"/>
                    <a:pt x="811" y="170"/>
                    <a:pt x="805" y="152"/>
                  </a:cubicBezTo>
                  <a:cubicBezTo>
                    <a:pt x="799" y="133"/>
                    <a:pt x="794" y="114"/>
                    <a:pt x="786" y="96"/>
                  </a:cubicBezTo>
                  <a:cubicBezTo>
                    <a:pt x="783" y="87"/>
                    <a:pt x="779" y="84"/>
                    <a:pt x="770" y="84"/>
                  </a:cubicBezTo>
                  <a:cubicBezTo>
                    <a:pt x="761" y="84"/>
                    <a:pt x="752" y="82"/>
                    <a:pt x="748" y="94"/>
                  </a:cubicBezTo>
                  <a:cubicBezTo>
                    <a:pt x="744" y="109"/>
                    <a:pt x="738" y="123"/>
                    <a:pt x="734" y="138"/>
                  </a:cubicBezTo>
                  <a:cubicBezTo>
                    <a:pt x="729" y="153"/>
                    <a:pt x="724" y="167"/>
                    <a:pt x="719" y="182"/>
                  </a:cubicBezTo>
                  <a:cubicBezTo>
                    <a:pt x="716" y="192"/>
                    <a:pt x="715" y="203"/>
                    <a:pt x="708" y="212"/>
                  </a:cubicBezTo>
                  <a:cubicBezTo>
                    <a:pt x="707" y="214"/>
                    <a:pt x="707" y="217"/>
                    <a:pt x="704" y="217"/>
                  </a:cubicBezTo>
                  <a:cubicBezTo>
                    <a:pt x="701" y="217"/>
                    <a:pt x="701" y="213"/>
                    <a:pt x="700" y="211"/>
                  </a:cubicBezTo>
                  <a:cubicBezTo>
                    <a:pt x="699" y="198"/>
                    <a:pt x="694" y="186"/>
                    <a:pt x="690" y="174"/>
                  </a:cubicBezTo>
                  <a:cubicBezTo>
                    <a:pt x="684" y="153"/>
                    <a:pt x="677" y="131"/>
                    <a:pt x="672" y="110"/>
                  </a:cubicBezTo>
                  <a:cubicBezTo>
                    <a:pt x="667" y="88"/>
                    <a:pt x="663" y="84"/>
                    <a:pt x="645" y="84"/>
                  </a:cubicBezTo>
                  <a:cubicBezTo>
                    <a:pt x="643" y="84"/>
                    <a:pt x="641" y="84"/>
                    <a:pt x="639" y="84"/>
                  </a:cubicBezTo>
                  <a:close/>
                  <a:moveTo>
                    <a:pt x="507" y="711"/>
                  </a:moveTo>
                  <a:cubicBezTo>
                    <a:pt x="507" y="730"/>
                    <a:pt x="507" y="730"/>
                    <a:pt x="526" y="730"/>
                  </a:cubicBezTo>
                  <a:cubicBezTo>
                    <a:pt x="539" y="730"/>
                    <a:pt x="541" y="729"/>
                    <a:pt x="541" y="715"/>
                  </a:cubicBezTo>
                  <a:cubicBezTo>
                    <a:pt x="541" y="677"/>
                    <a:pt x="541" y="638"/>
                    <a:pt x="540" y="600"/>
                  </a:cubicBezTo>
                  <a:cubicBezTo>
                    <a:pt x="540" y="593"/>
                    <a:pt x="543" y="587"/>
                    <a:pt x="548" y="582"/>
                  </a:cubicBezTo>
                  <a:cubicBezTo>
                    <a:pt x="553" y="576"/>
                    <a:pt x="559" y="573"/>
                    <a:pt x="564" y="569"/>
                  </a:cubicBezTo>
                  <a:cubicBezTo>
                    <a:pt x="574" y="564"/>
                    <a:pt x="594" y="566"/>
                    <a:pt x="602" y="574"/>
                  </a:cubicBezTo>
                  <a:cubicBezTo>
                    <a:pt x="611" y="582"/>
                    <a:pt x="614" y="592"/>
                    <a:pt x="614" y="604"/>
                  </a:cubicBezTo>
                  <a:cubicBezTo>
                    <a:pt x="614" y="638"/>
                    <a:pt x="614" y="672"/>
                    <a:pt x="614" y="706"/>
                  </a:cubicBezTo>
                  <a:cubicBezTo>
                    <a:pt x="614" y="730"/>
                    <a:pt x="614" y="730"/>
                    <a:pt x="638" y="730"/>
                  </a:cubicBezTo>
                  <a:cubicBezTo>
                    <a:pt x="650" y="730"/>
                    <a:pt x="650" y="730"/>
                    <a:pt x="650" y="717"/>
                  </a:cubicBezTo>
                  <a:cubicBezTo>
                    <a:pt x="650" y="684"/>
                    <a:pt x="650" y="650"/>
                    <a:pt x="650" y="617"/>
                  </a:cubicBezTo>
                  <a:cubicBezTo>
                    <a:pt x="650" y="606"/>
                    <a:pt x="651" y="597"/>
                    <a:pt x="657" y="586"/>
                  </a:cubicBezTo>
                  <a:cubicBezTo>
                    <a:pt x="667" y="565"/>
                    <a:pt x="703" y="560"/>
                    <a:pt x="716" y="579"/>
                  </a:cubicBezTo>
                  <a:cubicBezTo>
                    <a:pt x="723" y="588"/>
                    <a:pt x="724" y="598"/>
                    <a:pt x="724" y="609"/>
                  </a:cubicBezTo>
                  <a:cubicBezTo>
                    <a:pt x="724" y="645"/>
                    <a:pt x="724" y="682"/>
                    <a:pt x="724" y="718"/>
                  </a:cubicBezTo>
                  <a:cubicBezTo>
                    <a:pt x="724" y="727"/>
                    <a:pt x="727" y="731"/>
                    <a:pt x="736" y="730"/>
                  </a:cubicBezTo>
                  <a:cubicBezTo>
                    <a:pt x="738" y="730"/>
                    <a:pt x="741" y="730"/>
                    <a:pt x="743" y="730"/>
                  </a:cubicBezTo>
                  <a:cubicBezTo>
                    <a:pt x="758" y="730"/>
                    <a:pt x="759" y="729"/>
                    <a:pt x="759" y="715"/>
                  </a:cubicBezTo>
                  <a:cubicBezTo>
                    <a:pt x="759" y="677"/>
                    <a:pt x="758" y="639"/>
                    <a:pt x="759" y="601"/>
                  </a:cubicBezTo>
                  <a:cubicBezTo>
                    <a:pt x="759" y="571"/>
                    <a:pt x="742" y="540"/>
                    <a:pt x="704" y="538"/>
                  </a:cubicBezTo>
                  <a:cubicBezTo>
                    <a:pt x="681" y="536"/>
                    <a:pt x="661" y="542"/>
                    <a:pt x="646" y="560"/>
                  </a:cubicBezTo>
                  <a:cubicBezTo>
                    <a:pt x="638" y="569"/>
                    <a:pt x="638" y="569"/>
                    <a:pt x="631" y="559"/>
                  </a:cubicBezTo>
                  <a:cubicBezTo>
                    <a:pt x="630" y="558"/>
                    <a:pt x="630" y="557"/>
                    <a:pt x="629" y="556"/>
                  </a:cubicBezTo>
                  <a:cubicBezTo>
                    <a:pt x="623" y="548"/>
                    <a:pt x="616" y="541"/>
                    <a:pt x="607" y="539"/>
                  </a:cubicBezTo>
                  <a:cubicBezTo>
                    <a:pt x="584" y="534"/>
                    <a:pt x="563" y="539"/>
                    <a:pt x="545" y="555"/>
                  </a:cubicBezTo>
                  <a:cubicBezTo>
                    <a:pt x="540" y="559"/>
                    <a:pt x="537" y="561"/>
                    <a:pt x="537" y="552"/>
                  </a:cubicBezTo>
                  <a:cubicBezTo>
                    <a:pt x="536" y="543"/>
                    <a:pt x="526" y="538"/>
                    <a:pt x="515" y="539"/>
                  </a:cubicBezTo>
                  <a:cubicBezTo>
                    <a:pt x="506" y="540"/>
                    <a:pt x="507" y="546"/>
                    <a:pt x="507" y="552"/>
                  </a:cubicBezTo>
                  <a:cubicBezTo>
                    <a:pt x="507" y="580"/>
                    <a:pt x="507" y="607"/>
                    <a:pt x="507" y="634"/>
                  </a:cubicBezTo>
                  <a:cubicBezTo>
                    <a:pt x="507" y="660"/>
                    <a:pt x="507" y="685"/>
                    <a:pt x="507" y="711"/>
                  </a:cubicBezTo>
                  <a:close/>
                  <a:moveTo>
                    <a:pt x="1525" y="1142"/>
                  </a:moveTo>
                  <a:cubicBezTo>
                    <a:pt x="1517" y="1143"/>
                    <a:pt x="1511" y="1141"/>
                    <a:pt x="1505" y="1136"/>
                  </a:cubicBezTo>
                  <a:cubicBezTo>
                    <a:pt x="1501" y="1133"/>
                    <a:pt x="1495" y="1130"/>
                    <a:pt x="1498" y="1124"/>
                  </a:cubicBezTo>
                  <a:cubicBezTo>
                    <a:pt x="1500" y="1118"/>
                    <a:pt x="1504" y="1114"/>
                    <a:pt x="1512" y="1114"/>
                  </a:cubicBezTo>
                  <a:cubicBezTo>
                    <a:pt x="1521" y="1115"/>
                    <a:pt x="1530" y="1114"/>
                    <a:pt x="1538" y="1115"/>
                  </a:cubicBezTo>
                  <a:cubicBezTo>
                    <a:pt x="1573" y="1117"/>
                    <a:pt x="1610" y="1084"/>
                    <a:pt x="1602" y="1044"/>
                  </a:cubicBezTo>
                  <a:cubicBezTo>
                    <a:pt x="1600" y="1035"/>
                    <a:pt x="1599" y="1028"/>
                    <a:pt x="1611" y="1027"/>
                  </a:cubicBezTo>
                  <a:cubicBezTo>
                    <a:pt x="1614" y="1027"/>
                    <a:pt x="1617" y="1024"/>
                    <a:pt x="1619" y="1023"/>
                  </a:cubicBezTo>
                  <a:cubicBezTo>
                    <a:pt x="1626" y="1019"/>
                    <a:pt x="1624" y="1013"/>
                    <a:pt x="1623" y="1008"/>
                  </a:cubicBezTo>
                  <a:cubicBezTo>
                    <a:pt x="1623" y="1002"/>
                    <a:pt x="1618" y="1003"/>
                    <a:pt x="1613" y="1002"/>
                  </a:cubicBezTo>
                  <a:cubicBezTo>
                    <a:pt x="1598" y="1002"/>
                    <a:pt x="1582" y="1004"/>
                    <a:pt x="1567" y="1000"/>
                  </a:cubicBezTo>
                  <a:cubicBezTo>
                    <a:pt x="1560" y="999"/>
                    <a:pt x="1554" y="993"/>
                    <a:pt x="1546" y="993"/>
                  </a:cubicBezTo>
                  <a:cubicBezTo>
                    <a:pt x="1536" y="994"/>
                    <a:pt x="1525" y="992"/>
                    <a:pt x="1515" y="993"/>
                  </a:cubicBezTo>
                  <a:cubicBezTo>
                    <a:pt x="1490" y="997"/>
                    <a:pt x="1469" y="1010"/>
                    <a:pt x="1462" y="1034"/>
                  </a:cubicBezTo>
                  <a:cubicBezTo>
                    <a:pt x="1455" y="1056"/>
                    <a:pt x="1457" y="1079"/>
                    <a:pt x="1476" y="1096"/>
                  </a:cubicBezTo>
                  <a:cubicBezTo>
                    <a:pt x="1483" y="1103"/>
                    <a:pt x="1483" y="1107"/>
                    <a:pt x="1476" y="1113"/>
                  </a:cubicBezTo>
                  <a:cubicBezTo>
                    <a:pt x="1462" y="1126"/>
                    <a:pt x="1462" y="1142"/>
                    <a:pt x="1473" y="1157"/>
                  </a:cubicBezTo>
                  <a:cubicBezTo>
                    <a:pt x="1476" y="1160"/>
                    <a:pt x="1476" y="1162"/>
                    <a:pt x="1472" y="1164"/>
                  </a:cubicBezTo>
                  <a:cubicBezTo>
                    <a:pt x="1470" y="1166"/>
                    <a:pt x="1468" y="1168"/>
                    <a:pt x="1466" y="1170"/>
                  </a:cubicBezTo>
                  <a:cubicBezTo>
                    <a:pt x="1449" y="1183"/>
                    <a:pt x="1444" y="1201"/>
                    <a:pt x="1454" y="1218"/>
                  </a:cubicBezTo>
                  <a:cubicBezTo>
                    <a:pt x="1464" y="1235"/>
                    <a:pt x="1479" y="1246"/>
                    <a:pt x="1499" y="1249"/>
                  </a:cubicBezTo>
                  <a:cubicBezTo>
                    <a:pt x="1517" y="1252"/>
                    <a:pt x="1535" y="1253"/>
                    <a:pt x="1553" y="1250"/>
                  </a:cubicBezTo>
                  <a:cubicBezTo>
                    <a:pt x="1584" y="1245"/>
                    <a:pt x="1607" y="1232"/>
                    <a:pt x="1619" y="1200"/>
                  </a:cubicBezTo>
                  <a:cubicBezTo>
                    <a:pt x="1627" y="1180"/>
                    <a:pt x="1611" y="1155"/>
                    <a:pt x="1593" y="1148"/>
                  </a:cubicBezTo>
                  <a:cubicBezTo>
                    <a:pt x="1578" y="1142"/>
                    <a:pt x="1563" y="1143"/>
                    <a:pt x="1549" y="1142"/>
                  </a:cubicBezTo>
                  <a:cubicBezTo>
                    <a:pt x="1540" y="1142"/>
                    <a:pt x="1532" y="1142"/>
                    <a:pt x="1525" y="1142"/>
                  </a:cubicBezTo>
                  <a:close/>
                  <a:moveTo>
                    <a:pt x="1556" y="1172"/>
                  </a:moveTo>
                  <a:cubicBezTo>
                    <a:pt x="1566" y="1172"/>
                    <a:pt x="1576" y="1176"/>
                    <a:pt x="1583" y="1183"/>
                  </a:cubicBezTo>
                  <a:cubicBezTo>
                    <a:pt x="1589" y="1190"/>
                    <a:pt x="1589" y="1198"/>
                    <a:pt x="1583" y="1205"/>
                  </a:cubicBezTo>
                  <a:cubicBezTo>
                    <a:pt x="1575" y="1215"/>
                    <a:pt x="1565" y="1220"/>
                    <a:pt x="1553" y="1223"/>
                  </a:cubicBezTo>
                  <a:cubicBezTo>
                    <a:pt x="1534" y="1228"/>
                    <a:pt x="1516" y="1225"/>
                    <a:pt x="1499" y="1219"/>
                  </a:cubicBezTo>
                  <a:cubicBezTo>
                    <a:pt x="1486" y="1214"/>
                    <a:pt x="1479" y="1203"/>
                    <a:pt x="1482" y="1193"/>
                  </a:cubicBezTo>
                  <a:cubicBezTo>
                    <a:pt x="1485" y="1182"/>
                    <a:pt x="1496" y="1168"/>
                    <a:pt x="1514" y="1171"/>
                  </a:cubicBezTo>
                  <a:cubicBezTo>
                    <a:pt x="1526" y="1173"/>
                    <a:pt x="1541" y="1171"/>
                    <a:pt x="1556" y="1172"/>
                  </a:cubicBezTo>
                  <a:close/>
                  <a:moveTo>
                    <a:pt x="1531" y="1019"/>
                  </a:moveTo>
                  <a:cubicBezTo>
                    <a:pt x="1553" y="1017"/>
                    <a:pt x="1570" y="1033"/>
                    <a:pt x="1570" y="1052"/>
                  </a:cubicBezTo>
                  <a:cubicBezTo>
                    <a:pt x="1570" y="1075"/>
                    <a:pt x="1554" y="1093"/>
                    <a:pt x="1532" y="1091"/>
                  </a:cubicBezTo>
                  <a:cubicBezTo>
                    <a:pt x="1508" y="1089"/>
                    <a:pt x="1494" y="1082"/>
                    <a:pt x="1493" y="1053"/>
                  </a:cubicBezTo>
                  <a:cubicBezTo>
                    <a:pt x="1494" y="1029"/>
                    <a:pt x="1508" y="1020"/>
                    <a:pt x="1531" y="1019"/>
                  </a:cubicBezTo>
                  <a:close/>
                  <a:moveTo>
                    <a:pt x="1413" y="934"/>
                  </a:moveTo>
                  <a:cubicBezTo>
                    <a:pt x="1413" y="909"/>
                    <a:pt x="1413" y="909"/>
                    <a:pt x="1389" y="910"/>
                  </a:cubicBezTo>
                  <a:cubicBezTo>
                    <a:pt x="1388" y="910"/>
                    <a:pt x="1387" y="910"/>
                    <a:pt x="1387" y="910"/>
                  </a:cubicBezTo>
                  <a:cubicBezTo>
                    <a:pt x="1379" y="910"/>
                    <a:pt x="1376" y="915"/>
                    <a:pt x="1376" y="921"/>
                  </a:cubicBezTo>
                  <a:cubicBezTo>
                    <a:pt x="1376" y="939"/>
                    <a:pt x="1377" y="956"/>
                    <a:pt x="1377" y="974"/>
                  </a:cubicBezTo>
                  <a:cubicBezTo>
                    <a:pt x="1377" y="983"/>
                    <a:pt x="1377" y="991"/>
                    <a:pt x="1377" y="1000"/>
                  </a:cubicBezTo>
                  <a:cubicBezTo>
                    <a:pt x="1377" y="1005"/>
                    <a:pt x="1374" y="1009"/>
                    <a:pt x="1369" y="1005"/>
                  </a:cubicBezTo>
                  <a:cubicBezTo>
                    <a:pt x="1352" y="990"/>
                    <a:pt x="1332" y="993"/>
                    <a:pt x="1312" y="993"/>
                  </a:cubicBezTo>
                  <a:cubicBezTo>
                    <a:pt x="1303" y="994"/>
                    <a:pt x="1294" y="998"/>
                    <a:pt x="1287" y="1003"/>
                  </a:cubicBezTo>
                  <a:cubicBezTo>
                    <a:pt x="1265" y="1017"/>
                    <a:pt x="1252" y="1039"/>
                    <a:pt x="1248" y="1065"/>
                  </a:cubicBezTo>
                  <a:cubicBezTo>
                    <a:pt x="1244" y="1096"/>
                    <a:pt x="1244" y="1128"/>
                    <a:pt x="1261" y="1157"/>
                  </a:cubicBezTo>
                  <a:cubicBezTo>
                    <a:pt x="1270" y="1170"/>
                    <a:pt x="1281" y="1181"/>
                    <a:pt x="1296" y="1185"/>
                  </a:cubicBezTo>
                  <a:cubicBezTo>
                    <a:pt x="1323" y="1191"/>
                    <a:pt x="1349" y="1188"/>
                    <a:pt x="1370" y="1167"/>
                  </a:cubicBezTo>
                  <a:cubicBezTo>
                    <a:pt x="1372" y="1165"/>
                    <a:pt x="1375" y="1162"/>
                    <a:pt x="1379" y="1163"/>
                  </a:cubicBezTo>
                  <a:cubicBezTo>
                    <a:pt x="1382" y="1165"/>
                    <a:pt x="1381" y="1169"/>
                    <a:pt x="1381" y="1172"/>
                  </a:cubicBezTo>
                  <a:cubicBezTo>
                    <a:pt x="1383" y="1181"/>
                    <a:pt x="1390" y="1186"/>
                    <a:pt x="1403" y="1186"/>
                  </a:cubicBezTo>
                  <a:cubicBezTo>
                    <a:pt x="1413" y="1185"/>
                    <a:pt x="1413" y="1178"/>
                    <a:pt x="1413" y="1172"/>
                  </a:cubicBezTo>
                  <a:cubicBezTo>
                    <a:pt x="1413" y="1131"/>
                    <a:pt x="1413" y="1090"/>
                    <a:pt x="1413" y="1049"/>
                  </a:cubicBezTo>
                  <a:cubicBezTo>
                    <a:pt x="1413" y="1010"/>
                    <a:pt x="1413" y="972"/>
                    <a:pt x="1413" y="934"/>
                  </a:cubicBezTo>
                  <a:close/>
                  <a:moveTo>
                    <a:pt x="1378" y="1113"/>
                  </a:moveTo>
                  <a:cubicBezTo>
                    <a:pt x="1378" y="1136"/>
                    <a:pt x="1360" y="1155"/>
                    <a:pt x="1337" y="1157"/>
                  </a:cubicBezTo>
                  <a:cubicBezTo>
                    <a:pt x="1319" y="1159"/>
                    <a:pt x="1304" y="1154"/>
                    <a:pt x="1294" y="1139"/>
                  </a:cubicBezTo>
                  <a:cubicBezTo>
                    <a:pt x="1286" y="1128"/>
                    <a:pt x="1283" y="1116"/>
                    <a:pt x="1283" y="1102"/>
                  </a:cubicBezTo>
                  <a:cubicBezTo>
                    <a:pt x="1282" y="1085"/>
                    <a:pt x="1282" y="1067"/>
                    <a:pt x="1290" y="1051"/>
                  </a:cubicBezTo>
                  <a:cubicBezTo>
                    <a:pt x="1297" y="1036"/>
                    <a:pt x="1308" y="1024"/>
                    <a:pt x="1325" y="1022"/>
                  </a:cubicBezTo>
                  <a:cubicBezTo>
                    <a:pt x="1342" y="1020"/>
                    <a:pt x="1358" y="1021"/>
                    <a:pt x="1371" y="1035"/>
                  </a:cubicBezTo>
                  <a:cubicBezTo>
                    <a:pt x="1376" y="1041"/>
                    <a:pt x="1378" y="1046"/>
                    <a:pt x="1378" y="1052"/>
                  </a:cubicBezTo>
                  <a:cubicBezTo>
                    <a:pt x="1378" y="1064"/>
                    <a:pt x="1378" y="1075"/>
                    <a:pt x="1378" y="1086"/>
                  </a:cubicBezTo>
                  <a:cubicBezTo>
                    <a:pt x="1378" y="1086"/>
                    <a:pt x="1378" y="1086"/>
                    <a:pt x="1378" y="1086"/>
                  </a:cubicBezTo>
                  <a:cubicBezTo>
                    <a:pt x="1378" y="1095"/>
                    <a:pt x="1378" y="1104"/>
                    <a:pt x="1378" y="1113"/>
                  </a:cubicBezTo>
                  <a:close/>
                  <a:moveTo>
                    <a:pt x="578" y="259"/>
                  </a:moveTo>
                  <a:cubicBezTo>
                    <a:pt x="603" y="241"/>
                    <a:pt x="611" y="213"/>
                    <a:pt x="614" y="183"/>
                  </a:cubicBezTo>
                  <a:cubicBezTo>
                    <a:pt x="615" y="171"/>
                    <a:pt x="610" y="159"/>
                    <a:pt x="609" y="147"/>
                  </a:cubicBezTo>
                  <a:cubicBezTo>
                    <a:pt x="608" y="137"/>
                    <a:pt x="603" y="129"/>
                    <a:pt x="599" y="121"/>
                  </a:cubicBezTo>
                  <a:cubicBezTo>
                    <a:pt x="579" y="87"/>
                    <a:pt x="527" y="70"/>
                    <a:pt x="488" y="85"/>
                  </a:cubicBezTo>
                  <a:cubicBezTo>
                    <a:pt x="453" y="99"/>
                    <a:pt x="436" y="127"/>
                    <a:pt x="431" y="163"/>
                  </a:cubicBezTo>
                  <a:cubicBezTo>
                    <a:pt x="429" y="180"/>
                    <a:pt x="430" y="196"/>
                    <a:pt x="436" y="213"/>
                  </a:cubicBezTo>
                  <a:cubicBezTo>
                    <a:pt x="439" y="222"/>
                    <a:pt x="442" y="232"/>
                    <a:pt x="447" y="239"/>
                  </a:cubicBezTo>
                  <a:cubicBezTo>
                    <a:pt x="465" y="265"/>
                    <a:pt x="491" y="277"/>
                    <a:pt x="525" y="276"/>
                  </a:cubicBezTo>
                  <a:cubicBezTo>
                    <a:pt x="543" y="278"/>
                    <a:pt x="562" y="271"/>
                    <a:pt x="578" y="259"/>
                  </a:cubicBezTo>
                  <a:close/>
                  <a:moveTo>
                    <a:pt x="471" y="205"/>
                  </a:moveTo>
                  <a:cubicBezTo>
                    <a:pt x="466" y="185"/>
                    <a:pt x="468" y="167"/>
                    <a:pt x="472" y="147"/>
                  </a:cubicBezTo>
                  <a:cubicBezTo>
                    <a:pt x="477" y="130"/>
                    <a:pt x="493" y="116"/>
                    <a:pt x="509" y="112"/>
                  </a:cubicBezTo>
                  <a:cubicBezTo>
                    <a:pt x="525" y="108"/>
                    <a:pt x="539" y="110"/>
                    <a:pt x="553" y="119"/>
                  </a:cubicBezTo>
                  <a:cubicBezTo>
                    <a:pt x="563" y="125"/>
                    <a:pt x="568" y="135"/>
                    <a:pt x="571" y="146"/>
                  </a:cubicBezTo>
                  <a:cubicBezTo>
                    <a:pt x="577" y="167"/>
                    <a:pt x="578" y="189"/>
                    <a:pt x="571" y="211"/>
                  </a:cubicBezTo>
                  <a:cubicBezTo>
                    <a:pt x="565" y="231"/>
                    <a:pt x="549" y="249"/>
                    <a:pt x="521" y="247"/>
                  </a:cubicBezTo>
                  <a:cubicBezTo>
                    <a:pt x="496" y="247"/>
                    <a:pt x="478" y="230"/>
                    <a:pt x="471" y="205"/>
                  </a:cubicBezTo>
                  <a:close/>
                  <a:moveTo>
                    <a:pt x="472" y="1122"/>
                  </a:moveTo>
                  <a:cubicBezTo>
                    <a:pt x="475" y="1136"/>
                    <a:pt x="481" y="1148"/>
                    <a:pt x="491" y="1158"/>
                  </a:cubicBezTo>
                  <a:cubicBezTo>
                    <a:pt x="506" y="1176"/>
                    <a:pt x="524" y="1185"/>
                    <a:pt x="548" y="1187"/>
                  </a:cubicBezTo>
                  <a:cubicBezTo>
                    <a:pt x="568" y="1188"/>
                    <a:pt x="587" y="1187"/>
                    <a:pt x="605" y="1177"/>
                  </a:cubicBezTo>
                  <a:cubicBezTo>
                    <a:pt x="632" y="1162"/>
                    <a:pt x="644" y="1136"/>
                    <a:pt x="649" y="1107"/>
                  </a:cubicBezTo>
                  <a:cubicBezTo>
                    <a:pt x="652" y="1089"/>
                    <a:pt x="649" y="1072"/>
                    <a:pt x="644" y="1054"/>
                  </a:cubicBezTo>
                  <a:cubicBezTo>
                    <a:pt x="638" y="1034"/>
                    <a:pt x="627" y="1019"/>
                    <a:pt x="610" y="1007"/>
                  </a:cubicBezTo>
                  <a:cubicBezTo>
                    <a:pt x="589" y="992"/>
                    <a:pt x="566" y="991"/>
                    <a:pt x="541" y="994"/>
                  </a:cubicBezTo>
                  <a:cubicBezTo>
                    <a:pt x="526" y="995"/>
                    <a:pt x="512" y="1002"/>
                    <a:pt x="500" y="1012"/>
                  </a:cubicBezTo>
                  <a:cubicBezTo>
                    <a:pt x="476" y="1032"/>
                    <a:pt x="469" y="1060"/>
                    <a:pt x="466" y="1095"/>
                  </a:cubicBezTo>
                  <a:cubicBezTo>
                    <a:pt x="465" y="1101"/>
                    <a:pt x="470" y="1111"/>
                    <a:pt x="472" y="1122"/>
                  </a:cubicBezTo>
                  <a:close/>
                  <a:moveTo>
                    <a:pt x="508" y="1113"/>
                  </a:moveTo>
                  <a:cubicBezTo>
                    <a:pt x="505" y="1095"/>
                    <a:pt x="506" y="1078"/>
                    <a:pt x="508" y="1061"/>
                  </a:cubicBezTo>
                  <a:cubicBezTo>
                    <a:pt x="511" y="1042"/>
                    <a:pt x="538" y="1021"/>
                    <a:pt x="554" y="1022"/>
                  </a:cubicBezTo>
                  <a:cubicBezTo>
                    <a:pt x="570" y="1022"/>
                    <a:pt x="586" y="1024"/>
                    <a:pt x="596" y="1037"/>
                  </a:cubicBezTo>
                  <a:cubicBezTo>
                    <a:pt x="602" y="1044"/>
                    <a:pt x="607" y="1052"/>
                    <a:pt x="608" y="1061"/>
                  </a:cubicBezTo>
                  <a:cubicBezTo>
                    <a:pt x="608" y="1064"/>
                    <a:pt x="609" y="1067"/>
                    <a:pt x="610" y="1070"/>
                  </a:cubicBezTo>
                  <a:cubicBezTo>
                    <a:pt x="618" y="1089"/>
                    <a:pt x="612" y="1107"/>
                    <a:pt x="607" y="1125"/>
                  </a:cubicBezTo>
                  <a:cubicBezTo>
                    <a:pt x="601" y="1143"/>
                    <a:pt x="588" y="1160"/>
                    <a:pt x="558" y="1157"/>
                  </a:cubicBezTo>
                  <a:cubicBezTo>
                    <a:pt x="530" y="1157"/>
                    <a:pt x="512" y="1141"/>
                    <a:pt x="508" y="1113"/>
                  </a:cubicBezTo>
                  <a:close/>
                  <a:moveTo>
                    <a:pt x="430" y="716"/>
                  </a:moveTo>
                  <a:cubicBezTo>
                    <a:pt x="450" y="703"/>
                    <a:pt x="459" y="683"/>
                    <a:pt x="464" y="661"/>
                  </a:cubicBezTo>
                  <a:cubicBezTo>
                    <a:pt x="468" y="648"/>
                    <a:pt x="467" y="635"/>
                    <a:pt x="466" y="621"/>
                  </a:cubicBezTo>
                  <a:cubicBezTo>
                    <a:pt x="463" y="592"/>
                    <a:pt x="453" y="567"/>
                    <a:pt x="427" y="550"/>
                  </a:cubicBezTo>
                  <a:cubicBezTo>
                    <a:pt x="401" y="534"/>
                    <a:pt x="372" y="532"/>
                    <a:pt x="345" y="541"/>
                  </a:cubicBezTo>
                  <a:cubicBezTo>
                    <a:pt x="310" y="552"/>
                    <a:pt x="291" y="580"/>
                    <a:pt x="287" y="617"/>
                  </a:cubicBezTo>
                  <a:cubicBezTo>
                    <a:pt x="286" y="629"/>
                    <a:pt x="286" y="641"/>
                    <a:pt x="287" y="654"/>
                  </a:cubicBezTo>
                  <a:cubicBezTo>
                    <a:pt x="289" y="671"/>
                    <a:pt x="295" y="686"/>
                    <a:pt x="306" y="700"/>
                  </a:cubicBezTo>
                  <a:cubicBezTo>
                    <a:pt x="324" y="722"/>
                    <a:pt x="348" y="733"/>
                    <a:pt x="378" y="731"/>
                  </a:cubicBezTo>
                  <a:cubicBezTo>
                    <a:pt x="396" y="733"/>
                    <a:pt x="414" y="727"/>
                    <a:pt x="430" y="716"/>
                  </a:cubicBezTo>
                  <a:close/>
                  <a:moveTo>
                    <a:pt x="331" y="592"/>
                  </a:moveTo>
                  <a:cubicBezTo>
                    <a:pt x="339" y="580"/>
                    <a:pt x="349" y="569"/>
                    <a:pt x="365" y="567"/>
                  </a:cubicBezTo>
                  <a:cubicBezTo>
                    <a:pt x="387" y="564"/>
                    <a:pt x="406" y="568"/>
                    <a:pt x="419" y="588"/>
                  </a:cubicBezTo>
                  <a:cubicBezTo>
                    <a:pt x="423" y="595"/>
                    <a:pt x="426" y="603"/>
                    <a:pt x="427" y="610"/>
                  </a:cubicBezTo>
                  <a:cubicBezTo>
                    <a:pt x="433" y="635"/>
                    <a:pt x="431" y="661"/>
                    <a:pt x="416" y="684"/>
                  </a:cubicBezTo>
                  <a:cubicBezTo>
                    <a:pt x="403" y="706"/>
                    <a:pt x="362" y="708"/>
                    <a:pt x="345" y="692"/>
                  </a:cubicBezTo>
                  <a:cubicBezTo>
                    <a:pt x="329" y="678"/>
                    <a:pt x="323" y="661"/>
                    <a:pt x="323" y="631"/>
                  </a:cubicBezTo>
                  <a:cubicBezTo>
                    <a:pt x="323" y="619"/>
                    <a:pt x="323" y="605"/>
                    <a:pt x="331" y="592"/>
                  </a:cubicBezTo>
                  <a:close/>
                  <a:moveTo>
                    <a:pt x="1073" y="259"/>
                  </a:moveTo>
                  <a:cubicBezTo>
                    <a:pt x="1073" y="269"/>
                    <a:pt x="1075" y="272"/>
                    <a:pt x="1086" y="272"/>
                  </a:cubicBezTo>
                  <a:cubicBezTo>
                    <a:pt x="1088" y="272"/>
                    <a:pt x="1090" y="272"/>
                    <a:pt x="1092" y="272"/>
                  </a:cubicBezTo>
                  <a:cubicBezTo>
                    <a:pt x="1105" y="272"/>
                    <a:pt x="1106" y="271"/>
                    <a:pt x="1106" y="258"/>
                  </a:cubicBezTo>
                  <a:cubicBezTo>
                    <a:pt x="1106" y="221"/>
                    <a:pt x="1106" y="184"/>
                    <a:pt x="1106" y="147"/>
                  </a:cubicBezTo>
                  <a:cubicBezTo>
                    <a:pt x="1106" y="143"/>
                    <a:pt x="1106" y="140"/>
                    <a:pt x="1107" y="137"/>
                  </a:cubicBezTo>
                  <a:cubicBezTo>
                    <a:pt x="1117" y="117"/>
                    <a:pt x="1157" y="104"/>
                    <a:pt x="1177" y="114"/>
                  </a:cubicBezTo>
                  <a:cubicBezTo>
                    <a:pt x="1179" y="115"/>
                    <a:pt x="1180" y="117"/>
                    <a:pt x="1182" y="118"/>
                  </a:cubicBezTo>
                  <a:cubicBezTo>
                    <a:pt x="1194" y="131"/>
                    <a:pt x="1196" y="147"/>
                    <a:pt x="1196" y="163"/>
                  </a:cubicBezTo>
                  <a:cubicBezTo>
                    <a:pt x="1197" y="195"/>
                    <a:pt x="1196" y="226"/>
                    <a:pt x="1196" y="258"/>
                  </a:cubicBezTo>
                  <a:cubicBezTo>
                    <a:pt x="1196" y="271"/>
                    <a:pt x="1197" y="272"/>
                    <a:pt x="1210" y="272"/>
                  </a:cubicBezTo>
                  <a:cubicBezTo>
                    <a:pt x="1212" y="272"/>
                    <a:pt x="1213" y="272"/>
                    <a:pt x="1215" y="272"/>
                  </a:cubicBezTo>
                  <a:cubicBezTo>
                    <a:pt x="1227" y="272"/>
                    <a:pt x="1229" y="270"/>
                    <a:pt x="1229" y="258"/>
                  </a:cubicBezTo>
                  <a:cubicBezTo>
                    <a:pt x="1229" y="222"/>
                    <a:pt x="1229" y="187"/>
                    <a:pt x="1229" y="151"/>
                  </a:cubicBezTo>
                  <a:cubicBezTo>
                    <a:pt x="1229" y="142"/>
                    <a:pt x="1228" y="132"/>
                    <a:pt x="1225" y="123"/>
                  </a:cubicBezTo>
                  <a:cubicBezTo>
                    <a:pt x="1219" y="105"/>
                    <a:pt x="1208" y="91"/>
                    <a:pt x="1189" y="85"/>
                  </a:cubicBezTo>
                  <a:cubicBezTo>
                    <a:pt x="1173" y="80"/>
                    <a:pt x="1156" y="84"/>
                    <a:pt x="1139" y="84"/>
                  </a:cubicBezTo>
                  <a:cubicBezTo>
                    <a:pt x="1137" y="84"/>
                    <a:pt x="1136" y="86"/>
                    <a:pt x="1134" y="87"/>
                  </a:cubicBezTo>
                  <a:cubicBezTo>
                    <a:pt x="1128" y="91"/>
                    <a:pt x="1121" y="96"/>
                    <a:pt x="1115" y="100"/>
                  </a:cubicBezTo>
                  <a:cubicBezTo>
                    <a:pt x="1113" y="102"/>
                    <a:pt x="1111" y="105"/>
                    <a:pt x="1108" y="103"/>
                  </a:cubicBezTo>
                  <a:cubicBezTo>
                    <a:pt x="1105" y="102"/>
                    <a:pt x="1106" y="98"/>
                    <a:pt x="1106" y="96"/>
                  </a:cubicBezTo>
                  <a:cubicBezTo>
                    <a:pt x="1106" y="69"/>
                    <a:pt x="1106" y="43"/>
                    <a:pt x="1106" y="17"/>
                  </a:cubicBezTo>
                  <a:cubicBezTo>
                    <a:pt x="1106" y="0"/>
                    <a:pt x="1106" y="0"/>
                    <a:pt x="1089" y="0"/>
                  </a:cubicBezTo>
                  <a:cubicBezTo>
                    <a:pt x="1074" y="0"/>
                    <a:pt x="1073" y="1"/>
                    <a:pt x="1073" y="16"/>
                  </a:cubicBezTo>
                  <a:cubicBezTo>
                    <a:pt x="1073" y="56"/>
                    <a:pt x="1073" y="96"/>
                    <a:pt x="1073" y="136"/>
                  </a:cubicBezTo>
                  <a:cubicBezTo>
                    <a:pt x="1073" y="177"/>
                    <a:pt x="1073" y="218"/>
                    <a:pt x="1073" y="259"/>
                  </a:cubicBezTo>
                  <a:close/>
                  <a:moveTo>
                    <a:pt x="1150" y="1092"/>
                  </a:moveTo>
                  <a:cubicBezTo>
                    <a:pt x="1168" y="1092"/>
                    <a:pt x="1186" y="1092"/>
                    <a:pt x="1204" y="1092"/>
                  </a:cubicBezTo>
                  <a:cubicBezTo>
                    <a:pt x="1215" y="1092"/>
                    <a:pt x="1218" y="1087"/>
                    <a:pt x="1219" y="1077"/>
                  </a:cubicBezTo>
                  <a:cubicBezTo>
                    <a:pt x="1220" y="1062"/>
                    <a:pt x="1216" y="1049"/>
                    <a:pt x="1210" y="1036"/>
                  </a:cubicBezTo>
                  <a:cubicBezTo>
                    <a:pt x="1204" y="1020"/>
                    <a:pt x="1193" y="1008"/>
                    <a:pt x="1177" y="1001"/>
                  </a:cubicBezTo>
                  <a:cubicBezTo>
                    <a:pt x="1155" y="992"/>
                    <a:pt x="1133" y="991"/>
                    <a:pt x="1109" y="999"/>
                  </a:cubicBezTo>
                  <a:cubicBezTo>
                    <a:pt x="1079" y="1010"/>
                    <a:pt x="1062" y="1031"/>
                    <a:pt x="1056" y="1061"/>
                  </a:cubicBezTo>
                  <a:cubicBezTo>
                    <a:pt x="1051" y="1090"/>
                    <a:pt x="1052" y="1120"/>
                    <a:pt x="1069" y="1148"/>
                  </a:cubicBezTo>
                  <a:cubicBezTo>
                    <a:pt x="1081" y="1169"/>
                    <a:pt x="1100" y="1180"/>
                    <a:pt x="1122" y="1185"/>
                  </a:cubicBezTo>
                  <a:cubicBezTo>
                    <a:pt x="1149" y="1190"/>
                    <a:pt x="1176" y="1186"/>
                    <a:pt x="1200" y="1171"/>
                  </a:cubicBezTo>
                  <a:cubicBezTo>
                    <a:pt x="1206" y="1168"/>
                    <a:pt x="1213" y="1165"/>
                    <a:pt x="1214" y="1157"/>
                  </a:cubicBezTo>
                  <a:cubicBezTo>
                    <a:pt x="1215" y="1147"/>
                    <a:pt x="1202" y="1139"/>
                    <a:pt x="1193" y="1144"/>
                  </a:cubicBezTo>
                  <a:cubicBezTo>
                    <a:pt x="1187" y="1147"/>
                    <a:pt x="1180" y="1150"/>
                    <a:pt x="1174" y="1153"/>
                  </a:cubicBezTo>
                  <a:cubicBezTo>
                    <a:pt x="1158" y="1161"/>
                    <a:pt x="1140" y="1161"/>
                    <a:pt x="1124" y="1155"/>
                  </a:cubicBezTo>
                  <a:cubicBezTo>
                    <a:pt x="1112" y="1151"/>
                    <a:pt x="1102" y="1142"/>
                    <a:pt x="1096" y="1129"/>
                  </a:cubicBezTo>
                  <a:cubicBezTo>
                    <a:pt x="1092" y="1121"/>
                    <a:pt x="1091" y="1112"/>
                    <a:pt x="1089" y="1104"/>
                  </a:cubicBezTo>
                  <a:cubicBezTo>
                    <a:pt x="1087" y="1093"/>
                    <a:pt x="1087" y="1092"/>
                    <a:pt x="1099" y="1092"/>
                  </a:cubicBezTo>
                  <a:cubicBezTo>
                    <a:pt x="1116" y="1092"/>
                    <a:pt x="1133" y="1092"/>
                    <a:pt x="1150" y="1092"/>
                  </a:cubicBezTo>
                  <a:cubicBezTo>
                    <a:pt x="1150" y="1092"/>
                    <a:pt x="1150" y="1092"/>
                    <a:pt x="1150" y="1092"/>
                  </a:cubicBezTo>
                  <a:close/>
                  <a:moveTo>
                    <a:pt x="1099" y="1070"/>
                  </a:moveTo>
                  <a:cubicBezTo>
                    <a:pt x="1092" y="1071"/>
                    <a:pt x="1089" y="1067"/>
                    <a:pt x="1091" y="1060"/>
                  </a:cubicBezTo>
                  <a:cubicBezTo>
                    <a:pt x="1094" y="1045"/>
                    <a:pt x="1108" y="1023"/>
                    <a:pt x="1128" y="1022"/>
                  </a:cubicBezTo>
                  <a:cubicBezTo>
                    <a:pt x="1142" y="1021"/>
                    <a:pt x="1156" y="1018"/>
                    <a:pt x="1168" y="1029"/>
                  </a:cubicBezTo>
                  <a:cubicBezTo>
                    <a:pt x="1181" y="1038"/>
                    <a:pt x="1185" y="1051"/>
                    <a:pt x="1187" y="1066"/>
                  </a:cubicBezTo>
                  <a:cubicBezTo>
                    <a:pt x="1188" y="1071"/>
                    <a:pt x="1183" y="1070"/>
                    <a:pt x="1180" y="1070"/>
                  </a:cubicBezTo>
                  <a:cubicBezTo>
                    <a:pt x="1166" y="1070"/>
                    <a:pt x="1153" y="1070"/>
                    <a:pt x="1139" y="1070"/>
                  </a:cubicBezTo>
                  <a:cubicBezTo>
                    <a:pt x="1139" y="1070"/>
                    <a:pt x="1139" y="1070"/>
                    <a:pt x="1139" y="1070"/>
                  </a:cubicBezTo>
                  <a:cubicBezTo>
                    <a:pt x="1126" y="1070"/>
                    <a:pt x="1113" y="1070"/>
                    <a:pt x="1099" y="1070"/>
                  </a:cubicBezTo>
                  <a:close/>
                  <a:moveTo>
                    <a:pt x="1741" y="1092"/>
                  </a:moveTo>
                  <a:cubicBezTo>
                    <a:pt x="1759" y="1092"/>
                    <a:pt x="1776" y="1092"/>
                    <a:pt x="1793" y="1092"/>
                  </a:cubicBezTo>
                  <a:cubicBezTo>
                    <a:pt x="1806" y="1092"/>
                    <a:pt x="1808" y="1089"/>
                    <a:pt x="1808" y="1076"/>
                  </a:cubicBezTo>
                  <a:cubicBezTo>
                    <a:pt x="1809" y="1063"/>
                    <a:pt x="1807" y="1051"/>
                    <a:pt x="1802" y="1038"/>
                  </a:cubicBezTo>
                  <a:cubicBezTo>
                    <a:pt x="1794" y="1021"/>
                    <a:pt x="1782" y="1008"/>
                    <a:pt x="1764" y="1000"/>
                  </a:cubicBezTo>
                  <a:cubicBezTo>
                    <a:pt x="1742" y="991"/>
                    <a:pt x="1720" y="991"/>
                    <a:pt x="1698" y="1000"/>
                  </a:cubicBezTo>
                  <a:cubicBezTo>
                    <a:pt x="1681" y="1006"/>
                    <a:pt x="1668" y="1016"/>
                    <a:pt x="1659" y="1031"/>
                  </a:cubicBezTo>
                  <a:cubicBezTo>
                    <a:pt x="1646" y="1050"/>
                    <a:pt x="1643" y="1071"/>
                    <a:pt x="1644" y="1094"/>
                  </a:cubicBezTo>
                  <a:cubicBezTo>
                    <a:pt x="1644" y="1110"/>
                    <a:pt x="1647" y="1127"/>
                    <a:pt x="1655" y="1141"/>
                  </a:cubicBezTo>
                  <a:cubicBezTo>
                    <a:pt x="1669" y="1168"/>
                    <a:pt x="1691" y="1183"/>
                    <a:pt x="1722" y="1186"/>
                  </a:cubicBezTo>
                  <a:cubicBezTo>
                    <a:pt x="1750" y="1188"/>
                    <a:pt x="1775" y="1183"/>
                    <a:pt x="1798" y="1165"/>
                  </a:cubicBezTo>
                  <a:cubicBezTo>
                    <a:pt x="1803" y="1161"/>
                    <a:pt x="1806" y="1157"/>
                    <a:pt x="1802" y="1151"/>
                  </a:cubicBezTo>
                  <a:cubicBezTo>
                    <a:pt x="1798" y="1144"/>
                    <a:pt x="1791" y="1140"/>
                    <a:pt x="1783" y="1144"/>
                  </a:cubicBezTo>
                  <a:cubicBezTo>
                    <a:pt x="1778" y="1147"/>
                    <a:pt x="1771" y="1149"/>
                    <a:pt x="1766" y="1152"/>
                  </a:cubicBezTo>
                  <a:cubicBezTo>
                    <a:pt x="1749" y="1161"/>
                    <a:pt x="1730" y="1162"/>
                    <a:pt x="1714" y="1155"/>
                  </a:cubicBezTo>
                  <a:cubicBezTo>
                    <a:pt x="1692" y="1145"/>
                    <a:pt x="1680" y="1127"/>
                    <a:pt x="1679" y="1102"/>
                  </a:cubicBezTo>
                  <a:cubicBezTo>
                    <a:pt x="1678" y="1095"/>
                    <a:pt x="1681" y="1092"/>
                    <a:pt x="1689" y="1092"/>
                  </a:cubicBezTo>
                  <a:cubicBezTo>
                    <a:pt x="1706" y="1092"/>
                    <a:pt x="1724" y="1092"/>
                    <a:pt x="1741" y="1092"/>
                  </a:cubicBezTo>
                  <a:cubicBezTo>
                    <a:pt x="1741" y="1092"/>
                    <a:pt x="1741" y="1092"/>
                    <a:pt x="1741" y="1092"/>
                  </a:cubicBezTo>
                  <a:close/>
                  <a:moveTo>
                    <a:pt x="1690" y="1070"/>
                  </a:moveTo>
                  <a:cubicBezTo>
                    <a:pt x="1683" y="1071"/>
                    <a:pt x="1680" y="1068"/>
                    <a:pt x="1681" y="1062"/>
                  </a:cubicBezTo>
                  <a:cubicBezTo>
                    <a:pt x="1683" y="1048"/>
                    <a:pt x="1697" y="1024"/>
                    <a:pt x="1716" y="1022"/>
                  </a:cubicBezTo>
                  <a:cubicBezTo>
                    <a:pt x="1731" y="1020"/>
                    <a:pt x="1747" y="1018"/>
                    <a:pt x="1760" y="1030"/>
                  </a:cubicBezTo>
                  <a:cubicBezTo>
                    <a:pt x="1771" y="1038"/>
                    <a:pt x="1775" y="1050"/>
                    <a:pt x="1778" y="1062"/>
                  </a:cubicBezTo>
                  <a:cubicBezTo>
                    <a:pt x="1780" y="1068"/>
                    <a:pt x="1775" y="1070"/>
                    <a:pt x="1769" y="1070"/>
                  </a:cubicBezTo>
                  <a:cubicBezTo>
                    <a:pt x="1756" y="1070"/>
                    <a:pt x="1742" y="1070"/>
                    <a:pt x="1729" y="1070"/>
                  </a:cubicBezTo>
                  <a:cubicBezTo>
                    <a:pt x="1729" y="1070"/>
                    <a:pt x="1729" y="1070"/>
                    <a:pt x="1729" y="1070"/>
                  </a:cubicBezTo>
                  <a:cubicBezTo>
                    <a:pt x="1716" y="1070"/>
                    <a:pt x="1703" y="1070"/>
                    <a:pt x="1690" y="1070"/>
                  </a:cubicBezTo>
                  <a:close/>
                  <a:moveTo>
                    <a:pt x="68" y="581"/>
                  </a:moveTo>
                  <a:cubicBezTo>
                    <a:pt x="68" y="573"/>
                    <a:pt x="70" y="568"/>
                    <a:pt x="80" y="569"/>
                  </a:cubicBezTo>
                  <a:cubicBezTo>
                    <a:pt x="90" y="570"/>
                    <a:pt x="101" y="570"/>
                    <a:pt x="111" y="569"/>
                  </a:cubicBezTo>
                  <a:cubicBezTo>
                    <a:pt x="120" y="569"/>
                    <a:pt x="120" y="563"/>
                    <a:pt x="120" y="556"/>
                  </a:cubicBezTo>
                  <a:cubicBezTo>
                    <a:pt x="120" y="549"/>
                    <a:pt x="119" y="544"/>
                    <a:pt x="111" y="544"/>
                  </a:cubicBezTo>
                  <a:cubicBezTo>
                    <a:pt x="104" y="544"/>
                    <a:pt x="97" y="544"/>
                    <a:pt x="91" y="544"/>
                  </a:cubicBezTo>
                  <a:cubicBezTo>
                    <a:pt x="66" y="544"/>
                    <a:pt x="65" y="543"/>
                    <a:pt x="68" y="518"/>
                  </a:cubicBezTo>
                  <a:cubicBezTo>
                    <a:pt x="69" y="504"/>
                    <a:pt x="83" y="487"/>
                    <a:pt x="99" y="489"/>
                  </a:cubicBezTo>
                  <a:cubicBezTo>
                    <a:pt x="103" y="489"/>
                    <a:pt x="107" y="489"/>
                    <a:pt x="110" y="488"/>
                  </a:cubicBezTo>
                  <a:cubicBezTo>
                    <a:pt x="118" y="487"/>
                    <a:pt x="123" y="479"/>
                    <a:pt x="123" y="471"/>
                  </a:cubicBezTo>
                  <a:cubicBezTo>
                    <a:pt x="123" y="461"/>
                    <a:pt x="116" y="462"/>
                    <a:pt x="109" y="460"/>
                  </a:cubicBezTo>
                  <a:cubicBezTo>
                    <a:pt x="100" y="458"/>
                    <a:pt x="92" y="460"/>
                    <a:pt x="84" y="460"/>
                  </a:cubicBezTo>
                  <a:cubicBezTo>
                    <a:pt x="68" y="461"/>
                    <a:pt x="56" y="469"/>
                    <a:pt x="47" y="480"/>
                  </a:cubicBezTo>
                  <a:cubicBezTo>
                    <a:pt x="34" y="493"/>
                    <a:pt x="32" y="511"/>
                    <a:pt x="32" y="529"/>
                  </a:cubicBezTo>
                  <a:cubicBezTo>
                    <a:pt x="32" y="544"/>
                    <a:pt x="32" y="544"/>
                    <a:pt x="17" y="544"/>
                  </a:cubicBezTo>
                  <a:cubicBezTo>
                    <a:pt x="4" y="543"/>
                    <a:pt x="0" y="548"/>
                    <a:pt x="4" y="561"/>
                  </a:cubicBezTo>
                  <a:cubicBezTo>
                    <a:pt x="6" y="569"/>
                    <a:pt x="13" y="568"/>
                    <a:pt x="19" y="569"/>
                  </a:cubicBezTo>
                  <a:cubicBezTo>
                    <a:pt x="32" y="571"/>
                    <a:pt x="32" y="571"/>
                    <a:pt x="32" y="584"/>
                  </a:cubicBezTo>
                  <a:cubicBezTo>
                    <a:pt x="32" y="624"/>
                    <a:pt x="32" y="664"/>
                    <a:pt x="32" y="704"/>
                  </a:cubicBezTo>
                  <a:cubicBezTo>
                    <a:pt x="32" y="731"/>
                    <a:pt x="32" y="730"/>
                    <a:pt x="57" y="731"/>
                  </a:cubicBezTo>
                  <a:cubicBezTo>
                    <a:pt x="66" y="731"/>
                    <a:pt x="68" y="727"/>
                    <a:pt x="68" y="720"/>
                  </a:cubicBezTo>
                  <a:cubicBezTo>
                    <a:pt x="68" y="697"/>
                    <a:pt x="68" y="674"/>
                    <a:pt x="68" y="651"/>
                  </a:cubicBezTo>
                  <a:cubicBezTo>
                    <a:pt x="68" y="628"/>
                    <a:pt x="68" y="605"/>
                    <a:pt x="68" y="581"/>
                  </a:cubicBezTo>
                  <a:close/>
                  <a:moveTo>
                    <a:pt x="278" y="1165"/>
                  </a:moveTo>
                  <a:cubicBezTo>
                    <a:pt x="278" y="1183"/>
                    <a:pt x="278" y="1183"/>
                    <a:pt x="296" y="1184"/>
                  </a:cubicBezTo>
                  <a:cubicBezTo>
                    <a:pt x="310" y="1184"/>
                    <a:pt x="310" y="1184"/>
                    <a:pt x="310" y="1169"/>
                  </a:cubicBezTo>
                  <a:cubicBezTo>
                    <a:pt x="310" y="1132"/>
                    <a:pt x="310" y="1095"/>
                    <a:pt x="310" y="1058"/>
                  </a:cubicBezTo>
                  <a:cubicBezTo>
                    <a:pt x="310" y="1052"/>
                    <a:pt x="312" y="1047"/>
                    <a:pt x="316" y="1042"/>
                  </a:cubicBezTo>
                  <a:cubicBezTo>
                    <a:pt x="324" y="1033"/>
                    <a:pt x="334" y="1027"/>
                    <a:pt x="345" y="1024"/>
                  </a:cubicBezTo>
                  <a:cubicBezTo>
                    <a:pt x="357" y="1020"/>
                    <a:pt x="371" y="1018"/>
                    <a:pt x="383" y="1028"/>
                  </a:cubicBezTo>
                  <a:cubicBezTo>
                    <a:pt x="397" y="1039"/>
                    <a:pt x="401" y="1054"/>
                    <a:pt x="401" y="1071"/>
                  </a:cubicBezTo>
                  <a:cubicBezTo>
                    <a:pt x="401" y="1102"/>
                    <a:pt x="401" y="1132"/>
                    <a:pt x="401" y="1163"/>
                  </a:cubicBezTo>
                  <a:cubicBezTo>
                    <a:pt x="401" y="1183"/>
                    <a:pt x="401" y="1182"/>
                    <a:pt x="420" y="1184"/>
                  </a:cubicBezTo>
                  <a:cubicBezTo>
                    <a:pt x="429" y="1185"/>
                    <a:pt x="433" y="1181"/>
                    <a:pt x="433" y="1173"/>
                  </a:cubicBezTo>
                  <a:cubicBezTo>
                    <a:pt x="432" y="1130"/>
                    <a:pt x="435" y="1087"/>
                    <a:pt x="431" y="1044"/>
                  </a:cubicBezTo>
                  <a:cubicBezTo>
                    <a:pt x="427" y="1014"/>
                    <a:pt x="404" y="996"/>
                    <a:pt x="376" y="994"/>
                  </a:cubicBezTo>
                  <a:cubicBezTo>
                    <a:pt x="353" y="992"/>
                    <a:pt x="333" y="1000"/>
                    <a:pt x="317" y="1017"/>
                  </a:cubicBezTo>
                  <a:cubicBezTo>
                    <a:pt x="312" y="1021"/>
                    <a:pt x="311" y="1019"/>
                    <a:pt x="309" y="1015"/>
                  </a:cubicBezTo>
                  <a:cubicBezTo>
                    <a:pt x="309" y="1013"/>
                    <a:pt x="308" y="1011"/>
                    <a:pt x="308" y="1008"/>
                  </a:cubicBezTo>
                  <a:cubicBezTo>
                    <a:pt x="306" y="1001"/>
                    <a:pt x="298" y="997"/>
                    <a:pt x="287" y="998"/>
                  </a:cubicBezTo>
                  <a:cubicBezTo>
                    <a:pt x="279" y="999"/>
                    <a:pt x="278" y="1004"/>
                    <a:pt x="278" y="1011"/>
                  </a:cubicBezTo>
                  <a:cubicBezTo>
                    <a:pt x="278" y="1037"/>
                    <a:pt x="278" y="1064"/>
                    <a:pt x="278" y="1091"/>
                  </a:cubicBezTo>
                  <a:cubicBezTo>
                    <a:pt x="278" y="1115"/>
                    <a:pt x="278" y="1140"/>
                    <a:pt x="278" y="1165"/>
                  </a:cubicBezTo>
                  <a:close/>
                  <a:moveTo>
                    <a:pt x="150" y="705"/>
                  </a:moveTo>
                  <a:cubicBezTo>
                    <a:pt x="150" y="734"/>
                    <a:pt x="145" y="730"/>
                    <a:pt x="176" y="731"/>
                  </a:cubicBezTo>
                  <a:cubicBezTo>
                    <a:pt x="185" y="731"/>
                    <a:pt x="187" y="727"/>
                    <a:pt x="187" y="719"/>
                  </a:cubicBezTo>
                  <a:cubicBezTo>
                    <a:pt x="187" y="685"/>
                    <a:pt x="187" y="651"/>
                    <a:pt x="187" y="618"/>
                  </a:cubicBezTo>
                  <a:cubicBezTo>
                    <a:pt x="187" y="597"/>
                    <a:pt x="204" y="578"/>
                    <a:pt x="225" y="574"/>
                  </a:cubicBezTo>
                  <a:cubicBezTo>
                    <a:pt x="232" y="572"/>
                    <a:pt x="240" y="574"/>
                    <a:pt x="247" y="575"/>
                  </a:cubicBezTo>
                  <a:cubicBezTo>
                    <a:pt x="257" y="576"/>
                    <a:pt x="261" y="572"/>
                    <a:pt x="265" y="564"/>
                  </a:cubicBezTo>
                  <a:cubicBezTo>
                    <a:pt x="269" y="556"/>
                    <a:pt x="267" y="542"/>
                    <a:pt x="261" y="540"/>
                  </a:cubicBezTo>
                  <a:cubicBezTo>
                    <a:pt x="253" y="538"/>
                    <a:pt x="244" y="534"/>
                    <a:pt x="237" y="536"/>
                  </a:cubicBezTo>
                  <a:cubicBezTo>
                    <a:pt x="228" y="537"/>
                    <a:pt x="217" y="537"/>
                    <a:pt x="209" y="544"/>
                  </a:cubicBezTo>
                  <a:cubicBezTo>
                    <a:pt x="204" y="549"/>
                    <a:pt x="198" y="553"/>
                    <a:pt x="194" y="558"/>
                  </a:cubicBezTo>
                  <a:cubicBezTo>
                    <a:pt x="192" y="561"/>
                    <a:pt x="189" y="563"/>
                    <a:pt x="185" y="562"/>
                  </a:cubicBezTo>
                  <a:cubicBezTo>
                    <a:pt x="182" y="561"/>
                    <a:pt x="182" y="558"/>
                    <a:pt x="182" y="556"/>
                  </a:cubicBezTo>
                  <a:cubicBezTo>
                    <a:pt x="180" y="539"/>
                    <a:pt x="179" y="539"/>
                    <a:pt x="162" y="539"/>
                  </a:cubicBezTo>
                  <a:cubicBezTo>
                    <a:pt x="151" y="539"/>
                    <a:pt x="150" y="540"/>
                    <a:pt x="150" y="551"/>
                  </a:cubicBezTo>
                  <a:cubicBezTo>
                    <a:pt x="150" y="579"/>
                    <a:pt x="150" y="607"/>
                    <a:pt x="150" y="635"/>
                  </a:cubicBezTo>
                  <a:cubicBezTo>
                    <a:pt x="150" y="658"/>
                    <a:pt x="149" y="682"/>
                    <a:pt x="150" y="705"/>
                  </a:cubicBezTo>
                  <a:close/>
                  <a:moveTo>
                    <a:pt x="1011" y="1049"/>
                  </a:moveTo>
                  <a:cubicBezTo>
                    <a:pt x="1011" y="1008"/>
                    <a:pt x="1011" y="966"/>
                    <a:pt x="1011" y="924"/>
                  </a:cubicBezTo>
                  <a:cubicBezTo>
                    <a:pt x="1011" y="913"/>
                    <a:pt x="1008" y="910"/>
                    <a:pt x="997" y="910"/>
                  </a:cubicBezTo>
                  <a:cubicBezTo>
                    <a:pt x="995" y="910"/>
                    <a:pt x="992" y="910"/>
                    <a:pt x="990" y="910"/>
                  </a:cubicBezTo>
                  <a:cubicBezTo>
                    <a:pt x="976" y="910"/>
                    <a:pt x="975" y="911"/>
                    <a:pt x="975" y="926"/>
                  </a:cubicBezTo>
                  <a:cubicBezTo>
                    <a:pt x="975" y="1006"/>
                    <a:pt x="975" y="1085"/>
                    <a:pt x="975" y="1165"/>
                  </a:cubicBezTo>
                  <a:cubicBezTo>
                    <a:pt x="975" y="1185"/>
                    <a:pt x="975" y="1185"/>
                    <a:pt x="994" y="1185"/>
                  </a:cubicBezTo>
                  <a:cubicBezTo>
                    <a:pt x="1009" y="1185"/>
                    <a:pt x="1011" y="1184"/>
                    <a:pt x="1011" y="1169"/>
                  </a:cubicBezTo>
                  <a:cubicBezTo>
                    <a:pt x="1011" y="1129"/>
                    <a:pt x="1011" y="1089"/>
                    <a:pt x="1011" y="1049"/>
                  </a:cubicBezTo>
                  <a:cubicBezTo>
                    <a:pt x="1011" y="1049"/>
                    <a:pt x="1011" y="1049"/>
                    <a:pt x="1011" y="1049"/>
                  </a:cubicBezTo>
                  <a:close/>
                  <a:moveTo>
                    <a:pt x="296" y="176"/>
                  </a:moveTo>
                  <a:cubicBezTo>
                    <a:pt x="296" y="201"/>
                    <a:pt x="296" y="226"/>
                    <a:pt x="296" y="251"/>
                  </a:cubicBezTo>
                  <a:cubicBezTo>
                    <a:pt x="295" y="276"/>
                    <a:pt x="296" y="274"/>
                    <a:pt x="318" y="274"/>
                  </a:cubicBezTo>
                  <a:cubicBezTo>
                    <a:pt x="330" y="274"/>
                    <a:pt x="331" y="274"/>
                    <a:pt x="331" y="260"/>
                  </a:cubicBezTo>
                  <a:cubicBezTo>
                    <a:pt x="331" y="232"/>
                    <a:pt x="331" y="204"/>
                    <a:pt x="331" y="176"/>
                  </a:cubicBezTo>
                  <a:cubicBezTo>
                    <a:pt x="331" y="165"/>
                    <a:pt x="331" y="155"/>
                    <a:pt x="337" y="145"/>
                  </a:cubicBezTo>
                  <a:cubicBezTo>
                    <a:pt x="349" y="123"/>
                    <a:pt x="359" y="117"/>
                    <a:pt x="377" y="118"/>
                  </a:cubicBezTo>
                  <a:cubicBezTo>
                    <a:pt x="383" y="118"/>
                    <a:pt x="389" y="119"/>
                    <a:pt x="395" y="120"/>
                  </a:cubicBezTo>
                  <a:cubicBezTo>
                    <a:pt x="401" y="120"/>
                    <a:pt x="407" y="118"/>
                    <a:pt x="408" y="112"/>
                  </a:cubicBezTo>
                  <a:cubicBezTo>
                    <a:pt x="409" y="103"/>
                    <a:pt x="415" y="93"/>
                    <a:pt x="407" y="85"/>
                  </a:cubicBezTo>
                  <a:cubicBezTo>
                    <a:pt x="406" y="84"/>
                    <a:pt x="404" y="84"/>
                    <a:pt x="402" y="84"/>
                  </a:cubicBezTo>
                  <a:cubicBezTo>
                    <a:pt x="376" y="78"/>
                    <a:pt x="353" y="82"/>
                    <a:pt x="337" y="106"/>
                  </a:cubicBezTo>
                  <a:cubicBezTo>
                    <a:pt x="336" y="108"/>
                    <a:pt x="335" y="110"/>
                    <a:pt x="333" y="109"/>
                  </a:cubicBezTo>
                  <a:cubicBezTo>
                    <a:pt x="331" y="109"/>
                    <a:pt x="330" y="107"/>
                    <a:pt x="330" y="105"/>
                  </a:cubicBezTo>
                  <a:cubicBezTo>
                    <a:pt x="329" y="101"/>
                    <a:pt x="329" y="97"/>
                    <a:pt x="328" y="94"/>
                  </a:cubicBezTo>
                  <a:cubicBezTo>
                    <a:pt x="325" y="85"/>
                    <a:pt x="318" y="82"/>
                    <a:pt x="303" y="84"/>
                  </a:cubicBezTo>
                  <a:cubicBezTo>
                    <a:pt x="297" y="84"/>
                    <a:pt x="295" y="86"/>
                    <a:pt x="295" y="92"/>
                  </a:cubicBezTo>
                  <a:cubicBezTo>
                    <a:pt x="296" y="120"/>
                    <a:pt x="295" y="148"/>
                    <a:pt x="295" y="176"/>
                  </a:cubicBezTo>
                  <a:cubicBezTo>
                    <a:pt x="296" y="176"/>
                    <a:pt x="296" y="176"/>
                    <a:pt x="296" y="176"/>
                  </a:cubicBezTo>
                  <a:close/>
                  <a:moveTo>
                    <a:pt x="946" y="179"/>
                  </a:moveTo>
                  <a:cubicBezTo>
                    <a:pt x="946" y="197"/>
                    <a:pt x="946" y="215"/>
                    <a:pt x="946" y="234"/>
                  </a:cubicBezTo>
                  <a:cubicBezTo>
                    <a:pt x="946" y="248"/>
                    <a:pt x="951" y="260"/>
                    <a:pt x="963" y="268"/>
                  </a:cubicBezTo>
                  <a:cubicBezTo>
                    <a:pt x="982" y="280"/>
                    <a:pt x="1011" y="277"/>
                    <a:pt x="1029" y="264"/>
                  </a:cubicBezTo>
                  <a:cubicBezTo>
                    <a:pt x="1036" y="259"/>
                    <a:pt x="1036" y="254"/>
                    <a:pt x="1032" y="248"/>
                  </a:cubicBezTo>
                  <a:cubicBezTo>
                    <a:pt x="1026" y="239"/>
                    <a:pt x="1020" y="238"/>
                    <a:pt x="1013" y="242"/>
                  </a:cubicBezTo>
                  <a:cubicBezTo>
                    <a:pt x="996" y="252"/>
                    <a:pt x="978" y="243"/>
                    <a:pt x="978" y="223"/>
                  </a:cubicBezTo>
                  <a:cubicBezTo>
                    <a:pt x="978" y="190"/>
                    <a:pt x="978" y="157"/>
                    <a:pt x="978" y="123"/>
                  </a:cubicBezTo>
                  <a:cubicBezTo>
                    <a:pt x="978" y="116"/>
                    <a:pt x="981" y="113"/>
                    <a:pt x="988" y="113"/>
                  </a:cubicBezTo>
                  <a:cubicBezTo>
                    <a:pt x="999" y="114"/>
                    <a:pt x="1011" y="113"/>
                    <a:pt x="1022" y="113"/>
                  </a:cubicBezTo>
                  <a:cubicBezTo>
                    <a:pt x="1028" y="113"/>
                    <a:pt x="1033" y="112"/>
                    <a:pt x="1033" y="104"/>
                  </a:cubicBezTo>
                  <a:cubicBezTo>
                    <a:pt x="1033" y="96"/>
                    <a:pt x="1032" y="90"/>
                    <a:pt x="1022" y="90"/>
                  </a:cubicBezTo>
                  <a:cubicBezTo>
                    <a:pt x="1011" y="90"/>
                    <a:pt x="1001" y="90"/>
                    <a:pt x="990" y="90"/>
                  </a:cubicBezTo>
                  <a:cubicBezTo>
                    <a:pt x="981" y="91"/>
                    <a:pt x="977" y="88"/>
                    <a:pt x="978" y="78"/>
                  </a:cubicBezTo>
                  <a:cubicBezTo>
                    <a:pt x="978" y="64"/>
                    <a:pt x="978" y="49"/>
                    <a:pt x="978" y="35"/>
                  </a:cubicBezTo>
                  <a:cubicBezTo>
                    <a:pt x="978" y="30"/>
                    <a:pt x="978" y="25"/>
                    <a:pt x="971" y="24"/>
                  </a:cubicBezTo>
                  <a:cubicBezTo>
                    <a:pt x="964" y="24"/>
                    <a:pt x="956" y="24"/>
                    <a:pt x="955" y="32"/>
                  </a:cubicBezTo>
                  <a:cubicBezTo>
                    <a:pt x="952" y="43"/>
                    <a:pt x="949" y="54"/>
                    <a:pt x="949" y="65"/>
                  </a:cubicBezTo>
                  <a:cubicBezTo>
                    <a:pt x="948" y="88"/>
                    <a:pt x="947" y="88"/>
                    <a:pt x="924" y="91"/>
                  </a:cubicBezTo>
                  <a:cubicBezTo>
                    <a:pt x="919" y="92"/>
                    <a:pt x="914" y="92"/>
                    <a:pt x="914" y="99"/>
                  </a:cubicBezTo>
                  <a:cubicBezTo>
                    <a:pt x="915" y="107"/>
                    <a:pt x="917" y="113"/>
                    <a:pt x="926" y="113"/>
                  </a:cubicBezTo>
                  <a:cubicBezTo>
                    <a:pt x="929" y="114"/>
                    <a:pt x="932" y="113"/>
                    <a:pt x="935" y="113"/>
                  </a:cubicBezTo>
                  <a:cubicBezTo>
                    <a:pt x="943" y="113"/>
                    <a:pt x="946" y="116"/>
                    <a:pt x="946" y="124"/>
                  </a:cubicBezTo>
                  <a:cubicBezTo>
                    <a:pt x="946" y="142"/>
                    <a:pt x="946" y="161"/>
                    <a:pt x="946" y="179"/>
                  </a:cubicBezTo>
                  <a:cubicBezTo>
                    <a:pt x="946" y="179"/>
                    <a:pt x="946" y="179"/>
                    <a:pt x="946" y="179"/>
                  </a:cubicBezTo>
                  <a:close/>
                </a:path>
              </a:pathLst>
            </a:custGeom>
            <a:solidFill>
              <a:srgbClr val="4C505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grpSp>
          <p:nvGrpSpPr>
            <p:cNvPr id="18" name="Group 4">
              <a:extLst>
                <a:ext uri="{FF2B5EF4-FFF2-40B4-BE49-F238E27FC236}">
                  <a16:creationId xmlns:a16="http://schemas.microsoft.com/office/drawing/2014/main" id="{57BD2C4C-DC67-B843-B26C-309622FC75F7}"/>
                </a:ext>
              </a:extLst>
            </p:cNvPr>
            <p:cNvGrpSpPr>
              <a:grpSpLocks noChangeAspect="1"/>
            </p:cNvGrpSpPr>
            <p:nvPr/>
          </p:nvGrpSpPr>
          <p:grpSpPr bwMode="gray">
            <a:xfrm>
              <a:off x="334963" y="296652"/>
              <a:ext cx="538094" cy="540000"/>
              <a:chOff x="2711" y="1027"/>
              <a:chExt cx="2258" cy="2266"/>
            </a:xfrm>
          </p:grpSpPr>
          <p:sp>
            <p:nvSpPr>
              <p:cNvPr id="19" name="AutoShape 3">
                <a:extLst>
                  <a:ext uri="{FF2B5EF4-FFF2-40B4-BE49-F238E27FC236}">
                    <a16:creationId xmlns:a16="http://schemas.microsoft.com/office/drawing/2014/main" id="{FE1DC41B-291E-574C-9F2C-874E70A40758}"/>
                  </a:ext>
                </a:extLst>
              </p:cNvPr>
              <p:cNvSpPr>
                <a:spLocks noChangeAspect="1" noChangeArrowheads="1" noTextEdit="1"/>
              </p:cNvSpPr>
              <p:nvPr/>
            </p:nvSpPr>
            <p:spPr bwMode="gray">
              <a:xfrm>
                <a:off x="2711" y="1027"/>
                <a:ext cx="2258" cy="22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20" name="Freeform 5">
                <a:extLst>
                  <a:ext uri="{FF2B5EF4-FFF2-40B4-BE49-F238E27FC236}">
                    <a16:creationId xmlns:a16="http://schemas.microsoft.com/office/drawing/2014/main" id="{D4B633C8-F761-C54B-9BD2-EB59D49A2DBC}"/>
                  </a:ext>
                </a:extLst>
              </p:cNvPr>
              <p:cNvSpPr>
                <a:spLocks/>
              </p:cNvSpPr>
              <p:nvPr/>
            </p:nvSpPr>
            <p:spPr bwMode="gray">
              <a:xfrm>
                <a:off x="2709" y="1029"/>
                <a:ext cx="2260" cy="2262"/>
              </a:xfrm>
              <a:custGeom>
                <a:avLst/>
                <a:gdLst>
                  <a:gd name="T0" fmla="*/ 2260 w 2260"/>
                  <a:gd name="T1" fmla="*/ 0 h 2262"/>
                  <a:gd name="T2" fmla="*/ 1612 w 2260"/>
                  <a:gd name="T3" fmla="*/ 649 h 2262"/>
                  <a:gd name="T4" fmla="*/ 1612 w 2260"/>
                  <a:gd name="T5" fmla="*/ 649 h 2262"/>
                  <a:gd name="T6" fmla="*/ 2035 w 2260"/>
                  <a:gd name="T7" fmla="*/ 0 h 2262"/>
                  <a:gd name="T8" fmla="*/ 0 w 2260"/>
                  <a:gd name="T9" fmla="*/ 0 h 2262"/>
                  <a:gd name="T10" fmla="*/ 0 w 2260"/>
                  <a:gd name="T11" fmla="*/ 2262 h 2262"/>
                  <a:gd name="T12" fmla="*/ 2260 w 2260"/>
                  <a:gd name="T13" fmla="*/ 2262 h 2262"/>
                  <a:gd name="T14" fmla="*/ 2260 w 2260"/>
                  <a:gd name="T15" fmla="*/ 0 h 2262"/>
                  <a:gd name="T16" fmla="*/ 2260 w 2260"/>
                  <a:gd name="T17" fmla="*/ 0 h 2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0" h="2262">
                    <a:moveTo>
                      <a:pt x="2260" y="0"/>
                    </a:moveTo>
                    <a:lnTo>
                      <a:pt x="1612" y="649"/>
                    </a:lnTo>
                    <a:lnTo>
                      <a:pt x="1612" y="649"/>
                    </a:lnTo>
                    <a:lnTo>
                      <a:pt x="2035" y="0"/>
                    </a:lnTo>
                    <a:lnTo>
                      <a:pt x="0" y="0"/>
                    </a:lnTo>
                    <a:lnTo>
                      <a:pt x="0" y="2262"/>
                    </a:lnTo>
                    <a:lnTo>
                      <a:pt x="2260" y="2262"/>
                    </a:lnTo>
                    <a:lnTo>
                      <a:pt x="2260" y="0"/>
                    </a:lnTo>
                    <a:lnTo>
                      <a:pt x="2260" y="0"/>
                    </a:lnTo>
                    <a:close/>
                  </a:path>
                </a:pathLst>
              </a:custGeom>
              <a:solidFill>
                <a:srgbClr val="E55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21" name="Freeform 6">
                <a:extLst>
                  <a:ext uri="{FF2B5EF4-FFF2-40B4-BE49-F238E27FC236}">
                    <a16:creationId xmlns:a16="http://schemas.microsoft.com/office/drawing/2014/main" id="{B16BAAE4-1A41-C843-9754-490F7A1E1270}"/>
                  </a:ext>
                </a:extLst>
              </p:cNvPr>
              <p:cNvSpPr>
                <a:spLocks noEditPoints="1"/>
              </p:cNvSpPr>
              <p:nvPr/>
            </p:nvSpPr>
            <p:spPr bwMode="gray">
              <a:xfrm>
                <a:off x="3623" y="1696"/>
                <a:ext cx="1167" cy="922"/>
              </a:xfrm>
              <a:custGeom>
                <a:avLst/>
                <a:gdLst>
                  <a:gd name="T0" fmla="*/ 411 w 580"/>
                  <a:gd name="T1" fmla="*/ 213 h 458"/>
                  <a:gd name="T2" fmla="*/ 570 w 580"/>
                  <a:gd name="T3" fmla="*/ 37 h 458"/>
                  <a:gd name="T4" fmla="*/ 580 w 580"/>
                  <a:gd name="T5" fmla="*/ 20 h 458"/>
                  <a:gd name="T6" fmla="*/ 545 w 580"/>
                  <a:gd name="T7" fmla="*/ 0 h 458"/>
                  <a:gd name="T8" fmla="*/ 519 w 580"/>
                  <a:gd name="T9" fmla="*/ 16 h 458"/>
                  <a:gd name="T10" fmla="*/ 344 w 580"/>
                  <a:gd name="T11" fmla="*/ 210 h 458"/>
                  <a:gd name="T12" fmla="*/ 334 w 580"/>
                  <a:gd name="T13" fmla="*/ 229 h 458"/>
                  <a:gd name="T14" fmla="*/ 344 w 580"/>
                  <a:gd name="T15" fmla="*/ 248 h 458"/>
                  <a:gd name="T16" fmla="*/ 519 w 580"/>
                  <a:gd name="T17" fmla="*/ 442 h 458"/>
                  <a:gd name="T18" fmla="*/ 545 w 580"/>
                  <a:gd name="T19" fmla="*/ 458 h 458"/>
                  <a:gd name="T20" fmla="*/ 580 w 580"/>
                  <a:gd name="T21" fmla="*/ 438 h 458"/>
                  <a:gd name="T22" fmla="*/ 570 w 580"/>
                  <a:gd name="T23" fmla="*/ 421 h 458"/>
                  <a:gd name="T24" fmla="*/ 411 w 580"/>
                  <a:gd name="T25" fmla="*/ 245 h 458"/>
                  <a:gd name="T26" fmla="*/ 399 w 580"/>
                  <a:gd name="T27" fmla="*/ 229 h 458"/>
                  <a:gd name="T28" fmla="*/ 411 w 580"/>
                  <a:gd name="T29" fmla="*/ 213 h 458"/>
                  <a:gd name="T30" fmla="*/ 252 w 580"/>
                  <a:gd name="T31" fmla="*/ 439 h 458"/>
                  <a:gd name="T32" fmla="*/ 281 w 580"/>
                  <a:gd name="T33" fmla="*/ 454 h 458"/>
                  <a:gd name="T34" fmla="*/ 309 w 580"/>
                  <a:gd name="T35" fmla="*/ 439 h 458"/>
                  <a:gd name="T36" fmla="*/ 309 w 580"/>
                  <a:gd name="T37" fmla="*/ 19 h 458"/>
                  <a:gd name="T38" fmla="*/ 281 w 580"/>
                  <a:gd name="T39" fmla="*/ 4 h 458"/>
                  <a:gd name="T40" fmla="*/ 252 w 580"/>
                  <a:gd name="T41" fmla="*/ 19 h 458"/>
                  <a:gd name="T42" fmla="*/ 252 w 580"/>
                  <a:gd name="T43" fmla="*/ 439 h 458"/>
                  <a:gd name="T44" fmla="*/ 0 w 580"/>
                  <a:gd name="T45" fmla="*/ 439 h 458"/>
                  <a:gd name="T46" fmla="*/ 28 w 580"/>
                  <a:gd name="T47" fmla="*/ 454 h 458"/>
                  <a:gd name="T48" fmla="*/ 56 w 580"/>
                  <a:gd name="T49" fmla="*/ 439 h 458"/>
                  <a:gd name="T50" fmla="*/ 56 w 580"/>
                  <a:gd name="T51" fmla="*/ 157 h 458"/>
                  <a:gd name="T52" fmla="*/ 165 w 580"/>
                  <a:gd name="T53" fmla="*/ 53 h 458"/>
                  <a:gd name="T54" fmla="*/ 180 w 580"/>
                  <a:gd name="T55" fmla="*/ 53 h 458"/>
                  <a:gd name="T56" fmla="*/ 196 w 580"/>
                  <a:gd name="T57" fmla="*/ 27 h 458"/>
                  <a:gd name="T58" fmla="*/ 154 w 580"/>
                  <a:gd name="T59" fmla="*/ 4 h 458"/>
                  <a:gd name="T60" fmla="*/ 0 w 580"/>
                  <a:gd name="T61" fmla="*/ 152 h 458"/>
                  <a:gd name="T62" fmla="*/ 0 w 580"/>
                  <a:gd name="T63" fmla="*/ 439 h 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80" h="458">
                    <a:moveTo>
                      <a:pt x="411" y="213"/>
                    </a:moveTo>
                    <a:cubicBezTo>
                      <a:pt x="570" y="37"/>
                      <a:pt x="570" y="37"/>
                      <a:pt x="570" y="37"/>
                    </a:cubicBezTo>
                    <a:cubicBezTo>
                      <a:pt x="576" y="30"/>
                      <a:pt x="580" y="25"/>
                      <a:pt x="580" y="20"/>
                    </a:cubicBezTo>
                    <a:cubicBezTo>
                      <a:pt x="580" y="10"/>
                      <a:pt x="559" y="0"/>
                      <a:pt x="545" y="0"/>
                    </a:cubicBezTo>
                    <a:cubicBezTo>
                      <a:pt x="535" y="0"/>
                      <a:pt x="526" y="8"/>
                      <a:pt x="519" y="16"/>
                    </a:cubicBezTo>
                    <a:cubicBezTo>
                      <a:pt x="344" y="210"/>
                      <a:pt x="344" y="210"/>
                      <a:pt x="344" y="210"/>
                    </a:cubicBezTo>
                    <a:cubicBezTo>
                      <a:pt x="336" y="219"/>
                      <a:pt x="334" y="224"/>
                      <a:pt x="334" y="229"/>
                    </a:cubicBezTo>
                    <a:cubicBezTo>
                      <a:pt x="334" y="234"/>
                      <a:pt x="336" y="239"/>
                      <a:pt x="344" y="248"/>
                    </a:cubicBezTo>
                    <a:cubicBezTo>
                      <a:pt x="519" y="442"/>
                      <a:pt x="519" y="442"/>
                      <a:pt x="519" y="442"/>
                    </a:cubicBezTo>
                    <a:cubicBezTo>
                      <a:pt x="526" y="450"/>
                      <a:pt x="535" y="458"/>
                      <a:pt x="545" y="458"/>
                    </a:cubicBezTo>
                    <a:cubicBezTo>
                      <a:pt x="559" y="458"/>
                      <a:pt x="580" y="448"/>
                      <a:pt x="580" y="438"/>
                    </a:cubicBezTo>
                    <a:cubicBezTo>
                      <a:pt x="580" y="433"/>
                      <a:pt x="576" y="428"/>
                      <a:pt x="570" y="421"/>
                    </a:cubicBezTo>
                    <a:cubicBezTo>
                      <a:pt x="411" y="245"/>
                      <a:pt x="411" y="245"/>
                      <a:pt x="411" y="245"/>
                    </a:cubicBezTo>
                    <a:cubicBezTo>
                      <a:pt x="403" y="236"/>
                      <a:pt x="399" y="232"/>
                      <a:pt x="399" y="229"/>
                    </a:cubicBezTo>
                    <a:cubicBezTo>
                      <a:pt x="399" y="226"/>
                      <a:pt x="403" y="222"/>
                      <a:pt x="411" y="213"/>
                    </a:cubicBezTo>
                    <a:moveTo>
                      <a:pt x="252" y="439"/>
                    </a:moveTo>
                    <a:cubicBezTo>
                      <a:pt x="252" y="449"/>
                      <a:pt x="261" y="454"/>
                      <a:pt x="281" y="454"/>
                    </a:cubicBezTo>
                    <a:cubicBezTo>
                      <a:pt x="300" y="454"/>
                      <a:pt x="309" y="449"/>
                      <a:pt x="309" y="439"/>
                    </a:cubicBezTo>
                    <a:cubicBezTo>
                      <a:pt x="309" y="19"/>
                      <a:pt x="309" y="19"/>
                      <a:pt x="309" y="19"/>
                    </a:cubicBezTo>
                    <a:cubicBezTo>
                      <a:pt x="309" y="9"/>
                      <a:pt x="300" y="4"/>
                      <a:pt x="281" y="4"/>
                    </a:cubicBezTo>
                    <a:cubicBezTo>
                      <a:pt x="261" y="4"/>
                      <a:pt x="252" y="9"/>
                      <a:pt x="252" y="19"/>
                    </a:cubicBezTo>
                    <a:lnTo>
                      <a:pt x="252" y="439"/>
                    </a:lnTo>
                    <a:close/>
                    <a:moveTo>
                      <a:pt x="0" y="439"/>
                    </a:moveTo>
                    <a:cubicBezTo>
                      <a:pt x="0" y="449"/>
                      <a:pt x="8" y="454"/>
                      <a:pt x="28" y="454"/>
                    </a:cubicBezTo>
                    <a:cubicBezTo>
                      <a:pt x="48" y="454"/>
                      <a:pt x="56" y="449"/>
                      <a:pt x="56" y="439"/>
                    </a:cubicBezTo>
                    <a:cubicBezTo>
                      <a:pt x="56" y="157"/>
                      <a:pt x="56" y="157"/>
                      <a:pt x="56" y="157"/>
                    </a:cubicBezTo>
                    <a:cubicBezTo>
                      <a:pt x="56" y="83"/>
                      <a:pt x="85" y="53"/>
                      <a:pt x="165" y="53"/>
                    </a:cubicBezTo>
                    <a:cubicBezTo>
                      <a:pt x="180" y="53"/>
                      <a:pt x="180" y="53"/>
                      <a:pt x="180" y="53"/>
                    </a:cubicBezTo>
                    <a:cubicBezTo>
                      <a:pt x="192" y="53"/>
                      <a:pt x="196" y="43"/>
                      <a:pt x="196" y="27"/>
                    </a:cubicBezTo>
                    <a:cubicBezTo>
                      <a:pt x="196" y="8"/>
                      <a:pt x="185" y="4"/>
                      <a:pt x="154" y="4"/>
                    </a:cubicBezTo>
                    <a:cubicBezTo>
                      <a:pt x="64" y="4"/>
                      <a:pt x="0" y="43"/>
                      <a:pt x="0" y="152"/>
                    </a:cubicBezTo>
                    <a:lnTo>
                      <a:pt x="0" y="43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22" name="Freeform 7">
                <a:extLst>
                  <a:ext uri="{FF2B5EF4-FFF2-40B4-BE49-F238E27FC236}">
                    <a16:creationId xmlns:a16="http://schemas.microsoft.com/office/drawing/2014/main" id="{2F32DCBD-8628-F245-85CD-97686A20ECFD}"/>
                  </a:ext>
                </a:extLst>
              </p:cNvPr>
              <p:cNvSpPr>
                <a:spLocks/>
              </p:cNvSpPr>
              <p:nvPr/>
            </p:nvSpPr>
            <p:spPr bwMode="gray">
              <a:xfrm>
                <a:off x="2880" y="1704"/>
                <a:ext cx="618" cy="916"/>
              </a:xfrm>
              <a:custGeom>
                <a:avLst/>
                <a:gdLst>
                  <a:gd name="T0" fmla="*/ 307 w 307"/>
                  <a:gd name="T1" fmla="*/ 405 h 455"/>
                  <a:gd name="T2" fmla="*/ 307 w 307"/>
                  <a:gd name="T3" fmla="*/ 244 h 455"/>
                  <a:gd name="T4" fmla="*/ 279 w 307"/>
                  <a:gd name="T5" fmla="*/ 229 h 455"/>
                  <a:gd name="T6" fmla="*/ 250 w 307"/>
                  <a:gd name="T7" fmla="*/ 244 h 455"/>
                  <a:gd name="T8" fmla="*/ 250 w 307"/>
                  <a:gd name="T9" fmla="*/ 378 h 455"/>
                  <a:gd name="T10" fmla="*/ 199 w 307"/>
                  <a:gd name="T11" fmla="*/ 408 h 455"/>
                  <a:gd name="T12" fmla="*/ 61 w 307"/>
                  <a:gd name="T13" fmla="*/ 231 h 455"/>
                  <a:gd name="T14" fmla="*/ 238 w 307"/>
                  <a:gd name="T15" fmla="*/ 49 h 455"/>
                  <a:gd name="T16" fmla="*/ 270 w 307"/>
                  <a:gd name="T17" fmla="*/ 49 h 455"/>
                  <a:gd name="T18" fmla="*/ 286 w 307"/>
                  <a:gd name="T19" fmla="*/ 23 h 455"/>
                  <a:gd name="T20" fmla="*/ 244 w 307"/>
                  <a:gd name="T21" fmla="*/ 0 h 455"/>
                  <a:gd name="T22" fmla="*/ 231 w 307"/>
                  <a:gd name="T23" fmla="*/ 0 h 455"/>
                  <a:gd name="T24" fmla="*/ 0 w 307"/>
                  <a:gd name="T25" fmla="*/ 232 h 455"/>
                  <a:gd name="T26" fmla="*/ 198 w 307"/>
                  <a:gd name="T27" fmla="*/ 455 h 455"/>
                  <a:gd name="T28" fmla="*/ 307 w 307"/>
                  <a:gd name="T29" fmla="*/ 405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7" h="455">
                    <a:moveTo>
                      <a:pt x="307" y="405"/>
                    </a:moveTo>
                    <a:cubicBezTo>
                      <a:pt x="307" y="244"/>
                      <a:pt x="307" y="244"/>
                      <a:pt x="307" y="244"/>
                    </a:cubicBezTo>
                    <a:cubicBezTo>
                      <a:pt x="307" y="234"/>
                      <a:pt x="298" y="229"/>
                      <a:pt x="279" y="229"/>
                    </a:cubicBezTo>
                    <a:cubicBezTo>
                      <a:pt x="259" y="229"/>
                      <a:pt x="250" y="234"/>
                      <a:pt x="250" y="244"/>
                    </a:cubicBezTo>
                    <a:cubicBezTo>
                      <a:pt x="250" y="378"/>
                      <a:pt x="250" y="378"/>
                      <a:pt x="250" y="378"/>
                    </a:cubicBezTo>
                    <a:cubicBezTo>
                      <a:pt x="250" y="399"/>
                      <a:pt x="241" y="408"/>
                      <a:pt x="199" y="408"/>
                    </a:cubicBezTo>
                    <a:cubicBezTo>
                      <a:pt x="114" y="408"/>
                      <a:pt x="61" y="342"/>
                      <a:pt x="61" y="231"/>
                    </a:cubicBezTo>
                    <a:cubicBezTo>
                      <a:pt x="61" y="115"/>
                      <a:pt x="126" y="49"/>
                      <a:pt x="238" y="49"/>
                    </a:cubicBezTo>
                    <a:cubicBezTo>
                      <a:pt x="270" y="49"/>
                      <a:pt x="270" y="49"/>
                      <a:pt x="270" y="49"/>
                    </a:cubicBezTo>
                    <a:cubicBezTo>
                      <a:pt x="282" y="49"/>
                      <a:pt x="286" y="39"/>
                      <a:pt x="286" y="23"/>
                    </a:cubicBezTo>
                    <a:cubicBezTo>
                      <a:pt x="286" y="4"/>
                      <a:pt x="275" y="0"/>
                      <a:pt x="244" y="0"/>
                    </a:cubicBezTo>
                    <a:cubicBezTo>
                      <a:pt x="231" y="0"/>
                      <a:pt x="231" y="0"/>
                      <a:pt x="231" y="0"/>
                    </a:cubicBezTo>
                    <a:cubicBezTo>
                      <a:pt x="101" y="0"/>
                      <a:pt x="0" y="71"/>
                      <a:pt x="0" y="232"/>
                    </a:cubicBezTo>
                    <a:cubicBezTo>
                      <a:pt x="0" y="386"/>
                      <a:pt x="88" y="455"/>
                      <a:pt x="198" y="455"/>
                    </a:cubicBezTo>
                    <a:cubicBezTo>
                      <a:pt x="286" y="455"/>
                      <a:pt x="307" y="430"/>
                      <a:pt x="307" y="40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23" name="Oval 8">
                <a:extLst>
                  <a:ext uri="{FF2B5EF4-FFF2-40B4-BE49-F238E27FC236}">
                    <a16:creationId xmlns:a16="http://schemas.microsoft.com/office/drawing/2014/main" id="{60D97C11-1A3B-5449-A48D-98A3E79B3810}"/>
                  </a:ext>
                </a:extLst>
              </p:cNvPr>
              <p:cNvSpPr>
                <a:spLocks noChangeArrowheads="1"/>
              </p:cNvSpPr>
              <p:nvPr/>
            </p:nvSpPr>
            <p:spPr bwMode="gray">
              <a:xfrm>
                <a:off x="3778" y="2099"/>
                <a:ext cx="122" cy="12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24" name="Freeform 9">
                <a:extLst>
                  <a:ext uri="{FF2B5EF4-FFF2-40B4-BE49-F238E27FC236}">
                    <a16:creationId xmlns:a16="http://schemas.microsoft.com/office/drawing/2014/main" id="{5856770D-B8F0-244E-A05D-AED190086F10}"/>
                  </a:ext>
                </a:extLst>
              </p:cNvPr>
              <p:cNvSpPr>
                <a:spLocks noEditPoints="1"/>
              </p:cNvSpPr>
              <p:nvPr/>
            </p:nvSpPr>
            <p:spPr bwMode="gray">
              <a:xfrm>
                <a:off x="3623" y="1696"/>
                <a:ext cx="1167" cy="922"/>
              </a:xfrm>
              <a:custGeom>
                <a:avLst/>
                <a:gdLst>
                  <a:gd name="T0" fmla="*/ 411 w 580"/>
                  <a:gd name="T1" fmla="*/ 213 h 458"/>
                  <a:gd name="T2" fmla="*/ 570 w 580"/>
                  <a:gd name="T3" fmla="*/ 37 h 458"/>
                  <a:gd name="T4" fmla="*/ 580 w 580"/>
                  <a:gd name="T5" fmla="*/ 20 h 458"/>
                  <a:gd name="T6" fmla="*/ 545 w 580"/>
                  <a:gd name="T7" fmla="*/ 0 h 458"/>
                  <a:gd name="T8" fmla="*/ 519 w 580"/>
                  <a:gd name="T9" fmla="*/ 16 h 458"/>
                  <a:gd name="T10" fmla="*/ 344 w 580"/>
                  <a:gd name="T11" fmla="*/ 210 h 458"/>
                  <a:gd name="T12" fmla="*/ 334 w 580"/>
                  <a:gd name="T13" fmla="*/ 229 h 458"/>
                  <a:gd name="T14" fmla="*/ 344 w 580"/>
                  <a:gd name="T15" fmla="*/ 248 h 458"/>
                  <a:gd name="T16" fmla="*/ 519 w 580"/>
                  <a:gd name="T17" fmla="*/ 442 h 458"/>
                  <a:gd name="T18" fmla="*/ 545 w 580"/>
                  <a:gd name="T19" fmla="*/ 458 h 458"/>
                  <a:gd name="T20" fmla="*/ 580 w 580"/>
                  <a:gd name="T21" fmla="*/ 438 h 458"/>
                  <a:gd name="T22" fmla="*/ 570 w 580"/>
                  <a:gd name="T23" fmla="*/ 421 h 458"/>
                  <a:gd name="T24" fmla="*/ 411 w 580"/>
                  <a:gd name="T25" fmla="*/ 245 h 458"/>
                  <a:gd name="T26" fmla="*/ 399 w 580"/>
                  <a:gd name="T27" fmla="*/ 229 h 458"/>
                  <a:gd name="T28" fmla="*/ 411 w 580"/>
                  <a:gd name="T29" fmla="*/ 213 h 458"/>
                  <a:gd name="T30" fmla="*/ 252 w 580"/>
                  <a:gd name="T31" fmla="*/ 439 h 458"/>
                  <a:gd name="T32" fmla="*/ 281 w 580"/>
                  <a:gd name="T33" fmla="*/ 454 h 458"/>
                  <a:gd name="T34" fmla="*/ 309 w 580"/>
                  <a:gd name="T35" fmla="*/ 439 h 458"/>
                  <a:gd name="T36" fmla="*/ 309 w 580"/>
                  <a:gd name="T37" fmla="*/ 19 h 458"/>
                  <a:gd name="T38" fmla="*/ 281 w 580"/>
                  <a:gd name="T39" fmla="*/ 4 h 458"/>
                  <a:gd name="T40" fmla="*/ 252 w 580"/>
                  <a:gd name="T41" fmla="*/ 19 h 458"/>
                  <a:gd name="T42" fmla="*/ 252 w 580"/>
                  <a:gd name="T43" fmla="*/ 439 h 458"/>
                  <a:gd name="T44" fmla="*/ 0 w 580"/>
                  <a:gd name="T45" fmla="*/ 439 h 458"/>
                  <a:gd name="T46" fmla="*/ 28 w 580"/>
                  <a:gd name="T47" fmla="*/ 454 h 458"/>
                  <a:gd name="T48" fmla="*/ 56 w 580"/>
                  <a:gd name="T49" fmla="*/ 439 h 458"/>
                  <a:gd name="T50" fmla="*/ 56 w 580"/>
                  <a:gd name="T51" fmla="*/ 157 h 458"/>
                  <a:gd name="T52" fmla="*/ 165 w 580"/>
                  <a:gd name="T53" fmla="*/ 53 h 458"/>
                  <a:gd name="T54" fmla="*/ 180 w 580"/>
                  <a:gd name="T55" fmla="*/ 53 h 458"/>
                  <a:gd name="T56" fmla="*/ 196 w 580"/>
                  <a:gd name="T57" fmla="*/ 27 h 458"/>
                  <a:gd name="T58" fmla="*/ 154 w 580"/>
                  <a:gd name="T59" fmla="*/ 4 h 458"/>
                  <a:gd name="T60" fmla="*/ 0 w 580"/>
                  <a:gd name="T61" fmla="*/ 152 h 458"/>
                  <a:gd name="T62" fmla="*/ 0 w 580"/>
                  <a:gd name="T63" fmla="*/ 439 h 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80" h="458">
                    <a:moveTo>
                      <a:pt x="411" y="213"/>
                    </a:moveTo>
                    <a:cubicBezTo>
                      <a:pt x="570" y="37"/>
                      <a:pt x="570" y="37"/>
                      <a:pt x="570" y="37"/>
                    </a:cubicBezTo>
                    <a:cubicBezTo>
                      <a:pt x="576" y="30"/>
                      <a:pt x="580" y="25"/>
                      <a:pt x="580" y="20"/>
                    </a:cubicBezTo>
                    <a:cubicBezTo>
                      <a:pt x="580" y="10"/>
                      <a:pt x="559" y="0"/>
                      <a:pt x="545" y="0"/>
                    </a:cubicBezTo>
                    <a:cubicBezTo>
                      <a:pt x="535" y="0"/>
                      <a:pt x="526" y="8"/>
                      <a:pt x="519" y="16"/>
                    </a:cubicBezTo>
                    <a:cubicBezTo>
                      <a:pt x="344" y="210"/>
                      <a:pt x="344" y="210"/>
                      <a:pt x="344" y="210"/>
                    </a:cubicBezTo>
                    <a:cubicBezTo>
                      <a:pt x="336" y="219"/>
                      <a:pt x="334" y="224"/>
                      <a:pt x="334" y="229"/>
                    </a:cubicBezTo>
                    <a:cubicBezTo>
                      <a:pt x="334" y="234"/>
                      <a:pt x="336" y="239"/>
                      <a:pt x="344" y="248"/>
                    </a:cubicBezTo>
                    <a:cubicBezTo>
                      <a:pt x="519" y="442"/>
                      <a:pt x="519" y="442"/>
                      <a:pt x="519" y="442"/>
                    </a:cubicBezTo>
                    <a:cubicBezTo>
                      <a:pt x="526" y="450"/>
                      <a:pt x="535" y="458"/>
                      <a:pt x="545" y="458"/>
                    </a:cubicBezTo>
                    <a:cubicBezTo>
                      <a:pt x="559" y="458"/>
                      <a:pt x="580" y="448"/>
                      <a:pt x="580" y="438"/>
                    </a:cubicBezTo>
                    <a:cubicBezTo>
                      <a:pt x="580" y="433"/>
                      <a:pt x="576" y="428"/>
                      <a:pt x="570" y="421"/>
                    </a:cubicBezTo>
                    <a:cubicBezTo>
                      <a:pt x="411" y="245"/>
                      <a:pt x="411" y="245"/>
                      <a:pt x="411" y="245"/>
                    </a:cubicBezTo>
                    <a:cubicBezTo>
                      <a:pt x="403" y="236"/>
                      <a:pt x="399" y="232"/>
                      <a:pt x="399" y="229"/>
                    </a:cubicBezTo>
                    <a:cubicBezTo>
                      <a:pt x="399" y="226"/>
                      <a:pt x="403" y="222"/>
                      <a:pt x="411" y="213"/>
                    </a:cubicBezTo>
                    <a:moveTo>
                      <a:pt x="252" y="439"/>
                    </a:moveTo>
                    <a:cubicBezTo>
                      <a:pt x="252" y="449"/>
                      <a:pt x="261" y="454"/>
                      <a:pt x="281" y="454"/>
                    </a:cubicBezTo>
                    <a:cubicBezTo>
                      <a:pt x="300" y="454"/>
                      <a:pt x="309" y="449"/>
                      <a:pt x="309" y="439"/>
                    </a:cubicBezTo>
                    <a:cubicBezTo>
                      <a:pt x="309" y="19"/>
                      <a:pt x="309" y="19"/>
                      <a:pt x="309" y="19"/>
                    </a:cubicBezTo>
                    <a:cubicBezTo>
                      <a:pt x="309" y="9"/>
                      <a:pt x="300" y="4"/>
                      <a:pt x="281" y="4"/>
                    </a:cubicBezTo>
                    <a:cubicBezTo>
                      <a:pt x="261" y="4"/>
                      <a:pt x="252" y="9"/>
                      <a:pt x="252" y="19"/>
                    </a:cubicBezTo>
                    <a:lnTo>
                      <a:pt x="252" y="439"/>
                    </a:lnTo>
                    <a:close/>
                    <a:moveTo>
                      <a:pt x="0" y="439"/>
                    </a:moveTo>
                    <a:cubicBezTo>
                      <a:pt x="0" y="449"/>
                      <a:pt x="8" y="454"/>
                      <a:pt x="28" y="454"/>
                    </a:cubicBezTo>
                    <a:cubicBezTo>
                      <a:pt x="48" y="454"/>
                      <a:pt x="56" y="449"/>
                      <a:pt x="56" y="439"/>
                    </a:cubicBezTo>
                    <a:cubicBezTo>
                      <a:pt x="56" y="157"/>
                      <a:pt x="56" y="157"/>
                      <a:pt x="56" y="157"/>
                    </a:cubicBezTo>
                    <a:cubicBezTo>
                      <a:pt x="56" y="83"/>
                      <a:pt x="85" y="53"/>
                      <a:pt x="165" y="53"/>
                    </a:cubicBezTo>
                    <a:cubicBezTo>
                      <a:pt x="180" y="53"/>
                      <a:pt x="180" y="53"/>
                      <a:pt x="180" y="53"/>
                    </a:cubicBezTo>
                    <a:cubicBezTo>
                      <a:pt x="192" y="53"/>
                      <a:pt x="196" y="43"/>
                      <a:pt x="196" y="27"/>
                    </a:cubicBezTo>
                    <a:cubicBezTo>
                      <a:pt x="196" y="8"/>
                      <a:pt x="185" y="4"/>
                      <a:pt x="154" y="4"/>
                    </a:cubicBezTo>
                    <a:cubicBezTo>
                      <a:pt x="64" y="4"/>
                      <a:pt x="0" y="43"/>
                      <a:pt x="0" y="152"/>
                    </a:cubicBezTo>
                    <a:lnTo>
                      <a:pt x="0" y="43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25" name="Freeform 10">
                <a:extLst>
                  <a:ext uri="{FF2B5EF4-FFF2-40B4-BE49-F238E27FC236}">
                    <a16:creationId xmlns:a16="http://schemas.microsoft.com/office/drawing/2014/main" id="{2B91B16B-BC11-E547-8FAC-B9B8D18EA449}"/>
                  </a:ext>
                </a:extLst>
              </p:cNvPr>
              <p:cNvSpPr>
                <a:spLocks/>
              </p:cNvSpPr>
              <p:nvPr/>
            </p:nvSpPr>
            <p:spPr bwMode="gray">
              <a:xfrm>
                <a:off x="2880" y="1704"/>
                <a:ext cx="618" cy="916"/>
              </a:xfrm>
              <a:custGeom>
                <a:avLst/>
                <a:gdLst>
                  <a:gd name="T0" fmla="*/ 307 w 307"/>
                  <a:gd name="T1" fmla="*/ 405 h 455"/>
                  <a:gd name="T2" fmla="*/ 307 w 307"/>
                  <a:gd name="T3" fmla="*/ 244 h 455"/>
                  <a:gd name="T4" fmla="*/ 279 w 307"/>
                  <a:gd name="T5" fmla="*/ 229 h 455"/>
                  <a:gd name="T6" fmla="*/ 250 w 307"/>
                  <a:gd name="T7" fmla="*/ 244 h 455"/>
                  <a:gd name="T8" fmla="*/ 250 w 307"/>
                  <a:gd name="T9" fmla="*/ 378 h 455"/>
                  <a:gd name="T10" fmla="*/ 199 w 307"/>
                  <a:gd name="T11" fmla="*/ 408 h 455"/>
                  <a:gd name="T12" fmla="*/ 61 w 307"/>
                  <a:gd name="T13" fmla="*/ 231 h 455"/>
                  <a:gd name="T14" fmla="*/ 238 w 307"/>
                  <a:gd name="T15" fmla="*/ 49 h 455"/>
                  <a:gd name="T16" fmla="*/ 270 w 307"/>
                  <a:gd name="T17" fmla="*/ 49 h 455"/>
                  <a:gd name="T18" fmla="*/ 286 w 307"/>
                  <a:gd name="T19" fmla="*/ 23 h 455"/>
                  <a:gd name="T20" fmla="*/ 244 w 307"/>
                  <a:gd name="T21" fmla="*/ 0 h 455"/>
                  <a:gd name="T22" fmla="*/ 231 w 307"/>
                  <a:gd name="T23" fmla="*/ 0 h 455"/>
                  <a:gd name="T24" fmla="*/ 0 w 307"/>
                  <a:gd name="T25" fmla="*/ 232 h 455"/>
                  <a:gd name="T26" fmla="*/ 198 w 307"/>
                  <a:gd name="T27" fmla="*/ 455 h 455"/>
                  <a:gd name="T28" fmla="*/ 307 w 307"/>
                  <a:gd name="T29" fmla="*/ 405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7" h="455">
                    <a:moveTo>
                      <a:pt x="307" y="405"/>
                    </a:moveTo>
                    <a:cubicBezTo>
                      <a:pt x="307" y="244"/>
                      <a:pt x="307" y="244"/>
                      <a:pt x="307" y="244"/>
                    </a:cubicBezTo>
                    <a:cubicBezTo>
                      <a:pt x="307" y="234"/>
                      <a:pt x="298" y="229"/>
                      <a:pt x="279" y="229"/>
                    </a:cubicBezTo>
                    <a:cubicBezTo>
                      <a:pt x="259" y="229"/>
                      <a:pt x="250" y="234"/>
                      <a:pt x="250" y="244"/>
                    </a:cubicBezTo>
                    <a:cubicBezTo>
                      <a:pt x="250" y="378"/>
                      <a:pt x="250" y="378"/>
                      <a:pt x="250" y="378"/>
                    </a:cubicBezTo>
                    <a:cubicBezTo>
                      <a:pt x="250" y="399"/>
                      <a:pt x="241" y="408"/>
                      <a:pt x="199" y="408"/>
                    </a:cubicBezTo>
                    <a:cubicBezTo>
                      <a:pt x="114" y="408"/>
                      <a:pt x="61" y="342"/>
                      <a:pt x="61" y="231"/>
                    </a:cubicBezTo>
                    <a:cubicBezTo>
                      <a:pt x="61" y="115"/>
                      <a:pt x="126" y="49"/>
                      <a:pt x="238" y="49"/>
                    </a:cubicBezTo>
                    <a:cubicBezTo>
                      <a:pt x="270" y="49"/>
                      <a:pt x="270" y="49"/>
                      <a:pt x="270" y="49"/>
                    </a:cubicBezTo>
                    <a:cubicBezTo>
                      <a:pt x="282" y="49"/>
                      <a:pt x="286" y="39"/>
                      <a:pt x="286" y="23"/>
                    </a:cubicBezTo>
                    <a:cubicBezTo>
                      <a:pt x="286" y="4"/>
                      <a:pt x="275" y="0"/>
                      <a:pt x="244" y="0"/>
                    </a:cubicBezTo>
                    <a:cubicBezTo>
                      <a:pt x="231" y="0"/>
                      <a:pt x="231" y="0"/>
                      <a:pt x="231" y="0"/>
                    </a:cubicBezTo>
                    <a:cubicBezTo>
                      <a:pt x="101" y="0"/>
                      <a:pt x="0" y="71"/>
                      <a:pt x="0" y="232"/>
                    </a:cubicBezTo>
                    <a:cubicBezTo>
                      <a:pt x="0" y="386"/>
                      <a:pt x="88" y="455"/>
                      <a:pt x="198" y="455"/>
                    </a:cubicBezTo>
                    <a:cubicBezTo>
                      <a:pt x="286" y="455"/>
                      <a:pt x="307" y="430"/>
                      <a:pt x="307" y="40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26" name="Oval 11">
                <a:extLst>
                  <a:ext uri="{FF2B5EF4-FFF2-40B4-BE49-F238E27FC236}">
                    <a16:creationId xmlns:a16="http://schemas.microsoft.com/office/drawing/2014/main" id="{14F8C3C8-4888-7646-B9B4-64EB46A1DA23}"/>
                  </a:ext>
                </a:extLst>
              </p:cNvPr>
              <p:cNvSpPr>
                <a:spLocks noChangeArrowheads="1"/>
              </p:cNvSpPr>
              <p:nvPr/>
            </p:nvSpPr>
            <p:spPr bwMode="gray">
              <a:xfrm>
                <a:off x="3778" y="2099"/>
                <a:ext cx="122" cy="12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27" name="Freeform 12">
                <a:extLst>
                  <a:ext uri="{FF2B5EF4-FFF2-40B4-BE49-F238E27FC236}">
                    <a16:creationId xmlns:a16="http://schemas.microsoft.com/office/drawing/2014/main" id="{D79D01D1-4E3E-F34B-97D7-2D387E68746E}"/>
                  </a:ext>
                </a:extLst>
              </p:cNvPr>
              <p:cNvSpPr>
                <a:spLocks/>
              </p:cNvSpPr>
              <p:nvPr/>
            </p:nvSpPr>
            <p:spPr bwMode="gray">
              <a:xfrm>
                <a:off x="4321" y="1029"/>
                <a:ext cx="648" cy="649"/>
              </a:xfrm>
              <a:custGeom>
                <a:avLst/>
                <a:gdLst>
                  <a:gd name="T0" fmla="*/ 0 w 648"/>
                  <a:gd name="T1" fmla="*/ 649 h 649"/>
                  <a:gd name="T2" fmla="*/ 2 w 648"/>
                  <a:gd name="T3" fmla="*/ 649 h 649"/>
                  <a:gd name="T4" fmla="*/ 648 w 648"/>
                  <a:gd name="T5" fmla="*/ 0 h 649"/>
                  <a:gd name="T6" fmla="*/ 423 w 648"/>
                  <a:gd name="T7" fmla="*/ 0 h 649"/>
                  <a:gd name="T8" fmla="*/ 0 w 648"/>
                  <a:gd name="T9" fmla="*/ 649 h 649"/>
                </a:gdLst>
                <a:ahLst/>
                <a:cxnLst>
                  <a:cxn ang="0">
                    <a:pos x="T0" y="T1"/>
                  </a:cxn>
                  <a:cxn ang="0">
                    <a:pos x="T2" y="T3"/>
                  </a:cxn>
                  <a:cxn ang="0">
                    <a:pos x="T4" y="T5"/>
                  </a:cxn>
                  <a:cxn ang="0">
                    <a:pos x="T6" y="T7"/>
                  </a:cxn>
                  <a:cxn ang="0">
                    <a:pos x="T8" y="T9"/>
                  </a:cxn>
                </a:cxnLst>
                <a:rect l="0" t="0" r="r" b="b"/>
                <a:pathLst>
                  <a:path w="648" h="649">
                    <a:moveTo>
                      <a:pt x="0" y="649"/>
                    </a:moveTo>
                    <a:lnTo>
                      <a:pt x="2" y="649"/>
                    </a:lnTo>
                    <a:lnTo>
                      <a:pt x="648" y="0"/>
                    </a:lnTo>
                    <a:lnTo>
                      <a:pt x="423" y="0"/>
                    </a:lnTo>
                    <a:lnTo>
                      <a:pt x="0" y="64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28" name="Freeform 13">
                <a:extLst>
                  <a:ext uri="{FF2B5EF4-FFF2-40B4-BE49-F238E27FC236}">
                    <a16:creationId xmlns:a16="http://schemas.microsoft.com/office/drawing/2014/main" id="{46549898-6C52-B147-A8F6-A73FDBE6163B}"/>
                  </a:ext>
                </a:extLst>
              </p:cNvPr>
              <p:cNvSpPr>
                <a:spLocks/>
              </p:cNvSpPr>
              <p:nvPr/>
            </p:nvSpPr>
            <p:spPr bwMode="gray">
              <a:xfrm>
                <a:off x="4321" y="1029"/>
                <a:ext cx="648" cy="649"/>
              </a:xfrm>
              <a:custGeom>
                <a:avLst/>
                <a:gdLst>
                  <a:gd name="T0" fmla="*/ 0 w 648"/>
                  <a:gd name="T1" fmla="*/ 649 h 649"/>
                  <a:gd name="T2" fmla="*/ 2 w 648"/>
                  <a:gd name="T3" fmla="*/ 649 h 649"/>
                  <a:gd name="T4" fmla="*/ 648 w 648"/>
                  <a:gd name="T5" fmla="*/ 0 h 649"/>
                  <a:gd name="T6" fmla="*/ 423 w 648"/>
                  <a:gd name="T7" fmla="*/ 0 h 649"/>
                  <a:gd name="T8" fmla="*/ 0 w 648"/>
                  <a:gd name="T9" fmla="*/ 649 h 649"/>
                </a:gdLst>
                <a:ahLst/>
                <a:cxnLst>
                  <a:cxn ang="0">
                    <a:pos x="T0" y="T1"/>
                  </a:cxn>
                  <a:cxn ang="0">
                    <a:pos x="T2" y="T3"/>
                  </a:cxn>
                  <a:cxn ang="0">
                    <a:pos x="T4" y="T5"/>
                  </a:cxn>
                  <a:cxn ang="0">
                    <a:pos x="T6" y="T7"/>
                  </a:cxn>
                  <a:cxn ang="0">
                    <a:pos x="T8" y="T9"/>
                  </a:cxn>
                </a:cxnLst>
                <a:rect l="0" t="0" r="r" b="b"/>
                <a:pathLst>
                  <a:path w="648" h="649">
                    <a:moveTo>
                      <a:pt x="0" y="649"/>
                    </a:moveTo>
                    <a:lnTo>
                      <a:pt x="2" y="649"/>
                    </a:lnTo>
                    <a:lnTo>
                      <a:pt x="648" y="0"/>
                    </a:lnTo>
                    <a:lnTo>
                      <a:pt x="423" y="0"/>
                    </a:lnTo>
                    <a:lnTo>
                      <a:pt x="0" y="64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grpSp>
      </p:grpSp>
      <p:sp>
        <p:nvSpPr>
          <p:cNvPr id="7" name="Date Placeholder 6"/>
          <p:cNvSpPr>
            <a:spLocks noGrp="1"/>
          </p:cNvSpPr>
          <p:nvPr>
            <p:ph type="dt" sz="half" idx="10"/>
          </p:nvPr>
        </p:nvSpPr>
        <p:spPr>
          <a:xfrm>
            <a:off x="0" y="0"/>
            <a:ext cx="0" cy="0"/>
          </a:xfrm>
          <a:prstGeom prst="rect">
            <a:avLst/>
          </a:prstGeom>
        </p:spPr>
        <p:txBody>
          <a:bodyPr/>
          <a:lstStyle>
            <a:lvl1pPr>
              <a:defRPr sz="100">
                <a:noFill/>
              </a:defRPr>
            </a:lvl1pPr>
          </a:lstStyle>
          <a:p>
            <a:endParaRPr lang="en-US"/>
          </a:p>
        </p:txBody>
      </p:sp>
      <p:sp>
        <p:nvSpPr>
          <p:cNvPr id="8" name="Footer Placeholder 7"/>
          <p:cNvSpPr>
            <a:spLocks noGrp="1"/>
          </p:cNvSpPr>
          <p:nvPr>
            <p:ph type="ftr" sz="quarter" idx="11"/>
          </p:nvPr>
        </p:nvSpPr>
        <p:spPr>
          <a:xfrm>
            <a:off x="0" y="0"/>
            <a:ext cx="0" cy="0"/>
          </a:xfrm>
          <a:prstGeom prst="rect">
            <a:avLst/>
          </a:prstGeom>
        </p:spPr>
        <p:txBody>
          <a:bodyPr/>
          <a:lstStyle>
            <a:lvl1pPr marL="0" indent="0">
              <a:buNone/>
              <a:defRPr sz="100">
                <a:noFill/>
              </a:defRPr>
            </a:lvl1pPr>
          </a:lstStyle>
          <a:p>
            <a:endParaRPr lang="en-US"/>
          </a:p>
        </p:txBody>
      </p:sp>
      <p:sp>
        <p:nvSpPr>
          <p:cNvPr id="9" name="Slide Number Placeholder 8"/>
          <p:cNvSpPr>
            <a:spLocks noGrp="1"/>
          </p:cNvSpPr>
          <p:nvPr>
            <p:ph type="sldNum" sz="quarter" idx="12"/>
          </p:nvPr>
        </p:nvSpPr>
        <p:spPr>
          <a:xfrm>
            <a:off x="0" y="0"/>
            <a:ext cx="0" cy="0"/>
          </a:xfrm>
          <a:prstGeom prst="rect">
            <a:avLst/>
          </a:prstGeom>
        </p:spPr>
        <p:txBody>
          <a:bodyPr/>
          <a:lstStyle>
            <a:lvl1pPr>
              <a:defRPr sz="100">
                <a:noFill/>
              </a:defRPr>
            </a:lvl1pPr>
          </a:lstStyle>
          <a:p>
            <a:fld id="{8E3B25F7-8D1F-44B5-B485-EE3C438CFD7B}" type="slidenum">
              <a:rPr lang="en-US" smtClean="0"/>
              <a:pPr/>
              <a:t>‹#›</a:t>
            </a:fld>
            <a:endParaRPr lang="en-US"/>
          </a:p>
        </p:txBody>
      </p:sp>
      <p:sp>
        <p:nvSpPr>
          <p:cNvPr id="2" name="Title 1"/>
          <p:cNvSpPr>
            <a:spLocks noGrp="1"/>
          </p:cNvSpPr>
          <p:nvPr>
            <p:ph type="ctrTitle" hasCustomPrompt="1"/>
          </p:nvPr>
        </p:nvSpPr>
        <p:spPr>
          <a:xfrm>
            <a:off x="417600" y="1628775"/>
            <a:ext cx="3816000" cy="2236264"/>
          </a:xfrm>
        </p:spPr>
        <p:txBody>
          <a:bodyPr anchor="b"/>
          <a:lstStyle>
            <a:lvl1pPr algn="l">
              <a:defRPr sz="3600" baseline="0"/>
            </a:lvl1pPr>
          </a:lstStyle>
          <a:p>
            <a:r>
              <a:rPr lang="en-US"/>
              <a:t>Click to add presentation title</a:t>
            </a:r>
          </a:p>
        </p:txBody>
      </p:sp>
      <p:sp>
        <p:nvSpPr>
          <p:cNvPr id="3" name="Subtitle 2"/>
          <p:cNvSpPr>
            <a:spLocks noGrp="1"/>
          </p:cNvSpPr>
          <p:nvPr>
            <p:ph type="subTitle" idx="1" hasCustomPrompt="1"/>
          </p:nvPr>
        </p:nvSpPr>
        <p:spPr>
          <a:xfrm>
            <a:off x="417600" y="4094163"/>
            <a:ext cx="3816000" cy="1080000"/>
          </a:xfrm>
        </p:spPr>
        <p:txBody>
          <a:bodyPr/>
          <a:lstStyle>
            <a:lvl1pPr marL="0" indent="0" algn="l">
              <a:spcBef>
                <a:spcPts val="0"/>
              </a:spcBef>
              <a:buNone/>
              <a:defRPr sz="1800" b="1"/>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sp>
        <p:nvSpPr>
          <p:cNvPr id="31" name="Text Placeholder 30"/>
          <p:cNvSpPr>
            <a:spLocks noGrp="1"/>
          </p:cNvSpPr>
          <p:nvPr>
            <p:ph type="body" sz="quarter" idx="14" hasCustomPrompt="1"/>
          </p:nvPr>
        </p:nvSpPr>
        <p:spPr>
          <a:xfrm>
            <a:off x="417600" y="5393268"/>
            <a:ext cx="3816000" cy="296332"/>
          </a:xfrm>
        </p:spPr>
        <p:txBody>
          <a:bodyPr wrap="none"/>
          <a:lstStyle>
            <a:lvl1pPr marL="0" indent="0">
              <a:spcBef>
                <a:spcPts val="0"/>
              </a:spcBef>
              <a:buNone/>
              <a:defRPr sz="1200"/>
            </a:lvl1pPr>
            <a:lvl2pPr marL="0" indent="0">
              <a:buNone/>
              <a:defRPr sz="1200"/>
            </a:lvl2pPr>
            <a:lvl3pPr marL="0" indent="0">
              <a:buNone/>
              <a:defRPr sz="1200"/>
            </a:lvl3pPr>
            <a:lvl4pPr marL="0">
              <a:buNone/>
              <a:defRPr sz="1200"/>
            </a:lvl4pPr>
            <a:lvl5pPr marL="0" indent="0">
              <a:buNone/>
              <a:defRPr sz="1200"/>
            </a:lvl5pPr>
          </a:lstStyle>
          <a:p>
            <a:pPr lvl="0"/>
            <a:r>
              <a:rPr lang="en-US"/>
              <a:t>Name</a:t>
            </a:r>
          </a:p>
        </p:txBody>
      </p:sp>
      <p:sp>
        <p:nvSpPr>
          <p:cNvPr id="34" name="Text Placeholder 30"/>
          <p:cNvSpPr>
            <a:spLocks noGrp="1"/>
          </p:cNvSpPr>
          <p:nvPr>
            <p:ph type="body" sz="quarter" idx="15" hasCustomPrompt="1"/>
          </p:nvPr>
        </p:nvSpPr>
        <p:spPr>
          <a:xfrm>
            <a:off x="417600" y="5691446"/>
            <a:ext cx="3816000" cy="296332"/>
          </a:xfrm>
        </p:spPr>
        <p:txBody>
          <a:bodyPr wrap="none"/>
          <a:lstStyle>
            <a:lvl1pPr marL="0" indent="0">
              <a:spcBef>
                <a:spcPts val="0"/>
              </a:spcBef>
              <a:buNone/>
              <a:defRPr sz="1200"/>
            </a:lvl1pPr>
            <a:lvl2pPr marL="0" indent="0">
              <a:buNone/>
              <a:defRPr sz="1200"/>
            </a:lvl2pPr>
            <a:lvl3pPr marL="0" indent="0">
              <a:buNone/>
              <a:defRPr sz="1200"/>
            </a:lvl3pPr>
            <a:lvl4pPr marL="0">
              <a:buNone/>
              <a:defRPr sz="1200"/>
            </a:lvl4pPr>
            <a:lvl5pPr marL="0" indent="0">
              <a:buNone/>
              <a:defRPr sz="1200"/>
            </a:lvl5pPr>
          </a:lstStyle>
          <a:p>
            <a:pPr lvl="0"/>
            <a:r>
              <a:rPr lang="en-US"/>
              <a:t>Department</a:t>
            </a:r>
          </a:p>
        </p:txBody>
      </p:sp>
    </p:spTree>
    <p:extLst>
      <p:ext uri="{BB962C8B-B14F-4D97-AF65-F5344CB8AC3E}">
        <p14:creationId xmlns:p14="http://schemas.microsoft.com/office/powerpoint/2010/main" val="4064326713"/>
      </p:ext>
    </p:extLst>
  </p:cSld>
  <p:clrMapOvr>
    <a:masterClrMapping/>
  </p:clrMapOvr>
</p:sldLayout>
</file>

<file path=ppt/slideLayouts/slideLayout361.xml><?xml version="1.0" encoding="utf-8"?>
<p:sldLayout xmlns:a="http://schemas.openxmlformats.org/drawingml/2006/main" xmlns:r="http://schemas.openxmlformats.org/officeDocument/2006/relationships" xmlns:p="http://schemas.openxmlformats.org/presentationml/2006/main" showMasterSp="0" preserve="1">
  <p:cSld name="Title 2">
    <p:spTree>
      <p:nvGrpSpPr>
        <p:cNvPr id="1" name=""/>
        <p:cNvGrpSpPr/>
        <p:nvPr/>
      </p:nvGrpSpPr>
      <p:grpSpPr>
        <a:xfrm>
          <a:off x="0" y="0"/>
          <a:ext cx="0" cy="0"/>
          <a:chOff x="0" y="0"/>
          <a:chExt cx="0" cy="0"/>
        </a:xfrm>
      </p:grpSpPr>
      <p:pic>
        <p:nvPicPr>
          <p:cNvPr id="29" name="picture">
            <a:extLst>
              <a:ext uri="{FF2B5EF4-FFF2-40B4-BE49-F238E27FC236}">
                <a16:creationId xmlns:a16="http://schemas.microsoft.com/office/drawing/2014/main" id="{8BF907F5-A9CD-2740-AF54-6BACB62334AE}"/>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2620212" y="-8808"/>
            <a:ext cx="9697299" cy="6866807"/>
          </a:xfrm>
          <a:prstGeom prst="rect">
            <a:avLst/>
          </a:prstGeom>
        </p:spPr>
      </p:pic>
      <p:sp>
        <p:nvSpPr>
          <p:cNvPr id="32" name="shpPicture"/>
          <p:cNvSpPr/>
          <p:nvPr/>
        </p:nvSpPr>
        <p:spPr>
          <a:xfrm>
            <a:off x="1" y="0"/>
            <a:ext cx="4112145" cy="6858000"/>
          </a:xfrm>
          <a:custGeom>
            <a:avLst/>
            <a:gdLst>
              <a:gd name="connsiteX0" fmla="*/ 0 w 4112145"/>
              <a:gd name="connsiteY0" fmla="*/ 0 h 6858000"/>
              <a:gd name="connsiteX1" fmla="*/ 2588964 w 4112145"/>
              <a:gd name="connsiteY1" fmla="*/ 0 h 6858000"/>
              <a:gd name="connsiteX2" fmla="*/ 4112145 w 4112145"/>
              <a:gd name="connsiteY2" fmla="*/ 3083531 h 6858000"/>
              <a:gd name="connsiteX3" fmla="*/ 2697661 w 4112145"/>
              <a:gd name="connsiteY3" fmla="*/ 6858000 h 6858000"/>
              <a:gd name="connsiteX4" fmla="*/ 0 w 4112145"/>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12145" h="6858000">
                <a:moveTo>
                  <a:pt x="0" y="0"/>
                </a:moveTo>
                <a:lnTo>
                  <a:pt x="2588964" y="0"/>
                </a:lnTo>
                <a:lnTo>
                  <a:pt x="4112145" y="3083531"/>
                </a:lnTo>
                <a:lnTo>
                  <a:pt x="2697661"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US" sz="1600"/>
          </a:p>
        </p:txBody>
      </p:sp>
      <p:grpSp>
        <p:nvGrpSpPr>
          <p:cNvPr id="14" name="logo">
            <a:extLst>
              <a:ext uri="{FF2B5EF4-FFF2-40B4-BE49-F238E27FC236}">
                <a16:creationId xmlns:a16="http://schemas.microsoft.com/office/drawing/2014/main" id="{18C26D95-70F8-8A4D-9F18-DCCB92522AF8}"/>
              </a:ext>
            </a:extLst>
          </p:cNvPr>
          <p:cNvGrpSpPr/>
          <p:nvPr/>
        </p:nvGrpSpPr>
        <p:grpSpPr bwMode="gray">
          <a:xfrm>
            <a:off x="417363" y="407485"/>
            <a:ext cx="1518585" cy="646507"/>
            <a:chOff x="334963" y="296652"/>
            <a:chExt cx="1268411" cy="540000"/>
          </a:xfrm>
        </p:grpSpPr>
        <p:sp>
          <p:nvSpPr>
            <p:cNvPr id="17" name="Freeform 6">
              <a:extLst>
                <a:ext uri="{FF2B5EF4-FFF2-40B4-BE49-F238E27FC236}">
                  <a16:creationId xmlns:a16="http://schemas.microsoft.com/office/drawing/2014/main" id="{08737AD0-E375-E445-97E6-CD2E2DF60620}"/>
                </a:ext>
              </a:extLst>
            </p:cNvPr>
            <p:cNvSpPr>
              <a:spLocks noEditPoints="1"/>
            </p:cNvSpPr>
            <p:nvPr/>
          </p:nvSpPr>
          <p:spPr bwMode="gray">
            <a:xfrm>
              <a:off x="982662" y="360462"/>
              <a:ext cx="620712" cy="431800"/>
            </a:xfrm>
            <a:custGeom>
              <a:avLst/>
              <a:gdLst>
                <a:gd name="T0" fmla="*/ 19 w 1809"/>
                <a:gd name="T1" fmla="*/ 97 h 1253"/>
                <a:gd name="T2" fmla="*/ 165 w 1809"/>
                <a:gd name="T3" fmla="*/ 41 h 1253"/>
                <a:gd name="T4" fmla="*/ 211 w 1809"/>
                <a:gd name="T5" fmla="*/ 224 h 1253"/>
                <a:gd name="T6" fmla="*/ 248 w 1809"/>
                <a:gd name="T7" fmla="*/ 155 h 1253"/>
                <a:gd name="T8" fmla="*/ 931 w 1809"/>
                <a:gd name="T9" fmla="*/ 995 h 1253"/>
                <a:gd name="T10" fmla="*/ 858 w 1809"/>
                <a:gd name="T11" fmla="*/ 1115 h 1253"/>
                <a:gd name="T12" fmla="*/ 749 w 1809"/>
                <a:gd name="T13" fmla="*/ 1117 h 1253"/>
                <a:gd name="T14" fmla="*/ 681 w 1809"/>
                <a:gd name="T15" fmla="*/ 1055 h 1253"/>
                <a:gd name="T16" fmla="*/ 800 w 1809"/>
                <a:gd name="T17" fmla="*/ 1054 h 1253"/>
                <a:gd name="T18" fmla="*/ 884 w 1809"/>
                <a:gd name="T19" fmla="*/ 1181 h 1253"/>
                <a:gd name="T20" fmla="*/ 118 w 1809"/>
                <a:gd name="T21" fmla="*/ 1086 h 1253"/>
                <a:gd name="T22" fmla="*/ 147 w 1809"/>
                <a:gd name="T23" fmla="*/ 1026 h 1253"/>
                <a:gd name="T24" fmla="*/ 102 w 1809"/>
                <a:gd name="T25" fmla="*/ 1026 h 1253"/>
                <a:gd name="T26" fmla="*/ 639 w 1809"/>
                <a:gd name="T27" fmla="*/ 84 h 1253"/>
                <a:gd name="T28" fmla="*/ 763 w 1809"/>
                <a:gd name="T29" fmla="*/ 145 h 1253"/>
                <a:gd name="T30" fmla="*/ 863 w 1809"/>
                <a:gd name="T31" fmla="*/ 221 h 1253"/>
                <a:gd name="T32" fmla="*/ 834 w 1809"/>
                <a:gd name="T33" fmla="*/ 208 h 1253"/>
                <a:gd name="T34" fmla="*/ 719 w 1809"/>
                <a:gd name="T35" fmla="*/ 182 h 1253"/>
                <a:gd name="T36" fmla="*/ 507 w 1809"/>
                <a:gd name="T37" fmla="*/ 711 h 1253"/>
                <a:gd name="T38" fmla="*/ 614 w 1809"/>
                <a:gd name="T39" fmla="*/ 706 h 1253"/>
                <a:gd name="T40" fmla="*/ 736 w 1809"/>
                <a:gd name="T41" fmla="*/ 730 h 1253"/>
                <a:gd name="T42" fmla="*/ 607 w 1809"/>
                <a:gd name="T43" fmla="*/ 539 h 1253"/>
                <a:gd name="T44" fmla="*/ 1505 w 1809"/>
                <a:gd name="T45" fmla="*/ 1136 h 1253"/>
                <a:gd name="T46" fmla="*/ 1613 w 1809"/>
                <a:gd name="T47" fmla="*/ 1002 h 1253"/>
                <a:gd name="T48" fmla="*/ 1472 w 1809"/>
                <a:gd name="T49" fmla="*/ 1164 h 1253"/>
                <a:gd name="T50" fmla="*/ 1525 w 1809"/>
                <a:gd name="T51" fmla="*/ 1142 h 1253"/>
                <a:gd name="T52" fmla="*/ 1556 w 1809"/>
                <a:gd name="T53" fmla="*/ 1172 h 1253"/>
                <a:gd name="T54" fmla="*/ 1387 w 1809"/>
                <a:gd name="T55" fmla="*/ 910 h 1253"/>
                <a:gd name="T56" fmla="*/ 1261 w 1809"/>
                <a:gd name="T57" fmla="*/ 1157 h 1253"/>
                <a:gd name="T58" fmla="*/ 1413 w 1809"/>
                <a:gd name="T59" fmla="*/ 934 h 1253"/>
                <a:gd name="T60" fmla="*/ 1378 w 1809"/>
                <a:gd name="T61" fmla="*/ 1052 h 1253"/>
                <a:gd name="T62" fmla="*/ 488 w 1809"/>
                <a:gd name="T63" fmla="*/ 85 h 1253"/>
                <a:gd name="T64" fmla="*/ 509 w 1809"/>
                <a:gd name="T65" fmla="*/ 112 h 1253"/>
                <a:gd name="T66" fmla="*/ 548 w 1809"/>
                <a:gd name="T67" fmla="*/ 1187 h 1253"/>
                <a:gd name="T68" fmla="*/ 472 w 1809"/>
                <a:gd name="T69" fmla="*/ 1122 h 1253"/>
                <a:gd name="T70" fmla="*/ 558 w 1809"/>
                <a:gd name="T71" fmla="*/ 1157 h 1253"/>
                <a:gd name="T72" fmla="*/ 287 w 1809"/>
                <a:gd name="T73" fmla="*/ 654 h 1253"/>
                <a:gd name="T74" fmla="*/ 416 w 1809"/>
                <a:gd name="T75" fmla="*/ 684 h 1253"/>
                <a:gd name="T76" fmla="*/ 1106 w 1809"/>
                <a:gd name="T77" fmla="*/ 147 h 1253"/>
                <a:gd name="T78" fmla="*/ 1229 w 1809"/>
                <a:gd name="T79" fmla="*/ 258 h 1253"/>
                <a:gd name="T80" fmla="*/ 1106 w 1809"/>
                <a:gd name="T81" fmla="*/ 96 h 1253"/>
                <a:gd name="T82" fmla="*/ 1219 w 1809"/>
                <a:gd name="T83" fmla="*/ 1077 h 1253"/>
                <a:gd name="T84" fmla="*/ 1214 w 1809"/>
                <a:gd name="T85" fmla="*/ 1157 h 1253"/>
                <a:gd name="T86" fmla="*/ 1150 w 1809"/>
                <a:gd name="T87" fmla="*/ 1092 h 1253"/>
                <a:gd name="T88" fmla="*/ 1139 w 1809"/>
                <a:gd name="T89" fmla="*/ 1070 h 1253"/>
                <a:gd name="T90" fmla="*/ 1659 w 1809"/>
                <a:gd name="T91" fmla="*/ 1031 h 1253"/>
                <a:gd name="T92" fmla="*/ 1714 w 1809"/>
                <a:gd name="T93" fmla="*/ 1155 h 1253"/>
                <a:gd name="T94" fmla="*/ 1760 w 1809"/>
                <a:gd name="T95" fmla="*/ 1030 h 1253"/>
                <a:gd name="T96" fmla="*/ 111 w 1809"/>
                <a:gd name="T97" fmla="*/ 569 h 1253"/>
                <a:gd name="T98" fmla="*/ 109 w 1809"/>
                <a:gd name="T99" fmla="*/ 460 h 1253"/>
                <a:gd name="T100" fmla="*/ 32 w 1809"/>
                <a:gd name="T101" fmla="*/ 704 h 1253"/>
                <a:gd name="T102" fmla="*/ 310 w 1809"/>
                <a:gd name="T103" fmla="*/ 1058 h 1253"/>
                <a:gd name="T104" fmla="*/ 431 w 1809"/>
                <a:gd name="T105" fmla="*/ 1044 h 1253"/>
                <a:gd name="T106" fmla="*/ 278 w 1809"/>
                <a:gd name="T107" fmla="*/ 1165 h 1253"/>
                <a:gd name="T108" fmla="*/ 261 w 1809"/>
                <a:gd name="T109" fmla="*/ 540 h 1253"/>
                <a:gd name="T110" fmla="*/ 150 w 1809"/>
                <a:gd name="T111" fmla="*/ 635 h 1253"/>
                <a:gd name="T112" fmla="*/ 994 w 1809"/>
                <a:gd name="T113" fmla="*/ 1185 h 1253"/>
                <a:gd name="T114" fmla="*/ 331 w 1809"/>
                <a:gd name="T115" fmla="*/ 176 h 1253"/>
                <a:gd name="T116" fmla="*/ 333 w 1809"/>
                <a:gd name="T117" fmla="*/ 109 h 1253"/>
                <a:gd name="T118" fmla="*/ 946 w 1809"/>
                <a:gd name="T119" fmla="*/ 234 h 1253"/>
                <a:gd name="T120" fmla="*/ 1022 w 1809"/>
                <a:gd name="T121" fmla="*/ 113 h 1253"/>
                <a:gd name="T122" fmla="*/ 949 w 1809"/>
                <a:gd name="T123" fmla="*/ 65 h 1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09" h="1253">
                  <a:moveTo>
                    <a:pt x="248" y="198"/>
                  </a:moveTo>
                  <a:cubicBezTo>
                    <a:pt x="248" y="211"/>
                    <a:pt x="248" y="224"/>
                    <a:pt x="249" y="237"/>
                  </a:cubicBezTo>
                  <a:cubicBezTo>
                    <a:pt x="249" y="245"/>
                    <a:pt x="246" y="249"/>
                    <a:pt x="240" y="253"/>
                  </a:cubicBezTo>
                  <a:cubicBezTo>
                    <a:pt x="231" y="260"/>
                    <a:pt x="220" y="264"/>
                    <a:pt x="209" y="268"/>
                  </a:cubicBezTo>
                  <a:cubicBezTo>
                    <a:pt x="179" y="279"/>
                    <a:pt x="148" y="280"/>
                    <a:pt x="118" y="275"/>
                  </a:cubicBezTo>
                  <a:cubicBezTo>
                    <a:pt x="86" y="269"/>
                    <a:pt x="58" y="252"/>
                    <a:pt x="39" y="224"/>
                  </a:cubicBezTo>
                  <a:cubicBezTo>
                    <a:pt x="24" y="203"/>
                    <a:pt x="18" y="180"/>
                    <a:pt x="15" y="155"/>
                  </a:cubicBezTo>
                  <a:cubicBezTo>
                    <a:pt x="11" y="135"/>
                    <a:pt x="15" y="115"/>
                    <a:pt x="19" y="97"/>
                  </a:cubicBezTo>
                  <a:cubicBezTo>
                    <a:pt x="26" y="68"/>
                    <a:pt x="42" y="44"/>
                    <a:pt x="68" y="27"/>
                  </a:cubicBezTo>
                  <a:cubicBezTo>
                    <a:pt x="87" y="14"/>
                    <a:pt x="109" y="6"/>
                    <a:pt x="133" y="5"/>
                  </a:cubicBezTo>
                  <a:cubicBezTo>
                    <a:pt x="149" y="4"/>
                    <a:pt x="165" y="5"/>
                    <a:pt x="181" y="6"/>
                  </a:cubicBezTo>
                  <a:cubicBezTo>
                    <a:pt x="204" y="8"/>
                    <a:pt x="225" y="20"/>
                    <a:pt x="243" y="35"/>
                  </a:cubicBezTo>
                  <a:cubicBezTo>
                    <a:pt x="246" y="37"/>
                    <a:pt x="246" y="40"/>
                    <a:pt x="244" y="43"/>
                  </a:cubicBezTo>
                  <a:cubicBezTo>
                    <a:pt x="242" y="47"/>
                    <a:pt x="239" y="52"/>
                    <a:pt x="236" y="55"/>
                  </a:cubicBezTo>
                  <a:cubicBezTo>
                    <a:pt x="226" y="65"/>
                    <a:pt x="224" y="65"/>
                    <a:pt x="206" y="54"/>
                  </a:cubicBezTo>
                  <a:cubicBezTo>
                    <a:pt x="193" y="46"/>
                    <a:pt x="180" y="40"/>
                    <a:pt x="165" y="41"/>
                  </a:cubicBezTo>
                  <a:cubicBezTo>
                    <a:pt x="151" y="41"/>
                    <a:pt x="137" y="39"/>
                    <a:pt x="124" y="42"/>
                  </a:cubicBezTo>
                  <a:cubicBezTo>
                    <a:pt x="104" y="46"/>
                    <a:pt x="87" y="57"/>
                    <a:pt x="75" y="74"/>
                  </a:cubicBezTo>
                  <a:cubicBezTo>
                    <a:pt x="56" y="99"/>
                    <a:pt x="51" y="129"/>
                    <a:pt x="55" y="159"/>
                  </a:cubicBezTo>
                  <a:cubicBezTo>
                    <a:pt x="60" y="189"/>
                    <a:pt x="73" y="214"/>
                    <a:pt x="98" y="230"/>
                  </a:cubicBezTo>
                  <a:cubicBezTo>
                    <a:pt x="109" y="237"/>
                    <a:pt x="121" y="242"/>
                    <a:pt x="135" y="241"/>
                  </a:cubicBezTo>
                  <a:cubicBezTo>
                    <a:pt x="146" y="241"/>
                    <a:pt x="158" y="241"/>
                    <a:pt x="169" y="241"/>
                  </a:cubicBezTo>
                  <a:cubicBezTo>
                    <a:pt x="182" y="242"/>
                    <a:pt x="193" y="235"/>
                    <a:pt x="205" y="232"/>
                  </a:cubicBezTo>
                  <a:cubicBezTo>
                    <a:pt x="210" y="231"/>
                    <a:pt x="211" y="227"/>
                    <a:pt x="211" y="224"/>
                  </a:cubicBezTo>
                  <a:cubicBezTo>
                    <a:pt x="211" y="210"/>
                    <a:pt x="211" y="196"/>
                    <a:pt x="211" y="183"/>
                  </a:cubicBezTo>
                  <a:cubicBezTo>
                    <a:pt x="211" y="177"/>
                    <a:pt x="207" y="175"/>
                    <a:pt x="202" y="175"/>
                  </a:cubicBezTo>
                  <a:cubicBezTo>
                    <a:pt x="193" y="175"/>
                    <a:pt x="184" y="175"/>
                    <a:pt x="175" y="175"/>
                  </a:cubicBezTo>
                  <a:cubicBezTo>
                    <a:pt x="171" y="175"/>
                    <a:pt x="168" y="174"/>
                    <a:pt x="166" y="171"/>
                  </a:cubicBezTo>
                  <a:cubicBezTo>
                    <a:pt x="163" y="163"/>
                    <a:pt x="164" y="154"/>
                    <a:pt x="166" y="146"/>
                  </a:cubicBezTo>
                  <a:cubicBezTo>
                    <a:pt x="167" y="142"/>
                    <a:pt x="171" y="142"/>
                    <a:pt x="175" y="142"/>
                  </a:cubicBezTo>
                  <a:cubicBezTo>
                    <a:pt x="196" y="142"/>
                    <a:pt x="217" y="142"/>
                    <a:pt x="238" y="142"/>
                  </a:cubicBezTo>
                  <a:cubicBezTo>
                    <a:pt x="247" y="142"/>
                    <a:pt x="248" y="148"/>
                    <a:pt x="248" y="155"/>
                  </a:cubicBezTo>
                  <a:cubicBezTo>
                    <a:pt x="249" y="169"/>
                    <a:pt x="248" y="183"/>
                    <a:pt x="248" y="198"/>
                  </a:cubicBezTo>
                  <a:close/>
                  <a:moveTo>
                    <a:pt x="884" y="1181"/>
                  </a:moveTo>
                  <a:cubicBezTo>
                    <a:pt x="889" y="1167"/>
                    <a:pt x="894" y="1152"/>
                    <a:pt x="898" y="1137"/>
                  </a:cubicBezTo>
                  <a:cubicBezTo>
                    <a:pt x="901" y="1127"/>
                    <a:pt x="905" y="1116"/>
                    <a:pt x="908" y="1106"/>
                  </a:cubicBezTo>
                  <a:cubicBezTo>
                    <a:pt x="911" y="1098"/>
                    <a:pt x="912" y="1089"/>
                    <a:pt x="916" y="1081"/>
                  </a:cubicBezTo>
                  <a:cubicBezTo>
                    <a:pt x="921" y="1072"/>
                    <a:pt x="923" y="1060"/>
                    <a:pt x="927" y="1050"/>
                  </a:cubicBezTo>
                  <a:cubicBezTo>
                    <a:pt x="932" y="1037"/>
                    <a:pt x="934" y="1023"/>
                    <a:pt x="940" y="1010"/>
                  </a:cubicBezTo>
                  <a:cubicBezTo>
                    <a:pt x="945" y="1001"/>
                    <a:pt x="941" y="995"/>
                    <a:pt x="931" y="995"/>
                  </a:cubicBezTo>
                  <a:cubicBezTo>
                    <a:pt x="927" y="995"/>
                    <a:pt x="922" y="995"/>
                    <a:pt x="918" y="995"/>
                  </a:cubicBezTo>
                  <a:cubicBezTo>
                    <a:pt x="913" y="995"/>
                    <a:pt x="908" y="997"/>
                    <a:pt x="907" y="1001"/>
                  </a:cubicBezTo>
                  <a:cubicBezTo>
                    <a:pt x="904" y="1008"/>
                    <a:pt x="900" y="1015"/>
                    <a:pt x="899" y="1023"/>
                  </a:cubicBezTo>
                  <a:cubicBezTo>
                    <a:pt x="897" y="1034"/>
                    <a:pt x="893" y="1045"/>
                    <a:pt x="889" y="1055"/>
                  </a:cubicBezTo>
                  <a:cubicBezTo>
                    <a:pt x="887" y="1064"/>
                    <a:pt x="885" y="1072"/>
                    <a:pt x="882" y="1080"/>
                  </a:cubicBezTo>
                  <a:cubicBezTo>
                    <a:pt x="878" y="1091"/>
                    <a:pt x="874" y="1103"/>
                    <a:pt x="871" y="1115"/>
                  </a:cubicBezTo>
                  <a:cubicBezTo>
                    <a:pt x="870" y="1118"/>
                    <a:pt x="871" y="1124"/>
                    <a:pt x="866" y="1124"/>
                  </a:cubicBezTo>
                  <a:cubicBezTo>
                    <a:pt x="861" y="1125"/>
                    <a:pt x="859" y="1120"/>
                    <a:pt x="858" y="1115"/>
                  </a:cubicBezTo>
                  <a:cubicBezTo>
                    <a:pt x="856" y="1110"/>
                    <a:pt x="856" y="1104"/>
                    <a:pt x="854" y="1099"/>
                  </a:cubicBezTo>
                  <a:cubicBezTo>
                    <a:pt x="848" y="1080"/>
                    <a:pt x="841" y="1062"/>
                    <a:pt x="835" y="1044"/>
                  </a:cubicBezTo>
                  <a:cubicBezTo>
                    <a:pt x="831" y="1030"/>
                    <a:pt x="828" y="1016"/>
                    <a:pt x="822" y="1003"/>
                  </a:cubicBezTo>
                  <a:cubicBezTo>
                    <a:pt x="819" y="997"/>
                    <a:pt x="814" y="994"/>
                    <a:pt x="808" y="994"/>
                  </a:cubicBezTo>
                  <a:cubicBezTo>
                    <a:pt x="799" y="993"/>
                    <a:pt x="791" y="993"/>
                    <a:pt x="787" y="1001"/>
                  </a:cubicBezTo>
                  <a:cubicBezTo>
                    <a:pt x="783" y="1008"/>
                    <a:pt x="780" y="1015"/>
                    <a:pt x="779" y="1022"/>
                  </a:cubicBezTo>
                  <a:cubicBezTo>
                    <a:pt x="778" y="1034"/>
                    <a:pt x="772" y="1044"/>
                    <a:pt x="769" y="1055"/>
                  </a:cubicBezTo>
                  <a:cubicBezTo>
                    <a:pt x="762" y="1076"/>
                    <a:pt x="754" y="1096"/>
                    <a:pt x="749" y="1117"/>
                  </a:cubicBezTo>
                  <a:cubicBezTo>
                    <a:pt x="748" y="1120"/>
                    <a:pt x="747" y="1124"/>
                    <a:pt x="742" y="1124"/>
                  </a:cubicBezTo>
                  <a:cubicBezTo>
                    <a:pt x="737" y="1124"/>
                    <a:pt x="737" y="1120"/>
                    <a:pt x="736" y="1116"/>
                  </a:cubicBezTo>
                  <a:cubicBezTo>
                    <a:pt x="734" y="1104"/>
                    <a:pt x="730" y="1092"/>
                    <a:pt x="726" y="1080"/>
                  </a:cubicBezTo>
                  <a:cubicBezTo>
                    <a:pt x="720" y="1061"/>
                    <a:pt x="714" y="1040"/>
                    <a:pt x="708" y="1020"/>
                  </a:cubicBezTo>
                  <a:cubicBezTo>
                    <a:pt x="703" y="1000"/>
                    <a:pt x="698" y="994"/>
                    <a:pt x="676" y="995"/>
                  </a:cubicBezTo>
                  <a:cubicBezTo>
                    <a:pt x="665" y="996"/>
                    <a:pt x="661" y="1001"/>
                    <a:pt x="667" y="1011"/>
                  </a:cubicBezTo>
                  <a:cubicBezTo>
                    <a:pt x="669" y="1016"/>
                    <a:pt x="670" y="1021"/>
                    <a:pt x="672" y="1025"/>
                  </a:cubicBezTo>
                  <a:cubicBezTo>
                    <a:pt x="675" y="1035"/>
                    <a:pt x="678" y="1046"/>
                    <a:pt x="681" y="1055"/>
                  </a:cubicBezTo>
                  <a:cubicBezTo>
                    <a:pt x="685" y="1068"/>
                    <a:pt x="689" y="1080"/>
                    <a:pt x="693" y="1092"/>
                  </a:cubicBezTo>
                  <a:cubicBezTo>
                    <a:pt x="697" y="1103"/>
                    <a:pt x="699" y="1113"/>
                    <a:pt x="703" y="1124"/>
                  </a:cubicBezTo>
                  <a:cubicBezTo>
                    <a:pt x="707" y="1136"/>
                    <a:pt x="711" y="1147"/>
                    <a:pt x="715" y="1160"/>
                  </a:cubicBezTo>
                  <a:cubicBezTo>
                    <a:pt x="717" y="1168"/>
                    <a:pt x="720" y="1176"/>
                    <a:pt x="724" y="1183"/>
                  </a:cubicBezTo>
                  <a:cubicBezTo>
                    <a:pt x="728" y="1189"/>
                    <a:pt x="752" y="1185"/>
                    <a:pt x="757" y="1180"/>
                  </a:cubicBezTo>
                  <a:cubicBezTo>
                    <a:pt x="764" y="1173"/>
                    <a:pt x="762" y="1163"/>
                    <a:pt x="766" y="1156"/>
                  </a:cubicBezTo>
                  <a:cubicBezTo>
                    <a:pt x="774" y="1140"/>
                    <a:pt x="778" y="1122"/>
                    <a:pt x="784" y="1105"/>
                  </a:cubicBezTo>
                  <a:cubicBezTo>
                    <a:pt x="789" y="1088"/>
                    <a:pt x="796" y="1072"/>
                    <a:pt x="800" y="1054"/>
                  </a:cubicBezTo>
                  <a:cubicBezTo>
                    <a:pt x="800" y="1053"/>
                    <a:pt x="801" y="1050"/>
                    <a:pt x="803" y="1050"/>
                  </a:cubicBezTo>
                  <a:cubicBezTo>
                    <a:pt x="806" y="1050"/>
                    <a:pt x="806" y="1052"/>
                    <a:pt x="807" y="1055"/>
                  </a:cubicBezTo>
                  <a:cubicBezTo>
                    <a:pt x="807" y="1060"/>
                    <a:pt x="810" y="1066"/>
                    <a:pt x="811" y="1071"/>
                  </a:cubicBezTo>
                  <a:cubicBezTo>
                    <a:pt x="814" y="1081"/>
                    <a:pt x="818" y="1090"/>
                    <a:pt x="821" y="1099"/>
                  </a:cubicBezTo>
                  <a:cubicBezTo>
                    <a:pt x="824" y="1110"/>
                    <a:pt x="827" y="1120"/>
                    <a:pt x="831" y="1131"/>
                  </a:cubicBezTo>
                  <a:cubicBezTo>
                    <a:pt x="834" y="1142"/>
                    <a:pt x="839" y="1153"/>
                    <a:pt x="842" y="1164"/>
                  </a:cubicBezTo>
                  <a:cubicBezTo>
                    <a:pt x="846" y="1179"/>
                    <a:pt x="850" y="1188"/>
                    <a:pt x="869" y="1185"/>
                  </a:cubicBezTo>
                  <a:cubicBezTo>
                    <a:pt x="873" y="1184"/>
                    <a:pt x="881" y="1189"/>
                    <a:pt x="884" y="1181"/>
                  </a:cubicBezTo>
                  <a:close/>
                  <a:moveTo>
                    <a:pt x="33" y="1051"/>
                  </a:moveTo>
                  <a:cubicBezTo>
                    <a:pt x="33" y="1087"/>
                    <a:pt x="33" y="1124"/>
                    <a:pt x="33" y="1160"/>
                  </a:cubicBezTo>
                  <a:cubicBezTo>
                    <a:pt x="33" y="1188"/>
                    <a:pt x="29" y="1184"/>
                    <a:pt x="58" y="1185"/>
                  </a:cubicBezTo>
                  <a:cubicBezTo>
                    <a:pt x="72" y="1185"/>
                    <a:pt x="73" y="1184"/>
                    <a:pt x="73" y="1170"/>
                  </a:cubicBezTo>
                  <a:cubicBezTo>
                    <a:pt x="73" y="1138"/>
                    <a:pt x="73" y="1107"/>
                    <a:pt x="73" y="1076"/>
                  </a:cubicBezTo>
                  <a:cubicBezTo>
                    <a:pt x="73" y="1071"/>
                    <a:pt x="72" y="1067"/>
                    <a:pt x="78" y="1065"/>
                  </a:cubicBezTo>
                  <a:cubicBezTo>
                    <a:pt x="91" y="1062"/>
                    <a:pt x="102" y="1067"/>
                    <a:pt x="110" y="1076"/>
                  </a:cubicBezTo>
                  <a:cubicBezTo>
                    <a:pt x="112" y="1080"/>
                    <a:pt x="115" y="1083"/>
                    <a:pt x="118" y="1086"/>
                  </a:cubicBezTo>
                  <a:cubicBezTo>
                    <a:pt x="132" y="1103"/>
                    <a:pt x="146" y="1119"/>
                    <a:pt x="161" y="1136"/>
                  </a:cubicBezTo>
                  <a:cubicBezTo>
                    <a:pt x="173" y="1150"/>
                    <a:pt x="186" y="1165"/>
                    <a:pt x="198" y="1179"/>
                  </a:cubicBezTo>
                  <a:cubicBezTo>
                    <a:pt x="207" y="1188"/>
                    <a:pt x="218" y="1184"/>
                    <a:pt x="228" y="1185"/>
                  </a:cubicBezTo>
                  <a:cubicBezTo>
                    <a:pt x="233" y="1185"/>
                    <a:pt x="241" y="1188"/>
                    <a:pt x="244" y="1182"/>
                  </a:cubicBezTo>
                  <a:cubicBezTo>
                    <a:pt x="246" y="1178"/>
                    <a:pt x="239" y="1173"/>
                    <a:pt x="235" y="1169"/>
                  </a:cubicBezTo>
                  <a:cubicBezTo>
                    <a:pt x="206" y="1133"/>
                    <a:pt x="176" y="1098"/>
                    <a:pt x="146" y="1062"/>
                  </a:cubicBezTo>
                  <a:cubicBezTo>
                    <a:pt x="141" y="1056"/>
                    <a:pt x="131" y="1052"/>
                    <a:pt x="132" y="1044"/>
                  </a:cubicBezTo>
                  <a:cubicBezTo>
                    <a:pt x="132" y="1036"/>
                    <a:pt x="142" y="1032"/>
                    <a:pt x="147" y="1026"/>
                  </a:cubicBezTo>
                  <a:cubicBezTo>
                    <a:pt x="164" y="1006"/>
                    <a:pt x="182" y="988"/>
                    <a:pt x="198" y="968"/>
                  </a:cubicBezTo>
                  <a:cubicBezTo>
                    <a:pt x="209" y="954"/>
                    <a:pt x="221" y="942"/>
                    <a:pt x="234" y="929"/>
                  </a:cubicBezTo>
                  <a:cubicBezTo>
                    <a:pt x="236" y="926"/>
                    <a:pt x="238" y="923"/>
                    <a:pt x="237" y="920"/>
                  </a:cubicBezTo>
                  <a:cubicBezTo>
                    <a:pt x="235" y="915"/>
                    <a:pt x="231" y="917"/>
                    <a:pt x="228" y="917"/>
                  </a:cubicBezTo>
                  <a:cubicBezTo>
                    <a:pt x="224" y="918"/>
                    <a:pt x="221" y="918"/>
                    <a:pt x="217" y="918"/>
                  </a:cubicBezTo>
                  <a:cubicBezTo>
                    <a:pt x="204" y="917"/>
                    <a:pt x="193" y="922"/>
                    <a:pt x="185" y="931"/>
                  </a:cubicBezTo>
                  <a:cubicBezTo>
                    <a:pt x="172" y="946"/>
                    <a:pt x="158" y="961"/>
                    <a:pt x="145" y="977"/>
                  </a:cubicBezTo>
                  <a:cubicBezTo>
                    <a:pt x="131" y="993"/>
                    <a:pt x="117" y="1010"/>
                    <a:pt x="102" y="1026"/>
                  </a:cubicBezTo>
                  <a:cubicBezTo>
                    <a:pt x="96" y="1032"/>
                    <a:pt x="87" y="1037"/>
                    <a:pt x="78" y="1034"/>
                  </a:cubicBezTo>
                  <a:cubicBezTo>
                    <a:pt x="70" y="1030"/>
                    <a:pt x="73" y="1021"/>
                    <a:pt x="73" y="1015"/>
                  </a:cubicBezTo>
                  <a:cubicBezTo>
                    <a:pt x="73" y="991"/>
                    <a:pt x="73" y="967"/>
                    <a:pt x="73" y="944"/>
                  </a:cubicBezTo>
                  <a:cubicBezTo>
                    <a:pt x="73" y="916"/>
                    <a:pt x="75" y="917"/>
                    <a:pt x="46" y="918"/>
                  </a:cubicBezTo>
                  <a:cubicBezTo>
                    <a:pt x="33" y="918"/>
                    <a:pt x="33" y="918"/>
                    <a:pt x="33" y="931"/>
                  </a:cubicBezTo>
                  <a:cubicBezTo>
                    <a:pt x="33" y="971"/>
                    <a:pt x="33" y="1011"/>
                    <a:pt x="33" y="1051"/>
                  </a:cubicBezTo>
                  <a:cubicBezTo>
                    <a:pt x="33" y="1051"/>
                    <a:pt x="33" y="1051"/>
                    <a:pt x="33" y="1051"/>
                  </a:cubicBezTo>
                  <a:close/>
                  <a:moveTo>
                    <a:pt x="639" y="84"/>
                  </a:moveTo>
                  <a:cubicBezTo>
                    <a:pt x="627" y="84"/>
                    <a:pt x="626" y="84"/>
                    <a:pt x="629" y="95"/>
                  </a:cubicBezTo>
                  <a:cubicBezTo>
                    <a:pt x="634" y="113"/>
                    <a:pt x="640" y="131"/>
                    <a:pt x="646" y="148"/>
                  </a:cubicBezTo>
                  <a:cubicBezTo>
                    <a:pt x="652" y="166"/>
                    <a:pt x="658" y="185"/>
                    <a:pt x="664" y="203"/>
                  </a:cubicBezTo>
                  <a:cubicBezTo>
                    <a:pt x="671" y="223"/>
                    <a:pt x="676" y="244"/>
                    <a:pt x="684" y="264"/>
                  </a:cubicBezTo>
                  <a:cubicBezTo>
                    <a:pt x="688" y="274"/>
                    <a:pt x="694" y="274"/>
                    <a:pt x="702" y="274"/>
                  </a:cubicBezTo>
                  <a:cubicBezTo>
                    <a:pt x="711" y="274"/>
                    <a:pt x="719" y="272"/>
                    <a:pt x="723" y="263"/>
                  </a:cubicBezTo>
                  <a:cubicBezTo>
                    <a:pt x="733" y="236"/>
                    <a:pt x="741" y="208"/>
                    <a:pt x="750" y="181"/>
                  </a:cubicBezTo>
                  <a:cubicBezTo>
                    <a:pt x="754" y="169"/>
                    <a:pt x="757" y="156"/>
                    <a:pt x="763" y="145"/>
                  </a:cubicBezTo>
                  <a:cubicBezTo>
                    <a:pt x="764" y="143"/>
                    <a:pt x="764" y="140"/>
                    <a:pt x="767" y="140"/>
                  </a:cubicBezTo>
                  <a:cubicBezTo>
                    <a:pt x="770" y="140"/>
                    <a:pt x="770" y="143"/>
                    <a:pt x="771" y="145"/>
                  </a:cubicBezTo>
                  <a:cubicBezTo>
                    <a:pt x="771" y="156"/>
                    <a:pt x="777" y="165"/>
                    <a:pt x="780" y="175"/>
                  </a:cubicBezTo>
                  <a:cubicBezTo>
                    <a:pt x="782" y="184"/>
                    <a:pt x="785" y="193"/>
                    <a:pt x="788" y="201"/>
                  </a:cubicBezTo>
                  <a:cubicBezTo>
                    <a:pt x="794" y="219"/>
                    <a:pt x="801" y="237"/>
                    <a:pt x="806" y="255"/>
                  </a:cubicBezTo>
                  <a:cubicBezTo>
                    <a:pt x="811" y="272"/>
                    <a:pt x="825" y="280"/>
                    <a:pt x="842" y="273"/>
                  </a:cubicBezTo>
                  <a:cubicBezTo>
                    <a:pt x="845" y="271"/>
                    <a:pt x="847" y="269"/>
                    <a:pt x="848" y="266"/>
                  </a:cubicBezTo>
                  <a:cubicBezTo>
                    <a:pt x="853" y="251"/>
                    <a:pt x="859" y="236"/>
                    <a:pt x="863" y="221"/>
                  </a:cubicBezTo>
                  <a:cubicBezTo>
                    <a:pt x="867" y="202"/>
                    <a:pt x="875" y="185"/>
                    <a:pt x="880" y="166"/>
                  </a:cubicBezTo>
                  <a:cubicBezTo>
                    <a:pt x="886" y="144"/>
                    <a:pt x="895" y="123"/>
                    <a:pt x="900" y="101"/>
                  </a:cubicBezTo>
                  <a:cubicBezTo>
                    <a:pt x="901" y="96"/>
                    <a:pt x="909" y="91"/>
                    <a:pt x="904" y="86"/>
                  </a:cubicBezTo>
                  <a:cubicBezTo>
                    <a:pt x="900" y="81"/>
                    <a:pt x="892" y="84"/>
                    <a:pt x="886" y="84"/>
                  </a:cubicBezTo>
                  <a:cubicBezTo>
                    <a:pt x="885" y="84"/>
                    <a:pt x="883" y="84"/>
                    <a:pt x="881" y="84"/>
                  </a:cubicBezTo>
                  <a:cubicBezTo>
                    <a:pt x="875" y="84"/>
                    <a:pt x="872" y="86"/>
                    <a:pt x="869" y="91"/>
                  </a:cubicBezTo>
                  <a:cubicBezTo>
                    <a:pt x="860" y="110"/>
                    <a:pt x="856" y="131"/>
                    <a:pt x="850" y="151"/>
                  </a:cubicBezTo>
                  <a:cubicBezTo>
                    <a:pt x="844" y="170"/>
                    <a:pt x="836" y="188"/>
                    <a:pt x="834" y="208"/>
                  </a:cubicBezTo>
                  <a:cubicBezTo>
                    <a:pt x="833" y="211"/>
                    <a:pt x="831" y="214"/>
                    <a:pt x="827" y="214"/>
                  </a:cubicBezTo>
                  <a:cubicBezTo>
                    <a:pt x="823" y="214"/>
                    <a:pt x="822" y="210"/>
                    <a:pt x="822" y="207"/>
                  </a:cubicBezTo>
                  <a:cubicBezTo>
                    <a:pt x="817" y="188"/>
                    <a:pt x="811" y="170"/>
                    <a:pt x="805" y="152"/>
                  </a:cubicBezTo>
                  <a:cubicBezTo>
                    <a:pt x="799" y="133"/>
                    <a:pt x="794" y="114"/>
                    <a:pt x="786" y="96"/>
                  </a:cubicBezTo>
                  <a:cubicBezTo>
                    <a:pt x="783" y="87"/>
                    <a:pt x="779" y="84"/>
                    <a:pt x="770" y="84"/>
                  </a:cubicBezTo>
                  <a:cubicBezTo>
                    <a:pt x="761" y="84"/>
                    <a:pt x="752" y="82"/>
                    <a:pt x="748" y="94"/>
                  </a:cubicBezTo>
                  <a:cubicBezTo>
                    <a:pt x="744" y="109"/>
                    <a:pt x="738" y="123"/>
                    <a:pt x="734" y="138"/>
                  </a:cubicBezTo>
                  <a:cubicBezTo>
                    <a:pt x="729" y="153"/>
                    <a:pt x="724" y="167"/>
                    <a:pt x="719" y="182"/>
                  </a:cubicBezTo>
                  <a:cubicBezTo>
                    <a:pt x="716" y="192"/>
                    <a:pt x="715" y="203"/>
                    <a:pt x="708" y="212"/>
                  </a:cubicBezTo>
                  <a:cubicBezTo>
                    <a:pt x="707" y="214"/>
                    <a:pt x="707" y="217"/>
                    <a:pt x="704" y="217"/>
                  </a:cubicBezTo>
                  <a:cubicBezTo>
                    <a:pt x="701" y="217"/>
                    <a:pt x="701" y="213"/>
                    <a:pt x="700" y="211"/>
                  </a:cubicBezTo>
                  <a:cubicBezTo>
                    <a:pt x="699" y="198"/>
                    <a:pt x="694" y="186"/>
                    <a:pt x="690" y="174"/>
                  </a:cubicBezTo>
                  <a:cubicBezTo>
                    <a:pt x="684" y="153"/>
                    <a:pt x="677" y="131"/>
                    <a:pt x="672" y="110"/>
                  </a:cubicBezTo>
                  <a:cubicBezTo>
                    <a:pt x="667" y="88"/>
                    <a:pt x="663" y="84"/>
                    <a:pt x="645" y="84"/>
                  </a:cubicBezTo>
                  <a:cubicBezTo>
                    <a:pt x="643" y="84"/>
                    <a:pt x="641" y="84"/>
                    <a:pt x="639" y="84"/>
                  </a:cubicBezTo>
                  <a:close/>
                  <a:moveTo>
                    <a:pt x="507" y="711"/>
                  </a:moveTo>
                  <a:cubicBezTo>
                    <a:pt x="507" y="730"/>
                    <a:pt x="507" y="730"/>
                    <a:pt x="526" y="730"/>
                  </a:cubicBezTo>
                  <a:cubicBezTo>
                    <a:pt x="539" y="730"/>
                    <a:pt x="541" y="729"/>
                    <a:pt x="541" y="715"/>
                  </a:cubicBezTo>
                  <a:cubicBezTo>
                    <a:pt x="541" y="677"/>
                    <a:pt x="541" y="638"/>
                    <a:pt x="540" y="600"/>
                  </a:cubicBezTo>
                  <a:cubicBezTo>
                    <a:pt x="540" y="593"/>
                    <a:pt x="543" y="587"/>
                    <a:pt x="548" y="582"/>
                  </a:cubicBezTo>
                  <a:cubicBezTo>
                    <a:pt x="553" y="576"/>
                    <a:pt x="559" y="573"/>
                    <a:pt x="564" y="569"/>
                  </a:cubicBezTo>
                  <a:cubicBezTo>
                    <a:pt x="574" y="564"/>
                    <a:pt x="594" y="566"/>
                    <a:pt x="602" y="574"/>
                  </a:cubicBezTo>
                  <a:cubicBezTo>
                    <a:pt x="611" y="582"/>
                    <a:pt x="614" y="592"/>
                    <a:pt x="614" y="604"/>
                  </a:cubicBezTo>
                  <a:cubicBezTo>
                    <a:pt x="614" y="638"/>
                    <a:pt x="614" y="672"/>
                    <a:pt x="614" y="706"/>
                  </a:cubicBezTo>
                  <a:cubicBezTo>
                    <a:pt x="614" y="730"/>
                    <a:pt x="614" y="730"/>
                    <a:pt x="638" y="730"/>
                  </a:cubicBezTo>
                  <a:cubicBezTo>
                    <a:pt x="650" y="730"/>
                    <a:pt x="650" y="730"/>
                    <a:pt x="650" y="717"/>
                  </a:cubicBezTo>
                  <a:cubicBezTo>
                    <a:pt x="650" y="684"/>
                    <a:pt x="650" y="650"/>
                    <a:pt x="650" y="617"/>
                  </a:cubicBezTo>
                  <a:cubicBezTo>
                    <a:pt x="650" y="606"/>
                    <a:pt x="651" y="597"/>
                    <a:pt x="657" y="586"/>
                  </a:cubicBezTo>
                  <a:cubicBezTo>
                    <a:pt x="667" y="565"/>
                    <a:pt x="703" y="560"/>
                    <a:pt x="716" y="579"/>
                  </a:cubicBezTo>
                  <a:cubicBezTo>
                    <a:pt x="723" y="588"/>
                    <a:pt x="724" y="598"/>
                    <a:pt x="724" y="609"/>
                  </a:cubicBezTo>
                  <a:cubicBezTo>
                    <a:pt x="724" y="645"/>
                    <a:pt x="724" y="682"/>
                    <a:pt x="724" y="718"/>
                  </a:cubicBezTo>
                  <a:cubicBezTo>
                    <a:pt x="724" y="727"/>
                    <a:pt x="727" y="731"/>
                    <a:pt x="736" y="730"/>
                  </a:cubicBezTo>
                  <a:cubicBezTo>
                    <a:pt x="738" y="730"/>
                    <a:pt x="741" y="730"/>
                    <a:pt x="743" y="730"/>
                  </a:cubicBezTo>
                  <a:cubicBezTo>
                    <a:pt x="758" y="730"/>
                    <a:pt x="759" y="729"/>
                    <a:pt x="759" y="715"/>
                  </a:cubicBezTo>
                  <a:cubicBezTo>
                    <a:pt x="759" y="677"/>
                    <a:pt x="758" y="639"/>
                    <a:pt x="759" y="601"/>
                  </a:cubicBezTo>
                  <a:cubicBezTo>
                    <a:pt x="759" y="571"/>
                    <a:pt x="742" y="540"/>
                    <a:pt x="704" y="538"/>
                  </a:cubicBezTo>
                  <a:cubicBezTo>
                    <a:pt x="681" y="536"/>
                    <a:pt x="661" y="542"/>
                    <a:pt x="646" y="560"/>
                  </a:cubicBezTo>
                  <a:cubicBezTo>
                    <a:pt x="638" y="569"/>
                    <a:pt x="638" y="569"/>
                    <a:pt x="631" y="559"/>
                  </a:cubicBezTo>
                  <a:cubicBezTo>
                    <a:pt x="630" y="558"/>
                    <a:pt x="630" y="557"/>
                    <a:pt x="629" y="556"/>
                  </a:cubicBezTo>
                  <a:cubicBezTo>
                    <a:pt x="623" y="548"/>
                    <a:pt x="616" y="541"/>
                    <a:pt x="607" y="539"/>
                  </a:cubicBezTo>
                  <a:cubicBezTo>
                    <a:pt x="584" y="534"/>
                    <a:pt x="563" y="539"/>
                    <a:pt x="545" y="555"/>
                  </a:cubicBezTo>
                  <a:cubicBezTo>
                    <a:pt x="540" y="559"/>
                    <a:pt x="537" y="561"/>
                    <a:pt x="537" y="552"/>
                  </a:cubicBezTo>
                  <a:cubicBezTo>
                    <a:pt x="536" y="543"/>
                    <a:pt x="526" y="538"/>
                    <a:pt x="515" y="539"/>
                  </a:cubicBezTo>
                  <a:cubicBezTo>
                    <a:pt x="506" y="540"/>
                    <a:pt x="507" y="546"/>
                    <a:pt x="507" y="552"/>
                  </a:cubicBezTo>
                  <a:cubicBezTo>
                    <a:pt x="507" y="580"/>
                    <a:pt x="507" y="607"/>
                    <a:pt x="507" y="634"/>
                  </a:cubicBezTo>
                  <a:cubicBezTo>
                    <a:pt x="507" y="660"/>
                    <a:pt x="507" y="685"/>
                    <a:pt x="507" y="711"/>
                  </a:cubicBezTo>
                  <a:close/>
                  <a:moveTo>
                    <a:pt x="1525" y="1142"/>
                  </a:moveTo>
                  <a:cubicBezTo>
                    <a:pt x="1517" y="1143"/>
                    <a:pt x="1511" y="1141"/>
                    <a:pt x="1505" y="1136"/>
                  </a:cubicBezTo>
                  <a:cubicBezTo>
                    <a:pt x="1501" y="1133"/>
                    <a:pt x="1495" y="1130"/>
                    <a:pt x="1498" y="1124"/>
                  </a:cubicBezTo>
                  <a:cubicBezTo>
                    <a:pt x="1500" y="1118"/>
                    <a:pt x="1504" y="1114"/>
                    <a:pt x="1512" y="1114"/>
                  </a:cubicBezTo>
                  <a:cubicBezTo>
                    <a:pt x="1521" y="1115"/>
                    <a:pt x="1530" y="1114"/>
                    <a:pt x="1538" y="1115"/>
                  </a:cubicBezTo>
                  <a:cubicBezTo>
                    <a:pt x="1573" y="1117"/>
                    <a:pt x="1610" y="1084"/>
                    <a:pt x="1602" y="1044"/>
                  </a:cubicBezTo>
                  <a:cubicBezTo>
                    <a:pt x="1600" y="1035"/>
                    <a:pt x="1599" y="1028"/>
                    <a:pt x="1611" y="1027"/>
                  </a:cubicBezTo>
                  <a:cubicBezTo>
                    <a:pt x="1614" y="1027"/>
                    <a:pt x="1617" y="1024"/>
                    <a:pt x="1619" y="1023"/>
                  </a:cubicBezTo>
                  <a:cubicBezTo>
                    <a:pt x="1626" y="1019"/>
                    <a:pt x="1624" y="1013"/>
                    <a:pt x="1623" y="1008"/>
                  </a:cubicBezTo>
                  <a:cubicBezTo>
                    <a:pt x="1623" y="1002"/>
                    <a:pt x="1618" y="1003"/>
                    <a:pt x="1613" y="1002"/>
                  </a:cubicBezTo>
                  <a:cubicBezTo>
                    <a:pt x="1598" y="1002"/>
                    <a:pt x="1582" y="1004"/>
                    <a:pt x="1567" y="1000"/>
                  </a:cubicBezTo>
                  <a:cubicBezTo>
                    <a:pt x="1560" y="999"/>
                    <a:pt x="1554" y="993"/>
                    <a:pt x="1546" y="993"/>
                  </a:cubicBezTo>
                  <a:cubicBezTo>
                    <a:pt x="1536" y="994"/>
                    <a:pt x="1525" y="992"/>
                    <a:pt x="1515" y="993"/>
                  </a:cubicBezTo>
                  <a:cubicBezTo>
                    <a:pt x="1490" y="997"/>
                    <a:pt x="1469" y="1010"/>
                    <a:pt x="1462" y="1034"/>
                  </a:cubicBezTo>
                  <a:cubicBezTo>
                    <a:pt x="1455" y="1056"/>
                    <a:pt x="1457" y="1079"/>
                    <a:pt x="1476" y="1096"/>
                  </a:cubicBezTo>
                  <a:cubicBezTo>
                    <a:pt x="1483" y="1103"/>
                    <a:pt x="1483" y="1107"/>
                    <a:pt x="1476" y="1113"/>
                  </a:cubicBezTo>
                  <a:cubicBezTo>
                    <a:pt x="1462" y="1126"/>
                    <a:pt x="1462" y="1142"/>
                    <a:pt x="1473" y="1157"/>
                  </a:cubicBezTo>
                  <a:cubicBezTo>
                    <a:pt x="1476" y="1160"/>
                    <a:pt x="1476" y="1162"/>
                    <a:pt x="1472" y="1164"/>
                  </a:cubicBezTo>
                  <a:cubicBezTo>
                    <a:pt x="1470" y="1166"/>
                    <a:pt x="1468" y="1168"/>
                    <a:pt x="1466" y="1170"/>
                  </a:cubicBezTo>
                  <a:cubicBezTo>
                    <a:pt x="1449" y="1183"/>
                    <a:pt x="1444" y="1201"/>
                    <a:pt x="1454" y="1218"/>
                  </a:cubicBezTo>
                  <a:cubicBezTo>
                    <a:pt x="1464" y="1235"/>
                    <a:pt x="1479" y="1246"/>
                    <a:pt x="1499" y="1249"/>
                  </a:cubicBezTo>
                  <a:cubicBezTo>
                    <a:pt x="1517" y="1252"/>
                    <a:pt x="1535" y="1253"/>
                    <a:pt x="1553" y="1250"/>
                  </a:cubicBezTo>
                  <a:cubicBezTo>
                    <a:pt x="1584" y="1245"/>
                    <a:pt x="1607" y="1232"/>
                    <a:pt x="1619" y="1200"/>
                  </a:cubicBezTo>
                  <a:cubicBezTo>
                    <a:pt x="1627" y="1180"/>
                    <a:pt x="1611" y="1155"/>
                    <a:pt x="1593" y="1148"/>
                  </a:cubicBezTo>
                  <a:cubicBezTo>
                    <a:pt x="1578" y="1142"/>
                    <a:pt x="1563" y="1143"/>
                    <a:pt x="1549" y="1142"/>
                  </a:cubicBezTo>
                  <a:cubicBezTo>
                    <a:pt x="1540" y="1142"/>
                    <a:pt x="1532" y="1142"/>
                    <a:pt x="1525" y="1142"/>
                  </a:cubicBezTo>
                  <a:close/>
                  <a:moveTo>
                    <a:pt x="1556" y="1172"/>
                  </a:moveTo>
                  <a:cubicBezTo>
                    <a:pt x="1566" y="1172"/>
                    <a:pt x="1576" y="1176"/>
                    <a:pt x="1583" y="1183"/>
                  </a:cubicBezTo>
                  <a:cubicBezTo>
                    <a:pt x="1589" y="1190"/>
                    <a:pt x="1589" y="1198"/>
                    <a:pt x="1583" y="1205"/>
                  </a:cubicBezTo>
                  <a:cubicBezTo>
                    <a:pt x="1575" y="1215"/>
                    <a:pt x="1565" y="1220"/>
                    <a:pt x="1553" y="1223"/>
                  </a:cubicBezTo>
                  <a:cubicBezTo>
                    <a:pt x="1534" y="1228"/>
                    <a:pt x="1516" y="1225"/>
                    <a:pt x="1499" y="1219"/>
                  </a:cubicBezTo>
                  <a:cubicBezTo>
                    <a:pt x="1486" y="1214"/>
                    <a:pt x="1479" y="1203"/>
                    <a:pt x="1482" y="1193"/>
                  </a:cubicBezTo>
                  <a:cubicBezTo>
                    <a:pt x="1485" y="1182"/>
                    <a:pt x="1496" y="1168"/>
                    <a:pt x="1514" y="1171"/>
                  </a:cubicBezTo>
                  <a:cubicBezTo>
                    <a:pt x="1526" y="1173"/>
                    <a:pt x="1541" y="1171"/>
                    <a:pt x="1556" y="1172"/>
                  </a:cubicBezTo>
                  <a:close/>
                  <a:moveTo>
                    <a:pt x="1531" y="1019"/>
                  </a:moveTo>
                  <a:cubicBezTo>
                    <a:pt x="1553" y="1017"/>
                    <a:pt x="1570" y="1033"/>
                    <a:pt x="1570" y="1052"/>
                  </a:cubicBezTo>
                  <a:cubicBezTo>
                    <a:pt x="1570" y="1075"/>
                    <a:pt x="1554" y="1093"/>
                    <a:pt x="1532" y="1091"/>
                  </a:cubicBezTo>
                  <a:cubicBezTo>
                    <a:pt x="1508" y="1089"/>
                    <a:pt x="1494" y="1082"/>
                    <a:pt x="1493" y="1053"/>
                  </a:cubicBezTo>
                  <a:cubicBezTo>
                    <a:pt x="1494" y="1029"/>
                    <a:pt x="1508" y="1020"/>
                    <a:pt x="1531" y="1019"/>
                  </a:cubicBezTo>
                  <a:close/>
                  <a:moveTo>
                    <a:pt x="1413" y="934"/>
                  </a:moveTo>
                  <a:cubicBezTo>
                    <a:pt x="1413" y="909"/>
                    <a:pt x="1413" y="909"/>
                    <a:pt x="1389" y="910"/>
                  </a:cubicBezTo>
                  <a:cubicBezTo>
                    <a:pt x="1388" y="910"/>
                    <a:pt x="1387" y="910"/>
                    <a:pt x="1387" y="910"/>
                  </a:cubicBezTo>
                  <a:cubicBezTo>
                    <a:pt x="1379" y="910"/>
                    <a:pt x="1376" y="915"/>
                    <a:pt x="1376" y="921"/>
                  </a:cubicBezTo>
                  <a:cubicBezTo>
                    <a:pt x="1376" y="939"/>
                    <a:pt x="1377" y="956"/>
                    <a:pt x="1377" y="974"/>
                  </a:cubicBezTo>
                  <a:cubicBezTo>
                    <a:pt x="1377" y="983"/>
                    <a:pt x="1377" y="991"/>
                    <a:pt x="1377" y="1000"/>
                  </a:cubicBezTo>
                  <a:cubicBezTo>
                    <a:pt x="1377" y="1005"/>
                    <a:pt x="1374" y="1009"/>
                    <a:pt x="1369" y="1005"/>
                  </a:cubicBezTo>
                  <a:cubicBezTo>
                    <a:pt x="1352" y="990"/>
                    <a:pt x="1332" y="993"/>
                    <a:pt x="1312" y="993"/>
                  </a:cubicBezTo>
                  <a:cubicBezTo>
                    <a:pt x="1303" y="994"/>
                    <a:pt x="1294" y="998"/>
                    <a:pt x="1287" y="1003"/>
                  </a:cubicBezTo>
                  <a:cubicBezTo>
                    <a:pt x="1265" y="1017"/>
                    <a:pt x="1252" y="1039"/>
                    <a:pt x="1248" y="1065"/>
                  </a:cubicBezTo>
                  <a:cubicBezTo>
                    <a:pt x="1244" y="1096"/>
                    <a:pt x="1244" y="1128"/>
                    <a:pt x="1261" y="1157"/>
                  </a:cubicBezTo>
                  <a:cubicBezTo>
                    <a:pt x="1270" y="1170"/>
                    <a:pt x="1281" y="1181"/>
                    <a:pt x="1296" y="1185"/>
                  </a:cubicBezTo>
                  <a:cubicBezTo>
                    <a:pt x="1323" y="1191"/>
                    <a:pt x="1349" y="1188"/>
                    <a:pt x="1370" y="1167"/>
                  </a:cubicBezTo>
                  <a:cubicBezTo>
                    <a:pt x="1372" y="1165"/>
                    <a:pt x="1375" y="1162"/>
                    <a:pt x="1379" y="1163"/>
                  </a:cubicBezTo>
                  <a:cubicBezTo>
                    <a:pt x="1382" y="1165"/>
                    <a:pt x="1381" y="1169"/>
                    <a:pt x="1381" y="1172"/>
                  </a:cubicBezTo>
                  <a:cubicBezTo>
                    <a:pt x="1383" y="1181"/>
                    <a:pt x="1390" y="1186"/>
                    <a:pt x="1403" y="1186"/>
                  </a:cubicBezTo>
                  <a:cubicBezTo>
                    <a:pt x="1413" y="1185"/>
                    <a:pt x="1413" y="1178"/>
                    <a:pt x="1413" y="1172"/>
                  </a:cubicBezTo>
                  <a:cubicBezTo>
                    <a:pt x="1413" y="1131"/>
                    <a:pt x="1413" y="1090"/>
                    <a:pt x="1413" y="1049"/>
                  </a:cubicBezTo>
                  <a:cubicBezTo>
                    <a:pt x="1413" y="1010"/>
                    <a:pt x="1413" y="972"/>
                    <a:pt x="1413" y="934"/>
                  </a:cubicBezTo>
                  <a:close/>
                  <a:moveTo>
                    <a:pt x="1378" y="1113"/>
                  </a:moveTo>
                  <a:cubicBezTo>
                    <a:pt x="1378" y="1136"/>
                    <a:pt x="1360" y="1155"/>
                    <a:pt x="1337" y="1157"/>
                  </a:cubicBezTo>
                  <a:cubicBezTo>
                    <a:pt x="1319" y="1159"/>
                    <a:pt x="1304" y="1154"/>
                    <a:pt x="1294" y="1139"/>
                  </a:cubicBezTo>
                  <a:cubicBezTo>
                    <a:pt x="1286" y="1128"/>
                    <a:pt x="1283" y="1116"/>
                    <a:pt x="1283" y="1102"/>
                  </a:cubicBezTo>
                  <a:cubicBezTo>
                    <a:pt x="1282" y="1085"/>
                    <a:pt x="1282" y="1067"/>
                    <a:pt x="1290" y="1051"/>
                  </a:cubicBezTo>
                  <a:cubicBezTo>
                    <a:pt x="1297" y="1036"/>
                    <a:pt x="1308" y="1024"/>
                    <a:pt x="1325" y="1022"/>
                  </a:cubicBezTo>
                  <a:cubicBezTo>
                    <a:pt x="1342" y="1020"/>
                    <a:pt x="1358" y="1021"/>
                    <a:pt x="1371" y="1035"/>
                  </a:cubicBezTo>
                  <a:cubicBezTo>
                    <a:pt x="1376" y="1041"/>
                    <a:pt x="1378" y="1046"/>
                    <a:pt x="1378" y="1052"/>
                  </a:cubicBezTo>
                  <a:cubicBezTo>
                    <a:pt x="1378" y="1064"/>
                    <a:pt x="1378" y="1075"/>
                    <a:pt x="1378" y="1086"/>
                  </a:cubicBezTo>
                  <a:cubicBezTo>
                    <a:pt x="1378" y="1086"/>
                    <a:pt x="1378" y="1086"/>
                    <a:pt x="1378" y="1086"/>
                  </a:cubicBezTo>
                  <a:cubicBezTo>
                    <a:pt x="1378" y="1095"/>
                    <a:pt x="1378" y="1104"/>
                    <a:pt x="1378" y="1113"/>
                  </a:cubicBezTo>
                  <a:close/>
                  <a:moveTo>
                    <a:pt x="578" y="259"/>
                  </a:moveTo>
                  <a:cubicBezTo>
                    <a:pt x="603" y="241"/>
                    <a:pt x="611" y="213"/>
                    <a:pt x="614" y="183"/>
                  </a:cubicBezTo>
                  <a:cubicBezTo>
                    <a:pt x="615" y="171"/>
                    <a:pt x="610" y="159"/>
                    <a:pt x="609" y="147"/>
                  </a:cubicBezTo>
                  <a:cubicBezTo>
                    <a:pt x="608" y="137"/>
                    <a:pt x="603" y="129"/>
                    <a:pt x="599" y="121"/>
                  </a:cubicBezTo>
                  <a:cubicBezTo>
                    <a:pt x="579" y="87"/>
                    <a:pt x="527" y="70"/>
                    <a:pt x="488" y="85"/>
                  </a:cubicBezTo>
                  <a:cubicBezTo>
                    <a:pt x="453" y="99"/>
                    <a:pt x="436" y="127"/>
                    <a:pt x="431" y="163"/>
                  </a:cubicBezTo>
                  <a:cubicBezTo>
                    <a:pt x="429" y="180"/>
                    <a:pt x="430" y="196"/>
                    <a:pt x="436" y="213"/>
                  </a:cubicBezTo>
                  <a:cubicBezTo>
                    <a:pt x="439" y="222"/>
                    <a:pt x="442" y="232"/>
                    <a:pt x="447" y="239"/>
                  </a:cubicBezTo>
                  <a:cubicBezTo>
                    <a:pt x="465" y="265"/>
                    <a:pt x="491" y="277"/>
                    <a:pt x="525" y="276"/>
                  </a:cubicBezTo>
                  <a:cubicBezTo>
                    <a:pt x="543" y="278"/>
                    <a:pt x="562" y="271"/>
                    <a:pt x="578" y="259"/>
                  </a:cubicBezTo>
                  <a:close/>
                  <a:moveTo>
                    <a:pt x="471" y="205"/>
                  </a:moveTo>
                  <a:cubicBezTo>
                    <a:pt x="466" y="185"/>
                    <a:pt x="468" y="167"/>
                    <a:pt x="472" y="147"/>
                  </a:cubicBezTo>
                  <a:cubicBezTo>
                    <a:pt x="477" y="130"/>
                    <a:pt x="493" y="116"/>
                    <a:pt x="509" y="112"/>
                  </a:cubicBezTo>
                  <a:cubicBezTo>
                    <a:pt x="525" y="108"/>
                    <a:pt x="539" y="110"/>
                    <a:pt x="553" y="119"/>
                  </a:cubicBezTo>
                  <a:cubicBezTo>
                    <a:pt x="563" y="125"/>
                    <a:pt x="568" y="135"/>
                    <a:pt x="571" y="146"/>
                  </a:cubicBezTo>
                  <a:cubicBezTo>
                    <a:pt x="577" y="167"/>
                    <a:pt x="578" y="189"/>
                    <a:pt x="571" y="211"/>
                  </a:cubicBezTo>
                  <a:cubicBezTo>
                    <a:pt x="565" y="231"/>
                    <a:pt x="549" y="249"/>
                    <a:pt x="521" y="247"/>
                  </a:cubicBezTo>
                  <a:cubicBezTo>
                    <a:pt x="496" y="247"/>
                    <a:pt x="478" y="230"/>
                    <a:pt x="471" y="205"/>
                  </a:cubicBezTo>
                  <a:close/>
                  <a:moveTo>
                    <a:pt x="472" y="1122"/>
                  </a:moveTo>
                  <a:cubicBezTo>
                    <a:pt x="475" y="1136"/>
                    <a:pt x="481" y="1148"/>
                    <a:pt x="491" y="1158"/>
                  </a:cubicBezTo>
                  <a:cubicBezTo>
                    <a:pt x="506" y="1176"/>
                    <a:pt x="524" y="1185"/>
                    <a:pt x="548" y="1187"/>
                  </a:cubicBezTo>
                  <a:cubicBezTo>
                    <a:pt x="568" y="1188"/>
                    <a:pt x="587" y="1187"/>
                    <a:pt x="605" y="1177"/>
                  </a:cubicBezTo>
                  <a:cubicBezTo>
                    <a:pt x="632" y="1162"/>
                    <a:pt x="644" y="1136"/>
                    <a:pt x="649" y="1107"/>
                  </a:cubicBezTo>
                  <a:cubicBezTo>
                    <a:pt x="652" y="1089"/>
                    <a:pt x="649" y="1072"/>
                    <a:pt x="644" y="1054"/>
                  </a:cubicBezTo>
                  <a:cubicBezTo>
                    <a:pt x="638" y="1034"/>
                    <a:pt x="627" y="1019"/>
                    <a:pt x="610" y="1007"/>
                  </a:cubicBezTo>
                  <a:cubicBezTo>
                    <a:pt x="589" y="992"/>
                    <a:pt x="566" y="991"/>
                    <a:pt x="541" y="994"/>
                  </a:cubicBezTo>
                  <a:cubicBezTo>
                    <a:pt x="526" y="995"/>
                    <a:pt x="512" y="1002"/>
                    <a:pt x="500" y="1012"/>
                  </a:cubicBezTo>
                  <a:cubicBezTo>
                    <a:pt x="476" y="1032"/>
                    <a:pt x="469" y="1060"/>
                    <a:pt x="466" y="1095"/>
                  </a:cubicBezTo>
                  <a:cubicBezTo>
                    <a:pt x="465" y="1101"/>
                    <a:pt x="470" y="1111"/>
                    <a:pt x="472" y="1122"/>
                  </a:cubicBezTo>
                  <a:close/>
                  <a:moveTo>
                    <a:pt x="508" y="1113"/>
                  </a:moveTo>
                  <a:cubicBezTo>
                    <a:pt x="505" y="1095"/>
                    <a:pt x="506" y="1078"/>
                    <a:pt x="508" y="1061"/>
                  </a:cubicBezTo>
                  <a:cubicBezTo>
                    <a:pt x="511" y="1042"/>
                    <a:pt x="538" y="1021"/>
                    <a:pt x="554" y="1022"/>
                  </a:cubicBezTo>
                  <a:cubicBezTo>
                    <a:pt x="570" y="1022"/>
                    <a:pt x="586" y="1024"/>
                    <a:pt x="596" y="1037"/>
                  </a:cubicBezTo>
                  <a:cubicBezTo>
                    <a:pt x="602" y="1044"/>
                    <a:pt x="607" y="1052"/>
                    <a:pt x="608" y="1061"/>
                  </a:cubicBezTo>
                  <a:cubicBezTo>
                    <a:pt x="608" y="1064"/>
                    <a:pt x="609" y="1067"/>
                    <a:pt x="610" y="1070"/>
                  </a:cubicBezTo>
                  <a:cubicBezTo>
                    <a:pt x="618" y="1089"/>
                    <a:pt x="612" y="1107"/>
                    <a:pt x="607" y="1125"/>
                  </a:cubicBezTo>
                  <a:cubicBezTo>
                    <a:pt x="601" y="1143"/>
                    <a:pt x="588" y="1160"/>
                    <a:pt x="558" y="1157"/>
                  </a:cubicBezTo>
                  <a:cubicBezTo>
                    <a:pt x="530" y="1157"/>
                    <a:pt x="512" y="1141"/>
                    <a:pt x="508" y="1113"/>
                  </a:cubicBezTo>
                  <a:close/>
                  <a:moveTo>
                    <a:pt x="430" y="716"/>
                  </a:moveTo>
                  <a:cubicBezTo>
                    <a:pt x="450" y="703"/>
                    <a:pt x="459" y="683"/>
                    <a:pt x="464" y="661"/>
                  </a:cubicBezTo>
                  <a:cubicBezTo>
                    <a:pt x="468" y="648"/>
                    <a:pt x="467" y="635"/>
                    <a:pt x="466" y="621"/>
                  </a:cubicBezTo>
                  <a:cubicBezTo>
                    <a:pt x="463" y="592"/>
                    <a:pt x="453" y="567"/>
                    <a:pt x="427" y="550"/>
                  </a:cubicBezTo>
                  <a:cubicBezTo>
                    <a:pt x="401" y="534"/>
                    <a:pt x="372" y="532"/>
                    <a:pt x="345" y="541"/>
                  </a:cubicBezTo>
                  <a:cubicBezTo>
                    <a:pt x="310" y="552"/>
                    <a:pt x="291" y="580"/>
                    <a:pt x="287" y="617"/>
                  </a:cubicBezTo>
                  <a:cubicBezTo>
                    <a:pt x="286" y="629"/>
                    <a:pt x="286" y="641"/>
                    <a:pt x="287" y="654"/>
                  </a:cubicBezTo>
                  <a:cubicBezTo>
                    <a:pt x="289" y="671"/>
                    <a:pt x="295" y="686"/>
                    <a:pt x="306" y="700"/>
                  </a:cubicBezTo>
                  <a:cubicBezTo>
                    <a:pt x="324" y="722"/>
                    <a:pt x="348" y="733"/>
                    <a:pt x="378" y="731"/>
                  </a:cubicBezTo>
                  <a:cubicBezTo>
                    <a:pt x="396" y="733"/>
                    <a:pt x="414" y="727"/>
                    <a:pt x="430" y="716"/>
                  </a:cubicBezTo>
                  <a:close/>
                  <a:moveTo>
                    <a:pt x="331" y="592"/>
                  </a:moveTo>
                  <a:cubicBezTo>
                    <a:pt x="339" y="580"/>
                    <a:pt x="349" y="569"/>
                    <a:pt x="365" y="567"/>
                  </a:cubicBezTo>
                  <a:cubicBezTo>
                    <a:pt x="387" y="564"/>
                    <a:pt x="406" y="568"/>
                    <a:pt x="419" y="588"/>
                  </a:cubicBezTo>
                  <a:cubicBezTo>
                    <a:pt x="423" y="595"/>
                    <a:pt x="426" y="603"/>
                    <a:pt x="427" y="610"/>
                  </a:cubicBezTo>
                  <a:cubicBezTo>
                    <a:pt x="433" y="635"/>
                    <a:pt x="431" y="661"/>
                    <a:pt x="416" y="684"/>
                  </a:cubicBezTo>
                  <a:cubicBezTo>
                    <a:pt x="403" y="706"/>
                    <a:pt x="362" y="708"/>
                    <a:pt x="345" y="692"/>
                  </a:cubicBezTo>
                  <a:cubicBezTo>
                    <a:pt x="329" y="678"/>
                    <a:pt x="323" y="661"/>
                    <a:pt x="323" y="631"/>
                  </a:cubicBezTo>
                  <a:cubicBezTo>
                    <a:pt x="323" y="619"/>
                    <a:pt x="323" y="605"/>
                    <a:pt x="331" y="592"/>
                  </a:cubicBezTo>
                  <a:close/>
                  <a:moveTo>
                    <a:pt x="1073" y="259"/>
                  </a:moveTo>
                  <a:cubicBezTo>
                    <a:pt x="1073" y="269"/>
                    <a:pt x="1075" y="272"/>
                    <a:pt x="1086" y="272"/>
                  </a:cubicBezTo>
                  <a:cubicBezTo>
                    <a:pt x="1088" y="272"/>
                    <a:pt x="1090" y="272"/>
                    <a:pt x="1092" y="272"/>
                  </a:cubicBezTo>
                  <a:cubicBezTo>
                    <a:pt x="1105" y="272"/>
                    <a:pt x="1106" y="271"/>
                    <a:pt x="1106" y="258"/>
                  </a:cubicBezTo>
                  <a:cubicBezTo>
                    <a:pt x="1106" y="221"/>
                    <a:pt x="1106" y="184"/>
                    <a:pt x="1106" y="147"/>
                  </a:cubicBezTo>
                  <a:cubicBezTo>
                    <a:pt x="1106" y="143"/>
                    <a:pt x="1106" y="140"/>
                    <a:pt x="1107" y="137"/>
                  </a:cubicBezTo>
                  <a:cubicBezTo>
                    <a:pt x="1117" y="117"/>
                    <a:pt x="1157" y="104"/>
                    <a:pt x="1177" y="114"/>
                  </a:cubicBezTo>
                  <a:cubicBezTo>
                    <a:pt x="1179" y="115"/>
                    <a:pt x="1180" y="117"/>
                    <a:pt x="1182" y="118"/>
                  </a:cubicBezTo>
                  <a:cubicBezTo>
                    <a:pt x="1194" y="131"/>
                    <a:pt x="1196" y="147"/>
                    <a:pt x="1196" y="163"/>
                  </a:cubicBezTo>
                  <a:cubicBezTo>
                    <a:pt x="1197" y="195"/>
                    <a:pt x="1196" y="226"/>
                    <a:pt x="1196" y="258"/>
                  </a:cubicBezTo>
                  <a:cubicBezTo>
                    <a:pt x="1196" y="271"/>
                    <a:pt x="1197" y="272"/>
                    <a:pt x="1210" y="272"/>
                  </a:cubicBezTo>
                  <a:cubicBezTo>
                    <a:pt x="1212" y="272"/>
                    <a:pt x="1213" y="272"/>
                    <a:pt x="1215" y="272"/>
                  </a:cubicBezTo>
                  <a:cubicBezTo>
                    <a:pt x="1227" y="272"/>
                    <a:pt x="1229" y="270"/>
                    <a:pt x="1229" y="258"/>
                  </a:cubicBezTo>
                  <a:cubicBezTo>
                    <a:pt x="1229" y="222"/>
                    <a:pt x="1229" y="187"/>
                    <a:pt x="1229" y="151"/>
                  </a:cubicBezTo>
                  <a:cubicBezTo>
                    <a:pt x="1229" y="142"/>
                    <a:pt x="1228" y="132"/>
                    <a:pt x="1225" y="123"/>
                  </a:cubicBezTo>
                  <a:cubicBezTo>
                    <a:pt x="1219" y="105"/>
                    <a:pt x="1208" y="91"/>
                    <a:pt x="1189" y="85"/>
                  </a:cubicBezTo>
                  <a:cubicBezTo>
                    <a:pt x="1173" y="80"/>
                    <a:pt x="1156" y="84"/>
                    <a:pt x="1139" y="84"/>
                  </a:cubicBezTo>
                  <a:cubicBezTo>
                    <a:pt x="1137" y="84"/>
                    <a:pt x="1136" y="86"/>
                    <a:pt x="1134" y="87"/>
                  </a:cubicBezTo>
                  <a:cubicBezTo>
                    <a:pt x="1128" y="91"/>
                    <a:pt x="1121" y="96"/>
                    <a:pt x="1115" y="100"/>
                  </a:cubicBezTo>
                  <a:cubicBezTo>
                    <a:pt x="1113" y="102"/>
                    <a:pt x="1111" y="105"/>
                    <a:pt x="1108" y="103"/>
                  </a:cubicBezTo>
                  <a:cubicBezTo>
                    <a:pt x="1105" y="102"/>
                    <a:pt x="1106" y="98"/>
                    <a:pt x="1106" y="96"/>
                  </a:cubicBezTo>
                  <a:cubicBezTo>
                    <a:pt x="1106" y="69"/>
                    <a:pt x="1106" y="43"/>
                    <a:pt x="1106" y="17"/>
                  </a:cubicBezTo>
                  <a:cubicBezTo>
                    <a:pt x="1106" y="0"/>
                    <a:pt x="1106" y="0"/>
                    <a:pt x="1089" y="0"/>
                  </a:cubicBezTo>
                  <a:cubicBezTo>
                    <a:pt x="1074" y="0"/>
                    <a:pt x="1073" y="1"/>
                    <a:pt x="1073" y="16"/>
                  </a:cubicBezTo>
                  <a:cubicBezTo>
                    <a:pt x="1073" y="56"/>
                    <a:pt x="1073" y="96"/>
                    <a:pt x="1073" y="136"/>
                  </a:cubicBezTo>
                  <a:cubicBezTo>
                    <a:pt x="1073" y="177"/>
                    <a:pt x="1073" y="218"/>
                    <a:pt x="1073" y="259"/>
                  </a:cubicBezTo>
                  <a:close/>
                  <a:moveTo>
                    <a:pt x="1150" y="1092"/>
                  </a:moveTo>
                  <a:cubicBezTo>
                    <a:pt x="1168" y="1092"/>
                    <a:pt x="1186" y="1092"/>
                    <a:pt x="1204" y="1092"/>
                  </a:cubicBezTo>
                  <a:cubicBezTo>
                    <a:pt x="1215" y="1092"/>
                    <a:pt x="1218" y="1087"/>
                    <a:pt x="1219" y="1077"/>
                  </a:cubicBezTo>
                  <a:cubicBezTo>
                    <a:pt x="1220" y="1062"/>
                    <a:pt x="1216" y="1049"/>
                    <a:pt x="1210" y="1036"/>
                  </a:cubicBezTo>
                  <a:cubicBezTo>
                    <a:pt x="1204" y="1020"/>
                    <a:pt x="1193" y="1008"/>
                    <a:pt x="1177" y="1001"/>
                  </a:cubicBezTo>
                  <a:cubicBezTo>
                    <a:pt x="1155" y="992"/>
                    <a:pt x="1133" y="991"/>
                    <a:pt x="1109" y="999"/>
                  </a:cubicBezTo>
                  <a:cubicBezTo>
                    <a:pt x="1079" y="1010"/>
                    <a:pt x="1062" y="1031"/>
                    <a:pt x="1056" y="1061"/>
                  </a:cubicBezTo>
                  <a:cubicBezTo>
                    <a:pt x="1051" y="1090"/>
                    <a:pt x="1052" y="1120"/>
                    <a:pt x="1069" y="1148"/>
                  </a:cubicBezTo>
                  <a:cubicBezTo>
                    <a:pt x="1081" y="1169"/>
                    <a:pt x="1100" y="1180"/>
                    <a:pt x="1122" y="1185"/>
                  </a:cubicBezTo>
                  <a:cubicBezTo>
                    <a:pt x="1149" y="1190"/>
                    <a:pt x="1176" y="1186"/>
                    <a:pt x="1200" y="1171"/>
                  </a:cubicBezTo>
                  <a:cubicBezTo>
                    <a:pt x="1206" y="1168"/>
                    <a:pt x="1213" y="1165"/>
                    <a:pt x="1214" y="1157"/>
                  </a:cubicBezTo>
                  <a:cubicBezTo>
                    <a:pt x="1215" y="1147"/>
                    <a:pt x="1202" y="1139"/>
                    <a:pt x="1193" y="1144"/>
                  </a:cubicBezTo>
                  <a:cubicBezTo>
                    <a:pt x="1187" y="1147"/>
                    <a:pt x="1180" y="1150"/>
                    <a:pt x="1174" y="1153"/>
                  </a:cubicBezTo>
                  <a:cubicBezTo>
                    <a:pt x="1158" y="1161"/>
                    <a:pt x="1140" y="1161"/>
                    <a:pt x="1124" y="1155"/>
                  </a:cubicBezTo>
                  <a:cubicBezTo>
                    <a:pt x="1112" y="1151"/>
                    <a:pt x="1102" y="1142"/>
                    <a:pt x="1096" y="1129"/>
                  </a:cubicBezTo>
                  <a:cubicBezTo>
                    <a:pt x="1092" y="1121"/>
                    <a:pt x="1091" y="1112"/>
                    <a:pt x="1089" y="1104"/>
                  </a:cubicBezTo>
                  <a:cubicBezTo>
                    <a:pt x="1087" y="1093"/>
                    <a:pt x="1087" y="1092"/>
                    <a:pt x="1099" y="1092"/>
                  </a:cubicBezTo>
                  <a:cubicBezTo>
                    <a:pt x="1116" y="1092"/>
                    <a:pt x="1133" y="1092"/>
                    <a:pt x="1150" y="1092"/>
                  </a:cubicBezTo>
                  <a:cubicBezTo>
                    <a:pt x="1150" y="1092"/>
                    <a:pt x="1150" y="1092"/>
                    <a:pt x="1150" y="1092"/>
                  </a:cubicBezTo>
                  <a:close/>
                  <a:moveTo>
                    <a:pt x="1099" y="1070"/>
                  </a:moveTo>
                  <a:cubicBezTo>
                    <a:pt x="1092" y="1071"/>
                    <a:pt x="1089" y="1067"/>
                    <a:pt x="1091" y="1060"/>
                  </a:cubicBezTo>
                  <a:cubicBezTo>
                    <a:pt x="1094" y="1045"/>
                    <a:pt x="1108" y="1023"/>
                    <a:pt x="1128" y="1022"/>
                  </a:cubicBezTo>
                  <a:cubicBezTo>
                    <a:pt x="1142" y="1021"/>
                    <a:pt x="1156" y="1018"/>
                    <a:pt x="1168" y="1029"/>
                  </a:cubicBezTo>
                  <a:cubicBezTo>
                    <a:pt x="1181" y="1038"/>
                    <a:pt x="1185" y="1051"/>
                    <a:pt x="1187" y="1066"/>
                  </a:cubicBezTo>
                  <a:cubicBezTo>
                    <a:pt x="1188" y="1071"/>
                    <a:pt x="1183" y="1070"/>
                    <a:pt x="1180" y="1070"/>
                  </a:cubicBezTo>
                  <a:cubicBezTo>
                    <a:pt x="1166" y="1070"/>
                    <a:pt x="1153" y="1070"/>
                    <a:pt x="1139" y="1070"/>
                  </a:cubicBezTo>
                  <a:cubicBezTo>
                    <a:pt x="1139" y="1070"/>
                    <a:pt x="1139" y="1070"/>
                    <a:pt x="1139" y="1070"/>
                  </a:cubicBezTo>
                  <a:cubicBezTo>
                    <a:pt x="1126" y="1070"/>
                    <a:pt x="1113" y="1070"/>
                    <a:pt x="1099" y="1070"/>
                  </a:cubicBezTo>
                  <a:close/>
                  <a:moveTo>
                    <a:pt x="1741" y="1092"/>
                  </a:moveTo>
                  <a:cubicBezTo>
                    <a:pt x="1759" y="1092"/>
                    <a:pt x="1776" y="1092"/>
                    <a:pt x="1793" y="1092"/>
                  </a:cubicBezTo>
                  <a:cubicBezTo>
                    <a:pt x="1806" y="1092"/>
                    <a:pt x="1808" y="1089"/>
                    <a:pt x="1808" y="1076"/>
                  </a:cubicBezTo>
                  <a:cubicBezTo>
                    <a:pt x="1809" y="1063"/>
                    <a:pt x="1807" y="1051"/>
                    <a:pt x="1802" y="1038"/>
                  </a:cubicBezTo>
                  <a:cubicBezTo>
                    <a:pt x="1794" y="1021"/>
                    <a:pt x="1782" y="1008"/>
                    <a:pt x="1764" y="1000"/>
                  </a:cubicBezTo>
                  <a:cubicBezTo>
                    <a:pt x="1742" y="991"/>
                    <a:pt x="1720" y="991"/>
                    <a:pt x="1698" y="1000"/>
                  </a:cubicBezTo>
                  <a:cubicBezTo>
                    <a:pt x="1681" y="1006"/>
                    <a:pt x="1668" y="1016"/>
                    <a:pt x="1659" y="1031"/>
                  </a:cubicBezTo>
                  <a:cubicBezTo>
                    <a:pt x="1646" y="1050"/>
                    <a:pt x="1643" y="1071"/>
                    <a:pt x="1644" y="1094"/>
                  </a:cubicBezTo>
                  <a:cubicBezTo>
                    <a:pt x="1644" y="1110"/>
                    <a:pt x="1647" y="1127"/>
                    <a:pt x="1655" y="1141"/>
                  </a:cubicBezTo>
                  <a:cubicBezTo>
                    <a:pt x="1669" y="1168"/>
                    <a:pt x="1691" y="1183"/>
                    <a:pt x="1722" y="1186"/>
                  </a:cubicBezTo>
                  <a:cubicBezTo>
                    <a:pt x="1750" y="1188"/>
                    <a:pt x="1775" y="1183"/>
                    <a:pt x="1798" y="1165"/>
                  </a:cubicBezTo>
                  <a:cubicBezTo>
                    <a:pt x="1803" y="1161"/>
                    <a:pt x="1806" y="1157"/>
                    <a:pt x="1802" y="1151"/>
                  </a:cubicBezTo>
                  <a:cubicBezTo>
                    <a:pt x="1798" y="1144"/>
                    <a:pt x="1791" y="1140"/>
                    <a:pt x="1783" y="1144"/>
                  </a:cubicBezTo>
                  <a:cubicBezTo>
                    <a:pt x="1778" y="1147"/>
                    <a:pt x="1771" y="1149"/>
                    <a:pt x="1766" y="1152"/>
                  </a:cubicBezTo>
                  <a:cubicBezTo>
                    <a:pt x="1749" y="1161"/>
                    <a:pt x="1730" y="1162"/>
                    <a:pt x="1714" y="1155"/>
                  </a:cubicBezTo>
                  <a:cubicBezTo>
                    <a:pt x="1692" y="1145"/>
                    <a:pt x="1680" y="1127"/>
                    <a:pt x="1679" y="1102"/>
                  </a:cubicBezTo>
                  <a:cubicBezTo>
                    <a:pt x="1678" y="1095"/>
                    <a:pt x="1681" y="1092"/>
                    <a:pt x="1689" y="1092"/>
                  </a:cubicBezTo>
                  <a:cubicBezTo>
                    <a:pt x="1706" y="1092"/>
                    <a:pt x="1724" y="1092"/>
                    <a:pt x="1741" y="1092"/>
                  </a:cubicBezTo>
                  <a:cubicBezTo>
                    <a:pt x="1741" y="1092"/>
                    <a:pt x="1741" y="1092"/>
                    <a:pt x="1741" y="1092"/>
                  </a:cubicBezTo>
                  <a:close/>
                  <a:moveTo>
                    <a:pt x="1690" y="1070"/>
                  </a:moveTo>
                  <a:cubicBezTo>
                    <a:pt x="1683" y="1071"/>
                    <a:pt x="1680" y="1068"/>
                    <a:pt x="1681" y="1062"/>
                  </a:cubicBezTo>
                  <a:cubicBezTo>
                    <a:pt x="1683" y="1048"/>
                    <a:pt x="1697" y="1024"/>
                    <a:pt x="1716" y="1022"/>
                  </a:cubicBezTo>
                  <a:cubicBezTo>
                    <a:pt x="1731" y="1020"/>
                    <a:pt x="1747" y="1018"/>
                    <a:pt x="1760" y="1030"/>
                  </a:cubicBezTo>
                  <a:cubicBezTo>
                    <a:pt x="1771" y="1038"/>
                    <a:pt x="1775" y="1050"/>
                    <a:pt x="1778" y="1062"/>
                  </a:cubicBezTo>
                  <a:cubicBezTo>
                    <a:pt x="1780" y="1068"/>
                    <a:pt x="1775" y="1070"/>
                    <a:pt x="1769" y="1070"/>
                  </a:cubicBezTo>
                  <a:cubicBezTo>
                    <a:pt x="1756" y="1070"/>
                    <a:pt x="1742" y="1070"/>
                    <a:pt x="1729" y="1070"/>
                  </a:cubicBezTo>
                  <a:cubicBezTo>
                    <a:pt x="1729" y="1070"/>
                    <a:pt x="1729" y="1070"/>
                    <a:pt x="1729" y="1070"/>
                  </a:cubicBezTo>
                  <a:cubicBezTo>
                    <a:pt x="1716" y="1070"/>
                    <a:pt x="1703" y="1070"/>
                    <a:pt x="1690" y="1070"/>
                  </a:cubicBezTo>
                  <a:close/>
                  <a:moveTo>
                    <a:pt x="68" y="581"/>
                  </a:moveTo>
                  <a:cubicBezTo>
                    <a:pt x="68" y="573"/>
                    <a:pt x="70" y="568"/>
                    <a:pt x="80" y="569"/>
                  </a:cubicBezTo>
                  <a:cubicBezTo>
                    <a:pt x="90" y="570"/>
                    <a:pt x="101" y="570"/>
                    <a:pt x="111" y="569"/>
                  </a:cubicBezTo>
                  <a:cubicBezTo>
                    <a:pt x="120" y="569"/>
                    <a:pt x="120" y="563"/>
                    <a:pt x="120" y="556"/>
                  </a:cubicBezTo>
                  <a:cubicBezTo>
                    <a:pt x="120" y="549"/>
                    <a:pt x="119" y="544"/>
                    <a:pt x="111" y="544"/>
                  </a:cubicBezTo>
                  <a:cubicBezTo>
                    <a:pt x="104" y="544"/>
                    <a:pt x="97" y="544"/>
                    <a:pt x="91" y="544"/>
                  </a:cubicBezTo>
                  <a:cubicBezTo>
                    <a:pt x="66" y="544"/>
                    <a:pt x="65" y="543"/>
                    <a:pt x="68" y="518"/>
                  </a:cubicBezTo>
                  <a:cubicBezTo>
                    <a:pt x="69" y="504"/>
                    <a:pt x="83" y="487"/>
                    <a:pt x="99" y="489"/>
                  </a:cubicBezTo>
                  <a:cubicBezTo>
                    <a:pt x="103" y="489"/>
                    <a:pt x="107" y="489"/>
                    <a:pt x="110" y="488"/>
                  </a:cubicBezTo>
                  <a:cubicBezTo>
                    <a:pt x="118" y="487"/>
                    <a:pt x="123" y="479"/>
                    <a:pt x="123" y="471"/>
                  </a:cubicBezTo>
                  <a:cubicBezTo>
                    <a:pt x="123" y="461"/>
                    <a:pt x="116" y="462"/>
                    <a:pt x="109" y="460"/>
                  </a:cubicBezTo>
                  <a:cubicBezTo>
                    <a:pt x="100" y="458"/>
                    <a:pt x="92" y="460"/>
                    <a:pt x="84" y="460"/>
                  </a:cubicBezTo>
                  <a:cubicBezTo>
                    <a:pt x="68" y="461"/>
                    <a:pt x="56" y="469"/>
                    <a:pt x="47" y="480"/>
                  </a:cubicBezTo>
                  <a:cubicBezTo>
                    <a:pt x="34" y="493"/>
                    <a:pt x="32" y="511"/>
                    <a:pt x="32" y="529"/>
                  </a:cubicBezTo>
                  <a:cubicBezTo>
                    <a:pt x="32" y="544"/>
                    <a:pt x="32" y="544"/>
                    <a:pt x="17" y="544"/>
                  </a:cubicBezTo>
                  <a:cubicBezTo>
                    <a:pt x="4" y="543"/>
                    <a:pt x="0" y="548"/>
                    <a:pt x="4" y="561"/>
                  </a:cubicBezTo>
                  <a:cubicBezTo>
                    <a:pt x="6" y="569"/>
                    <a:pt x="13" y="568"/>
                    <a:pt x="19" y="569"/>
                  </a:cubicBezTo>
                  <a:cubicBezTo>
                    <a:pt x="32" y="571"/>
                    <a:pt x="32" y="571"/>
                    <a:pt x="32" y="584"/>
                  </a:cubicBezTo>
                  <a:cubicBezTo>
                    <a:pt x="32" y="624"/>
                    <a:pt x="32" y="664"/>
                    <a:pt x="32" y="704"/>
                  </a:cubicBezTo>
                  <a:cubicBezTo>
                    <a:pt x="32" y="731"/>
                    <a:pt x="32" y="730"/>
                    <a:pt x="57" y="731"/>
                  </a:cubicBezTo>
                  <a:cubicBezTo>
                    <a:pt x="66" y="731"/>
                    <a:pt x="68" y="727"/>
                    <a:pt x="68" y="720"/>
                  </a:cubicBezTo>
                  <a:cubicBezTo>
                    <a:pt x="68" y="697"/>
                    <a:pt x="68" y="674"/>
                    <a:pt x="68" y="651"/>
                  </a:cubicBezTo>
                  <a:cubicBezTo>
                    <a:pt x="68" y="628"/>
                    <a:pt x="68" y="605"/>
                    <a:pt x="68" y="581"/>
                  </a:cubicBezTo>
                  <a:close/>
                  <a:moveTo>
                    <a:pt x="278" y="1165"/>
                  </a:moveTo>
                  <a:cubicBezTo>
                    <a:pt x="278" y="1183"/>
                    <a:pt x="278" y="1183"/>
                    <a:pt x="296" y="1184"/>
                  </a:cubicBezTo>
                  <a:cubicBezTo>
                    <a:pt x="310" y="1184"/>
                    <a:pt x="310" y="1184"/>
                    <a:pt x="310" y="1169"/>
                  </a:cubicBezTo>
                  <a:cubicBezTo>
                    <a:pt x="310" y="1132"/>
                    <a:pt x="310" y="1095"/>
                    <a:pt x="310" y="1058"/>
                  </a:cubicBezTo>
                  <a:cubicBezTo>
                    <a:pt x="310" y="1052"/>
                    <a:pt x="312" y="1047"/>
                    <a:pt x="316" y="1042"/>
                  </a:cubicBezTo>
                  <a:cubicBezTo>
                    <a:pt x="324" y="1033"/>
                    <a:pt x="334" y="1027"/>
                    <a:pt x="345" y="1024"/>
                  </a:cubicBezTo>
                  <a:cubicBezTo>
                    <a:pt x="357" y="1020"/>
                    <a:pt x="371" y="1018"/>
                    <a:pt x="383" y="1028"/>
                  </a:cubicBezTo>
                  <a:cubicBezTo>
                    <a:pt x="397" y="1039"/>
                    <a:pt x="401" y="1054"/>
                    <a:pt x="401" y="1071"/>
                  </a:cubicBezTo>
                  <a:cubicBezTo>
                    <a:pt x="401" y="1102"/>
                    <a:pt x="401" y="1132"/>
                    <a:pt x="401" y="1163"/>
                  </a:cubicBezTo>
                  <a:cubicBezTo>
                    <a:pt x="401" y="1183"/>
                    <a:pt x="401" y="1182"/>
                    <a:pt x="420" y="1184"/>
                  </a:cubicBezTo>
                  <a:cubicBezTo>
                    <a:pt x="429" y="1185"/>
                    <a:pt x="433" y="1181"/>
                    <a:pt x="433" y="1173"/>
                  </a:cubicBezTo>
                  <a:cubicBezTo>
                    <a:pt x="432" y="1130"/>
                    <a:pt x="435" y="1087"/>
                    <a:pt x="431" y="1044"/>
                  </a:cubicBezTo>
                  <a:cubicBezTo>
                    <a:pt x="427" y="1014"/>
                    <a:pt x="404" y="996"/>
                    <a:pt x="376" y="994"/>
                  </a:cubicBezTo>
                  <a:cubicBezTo>
                    <a:pt x="353" y="992"/>
                    <a:pt x="333" y="1000"/>
                    <a:pt x="317" y="1017"/>
                  </a:cubicBezTo>
                  <a:cubicBezTo>
                    <a:pt x="312" y="1021"/>
                    <a:pt x="311" y="1019"/>
                    <a:pt x="309" y="1015"/>
                  </a:cubicBezTo>
                  <a:cubicBezTo>
                    <a:pt x="309" y="1013"/>
                    <a:pt x="308" y="1011"/>
                    <a:pt x="308" y="1008"/>
                  </a:cubicBezTo>
                  <a:cubicBezTo>
                    <a:pt x="306" y="1001"/>
                    <a:pt x="298" y="997"/>
                    <a:pt x="287" y="998"/>
                  </a:cubicBezTo>
                  <a:cubicBezTo>
                    <a:pt x="279" y="999"/>
                    <a:pt x="278" y="1004"/>
                    <a:pt x="278" y="1011"/>
                  </a:cubicBezTo>
                  <a:cubicBezTo>
                    <a:pt x="278" y="1037"/>
                    <a:pt x="278" y="1064"/>
                    <a:pt x="278" y="1091"/>
                  </a:cubicBezTo>
                  <a:cubicBezTo>
                    <a:pt x="278" y="1115"/>
                    <a:pt x="278" y="1140"/>
                    <a:pt x="278" y="1165"/>
                  </a:cubicBezTo>
                  <a:close/>
                  <a:moveTo>
                    <a:pt x="150" y="705"/>
                  </a:moveTo>
                  <a:cubicBezTo>
                    <a:pt x="150" y="734"/>
                    <a:pt x="145" y="730"/>
                    <a:pt x="176" y="731"/>
                  </a:cubicBezTo>
                  <a:cubicBezTo>
                    <a:pt x="185" y="731"/>
                    <a:pt x="187" y="727"/>
                    <a:pt x="187" y="719"/>
                  </a:cubicBezTo>
                  <a:cubicBezTo>
                    <a:pt x="187" y="685"/>
                    <a:pt x="187" y="651"/>
                    <a:pt x="187" y="618"/>
                  </a:cubicBezTo>
                  <a:cubicBezTo>
                    <a:pt x="187" y="597"/>
                    <a:pt x="204" y="578"/>
                    <a:pt x="225" y="574"/>
                  </a:cubicBezTo>
                  <a:cubicBezTo>
                    <a:pt x="232" y="572"/>
                    <a:pt x="240" y="574"/>
                    <a:pt x="247" y="575"/>
                  </a:cubicBezTo>
                  <a:cubicBezTo>
                    <a:pt x="257" y="576"/>
                    <a:pt x="261" y="572"/>
                    <a:pt x="265" y="564"/>
                  </a:cubicBezTo>
                  <a:cubicBezTo>
                    <a:pt x="269" y="556"/>
                    <a:pt x="267" y="542"/>
                    <a:pt x="261" y="540"/>
                  </a:cubicBezTo>
                  <a:cubicBezTo>
                    <a:pt x="253" y="538"/>
                    <a:pt x="244" y="534"/>
                    <a:pt x="237" y="536"/>
                  </a:cubicBezTo>
                  <a:cubicBezTo>
                    <a:pt x="228" y="537"/>
                    <a:pt x="217" y="537"/>
                    <a:pt x="209" y="544"/>
                  </a:cubicBezTo>
                  <a:cubicBezTo>
                    <a:pt x="204" y="549"/>
                    <a:pt x="198" y="553"/>
                    <a:pt x="194" y="558"/>
                  </a:cubicBezTo>
                  <a:cubicBezTo>
                    <a:pt x="192" y="561"/>
                    <a:pt x="189" y="563"/>
                    <a:pt x="185" y="562"/>
                  </a:cubicBezTo>
                  <a:cubicBezTo>
                    <a:pt x="182" y="561"/>
                    <a:pt x="182" y="558"/>
                    <a:pt x="182" y="556"/>
                  </a:cubicBezTo>
                  <a:cubicBezTo>
                    <a:pt x="180" y="539"/>
                    <a:pt x="179" y="539"/>
                    <a:pt x="162" y="539"/>
                  </a:cubicBezTo>
                  <a:cubicBezTo>
                    <a:pt x="151" y="539"/>
                    <a:pt x="150" y="540"/>
                    <a:pt x="150" y="551"/>
                  </a:cubicBezTo>
                  <a:cubicBezTo>
                    <a:pt x="150" y="579"/>
                    <a:pt x="150" y="607"/>
                    <a:pt x="150" y="635"/>
                  </a:cubicBezTo>
                  <a:cubicBezTo>
                    <a:pt x="150" y="658"/>
                    <a:pt x="149" y="682"/>
                    <a:pt x="150" y="705"/>
                  </a:cubicBezTo>
                  <a:close/>
                  <a:moveTo>
                    <a:pt x="1011" y="1049"/>
                  </a:moveTo>
                  <a:cubicBezTo>
                    <a:pt x="1011" y="1008"/>
                    <a:pt x="1011" y="966"/>
                    <a:pt x="1011" y="924"/>
                  </a:cubicBezTo>
                  <a:cubicBezTo>
                    <a:pt x="1011" y="913"/>
                    <a:pt x="1008" y="910"/>
                    <a:pt x="997" y="910"/>
                  </a:cubicBezTo>
                  <a:cubicBezTo>
                    <a:pt x="995" y="910"/>
                    <a:pt x="992" y="910"/>
                    <a:pt x="990" y="910"/>
                  </a:cubicBezTo>
                  <a:cubicBezTo>
                    <a:pt x="976" y="910"/>
                    <a:pt x="975" y="911"/>
                    <a:pt x="975" y="926"/>
                  </a:cubicBezTo>
                  <a:cubicBezTo>
                    <a:pt x="975" y="1006"/>
                    <a:pt x="975" y="1085"/>
                    <a:pt x="975" y="1165"/>
                  </a:cubicBezTo>
                  <a:cubicBezTo>
                    <a:pt x="975" y="1185"/>
                    <a:pt x="975" y="1185"/>
                    <a:pt x="994" y="1185"/>
                  </a:cubicBezTo>
                  <a:cubicBezTo>
                    <a:pt x="1009" y="1185"/>
                    <a:pt x="1011" y="1184"/>
                    <a:pt x="1011" y="1169"/>
                  </a:cubicBezTo>
                  <a:cubicBezTo>
                    <a:pt x="1011" y="1129"/>
                    <a:pt x="1011" y="1089"/>
                    <a:pt x="1011" y="1049"/>
                  </a:cubicBezTo>
                  <a:cubicBezTo>
                    <a:pt x="1011" y="1049"/>
                    <a:pt x="1011" y="1049"/>
                    <a:pt x="1011" y="1049"/>
                  </a:cubicBezTo>
                  <a:close/>
                  <a:moveTo>
                    <a:pt x="296" y="176"/>
                  </a:moveTo>
                  <a:cubicBezTo>
                    <a:pt x="296" y="201"/>
                    <a:pt x="296" y="226"/>
                    <a:pt x="296" y="251"/>
                  </a:cubicBezTo>
                  <a:cubicBezTo>
                    <a:pt x="295" y="276"/>
                    <a:pt x="296" y="274"/>
                    <a:pt x="318" y="274"/>
                  </a:cubicBezTo>
                  <a:cubicBezTo>
                    <a:pt x="330" y="274"/>
                    <a:pt x="331" y="274"/>
                    <a:pt x="331" y="260"/>
                  </a:cubicBezTo>
                  <a:cubicBezTo>
                    <a:pt x="331" y="232"/>
                    <a:pt x="331" y="204"/>
                    <a:pt x="331" y="176"/>
                  </a:cubicBezTo>
                  <a:cubicBezTo>
                    <a:pt x="331" y="165"/>
                    <a:pt x="331" y="155"/>
                    <a:pt x="337" y="145"/>
                  </a:cubicBezTo>
                  <a:cubicBezTo>
                    <a:pt x="349" y="123"/>
                    <a:pt x="359" y="117"/>
                    <a:pt x="377" y="118"/>
                  </a:cubicBezTo>
                  <a:cubicBezTo>
                    <a:pt x="383" y="118"/>
                    <a:pt x="389" y="119"/>
                    <a:pt x="395" y="120"/>
                  </a:cubicBezTo>
                  <a:cubicBezTo>
                    <a:pt x="401" y="120"/>
                    <a:pt x="407" y="118"/>
                    <a:pt x="408" y="112"/>
                  </a:cubicBezTo>
                  <a:cubicBezTo>
                    <a:pt x="409" y="103"/>
                    <a:pt x="415" y="93"/>
                    <a:pt x="407" y="85"/>
                  </a:cubicBezTo>
                  <a:cubicBezTo>
                    <a:pt x="406" y="84"/>
                    <a:pt x="404" y="84"/>
                    <a:pt x="402" y="84"/>
                  </a:cubicBezTo>
                  <a:cubicBezTo>
                    <a:pt x="376" y="78"/>
                    <a:pt x="353" y="82"/>
                    <a:pt x="337" y="106"/>
                  </a:cubicBezTo>
                  <a:cubicBezTo>
                    <a:pt x="336" y="108"/>
                    <a:pt x="335" y="110"/>
                    <a:pt x="333" y="109"/>
                  </a:cubicBezTo>
                  <a:cubicBezTo>
                    <a:pt x="331" y="109"/>
                    <a:pt x="330" y="107"/>
                    <a:pt x="330" y="105"/>
                  </a:cubicBezTo>
                  <a:cubicBezTo>
                    <a:pt x="329" y="101"/>
                    <a:pt x="329" y="97"/>
                    <a:pt x="328" y="94"/>
                  </a:cubicBezTo>
                  <a:cubicBezTo>
                    <a:pt x="325" y="85"/>
                    <a:pt x="318" y="82"/>
                    <a:pt x="303" y="84"/>
                  </a:cubicBezTo>
                  <a:cubicBezTo>
                    <a:pt x="297" y="84"/>
                    <a:pt x="295" y="86"/>
                    <a:pt x="295" y="92"/>
                  </a:cubicBezTo>
                  <a:cubicBezTo>
                    <a:pt x="296" y="120"/>
                    <a:pt x="295" y="148"/>
                    <a:pt x="295" y="176"/>
                  </a:cubicBezTo>
                  <a:cubicBezTo>
                    <a:pt x="296" y="176"/>
                    <a:pt x="296" y="176"/>
                    <a:pt x="296" y="176"/>
                  </a:cubicBezTo>
                  <a:close/>
                  <a:moveTo>
                    <a:pt x="946" y="179"/>
                  </a:moveTo>
                  <a:cubicBezTo>
                    <a:pt x="946" y="197"/>
                    <a:pt x="946" y="215"/>
                    <a:pt x="946" y="234"/>
                  </a:cubicBezTo>
                  <a:cubicBezTo>
                    <a:pt x="946" y="248"/>
                    <a:pt x="951" y="260"/>
                    <a:pt x="963" y="268"/>
                  </a:cubicBezTo>
                  <a:cubicBezTo>
                    <a:pt x="982" y="280"/>
                    <a:pt x="1011" y="277"/>
                    <a:pt x="1029" y="264"/>
                  </a:cubicBezTo>
                  <a:cubicBezTo>
                    <a:pt x="1036" y="259"/>
                    <a:pt x="1036" y="254"/>
                    <a:pt x="1032" y="248"/>
                  </a:cubicBezTo>
                  <a:cubicBezTo>
                    <a:pt x="1026" y="239"/>
                    <a:pt x="1020" y="238"/>
                    <a:pt x="1013" y="242"/>
                  </a:cubicBezTo>
                  <a:cubicBezTo>
                    <a:pt x="996" y="252"/>
                    <a:pt x="978" y="243"/>
                    <a:pt x="978" y="223"/>
                  </a:cubicBezTo>
                  <a:cubicBezTo>
                    <a:pt x="978" y="190"/>
                    <a:pt x="978" y="157"/>
                    <a:pt x="978" y="123"/>
                  </a:cubicBezTo>
                  <a:cubicBezTo>
                    <a:pt x="978" y="116"/>
                    <a:pt x="981" y="113"/>
                    <a:pt x="988" y="113"/>
                  </a:cubicBezTo>
                  <a:cubicBezTo>
                    <a:pt x="999" y="114"/>
                    <a:pt x="1011" y="113"/>
                    <a:pt x="1022" y="113"/>
                  </a:cubicBezTo>
                  <a:cubicBezTo>
                    <a:pt x="1028" y="113"/>
                    <a:pt x="1033" y="112"/>
                    <a:pt x="1033" y="104"/>
                  </a:cubicBezTo>
                  <a:cubicBezTo>
                    <a:pt x="1033" y="96"/>
                    <a:pt x="1032" y="90"/>
                    <a:pt x="1022" y="90"/>
                  </a:cubicBezTo>
                  <a:cubicBezTo>
                    <a:pt x="1011" y="90"/>
                    <a:pt x="1001" y="90"/>
                    <a:pt x="990" y="90"/>
                  </a:cubicBezTo>
                  <a:cubicBezTo>
                    <a:pt x="981" y="91"/>
                    <a:pt x="977" y="88"/>
                    <a:pt x="978" y="78"/>
                  </a:cubicBezTo>
                  <a:cubicBezTo>
                    <a:pt x="978" y="64"/>
                    <a:pt x="978" y="49"/>
                    <a:pt x="978" y="35"/>
                  </a:cubicBezTo>
                  <a:cubicBezTo>
                    <a:pt x="978" y="30"/>
                    <a:pt x="978" y="25"/>
                    <a:pt x="971" y="24"/>
                  </a:cubicBezTo>
                  <a:cubicBezTo>
                    <a:pt x="964" y="24"/>
                    <a:pt x="956" y="24"/>
                    <a:pt x="955" y="32"/>
                  </a:cubicBezTo>
                  <a:cubicBezTo>
                    <a:pt x="952" y="43"/>
                    <a:pt x="949" y="54"/>
                    <a:pt x="949" y="65"/>
                  </a:cubicBezTo>
                  <a:cubicBezTo>
                    <a:pt x="948" y="88"/>
                    <a:pt x="947" y="88"/>
                    <a:pt x="924" y="91"/>
                  </a:cubicBezTo>
                  <a:cubicBezTo>
                    <a:pt x="919" y="92"/>
                    <a:pt x="914" y="92"/>
                    <a:pt x="914" y="99"/>
                  </a:cubicBezTo>
                  <a:cubicBezTo>
                    <a:pt x="915" y="107"/>
                    <a:pt x="917" y="113"/>
                    <a:pt x="926" y="113"/>
                  </a:cubicBezTo>
                  <a:cubicBezTo>
                    <a:pt x="929" y="114"/>
                    <a:pt x="932" y="113"/>
                    <a:pt x="935" y="113"/>
                  </a:cubicBezTo>
                  <a:cubicBezTo>
                    <a:pt x="943" y="113"/>
                    <a:pt x="946" y="116"/>
                    <a:pt x="946" y="124"/>
                  </a:cubicBezTo>
                  <a:cubicBezTo>
                    <a:pt x="946" y="142"/>
                    <a:pt x="946" y="161"/>
                    <a:pt x="946" y="179"/>
                  </a:cubicBezTo>
                  <a:cubicBezTo>
                    <a:pt x="946" y="179"/>
                    <a:pt x="946" y="179"/>
                    <a:pt x="946" y="179"/>
                  </a:cubicBezTo>
                  <a:close/>
                </a:path>
              </a:pathLst>
            </a:custGeom>
            <a:solidFill>
              <a:srgbClr val="4C505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grpSp>
          <p:nvGrpSpPr>
            <p:cNvPr id="18" name="Group 4">
              <a:extLst>
                <a:ext uri="{FF2B5EF4-FFF2-40B4-BE49-F238E27FC236}">
                  <a16:creationId xmlns:a16="http://schemas.microsoft.com/office/drawing/2014/main" id="{57BD2C4C-DC67-B843-B26C-309622FC75F7}"/>
                </a:ext>
              </a:extLst>
            </p:cNvPr>
            <p:cNvGrpSpPr>
              <a:grpSpLocks noChangeAspect="1"/>
            </p:cNvGrpSpPr>
            <p:nvPr/>
          </p:nvGrpSpPr>
          <p:grpSpPr bwMode="gray">
            <a:xfrm>
              <a:off x="334963" y="296652"/>
              <a:ext cx="538094" cy="540000"/>
              <a:chOff x="2711" y="1027"/>
              <a:chExt cx="2258" cy="2266"/>
            </a:xfrm>
          </p:grpSpPr>
          <p:sp>
            <p:nvSpPr>
              <p:cNvPr id="19" name="AutoShape 3">
                <a:extLst>
                  <a:ext uri="{FF2B5EF4-FFF2-40B4-BE49-F238E27FC236}">
                    <a16:creationId xmlns:a16="http://schemas.microsoft.com/office/drawing/2014/main" id="{FE1DC41B-291E-574C-9F2C-874E70A40758}"/>
                  </a:ext>
                </a:extLst>
              </p:cNvPr>
              <p:cNvSpPr>
                <a:spLocks noChangeAspect="1" noChangeArrowheads="1" noTextEdit="1"/>
              </p:cNvSpPr>
              <p:nvPr/>
            </p:nvSpPr>
            <p:spPr bwMode="gray">
              <a:xfrm>
                <a:off x="2711" y="1027"/>
                <a:ext cx="2258" cy="22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20" name="Freeform 5">
                <a:extLst>
                  <a:ext uri="{FF2B5EF4-FFF2-40B4-BE49-F238E27FC236}">
                    <a16:creationId xmlns:a16="http://schemas.microsoft.com/office/drawing/2014/main" id="{D4B633C8-F761-C54B-9BD2-EB59D49A2DBC}"/>
                  </a:ext>
                </a:extLst>
              </p:cNvPr>
              <p:cNvSpPr>
                <a:spLocks/>
              </p:cNvSpPr>
              <p:nvPr/>
            </p:nvSpPr>
            <p:spPr bwMode="gray">
              <a:xfrm>
                <a:off x="2709" y="1029"/>
                <a:ext cx="2260" cy="2262"/>
              </a:xfrm>
              <a:custGeom>
                <a:avLst/>
                <a:gdLst>
                  <a:gd name="T0" fmla="*/ 2260 w 2260"/>
                  <a:gd name="T1" fmla="*/ 0 h 2262"/>
                  <a:gd name="T2" fmla="*/ 1612 w 2260"/>
                  <a:gd name="T3" fmla="*/ 649 h 2262"/>
                  <a:gd name="T4" fmla="*/ 1612 w 2260"/>
                  <a:gd name="T5" fmla="*/ 649 h 2262"/>
                  <a:gd name="T6" fmla="*/ 2035 w 2260"/>
                  <a:gd name="T7" fmla="*/ 0 h 2262"/>
                  <a:gd name="T8" fmla="*/ 0 w 2260"/>
                  <a:gd name="T9" fmla="*/ 0 h 2262"/>
                  <a:gd name="T10" fmla="*/ 0 w 2260"/>
                  <a:gd name="T11" fmla="*/ 2262 h 2262"/>
                  <a:gd name="T12" fmla="*/ 2260 w 2260"/>
                  <a:gd name="T13" fmla="*/ 2262 h 2262"/>
                  <a:gd name="T14" fmla="*/ 2260 w 2260"/>
                  <a:gd name="T15" fmla="*/ 0 h 2262"/>
                  <a:gd name="T16" fmla="*/ 2260 w 2260"/>
                  <a:gd name="T17" fmla="*/ 0 h 2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0" h="2262">
                    <a:moveTo>
                      <a:pt x="2260" y="0"/>
                    </a:moveTo>
                    <a:lnTo>
                      <a:pt x="1612" y="649"/>
                    </a:lnTo>
                    <a:lnTo>
                      <a:pt x="1612" y="649"/>
                    </a:lnTo>
                    <a:lnTo>
                      <a:pt x="2035" y="0"/>
                    </a:lnTo>
                    <a:lnTo>
                      <a:pt x="0" y="0"/>
                    </a:lnTo>
                    <a:lnTo>
                      <a:pt x="0" y="2262"/>
                    </a:lnTo>
                    <a:lnTo>
                      <a:pt x="2260" y="2262"/>
                    </a:lnTo>
                    <a:lnTo>
                      <a:pt x="2260" y="0"/>
                    </a:lnTo>
                    <a:lnTo>
                      <a:pt x="2260" y="0"/>
                    </a:lnTo>
                    <a:close/>
                  </a:path>
                </a:pathLst>
              </a:custGeom>
              <a:solidFill>
                <a:srgbClr val="E55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21" name="Freeform 6">
                <a:extLst>
                  <a:ext uri="{FF2B5EF4-FFF2-40B4-BE49-F238E27FC236}">
                    <a16:creationId xmlns:a16="http://schemas.microsoft.com/office/drawing/2014/main" id="{B16BAAE4-1A41-C843-9754-490F7A1E1270}"/>
                  </a:ext>
                </a:extLst>
              </p:cNvPr>
              <p:cNvSpPr>
                <a:spLocks noEditPoints="1"/>
              </p:cNvSpPr>
              <p:nvPr/>
            </p:nvSpPr>
            <p:spPr bwMode="gray">
              <a:xfrm>
                <a:off x="3623" y="1696"/>
                <a:ext cx="1167" cy="922"/>
              </a:xfrm>
              <a:custGeom>
                <a:avLst/>
                <a:gdLst>
                  <a:gd name="T0" fmla="*/ 411 w 580"/>
                  <a:gd name="T1" fmla="*/ 213 h 458"/>
                  <a:gd name="T2" fmla="*/ 570 w 580"/>
                  <a:gd name="T3" fmla="*/ 37 h 458"/>
                  <a:gd name="T4" fmla="*/ 580 w 580"/>
                  <a:gd name="T5" fmla="*/ 20 h 458"/>
                  <a:gd name="T6" fmla="*/ 545 w 580"/>
                  <a:gd name="T7" fmla="*/ 0 h 458"/>
                  <a:gd name="T8" fmla="*/ 519 w 580"/>
                  <a:gd name="T9" fmla="*/ 16 h 458"/>
                  <a:gd name="T10" fmla="*/ 344 w 580"/>
                  <a:gd name="T11" fmla="*/ 210 h 458"/>
                  <a:gd name="T12" fmla="*/ 334 w 580"/>
                  <a:gd name="T13" fmla="*/ 229 h 458"/>
                  <a:gd name="T14" fmla="*/ 344 w 580"/>
                  <a:gd name="T15" fmla="*/ 248 h 458"/>
                  <a:gd name="T16" fmla="*/ 519 w 580"/>
                  <a:gd name="T17" fmla="*/ 442 h 458"/>
                  <a:gd name="T18" fmla="*/ 545 w 580"/>
                  <a:gd name="T19" fmla="*/ 458 h 458"/>
                  <a:gd name="T20" fmla="*/ 580 w 580"/>
                  <a:gd name="T21" fmla="*/ 438 h 458"/>
                  <a:gd name="T22" fmla="*/ 570 w 580"/>
                  <a:gd name="T23" fmla="*/ 421 h 458"/>
                  <a:gd name="T24" fmla="*/ 411 w 580"/>
                  <a:gd name="T25" fmla="*/ 245 h 458"/>
                  <a:gd name="T26" fmla="*/ 399 w 580"/>
                  <a:gd name="T27" fmla="*/ 229 h 458"/>
                  <a:gd name="T28" fmla="*/ 411 w 580"/>
                  <a:gd name="T29" fmla="*/ 213 h 458"/>
                  <a:gd name="T30" fmla="*/ 252 w 580"/>
                  <a:gd name="T31" fmla="*/ 439 h 458"/>
                  <a:gd name="T32" fmla="*/ 281 w 580"/>
                  <a:gd name="T33" fmla="*/ 454 h 458"/>
                  <a:gd name="T34" fmla="*/ 309 w 580"/>
                  <a:gd name="T35" fmla="*/ 439 h 458"/>
                  <a:gd name="T36" fmla="*/ 309 w 580"/>
                  <a:gd name="T37" fmla="*/ 19 h 458"/>
                  <a:gd name="T38" fmla="*/ 281 w 580"/>
                  <a:gd name="T39" fmla="*/ 4 h 458"/>
                  <a:gd name="T40" fmla="*/ 252 w 580"/>
                  <a:gd name="T41" fmla="*/ 19 h 458"/>
                  <a:gd name="T42" fmla="*/ 252 w 580"/>
                  <a:gd name="T43" fmla="*/ 439 h 458"/>
                  <a:gd name="T44" fmla="*/ 0 w 580"/>
                  <a:gd name="T45" fmla="*/ 439 h 458"/>
                  <a:gd name="T46" fmla="*/ 28 w 580"/>
                  <a:gd name="T47" fmla="*/ 454 h 458"/>
                  <a:gd name="T48" fmla="*/ 56 w 580"/>
                  <a:gd name="T49" fmla="*/ 439 h 458"/>
                  <a:gd name="T50" fmla="*/ 56 w 580"/>
                  <a:gd name="T51" fmla="*/ 157 h 458"/>
                  <a:gd name="T52" fmla="*/ 165 w 580"/>
                  <a:gd name="T53" fmla="*/ 53 h 458"/>
                  <a:gd name="T54" fmla="*/ 180 w 580"/>
                  <a:gd name="T55" fmla="*/ 53 h 458"/>
                  <a:gd name="T56" fmla="*/ 196 w 580"/>
                  <a:gd name="T57" fmla="*/ 27 h 458"/>
                  <a:gd name="T58" fmla="*/ 154 w 580"/>
                  <a:gd name="T59" fmla="*/ 4 h 458"/>
                  <a:gd name="T60" fmla="*/ 0 w 580"/>
                  <a:gd name="T61" fmla="*/ 152 h 458"/>
                  <a:gd name="T62" fmla="*/ 0 w 580"/>
                  <a:gd name="T63" fmla="*/ 439 h 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80" h="458">
                    <a:moveTo>
                      <a:pt x="411" y="213"/>
                    </a:moveTo>
                    <a:cubicBezTo>
                      <a:pt x="570" y="37"/>
                      <a:pt x="570" y="37"/>
                      <a:pt x="570" y="37"/>
                    </a:cubicBezTo>
                    <a:cubicBezTo>
                      <a:pt x="576" y="30"/>
                      <a:pt x="580" y="25"/>
                      <a:pt x="580" y="20"/>
                    </a:cubicBezTo>
                    <a:cubicBezTo>
                      <a:pt x="580" y="10"/>
                      <a:pt x="559" y="0"/>
                      <a:pt x="545" y="0"/>
                    </a:cubicBezTo>
                    <a:cubicBezTo>
                      <a:pt x="535" y="0"/>
                      <a:pt x="526" y="8"/>
                      <a:pt x="519" y="16"/>
                    </a:cubicBezTo>
                    <a:cubicBezTo>
                      <a:pt x="344" y="210"/>
                      <a:pt x="344" y="210"/>
                      <a:pt x="344" y="210"/>
                    </a:cubicBezTo>
                    <a:cubicBezTo>
                      <a:pt x="336" y="219"/>
                      <a:pt x="334" y="224"/>
                      <a:pt x="334" y="229"/>
                    </a:cubicBezTo>
                    <a:cubicBezTo>
                      <a:pt x="334" y="234"/>
                      <a:pt x="336" y="239"/>
                      <a:pt x="344" y="248"/>
                    </a:cubicBezTo>
                    <a:cubicBezTo>
                      <a:pt x="519" y="442"/>
                      <a:pt x="519" y="442"/>
                      <a:pt x="519" y="442"/>
                    </a:cubicBezTo>
                    <a:cubicBezTo>
                      <a:pt x="526" y="450"/>
                      <a:pt x="535" y="458"/>
                      <a:pt x="545" y="458"/>
                    </a:cubicBezTo>
                    <a:cubicBezTo>
                      <a:pt x="559" y="458"/>
                      <a:pt x="580" y="448"/>
                      <a:pt x="580" y="438"/>
                    </a:cubicBezTo>
                    <a:cubicBezTo>
                      <a:pt x="580" y="433"/>
                      <a:pt x="576" y="428"/>
                      <a:pt x="570" y="421"/>
                    </a:cubicBezTo>
                    <a:cubicBezTo>
                      <a:pt x="411" y="245"/>
                      <a:pt x="411" y="245"/>
                      <a:pt x="411" y="245"/>
                    </a:cubicBezTo>
                    <a:cubicBezTo>
                      <a:pt x="403" y="236"/>
                      <a:pt x="399" y="232"/>
                      <a:pt x="399" y="229"/>
                    </a:cubicBezTo>
                    <a:cubicBezTo>
                      <a:pt x="399" y="226"/>
                      <a:pt x="403" y="222"/>
                      <a:pt x="411" y="213"/>
                    </a:cubicBezTo>
                    <a:moveTo>
                      <a:pt x="252" y="439"/>
                    </a:moveTo>
                    <a:cubicBezTo>
                      <a:pt x="252" y="449"/>
                      <a:pt x="261" y="454"/>
                      <a:pt x="281" y="454"/>
                    </a:cubicBezTo>
                    <a:cubicBezTo>
                      <a:pt x="300" y="454"/>
                      <a:pt x="309" y="449"/>
                      <a:pt x="309" y="439"/>
                    </a:cubicBezTo>
                    <a:cubicBezTo>
                      <a:pt x="309" y="19"/>
                      <a:pt x="309" y="19"/>
                      <a:pt x="309" y="19"/>
                    </a:cubicBezTo>
                    <a:cubicBezTo>
                      <a:pt x="309" y="9"/>
                      <a:pt x="300" y="4"/>
                      <a:pt x="281" y="4"/>
                    </a:cubicBezTo>
                    <a:cubicBezTo>
                      <a:pt x="261" y="4"/>
                      <a:pt x="252" y="9"/>
                      <a:pt x="252" y="19"/>
                    </a:cubicBezTo>
                    <a:lnTo>
                      <a:pt x="252" y="439"/>
                    </a:lnTo>
                    <a:close/>
                    <a:moveTo>
                      <a:pt x="0" y="439"/>
                    </a:moveTo>
                    <a:cubicBezTo>
                      <a:pt x="0" y="449"/>
                      <a:pt x="8" y="454"/>
                      <a:pt x="28" y="454"/>
                    </a:cubicBezTo>
                    <a:cubicBezTo>
                      <a:pt x="48" y="454"/>
                      <a:pt x="56" y="449"/>
                      <a:pt x="56" y="439"/>
                    </a:cubicBezTo>
                    <a:cubicBezTo>
                      <a:pt x="56" y="157"/>
                      <a:pt x="56" y="157"/>
                      <a:pt x="56" y="157"/>
                    </a:cubicBezTo>
                    <a:cubicBezTo>
                      <a:pt x="56" y="83"/>
                      <a:pt x="85" y="53"/>
                      <a:pt x="165" y="53"/>
                    </a:cubicBezTo>
                    <a:cubicBezTo>
                      <a:pt x="180" y="53"/>
                      <a:pt x="180" y="53"/>
                      <a:pt x="180" y="53"/>
                    </a:cubicBezTo>
                    <a:cubicBezTo>
                      <a:pt x="192" y="53"/>
                      <a:pt x="196" y="43"/>
                      <a:pt x="196" y="27"/>
                    </a:cubicBezTo>
                    <a:cubicBezTo>
                      <a:pt x="196" y="8"/>
                      <a:pt x="185" y="4"/>
                      <a:pt x="154" y="4"/>
                    </a:cubicBezTo>
                    <a:cubicBezTo>
                      <a:pt x="64" y="4"/>
                      <a:pt x="0" y="43"/>
                      <a:pt x="0" y="152"/>
                    </a:cubicBezTo>
                    <a:lnTo>
                      <a:pt x="0" y="43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22" name="Freeform 7">
                <a:extLst>
                  <a:ext uri="{FF2B5EF4-FFF2-40B4-BE49-F238E27FC236}">
                    <a16:creationId xmlns:a16="http://schemas.microsoft.com/office/drawing/2014/main" id="{2F32DCBD-8628-F245-85CD-97686A20ECFD}"/>
                  </a:ext>
                </a:extLst>
              </p:cNvPr>
              <p:cNvSpPr>
                <a:spLocks/>
              </p:cNvSpPr>
              <p:nvPr/>
            </p:nvSpPr>
            <p:spPr bwMode="gray">
              <a:xfrm>
                <a:off x="2880" y="1704"/>
                <a:ext cx="618" cy="916"/>
              </a:xfrm>
              <a:custGeom>
                <a:avLst/>
                <a:gdLst>
                  <a:gd name="T0" fmla="*/ 307 w 307"/>
                  <a:gd name="T1" fmla="*/ 405 h 455"/>
                  <a:gd name="T2" fmla="*/ 307 w 307"/>
                  <a:gd name="T3" fmla="*/ 244 h 455"/>
                  <a:gd name="T4" fmla="*/ 279 w 307"/>
                  <a:gd name="T5" fmla="*/ 229 h 455"/>
                  <a:gd name="T6" fmla="*/ 250 w 307"/>
                  <a:gd name="T7" fmla="*/ 244 h 455"/>
                  <a:gd name="T8" fmla="*/ 250 w 307"/>
                  <a:gd name="T9" fmla="*/ 378 h 455"/>
                  <a:gd name="T10" fmla="*/ 199 w 307"/>
                  <a:gd name="T11" fmla="*/ 408 h 455"/>
                  <a:gd name="T12" fmla="*/ 61 w 307"/>
                  <a:gd name="T13" fmla="*/ 231 h 455"/>
                  <a:gd name="T14" fmla="*/ 238 w 307"/>
                  <a:gd name="T15" fmla="*/ 49 h 455"/>
                  <a:gd name="T16" fmla="*/ 270 w 307"/>
                  <a:gd name="T17" fmla="*/ 49 h 455"/>
                  <a:gd name="T18" fmla="*/ 286 w 307"/>
                  <a:gd name="T19" fmla="*/ 23 h 455"/>
                  <a:gd name="T20" fmla="*/ 244 w 307"/>
                  <a:gd name="T21" fmla="*/ 0 h 455"/>
                  <a:gd name="T22" fmla="*/ 231 w 307"/>
                  <a:gd name="T23" fmla="*/ 0 h 455"/>
                  <a:gd name="T24" fmla="*/ 0 w 307"/>
                  <a:gd name="T25" fmla="*/ 232 h 455"/>
                  <a:gd name="T26" fmla="*/ 198 w 307"/>
                  <a:gd name="T27" fmla="*/ 455 h 455"/>
                  <a:gd name="T28" fmla="*/ 307 w 307"/>
                  <a:gd name="T29" fmla="*/ 405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7" h="455">
                    <a:moveTo>
                      <a:pt x="307" y="405"/>
                    </a:moveTo>
                    <a:cubicBezTo>
                      <a:pt x="307" y="244"/>
                      <a:pt x="307" y="244"/>
                      <a:pt x="307" y="244"/>
                    </a:cubicBezTo>
                    <a:cubicBezTo>
                      <a:pt x="307" y="234"/>
                      <a:pt x="298" y="229"/>
                      <a:pt x="279" y="229"/>
                    </a:cubicBezTo>
                    <a:cubicBezTo>
                      <a:pt x="259" y="229"/>
                      <a:pt x="250" y="234"/>
                      <a:pt x="250" y="244"/>
                    </a:cubicBezTo>
                    <a:cubicBezTo>
                      <a:pt x="250" y="378"/>
                      <a:pt x="250" y="378"/>
                      <a:pt x="250" y="378"/>
                    </a:cubicBezTo>
                    <a:cubicBezTo>
                      <a:pt x="250" y="399"/>
                      <a:pt x="241" y="408"/>
                      <a:pt x="199" y="408"/>
                    </a:cubicBezTo>
                    <a:cubicBezTo>
                      <a:pt x="114" y="408"/>
                      <a:pt x="61" y="342"/>
                      <a:pt x="61" y="231"/>
                    </a:cubicBezTo>
                    <a:cubicBezTo>
                      <a:pt x="61" y="115"/>
                      <a:pt x="126" y="49"/>
                      <a:pt x="238" y="49"/>
                    </a:cubicBezTo>
                    <a:cubicBezTo>
                      <a:pt x="270" y="49"/>
                      <a:pt x="270" y="49"/>
                      <a:pt x="270" y="49"/>
                    </a:cubicBezTo>
                    <a:cubicBezTo>
                      <a:pt x="282" y="49"/>
                      <a:pt x="286" y="39"/>
                      <a:pt x="286" y="23"/>
                    </a:cubicBezTo>
                    <a:cubicBezTo>
                      <a:pt x="286" y="4"/>
                      <a:pt x="275" y="0"/>
                      <a:pt x="244" y="0"/>
                    </a:cubicBezTo>
                    <a:cubicBezTo>
                      <a:pt x="231" y="0"/>
                      <a:pt x="231" y="0"/>
                      <a:pt x="231" y="0"/>
                    </a:cubicBezTo>
                    <a:cubicBezTo>
                      <a:pt x="101" y="0"/>
                      <a:pt x="0" y="71"/>
                      <a:pt x="0" y="232"/>
                    </a:cubicBezTo>
                    <a:cubicBezTo>
                      <a:pt x="0" y="386"/>
                      <a:pt x="88" y="455"/>
                      <a:pt x="198" y="455"/>
                    </a:cubicBezTo>
                    <a:cubicBezTo>
                      <a:pt x="286" y="455"/>
                      <a:pt x="307" y="430"/>
                      <a:pt x="307" y="40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23" name="Oval 8">
                <a:extLst>
                  <a:ext uri="{FF2B5EF4-FFF2-40B4-BE49-F238E27FC236}">
                    <a16:creationId xmlns:a16="http://schemas.microsoft.com/office/drawing/2014/main" id="{60D97C11-1A3B-5449-A48D-98A3E79B3810}"/>
                  </a:ext>
                </a:extLst>
              </p:cNvPr>
              <p:cNvSpPr>
                <a:spLocks noChangeArrowheads="1"/>
              </p:cNvSpPr>
              <p:nvPr/>
            </p:nvSpPr>
            <p:spPr bwMode="gray">
              <a:xfrm>
                <a:off x="3778" y="2099"/>
                <a:ext cx="122" cy="12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24" name="Freeform 9">
                <a:extLst>
                  <a:ext uri="{FF2B5EF4-FFF2-40B4-BE49-F238E27FC236}">
                    <a16:creationId xmlns:a16="http://schemas.microsoft.com/office/drawing/2014/main" id="{5856770D-B8F0-244E-A05D-AED190086F10}"/>
                  </a:ext>
                </a:extLst>
              </p:cNvPr>
              <p:cNvSpPr>
                <a:spLocks noEditPoints="1"/>
              </p:cNvSpPr>
              <p:nvPr/>
            </p:nvSpPr>
            <p:spPr bwMode="gray">
              <a:xfrm>
                <a:off x="3623" y="1696"/>
                <a:ext cx="1167" cy="922"/>
              </a:xfrm>
              <a:custGeom>
                <a:avLst/>
                <a:gdLst>
                  <a:gd name="T0" fmla="*/ 411 w 580"/>
                  <a:gd name="T1" fmla="*/ 213 h 458"/>
                  <a:gd name="T2" fmla="*/ 570 w 580"/>
                  <a:gd name="T3" fmla="*/ 37 h 458"/>
                  <a:gd name="T4" fmla="*/ 580 w 580"/>
                  <a:gd name="T5" fmla="*/ 20 h 458"/>
                  <a:gd name="T6" fmla="*/ 545 w 580"/>
                  <a:gd name="T7" fmla="*/ 0 h 458"/>
                  <a:gd name="T8" fmla="*/ 519 w 580"/>
                  <a:gd name="T9" fmla="*/ 16 h 458"/>
                  <a:gd name="T10" fmla="*/ 344 w 580"/>
                  <a:gd name="T11" fmla="*/ 210 h 458"/>
                  <a:gd name="T12" fmla="*/ 334 w 580"/>
                  <a:gd name="T13" fmla="*/ 229 h 458"/>
                  <a:gd name="T14" fmla="*/ 344 w 580"/>
                  <a:gd name="T15" fmla="*/ 248 h 458"/>
                  <a:gd name="T16" fmla="*/ 519 w 580"/>
                  <a:gd name="T17" fmla="*/ 442 h 458"/>
                  <a:gd name="T18" fmla="*/ 545 w 580"/>
                  <a:gd name="T19" fmla="*/ 458 h 458"/>
                  <a:gd name="T20" fmla="*/ 580 w 580"/>
                  <a:gd name="T21" fmla="*/ 438 h 458"/>
                  <a:gd name="T22" fmla="*/ 570 w 580"/>
                  <a:gd name="T23" fmla="*/ 421 h 458"/>
                  <a:gd name="T24" fmla="*/ 411 w 580"/>
                  <a:gd name="T25" fmla="*/ 245 h 458"/>
                  <a:gd name="T26" fmla="*/ 399 w 580"/>
                  <a:gd name="T27" fmla="*/ 229 h 458"/>
                  <a:gd name="T28" fmla="*/ 411 w 580"/>
                  <a:gd name="T29" fmla="*/ 213 h 458"/>
                  <a:gd name="T30" fmla="*/ 252 w 580"/>
                  <a:gd name="T31" fmla="*/ 439 h 458"/>
                  <a:gd name="T32" fmla="*/ 281 w 580"/>
                  <a:gd name="T33" fmla="*/ 454 h 458"/>
                  <a:gd name="T34" fmla="*/ 309 w 580"/>
                  <a:gd name="T35" fmla="*/ 439 h 458"/>
                  <a:gd name="T36" fmla="*/ 309 w 580"/>
                  <a:gd name="T37" fmla="*/ 19 h 458"/>
                  <a:gd name="T38" fmla="*/ 281 w 580"/>
                  <a:gd name="T39" fmla="*/ 4 h 458"/>
                  <a:gd name="T40" fmla="*/ 252 w 580"/>
                  <a:gd name="T41" fmla="*/ 19 h 458"/>
                  <a:gd name="T42" fmla="*/ 252 w 580"/>
                  <a:gd name="T43" fmla="*/ 439 h 458"/>
                  <a:gd name="T44" fmla="*/ 0 w 580"/>
                  <a:gd name="T45" fmla="*/ 439 h 458"/>
                  <a:gd name="T46" fmla="*/ 28 w 580"/>
                  <a:gd name="T47" fmla="*/ 454 h 458"/>
                  <a:gd name="T48" fmla="*/ 56 w 580"/>
                  <a:gd name="T49" fmla="*/ 439 h 458"/>
                  <a:gd name="T50" fmla="*/ 56 w 580"/>
                  <a:gd name="T51" fmla="*/ 157 h 458"/>
                  <a:gd name="T52" fmla="*/ 165 w 580"/>
                  <a:gd name="T53" fmla="*/ 53 h 458"/>
                  <a:gd name="T54" fmla="*/ 180 w 580"/>
                  <a:gd name="T55" fmla="*/ 53 h 458"/>
                  <a:gd name="T56" fmla="*/ 196 w 580"/>
                  <a:gd name="T57" fmla="*/ 27 h 458"/>
                  <a:gd name="T58" fmla="*/ 154 w 580"/>
                  <a:gd name="T59" fmla="*/ 4 h 458"/>
                  <a:gd name="T60" fmla="*/ 0 w 580"/>
                  <a:gd name="T61" fmla="*/ 152 h 458"/>
                  <a:gd name="T62" fmla="*/ 0 w 580"/>
                  <a:gd name="T63" fmla="*/ 439 h 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80" h="458">
                    <a:moveTo>
                      <a:pt x="411" y="213"/>
                    </a:moveTo>
                    <a:cubicBezTo>
                      <a:pt x="570" y="37"/>
                      <a:pt x="570" y="37"/>
                      <a:pt x="570" y="37"/>
                    </a:cubicBezTo>
                    <a:cubicBezTo>
                      <a:pt x="576" y="30"/>
                      <a:pt x="580" y="25"/>
                      <a:pt x="580" y="20"/>
                    </a:cubicBezTo>
                    <a:cubicBezTo>
                      <a:pt x="580" y="10"/>
                      <a:pt x="559" y="0"/>
                      <a:pt x="545" y="0"/>
                    </a:cubicBezTo>
                    <a:cubicBezTo>
                      <a:pt x="535" y="0"/>
                      <a:pt x="526" y="8"/>
                      <a:pt x="519" y="16"/>
                    </a:cubicBezTo>
                    <a:cubicBezTo>
                      <a:pt x="344" y="210"/>
                      <a:pt x="344" y="210"/>
                      <a:pt x="344" y="210"/>
                    </a:cubicBezTo>
                    <a:cubicBezTo>
                      <a:pt x="336" y="219"/>
                      <a:pt x="334" y="224"/>
                      <a:pt x="334" y="229"/>
                    </a:cubicBezTo>
                    <a:cubicBezTo>
                      <a:pt x="334" y="234"/>
                      <a:pt x="336" y="239"/>
                      <a:pt x="344" y="248"/>
                    </a:cubicBezTo>
                    <a:cubicBezTo>
                      <a:pt x="519" y="442"/>
                      <a:pt x="519" y="442"/>
                      <a:pt x="519" y="442"/>
                    </a:cubicBezTo>
                    <a:cubicBezTo>
                      <a:pt x="526" y="450"/>
                      <a:pt x="535" y="458"/>
                      <a:pt x="545" y="458"/>
                    </a:cubicBezTo>
                    <a:cubicBezTo>
                      <a:pt x="559" y="458"/>
                      <a:pt x="580" y="448"/>
                      <a:pt x="580" y="438"/>
                    </a:cubicBezTo>
                    <a:cubicBezTo>
                      <a:pt x="580" y="433"/>
                      <a:pt x="576" y="428"/>
                      <a:pt x="570" y="421"/>
                    </a:cubicBezTo>
                    <a:cubicBezTo>
                      <a:pt x="411" y="245"/>
                      <a:pt x="411" y="245"/>
                      <a:pt x="411" y="245"/>
                    </a:cubicBezTo>
                    <a:cubicBezTo>
                      <a:pt x="403" y="236"/>
                      <a:pt x="399" y="232"/>
                      <a:pt x="399" y="229"/>
                    </a:cubicBezTo>
                    <a:cubicBezTo>
                      <a:pt x="399" y="226"/>
                      <a:pt x="403" y="222"/>
                      <a:pt x="411" y="213"/>
                    </a:cubicBezTo>
                    <a:moveTo>
                      <a:pt x="252" y="439"/>
                    </a:moveTo>
                    <a:cubicBezTo>
                      <a:pt x="252" y="449"/>
                      <a:pt x="261" y="454"/>
                      <a:pt x="281" y="454"/>
                    </a:cubicBezTo>
                    <a:cubicBezTo>
                      <a:pt x="300" y="454"/>
                      <a:pt x="309" y="449"/>
                      <a:pt x="309" y="439"/>
                    </a:cubicBezTo>
                    <a:cubicBezTo>
                      <a:pt x="309" y="19"/>
                      <a:pt x="309" y="19"/>
                      <a:pt x="309" y="19"/>
                    </a:cubicBezTo>
                    <a:cubicBezTo>
                      <a:pt x="309" y="9"/>
                      <a:pt x="300" y="4"/>
                      <a:pt x="281" y="4"/>
                    </a:cubicBezTo>
                    <a:cubicBezTo>
                      <a:pt x="261" y="4"/>
                      <a:pt x="252" y="9"/>
                      <a:pt x="252" y="19"/>
                    </a:cubicBezTo>
                    <a:lnTo>
                      <a:pt x="252" y="439"/>
                    </a:lnTo>
                    <a:close/>
                    <a:moveTo>
                      <a:pt x="0" y="439"/>
                    </a:moveTo>
                    <a:cubicBezTo>
                      <a:pt x="0" y="449"/>
                      <a:pt x="8" y="454"/>
                      <a:pt x="28" y="454"/>
                    </a:cubicBezTo>
                    <a:cubicBezTo>
                      <a:pt x="48" y="454"/>
                      <a:pt x="56" y="449"/>
                      <a:pt x="56" y="439"/>
                    </a:cubicBezTo>
                    <a:cubicBezTo>
                      <a:pt x="56" y="157"/>
                      <a:pt x="56" y="157"/>
                      <a:pt x="56" y="157"/>
                    </a:cubicBezTo>
                    <a:cubicBezTo>
                      <a:pt x="56" y="83"/>
                      <a:pt x="85" y="53"/>
                      <a:pt x="165" y="53"/>
                    </a:cubicBezTo>
                    <a:cubicBezTo>
                      <a:pt x="180" y="53"/>
                      <a:pt x="180" y="53"/>
                      <a:pt x="180" y="53"/>
                    </a:cubicBezTo>
                    <a:cubicBezTo>
                      <a:pt x="192" y="53"/>
                      <a:pt x="196" y="43"/>
                      <a:pt x="196" y="27"/>
                    </a:cubicBezTo>
                    <a:cubicBezTo>
                      <a:pt x="196" y="8"/>
                      <a:pt x="185" y="4"/>
                      <a:pt x="154" y="4"/>
                    </a:cubicBezTo>
                    <a:cubicBezTo>
                      <a:pt x="64" y="4"/>
                      <a:pt x="0" y="43"/>
                      <a:pt x="0" y="152"/>
                    </a:cubicBezTo>
                    <a:lnTo>
                      <a:pt x="0" y="43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25" name="Freeform 10">
                <a:extLst>
                  <a:ext uri="{FF2B5EF4-FFF2-40B4-BE49-F238E27FC236}">
                    <a16:creationId xmlns:a16="http://schemas.microsoft.com/office/drawing/2014/main" id="{2B91B16B-BC11-E547-8FAC-B9B8D18EA449}"/>
                  </a:ext>
                </a:extLst>
              </p:cNvPr>
              <p:cNvSpPr>
                <a:spLocks/>
              </p:cNvSpPr>
              <p:nvPr/>
            </p:nvSpPr>
            <p:spPr bwMode="gray">
              <a:xfrm>
                <a:off x="2880" y="1704"/>
                <a:ext cx="618" cy="916"/>
              </a:xfrm>
              <a:custGeom>
                <a:avLst/>
                <a:gdLst>
                  <a:gd name="T0" fmla="*/ 307 w 307"/>
                  <a:gd name="T1" fmla="*/ 405 h 455"/>
                  <a:gd name="T2" fmla="*/ 307 w 307"/>
                  <a:gd name="T3" fmla="*/ 244 h 455"/>
                  <a:gd name="T4" fmla="*/ 279 w 307"/>
                  <a:gd name="T5" fmla="*/ 229 h 455"/>
                  <a:gd name="T6" fmla="*/ 250 w 307"/>
                  <a:gd name="T7" fmla="*/ 244 h 455"/>
                  <a:gd name="T8" fmla="*/ 250 w 307"/>
                  <a:gd name="T9" fmla="*/ 378 h 455"/>
                  <a:gd name="T10" fmla="*/ 199 w 307"/>
                  <a:gd name="T11" fmla="*/ 408 h 455"/>
                  <a:gd name="T12" fmla="*/ 61 w 307"/>
                  <a:gd name="T13" fmla="*/ 231 h 455"/>
                  <a:gd name="T14" fmla="*/ 238 w 307"/>
                  <a:gd name="T15" fmla="*/ 49 h 455"/>
                  <a:gd name="T16" fmla="*/ 270 w 307"/>
                  <a:gd name="T17" fmla="*/ 49 h 455"/>
                  <a:gd name="T18" fmla="*/ 286 w 307"/>
                  <a:gd name="T19" fmla="*/ 23 h 455"/>
                  <a:gd name="T20" fmla="*/ 244 w 307"/>
                  <a:gd name="T21" fmla="*/ 0 h 455"/>
                  <a:gd name="T22" fmla="*/ 231 w 307"/>
                  <a:gd name="T23" fmla="*/ 0 h 455"/>
                  <a:gd name="T24" fmla="*/ 0 w 307"/>
                  <a:gd name="T25" fmla="*/ 232 h 455"/>
                  <a:gd name="T26" fmla="*/ 198 w 307"/>
                  <a:gd name="T27" fmla="*/ 455 h 455"/>
                  <a:gd name="T28" fmla="*/ 307 w 307"/>
                  <a:gd name="T29" fmla="*/ 405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7" h="455">
                    <a:moveTo>
                      <a:pt x="307" y="405"/>
                    </a:moveTo>
                    <a:cubicBezTo>
                      <a:pt x="307" y="244"/>
                      <a:pt x="307" y="244"/>
                      <a:pt x="307" y="244"/>
                    </a:cubicBezTo>
                    <a:cubicBezTo>
                      <a:pt x="307" y="234"/>
                      <a:pt x="298" y="229"/>
                      <a:pt x="279" y="229"/>
                    </a:cubicBezTo>
                    <a:cubicBezTo>
                      <a:pt x="259" y="229"/>
                      <a:pt x="250" y="234"/>
                      <a:pt x="250" y="244"/>
                    </a:cubicBezTo>
                    <a:cubicBezTo>
                      <a:pt x="250" y="378"/>
                      <a:pt x="250" y="378"/>
                      <a:pt x="250" y="378"/>
                    </a:cubicBezTo>
                    <a:cubicBezTo>
                      <a:pt x="250" y="399"/>
                      <a:pt x="241" y="408"/>
                      <a:pt x="199" y="408"/>
                    </a:cubicBezTo>
                    <a:cubicBezTo>
                      <a:pt x="114" y="408"/>
                      <a:pt x="61" y="342"/>
                      <a:pt x="61" y="231"/>
                    </a:cubicBezTo>
                    <a:cubicBezTo>
                      <a:pt x="61" y="115"/>
                      <a:pt x="126" y="49"/>
                      <a:pt x="238" y="49"/>
                    </a:cubicBezTo>
                    <a:cubicBezTo>
                      <a:pt x="270" y="49"/>
                      <a:pt x="270" y="49"/>
                      <a:pt x="270" y="49"/>
                    </a:cubicBezTo>
                    <a:cubicBezTo>
                      <a:pt x="282" y="49"/>
                      <a:pt x="286" y="39"/>
                      <a:pt x="286" y="23"/>
                    </a:cubicBezTo>
                    <a:cubicBezTo>
                      <a:pt x="286" y="4"/>
                      <a:pt x="275" y="0"/>
                      <a:pt x="244" y="0"/>
                    </a:cubicBezTo>
                    <a:cubicBezTo>
                      <a:pt x="231" y="0"/>
                      <a:pt x="231" y="0"/>
                      <a:pt x="231" y="0"/>
                    </a:cubicBezTo>
                    <a:cubicBezTo>
                      <a:pt x="101" y="0"/>
                      <a:pt x="0" y="71"/>
                      <a:pt x="0" y="232"/>
                    </a:cubicBezTo>
                    <a:cubicBezTo>
                      <a:pt x="0" y="386"/>
                      <a:pt x="88" y="455"/>
                      <a:pt x="198" y="455"/>
                    </a:cubicBezTo>
                    <a:cubicBezTo>
                      <a:pt x="286" y="455"/>
                      <a:pt x="307" y="430"/>
                      <a:pt x="307" y="40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26" name="Oval 11">
                <a:extLst>
                  <a:ext uri="{FF2B5EF4-FFF2-40B4-BE49-F238E27FC236}">
                    <a16:creationId xmlns:a16="http://schemas.microsoft.com/office/drawing/2014/main" id="{14F8C3C8-4888-7646-B9B4-64EB46A1DA23}"/>
                  </a:ext>
                </a:extLst>
              </p:cNvPr>
              <p:cNvSpPr>
                <a:spLocks noChangeArrowheads="1"/>
              </p:cNvSpPr>
              <p:nvPr/>
            </p:nvSpPr>
            <p:spPr bwMode="gray">
              <a:xfrm>
                <a:off x="3778" y="2099"/>
                <a:ext cx="122" cy="12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27" name="Freeform 12">
                <a:extLst>
                  <a:ext uri="{FF2B5EF4-FFF2-40B4-BE49-F238E27FC236}">
                    <a16:creationId xmlns:a16="http://schemas.microsoft.com/office/drawing/2014/main" id="{D79D01D1-4E3E-F34B-97D7-2D387E68746E}"/>
                  </a:ext>
                </a:extLst>
              </p:cNvPr>
              <p:cNvSpPr>
                <a:spLocks/>
              </p:cNvSpPr>
              <p:nvPr/>
            </p:nvSpPr>
            <p:spPr bwMode="gray">
              <a:xfrm>
                <a:off x="4321" y="1029"/>
                <a:ext cx="648" cy="649"/>
              </a:xfrm>
              <a:custGeom>
                <a:avLst/>
                <a:gdLst>
                  <a:gd name="T0" fmla="*/ 0 w 648"/>
                  <a:gd name="T1" fmla="*/ 649 h 649"/>
                  <a:gd name="T2" fmla="*/ 2 w 648"/>
                  <a:gd name="T3" fmla="*/ 649 h 649"/>
                  <a:gd name="T4" fmla="*/ 648 w 648"/>
                  <a:gd name="T5" fmla="*/ 0 h 649"/>
                  <a:gd name="T6" fmla="*/ 423 w 648"/>
                  <a:gd name="T7" fmla="*/ 0 h 649"/>
                  <a:gd name="T8" fmla="*/ 0 w 648"/>
                  <a:gd name="T9" fmla="*/ 649 h 649"/>
                </a:gdLst>
                <a:ahLst/>
                <a:cxnLst>
                  <a:cxn ang="0">
                    <a:pos x="T0" y="T1"/>
                  </a:cxn>
                  <a:cxn ang="0">
                    <a:pos x="T2" y="T3"/>
                  </a:cxn>
                  <a:cxn ang="0">
                    <a:pos x="T4" y="T5"/>
                  </a:cxn>
                  <a:cxn ang="0">
                    <a:pos x="T6" y="T7"/>
                  </a:cxn>
                  <a:cxn ang="0">
                    <a:pos x="T8" y="T9"/>
                  </a:cxn>
                </a:cxnLst>
                <a:rect l="0" t="0" r="r" b="b"/>
                <a:pathLst>
                  <a:path w="648" h="649">
                    <a:moveTo>
                      <a:pt x="0" y="649"/>
                    </a:moveTo>
                    <a:lnTo>
                      <a:pt x="2" y="649"/>
                    </a:lnTo>
                    <a:lnTo>
                      <a:pt x="648" y="0"/>
                    </a:lnTo>
                    <a:lnTo>
                      <a:pt x="423" y="0"/>
                    </a:lnTo>
                    <a:lnTo>
                      <a:pt x="0" y="64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28" name="Freeform 13">
                <a:extLst>
                  <a:ext uri="{FF2B5EF4-FFF2-40B4-BE49-F238E27FC236}">
                    <a16:creationId xmlns:a16="http://schemas.microsoft.com/office/drawing/2014/main" id="{46549898-6C52-B147-A8F6-A73FDBE6163B}"/>
                  </a:ext>
                </a:extLst>
              </p:cNvPr>
              <p:cNvSpPr>
                <a:spLocks/>
              </p:cNvSpPr>
              <p:nvPr/>
            </p:nvSpPr>
            <p:spPr bwMode="gray">
              <a:xfrm>
                <a:off x="4321" y="1029"/>
                <a:ext cx="648" cy="649"/>
              </a:xfrm>
              <a:custGeom>
                <a:avLst/>
                <a:gdLst>
                  <a:gd name="T0" fmla="*/ 0 w 648"/>
                  <a:gd name="T1" fmla="*/ 649 h 649"/>
                  <a:gd name="T2" fmla="*/ 2 w 648"/>
                  <a:gd name="T3" fmla="*/ 649 h 649"/>
                  <a:gd name="T4" fmla="*/ 648 w 648"/>
                  <a:gd name="T5" fmla="*/ 0 h 649"/>
                  <a:gd name="T6" fmla="*/ 423 w 648"/>
                  <a:gd name="T7" fmla="*/ 0 h 649"/>
                  <a:gd name="T8" fmla="*/ 0 w 648"/>
                  <a:gd name="T9" fmla="*/ 649 h 649"/>
                </a:gdLst>
                <a:ahLst/>
                <a:cxnLst>
                  <a:cxn ang="0">
                    <a:pos x="T0" y="T1"/>
                  </a:cxn>
                  <a:cxn ang="0">
                    <a:pos x="T2" y="T3"/>
                  </a:cxn>
                  <a:cxn ang="0">
                    <a:pos x="T4" y="T5"/>
                  </a:cxn>
                  <a:cxn ang="0">
                    <a:pos x="T6" y="T7"/>
                  </a:cxn>
                  <a:cxn ang="0">
                    <a:pos x="T8" y="T9"/>
                  </a:cxn>
                </a:cxnLst>
                <a:rect l="0" t="0" r="r" b="b"/>
                <a:pathLst>
                  <a:path w="648" h="649">
                    <a:moveTo>
                      <a:pt x="0" y="649"/>
                    </a:moveTo>
                    <a:lnTo>
                      <a:pt x="2" y="649"/>
                    </a:lnTo>
                    <a:lnTo>
                      <a:pt x="648" y="0"/>
                    </a:lnTo>
                    <a:lnTo>
                      <a:pt x="423" y="0"/>
                    </a:lnTo>
                    <a:lnTo>
                      <a:pt x="0" y="64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grpSp>
      </p:grpSp>
      <p:sp>
        <p:nvSpPr>
          <p:cNvPr id="7" name="Date Placeholder 6"/>
          <p:cNvSpPr>
            <a:spLocks noGrp="1"/>
          </p:cNvSpPr>
          <p:nvPr>
            <p:ph type="dt" sz="half" idx="10"/>
          </p:nvPr>
        </p:nvSpPr>
        <p:spPr>
          <a:xfrm>
            <a:off x="0" y="0"/>
            <a:ext cx="0" cy="0"/>
          </a:xfrm>
          <a:prstGeom prst="rect">
            <a:avLst/>
          </a:prstGeom>
        </p:spPr>
        <p:txBody>
          <a:bodyPr/>
          <a:lstStyle>
            <a:lvl1pPr>
              <a:defRPr sz="100">
                <a:noFill/>
              </a:defRPr>
            </a:lvl1pPr>
          </a:lstStyle>
          <a:p>
            <a:endParaRPr lang="en-US"/>
          </a:p>
        </p:txBody>
      </p:sp>
      <p:sp>
        <p:nvSpPr>
          <p:cNvPr id="8" name="Footer Placeholder 7"/>
          <p:cNvSpPr>
            <a:spLocks noGrp="1"/>
          </p:cNvSpPr>
          <p:nvPr>
            <p:ph type="ftr" sz="quarter" idx="11"/>
          </p:nvPr>
        </p:nvSpPr>
        <p:spPr>
          <a:xfrm>
            <a:off x="0" y="0"/>
            <a:ext cx="0" cy="0"/>
          </a:xfrm>
          <a:prstGeom prst="rect">
            <a:avLst/>
          </a:prstGeom>
        </p:spPr>
        <p:txBody>
          <a:bodyPr/>
          <a:lstStyle>
            <a:lvl1pPr marL="0" indent="0">
              <a:buNone/>
              <a:defRPr sz="100">
                <a:noFill/>
              </a:defRPr>
            </a:lvl1pPr>
          </a:lstStyle>
          <a:p>
            <a:endParaRPr lang="en-US"/>
          </a:p>
        </p:txBody>
      </p:sp>
      <p:sp>
        <p:nvSpPr>
          <p:cNvPr id="9" name="Slide Number Placeholder 8"/>
          <p:cNvSpPr>
            <a:spLocks noGrp="1"/>
          </p:cNvSpPr>
          <p:nvPr>
            <p:ph type="sldNum" sz="quarter" idx="12"/>
          </p:nvPr>
        </p:nvSpPr>
        <p:spPr>
          <a:xfrm>
            <a:off x="0" y="0"/>
            <a:ext cx="0" cy="0"/>
          </a:xfrm>
          <a:prstGeom prst="rect">
            <a:avLst/>
          </a:prstGeom>
        </p:spPr>
        <p:txBody>
          <a:bodyPr/>
          <a:lstStyle>
            <a:lvl1pPr>
              <a:defRPr sz="100">
                <a:noFill/>
              </a:defRPr>
            </a:lvl1pPr>
          </a:lstStyle>
          <a:p>
            <a:fld id="{8E3B25F7-8D1F-44B5-B485-EE3C438CFD7B}" type="slidenum">
              <a:rPr lang="en-US" smtClean="0"/>
              <a:pPr/>
              <a:t>‹#›</a:t>
            </a:fld>
            <a:endParaRPr lang="en-US"/>
          </a:p>
        </p:txBody>
      </p:sp>
      <p:sp>
        <p:nvSpPr>
          <p:cNvPr id="2" name="Title 1"/>
          <p:cNvSpPr>
            <a:spLocks noGrp="1"/>
          </p:cNvSpPr>
          <p:nvPr>
            <p:ph type="ctrTitle" hasCustomPrompt="1"/>
          </p:nvPr>
        </p:nvSpPr>
        <p:spPr>
          <a:xfrm>
            <a:off x="4524589" y="1628775"/>
            <a:ext cx="5707662" cy="2236264"/>
          </a:xfrm>
        </p:spPr>
        <p:txBody>
          <a:bodyPr anchor="b"/>
          <a:lstStyle>
            <a:lvl1pPr algn="l">
              <a:defRPr sz="3600" baseline="0"/>
            </a:lvl1pPr>
          </a:lstStyle>
          <a:p>
            <a:r>
              <a:rPr lang="en-US"/>
              <a:t>Click to add a longer presentation title</a:t>
            </a:r>
          </a:p>
        </p:txBody>
      </p:sp>
      <p:sp>
        <p:nvSpPr>
          <p:cNvPr id="3" name="Subtitle 2"/>
          <p:cNvSpPr>
            <a:spLocks noGrp="1"/>
          </p:cNvSpPr>
          <p:nvPr>
            <p:ph type="subTitle" idx="1" hasCustomPrompt="1"/>
          </p:nvPr>
        </p:nvSpPr>
        <p:spPr>
          <a:xfrm>
            <a:off x="4524589" y="4094163"/>
            <a:ext cx="5707662" cy="1080000"/>
          </a:xfrm>
        </p:spPr>
        <p:txBody>
          <a:bodyPr/>
          <a:lstStyle>
            <a:lvl1pPr marL="0" indent="0" algn="l">
              <a:spcBef>
                <a:spcPts val="0"/>
              </a:spcBef>
              <a:buNone/>
              <a:defRPr sz="1800" b="1"/>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sp>
        <p:nvSpPr>
          <p:cNvPr id="31" name="Text Placeholder 30"/>
          <p:cNvSpPr>
            <a:spLocks noGrp="1"/>
          </p:cNvSpPr>
          <p:nvPr>
            <p:ph type="body" sz="quarter" idx="14" hasCustomPrompt="1"/>
          </p:nvPr>
        </p:nvSpPr>
        <p:spPr>
          <a:xfrm>
            <a:off x="417600" y="5393268"/>
            <a:ext cx="2494933" cy="296332"/>
          </a:xfrm>
        </p:spPr>
        <p:txBody>
          <a:bodyPr wrap="none"/>
          <a:lstStyle>
            <a:lvl1pPr marL="0" indent="0">
              <a:spcBef>
                <a:spcPts val="0"/>
              </a:spcBef>
              <a:buNone/>
              <a:defRPr sz="1200"/>
            </a:lvl1pPr>
            <a:lvl2pPr marL="0" indent="0">
              <a:buNone/>
              <a:defRPr sz="1200"/>
            </a:lvl2pPr>
            <a:lvl3pPr marL="0" indent="0">
              <a:buNone/>
              <a:defRPr sz="1200"/>
            </a:lvl3pPr>
            <a:lvl4pPr marL="0">
              <a:buNone/>
              <a:defRPr sz="1200"/>
            </a:lvl4pPr>
            <a:lvl5pPr marL="0" indent="0">
              <a:buNone/>
              <a:defRPr sz="1200"/>
            </a:lvl5pPr>
          </a:lstStyle>
          <a:p>
            <a:pPr lvl="0"/>
            <a:r>
              <a:rPr lang="en-US"/>
              <a:t>Name</a:t>
            </a:r>
          </a:p>
        </p:txBody>
      </p:sp>
      <p:sp>
        <p:nvSpPr>
          <p:cNvPr id="34" name="Text Placeholder 30"/>
          <p:cNvSpPr>
            <a:spLocks noGrp="1"/>
          </p:cNvSpPr>
          <p:nvPr>
            <p:ph type="body" sz="quarter" idx="15" hasCustomPrompt="1"/>
          </p:nvPr>
        </p:nvSpPr>
        <p:spPr>
          <a:xfrm>
            <a:off x="417600" y="5691446"/>
            <a:ext cx="2494933" cy="296332"/>
          </a:xfrm>
        </p:spPr>
        <p:txBody>
          <a:bodyPr wrap="none"/>
          <a:lstStyle>
            <a:lvl1pPr marL="0" indent="0">
              <a:spcBef>
                <a:spcPts val="0"/>
              </a:spcBef>
              <a:buNone/>
              <a:defRPr sz="1200"/>
            </a:lvl1pPr>
            <a:lvl2pPr marL="0" indent="0">
              <a:buNone/>
              <a:defRPr sz="1200"/>
            </a:lvl2pPr>
            <a:lvl3pPr marL="0" indent="0">
              <a:buNone/>
              <a:defRPr sz="1200"/>
            </a:lvl3pPr>
            <a:lvl4pPr marL="0">
              <a:buNone/>
              <a:defRPr sz="1200"/>
            </a:lvl4pPr>
            <a:lvl5pPr marL="0" indent="0">
              <a:buNone/>
              <a:defRPr sz="1200"/>
            </a:lvl5pPr>
          </a:lstStyle>
          <a:p>
            <a:pPr lvl="0"/>
            <a:r>
              <a:rPr lang="en-US"/>
              <a:t>Department</a:t>
            </a:r>
          </a:p>
        </p:txBody>
      </p:sp>
    </p:spTree>
    <p:extLst>
      <p:ext uri="{BB962C8B-B14F-4D97-AF65-F5344CB8AC3E}">
        <p14:creationId xmlns:p14="http://schemas.microsoft.com/office/powerpoint/2010/main" val="4172458683"/>
      </p:ext>
    </p:extLst>
  </p:cSld>
  <p:clrMapOvr>
    <a:masterClrMapping/>
  </p:clrMapOvr>
</p:sldLayout>
</file>

<file path=ppt/slideLayouts/slideLayout362.xml><?xml version="1.0" encoding="utf-8"?>
<p:sldLayout xmlns:a="http://schemas.openxmlformats.org/drawingml/2006/main" xmlns:r="http://schemas.openxmlformats.org/officeDocument/2006/relationships" xmlns:p="http://schemas.openxmlformats.org/presentationml/2006/main" showMasterSp="0" preserve="1">
  <p:cSld name="Title with picture">
    <p:spTree>
      <p:nvGrpSpPr>
        <p:cNvPr id="1" name=""/>
        <p:cNvGrpSpPr/>
        <p:nvPr/>
      </p:nvGrpSpPr>
      <p:grpSpPr>
        <a:xfrm>
          <a:off x="0" y="0"/>
          <a:ext cx="0" cy="0"/>
          <a:chOff x="0" y="0"/>
          <a:chExt cx="0" cy="0"/>
        </a:xfrm>
      </p:grpSpPr>
      <p:sp>
        <p:nvSpPr>
          <p:cNvPr id="12" name="Picture Placeholder 11"/>
          <p:cNvSpPr>
            <a:spLocks noGrp="1"/>
          </p:cNvSpPr>
          <p:nvPr>
            <p:ph type="pic" sz="quarter" idx="13" hasCustomPrompt="1"/>
          </p:nvPr>
        </p:nvSpPr>
        <p:spPr>
          <a:xfrm>
            <a:off x="3376226" y="0"/>
            <a:ext cx="8815774" cy="6858000"/>
          </a:xfrm>
          <a:custGeom>
            <a:avLst/>
            <a:gdLst>
              <a:gd name="connsiteX0" fmla="*/ 331042 w 8815774"/>
              <a:gd name="connsiteY0" fmla="*/ 0 h 6858000"/>
              <a:gd name="connsiteX1" fmla="*/ 8815774 w 8815774"/>
              <a:gd name="connsiteY1" fmla="*/ 0 h 6858000"/>
              <a:gd name="connsiteX2" fmla="*/ 8815774 w 8815774"/>
              <a:gd name="connsiteY2" fmla="*/ 6858000 h 6858000"/>
              <a:gd name="connsiteX3" fmla="*/ 0 w 8815774"/>
              <a:gd name="connsiteY3" fmla="*/ 6858000 h 6858000"/>
              <a:gd name="connsiteX4" fmla="*/ 1580491 w 8815774"/>
              <a:gd name="connsiteY4" fmla="*/ 4163677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15774" h="6858000">
                <a:moveTo>
                  <a:pt x="331042" y="0"/>
                </a:moveTo>
                <a:lnTo>
                  <a:pt x="8815774" y="0"/>
                </a:lnTo>
                <a:lnTo>
                  <a:pt x="8815774" y="6858000"/>
                </a:lnTo>
                <a:lnTo>
                  <a:pt x="0" y="6858000"/>
                </a:lnTo>
                <a:lnTo>
                  <a:pt x="1580491" y="4163677"/>
                </a:lnTo>
                <a:close/>
              </a:path>
            </a:pathLst>
          </a:custGeom>
          <a:solidFill>
            <a:srgbClr val="D9DADB"/>
          </a:solidFill>
        </p:spPr>
        <p:txBody>
          <a:bodyPr wrap="square">
            <a:noAutofit/>
          </a:bodyPr>
          <a:lstStyle>
            <a:lvl1pPr marL="0" indent="0" algn="ctr">
              <a:buNone/>
              <a:defRPr/>
            </a:lvl1pPr>
          </a:lstStyle>
          <a:p>
            <a:r>
              <a:rPr lang="en-US"/>
              <a:t>Insert picture</a:t>
            </a:r>
          </a:p>
        </p:txBody>
      </p:sp>
      <p:grpSp>
        <p:nvGrpSpPr>
          <p:cNvPr id="14" name="logo">
            <a:extLst>
              <a:ext uri="{FF2B5EF4-FFF2-40B4-BE49-F238E27FC236}">
                <a16:creationId xmlns:a16="http://schemas.microsoft.com/office/drawing/2014/main" id="{18C26D95-70F8-8A4D-9F18-DCCB92522AF8}"/>
              </a:ext>
            </a:extLst>
          </p:cNvPr>
          <p:cNvGrpSpPr/>
          <p:nvPr/>
        </p:nvGrpSpPr>
        <p:grpSpPr bwMode="gray">
          <a:xfrm>
            <a:off x="417363" y="407485"/>
            <a:ext cx="1518585" cy="646507"/>
            <a:chOff x="334963" y="296652"/>
            <a:chExt cx="1268411" cy="540000"/>
          </a:xfrm>
        </p:grpSpPr>
        <p:sp>
          <p:nvSpPr>
            <p:cNvPr id="17" name="Freeform 6">
              <a:extLst>
                <a:ext uri="{FF2B5EF4-FFF2-40B4-BE49-F238E27FC236}">
                  <a16:creationId xmlns:a16="http://schemas.microsoft.com/office/drawing/2014/main" id="{08737AD0-E375-E445-97E6-CD2E2DF60620}"/>
                </a:ext>
              </a:extLst>
            </p:cNvPr>
            <p:cNvSpPr>
              <a:spLocks noEditPoints="1"/>
            </p:cNvSpPr>
            <p:nvPr/>
          </p:nvSpPr>
          <p:spPr bwMode="gray">
            <a:xfrm>
              <a:off x="982662" y="360462"/>
              <a:ext cx="620712" cy="431800"/>
            </a:xfrm>
            <a:custGeom>
              <a:avLst/>
              <a:gdLst>
                <a:gd name="T0" fmla="*/ 19 w 1809"/>
                <a:gd name="T1" fmla="*/ 97 h 1253"/>
                <a:gd name="T2" fmla="*/ 165 w 1809"/>
                <a:gd name="T3" fmla="*/ 41 h 1253"/>
                <a:gd name="T4" fmla="*/ 211 w 1809"/>
                <a:gd name="T5" fmla="*/ 224 h 1253"/>
                <a:gd name="T6" fmla="*/ 248 w 1809"/>
                <a:gd name="T7" fmla="*/ 155 h 1253"/>
                <a:gd name="T8" fmla="*/ 931 w 1809"/>
                <a:gd name="T9" fmla="*/ 995 h 1253"/>
                <a:gd name="T10" fmla="*/ 858 w 1809"/>
                <a:gd name="T11" fmla="*/ 1115 h 1253"/>
                <a:gd name="T12" fmla="*/ 749 w 1809"/>
                <a:gd name="T13" fmla="*/ 1117 h 1253"/>
                <a:gd name="T14" fmla="*/ 681 w 1809"/>
                <a:gd name="T15" fmla="*/ 1055 h 1253"/>
                <a:gd name="T16" fmla="*/ 800 w 1809"/>
                <a:gd name="T17" fmla="*/ 1054 h 1253"/>
                <a:gd name="T18" fmla="*/ 884 w 1809"/>
                <a:gd name="T19" fmla="*/ 1181 h 1253"/>
                <a:gd name="T20" fmla="*/ 118 w 1809"/>
                <a:gd name="T21" fmla="*/ 1086 h 1253"/>
                <a:gd name="T22" fmla="*/ 147 w 1809"/>
                <a:gd name="T23" fmla="*/ 1026 h 1253"/>
                <a:gd name="T24" fmla="*/ 102 w 1809"/>
                <a:gd name="T25" fmla="*/ 1026 h 1253"/>
                <a:gd name="T26" fmla="*/ 639 w 1809"/>
                <a:gd name="T27" fmla="*/ 84 h 1253"/>
                <a:gd name="T28" fmla="*/ 763 w 1809"/>
                <a:gd name="T29" fmla="*/ 145 h 1253"/>
                <a:gd name="T30" fmla="*/ 863 w 1809"/>
                <a:gd name="T31" fmla="*/ 221 h 1253"/>
                <a:gd name="T32" fmla="*/ 834 w 1809"/>
                <a:gd name="T33" fmla="*/ 208 h 1253"/>
                <a:gd name="T34" fmla="*/ 719 w 1809"/>
                <a:gd name="T35" fmla="*/ 182 h 1253"/>
                <a:gd name="T36" fmla="*/ 507 w 1809"/>
                <a:gd name="T37" fmla="*/ 711 h 1253"/>
                <a:gd name="T38" fmla="*/ 614 w 1809"/>
                <a:gd name="T39" fmla="*/ 706 h 1253"/>
                <a:gd name="T40" fmla="*/ 736 w 1809"/>
                <a:gd name="T41" fmla="*/ 730 h 1253"/>
                <a:gd name="T42" fmla="*/ 607 w 1809"/>
                <a:gd name="T43" fmla="*/ 539 h 1253"/>
                <a:gd name="T44" fmla="*/ 1505 w 1809"/>
                <a:gd name="T45" fmla="*/ 1136 h 1253"/>
                <a:gd name="T46" fmla="*/ 1613 w 1809"/>
                <a:gd name="T47" fmla="*/ 1002 h 1253"/>
                <a:gd name="T48" fmla="*/ 1472 w 1809"/>
                <a:gd name="T49" fmla="*/ 1164 h 1253"/>
                <a:gd name="T50" fmla="*/ 1525 w 1809"/>
                <a:gd name="T51" fmla="*/ 1142 h 1253"/>
                <a:gd name="T52" fmla="*/ 1556 w 1809"/>
                <a:gd name="T53" fmla="*/ 1172 h 1253"/>
                <a:gd name="T54" fmla="*/ 1387 w 1809"/>
                <a:gd name="T55" fmla="*/ 910 h 1253"/>
                <a:gd name="T56" fmla="*/ 1261 w 1809"/>
                <a:gd name="T57" fmla="*/ 1157 h 1253"/>
                <a:gd name="T58" fmla="*/ 1413 w 1809"/>
                <a:gd name="T59" fmla="*/ 934 h 1253"/>
                <a:gd name="T60" fmla="*/ 1378 w 1809"/>
                <a:gd name="T61" fmla="*/ 1052 h 1253"/>
                <a:gd name="T62" fmla="*/ 488 w 1809"/>
                <a:gd name="T63" fmla="*/ 85 h 1253"/>
                <a:gd name="T64" fmla="*/ 509 w 1809"/>
                <a:gd name="T65" fmla="*/ 112 h 1253"/>
                <a:gd name="T66" fmla="*/ 548 w 1809"/>
                <a:gd name="T67" fmla="*/ 1187 h 1253"/>
                <a:gd name="T68" fmla="*/ 472 w 1809"/>
                <a:gd name="T69" fmla="*/ 1122 h 1253"/>
                <a:gd name="T70" fmla="*/ 558 w 1809"/>
                <a:gd name="T71" fmla="*/ 1157 h 1253"/>
                <a:gd name="T72" fmla="*/ 287 w 1809"/>
                <a:gd name="T73" fmla="*/ 654 h 1253"/>
                <a:gd name="T74" fmla="*/ 416 w 1809"/>
                <a:gd name="T75" fmla="*/ 684 h 1253"/>
                <a:gd name="T76" fmla="*/ 1106 w 1809"/>
                <a:gd name="T77" fmla="*/ 147 h 1253"/>
                <a:gd name="T78" fmla="*/ 1229 w 1809"/>
                <a:gd name="T79" fmla="*/ 258 h 1253"/>
                <a:gd name="T80" fmla="*/ 1106 w 1809"/>
                <a:gd name="T81" fmla="*/ 96 h 1253"/>
                <a:gd name="T82" fmla="*/ 1219 w 1809"/>
                <a:gd name="T83" fmla="*/ 1077 h 1253"/>
                <a:gd name="T84" fmla="*/ 1214 w 1809"/>
                <a:gd name="T85" fmla="*/ 1157 h 1253"/>
                <a:gd name="T86" fmla="*/ 1150 w 1809"/>
                <a:gd name="T87" fmla="*/ 1092 h 1253"/>
                <a:gd name="T88" fmla="*/ 1139 w 1809"/>
                <a:gd name="T89" fmla="*/ 1070 h 1253"/>
                <a:gd name="T90" fmla="*/ 1659 w 1809"/>
                <a:gd name="T91" fmla="*/ 1031 h 1253"/>
                <a:gd name="T92" fmla="*/ 1714 w 1809"/>
                <a:gd name="T93" fmla="*/ 1155 h 1253"/>
                <a:gd name="T94" fmla="*/ 1760 w 1809"/>
                <a:gd name="T95" fmla="*/ 1030 h 1253"/>
                <a:gd name="T96" fmla="*/ 111 w 1809"/>
                <a:gd name="T97" fmla="*/ 569 h 1253"/>
                <a:gd name="T98" fmla="*/ 109 w 1809"/>
                <a:gd name="T99" fmla="*/ 460 h 1253"/>
                <a:gd name="T100" fmla="*/ 32 w 1809"/>
                <a:gd name="T101" fmla="*/ 704 h 1253"/>
                <a:gd name="T102" fmla="*/ 310 w 1809"/>
                <a:gd name="T103" fmla="*/ 1058 h 1253"/>
                <a:gd name="T104" fmla="*/ 431 w 1809"/>
                <a:gd name="T105" fmla="*/ 1044 h 1253"/>
                <a:gd name="T106" fmla="*/ 278 w 1809"/>
                <a:gd name="T107" fmla="*/ 1165 h 1253"/>
                <a:gd name="T108" fmla="*/ 261 w 1809"/>
                <a:gd name="T109" fmla="*/ 540 h 1253"/>
                <a:gd name="T110" fmla="*/ 150 w 1809"/>
                <a:gd name="T111" fmla="*/ 635 h 1253"/>
                <a:gd name="T112" fmla="*/ 994 w 1809"/>
                <a:gd name="T113" fmla="*/ 1185 h 1253"/>
                <a:gd name="T114" fmla="*/ 331 w 1809"/>
                <a:gd name="T115" fmla="*/ 176 h 1253"/>
                <a:gd name="T116" fmla="*/ 333 w 1809"/>
                <a:gd name="T117" fmla="*/ 109 h 1253"/>
                <a:gd name="T118" fmla="*/ 946 w 1809"/>
                <a:gd name="T119" fmla="*/ 234 h 1253"/>
                <a:gd name="T120" fmla="*/ 1022 w 1809"/>
                <a:gd name="T121" fmla="*/ 113 h 1253"/>
                <a:gd name="T122" fmla="*/ 949 w 1809"/>
                <a:gd name="T123" fmla="*/ 65 h 1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09" h="1253">
                  <a:moveTo>
                    <a:pt x="248" y="198"/>
                  </a:moveTo>
                  <a:cubicBezTo>
                    <a:pt x="248" y="211"/>
                    <a:pt x="248" y="224"/>
                    <a:pt x="249" y="237"/>
                  </a:cubicBezTo>
                  <a:cubicBezTo>
                    <a:pt x="249" y="245"/>
                    <a:pt x="246" y="249"/>
                    <a:pt x="240" y="253"/>
                  </a:cubicBezTo>
                  <a:cubicBezTo>
                    <a:pt x="231" y="260"/>
                    <a:pt x="220" y="264"/>
                    <a:pt x="209" y="268"/>
                  </a:cubicBezTo>
                  <a:cubicBezTo>
                    <a:pt x="179" y="279"/>
                    <a:pt x="148" y="280"/>
                    <a:pt x="118" y="275"/>
                  </a:cubicBezTo>
                  <a:cubicBezTo>
                    <a:pt x="86" y="269"/>
                    <a:pt x="58" y="252"/>
                    <a:pt x="39" y="224"/>
                  </a:cubicBezTo>
                  <a:cubicBezTo>
                    <a:pt x="24" y="203"/>
                    <a:pt x="18" y="180"/>
                    <a:pt x="15" y="155"/>
                  </a:cubicBezTo>
                  <a:cubicBezTo>
                    <a:pt x="11" y="135"/>
                    <a:pt x="15" y="115"/>
                    <a:pt x="19" y="97"/>
                  </a:cubicBezTo>
                  <a:cubicBezTo>
                    <a:pt x="26" y="68"/>
                    <a:pt x="42" y="44"/>
                    <a:pt x="68" y="27"/>
                  </a:cubicBezTo>
                  <a:cubicBezTo>
                    <a:pt x="87" y="14"/>
                    <a:pt x="109" y="6"/>
                    <a:pt x="133" y="5"/>
                  </a:cubicBezTo>
                  <a:cubicBezTo>
                    <a:pt x="149" y="4"/>
                    <a:pt x="165" y="5"/>
                    <a:pt x="181" y="6"/>
                  </a:cubicBezTo>
                  <a:cubicBezTo>
                    <a:pt x="204" y="8"/>
                    <a:pt x="225" y="20"/>
                    <a:pt x="243" y="35"/>
                  </a:cubicBezTo>
                  <a:cubicBezTo>
                    <a:pt x="246" y="37"/>
                    <a:pt x="246" y="40"/>
                    <a:pt x="244" y="43"/>
                  </a:cubicBezTo>
                  <a:cubicBezTo>
                    <a:pt x="242" y="47"/>
                    <a:pt x="239" y="52"/>
                    <a:pt x="236" y="55"/>
                  </a:cubicBezTo>
                  <a:cubicBezTo>
                    <a:pt x="226" y="65"/>
                    <a:pt x="224" y="65"/>
                    <a:pt x="206" y="54"/>
                  </a:cubicBezTo>
                  <a:cubicBezTo>
                    <a:pt x="193" y="46"/>
                    <a:pt x="180" y="40"/>
                    <a:pt x="165" y="41"/>
                  </a:cubicBezTo>
                  <a:cubicBezTo>
                    <a:pt x="151" y="41"/>
                    <a:pt x="137" y="39"/>
                    <a:pt x="124" y="42"/>
                  </a:cubicBezTo>
                  <a:cubicBezTo>
                    <a:pt x="104" y="46"/>
                    <a:pt x="87" y="57"/>
                    <a:pt x="75" y="74"/>
                  </a:cubicBezTo>
                  <a:cubicBezTo>
                    <a:pt x="56" y="99"/>
                    <a:pt x="51" y="129"/>
                    <a:pt x="55" y="159"/>
                  </a:cubicBezTo>
                  <a:cubicBezTo>
                    <a:pt x="60" y="189"/>
                    <a:pt x="73" y="214"/>
                    <a:pt x="98" y="230"/>
                  </a:cubicBezTo>
                  <a:cubicBezTo>
                    <a:pt x="109" y="237"/>
                    <a:pt x="121" y="242"/>
                    <a:pt x="135" y="241"/>
                  </a:cubicBezTo>
                  <a:cubicBezTo>
                    <a:pt x="146" y="241"/>
                    <a:pt x="158" y="241"/>
                    <a:pt x="169" y="241"/>
                  </a:cubicBezTo>
                  <a:cubicBezTo>
                    <a:pt x="182" y="242"/>
                    <a:pt x="193" y="235"/>
                    <a:pt x="205" y="232"/>
                  </a:cubicBezTo>
                  <a:cubicBezTo>
                    <a:pt x="210" y="231"/>
                    <a:pt x="211" y="227"/>
                    <a:pt x="211" y="224"/>
                  </a:cubicBezTo>
                  <a:cubicBezTo>
                    <a:pt x="211" y="210"/>
                    <a:pt x="211" y="196"/>
                    <a:pt x="211" y="183"/>
                  </a:cubicBezTo>
                  <a:cubicBezTo>
                    <a:pt x="211" y="177"/>
                    <a:pt x="207" y="175"/>
                    <a:pt x="202" y="175"/>
                  </a:cubicBezTo>
                  <a:cubicBezTo>
                    <a:pt x="193" y="175"/>
                    <a:pt x="184" y="175"/>
                    <a:pt x="175" y="175"/>
                  </a:cubicBezTo>
                  <a:cubicBezTo>
                    <a:pt x="171" y="175"/>
                    <a:pt x="168" y="174"/>
                    <a:pt x="166" y="171"/>
                  </a:cubicBezTo>
                  <a:cubicBezTo>
                    <a:pt x="163" y="163"/>
                    <a:pt x="164" y="154"/>
                    <a:pt x="166" y="146"/>
                  </a:cubicBezTo>
                  <a:cubicBezTo>
                    <a:pt x="167" y="142"/>
                    <a:pt x="171" y="142"/>
                    <a:pt x="175" y="142"/>
                  </a:cubicBezTo>
                  <a:cubicBezTo>
                    <a:pt x="196" y="142"/>
                    <a:pt x="217" y="142"/>
                    <a:pt x="238" y="142"/>
                  </a:cubicBezTo>
                  <a:cubicBezTo>
                    <a:pt x="247" y="142"/>
                    <a:pt x="248" y="148"/>
                    <a:pt x="248" y="155"/>
                  </a:cubicBezTo>
                  <a:cubicBezTo>
                    <a:pt x="249" y="169"/>
                    <a:pt x="248" y="183"/>
                    <a:pt x="248" y="198"/>
                  </a:cubicBezTo>
                  <a:close/>
                  <a:moveTo>
                    <a:pt x="884" y="1181"/>
                  </a:moveTo>
                  <a:cubicBezTo>
                    <a:pt x="889" y="1167"/>
                    <a:pt x="894" y="1152"/>
                    <a:pt x="898" y="1137"/>
                  </a:cubicBezTo>
                  <a:cubicBezTo>
                    <a:pt x="901" y="1127"/>
                    <a:pt x="905" y="1116"/>
                    <a:pt x="908" y="1106"/>
                  </a:cubicBezTo>
                  <a:cubicBezTo>
                    <a:pt x="911" y="1098"/>
                    <a:pt x="912" y="1089"/>
                    <a:pt x="916" y="1081"/>
                  </a:cubicBezTo>
                  <a:cubicBezTo>
                    <a:pt x="921" y="1072"/>
                    <a:pt x="923" y="1060"/>
                    <a:pt x="927" y="1050"/>
                  </a:cubicBezTo>
                  <a:cubicBezTo>
                    <a:pt x="932" y="1037"/>
                    <a:pt x="934" y="1023"/>
                    <a:pt x="940" y="1010"/>
                  </a:cubicBezTo>
                  <a:cubicBezTo>
                    <a:pt x="945" y="1001"/>
                    <a:pt x="941" y="995"/>
                    <a:pt x="931" y="995"/>
                  </a:cubicBezTo>
                  <a:cubicBezTo>
                    <a:pt x="927" y="995"/>
                    <a:pt x="922" y="995"/>
                    <a:pt x="918" y="995"/>
                  </a:cubicBezTo>
                  <a:cubicBezTo>
                    <a:pt x="913" y="995"/>
                    <a:pt x="908" y="997"/>
                    <a:pt x="907" y="1001"/>
                  </a:cubicBezTo>
                  <a:cubicBezTo>
                    <a:pt x="904" y="1008"/>
                    <a:pt x="900" y="1015"/>
                    <a:pt x="899" y="1023"/>
                  </a:cubicBezTo>
                  <a:cubicBezTo>
                    <a:pt x="897" y="1034"/>
                    <a:pt x="893" y="1045"/>
                    <a:pt x="889" y="1055"/>
                  </a:cubicBezTo>
                  <a:cubicBezTo>
                    <a:pt x="887" y="1064"/>
                    <a:pt x="885" y="1072"/>
                    <a:pt x="882" y="1080"/>
                  </a:cubicBezTo>
                  <a:cubicBezTo>
                    <a:pt x="878" y="1091"/>
                    <a:pt x="874" y="1103"/>
                    <a:pt x="871" y="1115"/>
                  </a:cubicBezTo>
                  <a:cubicBezTo>
                    <a:pt x="870" y="1118"/>
                    <a:pt x="871" y="1124"/>
                    <a:pt x="866" y="1124"/>
                  </a:cubicBezTo>
                  <a:cubicBezTo>
                    <a:pt x="861" y="1125"/>
                    <a:pt x="859" y="1120"/>
                    <a:pt x="858" y="1115"/>
                  </a:cubicBezTo>
                  <a:cubicBezTo>
                    <a:pt x="856" y="1110"/>
                    <a:pt x="856" y="1104"/>
                    <a:pt x="854" y="1099"/>
                  </a:cubicBezTo>
                  <a:cubicBezTo>
                    <a:pt x="848" y="1080"/>
                    <a:pt x="841" y="1062"/>
                    <a:pt x="835" y="1044"/>
                  </a:cubicBezTo>
                  <a:cubicBezTo>
                    <a:pt x="831" y="1030"/>
                    <a:pt x="828" y="1016"/>
                    <a:pt x="822" y="1003"/>
                  </a:cubicBezTo>
                  <a:cubicBezTo>
                    <a:pt x="819" y="997"/>
                    <a:pt x="814" y="994"/>
                    <a:pt x="808" y="994"/>
                  </a:cubicBezTo>
                  <a:cubicBezTo>
                    <a:pt x="799" y="993"/>
                    <a:pt x="791" y="993"/>
                    <a:pt x="787" y="1001"/>
                  </a:cubicBezTo>
                  <a:cubicBezTo>
                    <a:pt x="783" y="1008"/>
                    <a:pt x="780" y="1015"/>
                    <a:pt x="779" y="1022"/>
                  </a:cubicBezTo>
                  <a:cubicBezTo>
                    <a:pt x="778" y="1034"/>
                    <a:pt x="772" y="1044"/>
                    <a:pt x="769" y="1055"/>
                  </a:cubicBezTo>
                  <a:cubicBezTo>
                    <a:pt x="762" y="1076"/>
                    <a:pt x="754" y="1096"/>
                    <a:pt x="749" y="1117"/>
                  </a:cubicBezTo>
                  <a:cubicBezTo>
                    <a:pt x="748" y="1120"/>
                    <a:pt x="747" y="1124"/>
                    <a:pt x="742" y="1124"/>
                  </a:cubicBezTo>
                  <a:cubicBezTo>
                    <a:pt x="737" y="1124"/>
                    <a:pt x="737" y="1120"/>
                    <a:pt x="736" y="1116"/>
                  </a:cubicBezTo>
                  <a:cubicBezTo>
                    <a:pt x="734" y="1104"/>
                    <a:pt x="730" y="1092"/>
                    <a:pt x="726" y="1080"/>
                  </a:cubicBezTo>
                  <a:cubicBezTo>
                    <a:pt x="720" y="1061"/>
                    <a:pt x="714" y="1040"/>
                    <a:pt x="708" y="1020"/>
                  </a:cubicBezTo>
                  <a:cubicBezTo>
                    <a:pt x="703" y="1000"/>
                    <a:pt x="698" y="994"/>
                    <a:pt x="676" y="995"/>
                  </a:cubicBezTo>
                  <a:cubicBezTo>
                    <a:pt x="665" y="996"/>
                    <a:pt x="661" y="1001"/>
                    <a:pt x="667" y="1011"/>
                  </a:cubicBezTo>
                  <a:cubicBezTo>
                    <a:pt x="669" y="1016"/>
                    <a:pt x="670" y="1021"/>
                    <a:pt x="672" y="1025"/>
                  </a:cubicBezTo>
                  <a:cubicBezTo>
                    <a:pt x="675" y="1035"/>
                    <a:pt x="678" y="1046"/>
                    <a:pt x="681" y="1055"/>
                  </a:cubicBezTo>
                  <a:cubicBezTo>
                    <a:pt x="685" y="1068"/>
                    <a:pt x="689" y="1080"/>
                    <a:pt x="693" y="1092"/>
                  </a:cubicBezTo>
                  <a:cubicBezTo>
                    <a:pt x="697" y="1103"/>
                    <a:pt x="699" y="1113"/>
                    <a:pt x="703" y="1124"/>
                  </a:cubicBezTo>
                  <a:cubicBezTo>
                    <a:pt x="707" y="1136"/>
                    <a:pt x="711" y="1147"/>
                    <a:pt x="715" y="1160"/>
                  </a:cubicBezTo>
                  <a:cubicBezTo>
                    <a:pt x="717" y="1168"/>
                    <a:pt x="720" y="1176"/>
                    <a:pt x="724" y="1183"/>
                  </a:cubicBezTo>
                  <a:cubicBezTo>
                    <a:pt x="728" y="1189"/>
                    <a:pt x="752" y="1185"/>
                    <a:pt x="757" y="1180"/>
                  </a:cubicBezTo>
                  <a:cubicBezTo>
                    <a:pt x="764" y="1173"/>
                    <a:pt x="762" y="1163"/>
                    <a:pt x="766" y="1156"/>
                  </a:cubicBezTo>
                  <a:cubicBezTo>
                    <a:pt x="774" y="1140"/>
                    <a:pt x="778" y="1122"/>
                    <a:pt x="784" y="1105"/>
                  </a:cubicBezTo>
                  <a:cubicBezTo>
                    <a:pt x="789" y="1088"/>
                    <a:pt x="796" y="1072"/>
                    <a:pt x="800" y="1054"/>
                  </a:cubicBezTo>
                  <a:cubicBezTo>
                    <a:pt x="800" y="1053"/>
                    <a:pt x="801" y="1050"/>
                    <a:pt x="803" y="1050"/>
                  </a:cubicBezTo>
                  <a:cubicBezTo>
                    <a:pt x="806" y="1050"/>
                    <a:pt x="806" y="1052"/>
                    <a:pt x="807" y="1055"/>
                  </a:cubicBezTo>
                  <a:cubicBezTo>
                    <a:pt x="807" y="1060"/>
                    <a:pt x="810" y="1066"/>
                    <a:pt x="811" y="1071"/>
                  </a:cubicBezTo>
                  <a:cubicBezTo>
                    <a:pt x="814" y="1081"/>
                    <a:pt x="818" y="1090"/>
                    <a:pt x="821" y="1099"/>
                  </a:cubicBezTo>
                  <a:cubicBezTo>
                    <a:pt x="824" y="1110"/>
                    <a:pt x="827" y="1120"/>
                    <a:pt x="831" y="1131"/>
                  </a:cubicBezTo>
                  <a:cubicBezTo>
                    <a:pt x="834" y="1142"/>
                    <a:pt x="839" y="1153"/>
                    <a:pt x="842" y="1164"/>
                  </a:cubicBezTo>
                  <a:cubicBezTo>
                    <a:pt x="846" y="1179"/>
                    <a:pt x="850" y="1188"/>
                    <a:pt x="869" y="1185"/>
                  </a:cubicBezTo>
                  <a:cubicBezTo>
                    <a:pt x="873" y="1184"/>
                    <a:pt x="881" y="1189"/>
                    <a:pt x="884" y="1181"/>
                  </a:cubicBezTo>
                  <a:close/>
                  <a:moveTo>
                    <a:pt x="33" y="1051"/>
                  </a:moveTo>
                  <a:cubicBezTo>
                    <a:pt x="33" y="1087"/>
                    <a:pt x="33" y="1124"/>
                    <a:pt x="33" y="1160"/>
                  </a:cubicBezTo>
                  <a:cubicBezTo>
                    <a:pt x="33" y="1188"/>
                    <a:pt x="29" y="1184"/>
                    <a:pt x="58" y="1185"/>
                  </a:cubicBezTo>
                  <a:cubicBezTo>
                    <a:pt x="72" y="1185"/>
                    <a:pt x="73" y="1184"/>
                    <a:pt x="73" y="1170"/>
                  </a:cubicBezTo>
                  <a:cubicBezTo>
                    <a:pt x="73" y="1138"/>
                    <a:pt x="73" y="1107"/>
                    <a:pt x="73" y="1076"/>
                  </a:cubicBezTo>
                  <a:cubicBezTo>
                    <a:pt x="73" y="1071"/>
                    <a:pt x="72" y="1067"/>
                    <a:pt x="78" y="1065"/>
                  </a:cubicBezTo>
                  <a:cubicBezTo>
                    <a:pt x="91" y="1062"/>
                    <a:pt x="102" y="1067"/>
                    <a:pt x="110" y="1076"/>
                  </a:cubicBezTo>
                  <a:cubicBezTo>
                    <a:pt x="112" y="1080"/>
                    <a:pt x="115" y="1083"/>
                    <a:pt x="118" y="1086"/>
                  </a:cubicBezTo>
                  <a:cubicBezTo>
                    <a:pt x="132" y="1103"/>
                    <a:pt x="146" y="1119"/>
                    <a:pt x="161" y="1136"/>
                  </a:cubicBezTo>
                  <a:cubicBezTo>
                    <a:pt x="173" y="1150"/>
                    <a:pt x="186" y="1165"/>
                    <a:pt x="198" y="1179"/>
                  </a:cubicBezTo>
                  <a:cubicBezTo>
                    <a:pt x="207" y="1188"/>
                    <a:pt x="218" y="1184"/>
                    <a:pt x="228" y="1185"/>
                  </a:cubicBezTo>
                  <a:cubicBezTo>
                    <a:pt x="233" y="1185"/>
                    <a:pt x="241" y="1188"/>
                    <a:pt x="244" y="1182"/>
                  </a:cubicBezTo>
                  <a:cubicBezTo>
                    <a:pt x="246" y="1178"/>
                    <a:pt x="239" y="1173"/>
                    <a:pt x="235" y="1169"/>
                  </a:cubicBezTo>
                  <a:cubicBezTo>
                    <a:pt x="206" y="1133"/>
                    <a:pt x="176" y="1098"/>
                    <a:pt x="146" y="1062"/>
                  </a:cubicBezTo>
                  <a:cubicBezTo>
                    <a:pt x="141" y="1056"/>
                    <a:pt x="131" y="1052"/>
                    <a:pt x="132" y="1044"/>
                  </a:cubicBezTo>
                  <a:cubicBezTo>
                    <a:pt x="132" y="1036"/>
                    <a:pt x="142" y="1032"/>
                    <a:pt x="147" y="1026"/>
                  </a:cubicBezTo>
                  <a:cubicBezTo>
                    <a:pt x="164" y="1006"/>
                    <a:pt x="182" y="988"/>
                    <a:pt x="198" y="968"/>
                  </a:cubicBezTo>
                  <a:cubicBezTo>
                    <a:pt x="209" y="954"/>
                    <a:pt x="221" y="942"/>
                    <a:pt x="234" y="929"/>
                  </a:cubicBezTo>
                  <a:cubicBezTo>
                    <a:pt x="236" y="926"/>
                    <a:pt x="238" y="923"/>
                    <a:pt x="237" y="920"/>
                  </a:cubicBezTo>
                  <a:cubicBezTo>
                    <a:pt x="235" y="915"/>
                    <a:pt x="231" y="917"/>
                    <a:pt x="228" y="917"/>
                  </a:cubicBezTo>
                  <a:cubicBezTo>
                    <a:pt x="224" y="918"/>
                    <a:pt x="221" y="918"/>
                    <a:pt x="217" y="918"/>
                  </a:cubicBezTo>
                  <a:cubicBezTo>
                    <a:pt x="204" y="917"/>
                    <a:pt x="193" y="922"/>
                    <a:pt x="185" y="931"/>
                  </a:cubicBezTo>
                  <a:cubicBezTo>
                    <a:pt x="172" y="946"/>
                    <a:pt x="158" y="961"/>
                    <a:pt x="145" y="977"/>
                  </a:cubicBezTo>
                  <a:cubicBezTo>
                    <a:pt x="131" y="993"/>
                    <a:pt x="117" y="1010"/>
                    <a:pt x="102" y="1026"/>
                  </a:cubicBezTo>
                  <a:cubicBezTo>
                    <a:pt x="96" y="1032"/>
                    <a:pt x="87" y="1037"/>
                    <a:pt x="78" y="1034"/>
                  </a:cubicBezTo>
                  <a:cubicBezTo>
                    <a:pt x="70" y="1030"/>
                    <a:pt x="73" y="1021"/>
                    <a:pt x="73" y="1015"/>
                  </a:cubicBezTo>
                  <a:cubicBezTo>
                    <a:pt x="73" y="991"/>
                    <a:pt x="73" y="967"/>
                    <a:pt x="73" y="944"/>
                  </a:cubicBezTo>
                  <a:cubicBezTo>
                    <a:pt x="73" y="916"/>
                    <a:pt x="75" y="917"/>
                    <a:pt x="46" y="918"/>
                  </a:cubicBezTo>
                  <a:cubicBezTo>
                    <a:pt x="33" y="918"/>
                    <a:pt x="33" y="918"/>
                    <a:pt x="33" y="931"/>
                  </a:cubicBezTo>
                  <a:cubicBezTo>
                    <a:pt x="33" y="971"/>
                    <a:pt x="33" y="1011"/>
                    <a:pt x="33" y="1051"/>
                  </a:cubicBezTo>
                  <a:cubicBezTo>
                    <a:pt x="33" y="1051"/>
                    <a:pt x="33" y="1051"/>
                    <a:pt x="33" y="1051"/>
                  </a:cubicBezTo>
                  <a:close/>
                  <a:moveTo>
                    <a:pt x="639" y="84"/>
                  </a:moveTo>
                  <a:cubicBezTo>
                    <a:pt x="627" y="84"/>
                    <a:pt x="626" y="84"/>
                    <a:pt x="629" y="95"/>
                  </a:cubicBezTo>
                  <a:cubicBezTo>
                    <a:pt x="634" y="113"/>
                    <a:pt x="640" y="131"/>
                    <a:pt x="646" y="148"/>
                  </a:cubicBezTo>
                  <a:cubicBezTo>
                    <a:pt x="652" y="166"/>
                    <a:pt x="658" y="185"/>
                    <a:pt x="664" y="203"/>
                  </a:cubicBezTo>
                  <a:cubicBezTo>
                    <a:pt x="671" y="223"/>
                    <a:pt x="676" y="244"/>
                    <a:pt x="684" y="264"/>
                  </a:cubicBezTo>
                  <a:cubicBezTo>
                    <a:pt x="688" y="274"/>
                    <a:pt x="694" y="274"/>
                    <a:pt x="702" y="274"/>
                  </a:cubicBezTo>
                  <a:cubicBezTo>
                    <a:pt x="711" y="274"/>
                    <a:pt x="719" y="272"/>
                    <a:pt x="723" y="263"/>
                  </a:cubicBezTo>
                  <a:cubicBezTo>
                    <a:pt x="733" y="236"/>
                    <a:pt x="741" y="208"/>
                    <a:pt x="750" y="181"/>
                  </a:cubicBezTo>
                  <a:cubicBezTo>
                    <a:pt x="754" y="169"/>
                    <a:pt x="757" y="156"/>
                    <a:pt x="763" y="145"/>
                  </a:cubicBezTo>
                  <a:cubicBezTo>
                    <a:pt x="764" y="143"/>
                    <a:pt x="764" y="140"/>
                    <a:pt x="767" y="140"/>
                  </a:cubicBezTo>
                  <a:cubicBezTo>
                    <a:pt x="770" y="140"/>
                    <a:pt x="770" y="143"/>
                    <a:pt x="771" y="145"/>
                  </a:cubicBezTo>
                  <a:cubicBezTo>
                    <a:pt x="771" y="156"/>
                    <a:pt x="777" y="165"/>
                    <a:pt x="780" y="175"/>
                  </a:cubicBezTo>
                  <a:cubicBezTo>
                    <a:pt x="782" y="184"/>
                    <a:pt x="785" y="193"/>
                    <a:pt x="788" y="201"/>
                  </a:cubicBezTo>
                  <a:cubicBezTo>
                    <a:pt x="794" y="219"/>
                    <a:pt x="801" y="237"/>
                    <a:pt x="806" y="255"/>
                  </a:cubicBezTo>
                  <a:cubicBezTo>
                    <a:pt x="811" y="272"/>
                    <a:pt x="825" y="280"/>
                    <a:pt x="842" y="273"/>
                  </a:cubicBezTo>
                  <a:cubicBezTo>
                    <a:pt x="845" y="271"/>
                    <a:pt x="847" y="269"/>
                    <a:pt x="848" y="266"/>
                  </a:cubicBezTo>
                  <a:cubicBezTo>
                    <a:pt x="853" y="251"/>
                    <a:pt x="859" y="236"/>
                    <a:pt x="863" y="221"/>
                  </a:cubicBezTo>
                  <a:cubicBezTo>
                    <a:pt x="867" y="202"/>
                    <a:pt x="875" y="185"/>
                    <a:pt x="880" y="166"/>
                  </a:cubicBezTo>
                  <a:cubicBezTo>
                    <a:pt x="886" y="144"/>
                    <a:pt x="895" y="123"/>
                    <a:pt x="900" y="101"/>
                  </a:cubicBezTo>
                  <a:cubicBezTo>
                    <a:pt x="901" y="96"/>
                    <a:pt x="909" y="91"/>
                    <a:pt x="904" y="86"/>
                  </a:cubicBezTo>
                  <a:cubicBezTo>
                    <a:pt x="900" y="81"/>
                    <a:pt x="892" y="84"/>
                    <a:pt x="886" y="84"/>
                  </a:cubicBezTo>
                  <a:cubicBezTo>
                    <a:pt x="885" y="84"/>
                    <a:pt x="883" y="84"/>
                    <a:pt x="881" y="84"/>
                  </a:cubicBezTo>
                  <a:cubicBezTo>
                    <a:pt x="875" y="84"/>
                    <a:pt x="872" y="86"/>
                    <a:pt x="869" y="91"/>
                  </a:cubicBezTo>
                  <a:cubicBezTo>
                    <a:pt x="860" y="110"/>
                    <a:pt x="856" y="131"/>
                    <a:pt x="850" y="151"/>
                  </a:cubicBezTo>
                  <a:cubicBezTo>
                    <a:pt x="844" y="170"/>
                    <a:pt x="836" y="188"/>
                    <a:pt x="834" y="208"/>
                  </a:cubicBezTo>
                  <a:cubicBezTo>
                    <a:pt x="833" y="211"/>
                    <a:pt x="831" y="214"/>
                    <a:pt x="827" y="214"/>
                  </a:cubicBezTo>
                  <a:cubicBezTo>
                    <a:pt x="823" y="214"/>
                    <a:pt x="822" y="210"/>
                    <a:pt x="822" y="207"/>
                  </a:cubicBezTo>
                  <a:cubicBezTo>
                    <a:pt x="817" y="188"/>
                    <a:pt x="811" y="170"/>
                    <a:pt x="805" y="152"/>
                  </a:cubicBezTo>
                  <a:cubicBezTo>
                    <a:pt x="799" y="133"/>
                    <a:pt x="794" y="114"/>
                    <a:pt x="786" y="96"/>
                  </a:cubicBezTo>
                  <a:cubicBezTo>
                    <a:pt x="783" y="87"/>
                    <a:pt x="779" y="84"/>
                    <a:pt x="770" y="84"/>
                  </a:cubicBezTo>
                  <a:cubicBezTo>
                    <a:pt x="761" y="84"/>
                    <a:pt x="752" y="82"/>
                    <a:pt x="748" y="94"/>
                  </a:cubicBezTo>
                  <a:cubicBezTo>
                    <a:pt x="744" y="109"/>
                    <a:pt x="738" y="123"/>
                    <a:pt x="734" y="138"/>
                  </a:cubicBezTo>
                  <a:cubicBezTo>
                    <a:pt x="729" y="153"/>
                    <a:pt x="724" y="167"/>
                    <a:pt x="719" y="182"/>
                  </a:cubicBezTo>
                  <a:cubicBezTo>
                    <a:pt x="716" y="192"/>
                    <a:pt x="715" y="203"/>
                    <a:pt x="708" y="212"/>
                  </a:cubicBezTo>
                  <a:cubicBezTo>
                    <a:pt x="707" y="214"/>
                    <a:pt x="707" y="217"/>
                    <a:pt x="704" y="217"/>
                  </a:cubicBezTo>
                  <a:cubicBezTo>
                    <a:pt x="701" y="217"/>
                    <a:pt x="701" y="213"/>
                    <a:pt x="700" y="211"/>
                  </a:cubicBezTo>
                  <a:cubicBezTo>
                    <a:pt x="699" y="198"/>
                    <a:pt x="694" y="186"/>
                    <a:pt x="690" y="174"/>
                  </a:cubicBezTo>
                  <a:cubicBezTo>
                    <a:pt x="684" y="153"/>
                    <a:pt x="677" y="131"/>
                    <a:pt x="672" y="110"/>
                  </a:cubicBezTo>
                  <a:cubicBezTo>
                    <a:pt x="667" y="88"/>
                    <a:pt x="663" y="84"/>
                    <a:pt x="645" y="84"/>
                  </a:cubicBezTo>
                  <a:cubicBezTo>
                    <a:pt x="643" y="84"/>
                    <a:pt x="641" y="84"/>
                    <a:pt x="639" y="84"/>
                  </a:cubicBezTo>
                  <a:close/>
                  <a:moveTo>
                    <a:pt x="507" y="711"/>
                  </a:moveTo>
                  <a:cubicBezTo>
                    <a:pt x="507" y="730"/>
                    <a:pt x="507" y="730"/>
                    <a:pt x="526" y="730"/>
                  </a:cubicBezTo>
                  <a:cubicBezTo>
                    <a:pt x="539" y="730"/>
                    <a:pt x="541" y="729"/>
                    <a:pt x="541" y="715"/>
                  </a:cubicBezTo>
                  <a:cubicBezTo>
                    <a:pt x="541" y="677"/>
                    <a:pt x="541" y="638"/>
                    <a:pt x="540" y="600"/>
                  </a:cubicBezTo>
                  <a:cubicBezTo>
                    <a:pt x="540" y="593"/>
                    <a:pt x="543" y="587"/>
                    <a:pt x="548" y="582"/>
                  </a:cubicBezTo>
                  <a:cubicBezTo>
                    <a:pt x="553" y="576"/>
                    <a:pt x="559" y="573"/>
                    <a:pt x="564" y="569"/>
                  </a:cubicBezTo>
                  <a:cubicBezTo>
                    <a:pt x="574" y="564"/>
                    <a:pt x="594" y="566"/>
                    <a:pt x="602" y="574"/>
                  </a:cubicBezTo>
                  <a:cubicBezTo>
                    <a:pt x="611" y="582"/>
                    <a:pt x="614" y="592"/>
                    <a:pt x="614" y="604"/>
                  </a:cubicBezTo>
                  <a:cubicBezTo>
                    <a:pt x="614" y="638"/>
                    <a:pt x="614" y="672"/>
                    <a:pt x="614" y="706"/>
                  </a:cubicBezTo>
                  <a:cubicBezTo>
                    <a:pt x="614" y="730"/>
                    <a:pt x="614" y="730"/>
                    <a:pt x="638" y="730"/>
                  </a:cubicBezTo>
                  <a:cubicBezTo>
                    <a:pt x="650" y="730"/>
                    <a:pt x="650" y="730"/>
                    <a:pt x="650" y="717"/>
                  </a:cubicBezTo>
                  <a:cubicBezTo>
                    <a:pt x="650" y="684"/>
                    <a:pt x="650" y="650"/>
                    <a:pt x="650" y="617"/>
                  </a:cubicBezTo>
                  <a:cubicBezTo>
                    <a:pt x="650" y="606"/>
                    <a:pt x="651" y="597"/>
                    <a:pt x="657" y="586"/>
                  </a:cubicBezTo>
                  <a:cubicBezTo>
                    <a:pt x="667" y="565"/>
                    <a:pt x="703" y="560"/>
                    <a:pt x="716" y="579"/>
                  </a:cubicBezTo>
                  <a:cubicBezTo>
                    <a:pt x="723" y="588"/>
                    <a:pt x="724" y="598"/>
                    <a:pt x="724" y="609"/>
                  </a:cubicBezTo>
                  <a:cubicBezTo>
                    <a:pt x="724" y="645"/>
                    <a:pt x="724" y="682"/>
                    <a:pt x="724" y="718"/>
                  </a:cubicBezTo>
                  <a:cubicBezTo>
                    <a:pt x="724" y="727"/>
                    <a:pt x="727" y="731"/>
                    <a:pt x="736" y="730"/>
                  </a:cubicBezTo>
                  <a:cubicBezTo>
                    <a:pt x="738" y="730"/>
                    <a:pt x="741" y="730"/>
                    <a:pt x="743" y="730"/>
                  </a:cubicBezTo>
                  <a:cubicBezTo>
                    <a:pt x="758" y="730"/>
                    <a:pt x="759" y="729"/>
                    <a:pt x="759" y="715"/>
                  </a:cubicBezTo>
                  <a:cubicBezTo>
                    <a:pt x="759" y="677"/>
                    <a:pt x="758" y="639"/>
                    <a:pt x="759" y="601"/>
                  </a:cubicBezTo>
                  <a:cubicBezTo>
                    <a:pt x="759" y="571"/>
                    <a:pt x="742" y="540"/>
                    <a:pt x="704" y="538"/>
                  </a:cubicBezTo>
                  <a:cubicBezTo>
                    <a:pt x="681" y="536"/>
                    <a:pt x="661" y="542"/>
                    <a:pt x="646" y="560"/>
                  </a:cubicBezTo>
                  <a:cubicBezTo>
                    <a:pt x="638" y="569"/>
                    <a:pt x="638" y="569"/>
                    <a:pt x="631" y="559"/>
                  </a:cubicBezTo>
                  <a:cubicBezTo>
                    <a:pt x="630" y="558"/>
                    <a:pt x="630" y="557"/>
                    <a:pt x="629" y="556"/>
                  </a:cubicBezTo>
                  <a:cubicBezTo>
                    <a:pt x="623" y="548"/>
                    <a:pt x="616" y="541"/>
                    <a:pt x="607" y="539"/>
                  </a:cubicBezTo>
                  <a:cubicBezTo>
                    <a:pt x="584" y="534"/>
                    <a:pt x="563" y="539"/>
                    <a:pt x="545" y="555"/>
                  </a:cubicBezTo>
                  <a:cubicBezTo>
                    <a:pt x="540" y="559"/>
                    <a:pt x="537" y="561"/>
                    <a:pt x="537" y="552"/>
                  </a:cubicBezTo>
                  <a:cubicBezTo>
                    <a:pt x="536" y="543"/>
                    <a:pt x="526" y="538"/>
                    <a:pt x="515" y="539"/>
                  </a:cubicBezTo>
                  <a:cubicBezTo>
                    <a:pt x="506" y="540"/>
                    <a:pt x="507" y="546"/>
                    <a:pt x="507" y="552"/>
                  </a:cubicBezTo>
                  <a:cubicBezTo>
                    <a:pt x="507" y="580"/>
                    <a:pt x="507" y="607"/>
                    <a:pt x="507" y="634"/>
                  </a:cubicBezTo>
                  <a:cubicBezTo>
                    <a:pt x="507" y="660"/>
                    <a:pt x="507" y="685"/>
                    <a:pt x="507" y="711"/>
                  </a:cubicBezTo>
                  <a:close/>
                  <a:moveTo>
                    <a:pt x="1525" y="1142"/>
                  </a:moveTo>
                  <a:cubicBezTo>
                    <a:pt x="1517" y="1143"/>
                    <a:pt x="1511" y="1141"/>
                    <a:pt x="1505" y="1136"/>
                  </a:cubicBezTo>
                  <a:cubicBezTo>
                    <a:pt x="1501" y="1133"/>
                    <a:pt x="1495" y="1130"/>
                    <a:pt x="1498" y="1124"/>
                  </a:cubicBezTo>
                  <a:cubicBezTo>
                    <a:pt x="1500" y="1118"/>
                    <a:pt x="1504" y="1114"/>
                    <a:pt x="1512" y="1114"/>
                  </a:cubicBezTo>
                  <a:cubicBezTo>
                    <a:pt x="1521" y="1115"/>
                    <a:pt x="1530" y="1114"/>
                    <a:pt x="1538" y="1115"/>
                  </a:cubicBezTo>
                  <a:cubicBezTo>
                    <a:pt x="1573" y="1117"/>
                    <a:pt x="1610" y="1084"/>
                    <a:pt x="1602" y="1044"/>
                  </a:cubicBezTo>
                  <a:cubicBezTo>
                    <a:pt x="1600" y="1035"/>
                    <a:pt x="1599" y="1028"/>
                    <a:pt x="1611" y="1027"/>
                  </a:cubicBezTo>
                  <a:cubicBezTo>
                    <a:pt x="1614" y="1027"/>
                    <a:pt x="1617" y="1024"/>
                    <a:pt x="1619" y="1023"/>
                  </a:cubicBezTo>
                  <a:cubicBezTo>
                    <a:pt x="1626" y="1019"/>
                    <a:pt x="1624" y="1013"/>
                    <a:pt x="1623" y="1008"/>
                  </a:cubicBezTo>
                  <a:cubicBezTo>
                    <a:pt x="1623" y="1002"/>
                    <a:pt x="1618" y="1003"/>
                    <a:pt x="1613" y="1002"/>
                  </a:cubicBezTo>
                  <a:cubicBezTo>
                    <a:pt x="1598" y="1002"/>
                    <a:pt x="1582" y="1004"/>
                    <a:pt x="1567" y="1000"/>
                  </a:cubicBezTo>
                  <a:cubicBezTo>
                    <a:pt x="1560" y="999"/>
                    <a:pt x="1554" y="993"/>
                    <a:pt x="1546" y="993"/>
                  </a:cubicBezTo>
                  <a:cubicBezTo>
                    <a:pt x="1536" y="994"/>
                    <a:pt x="1525" y="992"/>
                    <a:pt x="1515" y="993"/>
                  </a:cubicBezTo>
                  <a:cubicBezTo>
                    <a:pt x="1490" y="997"/>
                    <a:pt x="1469" y="1010"/>
                    <a:pt x="1462" y="1034"/>
                  </a:cubicBezTo>
                  <a:cubicBezTo>
                    <a:pt x="1455" y="1056"/>
                    <a:pt x="1457" y="1079"/>
                    <a:pt x="1476" y="1096"/>
                  </a:cubicBezTo>
                  <a:cubicBezTo>
                    <a:pt x="1483" y="1103"/>
                    <a:pt x="1483" y="1107"/>
                    <a:pt x="1476" y="1113"/>
                  </a:cubicBezTo>
                  <a:cubicBezTo>
                    <a:pt x="1462" y="1126"/>
                    <a:pt x="1462" y="1142"/>
                    <a:pt x="1473" y="1157"/>
                  </a:cubicBezTo>
                  <a:cubicBezTo>
                    <a:pt x="1476" y="1160"/>
                    <a:pt x="1476" y="1162"/>
                    <a:pt x="1472" y="1164"/>
                  </a:cubicBezTo>
                  <a:cubicBezTo>
                    <a:pt x="1470" y="1166"/>
                    <a:pt x="1468" y="1168"/>
                    <a:pt x="1466" y="1170"/>
                  </a:cubicBezTo>
                  <a:cubicBezTo>
                    <a:pt x="1449" y="1183"/>
                    <a:pt x="1444" y="1201"/>
                    <a:pt x="1454" y="1218"/>
                  </a:cubicBezTo>
                  <a:cubicBezTo>
                    <a:pt x="1464" y="1235"/>
                    <a:pt x="1479" y="1246"/>
                    <a:pt x="1499" y="1249"/>
                  </a:cubicBezTo>
                  <a:cubicBezTo>
                    <a:pt x="1517" y="1252"/>
                    <a:pt x="1535" y="1253"/>
                    <a:pt x="1553" y="1250"/>
                  </a:cubicBezTo>
                  <a:cubicBezTo>
                    <a:pt x="1584" y="1245"/>
                    <a:pt x="1607" y="1232"/>
                    <a:pt x="1619" y="1200"/>
                  </a:cubicBezTo>
                  <a:cubicBezTo>
                    <a:pt x="1627" y="1180"/>
                    <a:pt x="1611" y="1155"/>
                    <a:pt x="1593" y="1148"/>
                  </a:cubicBezTo>
                  <a:cubicBezTo>
                    <a:pt x="1578" y="1142"/>
                    <a:pt x="1563" y="1143"/>
                    <a:pt x="1549" y="1142"/>
                  </a:cubicBezTo>
                  <a:cubicBezTo>
                    <a:pt x="1540" y="1142"/>
                    <a:pt x="1532" y="1142"/>
                    <a:pt x="1525" y="1142"/>
                  </a:cubicBezTo>
                  <a:close/>
                  <a:moveTo>
                    <a:pt x="1556" y="1172"/>
                  </a:moveTo>
                  <a:cubicBezTo>
                    <a:pt x="1566" y="1172"/>
                    <a:pt x="1576" y="1176"/>
                    <a:pt x="1583" y="1183"/>
                  </a:cubicBezTo>
                  <a:cubicBezTo>
                    <a:pt x="1589" y="1190"/>
                    <a:pt x="1589" y="1198"/>
                    <a:pt x="1583" y="1205"/>
                  </a:cubicBezTo>
                  <a:cubicBezTo>
                    <a:pt x="1575" y="1215"/>
                    <a:pt x="1565" y="1220"/>
                    <a:pt x="1553" y="1223"/>
                  </a:cubicBezTo>
                  <a:cubicBezTo>
                    <a:pt x="1534" y="1228"/>
                    <a:pt x="1516" y="1225"/>
                    <a:pt x="1499" y="1219"/>
                  </a:cubicBezTo>
                  <a:cubicBezTo>
                    <a:pt x="1486" y="1214"/>
                    <a:pt x="1479" y="1203"/>
                    <a:pt x="1482" y="1193"/>
                  </a:cubicBezTo>
                  <a:cubicBezTo>
                    <a:pt x="1485" y="1182"/>
                    <a:pt x="1496" y="1168"/>
                    <a:pt x="1514" y="1171"/>
                  </a:cubicBezTo>
                  <a:cubicBezTo>
                    <a:pt x="1526" y="1173"/>
                    <a:pt x="1541" y="1171"/>
                    <a:pt x="1556" y="1172"/>
                  </a:cubicBezTo>
                  <a:close/>
                  <a:moveTo>
                    <a:pt x="1531" y="1019"/>
                  </a:moveTo>
                  <a:cubicBezTo>
                    <a:pt x="1553" y="1017"/>
                    <a:pt x="1570" y="1033"/>
                    <a:pt x="1570" y="1052"/>
                  </a:cubicBezTo>
                  <a:cubicBezTo>
                    <a:pt x="1570" y="1075"/>
                    <a:pt x="1554" y="1093"/>
                    <a:pt x="1532" y="1091"/>
                  </a:cubicBezTo>
                  <a:cubicBezTo>
                    <a:pt x="1508" y="1089"/>
                    <a:pt x="1494" y="1082"/>
                    <a:pt x="1493" y="1053"/>
                  </a:cubicBezTo>
                  <a:cubicBezTo>
                    <a:pt x="1494" y="1029"/>
                    <a:pt x="1508" y="1020"/>
                    <a:pt x="1531" y="1019"/>
                  </a:cubicBezTo>
                  <a:close/>
                  <a:moveTo>
                    <a:pt x="1413" y="934"/>
                  </a:moveTo>
                  <a:cubicBezTo>
                    <a:pt x="1413" y="909"/>
                    <a:pt x="1413" y="909"/>
                    <a:pt x="1389" y="910"/>
                  </a:cubicBezTo>
                  <a:cubicBezTo>
                    <a:pt x="1388" y="910"/>
                    <a:pt x="1387" y="910"/>
                    <a:pt x="1387" y="910"/>
                  </a:cubicBezTo>
                  <a:cubicBezTo>
                    <a:pt x="1379" y="910"/>
                    <a:pt x="1376" y="915"/>
                    <a:pt x="1376" y="921"/>
                  </a:cubicBezTo>
                  <a:cubicBezTo>
                    <a:pt x="1376" y="939"/>
                    <a:pt x="1377" y="956"/>
                    <a:pt x="1377" y="974"/>
                  </a:cubicBezTo>
                  <a:cubicBezTo>
                    <a:pt x="1377" y="983"/>
                    <a:pt x="1377" y="991"/>
                    <a:pt x="1377" y="1000"/>
                  </a:cubicBezTo>
                  <a:cubicBezTo>
                    <a:pt x="1377" y="1005"/>
                    <a:pt x="1374" y="1009"/>
                    <a:pt x="1369" y="1005"/>
                  </a:cubicBezTo>
                  <a:cubicBezTo>
                    <a:pt x="1352" y="990"/>
                    <a:pt x="1332" y="993"/>
                    <a:pt x="1312" y="993"/>
                  </a:cubicBezTo>
                  <a:cubicBezTo>
                    <a:pt x="1303" y="994"/>
                    <a:pt x="1294" y="998"/>
                    <a:pt x="1287" y="1003"/>
                  </a:cubicBezTo>
                  <a:cubicBezTo>
                    <a:pt x="1265" y="1017"/>
                    <a:pt x="1252" y="1039"/>
                    <a:pt x="1248" y="1065"/>
                  </a:cubicBezTo>
                  <a:cubicBezTo>
                    <a:pt x="1244" y="1096"/>
                    <a:pt x="1244" y="1128"/>
                    <a:pt x="1261" y="1157"/>
                  </a:cubicBezTo>
                  <a:cubicBezTo>
                    <a:pt x="1270" y="1170"/>
                    <a:pt x="1281" y="1181"/>
                    <a:pt x="1296" y="1185"/>
                  </a:cubicBezTo>
                  <a:cubicBezTo>
                    <a:pt x="1323" y="1191"/>
                    <a:pt x="1349" y="1188"/>
                    <a:pt x="1370" y="1167"/>
                  </a:cubicBezTo>
                  <a:cubicBezTo>
                    <a:pt x="1372" y="1165"/>
                    <a:pt x="1375" y="1162"/>
                    <a:pt x="1379" y="1163"/>
                  </a:cubicBezTo>
                  <a:cubicBezTo>
                    <a:pt x="1382" y="1165"/>
                    <a:pt x="1381" y="1169"/>
                    <a:pt x="1381" y="1172"/>
                  </a:cubicBezTo>
                  <a:cubicBezTo>
                    <a:pt x="1383" y="1181"/>
                    <a:pt x="1390" y="1186"/>
                    <a:pt x="1403" y="1186"/>
                  </a:cubicBezTo>
                  <a:cubicBezTo>
                    <a:pt x="1413" y="1185"/>
                    <a:pt x="1413" y="1178"/>
                    <a:pt x="1413" y="1172"/>
                  </a:cubicBezTo>
                  <a:cubicBezTo>
                    <a:pt x="1413" y="1131"/>
                    <a:pt x="1413" y="1090"/>
                    <a:pt x="1413" y="1049"/>
                  </a:cubicBezTo>
                  <a:cubicBezTo>
                    <a:pt x="1413" y="1010"/>
                    <a:pt x="1413" y="972"/>
                    <a:pt x="1413" y="934"/>
                  </a:cubicBezTo>
                  <a:close/>
                  <a:moveTo>
                    <a:pt x="1378" y="1113"/>
                  </a:moveTo>
                  <a:cubicBezTo>
                    <a:pt x="1378" y="1136"/>
                    <a:pt x="1360" y="1155"/>
                    <a:pt x="1337" y="1157"/>
                  </a:cubicBezTo>
                  <a:cubicBezTo>
                    <a:pt x="1319" y="1159"/>
                    <a:pt x="1304" y="1154"/>
                    <a:pt x="1294" y="1139"/>
                  </a:cubicBezTo>
                  <a:cubicBezTo>
                    <a:pt x="1286" y="1128"/>
                    <a:pt x="1283" y="1116"/>
                    <a:pt x="1283" y="1102"/>
                  </a:cubicBezTo>
                  <a:cubicBezTo>
                    <a:pt x="1282" y="1085"/>
                    <a:pt x="1282" y="1067"/>
                    <a:pt x="1290" y="1051"/>
                  </a:cubicBezTo>
                  <a:cubicBezTo>
                    <a:pt x="1297" y="1036"/>
                    <a:pt x="1308" y="1024"/>
                    <a:pt x="1325" y="1022"/>
                  </a:cubicBezTo>
                  <a:cubicBezTo>
                    <a:pt x="1342" y="1020"/>
                    <a:pt x="1358" y="1021"/>
                    <a:pt x="1371" y="1035"/>
                  </a:cubicBezTo>
                  <a:cubicBezTo>
                    <a:pt x="1376" y="1041"/>
                    <a:pt x="1378" y="1046"/>
                    <a:pt x="1378" y="1052"/>
                  </a:cubicBezTo>
                  <a:cubicBezTo>
                    <a:pt x="1378" y="1064"/>
                    <a:pt x="1378" y="1075"/>
                    <a:pt x="1378" y="1086"/>
                  </a:cubicBezTo>
                  <a:cubicBezTo>
                    <a:pt x="1378" y="1086"/>
                    <a:pt x="1378" y="1086"/>
                    <a:pt x="1378" y="1086"/>
                  </a:cubicBezTo>
                  <a:cubicBezTo>
                    <a:pt x="1378" y="1095"/>
                    <a:pt x="1378" y="1104"/>
                    <a:pt x="1378" y="1113"/>
                  </a:cubicBezTo>
                  <a:close/>
                  <a:moveTo>
                    <a:pt x="578" y="259"/>
                  </a:moveTo>
                  <a:cubicBezTo>
                    <a:pt x="603" y="241"/>
                    <a:pt x="611" y="213"/>
                    <a:pt x="614" y="183"/>
                  </a:cubicBezTo>
                  <a:cubicBezTo>
                    <a:pt x="615" y="171"/>
                    <a:pt x="610" y="159"/>
                    <a:pt x="609" y="147"/>
                  </a:cubicBezTo>
                  <a:cubicBezTo>
                    <a:pt x="608" y="137"/>
                    <a:pt x="603" y="129"/>
                    <a:pt x="599" y="121"/>
                  </a:cubicBezTo>
                  <a:cubicBezTo>
                    <a:pt x="579" y="87"/>
                    <a:pt x="527" y="70"/>
                    <a:pt x="488" y="85"/>
                  </a:cubicBezTo>
                  <a:cubicBezTo>
                    <a:pt x="453" y="99"/>
                    <a:pt x="436" y="127"/>
                    <a:pt x="431" y="163"/>
                  </a:cubicBezTo>
                  <a:cubicBezTo>
                    <a:pt x="429" y="180"/>
                    <a:pt x="430" y="196"/>
                    <a:pt x="436" y="213"/>
                  </a:cubicBezTo>
                  <a:cubicBezTo>
                    <a:pt x="439" y="222"/>
                    <a:pt x="442" y="232"/>
                    <a:pt x="447" y="239"/>
                  </a:cubicBezTo>
                  <a:cubicBezTo>
                    <a:pt x="465" y="265"/>
                    <a:pt x="491" y="277"/>
                    <a:pt x="525" y="276"/>
                  </a:cubicBezTo>
                  <a:cubicBezTo>
                    <a:pt x="543" y="278"/>
                    <a:pt x="562" y="271"/>
                    <a:pt x="578" y="259"/>
                  </a:cubicBezTo>
                  <a:close/>
                  <a:moveTo>
                    <a:pt x="471" y="205"/>
                  </a:moveTo>
                  <a:cubicBezTo>
                    <a:pt x="466" y="185"/>
                    <a:pt x="468" y="167"/>
                    <a:pt x="472" y="147"/>
                  </a:cubicBezTo>
                  <a:cubicBezTo>
                    <a:pt x="477" y="130"/>
                    <a:pt x="493" y="116"/>
                    <a:pt x="509" y="112"/>
                  </a:cubicBezTo>
                  <a:cubicBezTo>
                    <a:pt x="525" y="108"/>
                    <a:pt x="539" y="110"/>
                    <a:pt x="553" y="119"/>
                  </a:cubicBezTo>
                  <a:cubicBezTo>
                    <a:pt x="563" y="125"/>
                    <a:pt x="568" y="135"/>
                    <a:pt x="571" y="146"/>
                  </a:cubicBezTo>
                  <a:cubicBezTo>
                    <a:pt x="577" y="167"/>
                    <a:pt x="578" y="189"/>
                    <a:pt x="571" y="211"/>
                  </a:cubicBezTo>
                  <a:cubicBezTo>
                    <a:pt x="565" y="231"/>
                    <a:pt x="549" y="249"/>
                    <a:pt x="521" y="247"/>
                  </a:cubicBezTo>
                  <a:cubicBezTo>
                    <a:pt x="496" y="247"/>
                    <a:pt x="478" y="230"/>
                    <a:pt x="471" y="205"/>
                  </a:cubicBezTo>
                  <a:close/>
                  <a:moveTo>
                    <a:pt x="472" y="1122"/>
                  </a:moveTo>
                  <a:cubicBezTo>
                    <a:pt x="475" y="1136"/>
                    <a:pt x="481" y="1148"/>
                    <a:pt x="491" y="1158"/>
                  </a:cubicBezTo>
                  <a:cubicBezTo>
                    <a:pt x="506" y="1176"/>
                    <a:pt x="524" y="1185"/>
                    <a:pt x="548" y="1187"/>
                  </a:cubicBezTo>
                  <a:cubicBezTo>
                    <a:pt x="568" y="1188"/>
                    <a:pt x="587" y="1187"/>
                    <a:pt x="605" y="1177"/>
                  </a:cubicBezTo>
                  <a:cubicBezTo>
                    <a:pt x="632" y="1162"/>
                    <a:pt x="644" y="1136"/>
                    <a:pt x="649" y="1107"/>
                  </a:cubicBezTo>
                  <a:cubicBezTo>
                    <a:pt x="652" y="1089"/>
                    <a:pt x="649" y="1072"/>
                    <a:pt x="644" y="1054"/>
                  </a:cubicBezTo>
                  <a:cubicBezTo>
                    <a:pt x="638" y="1034"/>
                    <a:pt x="627" y="1019"/>
                    <a:pt x="610" y="1007"/>
                  </a:cubicBezTo>
                  <a:cubicBezTo>
                    <a:pt x="589" y="992"/>
                    <a:pt x="566" y="991"/>
                    <a:pt x="541" y="994"/>
                  </a:cubicBezTo>
                  <a:cubicBezTo>
                    <a:pt x="526" y="995"/>
                    <a:pt x="512" y="1002"/>
                    <a:pt x="500" y="1012"/>
                  </a:cubicBezTo>
                  <a:cubicBezTo>
                    <a:pt x="476" y="1032"/>
                    <a:pt x="469" y="1060"/>
                    <a:pt x="466" y="1095"/>
                  </a:cubicBezTo>
                  <a:cubicBezTo>
                    <a:pt x="465" y="1101"/>
                    <a:pt x="470" y="1111"/>
                    <a:pt x="472" y="1122"/>
                  </a:cubicBezTo>
                  <a:close/>
                  <a:moveTo>
                    <a:pt x="508" y="1113"/>
                  </a:moveTo>
                  <a:cubicBezTo>
                    <a:pt x="505" y="1095"/>
                    <a:pt x="506" y="1078"/>
                    <a:pt x="508" y="1061"/>
                  </a:cubicBezTo>
                  <a:cubicBezTo>
                    <a:pt x="511" y="1042"/>
                    <a:pt x="538" y="1021"/>
                    <a:pt x="554" y="1022"/>
                  </a:cubicBezTo>
                  <a:cubicBezTo>
                    <a:pt x="570" y="1022"/>
                    <a:pt x="586" y="1024"/>
                    <a:pt x="596" y="1037"/>
                  </a:cubicBezTo>
                  <a:cubicBezTo>
                    <a:pt x="602" y="1044"/>
                    <a:pt x="607" y="1052"/>
                    <a:pt x="608" y="1061"/>
                  </a:cubicBezTo>
                  <a:cubicBezTo>
                    <a:pt x="608" y="1064"/>
                    <a:pt x="609" y="1067"/>
                    <a:pt x="610" y="1070"/>
                  </a:cubicBezTo>
                  <a:cubicBezTo>
                    <a:pt x="618" y="1089"/>
                    <a:pt x="612" y="1107"/>
                    <a:pt x="607" y="1125"/>
                  </a:cubicBezTo>
                  <a:cubicBezTo>
                    <a:pt x="601" y="1143"/>
                    <a:pt x="588" y="1160"/>
                    <a:pt x="558" y="1157"/>
                  </a:cubicBezTo>
                  <a:cubicBezTo>
                    <a:pt x="530" y="1157"/>
                    <a:pt x="512" y="1141"/>
                    <a:pt x="508" y="1113"/>
                  </a:cubicBezTo>
                  <a:close/>
                  <a:moveTo>
                    <a:pt x="430" y="716"/>
                  </a:moveTo>
                  <a:cubicBezTo>
                    <a:pt x="450" y="703"/>
                    <a:pt x="459" y="683"/>
                    <a:pt x="464" y="661"/>
                  </a:cubicBezTo>
                  <a:cubicBezTo>
                    <a:pt x="468" y="648"/>
                    <a:pt x="467" y="635"/>
                    <a:pt x="466" y="621"/>
                  </a:cubicBezTo>
                  <a:cubicBezTo>
                    <a:pt x="463" y="592"/>
                    <a:pt x="453" y="567"/>
                    <a:pt x="427" y="550"/>
                  </a:cubicBezTo>
                  <a:cubicBezTo>
                    <a:pt x="401" y="534"/>
                    <a:pt x="372" y="532"/>
                    <a:pt x="345" y="541"/>
                  </a:cubicBezTo>
                  <a:cubicBezTo>
                    <a:pt x="310" y="552"/>
                    <a:pt x="291" y="580"/>
                    <a:pt x="287" y="617"/>
                  </a:cubicBezTo>
                  <a:cubicBezTo>
                    <a:pt x="286" y="629"/>
                    <a:pt x="286" y="641"/>
                    <a:pt x="287" y="654"/>
                  </a:cubicBezTo>
                  <a:cubicBezTo>
                    <a:pt x="289" y="671"/>
                    <a:pt x="295" y="686"/>
                    <a:pt x="306" y="700"/>
                  </a:cubicBezTo>
                  <a:cubicBezTo>
                    <a:pt x="324" y="722"/>
                    <a:pt x="348" y="733"/>
                    <a:pt x="378" y="731"/>
                  </a:cubicBezTo>
                  <a:cubicBezTo>
                    <a:pt x="396" y="733"/>
                    <a:pt x="414" y="727"/>
                    <a:pt x="430" y="716"/>
                  </a:cubicBezTo>
                  <a:close/>
                  <a:moveTo>
                    <a:pt x="331" y="592"/>
                  </a:moveTo>
                  <a:cubicBezTo>
                    <a:pt x="339" y="580"/>
                    <a:pt x="349" y="569"/>
                    <a:pt x="365" y="567"/>
                  </a:cubicBezTo>
                  <a:cubicBezTo>
                    <a:pt x="387" y="564"/>
                    <a:pt x="406" y="568"/>
                    <a:pt x="419" y="588"/>
                  </a:cubicBezTo>
                  <a:cubicBezTo>
                    <a:pt x="423" y="595"/>
                    <a:pt x="426" y="603"/>
                    <a:pt x="427" y="610"/>
                  </a:cubicBezTo>
                  <a:cubicBezTo>
                    <a:pt x="433" y="635"/>
                    <a:pt x="431" y="661"/>
                    <a:pt x="416" y="684"/>
                  </a:cubicBezTo>
                  <a:cubicBezTo>
                    <a:pt x="403" y="706"/>
                    <a:pt x="362" y="708"/>
                    <a:pt x="345" y="692"/>
                  </a:cubicBezTo>
                  <a:cubicBezTo>
                    <a:pt x="329" y="678"/>
                    <a:pt x="323" y="661"/>
                    <a:pt x="323" y="631"/>
                  </a:cubicBezTo>
                  <a:cubicBezTo>
                    <a:pt x="323" y="619"/>
                    <a:pt x="323" y="605"/>
                    <a:pt x="331" y="592"/>
                  </a:cubicBezTo>
                  <a:close/>
                  <a:moveTo>
                    <a:pt x="1073" y="259"/>
                  </a:moveTo>
                  <a:cubicBezTo>
                    <a:pt x="1073" y="269"/>
                    <a:pt x="1075" y="272"/>
                    <a:pt x="1086" y="272"/>
                  </a:cubicBezTo>
                  <a:cubicBezTo>
                    <a:pt x="1088" y="272"/>
                    <a:pt x="1090" y="272"/>
                    <a:pt x="1092" y="272"/>
                  </a:cubicBezTo>
                  <a:cubicBezTo>
                    <a:pt x="1105" y="272"/>
                    <a:pt x="1106" y="271"/>
                    <a:pt x="1106" y="258"/>
                  </a:cubicBezTo>
                  <a:cubicBezTo>
                    <a:pt x="1106" y="221"/>
                    <a:pt x="1106" y="184"/>
                    <a:pt x="1106" y="147"/>
                  </a:cubicBezTo>
                  <a:cubicBezTo>
                    <a:pt x="1106" y="143"/>
                    <a:pt x="1106" y="140"/>
                    <a:pt x="1107" y="137"/>
                  </a:cubicBezTo>
                  <a:cubicBezTo>
                    <a:pt x="1117" y="117"/>
                    <a:pt x="1157" y="104"/>
                    <a:pt x="1177" y="114"/>
                  </a:cubicBezTo>
                  <a:cubicBezTo>
                    <a:pt x="1179" y="115"/>
                    <a:pt x="1180" y="117"/>
                    <a:pt x="1182" y="118"/>
                  </a:cubicBezTo>
                  <a:cubicBezTo>
                    <a:pt x="1194" y="131"/>
                    <a:pt x="1196" y="147"/>
                    <a:pt x="1196" y="163"/>
                  </a:cubicBezTo>
                  <a:cubicBezTo>
                    <a:pt x="1197" y="195"/>
                    <a:pt x="1196" y="226"/>
                    <a:pt x="1196" y="258"/>
                  </a:cubicBezTo>
                  <a:cubicBezTo>
                    <a:pt x="1196" y="271"/>
                    <a:pt x="1197" y="272"/>
                    <a:pt x="1210" y="272"/>
                  </a:cubicBezTo>
                  <a:cubicBezTo>
                    <a:pt x="1212" y="272"/>
                    <a:pt x="1213" y="272"/>
                    <a:pt x="1215" y="272"/>
                  </a:cubicBezTo>
                  <a:cubicBezTo>
                    <a:pt x="1227" y="272"/>
                    <a:pt x="1229" y="270"/>
                    <a:pt x="1229" y="258"/>
                  </a:cubicBezTo>
                  <a:cubicBezTo>
                    <a:pt x="1229" y="222"/>
                    <a:pt x="1229" y="187"/>
                    <a:pt x="1229" y="151"/>
                  </a:cubicBezTo>
                  <a:cubicBezTo>
                    <a:pt x="1229" y="142"/>
                    <a:pt x="1228" y="132"/>
                    <a:pt x="1225" y="123"/>
                  </a:cubicBezTo>
                  <a:cubicBezTo>
                    <a:pt x="1219" y="105"/>
                    <a:pt x="1208" y="91"/>
                    <a:pt x="1189" y="85"/>
                  </a:cubicBezTo>
                  <a:cubicBezTo>
                    <a:pt x="1173" y="80"/>
                    <a:pt x="1156" y="84"/>
                    <a:pt x="1139" y="84"/>
                  </a:cubicBezTo>
                  <a:cubicBezTo>
                    <a:pt x="1137" y="84"/>
                    <a:pt x="1136" y="86"/>
                    <a:pt x="1134" y="87"/>
                  </a:cubicBezTo>
                  <a:cubicBezTo>
                    <a:pt x="1128" y="91"/>
                    <a:pt x="1121" y="96"/>
                    <a:pt x="1115" y="100"/>
                  </a:cubicBezTo>
                  <a:cubicBezTo>
                    <a:pt x="1113" y="102"/>
                    <a:pt x="1111" y="105"/>
                    <a:pt x="1108" y="103"/>
                  </a:cubicBezTo>
                  <a:cubicBezTo>
                    <a:pt x="1105" y="102"/>
                    <a:pt x="1106" y="98"/>
                    <a:pt x="1106" y="96"/>
                  </a:cubicBezTo>
                  <a:cubicBezTo>
                    <a:pt x="1106" y="69"/>
                    <a:pt x="1106" y="43"/>
                    <a:pt x="1106" y="17"/>
                  </a:cubicBezTo>
                  <a:cubicBezTo>
                    <a:pt x="1106" y="0"/>
                    <a:pt x="1106" y="0"/>
                    <a:pt x="1089" y="0"/>
                  </a:cubicBezTo>
                  <a:cubicBezTo>
                    <a:pt x="1074" y="0"/>
                    <a:pt x="1073" y="1"/>
                    <a:pt x="1073" y="16"/>
                  </a:cubicBezTo>
                  <a:cubicBezTo>
                    <a:pt x="1073" y="56"/>
                    <a:pt x="1073" y="96"/>
                    <a:pt x="1073" y="136"/>
                  </a:cubicBezTo>
                  <a:cubicBezTo>
                    <a:pt x="1073" y="177"/>
                    <a:pt x="1073" y="218"/>
                    <a:pt x="1073" y="259"/>
                  </a:cubicBezTo>
                  <a:close/>
                  <a:moveTo>
                    <a:pt x="1150" y="1092"/>
                  </a:moveTo>
                  <a:cubicBezTo>
                    <a:pt x="1168" y="1092"/>
                    <a:pt x="1186" y="1092"/>
                    <a:pt x="1204" y="1092"/>
                  </a:cubicBezTo>
                  <a:cubicBezTo>
                    <a:pt x="1215" y="1092"/>
                    <a:pt x="1218" y="1087"/>
                    <a:pt x="1219" y="1077"/>
                  </a:cubicBezTo>
                  <a:cubicBezTo>
                    <a:pt x="1220" y="1062"/>
                    <a:pt x="1216" y="1049"/>
                    <a:pt x="1210" y="1036"/>
                  </a:cubicBezTo>
                  <a:cubicBezTo>
                    <a:pt x="1204" y="1020"/>
                    <a:pt x="1193" y="1008"/>
                    <a:pt x="1177" y="1001"/>
                  </a:cubicBezTo>
                  <a:cubicBezTo>
                    <a:pt x="1155" y="992"/>
                    <a:pt x="1133" y="991"/>
                    <a:pt x="1109" y="999"/>
                  </a:cubicBezTo>
                  <a:cubicBezTo>
                    <a:pt x="1079" y="1010"/>
                    <a:pt x="1062" y="1031"/>
                    <a:pt x="1056" y="1061"/>
                  </a:cubicBezTo>
                  <a:cubicBezTo>
                    <a:pt x="1051" y="1090"/>
                    <a:pt x="1052" y="1120"/>
                    <a:pt x="1069" y="1148"/>
                  </a:cubicBezTo>
                  <a:cubicBezTo>
                    <a:pt x="1081" y="1169"/>
                    <a:pt x="1100" y="1180"/>
                    <a:pt x="1122" y="1185"/>
                  </a:cubicBezTo>
                  <a:cubicBezTo>
                    <a:pt x="1149" y="1190"/>
                    <a:pt x="1176" y="1186"/>
                    <a:pt x="1200" y="1171"/>
                  </a:cubicBezTo>
                  <a:cubicBezTo>
                    <a:pt x="1206" y="1168"/>
                    <a:pt x="1213" y="1165"/>
                    <a:pt x="1214" y="1157"/>
                  </a:cubicBezTo>
                  <a:cubicBezTo>
                    <a:pt x="1215" y="1147"/>
                    <a:pt x="1202" y="1139"/>
                    <a:pt x="1193" y="1144"/>
                  </a:cubicBezTo>
                  <a:cubicBezTo>
                    <a:pt x="1187" y="1147"/>
                    <a:pt x="1180" y="1150"/>
                    <a:pt x="1174" y="1153"/>
                  </a:cubicBezTo>
                  <a:cubicBezTo>
                    <a:pt x="1158" y="1161"/>
                    <a:pt x="1140" y="1161"/>
                    <a:pt x="1124" y="1155"/>
                  </a:cubicBezTo>
                  <a:cubicBezTo>
                    <a:pt x="1112" y="1151"/>
                    <a:pt x="1102" y="1142"/>
                    <a:pt x="1096" y="1129"/>
                  </a:cubicBezTo>
                  <a:cubicBezTo>
                    <a:pt x="1092" y="1121"/>
                    <a:pt x="1091" y="1112"/>
                    <a:pt x="1089" y="1104"/>
                  </a:cubicBezTo>
                  <a:cubicBezTo>
                    <a:pt x="1087" y="1093"/>
                    <a:pt x="1087" y="1092"/>
                    <a:pt x="1099" y="1092"/>
                  </a:cubicBezTo>
                  <a:cubicBezTo>
                    <a:pt x="1116" y="1092"/>
                    <a:pt x="1133" y="1092"/>
                    <a:pt x="1150" y="1092"/>
                  </a:cubicBezTo>
                  <a:cubicBezTo>
                    <a:pt x="1150" y="1092"/>
                    <a:pt x="1150" y="1092"/>
                    <a:pt x="1150" y="1092"/>
                  </a:cubicBezTo>
                  <a:close/>
                  <a:moveTo>
                    <a:pt x="1099" y="1070"/>
                  </a:moveTo>
                  <a:cubicBezTo>
                    <a:pt x="1092" y="1071"/>
                    <a:pt x="1089" y="1067"/>
                    <a:pt x="1091" y="1060"/>
                  </a:cubicBezTo>
                  <a:cubicBezTo>
                    <a:pt x="1094" y="1045"/>
                    <a:pt x="1108" y="1023"/>
                    <a:pt x="1128" y="1022"/>
                  </a:cubicBezTo>
                  <a:cubicBezTo>
                    <a:pt x="1142" y="1021"/>
                    <a:pt x="1156" y="1018"/>
                    <a:pt x="1168" y="1029"/>
                  </a:cubicBezTo>
                  <a:cubicBezTo>
                    <a:pt x="1181" y="1038"/>
                    <a:pt x="1185" y="1051"/>
                    <a:pt x="1187" y="1066"/>
                  </a:cubicBezTo>
                  <a:cubicBezTo>
                    <a:pt x="1188" y="1071"/>
                    <a:pt x="1183" y="1070"/>
                    <a:pt x="1180" y="1070"/>
                  </a:cubicBezTo>
                  <a:cubicBezTo>
                    <a:pt x="1166" y="1070"/>
                    <a:pt x="1153" y="1070"/>
                    <a:pt x="1139" y="1070"/>
                  </a:cubicBezTo>
                  <a:cubicBezTo>
                    <a:pt x="1139" y="1070"/>
                    <a:pt x="1139" y="1070"/>
                    <a:pt x="1139" y="1070"/>
                  </a:cubicBezTo>
                  <a:cubicBezTo>
                    <a:pt x="1126" y="1070"/>
                    <a:pt x="1113" y="1070"/>
                    <a:pt x="1099" y="1070"/>
                  </a:cubicBezTo>
                  <a:close/>
                  <a:moveTo>
                    <a:pt x="1741" y="1092"/>
                  </a:moveTo>
                  <a:cubicBezTo>
                    <a:pt x="1759" y="1092"/>
                    <a:pt x="1776" y="1092"/>
                    <a:pt x="1793" y="1092"/>
                  </a:cubicBezTo>
                  <a:cubicBezTo>
                    <a:pt x="1806" y="1092"/>
                    <a:pt x="1808" y="1089"/>
                    <a:pt x="1808" y="1076"/>
                  </a:cubicBezTo>
                  <a:cubicBezTo>
                    <a:pt x="1809" y="1063"/>
                    <a:pt x="1807" y="1051"/>
                    <a:pt x="1802" y="1038"/>
                  </a:cubicBezTo>
                  <a:cubicBezTo>
                    <a:pt x="1794" y="1021"/>
                    <a:pt x="1782" y="1008"/>
                    <a:pt x="1764" y="1000"/>
                  </a:cubicBezTo>
                  <a:cubicBezTo>
                    <a:pt x="1742" y="991"/>
                    <a:pt x="1720" y="991"/>
                    <a:pt x="1698" y="1000"/>
                  </a:cubicBezTo>
                  <a:cubicBezTo>
                    <a:pt x="1681" y="1006"/>
                    <a:pt x="1668" y="1016"/>
                    <a:pt x="1659" y="1031"/>
                  </a:cubicBezTo>
                  <a:cubicBezTo>
                    <a:pt x="1646" y="1050"/>
                    <a:pt x="1643" y="1071"/>
                    <a:pt x="1644" y="1094"/>
                  </a:cubicBezTo>
                  <a:cubicBezTo>
                    <a:pt x="1644" y="1110"/>
                    <a:pt x="1647" y="1127"/>
                    <a:pt x="1655" y="1141"/>
                  </a:cubicBezTo>
                  <a:cubicBezTo>
                    <a:pt x="1669" y="1168"/>
                    <a:pt x="1691" y="1183"/>
                    <a:pt x="1722" y="1186"/>
                  </a:cubicBezTo>
                  <a:cubicBezTo>
                    <a:pt x="1750" y="1188"/>
                    <a:pt x="1775" y="1183"/>
                    <a:pt x="1798" y="1165"/>
                  </a:cubicBezTo>
                  <a:cubicBezTo>
                    <a:pt x="1803" y="1161"/>
                    <a:pt x="1806" y="1157"/>
                    <a:pt x="1802" y="1151"/>
                  </a:cubicBezTo>
                  <a:cubicBezTo>
                    <a:pt x="1798" y="1144"/>
                    <a:pt x="1791" y="1140"/>
                    <a:pt x="1783" y="1144"/>
                  </a:cubicBezTo>
                  <a:cubicBezTo>
                    <a:pt x="1778" y="1147"/>
                    <a:pt x="1771" y="1149"/>
                    <a:pt x="1766" y="1152"/>
                  </a:cubicBezTo>
                  <a:cubicBezTo>
                    <a:pt x="1749" y="1161"/>
                    <a:pt x="1730" y="1162"/>
                    <a:pt x="1714" y="1155"/>
                  </a:cubicBezTo>
                  <a:cubicBezTo>
                    <a:pt x="1692" y="1145"/>
                    <a:pt x="1680" y="1127"/>
                    <a:pt x="1679" y="1102"/>
                  </a:cubicBezTo>
                  <a:cubicBezTo>
                    <a:pt x="1678" y="1095"/>
                    <a:pt x="1681" y="1092"/>
                    <a:pt x="1689" y="1092"/>
                  </a:cubicBezTo>
                  <a:cubicBezTo>
                    <a:pt x="1706" y="1092"/>
                    <a:pt x="1724" y="1092"/>
                    <a:pt x="1741" y="1092"/>
                  </a:cubicBezTo>
                  <a:cubicBezTo>
                    <a:pt x="1741" y="1092"/>
                    <a:pt x="1741" y="1092"/>
                    <a:pt x="1741" y="1092"/>
                  </a:cubicBezTo>
                  <a:close/>
                  <a:moveTo>
                    <a:pt x="1690" y="1070"/>
                  </a:moveTo>
                  <a:cubicBezTo>
                    <a:pt x="1683" y="1071"/>
                    <a:pt x="1680" y="1068"/>
                    <a:pt x="1681" y="1062"/>
                  </a:cubicBezTo>
                  <a:cubicBezTo>
                    <a:pt x="1683" y="1048"/>
                    <a:pt x="1697" y="1024"/>
                    <a:pt x="1716" y="1022"/>
                  </a:cubicBezTo>
                  <a:cubicBezTo>
                    <a:pt x="1731" y="1020"/>
                    <a:pt x="1747" y="1018"/>
                    <a:pt x="1760" y="1030"/>
                  </a:cubicBezTo>
                  <a:cubicBezTo>
                    <a:pt x="1771" y="1038"/>
                    <a:pt x="1775" y="1050"/>
                    <a:pt x="1778" y="1062"/>
                  </a:cubicBezTo>
                  <a:cubicBezTo>
                    <a:pt x="1780" y="1068"/>
                    <a:pt x="1775" y="1070"/>
                    <a:pt x="1769" y="1070"/>
                  </a:cubicBezTo>
                  <a:cubicBezTo>
                    <a:pt x="1756" y="1070"/>
                    <a:pt x="1742" y="1070"/>
                    <a:pt x="1729" y="1070"/>
                  </a:cubicBezTo>
                  <a:cubicBezTo>
                    <a:pt x="1729" y="1070"/>
                    <a:pt x="1729" y="1070"/>
                    <a:pt x="1729" y="1070"/>
                  </a:cubicBezTo>
                  <a:cubicBezTo>
                    <a:pt x="1716" y="1070"/>
                    <a:pt x="1703" y="1070"/>
                    <a:pt x="1690" y="1070"/>
                  </a:cubicBezTo>
                  <a:close/>
                  <a:moveTo>
                    <a:pt x="68" y="581"/>
                  </a:moveTo>
                  <a:cubicBezTo>
                    <a:pt x="68" y="573"/>
                    <a:pt x="70" y="568"/>
                    <a:pt x="80" y="569"/>
                  </a:cubicBezTo>
                  <a:cubicBezTo>
                    <a:pt x="90" y="570"/>
                    <a:pt x="101" y="570"/>
                    <a:pt x="111" y="569"/>
                  </a:cubicBezTo>
                  <a:cubicBezTo>
                    <a:pt x="120" y="569"/>
                    <a:pt x="120" y="563"/>
                    <a:pt x="120" y="556"/>
                  </a:cubicBezTo>
                  <a:cubicBezTo>
                    <a:pt x="120" y="549"/>
                    <a:pt x="119" y="544"/>
                    <a:pt x="111" y="544"/>
                  </a:cubicBezTo>
                  <a:cubicBezTo>
                    <a:pt x="104" y="544"/>
                    <a:pt x="97" y="544"/>
                    <a:pt x="91" y="544"/>
                  </a:cubicBezTo>
                  <a:cubicBezTo>
                    <a:pt x="66" y="544"/>
                    <a:pt x="65" y="543"/>
                    <a:pt x="68" y="518"/>
                  </a:cubicBezTo>
                  <a:cubicBezTo>
                    <a:pt x="69" y="504"/>
                    <a:pt x="83" y="487"/>
                    <a:pt x="99" y="489"/>
                  </a:cubicBezTo>
                  <a:cubicBezTo>
                    <a:pt x="103" y="489"/>
                    <a:pt x="107" y="489"/>
                    <a:pt x="110" y="488"/>
                  </a:cubicBezTo>
                  <a:cubicBezTo>
                    <a:pt x="118" y="487"/>
                    <a:pt x="123" y="479"/>
                    <a:pt x="123" y="471"/>
                  </a:cubicBezTo>
                  <a:cubicBezTo>
                    <a:pt x="123" y="461"/>
                    <a:pt x="116" y="462"/>
                    <a:pt x="109" y="460"/>
                  </a:cubicBezTo>
                  <a:cubicBezTo>
                    <a:pt x="100" y="458"/>
                    <a:pt x="92" y="460"/>
                    <a:pt x="84" y="460"/>
                  </a:cubicBezTo>
                  <a:cubicBezTo>
                    <a:pt x="68" y="461"/>
                    <a:pt x="56" y="469"/>
                    <a:pt x="47" y="480"/>
                  </a:cubicBezTo>
                  <a:cubicBezTo>
                    <a:pt x="34" y="493"/>
                    <a:pt x="32" y="511"/>
                    <a:pt x="32" y="529"/>
                  </a:cubicBezTo>
                  <a:cubicBezTo>
                    <a:pt x="32" y="544"/>
                    <a:pt x="32" y="544"/>
                    <a:pt x="17" y="544"/>
                  </a:cubicBezTo>
                  <a:cubicBezTo>
                    <a:pt x="4" y="543"/>
                    <a:pt x="0" y="548"/>
                    <a:pt x="4" y="561"/>
                  </a:cubicBezTo>
                  <a:cubicBezTo>
                    <a:pt x="6" y="569"/>
                    <a:pt x="13" y="568"/>
                    <a:pt x="19" y="569"/>
                  </a:cubicBezTo>
                  <a:cubicBezTo>
                    <a:pt x="32" y="571"/>
                    <a:pt x="32" y="571"/>
                    <a:pt x="32" y="584"/>
                  </a:cubicBezTo>
                  <a:cubicBezTo>
                    <a:pt x="32" y="624"/>
                    <a:pt x="32" y="664"/>
                    <a:pt x="32" y="704"/>
                  </a:cubicBezTo>
                  <a:cubicBezTo>
                    <a:pt x="32" y="731"/>
                    <a:pt x="32" y="730"/>
                    <a:pt x="57" y="731"/>
                  </a:cubicBezTo>
                  <a:cubicBezTo>
                    <a:pt x="66" y="731"/>
                    <a:pt x="68" y="727"/>
                    <a:pt x="68" y="720"/>
                  </a:cubicBezTo>
                  <a:cubicBezTo>
                    <a:pt x="68" y="697"/>
                    <a:pt x="68" y="674"/>
                    <a:pt x="68" y="651"/>
                  </a:cubicBezTo>
                  <a:cubicBezTo>
                    <a:pt x="68" y="628"/>
                    <a:pt x="68" y="605"/>
                    <a:pt x="68" y="581"/>
                  </a:cubicBezTo>
                  <a:close/>
                  <a:moveTo>
                    <a:pt x="278" y="1165"/>
                  </a:moveTo>
                  <a:cubicBezTo>
                    <a:pt x="278" y="1183"/>
                    <a:pt x="278" y="1183"/>
                    <a:pt x="296" y="1184"/>
                  </a:cubicBezTo>
                  <a:cubicBezTo>
                    <a:pt x="310" y="1184"/>
                    <a:pt x="310" y="1184"/>
                    <a:pt x="310" y="1169"/>
                  </a:cubicBezTo>
                  <a:cubicBezTo>
                    <a:pt x="310" y="1132"/>
                    <a:pt x="310" y="1095"/>
                    <a:pt x="310" y="1058"/>
                  </a:cubicBezTo>
                  <a:cubicBezTo>
                    <a:pt x="310" y="1052"/>
                    <a:pt x="312" y="1047"/>
                    <a:pt x="316" y="1042"/>
                  </a:cubicBezTo>
                  <a:cubicBezTo>
                    <a:pt x="324" y="1033"/>
                    <a:pt x="334" y="1027"/>
                    <a:pt x="345" y="1024"/>
                  </a:cubicBezTo>
                  <a:cubicBezTo>
                    <a:pt x="357" y="1020"/>
                    <a:pt x="371" y="1018"/>
                    <a:pt x="383" y="1028"/>
                  </a:cubicBezTo>
                  <a:cubicBezTo>
                    <a:pt x="397" y="1039"/>
                    <a:pt x="401" y="1054"/>
                    <a:pt x="401" y="1071"/>
                  </a:cubicBezTo>
                  <a:cubicBezTo>
                    <a:pt x="401" y="1102"/>
                    <a:pt x="401" y="1132"/>
                    <a:pt x="401" y="1163"/>
                  </a:cubicBezTo>
                  <a:cubicBezTo>
                    <a:pt x="401" y="1183"/>
                    <a:pt x="401" y="1182"/>
                    <a:pt x="420" y="1184"/>
                  </a:cubicBezTo>
                  <a:cubicBezTo>
                    <a:pt x="429" y="1185"/>
                    <a:pt x="433" y="1181"/>
                    <a:pt x="433" y="1173"/>
                  </a:cubicBezTo>
                  <a:cubicBezTo>
                    <a:pt x="432" y="1130"/>
                    <a:pt x="435" y="1087"/>
                    <a:pt x="431" y="1044"/>
                  </a:cubicBezTo>
                  <a:cubicBezTo>
                    <a:pt x="427" y="1014"/>
                    <a:pt x="404" y="996"/>
                    <a:pt x="376" y="994"/>
                  </a:cubicBezTo>
                  <a:cubicBezTo>
                    <a:pt x="353" y="992"/>
                    <a:pt x="333" y="1000"/>
                    <a:pt x="317" y="1017"/>
                  </a:cubicBezTo>
                  <a:cubicBezTo>
                    <a:pt x="312" y="1021"/>
                    <a:pt x="311" y="1019"/>
                    <a:pt x="309" y="1015"/>
                  </a:cubicBezTo>
                  <a:cubicBezTo>
                    <a:pt x="309" y="1013"/>
                    <a:pt x="308" y="1011"/>
                    <a:pt x="308" y="1008"/>
                  </a:cubicBezTo>
                  <a:cubicBezTo>
                    <a:pt x="306" y="1001"/>
                    <a:pt x="298" y="997"/>
                    <a:pt x="287" y="998"/>
                  </a:cubicBezTo>
                  <a:cubicBezTo>
                    <a:pt x="279" y="999"/>
                    <a:pt x="278" y="1004"/>
                    <a:pt x="278" y="1011"/>
                  </a:cubicBezTo>
                  <a:cubicBezTo>
                    <a:pt x="278" y="1037"/>
                    <a:pt x="278" y="1064"/>
                    <a:pt x="278" y="1091"/>
                  </a:cubicBezTo>
                  <a:cubicBezTo>
                    <a:pt x="278" y="1115"/>
                    <a:pt x="278" y="1140"/>
                    <a:pt x="278" y="1165"/>
                  </a:cubicBezTo>
                  <a:close/>
                  <a:moveTo>
                    <a:pt x="150" y="705"/>
                  </a:moveTo>
                  <a:cubicBezTo>
                    <a:pt x="150" y="734"/>
                    <a:pt x="145" y="730"/>
                    <a:pt x="176" y="731"/>
                  </a:cubicBezTo>
                  <a:cubicBezTo>
                    <a:pt x="185" y="731"/>
                    <a:pt x="187" y="727"/>
                    <a:pt x="187" y="719"/>
                  </a:cubicBezTo>
                  <a:cubicBezTo>
                    <a:pt x="187" y="685"/>
                    <a:pt x="187" y="651"/>
                    <a:pt x="187" y="618"/>
                  </a:cubicBezTo>
                  <a:cubicBezTo>
                    <a:pt x="187" y="597"/>
                    <a:pt x="204" y="578"/>
                    <a:pt x="225" y="574"/>
                  </a:cubicBezTo>
                  <a:cubicBezTo>
                    <a:pt x="232" y="572"/>
                    <a:pt x="240" y="574"/>
                    <a:pt x="247" y="575"/>
                  </a:cubicBezTo>
                  <a:cubicBezTo>
                    <a:pt x="257" y="576"/>
                    <a:pt x="261" y="572"/>
                    <a:pt x="265" y="564"/>
                  </a:cubicBezTo>
                  <a:cubicBezTo>
                    <a:pt x="269" y="556"/>
                    <a:pt x="267" y="542"/>
                    <a:pt x="261" y="540"/>
                  </a:cubicBezTo>
                  <a:cubicBezTo>
                    <a:pt x="253" y="538"/>
                    <a:pt x="244" y="534"/>
                    <a:pt x="237" y="536"/>
                  </a:cubicBezTo>
                  <a:cubicBezTo>
                    <a:pt x="228" y="537"/>
                    <a:pt x="217" y="537"/>
                    <a:pt x="209" y="544"/>
                  </a:cubicBezTo>
                  <a:cubicBezTo>
                    <a:pt x="204" y="549"/>
                    <a:pt x="198" y="553"/>
                    <a:pt x="194" y="558"/>
                  </a:cubicBezTo>
                  <a:cubicBezTo>
                    <a:pt x="192" y="561"/>
                    <a:pt x="189" y="563"/>
                    <a:pt x="185" y="562"/>
                  </a:cubicBezTo>
                  <a:cubicBezTo>
                    <a:pt x="182" y="561"/>
                    <a:pt x="182" y="558"/>
                    <a:pt x="182" y="556"/>
                  </a:cubicBezTo>
                  <a:cubicBezTo>
                    <a:pt x="180" y="539"/>
                    <a:pt x="179" y="539"/>
                    <a:pt x="162" y="539"/>
                  </a:cubicBezTo>
                  <a:cubicBezTo>
                    <a:pt x="151" y="539"/>
                    <a:pt x="150" y="540"/>
                    <a:pt x="150" y="551"/>
                  </a:cubicBezTo>
                  <a:cubicBezTo>
                    <a:pt x="150" y="579"/>
                    <a:pt x="150" y="607"/>
                    <a:pt x="150" y="635"/>
                  </a:cubicBezTo>
                  <a:cubicBezTo>
                    <a:pt x="150" y="658"/>
                    <a:pt x="149" y="682"/>
                    <a:pt x="150" y="705"/>
                  </a:cubicBezTo>
                  <a:close/>
                  <a:moveTo>
                    <a:pt x="1011" y="1049"/>
                  </a:moveTo>
                  <a:cubicBezTo>
                    <a:pt x="1011" y="1008"/>
                    <a:pt x="1011" y="966"/>
                    <a:pt x="1011" y="924"/>
                  </a:cubicBezTo>
                  <a:cubicBezTo>
                    <a:pt x="1011" y="913"/>
                    <a:pt x="1008" y="910"/>
                    <a:pt x="997" y="910"/>
                  </a:cubicBezTo>
                  <a:cubicBezTo>
                    <a:pt x="995" y="910"/>
                    <a:pt x="992" y="910"/>
                    <a:pt x="990" y="910"/>
                  </a:cubicBezTo>
                  <a:cubicBezTo>
                    <a:pt x="976" y="910"/>
                    <a:pt x="975" y="911"/>
                    <a:pt x="975" y="926"/>
                  </a:cubicBezTo>
                  <a:cubicBezTo>
                    <a:pt x="975" y="1006"/>
                    <a:pt x="975" y="1085"/>
                    <a:pt x="975" y="1165"/>
                  </a:cubicBezTo>
                  <a:cubicBezTo>
                    <a:pt x="975" y="1185"/>
                    <a:pt x="975" y="1185"/>
                    <a:pt x="994" y="1185"/>
                  </a:cubicBezTo>
                  <a:cubicBezTo>
                    <a:pt x="1009" y="1185"/>
                    <a:pt x="1011" y="1184"/>
                    <a:pt x="1011" y="1169"/>
                  </a:cubicBezTo>
                  <a:cubicBezTo>
                    <a:pt x="1011" y="1129"/>
                    <a:pt x="1011" y="1089"/>
                    <a:pt x="1011" y="1049"/>
                  </a:cubicBezTo>
                  <a:cubicBezTo>
                    <a:pt x="1011" y="1049"/>
                    <a:pt x="1011" y="1049"/>
                    <a:pt x="1011" y="1049"/>
                  </a:cubicBezTo>
                  <a:close/>
                  <a:moveTo>
                    <a:pt x="296" y="176"/>
                  </a:moveTo>
                  <a:cubicBezTo>
                    <a:pt x="296" y="201"/>
                    <a:pt x="296" y="226"/>
                    <a:pt x="296" y="251"/>
                  </a:cubicBezTo>
                  <a:cubicBezTo>
                    <a:pt x="295" y="276"/>
                    <a:pt x="296" y="274"/>
                    <a:pt x="318" y="274"/>
                  </a:cubicBezTo>
                  <a:cubicBezTo>
                    <a:pt x="330" y="274"/>
                    <a:pt x="331" y="274"/>
                    <a:pt x="331" y="260"/>
                  </a:cubicBezTo>
                  <a:cubicBezTo>
                    <a:pt x="331" y="232"/>
                    <a:pt x="331" y="204"/>
                    <a:pt x="331" y="176"/>
                  </a:cubicBezTo>
                  <a:cubicBezTo>
                    <a:pt x="331" y="165"/>
                    <a:pt x="331" y="155"/>
                    <a:pt x="337" y="145"/>
                  </a:cubicBezTo>
                  <a:cubicBezTo>
                    <a:pt x="349" y="123"/>
                    <a:pt x="359" y="117"/>
                    <a:pt x="377" y="118"/>
                  </a:cubicBezTo>
                  <a:cubicBezTo>
                    <a:pt x="383" y="118"/>
                    <a:pt x="389" y="119"/>
                    <a:pt x="395" y="120"/>
                  </a:cubicBezTo>
                  <a:cubicBezTo>
                    <a:pt x="401" y="120"/>
                    <a:pt x="407" y="118"/>
                    <a:pt x="408" y="112"/>
                  </a:cubicBezTo>
                  <a:cubicBezTo>
                    <a:pt x="409" y="103"/>
                    <a:pt x="415" y="93"/>
                    <a:pt x="407" y="85"/>
                  </a:cubicBezTo>
                  <a:cubicBezTo>
                    <a:pt x="406" y="84"/>
                    <a:pt x="404" y="84"/>
                    <a:pt x="402" y="84"/>
                  </a:cubicBezTo>
                  <a:cubicBezTo>
                    <a:pt x="376" y="78"/>
                    <a:pt x="353" y="82"/>
                    <a:pt x="337" y="106"/>
                  </a:cubicBezTo>
                  <a:cubicBezTo>
                    <a:pt x="336" y="108"/>
                    <a:pt x="335" y="110"/>
                    <a:pt x="333" y="109"/>
                  </a:cubicBezTo>
                  <a:cubicBezTo>
                    <a:pt x="331" y="109"/>
                    <a:pt x="330" y="107"/>
                    <a:pt x="330" y="105"/>
                  </a:cubicBezTo>
                  <a:cubicBezTo>
                    <a:pt x="329" y="101"/>
                    <a:pt x="329" y="97"/>
                    <a:pt x="328" y="94"/>
                  </a:cubicBezTo>
                  <a:cubicBezTo>
                    <a:pt x="325" y="85"/>
                    <a:pt x="318" y="82"/>
                    <a:pt x="303" y="84"/>
                  </a:cubicBezTo>
                  <a:cubicBezTo>
                    <a:pt x="297" y="84"/>
                    <a:pt x="295" y="86"/>
                    <a:pt x="295" y="92"/>
                  </a:cubicBezTo>
                  <a:cubicBezTo>
                    <a:pt x="296" y="120"/>
                    <a:pt x="295" y="148"/>
                    <a:pt x="295" y="176"/>
                  </a:cubicBezTo>
                  <a:cubicBezTo>
                    <a:pt x="296" y="176"/>
                    <a:pt x="296" y="176"/>
                    <a:pt x="296" y="176"/>
                  </a:cubicBezTo>
                  <a:close/>
                  <a:moveTo>
                    <a:pt x="946" y="179"/>
                  </a:moveTo>
                  <a:cubicBezTo>
                    <a:pt x="946" y="197"/>
                    <a:pt x="946" y="215"/>
                    <a:pt x="946" y="234"/>
                  </a:cubicBezTo>
                  <a:cubicBezTo>
                    <a:pt x="946" y="248"/>
                    <a:pt x="951" y="260"/>
                    <a:pt x="963" y="268"/>
                  </a:cubicBezTo>
                  <a:cubicBezTo>
                    <a:pt x="982" y="280"/>
                    <a:pt x="1011" y="277"/>
                    <a:pt x="1029" y="264"/>
                  </a:cubicBezTo>
                  <a:cubicBezTo>
                    <a:pt x="1036" y="259"/>
                    <a:pt x="1036" y="254"/>
                    <a:pt x="1032" y="248"/>
                  </a:cubicBezTo>
                  <a:cubicBezTo>
                    <a:pt x="1026" y="239"/>
                    <a:pt x="1020" y="238"/>
                    <a:pt x="1013" y="242"/>
                  </a:cubicBezTo>
                  <a:cubicBezTo>
                    <a:pt x="996" y="252"/>
                    <a:pt x="978" y="243"/>
                    <a:pt x="978" y="223"/>
                  </a:cubicBezTo>
                  <a:cubicBezTo>
                    <a:pt x="978" y="190"/>
                    <a:pt x="978" y="157"/>
                    <a:pt x="978" y="123"/>
                  </a:cubicBezTo>
                  <a:cubicBezTo>
                    <a:pt x="978" y="116"/>
                    <a:pt x="981" y="113"/>
                    <a:pt x="988" y="113"/>
                  </a:cubicBezTo>
                  <a:cubicBezTo>
                    <a:pt x="999" y="114"/>
                    <a:pt x="1011" y="113"/>
                    <a:pt x="1022" y="113"/>
                  </a:cubicBezTo>
                  <a:cubicBezTo>
                    <a:pt x="1028" y="113"/>
                    <a:pt x="1033" y="112"/>
                    <a:pt x="1033" y="104"/>
                  </a:cubicBezTo>
                  <a:cubicBezTo>
                    <a:pt x="1033" y="96"/>
                    <a:pt x="1032" y="90"/>
                    <a:pt x="1022" y="90"/>
                  </a:cubicBezTo>
                  <a:cubicBezTo>
                    <a:pt x="1011" y="90"/>
                    <a:pt x="1001" y="90"/>
                    <a:pt x="990" y="90"/>
                  </a:cubicBezTo>
                  <a:cubicBezTo>
                    <a:pt x="981" y="91"/>
                    <a:pt x="977" y="88"/>
                    <a:pt x="978" y="78"/>
                  </a:cubicBezTo>
                  <a:cubicBezTo>
                    <a:pt x="978" y="64"/>
                    <a:pt x="978" y="49"/>
                    <a:pt x="978" y="35"/>
                  </a:cubicBezTo>
                  <a:cubicBezTo>
                    <a:pt x="978" y="30"/>
                    <a:pt x="978" y="25"/>
                    <a:pt x="971" y="24"/>
                  </a:cubicBezTo>
                  <a:cubicBezTo>
                    <a:pt x="964" y="24"/>
                    <a:pt x="956" y="24"/>
                    <a:pt x="955" y="32"/>
                  </a:cubicBezTo>
                  <a:cubicBezTo>
                    <a:pt x="952" y="43"/>
                    <a:pt x="949" y="54"/>
                    <a:pt x="949" y="65"/>
                  </a:cubicBezTo>
                  <a:cubicBezTo>
                    <a:pt x="948" y="88"/>
                    <a:pt x="947" y="88"/>
                    <a:pt x="924" y="91"/>
                  </a:cubicBezTo>
                  <a:cubicBezTo>
                    <a:pt x="919" y="92"/>
                    <a:pt x="914" y="92"/>
                    <a:pt x="914" y="99"/>
                  </a:cubicBezTo>
                  <a:cubicBezTo>
                    <a:pt x="915" y="107"/>
                    <a:pt x="917" y="113"/>
                    <a:pt x="926" y="113"/>
                  </a:cubicBezTo>
                  <a:cubicBezTo>
                    <a:pt x="929" y="114"/>
                    <a:pt x="932" y="113"/>
                    <a:pt x="935" y="113"/>
                  </a:cubicBezTo>
                  <a:cubicBezTo>
                    <a:pt x="943" y="113"/>
                    <a:pt x="946" y="116"/>
                    <a:pt x="946" y="124"/>
                  </a:cubicBezTo>
                  <a:cubicBezTo>
                    <a:pt x="946" y="142"/>
                    <a:pt x="946" y="161"/>
                    <a:pt x="946" y="179"/>
                  </a:cubicBezTo>
                  <a:cubicBezTo>
                    <a:pt x="946" y="179"/>
                    <a:pt x="946" y="179"/>
                    <a:pt x="946" y="179"/>
                  </a:cubicBezTo>
                  <a:close/>
                </a:path>
              </a:pathLst>
            </a:custGeom>
            <a:solidFill>
              <a:srgbClr val="4C505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grpSp>
          <p:nvGrpSpPr>
            <p:cNvPr id="18" name="Group 4">
              <a:extLst>
                <a:ext uri="{FF2B5EF4-FFF2-40B4-BE49-F238E27FC236}">
                  <a16:creationId xmlns:a16="http://schemas.microsoft.com/office/drawing/2014/main" id="{57BD2C4C-DC67-B843-B26C-309622FC75F7}"/>
                </a:ext>
              </a:extLst>
            </p:cNvPr>
            <p:cNvGrpSpPr>
              <a:grpSpLocks noChangeAspect="1"/>
            </p:cNvGrpSpPr>
            <p:nvPr/>
          </p:nvGrpSpPr>
          <p:grpSpPr bwMode="gray">
            <a:xfrm>
              <a:off x="334963" y="296652"/>
              <a:ext cx="538094" cy="540000"/>
              <a:chOff x="2711" y="1027"/>
              <a:chExt cx="2258" cy="2266"/>
            </a:xfrm>
          </p:grpSpPr>
          <p:sp>
            <p:nvSpPr>
              <p:cNvPr id="19" name="AutoShape 3">
                <a:extLst>
                  <a:ext uri="{FF2B5EF4-FFF2-40B4-BE49-F238E27FC236}">
                    <a16:creationId xmlns:a16="http://schemas.microsoft.com/office/drawing/2014/main" id="{FE1DC41B-291E-574C-9F2C-874E70A40758}"/>
                  </a:ext>
                </a:extLst>
              </p:cNvPr>
              <p:cNvSpPr>
                <a:spLocks noChangeAspect="1" noChangeArrowheads="1" noTextEdit="1"/>
              </p:cNvSpPr>
              <p:nvPr/>
            </p:nvSpPr>
            <p:spPr bwMode="gray">
              <a:xfrm>
                <a:off x="2711" y="1027"/>
                <a:ext cx="2258" cy="22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20" name="Freeform 5">
                <a:extLst>
                  <a:ext uri="{FF2B5EF4-FFF2-40B4-BE49-F238E27FC236}">
                    <a16:creationId xmlns:a16="http://schemas.microsoft.com/office/drawing/2014/main" id="{D4B633C8-F761-C54B-9BD2-EB59D49A2DBC}"/>
                  </a:ext>
                </a:extLst>
              </p:cNvPr>
              <p:cNvSpPr>
                <a:spLocks/>
              </p:cNvSpPr>
              <p:nvPr/>
            </p:nvSpPr>
            <p:spPr bwMode="gray">
              <a:xfrm>
                <a:off x="2709" y="1029"/>
                <a:ext cx="2260" cy="2262"/>
              </a:xfrm>
              <a:custGeom>
                <a:avLst/>
                <a:gdLst>
                  <a:gd name="T0" fmla="*/ 2260 w 2260"/>
                  <a:gd name="T1" fmla="*/ 0 h 2262"/>
                  <a:gd name="T2" fmla="*/ 1612 w 2260"/>
                  <a:gd name="T3" fmla="*/ 649 h 2262"/>
                  <a:gd name="T4" fmla="*/ 1612 w 2260"/>
                  <a:gd name="T5" fmla="*/ 649 h 2262"/>
                  <a:gd name="T6" fmla="*/ 2035 w 2260"/>
                  <a:gd name="T7" fmla="*/ 0 h 2262"/>
                  <a:gd name="T8" fmla="*/ 0 w 2260"/>
                  <a:gd name="T9" fmla="*/ 0 h 2262"/>
                  <a:gd name="T10" fmla="*/ 0 w 2260"/>
                  <a:gd name="T11" fmla="*/ 2262 h 2262"/>
                  <a:gd name="T12" fmla="*/ 2260 w 2260"/>
                  <a:gd name="T13" fmla="*/ 2262 h 2262"/>
                  <a:gd name="T14" fmla="*/ 2260 w 2260"/>
                  <a:gd name="T15" fmla="*/ 0 h 2262"/>
                  <a:gd name="T16" fmla="*/ 2260 w 2260"/>
                  <a:gd name="T17" fmla="*/ 0 h 2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0" h="2262">
                    <a:moveTo>
                      <a:pt x="2260" y="0"/>
                    </a:moveTo>
                    <a:lnTo>
                      <a:pt x="1612" y="649"/>
                    </a:lnTo>
                    <a:lnTo>
                      <a:pt x="1612" y="649"/>
                    </a:lnTo>
                    <a:lnTo>
                      <a:pt x="2035" y="0"/>
                    </a:lnTo>
                    <a:lnTo>
                      <a:pt x="0" y="0"/>
                    </a:lnTo>
                    <a:lnTo>
                      <a:pt x="0" y="2262"/>
                    </a:lnTo>
                    <a:lnTo>
                      <a:pt x="2260" y="2262"/>
                    </a:lnTo>
                    <a:lnTo>
                      <a:pt x="2260" y="0"/>
                    </a:lnTo>
                    <a:lnTo>
                      <a:pt x="2260" y="0"/>
                    </a:lnTo>
                    <a:close/>
                  </a:path>
                </a:pathLst>
              </a:custGeom>
              <a:solidFill>
                <a:srgbClr val="E55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21" name="Freeform 6">
                <a:extLst>
                  <a:ext uri="{FF2B5EF4-FFF2-40B4-BE49-F238E27FC236}">
                    <a16:creationId xmlns:a16="http://schemas.microsoft.com/office/drawing/2014/main" id="{B16BAAE4-1A41-C843-9754-490F7A1E1270}"/>
                  </a:ext>
                </a:extLst>
              </p:cNvPr>
              <p:cNvSpPr>
                <a:spLocks noEditPoints="1"/>
              </p:cNvSpPr>
              <p:nvPr/>
            </p:nvSpPr>
            <p:spPr bwMode="gray">
              <a:xfrm>
                <a:off x="3623" y="1696"/>
                <a:ext cx="1167" cy="922"/>
              </a:xfrm>
              <a:custGeom>
                <a:avLst/>
                <a:gdLst>
                  <a:gd name="T0" fmla="*/ 411 w 580"/>
                  <a:gd name="T1" fmla="*/ 213 h 458"/>
                  <a:gd name="T2" fmla="*/ 570 w 580"/>
                  <a:gd name="T3" fmla="*/ 37 h 458"/>
                  <a:gd name="T4" fmla="*/ 580 w 580"/>
                  <a:gd name="T5" fmla="*/ 20 h 458"/>
                  <a:gd name="T6" fmla="*/ 545 w 580"/>
                  <a:gd name="T7" fmla="*/ 0 h 458"/>
                  <a:gd name="T8" fmla="*/ 519 w 580"/>
                  <a:gd name="T9" fmla="*/ 16 h 458"/>
                  <a:gd name="T10" fmla="*/ 344 w 580"/>
                  <a:gd name="T11" fmla="*/ 210 h 458"/>
                  <a:gd name="T12" fmla="*/ 334 w 580"/>
                  <a:gd name="T13" fmla="*/ 229 h 458"/>
                  <a:gd name="T14" fmla="*/ 344 w 580"/>
                  <a:gd name="T15" fmla="*/ 248 h 458"/>
                  <a:gd name="T16" fmla="*/ 519 w 580"/>
                  <a:gd name="T17" fmla="*/ 442 h 458"/>
                  <a:gd name="T18" fmla="*/ 545 w 580"/>
                  <a:gd name="T19" fmla="*/ 458 h 458"/>
                  <a:gd name="T20" fmla="*/ 580 w 580"/>
                  <a:gd name="T21" fmla="*/ 438 h 458"/>
                  <a:gd name="T22" fmla="*/ 570 w 580"/>
                  <a:gd name="T23" fmla="*/ 421 h 458"/>
                  <a:gd name="T24" fmla="*/ 411 w 580"/>
                  <a:gd name="T25" fmla="*/ 245 h 458"/>
                  <a:gd name="T26" fmla="*/ 399 w 580"/>
                  <a:gd name="T27" fmla="*/ 229 h 458"/>
                  <a:gd name="T28" fmla="*/ 411 w 580"/>
                  <a:gd name="T29" fmla="*/ 213 h 458"/>
                  <a:gd name="T30" fmla="*/ 252 w 580"/>
                  <a:gd name="T31" fmla="*/ 439 h 458"/>
                  <a:gd name="T32" fmla="*/ 281 w 580"/>
                  <a:gd name="T33" fmla="*/ 454 h 458"/>
                  <a:gd name="T34" fmla="*/ 309 w 580"/>
                  <a:gd name="T35" fmla="*/ 439 h 458"/>
                  <a:gd name="T36" fmla="*/ 309 w 580"/>
                  <a:gd name="T37" fmla="*/ 19 h 458"/>
                  <a:gd name="T38" fmla="*/ 281 w 580"/>
                  <a:gd name="T39" fmla="*/ 4 h 458"/>
                  <a:gd name="T40" fmla="*/ 252 w 580"/>
                  <a:gd name="T41" fmla="*/ 19 h 458"/>
                  <a:gd name="T42" fmla="*/ 252 w 580"/>
                  <a:gd name="T43" fmla="*/ 439 h 458"/>
                  <a:gd name="T44" fmla="*/ 0 w 580"/>
                  <a:gd name="T45" fmla="*/ 439 h 458"/>
                  <a:gd name="T46" fmla="*/ 28 w 580"/>
                  <a:gd name="T47" fmla="*/ 454 h 458"/>
                  <a:gd name="T48" fmla="*/ 56 w 580"/>
                  <a:gd name="T49" fmla="*/ 439 h 458"/>
                  <a:gd name="T50" fmla="*/ 56 w 580"/>
                  <a:gd name="T51" fmla="*/ 157 h 458"/>
                  <a:gd name="T52" fmla="*/ 165 w 580"/>
                  <a:gd name="T53" fmla="*/ 53 h 458"/>
                  <a:gd name="T54" fmla="*/ 180 w 580"/>
                  <a:gd name="T55" fmla="*/ 53 h 458"/>
                  <a:gd name="T56" fmla="*/ 196 w 580"/>
                  <a:gd name="T57" fmla="*/ 27 h 458"/>
                  <a:gd name="T58" fmla="*/ 154 w 580"/>
                  <a:gd name="T59" fmla="*/ 4 h 458"/>
                  <a:gd name="T60" fmla="*/ 0 w 580"/>
                  <a:gd name="T61" fmla="*/ 152 h 458"/>
                  <a:gd name="T62" fmla="*/ 0 w 580"/>
                  <a:gd name="T63" fmla="*/ 439 h 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80" h="458">
                    <a:moveTo>
                      <a:pt x="411" y="213"/>
                    </a:moveTo>
                    <a:cubicBezTo>
                      <a:pt x="570" y="37"/>
                      <a:pt x="570" y="37"/>
                      <a:pt x="570" y="37"/>
                    </a:cubicBezTo>
                    <a:cubicBezTo>
                      <a:pt x="576" y="30"/>
                      <a:pt x="580" y="25"/>
                      <a:pt x="580" y="20"/>
                    </a:cubicBezTo>
                    <a:cubicBezTo>
                      <a:pt x="580" y="10"/>
                      <a:pt x="559" y="0"/>
                      <a:pt x="545" y="0"/>
                    </a:cubicBezTo>
                    <a:cubicBezTo>
                      <a:pt x="535" y="0"/>
                      <a:pt x="526" y="8"/>
                      <a:pt x="519" y="16"/>
                    </a:cubicBezTo>
                    <a:cubicBezTo>
                      <a:pt x="344" y="210"/>
                      <a:pt x="344" y="210"/>
                      <a:pt x="344" y="210"/>
                    </a:cubicBezTo>
                    <a:cubicBezTo>
                      <a:pt x="336" y="219"/>
                      <a:pt x="334" y="224"/>
                      <a:pt x="334" y="229"/>
                    </a:cubicBezTo>
                    <a:cubicBezTo>
                      <a:pt x="334" y="234"/>
                      <a:pt x="336" y="239"/>
                      <a:pt x="344" y="248"/>
                    </a:cubicBezTo>
                    <a:cubicBezTo>
                      <a:pt x="519" y="442"/>
                      <a:pt x="519" y="442"/>
                      <a:pt x="519" y="442"/>
                    </a:cubicBezTo>
                    <a:cubicBezTo>
                      <a:pt x="526" y="450"/>
                      <a:pt x="535" y="458"/>
                      <a:pt x="545" y="458"/>
                    </a:cubicBezTo>
                    <a:cubicBezTo>
                      <a:pt x="559" y="458"/>
                      <a:pt x="580" y="448"/>
                      <a:pt x="580" y="438"/>
                    </a:cubicBezTo>
                    <a:cubicBezTo>
                      <a:pt x="580" y="433"/>
                      <a:pt x="576" y="428"/>
                      <a:pt x="570" y="421"/>
                    </a:cubicBezTo>
                    <a:cubicBezTo>
                      <a:pt x="411" y="245"/>
                      <a:pt x="411" y="245"/>
                      <a:pt x="411" y="245"/>
                    </a:cubicBezTo>
                    <a:cubicBezTo>
                      <a:pt x="403" y="236"/>
                      <a:pt x="399" y="232"/>
                      <a:pt x="399" y="229"/>
                    </a:cubicBezTo>
                    <a:cubicBezTo>
                      <a:pt x="399" y="226"/>
                      <a:pt x="403" y="222"/>
                      <a:pt x="411" y="213"/>
                    </a:cubicBezTo>
                    <a:moveTo>
                      <a:pt x="252" y="439"/>
                    </a:moveTo>
                    <a:cubicBezTo>
                      <a:pt x="252" y="449"/>
                      <a:pt x="261" y="454"/>
                      <a:pt x="281" y="454"/>
                    </a:cubicBezTo>
                    <a:cubicBezTo>
                      <a:pt x="300" y="454"/>
                      <a:pt x="309" y="449"/>
                      <a:pt x="309" y="439"/>
                    </a:cubicBezTo>
                    <a:cubicBezTo>
                      <a:pt x="309" y="19"/>
                      <a:pt x="309" y="19"/>
                      <a:pt x="309" y="19"/>
                    </a:cubicBezTo>
                    <a:cubicBezTo>
                      <a:pt x="309" y="9"/>
                      <a:pt x="300" y="4"/>
                      <a:pt x="281" y="4"/>
                    </a:cubicBezTo>
                    <a:cubicBezTo>
                      <a:pt x="261" y="4"/>
                      <a:pt x="252" y="9"/>
                      <a:pt x="252" y="19"/>
                    </a:cubicBezTo>
                    <a:lnTo>
                      <a:pt x="252" y="439"/>
                    </a:lnTo>
                    <a:close/>
                    <a:moveTo>
                      <a:pt x="0" y="439"/>
                    </a:moveTo>
                    <a:cubicBezTo>
                      <a:pt x="0" y="449"/>
                      <a:pt x="8" y="454"/>
                      <a:pt x="28" y="454"/>
                    </a:cubicBezTo>
                    <a:cubicBezTo>
                      <a:pt x="48" y="454"/>
                      <a:pt x="56" y="449"/>
                      <a:pt x="56" y="439"/>
                    </a:cubicBezTo>
                    <a:cubicBezTo>
                      <a:pt x="56" y="157"/>
                      <a:pt x="56" y="157"/>
                      <a:pt x="56" y="157"/>
                    </a:cubicBezTo>
                    <a:cubicBezTo>
                      <a:pt x="56" y="83"/>
                      <a:pt x="85" y="53"/>
                      <a:pt x="165" y="53"/>
                    </a:cubicBezTo>
                    <a:cubicBezTo>
                      <a:pt x="180" y="53"/>
                      <a:pt x="180" y="53"/>
                      <a:pt x="180" y="53"/>
                    </a:cubicBezTo>
                    <a:cubicBezTo>
                      <a:pt x="192" y="53"/>
                      <a:pt x="196" y="43"/>
                      <a:pt x="196" y="27"/>
                    </a:cubicBezTo>
                    <a:cubicBezTo>
                      <a:pt x="196" y="8"/>
                      <a:pt x="185" y="4"/>
                      <a:pt x="154" y="4"/>
                    </a:cubicBezTo>
                    <a:cubicBezTo>
                      <a:pt x="64" y="4"/>
                      <a:pt x="0" y="43"/>
                      <a:pt x="0" y="152"/>
                    </a:cubicBezTo>
                    <a:lnTo>
                      <a:pt x="0" y="43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22" name="Freeform 7">
                <a:extLst>
                  <a:ext uri="{FF2B5EF4-FFF2-40B4-BE49-F238E27FC236}">
                    <a16:creationId xmlns:a16="http://schemas.microsoft.com/office/drawing/2014/main" id="{2F32DCBD-8628-F245-85CD-97686A20ECFD}"/>
                  </a:ext>
                </a:extLst>
              </p:cNvPr>
              <p:cNvSpPr>
                <a:spLocks/>
              </p:cNvSpPr>
              <p:nvPr/>
            </p:nvSpPr>
            <p:spPr bwMode="gray">
              <a:xfrm>
                <a:off x="2880" y="1704"/>
                <a:ext cx="618" cy="916"/>
              </a:xfrm>
              <a:custGeom>
                <a:avLst/>
                <a:gdLst>
                  <a:gd name="T0" fmla="*/ 307 w 307"/>
                  <a:gd name="T1" fmla="*/ 405 h 455"/>
                  <a:gd name="T2" fmla="*/ 307 w 307"/>
                  <a:gd name="T3" fmla="*/ 244 h 455"/>
                  <a:gd name="T4" fmla="*/ 279 w 307"/>
                  <a:gd name="T5" fmla="*/ 229 h 455"/>
                  <a:gd name="T6" fmla="*/ 250 w 307"/>
                  <a:gd name="T7" fmla="*/ 244 h 455"/>
                  <a:gd name="T8" fmla="*/ 250 w 307"/>
                  <a:gd name="T9" fmla="*/ 378 h 455"/>
                  <a:gd name="T10" fmla="*/ 199 w 307"/>
                  <a:gd name="T11" fmla="*/ 408 h 455"/>
                  <a:gd name="T12" fmla="*/ 61 w 307"/>
                  <a:gd name="T13" fmla="*/ 231 h 455"/>
                  <a:gd name="T14" fmla="*/ 238 w 307"/>
                  <a:gd name="T15" fmla="*/ 49 h 455"/>
                  <a:gd name="T16" fmla="*/ 270 w 307"/>
                  <a:gd name="T17" fmla="*/ 49 h 455"/>
                  <a:gd name="T18" fmla="*/ 286 w 307"/>
                  <a:gd name="T19" fmla="*/ 23 h 455"/>
                  <a:gd name="T20" fmla="*/ 244 w 307"/>
                  <a:gd name="T21" fmla="*/ 0 h 455"/>
                  <a:gd name="T22" fmla="*/ 231 w 307"/>
                  <a:gd name="T23" fmla="*/ 0 h 455"/>
                  <a:gd name="T24" fmla="*/ 0 w 307"/>
                  <a:gd name="T25" fmla="*/ 232 h 455"/>
                  <a:gd name="T26" fmla="*/ 198 w 307"/>
                  <a:gd name="T27" fmla="*/ 455 h 455"/>
                  <a:gd name="T28" fmla="*/ 307 w 307"/>
                  <a:gd name="T29" fmla="*/ 405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7" h="455">
                    <a:moveTo>
                      <a:pt x="307" y="405"/>
                    </a:moveTo>
                    <a:cubicBezTo>
                      <a:pt x="307" y="244"/>
                      <a:pt x="307" y="244"/>
                      <a:pt x="307" y="244"/>
                    </a:cubicBezTo>
                    <a:cubicBezTo>
                      <a:pt x="307" y="234"/>
                      <a:pt x="298" y="229"/>
                      <a:pt x="279" y="229"/>
                    </a:cubicBezTo>
                    <a:cubicBezTo>
                      <a:pt x="259" y="229"/>
                      <a:pt x="250" y="234"/>
                      <a:pt x="250" y="244"/>
                    </a:cubicBezTo>
                    <a:cubicBezTo>
                      <a:pt x="250" y="378"/>
                      <a:pt x="250" y="378"/>
                      <a:pt x="250" y="378"/>
                    </a:cubicBezTo>
                    <a:cubicBezTo>
                      <a:pt x="250" y="399"/>
                      <a:pt x="241" y="408"/>
                      <a:pt x="199" y="408"/>
                    </a:cubicBezTo>
                    <a:cubicBezTo>
                      <a:pt x="114" y="408"/>
                      <a:pt x="61" y="342"/>
                      <a:pt x="61" y="231"/>
                    </a:cubicBezTo>
                    <a:cubicBezTo>
                      <a:pt x="61" y="115"/>
                      <a:pt x="126" y="49"/>
                      <a:pt x="238" y="49"/>
                    </a:cubicBezTo>
                    <a:cubicBezTo>
                      <a:pt x="270" y="49"/>
                      <a:pt x="270" y="49"/>
                      <a:pt x="270" y="49"/>
                    </a:cubicBezTo>
                    <a:cubicBezTo>
                      <a:pt x="282" y="49"/>
                      <a:pt x="286" y="39"/>
                      <a:pt x="286" y="23"/>
                    </a:cubicBezTo>
                    <a:cubicBezTo>
                      <a:pt x="286" y="4"/>
                      <a:pt x="275" y="0"/>
                      <a:pt x="244" y="0"/>
                    </a:cubicBezTo>
                    <a:cubicBezTo>
                      <a:pt x="231" y="0"/>
                      <a:pt x="231" y="0"/>
                      <a:pt x="231" y="0"/>
                    </a:cubicBezTo>
                    <a:cubicBezTo>
                      <a:pt x="101" y="0"/>
                      <a:pt x="0" y="71"/>
                      <a:pt x="0" y="232"/>
                    </a:cubicBezTo>
                    <a:cubicBezTo>
                      <a:pt x="0" y="386"/>
                      <a:pt x="88" y="455"/>
                      <a:pt x="198" y="455"/>
                    </a:cubicBezTo>
                    <a:cubicBezTo>
                      <a:pt x="286" y="455"/>
                      <a:pt x="307" y="430"/>
                      <a:pt x="307" y="40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23" name="Oval 8">
                <a:extLst>
                  <a:ext uri="{FF2B5EF4-FFF2-40B4-BE49-F238E27FC236}">
                    <a16:creationId xmlns:a16="http://schemas.microsoft.com/office/drawing/2014/main" id="{60D97C11-1A3B-5449-A48D-98A3E79B3810}"/>
                  </a:ext>
                </a:extLst>
              </p:cNvPr>
              <p:cNvSpPr>
                <a:spLocks noChangeArrowheads="1"/>
              </p:cNvSpPr>
              <p:nvPr/>
            </p:nvSpPr>
            <p:spPr bwMode="gray">
              <a:xfrm>
                <a:off x="3778" y="2099"/>
                <a:ext cx="122" cy="12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24" name="Freeform 9">
                <a:extLst>
                  <a:ext uri="{FF2B5EF4-FFF2-40B4-BE49-F238E27FC236}">
                    <a16:creationId xmlns:a16="http://schemas.microsoft.com/office/drawing/2014/main" id="{5856770D-B8F0-244E-A05D-AED190086F10}"/>
                  </a:ext>
                </a:extLst>
              </p:cNvPr>
              <p:cNvSpPr>
                <a:spLocks noEditPoints="1"/>
              </p:cNvSpPr>
              <p:nvPr/>
            </p:nvSpPr>
            <p:spPr bwMode="gray">
              <a:xfrm>
                <a:off x="3623" y="1696"/>
                <a:ext cx="1167" cy="922"/>
              </a:xfrm>
              <a:custGeom>
                <a:avLst/>
                <a:gdLst>
                  <a:gd name="T0" fmla="*/ 411 w 580"/>
                  <a:gd name="T1" fmla="*/ 213 h 458"/>
                  <a:gd name="T2" fmla="*/ 570 w 580"/>
                  <a:gd name="T3" fmla="*/ 37 h 458"/>
                  <a:gd name="T4" fmla="*/ 580 w 580"/>
                  <a:gd name="T5" fmla="*/ 20 h 458"/>
                  <a:gd name="T6" fmla="*/ 545 w 580"/>
                  <a:gd name="T7" fmla="*/ 0 h 458"/>
                  <a:gd name="T8" fmla="*/ 519 w 580"/>
                  <a:gd name="T9" fmla="*/ 16 h 458"/>
                  <a:gd name="T10" fmla="*/ 344 w 580"/>
                  <a:gd name="T11" fmla="*/ 210 h 458"/>
                  <a:gd name="T12" fmla="*/ 334 w 580"/>
                  <a:gd name="T13" fmla="*/ 229 h 458"/>
                  <a:gd name="T14" fmla="*/ 344 w 580"/>
                  <a:gd name="T15" fmla="*/ 248 h 458"/>
                  <a:gd name="T16" fmla="*/ 519 w 580"/>
                  <a:gd name="T17" fmla="*/ 442 h 458"/>
                  <a:gd name="T18" fmla="*/ 545 w 580"/>
                  <a:gd name="T19" fmla="*/ 458 h 458"/>
                  <a:gd name="T20" fmla="*/ 580 w 580"/>
                  <a:gd name="T21" fmla="*/ 438 h 458"/>
                  <a:gd name="T22" fmla="*/ 570 w 580"/>
                  <a:gd name="T23" fmla="*/ 421 h 458"/>
                  <a:gd name="T24" fmla="*/ 411 w 580"/>
                  <a:gd name="T25" fmla="*/ 245 h 458"/>
                  <a:gd name="T26" fmla="*/ 399 w 580"/>
                  <a:gd name="T27" fmla="*/ 229 h 458"/>
                  <a:gd name="T28" fmla="*/ 411 w 580"/>
                  <a:gd name="T29" fmla="*/ 213 h 458"/>
                  <a:gd name="T30" fmla="*/ 252 w 580"/>
                  <a:gd name="T31" fmla="*/ 439 h 458"/>
                  <a:gd name="T32" fmla="*/ 281 w 580"/>
                  <a:gd name="T33" fmla="*/ 454 h 458"/>
                  <a:gd name="T34" fmla="*/ 309 w 580"/>
                  <a:gd name="T35" fmla="*/ 439 h 458"/>
                  <a:gd name="T36" fmla="*/ 309 w 580"/>
                  <a:gd name="T37" fmla="*/ 19 h 458"/>
                  <a:gd name="T38" fmla="*/ 281 w 580"/>
                  <a:gd name="T39" fmla="*/ 4 h 458"/>
                  <a:gd name="T40" fmla="*/ 252 w 580"/>
                  <a:gd name="T41" fmla="*/ 19 h 458"/>
                  <a:gd name="T42" fmla="*/ 252 w 580"/>
                  <a:gd name="T43" fmla="*/ 439 h 458"/>
                  <a:gd name="T44" fmla="*/ 0 w 580"/>
                  <a:gd name="T45" fmla="*/ 439 h 458"/>
                  <a:gd name="T46" fmla="*/ 28 w 580"/>
                  <a:gd name="T47" fmla="*/ 454 h 458"/>
                  <a:gd name="T48" fmla="*/ 56 w 580"/>
                  <a:gd name="T49" fmla="*/ 439 h 458"/>
                  <a:gd name="T50" fmla="*/ 56 w 580"/>
                  <a:gd name="T51" fmla="*/ 157 h 458"/>
                  <a:gd name="T52" fmla="*/ 165 w 580"/>
                  <a:gd name="T53" fmla="*/ 53 h 458"/>
                  <a:gd name="T54" fmla="*/ 180 w 580"/>
                  <a:gd name="T55" fmla="*/ 53 h 458"/>
                  <a:gd name="T56" fmla="*/ 196 w 580"/>
                  <a:gd name="T57" fmla="*/ 27 h 458"/>
                  <a:gd name="T58" fmla="*/ 154 w 580"/>
                  <a:gd name="T59" fmla="*/ 4 h 458"/>
                  <a:gd name="T60" fmla="*/ 0 w 580"/>
                  <a:gd name="T61" fmla="*/ 152 h 458"/>
                  <a:gd name="T62" fmla="*/ 0 w 580"/>
                  <a:gd name="T63" fmla="*/ 439 h 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80" h="458">
                    <a:moveTo>
                      <a:pt x="411" y="213"/>
                    </a:moveTo>
                    <a:cubicBezTo>
                      <a:pt x="570" y="37"/>
                      <a:pt x="570" y="37"/>
                      <a:pt x="570" y="37"/>
                    </a:cubicBezTo>
                    <a:cubicBezTo>
                      <a:pt x="576" y="30"/>
                      <a:pt x="580" y="25"/>
                      <a:pt x="580" y="20"/>
                    </a:cubicBezTo>
                    <a:cubicBezTo>
                      <a:pt x="580" y="10"/>
                      <a:pt x="559" y="0"/>
                      <a:pt x="545" y="0"/>
                    </a:cubicBezTo>
                    <a:cubicBezTo>
                      <a:pt x="535" y="0"/>
                      <a:pt x="526" y="8"/>
                      <a:pt x="519" y="16"/>
                    </a:cubicBezTo>
                    <a:cubicBezTo>
                      <a:pt x="344" y="210"/>
                      <a:pt x="344" y="210"/>
                      <a:pt x="344" y="210"/>
                    </a:cubicBezTo>
                    <a:cubicBezTo>
                      <a:pt x="336" y="219"/>
                      <a:pt x="334" y="224"/>
                      <a:pt x="334" y="229"/>
                    </a:cubicBezTo>
                    <a:cubicBezTo>
                      <a:pt x="334" y="234"/>
                      <a:pt x="336" y="239"/>
                      <a:pt x="344" y="248"/>
                    </a:cubicBezTo>
                    <a:cubicBezTo>
                      <a:pt x="519" y="442"/>
                      <a:pt x="519" y="442"/>
                      <a:pt x="519" y="442"/>
                    </a:cubicBezTo>
                    <a:cubicBezTo>
                      <a:pt x="526" y="450"/>
                      <a:pt x="535" y="458"/>
                      <a:pt x="545" y="458"/>
                    </a:cubicBezTo>
                    <a:cubicBezTo>
                      <a:pt x="559" y="458"/>
                      <a:pt x="580" y="448"/>
                      <a:pt x="580" y="438"/>
                    </a:cubicBezTo>
                    <a:cubicBezTo>
                      <a:pt x="580" y="433"/>
                      <a:pt x="576" y="428"/>
                      <a:pt x="570" y="421"/>
                    </a:cubicBezTo>
                    <a:cubicBezTo>
                      <a:pt x="411" y="245"/>
                      <a:pt x="411" y="245"/>
                      <a:pt x="411" y="245"/>
                    </a:cubicBezTo>
                    <a:cubicBezTo>
                      <a:pt x="403" y="236"/>
                      <a:pt x="399" y="232"/>
                      <a:pt x="399" y="229"/>
                    </a:cubicBezTo>
                    <a:cubicBezTo>
                      <a:pt x="399" y="226"/>
                      <a:pt x="403" y="222"/>
                      <a:pt x="411" y="213"/>
                    </a:cubicBezTo>
                    <a:moveTo>
                      <a:pt x="252" y="439"/>
                    </a:moveTo>
                    <a:cubicBezTo>
                      <a:pt x="252" y="449"/>
                      <a:pt x="261" y="454"/>
                      <a:pt x="281" y="454"/>
                    </a:cubicBezTo>
                    <a:cubicBezTo>
                      <a:pt x="300" y="454"/>
                      <a:pt x="309" y="449"/>
                      <a:pt x="309" y="439"/>
                    </a:cubicBezTo>
                    <a:cubicBezTo>
                      <a:pt x="309" y="19"/>
                      <a:pt x="309" y="19"/>
                      <a:pt x="309" y="19"/>
                    </a:cubicBezTo>
                    <a:cubicBezTo>
                      <a:pt x="309" y="9"/>
                      <a:pt x="300" y="4"/>
                      <a:pt x="281" y="4"/>
                    </a:cubicBezTo>
                    <a:cubicBezTo>
                      <a:pt x="261" y="4"/>
                      <a:pt x="252" y="9"/>
                      <a:pt x="252" y="19"/>
                    </a:cubicBezTo>
                    <a:lnTo>
                      <a:pt x="252" y="439"/>
                    </a:lnTo>
                    <a:close/>
                    <a:moveTo>
                      <a:pt x="0" y="439"/>
                    </a:moveTo>
                    <a:cubicBezTo>
                      <a:pt x="0" y="449"/>
                      <a:pt x="8" y="454"/>
                      <a:pt x="28" y="454"/>
                    </a:cubicBezTo>
                    <a:cubicBezTo>
                      <a:pt x="48" y="454"/>
                      <a:pt x="56" y="449"/>
                      <a:pt x="56" y="439"/>
                    </a:cubicBezTo>
                    <a:cubicBezTo>
                      <a:pt x="56" y="157"/>
                      <a:pt x="56" y="157"/>
                      <a:pt x="56" y="157"/>
                    </a:cubicBezTo>
                    <a:cubicBezTo>
                      <a:pt x="56" y="83"/>
                      <a:pt x="85" y="53"/>
                      <a:pt x="165" y="53"/>
                    </a:cubicBezTo>
                    <a:cubicBezTo>
                      <a:pt x="180" y="53"/>
                      <a:pt x="180" y="53"/>
                      <a:pt x="180" y="53"/>
                    </a:cubicBezTo>
                    <a:cubicBezTo>
                      <a:pt x="192" y="53"/>
                      <a:pt x="196" y="43"/>
                      <a:pt x="196" y="27"/>
                    </a:cubicBezTo>
                    <a:cubicBezTo>
                      <a:pt x="196" y="8"/>
                      <a:pt x="185" y="4"/>
                      <a:pt x="154" y="4"/>
                    </a:cubicBezTo>
                    <a:cubicBezTo>
                      <a:pt x="64" y="4"/>
                      <a:pt x="0" y="43"/>
                      <a:pt x="0" y="152"/>
                    </a:cubicBezTo>
                    <a:lnTo>
                      <a:pt x="0" y="43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25" name="Freeform 10">
                <a:extLst>
                  <a:ext uri="{FF2B5EF4-FFF2-40B4-BE49-F238E27FC236}">
                    <a16:creationId xmlns:a16="http://schemas.microsoft.com/office/drawing/2014/main" id="{2B91B16B-BC11-E547-8FAC-B9B8D18EA449}"/>
                  </a:ext>
                </a:extLst>
              </p:cNvPr>
              <p:cNvSpPr>
                <a:spLocks/>
              </p:cNvSpPr>
              <p:nvPr/>
            </p:nvSpPr>
            <p:spPr bwMode="gray">
              <a:xfrm>
                <a:off x="2880" y="1704"/>
                <a:ext cx="618" cy="916"/>
              </a:xfrm>
              <a:custGeom>
                <a:avLst/>
                <a:gdLst>
                  <a:gd name="T0" fmla="*/ 307 w 307"/>
                  <a:gd name="T1" fmla="*/ 405 h 455"/>
                  <a:gd name="T2" fmla="*/ 307 w 307"/>
                  <a:gd name="T3" fmla="*/ 244 h 455"/>
                  <a:gd name="T4" fmla="*/ 279 w 307"/>
                  <a:gd name="T5" fmla="*/ 229 h 455"/>
                  <a:gd name="T6" fmla="*/ 250 w 307"/>
                  <a:gd name="T7" fmla="*/ 244 h 455"/>
                  <a:gd name="T8" fmla="*/ 250 w 307"/>
                  <a:gd name="T9" fmla="*/ 378 h 455"/>
                  <a:gd name="T10" fmla="*/ 199 w 307"/>
                  <a:gd name="T11" fmla="*/ 408 h 455"/>
                  <a:gd name="T12" fmla="*/ 61 w 307"/>
                  <a:gd name="T13" fmla="*/ 231 h 455"/>
                  <a:gd name="T14" fmla="*/ 238 w 307"/>
                  <a:gd name="T15" fmla="*/ 49 h 455"/>
                  <a:gd name="T16" fmla="*/ 270 w 307"/>
                  <a:gd name="T17" fmla="*/ 49 h 455"/>
                  <a:gd name="T18" fmla="*/ 286 w 307"/>
                  <a:gd name="T19" fmla="*/ 23 h 455"/>
                  <a:gd name="T20" fmla="*/ 244 w 307"/>
                  <a:gd name="T21" fmla="*/ 0 h 455"/>
                  <a:gd name="T22" fmla="*/ 231 w 307"/>
                  <a:gd name="T23" fmla="*/ 0 h 455"/>
                  <a:gd name="T24" fmla="*/ 0 w 307"/>
                  <a:gd name="T25" fmla="*/ 232 h 455"/>
                  <a:gd name="T26" fmla="*/ 198 w 307"/>
                  <a:gd name="T27" fmla="*/ 455 h 455"/>
                  <a:gd name="T28" fmla="*/ 307 w 307"/>
                  <a:gd name="T29" fmla="*/ 405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7" h="455">
                    <a:moveTo>
                      <a:pt x="307" y="405"/>
                    </a:moveTo>
                    <a:cubicBezTo>
                      <a:pt x="307" y="244"/>
                      <a:pt x="307" y="244"/>
                      <a:pt x="307" y="244"/>
                    </a:cubicBezTo>
                    <a:cubicBezTo>
                      <a:pt x="307" y="234"/>
                      <a:pt x="298" y="229"/>
                      <a:pt x="279" y="229"/>
                    </a:cubicBezTo>
                    <a:cubicBezTo>
                      <a:pt x="259" y="229"/>
                      <a:pt x="250" y="234"/>
                      <a:pt x="250" y="244"/>
                    </a:cubicBezTo>
                    <a:cubicBezTo>
                      <a:pt x="250" y="378"/>
                      <a:pt x="250" y="378"/>
                      <a:pt x="250" y="378"/>
                    </a:cubicBezTo>
                    <a:cubicBezTo>
                      <a:pt x="250" y="399"/>
                      <a:pt x="241" y="408"/>
                      <a:pt x="199" y="408"/>
                    </a:cubicBezTo>
                    <a:cubicBezTo>
                      <a:pt x="114" y="408"/>
                      <a:pt x="61" y="342"/>
                      <a:pt x="61" y="231"/>
                    </a:cubicBezTo>
                    <a:cubicBezTo>
                      <a:pt x="61" y="115"/>
                      <a:pt x="126" y="49"/>
                      <a:pt x="238" y="49"/>
                    </a:cubicBezTo>
                    <a:cubicBezTo>
                      <a:pt x="270" y="49"/>
                      <a:pt x="270" y="49"/>
                      <a:pt x="270" y="49"/>
                    </a:cubicBezTo>
                    <a:cubicBezTo>
                      <a:pt x="282" y="49"/>
                      <a:pt x="286" y="39"/>
                      <a:pt x="286" y="23"/>
                    </a:cubicBezTo>
                    <a:cubicBezTo>
                      <a:pt x="286" y="4"/>
                      <a:pt x="275" y="0"/>
                      <a:pt x="244" y="0"/>
                    </a:cubicBezTo>
                    <a:cubicBezTo>
                      <a:pt x="231" y="0"/>
                      <a:pt x="231" y="0"/>
                      <a:pt x="231" y="0"/>
                    </a:cubicBezTo>
                    <a:cubicBezTo>
                      <a:pt x="101" y="0"/>
                      <a:pt x="0" y="71"/>
                      <a:pt x="0" y="232"/>
                    </a:cubicBezTo>
                    <a:cubicBezTo>
                      <a:pt x="0" y="386"/>
                      <a:pt x="88" y="455"/>
                      <a:pt x="198" y="455"/>
                    </a:cubicBezTo>
                    <a:cubicBezTo>
                      <a:pt x="286" y="455"/>
                      <a:pt x="307" y="430"/>
                      <a:pt x="307" y="40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26" name="Oval 11">
                <a:extLst>
                  <a:ext uri="{FF2B5EF4-FFF2-40B4-BE49-F238E27FC236}">
                    <a16:creationId xmlns:a16="http://schemas.microsoft.com/office/drawing/2014/main" id="{14F8C3C8-4888-7646-B9B4-64EB46A1DA23}"/>
                  </a:ext>
                </a:extLst>
              </p:cNvPr>
              <p:cNvSpPr>
                <a:spLocks noChangeArrowheads="1"/>
              </p:cNvSpPr>
              <p:nvPr/>
            </p:nvSpPr>
            <p:spPr bwMode="gray">
              <a:xfrm>
                <a:off x="3778" y="2099"/>
                <a:ext cx="122" cy="12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27" name="Freeform 12">
                <a:extLst>
                  <a:ext uri="{FF2B5EF4-FFF2-40B4-BE49-F238E27FC236}">
                    <a16:creationId xmlns:a16="http://schemas.microsoft.com/office/drawing/2014/main" id="{D79D01D1-4E3E-F34B-97D7-2D387E68746E}"/>
                  </a:ext>
                </a:extLst>
              </p:cNvPr>
              <p:cNvSpPr>
                <a:spLocks/>
              </p:cNvSpPr>
              <p:nvPr/>
            </p:nvSpPr>
            <p:spPr bwMode="gray">
              <a:xfrm>
                <a:off x="4321" y="1029"/>
                <a:ext cx="648" cy="649"/>
              </a:xfrm>
              <a:custGeom>
                <a:avLst/>
                <a:gdLst>
                  <a:gd name="T0" fmla="*/ 0 w 648"/>
                  <a:gd name="T1" fmla="*/ 649 h 649"/>
                  <a:gd name="T2" fmla="*/ 2 w 648"/>
                  <a:gd name="T3" fmla="*/ 649 h 649"/>
                  <a:gd name="T4" fmla="*/ 648 w 648"/>
                  <a:gd name="T5" fmla="*/ 0 h 649"/>
                  <a:gd name="T6" fmla="*/ 423 w 648"/>
                  <a:gd name="T7" fmla="*/ 0 h 649"/>
                  <a:gd name="T8" fmla="*/ 0 w 648"/>
                  <a:gd name="T9" fmla="*/ 649 h 649"/>
                </a:gdLst>
                <a:ahLst/>
                <a:cxnLst>
                  <a:cxn ang="0">
                    <a:pos x="T0" y="T1"/>
                  </a:cxn>
                  <a:cxn ang="0">
                    <a:pos x="T2" y="T3"/>
                  </a:cxn>
                  <a:cxn ang="0">
                    <a:pos x="T4" y="T5"/>
                  </a:cxn>
                  <a:cxn ang="0">
                    <a:pos x="T6" y="T7"/>
                  </a:cxn>
                  <a:cxn ang="0">
                    <a:pos x="T8" y="T9"/>
                  </a:cxn>
                </a:cxnLst>
                <a:rect l="0" t="0" r="r" b="b"/>
                <a:pathLst>
                  <a:path w="648" h="649">
                    <a:moveTo>
                      <a:pt x="0" y="649"/>
                    </a:moveTo>
                    <a:lnTo>
                      <a:pt x="2" y="649"/>
                    </a:lnTo>
                    <a:lnTo>
                      <a:pt x="648" y="0"/>
                    </a:lnTo>
                    <a:lnTo>
                      <a:pt x="423" y="0"/>
                    </a:lnTo>
                    <a:lnTo>
                      <a:pt x="0" y="64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28" name="Freeform 13">
                <a:extLst>
                  <a:ext uri="{FF2B5EF4-FFF2-40B4-BE49-F238E27FC236}">
                    <a16:creationId xmlns:a16="http://schemas.microsoft.com/office/drawing/2014/main" id="{46549898-6C52-B147-A8F6-A73FDBE6163B}"/>
                  </a:ext>
                </a:extLst>
              </p:cNvPr>
              <p:cNvSpPr>
                <a:spLocks/>
              </p:cNvSpPr>
              <p:nvPr/>
            </p:nvSpPr>
            <p:spPr bwMode="gray">
              <a:xfrm>
                <a:off x="4321" y="1029"/>
                <a:ext cx="648" cy="649"/>
              </a:xfrm>
              <a:custGeom>
                <a:avLst/>
                <a:gdLst>
                  <a:gd name="T0" fmla="*/ 0 w 648"/>
                  <a:gd name="T1" fmla="*/ 649 h 649"/>
                  <a:gd name="T2" fmla="*/ 2 w 648"/>
                  <a:gd name="T3" fmla="*/ 649 h 649"/>
                  <a:gd name="T4" fmla="*/ 648 w 648"/>
                  <a:gd name="T5" fmla="*/ 0 h 649"/>
                  <a:gd name="T6" fmla="*/ 423 w 648"/>
                  <a:gd name="T7" fmla="*/ 0 h 649"/>
                  <a:gd name="T8" fmla="*/ 0 w 648"/>
                  <a:gd name="T9" fmla="*/ 649 h 649"/>
                </a:gdLst>
                <a:ahLst/>
                <a:cxnLst>
                  <a:cxn ang="0">
                    <a:pos x="T0" y="T1"/>
                  </a:cxn>
                  <a:cxn ang="0">
                    <a:pos x="T2" y="T3"/>
                  </a:cxn>
                  <a:cxn ang="0">
                    <a:pos x="T4" y="T5"/>
                  </a:cxn>
                  <a:cxn ang="0">
                    <a:pos x="T6" y="T7"/>
                  </a:cxn>
                  <a:cxn ang="0">
                    <a:pos x="T8" y="T9"/>
                  </a:cxn>
                </a:cxnLst>
                <a:rect l="0" t="0" r="r" b="b"/>
                <a:pathLst>
                  <a:path w="648" h="649">
                    <a:moveTo>
                      <a:pt x="0" y="649"/>
                    </a:moveTo>
                    <a:lnTo>
                      <a:pt x="2" y="649"/>
                    </a:lnTo>
                    <a:lnTo>
                      <a:pt x="648" y="0"/>
                    </a:lnTo>
                    <a:lnTo>
                      <a:pt x="423" y="0"/>
                    </a:lnTo>
                    <a:lnTo>
                      <a:pt x="0" y="64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grpSp>
      </p:grpSp>
      <p:sp>
        <p:nvSpPr>
          <p:cNvPr id="7" name="Date Placeholder 6"/>
          <p:cNvSpPr>
            <a:spLocks noGrp="1"/>
          </p:cNvSpPr>
          <p:nvPr>
            <p:ph type="dt" sz="half" idx="10"/>
          </p:nvPr>
        </p:nvSpPr>
        <p:spPr>
          <a:xfrm>
            <a:off x="0" y="0"/>
            <a:ext cx="0" cy="0"/>
          </a:xfrm>
          <a:prstGeom prst="rect">
            <a:avLst/>
          </a:prstGeom>
        </p:spPr>
        <p:txBody>
          <a:bodyPr/>
          <a:lstStyle>
            <a:lvl1pPr>
              <a:defRPr sz="100">
                <a:noFill/>
              </a:defRPr>
            </a:lvl1pPr>
          </a:lstStyle>
          <a:p>
            <a:endParaRPr lang="en-US"/>
          </a:p>
        </p:txBody>
      </p:sp>
      <p:sp>
        <p:nvSpPr>
          <p:cNvPr id="8" name="Footer Placeholder 7"/>
          <p:cNvSpPr>
            <a:spLocks noGrp="1"/>
          </p:cNvSpPr>
          <p:nvPr>
            <p:ph type="ftr" sz="quarter" idx="11"/>
          </p:nvPr>
        </p:nvSpPr>
        <p:spPr>
          <a:xfrm>
            <a:off x="0" y="0"/>
            <a:ext cx="0" cy="0"/>
          </a:xfrm>
          <a:prstGeom prst="rect">
            <a:avLst/>
          </a:prstGeom>
        </p:spPr>
        <p:txBody>
          <a:bodyPr/>
          <a:lstStyle>
            <a:lvl1pPr marL="0" indent="0">
              <a:buNone/>
              <a:defRPr sz="100">
                <a:noFill/>
              </a:defRPr>
            </a:lvl1pPr>
          </a:lstStyle>
          <a:p>
            <a:endParaRPr lang="en-US"/>
          </a:p>
        </p:txBody>
      </p:sp>
      <p:sp>
        <p:nvSpPr>
          <p:cNvPr id="9" name="Slide Number Placeholder 8"/>
          <p:cNvSpPr>
            <a:spLocks noGrp="1"/>
          </p:cNvSpPr>
          <p:nvPr>
            <p:ph type="sldNum" sz="quarter" idx="12"/>
          </p:nvPr>
        </p:nvSpPr>
        <p:spPr>
          <a:xfrm>
            <a:off x="0" y="0"/>
            <a:ext cx="0" cy="0"/>
          </a:xfrm>
          <a:prstGeom prst="rect">
            <a:avLst/>
          </a:prstGeom>
        </p:spPr>
        <p:txBody>
          <a:bodyPr/>
          <a:lstStyle>
            <a:lvl1pPr>
              <a:defRPr sz="100">
                <a:noFill/>
              </a:defRPr>
            </a:lvl1pPr>
          </a:lstStyle>
          <a:p>
            <a:fld id="{8E3B25F7-8D1F-44B5-B485-EE3C438CFD7B}" type="slidenum">
              <a:rPr lang="en-US" smtClean="0"/>
              <a:pPr/>
              <a:t>‹#›</a:t>
            </a:fld>
            <a:endParaRPr lang="en-US"/>
          </a:p>
        </p:txBody>
      </p:sp>
      <p:sp>
        <p:nvSpPr>
          <p:cNvPr id="2" name="Title 1"/>
          <p:cNvSpPr>
            <a:spLocks noGrp="1"/>
          </p:cNvSpPr>
          <p:nvPr>
            <p:ph type="ctrTitle" hasCustomPrompt="1"/>
          </p:nvPr>
        </p:nvSpPr>
        <p:spPr>
          <a:xfrm>
            <a:off x="417600" y="1628775"/>
            <a:ext cx="3816000" cy="2236264"/>
          </a:xfrm>
        </p:spPr>
        <p:txBody>
          <a:bodyPr anchor="b"/>
          <a:lstStyle>
            <a:lvl1pPr algn="l">
              <a:defRPr sz="3600"/>
            </a:lvl1pPr>
          </a:lstStyle>
          <a:p>
            <a:r>
              <a:rPr lang="en-US"/>
              <a:t>Click to add presentation title</a:t>
            </a:r>
          </a:p>
        </p:txBody>
      </p:sp>
      <p:sp>
        <p:nvSpPr>
          <p:cNvPr id="3" name="Subtitle 2"/>
          <p:cNvSpPr>
            <a:spLocks noGrp="1"/>
          </p:cNvSpPr>
          <p:nvPr>
            <p:ph type="subTitle" idx="1" hasCustomPrompt="1"/>
          </p:nvPr>
        </p:nvSpPr>
        <p:spPr>
          <a:xfrm>
            <a:off x="417600" y="4094163"/>
            <a:ext cx="3816000" cy="1080000"/>
          </a:xfrm>
        </p:spPr>
        <p:txBody>
          <a:bodyPr/>
          <a:lstStyle>
            <a:lvl1pPr marL="0" indent="0" algn="l">
              <a:spcBef>
                <a:spcPts val="0"/>
              </a:spcBef>
              <a:buNone/>
              <a:defRPr sz="1800" b="1"/>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sp>
        <p:nvSpPr>
          <p:cNvPr id="31" name="Text Placeholder 30"/>
          <p:cNvSpPr>
            <a:spLocks noGrp="1"/>
          </p:cNvSpPr>
          <p:nvPr>
            <p:ph type="body" sz="quarter" idx="14" hasCustomPrompt="1"/>
          </p:nvPr>
        </p:nvSpPr>
        <p:spPr>
          <a:xfrm>
            <a:off x="417600" y="5393268"/>
            <a:ext cx="3816000" cy="296332"/>
          </a:xfrm>
        </p:spPr>
        <p:txBody>
          <a:bodyPr wrap="none"/>
          <a:lstStyle>
            <a:lvl1pPr marL="0" indent="0">
              <a:spcBef>
                <a:spcPts val="0"/>
              </a:spcBef>
              <a:buNone/>
              <a:defRPr sz="1200"/>
            </a:lvl1pPr>
            <a:lvl2pPr marL="0" indent="0">
              <a:buNone/>
              <a:defRPr sz="1200"/>
            </a:lvl2pPr>
            <a:lvl3pPr marL="0" indent="0">
              <a:buNone/>
              <a:defRPr sz="1200"/>
            </a:lvl3pPr>
            <a:lvl4pPr marL="0">
              <a:buNone/>
              <a:defRPr sz="1200"/>
            </a:lvl4pPr>
            <a:lvl5pPr marL="0" indent="0">
              <a:buNone/>
              <a:defRPr sz="1200"/>
            </a:lvl5pPr>
          </a:lstStyle>
          <a:p>
            <a:pPr lvl="0"/>
            <a:r>
              <a:rPr lang="en-US"/>
              <a:t>Name</a:t>
            </a:r>
          </a:p>
        </p:txBody>
      </p:sp>
      <p:sp>
        <p:nvSpPr>
          <p:cNvPr id="34" name="Text Placeholder 30"/>
          <p:cNvSpPr>
            <a:spLocks noGrp="1"/>
          </p:cNvSpPr>
          <p:nvPr>
            <p:ph type="body" sz="quarter" idx="15" hasCustomPrompt="1"/>
          </p:nvPr>
        </p:nvSpPr>
        <p:spPr>
          <a:xfrm>
            <a:off x="417600" y="5691446"/>
            <a:ext cx="3816000" cy="296332"/>
          </a:xfrm>
        </p:spPr>
        <p:txBody>
          <a:bodyPr wrap="none"/>
          <a:lstStyle>
            <a:lvl1pPr marL="0" indent="0">
              <a:spcBef>
                <a:spcPts val="0"/>
              </a:spcBef>
              <a:buNone/>
              <a:defRPr sz="1200"/>
            </a:lvl1pPr>
            <a:lvl2pPr marL="0" indent="0">
              <a:buNone/>
              <a:defRPr sz="1200"/>
            </a:lvl2pPr>
            <a:lvl3pPr marL="0" indent="0">
              <a:buNone/>
              <a:defRPr sz="1200"/>
            </a:lvl3pPr>
            <a:lvl4pPr marL="0">
              <a:buNone/>
              <a:defRPr sz="1200"/>
            </a:lvl4pPr>
            <a:lvl5pPr marL="0" indent="0">
              <a:buNone/>
              <a:defRPr sz="1200"/>
            </a:lvl5pPr>
          </a:lstStyle>
          <a:p>
            <a:pPr lvl="0"/>
            <a:r>
              <a:rPr lang="en-US"/>
              <a:t>Department</a:t>
            </a:r>
          </a:p>
        </p:txBody>
      </p:sp>
    </p:spTree>
    <p:extLst>
      <p:ext uri="{BB962C8B-B14F-4D97-AF65-F5344CB8AC3E}">
        <p14:creationId xmlns:p14="http://schemas.microsoft.com/office/powerpoint/2010/main" val="1626014141"/>
      </p:ext>
    </p:extLst>
  </p:cSld>
  <p:clrMapOvr>
    <a:masterClrMapping/>
  </p:clrMapOvr>
</p:sldLayout>
</file>

<file path=ppt/slideLayouts/slideLayout363.xml><?xml version="1.0" encoding="utf-8"?>
<p:sldLayout xmlns:a="http://schemas.openxmlformats.org/drawingml/2006/main" xmlns:r="http://schemas.openxmlformats.org/officeDocument/2006/relationships" xmlns:p="http://schemas.openxmlformats.org/presentationml/2006/main" preserve="1">
  <p:cSld name="Divider 1">
    <p:spTree>
      <p:nvGrpSpPr>
        <p:cNvPr id="1" name=""/>
        <p:cNvGrpSpPr/>
        <p:nvPr/>
      </p:nvGrpSpPr>
      <p:grpSpPr>
        <a:xfrm>
          <a:off x="0" y="0"/>
          <a:ext cx="0" cy="0"/>
          <a:chOff x="0" y="0"/>
          <a:chExt cx="0" cy="0"/>
        </a:xfrm>
      </p:grpSpPr>
      <p:sp>
        <p:nvSpPr>
          <p:cNvPr id="12" name="Picture Placeholder 11"/>
          <p:cNvSpPr>
            <a:spLocks noGrp="1"/>
          </p:cNvSpPr>
          <p:nvPr>
            <p:ph type="pic" sz="quarter" idx="17" hasCustomPrompt="1"/>
          </p:nvPr>
        </p:nvSpPr>
        <p:spPr>
          <a:xfrm>
            <a:off x="-1" y="0"/>
            <a:ext cx="8822478" cy="6858000"/>
          </a:xfrm>
          <a:custGeom>
            <a:avLst/>
            <a:gdLst>
              <a:gd name="connsiteX0" fmla="*/ 0 w 8822478"/>
              <a:gd name="connsiteY0" fmla="*/ 0 h 6858000"/>
              <a:gd name="connsiteX1" fmla="*/ 8477306 w 8822478"/>
              <a:gd name="connsiteY1" fmla="*/ 0 h 6858000"/>
              <a:gd name="connsiteX2" fmla="*/ 6998505 w 8822478"/>
              <a:gd name="connsiteY2" fmla="*/ 3834029 h 6858000"/>
              <a:gd name="connsiteX3" fmla="*/ 8822478 w 8822478"/>
              <a:gd name="connsiteY3" fmla="*/ 6858000 h 6858000"/>
              <a:gd name="connsiteX4" fmla="*/ 0 w 8822478"/>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22478" h="6858000">
                <a:moveTo>
                  <a:pt x="0" y="0"/>
                </a:moveTo>
                <a:lnTo>
                  <a:pt x="8477306" y="0"/>
                </a:lnTo>
                <a:lnTo>
                  <a:pt x="6998505" y="3834029"/>
                </a:lnTo>
                <a:lnTo>
                  <a:pt x="8822478" y="6858000"/>
                </a:lnTo>
                <a:lnTo>
                  <a:pt x="0" y="6858000"/>
                </a:lnTo>
                <a:close/>
              </a:path>
            </a:pathLst>
          </a:custGeom>
          <a:solidFill>
            <a:srgbClr val="D9DADB"/>
          </a:solidFill>
        </p:spPr>
        <p:txBody>
          <a:bodyPr wrap="square">
            <a:noAutofit/>
          </a:bodyPr>
          <a:lstStyle>
            <a:lvl1pPr marL="0" indent="0">
              <a:buNone/>
              <a:defRPr/>
            </a:lvl1pPr>
          </a:lstStyle>
          <a:p>
            <a:r>
              <a:rPr lang="en-US"/>
              <a:t>Insert picture</a:t>
            </a:r>
          </a:p>
        </p:txBody>
      </p:sp>
      <p:sp>
        <p:nvSpPr>
          <p:cNvPr id="21" name="Date Placeholder 20"/>
          <p:cNvSpPr>
            <a:spLocks noGrp="1"/>
          </p:cNvSpPr>
          <p:nvPr>
            <p:ph type="dt" sz="half" idx="14"/>
          </p:nvPr>
        </p:nvSpPr>
        <p:spPr/>
        <p:txBody>
          <a:bodyPr/>
          <a:lstStyle>
            <a:lvl1pPr>
              <a:defRPr>
                <a:solidFill>
                  <a:schemeClr val="bg1"/>
                </a:solidFill>
              </a:defRPr>
            </a:lvl1pPr>
          </a:lstStyle>
          <a:p>
            <a:endParaRPr lang="en-US"/>
          </a:p>
        </p:txBody>
      </p:sp>
      <p:sp>
        <p:nvSpPr>
          <p:cNvPr id="22" name="Footer Placeholder 21"/>
          <p:cNvSpPr>
            <a:spLocks noGrp="1"/>
          </p:cNvSpPr>
          <p:nvPr>
            <p:ph type="ftr" sz="quarter" idx="15"/>
          </p:nvPr>
        </p:nvSpPr>
        <p:spPr/>
        <p:txBody>
          <a:bodyPr/>
          <a:lstStyle>
            <a:lvl1pPr>
              <a:defRPr>
                <a:solidFill>
                  <a:schemeClr val="bg1"/>
                </a:solidFill>
              </a:defRPr>
            </a:lvl1pPr>
          </a:lstStyle>
          <a:p>
            <a:endParaRPr lang="en-US"/>
          </a:p>
        </p:txBody>
      </p:sp>
      <p:sp>
        <p:nvSpPr>
          <p:cNvPr id="23" name="Slide Number Placeholder 22"/>
          <p:cNvSpPr>
            <a:spLocks noGrp="1"/>
          </p:cNvSpPr>
          <p:nvPr>
            <p:ph type="sldNum" sz="quarter" idx="16"/>
          </p:nvPr>
        </p:nvSpPr>
        <p:spPr/>
        <p:txBody>
          <a:bodyPr/>
          <a:lstStyle>
            <a:lvl1pPr>
              <a:defRPr>
                <a:solidFill>
                  <a:schemeClr val="tx1"/>
                </a:solidFill>
              </a:defRPr>
            </a:lvl1pPr>
          </a:lstStyle>
          <a:p>
            <a:fld id="{5F3E29E4-0979-4FCA-B4C5-5FC6044C982A}" type="slidenum">
              <a:rPr lang="en-US" smtClean="0"/>
              <a:pPr/>
              <a:t>‹#›</a:t>
            </a:fld>
            <a:endParaRPr lang="en-US"/>
          </a:p>
        </p:txBody>
      </p:sp>
      <p:sp>
        <p:nvSpPr>
          <p:cNvPr id="2" name="Title 1"/>
          <p:cNvSpPr>
            <a:spLocks noGrp="1"/>
          </p:cNvSpPr>
          <p:nvPr>
            <p:ph type="title" hasCustomPrompt="1"/>
          </p:nvPr>
        </p:nvSpPr>
        <p:spPr>
          <a:xfrm>
            <a:off x="7737533" y="2908628"/>
            <a:ext cx="4082992" cy="2103640"/>
          </a:xfrm>
        </p:spPr>
        <p:txBody>
          <a:bodyPr/>
          <a:lstStyle>
            <a:lvl1pPr>
              <a:defRPr>
                <a:solidFill>
                  <a:schemeClr val="tx1"/>
                </a:solidFill>
              </a:defRPr>
            </a:lvl1pPr>
          </a:lstStyle>
          <a:p>
            <a:r>
              <a:rPr lang="en-US"/>
              <a:t>Click to add section title</a:t>
            </a:r>
          </a:p>
        </p:txBody>
      </p:sp>
    </p:spTree>
    <p:extLst>
      <p:ext uri="{BB962C8B-B14F-4D97-AF65-F5344CB8AC3E}">
        <p14:creationId xmlns:p14="http://schemas.microsoft.com/office/powerpoint/2010/main" val="2532742259"/>
      </p:ext>
    </p:extLst>
  </p:cSld>
  <p:clrMapOvr>
    <a:masterClrMapping/>
  </p:clrMapOvr>
</p:sldLayout>
</file>

<file path=ppt/slideLayouts/slideLayout364.xml><?xml version="1.0" encoding="utf-8"?>
<p:sldLayout xmlns:a="http://schemas.openxmlformats.org/drawingml/2006/main" xmlns:r="http://schemas.openxmlformats.org/officeDocument/2006/relationships" xmlns:p="http://schemas.openxmlformats.org/presentationml/2006/main" preserve="1">
  <p:cSld name="Divider 2">
    <p:spTree>
      <p:nvGrpSpPr>
        <p:cNvPr id="1" name=""/>
        <p:cNvGrpSpPr/>
        <p:nvPr/>
      </p:nvGrpSpPr>
      <p:grpSpPr>
        <a:xfrm>
          <a:off x="0" y="0"/>
          <a:ext cx="0" cy="0"/>
          <a:chOff x="0" y="0"/>
          <a:chExt cx="0" cy="0"/>
        </a:xfrm>
      </p:grpSpPr>
      <p:sp>
        <p:nvSpPr>
          <p:cNvPr id="4" name="shp2"/>
          <p:cNvSpPr/>
          <p:nvPr/>
        </p:nvSpPr>
        <p:spPr>
          <a:xfrm>
            <a:off x="0" y="0"/>
            <a:ext cx="121932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a:p>
        </p:txBody>
      </p:sp>
      <p:sp>
        <p:nvSpPr>
          <p:cNvPr id="21" name="Date Placeholder 20"/>
          <p:cNvSpPr>
            <a:spLocks noGrp="1"/>
          </p:cNvSpPr>
          <p:nvPr>
            <p:ph type="dt" sz="half" idx="14"/>
          </p:nvPr>
        </p:nvSpPr>
        <p:spPr bwMode="ltGray"/>
        <p:txBody>
          <a:bodyPr/>
          <a:lstStyle>
            <a:lvl1pPr>
              <a:defRPr>
                <a:solidFill>
                  <a:schemeClr val="bg1"/>
                </a:solidFill>
              </a:defRPr>
            </a:lvl1pPr>
          </a:lstStyle>
          <a:p>
            <a:endParaRPr lang="en-US"/>
          </a:p>
        </p:txBody>
      </p:sp>
      <p:sp>
        <p:nvSpPr>
          <p:cNvPr id="22" name="Footer Placeholder 21"/>
          <p:cNvSpPr>
            <a:spLocks noGrp="1"/>
          </p:cNvSpPr>
          <p:nvPr>
            <p:ph type="ftr" sz="quarter" idx="15"/>
          </p:nvPr>
        </p:nvSpPr>
        <p:spPr bwMode="ltGray"/>
        <p:txBody>
          <a:bodyPr/>
          <a:lstStyle>
            <a:lvl1pPr>
              <a:defRPr>
                <a:solidFill>
                  <a:schemeClr val="bg1"/>
                </a:solidFill>
              </a:defRPr>
            </a:lvl1pPr>
          </a:lstStyle>
          <a:p>
            <a:endParaRPr lang="en-US"/>
          </a:p>
        </p:txBody>
      </p:sp>
      <p:sp>
        <p:nvSpPr>
          <p:cNvPr id="23" name="Slide Number Placeholder 22"/>
          <p:cNvSpPr>
            <a:spLocks noGrp="1"/>
          </p:cNvSpPr>
          <p:nvPr>
            <p:ph type="sldNum" sz="quarter" idx="16"/>
          </p:nvPr>
        </p:nvSpPr>
        <p:spPr bwMode="ltGray"/>
        <p:txBody>
          <a:bodyPr/>
          <a:lstStyle>
            <a:lvl1pPr>
              <a:defRPr>
                <a:solidFill>
                  <a:schemeClr val="bg1"/>
                </a:solidFill>
              </a:defRPr>
            </a:lvl1pPr>
          </a:lstStyle>
          <a:p>
            <a:fld id="{5F3E29E4-0979-4FCA-B4C5-5FC6044C982A}" type="slidenum">
              <a:rPr lang="en-US" smtClean="0"/>
              <a:pPr/>
              <a:t>‹#›</a:t>
            </a:fld>
            <a:endParaRPr lang="en-US"/>
          </a:p>
        </p:txBody>
      </p:sp>
      <p:sp>
        <p:nvSpPr>
          <p:cNvPr id="8" name="copyright"/>
          <p:cNvSpPr txBox="1"/>
          <p:nvPr/>
        </p:nvSpPr>
        <p:spPr>
          <a:xfrm>
            <a:off x="10672209" y="6237288"/>
            <a:ext cx="500617" cy="358173"/>
          </a:xfrm>
          <a:prstGeom prst="rect">
            <a:avLst/>
          </a:prstGeom>
          <a:noFill/>
        </p:spPr>
        <p:txBody>
          <a:bodyPr wrap="none" lIns="0" tIns="0" rIns="0" bIns="0" rtlCol="0" anchor="b" anchorCtr="0">
            <a:noAutofit/>
          </a:bodyPr>
          <a:lstStyle/>
          <a:p>
            <a:pPr marL="0" indent="0" algn="r">
              <a:lnSpc>
                <a:spcPct val="125000"/>
              </a:lnSpc>
              <a:buClr>
                <a:schemeClr val="tx2"/>
              </a:buClr>
              <a:buFont typeface="Wingdings" panose="05000000000000000000" pitchFamily="2" charset="2"/>
              <a:buNone/>
            </a:pPr>
            <a:r>
              <a:rPr lang="en-US" sz="800">
                <a:solidFill>
                  <a:schemeClr val="bg1"/>
                </a:solidFill>
              </a:rPr>
              <a:t>© GfK</a:t>
            </a:r>
          </a:p>
        </p:txBody>
      </p:sp>
      <p:sp>
        <p:nvSpPr>
          <p:cNvPr id="2" name="Title 1"/>
          <p:cNvSpPr>
            <a:spLocks noGrp="1"/>
          </p:cNvSpPr>
          <p:nvPr>
            <p:ph type="title" hasCustomPrompt="1"/>
          </p:nvPr>
        </p:nvSpPr>
        <p:spPr bwMode="ltGray">
          <a:xfrm>
            <a:off x="1075062" y="1519552"/>
            <a:ext cx="10097763" cy="2273171"/>
          </a:xfrm>
        </p:spPr>
        <p:txBody>
          <a:bodyPr/>
          <a:lstStyle>
            <a:lvl1pPr>
              <a:defRPr>
                <a:solidFill>
                  <a:schemeClr val="bg1"/>
                </a:solidFill>
              </a:defRPr>
            </a:lvl1pPr>
          </a:lstStyle>
          <a:p>
            <a:r>
              <a:rPr lang="en-US"/>
              <a:t>Click to add section title</a:t>
            </a:r>
          </a:p>
        </p:txBody>
      </p:sp>
      <p:grpSp>
        <p:nvGrpSpPr>
          <p:cNvPr id="9" name="logo">
            <a:extLst>
              <a:ext uri="{FF2B5EF4-FFF2-40B4-BE49-F238E27FC236}">
                <a16:creationId xmlns:a16="http://schemas.microsoft.com/office/drawing/2014/main" id="{57BD2C4C-DC67-B843-B26C-309622FC75F7}"/>
              </a:ext>
            </a:extLst>
          </p:cNvPr>
          <p:cNvGrpSpPr>
            <a:grpSpLocks noChangeAspect="1"/>
          </p:cNvGrpSpPr>
          <p:nvPr/>
        </p:nvGrpSpPr>
        <p:grpSpPr bwMode="gray">
          <a:xfrm>
            <a:off x="11174018" y="401441"/>
            <a:ext cx="644225" cy="646507"/>
            <a:chOff x="2711" y="1027"/>
            <a:chExt cx="2258" cy="2266"/>
          </a:xfrm>
        </p:grpSpPr>
        <p:sp>
          <p:nvSpPr>
            <p:cNvPr id="11" name="AutoShape 3">
              <a:extLst>
                <a:ext uri="{FF2B5EF4-FFF2-40B4-BE49-F238E27FC236}">
                  <a16:creationId xmlns:a16="http://schemas.microsoft.com/office/drawing/2014/main" id="{FE1DC41B-291E-574C-9F2C-874E70A40758}"/>
                </a:ext>
              </a:extLst>
            </p:cNvPr>
            <p:cNvSpPr>
              <a:spLocks noChangeAspect="1" noChangeArrowheads="1" noTextEdit="1"/>
            </p:cNvSpPr>
            <p:nvPr/>
          </p:nvSpPr>
          <p:spPr bwMode="gray">
            <a:xfrm>
              <a:off x="2711" y="1027"/>
              <a:ext cx="2258" cy="22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12" name="Freeform 5">
              <a:extLst>
                <a:ext uri="{FF2B5EF4-FFF2-40B4-BE49-F238E27FC236}">
                  <a16:creationId xmlns:a16="http://schemas.microsoft.com/office/drawing/2014/main" id="{D4B633C8-F761-C54B-9BD2-EB59D49A2DBC}"/>
                </a:ext>
              </a:extLst>
            </p:cNvPr>
            <p:cNvSpPr>
              <a:spLocks/>
            </p:cNvSpPr>
            <p:nvPr/>
          </p:nvSpPr>
          <p:spPr bwMode="gray">
            <a:xfrm>
              <a:off x="2709" y="1029"/>
              <a:ext cx="2260" cy="2262"/>
            </a:xfrm>
            <a:custGeom>
              <a:avLst/>
              <a:gdLst>
                <a:gd name="T0" fmla="*/ 2260 w 2260"/>
                <a:gd name="T1" fmla="*/ 0 h 2262"/>
                <a:gd name="T2" fmla="*/ 1612 w 2260"/>
                <a:gd name="T3" fmla="*/ 649 h 2262"/>
                <a:gd name="T4" fmla="*/ 1612 w 2260"/>
                <a:gd name="T5" fmla="*/ 649 h 2262"/>
                <a:gd name="T6" fmla="*/ 2035 w 2260"/>
                <a:gd name="T7" fmla="*/ 0 h 2262"/>
                <a:gd name="T8" fmla="*/ 0 w 2260"/>
                <a:gd name="T9" fmla="*/ 0 h 2262"/>
                <a:gd name="T10" fmla="*/ 0 w 2260"/>
                <a:gd name="T11" fmla="*/ 2262 h 2262"/>
                <a:gd name="T12" fmla="*/ 2260 w 2260"/>
                <a:gd name="T13" fmla="*/ 2262 h 2262"/>
                <a:gd name="T14" fmla="*/ 2260 w 2260"/>
                <a:gd name="T15" fmla="*/ 0 h 2262"/>
                <a:gd name="T16" fmla="*/ 2260 w 2260"/>
                <a:gd name="T17" fmla="*/ 0 h 2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0" h="2262">
                  <a:moveTo>
                    <a:pt x="2260" y="0"/>
                  </a:moveTo>
                  <a:lnTo>
                    <a:pt x="1612" y="649"/>
                  </a:lnTo>
                  <a:lnTo>
                    <a:pt x="1612" y="649"/>
                  </a:lnTo>
                  <a:lnTo>
                    <a:pt x="2035" y="0"/>
                  </a:lnTo>
                  <a:lnTo>
                    <a:pt x="0" y="0"/>
                  </a:lnTo>
                  <a:lnTo>
                    <a:pt x="0" y="2262"/>
                  </a:lnTo>
                  <a:lnTo>
                    <a:pt x="2260" y="2262"/>
                  </a:lnTo>
                  <a:lnTo>
                    <a:pt x="2260" y="0"/>
                  </a:lnTo>
                  <a:lnTo>
                    <a:pt x="2260" y="0"/>
                  </a:lnTo>
                  <a:close/>
                </a:path>
              </a:pathLst>
            </a:custGeom>
            <a:solidFill>
              <a:srgbClr val="E55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13" name="Freeform 6">
              <a:extLst>
                <a:ext uri="{FF2B5EF4-FFF2-40B4-BE49-F238E27FC236}">
                  <a16:creationId xmlns:a16="http://schemas.microsoft.com/office/drawing/2014/main" id="{B16BAAE4-1A41-C843-9754-490F7A1E1270}"/>
                </a:ext>
              </a:extLst>
            </p:cNvPr>
            <p:cNvSpPr>
              <a:spLocks noEditPoints="1"/>
            </p:cNvSpPr>
            <p:nvPr/>
          </p:nvSpPr>
          <p:spPr bwMode="gray">
            <a:xfrm>
              <a:off x="3623" y="1696"/>
              <a:ext cx="1167" cy="922"/>
            </a:xfrm>
            <a:custGeom>
              <a:avLst/>
              <a:gdLst>
                <a:gd name="T0" fmla="*/ 411 w 580"/>
                <a:gd name="T1" fmla="*/ 213 h 458"/>
                <a:gd name="T2" fmla="*/ 570 w 580"/>
                <a:gd name="T3" fmla="*/ 37 h 458"/>
                <a:gd name="T4" fmla="*/ 580 w 580"/>
                <a:gd name="T5" fmla="*/ 20 h 458"/>
                <a:gd name="T6" fmla="*/ 545 w 580"/>
                <a:gd name="T7" fmla="*/ 0 h 458"/>
                <a:gd name="T8" fmla="*/ 519 w 580"/>
                <a:gd name="T9" fmla="*/ 16 h 458"/>
                <a:gd name="T10" fmla="*/ 344 w 580"/>
                <a:gd name="T11" fmla="*/ 210 h 458"/>
                <a:gd name="T12" fmla="*/ 334 w 580"/>
                <a:gd name="T13" fmla="*/ 229 h 458"/>
                <a:gd name="T14" fmla="*/ 344 w 580"/>
                <a:gd name="T15" fmla="*/ 248 h 458"/>
                <a:gd name="T16" fmla="*/ 519 w 580"/>
                <a:gd name="T17" fmla="*/ 442 h 458"/>
                <a:gd name="T18" fmla="*/ 545 w 580"/>
                <a:gd name="T19" fmla="*/ 458 h 458"/>
                <a:gd name="T20" fmla="*/ 580 w 580"/>
                <a:gd name="T21" fmla="*/ 438 h 458"/>
                <a:gd name="T22" fmla="*/ 570 w 580"/>
                <a:gd name="T23" fmla="*/ 421 h 458"/>
                <a:gd name="T24" fmla="*/ 411 w 580"/>
                <a:gd name="T25" fmla="*/ 245 h 458"/>
                <a:gd name="T26" fmla="*/ 399 w 580"/>
                <a:gd name="T27" fmla="*/ 229 h 458"/>
                <a:gd name="T28" fmla="*/ 411 w 580"/>
                <a:gd name="T29" fmla="*/ 213 h 458"/>
                <a:gd name="T30" fmla="*/ 252 w 580"/>
                <a:gd name="T31" fmla="*/ 439 h 458"/>
                <a:gd name="T32" fmla="*/ 281 w 580"/>
                <a:gd name="T33" fmla="*/ 454 h 458"/>
                <a:gd name="T34" fmla="*/ 309 w 580"/>
                <a:gd name="T35" fmla="*/ 439 h 458"/>
                <a:gd name="T36" fmla="*/ 309 w 580"/>
                <a:gd name="T37" fmla="*/ 19 h 458"/>
                <a:gd name="T38" fmla="*/ 281 w 580"/>
                <a:gd name="T39" fmla="*/ 4 h 458"/>
                <a:gd name="T40" fmla="*/ 252 w 580"/>
                <a:gd name="T41" fmla="*/ 19 h 458"/>
                <a:gd name="T42" fmla="*/ 252 w 580"/>
                <a:gd name="T43" fmla="*/ 439 h 458"/>
                <a:gd name="T44" fmla="*/ 0 w 580"/>
                <a:gd name="T45" fmla="*/ 439 h 458"/>
                <a:gd name="T46" fmla="*/ 28 w 580"/>
                <a:gd name="T47" fmla="*/ 454 h 458"/>
                <a:gd name="T48" fmla="*/ 56 w 580"/>
                <a:gd name="T49" fmla="*/ 439 h 458"/>
                <a:gd name="T50" fmla="*/ 56 w 580"/>
                <a:gd name="T51" fmla="*/ 157 h 458"/>
                <a:gd name="T52" fmla="*/ 165 w 580"/>
                <a:gd name="T53" fmla="*/ 53 h 458"/>
                <a:gd name="T54" fmla="*/ 180 w 580"/>
                <a:gd name="T55" fmla="*/ 53 h 458"/>
                <a:gd name="T56" fmla="*/ 196 w 580"/>
                <a:gd name="T57" fmla="*/ 27 h 458"/>
                <a:gd name="T58" fmla="*/ 154 w 580"/>
                <a:gd name="T59" fmla="*/ 4 h 458"/>
                <a:gd name="T60" fmla="*/ 0 w 580"/>
                <a:gd name="T61" fmla="*/ 152 h 458"/>
                <a:gd name="T62" fmla="*/ 0 w 580"/>
                <a:gd name="T63" fmla="*/ 439 h 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80" h="458">
                  <a:moveTo>
                    <a:pt x="411" y="213"/>
                  </a:moveTo>
                  <a:cubicBezTo>
                    <a:pt x="570" y="37"/>
                    <a:pt x="570" y="37"/>
                    <a:pt x="570" y="37"/>
                  </a:cubicBezTo>
                  <a:cubicBezTo>
                    <a:pt x="576" y="30"/>
                    <a:pt x="580" y="25"/>
                    <a:pt x="580" y="20"/>
                  </a:cubicBezTo>
                  <a:cubicBezTo>
                    <a:pt x="580" y="10"/>
                    <a:pt x="559" y="0"/>
                    <a:pt x="545" y="0"/>
                  </a:cubicBezTo>
                  <a:cubicBezTo>
                    <a:pt x="535" y="0"/>
                    <a:pt x="526" y="8"/>
                    <a:pt x="519" y="16"/>
                  </a:cubicBezTo>
                  <a:cubicBezTo>
                    <a:pt x="344" y="210"/>
                    <a:pt x="344" y="210"/>
                    <a:pt x="344" y="210"/>
                  </a:cubicBezTo>
                  <a:cubicBezTo>
                    <a:pt x="336" y="219"/>
                    <a:pt x="334" y="224"/>
                    <a:pt x="334" y="229"/>
                  </a:cubicBezTo>
                  <a:cubicBezTo>
                    <a:pt x="334" y="234"/>
                    <a:pt x="336" y="239"/>
                    <a:pt x="344" y="248"/>
                  </a:cubicBezTo>
                  <a:cubicBezTo>
                    <a:pt x="519" y="442"/>
                    <a:pt x="519" y="442"/>
                    <a:pt x="519" y="442"/>
                  </a:cubicBezTo>
                  <a:cubicBezTo>
                    <a:pt x="526" y="450"/>
                    <a:pt x="535" y="458"/>
                    <a:pt x="545" y="458"/>
                  </a:cubicBezTo>
                  <a:cubicBezTo>
                    <a:pt x="559" y="458"/>
                    <a:pt x="580" y="448"/>
                    <a:pt x="580" y="438"/>
                  </a:cubicBezTo>
                  <a:cubicBezTo>
                    <a:pt x="580" y="433"/>
                    <a:pt x="576" y="428"/>
                    <a:pt x="570" y="421"/>
                  </a:cubicBezTo>
                  <a:cubicBezTo>
                    <a:pt x="411" y="245"/>
                    <a:pt x="411" y="245"/>
                    <a:pt x="411" y="245"/>
                  </a:cubicBezTo>
                  <a:cubicBezTo>
                    <a:pt x="403" y="236"/>
                    <a:pt x="399" y="232"/>
                    <a:pt x="399" y="229"/>
                  </a:cubicBezTo>
                  <a:cubicBezTo>
                    <a:pt x="399" y="226"/>
                    <a:pt x="403" y="222"/>
                    <a:pt x="411" y="213"/>
                  </a:cubicBezTo>
                  <a:moveTo>
                    <a:pt x="252" y="439"/>
                  </a:moveTo>
                  <a:cubicBezTo>
                    <a:pt x="252" y="449"/>
                    <a:pt x="261" y="454"/>
                    <a:pt x="281" y="454"/>
                  </a:cubicBezTo>
                  <a:cubicBezTo>
                    <a:pt x="300" y="454"/>
                    <a:pt x="309" y="449"/>
                    <a:pt x="309" y="439"/>
                  </a:cubicBezTo>
                  <a:cubicBezTo>
                    <a:pt x="309" y="19"/>
                    <a:pt x="309" y="19"/>
                    <a:pt x="309" y="19"/>
                  </a:cubicBezTo>
                  <a:cubicBezTo>
                    <a:pt x="309" y="9"/>
                    <a:pt x="300" y="4"/>
                    <a:pt x="281" y="4"/>
                  </a:cubicBezTo>
                  <a:cubicBezTo>
                    <a:pt x="261" y="4"/>
                    <a:pt x="252" y="9"/>
                    <a:pt x="252" y="19"/>
                  </a:cubicBezTo>
                  <a:lnTo>
                    <a:pt x="252" y="439"/>
                  </a:lnTo>
                  <a:close/>
                  <a:moveTo>
                    <a:pt x="0" y="439"/>
                  </a:moveTo>
                  <a:cubicBezTo>
                    <a:pt x="0" y="449"/>
                    <a:pt x="8" y="454"/>
                    <a:pt x="28" y="454"/>
                  </a:cubicBezTo>
                  <a:cubicBezTo>
                    <a:pt x="48" y="454"/>
                    <a:pt x="56" y="449"/>
                    <a:pt x="56" y="439"/>
                  </a:cubicBezTo>
                  <a:cubicBezTo>
                    <a:pt x="56" y="157"/>
                    <a:pt x="56" y="157"/>
                    <a:pt x="56" y="157"/>
                  </a:cubicBezTo>
                  <a:cubicBezTo>
                    <a:pt x="56" y="83"/>
                    <a:pt x="85" y="53"/>
                    <a:pt x="165" y="53"/>
                  </a:cubicBezTo>
                  <a:cubicBezTo>
                    <a:pt x="180" y="53"/>
                    <a:pt x="180" y="53"/>
                    <a:pt x="180" y="53"/>
                  </a:cubicBezTo>
                  <a:cubicBezTo>
                    <a:pt x="192" y="53"/>
                    <a:pt x="196" y="43"/>
                    <a:pt x="196" y="27"/>
                  </a:cubicBezTo>
                  <a:cubicBezTo>
                    <a:pt x="196" y="8"/>
                    <a:pt x="185" y="4"/>
                    <a:pt x="154" y="4"/>
                  </a:cubicBezTo>
                  <a:cubicBezTo>
                    <a:pt x="64" y="4"/>
                    <a:pt x="0" y="43"/>
                    <a:pt x="0" y="152"/>
                  </a:cubicBezTo>
                  <a:lnTo>
                    <a:pt x="0" y="43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14" name="Freeform 7">
              <a:extLst>
                <a:ext uri="{FF2B5EF4-FFF2-40B4-BE49-F238E27FC236}">
                  <a16:creationId xmlns:a16="http://schemas.microsoft.com/office/drawing/2014/main" id="{2F32DCBD-8628-F245-85CD-97686A20ECFD}"/>
                </a:ext>
              </a:extLst>
            </p:cNvPr>
            <p:cNvSpPr>
              <a:spLocks/>
            </p:cNvSpPr>
            <p:nvPr/>
          </p:nvSpPr>
          <p:spPr bwMode="gray">
            <a:xfrm>
              <a:off x="2880" y="1704"/>
              <a:ext cx="618" cy="916"/>
            </a:xfrm>
            <a:custGeom>
              <a:avLst/>
              <a:gdLst>
                <a:gd name="T0" fmla="*/ 307 w 307"/>
                <a:gd name="T1" fmla="*/ 405 h 455"/>
                <a:gd name="T2" fmla="*/ 307 w 307"/>
                <a:gd name="T3" fmla="*/ 244 h 455"/>
                <a:gd name="T4" fmla="*/ 279 w 307"/>
                <a:gd name="T5" fmla="*/ 229 h 455"/>
                <a:gd name="T6" fmla="*/ 250 w 307"/>
                <a:gd name="T7" fmla="*/ 244 h 455"/>
                <a:gd name="T8" fmla="*/ 250 w 307"/>
                <a:gd name="T9" fmla="*/ 378 h 455"/>
                <a:gd name="T10" fmla="*/ 199 w 307"/>
                <a:gd name="T11" fmla="*/ 408 h 455"/>
                <a:gd name="T12" fmla="*/ 61 w 307"/>
                <a:gd name="T13" fmla="*/ 231 h 455"/>
                <a:gd name="T14" fmla="*/ 238 w 307"/>
                <a:gd name="T15" fmla="*/ 49 h 455"/>
                <a:gd name="T16" fmla="*/ 270 w 307"/>
                <a:gd name="T17" fmla="*/ 49 h 455"/>
                <a:gd name="T18" fmla="*/ 286 w 307"/>
                <a:gd name="T19" fmla="*/ 23 h 455"/>
                <a:gd name="T20" fmla="*/ 244 w 307"/>
                <a:gd name="T21" fmla="*/ 0 h 455"/>
                <a:gd name="T22" fmla="*/ 231 w 307"/>
                <a:gd name="T23" fmla="*/ 0 h 455"/>
                <a:gd name="T24" fmla="*/ 0 w 307"/>
                <a:gd name="T25" fmla="*/ 232 h 455"/>
                <a:gd name="T26" fmla="*/ 198 w 307"/>
                <a:gd name="T27" fmla="*/ 455 h 455"/>
                <a:gd name="T28" fmla="*/ 307 w 307"/>
                <a:gd name="T29" fmla="*/ 405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7" h="455">
                  <a:moveTo>
                    <a:pt x="307" y="405"/>
                  </a:moveTo>
                  <a:cubicBezTo>
                    <a:pt x="307" y="244"/>
                    <a:pt x="307" y="244"/>
                    <a:pt x="307" y="244"/>
                  </a:cubicBezTo>
                  <a:cubicBezTo>
                    <a:pt x="307" y="234"/>
                    <a:pt x="298" y="229"/>
                    <a:pt x="279" y="229"/>
                  </a:cubicBezTo>
                  <a:cubicBezTo>
                    <a:pt x="259" y="229"/>
                    <a:pt x="250" y="234"/>
                    <a:pt x="250" y="244"/>
                  </a:cubicBezTo>
                  <a:cubicBezTo>
                    <a:pt x="250" y="378"/>
                    <a:pt x="250" y="378"/>
                    <a:pt x="250" y="378"/>
                  </a:cubicBezTo>
                  <a:cubicBezTo>
                    <a:pt x="250" y="399"/>
                    <a:pt x="241" y="408"/>
                    <a:pt x="199" y="408"/>
                  </a:cubicBezTo>
                  <a:cubicBezTo>
                    <a:pt x="114" y="408"/>
                    <a:pt x="61" y="342"/>
                    <a:pt x="61" y="231"/>
                  </a:cubicBezTo>
                  <a:cubicBezTo>
                    <a:pt x="61" y="115"/>
                    <a:pt x="126" y="49"/>
                    <a:pt x="238" y="49"/>
                  </a:cubicBezTo>
                  <a:cubicBezTo>
                    <a:pt x="270" y="49"/>
                    <a:pt x="270" y="49"/>
                    <a:pt x="270" y="49"/>
                  </a:cubicBezTo>
                  <a:cubicBezTo>
                    <a:pt x="282" y="49"/>
                    <a:pt x="286" y="39"/>
                    <a:pt x="286" y="23"/>
                  </a:cubicBezTo>
                  <a:cubicBezTo>
                    <a:pt x="286" y="4"/>
                    <a:pt x="275" y="0"/>
                    <a:pt x="244" y="0"/>
                  </a:cubicBezTo>
                  <a:cubicBezTo>
                    <a:pt x="231" y="0"/>
                    <a:pt x="231" y="0"/>
                    <a:pt x="231" y="0"/>
                  </a:cubicBezTo>
                  <a:cubicBezTo>
                    <a:pt x="101" y="0"/>
                    <a:pt x="0" y="71"/>
                    <a:pt x="0" y="232"/>
                  </a:cubicBezTo>
                  <a:cubicBezTo>
                    <a:pt x="0" y="386"/>
                    <a:pt x="88" y="455"/>
                    <a:pt x="198" y="455"/>
                  </a:cubicBezTo>
                  <a:cubicBezTo>
                    <a:pt x="286" y="455"/>
                    <a:pt x="307" y="430"/>
                    <a:pt x="307" y="40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15" name="Oval 8">
              <a:extLst>
                <a:ext uri="{FF2B5EF4-FFF2-40B4-BE49-F238E27FC236}">
                  <a16:creationId xmlns:a16="http://schemas.microsoft.com/office/drawing/2014/main" id="{60D97C11-1A3B-5449-A48D-98A3E79B3810}"/>
                </a:ext>
              </a:extLst>
            </p:cNvPr>
            <p:cNvSpPr>
              <a:spLocks noChangeArrowheads="1"/>
            </p:cNvSpPr>
            <p:nvPr/>
          </p:nvSpPr>
          <p:spPr bwMode="gray">
            <a:xfrm>
              <a:off x="3778" y="2099"/>
              <a:ext cx="122" cy="12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16" name="Freeform 9">
              <a:extLst>
                <a:ext uri="{FF2B5EF4-FFF2-40B4-BE49-F238E27FC236}">
                  <a16:creationId xmlns:a16="http://schemas.microsoft.com/office/drawing/2014/main" id="{5856770D-B8F0-244E-A05D-AED190086F10}"/>
                </a:ext>
              </a:extLst>
            </p:cNvPr>
            <p:cNvSpPr>
              <a:spLocks noEditPoints="1"/>
            </p:cNvSpPr>
            <p:nvPr/>
          </p:nvSpPr>
          <p:spPr bwMode="gray">
            <a:xfrm>
              <a:off x="3623" y="1696"/>
              <a:ext cx="1167" cy="922"/>
            </a:xfrm>
            <a:custGeom>
              <a:avLst/>
              <a:gdLst>
                <a:gd name="T0" fmla="*/ 411 w 580"/>
                <a:gd name="T1" fmla="*/ 213 h 458"/>
                <a:gd name="T2" fmla="*/ 570 w 580"/>
                <a:gd name="T3" fmla="*/ 37 h 458"/>
                <a:gd name="T4" fmla="*/ 580 w 580"/>
                <a:gd name="T5" fmla="*/ 20 h 458"/>
                <a:gd name="T6" fmla="*/ 545 w 580"/>
                <a:gd name="T7" fmla="*/ 0 h 458"/>
                <a:gd name="T8" fmla="*/ 519 w 580"/>
                <a:gd name="T9" fmla="*/ 16 h 458"/>
                <a:gd name="T10" fmla="*/ 344 w 580"/>
                <a:gd name="T11" fmla="*/ 210 h 458"/>
                <a:gd name="T12" fmla="*/ 334 w 580"/>
                <a:gd name="T13" fmla="*/ 229 h 458"/>
                <a:gd name="T14" fmla="*/ 344 w 580"/>
                <a:gd name="T15" fmla="*/ 248 h 458"/>
                <a:gd name="T16" fmla="*/ 519 w 580"/>
                <a:gd name="T17" fmla="*/ 442 h 458"/>
                <a:gd name="T18" fmla="*/ 545 w 580"/>
                <a:gd name="T19" fmla="*/ 458 h 458"/>
                <a:gd name="T20" fmla="*/ 580 w 580"/>
                <a:gd name="T21" fmla="*/ 438 h 458"/>
                <a:gd name="T22" fmla="*/ 570 w 580"/>
                <a:gd name="T23" fmla="*/ 421 h 458"/>
                <a:gd name="T24" fmla="*/ 411 w 580"/>
                <a:gd name="T25" fmla="*/ 245 h 458"/>
                <a:gd name="T26" fmla="*/ 399 w 580"/>
                <a:gd name="T27" fmla="*/ 229 h 458"/>
                <a:gd name="T28" fmla="*/ 411 w 580"/>
                <a:gd name="T29" fmla="*/ 213 h 458"/>
                <a:gd name="T30" fmla="*/ 252 w 580"/>
                <a:gd name="T31" fmla="*/ 439 h 458"/>
                <a:gd name="T32" fmla="*/ 281 w 580"/>
                <a:gd name="T33" fmla="*/ 454 h 458"/>
                <a:gd name="T34" fmla="*/ 309 w 580"/>
                <a:gd name="T35" fmla="*/ 439 h 458"/>
                <a:gd name="T36" fmla="*/ 309 w 580"/>
                <a:gd name="T37" fmla="*/ 19 h 458"/>
                <a:gd name="T38" fmla="*/ 281 w 580"/>
                <a:gd name="T39" fmla="*/ 4 h 458"/>
                <a:gd name="T40" fmla="*/ 252 w 580"/>
                <a:gd name="T41" fmla="*/ 19 h 458"/>
                <a:gd name="T42" fmla="*/ 252 w 580"/>
                <a:gd name="T43" fmla="*/ 439 h 458"/>
                <a:gd name="T44" fmla="*/ 0 w 580"/>
                <a:gd name="T45" fmla="*/ 439 h 458"/>
                <a:gd name="T46" fmla="*/ 28 w 580"/>
                <a:gd name="T47" fmla="*/ 454 h 458"/>
                <a:gd name="T48" fmla="*/ 56 w 580"/>
                <a:gd name="T49" fmla="*/ 439 h 458"/>
                <a:gd name="T50" fmla="*/ 56 w 580"/>
                <a:gd name="T51" fmla="*/ 157 h 458"/>
                <a:gd name="T52" fmla="*/ 165 w 580"/>
                <a:gd name="T53" fmla="*/ 53 h 458"/>
                <a:gd name="T54" fmla="*/ 180 w 580"/>
                <a:gd name="T55" fmla="*/ 53 h 458"/>
                <a:gd name="T56" fmla="*/ 196 w 580"/>
                <a:gd name="T57" fmla="*/ 27 h 458"/>
                <a:gd name="T58" fmla="*/ 154 w 580"/>
                <a:gd name="T59" fmla="*/ 4 h 458"/>
                <a:gd name="T60" fmla="*/ 0 w 580"/>
                <a:gd name="T61" fmla="*/ 152 h 458"/>
                <a:gd name="T62" fmla="*/ 0 w 580"/>
                <a:gd name="T63" fmla="*/ 439 h 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80" h="458">
                  <a:moveTo>
                    <a:pt x="411" y="213"/>
                  </a:moveTo>
                  <a:cubicBezTo>
                    <a:pt x="570" y="37"/>
                    <a:pt x="570" y="37"/>
                    <a:pt x="570" y="37"/>
                  </a:cubicBezTo>
                  <a:cubicBezTo>
                    <a:pt x="576" y="30"/>
                    <a:pt x="580" y="25"/>
                    <a:pt x="580" y="20"/>
                  </a:cubicBezTo>
                  <a:cubicBezTo>
                    <a:pt x="580" y="10"/>
                    <a:pt x="559" y="0"/>
                    <a:pt x="545" y="0"/>
                  </a:cubicBezTo>
                  <a:cubicBezTo>
                    <a:pt x="535" y="0"/>
                    <a:pt x="526" y="8"/>
                    <a:pt x="519" y="16"/>
                  </a:cubicBezTo>
                  <a:cubicBezTo>
                    <a:pt x="344" y="210"/>
                    <a:pt x="344" y="210"/>
                    <a:pt x="344" y="210"/>
                  </a:cubicBezTo>
                  <a:cubicBezTo>
                    <a:pt x="336" y="219"/>
                    <a:pt x="334" y="224"/>
                    <a:pt x="334" y="229"/>
                  </a:cubicBezTo>
                  <a:cubicBezTo>
                    <a:pt x="334" y="234"/>
                    <a:pt x="336" y="239"/>
                    <a:pt x="344" y="248"/>
                  </a:cubicBezTo>
                  <a:cubicBezTo>
                    <a:pt x="519" y="442"/>
                    <a:pt x="519" y="442"/>
                    <a:pt x="519" y="442"/>
                  </a:cubicBezTo>
                  <a:cubicBezTo>
                    <a:pt x="526" y="450"/>
                    <a:pt x="535" y="458"/>
                    <a:pt x="545" y="458"/>
                  </a:cubicBezTo>
                  <a:cubicBezTo>
                    <a:pt x="559" y="458"/>
                    <a:pt x="580" y="448"/>
                    <a:pt x="580" y="438"/>
                  </a:cubicBezTo>
                  <a:cubicBezTo>
                    <a:pt x="580" y="433"/>
                    <a:pt x="576" y="428"/>
                    <a:pt x="570" y="421"/>
                  </a:cubicBezTo>
                  <a:cubicBezTo>
                    <a:pt x="411" y="245"/>
                    <a:pt x="411" y="245"/>
                    <a:pt x="411" y="245"/>
                  </a:cubicBezTo>
                  <a:cubicBezTo>
                    <a:pt x="403" y="236"/>
                    <a:pt x="399" y="232"/>
                    <a:pt x="399" y="229"/>
                  </a:cubicBezTo>
                  <a:cubicBezTo>
                    <a:pt x="399" y="226"/>
                    <a:pt x="403" y="222"/>
                    <a:pt x="411" y="213"/>
                  </a:cubicBezTo>
                  <a:moveTo>
                    <a:pt x="252" y="439"/>
                  </a:moveTo>
                  <a:cubicBezTo>
                    <a:pt x="252" y="449"/>
                    <a:pt x="261" y="454"/>
                    <a:pt x="281" y="454"/>
                  </a:cubicBezTo>
                  <a:cubicBezTo>
                    <a:pt x="300" y="454"/>
                    <a:pt x="309" y="449"/>
                    <a:pt x="309" y="439"/>
                  </a:cubicBezTo>
                  <a:cubicBezTo>
                    <a:pt x="309" y="19"/>
                    <a:pt x="309" y="19"/>
                    <a:pt x="309" y="19"/>
                  </a:cubicBezTo>
                  <a:cubicBezTo>
                    <a:pt x="309" y="9"/>
                    <a:pt x="300" y="4"/>
                    <a:pt x="281" y="4"/>
                  </a:cubicBezTo>
                  <a:cubicBezTo>
                    <a:pt x="261" y="4"/>
                    <a:pt x="252" y="9"/>
                    <a:pt x="252" y="19"/>
                  </a:cubicBezTo>
                  <a:lnTo>
                    <a:pt x="252" y="439"/>
                  </a:lnTo>
                  <a:close/>
                  <a:moveTo>
                    <a:pt x="0" y="439"/>
                  </a:moveTo>
                  <a:cubicBezTo>
                    <a:pt x="0" y="449"/>
                    <a:pt x="8" y="454"/>
                    <a:pt x="28" y="454"/>
                  </a:cubicBezTo>
                  <a:cubicBezTo>
                    <a:pt x="48" y="454"/>
                    <a:pt x="56" y="449"/>
                    <a:pt x="56" y="439"/>
                  </a:cubicBezTo>
                  <a:cubicBezTo>
                    <a:pt x="56" y="157"/>
                    <a:pt x="56" y="157"/>
                    <a:pt x="56" y="157"/>
                  </a:cubicBezTo>
                  <a:cubicBezTo>
                    <a:pt x="56" y="83"/>
                    <a:pt x="85" y="53"/>
                    <a:pt x="165" y="53"/>
                  </a:cubicBezTo>
                  <a:cubicBezTo>
                    <a:pt x="180" y="53"/>
                    <a:pt x="180" y="53"/>
                    <a:pt x="180" y="53"/>
                  </a:cubicBezTo>
                  <a:cubicBezTo>
                    <a:pt x="192" y="53"/>
                    <a:pt x="196" y="43"/>
                    <a:pt x="196" y="27"/>
                  </a:cubicBezTo>
                  <a:cubicBezTo>
                    <a:pt x="196" y="8"/>
                    <a:pt x="185" y="4"/>
                    <a:pt x="154" y="4"/>
                  </a:cubicBezTo>
                  <a:cubicBezTo>
                    <a:pt x="64" y="4"/>
                    <a:pt x="0" y="43"/>
                    <a:pt x="0" y="152"/>
                  </a:cubicBezTo>
                  <a:lnTo>
                    <a:pt x="0" y="43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17" name="Freeform 10">
              <a:extLst>
                <a:ext uri="{FF2B5EF4-FFF2-40B4-BE49-F238E27FC236}">
                  <a16:creationId xmlns:a16="http://schemas.microsoft.com/office/drawing/2014/main" id="{2B91B16B-BC11-E547-8FAC-B9B8D18EA449}"/>
                </a:ext>
              </a:extLst>
            </p:cNvPr>
            <p:cNvSpPr>
              <a:spLocks/>
            </p:cNvSpPr>
            <p:nvPr/>
          </p:nvSpPr>
          <p:spPr bwMode="gray">
            <a:xfrm>
              <a:off x="2880" y="1704"/>
              <a:ext cx="618" cy="916"/>
            </a:xfrm>
            <a:custGeom>
              <a:avLst/>
              <a:gdLst>
                <a:gd name="T0" fmla="*/ 307 w 307"/>
                <a:gd name="T1" fmla="*/ 405 h 455"/>
                <a:gd name="T2" fmla="*/ 307 w 307"/>
                <a:gd name="T3" fmla="*/ 244 h 455"/>
                <a:gd name="T4" fmla="*/ 279 w 307"/>
                <a:gd name="T5" fmla="*/ 229 h 455"/>
                <a:gd name="T6" fmla="*/ 250 w 307"/>
                <a:gd name="T7" fmla="*/ 244 h 455"/>
                <a:gd name="T8" fmla="*/ 250 w 307"/>
                <a:gd name="T9" fmla="*/ 378 h 455"/>
                <a:gd name="T10" fmla="*/ 199 w 307"/>
                <a:gd name="T11" fmla="*/ 408 h 455"/>
                <a:gd name="T12" fmla="*/ 61 w 307"/>
                <a:gd name="T13" fmla="*/ 231 h 455"/>
                <a:gd name="T14" fmla="*/ 238 w 307"/>
                <a:gd name="T15" fmla="*/ 49 h 455"/>
                <a:gd name="T16" fmla="*/ 270 w 307"/>
                <a:gd name="T17" fmla="*/ 49 h 455"/>
                <a:gd name="T18" fmla="*/ 286 w 307"/>
                <a:gd name="T19" fmla="*/ 23 h 455"/>
                <a:gd name="T20" fmla="*/ 244 w 307"/>
                <a:gd name="T21" fmla="*/ 0 h 455"/>
                <a:gd name="T22" fmla="*/ 231 w 307"/>
                <a:gd name="T23" fmla="*/ 0 h 455"/>
                <a:gd name="T24" fmla="*/ 0 w 307"/>
                <a:gd name="T25" fmla="*/ 232 h 455"/>
                <a:gd name="T26" fmla="*/ 198 w 307"/>
                <a:gd name="T27" fmla="*/ 455 h 455"/>
                <a:gd name="T28" fmla="*/ 307 w 307"/>
                <a:gd name="T29" fmla="*/ 405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7" h="455">
                  <a:moveTo>
                    <a:pt x="307" y="405"/>
                  </a:moveTo>
                  <a:cubicBezTo>
                    <a:pt x="307" y="244"/>
                    <a:pt x="307" y="244"/>
                    <a:pt x="307" y="244"/>
                  </a:cubicBezTo>
                  <a:cubicBezTo>
                    <a:pt x="307" y="234"/>
                    <a:pt x="298" y="229"/>
                    <a:pt x="279" y="229"/>
                  </a:cubicBezTo>
                  <a:cubicBezTo>
                    <a:pt x="259" y="229"/>
                    <a:pt x="250" y="234"/>
                    <a:pt x="250" y="244"/>
                  </a:cubicBezTo>
                  <a:cubicBezTo>
                    <a:pt x="250" y="378"/>
                    <a:pt x="250" y="378"/>
                    <a:pt x="250" y="378"/>
                  </a:cubicBezTo>
                  <a:cubicBezTo>
                    <a:pt x="250" y="399"/>
                    <a:pt x="241" y="408"/>
                    <a:pt x="199" y="408"/>
                  </a:cubicBezTo>
                  <a:cubicBezTo>
                    <a:pt x="114" y="408"/>
                    <a:pt x="61" y="342"/>
                    <a:pt x="61" y="231"/>
                  </a:cubicBezTo>
                  <a:cubicBezTo>
                    <a:pt x="61" y="115"/>
                    <a:pt x="126" y="49"/>
                    <a:pt x="238" y="49"/>
                  </a:cubicBezTo>
                  <a:cubicBezTo>
                    <a:pt x="270" y="49"/>
                    <a:pt x="270" y="49"/>
                    <a:pt x="270" y="49"/>
                  </a:cubicBezTo>
                  <a:cubicBezTo>
                    <a:pt x="282" y="49"/>
                    <a:pt x="286" y="39"/>
                    <a:pt x="286" y="23"/>
                  </a:cubicBezTo>
                  <a:cubicBezTo>
                    <a:pt x="286" y="4"/>
                    <a:pt x="275" y="0"/>
                    <a:pt x="244" y="0"/>
                  </a:cubicBezTo>
                  <a:cubicBezTo>
                    <a:pt x="231" y="0"/>
                    <a:pt x="231" y="0"/>
                    <a:pt x="231" y="0"/>
                  </a:cubicBezTo>
                  <a:cubicBezTo>
                    <a:pt x="101" y="0"/>
                    <a:pt x="0" y="71"/>
                    <a:pt x="0" y="232"/>
                  </a:cubicBezTo>
                  <a:cubicBezTo>
                    <a:pt x="0" y="386"/>
                    <a:pt x="88" y="455"/>
                    <a:pt x="198" y="455"/>
                  </a:cubicBezTo>
                  <a:cubicBezTo>
                    <a:pt x="286" y="455"/>
                    <a:pt x="307" y="430"/>
                    <a:pt x="307" y="40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18" name="Oval 11">
              <a:extLst>
                <a:ext uri="{FF2B5EF4-FFF2-40B4-BE49-F238E27FC236}">
                  <a16:creationId xmlns:a16="http://schemas.microsoft.com/office/drawing/2014/main" id="{14F8C3C8-4888-7646-B9B4-64EB46A1DA23}"/>
                </a:ext>
              </a:extLst>
            </p:cNvPr>
            <p:cNvSpPr>
              <a:spLocks noChangeArrowheads="1"/>
            </p:cNvSpPr>
            <p:nvPr/>
          </p:nvSpPr>
          <p:spPr bwMode="gray">
            <a:xfrm>
              <a:off x="3778" y="2099"/>
              <a:ext cx="122" cy="12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19" name="Freeform 12">
              <a:extLst>
                <a:ext uri="{FF2B5EF4-FFF2-40B4-BE49-F238E27FC236}">
                  <a16:creationId xmlns:a16="http://schemas.microsoft.com/office/drawing/2014/main" id="{D79D01D1-4E3E-F34B-97D7-2D387E68746E}"/>
                </a:ext>
              </a:extLst>
            </p:cNvPr>
            <p:cNvSpPr>
              <a:spLocks/>
            </p:cNvSpPr>
            <p:nvPr/>
          </p:nvSpPr>
          <p:spPr bwMode="gray">
            <a:xfrm>
              <a:off x="4321" y="1029"/>
              <a:ext cx="648" cy="649"/>
            </a:xfrm>
            <a:custGeom>
              <a:avLst/>
              <a:gdLst>
                <a:gd name="T0" fmla="*/ 0 w 648"/>
                <a:gd name="T1" fmla="*/ 649 h 649"/>
                <a:gd name="T2" fmla="*/ 2 w 648"/>
                <a:gd name="T3" fmla="*/ 649 h 649"/>
                <a:gd name="T4" fmla="*/ 648 w 648"/>
                <a:gd name="T5" fmla="*/ 0 h 649"/>
                <a:gd name="T6" fmla="*/ 423 w 648"/>
                <a:gd name="T7" fmla="*/ 0 h 649"/>
                <a:gd name="T8" fmla="*/ 0 w 648"/>
                <a:gd name="T9" fmla="*/ 649 h 649"/>
              </a:gdLst>
              <a:ahLst/>
              <a:cxnLst>
                <a:cxn ang="0">
                  <a:pos x="T0" y="T1"/>
                </a:cxn>
                <a:cxn ang="0">
                  <a:pos x="T2" y="T3"/>
                </a:cxn>
                <a:cxn ang="0">
                  <a:pos x="T4" y="T5"/>
                </a:cxn>
                <a:cxn ang="0">
                  <a:pos x="T6" y="T7"/>
                </a:cxn>
                <a:cxn ang="0">
                  <a:pos x="T8" y="T9"/>
                </a:cxn>
              </a:cxnLst>
              <a:rect l="0" t="0" r="r" b="b"/>
              <a:pathLst>
                <a:path w="648" h="649">
                  <a:moveTo>
                    <a:pt x="0" y="649"/>
                  </a:moveTo>
                  <a:lnTo>
                    <a:pt x="2" y="649"/>
                  </a:lnTo>
                  <a:lnTo>
                    <a:pt x="648" y="0"/>
                  </a:lnTo>
                  <a:lnTo>
                    <a:pt x="423" y="0"/>
                  </a:lnTo>
                  <a:lnTo>
                    <a:pt x="0" y="64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20" name="Freeform 13">
              <a:extLst>
                <a:ext uri="{FF2B5EF4-FFF2-40B4-BE49-F238E27FC236}">
                  <a16:creationId xmlns:a16="http://schemas.microsoft.com/office/drawing/2014/main" id="{46549898-6C52-B147-A8F6-A73FDBE6163B}"/>
                </a:ext>
              </a:extLst>
            </p:cNvPr>
            <p:cNvSpPr>
              <a:spLocks/>
            </p:cNvSpPr>
            <p:nvPr/>
          </p:nvSpPr>
          <p:spPr bwMode="gray">
            <a:xfrm>
              <a:off x="4321" y="1029"/>
              <a:ext cx="648" cy="649"/>
            </a:xfrm>
            <a:custGeom>
              <a:avLst/>
              <a:gdLst>
                <a:gd name="T0" fmla="*/ 0 w 648"/>
                <a:gd name="T1" fmla="*/ 649 h 649"/>
                <a:gd name="T2" fmla="*/ 2 w 648"/>
                <a:gd name="T3" fmla="*/ 649 h 649"/>
                <a:gd name="T4" fmla="*/ 648 w 648"/>
                <a:gd name="T5" fmla="*/ 0 h 649"/>
                <a:gd name="T6" fmla="*/ 423 w 648"/>
                <a:gd name="T7" fmla="*/ 0 h 649"/>
                <a:gd name="T8" fmla="*/ 0 w 648"/>
                <a:gd name="T9" fmla="*/ 649 h 649"/>
              </a:gdLst>
              <a:ahLst/>
              <a:cxnLst>
                <a:cxn ang="0">
                  <a:pos x="T0" y="T1"/>
                </a:cxn>
                <a:cxn ang="0">
                  <a:pos x="T2" y="T3"/>
                </a:cxn>
                <a:cxn ang="0">
                  <a:pos x="T4" y="T5"/>
                </a:cxn>
                <a:cxn ang="0">
                  <a:pos x="T6" y="T7"/>
                </a:cxn>
                <a:cxn ang="0">
                  <a:pos x="T8" y="T9"/>
                </a:cxn>
              </a:cxnLst>
              <a:rect l="0" t="0" r="r" b="b"/>
              <a:pathLst>
                <a:path w="648" h="649">
                  <a:moveTo>
                    <a:pt x="0" y="649"/>
                  </a:moveTo>
                  <a:lnTo>
                    <a:pt x="2" y="649"/>
                  </a:lnTo>
                  <a:lnTo>
                    <a:pt x="648" y="0"/>
                  </a:lnTo>
                  <a:lnTo>
                    <a:pt x="423" y="0"/>
                  </a:lnTo>
                  <a:lnTo>
                    <a:pt x="0" y="64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grpSp>
    </p:spTree>
    <p:extLst>
      <p:ext uri="{BB962C8B-B14F-4D97-AF65-F5344CB8AC3E}">
        <p14:creationId xmlns:p14="http://schemas.microsoft.com/office/powerpoint/2010/main" val="504584935"/>
      </p:ext>
    </p:extLst>
  </p:cSld>
  <p:clrMapOvr>
    <a:masterClrMapping/>
  </p:clrMapOvr>
</p:sldLayout>
</file>

<file path=ppt/slideLayouts/slideLayout365.xml><?xml version="1.0" encoding="utf-8"?>
<p:sldLayout xmlns:a="http://schemas.openxmlformats.org/drawingml/2006/main" xmlns:r="http://schemas.openxmlformats.org/officeDocument/2006/relationships" xmlns:p="http://schemas.openxmlformats.org/presentationml/2006/main" preserve="1">
  <p:cSld name="Headline only">
    <p:spTree>
      <p:nvGrpSpPr>
        <p:cNvPr id="1" name=""/>
        <p:cNvGrpSpPr/>
        <p:nvPr/>
      </p:nvGrpSpPr>
      <p:grpSpPr>
        <a:xfrm>
          <a:off x="0" y="0"/>
          <a:ext cx="0" cy="0"/>
          <a:chOff x="0" y="0"/>
          <a:chExt cx="0" cy="0"/>
        </a:xfrm>
      </p:grpSpPr>
      <p:sp>
        <p:nvSpPr>
          <p:cNvPr id="21" name="Date Placeholder 20"/>
          <p:cNvSpPr>
            <a:spLocks noGrp="1"/>
          </p:cNvSpPr>
          <p:nvPr>
            <p:ph type="dt" sz="half" idx="14"/>
          </p:nvPr>
        </p:nvSpPr>
        <p:spPr/>
        <p:txBody>
          <a:bodyPr/>
          <a:lstStyle/>
          <a:p>
            <a:endParaRPr lang="en-US"/>
          </a:p>
        </p:txBody>
      </p:sp>
      <p:sp>
        <p:nvSpPr>
          <p:cNvPr id="22" name="Footer Placeholder 21"/>
          <p:cNvSpPr>
            <a:spLocks noGrp="1"/>
          </p:cNvSpPr>
          <p:nvPr>
            <p:ph type="ftr" sz="quarter" idx="15"/>
          </p:nvPr>
        </p:nvSpPr>
        <p:spPr/>
        <p:txBody>
          <a:bodyPr/>
          <a:lstStyle/>
          <a:p>
            <a:endParaRPr lang="en-US"/>
          </a:p>
        </p:txBody>
      </p:sp>
      <p:sp>
        <p:nvSpPr>
          <p:cNvPr id="23" name="Slide Number Placeholder 22"/>
          <p:cNvSpPr>
            <a:spLocks noGrp="1"/>
          </p:cNvSpPr>
          <p:nvPr>
            <p:ph type="sldNum" sz="quarter" idx="16"/>
          </p:nvPr>
        </p:nvSpPr>
        <p:spPr/>
        <p:txBody>
          <a:bodyPr/>
          <a:lstStyle/>
          <a:p>
            <a:fld id="{5F3E29E4-0979-4FCA-B4C5-5FC6044C982A}" type="slidenum">
              <a:rPr lang="en-US" smtClean="0"/>
              <a:t>‹#›</a:t>
            </a:fld>
            <a:endParaRPr lang="en-US"/>
          </a:p>
        </p:txBody>
      </p:sp>
      <p:sp>
        <p:nvSpPr>
          <p:cNvPr id="2" name="Title 1"/>
          <p:cNvSpPr>
            <a:spLocks noGrp="1"/>
          </p:cNvSpPr>
          <p:nvPr>
            <p:ph type="title" hasCustomPrompt="1"/>
          </p:nvPr>
        </p:nvSpPr>
        <p:spPr/>
        <p:txBody>
          <a:bodyPr/>
          <a:lstStyle>
            <a:lvl1pPr>
              <a:defRPr/>
            </a:lvl1pPr>
          </a:lstStyle>
          <a:p>
            <a:r>
              <a:rPr lang="en-US"/>
              <a:t>Click to add slide title</a:t>
            </a:r>
          </a:p>
        </p:txBody>
      </p:sp>
      <p:sp>
        <p:nvSpPr>
          <p:cNvPr id="7" name="Subtitle 2"/>
          <p:cNvSpPr>
            <a:spLocks noGrp="1"/>
          </p:cNvSpPr>
          <p:nvPr>
            <p:ph type="subTitle" idx="13" hasCustomPrompt="1"/>
          </p:nvPr>
        </p:nvSpPr>
        <p:spPr>
          <a:xfrm>
            <a:off x="1075061" y="964671"/>
            <a:ext cx="7910158" cy="490042"/>
          </a:xfrm>
        </p:spPr>
        <p:txBody>
          <a:bodyPr wrap="none"/>
          <a:lstStyle>
            <a:lvl1pPr marL="0" indent="0" algn="l">
              <a:spcBef>
                <a:spcPts val="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sp>
        <p:nvSpPr>
          <p:cNvPr id="9" name="Text Placeholder 4"/>
          <p:cNvSpPr>
            <a:spLocks noGrp="1"/>
          </p:cNvSpPr>
          <p:nvPr>
            <p:ph type="body" sz="quarter" idx="17" hasCustomPrompt="1"/>
          </p:nvPr>
        </p:nvSpPr>
        <p:spPr>
          <a:xfrm>
            <a:off x="1075063" y="6307665"/>
            <a:ext cx="8162717" cy="133200"/>
          </a:xfrm>
        </p:spPr>
        <p:txBody>
          <a:bodyPr lIns="0" tIns="0" rIns="0" bIns="0" anchor="b" anchorCtr="0"/>
          <a:lstStyle>
            <a:lvl1pPr marL="0" indent="0" algn="l">
              <a:lnSpc>
                <a:spcPct val="100000"/>
              </a:lnSpc>
              <a:spcBef>
                <a:spcPts val="0"/>
              </a:spcBef>
              <a:buNone/>
              <a:defRPr sz="800" baseline="0"/>
            </a:lvl1pPr>
            <a:lvl2pPr marL="0" indent="0" algn="l">
              <a:lnSpc>
                <a:spcPct val="100000"/>
              </a:lnSpc>
              <a:spcBef>
                <a:spcPts val="0"/>
              </a:spcBef>
              <a:buNone/>
              <a:defRPr sz="800"/>
            </a:lvl2pPr>
            <a:lvl3pPr marL="0" indent="0" algn="l">
              <a:lnSpc>
                <a:spcPct val="100000"/>
              </a:lnSpc>
              <a:spcBef>
                <a:spcPts val="0"/>
              </a:spcBef>
              <a:buNone/>
              <a:defRPr sz="800"/>
            </a:lvl3pPr>
            <a:lvl4pPr marL="0" algn="l">
              <a:lnSpc>
                <a:spcPct val="100000"/>
              </a:lnSpc>
              <a:spcBef>
                <a:spcPts val="0"/>
              </a:spcBef>
              <a:buNone/>
              <a:defRPr sz="800"/>
            </a:lvl4pPr>
            <a:lvl5pPr marL="0" indent="0" algn="l">
              <a:lnSpc>
                <a:spcPct val="100000"/>
              </a:lnSpc>
              <a:spcBef>
                <a:spcPts val="0"/>
              </a:spcBef>
              <a:buNone/>
              <a:defRPr sz="800"/>
            </a:lvl5pPr>
          </a:lstStyle>
          <a:p>
            <a:pPr lvl="0"/>
            <a:r>
              <a:rPr lang="en-US"/>
              <a:t>Source line</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03456511"/>
      </p:ext>
    </p:extLst>
  </p:cSld>
  <p:clrMapOvr>
    <a:masterClrMapping/>
  </p:clrMapOvr>
</p:sldLayout>
</file>

<file path=ppt/slideLayouts/slideLayout366.xml><?xml version="1.0" encoding="utf-8"?>
<p:sldLayout xmlns:a="http://schemas.openxmlformats.org/drawingml/2006/main" xmlns:r="http://schemas.openxmlformats.org/officeDocument/2006/relationships" xmlns:p="http://schemas.openxmlformats.org/presentationml/2006/main" preserve="1">
  <p:cSld name="One content">
    <p:spTree>
      <p:nvGrpSpPr>
        <p:cNvPr id="1" name=""/>
        <p:cNvGrpSpPr/>
        <p:nvPr/>
      </p:nvGrpSpPr>
      <p:grpSpPr>
        <a:xfrm>
          <a:off x="0" y="0"/>
          <a:ext cx="0" cy="0"/>
          <a:chOff x="0" y="0"/>
          <a:chExt cx="0" cy="0"/>
        </a:xfrm>
      </p:grpSpPr>
      <p:sp>
        <p:nvSpPr>
          <p:cNvPr id="21" name="Date Placeholder 20"/>
          <p:cNvSpPr>
            <a:spLocks noGrp="1"/>
          </p:cNvSpPr>
          <p:nvPr>
            <p:ph type="dt" sz="half" idx="14"/>
          </p:nvPr>
        </p:nvSpPr>
        <p:spPr/>
        <p:txBody>
          <a:bodyPr/>
          <a:lstStyle/>
          <a:p>
            <a:endParaRPr lang="en-US"/>
          </a:p>
        </p:txBody>
      </p:sp>
      <p:sp>
        <p:nvSpPr>
          <p:cNvPr id="22" name="Footer Placeholder 21"/>
          <p:cNvSpPr>
            <a:spLocks noGrp="1"/>
          </p:cNvSpPr>
          <p:nvPr>
            <p:ph type="ftr" sz="quarter" idx="15"/>
          </p:nvPr>
        </p:nvSpPr>
        <p:spPr/>
        <p:txBody>
          <a:bodyPr/>
          <a:lstStyle/>
          <a:p>
            <a:endParaRPr lang="en-US"/>
          </a:p>
        </p:txBody>
      </p:sp>
      <p:sp>
        <p:nvSpPr>
          <p:cNvPr id="23" name="Slide Number Placeholder 22"/>
          <p:cNvSpPr>
            <a:spLocks noGrp="1"/>
          </p:cNvSpPr>
          <p:nvPr>
            <p:ph type="sldNum" sz="quarter" idx="16"/>
          </p:nvPr>
        </p:nvSpPr>
        <p:spPr/>
        <p:txBody>
          <a:bodyPr/>
          <a:lstStyle/>
          <a:p>
            <a:fld id="{5F3E29E4-0979-4FCA-B4C5-5FC6044C982A}" type="slidenum">
              <a:rPr lang="en-US" smtClean="0"/>
              <a:t>‹#›</a:t>
            </a:fld>
            <a:endParaRPr lang="en-US"/>
          </a:p>
        </p:txBody>
      </p:sp>
      <p:sp>
        <p:nvSpPr>
          <p:cNvPr id="2" name="Title 1"/>
          <p:cNvSpPr>
            <a:spLocks noGrp="1"/>
          </p:cNvSpPr>
          <p:nvPr>
            <p:ph type="title" hasCustomPrompt="1"/>
          </p:nvPr>
        </p:nvSpPr>
        <p:spPr/>
        <p:txBody>
          <a:bodyPr/>
          <a:lstStyle>
            <a:lvl1pPr>
              <a:defRPr/>
            </a:lvl1pPr>
          </a:lstStyle>
          <a:p>
            <a:r>
              <a:rPr lang="en-US"/>
              <a:t>Click to add slide title</a:t>
            </a:r>
          </a:p>
        </p:txBody>
      </p:sp>
      <p:sp>
        <p:nvSpPr>
          <p:cNvPr id="7" name="Subtitle 2"/>
          <p:cNvSpPr>
            <a:spLocks noGrp="1"/>
          </p:cNvSpPr>
          <p:nvPr>
            <p:ph type="subTitle" idx="13" hasCustomPrompt="1"/>
          </p:nvPr>
        </p:nvSpPr>
        <p:spPr>
          <a:xfrm>
            <a:off x="1075061" y="964671"/>
            <a:ext cx="7910158" cy="490042"/>
          </a:xfrm>
        </p:spPr>
        <p:txBody>
          <a:bodyPr wrap="none"/>
          <a:lstStyle>
            <a:lvl1pPr marL="0" indent="0" algn="l">
              <a:spcBef>
                <a:spcPts val="0"/>
              </a:spcBef>
              <a:buNone/>
              <a:defRPr sz="2400" baseline="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sp>
        <p:nvSpPr>
          <p:cNvPr id="3" name="Content Placeholder 2"/>
          <p:cNvSpPr>
            <a:spLocks noGrp="1"/>
          </p:cNvSpPr>
          <p:nvPr>
            <p:ph idx="1" hasCustomPrompt="1"/>
          </p:nvPr>
        </p:nvSpPr>
        <p:spPr/>
        <p:txBody>
          <a:bodyPr/>
          <a:lstStyle>
            <a:lvl1pPr>
              <a:defRPr baseline="0"/>
            </a:lvl1pPr>
          </a:lstStyle>
          <a:p>
            <a:pPr lvl="0"/>
            <a:r>
              <a:rPr lang="en-US"/>
              <a:t>Click to add text or content</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17" hasCustomPrompt="1"/>
          </p:nvPr>
        </p:nvSpPr>
        <p:spPr>
          <a:xfrm>
            <a:off x="1075063" y="6307665"/>
            <a:ext cx="8162717" cy="133200"/>
          </a:xfrm>
        </p:spPr>
        <p:txBody>
          <a:bodyPr lIns="0" tIns="0" rIns="0" bIns="0" anchor="b" anchorCtr="0"/>
          <a:lstStyle>
            <a:lvl1pPr marL="0" indent="0" algn="l">
              <a:lnSpc>
                <a:spcPct val="100000"/>
              </a:lnSpc>
              <a:spcBef>
                <a:spcPts val="0"/>
              </a:spcBef>
              <a:buNone/>
              <a:defRPr sz="800" baseline="0"/>
            </a:lvl1pPr>
            <a:lvl2pPr marL="0" indent="0" algn="l">
              <a:lnSpc>
                <a:spcPct val="100000"/>
              </a:lnSpc>
              <a:spcBef>
                <a:spcPts val="0"/>
              </a:spcBef>
              <a:buNone/>
              <a:defRPr sz="800"/>
            </a:lvl2pPr>
            <a:lvl3pPr marL="0" indent="0" algn="l">
              <a:lnSpc>
                <a:spcPct val="100000"/>
              </a:lnSpc>
              <a:spcBef>
                <a:spcPts val="0"/>
              </a:spcBef>
              <a:buNone/>
              <a:defRPr sz="800"/>
            </a:lvl3pPr>
            <a:lvl4pPr marL="0" algn="l">
              <a:lnSpc>
                <a:spcPct val="100000"/>
              </a:lnSpc>
              <a:spcBef>
                <a:spcPts val="0"/>
              </a:spcBef>
              <a:buNone/>
              <a:defRPr sz="800"/>
            </a:lvl4pPr>
            <a:lvl5pPr marL="0" indent="0" algn="l">
              <a:lnSpc>
                <a:spcPct val="100000"/>
              </a:lnSpc>
              <a:spcBef>
                <a:spcPts val="0"/>
              </a:spcBef>
              <a:buNone/>
              <a:defRPr sz="800"/>
            </a:lvl5pPr>
          </a:lstStyle>
          <a:p>
            <a:pPr lvl="0"/>
            <a:r>
              <a:rPr lang="en-US"/>
              <a:t>Source line</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98918585"/>
      </p:ext>
    </p:extLst>
  </p:cSld>
  <p:clrMapOvr>
    <a:masterClrMapping/>
  </p:clrMapOvr>
</p:sldLayout>
</file>

<file path=ppt/slideLayouts/slideLayout367.xml><?xml version="1.0" encoding="utf-8"?>
<p:sldLayout xmlns:a="http://schemas.openxmlformats.org/drawingml/2006/main" xmlns:r="http://schemas.openxmlformats.org/officeDocument/2006/relationships" xmlns:p="http://schemas.openxmlformats.org/presentationml/2006/main" preserve="1">
  <p:cSld name="Content and picture">
    <p:spTree>
      <p:nvGrpSpPr>
        <p:cNvPr id="1" name=""/>
        <p:cNvGrpSpPr/>
        <p:nvPr/>
      </p:nvGrpSpPr>
      <p:grpSpPr>
        <a:xfrm>
          <a:off x="0" y="0"/>
          <a:ext cx="0" cy="0"/>
          <a:chOff x="0" y="0"/>
          <a:chExt cx="0" cy="0"/>
        </a:xfrm>
      </p:grpSpPr>
      <p:sp>
        <p:nvSpPr>
          <p:cNvPr id="21" name="Date Placeholder 20"/>
          <p:cNvSpPr>
            <a:spLocks noGrp="1"/>
          </p:cNvSpPr>
          <p:nvPr>
            <p:ph type="dt" sz="half" idx="14"/>
          </p:nvPr>
        </p:nvSpPr>
        <p:spPr/>
        <p:txBody>
          <a:bodyPr/>
          <a:lstStyle/>
          <a:p>
            <a:endParaRPr lang="en-US"/>
          </a:p>
        </p:txBody>
      </p:sp>
      <p:sp>
        <p:nvSpPr>
          <p:cNvPr id="22" name="Footer Placeholder 21"/>
          <p:cNvSpPr>
            <a:spLocks noGrp="1"/>
          </p:cNvSpPr>
          <p:nvPr>
            <p:ph type="ftr" sz="quarter" idx="15"/>
          </p:nvPr>
        </p:nvSpPr>
        <p:spPr/>
        <p:txBody>
          <a:bodyPr/>
          <a:lstStyle/>
          <a:p>
            <a:endParaRPr lang="en-US"/>
          </a:p>
        </p:txBody>
      </p:sp>
      <p:sp>
        <p:nvSpPr>
          <p:cNvPr id="23" name="Slide Number Placeholder 22"/>
          <p:cNvSpPr>
            <a:spLocks noGrp="1"/>
          </p:cNvSpPr>
          <p:nvPr>
            <p:ph type="sldNum" sz="quarter" idx="16"/>
          </p:nvPr>
        </p:nvSpPr>
        <p:spPr/>
        <p:txBody>
          <a:bodyPr/>
          <a:lstStyle/>
          <a:p>
            <a:fld id="{5F3E29E4-0979-4FCA-B4C5-5FC6044C982A}" type="slidenum">
              <a:rPr lang="en-US" smtClean="0"/>
              <a:t>‹#›</a:t>
            </a:fld>
            <a:endParaRPr lang="en-US"/>
          </a:p>
        </p:txBody>
      </p:sp>
      <p:sp>
        <p:nvSpPr>
          <p:cNvPr id="2" name="Title 1"/>
          <p:cNvSpPr>
            <a:spLocks noGrp="1"/>
          </p:cNvSpPr>
          <p:nvPr>
            <p:ph type="title" hasCustomPrompt="1"/>
          </p:nvPr>
        </p:nvSpPr>
        <p:spPr/>
        <p:txBody>
          <a:bodyPr/>
          <a:lstStyle>
            <a:lvl1pPr>
              <a:defRPr/>
            </a:lvl1pPr>
          </a:lstStyle>
          <a:p>
            <a:r>
              <a:rPr lang="en-US"/>
              <a:t>Click to add slide title</a:t>
            </a:r>
          </a:p>
        </p:txBody>
      </p:sp>
      <p:sp>
        <p:nvSpPr>
          <p:cNvPr id="7" name="Subtitle 2"/>
          <p:cNvSpPr>
            <a:spLocks noGrp="1"/>
          </p:cNvSpPr>
          <p:nvPr>
            <p:ph type="subTitle" idx="13" hasCustomPrompt="1"/>
          </p:nvPr>
        </p:nvSpPr>
        <p:spPr>
          <a:xfrm>
            <a:off x="1075061" y="964671"/>
            <a:ext cx="7910158" cy="490042"/>
          </a:xfrm>
        </p:spPr>
        <p:txBody>
          <a:bodyPr wrap="none"/>
          <a:lstStyle>
            <a:lvl1pPr marL="0" indent="0" algn="l">
              <a:spcBef>
                <a:spcPts val="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sp>
        <p:nvSpPr>
          <p:cNvPr id="3" name="Content Placeholder 2"/>
          <p:cNvSpPr>
            <a:spLocks noGrp="1"/>
          </p:cNvSpPr>
          <p:nvPr>
            <p:ph idx="1" hasCustomPrompt="1"/>
          </p:nvPr>
        </p:nvSpPr>
        <p:spPr>
          <a:xfrm>
            <a:off x="1075062" y="1629618"/>
            <a:ext cx="5220000" cy="4139357"/>
          </a:xfrm>
        </p:spPr>
        <p:txBody>
          <a:bodyPr/>
          <a:lstStyle>
            <a:lvl1pPr>
              <a:defRPr/>
            </a:lvl1pPr>
          </a:lstStyle>
          <a:p>
            <a:pPr lvl="0"/>
            <a:r>
              <a:rPr lang="en-US"/>
              <a:t>Click to add text or content</a:t>
            </a:r>
          </a:p>
          <a:p>
            <a:pPr lvl="1"/>
            <a:r>
              <a:rPr lang="en-US"/>
              <a:t>Second level</a:t>
            </a:r>
          </a:p>
          <a:p>
            <a:pPr lvl="2"/>
            <a:r>
              <a:rPr lang="en-US"/>
              <a:t>Third level</a:t>
            </a:r>
          </a:p>
          <a:p>
            <a:pPr lvl="3"/>
            <a:r>
              <a:rPr lang="en-US"/>
              <a:t>Fourth level</a:t>
            </a:r>
          </a:p>
          <a:p>
            <a:pPr lvl="4"/>
            <a:r>
              <a:rPr lang="en-US"/>
              <a:t>Fifth level</a:t>
            </a:r>
          </a:p>
        </p:txBody>
      </p:sp>
      <p:sp>
        <p:nvSpPr>
          <p:cNvPr id="5" name="Picture Placeholder 4"/>
          <p:cNvSpPr>
            <a:spLocks noGrp="1"/>
          </p:cNvSpPr>
          <p:nvPr>
            <p:ph type="pic" sz="quarter" idx="17" hasCustomPrompt="1"/>
          </p:nvPr>
        </p:nvSpPr>
        <p:spPr>
          <a:xfrm>
            <a:off x="6600525" y="1637783"/>
            <a:ext cx="5220000" cy="4599506"/>
          </a:xfrm>
          <a:solidFill>
            <a:srgbClr val="D9DADB"/>
          </a:solidFill>
        </p:spPr>
        <p:txBody>
          <a:bodyPr/>
          <a:lstStyle>
            <a:lvl1pPr marL="0" indent="0">
              <a:buNone/>
              <a:defRPr/>
            </a:lvl1pPr>
          </a:lstStyle>
          <a:p>
            <a:r>
              <a:rPr lang="en-US"/>
              <a:t>Insert picture</a:t>
            </a:r>
          </a:p>
        </p:txBody>
      </p:sp>
      <p:sp>
        <p:nvSpPr>
          <p:cNvPr id="10" name="Text Placeholder 4"/>
          <p:cNvSpPr>
            <a:spLocks noGrp="1"/>
          </p:cNvSpPr>
          <p:nvPr>
            <p:ph type="body" sz="quarter" idx="18" hasCustomPrompt="1"/>
          </p:nvPr>
        </p:nvSpPr>
        <p:spPr>
          <a:xfrm>
            <a:off x="1075063" y="6307665"/>
            <a:ext cx="8162717" cy="133200"/>
          </a:xfrm>
        </p:spPr>
        <p:txBody>
          <a:bodyPr lIns="0" tIns="0" rIns="0" bIns="0" anchor="b" anchorCtr="0"/>
          <a:lstStyle>
            <a:lvl1pPr marL="0" indent="0" algn="l">
              <a:lnSpc>
                <a:spcPct val="100000"/>
              </a:lnSpc>
              <a:spcBef>
                <a:spcPts val="0"/>
              </a:spcBef>
              <a:buNone/>
              <a:defRPr sz="800" baseline="0"/>
            </a:lvl1pPr>
            <a:lvl2pPr marL="0" indent="0" algn="l">
              <a:lnSpc>
                <a:spcPct val="100000"/>
              </a:lnSpc>
              <a:spcBef>
                <a:spcPts val="0"/>
              </a:spcBef>
              <a:buNone/>
              <a:defRPr sz="800"/>
            </a:lvl2pPr>
            <a:lvl3pPr marL="0" indent="0" algn="l">
              <a:lnSpc>
                <a:spcPct val="100000"/>
              </a:lnSpc>
              <a:spcBef>
                <a:spcPts val="0"/>
              </a:spcBef>
              <a:buNone/>
              <a:defRPr sz="800"/>
            </a:lvl3pPr>
            <a:lvl4pPr marL="0" algn="l">
              <a:lnSpc>
                <a:spcPct val="100000"/>
              </a:lnSpc>
              <a:spcBef>
                <a:spcPts val="0"/>
              </a:spcBef>
              <a:buNone/>
              <a:defRPr sz="800"/>
            </a:lvl4pPr>
            <a:lvl5pPr marL="0" indent="0" algn="l">
              <a:lnSpc>
                <a:spcPct val="100000"/>
              </a:lnSpc>
              <a:spcBef>
                <a:spcPts val="0"/>
              </a:spcBef>
              <a:buNone/>
              <a:defRPr sz="800"/>
            </a:lvl5pPr>
          </a:lstStyle>
          <a:p>
            <a:pPr lvl="0"/>
            <a:r>
              <a:rPr lang="en-US"/>
              <a:t>Source line</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16191059"/>
      </p:ext>
    </p:extLst>
  </p:cSld>
  <p:clrMapOvr>
    <a:masterClrMapping/>
  </p:clrMapOvr>
</p:sldLayout>
</file>

<file path=ppt/slideLayouts/slideLayout368.xml><?xml version="1.0" encoding="utf-8"?>
<p:sldLayout xmlns:a="http://schemas.openxmlformats.org/drawingml/2006/main" xmlns:r="http://schemas.openxmlformats.org/officeDocument/2006/relationships" xmlns:p="http://schemas.openxmlformats.org/presentationml/2006/main" preserve="1">
  <p:cSld name="Content with full picture">
    <p:spTree>
      <p:nvGrpSpPr>
        <p:cNvPr id="1" name=""/>
        <p:cNvGrpSpPr/>
        <p:nvPr/>
      </p:nvGrpSpPr>
      <p:grpSpPr>
        <a:xfrm>
          <a:off x="0" y="0"/>
          <a:ext cx="0" cy="0"/>
          <a:chOff x="0" y="0"/>
          <a:chExt cx="0" cy="0"/>
        </a:xfrm>
      </p:grpSpPr>
      <p:sp>
        <p:nvSpPr>
          <p:cNvPr id="12" name="Picture Placeholder 11"/>
          <p:cNvSpPr>
            <a:spLocks noGrp="1"/>
          </p:cNvSpPr>
          <p:nvPr>
            <p:ph type="pic" sz="quarter" idx="17" hasCustomPrompt="1"/>
          </p:nvPr>
        </p:nvSpPr>
        <p:spPr>
          <a:xfrm>
            <a:off x="0" y="0"/>
            <a:ext cx="12193200" cy="6858000"/>
          </a:xfrm>
          <a:prstGeom prst="rect">
            <a:avLst/>
          </a:prstGeom>
          <a:solidFill>
            <a:srgbClr val="D9DADB"/>
          </a:solidFill>
        </p:spPr>
        <p:txBody>
          <a:bodyPr wrap="square">
            <a:noAutofit/>
          </a:bodyPr>
          <a:lstStyle>
            <a:lvl1pPr marL="0" indent="0">
              <a:buNone/>
              <a:defRPr/>
            </a:lvl1pPr>
          </a:lstStyle>
          <a:p>
            <a:r>
              <a:rPr lang="en-US"/>
              <a:t>Insert picture</a:t>
            </a:r>
          </a:p>
        </p:txBody>
      </p:sp>
      <p:sp>
        <p:nvSpPr>
          <p:cNvPr id="9" name="copyright"/>
          <p:cNvSpPr txBox="1"/>
          <p:nvPr/>
        </p:nvSpPr>
        <p:spPr>
          <a:xfrm>
            <a:off x="10672209" y="6237288"/>
            <a:ext cx="500617" cy="358173"/>
          </a:xfrm>
          <a:prstGeom prst="rect">
            <a:avLst/>
          </a:prstGeom>
          <a:noFill/>
        </p:spPr>
        <p:txBody>
          <a:bodyPr wrap="none" lIns="0" tIns="0" rIns="0" bIns="0" rtlCol="0" anchor="b" anchorCtr="0">
            <a:noAutofit/>
          </a:bodyPr>
          <a:lstStyle/>
          <a:p>
            <a:pPr marL="0" indent="0" algn="r">
              <a:lnSpc>
                <a:spcPct val="125000"/>
              </a:lnSpc>
              <a:buClr>
                <a:schemeClr val="tx2"/>
              </a:buClr>
              <a:buFont typeface="Wingdings" panose="05000000000000000000" pitchFamily="2" charset="2"/>
              <a:buNone/>
            </a:pPr>
            <a:r>
              <a:rPr lang="en-US" sz="800">
                <a:solidFill>
                  <a:schemeClr val="bg1"/>
                </a:solidFill>
              </a:rPr>
              <a:t>© GfK</a:t>
            </a:r>
          </a:p>
        </p:txBody>
      </p:sp>
      <p:sp>
        <p:nvSpPr>
          <p:cNvPr id="21" name="Date Placeholder 20"/>
          <p:cNvSpPr>
            <a:spLocks noGrp="1"/>
          </p:cNvSpPr>
          <p:nvPr>
            <p:ph type="dt" sz="half" idx="14"/>
          </p:nvPr>
        </p:nvSpPr>
        <p:spPr/>
        <p:txBody>
          <a:bodyPr/>
          <a:lstStyle>
            <a:lvl1pPr>
              <a:defRPr>
                <a:solidFill>
                  <a:schemeClr val="bg1"/>
                </a:solidFill>
              </a:defRPr>
            </a:lvl1pPr>
          </a:lstStyle>
          <a:p>
            <a:endParaRPr lang="en-US"/>
          </a:p>
        </p:txBody>
      </p:sp>
      <p:sp>
        <p:nvSpPr>
          <p:cNvPr id="22" name="Footer Placeholder 21"/>
          <p:cNvSpPr>
            <a:spLocks noGrp="1"/>
          </p:cNvSpPr>
          <p:nvPr>
            <p:ph type="ftr" sz="quarter" idx="15"/>
          </p:nvPr>
        </p:nvSpPr>
        <p:spPr/>
        <p:txBody>
          <a:bodyPr/>
          <a:lstStyle>
            <a:lvl1pPr>
              <a:defRPr>
                <a:solidFill>
                  <a:schemeClr val="bg1"/>
                </a:solidFill>
              </a:defRPr>
            </a:lvl1pPr>
          </a:lstStyle>
          <a:p>
            <a:endParaRPr lang="en-US"/>
          </a:p>
        </p:txBody>
      </p:sp>
      <p:sp>
        <p:nvSpPr>
          <p:cNvPr id="23" name="Slide Number Placeholder 22"/>
          <p:cNvSpPr>
            <a:spLocks noGrp="1"/>
          </p:cNvSpPr>
          <p:nvPr>
            <p:ph type="sldNum" sz="quarter" idx="16"/>
          </p:nvPr>
        </p:nvSpPr>
        <p:spPr/>
        <p:txBody>
          <a:bodyPr/>
          <a:lstStyle>
            <a:lvl1pPr>
              <a:defRPr>
                <a:solidFill>
                  <a:schemeClr val="bg1"/>
                </a:solidFill>
              </a:defRPr>
            </a:lvl1pPr>
          </a:lstStyle>
          <a:p>
            <a:fld id="{5F3E29E4-0979-4FCA-B4C5-5FC6044C982A}" type="slidenum">
              <a:rPr lang="en-US" smtClean="0"/>
              <a:pPr/>
              <a:t>‹#›</a:t>
            </a:fld>
            <a:endParaRPr lang="en-US"/>
          </a:p>
        </p:txBody>
      </p:sp>
      <p:sp>
        <p:nvSpPr>
          <p:cNvPr id="2" name="Title 1"/>
          <p:cNvSpPr>
            <a:spLocks noGrp="1"/>
          </p:cNvSpPr>
          <p:nvPr>
            <p:ph type="title" hasCustomPrompt="1"/>
          </p:nvPr>
        </p:nvSpPr>
        <p:spPr>
          <a:xfrm>
            <a:off x="6543675" y="1519552"/>
            <a:ext cx="4629150" cy="4249423"/>
          </a:xfrm>
        </p:spPr>
        <p:txBody>
          <a:bodyPr/>
          <a:lstStyle>
            <a:lvl1pPr>
              <a:defRPr>
                <a:solidFill>
                  <a:schemeClr val="bg1"/>
                </a:solidFill>
              </a:defRPr>
            </a:lvl1pPr>
          </a:lstStyle>
          <a:p>
            <a:r>
              <a:rPr lang="en-US"/>
              <a:t>Click to add text</a:t>
            </a:r>
          </a:p>
        </p:txBody>
      </p:sp>
      <p:sp>
        <p:nvSpPr>
          <p:cNvPr id="8" name="Text Placeholder 4"/>
          <p:cNvSpPr>
            <a:spLocks noGrp="1"/>
          </p:cNvSpPr>
          <p:nvPr>
            <p:ph type="body" sz="quarter" idx="18" hasCustomPrompt="1"/>
          </p:nvPr>
        </p:nvSpPr>
        <p:spPr>
          <a:xfrm>
            <a:off x="1075063" y="6307665"/>
            <a:ext cx="8162717" cy="133200"/>
          </a:xfrm>
        </p:spPr>
        <p:txBody>
          <a:bodyPr lIns="0" tIns="0" rIns="0" bIns="0" anchor="b" anchorCtr="0"/>
          <a:lstStyle>
            <a:lvl1pPr marL="0" indent="0" algn="l">
              <a:lnSpc>
                <a:spcPct val="100000"/>
              </a:lnSpc>
              <a:spcBef>
                <a:spcPts val="0"/>
              </a:spcBef>
              <a:buNone/>
              <a:defRPr sz="800" baseline="0">
                <a:solidFill>
                  <a:schemeClr val="bg1"/>
                </a:solidFill>
              </a:defRPr>
            </a:lvl1pPr>
            <a:lvl2pPr marL="0" indent="0" algn="l">
              <a:lnSpc>
                <a:spcPct val="100000"/>
              </a:lnSpc>
              <a:spcBef>
                <a:spcPts val="0"/>
              </a:spcBef>
              <a:buNone/>
              <a:defRPr sz="800">
                <a:solidFill>
                  <a:schemeClr val="bg1"/>
                </a:solidFill>
              </a:defRPr>
            </a:lvl2pPr>
            <a:lvl3pPr marL="0" indent="0" algn="l">
              <a:lnSpc>
                <a:spcPct val="100000"/>
              </a:lnSpc>
              <a:spcBef>
                <a:spcPts val="0"/>
              </a:spcBef>
              <a:buNone/>
              <a:defRPr sz="800">
                <a:solidFill>
                  <a:schemeClr val="bg1"/>
                </a:solidFill>
              </a:defRPr>
            </a:lvl3pPr>
            <a:lvl4pPr marL="0" algn="l">
              <a:lnSpc>
                <a:spcPct val="100000"/>
              </a:lnSpc>
              <a:spcBef>
                <a:spcPts val="0"/>
              </a:spcBef>
              <a:buNone/>
              <a:defRPr sz="800">
                <a:solidFill>
                  <a:schemeClr val="bg1"/>
                </a:solidFill>
              </a:defRPr>
            </a:lvl4pPr>
            <a:lvl5pPr marL="0" indent="0" algn="l">
              <a:lnSpc>
                <a:spcPct val="100000"/>
              </a:lnSpc>
              <a:spcBef>
                <a:spcPts val="0"/>
              </a:spcBef>
              <a:buNone/>
              <a:defRPr sz="800">
                <a:solidFill>
                  <a:schemeClr val="bg1"/>
                </a:solidFill>
              </a:defRPr>
            </a:lvl5pPr>
          </a:lstStyle>
          <a:p>
            <a:pPr lvl="0"/>
            <a:r>
              <a:rPr lang="en-US"/>
              <a:t>Source line</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65334728"/>
      </p:ext>
    </p:extLst>
  </p:cSld>
  <p:clrMapOvr>
    <a:masterClrMapping/>
  </p:clrMapOvr>
</p:sldLayout>
</file>

<file path=ppt/slideLayouts/slideLayout369.xml><?xml version="1.0" encoding="utf-8"?>
<p:sldLayout xmlns:a="http://schemas.openxmlformats.org/drawingml/2006/main" xmlns:r="http://schemas.openxmlformats.org/officeDocument/2006/relationships" xmlns:p="http://schemas.openxmlformats.org/presentationml/2006/main" preserve="1">
  <p:cSld name="Two pictures">
    <p:spTree>
      <p:nvGrpSpPr>
        <p:cNvPr id="1" name=""/>
        <p:cNvGrpSpPr/>
        <p:nvPr/>
      </p:nvGrpSpPr>
      <p:grpSpPr>
        <a:xfrm>
          <a:off x="0" y="0"/>
          <a:ext cx="0" cy="0"/>
          <a:chOff x="0" y="0"/>
          <a:chExt cx="0" cy="0"/>
        </a:xfrm>
      </p:grpSpPr>
      <p:sp>
        <p:nvSpPr>
          <p:cNvPr id="21" name="Date Placeholder 20"/>
          <p:cNvSpPr>
            <a:spLocks noGrp="1"/>
          </p:cNvSpPr>
          <p:nvPr>
            <p:ph type="dt" sz="half" idx="14"/>
          </p:nvPr>
        </p:nvSpPr>
        <p:spPr/>
        <p:txBody>
          <a:bodyPr/>
          <a:lstStyle/>
          <a:p>
            <a:endParaRPr lang="en-US"/>
          </a:p>
        </p:txBody>
      </p:sp>
      <p:sp>
        <p:nvSpPr>
          <p:cNvPr id="22" name="Footer Placeholder 21"/>
          <p:cNvSpPr>
            <a:spLocks noGrp="1"/>
          </p:cNvSpPr>
          <p:nvPr>
            <p:ph type="ftr" sz="quarter" idx="15"/>
          </p:nvPr>
        </p:nvSpPr>
        <p:spPr/>
        <p:txBody>
          <a:bodyPr/>
          <a:lstStyle/>
          <a:p>
            <a:endParaRPr lang="en-US"/>
          </a:p>
        </p:txBody>
      </p:sp>
      <p:sp>
        <p:nvSpPr>
          <p:cNvPr id="23" name="Slide Number Placeholder 22"/>
          <p:cNvSpPr>
            <a:spLocks noGrp="1"/>
          </p:cNvSpPr>
          <p:nvPr>
            <p:ph type="sldNum" sz="quarter" idx="16"/>
          </p:nvPr>
        </p:nvSpPr>
        <p:spPr/>
        <p:txBody>
          <a:bodyPr/>
          <a:lstStyle/>
          <a:p>
            <a:fld id="{5F3E29E4-0979-4FCA-B4C5-5FC6044C982A}" type="slidenum">
              <a:rPr lang="en-US" smtClean="0"/>
              <a:t>‹#›</a:t>
            </a:fld>
            <a:endParaRPr lang="en-US"/>
          </a:p>
        </p:txBody>
      </p:sp>
      <p:sp>
        <p:nvSpPr>
          <p:cNvPr id="2" name="Title 1"/>
          <p:cNvSpPr>
            <a:spLocks noGrp="1"/>
          </p:cNvSpPr>
          <p:nvPr>
            <p:ph type="title" hasCustomPrompt="1"/>
          </p:nvPr>
        </p:nvSpPr>
        <p:spPr/>
        <p:txBody>
          <a:bodyPr/>
          <a:lstStyle>
            <a:lvl1pPr>
              <a:defRPr/>
            </a:lvl1pPr>
          </a:lstStyle>
          <a:p>
            <a:r>
              <a:rPr lang="en-US"/>
              <a:t>Click to add slide title</a:t>
            </a:r>
          </a:p>
        </p:txBody>
      </p:sp>
      <p:sp>
        <p:nvSpPr>
          <p:cNvPr id="7" name="Subtitle 2"/>
          <p:cNvSpPr>
            <a:spLocks noGrp="1"/>
          </p:cNvSpPr>
          <p:nvPr>
            <p:ph type="subTitle" idx="13" hasCustomPrompt="1"/>
          </p:nvPr>
        </p:nvSpPr>
        <p:spPr>
          <a:xfrm>
            <a:off x="1075061" y="964671"/>
            <a:ext cx="7910158" cy="490042"/>
          </a:xfrm>
        </p:spPr>
        <p:txBody>
          <a:bodyPr wrap="none"/>
          <a:lstStyle>
            <a:lvl1pPr marL="0" indent="0" algn="l">
              <a:spcBef>
                <a:spcPts val="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sp>
        <p:nvSpPr>
          <p:cNvPr id="5" name="Picture Placeholder 4"/>
          <p:cNvSpPr>
            <a:spLocks noGrp="1"/>
          </p:cNvSpPr>
          <p:nvPr>
            <p:ph type="pic" sz="quarter" idx="17" hasCustomPrompt="1"/>
          </p:nvPr>
        </p:nvSpPr>
        <p:spPr>
          <a:xfrm>
            <a:off x="1075062" y="1637783"/>
            <a:ext cx="5220000" cy="4599506"/>
          </a:xfrm>
          <a:solidFill>
            <a:srgbClr val="D9DADB"/>
          </a:solidFill>
        </p:spPr>
        <p:txBody>
          <a:bodyPr/>
          <a:lstStyle>
            <a:lvl1pPr marL="0" indent="0">
              <a:buNone/>
              <a:defRPr/>
            </a:lvl1pPr>
          </a:lstStyle>
          <a:p>
            <a:r>
              <a:rPr lang="en-US"/>
              <a:t>Insert picture</a:t>
            </a:r>
          </a:p>
        </p:txBody>
      </p:sp>
      <p:sp>
        <p:nvSpPr>
          <p:cNvPr id="9" name="Picture Placeholder 4"/>
          <p:cNvSpPr>
            <a:spLocks noGrp="1"/>
          </p:cNvSpPr>
          <p:nvPr>
            <p:ph type="pic" sz="quarter" idx="18" hasCustomPrompt="1"/>
          </p:nvPr>
        </p:nvSpPr>
        <p:spPr>
          <a:xfrm>
            <a:off x="6600525" y="1637783"/>
            <a:ext cx="5220000" cy="4599506"/>
          </a:xfrm>
          <a:solidFill>
            <a:srgbClr val="D9DADB"/>
          </a:solidFill>
        </p:spPr>
        <p:txBody>
          <a:bodyPr/>
          <a:lstStyle>
            <a:lvl1pPr marL="0" indent="0">
              <a:buNone/>
              <a:defRPr/>
            </a:lvl1pPr>
          </a:lstStyle>
          <a:p>
            <a:r>
              <a:rPr lang="en-US"/>
              <a:t>Insert picture</a:t>
            </a:r>
          </a:p>
        </p:txBody>
      </p:sp>
      <p:sp>
        <p:nvSpPr>
          <p:cNvPr id="11" name="Text Placeholder 4"/>
          <p:cNvSpPr>
            <a:spLocks noGrp="1"/>
          </p:cNvSpPr>
          <p:nvPr>
            <p:ph type="body" sz="quarter" idx="19" hasCustomPrompt="1"/>
          </p:nvPr>
        </p:nvSpPr>
        <p:spPr>
          <a:xfrm>
            <a:off x="1075063" y="6307665"/>
            <a:ext cx="8162717" cy="133200"/>
          </a:xfrm>
        </p:spPr>
        <p:txBody>
          <a:bodyPr lIns="0" tIns="0" rIns="0" bIns="0" anchor="b" anchorCtr="0"/>
          <a:lstStyle>
            <a:lvl1pPr marL="0" indent="0" algn="l">
              <a:lnSpc>
                <a:spcPct val="100000"/>
              </a:lnSpc>
              <a:spcBef>
                <a:spcPts val="0"/>
              </a:spcBef>
              <a:buNone/>
              <a:defRPr sz="800" baseline="0"/>
            </a:lvl1pPr>
            <a:lvl2pPr marL="0" indent="0" algn="l">
              <a:lnSpc>
                <a:spcPct val="100000"/>
              </a:lnSpc>
              <a:spcBef>
                <a:spcPts val="0"/>
              </a:spcBef>
              <a:buNone/>
              <a:defRPr sz="800"/>
            </a:lvl2pPr>
            <a:lvl3pPr marL="0" indent="0" algn="l">
              <a:lnSpc>
                <a:spcPct val="100000"/>
              </a:lnSpc>
              <a:spcBef>
                <a:spcPts val="0"/>
              </a:spcBef>
              <a:buNone/>
              <a:defRPr sz="800"/>
            </a:lvl3pPr>
            <a:lvl4pPr marL="0" algn="l">
              <a:lnSpc>
                <a:spcPct val="100000"/>
              </a:lnSpc>
              <a:spcBef>
                <a:spcPts val="0"/>
              </a:spcBef>
              <a:buNone/>
              <a:defRPr sz="800"/>
            </a:lvl4pPr>
            <a:lvl5pPr marL="0" indent="0" algn="l">
              <a:lnSpc>
                <a:spcPct val="100000"/>
              </a:lnSpc>
              <a:spcBef>
                <a:spcPts val="0"/>
              </a:spcBef>
              <a:buNone/>
              <a:defRPr sz="800"/>
            </a:lvl5pPr>
          </a:lstStyle>
          <a:p>
            <a:pPr lvl="0"/>
            <a:r>
              <a:rPr lang="en-US"/>
              <a:t>Source line</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70806680"/>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White and text">
    <p:spTree>
      <p:nvGrpSpPr>
        <p:cNvPr id="1" name=""/>
        <p:cNvGrpSpPr/>
        <p:nvPr/>
      </p:nvGrpSpPr>
      <p:grpSpPr>
        <a:xfrm>
          <a:off x="0" y="0"/>
          <a:ext cx="0" cy="0"/>
          <a:chOff x="0" y="0"/>
          <a:chExt cx="0" cy="0"/>
        </a:xfrm>
      </p:grpSpPr>
      <p:sp>
        <p:nvSpPr>
          <p:cNvPr id="62" name="Rechteck 61"/>
          <p:cNvSpPr/>
          <p:nvPr userDrawn="1"/>
        </p:nvSpPr>
        <p:spPr bwMode="gray">
          <a:xfrm>
            <a:off x="0" y="0"/>
            <a:ext cx="12192000" cy="685800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indent="0" algn="ctr">
              <a:buFont typeface="Courier New" pitchFamily="49" charset="0"/>
              <a:buNone/>
            </a:pPr>
            <a:endParaRPr lang="en-US" sz="2133">
              <a:solidFill>
                <a:schemeClr val="tx1"/>
              </a:solidFill>
              <a:latin typeface="Arial" pitchFamily="34" charset="0"/>
            </a:endParaRPr>
          </a:p>
        </p:txBody>
      </p:sp>
      <p:sp>
        <p:nvSpPr>
          <p:cNvPr id="2" name="Titel 1"/>
          <p:cNvSpPr>
            <a:spLocks noGrp="1"/>
          </p:cNvSpPr>
          <p:nvPr>
            <p:ph type="title" hasCustomPrompt="1"/>
          </p:nvPr>
        </p:nvSpPr>
        <p:spPr bwMode="gray">
          <a:xfrm>
            <a:off x="431801" y="1221319"/>
            <a:ext cx="11328399" cy="2685635"/>
          </a:xfrm>
        </p:spPr>
        <p:txBody>
          <a:bodyPr vert="horz" lIns="0" tIns="18000" rIns="0" bIns="0" rtlCol="0" anchor="b" anchorCtr="0">
            <a:noAutofit/>
          </a:bodyPr>
          <a:lstStyle>
            <a:lvl1pPr>
              <a:defRPr lang="de-DE" sz="4800" cap="none" baseline="0">
                <a:solidFill>
                  <a:schemeClr val="tx2"/>
                </a:solidFill>
                <a:latin typeface="Arial" pitchFamily="34" charset="0"/>
                <a:ea typeface="+mn-ea"/>
                <a:cs typeface="+mn-cs"/>
              </a:defRPr>
            </a:lvl1pPr>
          </a:lstStyle>
          <a:p>
            <a:pPr lvl="0"/>
            <a:r>
              <a:rPr lang="en-US"/>
              <a:t>Click to add text</a:t>
            </a:r>
          </a:p>
        </p:txBody>
      </p:sp>
    </p:spTree>
    <p:extLst>
      <p:ext uri="{BB962C8B-B14F-4D97-AF65-F5344CB8AC3E}">
        <p14:creationId xmlns:p14="http://schemas.microsoft.com/office/powerpoint/2010/main" val="1301068859"/>
      </p:ext>
    </p:extLst>
  </p:cSld>
  <p:clrMapOvr>
    <a:masterClrMapping/>
  </p:clrMapOvr>
</p:sldLayout>
</file>

<file path=ppt/slideLayouts/slideLayout370.xml><?xml version="1.0" encoding="utf-8"?>
<p:sldLayout xmlns:a="http://schemas.openxmlformats.org/drawingml/2006/main" xmlns:r="http://schemas.openxmlformats.org/officeDocument/2006/relationships" xmlns:p="http://schemas.openxmlformats.org/presentationml/2006/main" preserve="1">
  <p:cSld name="Two contents">
    <p:spTree>
      <p:nvGrpSpPr>
        <p:cNvPr id="1" name=""/>
        <p:cNvGrpSpPr/>
        <p:nvPr/>
      </p:nvGrpSpPr>
      <p:grpSpPr>
        <a:xfrm>
          <a:off x="0" y="0"/>
          <a:ext cx="0" cy="0"/>
          <a:chOff x="0" y="0"/>
          <a:chExt cx="0" cy="0"/>
        </a:xfrm>
      </p:grpSpPr>
      <p:sp>
        <p:nvSpPr>
          <p:cNvPr id="21" name="Date Placeholder 20"/>
          <p:cNvSpPr>
            <a:spLocks noGrp="1"/>
          </p:cNvSpPr>
          <p:nvPr>
            <p:ph type="dt" sz="half" idx="14"/>
          </p:nvPr>
        </p:nvSpPr>
        <p:spPr/>
        <p:txBody>
          <a:bodyPr/>
          <a:lstStyle/>
          <a:p>
            <a:endParaRPr lang="en-US"/>
          </a:p>
        </p:txBody>
      </p:sp>
      <p:sp>
        <p:nvSpPr>
          <p:cNvPr id="22" name="Footer Placeholder 21"/>
          <p:cNvSpPr>
            <a:spLocks noGrp="1"/>
          </p:cNvSpPr>
          <p:nvPr>
            <p:ph type="ftr" sz="quarter" idx="15"/>
          </p:nvPr>
        </p:nvSpPr>
        <p:spPr/>
        <p:txBody>
          <a:bodyPr/>
          <a:lstStyle/>
          <a:p>
            <a:endParaRPr lang="en-US"/>
          </a:p>
        </p:txBody>
      </p:sp>
      <p:sp>
        <p:nvSpPr>
          <p:cNvPr id="23" name="Slide Number Placeholder 22"/>
          <p:cNvSpPr>
            <a:spLocks noGrp="1"/>
          </p:cNvSpPr>
          <p:nvPr>
            <p:ph type="sldNum" sz="quarter" idx="16"/>
          </p:nvPr>
        </p:nvSpPr>
        <p:spPr/>
        <p:txBody>
          <a:bodyPr/>
          <a:lstStyle/>
          <a:p>
            <a:fld id="{5F3E29E4-0979-4FCA-B4C5-5FC6044C982A}" type="slidenum">
              <a:rPr lang="en-US" smtClean="0"/>
              <a:t>‹#›</a:t>
            </a:fld>
            <a:endParaRPr lang="en-US"/>
          </a:p>
        </p:txBody>
      </p:sp>
      <p:sp>
        <p:nvSpPr>
          <p:cNvPr id="2" name="Title 1"/>
          <p:cNvSpPr>
            <a:spLocks noGrp="1"/>
          </p:cNvSpPr>
          <p:nvPr>
            <p:ph type="title" hasCustomPrompt="1"/>
          </p:nvPr>
        </p:nvSpPr>
        <p:spPr/>
        <p:txBody>
          <a:bodyPr/>
          <a:lstStyle>
            <a:lvl1pPr>
              <a:defRPr/>
            </a:lvl1pPr>
          </a:lstStyle>
          <a:p>
            <a:r>
              <a:rPr lang="en-US"/>
              <a:t>Click to add slide title</a:t>
            </a:r>
          </a:p>
        </p:txBody>
      </p:sp>
      <p:sp>
        <p:nvSpPr>
          <p:cNvPr id="7" name="Subtitle 2"/>
          <p:cNvSpPr>
            <a:spLocks noGrp="1"/>
          </p:cNvSpPr>
          <p:nvPr>
            <p:ph type="subTitle" idx="13" hasCustomPrompt="1"/>
          </p:nvPr>
        </p:nvSpPr>
        <p:spPr>
          <a:xfrm>
            <a:off x="1075061" y="964671"/>
            <a:ext cx="7910158" cy="490042"/>
          </a:xfrm>
        </p:spPr>
        <p:txBody>
          <a:bodyPr wrap="none"/>
          <a:lstStyle>
            <a:lvl1pPr marL="0" indent="0" algn="l">
              <a:spcBef>
                <a:spcPts val="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sp>
        <p:nvSpPr>
          <p:cNvPr id="3" name="Content Placeholder 2"/>
          <p:cNvSpPr>
            <a:spLocks noGrp="1"/>
          </p:cNvSpPr>
          <p:nvPr>
            <p:ph idx="1" hasCustomPrompt="1"/>
          </p:nvPr>
        </p:nvSpPr>
        <p:spPr>
          <a:xfrm>
            <a:off x="1075062" y="1629618"/>
            <a:ext cx="5220000" cy="4139357"/>
          </a:xfrm>
        </p:spPr>
        <p:txBody>
          <a:bodyPr/>
          <a:lstStyle>
            <a:lvl1pPr>
              <a:defRPr/>
            </a:lvl1pPr>
          </a:lstStyle>
          <a:p>
            <a:pPr lvl="0"/>
            <a:r>
              <a:rPr lang="en-US"/>
              <a:t>Click to add text or content</a:t>
            </a:r>
          </a:p>
          <a:p>
            <a:pPr lvl="1"/>
            <a:r>
              <a:rPr lang="en-US"/>
              <a:t>Second level</a:t>
            </a:r>
          </a:p>
          <a:p>
            <a:pPr lvl="2"/>
            <a:r>
              <a:rPr lang="en-US"/>
              <a:t>Third level</a:t>
            </a:r>
          </a:p>
          <a:p>
            <a:pPr lvl="3"/>
            <a:r>
              <a:rPr lang="en-US"/>
              <a:t>Fourth level</a:t>
            </a:r>
          </a:p>
          <a:p>
            <a:pPr lvl="4"/>
            <a:r>
              <a:rPr lang="en-US"/>
              <a:t>Fifth level</a:t>
            </a:r>
          </a:p>
        </p:txBody>
      </p:sp>
      <p:sp>
        <p:nvSpPr>
          <p:cNvPr id="9" name="Content Placeholder 2"/>
          <p:cNvSpPr>
            <a:spLocks noGrp="1"/>
          </p:cNvSpPr>
          <p:nvPr>
            <p:ph idx="17" hasCustomPrompt="1"/>
          </p:nvPr>
        </p:nvSpPr>
        <p:spPr>
          <a:xfrm>
            <a:off x="6600525" y="1629618"/>
            <a:ext cx="5220000" cy="4139357"/>
          </a:xfrm>
        </p:spPr>
        <p:txBody>
          <a:bodyPr/>
          <a:lstStyle>
            <a:lvl1pPr>
              <a:defRPr/>
            </a:lvl1pPr>
          </a:lstStyle>
          <a:p>
            <a:pPr lvl="0"/>
            <a:r>
              <a:rPr lang="en-US"/>
              <a:t>Click to add text or content</a:t>
            </a:r>
          </a:p>
          <a:p>
            <a:pPr lvl="1"/>
            <a:r>
              <a:rPr lang="en-US"/>
              <a:t>Second level</a:t>
            </a:r>
          </a:p>
          <a:p>
            <a:pPr lvl="2"/>
            <a:r>
              <a:rPr lang="en-US"/>
              <a:t>Third level</a:t>
            </a:r>
          </a:p>
          <a:p>
            <a:pPr lvl="3"/>
            <a:r>
              <a:rPr lang="en-US"/>
              <a:t>Fourth level</a:t>
            </a:r>
          </a:p>
          <a:p>
            <a:pPr lvl="4"/>
            <a:r>
              <a:rPr lang="en-US"/>
              <a:t>Fifth level</a:t>
            </a:r>
          </a:p>
        </p:txBody>
      </p:sp>
      <p:sp>
        <p:nvSpPr>
          <p:cNvPr id="11" name="Text Placeholder 4"/>
          <p:cNvSpPr>
            <a:spLocks noGrp="1"/>
          </p:cNvSpPr>
          <p:nvPr>
            <p:ph type="body" sz="quarter" idx="18" hasCustomPrompt="1"/>
          </p:nvPr>
        </p:nvSpPr>
        <p:spPr>
          <a:xfrm>
            <a:off x="1075063" y="6307665"/>
            <a:ext cx="8162717" cy="133200"/>
          </a:xfrm>
        </p:spPr>
        <p:txBody>
          <a:bodyPr lIns="0" tIns="0" rIns="0" bIns="0" anchor="b" anchorCtr="0"/>
          <a:lstStyle>
            <a:lvl1pPr marL="0" indent="0" algn="l">
              <a:lnSpc>
                <a:spcPct val="100000"/>
              </a:lnSpc>
              <a:spcBef>
                <a:spcPts val="0"/>
              </a:spcBef>
              <a:buNone/>
              <a:defRPr sz="800" baseline="0"/>
            </a:lvl1pPr>
            <a:lvl2pPr marL="0" indent="0" algn="l">
              <a:lnSpc>
                <a:spcPct val="100000"/>
              </a:lnSpc>
              <a:spcBef>
                <a:spcPts val="0"/>
              </a:spcBef>
              <a:buNone/>
              <a:defRPr sz="800"/>
            </a:lvl2pPr>
            <a:lvl3pPr marL="0" indent="0" algn="l">
              <a:lnSpc>
                <a:spcPct val="100000"/>
              </a:lnSpc>
              <a:spcBef>
                <a:spcPts val="0"/>
              </a:spcBef>
              <a:buNone/>
              <a:defRPr sz="800"/>
            </a:lvl3pPr>
            <a:lvl4pPr marL="0" algn="l">
              <a:lnSpc>
                <a:spcPct val="100000"/>
              </a:lnSpc>
              <a:spcBef>
                <a:spcPts val="0"/>
              </a:spcBef>
              <a:buNone/>
              <a:defRPr sz="800"/>
            </a:lvl4pPr>
            <a:lvl5pPr marL="0" indent="0" algn="l">
              <a:lnSpc>
                <a:spcPct val="100000"/>
              </a:lnSpc>
              <a:spcBef>
                <a:spcPts val="0"/>
              </a:spcBef>
              <a:buNone/>
              <a:defRPr sz="800"/>
            </a:lvl5pPr>
          </a:lstStyle>
          <a:p>
            <a:pPr lvl="0"/>
            <a:r>
              <a:rPr lang="en-US"/>
              <a:t>Source line</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71532297"/>
      </p:ext>
    </p:extLst>
  </p:cSld>
  <p:clrMapOvr>
    <a:masterClrMapping/>
  </p:clrMapOvr>
</p:sldLayout>
</file>

<file path=ppt/slideLayouts/slideLayout371.xml><?xml version="1.0" encoding="utf-8"?>
<p:sldLayout xmlns:a="http://schemas.openxmlformats.org/drawingml/2006/main" xmlns:r="http://schemas.openxmlformats.org/officeDocument/2006/relationships" xmlns:p="http://schemas.openxmlformats.org/presentationml/2006/main" preserve="1">
  <p:cSld name="Three contents">
    <p:spTree>
      <p:nvGrpSpPr>
        <p:cNvPr id="1" name=""/>
        <p:cNvGrpSpPr/>
        <p:nvPr/>
      </p:nvGrpSpPr>
      <p:grpSpPr>
        <a:xfrm>
          <a:off x="0" y="0"/>
          <a:ext cx="0" cy="0"/>
          <a:chOff x="0" y="0"/>
          <a:chExt cx="0" cy="0"/>
        </a:xfrm>
      </p:grpSpPr>
      <p:sp>
        <p:nvSpPr>
          <p:cNvPr id="21" name="Date Placeholder 20"/>
          <p:cNvSpPr>
            <a:spLocks noGrp="1"/>
          </p:cNvSpPr>
          <p:nvPr>
            <p:ph type="dt" sz="half" idx="14"/>
          </p:nvPr>
        </p:nvSpPr>
        <p:spPr/>
        <p:txBody>
          <a:bodyPr/>
          <a:lstStyle/>
          <a:p>
            <a:endParaRPr lang="en-US"/>
          </a:p>
        </p:txBody>
      </p:sp>
      <p:sp>
        <p:nvSpPr>
          <p:cNvPr id="22" name="Footer Placeholder 21"/>
          <p:cNvSpPr>
            <a:spLocks noGrp="1"/>
          </p:cNvSpPr>
          <p:nvPr>
            <p:ph type="ftr" sz="quarter" idx="15"/>
          </p:nvPr>
        </p:nvSpPr>
        <p:spPr/>
        <p:txBody>
          <a:bodyPr/>
          <a:lstStyle/>
          <a:p>
            <a:endParaRPr lang="en-US"/>
          </a:p>
        </p:txBody>
      </p:sp>
      <p:sp>
        <p:nvSpPr>
          <p:cNvPr id="23" name="Slide Number Placeholder 22"/>
          <p:cNvSpPr>
            <a:spLocks noGrp="1"/>
          </p:cNvSpPr>
          <p:nvPr>
            <p:ph type="sldNum" sz="quarter" idx="16"/>
          </p:nvPr>
        </p:nvSpPr>
        <p:spPr/>
        <p:txBody>
          <a:bodyPr/>
          <a:lstStyle/>
          <a:p>
            <a:fld id="{5F3E29E4-0979-4FCA-B4C5-5FC6044C982A}" type="slidenum">
              <a:rPr lang="en-US" smtClean="0"/>
              <a:t>‹#›</a:t>
            </a:fld>
            <a:endParaRPr lang="en-US"/>
          </a:p>
        </p:txBody>
      </p:sp>
      <p:sp>
        <p:nvSpPr>
          <p:cNvPr id="2" name="Title 1"/>
          <p:cNvSpPr>
            <a:spLocks noGrp="1"/>
          </p:cNvSpPr>
          <p:nvPr>
            <p:ph type="title" hasCustomPrompt="1"/>
          </p:nvPr>
        </p:nvSpPr>
        <p:spPr/>
        <p:txBody>
          <a:bodyPr/>
          <a:lstStyle>
            <a:lvl1pPr>
              <a:defRPr/>
            </a:lvl1pPr>
          </a:lstStyle>
          <a:p>
            <a:r>
              <a:rPr lang="en-US"/>
              <a:t>Click to add slide title</a:t>
            </a:r>
          </a:p>
        </p:txBody>
      </p:sp>
      <p:sp>
        <p:nvSpPr>
          <p:cNvPr id="7" name="Subtitle 2"/>
          <p:cNvSpPr>
            <a:spLocks noGrp="1"/>
          </p:cNvSpPr>
          <p:nvPr>
            <p:ph type="subTitle" idx="13" hasCustomPrompt="1"/>
          </p:nvPr>
        </p:nvSpPr>
        <p:spPr>
          <a:xfrm>
            <a:off x="1075061" y="964671"/>
            <a:ext cx="7910158" cy="490042"/>
          </a:xfrm>
        </p:spPr>
        <p:txBody>
          <a:bodyPr wrap="none"/>
          <a:lstStyle>
            <a:lvl1pPr marL="0" indent="0" algn="l">
              <a:spcBef>
                <a:spcPts val="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sp>
        <p:nvSpPr>
          <p:cNvPr id="3" name="Content Placeholder 2"/>
          <p:cNvSpPr>
            <a:spLocks noGrp="1"/>
          </p:cNvSpPr>
          <p:nvPr>
            <p:ph idx="1" hasCustomPrompt="1"/>
          </p:nvPr>
        </p:nvSpPr>
        <p:spPr>
          <a:xfrm>
            <a:off x="1075061" y="1629618"/>
            <a:ext cx="3384000" cy="4139357"/>
          </a:xfrm>
        </p:spPr>
        <p:txBody>
          <a:bodyPr/>
          <a:lstStyle>
            <a:lvl1pPr>
              <a:defRPr/>
            </a:lvl1pPr>
          </a:lstStyle>
          <a:p>
            <a:pPr lvl="0"/>
            <a:r>
              <a:rPr lang="en-US"/>
              <a:t>Click to add text or content</a:t>
            </a:r>
          </a:p>
          <a:p>
            <a:pPr lvl="1"/>
            <a:r>
              <a:rPr lang="en-US"/>
              <a:t>Second level</a:t>
            </a:r>
          </a:p>
          <a:p>
            <a:pPr lvl="2"/>
            <a:r>
              <a:rPr lang="en-US"/>
              <a:t>Third level</a:t>
            </a:r>
          </a:p>
          <a:p>
            <a:pPr lvl="3"/>
            <a:r>
              <a:rPr lang="en-US"/>
              <a:t>Fourth level</a:t>
            </a:r>
          </a:p>
          <a:p>
            <a:pPr lvl="4"/>
            <a:r>
              <a:rPr lang="en-US"/>
              <a:t>Fifth level</a:t>
            </a:r>
          </a:p>
        </p:txBody>
      </p:sp>
      <p:sp>
        <p:nvSpPr>
          <p:cNvPr id="9" name="Content Placeholder 2"/>
          <p:cNvSpPr>
            <a:spLocks noGrp="1"/>
          </p:cNvSpPr>
          <p:nvPr>
            <p:ph idx="17" hasCustomPrompt="1"/>
          </p:nvPr>
        </p:nvSpPr>
        <p:spPr>
          <a:xfrm>
            <a:off x="4755793" y="1629618"/>
            <a:ext cx="3384000" cy="4139357"/>
          </a:xfrm>
        </p:spPr>
        <p:txBody>
          <a:bodyPr/>
          <a:lstStyle>
            <a:lvl1pPr>
              <a:defRPr/>
            </a:lvl1pPr>
          </a:lstStyle>
          <a:p>
            <a:pPr lvl="0"/>
            <a:r>
              <a:rPr lang="en-US"/>
              <a:t>Click to add text or content</a:t>
            </a:r>
          </a:p>
          <a:p>
            <a:pPr lvl="1"/>
            <a:r>
              <a:rPr lang="en-US"/>
              <a:t>Second level</a:t>
            </a:r>
          </a:p>
          <a:p>
            <a:pPr lvl="2"/>
            <a:r>
              <a:rPr lang="en-US"/>
              <a:t>Third level</a:t>
            </a:r>
          </a:p>
          <a:p>
            <a:pPr lvl="3"/>
            <a:r>
              <a:rPr lang="en-US"/>
              <a:t>Fourth level</a:t>
            </a:r>
          </a:p>
          <a:p>
            <a:pPr lvl="4"/>
            <a:r>
              <a:rPr lang="en-US"/>
              <a:t>Fifth level</a:t>
            </a:r>
          </a:p>
        </p:txBody>
      </p:sp>
      <p:sp>
        <p:nvSpPr>
          <p:cNvPr id="10" name="Content Placeholder 2"/>
          <p:cNvSpPr>
            <a:spLocks noGrp="1"/>
          </p:cNvSpPr>
          <p:nvPr>
            <p:ph idx="18" hasCustomPrompt="1"/>
          </p:nvPr>
        </p:nvSpPr>
        <p:spPr>
          <a:xfrm>
            <a:off x="8436525" y="1629618"/>
            <a:ext cx="3384000" cy="4139357"/>
          </a:xfrm>
        </p:spPr>
        <p:txBody>
          <a:bodyPr/>
          <a:lstStyle>
            <a:lvl1pPr>
              <a:defRPr/>
            </a:lvl1pPr>
          </a:lstStyle>
          <a:p>
            <a:pPr lvl="0"/>
            <a:r>
              <a:rPr lang="en-US"/>
              <a:t>Click to add text or content</a:t>
            </a:r>
          </a:p>
          <a:p>
            <a:pPr lvl="1"/>
            <a:r>
              <a:rPr lang="en-US"/>
              <a:t>Second level</a:t>
            </a:r>
          </a:p>
          <a:p>
            <a:pPr lvl="2"/>
            <a:r>
              <a:rPr lang="en-US"/>
              <a:t>Third level</a:t>
            </a:r>
          </a:p>
          <a:p>
            <a:pPr lvl="3"/>
            <a:r>
              <a:rPr lang="en-US"/>
              <a:t>Fourth level</a:t>
            </a:r>
          </a:p>
          <a:p>
            <a:pPr lvl="4"/>
            <a:r>
              <a:rPr lang="en-US"/>
              <a:t>Fifth level</a:t>
            </a:r>
          </a:p>
        </p:txBody>
      </p:sp>
      <p:sp>
        <p:nvSpPr>
          <p:cNvPr id="12" name="Text Placeholder 4"/>
          <p:cNvSpPr>
            <a:spLocks noGrp="1"/>
          </p:cNvSpPr>
          <p:nvPr>
            <p:ph type="body" sz="quarter" idx="19" hasCustomPrompt="1"/>
          </p:nvPr>
        </p:nvSpPr>
        <p:spPr>
          <a:xfrm>
            <a:off x="1075063" y="6307665"/>
            <a:ext cx="8162717" cy="133200"/>
          </a:xfrm>
        </p:spPr>
        <p:txBody>
          <a:bodyPr lIns="0" tIns="0" rIns="0" bIns="0" anchor="b" anchorCtr="0"/>
          <a:lstStyle>
            <a:lvl1pPr marL="0" indent="0" algn="l">
              <a:lnSpc>
                <a:spcPct val="100000"/>
              </a:lnSpc>
              <a:spcBef>
                <a:spcPts val="0"/>
              </a:spcBef>
              <a:buNone/>
              <a:defRPr sz="800" baseline="0"/>
            </a:lvl1pPr>
            <a:lvl2pPr marL="0" indent="0" algn="l">
              <a:lnSpc>
                <a:spcPct val="100000"/>
              </a:lnSpc>
              <a:spcBef>
                <a:spcPts val="0"/>
              </a:spcBef>
              <a:buNone/>
              <a:defRPr sz="800"/>
            </a:lvl2pPr>
            <a:lvl3pPr marL="0" indent="0" algn="l">
              <a:lnSpc>
                <a:spcPct val="100000"/>
              </a:lnSpc>
              <a:spcBef>
                <a:spcPts val="0"/>
              </a:spcBef>
              <a:buNone/>
              <a:defRPr sz="800"/>
            </a:lvl3pPr>
            <a:lvl4pPr marL="0" algn="l">
              <a:lnSpc>
                <a:spcPct val="100000"/>
              </a:lnSpc>
              <a:spcBef>
                <a:spcPts val="0"/>
              </a:spcBef>
              <a:buNone/>
              <a:defRPr sz="800"/>
            </a:lvl4pPr>
            <a:lvl5pPr marL="0" indent="0" algn="l">
              <a:lnSpc>
                <a:spcPct val="100000"/>
              </a:lnSpc>
              <a:spcBef>
                <a:spcPts val="0"/>
              </a:spcBef>
              <a:buNone/>
              <a:defRPr sz="800"/>
            </a:lvl5pPr>
          </a:lstStyle>
          <a:p>
            <a:pPr lvl="0"/>
            <a:r>
              <a:rPr lang="en-US"/>
              <a:t>Source line</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80377896"/>
      </p:ext>
    </p:extLst>
  </p:cSld>
  <p:clrMapOvr>
    <a:masterClrMapping/>
  </p:clrMapOvr>
</p:sldLayout>
</file>

<file path=ppt/slideLayouts/slideLayout372.xml><?xml version="1.0" encoding="utf-8"?>
<p:sldLayout xmlns:a="http://schemas.openxmlformats.org/drawingml/2006/main" xmlns:r="http://schemas.openxmlformats.org/officeDocument/2006/relationships" xmlns:p="http://schemas.openxmlformats.org/presentationml/2006/main" preserve="1">
  <p:cSld name="Four contents 1">
    <p:spTree>
      <p:nvGrpSpPr>
        <p:cNvPr id="1" name=""/>
        <p:cNvGrpSpPr/>
        <p:nvPr/>
      </p:nvGrpSpPr>
      <p:grpSpPr>
        <a:xfrm>
          <a:off x="0" y="0"/>
          <a:ext cx="0" cy="0"/>
          <a:chOff x="0" y="0"/>
          <a:chExt cx="0" cy="0"/>
        </a:xfrm>
      </p:grpSpPr>
      <p:sp>
        <p:nvSpPr>
          <p:cNvPr id="21" name="Date Placeholder 20"/>
          <p:cNvSpPr>
            <a:spLocks noGrp="1"/>
          </p:cNvSpPr>
          <p:nvPr>
            <p:ph type="dt" sz="half" idx="14"/>
          </p:nvPr>
        </p:nvSpPr>
        <p:spPr/>
        <p:txBody>
          <a:bodyPr/>
          <a:lstStyle/>
          <a:p>
            <a:endParaRPr lang="en-US"/>
          </a:p>
        </p:txBody>
      </p:sp>
      <p:sp>
        <p:nvSpPr>
          <p:cNvPr id="22" name="Footer Placeholder 21"/>
          <p:cNvSpPr>
            <a:spLocks noGrp="1"/>
          </p:cNvSpPr>
          <p:nvPr>
            <p:ph type="ftr" sz="quarter" idx="15"/>
          </p:nvPr>
        </p:nvSpPr>
        <p:spPr/>
        <p:txBody>
          <a:bodyPr/>
          <a:lstStyle/>
          <a:p>
            <a:endParaRPr lang="en-US"/>
          </a:p>
        </p:txBody>
      </p:sp>
      <p:sp>
        <p:nvSpPr>
          <p:cNvPr id="23" name="Slide Number Placeholder 22"/>
          <p:cNvSpPr>
            <a:spLocks noGrp="1"/>
          </p:cNvSpPr>
          <p:nvPr>
            <p:ph type="sldNum" sz="quarter" idx="16"/>
          </p:nvPr>
        </p:nvSpPr>
        <p:spPr/>
        <p:txBody>
          <a:bodyPr/>
          <a:lstStyle/>
          <a:p>
            <a:fld id="{5F3E29E4-0979-4FCA-B4C5-5FC6044C982A}" type="slidenum">
              <a:rPr lang="en-US" smtClean="0"/>
              <a:t>‹#›</a:t>
            </a:fld>
            <a:endParaRPr lang="en-US"/>
          </a:p>
        </p:txBody>
      </p:sp>
      <p:sp>
        <p:nvSpPr>
          <p:cNvPr id="2" name="Title 1"/>
          <p:cNvSpPr>
            <a:spLocks noGrp="1"/>
          </p:cNvSpPr>
          <p:nvPr>
            <p:ph type="title" hasCustomPrompt="1"/>
          </p:nvPr>
        </p:nvSpPr>
        <p:spPr/>
        <p:txBody>
          <a:bodyPr/>
          <a:lstStyle>
            <a:lvl1pPr>
              <a:defRPr/>
            </a:lvl1pPr>
          </a:lstStyle>
          <a:p>
            <a:r>
              <a:rPr lang="en-US"/>
              <a:t>Click to add slide title</a:t>
            </a:r>
          </a:p>
        </p:txBody>
      </p:sp>
      <p:sp>
        <p:nvSpPr>
          <p:cNvPr id="7" name="Subtitle 2"/>
          <p:cNvSpPr>
            <a:spLocks noGrp="1"/>
          </p:cNvSpPr>
          <p:nvPr>
            <p:ph type="subTitle" idx="13" hasCustomPrompt="1"/>
          </p:nvPr>
        </p:nvSpPr>
        <p:spPr>
          <a:xfrm>
            <a:off x="1075061" y="964671"/>
            <a:ext cx="7910158" cy="490042"/>
          </a:xfrm>
        </p:spPr>
        <p:txBody>
          <a:bodyPr wrap="none"/>
          <a:lstStyle>
            <a:lvl1pPr marL="0" indent="0" algn="l">
              <a:spcBef>
                <a:spcPts val="0"/>
              </a:spcBef>
              <a:buNone/>
              <a:defRPr sz="2400" baseline="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sp>
        <p:nvSpPr>
          <p:cNvPr id="3" name="Content Placeholder 2"/>
          <p:cNvSpPr>
            <a:spLocks noGrp="1"/>
          </p:cNvSpPr>
          <p:nvPr>
            <p:ph idx="1" hasCustomPrompt="1"/>
          </p:nvPr>
        </p:nvSpPr>
        <p:spPr>
          <a:xfrm>
            <a:off x="192088" y="1629618"/>
            <a:ext cx="2682000" cy="4139357"/>
          </a:xfrm>
        </p:spPr>
        <p:txBody>
          <a:bodyPr/>
          <a:lstStyle>
            <a:lvl1pPr>
              <a:defRPr/>
            </a:lvl1pPr>
          </a:lstStyle>
          <a:p>
            <a:pPr lvl="0"/>
            <a:r>
              <a:rPr lang="en-US"/>
              <a:t>Click to add text or content</a:t>
            </a:r>
          </a:p>
          <a:p>
            <a:pPr lvl="1"/>
            <a:r>
              <a:rPr lang="en-US"/>
              <a:t>Second level</a:t>
            </a:r>
          </a:p>
          <a:p>
            <a:pPr lvl="2"/>
            <a:r>
              <a:rPr lang="en-US"/>
              <a:t>Third level</a:t>
            </a:r>
          </a:p>
          <a:p>
            <a:pPr lvl="3"/>
            <a:r>
              <a:rPr lang="en-US"/>
              <a:t>Fourth level</a:t>
            </a:r>
          </a:p>
          <a:p>
            <a:pPr lvl="4"/>
            <a:r>
              <a:rPr lang="en-US"/>
              <a:t>Fifth level</a:t>
            </a:r>
          </a:p>
        </p:txBody>
      </p:sp>
      <p:sp>
        <p:nvSpPr>
          <p:cNvPr id="9" name="Content Placeholder 2"/>
          <p:cNvSpPr>
            <a:spLocks noGrp="1"/>
          </p:cNvSpPr>
          <p:nvPr>
            <p:ph idx="17" hasCustomPrompt="1"/>
          </p:nvPr>
        </p:nvSpPr>
        <p:spPr>
          <a:xfrm>
            <a:off x="3174234" y="1629618"/>
            <a:ext cx="2682000" cy="4139357"/>
          </a:xfrm>
        </p:spPr>
        <p:txBody>
          <a:bodyPr/>
          <a:lstStyle>
            <a:lvl1pPr>
              <a:defRPr/>
            </a:lvl1pPr>
          </a:lstStyle>
          <a:p>
            <a:pPr lvl="0"/>
            <a:r>
              <a:rPr lang="en-US"/>
              <a:t>Click to add text or content</a:t>
            </a:r>
          </a:p>
          <a:p>
            <a:pPr lvl="1"/>
            <a:r>
              <a:rPr lang="en-US"/>
              <a:t>Second level</a:t>
            </a:r>
          </a:p>
          <a:p>
            <a:pPr lvl="2"/>
            <a:r>
              <a:rPr lang="en-US"/>
              <a:t>Third level</a:t>
            </a:r>
          </a:p>
          <a:p>
            <a:pPr lvl="3"/>
            <a:r>
              <a:rPr lang="en-US"/>
              <a:t>Fourth level</a:t>
            </a:r>
          </a:p>
          <a:p>
            <a:pPr lvl="4"/>
            <a:r>
              <a:rPr lang="en-US"/>
              <a:t>Fifth level</a:t>
            </a:r>
          </a:p>
        </p:txBody>
      </p:sp>
      <p:sp>
        <p:nvSpPr>
          <p:cNvPr id="10" name="Content Placeholder 2"/>
          <p:cNvSpPr>
            <a:spLocks noGrp="1"/>
          </p:cNvSpPr>
          <p:nvPr>
            <p:ph idx="18" hasCustomPrompt="1"/>
          </p:nvPr>
        </p:nvSpPr>
        <p:spPr>
          <a:xfrm>
            <a:off x="6156380" y="1629618"/>
            <a:ext cx="2682000" cy="4139357"/>
          </a:xfrm>
        </p:spPr>
        <p:txBody>
          <a:bodyPr/>
          <a:lstStyle>
            <a:lvl1pPr>
              <a:defRPr/>
            </a:lvl1pPr>
          </a:lstStyle>
          <a:p>
            <a:pPr lvl="0"/>
            <a:r>
              <a:rPr lang="en-US"/>
              <a:t>Click to add text or content</a:t>
            </a:r>
          </a:p>
          <a:p>
            <a:pPr lvl="1"/>
            <a:r>
              <a:rPr lang="en-US"/>
              <a:t>Second level</a:t>
            </a:r>
          </a:p>
          <a:p>
            <a:pPr lvl="2"/>
            <a:r>
              <a:rPr lang="en-US"/>
              <a:t>Third level</a:t>
            </a:r>
          </a:p>
          <a:p>
            <a:pPr lvl="3"/>
            <a:r>
              <a:rPr lang="en-US"/>
              <a:t>Fourth level</a:t>
            </a:r>
          </a:p>
          <a:p>
            <a:pPr lvl="4"/>
            <a:r>
              <a:rPr lang="en-US"/>
              <a:t>Fifth level</a:t>
            </a:r>
          </a:p>
        </p:txBody>
      </p:sp>
      <p:sp>
        <p:nvSpPr>
          <p:cNvPr id="13" name="Content Placeholder 2"/>
          <p:cNvSpPr>
            <a:spLocks noGrp="1"/>
          </p:cNvSpPr>
          <p:nvPr>
            <p:ph idx="19" hasCustomPrompt="1"/>
          </p:nvPr>
        </p:nvSpPr>
        <p:spPr>
          <a:xfrm>
            <a:off x="9138525" y="1629618"/>
            <a:ext cx="2682000" cy="4139357"/>
          </a:xfrm>
        </p:spPr>
        <p:txBody>
          <a:bodyPr/>
          <a:lstStyle>
            <a:lvl1pPr>
              <a:defRPr/>
            </a:lvl1pPr>
          </a:lstStyle>
          <a:p>
            <a:pPr lvl="0"/>
            <a:r>
              <a:rPr lang="en-US"/>
              <a:t>Click to add text or content</a:t>
            </a:r>
          </a:p>
          <a:p>
            <a:pPr lvl="1"/>
            <a:r>
              <a:rPr lang="en-US"/>
              <a:t>Second level</a:t>
            </a:r>
          </a:p>
          <a:p>
            <a:pPr lvl="2"/>
            <a:r>
              <a:rPr lang="en-US"/>
              <a:t>Third level</a:t>
            </a:r>
          </a:p>
          <a:p>
            <a:pPr lvl="3"/>
            <a:r>
              <a:rPr lang="en-US"/>
              <a:t>Fourth level</a:t>
            </a:r>
          </a:p>
          <a:p>
            <a:pPr lvl="4"/>
            <a:r>
              <a:rPr lang="en-US"/>
              <a:t>Fifth level</a:t>
            </a:r>
          </a:p>
        </p:txBody>
      </p:sp>
      <p:sp>
        <p:nvSpPr>
          <p:cNvPr id="12" name="Text Placeholder 4"/>
          <p:cNvSpPr>
            <a:spLocks noGrp="1"/>
          </p:cNvSpPr>
          <p:nvPr>
            <p:ph type="body" sz="quarter" idx="20" hasCustomPrompt="1"/>
          </p:nvPr>
        </p:nvSpPr>
        <p:spPr>
          <a:xfrm>
            <a:off x="1075063" y="6307665"/>
            <a:ext cx="8162717" cy="133200"/>
          </a:xfrm>
        </p:spPr>
        <p:txBody>
          <a:bodyPr lIns="0" tIns="0" rIns="0" bIns="0" anchor="b" anchorCtr="0"/>
          <a:lstStyle>
            <a:lvl1pPr marL="0" indent="0" algn="l">
              <a:lnSpc>
                <a:spcPct val="100000"/>
              </a:lnSpc>
              <a:spcBef>
                <a:spcPts val="0"/>
              </a:spcBef>
              <a:buNone/>
              <a:defRPr sz="800" baseline="0"/>
            </a:lvl1pPr>
            <a:lvl2pPr marL="0" indent="0" algn="l">
              <a:lnSpc>
                <a:spcPct val="100000"/>
              </a:lnSpc>
              <a:spcBef>
                <a:spcPts val="0"/>
              </a:spcBef>
              <a:buNone/>
              <a:defRPr sz="800"/>
            </a:lvl2pPr>
            <a:lvl3pPr marL="0" indent="0" algn="l">
              <a:lnSpc>
                <a:spcPct val="100000"/>
              </a:lnSpc>
              <a:spcBef>
                <a:spcPts val="0"/>
              </a:spcBef>
              <a:buNone/>
              <a:defRPr sz="800"/>
            </a:lvl3pPr>
            <a:lvl4pPr marL="0" algn="l">
              <a:lnSpc>
                <a:spcPct val="100000"/>
              </a:lnSpc>
              <a:spcBef>
                <a:spcPts val="0"/>
              </a:spcBef>
              <a:buNone/>
              <a:defRPr sz="800"/>
            </a:lvl4pPr>
            <a:lvl5pPr marL="0" indent="0" algn="l">
              <a:lnSpc>
                <a:spcPct val="100000"/>
              </a:lnSpc>
              <a:spcBef>
                <a:spcPts val="0"/>
              </a:spcBef>
              <a:buNone/>
              <a:defRPr sz="800"/>
            </a:lvl5pPr>
          </a:lstStyle>
          <a:p>
            <a:pPr lvl="0"/>
            <a:r>
              <a:rPr lang="en-US"/>
              <a:t>Source line</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62784141"/>
      </p:ext>
    </p:extLst>
  </p:cSld>
  <p:clrMapOvr>
    <a:masterClrMapping/>
  </p:clrMapOvr>
</p:sldLayout>
</file>

<file path=ppt/slideLayouts/slideLayout373.xml><?xml version="1.0" encoding="utf-8"?>
<p:sldLayout xmlns:a="http://schemas.openxmlformats.org/drawingml/2006/main" xmlns:r="http://schemas.openxmlformats.org/officeDocument/2006/relationships" xmlns:p="http://schemas.openxmlformats.org/presentationml/2006/main" preserve="1">
  <p:cSld name="Four contents 2">
    <p:spTree>
      <p:nvGrpSpPr>
        <p:cNvPr id="1" name=""/>
        <p:cNvGrpSpPr/>
        <p:nvPr/>
      </p:nvGrpSpPr>
      <p:grpSpPr>
        <a:xfrm>
          <a:off x="0" y="0"/>
          <a:ext cx="0" cy="0"/>
          <a:chOff x="0" y="0"/>
          <a:chExt cx="0" cy="0"/>
        </a:xfrm>
      </p:grpSpPr>
      <p:sp>
        <p:nvSpPr>
          <p:cNvPr id="21" name="Date Placeholder 20"/>
          <p:cNvSpPr>
            <a:spLocks noGrp="1"/>
          </p:cNvSpPr>
          <p:nvPr>
            <p:ph type="dt" sz="half" idx="14"/>
          </p:nvPr>
        </p:nvSpPr>
        <p:spPr/>
        <p:txBody>
          <a:bodyPr/>
          <a:lstStyle/>
          <a:p>
            <a:endParaRPr lang="en-US"/>
          </a:p>
        </p:txBody>
      </p:sp>
      <p:sp>
        <p:nvSpPr>
          <p:cNvPr id="22" name="Footer Placeholder 21"/>
          <p:cNvSpPr>
            <a:spLocks noGrp="1"/>
          </p:cNvSpPr>
          <p:nvPr>
            <p:ph type="ftr" sz="quarter" idx="15"/>
          </p:nvPr>
        </p:nvSpPr>
        <p:spPr/>
        <p:txBody>
          <a:bodyPr/>
          <a:lstStyle/>
          <a:p>
            <a:endParaRPr lang="en-US"/>
          </a:p>
        </p:txBody>
      </p:sp>
      <p:sp>
        <p:nvSpPr>
          <p:cNvPr id="23" name="Slide Number Placeholder 22"/>
          <p:cNvSpPr>
            <a:spLocks noGrp="1"/>
          </p:cNvSpPr>
          <p:nvPr>
            <p:ph type="sldNum" sz="quarter" idx="16"/>
          </p:nvPr>
        </p:nvSpPr>
        <p:spPr/>
        <p:txBody>
          <a:bodyPr/>
          <a:lstStyle/>
          <a:p>
            <a:fld id="{5F3E29E4-0979-4FCA-B4C5-5FC6044C982A}" type="slidenum">
              <a:rPr lang="en-US" smtClean="0"/>
              <a:t>‹#›</a:t>
            </a:fld>
            <a:endParaRPr lang="en-US"/>
          </a:p>
        </p:txBody>
      </p:sp>
      <p:sp>
        <p:nvSpPr>
          <p:cNvPr id="2" name="Title 1"/>
          <p:cNvSpPr>
            <a:spLocks noGrp="1"/>
          </p:cNvSpPr>
          <p:nvPr>
            <p:ph type="title" hasCustomPrompt="1"/>
          </p:nvPr>
        </p:nvSpPr>
        <p:spPr/>
        <p:txBody>
          <a:bodyPr/>
          <a:lstStyle>
            <a:lvl1pPr>
              <a:defRPr/>
            </a:lvl1pPr>
          </a:lstStyle>
          <a:p>
            <a:r>
              <a:rPr lang="en-US"/>
              <a:t>Click to add slide title</a:t>
            </a:r>
          </a:p>
        </p:txBody>
      </p:sp>
      <p:sp>
        <p:nvSpPr>
          <p:cNvPr id="7" name="Subtitle 2"/>
          <p:cNvSpPr>
            <a:spLocks noGrp="1"/>
          </p:cNvSpPr>
          <p:nvPr>
            <p:ph type="subTitle" idx="13" hasCustomPrompt="1"/>
          </p:nvPr>
        </p:nvSpPr>
        <p:spPr>
          <a:xfrm>
            <a:off x="1075061" y="964671"/>
            <a:ext cx="7910158" cy="490042"/>
          </a:xfrm>
        </p:spPr>
        <p:txBody>
          <a:bodyPr wrap="none"/>
          <a:lstStyle>
            <a:lvl1pPr marL="0" indent="0" algn="l">
              <a:spcBef>
                <a:spcPts val="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sp>
        <p:nvSpPr>
          <p:cNvPr id="3" name="Content Placeholder 2"/>
          <p:cNvSpPr>
            <a:spLocks noGrp="1"/>
          </p:cNvSpPr>
          <p:nvPr>
            <p:ph idx="1" hasCustomPrompt="1"/>
          </p:nvPr>
        </p:nvSpPr>
        <p:spPr>
          <a:xfrm>
            <a:off x="192088" y="1629617"/>
            <a:ext cx="6102974" cy="2160000"/>
          </a:xfrm>
        </p:spPr>
        <p:txBody>
          <a:bodyPr/>
          <a:lstStyle>
            <a:lvl1pPr>
              <a:defRPr/>
            </a:lvl1pPr>
          </a:lstStyle>
          <a:p>
            <a:pPr lvl="0"/>
            <a:r>
              <a:rPr lang="en-US"/>
              <a:t>Click to add text or content</a:t>
            </a:r>
          </a:p>
          <a:p>
            <a:pPr lvl="1"/>
            <a:r>
              <a:rPr lang="en-US"/>
              <a:t>Second level</a:t>
            </a:r>
          </a:p>
          <a:p>
            <a:pPr lvl="2"/>
            <a:r>
              <a:rPr lang="en-US"/>
              <a:t>Third level</a:t>
            </a:r>
          </a:p>
          <a:p>
            <a:pPr lvl="3"/>
            <a:r>
              <a:rPr lang="en-US"/>
              <a:t>Fourth level</a:t>
            </a:r>
          </a:p>
          <a:p>
            <a:pPr lvl="4"/>
            <a:r>
              <a:rPr lang="en-US"/>
              <a:t>Fifth level</a:t>
            </a:r>
          </a:p>
        </p:txBody>
      </p:sp>
      <p:sp>
        <p:nvSpPr>
          <p:cNvPr id="9" name="Content Placeholder 2"/>
          <p:cNvSpPr>
            <a:spLocks noGrp="1"/>
          </p:cNvSpPr>
          <p:nvPr>
            <p:ph idx="17" hasCustomPrompt="1"/>
          </p:nvPr>
        </p:nvSpPr>
        <p:spPr>
          <a:xfrm>
            <a:off x="6600525" y="1629617"/>
            <a:ext cx="5234144" cy="2160000"/>
          </a:xfrm>
        </p:spPr>
        <p:txBody>
          <a:bodyPr/>
          <a:lstStyle>
            <a:lvl1pPr>
              <a:defRPr/>
            </a:lvl1pPr>
          </a:lstStyle>
          <a:p>
            <a:pPr lvl="0"/>
            <a:r>
              <a:rPr lang="en-US"/>
              <a:t>Click to add text or content</a:t>
            </a:r>
          </a:p>
          <a:p>
            <a:pPr lvl="1"/>
            <a:r>
              <a:rPr lang="en-US"/>
              <a:t>Second level</a:t>
            </a:r>
          </a:p>
          <a:p>
            <a:pPr lvl="2"/>
            <a:r>
              <a:rPr lang="en-US"/>
              <a:t>Third level</a:t>
            </a:r>
          </a:p>
          <a:p>
            <a:pPr lvl="3"/>
            <a:r>
              <a:rPr lang="en-US"/>
              <a:t>Fourth level</a:t>
            </a:r>
          </a:p>
          <a:p>
            <a:pPr lvl="4"/>
            <a:r>
              <a:rPr lang="en-US"/>
              <a:t>Fifth level</a:t>
            </a:r>
          </a:p>
        </p:txBody>
      </p:sp>
      <p:sp>
        <p:nvSpPr>
          <p:cNvPr id="10" name="Content Placeholder 2"/>
          <p:cNvSpPr>
            <a:spLocks noGrp="1"/>
          </p:cNvSpPr>
          <p:nvPr>
            <p:ph idx="18" hasCustomPrompt="1"/>
          </p:nvPr>
        </p:nvSpPr>
        <p:spPr>
          <a:xfrm>
            <a:off x="192088" y="4077289"/>
            <a:ext cx="6102974" cy="2160000"/>
          </a:xfrm>
        </p:spPr>
        <p:txBody>
          <a:bodyPr/>
          <a:lstStyle>
            <a:lvl1pPr>
              <a:defRPr/>
            </a:lvl1pPr>
          </a:lstStyle>
          <a:p>
            <a:pPr lvl="0"/>
            <a:r>
              <a:rPr lang="en-US"/>
              <a:t>Click to add text or content</a:t>
            </a:r>
          </a:p>
          <a:p>
            <a:pPr lvl="1"/>
            <a:r>
              <a:rPr lang="en-US"/>
              <a:t>Second level</a:t>
            </a:r>
          </a:p>
          <a:p>
            <a:pPr lvl="2"/>
            <a:r>
              <a:rPr lang="en-US"/>
              <a:t>Third level</a:t>
            </a:r>
          </a:p>
          <a:p>
            <a:pPr lvl="3"/>
            <a:r>
              <a:rPr lang="en-US"/>
              <a:t>Fourth level</a:t>
            </a:r>
          </a:p>
          <a:p>
            <a:pPr lvl="4"/>
            <a:r>
              <a:rPr lang="en-US"/>
              <a:t>Fifth level</a:t>
            </a:r>
          </a:p>
        </p:txBody>
      </p:sp>
      <p:sp>
        <p:nvSpPr>
          <p:cNvPr id="13" name="Content Placeholder 2"/>
          <p:cNvSpPr>
            <a:spLocks noGrp="1"/>
          </p:cNvSpPr>
          <p:nvPr>
            <p:ph idx="19" hasCustomPrompt="1"/>
          </p:nvPr>
        </p:nvSpPr>
        <p:spPr>
          <a:xfrm>
            <a:off x="6600525" y="4077289"/>
            <a:ext cx="5234144" cy="2160000"/>
          </a:xfrm>
        </p:spPr>
        <p:txBody>
          <a:bodyPr/>
          <a:lstStyle>
            <a:lvl1pPr>
              <a:defRPr/>
            </a:lvl1pPr>
          </a:lstStyle>
          <a:p>
            <a:pPr lvl="0"/>
            <a:r>
              <a:rPr lang="en-US"/>
              <a:t>Click to add text or content</a:t>
            </a:r>
          </a:p>
          <a:p>
            <a:pPr lvl="1"/>
            <a:r>
              <a:rPr lang="en-US"/>
              <a:t>Second level</a:t>
            </a:r>
          </a:p>
          <a:p>
            <a:pPr lvl="2"/>
            <a:r>
              <a:rPr lang="en-US"/>
              <a:t>Third level</a:t>
            </a:r>
          </a:p>
          <a:p>
            <a:pPr lvl="3"/>
            <a:r>
              <a:rPr lang="en-US"/>
              <a:t>Fourth level</a:t>
            </a:r>
          </a:p>
          <a:p>
            <a:pPr lvl="4"/>
            <a:r>
              <a:rPr lang="en-US"/>
              <a:t>Fifth level</a:t>
            </a:r>
          </a:p>
        </p:txBody>
      </p:sp>
      <p:sp>
        <p:nvSpPr>
          <p:cNvPr id="12" name="Text Placeholder 4"/>
          <p:cNvSpPr>
            <a:spLocks noGrp="1"/>
          </p:cNvSpPr>
          <p:nvPr>
            <p:ph type="body" sz="quarter" idx="20" hasCustomPrompt="1"/>
          </p:nvPr>
        </p:nvSpPr>
        <p:spPr>
          <a:xfrm>
            <a:off x="1075063" y="6307665"/>
            <a:ext cx="8162717" cy="133200"/>
          </a:xfrm>
        </p:spPr>
        <p:txBody>
          <a:bodyPr lIns="0" tIns="0" rIns="0" bIns="0" anchor="b" anchorCtr="0"/>
          <a:lstStyle>
            <a:lvl1pPr marL="0" indent="0" algn="l">
              <a:lnSpc>
                <a:spcPct val="100000"/>
              </a:lnSpc>
              <a:spcBef>
                <a:spcPts val="0"/>
              </a:spcBef>
              <a:buNone/>
              <a:defRPr sz="800" baseline="0"/>
            </a:lvl1pPr>
            <a:lvl2pPr marL="0" indent="0" algn="l">
              <a:lnSpc>
                <a:spcPct val="100000"/>
              </a:lnSpc>
              <a:spcBef>
                <a:spcPts val="0"/>
              </a:spcBef>
              <a:buNone/>
              <a:defRPr sz="800"/>
            </a:lvl2pPr>
            <a:lvl3pPr marL="0" indent="0" algn="l">
              <a:lnSpc>
                <a:spcPct val="100000"/>
              </a:lnSpc>
              <a:spcBef>
                <a:spcPts val="0"/>
              </a:spcBef>
              <a:buNone/>
              <a:defRPr sz="800"/>
            </a:lvl3pPr>
            <a:lvl4pPr marL="0" algn="l">
              <a:lnSpc>
                <a:spcPct val="100000"/>
              </a:lnSpc>
              <a:spcBef>
                <a:spcPts val="0"/>
              </a:spcBef>
              <a:buNone/>
              <a:defRPr sz="800"/>
            </a:lvl4pPr>
            <a:lvl5pPr marL="0" indent="0" algn="l">
              <a:lnSpc>
                <a:spcPct val="100000"/>
              </a:lnSpc>
              <a:spcBef>
                <a:spcPts val="0"/>
              </a:spcBef>
              <a:buNone/>
              <a:defRPr sz="800"/>
            </a:lvl5pPr>
          </a:lstStyle>
          <a:p>
            <a:pPr lvl="0"/>
            <a:r>
              <a:rPr lang="en-US"/>
              <a:t>Source line</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49760146"/>
      </p:ext>
    </p:extLst>
  </p:cSld>
  <p:clrMapOvr>
    <a:masterClrMapping/>
  </p:clrMapOvr>
</p:sldLayout>
</file>

<file path=ppt/slideLayouts/slideLayout374.xml><?xml version="1.0" encoding="utf-8"?>
<p:sldLayout xmlns:a="http://schemas.openxmlformats.org/drawingml/2006/main" xmlns:r="http://schemas.openxmlformats.org/officeDocument/2006/relationships" xmlns:p="http://schemas.openxmlformats.org/presentationml/2006/main" preserve="1">
  <p:cSld name="Large charts and tables">
    <p:spTree>
      <p:nvGrpSpPr>
        <p:cNvPr id="1" name=""/>
        <p:cNvGrpSpPr/>
        <p:nvPr/>
      </p:nvGrpSpPr>
      <p:grpSpPr>
        <a:xfrm>
          <a:off x="0" y="0"/>
          <a:ext cx="0" cy="0"/>
          <a:chOff x="0" y="0"/>
          <a:chExt cx="0" cy="0"/>
        </a:xfrm>
      </p:grpSpPr>
      <p:sp>
        <p:nvSpPr>
          <p:cNvPr id="21" name="Date Placeholder 20"/>
          <p:cNvSpPr>
            <a:spLocks noGrp="1"/>
          </p:cNvSpPr>
          <p:nvPr>
            <p:ph type="dt" sz="half" idx="14"/>
          </p:nvPr>
        </p:nvSpPr>
        <p:spPr/>
        <p:txBody>
          <a:bodyPr/>
          <a:lstStyle/>
          <a:p>
            <a:endParaRPr lang="en-US"/>
          </a:p>
        </p:txBody>
      </p:sp>
      <p:sp>
        <p:nvSpPr>
          <p:cNvPr id="22" name="Footer Placeholder 21"/>
          <p:cNvSpPr>
            <a:spLocks noGrp="1"/>
          </p:cNvSpPr>
          <p:nvPr>
            <p:ph type="ftr" sz="quarter" idx="15"/>
          </p:nvPr>
        </p:nvSpPr>
        <p:spPr/>
        <p:txBody>
          <a:bodyPr/>
          <a:lstStyle/>
          <a:p>
            <a:endParaRPr lang="en-US"/>
          </a:p>
        </p:txBody>
      </p:sp>
      <p:sp>
        <p:nvSpPr>
          <p:cNvPr id="23" name="Slide Number Placeholder 22"/>
          <p:cNvSpPr>
            <a:spLocks noGrp="1"/>
          </p:cNvSpPr>
          <p:nvPr>
            <p:ph type="sldNum" sz="quarter" idx="16"/>
          </p:nvPr>
        </p:nvSpPr>
        <p:spPr/>
        <p:txBody>
          <a:bodyPr/>
          <a:lstStyle/>
          <a:p>
            <a:fld id="{5F3E29E4-0979-4FCA-B4C5-5FC6044C982A}" type="slidenum">
              <a:rPr lang="en-US" smtClean="0"/>
              <a:t>‹#›</a:t>
            </a:fld>
            <a:endParaRPr lang="en-US"/>
          </a:p>
        </p:txBody>
      </p:sp>
      <p:sp>
        <p:nvSpPr>
          <p:cNvPr id="2" name="Title 1"/>
          <p:cNvSpPr>
            <a:spLocks noGrp="1"/>
          </p:cNvSpPr>
          <p:nvPr>
            <p:ph type="title" hasCustomPrompt="1"/>
          </p:nvPr>
        </p:nvSpPr>
        <p:spPr/>
        <p:txBody>
          <a:bodyPr/>
          <a:lstStyle>
            <a:lvl1pPr>
              <a:defRPr/>
            </a:lvl1pPr>
          </a:lstStyle>
          <a:p>
            <a:r>
              <a:rPr lang="en-US"/>
              <a:t>Click to add slide title</a:t>
            </a:r>
          </a:p>
        </p:txBody>
      </p:sp>
      <p:sp>
        <p:nvSpPr>
          <p:cNvPr id="7" name="Subtitle 2"/>
          <p:cNvSpPr>
            <a:spLocks noGrp="1"/>
          </p:cNvSpPr>
          <p:nvPr>
            <p:ph type="subTitle" idx="13" hasCustomPrompt="1"/>
          </p:nvPr>
        </p:nvSpPr>
        <p:spPr>
          <a:xfrm>
            <a:off x="1075061" y="964671"/>
            <a:ext cx="7910158" cy="490042"/>
          </a:xfrm>
        </p:spPr>
        <p:txBody>
          <a:bodyPr wrap="none"/>
          <a:lstStyle>
            <a:lvl1pPr marL="0" indent="0" algn="l">
              <a:spcBef>
                <a:spcPts val="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sp>
        <p:nvSpPr>
          <p:cNvPr id="3" name="Content Placeholder 2"/>
          <p:cNvSpPr>
            <a:spLocks noGrp="1"/>
          </p:cNvSpPr>
          <p:nvPr>
            <p:ph idx="1" hasCustomPrompt="1"/>
          </p:nvPr>
        </p:nvSpPr>
        <p:spPr>
          <a:xfrm>
            <a:off x="192088" y="1629617"/>
            <a:ext cx="11642581" cy="4599506"/>
          </a:xfrm>
        </p:spPr>
        <p:txBody>
          <a:bodyPr anchor="t"/>
          <a:lstStyle>
            <a:lvl1pPr marL="0" indent="0" algn="ctr">
              <a:spcBef>
                <a:spcPts val="1000"/>
              </a:spcBef>
              <a:buNone/>
              <a:defRPr sz="2800" baseline="0"/>
            </a:lvl1pPr>
            <a:lvl2pPr marL="0" indent="0">
              <a:spcBef>
                <a:spcPts val="1000"/>
              </a:spcBef>
              <a:buNone/>
              <a:defRPr sz="2800"/>
            </a:lvl2pPr>
            <a:lvl3pPr marL="0" indent="0">
              <a:spcBef>
                <a:spcPts val="1000"/>
              </a:spcBef>
              <a:buNone/>
              <a:defRPr sz="2800"/>
            </a:lvl3pPr>
            <a:lvl4pPr>
              <a:spcBef>
                <a:spcPts val="1000"/>
              </a:spcBef>
              <a:buNone/>
              <a:defRPr sz="2800"/>
            </a:lvl4pPr>
            <a:lvl5pPr marL="0" indent="0">
              <a:spcBef>
                <a:spcPts val="1000"/>
              </a:spcBef>
              <a:buNone/>
              <a:defRPr sz="2800"/>
            </a:lvl5pPr>
          </a:lstStyle>
          <a:p>
            <a:pPr lvl="0"/>
            <a:r>
              <a:rPr lang="en-US"/>
              <a:t>Use this layout for large charts and tables only. Please, do not use with text.</a:t>
            </a:r>
          </a:p>
          <a:p>
            <a:pPr lvl="1"/>
            <a:r>
              <a:rPr lang="en-US"/>
              <a:t>Second level</a:t>
            </a:r>
          </a:p>
          <a:p>
            <a:pPr lvl="2"/>
            <a:r>
              <a:rPr lang="en-US"/>
              <a:t>Third level</a:t>
            </a:r>
          </a:p>
          <a:p>
            <a:pPr lvl="3"/>
            <a:r>
              <a:rPr lang="en-US"/>
              <a:t>Fourth level</a:t>
            </a:r>
          </a:p>
          <a:p>
            <a:pPr lvl="4"/>
            <a:r>
              <a:rPr lang="en-US"/>
              <a:t>Fifth level</a:t>
            </a:r>
          </a:p>
        </p:txBody>
      </p:sp>
      <p:sp>
        <p:nvSpPr>
          <p:cNvPr id="9" name="Text Placeholder 4"/>
          <p:cNvSpPr>
            <a:spLocks noGrp="1"/>
          </p:cNvSpPr>
          <p:nvPr>
            <p:ph type="body" sz="quarter" idx="17" hasCustomPrompt="1"/>
          </p:nvPr>
        </p:nvSpPr>
        <p:spPr>
          <a:xfrm>
            <a:off x="1075063" y="6307665"/>
            <a:ext cx="8162717" cy="133200"/>
          </a:xfrm>
        </p:spPr>
        <p:txBody>
          <a:bodyPr lIns="0" tIns="0" rIns="0" bIns="0" anchor="b" anchorCtr="0"/>
          <a:lstStyle>
            <a:lvl1pPr marL="0" indent="0" algn="l">
              <a:lnSpc>
                <a:spcPct val="100000"/>
              </a:lnSpc>
              <a:spcBef>
                <a:spcPts val="0"/>
              </a:spcBef>
              <a:buNone/>
              <a:defRPr sz="800" baseline="0"/>
            </a:lvl1pPr>
            <a:lvl2pPr marL="0" indent="0" algn="l">
              <a:lnSpc>
                <a:spcPct val="100000"/>
              </a:lnSpc>
              <a:spcBef>
                <a:spcPts val="0"/>
              </a:spcBef>
              <a:buNone/>
              <a:defRPr sz="800"/>
            </a:lvl2pPr>
            <a:lvl3pPr marL="0" indent="0" algn="l">
              <a:lnSpc>
                <a:spcPct val="100000"/>
              </a:lnSpc>
              <a:spcBef>
                <a:spcPts val="0"/>
              </a:spcBef>
              <a:buNone/>
              <a:defRPr sz="800"/>
            </a:lvl3pPr>
            <a:lvl4pPr marL="0" algn="l">
              <a:lnSpc>
                <a:spcPct val="100000"/>
              </a:lnSpc>
              <a:spcBef>
                <a:spcPts val="0"/>
              </a:spcBef>
              <a:buNone/>
              <a:defRPr sz="800"/>
            </a:lvl4pPr>
            <a:lvl5pPr marL="0" indent="0" algn="l">
              <a:lnSpc>
                <a:spcPct val="100000"/>
              </a:lnSpc>
              <a:spcBef>
                <a:spcPts val="0"/>
              </a:spcBef>
              <a:buNone/>
              <a:defRPr sz="800"/>
            </a:lvl5pPr>
          </a:lstStyle>
          <a:p>
            <a:pPr lvl="0"/>
            <a:r>
              <a:rPr lang="en-US"/>
              <a:t>Source line</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71047963"/>
      </p:ext>
    </p:extLst>
  </p:cSld>
  <p:clrMapOvr>
    <a:masterClrMapping/>
  </p:clrMapOvr>
</p:sldLayout>
</file>

<file path=ppt/slideLayouts/slideLayout375.xml><?xml version="1.0" encoding="utf-8"?>
<p:sldLayout xmlns:a="http://schemas.openxmlformats.org/drawingml/2006/main" xmlns:r="http://schemas.openxmlformats.org/officeDocument/2006/relationships" xmlns:p="http://schemas.openxmlformats.org/presentationml/2006/main" preserve="1">
  <p:cSld name="Chart with description">
    <p:spTree>
      <p:nvGrpSpPr>
        <p:cNvPr id="1" name=""/>
        <p:cNvGrpSpPr/>
        <p:nvPr/>
      </p:nvGrpSpPr>
      <p:grpSpPr>
        <a:xfrm>
          <a:off x="0" y="0"/>
          <a:ext cx="0" cy="0"/>
          <a:chOff x="0" y="0"/>
          <a:chExt cx="0" cy="0"/>
        </a:xfrm>
      </p:grpSpPr>
      <p:sp>
        <p:nvSpPr>
          <p:cNvPr id="21" name="Date Placeholder 20"/>
          <p:cNvSpPr>
            <a:spLocks noGrp="1"/>
          </p:cNvSpPr>
          <p:nvPr>
            <p:ph type="dt" sz="half" idx="14"/>
          </p:nvPr>
        </p:nvSpPr>
        <p:spPr/>
        <p:txBody>
          <a:bodyPr/>
          <a:lstStyle/>
          <a:p>
            <a:endParaRPr lang="en-US"/>
          </a:p>
        </p:txBody>
      </p:sp>
      <p:sp>
        <p:nvSpPr>
          <p:cNvPr id="22" name="Footer Placeholder 21"/>
          <p:cNvSpPr>
            <a:spLocks noGrp="1"/>
          </p:cNvSpPr>
          <p:nvPr>
            <p:ph type="ftr" sz="quarter" idx="15"/>
          </p:nvPr>
        </p:nvSpPr>
        <p:spPr/>
        <p:txBody>
          <a:bodyPr/>
          <a:lstStyle/>
          <a:p>
            <a:endParaRPr lang="en-US"/>
          </a:p>
        </p:txBody>
      </p:sp>
      <p:sp>
        <p:nvSpPr>
          <p:cNvPr id="23" name="Slide Number Placeholder 22"/>
          <p:cNvSpPr>
            <a:spLocks noGrp="1"/>
          </p:cNvSpPr>
          <p:nvPr>
            <p:ph type="sldNum" sz="quarter" idx="16"/>
          </p:nvPr>
        </p:nvSpPr>
        <p:spPr/>
        <p:txBody>
          <a:bodyPr/>
          <a:lstStyle/>
          <a:p>
            <a:fld id="{5F3E29E4-0979-4FCA-B4C5-5FC6044C982A}" type="slidenum">
              <a:rPr lang="en-US" smtClean="0"/>
              <a:t>‹#›</a:t>
            </a:fld>
            <a:endParaRPr lang="en-US"/>
          </a:p>
        </p:txBody>
      </p:sp>
      <p:sp>
        <p:nvSpPr>
          <p:cNvPr id="2" name="Title 1"/>
          <p:cNvSpPr>
            <a:spLocks noGrp="1"/>
          </p:cNvSpPr>
          <p:nvPr>
            <p:ph type="title" hasCustomPrompt="1"/>
          </p:nvPr>
        </p:nvSpPr>
        <p:spPr/>
        <p:txBody>
          <a:bodyPr/>
          <a:lstStyle>
            <a:lvl1pPr>
              <a:defRPr/>
            </a:lvl1pPr>
          </a:lstStyle>
          <a:p>
            <a:r>
              <a:rPr lang="en-US"/>
              <a:t>Click to add slide title</a:t>
            </a:r>
          </a:p>
        </p:txBody>
      </p:sp>
      <p:sp>
        <p:nvSpPr>
          <p:cNvPr id="7" name="Subtitle 2"/>
          <p:cNvSpPr>
            <a:spLocks noGrp="1"/>
          </p:cNvSpPr>
          <p:nvPr>
            <p:ph type="subTitle" idx="13" hasCustomPrompt="1"/>
          </p:nvPr>
        </p:nvSpPr>
        <p:spPr>
          <a:xfrm>
            <a:off x="1075061" y="964671"/>
            <a:ext cx="7910158" cy="490042"/>
          </a:xfrm>
        </p:spPr>
        <p:txBody>
          <a:bodyPr wrap="none"/>
          <a:lstStyle>
            <a:lvl1pPr marL="0" indent="0" algn="l">
              <a:spcBef>
                <a:spcPts val="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sp>
        <p:nvSpPr>
          <p:cNvPr id="4" name="Chart Placeholder 3"/>
          <p:cNvSpPr>
            <a:spLocks noGrp="1"/>
          </p:cNvSpPr>
          <p:nvPr>
            <p:ph type="chart" sz="quarter" idx="17" hasCustomPrompt="1"/>
          </p:nvPr>
        </p:nvSpPr>
        <p:spPr>
          <a:xfrm>
            <a:off x="192088" y="1629617"/>
            <a:ext cx="5903913" cy="4599506"/>
          </a:xfrm>
        </p:spPr>
        <p:txBody>
          <a:bodyPr/>
          <a:lstStyle>
            <a:lvl1pPr>
              <a:defRPr/>
            </a:lvl1pPr>
          </a:lstStyle>
          <a:p>
            <a:r>
              <a:rPr lang="en-US"/>
              <a:t>Click to add chart</a:t>
            </a:r>
          </a:p>
        </p:txBody>
      </p:sp>
      <p:sp>
        <p:nvSpPr>
          <p:cNvPr id="6" name="Text Placeholder 5"/>
          <p:cNvSpPr>
            <a:spLocks noGrp="1"/>
          </p:cNvSpPr>
          <p:nvPr>
            <p:ph type="body" sz="quarter" idx="18" hasCustomPrompt="1"/>
          </p:nvPr>
        </p:nvSpPr>
        <p:spPr>
          <a:xfrm>
            <a:off x="6206067" y="3393019"/>
            <a:ext cx="5628602" cy="2023841"/>
          </a:xfrm>
          <a:solidFill>
            <a:srgbClr val="D9DADB"/>
          </a:solidFill>
        </p:spPr>
        <p:txBody>
          <a:bodyPr lIns="108000" tIns="108000" rIns="108000" bIns="108000"/>
          <a:lstStyle>
            <a:lvl1pPr>
              <a:defRPr sz="1600"/>
            </a:lvl1pPr>
            <a:lvl2pPr>
              <a:defRPr sz="1600"/>
            </a:lvl2pPr>
            <a:lvl3pPr>
              <a:defRPr sz="1600"/>
            </a:lvl3pPr>
            <a:lvl4pPr>
              <a:defRPr sz="1600"/>
            </a:lvl4pPr>
            <a:lvl5pPr>
              <a:defRPr sz="1600"/>
            </a:lvl5pPr>
          </a:lstStyle>
          <a:p>
            <a:pPr lvl="0"/>
            <a:r>
              <a:rPr lang="en-US"/>
              <a:t>Click to add text</a:t>
            </a:r>
          </a:p>
          <a:p>
            <a:pPr lvl="1"/>
            <a:r>
              <a:rPr lang="en-US"/>
              <a:t>Second level</a:t>
            </a:r>
          </a:p>
          <a:p>
            <a:pPr lvl="2"/>
            <a:r>
              <a:rPr lang="en-US"/>
              <a:t>Third level</a:t>
            </a:r>
          </a:p>
          <a:p>
            <a:pPr lvl="3"/>
            <a:r>
              <a:rPr lang="en-US"/>
              <a:t>Fourth level</a:t>
            </a:r>
          </a:p>
          <a:p>
            <a:pPr lvl="4"/>
            <a:r>
              <a:rPr lang="en-US"/>
              <a:t>Fifth level</a:t>
            </a:r>
          </a:p>
        </p:txBody>
      </p:sp>
      <p:sp>
        <p:nvSpPr>
          <p:cNvPr id="10" name="Text Placeholder 4"/>
          <p:cNvSpPr>
            <a:spLocks noGrp="1"/>
          </p:cNvSpPr>
          <p:nvPr>
            <p:ph type="body" sz="quarter" idx="19" hasCustomPrompt="1"/>
          </p:nvPr>
        </p:nvSpPr>
        <p:spPr>
          <a:xfrm>
            <a:off x="1075063" y="6307665"/>
            <a:ext cx="8162717" cy="133200"/>
          </a:xfrm>
        </p:spPr>
        <p:txBody>
          <a:bodyPr lIns="0" tIns="0" rIns="0" bIns="0" anchor="b" anchorCtr="0"/>
          <a:lstStyle>
            <a:lvl1pPr marL="0" indent="0" algn="l">
              <a:lnSpc>
                <a:spcPct val="100000"/>
              </a:lnSpc>
              <a:spcBef>
                <a:spcPts val="0"/>
              </a:spcBef>
              <a:buNone/>
              <a:defRPr sz="800" baseline="0"/>
            </a:lvl1pPr>
            <a:lvl2pPr marL="0" indent="0" algn="l">
              <a:lnSpc>
                <a:spcPct val="100000"/>
              </a:lnSpc>
              <a:spcBef>
                <a:spcPts val="0"/>
              </a:spcBef>
              <a:buNone/>
              <a:defRPr sz="800"/>
            </a:lvl2pPr>
            <a:lvl3pPr marL="0" indent="0" algn="l">
              <a:lnSpc>
                <a:spcPct val="100000"/>
              </a:lnSpc>
              <a:spcBef>
                <a:spcPts val="0"/>
              </a:spcBef>
              <a:buNone/>
              <a:defRPr sz="800"/>
            </a:lvl3pPr>
            <a:lvl4pPr marL="0" algn="l">
              <a:lnSpc>
                <a:spcPct val="100000"/>
              </a:lnSpc>
              <a:spcBef>
                <a:spcPts val="0"/>
              </a:spcBef>
              <a:buNone/>
              <a:defRPr sz="800"/>
            </a:lvl4pPr>
            <a:lvl5pPr marL="0" indent="0" algn="l">
              <a:lnSpc>
                <a:spcPct val="100000"/>
              </a:lnSpc>
              <a:spcBef>
                <a:spcPts val="0"/>
              </a:spcBef>
              <a:buNone/>
              <a:defRPr sz="800"/>
            </a:lvl5pPr>
          </a:lstStyle>
          <a:p>
            <a:pPr lvl="0"/>
            <a:r>
              <a:rPr lang="en-US"/>
              <a:t>Source line</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88641824"/>
      </p:ext>
    </p:extLst>
  </p:cSld>
  <p:clrMapOvr>
    <a:masterClrMapping/>
  </p:clrMapOvr>
</p:sldLayout>
</file>

<file path=ppt/slideLayouts/slideLayout376.xml><?xml version="1.0" encoding="utf-8"?>
<p:sldLayout xmlns:a="http://schemas.openxmlformats.org/drawingml/2006/main" xmlns:r="http://schemas.openxmlformats.org/officeDocument/2006/relationships" xmlns:p="http://schemas.openxmlformats.org/presentationml/2006/main" preserve="1">
  <p:cSld name="Notebook">
    <p:spTree>
      <p:nvGrpSpPr>
        <p:cNvPr id="1" name=""/>
        <p:cNvGrpSpPr/>
        <p:nvPr/>
      </p:nvGrpSpPr>
      <p:grpSpPr>
        <a:xfrm>
          <a:off x="0" y="0"/>
          <a:ext cx="0" cy="0"/>
          <a:chOff x="0" y="0"/>
          <a:chExt cx="0" cy="0"/>
        </a:xfrm>
      </p:grpSpPr>
      <p:pic>
        <p:nvPicPr>
          <p:cNvPr id="13" name="Notebook">
            <a:extLst>
              <a:ext uri="{FF2B5EF4-FFF2-40B4-BE49-F238E27FC236}">
                <a16:creationId xmlns:a16="http://schemas.microsoft.com/office/drawing/2014/main" id="{6DEE1461-64EC-7246-8FA6-71C6BF497627}"/>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3651351" y="1267197"/>
            <a:ext cx="8528460" cy="5161713"/>
          </a:xfrm>
          <a:prstGeom prst="rect">
            <a:avLst/>
          </a:prstGeom>
        </p:spPr>
      </p:pic>
      <p:sp>
        <p:nvSpPr>
          <p:cNvPr id="21" name="Date Placeholder 20"/>
          <p:cNvSpPr>
            <a:spLocks noGrp="1"/>
          </p:cNvSpPr>
          <p:nvPr>
            <p:ph type="dt" sz="half" idx="14"/>
          </p:nvPr>
        </p:nvSpPr>
        <p:spPr/>
        <p:txBody>
          <a:bodyPr/>
          <a:lstStyle/>
          <a:p>
            <a:endParaRPr lang="en-US"/>
          </a:p>
        </p:txBody>
      </p:sp>
      <p:sp>
        <p:nvSpPr>
          <p:cNvPr id="22" name="Footer Placeholder 21"/>
          <p:cNvSpPr>
            <a:spLocks noGrp="1"/>
          </p:cNvSpPr>
          <p:nvPr>
            <p:ph type="ftr" sz="quarter" idx="15"/>
          </p:nvPr>
        </p:nvSpPr>
        <p:spPr/>
        <p:txBody>
          <a:bodyPr/>
          <a:lstStyle/>
          <a:p>
            <a:endParaRPr lang="en-US"/>
          </a:p>
        </p:txBody>
      </p:sp>
      <p:sp>
        <p:nvSpPr>
          <p:cNvPr id="23" name="Slide Number Placeholder 22"/>
          <p:cNvSpPr>
            <a:spLocks noGrp="1"/>
          </p:cNvSpPr>
          <p:nvPr>
            <p:ph type="sldNum" sz="quarter" idx="16"/>
          </p:nvPr>
        </p:nvSpPr>
        <p:spPr/>
        <p:txBody>
          <a:bodyPr/>
          <a:lstStyle/>
          <a:p>
            <a:fld id="{5F3E29E4-0979-4FCA-B4C5-5FC6044C982A}" type="slidenum">
              <a:rPr lang="en-US" smtClean="0"/>
              <a:t>‹#›</a:t>
            </a:fld>
            <a:endParaRPr lang="en-US"/>
          </a:p>
        </p:txBody>
      </p:sp>
      <p:sp>
        <p:nvSpPr>
          <p:cNvPr id="2" name="Title 1"/>
          <p:cNvSpPr>
            <a:spLocks noGrp="1"/>
          </p:cNvSpPr>
          <p:nvPr>
            <p:ph type="title" hasCustomPrompt="1"/>
          </p:nvPr>
        </p:nvSpPr>
        <p:spPr/>
        <p:txBody>
          <a:bodyPr/>
          <a:lstStyle>
            <a:lvl1pPr>
              <a:defRPr/>
            </a:lvl1pPr>
          </a:lstStyle>
          <a:p>
            <a:r>
              <a:rPr lang="en-US"/>
              <a:t>Click to add slide title</a:t>
            </a:r>
          </a:p>
        </p:txBody>
      </p:sp>
      <p:sp>
        <p:nvSpPr>
          <p:cNvPr id="7" name="Subtitle 2"/>
          <p:cNvSpPr>
            <a:spLocks noGrp="1"/>
          </p:cNvSpPr>
          <p:nvPr>
            <p:ph type="subTitle" idx="13" hasCustomPrompt="1"/>
          </p:nvPr>
        </p:nvSpPr>
        <p:spPr>
          <a:xfrm>
            <a:off x="1075061" y="964671"/>
            <a:ext cx="7910158" cy="490042"/>
          </a:xfrm>
        </p:spPr>
        <p:txBody>
          <a:bodyPr wrap="none"/>
          <a:lstStyle>
            <a:lvl1pPr marL="0" indent="0" algn="l">
              <a:spcBef>
                <a:spcPts val="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sp>
        <p:nvSpPr>
          <p:cNvPr id="3" name="Content Placeholder 2"/>
          <p:cNvSpPr>
            <a:spLocks noGrp="1"/>
          </p:cNvSpPr>
          <p:nvPr>
            <p:ph idx="1" hasCustomPrompt="1"/>
          </p:nvPr>
        </p:nvSpPr>
        <p:spPr>
          <a:xfrm>
            <a:off x="1075062" y="1852623"/>
            <a:ext cx="3287388" cy="3658714"/>
          </a:xfrm>
        </p:spPr>
        <p:txBody>
          <a:bodyPr anchor="ctr"/>
          <a:lstStyle>
            <a:lvl1pPr>
              <a:defRPr sz="1600"/>
            </a:lvl1pPr>
            <a:lvl2pPr>
              <a:defRPr sz="1600"/>
            </a:lvl2pPr>
            <a:lvl3pPr>
              <a:defRPr sz="1600"/>
            </a:lvl3pPr>
            <a:lvl4pPr>
              <a:defRPr sz="1600"/>
            </a:lvl4pPr>
            <a:lvl5pPr>
              <a:defRPr sz="1600"/>
            </a:lvl5pPr>
          </a:lstStyle>
          <a:p>
            <a:pPr lvl="0"/>
            <a:r>
              <a:rPr lang="en-US"/>
              <a:t>Click to add text</a:t>
            </a:r>
          </a:p>
          <a:p>
            <a:pPr lvl="1"/>
            <a:r>
              <a:rPr lang="en-US"/>
              <a:t>Second level</a:t>
            </a:r>
          </a:p>
          <a:p>
            <a:pPr lvl="2"/>
            <a:r>
              <a:rPr lang="en-US"/>
              <a:t>Third level</a:t>
            </a:r>
          </a:p>
          <a:p>
            <a:pPr lvl="3"/>
            <a:r>
              <a:rPr lang="en-US"/>
              <a:t>Fourth level</a:t>
            </a:r>
          </a:p>
          <a:p>
            <a:pPr lvl="4"/>
            <a:r>
              <a:rPr lang="en-US"/>
              <a:t>Fifth level</a:t>
            </a:r>
          </a:p>
        </p:txBody>
      </p:sp>
      <p:sp>
        <p:nvSpPr>
          <p:cNvPr id="5" name="Picture Placeholder 4"/>
          <p:cNvSpPr>
            <a:spLocks noGrp="1"/>
          </p:cNvSpPr>
          <p:nvPr>
            <p:ph type="pic" sz="quarter" idx="17" hasCustomPrompt="1"/>
          </p:nvPr>
        </p:nvSpPr>
        <p:spPr>
          <a:xfrm>
            <a:off x="4904507" y="1821610"/>
            <a:ext cx="6001200" cy="3664800"/>
          </a:xfrm>
          <a:solidFill>
            <a:srgbClr val="D9DADB"/>
          </a:solidFill>
        </p:spPr>
        <p:txBody>
          <a:bodyPr/>
          <a:lstStyle>
            <a:lvl1pPr marL="0" indent="0">
              <a:buNone/>
              <a:defRPr/>
            </a:lvl1pPr>
          </a:lstStyle>
          <a:p>
            <a:r>
              <a:rPr lang="en-US"/>
              <a:t>Insert picture</a:t>
            </a:r>
          </a:p>
        </p:txBody>
      </p:sp>
      <p:sp>
        <p:nvSpPr>
          <p:cNvPr id="11" name="Text Placeholder 4"/>
          <p:cNvSpPr>
            <a:spLocks noGrp="1"/>
          </p:cNvSpPr>
          <p:nvPr>
            <p:ph type="body" sz="quarter" idx="18" hasCustomPrompt="1"/>
          </p:nvPr>
        </p:nvSpPr>
        <p:spPr>
          <a:xfrm>
            <a:off x="1075063" y="6307665"/>
            <a:ext cx="8162717" cy="133200"/>
          </a:xfrm>
        </p:spPr>
        <p:txBody>
          <a:bodyPr lIns="0" tIns="0" rIns="0" bIns="0" anchor="b" anchorCtr="0"/>
          <a:lstStyle>
            <a:lvl1pPr marL="0" indent="0" algn="l">
              <a:lnSpc>
                <a:spcPct val="100000"/>
              </a:lnSpc>
              <a:spcBef>
                <a:spcPts val="0"/>
              </a:spcBef>
              <a:buNone/>
              <a:defRPr sz="800" baseline="0"/>
            </a:lvl1pPr>
            <a:lvl2pPr marL="0" indent="0" algn="l">
              <a:lnSpc>
                <a:spcPct val="100000"/>
              </a:lnSpc>
              <a:spcBef>
                <a:spcPts val="0"/>
              </a:spcBef>
              <a:buNone/>
              <a:defRPr sz="800"/>
            </a:lvl2pPr>
            <a:lvl3pPr marL="0" indent="0" algn="l">
              <a:lnSpc>
                <a:spcPct val="100000"/>
              </a:lnSpc>
              <a:spcBef>
                <a:spcPts val="0"/>
              </a:spcBef>
              <a:buNone/>
              <a:defRPr sz="800"/>
            </a:lvl3pPr>
            <a:lvl4pPr marL="0" algn="l">
              <a:lnSpc>
                <a:spcPct val="100000"/>
              </a:lnSpc>
              <a:spcBef>
                <a:spcPts val="0"/>
              </a:spcBef>
              <a:buNone/>
              <a:defRPr sz="800"/>
            </a:lvl4pPr>
            <a:lvl5pPr marL="0" indent="0" algn="l">
              <a:lnSpc>
                <a:spcPct val="100000"/>
              </a:lnSpc>
              <a:spcBef>
                <a:spcPts val="0"/>
              </a:spcBef>
              <a:buNone/>
              <a:defRPr sz="800"/>
            </a:lvl5pPr>
          </a:lstStyle>
          <a:p>
            <a:pPr lvl="0"/>
            <a:r>
              <a:rPr lang="en-US"/>
              <a:t>Source line</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40431196"/>
      </p:ext>
    </p:extLst>
  </p:cSld>
  <p:clrMapOvr>
    <a:masterClrMapping/>
  </p:clrMapOvr>
</p:sldLayout>
</file>

<file path=ppt/slideLayouts/slideLayout377.xml><?xml version="1.0" encoding="utf-8"?>
<p:sldLayout xmlns:a="http://schemas.openxmlformats.org/drawingml/2006/main" xmlns:r="http://schemas.openxmlformats.org/officeDocument/2006/relationships" xmlns:p="http://schemas.openxmlformats.org/presentationml/2006/main" preserve="1">
  <p:cSld name="Tablet">
    <p:spTree>
      <p:nvGrpSpPr>
        <p:cNvPr id="1" name=""/>
        <p:cNvGrpSpPr/>
        <p:nvPr/>
      </p:nvGrpSpPr>
      <p:grpSpPr>
        <a:xfrm>
          <a:off x="0" y="0"/>
          <a:ext cx="0" cy="0"/>
          <a:chOff x="0" y="0"/>
          <a:chExt cx="0" cy="0"/>
        </a:xfrm>
      </p:grpSpPr>
      <p:pic>
        <p:nvPicPr>
          <p:cNvPr id="12" name="Grafik 3">
            <a:extLst>
              <a:ext uri="{FF2B5EF4-FFF2-40B4-BE49-F238E27FC236}">
                <a16:creationId xmlns:a16="http://schemas.microsoft.com/office/drawing/2014/main" id="{1D97A272-8DE5-144D-9076-0F435EC79171}"/>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4422451" y="1441279"/>
            <a:ext cx="6858000" cy="5323585"/>
          </a:xfrm>
          <a:prstGeom prst="rect">
            <a:avLst/>
          </a:prstGeom>
        </p:spPr>
      </p:pic>
      <p:sp>
        <p:nvSpPr>
          <p:cNvPr id="21" name="Date Placeholder 20"/>
          <p:cNvSpPr>
            <a:spLocks noGrp="1"/>
          </p:cNvSpPr>
          <p:nvPr>
            <p:ph type="dt" sz="half" idx="14"/>
          </p:nvPr>
        </p:nvSpPr>
        <p:spPr/>
        <p:txBody>
          <a:bodyPr/>
          <a:lstStyle/>
          <a:p>
            <a:endParaRPr lang="en-US"/>
          </a:p>
        </p:txBody>
      </p:sp>
      <p:sp>
        <p:nvSpPr>
          <p:cNvPr id="22" name="Footer Placeholder 21"/>
          <p:cNvSpPr>
            <a:spLocks noGrp="1"/>
          </p:cNvSpPr>
          <p:nvPr>
            <p:ph type="ftr" sz="quarter" idx="15"/>
          </p:nvPr>
        </p:nvSpPr>
        <p:spPr/>
        <p:txBody>
          <a:bodyPr/>
          <a:lstStyle/>
          <a:p>
            <a:endParaRPr lang="en-US"/>
          </a:p>
        </p:txBody>
      </p:sp>
      <p:sp>
        <p:nvSpPr>
          <p:cNvPr id="23" name="Slide Number Placeholder 22"/>
          <p:cNvSpPr>
            <a:spLocks noGrp="1"/>
          </p:cNvSpPr>
          <p:nvPr>
            <p:ph type="sldNum" sz="quarter" idx="16"/>
          </p:nvPr>
        </p:nvSpPr>
        <p:spPr/>
        <p:txBody>
          <a:bodyPr/>
          <a:lstStyle/>
          <a:p>
            <a:fld id="{5F3E29E4-0979-4FCA-B4C5-5FC6044C982A}" type="slidenum">
              <a:rPr lang="en-US" smtClean="0"/>
              <a:t>‹#›</a:t>
            </a:fld>
            <a:endParaRPr lang="en-US"/>
          </a:p>
        </p:txBody>
      </p:sp>
      <p:sp>
        <p:nvSpPr>
          <p:cNvPr id="2" name="Title 1"/>
          <p:cNvSpPr>
            <a:spLocks noGrp="1"/>
          </p:cNvSpPr>
          <p:nvPr>
            <p:ph type="title" hasCustomPrompt="1"/>
          </p:nvPr>
        </p:nvSpPr>
        <p:spPr/>
        <p:txBody>
          <a:bodyPr/>
          <a:lstStyle>
            <a:lvl1pPr>
              <a:defRPr/>
            </a:lvl1pPr>
          </a:lstStyle>
          <a:p>
            <a:r>
              <a:rPr lang="en-US"/>
              <a:t>Click to add slide title</a:t>
            </a:r>
          </a:p>
        </p:txBody>
      </p:sp>
      <p:sp>
        <p:nvSpPr>
          <p:cNvPr id="7" name="Subtitle 2"/>
          <p:cNvSpPr>
            <a:spLocks noGrp="1"/>
          </p:cNvSpPr>
          <p:nvPr>
            <p:ph type="subTitle" idx="13" hasCustomPrompt="1"/>
          </p:nvPr>
        </p:nvSpPr>
        <p:spPr>
          <a:xfrm>
            <a:off x="1075061" y="964671"/>
            <a:ext cx="7910158" cy="490042"/>
          </a:xfrm>
        </p:spPr>
        <p:txBody>
          <a:bodyPr wrap="none"/>
          <a:lstStyle>
            <a:lvl1pPr marL="0" indent="0" algn="l">
              <a:spcBef>
                <a:spcPts val="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sp>
        <p:nvSpPr>
          <p:cNvPr id="3" name="Content Placeholder 2"/>
          <p:cNvSpPr>
            <a:spLocks noGrp="1"/>
          </p:cNvSpPr>
          <p:nvPr>
            <p:ph idx="1" hasCustomPrompt="1"/>
          </p:nvPr>
        </p:nvSpPr>
        <p:spPr>
          <a:xfrm>
            <a:off x="1075062" y="1852623"/>
            <a:ext cx="3287388" cy="3658714"/>
          </a:xfrm>
        </p:spPr>
        <p:txBody>
          <a:bodyPr anchor="ctr"/>
          <a:lstStyle>
            <a:lvl1pPr>
              <a:defRPr sz="1600"/>
            </a:lvl1pPr>
            <a:lvl2pPr>
              <a:defRPr sz="1600"/>
            </a:lvl2pPr>
            <a:lvl3pPr>
              <a:defRPr sz="1600"/>
            </a:lvl3pPr>
            <a:lvl4pPr>
              <a:defRPr sz="1600"/>
            </a:lvl4pPr>
            <a:lvl5pPr>
              <a:defRPr sz="1600"/>
            </a:lvl5pPr>
          </a:lstStyle>
          <a:p>
            <a:pPr lvl="0"/>
            <a:r>
              <a:rPr lang="en-US"/>
              <a:t>Click to add text</a:t>
            </a:r>
          </a:p>
          <a:p>
            <a:pPr lvl="1"/>
            <a:r>
              <a:rPr lang="en-US"/>
              <a:t>Second level</a:t>
            </a:r>
          </a:p>
          <a:p>
            <a:pPr lvl="2"/>
            <a:r>
              <a:rPr lang="en-US"/>
              <a:t>Third level</a:t>
            </a:r>
          </a:p>
          <a:p>
            <a:pPr lvl="3"/>
            <a:r>
              <a:rPr lang="en-US"/>
              <a:t>Fourth level</a:t>
            </a:r>
          </a:p>
          <a:p>
            <a:pPr lvl="4"/>
            <a:r>
              <a:rPr lang="en-US"/>
              <a:t>Fifth level</a:t>
            </a:r>
          </a:p>
        </p:txBody>
      </p:sp>
      <p:sp>
        <p:nvSpPr>
          <p:cNvPr id="5" name="Picture Placeholder 4"/>
          <p:cNvSpPr>
            <a:spLocks noGrp="1"/>
          </p:cNvSpPr>
          <p:nvPr>
            <p:ph type="pic" sz="quarter" idx="17" hasCustomPrompt="1"/>
          </p:nvPr>
        </p:nvSpPr>
        <p:spPr>
          <a:xfrm>
            <a:off x="5135561" y="2010934"/>
            <a:ext cx="5491064" cy="3428280"/>
          </a:xfrm>
          <a:solidFill>
            <a:srgbClr val="D9DADB"/>
          </a:solidFill>
        </p:spPr>
        <p:txBody>
          <a:bodyPr/>
          <a:lstStyle>
            <a:lvl1pPr marL="0" indent="0">
              <a:buNone/>
              <a:defRPr/>
            </a:lvl1pPr>
          </a:lstStyle>
          <a:p>
            <a:r>
              <a:rPr lang="en-US"/>
              <a:t>Insert picture</a:t>
            </a:r>
          </a:p>
        </p:txBody>
      </p:sp>
      <p:sp>
        <p:nvSpPr>
          <p:cNvPr id="11" name="Text Placeholder 4"/>
          <p:cNvSpPr>
            <a:spLocks noGrp="1"/>
          </p:cNvSpPr>
          <p:nvPr>
            <p:ph type="body" sz="quarter" idx="18" hasCustomPrompt="1"/>
          </p:nvPr>
        </p:nvSpPr>
        <p:spPr>
          <a:xfrm>
            <a:off x="1075063" y="6307665"/>
            <a:ext cx="8162717" cy="133200"/>
          </a:xfrm>
        </p:spPr>
        <p:txBody>
          <a:bodyPr lIns="0" tIns="0" rIns="0" bIns="0" anchor="b" anchorCtr="0"/>
          <a:lstStyle>
            <a:lvl1pPr marL="0" indent="0" algn="l">
              <a:lnSpc>
                <a:spcPct val="100000"/>
              </a:lnSpc>
              <a:spcBef>
                <a:spcPts val="0"/>
              </a:spcBef>
              <a:buNone/>
              <a:defRPr sz="800" baseline="0"/>
            </a:lvl1pPr>
            <a:lvl2pPr marL="0" indent="0" algn="l">
              <a:lnSpc>
                <a:spcPct val="100000"/>
              </a:lnSpc>
              <a:spcBef>
                <a:spcPts val="0"/>
              </a:spcBef>
              <a:buNone/>
              <a:defRPr sz="800"/>
            </a:lvl2pPr>
            <a:lvl3pPr marL="0" indent="0" algn="l">
              <a:lnSpc>
                <a:spcPct val="100000"/>
              </a:lnSpc>
              <a:spcBef>
                <a:spcPts val="0"/>
              </a:spcBef>
              <a:buNone/>
              <a:defRPr sz="800"/>
            </a:lvl3pPr>
            <a:lvl4pPr marL="0" algn="l">
              <a:lnSpc>
                <a:spcPct val="100000"/>
              </a:lnSpc>
              <a:spcBef>
                <a:spcPts val="0"/>
              </a:spcBef>
              <a:buNone/>
              <a:defRPr sz="800"/>
            </a:lvl4pPr>
            <a:lvl5pPr marL="0" indent="0" algn="l">
              <a:lnSpc>
                <a:spcPct val="100000"/>
              </a:lnSpc>
              <a:spcBef>
                <a:spcPts val="0"/>
              </a:spcBef>
              <a:buNone/>
              <a:defRPr sz="800"/>
            </a:lvl5pPr>
          </a:lstStyle>
          <a:p>
            <a:pPr lvl="0"/>
            <a:r>
              <a:rPr lang="en-US"/>
              <a:t>Source line</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10559090"/>
      </p:ext>
    </p:extLst>
  </p:cSld>
  <p:clrMapOvr>
    <a:masterClrMapping/>
  </p:clrMapOvr>
</p:sldLayout>
</file>

<file path=ppt/slideLayouts/slideLayout378.xml><?xml version="1.0" encoding="utf-8"?>
<p:sldLayout xmlns:a="http://schemas.openxmlformats.org/drawingml/2006/main" xmlns:r="http://schemas.openxmlformats.org/officeDocument/2006/relationships" xmlns:p="http://schemas.openxmlformats.org/presentationml/2006/main" preserve="1">
  <p:cSld name="Smartphone">
    <p:spTree>
      <p:nvGrpSpPr>
        <p:cNvPr id="1" name=""/>
        <p:cNvGrpSpPr/>
        <p:nvPr/>
      </p:nvGrpSpPr>
      <p:grpSpPr>
        <a:xfrm>
          <a:off x="0" y="0"/>
          <a:ext cx="0" cy="0"/>
          <a:chOff x="0" y="0"/>
          <a:chExt cx="0" cy="0"/>
        </a:xfrm>
      </p:grpSpPr>
      <p:pic>
        <p:nvPicPr>
          <p:cNvPr id="10" name="Grafik 2">
            <a:extLst>
              <a:ext uri="{FF2B5EF4-FFF2-40B4-BE49-F238E27FC236}">
                <a16:creationId xmlns:a16="http://schemas.microsoft.com/office/drawing/2014/main" id="{6421FD8A-F5D4-E041-A727-98ABA693B1A7}"/>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5472449" y="1362516"/>
            <a:ext cx="4953000" cy="4865134"/>
          </a:xfrm>
          <a:prstGeom prst="rect">
            <a:avLst/>
          </a:prstGeom>
          <a:effectLst>
            <a:reflection blurRad="6350" stA="48000" endPos="6000" dir="5400000" sy="-100000" algn="bl" rotWithShape="0"/>
          </a:effectLst>
        </p:spPr>
      </p:pic>
      <p:sp>
        <p:nvSpPr>
          <p:cNvPr id="21" name="Date Placeholder 20"/>
          <p:cNvSpPr>
            <a:spLocks noGrp="1"/>
          </p:cNvSpPr>
          <p:nvPr>
            <p:ph type="dt" sz="half" idx="14"/>
          </p:nvPr>
        </p:nvSpPr>
        <p:spPr/>
        <p:txBody>
          <a:bodyPr/>
          <a:lstStyle/>
          <a:p>
            <a:endParaRPr lang="en-US"/>
          </a:p>
        </p:txBody>
      </p:sp>
      <p:sp>
        <p:nvSpPr>
          <p:cNvPr id="22" name="Footer Placeholder 21"/>
          <p:cNvSpPr>
            <a:spLocks noGrp="1"/>
          </p:cNvSpPr>
          <p:nvPr>
            <p:ph type="ftr" sz="quarter" idx="15"/>
          </p:nvPr>
        </p:nvSpPr>
        <p:spPr/>
        <p:txBody>
          <a:bodyPr/>
          <a:lstStyle/>
          <a:p>
            <a:endParaRPr lang="en-US"/>
          </a:p>
        </p:txBody>
      </p:sp>
      <p:sp>
        <p:nvSpPr>
          <p:cNvPr id="23" name="Slide Number Placeholder 22"/>
          <p:cNvSpPr>
            <a:spLocks noGrp="1"/>
          </p:cNvSpPr>
          <p:nvPr>
            <p:ph type="sldNum" sz="quarter" idx="16"/>
          </p:nvPr>
        </p:nvSpPr>
        <p:spPr/>
        <p:txBody>
          <a:bodyPr/>
          <a:lstStyle/>
          <a:p>
            <a:fld id="{5F3E29E4-0979-4FCA-B4C5-5FC6044C982A}" type="slidenum">
              <a:rPr lang="en-US" smtClean="0"/>
              <a:t>‹#›</a:t>
            </a:fld>
            <a:endParaRPr lang="en-US"/>
          </a:p>
        </p:txBody>
      </p:sp>
      <p:sp>
        <p:nvSpPr>
          <p:cNvPr id="2" name="Title 1"/>
          <p:cNvSpPr>
            <a:spLocks noGrp="1"/>
          </p:cNvSpPr>
          <p:nvPr>
            <p:ph type="title" hasCustomPrompt="1"/>
          </p:nvPr>
        </p:nvSpPr>
        <p:spPr/>
        <p:txBody>
          <a:bodyPr/>
          <a:lstStyle>
            <a:lvl1pPr>
              <a:defRPr/>
            </a:lvl1pPr>
          </a:lstStyle>
          <a:p>
            <a:r>
              <a:rPr lang="en-US"/>
              <a:t>Click to add slide title</a:t>
            </a:r>
          </a:p>
        </p:txBody>
      </p:sp>
      <p:sp>
        <p:nvSpPr>
          <p:cNvPr id="7" name="Subtitle 2"/>
          <p:cNvSpPr>
            <a:spLocks noGrp="1"/>
          </p:cNvSpPr>
          <p:nvPr>
            <p:ph type="subTitle" idx="13" hasCustomPrompt="1"/>
          </p:nvPr>
        </p:nvSpPr>
        <p:spPr>
          <a:xfrm>
            <a:off x="1075061" y="964671"/>
            <a:ext cx="7910158" cy="490042"/>
          </a:xfrm>
        </p:spPr>
        <p:txBody>
          <a:bodyPr wrap="none"/>
          <a:lstStyle>
            <a:lvl1pPr marL="0" indent="0" algn="l">
              <a:spcBef>
                <a:spcPts val="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sp>
        <p:nvSpPr>
          <p:cNvPr id="3" name="Content Placeholder 2"/>
          <p:cNvSpPr>
            <a:spLocks noGrp="1"/>
          </p:cNvSpPr>
          <p:nvPr>
            <p:ph idx="1" hasCustomPrompt="1"/>
          </p:nvPr>
        </p:nvSpPr>
        <p:spPr>
          <a:xfrm>
            <a:off x="1075061" y="1852623"/>
            <a:ext cx="5241071" cy="3658714"/>
          </a:xfrm>
        </p:spPr>
        <p:txBody>
          <a:bodyPr anchor="ctr"/>
          <a:lstStyle>
            <a:lvl1pPr>
              <a:defRPr sz="1600"/>
            </a:lvl1pPr>
            <a:lvl2pPr>
              <a:defRPr sz="1600"/>
            </a:lvl2pPr>
            <a:lvl3pPr>
              <a:defRPr sz="1600"/>
            </a:lvl3pPr>
            <a:lvl4pPr>
              <a:defRPr sz="1600"/>
            </a:lvl4pPr>
            <a:lvl5pPr>
              <a:defRPr sz="1600"/>
            </a:lvl5pPr>
          </a:lstStyle>
          <a:p>
            <a:pPr lvl="0"/>
            <a:r>
              <a:rPr lang="en-US"/>
              <a:t>Click to add text</a:t>
            </a:r>
          </a:p>
          <a:p>
            <a:pPr lvl="1"/>
            <a:r>
              <a:rPr lang="en-US"/>
              <a:t>Second level</a:t>
            </a:r>
          </a:p>
          <a:p>
            <a:pPr lvl="2"/>
            <a:r>
              <a:rPr lang="en-US"/>
              <a:t>Third level</a:t>
            </a:r>
          </a:p>
          <a:p>
            <a:pPr lvl="3"/>
            <a:r>
              <a:rPr lang="en-US"/>
              <a:t>Fourth level</a:t>
            </a:r>
          </a:p>
          <a:p>
            <a:pPr lvl="4"/>
            <a:r>
              <a:rPr lang="en-US"/>
              <a:t>Fifth level</a:t>
            </a:r>
          </a:p>
        </p:txBody>
      </p:sp>
      <p:sp>
        <p:nvSpPr>
          <p:cNvPr id="5" name="Picture Placeholder 4"/>
          <p:cNvSpPr>
            <a:spLocks noGrp="1"/>
          </p:cNvSpPr>
          <p:nvPr>
            <p:ph type="pic" sz="quarter" idx="17" hasCustomPrompt="1"/>
          </p:nvPr>
        </p:nvSpPr>
        <p:spPr>
          <a:xfrm>
            <a:off x="6923531" y="1784822"/>
            <a:ext cx="2006654" cy="4104000"/>
          </a:xfrm>
          <a:solidFill>
            <a:srgbClr val="D9DADB"/>
          </a:solidFill>
        </p:spPr>
        <p:txBody>
          <a:bodyPr/>
          <a:lstStyle>
            <a:lvl1pPr marL="0" indent="0">
              <a:buNone/>
              <a:defRPr/>
            </a:lvl1pPr>
          </a:lstStyle>
          <a:p>
            <a:r>
              <a:rPr lang="en-US"/>
              <a:t>Insert picture</a:t>
            </a:r>
          </a:p>
        </p:txBody>
      </p:sp>
      <p:sp>
        <p:nvSpPr>
          <p:cNvPr id="12" name="Text Placeholder 4"/>
          <p:cNvSpPr>
            <a:spLocks noGrp="1"/>
          </p:cNvSpPr>
          <p:nvPr>
            <p:ph type="body" sz="quarter" idx="18" hasCustomPrompt="1"/>
          </p:nvPr>
        </p:nvSpPr>
        <p:spPr>
          <a:xfrm>
            <a:off x="1075063" y="6307665"/>
            <a:ext cx="8162717" cy="133200"/>
          </a:xfrm>
        </p:spPr>
        <p:txBody>
          <a:bodyPr lIns="0" tIns="0" rIns="0" bIns="0" anchor="b" anchorCtr="0"/>
          <a:lstStyle>
            <a:lvl1pPr marL="0" indent="0" algn="l">
              <a:lnSpc>
                <a:spcPct val="100000"/>
              </a:lnSpc>
              <a:spcBef>
                <a:spcPts val="0"/>
              </a:spcBef>
              <a:buNone/>
              <a:defRPr sz="800" baseline="0"/>
            </a:lvl1pPr>
            <a:lvl2pPr marL="0" indent="0" algn="l">
              <a:lnSpc>
                <a:spcPct val="100000"/>
              </a:lnSpc>
              <a:spcBef>
                <a:spcPts val="0"/>
              </a:spcBef>
              <a:buNone/>
              <a:defRPr sz="800"/>
            </a:lvl2pPr>
            <a:lvl3pPr marL="0" indent="0" algn="l">
              <a:lnSpc>
                <a:spcPct val="100000"/>
              </a:lnSpc>
              <a:spcBef>
                <a:spcPts val="0"/>
              </a:spcBef>
              <a:buNone/>
              <a:defRPr sz="800"/>
            </a:lvl3pPr>
            <a:lvl4pPr marL="0" algn="l">
              <a:lnSpc>
                <a:spcPct val="100000"/>
              </a:lnSpc>
              <a:spcBef>
                <a:spcPts val="0"/>
              </a:spcBef>
              <a:buNone/>
              <a:defRPr sz="800"/>
            </a:lvl4pPr>
            <a:lvl5pPr marL="0" indent="0" algn="l">
              <a:lnSpc>
                <a:spcPct val="100000"/>
              </a:lnSpc>
              <a:spcBef>
                <a:spcPts val="0"/>
              </a:spcBef>
              <a:buNone/>
              <a:defRPr sz="800"/>
            </a:lvl5pPr>
          </a:lstStyle>
          <a:p>
            <a:pPr lvl="0"/>
            <a:r>
              <a:rPr lang="en-US"/>
              <a:t>Source line</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26368804"/>
      </p:ext>
    </p:extLst>
  </p:cSld>
  <p:clrMapOvr>
    <a:masterClrMapping/>
  </p:clrMapOvr>
</p:sldLayout>
</file>

<file path=ppt/slideLayouts/slideLayout379.xml><?xml version="1.0" encoding="utf-8"?>
<p:sldLayout xmlns:a="http://schemas.openxmlformats.org/drawingml/2006/main" xmlns:r="http://schemas.openxmlformats.org/officeDocument/2006/relationships" xmlns:p="http://schemas.openxmlformats.org/presentationml/2006/main" preserve="1">
  <p:cSld name="One contact">
    <p:spTree>
      <p:nvGrpSpPr>
        <p:cNvPr id="1" name=""/>
        <p:cNvGrpSpPr/>
        <p:nvPr/>
      </p:nvGrpSpPr>
      <p:grpSpPr>
        <a:xfrm>
          <a:off x="0" y="0"/>
          <a:ext cx="0" cy="0"/>
          <a:chOff x="0" y="0"/>
          <a:chExt cx="0" cy="0"/>
        </a:xfrm>
      </p:grpSpPr>
      <p:sp>
        <p:nvSpPr>
          <p:cNvPr id="4" name="Picture Placeholder 3"/>
          <p:cNvSpPr>
            <a:spLocks noGrp="1"/>
          </p:cNvSpPr>
          <p:nvPr>
            <p:ph type="pic" sz="quarter" idx="17" hasCustomPrompt="1"/>
          </p:nvPr>
        </p:nvSpPr>
        <p:spPr>
          <a:xfrm>
            <a:off x="1056217" y="1833656"/>
            <a:ext cx="3203503" cy="3935319"/>
          </a:xfrm>
          <a:solidFill>
            <a:srgbClr val="D9DADB"/>
          </a:solidFill>
        </p:spPr>
        <p:txBody>
          <a:bodyPr/>
          <a:lstStyle>
            <a:lvl1pPr marL="0" indent="0">
              <a:buNone/>
              <a:defRPr sz="1400"/>
            </a:lvl1pPr>
          </a:lstStyle>
          <a:p>
            <a:r>
              <a:rPr lang="en-US"/>
              <a:t>Insert picture</a:t>
            </a:r>
          </a:p>
        </p:txBody>
      </p:sp>
      <p:sp>
        <p:nvSpPr>
          <p:cNvPr id="21" name="Date Placeholder 20"/>
          <p:cNvSpPr>
            <a:spLocks noGrp="1"/>
          </p:cNvSpPr>
          <p:nvPr>
            <p:ph type="dt" sz="half" idx="14"/>
          </p:nvPr>
        </p:nvSpPr>
        <p:spPr/>
        <p:txBody>
          <a:bodyPr/>
          <a:lstStyle/>
          <a:p>
            <a:endParaRPr lang="en-US"/>
          </a:p>
        </p:txBody>
      </p:sp>
      <p:sp>
        <p:nvSpPr>
          <p:cNvPr id="22" name="Footer Placeholder 21"/>
          <p:cNvSpPr>
            <a:spLocks noGrp="1"/>
          </p:cNvSpPr>
          <p:nvPr>
            <p:ph type="ftr" sz="quarter" idx="15"/>
          </p:nvPr>
        </p:nvSpPr>
        <p:spPr/>
        <p:txBody>
          <a:bodyPr/>
          <a:lstStyle/>
          <a:p>
            <a:endParaRPr lang="en-US"/>
          </a:p>
        </p:txBody>
      </p:sp>
      <p:sp>
        <p:nvSpPr>
          <p:cNvPr id="23" name="Slide Number Placeholder 22"/>
          <p:cNvSpPr>
            <a:spLocks noGrp="1"/>
          </p:cNvSpPr>
          <p:nvPr>
            <p:ph type="sldNum" sz="quarter" idx="16"/>
          </p:nvPr>
        </p:nvSpPr>
        <p:spPr/>
        <p:txBody>
          <a:bodyPr/>
          <a:lstStyle/>
          <a:p>
            <a:fld id="{5F3E29E4-0979-4FCA-B4C5-5FC6044C982A}" type="slidenum">
              <a:rPr lang="en-US" smtClean="0"/>
              <a:t>‹#›</a:t>
            </a:fld>
            <a:endParaRPr lang="en-US"/>
          </a:p>
        </p:txBody>
      </p:sp>
      <p:sp>
        <p:nvSpPr>
          <p:cNvPr id="2" name="Title 1"/>
          <p:cNvSpPr>
            <a:spLocks noGrp="1"/>
          </p:cNvSpPr>
          <p:nvPr>
            <p:ph type="title" hasCustomPrompt="1"/>
          </p:nvPr>
        </p:nvSpPr>
        <p:spPr/>
        <p:txBody>
          <a:bodyPr/>
          <a:lstStyle>
            <a:lvl1pPr>
              <a:defRPr/>
            </a:lvl1pPr>
          </a:lstStyle>
          <a:p>
            <a:r>
              <a:rPr lang="en-US"/>
              <a:t>Click to add contact title</a:t>
            </a:r>
          </a:p>
        </p:txBody>
      </p:sp>
      <p:sp>
        <p:nvSpPr>
          <p:cNvPr id="7" name="Subtitle 2"/>
          <p:cNvSpPr>
            <a:spLocks noGrp="1"/>
          </p:cNvSpPr>
          <p:nvPr>
            <p:ph type="subTitle" idx="13" hasCustomPrompt="1"/>
          </p:nvPr>
        </p:nvSpPr>
        <p:spPr>
          <a:xfrm>
            <a:off x="1075061" y="964671"/>
            <a:ext cx="7910158" cy="490042"/>
          </a:xfrm>
        </p:spPr>
        <p:txBody>
          <a:bodyPr wrap="none"/>
          <a:lstStyle>
            <a:lvl1pPr marL="0" indent="0" algn="l">
              <a:spcBef>
                <a:spcPts val="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grpSp>
        <p:nvGrpSpPr>
          <p:cNvPr id="8" name="Gruppieren 80">
            <a:extLst>
              <a:ext uri="{FF2B5EF4-FFF2-40B4-BE49-F238E27FC236}">
                <a16:creationId xmlns:a16="http://schemas.microsoft.com/office/drawing/2014/main" id="{6B969E7B-9C39-4443-9B02-74C1E7C5CCAC}"/>
              </a:ext>
            </a:extLst>
          </p:cNvPr>
          <p:cNvGrpSpPr/>
          <p:nvPr/>
        </p:nvGrpSpPr>
        <p:grpSpPr>
          <a:xfrm>
            <a:off x="4451001" y="2884199"/>
            <a:ext cx="171180" cy="171180"/>
            <a:chOff x="3392092" y="1841122"/>
            <a:chExt cx="646508" cy="646508"/>
          </a:xfrm>
        </p:grpSpPr>
        <p:sp>
          <p:nvSpPr>
            <p:cNvPr id="9" name="Rechteck 14">
              <a:extLst>
                <a:ext uri="{FF2B5EF4-FFF2-40B4-BE49-F238E27FC236}">
                  <a16:creationId xmlns:a16="http://schemas.microsoft.com/office/drawing/2014/main" id="{D78F58EA-5525-8D43-8295-FEA52ECF6BFA}"/>
                </a:ext>
              </a:extLst>
            </p:cNvPr>
            <p:cNvSpPr>
              <a:spLocks noChangeAspect="1"/>
            </p:cNvSpPr>
            <p:nvPr/>
          </p:nvSpPr>
          <p:spPr bwMode="gray">
            <a:xfrm>
              <a:off x="3392092" y="1841122"/>
              <a:ext cx="646508" cy="646508"/>
            </a:xfrm>
            <a:prstGeom prst="rect">
              <a:avLst/>
            </a:prstGeom>
            <a:solidFill>
              <a:srgbClr val="E55A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pPr>
              <a:endParaRPr lang="en-US" sz="1000">
                <a:solidFill>
                  <a:schemeClr val="tx1"/>
                </a:solidFill>
                <a:latin typeface="Arial" pitchFamily="34" charset="0"/>
                <a:cs typeface="Arial" pitchFamily="34" charset="0"/>
              </a:endParaRPr>
            </a:p>
          </p:txBody>
        </p:sp>
        <p:sp>
          <p:nvSpPr>
            <p:cNvPr id="10" name="Freeform 67">
              <a:extLst>
                <a:ext uri="{FF2B5EF4-FFF2-40B4-BE49-F238E27FC236}">
                  <a16:creationId xmlns:a16="http://schemas.microsoft.com/office/drawing/2014/main" id="{D01A6292-2776-4945-B828-483D79DC4908}"/>
                </a:ext>
              </a:extLst>
            </p:cNvPr>
            <p:cNvSpPr>
              <a:spLocks noChangeAspect="1"/>
            </p:cNvSpPr>
            <p:nvPr/>
          </p:nvSpPr>
          <p:spPr bwMode="auto">
            <a:xfrm>
              <a:off x="3546638" y="1970424"/>
              <a:ext cx="337415" cy="387905"/>
            </a:xfrm>
            <a:custGeom>
              <a:avLst/>
              <a:gdLst>
                <a:gd name="T0" fmla="*/ 573 w 1624"/>
                <a:gd name="T1" fmla="*/ 1257 h 1867"/>
                <a:gd name="T2" fmla="*/ 662 w 1624"/>
                <a:gd name="T3" fmla="*/ 1288 h 1867"/>
                <a:gd name="T4" fmla="*/ 938 w 1624"/>
                <a:gd name="T5" fmla="*/ 1051 h 1867"/>
                <a:gd name="T6" fmla="*/ 1106 w 1624"/>
                <a:gd name="T7" fmla="*/ 731 h 1867"/>
                <a:gd name="T8" fmla="*/ 1059 w 1624"/>
                <a:gd name="T9" fmla="*/ 645 h 1867"/>
                <a:gd name="T10" fmla="*/ 1001 w 1624"/>
                <a:gd name="T11" fmla="*/ 613 h 1867"/>
                <a:gd name="T12" fmla="*/ 924 w 1624"/>
                <a:gd name="T13" fmla="*/ 432 h 1867"/>
                <a:gd name="T14" fmla="*/ 1114 w 1624"/>
                <a:gd name="T15" fmla="*/ 81 h 1867"/>
                <a:gd name="T16" fmla="*/ 1287 w 1624"/>
                <a:gd name="T17" fmla="*/ 35 h 1867"/>
                <a:gd name="T18" fmla="*/ 1350 w 1624"/>
                <a:gd name="T19" fmla="*/ 69 h 1867"/>
                <a:gd name="T20" fmla="*/ 1527 w 1624"/>
                <a:gd name="T21" fmla="*/ 235 h 1867"/>
                <a:gd name="T22" fmla="*/ 1583 w 1624"/>
                <a:gd name="T23" fmla="*/ 555 h 1867"/>
                <a:gd name="T24" fmla="*/ 1172 w 1624"/>
                <a:gd name="T25" fmla="*/ 1253 h 1867"/>
                <a:gd name="T26" fmla="*/ 586 w 1624"/>
                <a:gd name="T27" fmla="*/ 1803 h 1867"/>
                <a:gd name="T28" fmla="*/ 269 w 1624"/>
                <a:gd name="T29" fmla="*/ 1807 h 1867"/>
                <a:gd name="T30" fmla="*/ 33 w 1624"/>
                <a:gd name="T31" fmla="*/ 1602 h 1867"/>
                <a:gd name="T32" fmla="*/ 2 w 1624"/>
                <a:gd name="T33" fmla="*/ 1508 h 1867"/>
                <a:gd name="T34" fmla="*/ 45 w 1624"/>
                <a:gd name="T35" fmla="*/ 1421 h 1867"/>
                <a:gd name="T36" fmla="*/ 346 w 1624"/>
                <a:gd name="T37" fmla="*/ 1158 h 1867"/>
                <a:gd name="T38" fmla="*/ 448 w 1624"/>
                <a:gd name="T39" fmla="*/ 1145 h 1867"/>
                <a:gd name="T40" fmla="*/ 573 w 1624"/>
                <a:gd name="T41" fmla="*/ 1257 h 18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24" h="1867">
                  <a:moveTo>
                    <a:pt x="573" y="1257"/>
                  </a:moveTo>
                  <a:cubicBezTo>
                    <a:pt x="592" y="1282"/>
                    <a:pt x="630" y="1303"/>
                    <a:pt x="662" y="1288"/>
                  </a:cubicBezTo>
                  <a:cubicBezTo>
                    <a:pt x="753" y="1245"/>
                    <a:pt x="854" y="1156"/>
                    <a:pt x="938" y="1051"/>
                  </a:cubicBezTo>
                  <a:cubicBezTo>
                    <a:pt x="1020" y="948"/>
                    <a:pt x="1084" y="831"/>
                    <a:pt x="1106" y="731"/>
                  </a:cubicBezTo>
                  <a:cubicBezTo>
                    <a:pt x="1113" y="696"/>
                    <a:pt x="1089" y="661"/>
                    <a:pt x="1059" y="645"/>
                  </a:cubicBezTo>
                  <a:cubicBezTo>
                    <a:pt x="1001" y="613"/>
                    <a:pt x="1001" y="613"/>
                    <a:pt x="1001" y="613"/>
                  </a:cubicBezTo>
                  <a:cubicBezTo>
                    <a:pt x="942" y="580"/>
                    <a:pt x="888" y="499"/>
                    <a:pt x="924" y="432"/>
                  </a:cubicBezTo>
                  <a:cubicBezTo>
                    <a:pt x="1114" y="81"/>
                    <a:pt x="1114" y="81"/>
                    <a:pt x="1114" y="81"/>
                  </a:cubicBezTo>
                  <a:cubicBezTo>
                    <a:pt x="1150" y="16"/>
                    <a:pt x="1224" y="0"/>
                    <a:pt x="1287" y="35"/>
                  </a:cubicBezTo>
                  <a:cubicBezTo>
                    <a:pt x="1350" y="69"/>
                    <a:pt x="1350" y="69"/>
                    <a:pt x="1350" y="69"/>
                  </a:cubicBezTo>
                  <a:cubicBezTo>
                    <a:pt x="1415" y="105"/>
                    <a:pt x="1479" y="165"/>
                    <a:pt x="1527" y="235"/>
                  </a:cubicBezTo>
                  <a:cubicBezTo>
                    <a:pt x="1593" y="332"/>
                    <a:pt x="1624" y="442"/>
                    <a:pt x="1583" y="555"/>
                  </a:cubicBezTo>
                  <a:cubicBezTo>
                    <a:pt x="1500" y="781"/>
                    <a:pt x="1351" y="1030"/>
                    <a:pt x="1172" y="1253"/>
                  </a:cubicBezTo>
                  <a:cubicBezTo>
                    <a:pt x="994" y="1477"/>
                    <a:pt x="786" y="1676"/>
                    <a:pt x="586" y="1803"/>
                  </a:cubicBezTo>
                  <a:cubicBezTo>
                    <a:pt x="486" y="1867"/>
                    <a:pt x="375" y="1856"/>
                    <a:pt x="269" y="1807"/>
                  </a:cubicBezTo>
                  <a:cubicBezTo>
                    <a:pt x="157" y="1755"/>
                    <a:pt x="106" y="1695"/>
                    <a:pt x="33" y="1602"/>
                  </a:cubicBezTo>
                  <a:cubicBezTo>
                    <a:pt x="11" y="1573"/>
                    <a:pt x="0" y="1540"/>
                    <a:pt x="2" y="1508"/>
                  </a:cubicBezTo>
                  <a:cubicBezTo>
                    <a:pt x="4" y="1475"/>
                    <a:pt x="18" y="1444"/>
                    <a:pt x="45" y="1421"/>
                  </a:cubicBezTo>
                  <a:cubicBezTo>
                    <a:pt x="70" y="1399"/>
                    <a:pt x="346" y="1158"/>
                    <a:pt x="346" y="1158"/>
                  </a:cubicBezTo>
                  <a:cubicBezTo>
                    <a:pt x="376" y="1134"/>
                    <a:pt x="413" y="1133"/>
                    <a:pt x="448" y="1145"/>
                  </a:cubicBezTo>
                  <a:cubicBezTo>
                    <a:pt x="510" y="1166"/>
                    <a:pt x="536" y="1210"/>
                    <a:pt x="573" y="1257"/>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351"/>
            </a:p>
          </p:txBody>
        </p:sp>
      </p:grpSp>
      <p:grpSp>
        <p:nvGrpSpPr>
          <p:cNvPr id="11" name="Group 3">
            <a:extLst>
              <a:ext uri="{FF2B5EF4-FFF2-40B4-BE49-F238E27FC236}">
                <a16:creationId xmlns:a16="http://schemas.microsoft.com/office/drawing/2014/main" id="{DED6A25A-5DE2-1441-8BA2-C68D3B4F9209}"/>
              </a:ext>
            </a:extLst>
          </p:cNvPr>
          <p:cNvGrpSpPr>
            <a:grpSpLocks noChangeAspect="1"/>
          </p:cNvGrpSpPr>
          <p:nvPr>
            <p:custDataLst>
              <p:tags r:id="rId1"/>
            </p:custDataLst>
          </p:nvPr>
        </p:nvGrpSpPr>
        <p:grpSpPr>
          <a:xfrm>
            <a:off x="4451002" y="3169087"/>
            <a:ext cx="171180" cy="171180"/>
            <a:chOff x="328396" y="5313940"/>
            <a:chExt cx="720000" cy="720000"/>
          </a:xfrm>
        </p:grpSpPr>
        <p:sp>
          <p:nvSpPr>
            <p:cNvPr id="12" name="Rectangle 4">
              <a:extLst>
                <a:ext uri="{FF2B5EF4-FFF2-40B4-BE49-F238E27FC236}">
                  <a16:creationId xmlns:a16="http://schemas.microsoft.com/office/drawing/2014/main" id="{5F49E67F-D4FA-9D48-96BC-59AE946ECD15}"/>
                </a:ext>
              </a:extLst>
            </p:cNvPr>
            <p:cNvSpPr/>
            <p:nvPr/>
          </p:nvSpPr>
          <p:spPr bwMode="gray">
            <a:xfrm>
              <a:off x="328396" y="5313940"/>
              <a:ext cx="720000" cy="720000"/>
            </a:xfrm>
            <a:prstGeom prst="rect">
              <a:avLst/>
            </a:prstGeom>
            <a:solidFill>
              <a:srgbClr val="E55A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pPr>
              <a:endParaRPr lang="en-US" sz="1000">
                <a:solidFill>
                  <a:schemeClr val="tx1"/>
                </a:solidFill>
                <a:latin typeface="Arial" pitchFamily="34" charset="0"/>
                <a:cs typeface="Arial" pitchFamily="34" charset="0"/>
              </a:endParaRPr>
            </a:p>
          </p:txBody>
        </p:sp>
        <p:sp>
          <p:nvSpPr>
            <p:cNvPr id="13" name="Freeform 76">
              <a:extLst>
                <a:ext uri="{FF2B5EF4-FFF2-40B4-BE49-F238E27FC236}">
                  <a16:creationId xmlns:a16="http://schemas.microsoft.com/office/drawing/2014/main" id="{187E70E6-AF3F-2549-908E-DF4BA61040AA}"/>
                </a:ext>
              </a:extLst>
            </p:cNvPr>
            <p:cNvSpPr>
              <a:spLocks noChangeAspect="1" noEditPoints="1"/>
            </p:cNvSpPr>
            <p:nvPr/>
          </p:nvSpPr>
          <p:spPr bwMode="auto">
            <a:xfrm>
              <a:off x="456202" y="5509222"/>
              <a:ext cx="504000" cy="329436"/>
            </a:xfrm>
            <a:custGeom>
              <a:avLst/>
              <a:gdLst>
                <a:gd name="T0" fmla="*/ 0 w 2080"/>
                <a:gd name="T1" fmla="*/ 65 h 1360"/>
                <a:gd name="T2" fmla="*/ 0 w 2080"/>
                <a:gd name="T3" fmla="*/ 0 h 1360"/>
                <a:gd name="T4" fmla="*/ 2080 w 2080"/>
                <a:gd name="T5" fmla="*/ 0 h 1360"/>
                <a:gd name="T6" fmla="*/ 2080 w 2080"/>
                <a:gd name="T7" fmla="*/ 65 h 1360"/>
                <a:gd name="T8" fmla="*/ 1089 w 2080"/>
                <a:gd name="T9" fmla="*/ 862 h 1360"/>
                <a:gd name="T10" fmla="*/ 991 w 2080"/>
                <a:gd name="T11" fmla="*/ 862 h 1360"/>
                <a:gd name="T12" fmla="*/ 0 w 2080"/>
                <a:gd name="T13" fmla="*/ 65 h 1360"/>
                <a:gd name="T14" fmla="*/ 1139 w 2080"/>
                <a:gd name="T15" fmla="*/ 924 h 1360"/>
                <a:gd name="T16" fmla="*/ 1282 w 2080"/>
                <a:gd name="T17" fmla="*/ 810 h 1360"/>
                <a:gd name="T18" fmla="*/ 2076 w 2080"/>
                <a:gd name="T19" fmla="*/ 1360 h 1360"/>
                <a:gd name="T20" fmla="*/ 4 w 2080"/>
                <a:gd name="T21" fmla="*/ 1360 h 1360"/>
                <a:gd name="T22" fmla="*/ 798 w 2080"/>
                <a:gd name="T23" fmla="*/ 810 h 1360"/>
                <a:gd name="T24" fmla="*/ 941 w 2080"/>
                <a:gd name="T25" fmla="*/ 924 h 1360"/>
                <a:gd name="T26" fmla="*/ 1139 w 2080"/>
                <a:gd name="T27" fmla="*/ 924 h 1360"/>
                <a:gd name="T28" fmla="*/ 2 w 2080"/>
                <a:gd name="T29" fmla="*/ 137 h 1360"/>
                <a:gd name="T30" fmla="*/ 42 w 2080"/>
                <a:gd name="T31" fmla="*/ 201 h 1360"/>
                <a:gd name="T32" fmla="*/ 734 w 2080"/>
                <a:gd name="T33" fmla="*/ 758 h 1360"/>
                <a:gd name="T34" fmla="*/ 0 w 2080"/>
                <a:gd name="T35" fmla="*/ 1266 h 1360"/>
                <a:gd name="T36" fmla="*/ 0 w 2080"/>
                <a:gd name="T37" fmla="*/ 135 h 1360"/>
                <a:gd name="T38" fmla="*/ 2 w 2080"/>
                <a:gd name="T39" fmla="*/ 137 h 1360"/>
                <a:gd name="T40" fmla="*/ 2080 w 2080"/>
                <a:gd name="T41" fmla="*/ 136 h 1360"/>
                <a:gd name="T42" fmla="*/ 2080 w 2080"/>
                <a:gd name="T43" fmla="*/ 1265 h 1360"/>
                <a:gd name="T44" fmla="*/ 1346 w 2080"/>
                <a:gd name="T45" fmla="*/ 758 h 1360"/>
                <a:gd name="T46" fmla="*/ 2038 w 2080"/>
                <a:gd name="T47" fmla="*/ 201 h 1360"/>
                <a:gd name="T48" fmla="*/ 2080 w 2080"/>
                <a:gd name="T49" fmla="*/ 136 h 1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080" h="1360">
                  <a:moveTo>
                    <a:pt x="0" y="65"/>
                  </a:moveTo>
                  <a:cubicBezTo>
                    <a:pt x="0" y="0"/>
                    <a:pt x="0" y="0"/>
                    <a:pt x="0" y="0"/>
                  </a:cubicBezTo>
                  <a:cubicBezTo>
                    <a:pt x="2080" y="0"/>
                    <a:pt x="2080" y="0"/>
                    <a:pt x="2080" y="0"/>
                  </a:cubicBezTo>
                  <a:cubicBezTo>
                    <a:pt x="2080" y="65"/>
                    <a:pt x="2080" y="65"/>
                    <a:pt x="2080" y="65"/>
                  </a:cubicBezTo>
                  <a:cubicBezTo>
                    <a:pt x="1089" y="862"/>
                    <a:pt x="1089" y="862"/>
                    <a:pt x="1089" y="862"/>
                  </a:cubicBezTo>
                  <a:cubicBezTo>
                    <a:pt x="1060" y="886"/>
                    <a:pt x="1020" y="886"/>
                    <a:pt x="991" y="862"/>
                  </a:cubicBezTo>
                  <a:lnTo>
                    <a:pt x="0" y="65"/>
                  </a:lnTo>
                  <a:close/>
                  <a:moveTo>
                    <a:pt x="1139" y="924"/>
                  </a:moveTo>
                  <a:cubicBezTo>
                    <a:pt x="1282" y="810"/>
                    <a:pt x="1282" y="810"/>
                    <a:pt x="1282" y="810"/>
                  </a:cubicBezTo>
                  <a:cubicBezTo>
                    <a:pt x="2076" y="1360"/>
                    <a:pt x="2076" y="1360"/>
                    <a:pt x="2076" y="1360"/>
                  </a:cubicBezTo>
                  <a:cubicBezTo>
                    <a:pt x="4" y="1360"/>
                    <a:pt x="4" y="1360"/>
                    <a:pt x="4" y="1360"/>
                  </a:cubicBezTo>
                  <a:cubicBezTo>
                    <a:pt x="798" y="810"/>
                    <a:pt x="798" y="810"/>
                    <a:pt x="798" y="810"/>
                  </a:cubicBezTo>
                  <a:cubicBezTo>
                    <a:pt x="941" y="924"/>
                    <a:pt x="941" y="924"/>
                    <a:pt x="941" y="924"/>
                  </a:cubicBezTo>
                  <a:cubicBezTo>
                    <a:pt x="1000" y="972"/>
                    <a:pt x="1080" y="972"/>
                    <a:pt x="1139" y="924"/>
                  </a:cubicBezTo>
                  <a:close/>
                  <a:moveTo>
                    <a:pt x="2" y="137"/>
                  </a:moveTo>
                  <a:cubicBezTo>
                    <a:pt x="8" y="163"/>
                    <a:pt x="22" y="185"/>
                    <a:pt x="42" y="201"/>
                  </a:cubicBezTo>
                  <a:cubicBezTo>
                    <a:pt x="734" y="758"/>
                    <a:pt x="734" y="758"/>
                    <a:pt x="734" y="758"/>
                  </a:cubicBezTo>
                  <a:cubicBezTo>
                    <a:pt x="0" y="1266"/>
                    <a:pt x="0" y="1266"/>
                    <a:pt x="0" y="1266"/>
                  </a:cubicBezTo>
                  <a:cubicBezTo>
                    <a:pt x="0" y="135"/>
                    <a:pt x="0" y="135"/>
                    <a:pt x="0" y="135"/>
                  </a:cubicBezTo>
                  <a:lnTo>
                    <a:pt x="2" y="137"/>
                  </a:lnTo>
                  <a:close/>
                  <a:moveTo>
                    <a:pt x="2080" y="136"/>
                  </a:moveTo>
                  <a:cubicBezTo>
                    <a:pt x="2080" y="1265"/>
                    <a:pt x="2080" y="1265"/>
                    <a:pt x="2080" y="1265"/>
                  </a:cubicBezTo>
                  <a:cubicBezTo>
                    <a:pt x="1346" y="758"/>
                    <a:pt x="1346" y="758"/>
                    <a:pt x="1346" y="758"/>
                  </a:cubicBezTo>
                  <a:cubicBezTo>
                    <a:pt x="2038" y="201"/>
                    <a:pt x="2038" y="201"/>
                    <a:pt x="2038" y="201"/>
                  </a:cubicBezTo>
                  <a:cubicBezTo>
                    <a:pt x="2060" y="182"/>
                    <a:pt x="2072" y="162"/>
                    <a:pt x="2080" y="13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000"/>
            </a:p>
          </p:txBody>
        </p:sp>
      </p:grpSp>
      <p:cxnSp>
        <p:nvCxnSpPr>
          <p:cNvPr id="20" name="Straight Connector 19"/>
          <p:cNvCxnSpPr/>
          <p:nvPr/>
        </p:nvCxnSpPr>
        <p:spPr>
          <a:xfrm>
            <a:off x="4451001" y="3494093"/>
            <a:ext cx="2463190" cy="0"/>
          </a:xfrm>
          <a:prstGeom prst="line">
            <a:avLst/>
          </a:prstGeom>
          <a:ln w="6350">
            <a:solidFill>
              <a:schemeClr val="tx2"/>
            </a:solidFill>
            <a:prstDash val="dash"/>
          </a:ln>
        </p:spPr>
        <p:style>
          <a:lnRef idx="1">
            <a:schemeClr val="accent1"/>
          </a:lnRef>
          <a:fillRef idx="0">
            <a:schemeClr val="accent1"/>
          </a:fillRef>
          <a:effectRef idx="0">
            <a:schemeClr val="accent1"/>
          </a:effectRef>
          <a:fontRef idx="minor">
            <a:schemeClr val="tx1"/>
          </a:fontRef>
        </p:style>
      </p:cxnSp>
      <p:sp>
        <p:nvSpPr>
          <p:cNvPr id="6" name="Text Placeholder 5"/>
          <p:cNvSpPr>
            <a:spLocks noGrp="1"/>
          </p:cNvSpPr>
          <p:nvPr>
            <p:ph type="body" sz="quarter" idx="19" hasCustomPrompt="1"/>
          </p:nvPr>
        </p:nvSpPr>
        <p:spPr>
          <a:xfrm>
            <a:off x="4451001" y="1824401"/>
            <a:ext cx="2463190" cy="192360"/>
          </a:xfrm>
        </p:spPr>
        <p:txBody>
          <a:bodyPr lIns="0" tIns="0" rIns="0" bIns="0" anchor="ctr" anchorCtr="0"/>
          <a:lstStyle>
            <a:lvl1pPr marL="0" indent="0" algn="l">
              <a:lnSpc>
                <a:spcPct val="100000"/>
              </a:lnSpc>
              <a:buNone/>
              <a:defRPr sz="100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Country</a:t>
            </a:r>
          </a:p>
        </p:txBody>
      </p:sp>
      <p:sp>
        <p:nvSpPr>
          <p:cNvPr id="26" name="Text Placeholder 5"/>
          <p:cNvSpPr>
            <a:spLocks noGrp="1"/>
          </p:cNvSpPr>
          <p:nvPr>
            <p:ph type="body" sz="quarter" idx="20" hasCustomPrompt="1"/>
          </p:nvPr>
        </p:nvSpPr>
        <p:spPr>
          <a:xfrm>
            <a:off x="4451001" y="2036217"/>
            <a:ext cx="2463190" cy="266182"/>
          </a:xfrm>
        </p:spPr>
        <p:txBody>
          <a:bodyPr lIns="0" tIns="0" rIns="0" bIns="0" anchor="b" anchorCtr="0"/>
          <a:lstStyle>
            <a:lvl1pPr marL="0" indent="0" algn="l">
              <a:lnSpc>
                <a:spcPct val="100000"/>
              </a:lnSpc>
              <a:buNone/>
              <a:defRPr sz="1400" b="1" baseline="0">
                <a:solidFill>
                  <a:schemeClr val="tx2"/>
                </a:solidFill>
              </a:defRPr>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Name, Surname</a:t>
            </a:r>
          </a:p>
        </p:txBody>
      </p:sp>
      <p:sp>
        <p:nvSpPr>
          <p:cNvPr id="27" name="Text Placeholder 5"/>
          <p:cNvSpPr>
            <a:spLocks noGrp="1"/>
          </p:cNvSpPr>
          <p:nvPr>
            <p:ph type="body" sz="quarter" idx="21" hasCustomPrompt="1"/>
          </p:nvPr>
        </p:nvSpPr>
        <p:spPr>
          <a:xfrm>
            <a:off x="4451001" y="2332792"/>
            <a:ext cx="2463190"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Job Position</a:t>
            </a:r>
          </a:p>
        </p:txBody>
      </p:sp>
      <p:sp>
        <p:nvSpPr>
          <p:cNvPr id="28" name="Text Placeholder 5"/>
          <p:cNvSpPr>
            <a:spLocks noGrp="1"/>
          </p:cNvSpPr>
          <p:nvPr>
            <p:ph type="body" sz="quarter" idx="22" hasCustomPrompt="1"/>
          </p:nvPr>
        </p:nvSpPr>
        <p:spPr>
          <a:xfrm>
            <a:off x="4695884" y="2861468"/>
            <a:ext cx="2218307"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Phone number</a:t>
            </a:r>
          </a:p>
        </p:txBody>
      </p:sp>
      <p:sp>
        <p:nvSpPr>
          <p:cNvPr id="29" name="Text Placeholder 5"/>
          <p:cNvSpPr>
            <a:spLocks noGrp="1"/>
          </p:cNvSpPr>
          <p:nvPr>
            <p:ph type="body" sz="quarter" idx="23" hasCustomPrompt="1"/>
          </p:nvPr>
        </p:nvSpPr>
        <p:spPr>
          <a:xfrm>
            <a:off x="4695884" y="3144275"/>
            <a:ext cx="2218307"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Email address</a:t>
            </a:r>
          </a:p>
        </p:txBody>
      </p:sp>
      <p:sp>
        <p:nvSpPr>
          <p:cNvPr id="35" name="Text Placeholder 34"/>
          <p:cNvSpPr>
            <a:spLocks noGrp="1"/>
          </p:cNvSpPr>
          <p:nvPr>
            <p:ph type="body" sz="quarter" idx="24" hasCustomPrompt="1"/>
          </p:nvPr>
        </p:nvSpPr>
        <p:spPr>
          <a:xfrm>
            <a:off x="4492626" y="3681413"/>
            <a:ext cx="4492594" cy="2087562"/>
          </a:xfrm>
        </p:spPr>
        <p:txBody>
          <a:bodyPr/>
          <a:lstStyle>
            <a:lvl1pPr>
              <a:defRPr sz="1400" baseline="0"/>
            </a:lvl1pPr>
            <a:lvl2pPr>
              <a:defRPr sz="1400"/>
            </a:lvl2pPr>
            <a:lvl3pPr>
              <a:defRPr sz="1400"/>
            </a:lvl3pPr>
            <a:lvl4pPr>
              <a:defRPr sz="1400"/>
            </a:lvl4pPr>
            <a:lvl5pPr>
              <a:defRPr sz="1400"/>
            </a:lvl5pPr>
          </a:lstStyle>
          <a:p>
            <a:pPr lvl="0"/>
            <a:r>
              <a:rPr lang="en-US"/>
              <a:t>Additional information (if needed)</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05814353"/>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Black and text">
    <p:bg bwMode="gray">
      <p:bgPr>
        <a:solidFill>
          <a:schemeClr val="bg1"/>
        </a:solidFill>
        <a:effectLst/>
      </p:bgPr>
    </p:bg>
    <p:spTree>
      <p:nvGrpSpPr>
        <p:cNvPr id="1" name=""/>
        <p:cNvGrpSpPr/>
        <p:nvPr/>
      </p:nvGrpSpPr>
      <p:grpSpPr>
        <a:xfrm>
          <a:off x="0" y="0"/>
          <a:ext cx="0" cy="0"/>
          <a:chOff x="0" y="0"/>
          <a:chExt cx="0" cy="0"/>
        </a:xfrm>
      </p:grpSpPr>
      <p:sp>
        <p:nvSpPr>
          <p:cNvPr id="3" name="Rechteck 2"/>
          <p:cNvSpPr/>
          <p:nvPr userDrawn="1"/>
        </p:nvSpPr>
        <p:spPr bwMode="gray">
          <a:xfrm>
            <a:off x="0" y="0"/>
            <a:ext cx="12192000" cy="6858000"/>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indent="0" algn="ctr">
              <a:buFont typeface="Courier New" pitchFamily="49" charset="0"/>
              <a:buNone/>
            </a:pPr>
            <a:endParaRPr lang="en-US" sz="2133">
              <a:solidFill>
                <a:schemeClr val="tx1"/>
              </a:solidFill>
              <a:latin typeface="Arial" pitchFamily="34" charset="0"/>
            </a:endParaRPr>
          </a:p>
        </p:txBody>
      </p:sp>
      <p:sp>
        <p:nvSpPr>
          <p:cNvPr id="2" name="Titel 1"/>
          <p:cNvSpPr>
            <a:spLocks noGrp="1"/>
          </p:cNvSpPr>
          <p:nvPr>
            <p:ph type="title" hasCustomPrompt="1"/>
          </p:nvPr>
        </p:nvSpPr>
        <p:spPr bwMode="gray">
          <a:xfrm>
            <a:off x="431802" y="1221319"/>
            <a:ext cx="11328399" cy="2688168"/>
          </a:xfrm>
        </p:spPr>
        <p:txBody>
          <a:bodyPr vert="horz" lIns="0" tIns="18000" rIns="0" bIns="0" rtlCol="0" anchor="b" anchorCtr="0">
            <a:noAutofit/>
          </a:bodyPr>
          <a:lstStyle>
            <a:lvl1pPr>
              <a:defRPr lang="de-DE" sz="4800" cap="none" baseline="0">
                <a:solidFill>
                  <a:schemeClr val="bg1"/>
                </a:solidFill>
                <a:latin typeface="Arial" pitchFamily="34" charset="0"/>
                <a:ea typeface="+mn-ea"/>
                <a:cs typeface="+mn-cs"/>
              </a:defRPr>
            </a:lvl1pPr>
          </a:lstStyle>
          <a:p>
            <a:pPr lvl="0"/>
            <a:r>
              <a:rPr lang="en-US"/>
              <a:t>Click to add text</a:t>
            </a:r>
          </a:p>
        </p:txBody>
      </p:sp>
    </p:spTree>
    <p:extLst>
      <p:ext uri="{BB962C8B-B14F-4D97-AF65-F5344CB8AC3E}">
        <p14:creationId xmlns:p14="http://schemas.microsoft.com/office/powerpoint/2010/main" val="723885935"/>
      </p:ext>
    </p:extLst>
  </p:cSld>
  <p:clrMapOvr>
    <a:masterClrMapping/>
  </p:clrMapOvr>
</p:sldLayout>
</file>

<file path=ppt/slideLayouts/slideLayout380.xml><?xml version="1.0" encoding="utf-8"?>
<p:sldLayout xmlns:a="http://schemas.openxmlformats.org/drawingml/2006/main" xmlns:r="http://schemas.openxmlformats.org/officeDocument/2006/relationships" xmlns:p="http://schemas.openxmlformats.org/presentationml/2006/main" preserve="1">
  <p:cSld name="Two contacts">
    <p:spTree>
      <p:nvGrpSpPr>
        <p:cNvPr id="1" name=""/>
        <p:cNvGrpSpPr/>
        <p:nvPr/>
      </p:nvGrpSpPr>
      <p:grpSpPr>
        <a:xfrm>
          <a:off x="0" y="0"/>
          <a:ext cx="0" cy="0"/>
          <a:chOff x="0" y="0"/>
          <a:chExt cx="0" cy="0"/>
        </a:xfrm>
      </p:grpSpPr>
      <p:sp>
        <p:nvSpPr>
          <p:cNvPr id="21" name="Date Placeholder 20"/>
          <p:cNvSpPr>
            <a:spLocks noGrp="1"/>
          </p:cNvSpPr>
          <p:nvPr>
            <p:ph type="dt" sz="half" idx="14"/>
          </p:nvPr>
        </p:nvSpPr>
        <p:spPr/>
        <p:txBody>
          <a:bodyPr/>
          <a:lstStyle/>
          <a:p>
            <a:endParaRPr lang="en-US"/>
          </a:p>
        </p:txBody>
      </p:sp>
      <p:sp>
        <p:nvSpPr>
          <p:cNvPr id="22" name="Footer Placeholder 21"/>
          <p:cNvSpPr>
            <a:spLocks noGrp="1"/>
          </p:cNvSpPr>
          <p:nvPr>
            <p:ph type="ftr" sz="quarter" idx="15"/>
          </p:nvPr>
        </p:nvSpPr>
        <p:spPr/>
        <p:txBody>
          <a:bodyPr/>
          <a:lstStyle/>
          <a:p>
            <a:endParaRPr lang="en-US"/>
          </a:p>
        </p:txBody>
      </p:sp>
      <p:sp>
        <p:nvSpPr>
          <p:cNvPr id="23" name="Slide Number Placeholder 22"/>
          <p:cNvSpPr>
            <a:spLocks noGrp="1"/>
          </p:cNvSpPr>
          <p:nvPr>
            <p:ph type="sldNum" sz="quarter" idx="16"/>
          </p:nvPr>
        </p:nvSpPr>
        <p:spPr/>
        <p:txBody>
          <a:bodyPr/>
          <a:lstStyle/>
          <a:p>
            <a:fld id="{5F3E29E4-0979-4FCA-B4C5-5FC6044C982A}" type="slidenum">
              <a:rPr lang="en-US" smtClean="0"/>
              <a:t>‹#›</a:t>
            </a:fld>
            <a:endParaRPr lang="en-US"/>
          </a:p>
        </p:txBody>
      </p:sp>
      <p:sp>
        <p:nvSpPr>
          <p:cNvPr id="2" name="Title 1"/>
          <p:cNvSpPr>
            <a:spLocks noGrp="1"/>
          </p:cNvSpPr>
          <p:nvPr>
            <p:ph type="title" hasCustomPrompt="1"/>
          </p:nvPr>
        </p:nvSpPr>
        <p:spPr/>
        <p:txBody>
          <a:bodyPr/>
          <a:lstStyle>
            <a:lvl1pPr>
              <a:defRPr/>
            </a:lvl1pPr>
          </a:lstStyle>
          <a:p>
            <a:r>
              <a:rPr lang="en-US"/>
              <a:t>Click to add contact title</a:t>
            </a:r>
          </a:p>
        </p:txBody>
      </p:sp>
      <p:sp>
        <p:nvSpPr>
          <p:cNvPr id="7" name="Subtitle 2"/>
          <p:cNvSpPr>
            <a:spLocks noGrp="1"/>
          </p:cNvSpPr>
          <p:nvPr>
            <p:ph type="subTitle" idx="13" hasCustomPrompt="1"/>
          </p:nvPr>
        </p:nvSpPr>
        <p:spPr>
          <a:xfrm>
            <a:off x="1075061" y="964671"/>
            <a:ext cx="7910158" cy="490042"/>
          </a:xfrm>
        </p:spPr>
        <p:txBody>
          <a:bodyPr wrap="none"/>
          <a:lstStyle>
            <a:lvl1pPr marL="0" indent="0" algn="l">
              <a:spcBef>
                <a:spcPts val="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grpSp>
        <p:nvGrpSpPr>
          <p:cNvPr id="8" name="Gruppieren 80">
            <a:extLst>
              <a:ext uri="{FF2B5EF4-FFF2-40B4-BE49-F238E27FC236}">
                <a16:creationId xmlns:a16="http://schemas.microsoft.com/office/drawing/2014/main" id="{6B969E7B-9C39-4443-9B02-74C1E7C5CCAC}"/>
              </a:ext>
            </a:extLst>
          </p:cNvPr>
          <p:cNvGrpSpPr/>
          <p:nvPr/>
        </p:nvGrpSpPr>
        <p:grpSpPr>
          <a:xfrm>
            <a:off x="3770065" y="2868319"/>
            <a:ext cx="171180" cy="171180"/>
            <a:chOff x="3392092" y="1841122"/>
            <a:chExt cx="646508" cy="646508"/>
          </a:xfrm>
        </p:grpSpPr>
        <p:sp>
          <p:nvSpPr>
            <p:cNvPr id="9" name="Rechteck 14">
              <a:extLst>
                <a:ext uri="{FF2B5EF4-FFF2-40B4-BE49-F238E27FC236}">
                  <a16:creationId xmlns:a16="http://schemas.microsoft.com/office/drawing/2014/main" id="{D78F58EA-5525-8D43-8295-FEA52ECF6BFA}"/>
                </a:ext>
              </a:extLst>
            </p:cNvPr>
            <p:cNvSpPr>
              <a:spLocks noChangeAspect="1"/>
            </p:cNvSpPr>
            <p:nvPr/>
          </p:nvSpPr>
          <p:spPr bwMode="gray">
            <a:xfrm>
              <a:off x="3392092" y="1841122"/>
              <a:ext cx="646508" cy="646508"/>
            </a:xfrm>
            <a:prstGeom prst="rect">
              <a:avLst/>
            </a:prstGeom>
            <a:solidFill>
              <a:srgbClr val="E55A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pPr>
              <a:endParaRPr lang="en-US" sz="1000">
                <a:solidFill>
                  <a:schemeClr val="tx1"/>
                </a:solidFill>
                <a:latin typeface="Arial" pitchFamily="34" charset="0"/>
                <a:cs typeface="Arial" pitchFamily="34" charset="0"/>
              </a:endParaRPr>
            </a:p>
          </p:txBody>
        </p:sp>
        <p:sp>
          <p:nvSpPr>
            <p:cNvPr id="10" name="Freeform 67">
              <a:extLst>
                <a:ext uri="{FF2B5EF4-FFF2-40B4-BE49-F238E27FC236}">
                  <a16:creationId xmlns:a16="http://schemas.microsoft.com/office/drawing/2014/main" id="{D01A6292-2776-4945-B828-483D79DC4908}"/>
                </a:ext>
              </a:extLst>
            </p:cNvPr>
            <p:cNvSpPr>
              <a:spLocks noChangeAspect="1"/>
            </p:cNvSpPr>
            <p:nvPr/>
          </p:nvSpPr>
          <p:spPr bwMode="auto">
            <a:xfrm>
              <a:off x="3546638" y="1970424"/>
              <a:ext cx="337415" cy="387905"/>
            </a:xfrm>
            <a:custGeom>
              <a:avLst/>
              <a:gdLst>
                <a:gd name="T0" fmla="*/ 573 w 1624"/>
                <a:gd name="T1" fmla="*/ 1257 h 1867"/>
                <a:gd name="T2" fmla="*/ 662 w 1624"/>
                <a:gd name="T3" fmla="*/ 1288 h 1867"/>
                <a:gd name="T4" fmla="*/ 938 w 1624"/>
                <a:gd name="T5" fmla="*/ 1051 h 1867"/>
                <a:gd name="T6" fmla="*/ 1106 w 1624"/>
                <a:gd name="T7" fmla="*/ 731 h 1867"/>
                <a:gd name="T8" fmla="*/ 1059 w 1624"/>
                <a:gd name="T9" fmla="*/ 645 h 1867"/>
                <a:gd name="T10" fmla="*/ 1001 w 1624"/>
                <a:gd name="T11" fmla="*/ 613 h 1867"/>
                <a:gd name="T12" fmla="*/ 924 w 1624"/>
                <a:gd name="T13" fmla="*/ 432 h 1867"/>
                <a:gd name="T14" fmla="*/ 1114 w 1624"/>
                <a:gd name="T15" fmla="*/ 81 h 1867"/>
                <a:gd name="T16" fmla="*/ 1287 w 1624"/>
                <a:gd name="T17" fmla="*/ 35 h 1867"/>
                <a:gd name="T18" fmla="*/ 1350 w 1624"/>
                <a:gd name="T19" fmla="*/ 69 h 1867"/>
                <a:gd name="T20" fmla="*/ 1527 w 1624"/>
                <a:gd name="T21" fmla="*/ 235 h 1867"/>
                <a:gd name="T22" fmla="*/ 1583 w 1624"/>
                <a:gd name="T23" fmla="*/ 555 h 1867"/>
                <a:gd name="T24" fmla="*/ 1172 w 1624"/>
                <a:gd name="T25" fmla="*/ 1253 h 1867"/>
                <a:gd name="T26" fmla="*/ 586 w 1624"/>
                <a:gd name="T27" fmla="*/ 1803 h 1867"/>
                <a:gd name="T28" fmla="*/ 269 w 1624"/>
                <a:gd name="T29" fmla="*/ 1807 h 1867"/>
                <a:gd name="T30" fmla="*/ 33 w 1624"/>
                <a:gd name="T31" fmla="*/ 1602 h 1867"/>
                <a:gd name="T32" fmla="*/ 2 w 1624"/>
                <a:gd name="T33" fmla="*/ 1508 h 1867"/>
                <a:gd name="T34" fmla="*/ 45 w 1624"/>
                <a:gd name="T35" fmla="*/ 1421 h 1867"/>
                <a:gd name="T36" fmla="*/ 346 w 1624"/>
                <a:gd name="T37" fmla="*/ 1158 h 1867"/>
                <a:gd name="T38" fmla="*/ 448 w 1624"/>
                <a:gd name="T39" fmla="*/ 1145 h 1867"/>
                <a:gd name="T40" fmla="*/ 573 w 1624"/>
                <a:gd name="T41" fmla="*/ 1257 h 18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24" h="1867">
                  <a:moveTo>
                    <a:pt x="573" y="1257"/>
                  </a:moveTo>
                  <a:cubicBezTo>
                    <a:pt x="592" y="1282"/>
                    <a:pt x="630" y="1303"/>
                    <a:pt x="662" y="1288"/>
                  </a:cubicBezTo>
                  <a:cubicBezTo>
                    <a:pt x="753" y="1245"/>
                    <a:pt x="854" y="1156"/>
                    <a:pt x="938" y="1051"/>
                  </a:cubicBezTo>
                  <a:cubicBezTo>
                    <a:pt x="1020" y="948"/>
                    <a:pt x="1084" y="831"/>
                    <a:pt x="1106" y="731"/>
                  </a:cubicBezTo>
                  <a:cubicBezTo>
                    <a:pt x="1113" y="696"/>
                    <a:pt x="1089" y="661"/>
                    <a:pt x="1059" y="645"/>
                  </a:cubicBezTo>
                  <a:cubicBezTo>
                    <a:pt x="1001" y="613"/>
                    <a:pt x="1001" y="613"/>
                    <a:pt x="1001" y="613"/>
                  </a:cubicBezTo>
                  <a:cubicBezTo>
                    <a:pt x="942" y="580"/>
                    <a:pt x="888" y="499"/>
                    <a:pt x="924" y="432"/>
                  </a:cubicBezTo>
                  <a:cubicBezTo>
                    <a:pt x="1114" y="81"/>
                    <a:pt x="1114" y="81"/>
                    <a:pt x="1114" y="81"/>
                  </a:cubicBezTo>
                  <a:cubicBezTo>
                    <a:pt x="1150" y="16"/>
                    <a:pt x="1224" y="0"/>
                    <a:pt x="1287" y="35"/>
                  </a:cubicBezTo>
                  <a:cubicBezTo>
                    <a:pt x="1350" y="69"/>
                    <a:pt x="1350" y="69"/>
                    <a:pt x="1350" y="69"/>
                  </a:cubicBezTo>
                  <a:cubicBezTo>
                    <a:pt x="1415" y="105"/>
                    <a:pt x="1479" y="165"/>
                    <a:pt x="1527" y="235"/>
                  </a:cubicBezTo>
                  <a:cubicBezTo>
                    <a:pt x="1593" y="332"/>
                    <a:pt x="1624" y="442"/>
                    <a:pt x="1583" y="555"/>
                  </a:cubicBezTo>
                  <a:cubicBezTo>
                    <a:pt x="1500" y="781"/>
                    <a:pt x="1351" y="1030"/>
                    <a:pt x="1172" y="1253"/>
                  </a:cubicBezTo>
                  <a:cubicBezTo>
                    <a:pt x="994" y="1477"/>
                    <a:pt x="786" y="1676"/>
                    <a:pt x="586" y="1803"/>
                  </a:cubicBezTo>
                  <a:cubicBezTo>
                    <a:pt x="486" y="1867"/>
                    <a:pt x="375" y="1856"/>
                    <a:pt x="269" y="1807"/>
                  </a:cubicBezTo>
                  <a:cubicBezTo>
                    <a:pt x="157" y="1755"/>
                    <a:pt x="106" y="1695"/>
                    <a:pt x="33" y="1602"/>
                  </a:cubicBezTo>
                  <a:cubicBezTo>
                    <a:pt x="11" y="1573"/>
                    <a:pt x="0" y="1540"/>
                    <a:pt x="2" y="1508"/>
                  </a:cubicBezTo>
                  <a:cubicBezTo>
                    <a:pt x="4" y="1475"/>
                    <a:pt x="18" y="1444"/>
                    <a:pt x="45" y="1421"/>
                  </a:cubicBezTo>
                  <a:cubicBezTo>
                    <a:pt x="70" y="1399"/>
                    <a:pt x="346" y="1158"/>
                    <a:pt x="346" y="1158"/>
                  </a:cubicBezTo>
                  <a:cubicBezTo>
                    <a:pt x="376" y="1134"/>
                    <a:pt x="413" y="1133"/>
                    <a:pt x="448" y="1145"/>
                  </a:cubicBezTo>
                  <a:cubicBezTo>
                    <a:pt x="510" y="1166"/>
                    <a:pt x="536" y="1210"/>
                    <a:pt x="573" y="1257"/>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351"/>
            </a:p>
          </p:txBody>
        </p:sp>
      </p:grpSp>
      <p:grpSp>
        <p:nvGrpSpPr>
          <p:cNvPr id="11" name="Group 3">
            <a:extLst>
              <a:ext uri="{FF2B5EF4-FFF2-40B4-BE49-F238E27FC236}">
                <a16:creationId xmlns:a16="http://schemas.microsoft.com/office/drawing/2014/main" id="{DED6A25A-5DE2-1441-8BA2-C68D3B4F9209}"/>
              </a:ext>
            </a:extLst>
          </p:cNvPr>
          <p:cNvGrpSpPr>
            <a:grpSpLocks noChangeAspect="1"/>
          </p:cNvGrpSpPr>
          <p:nvPr>
            <p:custDataLst>
              <p:tags r:id="rId1"/>
            </p:custDataLst>
          </p:nvPr>
        </p:nvGrpSpPr>
        <p:grpSpPr>
          <a:xfrm>
            <a:off x="3770066" y="3153207"/>
            <a:ext cx="171180" cy="171180"/>
            <a:chOff x="328396" y="5313940"/>
            <a:chExt cx="720000" cy="720000"/>
          </a:xfrm>
        </p:grpSpPr>
        <p:sp>
          <p:nvSpPr>
            <p:cNvPr id="12" name="Rectangle 4">
              <a:extLst>
                <a:ext uri="{FF2B5EF4-FFF2-40B4-BE49-F238E27FC236}">
                  <a16:creationId xmlns:a16="http://schemas.microsoft.com/office/drawing/2014/main" id="{5F49E67F-D4FA-9D48-96BC-59AE946ECD15}"/>
                </a:ext>
              </a:extLst>
            </p:cNvPr>
            <p:cNvSpPr/>
            <p:nvPr/>
          </p:nvSpPr>
          <p:spPr bwMode="gray">
            <a:xfrm>
              <a:off x="328396" y="5313940"/>
              <a:ext cx="720000" cy="720000"/>
            </a:xfrm>
            <a:prstGeom prst="rect">
              <a:avLst/>
            </a:prstGeom>
            <a:solidFill>
              <a:srgbClr val="E55A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pPr>
              <a:endParaRPr lang="en-US" sz="1000">
                <a:solidFill>
                  <a:schemeClr val="tx1"/>
                </a:solidFill>
                <a:latin typeface="Arial" pitchFamily="34" charset="0"/>
                <a:cs typeface="Arial" pitchFamily="34" charset="0"/>
              </a:endParaRPr>
            </a:p>
          </p:txBody>
        </p:sp>
        <p:sp>
          <p:nvSpPr>
            <p:cNvPr id="13" name="Freeform 76">
              <a:extLst>
                <a:ext uri="{FF2B5EF4-FFF2-40B4-BE49-F238E27FC236}">
                  <a16:creationId xmlns:a16="http://schemas.microsoft.com/office/drawing/2014/main" id="{187E70E6-AF3F-2549-908E-DF4BA61040AA}"/>
                </a:ext>
              </a:extLst>
            </p:cNvPr>
            <p:cNvSpPr>
              <a:spLocks noChangeAspect="1" noEditPoints="1"/>
            </p:cNvSpPr>
            <p:nvPr/>
          </p:nvSpPr>
          <p:spPr bwMode="auto">
            <a:xfrm>
              <a:off x="456202" y="5509222"/>
              <a:ext cx="504000" cy="329436"/>
            </a:xfrm>
            <a:custGeom>
              <a:avLst/>
              <a:gdLst>
                <a:gd name="T0" fmla="*/ 0 w 2080"/>
                <a:gd name="T1" fmla="*/ 65 h 1360"/>
                <a:gd name="T2" fmla="*/ 0 w 2080"/>
                <a:gd name="T3" fmla="*/ 0 h 1360"/>
                <a:gd name="T4" fmla="*/ 2080 w 2080"/>
                <a:gd name="T5" fmla="*/ 0 h 1360"/>
                <a:gd name="T6" fmla="*/ 2080 w 2080"/>
                <a:gd name="T7" fmla="*/ 65 h 1360"/>
                <a:gd name="T8" fmla="*/ 1089 w 2080"/>
                <a:gd name="T9" fmla="*/ 862 h 1360"/>
                <a:gd name="T10" fmla="*/ 991 w 2080"/>
                <a:gd name="T11" fmla="*/ 862 h 1360"/>
                <a:gd name="T12" fmla="*/ 0 w 2080"/>
                <a:gd name="T13" fmla="*/ 65 h 1360"/>
                <a:gd name="T14" fmla="*/ 1139 w 2080"/>
                <a:gd name="T15" fmla="*/ 924 h 1360"/>
                <a:gd name="T16" fmla="*/ 1282 w 2080"/>
                <a:gd name="T17" fmla="*/ 810 h 1360"/>
                <a:gd name="T18" fmla="*/ 2076 w 2080"/>
                <a:gd name="T19" fmla="*/ 1360 h 1360"/>
                <a:gd name="T20" fmla="*/ 4 w 2080"/>
                <a:gd name="T21" fmla="*/ 1360 h 1360"/>
                <a:gd name="T22" fmla="*/ 798 w 2080"/>
                <a:gd name="T23" fmla="*/ 810 h 1360"/>
                <a:gd name="T24" fmla="*/ 941 w 2080"/>
                <a:gd name="T25" fmla="*/ 924 h 1360"/>
                <a:gd name="T26" fmla="*/ 1139 w 2080"/>
                <a:gd name="T27" fmla="*/ 924 h 1360"/>
                <a:gd name="T28" fmla="*/ 2 w 2080"/>
                <a:gd name="T29" fmla="*/ 137 h 1360"/>
                <a:gd name="T30" fmla="*/ 42 w 2080"/>
                <a:gd name="T31" fmla="*/ 201 h 1360"/>
                <a:gd name="T32" fmla="*/ 734 w 2080"/>
                <a:gd name="T33" fmla="*/ 758 h 1360"/>
                <a:gd name="T34" fmla="*/ 0 w 2080"/>
                <a:gd name="T35" fmla="*/ 1266 h 1360"/>
                <a:gd name="T36" fmla="*/ 0 w 2080"/>
                <a:gd name="T37" fmla="*/ 135 h 1360"/>
                <a:gd name="T38" fmla="*/ 2 w 2080"/>
                <a:gd name="T39" fmla="*/ 137 h 1360"/>
                <a:gd name="T40" fmla="*/ 2080 w 2080"/>
                <a:gd name="T41" fmla="*/ 136 h 1360"/>
                <a:gd name="T42" fmla="*/ 2080 w 2080"/>
                <a:gd name="T43" fmla="*/ 1265 h 1360"/>
                <a:gd name="T44" fmla="*/ 1346 w 2080"/>
                <a:gd name="T45" fmla="*/ 758 h 1360"/>
                <a:gd name="T46" fmla="*/ 2038 w 2080"/>
                <a:gd name="T47" fmla="*/ 201 h 1360"/>
                <a:gd name="T48" fmla="*/ 2080 w 2080"/>
                <a:gd name="T49" fmla="*/ 136 h 1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080" h="1360">
                  <a:moveTo>
                    <a:pt x="0" y="65"/>
                  </a:moveTo>
                  <a:cubicBezTo>
                    <a:pt x="0" y="0"/>
                    <a:pt x="0" y="0"/>
                    <a:pt x="0" y="0"/>
                  </a:cubicBezTo>
                  <a:cubicBezTo>
                    <a:pt x="2080" y="0"/>
                    <a:pt x="2080" y="0"/>
                    <a:pt x="2080" y="0"/>
                  </a:cubicBezTo>
                  <a:cubicBezTo>
                    <a:pt x="2080" y="65"/>
                    <a:pt x="2080" y="65"/>
                    <a:pt x="2080" y="65"/>
                  </a:cubicBezTo>
                  <a:cubicBezTo>
                    <a:pt x="1089" y="862"/>
                    <a:pt x="1089" y="862"/>
                    <a:pt x="1089" y="862"/>
                  </a:cubicBezTo>
                  <a:cubicBezTo>
                    <a:pt x="1060" y="886"/>
                    <a:pt x="1020" y="886"/>
                    <a:pt x="991" y="862"/>
                  </a:cubicBezTo>
                  <a:lnTo>
                    <a:pt x="0" y="65"/>
                  </a:lnTo>
                  <a:close/>
                  <a:moveTo>
                    <a:pt x="1139" y="924"/>
                  </a:moveTo>
                  <a:cubicBezTo>
                    <a:pt x="1282" y="810"/>
                    <a:pt x="1282" y="810"/>
                    <a:pt x="1282" y="810"/>
                  </a:cubicBezTo>
                  <a:cubicBezTo>
                    <a:pt x="2076" y="1360"/>
                    <a:pt x="2076" y="1360"/>
                    <a:pt x="2076" y="1360"/>
                  </a:cubicBezTo>
                  <a:cubicBezTo>
                    <a:pt x="4" y="1360"/>
                    <a:pt x="4" y="1360"/>
                    <a:pt x="4" y="1360"/>
                  </a:cubicBezTo>
                  <a:cubicBezTo>
                    <a:pt x="798" y="810"/>
                    <a:pt x="798" y="810"/>
                    <a:pt x="798" y="810"/>
                  </a:cubicBezTo>
                  <a:cubicBezTo>
                    <a:pt x="941" y="924"/>
                    <a:pt x="941" y="924"/>
                    <a:pt x="941" y="924"/>
                  </a:cubicBezTo>
                  <a:cubicBezTo>
                    <a:pt x="1000" y="972"/>
                    <a:pt x="1080" y="972"/>
                    <a:pt x="1139" y="924"/>
                  </a:cubicBezTo>
                  <a:close/>
                  <a:moveTo>
                    <a:pt x="2" y="137"/>
                  </a:moveTo>
                  <a:cubicBezTo>
                    <a:pt x="8" y="163"/>
                    <a:pt x="22" y="185"/>
                    <a:pt x="42" y="201"/>
                  </a:cubicBezTo>
                  <a:cubicBezTo>
                    <a:pt x="734" y="758"/>
                    <a:pt x="734" y="758"/>
                    <a:pt x="734" y="758"/>
                  </a:cubicBezTo>
                  <a:cubicBezTo>
                    <a:pt x="0" y="1266"/>
                    <a:pt x="0" y="1266"/>
                    <a:pt x="0" y="1266"/>
                  </a:cubicBezTo>
                  <a:cubicBezTo>
                    <a:pt x="0" y="135"/>
                    <a:pt x="0" y="135"/>
                    <a:pt x="0" y="135"/>
                  </a:cubicBezTo>
                  <a:lnTo>
                    <a:pt x="2" y="137"/>
                  </a:lnTo>
                  <a:close/>
                  <a:moveTo>
                    <a:pt x="2080" y="136"/>
                  </a:moveTo>
                  <a:cubicBezTo>
                    <a:pt x="2080" y="1265"/>
                    <a:pt x="2080" y="1265"/>
                    <a:pt x="2080" y="1265"/>
                  </a:cubicBezTo>
                  <a:cubicBezTo>
                    <a:pt x="1346" y="758"/>
                    <a:pt x="1346" y="758"/>
                    <a:pt x="1346" y="758"/>
                  </a:cubicBezTo>
                  <a:cubicBezTo>
                    <a:pt x="2038" y="201"/>
                    <a:pt x="2038" y="201"/>
                    <a:pt x="2038" y="201"/>
                  </a:cubicBezTo>
                  <a:cubicBezTo>
                    <a:pt x="2060" y="182"/>
                    <a:pt x="2072" y="162"/>
                    <a:pt x="2080" y="13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000"/>
            </a:p>
          </p:txBody>
        </p:sp>
      </p:grpSp>
      <p:grpSp>
        <p:nvGrpSpPr>
          <p:cNvPr id="14" name="Gruppieren 2">
            <a:extLst>
              <a:ext uri="{FF2B5EF4-FFF2-40B4-BE49-F238E27FC236}">
                <a16:creationId xmlns:a16="http://schemas.microsoft.com/office/drawing/2014/main" id="{BE697CE9-EBDE-6B4A-BE70-582D92A8A831}"/>
              </a:ext>
            </a:extLst>
          </p:cNvPr>
          <p:cNvGrpSpPr/>
          <p:nvPr/>
        </p:nvGrpSpPr>
        <p:grpSpPr>
          <a:xfrm>
            <a:off x="8701917" y="2868319"/>
            <a:ext cx="171180" cy="171180"/>
            <a:chOff x="3392092" y="1841122"/>
            <a:chExt cx="646508" cy="646508"/>
          </a:xfrm>
        </p:grpSpPr>
        <p:sp>
          <p:nvSpPr>
            <p:cNvPr id="15" name="Rechteck 14">
              <a:extLst>
                <a:ext uri="{FF2B5EF4-FFF2-40B4-BE49-F238E27FC236}">
                  <a16:creationId xmlns:a16="http://schemas.microsoft.com/office/drawing/2014/main" id="{E142A731-19B7-C34D-9534-9E05108F895F}"/>
                </a:ext>
              </a:extLst>
            </p:cNvPr>
            <p:cNvSpPr>
              <a:spLocks noChangeAspect="1"/>
            </p:cNvSpPr>
            <p:nvPr/>
          </p:nvSpPr>
          <p:spPr bwMode="gray">
            <a:xfrm>
              <a:off x="3392092" y="1841122"/>
              <a:ext cx="646508" cy="646508"/>
            </a:xfrm>
            <a:prstGeom prst="rect">
              <a:avLst/>
            </a:prstGeom>
            <a:solidFill>
              <a:srgbClr val="E55A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pPr>
              <a:endParaRPr lang="en-US" sz="1000">
                <a:solidFill>
                  <a:schemeClr val="tx1"/>
                </a:solidFill>
                <a:latin typeface="Arial" pitchFamily="34" charset="0"/>
                <a:cs typeface="Arial" pitchFamily="34" charset="0"/>
              </a:endParaRPr>
            </a:p>
          </p:txBody>
        </p:sp>
        <p:sp>
          <p:nvSpPr>
            <p:cNvPr id="16" name="Freeform 15">
              <a:extLst>
                <a:ext uri="{FF2B5EF4-FFF2-40B4-BE49-F238E27FC236}">
                  <a16:creationId xmlns:a16="http://schemas.microsoft.com/office/drawing/2014/main" id="{F97E84AE-4AD9-4B44-9AA1-F797FC373809}"/>
                </a:ext>
              </a:extLst>
            </p:cNvPr>
            <p:cNvSpPr>
              <a:spLocks noChangeAspect="1"/>
            </p:cNvSpPr>
            <p:nvPr/>
          </p:nvSpPr>
          <p:spPr bwMode="auto">
            <a:xfrm>
              <a:off x="3546638" y="1970424"/>
              <a:ext cx="337415" cy="387905"/>
            </a:xfrm>
            <a:custGeom>
              <a:avLst/>
              <a:gdLst>
                <a:gd name="T0" fmla="*/ 573 w 1624"/>
                <a:gd name="T1" fmla="*/ 1257 h 1867"/>
                <a:gd name="T2" fmla="*/ 662 w 1624"/>
                <a:gd name="T3" fmla="*/ 1288 h 1867"/>
                <a:gd name="T4" fmla="*/ 938 w 1624"/>
                <a:gd name="T5" fmla="*/ 1051 h 1867"/>
                <a:gd name="T6" fmla="*/ 1106 w 1624"/>
                <a:gd name="T7" fmla="*/ 731 h 1867"/>
                <a:gd name="T8" fmla="*/ 1059 w 1624"/>
                <a:gd name="T9" fmla="*/ 645 h 1867"/>
                <a:gd name="T10" fmla="*/ 1001 w 1624"/>
                <a:gd name="T11" fmla="*/ 613 h 1867"/>
                <a:gd name="T12" fmla="*/ 924 w 1624"/>
                <a:gd name="T13" fmla="*/ 432 h 1867"/>
                <a:gd name="T14" fmla="*/ 1114 w 1624"/>
                <a:gd name="T15" fmla="*/ 81 h 1867"/>
                <a:gd name="T16" fmla="*/ 1287 w 1624"/>
                <a:gd name="T17" fmla="*/ 35 h 1867"/>
                <a:gd name="T18" fmla="*/ 1350 w 1624"/>
                <a:gd name="T19" fmla="*/ 69 h 1867"/>
                <a:gd name="T20" fmla="*/ 1527 w 1624"/>
                <a:gd name="T21" fmla="*/ 235 h 1867"/>
                <a:gd name="T22" fmla="*/ 1583 w 1624"/>
                <a:gd name="T23" fmla="*/ 555 h 1867"/>
                <a:gd name="T24" fmla="*/ 1172 w 1624"/>
                <a:gd name="T25" fmla="*/ 1253 h 1867"/>
                <a:gd name="T26" fmla="*/ 586 w 1624"/>
                <a:gd name="T27" fmla="*/ 1803 h 1867"/>
                <a:gd name="T28" fmla="*/ 269 w 1624"/>
                <a:gd name="T29" fmla="*/ 1807 h 1867"/>
                <a:gd name="T30" fmla="*/ 33 w 1624"/>
                <a:gd name="T31" fmla="*/ 1602 h 1867"/>
                <a:gd name="T32" fmla="*/ 2 w 1624"/>
                <a:gd name="T33" fmla="*/ 1508 h 1867"/>
                <a:gd name="T34" fmla="*/ 45 w 1624"/>
                <a:gd name="T35" fmla="*/ 1421 h 1867"/>
                <a:gd name="T36" fmla="*/ 346 w 1624"/>
                <a:gd name="T37" fmla="*/ 1158 h 1867"/>
                <a:gd name="T38" fmla="*/ 448 w 1624"/>
                <a:gd name="T39" fmla="*/ 1145 h 1867"/>
                <a:gd name="T40" fmla="*/ 573 w 1624"/>
                <a:gd name="T41" fmla="*/ 1257 h 18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24" h="1867">
                  <a:moveTo>
                    <a:pt x="573" y="1257"/>
                  </a:moveTo>
                  <a:cubicBezTo>
                    <a:pt x="592" y="1282"/>
                    <a:pt x="630" y="1303"/>
                    <a:pt x="662" y="1288"/>
                  </a:cubicBezTo>
                  <a:cubicBezTo>
                    <a:pt x="753" y="1245"/>
                    <a:pt x="854" y="1156"/>
                    <a:pt x="938" y="1051"/>
                  </a:cubicBezTo>
                  <a:cubicBezTo>
                    <a:pt x="1020" y="948"/>
                    <a:pt x="1084" y="831"/>
                    <a:pt x="1106" y="731"/>
                  </a:cubicBezTo>
                  <a:cubicBezTo>
                    <a:pt x="1113" y="696"/>
                    <a:pt x="1089" y="661"/>
                    <a:pt x="1059" y="645"/>
                  </a:cubicBezTo>
                  <a:cubicBezTo>
                    <a:pt x="1001" y="613"/>
                    <a:pt x="1001" y="613"/>
                    <a:pt x="1001" y="613"/>
                  </a:cubicBezTo>
                  <a:cubicBezTo>
                    <a:pt x="942" y="580"/>
                    <a:pt x="888" y="499"/>
                    <a:pt x="924" y="432"/>
                  </a:cubicBezTo>
                  <a:cubicBezTo>
                    <a:pt x="1114" y="81"/>
                    <a:pt x="1114" y="81"/>
                    <a:pt x="1114" y="81"/>
                  </a:cubicBezTo>
                  <a:cubicBezTo>
                    <a:pt x="1150" y="16"/>
                    <a:pt x="1224" y="0"/>
                    <a:pt x="1287" y="35"/>
                  </a:cubicBezTo>
                  <a:cubicBezTo>
                    <a:pt x="1350" y="69"/>
                    <a:pt x="1350" y="69"/>
                    <a:pt x="1350" y="69"/>
                  </a:cubicBezTo>
                  <a:cubicBezTo>
                    <a:pt x="1415" y="105"/>
                    <a:pt x="1479" y="165"/>
                    <a:pt x="1527" y="235"/>
                  </a:cubicBezTo>
                  <a:cubicBezTo>
                    <a:pt x="1593" y="332"/>
                    <a:pt x="1624" y="442"/>
                    <a:pt x="1583" y="555"/>
                  </a:cubicBezTo>
                  <a:cubicBezTo>
                    <a:pt x="1500" y="781"/>
                    <a:pt x="1351" y="1030"/>
                    <a:pt x="1172" y="1253"/>
                  </a:cubicBezTo>
                  <a:cubicBezTo>
                    <a:pt x="994" y="1477"/>
                    <a:pt x="786" y="1676"/>
                    <a:pt x="586" y="1803"/>
                  </a:cubicBezTo>
                  <a:cubicBezTo>
                    <a:pt x="486" y="1867"/>
                    <a:pt x="375" y="1856"/>
                    <a:pt x="269" y="1807"/>
                  </a:cubicBezTo>
                  <a:cubicBezTo>
                    <a:pt x="157" y="1755"/>
                    <a:pt x="106" y="1695"/>
                    <a:pt x="33" y="1602"/>
                  </a:cubicBezTo>
                  <a:cubicBezTo>
                    <a:pt x="11" y="1573"/>
                    <a:pt x="0" y="1540"/>
                    <a:pt x="2" y="1508"/>
                  </a:cubicBezTo>
                  <a:cubicBezTo>
                    <a:pt x="4" y="1475"/>
                    <a:pt x="18" y="1444"/>
                    <a:pt x="45" y="1421"/>
                  </a:cubicBezTo>
                  <a:cubicBezTo>
                    <a:pt x="70" y="1399"/>
                    <a:pt x="346" y="1158"/>
                    <a:pt x="346" y="1158"/>
                  </a:cubicBezTo>
                  <a:cubicBezTo>
                    <a:pt x="376" y="1134"/>
                    <a:pt x="413" y="1133"/>
                    <a:pt x="448" y="1145"/>
                  </a:cubicBezTo>
                  <a:cubicBezTo>
                    <a:pt x="510" y="1166"/>
                    <a:pt x="536" y="1210"/>
                    <a:pt x="573" y="1257"/>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351"/>
            </a:p>
          </p:txBody>
        </p:sp>
      </p:grpSp>
      <p:grpSp>
        <p:nvGrpSpPr>
          <p:cNvPr id="17" name="Group 3">
            <a:extLst>
              <a:ext uri="{FF2B5EF4-FFF2-40B4-BE49-F238E27FC236}">
                <a16:creationId xmlns:a16="http://schemas.microsoft.com/office/drawing/2014/main" id="{7104BADD-8CD1-6F4A-B894-869C3BDB3EEB}"/>
              </a:ext>
            </a:extLst>
          </p:cNvPr>
          <p:cNvGrpSpPr>
            <a:grpSpLocks noChangeAspect="1"/>
          </p:cNvGrpSpPr>
          <p:nvPr>
            <p:custDataLst>
              <p:tags r:id="rId2"/>
            </p:custDataLst>
          </p:nvPr>
        </p:nvGrpSpPr>
        <p:grpSpPr>
          <a:xfrm>
            <a:off x="8701918" y="3153207"/>
            <a:ext cx="171180" cy="171180"/>
            <a:chOff x="328396" y="5313940"/>
            <a:chExt cx="720000" cy="720000"/>
          </a:xfrm>
        </p:grpSpPr>
        <p:sp>
          <p:nvSpPr>
            <p:cNvPr id="18" name="Rectangle 4">
              <a:extLst>
                <a:ext uri="{FF2B5EF4-FFF2-40B4-BE49-F238E27FC236}">
                  <a16:creationId xmlns:a16="http://schemas.microsoft.com/office/drawing/2014/main" id="{74BE3D5F-1445-6E40-8B49-72E15568383B}"/>
                </a:ext>
              </a:extLst>
            </p:cNvPr>
            <p:cNvSpPr/>
            <p:nvPr/>
          </p:nvSpPr>
          <p:spPr bwMode="gray">
            <a:xfrm>
              <a:off x="328396" y="5313940"/>
              <a:ext cx="720000" cy="720000"/>
            </a:xfrm>
            <a:prstGeom prst="rect">
              <a:avLst/>
            </a:prstGeom>
            <a:solidFill>
              <a:srgbClr val="E55A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pPr>
              <a:endParaRPr lang="en-US" sz="1000">
                <a:solidFill>
                  <a:schemeClr val="tx1"/>
                </a:solidFill>
                <a:latin typeface="Arial" pitchFamily="34" charset="0"/>
                <a:cs typeface="Arial" pitchFamily="34" charset="0"/>
              </a:endParaRPr>
            </a:p>
          </p:txBody>
        </p:sp>
        <p:sp>
          <p:nvSpPr>
            <p:cNvPr id="19" name="Freeform 76">
              <a:extLst>
                <a:ext uri="{FF2B5EF4-FFF2-40B4-BE49-F238E27FC236}">
                  <a16:creationId xmlns:a16="http://schemas.microsoft.com/office/drawing/2014/main" id="{55DB3C95-7D0C-D141-901E-96D692794D2B}"/>
                </a:ext>
              </a:extLst>
            </p:cNvPr>
            <p:cNvSpPr>
              <a:spLocks noChangeAspect="1" noEditPoints="1"/>
            </p:cNvSpPr>
            <p:nvPr/>
          </p:nvSpPr>
          <p:spPr bwMode="auto">
            <a:xfrm>
              <a:off x="456202" y="5509222"/>
              <a:ext cx="504000" cy="329436"/>
            </a:xfrm>
            <a:custGeom>
              <a:avLst/>
              <a:gdLst>
                <a:gd name="T0" fmla="*/ 0 w 2080"/>
                <a:gd name="T1" fmla="*/ 65 h 1360"/>
                <a:gd name="T2" fmla="*/ 0 w 2080"/>
                <a:gd name="T3" fmla="*/ 0 h 1360"/>
                <a:gd name="T4" fmla="*/ 2080 w 2080"/>
                <a:gd name="T5" fmla="*/ 0 h 1360"/>
                <a:gd name="T6" fmla="*/ 2080 w 2080"/>
                <a:gd name="T7" fmla="*/ 65 h 1360"/>
                <a:gd name="T8" fmla="*/ 1089 w 2080"/>
                <a:gd name="T9" fmla="*/ 862 h 1360"/>
                <a:gd name="T10" fmla="*/ 991 w 2080"/>
                <a:gd name="T11" fmla="*/ 862 h 1360"/>
                <a:gd name="T12" fmla="*/ 0 w 2080"/>
                <a:gd name="T13" fmla="*/ 65 h 1360"/>
                <a:gd name="T14" fmla="*/ 1139 w 2080"/>
                <a:gd name="T15" fmla="*/ 924 h 1360"/>
                <a:gd name="T16" fmla="*/ 1282 w 2080"/>
                <a:gd name="T17" fmla="*/ 810 h 1360"/>
                <a:gd name="T18" fmla="*/ 2076 w 2080"/>
                <a:gd name="T19" fmla="*/ 1360 h 1360"/>
                <a:gd name="T20" fmla="*/ 4 w 2080"/>
                <a:gd name="T21" fmla="*/ 1360 h 1360"/>
                <a:gd name="T22" fmla="*/ 798 w 2080"/>
                <a:gd name="T23" fmla="*/ 810 h 1360"/>
                <a:gd name="T24" fmla="*/ 941 w 2080"/>
                <a:gd name="T25" fmla="*/ 924 h 1360"/>
                <a:gd name="T26" fmla="*/ 1139 w 2080"/>
                <a:gd name="T27" fmla="*/ 924 h 1360"/>
                <a:gd name="T28" fmla="*/ 2 w 2080"/>
                <a:gd name="T29" fmla="*/ 137 h 1360"/>
                <a:gd name="T30" fmla="*/ 42 w 2080"/>
                <a:gd name="T31" fmla="*/ 201 h 1360"/>
                <a:gd name="T32" fmla="*/ 734 w 2080"/>
                <a:gd name="T33" fmla="*/ 758 h 1360"/>
                <a:gd name="T34" fmla="*/ 0 w 2080"/>
                <a:gd name="T35" fmla="*/ 1266 h 1360"/>
                <a:gd name="T36" fmla="*/ 0 w 2080"/>
                <a:gd name="T37" fmla="*/ 135 h 1360"/>
                <a:gd name="T38" fmla="*/ 2 w 2080"/>
                <a:gd name="T39" fmla="*/ 137 h 1360"/>
                <a:gd name="T40" fmla="*/ 2080 w 2080"/>
                <a:gd name="T41" fmla="*/ 136 h 1360"/>
                <a:gd name="T42" fmla="*/ 2080 w 2080"/>
                <a:gd name="T43" fmla="*/ 1265 h 1360"/>
                <a:gd name="T44" fmla="*/ 1346 w 2080"/>
                <a:gd name="T45" fmla="*/ 758 h 1360"/>
                <a:gd name="T46" fmla="*/ 2038 w 2080"/>
                <a:gd name="T47" fmla="*/ 201 h 1360"/>
                <a:gd name="T48" fmla="*/ 2080 w 2080"/>
                <a:gd name="T49" fmla="*/ 136 h 1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080" h="1360">
                  <a:moveTo>
                    <a:pt x="0" y="65"/>
                  </a:moveTo>
                  <a:cubicBezTo>
                    <a:pt x="0" y="0"/>
                    <a:pt x="0" y="0"/>
                    <a:pt x="0" y="0"/>
                  </a:cubicBezTo>
                  <a:cubicBezTo>
                    <a:pt x="2080" y="0"/>
                    <a:pt x="2080" y="0"/>
                    <a:pt x="2080" y="0"/>
                  </a:cubicBezTo>
                  <a:cubicBezTo>
                    <a:pt x="2080" y="65"/>
                    <a:pt x="2080" y="65"/>
                    <a:pt x="2080" y="65"/>
                  </a:cubicBezTo>
                  <a:cubicBezTo>
                    <a:pt x="1089" y="862"/>
                    <a:pt x="1089" y="862"/>
                    <a:pt x="1089" y="862"/>
                  </a:cubicBezTo>
                  <a:cubicBezTo>
                    <a:pt x="1060" y="886"/>
                    <a:pt x="1020" y="886"/>
                    <a:pt x="991" y="862"/>
                  </a:cubicBezTo>
                  <a:lnTo>
                    <a:pt x="0" y="65"/>
                  </a:lnTo>
                  <a:close/>
                  <a:moveTo>
                    <a:pt x="1139" y="924"/>
                  </a:moveTo>
                  <a:cubicBezTo>
                    <a:pt x="1282" y="810"/>
                    <a:pt x="1282" y="810"/>
                    <a:pt x="1282" y="810"/>
                  </a:cubicBezTo>
                  <a:cubicBezTo>
                    <a:pt x="2076" y="1360"/>
                    <a:pt x="2076" y="1360"/>
                    <a:pt x="2076" y="1360"/>
                  </a:cubicBezTo>
                  <a:cubicBezTo>
                    <a:pt x="4" y="1360"/>
                    <a:pt x="4" y="1360"/>
                    <a:pt x="4" y="1360"/>
                  </a:cubicBezTo>
                  <a:cubicBezTo>
                    <a:pt x="798" y="810"/>
                    <a:pt x="798" y="810"/>
                    <a:pt x="798" y="810"/>
                  </a:cubicBezTo>
                  <a:cubicBezTo>
                    <a:pt x="941" y="924"/>
                    <a:pt x="941" y="924"/>
                    <a:pt x="941" y="924"/>
                  </a:cubicBezTo>
                  <a:cubicBezTo>
                    <a:pt x="1000" y="972"/>
                    <a:pt x="1080" y="972"/>
                    <a:pt x="1139" y="924"/>
                  </a:cubicBezTo>
                  <a:close/>
                  <a:moveTo>
                    <a:pt x="2" y="137"/>
                  </a:moveTo>
                  <a:cubicBezTo>
                    <a:pt x="8" y="163"/>
                    <a:pt x="22" y="185"/>
                    <a:pt x="42" y="201"/>
                  </a:cubicBezTo>
                  <a:cubicBezTo>
                    <a:pt x="734" y="758"/>
                    <a:pt x="734" y="758"/>
                    <a:pt x="734" y="758"/>
                  </a:cubicBezTo>
                  <a:cubicBezTo>
                    <a:pt x="0" y="1266"/>
                    <a:pt x="0" y="1266"/>
                    <a:pt x="0" y="1266"/>
                  </a:cubicBezTo>
                  <a:cubicBezTo>
                    <a:pt x="0" y="135"/>
                    <a:pt x="0" y="135"/>
                    <a:pt x="0" y="135"/>
                  </a:cubicBezTo>
                  <a:lnTo>
                    <a:pt x="2" y="137"/>
                  </a:lnTo>
                  <a:close/>
                  <a:moveTo>
                    <a:pt x="2080" y="136"/>
                  </a:moveTo>
                  <a:cubicBezTo>
                    <a:pt x="2080" y="1265"/>
                    <a:pt x="2080" y="1265"/>
                    <a:pt x="2080" y="1265"/>
                  </a:cubicBezTo>
                  <a:cubicBezTo>
                    <a:pt x="1346" y="758"/>
                    <a:pt x="1346" y="758"/>
                    <a:pt x="1346" y="758"/>
                  </a:cubicBezTo>
                  <a:cubicBezTo>
                    <a:pt x="2038" y="201"/>
                    <a:pt x="2038" y="201"/>
                    <a:pt x="2038" y="201"/>
                  </a:cubicBezTo>
                  <a:cubicBezTo>
                    <a:pt x="2060" y="182"/>
                    <a:pt x="2072" y="162"/>
                    <a:pt x="2080" y="13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000"/>
            </a:p>
          </p:txBody>
        </p:sp>
      </p:grpSp>
      <p:cxnSp>
        <p:nvCxnSpPr>
          <p:cNvPr id="20" name="Straight Connector 19"/>
          <p:cNvCxnSpPr/>
          <p:nvPr/>
        </p:nvCxnSpPr>
        <p:spPr>
          <a:xfrm>
            <a:off x="2371725" y="3478213"/>
            <a:ext cx="3888000" cy="0"/>
          </a:xfrm>
          <a:prstGeom prst="line">
            <a:avLst/>
          </a:prstGeom>
          <a:ln w="6350">
            <a:solidFill>
              <a:schemeClr val="tx2"/>
            </a:solidFill>
            <a:prstDash val="dash"/>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p:nvCxnSpPr>
        <p:spPr>
          <a:xfrm>
            <a:off x="7287766" y="3478213"/>
            <a:ext cx="3888000" cy="0"/>
          </a:xfrm>
          <a:prstGeom prst="line">
            <a:avLst/>
          </a:prstGeom>
          <a:ln w="6350">
            <a:solidFill>
              <a:schemeClr val="tx2"/>
            </a:solidFill>
            <a:prstDash val="dash"/>
          </a:ln>
        </p:spPr>
        <p:style>
          <a:lnRef idx="1">
            <a:schemeClr val="accent1"/>
          </a:lnRef>
          <a:fillRef idx="0">
            <a:schemeClr val="accent1"/>
          </a:fillRef>
          <a:effectRef idx="0">
            <a:schemeClr val="accent1"/>
          </a:effectRef>
          <a:fontRef idx="minor">
            <a:schemeClr val="tx1"/>
          </a:fontRef>
        </p:style>
      </p:cxnSp>
      <p:sp>
        <p:nvSpPr>
          <p:cNvPr id="4" name="Picture Placeholder 3"/>
          <p:cNvSpPr>
            <a:spLocks noGrp="1"/>
          </p:cNvSpPr>
          <p:nvPr>
            <p:ph type="pic" sz="quarter" idx="17" hasCustomPrompt="1"/>
          </p:nvPr>
        </p:nvSpPr>
        <p:spPr>
          <a:xfrm>
            <a:off x="2355914" y="1808984"/>
            <a:ext cx="1188677" cy="1547840"/>
          </a:xfrm>
          <a:solidFill>
            <a:srgbClr val="D9DADB"/>
          </a:solidFill>
        </p:spPr>
        <p:txBody>
          <a:bodyPr/>
          <a:lstStyle>
            <a:lvl1pPr marL="0" indent="0">
              <a:buNone/>
              <a:defRPr sz="1400"/>
            </a:lvl1pPr>
          </a:lstStyle>
          <a:p>
            <a:r>
              <a:rPr lang="en-US"/>
              <a:t>Insert picture</a:t>
            </a:r>
          </a:p>
        </p:txBody>
      </p:sp>
      <p:sp>
        <p:nvSpPr>
          <p:cNvPr id="25" name="Picture Placeholder 3"/>
          <p:cNvSpPr>
            <a:spLocks noGrp="1"/>
          </p:cNvSpPr>
          <p:nvPr>
            <p:ph type="pic" sz="quarter" idx="18" hasCustomPrompt="1"/>
          </p:nvPr>
        </p:nvSpPr>
        <p:spPr>
          <a:xfrm>
            <a:off x="7287766" y="1808984"/>
            <a:ext cx="1188677" cy="1547840"/>
          </a:xfrm>
          <a:solidFill>
            <a:srgbClr val="D9DADB"/>
          </a:solidFill>
        </p:spPr>
        <p:txBody>
          <a:bodyPr/>
          <a:lstStyle>
            <a:lvl1pPr marL="0" indent="0">
              <a:buNone/>
              <a:defRPr sz="1400"/>
            </a:lvl1pPr>
          </a:lstStyle>
          <a:p>
            <a:r>
              <a:rPr lang="en-US"/>
              <a:t>Insert picture</a:t>
            </a:r>
          </a:p>
        </p:txBody>
      </p:sp>
      <p:sp>
        <p:nvSpPr>
          <p:cNvPr id="6" name="Text Placeholder 5"/>
          <p:cNvSpPr>
            <a:spLocks noGrp="1"/>
          </p:cNvSpPr>
          <p:nvPr>
            <p:ph type="body" sz="quarter" idx="19" hasCustomPrompt="1"/>
          </p:nvPr>
        </p:nvSpPr>
        <p:spPr>
          <a:xfrm>
            <a:off x="3770065" y="1808521"/>
            <a:ext cx="2463190" cy="192360"/>
          </a:xfrm>
        </p:spPr>
        <p:txBody>
          <a:bodyPr lIns="0" tIns="0" rIns="0" bIns="0" anchor="ctr" anchorCtr="0"/>
          <a:lstStyle>
            <a:lvl1pPr marL="0" indent="0" algn="l">
              <a:lnSpc>
                <a:spcPct val="100000"/>
              </a:lnSpc>
              <a:buNone/>
              <a:defRPr sz="100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Country</a:t>
            </a:r>
          </a:p>
        </p:txBody>
      </p:sp>
      <p:sp>
        <p:nvSpPr>
          <p:cNvPr id="26" name="Text Placeholder 5"/>
          <p:cNvSpPr>
            <a:spLocks noGrp="1"/>
          </p:cNvSpPr>
          <p:nvPr>
            <p:ph type="body" sz="quarter" idx="20" hasCustomPrompt="1"/>
          </p:nvPr>
        </p:nvSpPr>
        <p:spPr>
          <a:xfrm>
            <a:off x="3770065" y="2020337"/>
            <a:ext cx="2463190" cy="266182"/>
          </a:xfrm>
        </p:spPr>
        <p:txBody>
          <a:bodyPr lIns="0" tIns="0" rIns="0" bIns="0" anchor="b" anchorCtr="0"/>
          <a:lstStyle>
            <a:lvl1pPr marL="0" indent="0" algn="l">
              <a:lnSpc>
                <a:spcPct val="100000"/>
              </a:lnSpc>
              <a:buNone/>
              <a:defRPr sz="1400" b="1" baseline="0">
                <a:solidFill>
                  <a:schemeClr val="tx2"/>
                </a:solidFill>
              </a:defRPr>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Name, Surname</a:t>
            </a:r>
          </a:p>
        </p:txBody>
      </p:sp>
      <p:sp>
        <p:nvSpPr>
          <p:cNvPr id="27" name="Text Placeholder 5"/>
          <p:cNvSpPr>
            <a:spLocks noGrp="1"/>
          </p:cNvSpPr>
          <p:nvPr>
            <p:ph type="body" sz="quarter" idx="21" hasCustomPrompt="1"/>
          </p:nvPr>
        </p:nvSpPr>
        <p:spPr>
          <a:xfrm>
            <a:off x="3770065" y="2316912"/>
            <a:ext cx="2463190"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Job Position</a:t>
            </a:r>
          </a:p>
        </p:txBody>
      </p:sp>
      <p:sp>
        <p:nvSpPr>
          <p:cNvPr id="28" name="Text Placeholder 5"/>
          <p:cNvSpPr>
            <a:spLocks noGrp="1"/>
          </p:cNvSpPr>
          <p:nvPr>
            <p:ph type="body" sz="quarter" idx="22" hasCustomPrompt="1"/>
          </p:nvPr>
        </p:nvSpPr>
        <p:spPr>
          <a:xfrm>
            <a:off x="4014948" y="2845588"/>
            <a:ext cx="2218307"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Phone number</a:t>
            </a:r>
          </a:p>
        </p:txBody>
      </p:sp>
      <p:sp>
        <p:nvSpPr>
          <p:cNvPr id="29" name="Text Placeholder 5"/>
          <p:cNvSpPr>
            <a:spLocks noGrp="1"/>
          </p:cNvSpPr>
          <p:nvPr>
            <p:ph type="body" sz="quarter" idx="23" hasCustomPrompt="1"/>
          </p:nvPr>
        </p:nvSpPr>
        <p:spPr>
          <a:xfrm>
            <a:off x="4014948" y="3128395"/>
            <a:ext cx="2218307"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Email address</a:t>
            </a:r>
          </a:p>
        </p:txBody>
      </p:sp>
      <p:sp>
        <p:nvSpPr>
          <p:cNvPr id="30" name="Text Placeholder 5"/>
          <p:cNvSpPr>
            <a:spLocks noGrp="1"/>
          </p:cNvSpPr>
          <p:nvPr>
            <p:ph type="body" sz="quarter" idx="24" hasCustomPrompt="1"/>
          </p:nvPr>
        </p:nvSpPr>
        <p:spPr>
          <a:xfrm>
            <a:off x="8701917" y="1808521"/>
            <a:ext cx="2463190" cy="192360"/>
          </a:xfrm>
        </p:spPr>
        <p:txBody>
          <a:bodyPr lIns="0" tIns="0" rIns="0" bIns="0" anchor="ctr" anchorCtr="0"/>
          <a:lstStyle>
            <a:lvl1pPr marL="0" indent="0" algn="l">
              <a:lnSpc>
                <a:spcPct val="100000"/>
              </a:lnSpc>
              <a:buNone/>
              <a:defRPr sz="100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Country</a:t>
            </a:r>
          </a:p>
        </p:txBody>
      </p:sp>
      <p:sp>
        <p:nvSpPr>
          <p:cNvPr id="31" name="Text Placeholder 5"/>
          <p:cNvSpPr>
            <a:spLocks noGrp="1"/>
          </p:cNvSpPr>
          <p:nvPr>
            <p:ph type="body" sz="quarter" idx="25" hasCustomPrompt="1"/>
          </p:nvPr>
        </p:nvSpPr>
        <p:spPr>
          <a:xfrm>
            <a:off x="8701917" y="2020337"/>
            <a:ext cx="2463190" cy="266182"/>
          </a:xfrm>
        </p:spPr>
        <p:txBody>
          <a:bodyPr lIns="0" tIns="0" rIns="0" bIns="0" anchor="b" anchorCtr="0"/>
          <a:lstStyle>
            <a:lvl1pPr marL="0" indent="0" algn="l">
              <a:lnSpc>
                <a:spcPct val="100000"/>
              </a:lnSpc>
              <a:buNone/>
              <a:defRPr sz="1400" b="1" baseline="0">
                <a:solidFill>
                  <a:schemeClr val="tx2"/>
                </a:solidFill>
              </a:defRPr>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Name, Surname</a:t>
            </a:r>
          </a:p>
        </p:txBody>
      </p:sp>
      <p:sp>
        <p:nvSpPr>
          <p:cNvPr id="32" name="Text Placeholder 5"/>
          <p:cNvSpPr>
            <a:spLocks noGrp="1"/>
          </p:cNvSpPr>
          <p:nvPr>
            <p:ph type="body" sz="quarter" idx="26" hasCustomPrompt="1"/>
          </p:nvPr>
        </p:nvSpPr>
        <p:spPr>
          <a:xfrm>
            <a:off x="8701917" y="2316912"/>
            <a:ext cx="2463190"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Job Position</a:t>
            </a:r>
          </a:p>
        </p:txBody>
      </p:sp>
      <p:sp>
        <p:nvSpPr>
          <p:cNvPr id="33" name="Text Placeholder 5"/>
          <p:cNvSpPr>
            <a:spLocks noGrp="1"/>
          </p:cNvSpPr>
          <p:nvPr>
            <p:ph type="body" sz="quarter" idx="27" hasCustomPrompt="1"/>
          </p:nvPr>
        </p:nvSpPr>
        <p:spPr>
          <a:xfrm>
            <a:off x="8946800" y="2845588"/>
            <a:ext cx="2218307"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Phone number</a:t>
            </a:r>
          </a:p>
        </p:txBody>
      </p:sp>
      <p:sp>
        <p:nvSpPr>
          <p:cNvPr id="34" name="Text Placeholder 5"/>
          <p:cNvSpPr>
            <a:spLocks noGrp="1"/>
          </p:cNvSpPr>
          <p:nvPr>
            <p:ph type="body" sz="quarter" idx="28" hasCustomPrompt="1"/>
          </p:nvPr>
        </p:nvSpPr>
        <p:spPr>
          <a:xfrm>
            <a:off x="8946800" y="3128395"/>
            <a:ext cx="2218307"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Email address</a:t>
            </a:r>
          </a:p>
        </p:txBody>
      </p:sp>
    </p:spTree>
    <p:extLst>
      <p:ext uri="{BB962C8B-B14F-4D97-AF65-F5344CB8AC3E}">
        <p14:creationId xmlns:p14="http://schemas.microsoft.com/office/powerpoint/2010/main" val="1900689303"/>
      </p:ext>
    </p:extLst>
  </p:cSld>
  <p:clrMapOvr>
    <a:masterClrMapping/>
  </p:clrMapOvr>
</p:sldLayout>
</file>

<file path=ppt/slideLayouts/slideLayout381.xml><?xml version="1.0" encoding="utf-8"?>
<p:sldLayout xmlns:a="http://schemas.openxmlformats.org/drawingml/2006/main" xmlns:r="http://schemas.openxmlformats.org/officeDocument/2006/relationships" xmlns:p="http://schemas.openxmlformats.org/presentationml/2006/main" preserve="1">
  <p:cSld name="Three contacts">
    <p:spTree>
      <p:nvGrpSpPr>
        <p:cNvPr id="1" name=""/>
        <p:cNvGrpSpPr/>
        <p:nvPr/>
      </p:nvGrpSpPr>
      <p:grpSpPr>
        <a:xfrm>
          <a:off x="0" y="0"/>
          <a:ext cx="0" cy="0"/>
          <a:chOff x="0" y="0"/>
          <a:chExt cx="0" cy="0"/>
        </a:xfrm>
      </p:grpSpPr>
      <p:sp>
        <p:nvSpPr>
          <p:cNvPr id="21" name="Date Placeholder 20"/>
          <p:cNvSpPr>
            <a:spLocks noGrp="1"/>
          </p:cNvSpPr>
          <p:nvPr>
            <p:ph type="dt" sz="half" idx="14"/>
          </p:nvPr>
        </p:nvSpPr>
        <p:spPr/>
        <p:txBody>
          <a:bodyPr/>
          <a:lstStyle/>
          <a:p>
            <a:endParaRPr lang="en-US"/>
          </a:p>
        </p:txBody>
      </p:sp>
      <p:sp>
        <p:nvSpPr>
          <p:cNvPr id="22" name="Footer Placeholder 21"/>
          <p:cNvSpPr>
            <a:spLocks noGrp="1"/>
          </p:cNvSpPr>
          <p:nvPr>
            <p:ph type="ftr" sz="quarter" idx="15"/>
          </p:nvPr>
        </p:nvSpPr>
        <p:spPr/>
        <p:txBody>
          <a:bodyPr/>
          <a:lstStyle/>
          <a:p>
            <a:endParaRPr lang="en-US"/>
          </a:p>
        </p:txBody>
      </p:sp>
      <p:sp>
        <p:nvSpPr>
          <p:cNvPr id="23" name="Slide Number Placeholder 22"/>
          <p:cNvSpPr>
            <a:spLocks noGrp="1"/>
          </p:cNvSpPr>
          <p:nvPr>
            <p:ph type="sldNum" sz="quarter" idx="16"/>
          </p:nvPr>
        </p:nvSpPr>
        <p:spPr/>
        <p:txBody>
          <a:bodyPr/>
          <a:lstStyle/>
          <a:p>
            <a:fld id="{5F3E29E4-0979-4FCA-B4C5-5FC6044C982A}" type="slidenum">
              <a:rPr lang="en-US" smtClean="0"/>
              <a:t>‹#›</a:t>
            </a:fld>
            <a:endParaRPr lang="en-US"/>
          </a:p>
        </p:txBody>
      </p:sp>
      <p:sp>
        <p:nvSpPr>
          <p:cNvPr id="2" name="Title 1"/>
          <p:cNvSpPr>
            <a:spLocks noGrp="1"/>
          </p:cNvSpPr>
          <p:nvPr>
            <p:ph type="title" hasCustomPrompt="1"/>
          </p:nvPr>
        </p:nvSpPr>
        <p:spPr/>
        <p:txBody>
          <a:bodyPr/>
          <a:lstStyle>
            <a:lvl1pPr>
              <a:defRPr/>
            </a:lvl1pPr>
          </a:lstStyle>
          <a:p>
            <a:r>
              <a:rPr lang="en-US"/>
              <a:t>Click to add contact title</a:t>
            </a:r>
          </a:p>
        </p:txBody>
      </p:sp>
      <p:sp>
        <p:nvSpPr>
          <p:cNvPr id="7" name="Subtitle 2"/>
          <p:cNvSpPr>
            <a:spLocks noGrp="1"/>
          </p:cNvSpPr>
          <p:nvPr>
            <p:ph type="subTitle" idx="13" hasCustomPrompt="1"/>
          </p:nvPr>
        </p:nvSpPr>
        <p:spPr>
          <a:xfrm>
            <a:off x="1075061" y="964671"/>
            <a:ext cx="7910158" cy="490042"/>
          </a:xfrm>
        </p:spPr>
        <p:txBody>
          <a:bodyPr wrap="none"/>
          <a:lstStyle>
            <a:lvl1pPr marL="0" indent="0" algn="l">
              <a:spcBef>
                <a:spcPts val="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grpSp>
        <p:nvGrpSpPr>
          <p:cNvPr id="8" name="Gruppieren 80">
            <a:extLst>
              <a:ext uri="{FF2B5EF4-FFF2-40B4-BE49-F238E27FC236}">
                <a16:creationId xmlns:a16="http://schemas.microsoft.com/office/drawing/2014/main" id="{6B969E7B-9C39-4443-9B02-74C1E7C5CCAC}"/>
              </a:ext>
            </a:extLst>
          </p:cNvPr>
          <p:cNvGrpSpPr/>
          <p:nvPr/>
        </p:nvGrpSpPr>
        <p:grpSpPr>
          <a:xfrm>
            <a:off x="3770065" y="2868319"/>
            <a:ext cx="171180" cy="171180"/>
            <a:chOff x="3392092" y="1841122"/>
            <a:chExt cx="646508" cy="646508"/>
          </a:xfrm>
        </p:grpSpPr>
        <p:sp>
          <p:nvSpPr>
            <p:cNvPr id="9" name="Rechteck 14">
              <a:extLst>
                <a:ext uri="{FF2B5EF4-FFF2-40B4-BE49-F238E27FC236}">
                  <a16:creationId xmlns:a16="http://schemas.microsoft.com/office/drawing/2014/main" id="{D78F58EA-5525-8D43-8295-FEA52ECF6BFA}"/>
                </a:ext>
              </a:extLst>
            </p:cNvPr>
            <p:cNvSpPr>
              <a:spLocks noChangeAspect="1"/>
            </p:cNvSpPr>
            <p:nvPr/>
          </p:nvSpPr>
          <p:spPr bwMode="gray">
            <a:xfrm>
              <a:off x="3392092" y="1841122"/>
              <a:ext cx="646508" cy="646508"/>
            </a:xfrm>
            <a:prstGeom prst="rect">
              <a:avLst/>
            </a:prstGeom>
            <a:solidFill>
              <a:srgbClr val="E55A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pPr>
              <a:endParaRPr lang="en-US" sz="1000">
                <a:solidFill>
                  <a:schemeClr val="tx1"/>
                </a:solidFill>
                <a:latin typeface="Arial" pitchFamily="34" charset="0"/>
                <a:cs typeface="Arial" pitchFamily="34" charset="0"/>
              </a:endParaRPr>
            </a:p>
          </p:txBody>
        </p:sp>
        <p:sp>
          <p:nvSpPr>
            <p:cNvPr id="10" name="Freeform 67">
              <a:extLst>
                <a:ext uri="{FF2B5EF4-FFF2-40B4-BE49-F238E27FC236}">
                  <a16:creationId xmlns:a16="http://schemas.microsoft.com/office/drawing/2014/main" id="{D01A6292-2776-4945-B828-483D79DC4908}"/>
                </a:ext>
              </a:extLst>
            </p:cNvPr>
            <p:cNvSpPr>
              <a:spLocks noChangeAspect="1"/>
            </p:cNvSpPr>
            <p:nvPr/>
          </p:nvSpPr>
          <p:spPr bwMode="auto">
            <a:xfrm>
              <a:off x="3546638" y="1970424"/>
              <a:ext cx="337415" cy="387905"/>
            </a:xfrm>
            <a:custGeom>
              <a:avLst/>
              <a:gdLst>
                <a:gd name="T0" fmla="*/ 573 w 1624"/>
                <a:gd name="T1" fmla="*/ 1257 h 1867"/>
                <a:gd name="T2" fmla="*/ 662 w 1624"/>
                <a:gd name="T3" fmla="*/ 1288 h 1867"/>
                <a:gd name="T4" fmla="*/ 938 w 1624"/>
                <a:gd name="T5" fmla="*/ 1051 h 1867"/>
                <a:gd name="T6" fmla="*/ 1106 w 1624"/>
                <a:gd name="T7" fmla="*/ 731 h 1867"/>
                <a:gd name="T8" fmla="*/ 1059 w 1624"/>
                <a:gd name="T9" fmla="*/ 645 h 1867"/>
                <a:gd name="T10" fmla="*/ 1001 w 1624"/>
                <a:gd name="T11" fmla="*/ 613 h 1867"/>
                <a:gd name="T12" fmla="*/ 924 w 1624"/>
                <a:gd name="T13" fmla="*/ 432 h 1867"/>
                <a:gd name="T14" fmla="*/ 1114 w 1624"/>
                <a:gd name="T15" fmla="*/ 81 h 1867"/>
                <a:gd name="T16" fmla="*/ 1287 w 1624"/>
                <a:gd name="T17" fmla="*/ 35 h 1867"/>
                <a:gd name="T18" fmla="*/ 1350 w 1624"/>
                <a:gd name="T19" fmla="*/ 69 h 1867"/>
                <a:gd name="T20" fmla="*/ 1527 w 1624"/>
                <a:gd name="T21" fmla="*/ 235 h 1867"/>
                <a:gd name="T22" fmla="*/ 1583 w 1624"/>
                <a:gd name="T23" fmla="*/ 555 h 1867"/>
                <a:gd name="T24" fmla="*/ 1172 w 1624"/>
                <a:gd name="T25" fmla="*/ 1253 h 1867"/>
                <a:gd name="T26" fmla="*/ 586 w 1624"/>
                <a:gd name="T27" fmla="*/ 1803 h 1867"/>
                <a:gd name="T28" fmla="*/ 269 w 1624"/>
                <a:gd name="T29" fmla="*/ 1807 h 1867"/>
                <a:gd name="T30" fmla="*/ 33 w 1624"/>
                <a:gd name="T31" fmla="*/ 1602 h 1867"/>
                <a:gd name="T32" fmla="*/ 2 w 1624"/>
                <a:gd name="T33" fmla="*/ 1508 h 1867"/>
                <a:gd name="T34" fmla="*/ 45 w 1624"/>
                <a:gd name="T35" fmla="*/ 1421 h 1867"/>
                <a:gd name="T36" fmla="*/ 346 w 1624"/>
                <a:gd name="T37" fmla="*/ 1158 h 1867"/>
                <a:gd name="T38" fmla="*/ 448 w 1624"/>
                <a:gd name="T39" fmla="*/ 1145 h 1867"/>
                <a:gd name="T40" fmla="*/ 573 w 1624"/>
                <a:gd name="T41" fmla="*/ 1257 h 18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24" h="1867">
                  <a:moveTo>
                    <a:pt x="573" y="1257"/>
                  </a:moveTo>
                  <a:cubicBezTo>
                    <a:pt x="592" y="1282"/>
                    <a:pt x="630" y="1303"/>
                    <a:pt x="662" y="1288"/>
                  </a:cubicBezTo>
                  <a:cubicBezTo>
                    <a:pt x="753" y="1245"/>
                    <a:pt x="854" y="1156"/>
                    <a:pt x="938" y="1051"/>
                  </a:cubicBezTo>
                  <a:cubicBezTo>
                    <a:pt x="1020" y="948"/>
                    <a:pt x="1084" y="831"/>
                    <a:pt x="1106" y="731"/>
                  </a:cubicBezTo>
                  <a:cubicBezTo>
                    <a:pt x="1113" y="696"/>
                    <a:pt x="1089" y="661"/>
                    <a:pt x="1059" y="645"/>
                  </a:cubicBezTo>
                  <a:cubicBezTo>
                    <a:pt x="1001" y="613"/>
                    <a:pt x="1001" y="613"/>
                    <a:pt x="1001" y="613"/>
                  </a:cubicBezTo>
                  <a:cubicBezTo>
                    <a:pt x="942" y="580"/>
                    <a:pt x="888" y="499"/>
                    <a:pt x="924" y="432"/>
                  </a:cubicBezTo>
                  <a:cubicBezTo>
                    <a:pt x="1114" y="81"/>
                    <a:pt x="1114" y="81"/>
                    <a:pt x="1114" y="81"/>
                  </a:cubicBezTo>
                  <a:cubicBezTo>
                    <a:pt x="1150" y="16"/>
                    <a:pt x="1224" y="0"/>
                    <a:pt x="1287" y="35"/>
                  </a:cubicBezTo>
                  <a:cubicBezTo>
                    <a:pt x="1350" y="69"/>
                    <a:pt x="1350" y="69"/>
                    <a:pt x="1350" y="69"/>
                  </a:cubicBezTo>
                  <a:cubicBezTo>
                    <a:pt x="1415" y="105"/>
                    <a:pt x="1479" y="165"/>
                    <a:pt x="1527" y="235"/>
                  </a:cubicBezTo>
                  <a:cubicBezTo>
                    <a:pt x="1593" y="332"/>
                    <a:pt x="1624" y="442"/>
                    <a:pt x="1583" y="555"/>
                  </a:cubicBezTo>
                  <a:cubicBezTo>
                    <a:pt x="1500" y="781"/>
                    <a:pt x="1351" y="1030"/>
                    <a:pt x="1172" y="1253"/>
                  </a:cubicBezTo>
                  <a:cubicBezTo>
                    <a:pt x="994" y="1477"/>
                    <a:pt x="786" y="1676"/>
                    <a:pt x="586" y="1803"/>
                  </a:cubicBezTo>
                  <a:cubicBezTo>
                    <a:pt x="486" y="1867"/>
                    <a:pt x="375" y="1856"/>
                    <a:pt x="269" y="1807"/>
                  </a:cubicBezTo>
                  <a:cubicBezTo>
                    <a:pt x="157" y="1755"/>
                    <a:pt x="106" y="1695"/>
                    <a:pt x="33" y="1602"/>
                  </a:cubicBezTo>
                  <a:cubicBezTo>
                    <a:pt x="11" y="1573"/>
                    <a:pt x="0" y="1540"/>
                    <a:pt x="2" y="1508"/>
                  </a:cubicBezTo>
                  <a:cubicBezTo>
                    <a:pt x="4" y="1475"/>
                    <a:pt x="18" y="1444"/>
                    <a:pt x="45" y="1421"/>
                  </a:cubicBezTo>
                  <a:cubicBezTo>
                    <a:pt x="70" y="1399"/>
                    <a:pt x="346" y="1158"/>
                    <a:pt x="346" y="1158"/>
                  </a:cubicBezTo>
                  <a:cubicBezTo>
                    <a:pt x="376" y="1134"/>
                    <a:pt x="413" y="1133"/>
                    <a:pt x="448" y="1145"/>
                  </a:cubicBezTo>
                  <a:cubicBezTo>
                    <a:pt x="510" y="1166"/>
                    <a:pt x="536" y="1210"/>
                    <a:pt x="573" y="1257"/>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351"/>
            </a:p>
          </p:txBody>
        </p:sp>
      </p:grpSp>
      <p:grpSp>
        <p:nvGrpSpPr>
          <p:cNvPr id="11" name="Group 3">
            <a:extLst>
              <a:ext uri="{FF2B5EF4-FFF2-40B4-BE49-F238E27FC236}">
                <a16:creationId xmlns:a16="http://schemas.microsoft.com/office/drawing/2014/main" id="{DED6A25A-5DE2-1441-8BA2-C68D3B4F9209}"/>
              </a:ext>
            </a:extLst>
          </p:cNvPr>
          <p:cNvGrpSpPr>
            <a:grpSpLocks noChangeAspect="1"/>
          </p:cNvGrpSpPr>
          <p:nvPr>
            <p:custDataLst>
              <p:tags r:id="rId1"/>
            </p:custDataLst>
          </p:nvPr>
        </p:nvGrpSpPr>
        <p:grpSpPr>
          <a:xfrm>
            <a:off x="3770066" y="3153207"/>
            <a:ext cx="171180" cy="171180"/>
            <a:chOff x="328396" y="5313940"/>
            <a:chExt cx="720000" cy="720000"/>
          </a:xfrm>
        </p:grpSpPr>
        <p:sp>
          <p:nvSpPr>
            <p:cNvPr id="12" name="Rectangle 4">
              <a:extLst>
                <a:ext uri="{FF2B5EF4-FFF2-40B4-BE49-F238E27FC236}">
                  <a16:creationId xmlns:a16="http://schemas.microsoft.com/office/drawing/2014/main" id="{5F49E67F-D4FA-9D48-96BC-59AE946ECD15}"/>
                </a:ext>
              </a:extLst>
            </p:cNvPr>
            <p:cNvSpPr/>
            <p:nvPr/>
          </p:nvSpPr>
          <p:spPr bwMode="gray">
            <a:xfrm>
              <a:off x="328396" y="5313940"/>
              <a:ext cx="720000" cy="720000"/>
            </a:xfrm>
            <a:prstGeom prst="rect">
              <a:avLst/>
            </a:prstGeom>
            <a:solidFill>
              <a:srgbClr val="E55A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pPr>
              <a:endParaRPr lang="en-US" sz="1000">
                <a:solidFill>
                  <a:schemeClr val="tx1"/>
                </a:solidFill>
                <a:latin typeface="Arial" pitchFamily="34" charset="0"/>
                <a:cs typeface="Arial" pitchFamily="34" charset="0"/>
              </a:endParaRPr>
            </a:p>
          </p:txBody>
        </p:sp>
        <p:sp>
          <p:nvSpPr>
            <p:cNvPr id="13" name="Freeform 76">
              <a:extLst>
                <a:ext uri="{FF2B5EF4-FFF2-40B4-BE49-F238E27FC236}">
                  <a16:creationId xmlns:a16="http://schemas.microsoft.com/office/drawing/2014/main" id="{187E70E6-AF3F-2549-908E-DF4BA61040AA}"/>
                </a:ext>
              </a:extLst>
            </p:cNvPr>
            <p:cNvSpPr>
              <a:spLocks noChangeAspect="1" noEditPoints="1"/>
            </p:cNvSpPr>
            <p:nvPr/>
          </p:nvSpPr>
          <p:spPr bwMode="auto">
            <a:xfrm>
              <a:off x="456202" y="5509222"/>
              <a:ext cx="504000" cy="329436"/>
            </a:xfrm>
            <a:custGeom>
              <a:avLst/>
              <a:gdLst>
                <a:gd name="T0" fmla="*/ 0 w 2080"/>
                <a:gd name="T1" fmla="*/ 65 h 1360"/>
                <a:gd name="T2" fmla="*/ 0 w 2080"/>
                <a:gd name="T3" fmla="*/ 0 h 1360"/>
                <a:gd name="T4" fmla="*/ 2080 w 2080"/>
                <a:gd name="T5" fmla="*/ 0 h 1360"/>
                <a:gd name="T6" fmla="*/ 2080 w 2080"/>
                <a:gd name="T7" fmla="*/ 65 h 1360"/>
                <a:gd name="T8" fmla="*/ 1089 w 2080"/>
                <a:gd name="T9" fmla="*/ 862 h 1360"/>
                <a:gd name="T10" fmla="*/ 991 w 2080"/>
                <a:gd name="T11" fmla="*/ 862 h 1360"/>
                <a:gd name="T12" fmla="*/ 0 w 2080"/>
                <a:gd name="T13" fmla="*/ 65 h 1360"/>
                <a:gd name="T14" fmla="*/ 1139 w 2080"/>
                <a:gd name="T15" fmla="*/ 924 h 1360"/>
                <a:gd name="T16" fmla="*/ 1282 w 2080"/>
                <a:gd name="T17" fmla="*/ 810 h 1360"/>
                <a:gd name="T18" fmla="*/ 2076 w 2080"/>
                <a:gd name="T19" fmla="*/ 1360 h 1360"/>
                <a:gd name="T20" fmla="*/ 4 w 2080"/>
                <a:gd name="T21" fmla="*/ 1360 h 1360"/>
                <a:gd name="T22" fmla="*/ 798 w 2080"/>
                <a:gd name="T23" fmla="*/ 810 h 1360"/>
                <a:gd name="T24" fmla="*/ 941 w 2080"/>
                <a:gd name="T25" fmla="*/ 924 h 1360"/>
                <a:gd name="T26" fmla="*/ 1139 w 2080"/>
                <a:gd name="T27" fmla="*/ 924 h 1360"/>
                <a:gd name="T28" fmla="*/ 2 w 2080"/>
                <a:gd name="T29" fmla="*/ 137 h 1360"/>
                <a:gd name="T30" fmla="*/ 42 w 2080"/>
                <a:gd name="T31" fmla="*/ 201 h 1360"/>
                <a:gd name="T32" fmla="*/ 734 w 2080"/>
                <a:gd name="T33" fmla="*/ 758 h 1360"/>
                <a:gd name="T34" fmla="*/ 0 w 2080"/>
                <a:gd name="T35" fmla="*/ 1266 h 1360"/>
                <a:gd name="T36" fmla="*/ 0 w 2080"/>
                <a:gd name="T37" fmla="*/ 135 h 1360"/>
                <a:gd name="T38" fmla="*/ 2 w 2080"/>
                <a:gd name="T39" fmla="*/ 137 h 1360"/>
                <a:gd name="T40" fmla="*/ 2080 w 2080"/>
                <a:gd name="T41" fmla="*/ 136 h 1360"/>
                <a:gd name="T42" fmla="*/ 2080 w 2080"/>
                <a:gd name="T43" fmla="*/ 1265 h 1360"/>
                <a:gd name="T44" fmla="*/ 1346 w 2080"/>
                <a:gd name="T45" fmla="*/ 758 h 1360"/>
                <a:gd name="T46" fmla="*/ 2038 w 2080"/>
                <a:gd name="T47" fmla="*/ 201 h 1360"/>
                <a:gd name="T48" fmla="*/ 2080 w 2080"/>
                <a:gd name="T49" fmla="*/ 136 h 1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080" h="1360">
                  <a:moveTo>
                    <a:pt x="0" y="65"/>
                  </a:moveTo>
                  <a:cubicBezTo>
                    <a:pt x="0" y="0"/>
                    <a:pt x="0" y="0"/>
                    <a:pt x="0" y="0"/>
                  </a:cubicBezTo>
                  <a:cubicBezTo>
                    <a:pt x="2080" y="0"/>
                    <a:pt x="2080" y="0"/>
                    <a:pt x="2080" y="0"/>
                  </a:cubicBezTo>
                  <a:cubicBezTo>
                    <a:pt x="2080" y="65"/>
                    <a:pt x="2080" y="65"/>
                    <a:pt x="2080" y="65"/>
                  </a:cubicBezTo>
                  <a:cubicBezTo>
                    <a:pt x="1089" y="862"/>
                    <a:pt x="1089" y="862"/>
                    <a:pt x="1089" y="862"/>
                  </a:cubicBezTo>
                  <a:cubicBezTo>
                    <a:pt x="1060" y="886"/>
                    <a:pt x="1020" y="886"/>
                    <a:pt x="991" y="862"/>
                  </a:cubicBezTo>
                  <a:lnTo>
                    <a:pt x="0" y="65"/>
                  </a:lnTo>
                  <a:close/>
                  <a:moveTo>
                    <a:pt x="1139" y="924"/>
                  </a:moveTo>
                  <a:cubicBezTo>
                    <a:pt x="1282" y="810"/>
                    <a:pt x="1282" y="810"/>
                    <a:pt x="1282" y="810"/>
                  </a:cubicBezTo>
                  <a:cubicBezTo>
                    <a:pt x="2076" y="1360"/>
                    <a:pt x="2076" y="1360"/>
                    <a:pt x="2076" y="1360"/>
                  </a:cubicBezTo>
                  <a:cubicBezTo>
                    <a:pt x="4" y="1360"/>
                    <a:pt x="4" y="1360"/>
                    <a:pt x="4" y="1360"/>
                  </a:cubicBezTo>
                  <a:cubicBezTo>
                    <a:pt x="798" y="810"/>
                    <a:pt x="798" y="810"/>
                    <a:pt x="798" y="810"/>
                  </a:cubicBezTo>
                  <a:cubicBezTo>
                    <a:pt x="941" y="924"/>
                    <a:pt x="941" y="924"/>
                    <a:pt x="941" y="924"/>
                  </a:cubicBezTo>
                  <a:cubicBezTo>
                    <a:pt x="1000" y="972"/>
                    <a:pt x="1080" y="972"/>
                    <a:pt x="1139" y="924"/>
                  </a:cubicBezTo>
                  <a:close/>
                  <a:moveTo>
                    <a:pt x="2" y="137"/>
                  </a:moveTo>
                  <a:cubicBezTo>
                    <a:pt x="8" y="163"/>
                    <a:pt x="22" y="185"/>
                    <a:pt x="42" y="201"/>
                  </a:cubicBezTo>
                  <a:cubicBezTo>
                    <a:pt x="734" y="758"/>
                    <a:pt x="734" y="758"/>
                    <a:pt x="734" y="758"/>
                  </a:cubicBezTo>
                  <a:cubicBezTo>
                    <a:pt x="0" y="1266"/>
                    <a:pt x="0" y="1266"/>
                    <a:pt x="0" y="1266"/>
                  </a:cubicBezTo>
                  <a:cubicBezTo>
                    <a:pt x="0" y="135"/>
                    <a:pt x="0" y="135"/>
                    <a:pt x="0" y="135"/>
                  </a:cubicBezTo>
                  <a:lnTo>
                    <a:pt x="2" y="137"/>
                  </a:lnTo>
                  <a:close/>
                  <a:moveTo>
                    <a:pt x="2080" y="136"/>
                  </a:moveTo>
                  <a:cubicBezTo>
                    <a:pt x="2080" y="1265"/>
                    <a:pt x="2080" y="1265"/>
                    <a:pt x="2080" y="1265"/>
                  </a:cubicBezTo>
                  <a:cubicBezTo>
                    <a:pt x="1346" y="758"/>
                    <a:pt x="1346" y="758"/>
                    <a:pt x="1346" y="758"/>
                  </a:cubicBezTo>
                  <a:cubicBezTo>
                    <a:pt x="2038" y="201"/>
                    <a:pt x="2038" y="201"/>
                    <a:pt x="2038" y="201"/>
                  </a:cubicBezTo>
                  <a:cubicBezTo>
                    <a:pt x="2060" y="182"/>
                    <a:pt x="2072" y="162"/>
                    <a:pt x="2080" y="13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000"/>
            </a:p>
          </p:txBody>
        </p:sp>
      </p:grpSp>
      <p:grpSp>
        <p:nvGrpSpPr>
          <p:cNvPr id="14" name="Gruppieren 2">
            <a:extLst>
              <a:ext uri="{FF2B5EF4-FFF2-40B4-BE49-F238E27FC236}">
                <a16:creationId xmlns:a16="http://schemas.microsoft.com/office/drawing/2014/main" id="{BE697CE9-EBDE-6B4A-BE70-582D92A8A831}"/>
              </a:ext>
            </a:extLst>
          </p:cNvPr>
          <p:cNvGrpSpPr/>
          <p:nvPr/>
        </p:nvGrpSpPr>
        <p:grpSpPr>
          <a:xfrm>
            <a:off x="8701917" y="2868319"/>
            <a:ext cx="171180" cy="171180"/>
            <a:chOff x="3392092" y="1841122"/>
            <a:chExt cx="646508" cy="646508"/>
          </a:xfrm>
        </p:grpSpPr>
        <p:sp>
          <p:nvSpPr>
            <p:cNvPr id="15" name="Rechteck 14">
              <a:extLst>
                <a:ext uri="{FF2B5EF4-FFF2-40B4-BE49-F238E27FC236}">
                  <a16:creationId xmlns:a16="http://schemas.microsoft.com/office/drawing/2014/main" id="{E142A731-19B7-C34D-9534-9E05108F895F}"/>
                </a:ext>
              </a:extLst>
            </p:cNvPr>
            <p:cNvSpPr>
              <a:spLocks noChangeAspect="1"/>
            </p:cNvSpPr>
            <p:nvPr/>
          </p:nvSpPr>
          <p:spPr bwMode="gray">
            <a:xfrm>
              <a:off x="3392092" y="1841122"/>
              <a:ext cx="646508" cy="646508"/>
            </a:xfrm>
            <a:prstGeom prst="rect">
              <a:avLst/>
            </a:prstGeom>
            <a:solidFill>
              <a:srgbClr val="E55A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pPr>
              <a:endParaRPr lang="en-US" sz="1000">
                <a:solidFill>
                  <a:schemeClr val="tx1"/>
                </a:solidFill>
                <a:latin typeface="Arial" pitchFamily="34" charset="0"/>
                <a:cs typeface="Arial" pitchFamily="34" charset="0"/>
              </a:endParaRPr>
            </a:p>
          </p:txBody>
        </p:sp>
        <p:sp>
          <p:nvSpPr>
            <p:cNvPr id="16" name="Freeform 15">
              <a:extLst>
                <a:ext uri="{FF2B5EF4-FFF2-40B4-BE49-F238E27FC236}">
                  <a16:creationId xmlns:a16="http://schemas.microsoft.com/office/drawing/2014/main" id="{F97E84AE-4AD9-4B44-9AA1-F797FC373809}"/>
                </a:ext>
              </a:extLst>
            </p:cNvPr>
            <p:cNvSpPr>
              <a:spLocks noChangeAspect="1"/>
            </p:cNvSpPr>
            <p:nvPr/>
          </p:nvSpPr>
          <p:spPr bwMode="auto">
            <a:xfrm>
              <a:off x="3546638" y="1970424"/>
              <a:ext cx="337415" cy="387905"/>
            </a:xfrm>
            <a:custGeom>
              <a:avLst/>
              <a:gdLst>
                <a:gd name="T0" fmla="*/ 573 w 1624"/>
                <a:gd name="T1" fmla="*/ 1257 h 1867"/>
                <a:gd name="T2" fmla="*/ 662 w 1624"/>
                <a:gd name="T3" fmla="*/ 1288 h 1867"/>
                <a:gd name="T4" fmla="*/ 938 w 1624"/>
                <a:gd name="T5" fmla="*/ 1051 h 1867"/>
                <a:gd name="T6" fmla="*/ 1106 w 1624"/>
                <a:gd name="T7" fmla="*/ 731 h 1867"/>
                <a:gd name="T8" fmla="*/ 1059 w 1624"/>
                <a:gd name="T9" fmla="*/ 645 h 1867"/>
                <a:gd name="T10" fmla="*/ 1001 w 1624"/>
                <a:gd name="T11" fmla="*/ 613 h 1867"/>
                <a:gd name="T12" fmla="*/ 924 w 1624"/>
                <a:gd name="T13" fmla="*/ 432 h 1867"/>
                <a:gd name="T14" fmla="*/ 1114 w 1624"/>
                <a:gd name="T15" fmla="*/ 81 h 1867"/>
                <a:gd name="T16" fmla="*/ 1287 w 1624"/>
                <a:gd name="T17" fmla="*/ 35 h 1867"/>
                <a:gd name="T18" fmla="*/ 1350 w 1624"/>
                <a:gd name="T19" fmla="*/ 69 h 1867"/>
                <a:gd name="T20" fmla="*/ 1527 w 1624"/>
                <a:gd name="T21" fmla="*/ 235 h 1867"/>
                <a:gd name="T22" fmla="*/ 1583 w 1624"/>
                <a:gd name="T23" fmla="*/ 555 h 1867"/>
                <a:gd name="T24" fmla="*/ 1172 w 1624"/>
                <a:gd name="T25" fmla="*/ 1253 h 1867"/>
                <a:gd name="T26" fmla="*/ 586 w 1624"/>
                <a:gd name="T27" fmla="*/ 1803 h 1867"/>
                <a:gd name="T28" fmla="*/ 269 w 1624"/>
                <a:gd name="T29" fmla="*/ 1807 h 1867"/>
                <a:gd name="T30" fmla="*/ 33 w 1624"/>
                <a:gd name="T31" fmla="*/ 1602 h 1867"/>
                <a:gd name="T32" fmla="*/ 2 w 1624"/>
                <a:gd name="T33" fmla="*/ 1508 h 1867"/>
                <a:gd name="T34" fmla="*/ 45 w 1624"/>
                <a:gd name="T35" fmla="*/ 1421 h 1867"/>
                <a:gd name="T36" fmla="*/ 346 w 1624"/>
                <a:gd name="T37" fmla="*/ 1158 h 1867"/>
                <a:gd name="T38" fmla="*/ 448 w 1624"/>
                <a:gd name="T39" fmla="*/ 1145 h 1867"/>
                <a:gd name="T40" fmla="*/ 573 w 1624"/>
                <a:gd name="T41" fmla="*/ 1257 h 18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24" h="1867">
                  <a:moveTo>
                    <a:pt x="573" y="1257"/>
                  </a:moveTo>
                  <a:cubicBezTo>
                    <a:pt x="592" y="1282"/>
                    <a:pt x="630" y="1303"/>
                    <a:pt x="662" y="1288"/>
                  </a:cubicBezTo>
                  <a:cubicBezTo>
                    <a:pt x="753" y="1245"/>
                    <a:pt x="854" y="1156"/>
                    <a:pt x="938" y="1051"/>
                  </a:cubicBezTo>
                  <a:cubicBezTo>
                    <a:pt x="1020" y="948"/>
                    <a:pt x="1084" y="831"/>
                    <a:pt x="1106" y="731"/>
                  </a:cubicBezTo>
                  <a:cubicBezTo>
                    <a:pt x="1113" y="696"/>
                    <a:pt x="1089" y="661"/>
                    <a:pt x="1059" y="645"/>
                  </a:cubicBezTo>
                  <a:cubicBezTo>
                    <a:pt x="1001" y="613"/>
                    <a:pt x="1001" y="613"/>
                    <a:pt x="1001" y="613"/>
                  </a:cubicBezTo>
                  <a:cubicBezTo>
                    <a:pt x="942" y="580"/>
                    <a:pt x="888" y="499"/>
                    <a:pt x="924" y="432"/>
                  </a:cubicBezTo>
                  <a:cubicBezTo>
                    <a:pt x="1114" y="81"/>
                    <a:pt x="1114" y="81"/>
                    <a:pt x="1114" y="81"/>
                  </a:cubicBezTo>
                  <a:cubicBezTo>
                    <a:pt x="1150" y="16"/>
                    <a:pt x="1224" y="0"/>
                    <a:pt x="1287" y="35"/>
                  </a:cubicBezTo>
                  <a:cubicBezTo>
                    <a:pt x="1350" y="69"/>
                    <a:pt x="1350" y="69"/>
                    <a:pt x="1350" y="69"/>
                  </a:cubicBezTo>
                  <a:cubicBezTo>
                    <a:pt x="1415" y="105"/>
                    <a:pt x="1479" y="165"/>
                    <a:pt x="1527" y="235"/>
                  </a:cubicBezTo>
                  <a:cubicBezTo>
                    <a:pt x="1593" y="332"/>
                    <a:pt x="1624" y="442"/>
                    <a:pt x="1583" y="555"/>
                  </a:cubicBezTo>
                  <a:cubicBezTo>
                    <a:pt x="1500" y="781"/>
                    <a:pt x="1351" y="1030"/>
                    <a:pt x="1172" y="1253"/>
                  </a:cubicBezTo>
                  <a:cubicBezTo>
                    <a:pt x="994" y="1477"/>
                    <a:pt x="786" y="1676"/>
                    <a:pt x="586" y="1803"/>
                  </a:cubicBezTo>
                  <a:cubicBezTo>
                    <a:pt x="486" y="1867"/>
                    <a:pt x="375" y="1856"/>
                    <a:pt x="269" y="1807"/>
                  </a:cubicBezTo>
                  <a:cubicBezTo>
                    <a:pt x="157" y="1755"/>
                    <a:pt x="106" y="1695"/>
                    <a:pt x="33" y="1602"/>
                  </a:cubicBezTo>
                  <a:cubicBezTo>
                    <a:pt x="11" y="1573"/>
                    <a:pt x="0" y="1540"/>
                    <a:pt x="2" y="1508"/>
                  </a:cubicBezTo>
                  <a:cubicBezTo>
                    <a:pt x="4" y="1475"/>
                    <a:pt x="18" y="1444"/>
                    <a:pt x="45" y="1421"/>
                  </a:cubicBezTo>
                  <a:cubicBezTo>
                    <a:pt x="70" y="1399"/>
                    <a:pt x="346" y="1158"/>
                    <a:pt x="346" y="1158"/>
                  </a:cubicBezTo>
                  <a:cubicBezTo>
                    <a:pt x="376" y="1134"/>
                    <a:pt x="413" y="1133"/>
                    <a:pt x="448" y="1145"/>
                  </a:cubicBezTo>
                  <a:cubicBezTo>
                    <a:pt x="510" y="1166"/>
                    <a:pt x="536" y="1210"/>
                    <a:pt x="573" y="1257"/>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351"/>
            </a:p>
          </p:txBody>
        </p:sp>
      </p:grpSp>
      <p:grpSp>
        <p:nvGrpSpPr>
          <p:cNvPr id="17" name="Group 3">
            <a:extLst>
              <a:ext uri="{FF2B5EF4-FFF2-40B4-BE49-F238E27FC236}">
                <a16:creationId xmlns:a16="http://schemas.microsoft.com/office/drawing/2014/main" id="{7104BADD-8CD1-6F4A-B894-869C3BDB3EEB}"/>
              </a:ext>
            </a:extLst>
          </p:cNvPr>
          <p:cNvGrpSpPr>
            <a:grpSpLocks noChangeAspect="1"/>
          </p:cNvGrpSpPr>
          <p:nvPr>
            <p:custDataLst>
              <p:tags r:id="rId2"/>
            </p:custDataLst>
          </p:nvPr>
        </p:nvGrpSpPr>
        <p:grpSpPr>
          <a:xfrm>
            <a:off x="8701918" y="3153207"/>
            <a:ext cx="171180" cy="171180"/>
            <a:chOff x="328396" y="5313940"/>
            <a:chExt cx="720000" cy="720000"/>
          </a:xfrm>
        </p:grpSpPr>
        <p:sp>
          <p:nvSpPr>
            <p:cNvPr id="18" name="Rectangle 4">
              <a:extLst>
                <a:ext uri="{FF2B5EF4-FFF2-40B4-BE49-F238E27FC236}">
                  <a16:creationId xmlns:a16="http://schemas.microsoft.com/office/drawing/2014/main" id="{74BE3D5F-1445-6E40-8B49-72E15568383B}"/>
                </a:ext>
              </a:extLst>
            </p:cNvPr>
            <p:cNvSpPr/>
            <p:nvPr/>
          </p:nvSpPr>
          <p:spPr bwMode="gray">
            <a:xfrm>
              <a:off x="328396" y="5313940"/>
              <a:ext cx="720000" cy="720000"/>
            </a:xfrm>
            <a:prstGeom prst="rect">
              <a:avLst/>
            </a:prstGeom>
            <a:solidFill>
              <a:srgbClr val="E55A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pPr>
              <a:endParaRPr lang="en-US" sz="1000">
                <a:solidFill>
                  <a:schemeClr val="tx1"/>
                </a:solidFill>
                <a:latin typeface="Arial" pitchFamily="34" charset="0"/>
                <a:cs typeface="Arial" pitchFamily="34" charset="0"/>
              </a:endParaRPr>
            </a:p>
          </p:txBody>
        </p:sp>
        <p:sp>
          <p:nvSpPr>
            <p:cNvPr id="19" name="Freeform 76">
              <a:extLst>
                <a:ext uri="{FF2B5EF4-FFF2-40B4-BE49-F238E27FC236}">
                  <a16:creationId xmlns:a16="http://schemas.microsoft.com/office/drawing/2014/main" id="{55DB3C95-7D0C-D141-901E-96D692794D2B}"/>
                </a:ext>
              </a:extLst>
            </p:cNvPr>
            <p:cNvSpPr>
              <a:spLocks noChangeAspect="1" noEditPoints="1"/>
            </p:cNvSpPr>
            <p:nvPr/>
          </p:nvSpPr>
          <p:spPr bwMode="auto">
            <a:xfrm>
              <a:off x="456202" y="5509222"/>
              <a:ext cx="504000" cy="329436"/>
            </a:xfrm>
            <a:custGeom>
              <a:avLst/>
              <a:gdLst>
                <a:gd name="T0" fmla="*/ 0 w 2080"/>
                <a:gd name="T1" fmla="*/ 65 h 1360"/>
                <a:gd name="T2" fmla="*/ 0 w 2080"/>
                <a:gd name="T3" fmla="*/ 0 h 1360"/>
                <a:gd name="T4" fmla="*/ 2080 w 2080"/>
                <a:gd name="T5" fmla="*/ 0 h 1360"/>
                <a:gd name="T6" fmla="*/ 2080 w 2080"/>
                <a:gd name="T7" fmla="*/ 65 h 1360"/>
                <a:gd name="T8" fmla="*/ 1089 w 2080"/>
                <a:gd name="T9" fmla="*/ 862 h 1360"/>
                <a:gd name="T10" fmla="*/ 991 w 2080"/>
                <a:gd name="T11" fmla="*/ 862 h 1360"/>
                <a:gd name="T12" fmla="*/ 0 w 2080"/>
                <a:gd name="T13" fmla="*/ 65 h 1360"/>
                <a:gd name="T14" fmla="*/ 1139 w 2080"/>
                <a:gd name="T15" fmla="*/ 924 h 1360"/>
                <a:gd name="T16" fmla="*/ 1282 w 2080"/>
                <a:gd name="T17" fmla="*/ 810 h 1360"/>
                <a:gd name="T18" fmla="*/ 2076 w 2080"/>
                <a:gd name="T19" fmla="*/ 1360 h 1360"/>
                <a:gd name="T20" fmla="*/ 4 w 2080"/>
                <a:gd name="T21" fmla="*/ 1360 h 1360"/>
                <a:gd name="T22" fmla="*/ 798 w 2080"/>
                <a:gd name="T23" fmla="*/ 810 h 1360"/>
                <a:gd name="T24" fmla="*/ 941 w 2080"/>
                <a:gd name="T25" fmla="*/ 924 h 1360"/>
                <a:gd name="T26" fmla="*/ 1139 w 2080"/>
                <a:gd name="T27" fmla="*/ 924 h 1360"/>
                <a:gd name="T28" fmla="*/ 2 w 2080"/>
                <a:gd name="T29" fmla="*/ 137 h 1360"/>
                <a:gd name="T30" fmla="*/ 42 w 2080"/>
                <a:gd name="T31" fmla="*/ 201 h 1360"/>
                <a:gd name="T32" fmla="*/ 734 w 2080"/>
                <a:gd name="T33" fmla="*/ 758 h 1360"/>
                <a:gd name="T34" fmla="*/ 0 w 2080"/>
                <a:gd name="T35" fmla="*/ 1266 h 1360"/>
                <a:gd name="T36" fmla="*/ 0 w 2080"/>
                <a:gd name="T37" fmla="*/ 135 h 1360"/>
                <a:gd name="T38" fmla="*/ 2 w 2080"/>
                <a:gd name="T39" fmla="*/ 137 h 1360"/>
                <a:gd name="T40" fmla="*/ 2080 w 2080"/>
                <a:gd name="T41" fmla="*/ 136 h 1360"/>
                <a:gd name="T42" fmla="*/ 2080 w 2080"/>
                <a:gd name="T43" fmla="*/ 1265 h 1360"/>
                <a:gd name="T44" fmla="*/ 1346 w 2080"/>
                <a:gd name="T45" fmla="*/ 758 h 1360"/>
                <a:gd name="T46" fmla="*/ 2038 w 2080"/>
                <a:gd name="T47" fmla="*/ 201 h 1360"/>
                <a:gd name="T48" fmla="*/ 2080 w 2080"/>
                <a:gd name="T49" fmla="*/ 136 h 1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080" h="1360">
                  <a:moveTo>
                    <a:pt x="0" y="65"/>
                  </a:moveTo>
                  <a:cubicBezTo>
                    <a:pt x="0" y="0"/>
                    <a:pt x="0" y="0"/>
                    <a:pt x="0" y="0"/>
                  </a:cubicBezTo>
                  <a:cubicBezTo>
                    <a:pt x="2080" y="0"/>
                    <a:pt x="2080" y="0"/>
                    <a:pt x="2080" y="0"/>
                  </a:cubicBezTo>
                  <a:cubicBezTo>
                    <a:pt x="2080" y="65"/>
                    <a:pt x="2080" y="65"/>
                    <a:pt x="2080" y="65"/>
                  </a:cubicBezTo>
                  <a:cubicBezTo>
                    <a:pt x="1089" y="862"/>
                    <a:pt x="1089" y="862"/>
                    <a:pt x="1089" y="862"/>
                  </a:cubicBezTo>
                  <a:cubicBezTo>
                    <a:pt x="1060" y="886"/>
                    <a:pt x="1020" y="886"/>
                    <a:pt x="991" y="862"/>
                  </a:cubicBezTo>
                  <a:lnTo>
                    <a:pt x="0" y="65"/>
                  </a:lnTo>
                  <a:close/>
                  <a:moveTo>
                    <a:pt x="1139" y="924"/>
                  </a:moveTo>
                  <a:cubicBezTo>
                    <a:pt x="1282" y="810"/>
                    <a:pt x="1282" y="810"/>
                    <a:pt x="1282" y="810"/>
                  </a:cubicBezTo>
                  <a:cubicBezTo>
                    <a:pt x="2076" y="1360"/>
                    <a:pt x="2076" y="1360"/>
                    <a:pt x="2076" y="1360"/>
                  </a:cubicBezTo>
                  <a:cubicBezTo>
                    <a:pt x="4" y="1360"/>
                    <a:pt x="4" y="1360"/>
                    <a:pt x="4" y="1360"/>
                  </a:cubicBezTo>
                  <a:cubicBezTo>
                    <a:pt x="798" y="810"/>
                    <a:pt x="798" y="810"/>
                    <a:pt x="798" y="810"/>
                  </a:cubicBezTo>
                  <a:cubicBezTo>
                    <a:pt x="941" y="924"/>
                    <a:pt x="941" y="924"/>
                    <a:pt x="941" y="924"/>
                  </a:cubicBezTo>
                  <a:cubicBezTo>
                    <a:pt x="1000" y="972"/>
                    <a:pt x="1080" y="972"/>
                    <a:pt x="1139" y="924"/>
                  </a:cubicBezTo>
                  <a:close/>
                  <a:moveTo>
                    <a:pt x="2" y="137"/>
                  </a:moveTo>
                  <a:cubicBezTo>
                    <a:pt x="8" y="163"/>
                    <a:pt x="22" y="185"/>
                    <a:pt x="42" y="201"/>
                  </a:cubicBezTo>
                  <a:cubicBezTo>
                    <a:pt x="734" y="758"/>
                    <a:pt x="734" y="758"/>
                    <a:pt x="734" y="758"/>
                  </a:cubicBezTo>
                  <a:cubicBezTo>
                    <a:pt x="0" y="1266"/>
                    <a:pt x="0" y="1266"/>
                    <a:pt x="0" y="1266"/>
                  </a:cubicBezTo>
                  <a:cubicBezTo>
                    <a:pt x="0" y="135"/>
                    <a:pt x="0" y="135"/>
                    <a:pt x="0" y="135"/>
                  </a:cubicBezTo>
                  <a:lnTo>
                    <a:pt x="2" y="137"/>
                  </a:lnTo>
                  <a:close/>
                  <a:moveTo>
                    <a:pt x="2080" y="136"/>
                  </a:moveTo>
                  <a:cubicBezTo>
                    <a:pt x="2080" y="1265"/>
                    <a:pt x="2080" y="1265"/>
                    <a:pt x="2080" y="1265"/>
                  </a:cubicBezTo>
                  <a:cubicBezTo>
                    <a:pt x="1346" y="758"/>
                    <a:pt x="1346" y="758"/>
                    <a:pt x="1346" y="758"/>
                  </a:cubicBezTo>
                  <a:cubicBezTo>
                    <a:pt x="2038" y="201"/>
                    <a:pt x="2038" y="201"/>
                    <a:pt x="2038" y="201"/>
                  </a:cubicBezTo>
                  <a:cubicBezTo>
                    <a:pt x="2060" y="182"/>
                    <a:pt x="2072" y="162"/>
                    <a:pt x="2080" y="13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000"/>
            </a:p>
          </p:txBody>
        </p:sp>
      </p:grpSp>
      <p:cxnSp>
        <p:nvCxnSpPr>
          <p:cNvPr id="20" name="Straight Connector 19"/>
          <p:cNvCxnSpPr/>
          <p:nvPr/>
        </p:nvCxnSpPr>
        <p:spPr>
          <a:xfrm>
            <a:off x="2371725" y="3478213"/>
            <a:ext cx="3888000" cy="0"/>
          </a:xfrm>
          <a:prstGeom prst="line">
            <a:avLst/>
          </a:prstGeom>
          <a:ln w="6350">
            <a:solidFill>
              <a:schemeClr val="tx2"/>
            </a:solidFill>
            <a:prstDash val="dash"/>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p:nvCxnSpPr>
        <p:spPr>
          <a:xfrm>
            <a:off x="7287766" y="3478213"/>
            <a:ext cx="3888000" cy="0"/>
          </a:xfrm>
          <a:prstGeom prst="line">
            <a:avLst/>
          </a:prstGeom>
          <a:ln w="6350">
            <a:solidFill>
              <a:schemeClr val="tx2"/>
            </a:solidFill>
            <a:prstDash val="dash"/>
          </a:ln>
        </p:spPr>
        <p:style>
          <a:lnRef idx="1">
            <a:schemeClr val="accent1"/>
          </a:lnRef>
          <a:fillRef idx="0">
            <a:schemeClr val="accent1"/>
          </a:fillRef>
          <a:effectRef idx="0">
            <a:schemeClr val="accent1"/>
          </a:effectRef>
          <a:fontRef idx="minor">
            <a:schemeClr val="tx1"/>
          </a:fontRef>
        </p:style>
      </p:cxnSp>
      <p:sp>
        <p:nvSpPr>
          <p:cNvPr id="4" name="Picture Placeholder 3"/>
          <p:cNvSpPr>
            <a:spLocks noGrp="1"/>
          </p:cNvSpPr>
          <p:nvPr>
            <p:ph type="pic" sz="quarter" idx="17" hasCustomPrompt="1"/>
          </p:nvPr>
        </p:nvSpPr>
        <p:spPr>
          <a:xfrm>
            <a:off x="2355914" y="1808984"/>
            <a:ext cx="1188677" cy="1547840"/>
          </a:xfrm>
          <a:solidFill>
            <a:srgbClr val="D9DADB"/>
          </a:solidFill>
        </p:spPr>
        <p:txBody>
          <a:bodyPr/>
          <a:lstStyle>
            <a:lvl1pPr marL="0" indent="0">
              <a:buNone/>
              <a:defRPr sz="1400"/>
            </a:lvl1pPr>
          </a:lstStyle>
          <a:p>
            <a:r>
              <a:rPr lang="en-US"/>
              <a:t>Insert picture</a:t>
            </a:r>
          </a:p>
        </p:txBody>
      </p:sp>
      <p:sp>
        <p:nvSpPr>
          <p:cNvPr id="25" name="Picture Placeholder 3"/>
          <p:cNvSpPr>
            <a:spLocks noGrp="1"/>
          </p:cNvSpPr>
          <p:nvPr>
            <p:ph type="pic" sz="quarter" idx="18" hasCustomPrompt="1"/>
          </p:nvPr>
        </p:nvSpPr>
        <p:spPr>
          <a:xfrm>
            <a:off x="7287766" y="1808984"/>
            <a:ext cx="1188677" cy="1547840"/>
          </a:xfrm>
          <a:solidFill>
            <a:srgbClr val="D9DADB"/>
          </a:solidFill>
        </p:spPr>
        <p:txBody>
          <a:bodyPr/>
          <a:lstStyle>
            <a:lvl1pPr marL="0" indent="0">
              <a:buNone/>
              <a:defRPr sz="1400"/>
            </a:lvl1pPr>
          </a:lstStyle>
          <a:p>
            <a:r>
              <a:rPr lang="en-US"/>
              <a:t>Insert picture</a:t>
            </a:r>
          </a:p>
        </p:txBody>
      </p:sp>
      <p:sp>
        <p:nvSpPr>
          <p:cNvPr id="6" name="Text Placeholder 5"/>
          <p:cNvSpPr>
            <a:spLocks noGrp="1"/>
          </p:cNvSpPr>
          <p:nvPr>
            <p:ph type="body" sz="quarter" idx="19" hasCustomPrompt="1"/>
          </p:nvPr>
        </p:nvSpPr>
        <p:spPr>
          <a:xfrm>
            <a:off x="3770065" y="1808521"/>
            <a:ext cx="2463190" cy="192360"/>
          </a:xfrm>
        </p:spPr>
        <p:txBody>
          <a:bodyPr lIns="0" tIns="0" rIns="0" bIns="0" anchor="ctr" anchorCtr="0"/>
          <a:lstStyle>
            <a:lvl1pPr marL="0" indent="0" algn="l">
              <a:lnSpc>
                <a:spcPct val="100000"/>
              </a:lnSpc>
              <a:buNone/>
              <a:defRPr sz="100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Country</a:t>
            </a:r>
          </a:p>
        </p:txBody>
      </p:sp>
      <p:sp>
        <p:nvSpPr>
          <p:cNvPr id="26" name="Text Placeholder 5"/>
          <p:cNvSpPr>
            <a:spLocks noGrp="1"/>
          </p:cNvSpPr>
          <p:nvPr>
            <p:ph type="body" sz="quarter" idx="20" hasCustomPrompt="1"/>
          </p:nvPr>
        </p:nvSpPr>
        <p:spPr>
          <a:xfrm>
            <a:off x="3770065" y="2020337"/>
            <a:ext cx="2463190" cy="266182"/>
          </a:xfrm>
        </p:spPr>
        <p:txBody>
          <a:bodyPr lIns="0" tIns="0" rIns="0" bIns="0" anchor="b" anchorCtr="0"/>
          <a:lstStyle>
            <a:lvl1pPr marL="0" indent="0" algn="l">
              <a:lnSpc>
                <a:spcPct val="100000"/>
              </a:lnSpc>
              <a:buNone/>
              <a:defRPr sz="1400" b="1" baseline="0">
                <a:solidFill>
                  <a:schemeClr val="tx2"/>
                </a:solidFill>
              </a:defRPr>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Name, Surname</a:t>
            </a:r>
          </a:p>
        </p:txBody>
      </p:sp>
      <p:sp>
        <p:nvSpPr>
          <p:cNvPr id="27" name="Text Placeholder 5"/>
          <p:cNvSpPr>
            <a:spLocks noGrp="1"/>
          </p:cNvSpPr>
          <p:nvPr>
            <p:ph type="body" sz="quarter" idx="21" hasCustomPrompt="1"/>
          </p:nvPr>
        </p:nvSpPr>
        <p:spPr>
          <a:xfrm>
            <a:off x="3770065" y="2316912"/>
            <a:ext cx="2463190"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Job Position</a:t>
            </a:r>
          </a:p>
        </p:txBody>
      </p:sp>
      <p:sp>
        <p:nvSpPr>
          <p:cNvPr id="28" name="Text Placeholder 5"/>
          <p:cNvSpPr>
            <a:spLocks noGrp="1"/>
          </p:cNvSpPr>
          <p:nvPr>
            <p:ph type="body" sz="quarter" idx="22" hasCustomPrompt="1"/>
          </p:nvPr>
        </p:nvSpPr>
        <p:spPr>
          <a:xfrm>
            <a:off x="4014948" y="2845588"/>
            <a:ext cx="2218307"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Phone number</a:t>
            </a:r>
          </a:p>
        </p:txBody>
      </p:sp>
      <p:sp>
        <p:nvSpPr>
          <p:cNvPr id="29" name="Text Placeholder 5"/>
          <p:cNvSpPr>
            <a:spLocks noGrp="1"/>
          </p:cNvSpPr>
          <p:nvPr>
            <p:ph type="body" sz="quarter" idx="23" hasCustomPrompt="1"/>
          </p:nvPr>
        </p:nvSpPr>
        <p:spPr>
          <a:xfrm>
            <a:off x="4014948" y="3128395"/>
            <a:ext cx="2218307"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Email address</a:t>
            </a:r>
          </a:p>
        </p:txBody>
      </p:sp>
      <p:sp>
        <p:nvSpPr>
          <p:cNvPr id="30" name="Text Placeholder 5"/>
          <p:cNvSpPr>
            <a:spLocks noGrp="1"/>
          </p:cNvSpPr>
          <p:nvPr>
            <p:ph type="body" sz="quarter" idx="24" hasCustomPrompt="1"/>
          </p:nvPr>
        </p:nvSpPr>
        <p:spPr>
          <a:xfrm>
            <a:off x="8701917" y="1808521"/>
            <a:ext cx="2463190" cy="192360"/>
          </a:xfrm>
        </p:spPr>
        <p:txBody>
          <a:bodyPr lIns="0" tIns="0" rIns="0" bIns="0" anchor="ctr" anchorCtr="0"/>
          <a:lstStyle>
            <a:lvl1pPr marL="0" indent="0" algn="l">
              <a:lnSpc>
                <a:spcPct val="100000"/>
              </a:lnSpc>
              <a:buNone/>
              <a:defRPr sz="100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Country</a:t>
            </a:r>
          </a:p>
        </p:txBody>
      </p:sp>
      <p:sp>
        <p:nvSpPr>
          <p:cNvPr id="31" name="Text Placeholder 5"/>
          <p:cNvSpPr>
            <a:spLocks noGrp="1"/>
          </p:cNvSpPr>
          <p:nvPr>
            <p:ph type="body" sz="quarter" idx="25" hasCustomPrompt="1"/>
          </p:nvPr>
        </p:nvSpPr>
        <p:spPr>
          <a:xfrm>
            <a:off x="8701917" y="2020337"/>
            <a:ext cx="2463190" cy="266182"/>
          </a:xfrm>
        </p:spPr>
        <p:txBody>
          <a:bodyPr lIns="0" tIns="0" rIns="0" bIns="0" anchor="b" anchorCtr="0"/>
          <a:lstStyle>
            <a:lvl1pPr marL="0" indent="0" algn="l">
              <a:lnSpc>
                <a:spcPct val="100000"/>
              </a:lnSpc>
              <a:buNone/>
              <a:defRPr sz="1400" b="1" baseline="0">
                <a:solidFill>
                  <a:schemeClr val="tx2"/>
                </a:solidFill>
              </a:defRPr>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Name, Surname</a:t>
            </a:r>
          </a:p>
        </p:txBody>
      </p:sp>
      <p:sp>
        <p:nvSpPr>
          <p:cNvPr id="32" name="Text Placeholder 5"/>
          <p:cNvSpPr>
            <a:spLocks noGrp="1"/>
          </p:cNvSpPr>
          <p:nvPr>
            <p:ph type="body" sz="quarter" idx="26" hasCustomPrompt="1"/>
          </p:nvPr>
        </p:nvSpPr>
        <p:spPr>
          <a:xfrm>
            <a:off x="8701917" y="2316912"/>
            <a:ext cx="2463190"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Job Position</a:t>
            </a:r>
          </a:p>
        </p:txBody>
      </p:sp>
      <p:sp>
        <p:nvSpPr>
          <p:cNvPr id="33" name="Text Placeholder 5"/>
          <p:cNvSpPr>
            <a:spLocks noGrp="1"/>
          </p:cNvSpPr>
          <p:nvPr>
            <p:ph type="body" sz="quarter" idx="27" hasCustomPrompt="1"/>
          </p:nvPr>
        </p:nvSpPr>
        <p:spPr>
          <a:xfrm>
            <a:off x="8946800" y="2845588"/>
            <a:ext cx="2218307"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Phone number</a:t>
            </a:r>
          </a:p>
        </p:txBody>
      </p:sp>
      <p:sp>
        <p:nvSpPr>
          <p:cNvPr id="34" name="Text Placeholder 5"/>
          <p:cNvSpPr>
            <a:spLocks noGrp="1"/>
          </p:cNvSpPr>
          <p:nvPr>
            <p:ph type="body" sz="quarter" idx="28" hasCustomPrompt="1"/>
          </p:nvPr>
        </p:nvSpPr>
        <p:spPr>
          <a:xfrm>
            <a:off x="8946800" y="3128395"/>
            <a:ext cx="2218307"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Email address</a:t>
            </a:r>
          </a:p>
        </p:txBody>
      </p:sp>
      <p:grpSp>
        <p:nvGrpSpPr>
          <p:cNvPr id="35" name="Gruppieren 2">
            <a:extLst>
              <a:ext uri="{FF2B5EF4-FFF2-40B4-BE49-F238E27FC236}">
                <a16:creationId xmlns:a16="http://schemas.microsoft.com/office/drawing/2014/main" id="{BE697CE9-EBDE-6B4A-BE70-582D92A8A831}"/>
              </a:ext>
            </a:extLst>
          </p:cNvPr>
          <p:cNvGrpSpPr/>
          <p:nvPr/>
        </p:nvGrpSpPr>
        <p:grpSpPr>
          <a:xfrm>
            <a:off x="3770065" y="5045939"/>
            <a:ext cx="171180" cy="171180"/>
            <a:chOff x="3392092" y="1841122"/>
            <a:chExt cx="646508" cy="646508"/>
          </a:xfrm>
        </p:grpSpPr>
        <p:sp>
          <p:nvSpPr>
            <p:cNvPr id="36" name="Rechteck 14">
              <a:extLst>
                <a:ext uri="{FF2B5EF4-FFF2-40B4-BE49-F238E27FC236}">
                  <a16:creationId xmlns:a16="http://schemas.microsoft.com/office/drawing/2014/main" id="{E142A731-19B7-C34D-9534-9E05108F895F}"/>
                </a:ext>
              </a:extLst>
            </p:cNvPr>
            <p:cNvSpPr>
              <a:spLocks noChangeAspect="1"/>
            </p:cNvSpPr>
            <p:nvPr/>
          </p:nvSpPr>
          <p:spPr bwMode="gray">
            <a:xfrm>
              <a:off x="3392092" y="1841122"/>
              <a:ext cx="646508" cy="646508"/>
            </a:xfrm>
            <a:prstGeom prst="rect">
              <a:avLst/>
            </a:prstGeom>
            <a:solidFill>
              <a:srgbClr val="E55A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pPr>
              <a:endParaRPr lang="en-US" sz="1000">
                <a:solidFill>
                  <a:schemeClr val="tx1"/>
                </a:solidFill>
                <a:latin typeface="Arial" pitchFamily="34" charset="0"/>
                <a:cs typeface="Arial" pitchFamily="34" charset="0"/>
              </a:endParaRPr>
            </a:p>
          </p:txBody>
        </p:sp>
        <p:sp>
          <p:nvSpPr>
            <p:cNvPr id="37" name="Freeform 36">
              <a:extLst>
                <a:ext uri="{FF2B5EF4-FFF2-40B4-BE49-F238E27FC236}">
                  <a16:creationId xmlns:a16="http://schemas.microsoft.com/office/drawing/2014/main" id="{F97E84AE-4AD9-4B44-9AA1-F797FC373809}"/>
                </a:ext>
              </a:extLst>
            </p:cNvPr>
            <p:cNvSpPr>
              <a:spLocks noChangeAspect="1"/>
            </p:cNvSpPr>
            <p:nvPr/>
          </p:nvSpPr>
          <p:spPr bwMode="auto">
            <a:xfrm>
              <a:off x="3546638" y="1970424"/>
              <a:ext cx="337415" cy="387905"/>
            </a:xfrm>
            <a:custGeom>
              <a:avLst/>
              <a:gdLst>
                <a:gd name="T0" fmla="*/ 573 w 1624"/>
                <a:gd name="T1" fmla="*/ 1257 h 1867"/>
                <a:gd name="T2" fmla="*/ 662 w 1624"/>
                <a:gd name="T3" fmla="*/ 1288 h 1867"/>
                <a:gd name="T4" fmla="*/ 938 w 1624"/>
                <a:gd name="T5" fmla="*/ 1051 h 1867"/>
                <a:gd name="T6" fmla="*/ 1106 w 1624"/>
                <a:gd name="T7" fmla="*/ 731 h 1867"/>
                <a:gd name="T8" fmla="*/ 1059 w 1624"/>
                <a:gd name="T9" fmla="*/ 645 h 1867"/>
                <a:gd name="T10" fmla="*/ 1001 w 1624"/>
                <a:gd name="T11" fmla="*/ 613 h 1867"/>
                <a:gd name="T12" fmla="*/ 924 w 1624"/>
                <a:gd name="T13" fmla="*/ 432 h 1867"/>
                <a:gd name="T14" fmla="*/ 1114 w 1624"/>
                <a:gd name="T15" fmla="*/ 81 h 1867"/>
                <a:gd name="T16" fmla="*/ 1287 w 1624"/>
                <a:gd name="T17" fmla="*/ 35 h 1867"/>
                <a:gd name="T18" fmla="*/ 1350 w 1624"/>
                <a:gd name="T19" fmla="*/ 69 h 1867"/>
                <a:gd name="T20" fmla="*/ 1527 w 1624"/>
                <a:gd name="T21" fmla="*/ 235 h 1867"/>
                <a:gd name="T22" fmla="*/ 1583 w 1624"/>
                <a:gd name="T23" fmla="*/ 555 h 1867"/>
                <a:gd name="T24" fmla="*/ 1172 w 1624"/>
                <a:gd name="T25" fmla="*/ 1253 h 1867"/>
                <a:gd name="T26" fmla="*/ 586 w 1624"/>
                <a:gd name="T27" fmla="*/ 1803 h 1867"/>
                <a:gd name="T28" fmla="*/ 269 w 1624"/>
                <a:gd name="T29" fmla="*/ 1807 h 1867"/>
                <a:gd name="T30" fmla="*/ 33 w 1624"/>
                <a:gd name="T31" fmla="*/ 1602 h 1867"/>
                <a:gd name="T32" fmla="*/ 2 w 1624"/>
                <a:gd name="T33" fmla="*/ 1508 h 1867"/>
                <a:gd name="T34" fmla="*/ 45 w 1624"/>
                <a:gd name="T35" fmla="*/ 1421 h 1867"/>
                <a:gd name="T36" fmla="*/ 346 w 1624"/>
                <a:gd name="T37" fmla="*/ 1158 h 1867"/>
                <a:gd name="T38" fmla="*/ 448 w 1624"/>
                <a:gd name="T39" fmla="*/ 1145 h 1867"/>
                <a:gd name="T40" fmla="*/ 573 w 1624"/>
                <a:gd name="T41" fmla="*/ 1257 h 18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24" h="1867">
                  <a:moveTo>
                    <a:pt x="573" y="1257"/>
                  </a:moveTo>
                  <a:cubicBezTo>
                    <a:pt x="592" y="1282"/>
                    <a:pt x="630" y="1303"/>
                    <a:pt x="662" y="1288"/>
                  </a:cubicBezTo>
                  <a:cubicBezTo>
                    <a:pt x="753" y="1245"/>
                    <a:pt x="854" y="1156"/>
                    <a:pt x="938" y="1051"/>
                  </a:cubicBezTo>
                  <a:cubicBezTo>
                    <a:pt x="1020" y="948"/>
                    <a:pt x="1084" y="831"/>
                    <a:pt x="1106" y="731"/>
                  </a:cubicBezTo>
                  <a:cubicBezTo>
                    <a:pt x="1113" y="696"/>
                    <a:pt x="1089" y="661"/>
                    <a:pt x="1059" y="645"/>
                  </a:cubicBezTo>
                  <a:cubicBezTo>
                    <a:pt x="1001" y="613"/>
                    <a:pt x="1001" y="613"/>
                    <a:pt x="1001" y="613"/>
                  </a:cubicBezTo>
                  <a:cubicBezTo>
                    <a:pt x="942" y="580"/>
                    <a:pt x="888" y="499"/>
                    <a:pt x="924" y="432"/>
                  </a:cubicBezTo>
                  <a:cubicBezTo>
                    <a:pt x="1114" y="81"/>
                    <a:pt x="1114" y="81"/>
                    <a:pt x="1114" y="81"/>
                  </a:cubicBezTo>
                  <a:cubicBezTo>
                    <a:pt x="1150" y="16"/>
                    <a:pt x="1224" y="0"/>
                    <a:pt x="1287" y="35"/>
                  </a:cubicBezTo>
                  <a:cubicBezTo>
                    <a:pt x="1350" y="69"/>
                    <a:pt x="1350" y="69"/>
                    <a:pt x="1350" y="69"/>
                  </a:cubicBezTo>
                  <a:cubicBezTo>
                    <a:pt x="1415" y="105"/>
                    <a:pt x="1479" y="165"/>
                    <a:pt x="1527" y="235"/>
                  </a:cubicBezTo>
                  <a:cubicBezTo>
                    <a:pt x="1593" y="332"/>
                    <a:pt x="1624" y="442"/>
                    <a:pt x="1583" y="555"/>
                  </a:cubicBezTo>
                  <a:cubicBezTo>
                    <a:pt x="1500" y="781"/>
                    <a:pt x="1351" y="1030"/>
                    <a:pt x="1172" y="1253"/>
                  </a:cubicBezTo>
                  <a:cubicBezTo>
                    <a:pt x="994" y="1477"/>
                    <a:pt x="786" y="1676"/>
                    <a:pt x="586" y="1803"/>
                  </a:cubicBezTo>
                  <a:cubicBezTo>
                    <a:pt x="486" y="1867"/>
                    <a:pt x="375" y="1856"/>
                    <a:pt x="269" y="1807"/>
                  </a:cubicBezTo>
                  <a:cubicBezTo>
                    <a:pt x="157" y="1755"/>
                    <a:pt x="106" y="1695"/>
                    <a:pt x="33" y="1602"/>
                  </a:cubicBezTo>
                  <a:cubicBezTo>
                    <a:pt x="11" y="1573"/>
                    <a:pt x="0" y="1540"/>
                    <a:pt x="2" y="1508"/>
                  </a:cubicBezTo>
                  <a:cubicBezTo>
                    <a:pt x="4" y="1475"/>
                    <a:pt x="18" y="1444"/>
                    <a:pt x="45" y="1421"/>
                  </a:cubicBezTo>
                  <a:cubicBezTo>
                    <a:pt x="70" y="1399"/>
                    <a:pt x="346" y="1158"/>
                    <a:pt x="346" y="1158"/>
                  </a:cubicBezTo>
                  <a:cubicBezTo>
                    <a:pt x="376" y="1134"/>
                    <a:pt x="413" y="1133"/>
                    <a:pt x="448" y="1145"/>
                  </a:cubicBezTo>
                  <a:cubicBezTo>
                    <a:pt x="510" y="1166"/>
                    <a:pt x="536" y="1210"/>
                    <a:pt x="573" y="1257"/>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351"/>
            </a:p>
          </p:txBody>
        </p:sp>
      </p:grpSp>
      <p:grpSp>
        <p:nvGrpSpPr>
          <p:cNvPr id="38" name="Group 3">
            <a:extLst>
              <a:ext uri="{FF2B5EF4-FFF2-40B4-BE49-F238E27FC236}">
                <a16:creationId xmlns:a16="http://schemas.microsoft.com/office/drawing/2014/main" id="{7104BADD-8CD1-6F4A-B894-869C3BDB3EEB}"/>
              </a:ext>
            </a:extLst>
          </p:cNvPr>
          <p:cNvGrpSpPr>
            <a:grpSpLocks noChangeAspect="1"/>
          </p:cNvGrpSpPr>
          <p:nvPr>
            <p:custDataLst>
              <p:tags r:id="rId3"/>
            </p:custDataLst>
          </p:nvPr>
        </p:nvGrpSpPr>
        <p:grpSpPr>
          <a:xfrm>
            <a:off x="3770066" y="5330827"/>
            <a:ext cx="171180" cy="171180"/>
            <a:chOff x="328396" y="5313940"/>
            <a:chExt cx="720000" cy="720000"/>
          </a:xfrm>
        </p:grpSpPr>
        <p:sp>
          <p:nvSpPr>
            <p:cNvPr id="39" name="Rectangle 4">
              <a:extLst>
                <a:ext uri="{FF2B5EF4-FFF2-40B4-BE49-F238E27FC236}">
                  <a16:creationId xmlns:a16="http://schemas.microsoft.com/office/drawing/2014/main" id="{74BE3D5F-1445-6E40-8B49-72E15568383B}"/>
                </a:ext>
              </a:extLst>
            </p:cNvPr>
            <p:cNvSpPr/>
            <p:nvPr/>
          </p:nvSpPr>
          <p:spPr bwMode="gray">
            <a:xfrm>
              <a:off x="328396" y="5313940"/>
              <a:ext cx="720000" cy="720000"/>
            </a:xfrm>
            <a:prstGeom prst="rect">
              <a:avLst/>
            </a:prstGeom>
            <a:solidFill>
              <a:srgbClr val="E55A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pPr>
              <a:endParaRPr lang="en-US" sz="1000">
                <a:solidFill>
                  <a:schemeClr val="tx1"/>
                </a:solidFill>
                <a:latin typeface="Arial" pitchFamily="34" charset="0"/>
                <a:cs typeface="Arial" pitchFamily="34" charset="0"/>
              </a:endParaRPr>
            </a:p>
          </p:txBody>
        </p:sp>
        <p:sp>
          <p:nvSpPr>
            <p:cNvPr id="40" name="Freeform 76">
              <a:extLst>
                <a:ext uri="{FF2B5EF4-FFF2-40B4-BE49-F238E27FC236}">
                  <a16:creationId xmlns:a16="http://schemas.microsoft.com/office/drawing/2014/main" id="{55DB3C95-7D0C-D141-901E-96D692794D2B}"/>
                </a:ext>
              </a:extLst>
            </p:cNvPr>
            <p:cNvSpPr>
              <a:spLocks noChangeAspect="1" noEditPoints="1"/>
            </p:cNvSpPr>
            <p:nvPr/>
          </p:nvSpPr>
          <p:spPr bwMode="auto">
            <a:xfrm>
              <a:off x="456202" y="5509222"/>
              <a:ext cx="504000" cy="329436"/>
            </a:xfrm>
            <a:custGeom>
              <a:avLst/>
              <a:gdLst>
                <a:gd name="T0" fmla="*/ 0 w 2080"/>
                <a:gd name="T1" fmla="*/ 65 h 1360"/>
                <a:gd name="T2" fmla="*/ 0 w 2080"/>
                <a:gd name="T3" fmla="*/ 0 h 1360"/>
                <a:gd name="T4" fmla="*/ 2080 w 2080"/>
                <a:gd name="T5" fmla="*/ 0 h 1360"/>
                <a:gd name="T6" fmla="*/ 2080 w 2080"/>
                <a:gd name="T7" fmla="*/ 65 h 1360"/>
                <a:gd name="T8" fmla="*/ 1089 w 2080"/>
                <a:gd name="T9" fmla="*/ 862 h 1360"/>
                <a:gd name="T10" fmla="*/ 991 w 2080"/>
                <a:gd name="T11" fmla="*/ 862 h 1360"/>
                <a:gd name="T12" fmla="*/ 0 w 2080"/>
                <a:gd name="T13" fmla="*/ 65 h 1360"/>
                <a:gd name="T14" fmla="*/ 1139 w 2080"/>
                <a:gd name="T15" fmla="*/ 924 h 1360"/>
                <a:gd name="T16" fmla="*/ 1282 w 2080"/>
                <a:gd name="T17" fmla="*/ 810 h 1360"/>
                <a:gd name="T18" fmla="*/ 2076 w 2080"/>
                <a:gd name="T19" fmla="*/ 1360 h 1360"/>
                <a:gd name="T20" fmla="*/ 4 w 2080"/>
                <a:gd name="T21" fmla="*/ 1360 h 1360"/>
                <a:gd name="T22" fmla="*/ 798 w 2080"/>
                <a:gd name="T23" fmla="*/ 810 h 1360"/>
                <a:gd name="T24" fmla="*/ 941 w 2080"/>
                <a:gd name="T25" fmla="*/ 924 h 1360"/>
                <a:gd name="T26" fmla="*/ 1139 w 2080"/>
                <a:gd name="T27" fmla="*/ 924 h 1360"/>
                <a:gd name="T28" fmla="*/ 2 w 2080"/>
                <a:gd name="T29" fmla="*/ 137 h 1360"/>
                <a:gd name="T30" fmla="*/ 42 w 2080"/>
                <a:gd name="T31" fmla="*/ 201 h 1360"/>
                <a:gd name="T32" fmla="*/ 734 w 2080"/>
                <a:gd name="T33" fmla="*/ 758 h 1360"/>
                <a:gd name="T34" fmla="*/ 0 w 2080"/>
                <a:gd name="T35" fmla="*/ 1266 h 1360"/>
                <a:gd name="T36" fmla="*/ 0 w 2080"/>
                <a:gd name="T37" fmla="*/ 135 h 1360"/>
                <a:gd name="T38" fmla="*/ 2 w 2080"/>
                <a:gd name="T39" fmla="*/ 137 h 1360"/>
                <a:gd name="T40" fmla="*/ 2080 w 2080"/>
                <a:gd name="T41" fmla="*/ 136 h 1360"/>
                <a:gd name="T42" fmla="*/ 2080 w 2080"/>
                <a:gd name="T43" fmla="*/ 1265 h 1360"/>
                <a:gd name="T44" fmla="*/ 1346 w 2080"/>
                <a:gd name="T45" fmla="*/ 758 h 1360"/>
                <a:gd name="T46" fmla="*/ 2038 w 2080"/>
                <a:gd name="T47" fmla="*/ 201 h 1360"/>
                <a:gd name="T48" fmla="*/ 2080 w 2080"/>
                <a:gd name="T49" fmla="*/ 136 h 1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080" h="1360">
                  <a:moveTo>
                    <a:pt x="0" y="65"/>
                  </a:moveTo>
                  <a:cubicBezTo>
                    <a:pt x="0" y="0"/>
                    <a:pt x="0" y="0"/>
                    <a:pt x="0" y="0"/>
                  </a:cubicBezTo>
                  <a:cubicBezTo>
                    <a:pt x="2080" y="0"/>
                    <a:pt x="2080" y="0"/>
                    <a:pt x="2080" y="0"/>
                  </a:cubicBezTo>
                  <a:cubicBezTo>
                    <a:pt x="2080" y="65"/>
                    <a:pt x="2080" y="65"/>
                    <a:pt x="2080" y="65"/>
                  </a:cubicBezTo>
                  <a:cubicBezTo>
                    <a:pt x="1089" y="862"/>
                    <a:pt x="1089" y="862"/>
                    <a:pt x="1089" y="862"/>
                  </a:cubicBezTo>
                  <a:cubicBezTo>
                    <a:pt x="1060" y="886"/>
                    <a:pt x="1020" y="886"/>
                    <a:pt x="991" y="862"/>
                  </a:cubicBezTo>
                  <a:lnTo>
                    <a:pt x="0" y="65"/>
                  </a:lnTo>
                  <a:close/>
                  <a:moveTo>
                    <a:pt x="1139" y="924"/>
                  </a:moveTo>
                  <a:cubicBezTo>
                    <a:pt x="1282" y="810"/>
                    <a:pt x="1282" y="810"/>
                    <a:pt x="1282" y="810"/>
                  </a:cubicBezTo>
                  <a:cubicBezTo>
                    <a:pt x="2076" y="1360"/>
                    <a:pt x="2076" y="1360"/>
                    <a:pt x="2076" y="1360"/>
                  </a:cubicBezTo>
                  <a:cubicBezTo>
                    <a:pt x="4" y="1360"/>
                    <a:pt x="4" y="1360"/>
                    <a:pt x="4" y="1360"/>
                  </a:cubicBezTo>
                  <a:cubicBezTo>
                    <a:pt x="798" y="810"/>
                    <a:pt x="798" y="810"/>
                    <a:pt x="798" y="810"/>
                  </a:cubicBezTo>
                  <a:cubicBezTo>
                    <a:pt x="941" y="924"/>
                    <a:pt x="941" y="924"/>
                    <a:pt x="941" y="924"/>
                  </a:cubicBezTo>
                  <a:cubicBezTo>
                    <a:pt x="1000" y="972"/>
                    <a:pt x="1080" y="972"/>
                    <a:pt x="1139" y="924"/>
                  </a:cubicBezTo>
                  <a:close/>
                  <a:moveTo>
                    <a:pt x="2" y="137"/>
                  </a:moveTo>
                  <a:cubicBezTo>
                    <a:pt x="8" y="163"/>
                    <a:pt x="22" y="185"/>
                    <a:pt x="42" y="201"/>
                  </a:cubicBezTo>
                  <a:cubicBezTo>
                    <a:pt x="734" y="758"/>
                    <a:pt x="734" y="758"/>
                    <a:pt x="734" y="758"/>
                  </a:cubicBezTo>
                  <a:cubicBezTo>
                    <a:pt x="0" y="1266"/>
                    <a:pt x="0" y="1266"/>
                    <a:pt x="0" y="1266"/>
                  </a:cubicBezTo>
                  <a:cubicBezTo>
                    <a:pt x="0" y="135"/>
                    <a:pt x="0" y="135"/>
                    <a:pt x="0" y="135"/>
                  </a:cubicBezTo>
                  <a:lnTo>
                    <a:pt x="2" y="137"/>
                  </a:lnTo>
                  <a:close/>
                  <a:moveTo>
                    <a:pt x="2080" y="136"/>
                  </a:moveTo>
                  <a:cubicBezTo>
                    <a:pt x="2080" y="1265"/>
                    <a:pt x="2080" y="1265"/>
                    <a:pt x="2080" y="1265"/>
                  </a:cubicBezTo>
                  <a:cubicBezTo>
                    <a:pt x="1346" y="758"/>
                    <a:pt x="1346" y="758"/>
                    <a:pt x="1346" y="758"/>
                  </a:cubicBezTo>
                  <a:cubicBezTo>
                    <a:pt x="2038" y="201"/>
                    <a:pt x="2038" y="201"/>
                    <a:pt x="2038" y="201"/>
                  </a:cubicBezTo>
                  <a:cubicBezTo>
                    <a:pt x="2060" y="182"/>
                    <a:pt x="2072" y="162"/>
                    <a:pt x="2080" y="13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000"/>
            </a:p>
          </p:txBody>
        </p:sp>
      </p:grpSp>
      <p:cxnSp>
        <p:nvCxnSpPr>
          <p:cNvPr id="41" name="Straight Connector 40"/>
          <p:cNvCxnSpPr/>
          <p:nvPr/>
        </p:nvCxnSpPr>
        <p:spPr>
          <a:xfrm>
            <a:off x="2355914" y="5655833"/>
            <a:ext cx="3888000" cy="0"/>
          </a:xfrm>
          <a:prstGeom prst="line">
            <a:avLst/>
          </a:prstGeom>
          <a:ln w="6350">
            <a:solidFill>
              <a:schemeClr val="tx2"/>
            </a:solidFill>
            <a:prstDash val="dash"/>
          </a:ln>
        </p:spPr>
        <p:style>
          <a:lnRef idx="1">
            <a:schemeClr val="accent1"/>
          </a:lnRef>
          <a:fillRef idx="0">
            <a:schemeClr val="accent1"/>
          </a:fillRef>
          <a:effectRef idx="0">
            <a:schemeClr val="accent1"/>
          </a:effectRef>
          <a:fontRef idx="minor">
            <a:schemeClr val="tx1"/>
          </a:fontRef>
        </p:style>
      </p:cxnSp>
      <p:sp>
        <p:nvSpPr>
          <p:cNvPr id="42" name="Picture Placeholder 3"/>
          <p:cNvSpPr>
            <a:spLocks noGrp="1"/>
          </p:cNvSpPr>
          <p:nvPr>
            <p:ph type="pic" sz="quarter" idx="29" hasCustomPrompt="1"/>
          </p:nvPr>
        </p:nvSpPr>
        <p:spPr>
          <a:xfrm>
            <a:off x="2355914" y="3986604"/>
            <a:ext cx="1188677" cy="1547840"/>
          </a:xfrm>
          <a:solidFill>
            <a:srgbClr val="D9DADB"/>
          </a:solidFill>
        </p:spPr>
        <p:txBody>
          <a:bodyPr/>
          <a:lstStyle>
            <a:lvl1pPr marL="0" indent="0">
              <a:buNone/>
              <a:defRPr sz="1400"/>
            </a:lvl1pPr>
          </a:lstStyle>
          <a:p>
            <a:r>
              <a:rPr lang="en-US"/>
              <a:t>Insert picture</a:t>
            </a:r>
          </a:p>
        </p:txBody>
      </p:sp>
      <p:sp>
        <p:nvSpPr>
          <p:cNvPr id="43" name="Text Placeholder 5"/>
          <p:cNvSpPr>
            <a:spLocks noGrp="1"/>
          </p:cNvSpPr>
          <p:nvPr>
            <p:ph type="body" sz="quarter" idx="30" hasCustomPrompt="1"/>
          </p:nvPr>
        </p:nvSpPr>
        <p:spPr>
          <a:xfrm>
            <a:off x="3770065" y="3986141"/>
            <a:ext cx="2463190" cy="192360"/>
          </a:xfrm>
        </p:spPr>
        <p:txBody>
          <a:bodyPr lIns="0" tIns="0" rIns="0" bIns="0" anchor="ctr" anchorCtr="0"/>
          <a:lstStyle>
            <a:lvl1pPr marL="0" indent="0" algn="l">
              <a:lnSpc>
                <a:spcPct val="100000"/>
              </a:lnSpc>
              <a:buNone/>
              <a:defRPr sz="100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Country</a:t>
            </a:r>
          </a:p>
        </p:txBody>
      </p:sp>
      <p:sp>
        <p:nvSpPr>
          <p:cNvPr id="44" name="Text Placeholder 5"/>
          <p:cNvSpPr>
            <a:spLocks noGrp="1"/>
          </p:cNvSpPr>
          <p:nvPr>
            <p:ph type="body" sz="quarter" idx="31" hasCustomPrompt="1"/>
          </p:nvPr>
        </p:nvSpPr>
        <p:spPr>
          <a:xfrm>
            <a:off x="3770065" y="4197957"/>
            <a:ext cx="2463190" cy="266182"/>
          </a:xfrm>
        </p:spPr>
        <p:txBody>
          <a:bodyPr lIns="0" tIns="0" rIns="0" bIns="0" anchor="b" anchorCtr="0"/>
          <a:lstStyle>
            <a:lvl1pPr marL="0" indent="0" algn="l">
              <a:lnSpc>
                <a:spcPct val="100000"/>
              </a:lnSpc>
              <a:buNone/>
              <a:defRPr sz="1400" b="1" baseline="0">
                <a:solidFill>
                  <a:schemeClr val="tx2"/>
                </a:solidFill>
              </a:defRPr>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Name, Surname</a:t>
            </a:r>
          </a:p>
        </p:txBody>
      </p:sp>
      <p:sp>
        <p:nvSpPr>
          <p:cNvPr id="45" name="Text Placeholder 5"/>
          <p:cNvSpPr>
            <a:spLocks noGrp="1"/>
          </p:cNvSpPr>
          <p:nvPr>
            <p:ph type="body" sz="quarter" idx="32" hasCustomPrompt="1"/>
          </p:nvPr>
        </p:nvSpPr>
        <p:spPr>
          <a:xfrm>
            <a:off x="3770065" y="4494532"/>
            <a:ext cx="2463190"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Job Position</a:t>
            </a:r>
          </a:p>
        </p:txBody>
      </p:sp>
      <p:sp>
        <p:nvSpPr>
          <p:cNvPr id="46" name="Text Placeholder 5"/>
          <p:cNvSpPr>
            <a:spLocks noGrp="1"/>
          </p:cNvSpPr>
          <p:nvPr>
            <p:ph type="body" sz="quarter" idx="33" hasCustomPrompt="1"/>
          </p:nvPr>
        </p:nvSpPr>
        <p:spPr>
          <a:xfrm>
            <a:off x="4014948" y="5023208"/>
            <a:ext cx="2218307"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Phone number</a:t>
            </a:r>
          </a:p>
        </p:txBody>
      </p:sp>
      <p:sp>
        <p:nvSpPr>
          <p:cNvPr id="47" name="Text Placeholder 5"/>
          <p:cNvSpPr>
            <a:spLocks noGrp="1"/>
          </p:cNvSpPr>
          <p:nvPr>
            <p:ph type="body" sz="quarter" idx="34" hasCustomPrompt="1"/>
          </p:nvPr>
        </p:nvSpPr>
        <p:spPr>
          <a:xfrm>
            <a:off x="4014948" y="5306015"/>
            <a:ext cx="2218307"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Email address</a:t>
            </a:r>
          </a:p>
        </p:txBody>
      </p:sp>
    </p:spTree>
    <p:extLst>
      <p:ext uri="{BB962C8B-B14F-4D97-AF65-F5344CB8AC3E}">
        <p14:creationId xmlns:p14="http://schemas.microsoft.com/office/powerpoint/2010/main" val="3050006259"/>
      </p:ext>
    </p:extLst>
  </p:cSld>
  <p:clrMapOvr>
    <a:masterClrMapping/>
  </p:clrMapOvr>
</p:sldLayout>
</file>

<file path=ppt/slideLayouts/slideLayout382.xml><?xml version="1.0" encoding="utf-8"?>
<p:sldLayout xmlns:a="http://schemas.openxmlformats.org/drawingml/2006/main" xmlns:r="http://schemas.openxmlformats.org/officeDocument/2006/relationships" xmlns:p="http://schemas.openxmlformats.org/presentationml/2006/main" preserve="1">
  <p:cSld name="Four contacts">
    <p:spTree>
      <p:nvGrpSpPr>
        <p:cNvPr id="1" name=""/>
        <p:cNvGrpSpPr/>
        <p:nvPr/>
      </p:nvGrpSpPr>
      <p:grpSpPr>
        <a:xfrm>
          <a:off x="0" y="0"/>
          <a:ext cx="0" cy="0"/>
          <a:chOff x="0" y="0"/>
          <a:chExt cx="0" cy="0"/>
        </a:xfrm>
      </p:grpSpPr>
      <p:sp>
        <p:nvSpPr>
          <p:cNvPr id="21" name="Date Placeholder 20"/>
          <p:cNvSpPr>
            <a:spLocks noGrp="1"/>
          </p:cNvSpPr>
          <p:nvPr>
            <p:ph type="dt" sz="half" idx="14"/>
          </p:nvPr>
        </p:nvSpPr>
        <p:spPr/>
        <p:txBody>
          <a:bodyPr/>
          <a:lstStyle/>
          <a:p>
            <a:endParaRPr lang="en-US"/>
          </a:p>
        </p:txBody>
      </p:sp>
      <p:sp>
        <p:nvSpPr>
          <p:cNvPr id="22" name="Footer Placeholder 21"/>
          <p:cNvSpPr>
            <a:spLocks noGrp="1"/>
          </p:cNvSpPr>
          <p:nvPr>
            <p:ph type="ftr" sz="quarter" idx="15"/>
          </p:nvPr>
        </p:nvSpPr>
        <p:spPr/>
        <p:txBody>
          <a:bodyPr/>
          <a:lstStyle/>
          <a:p>
            <a:endParaRPr lang="en-US"/>
          </a:p>
        </p:txBody>
      </p:sp>
      <p:sp>
        <p:nvSpPr>
          <p:cNvPr id="23" name="Slide Number Placeholder 22"/>
          <p:cNvSpPr>
            <a:spLocks noGrp="1"/>
          </p:cNvSpPr>
          <p:nvPr>
            <p:ph type="sldNum" sz="quarter" idx="16"/>
          </p:nvPr>
        </p:nvSpPr>
        <p:spPr/>
        <p:txBody>
          <a:bodyPr/>
          <a:lstStyle/>
          <a:p>
            <a:fld id="{5F3E29E4-0979-4FCA-B4C5-5FC6044C982A}" type="slidenum">
              <a:rPr lang="en-US" smtClean="0"/>
              <a:t>‹#›</a:t>
            </a:fld>
            <a:endParaRPr lang="en-US"/>
          </a:p>
        </p:txBody>
      </p:sp>
      <p:sp>
        <p:nvSpPr>
          <p:cNvPr id="2" name="Title 1"/>
          <p:cNvSpPr>
            <a:spLocks noGrp="1"/>
          </p:cNvSpPr>
          <p:nvPr>
            <p:ph type="title" hasCustomPrompt="1"/>
          </p:nvPr>
        </p:nvSpPr>
        <p:spPr/>
        <p:txBody>
          <a:bodyPr/>
          <a:lstStyle>
            <a:lvl1pPr>
              <a:defRPr/>
            </a:lvl1pPr>
          </a:lstStyle>
          <a:p>
            <a:r>
              <a:rPr lang="en-US"/>
              <a:t>Click to add contact title</a:t>
            </a:r>
          </a:p>
        </p:txBody>
      </p:sp>
      <p:sp>
        <p:nvSpPr>
          <p:cNvPr id="7" name="Subtitle 2"/>
          <p:cNvSpPr>
            <a:spLocks noGrp="1"/>
          </p:cNvSpPr>
          <p:nvPr>
            <p:ph type="subTitle" idx="13" hasCustomPrompt="1"/>
          </p:nvPr>
        </p:nvSpPr>
        <p:spPr>
          <a:xfrm>
            <a:off x="1075061" y="964671"/>
            <a:ext cx="7910158" cy="490042"/>
          </a:xfrm>
        </p:spPr>
        <p:txBody>
          <a:bodyPr wrap="none"/>
          <a:lstStyle>
            <a:lvl1pPr marL="0" indent="0" algn="l">
              <a:spcBef>
                <a:spcPts val="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grpSp>
        <p:nvGrpSpPr>
          <p:cNvPr id="8" name="Gruppieren 80">
            <a:extLst>
              <a:ext uri="{FF2B5EF4-FFF2-40B4-BE49-F238E27FC236}">
                <a16:creationId xmlns:a16="http://schemas.microsoft.com/office/drawing/2014/main" id="{6B969E7B-9C39-4443-9B02-74C1E7C5CCAC}"/>
              </a:ext>
            </a:extLst>
          </p:cNvPr>
          <p:cNvGrpSpPr/>
          <p:nvPr/>
        </p:nvGrpSpPr>
        <p:grpSpPr>
          <a:xfrm>
            <a:off x="3770065" y="2868319"/>
            <a:ext cx="171180" cy="171180"/>
            <a:chOff x="3392092" y="1841122"/>
            <a:chExt cx="646508" cy="646508"/>
          </a:xfrm>
        </p:grpSpPr>
        <p:sp>
          <p:nvSpPr>
            <p:cNvPr id="9" name="Rechteck 14">
              <a:extLst>
                <a:ext uri="{FF2B5EF4-FFF2-40B4-BE49-F238E27FC236}">
                  <a16:creationId xmlns:a16="http://schemas.microsoft.com/office/drawing/2014/main" id="{D78F58EA-5525-8D43-8295-FEA52ECF6BFA}"/>
                </a:ext>
              </a:extLst>
            </p:cNvPr>
            <p:cNvSpPr>
              <a:spLocks noChangeAspect="1"/>
            </p:cNvSpPr>
            <p:nvPr/>
          </p:nvSpPr>
          <p:spPr bwMode="gray">
            <a:xfrm>
              <a:off x="3392092" y="1841122"/>
              <a:ext cx="646508" cy="646508"/>
            </a:xfrm>
            <a:prstGeom prst="rect">
              <a:avLst/>
            </a:prstGeom>
            <a:solidFill>
              <a:srgbClr val="E55A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pPr>
              <a:endParaRPr lang="en-US" sz="1000">
                <a:solidFill>
                  <a:schemeClr val="tx1"/>
                </a:solidFill>
                <a:latin typeface="Arial" pitchFamily="34" charset="0"/>
                <a:cs typeface="Arial" pitchFamily="34" charset="0"/>
              </a:endParaRPr>
            </a:p>
          </p:txBody>
        </p:sp>
        <p:sp>
          <p:nvSpPr>
            <p:cNvPr id="10" name="Freeform 67">
              <a:extLst>
                <a:ext uri="{FF2B5EF4-FFF2-40B4-BE49-F238E27FC236}">
                  <a16:creationId xmlns:a16="http://schemas.microsoft.com/office/drawing/2014/main" id="{D01A6292-2776-4945-B828-483D79DC4908}"/>
                </a:ext>
              </a:extLst>
            </p:cNvPr>
            <p:cNvSpPr>
              <a:spLocks noChangeAspect="1"/>
            </p:cNvSpPr>
            <p:nvPr/>
          </p:nvSpPr>
          <p:spPr bwMode="auto">
            <a:xfrm>
              <a:off x="3546638" y="1970424"/>
              <a:ext cx="337415" cy="387905"/>
            </a:xfrm>
            <a:custGeom>
              <a:avLst/>
              <a:gdLst>
                <a:gd name="T0" fmla="*/ 573 w 1624"/>
                <a:gd name="T1" fmla="*/ 1257 h 1867"/>
                <a:gd name="T2" fmla="*/ 662 w 1624"/>
                <a:gd name="T3" fmla="*/ 1288 h 1867"/>
                <a:gd name="T4" fmla="*/ 938 w 1624"/>
                <a:gd name="T5" fmla="*/ 1051 h 1867"/>
                <a:gd name="T6" fmla="*/ 1106 w 1624"/>
                <a:gd name="T7" fmla="*/ 731 h 1867"/>
                <a:gd name="T8" fmla="*/ 1059 w 1624"/>
                <a:gd name="T9" fmla="*/ 645 h 1867"/>
                <a:gd name="T10" fmla="*/ 1001 w 1624"/>
                <a:gd name="T11" fmla="*/ 613 h 1867"/>
                <a:gd name="T12" fmla="*/ 924 w 1624"/>
                <a:gd name="T13" fmla="*/ 432 h 1867"/>
                <a:gd name="T14" fmla="*/ 1114 w 1624"/>
                <a:gd name="T15" fmla="*/ 81 h 1867"/>
                <a:gd name="T16" fmla="*/ 1287 w 1624"/>
                <a:gd name="T17" fmla="*/ 35 h 1867"/>
                <a:gd name="T18" fmla="*/ 1350 w 1624"/>
                <a:gd name="T19" fmla="*/ 69 h 1867"/>
                <a:gd name="T20" fmla="*/ 1527 w 1624"/>
                <a:gd name="T21" fmla="*/ 235 h 1867"/>
                <a:gd name="T22" fmla="*/ 1583 w 1624"/>
                <a:gd name="T23" fmla="*/ 555 h 1867"/>
                <a:gd name="T24" fmla="*/ 1172 w 1624"/>
                <a:gd name="T25" fmla="*/ 1253 h 1867"/>
                <a:gd name="T26" fmla="*/ 586 w 1624"/>
                <a:gd name="T27" fmla="*/ 1803 h 1867"/>
                <a:gd name="T28" fmla="*/ 269 w 1624"/>
                <a:gd name="T29" fmla="*/ 1807 h 1867"/>
                <a:gd name="T30" fmla="*/ 33 w 1624"/>
                <a:gd name="T31" fmla="*/ 1602 h 1867"/>
                <a:gd name="T32" fmla="*/ 2 w 1624"/>
                <a:gd name="T33" fmla="*/ 1508 h 1867"/>
                <a:gd name="T34" fmla="*/ 45 w 1624"/>
                <a:gd name="T35" fmla="*/ 1421 h 1867"/>
                <a:gd name="T36" fmla="*/ 346 w 1624"/>
                <a:gd name="T37" fmla="*/ 1158 h 1867"/>
                <a:gd name="T38" fmla="*/ 448 w 1624"/>
                <a:gd name="T39" fmla="*/ 1145 h 1867"/>
                <a:gd name="T40" fmla="*/ 573 w 1624"/>
                <a:gd name="T41" fmla="*/ 1257 h 18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24" h="1867">
                  <a:moveTo>
                    <a:pt x="573" y="1257"/>
                  </a:moveTo>
                  <a:cubicBezTo>
                    <a:pt x="592" y="1282"/>
                    <a:pt x="630" y="1303"/>
                    <a:pt x="662" y="1288"/>
                  </a:cubicBezTo>
                  <a:cubicBezTo>
                    <a:pt x="753" y="1245"/>
                    <a:pt x="854" y="1156"/>
                    <a:pt x="938" y="1051"/>
                  </a:cubicBezTo>
                  <a:cubicBezTo>
                    <a:pt x="1020" y="948"/>
                    <a:pt x="1084" y="831"/>
                    <a:pt x="1106" y="731"/>
                  </a:cubicBezTo>
                  <a:cubicBezTo>
                    <a:pt x="1113" y="696"/>
                    <a:pt x="1089" y="661"/>
                    <a:pt x="1059" y="645"/>
                  </a:cubicBezTo>
                  <a:cubicBezTo>
                    <a:pt x="1001" y="613"/>
                    <a:pt x="1001" y="613"/>
                    <a:pt x="1001" y="613"/>
                  </a:cubicBezTo>
                  <a:cubicBezTo>
                    <a:pt x="942" y="580"/>
                    <a:pt x="888" y="499"/>
                    <a:pt x="924" y="432"/>
                  </a:cubicBezTo>
                  <a:cubicBezTo>
                    <a:pt x="1114" y="81"/>
                    <a:pt x="1114" y="81"/>
                    <a:pt x="1114" y="81"/>
                  </a:cubicBezTo>
                  <a:cubicBezTo>
                    <a:pt x="1150" y="16"/>
                    <a:pt x="1224" y="0"/>
                    <a:pt x="1287" y="35"/>
                  </a:cubicBezTo>
                  <a:cubicBezTo>
                    <a:pt x="1350" y="69"/>
                    <a:pt x="1350" y="69"/>
                    <a:pt x="1350" y="69"/>
                  </a:cubicBezTo>
                  <a:cubicBezTo>
                    <a:pt x="1415" y="105"/>
                    <a:pt x="1479" y="165"/>
                    <a:pt x="1527" y="235"/>
                  </a:cubicBezTo>
                  <a:cubicBezTo>
                    <a:pt x="1593" y="332"/>
                    <a:pt x="1624" y="442"/>
                    <a:pt x="1583" y="555"/>
                  </a:cubicBezTo>
                  <a:cubicBezTo>
                    <a:pt x="1500" y="781"/>
                    <a:pt x="1351" y="1030"/>
                    <a:pt x="1172" y="1253"/>
                  </a:cubicBezTo>
                  <a:cubicBezTo>
                    <a:pt x="994" y="1477"/>
                    <a:pt x="786" y="1676"/>
                    <a:pt x="586" y="1803"/>
                  </a:cubicBezTo>
                  <a:cubicBezTo>
                    <a:pt x="486" y="1867"/>
                    <a:pt x="375" y="1856"/>
                    <a:pt x="269" y="1807"/>
                  </a:cubicBezTo>
                  <a:cubicBezTo>
                    <a:pt x="157" y="1755"/>
                    <a:pt x="106" y="1695"/>
                    <a:pt x="33" y="1602"/>
                  </a:cubicBezTo>
                  <a:cubicBezTo>
                    <a:pt x="11" y="1573"/>
                    <a:pt x="0" y="1540"/>
                    <a:pt x="2" y="1508"/>
                  </a:cubicBezTo>
                  <a:cubicBezTo>
                    <a:pt x="4" y="1475"/>
                    <a:pt x="18" y="1444"/>
                    <a:pt x="45" y="1421"/>
                  </a:cubicBezTo>
                  <a:cubicBezTo>
                    <a:pt x="70" y="1399"/>
                    <a:pt x="346" y="1158"/>
                    <a:pt x="346" y="1158"/>
                  </a:cubicBezTo>
                  <a:cubicBezTo>
                    <a:pt x="376" y="1134"/>
                    <a:pt x="413" y="1133"/>
                    <a:pt x="448" y="1145"/>
                  </a:cubicBezTo>
                  <a:cubicBezTo>
                    <a:pt x="510" y="1166"/>
                    <a:pt x="536" y="1210"/>
                    <a:pt x="573" y="1257"/>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351"/>
            </a:p>
          </p:txBody>
        </p:sp>
      </p:grpSp>
      <p:grpSp>
        <p:nvGrpSpPr>
          <p:cNvPr id="11" name="Group 3">
            <a:extLst>
              <a:ext uri="{FF2B5EF4-FFF2-40B4-BE49-F238E27FC236}">
                <a16:creationId xmlns:a16="http://schemas.microsoft.com/office/drawing/2014/main" id="{DED6A25A-5DE2-1441-8BA2-C68D3B4F9209}"/>
              </a:ext>
            </a:extLst>
          </p:cNvPr>
          <p:cNvGrpSpPr>
            <a:grpSpLocks noChangeAspect="1"/>
          </p:cNvGrpSpPr>
          <p:nvPr>
            <p:custDataLst>
              <p:tags r:id="rId1"/>
            </p:custDataLst>
          </p:nvPr>
        </p:nvGrpSpPr>
        <p:grpSpPr>
          <a:xfrm>
            <a:off x="3770066" y="3153207"/>
            <a:ext cx="171180" cy="171180"/>
            <a:chOff x="328396" y="5313940"/>
            <a:chExt cx="720000" cy="720000"/>
          </a:xfrm>
        </p:grpSpPr>
        <p:sp>
          <p:nvSpPr>
            <p:cNvPr id="12" name="Rectangle 4">
              <a:extLst>
                <a:ext uri="{FF2B5EF4-FFF2-40B4-BE49-F238E27FC236}">
                  <a16:creationId xmlns:a16="http://schemas.microsoft.com/office/drawing/2014/main" id="{5F49E67F-D4FA-9D48-96BC-59AE946ECD15}"/>
                </a:ext>
              </a:extLst>
            </p:cNvPr>
            <p:cNvSpPr/>
            <p:nvPr/>
          </p:nvSpPr>
          <p:spPr bwMode="gray">
            <a:xfrm>
              <a:off x="328396" y="5313940"/>
              <a:ext cx="720000" cy="720000"/>
            </a:xfrm>
            <a:prstGeom prst="rect">
              <a:avLst/>
            </a:prstGeom>
            <a:solidFill>
              <a:srgbClr val="E55A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pPr>
              <a:endParaRPr lang="en-US" sz="1000">
                <a:solidFill>
                  <a:schemeClr val="tx1"/>
                </a:solidFill>
                <a:latin typeface="Arial" pitchFamily="34" charset="0"/>
                <a:cs typeface="Arial" pitchFamily="34" charset="0"/>
              </a:endParaRPr>
            </a:p>
          </p:txBody>
        </p:sp>
        <p:sp>
          <p:nvSpPr>
            <p:cNvPr id="13" name="Freeform 76">
              <a:extLst>
                <a:ext uri="{FF2B5EF4-FFF2-40B4-BE49-F238E27FC236}">
                  <a16:creationId xmlns:a16="http://schemas.microsoft.com/office/drawing/2014/main" id="{187E70E6-AF3F-2549-908E-DF4BA61040AA}"/>
                </a:ext>
              </a:extLst>
            </p:cNvPr>
            <p:cNvSpPr>
              <a:spLocks noChangeAspect="1" noEditPoints="1"/>
            </p:cNvSpPr>
            <p:nvPr/>
          </p:nvSpPr>
          <p:spPr bwMode="auto">
            <a:xfrm>
              <a:off x="456202" y="5509222"/>
              <a:ext cx="504000" cy="329436"/>
            </a:xfrm>
            <a:custGeom>
              <a:avLst/>
              <a:gdLst>
                <a:gd name="T0" fmla="*/ 0 w 2080"/>
                <a:gd name="T1" fmla="*/ 65 h 1360"/>
                <a:gd name="T2" fmla="*/ 0 w 2080"/>
                <a:gd name="T3" fmla="*/ 0 h 1360"/>
                <a:gd name="T4" fmla="*/ 2080 w 2080"/>
                <a:gd name="T5" fmla="*/ 0 h 1360"/>
                <a:gd name="T6" fmla="*/ 2080 w 2080"/>
                <a:gd name="T7" fmla="*/ 65 h 1360"/>
                <a:gd name="T8" fmla="*/ 1089 w 2080"/>
                <a:gd name="T9" fmla="*/ 862 h 1360"/>
                <a:gd name="T10" fmla="*/ 991 w 2080"/>
                <a:gd name="T11" fmla="*/ 862 h 1360"/>
                <a:gd name="T12" fmla="*/ 0 w 2080"/>
                <a:gd name="T13" fmla="*/ 65 h 1360"/>
                <a:gd name="T14" fmla="*/ 1139 w 2080"/>
                <a:gd name="T15" fmla="*/ 924 h 1360"/>
                <a:gd name="T16" fmla="*/ 1282 w 2080"/>
                <a:gd name="T17" fmla="*/ 810 h 1360"/>
                <a:gd name="T18" fmla="*/ 2076 w 2080"/>
                <a:gd name="T19" fmla="*/ 1360 h 1360"/>
                <a:gd name="T20" fmla="*/ 4 w 2080"/>
                <a:gd name="T21" fmla="*/ 1360 h 1360"/>
                <a:gd name="T22" fmla="*/ 798 w 2080"/>
                <a:gd name="T23" fmla="*/ 810 h 1360"/>
                <a:gd name="T24" fmla="*/ 941 w 2080"/>
                <a:gd name="T25" fmla="*/ 924 h 1360"/>
                <a:gd name="T26" fmla="*/ 1139 w 2080"/>
                <a:gd name="T27" fmla="*/ 924 h 1360"/>
                <a:gd name="T28" fmla="*/ 2 w 2080"/>
                <a:gd name="T29" fmla="*/ 137 h 1360"/>
                <a:gd name="T30" fmla="*/ 42 w 2080"/>
                <a:gd name="T31" fmla="*/ 201 h 1360"/>
                <a:gd name="T32" fmla="*/ 734 w 2080"/>
                <a:gd name="T33" fmla="*/ 758 h 1360"/>
                <a:gd name="T34" fmla="*/ 0 w 2080"/>
                <a:gd name="T35" fmla="*/ 1266 h 1360"/>
                <a:gd name="T36" fmla="*/ 0 w 2080"/>
                <a:gd name="T37" fmla="*/ 135 h 1360"/>
                <a:gd name="T38" fmla="*/ 2 w 2080"/>
                <a:gd name="T39" fmla="*/ 137 h 1360"/>
                <a:gd name="T40" fmla="*/ 2080 w 2080"/>
                <a:gd name="T41" fmla="*/ 136 h 1360"/>
                <a:gd name="T42" fmla="*/ 2080 w 2080"/>
                <a:gd name="T43" fmla="*/ 1265 h 1360"/>
                <a:gd name="T44" fmla="*/ 1346 w 2080"/>
                <a:gd name="T45" fmla="*/ 758 h 1360"/>
                <a:gd name="T46" fmla="*/ 2038 w 2080"/>
                <a:gd name="T47" fmla="*/ 201 h 1360"/>
                <a:gd name="T48" fmla="*/ 2080 w 2080"/>
                <a:gd name="T49" fmla="*/ 136 h 1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080" h="1360">
                  <a:moveTo>
                    <a:pt x="0" y="65"/>
                  </a:moveTo>
                  <a:cubicBezTo>
                    <a:pt x="0" y="0"/>
                    <a:pt x="0" y="0"/>
                    <a:pt x="0" y="0"/>
                  </a:cubicBezTo>
                  <a:cubicBezTo>
                    <a:pt x="2080" y="0"/>
                    <a:pt x="2080" y="0"/>
                    <a:pt x="2080" y="0"/>
                  </a:cubicBezTo>
                  <a:cubicBezTo>
                    <a:pt x="2080" y="65"/>
                    <a:pt x="2080" y="65"/>
                    <a:pt x="2080" y="65"/>
                  </a:cubicBezTo>
                  <a:cubicBezTo>
                    <a:pt x="1089" y="862"/>
                    <a:pt x="1089" y="862"/>
                    <a:pt x="1089" y="862"/>
                  </a:cubicBezTo>
                  <a:cubicBezTo>
                    <a:pt x="1060" y="886"/>
                    <a:pt x="1020" y="886"/>
                    <a:pt x="991" y="862"/>
                  </a:cubicBezTo>
                  <a:lnTo>
                    <a:pt x="0" y="65"/>
                  </a:lnTo>
                  <a:close/>
                  <a:moveTo>
                    <a:pt x="1139" y="924"/>
                  </a:moveTo>
                  <a:cubicBezTo>
                    <a:pt x="1282" y="810"/>
                    <a:pt x="1282" y="810"/>
                    <a:pt x="1282" y="810"/>
                  </a:cubicBezTo>
                  <a:cubicBezTo>
                    <a:pt x="2076" y="1360"/>
                    <a:pt x="2076" y="1360"/>
                    <a:pt x="2076" y="1360"/>
                  </a:cubicBezTo>
                  <a:cubicBezTo>
                    <a:pt x="4" y="1360"/>
                    <a:pt x="4" y="1360"/>
                    <a:pt x="4" y="1360"/>
                  </a:cubicBezTo>
                  <a:cubicBezTo>
                    <a:pt x="798" y="810"/>
                    <a:pt x="798" y="810"/>
                    <a:pt x="798" y="810"/>
                  </a:cubicBezTo>
                  <a:cubicBezTo>
                    <a:pt x="941" y="924"/>
                    <a:pt x="941" y="924"/>
                    <a:pt x="941" y="924"/>
                  </a:cubicBezTo>
                  <a:cubicBezTo>
                    <a:pt x="1000" y="972"/>
                    <a:pt x="1080" y="972"/>
                    <a:pt x="1139" y="924"/>
                  </a:cubicBezTo>
                  <a:close/>
                  <a:moveTo>
                    <a:pt x="2" y="137"/>
                  </a:moveTo>
                  <a:cubicBezTo>
                    <a:pt x="8" y="163"/>
                    <a:pt x="22" y="185"/>
                    <a:pt x="42" y="201"/>
                  </a:cubicBezTo>
                  <a:cubicBezTo>
                    <a:pt x="734" y="758"/>
                    <a:pt x="734" y="758"/>
                    <a:pt x="734" y="758"/>
                  </a:cubicBezTo>
                  <a:cubicBezTo>
                    <a:pt x="0" y="1266"/>
                    <a:pt x="0" y="1266"/>
                    <a:pt x="0" y="1266"/>
                  </a:cubicBezTo>
                  <a:cubicBezTo>
                    <a:pt x="0" y="135"/>
                    <a:pt x="0" y="135"/>
                    <a:pt x="0" y="135"/>
                  </a:cubicBezTo>
                  <a:lnTo>
                    <a:pt x="2" y="137"/>
                  </a:lnTo>
                  <a:close/>
                  <a:moveTo>
                    <a:pt x="2080" y="136"/>
                  </a:moveTo>
                  <a:cubicBezTo>
                    <a:pt x="2080" y="1265"/>
                    <a:pt x="2080" y="1265"/>
                    <a:pt x="2080" y="1265"/>
                  </a:cubicBezTo>
                  <a:cubicBezTo>
                    <a:pt x="1346" y="758"/>
                    <a:pt x="1346" y="758"/>
                    <a:pt x="1346" y="758"/>
                  </a:cubicBezTo>
                  <a:cubicBezTo>
                    <a:pt x="2038" y="201"/>
                    <a:pt x="2038" y="201"/>
                    <a:pt x="2038" y="201"/>
                  </a:cubicBezTo>
                  <a:cubicBezTo>
                    <a:pt x="2060" y="182"/>
                    <a:pt x="2072" y="162"/>
                    <a:pt x="2080" y="13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000"/>
            </a:p>
          </p:txBody>
        </p:sp>
      </p:grpSp>
      <p:grpSp>
        <p:nvGrpSpPr>
          <p:cNvPr id="14" name="Gruppieren 2">
            <a:extLst>
              <a:ext uri="{FF2B5EF4-FFF2-40B4-BE49-F238E27FC236}">
                <a16:creationId xmlns:a16="http://schemas.microsoft.com/office/drawing/2014/main" id="{BE697CE9-EBDE-6B4A-BE70-582D92A8A831}"/>
              </a:ext>
            </a:extLst>
          </p:cNvPr>
          <p:cNvGrpSpPr/>
          <p:nvPr/>
        </p:nvGrpSpPr>
        <p:grpSpPr>
          <a:xfrm>
            <a:off x="8701917" y="2868319"/>
            <a:ext cx="171180" cy="171180"/>
            <a:chOff x="3392092" y="1841122"/>
            <a:chExt cx="646508" cy="646508"/>
          </a:xfrm>
        </p:grpSpPr>
        <p:sp>
          <p:nvSpPr>
            <p:cNvPr id="15" name="Rechteck 14">
              <a:extLst>
                <a:ext uri="{FF2B5EF4-FFF2-40B4-BE49-F238E27FC236}">
                  <a16:creationId xmlns:a16="http://schemas.microsoft.com/office/drawing/2014/main" id="{E142A731-19B7-C34D-9534-9E05108F895F}"/>
                </a:ext>
              </a:extLst>
            </p:cNvPr>
            <p:cNvSpPr>
              <a:spLocks noChangeAspect="1"/>
            </p:cNvSpPr>
            <p:nvPr/>
          </p:nvSpPr>
          <p:spPr bwMode="gray">
            <a:xfrm>
              <a:off x="3392092" y="1841122"/>
              <a:ext cx="646508" cy="646508"/>
            </a:xfrm>
            <a:prstGeom prst="rect">
              <a:avLst/>
            </a:prstGeom>
            <a:solidFill>
              <a:srgbClr val="E55A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pPr>
              <a:endParaRPr lang="en-US" sz="1000">
                <a:solidFill>
                  <a:schemeClr val="tx1"/>
                </a:solidFill>
                <a:latin typeface="Arial" pitchFamily="34" charset="0"/>
                <a:cs typeface="Arial" pitchFamily="34" charset="0"/>
              </a:endParaRPr>
            </a:p>
          </p:txBody>
        </p:sp>
        <p:sp>
          <p:nvSpPr>
            <p:cNvPr id="16" name="Freeform 15">
              <a:extLst>
                <a:ext uri="{FF2B5EF4-FFF2-40B4-BE49-F238E27FC236}">
                  <a16:creationId xmlns:a16="http://schemas.microsoft.com/office/drawing/2014/main" id="{F97E84AE-4AD9-4B44-9AA1-F797FC373809}"/>
                </a:ext>
              </a:extLst>
            </p:cNvPr>
            <p:cNvSpPr>
              <a:spLocks noChangeAspect="1"/>
            </p:cNvSpPr>
            <p:nvPr/>
          </p:nvSpPr>
          <p:spPr bwMode="auto">
            <a:xfrm>
              <a:off x="3546638" y="1970424"/>
              <a:ext cx="337415" cy="387905"/>
            </a:xfrm>
            <a:custGeom>
              <a:avLst/>
              <a:gdLst>
                <a:gd name="T0" fmla="*/ 573 w 1624"/>
                <a:gd name="T1" fmla="*/ 1257 h 1867"/>
                <a:gd name="T2" fmla="*/ 662 w 1624"/>
                <a:gd name="T3" fmla="*/ 1288 h 1867"/>
                <a:gd name="T4" fmla="*/ 938 w 1624"/>
                <a:gd name="T5" fmla="*/ 1051 h 1867"/>
                <a:gd name="T6" fmla="*/ 1106 w 1624"/>
                <a:gd name="T7" fmla="*/ 731 h 1867"/>
                <a:gd name="T8" fmla="*/ 1059 w 1624"/>
                <a:gd name="T9" fmla="*/ 645 h 1867"/>
                <a:gd name="T10" fmla="*/ 1001 w 1624"/>
                <a:gd name="T11" fmla="*/ 613 h 1867"/>
                <a:gd name="T12" fmla="*/ 924 w 1624"/>
                <a:gd name="T13" fmla="*/ 432 h 1867"/>
                <a:gd name="T14" fmla="*/ 1114 w 1624"/>
                <a:gd name="T15" fmla="*/ 81 h 1867"/>
                <a:gd name="T16" fmla="*/ 1287 w 1624"/>
                <a:gd name="T17" fmla="*/ 35 h 1867"/>
                <a:gd name="T18" fmla="*/ 1350 w 1624"/>
                <a:gd name="T19" fmla="*/ 69 h 1867"/>
                <a:gd name="T20" fmla="*/ 1527 w 1624"/>
                <a:gd name="T21" fmla="*/ 235 h 1867"/>
                <a:gd name="T22" fmla="*/ 1583 w 1624"/>
                <a:gd name="T23" fmla="*/ 555 h 1867"/>
                <a:gd name="T24" fmla="*/ 1172 w 1624"/>
                <a:gd name="T25" fmla="*/ 1253 h 1867"/>
                <a:gd name="T26" fmla="*/ 586 w 1624"/>
                <a:gd name="T27" fmla="*/ 1803 h 1867"/>
                <a:gd name="T28" fmla="*/ 269 w 1624"/>
                <a:gd name="T29" fmla="*/ 1807 h 1867"/>
                <a:gd name="T30" fmla="*/ 33 w 1624"/>
                <a:gd name="T31" fmla="*/ 1602 h 1867"/>
                <a:gd name="T32" fmla="*/ 2 w 1624"/>
                <a:gd name="T33" fmla="*/ 1508 h 1867"/>
                <a:gd name="T34" fmla="*/ 45 w 1624"/>
                <a:gd name="T35" fmla="*/ 1421 h 1867"/>
                <a:gd name="T36" fmla="*/ 346 w 1624"/>
                <a:gd name="T37" fmla="*/ 1158 h 1867"/>
                <a:gd name="T38" fmla="*/ 448 w 1624"/>
                <a:gd name="T39" fmla="*/ 1145 h 1867"/>
                <a:gd name="T40" fmla="*/ 573 w 1624"/>
                <a:gd name="T41" fmla="*/ 1257 h 18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24" h="1867">
                  <a:moveTo>
                    <a:pt x="573" y="1257"/>
                  </a:moveTo>
                  <a:cubicBezTo>
                    <a:pt x="592" y="1282"/>
                    <a:pt x="630" y="1303"/>
                    <a:pt x="662" y="1288"/>
                  </a:cubicBezTo>
                  <a:cubicBezTo>
                    <a:pt x="753" y="1245"/>
                    <a:pt x="854" y="1156"/>
                    <a:pt x="938" y="1051"/>
                  </a:cubicBezTo>
                  <a:cubicBezTo>
                    <a:pt x="1020" y="948"/>
                    <a:pt x="1084" y="831"/>
                    <a:pt x="1106" y="731"/>
                  </a:cubicBezTo>
                  <a:cubicBezTo>
                    <a:pt x="1113" y="696"/>
                    <a:pt x="1089" y="661"/>
                    <a:pt x="1059" y="645"/>
                  </a:cubicBezTo>
                  <a:cubicBezTo>
                    <a:pt x="1001" y="613"/>
                    <a:pt x="1001" y="613"/>
                    <a:pt x="1001" y="613"/>
                  </a:cubicBezTo>
                  <a:cubicBezTo>
                    <a:pt x="942" y="580"/>
                    <a:pt x="888" y="499"/>
                    <a:pt x="924" y="432"/>
                  </a:cubicBezTo>
                  <a:cubicBezTo>
                    <a:pt x="1114" y="81"/>
                    <a:pt x="1114" y="81"/>
                    <a:pt x="1114" y="81"/>
                  </a:cubicBezTo>
                  <a:cubicBezTo>
                    <a:pt x="1150" y="16"/>
                    <a:pt x="1224" y="0"/>
                    <a:pt x="1287" y="35"/>
                  </a:cubicBezTo>
                  <a:cubicBezTo>
                    <a:pt x="1350" y="69"/>
                    <a:pt x="1350" y="69"/>
                    <a:pt x="1350" y="69"/>
                  </a:cubicBezTo>
                  <a:cubicBezTo>
                    <a:pt x="1415" y="105"/>
                    <a:pt x="1479" y="165"/>
                    <a:pt x="1527" y="235"/>
                  </a:cubicBezTo>
                  <a:cubicBezTo>
                    <a:pt x="1593" y="332"/>
                    <a:pt x="1624" y="442"/>
                    <a:pt x="1583" y="555"/>
                  </a:cubicBezTo>
                  <a:cubicBezTo>
                    <a:pt x="1500" y="781"/>
                    <a:pt x="1351" y="1030"/>
                    <a:pt x="1172" y="1253"/>
                  </a:cubicBezTo>
                  <a:cubicBezTo>
                    <a:pt x="994" y="1477"/>
                    <a:pt x="786" y="1676"/>
                    <a:pt x="586" y="1803"/>
                  </a:cubicBezTo>
                  <a:cubicBezTo>
                    <a:pt x="486" y="1867"/>
                    <a:pt x="375" y="1856"/>
                    <a:pt x="269" y="1807"/>
                  </a:cubicBezTo>
                  <a:cubicBezTo>
                    <a:pt x="157" y="1755"/>
                    <a:pt x="106" y="1695"/>
                    <a:pt x="33" y="1602"/>
                  </a:cubicBezTo>
                  <a:cubicBezTo>
                    <a:pt x="11" y="1573"/>
                    <a:pt x="0" y="1540"/>
                    <a:pt x="2" y="1508"/>
                  </a:cubicBezTo>
                  <a:cubicBezTo>
                    <a:pt x="4" y="1475"/>
                    <a:pt x="18" y="1444"/>
                    <a:pt x="45" y="1421"/>
                  </a:cubicBezTo>
                  <a:cubicBezTo>
                    <a:pt x="70" y="1399"/>
                    <a:pt x="346" y="1158"/>
                    <a:pt x="346" y="1158"/>
                  </a:cubicBezTo>
                  <a:cubicBezTo>
                    <a:pt x="376" y="1134"/>
                    <a:pt x="413" y="1133"/>
                    <a:pt x="448" y="1145"/>
                  </a:cubicBezTo>
                  <a:cubicBezTo>
                    <a:pt x="510" y="1166"/>
                    <a:pt x="536" y="1210"/>
                    <a:pt x="573" y="1257"/>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351"/>
            </a:p>
          </p:txBody>
        </p:sp>
      </p:grpSp>
      <p:grpSp>
        <p:nvGrpSpPr>
          <p:cNvPr id="17" name="Group 3">
            <a:extLst>
              <a:ext uri="{FF2B5EF4-FFF2-40B4-BE49-F238E27FC236}">
                <a16:creationId xmlns:a16="http://schemas.microsoft.com/office/drawing/2014/main" id="{7104BADD-8CD1-6F4A-B894-869C3BDB3EEB}"/>
              </a:ext>
            </a:extLst>
          </p:cNvPr>
          <p:cNvGrpSpPr>
            <a:grpSpLocks noChangeAspect="1"/>
          </p:cNvGrpSpPr>
          <p:nvPr>
            <p:custDataLst>
              <p:tags r:id="rId2"/>
            </p:custDataLst>
          </p:nvPr>
        </p:nvGrpSpPr>
        <p:grpSpPr>
          <a:xfrm>
            <a:off x="8701918" y="3153207"/>
            <a:ext cx="171180" cy="171180"/>
            <a:chOff x="328396" y="5313940"/>
            <a:chExt cx="720000" cy="720000"/>
          </a:xfrm>
        </p:grpSpPr>
        <p:sp>
          <p:nvSpPr>
            <p:cNvPr id="18" name="Rectangle 4">
              <a:extLst>
                <a:ext uri="{FF2B5EF4-FFF2-40B4-BE49-F238E27FC236}">
                  <a16:creationId xmlns:a16="http://schemas.microsoft.com/office/drawing/2014/main" id="{74BE3D5F-1445-6E40-8B49-72E15568383B}"/>
                </a:ext>
              </a:extLst>
            </p:cNvPr>
            <p:cNvSpPr/>
            <p:nvPr/>
          </p:nvSpPr>
          <p:spPr bwMode="gray">
            <a:xfrm>
              <a:off x="328396" y="5313940"/>
              <a:ext cx="720000" cy="720000"/>
            </a:xfrm>
            <a:prstGeom prst="rect">
              <a:avLst/>
            </a:prstGeom>
            <a:solidFill>
              <a:srgbClr val="E55A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pPr>
              <a:endParaRPr lang="en-US" sz="1000">
                <a:solidFill>
                  <a:schemeClr val="tx1"/>
                </a:solidFill>
                <a:latin typeface="Arial" pitchFamily="34" charset="0"/>
                <a:cs typeface="Arial" pitchFamily="34" charset="0"/>
              </a:endParaRPr>
            </a:p>
          </p:txBody>
        </p:sp>
        <p:sp>
          <p:nvSpPr>
            <p:cNvPr id="19" name="Freeform 76">
              <a:extLst>
                <a:ext uri="{FF2B5EF4-FFF2-40B4-BE49-F238E27FC236}">
                  <a16:creationId xmlns:a16="http://schemas.microsoft.com/office/drawing/2014/main" id="{55DB3C95-7D0C-D141-901E-96D692794D2B}"/>
                </a:ext>
              </a:extLst>
            </p:cNvPr>
            <p:cNvSpPr>
              <a:spLocks noChangeAspect="1" noEditPoints="1"/>
            </p:cNvSpPr>
            <p:nvPr/>
          </p:nvSpPr>
          <p:spPr bwMode="auto">
            <a:xfrm>
              <a:off x="456202" y="5509222"/>
              <a:ext cx="504000" cy="329436"/>
            </a:xfrm>
            <a:custGeom>
              <a:avLst/>
              <a:gdLst>
                <a:gd name="T0" fmla="*/ 0 w 2080"/>
                <a:gd name="T1" fmla="*/ 65 h 1360"/>
                <a:gd name="T2" fmla="*/ 0 w 2080"/>
                <a:gd name="T3" fmla="*/ 0 h 1360"/>
                <a:gd name="T4" fmla="*/ 2080 w 2080"/>
                <a:gd name="T5" fmla="*/ 0 h 1360"/>
                <a:gd name="T6" fmla="*/ 2080 w 2080"/>
                <a:gd name="T7" fmla="*/ 65 h 1360"/>
                <a:gd name="T8" fmla="*/ 1089 w 2080"/>
                <a:gd name="T9" fmla="*/ 862 h 1360"/>
                <a:gd name="T10" fmla="*/ 991 w 2080"/>
                <a:gd name="T11" fmla="*/ 862 h 1360"/>
                <a:gd name="T12" fmla="*/ 0 w 2080"/>
                <a:gd name="T13" fmla="*/ 65 h 1360"/>
                <a:gd name="T14" fmla="*/ 1139 w 2080"/>
                <a:gd name="T15" fmla="*/ 924 h 1360"/>
                <a:gd name="T16" fmla="*/ 1282 w 2080"/>
                <a:gd name="T17" fmla="*/ 810 h 1360"/>
                <a:gd name="T18" fmla="*/ 2076 w 2080"/>
                <a:gd name="T19" fmla="*/ 1360 h 1360"/>
                <a:gd name="T20" fmla="*/ 4 w 2080"/>
                <a:gd name="T21" fmla="*/ 1360 h 1360"/>
                <a:gd name="T22" fmla="*/ 798 w 2080"/>
                <a:gd name="T23" fmla="*/ 810 h 1360"/>
                <a:gd name="T24" fmla="*/ 941 w 2080"/>
                <a:gd name="T25" fmla="*/ 924 h 1360"/>
                <a:gd name="T26" fmla="*/ 1139 w 2080"/>
                <a:gd name="T27" fmla="*/ 924 h 1360"/>
                <a:gd name="T28" fmla="*/ 2 w 2080"/>
                <a:gd name="T29" fmla="*/ 137 h 1360"/>
                <a:gd name="T30" fmla="*/ 42 w 2080"/>
                <a:gd name="T31" fmla="*/ 201 h 1360"/>
                <a:gd name="T32" fmla="*/ 734 w 2080"/>
                <a:gd name="T33" fmla="*/ 758 h 1360"/>
                <a:gd name="T34" fmla="*/ 0 w 2080"/>
                <a:gd name="T35" fmla="*/ 1266 h 1360"/>
                <a:gd name="T36" fmla="*/ 0 w 2080"/>
                <a:gd name="T37" fmla="*/ 135 h 1360"/>
                <a:gd name="T38" fmla="*/ 2 w 2080"/>
                <a:gd name="T39" fmla="*/ 137 h 1360"/>
                <a:gd name="T40" fmla="*/ 2080 w 2080"/>
                <a:gd name="T41" fmla="*/ 136 h 1360"/>
                <a:gd name="T42" fmla="*/ 2080 w 2080"/>
                <a:gd name="T43" fmla="*/ 1265 h 1360"/>
                <a:gd name="T44" fmla="*/ 1346 w 2080"/>
                <a:gd name="T45" fmla="*/ 758 h 1360"/>
                <a:gd name="T46" fmla="*/ 2038 w 2080"/>
                <a:gd name="T47" fmla="*/ 201 h 1360"/>
                <a:gd name="T48" fmla="*/ 2080 w 2080"/>
                <a:gd name="T49" fmla="*/ 136 h 1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080" h="1360">
                  <a:moveTo>
                    <a:pt x="0" y="65"/>
                  </a:moveTo>
                  <a:cubicBezTo>
                    <a:pt x="0" y="0"/>
                    <a:pt x="0" y="0"/>
                    <a:pt x="0" y="0"/>
                  </a:cubicBezTo>
                  <a:cubicBezTo>
                    <a:pt x="2080" y="0"/>
                    <a:pt x="2080" y="0"/>
                    <a:pt x="2080" y="0"/>
                  </a:cubicBezTo>
                  <a:cubicBezTo>
                    <a:pt x="2080" y="65"/>
                    <a:pt x="2080" y="65"/>
                    <a:pt x="2080" y="65"/>
                  </a:cubicBezTo>
                  <a:cubicBezTo>
                    <a:pt x="1089" y="862"/>
                    <a:pt x="1089" y="862"/>
                    <a:pt x="1089" y="862"/>
                  </a:cubicBezTo>
                  <a:cubicBezTo>
                    <a:pt x="1060" y="886"/>
                    <a:pt x="1020" y="886"/>
                    <a:pt x="991" y="862"/>
                  </a:cubicBezTo>
                  <a:lnTo>
                    <a:pt x="0" y="65"/>
                  </a:lnTo>
                  <a:close/>
                  <a:moveTo>
                    <a:pt x="1139" y="924"/>
                  </a:moveTo>
                  <a:cubicBezTo>
                    <a:pt x="1282" y="810"/>
                    <a:pt x="1282" y="810"/>
                    <a:pt x="1282" y="810"/>
                  </a:cubicBezTo>
                  <a:cubicBezTo>
                    <a:pt x="2076" y="1360"/>
                    <a:pt x="2076" y="1360"/>
                    <a:pt x="2076" y="1360"/>
                  </a:cubicBezTo>
                  <a:cubicBezTo>
                    <a:pt x="4" y="1360"/>
                    <a:pt x="4" y="1360"/>
                    <a:pt x="4" y="1360"/>
                  </a:cubicBezTo>
                  <a:cubicBezTo>
                    <a:pt x="798" y="810"/>
                    <a:pt x="798" y="810"/>
                    <a:pt x="798" y="810"/>
                  </a:cubicBezTo>
                  <a:cubicBezTo>
                    <a:pt x="941" y="924"/>
                    <a:pt x="941" y="924"/>
                    <a:pt x="941" y="924"/>
                  </a:cubicBezTo>
                  <a:cubicBezTo>
                    <a:pt x="1000" y="972"/>
                    <a:pt x="1080" y="972"/>
                    <a:pt x="1139" y="924"/>
                  </a:cubicBezTo>
                  <a:close/>
                  <a:moveTo>
                    <a:pt x="2" y="137"/>
                  </a:moveTo>
                  <a:cubicBezTo>
                    <a:pt x="8" y="163"/>
                    <a:pt x="22" y="185"/>
                    <a:pt x="42" y="201"/>
                  </a:cubicBezTo>
                  <a:cubicBezTo>
                    <a:pt x="734" y="758"/>
                    <a:pt x="734" y="758"/>
                    <a:pt x="734" y="758"/>
                  </a:cubicBezTo>
                  <a:cubicBezTo>
                    <a:pt x="0" y="1266"/>
                    <a:pt x="0" y="1266"/>
                    <a:pt x="0" y="1266"/>
                  </a:cubicBezTo>
                  <a:cubicBezTo>
                    <a:pt x="0" y="135"/>
                    <a:pt x="0" y="135"/>
                    <a:pt x="0" y="135"/>
                  </a:cubicBezTo>
                  <a:lnTo>
                    <a:pt x="2" y="137"/>
                  </a:lnTo>
                  <a:close/>
                  <a:moveTo>
                    <a:pt x="2080" y="136"/>
                  </a:moveTo>
                  <a:cubicBezTo>
                    <a:pt x="2080" y="1265"/>
                    <a:pt x="2080" y="1265"/>
                    <a:pt x="2080" y="1265"/>
                  </a:cubicBezTo>
                  <a:cubicBezTo>
                    <a:pt x="1346" y="758"/>
                    <a:pt x="1346" y="758"/>
                    <a:pt x="1346" y="758"/>
                  </a:cubicBezTo>
                  <a:cubicBezTo>
                    <a:pt x="2038" y="201"/>
                    <a:pt x="2038" y="201"/>
                    <a:pt x="2038" y="201"/>
                  </a:cubicBezTo>
                  <a:cubicBezTo>
                    <a:pt x="2060" y="182"/>
                    <a:pt x="2072" y="162"/>
                    <a:pt x="2080" y="13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000"/>
            </a:p>
          </p:txBody>
        </p:sp>
      </p:grpSp>
      <p:cxnSp>
        <p:nvCxnSpPr>
          <p:cNvPr id="20" name="Straight Connector 19"/>
          <p:cNvCxnSpPr/>
          <p:nvPr/>
        </p:nvCxnSpPr>
        <p:spPr>
          <a:xfrm>
            <a:off x="2371725" y="3478213"/>
            <a:ext cx="3888000" cy="0"/>
          </a:xfrm>
          <a:prstGeom prst="line">
            <a:avLst/>
          </a:prstGeom>
          <a:ln w="6350">
            <a:solidFill>
              <a:schemeClr val="tx2"/>
            </a:solidFill>
            <a:prstDash val="dash"/>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p:nvCxnSpPr>
        <p:spPr>
          <a:xfrm>
            <a:off x="7287766" y="3478213"/>
            <a:ext cx="3888000" cy="0"/>
          </a:xfrm>
          <a:prstGeom prst="line">
            <a:avLst/>
          </a:prstGeom>
          <a:ln w="6350">
            <a:solidFill>
              <a:schemeClr val="tx2"/>
            </a:solidFill>
            <a:prstDash val="dash"/>
          </a:ln>
        </p:spPr>
        <p:style>
          <a:lnRef idx="1">
            <a:schemeClr val="accent1"/>
          </a:lnRef>
          <a:fillRef idx="0">
            <a:schemeClr val="accent1"/>
          </a:fillRef>
          <a:effectRef idx="0">
            <a:schemeClr val="accent1"/>
          </a:effectRef>
          <a:fontRef idx="minor">
            <a:schemeClr val="tx1"/>
          </a:fontRef>
        </p:style>
      </p:cxnSp>
      <p:sp>
        <p:nvSpPr>
          <p:cNvPr id="4" name="Picture Placeholder 3"/>
          <p:cNvSpPr>
            <a:spLocks noGrp="1"/>
          </p:cNvSpPr>
          <p:nvPr>
            <p:ph type="pic" sz="quarter" idx="17" hasCustomPrompt="1"/>
          </p:nvPr>
        </p:nvSpPr>
        <p:spPr>
          <a:xfrm>
            <a:off x="2355914" y="1808984"/>
            <a:ext cx="1188677" cy="1547840"/>
          </a:xfrm>
          <a:solidFill>
            <a:srgbClr val="D9DADB"/>
          </a:solidFill>
        </p:spPr>
        <p:txBody>
          <a:bodyPr/>
          <a:lstStyle>
            <a:lvl1pPr marL="0" indent="0">
              <a:buNone/>
              <a:defRPr sz="1400"/>
            </a:lvl1pPr>
          </a:lstStyle>
          <a:p>
            <a:r>
              <a:rPr lang="en-US"/>
              <a:t>Insert picture</a:t>
            </a:r>
          </a:p>
        </p:txBody>
      </p:sp>
      <p:sp>
        <p:nvSpPr>
          <p:cNvPr id="25" name="Picture Placeholder 3"/>
          <p:cNvSpPr>
            <a:spLocks noGrp="1"/>
          </p:cNvSpPr>
          <p:nvPr>
            <p:ph type="pic" sz="quarter" idx="18" hasCustomPrompt="1"/>
          </p:nvPr>
        </p:nvSpPr>
        <p:spPr>
          <a:xfrm>
            <a:off x="7287766" y="1808984"/>
            <a:ext cx="1188677" cy="1547840"/>
          </a:xfrm>
          <a:solidFill>
            <a:srgbClr val="D9DADB"/>
          </a:solidFill>
        </p:spPr>
        <p:txBody>
          <a:bodyPr/>
          <a:lstStyle>
            <a:lvl1pPr marL="0" indent="0">
              <a:buNone/>
              <a:defRPr sz="1400"/>
            </a:lvl1pPr>
          </a:lstStyle>
          <a:p>
            <a:r>
              <a:rPr lang="en-US"/>
              <a:t>Insert picture</a:t>
            </a:r>
          </a:p>
        </p:txBody>
      </p:sp>
      <p:sp>
        <p:nvSpPr>
          <p:cNvPr id="6" name="Text Placeholder 5"/>
          <p:cNvSpPr>
            <a:spLocks noGrp="1"/>
          </p:cNvSpPr>
          <p:nvPr>
            <p:ph type="body" sz="quarter" idx="19" hasCustomPrompt="1"/>
          </p:nvPr>
        </p:nvSpPr>
        <p:spPr>
          <a:xfrm>
            <a:off x="3770065" y="1808521"/>
            <a:ext cx="2463190" cy="192360"/>
          </a:xfrm>
        </p:spPr>
        <p:txBody>
          <a:bodyPr lIns="0" tIns="0" rIns="0" bIns="0" anchor="ctr" anchorCtr="0"/>
          <a:lstStyle>
            <a:lvl1pPr marL="0" indent="0" algn="l">
              <a:lnSpc>
                <a:spcPct val="100000"/>
              </a:lnSpc>
              <a:buNone/>
              <a:defRPr sz="100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Country</a:t>
            </a:r>
          </a:p>
        </p:txBody>
      </p:sp>
      <p:sp>
        <p:nvSpPr>
          <p:cNvPr id="26" name="Text Placeholder 5"/>
          <p:cNvSpPr>
            <a:spLocks noGrp="1"/>
          </p:cNvSpPr>
          <p:nvPr>
            <p:ph type="body" sz="quarter" idx="20" hasCustomPrompt="1"/>
          </p:nvPr>
        </p:nvSpPr>
        <p:spPr>
          <a:xfrm>
            <a:off x="3770065" y="2020337"/>
            <a:ext cx="2463190" cy="266182"/>
          </a:xfrm>
        </p:spPr>
        <p:txBody>
          <a:bodyPr lIns="0" tIns="0" rIns="0" bIns="0" anchor="b" anchorCtr="0"/>
          <a:lstStyle>
            <a:lvl1pPr marL="0" indent="0" algn="l">
              <a:lnSpc>
                <a:spcPct val="100000"/>
              </a:lnSpc>
              <a:buNone/>
              <a:defRPr sz="1400" b="1" baseline="0">
                <a:solidFill>
                  <a:schemeClr val="tx2"/>
                </a:solidFill>
              </a:defRPr>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Name, Surname</a:t>
            </a:r>
          </a:p>
        </p:txBody>
      </p:sp>
      <p:sp>
        <p:nvSpPr>
          <p:cNvPr id="27" name="Text Placeholder 5"/>
          <p:cNvSpPr>
            <a:spLocks noGrp="1"/>
          </p:cNvSpPr>
          <p:nvPr>
            <p:ph type="body" sz="quarter" idx="21" hasCustomPrompt="1"/>
          </p:nvPr>
        </p:nvSpPr>
        <p:spPr>
          <a:xfrm>
            <a:off x="3770065" y="2316912"/>
            <a:ext cx="2463190"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Job Position</a:t>
            </a:r>
          </a:p>
        </p:txBody>
      </p:sp>
      <p:sp>
        <p:nvSpPr>
          <p:cNvPr id="28" name="Text Placeholder 5"/>
          <p:cNvSpPr>
            <a:spLocks noGrp="1"/>
          </p:cNvSpPr>
          <p:nvPr>
            <p:ph type="body" sz="quarter" idx="22" hasCustomPrompt="1"/>
          </p:nvPr>
        </p:nvSpPr>
        <p:spPr>
          <a:xfrm>
            <a:off x="4014948" y="2845588"/>
            <a:ext cx="2218307"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Phone number</a:t>
            </a:r>
          </a:p>
        </p:txBody>
      </p:sp>
      <p:sp>
        <p:nvSpPr>
          <p:cNvPr id="29" name="Text Placeholder 5"/>
          <p:cNvSpPr>
            <a:spLocks noGrp="1"/>
          </p:cNvSpPr>
          <p:nvPr>
            <p:ph type="body" sz="quarter" idx="23" hasCustomPrompt="1"/>
          </p:nvPr>
        </p:nvSpPr>
        <p:spPr>
          <a:xfrm>
            <a:off x="4014948" y="3128395"/>
            <a:ext cx="2218307"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Email address</a:t>
            </a:r>
          </a:p>
        </p:txBody>
      </p:sp>
      <p:sp>
        <p:nvSpPr>
          <p:cNvPr id="30" name="Text Placeholder 5"/>
          <p:cNvSpPr>
            <a:spLocks noGrp="1"/>
          </p:cNvSpPr>
          <p:nvPr>
            <p:ph type="body" sz="quarter" idx="24" hasCustomPrompt="1"/>
          </p:nvPr>
        </p:nvSpPr>
        <p:spPr>
          <a:xfrm>
            <a:off x="8701917" y="1808521"/>
            <a:ext cx="2463190" cy="192360"/>
          </a:xfrm>
        </p:spPr>
        <p:txBody>
          <a:bodyPr lIns="0" tIns="0" rIns="0" bIns="0" anchor="ctr" anchorCtr="0"/>
          <a:lstStyle>
            <a:lvl1pPr marL="0" indent="0" algn="l">
              <a:lnSpc>
                <a:spcPct val="100000"/>
              </a:lnSpc>
              <a:buNone/>
              <a:defRPr sz="100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Country</a:t>
            </a:r>
          </a:p>
        </p:txBody>
      </p:sp>
      <p:sp>
        <p:nvSpPr>
          <p:cNvPr id="31" name="Text Placeholder 5"/>
          <p:cNvSpPr>
            <a:spLocks noGrp="1"/>
          </p:cNvSpPr>
          <p:nvPr>
            <p:ph type="body" sz="quarter" idx="25" hasCustomPrompt="1"/>
          </p:nvPr>
        </p:nvSpPr>
        <p:spPr>
          <a:xfrm>
            <a:off x="8701917" y="2020337"/>
            <a:ext cx="2463190" cy="266182"/>
          </a:xfrm>
        </p:spPr>
        <p:txBody>
          <a:bodyPr lIns="0" tIns="0" rIns="0" bIns="0" anchor="b" anchorCtr="0"/>
          <a:lstStyle>
            <a:lvl1pPr marL="0" indent="0" algn="l">
              <a:lnSpc>
                <a:spcPct val="100000"/>
              </a:lnSpc>
              <a:buNone/>
              <a:defRPr sz="1400" b="1" baseline="0">
                <a:solidFill>
                  <a:schemeClr val="tx2"/>
                </a:solidFill>
              </a:defRPr>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Name, Surname</a:t>
            </a:r>
          </a:p>
        </p:txBody>
      </p:sp>
      <p:sp>
        <p:nvSpPr>
          <p:cNvPr id="32" name="Text Placeholder 5"/>
          <p:cNvSpPr>
            <a:spLocks noGrp="1"/>
          </p:cNvSpPr>
          <p:nvPr>
            <p:ph type="body" sz="quarter" idx="26" hasCustomPrompt="1"/>
          </p:nvPr>
        </p:nvSpPr>
        <p:spPr>
          <a:xfrm>
            <a:off x="8701917" y="2316912"/>
            <a:ext cx="2463190"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Job Position</a:t>
            </a:r>
          </a:p>
        </p:txBody>
      </p:sp>
      <p:sp>
        <p:nvSpPr>
          <p:cNvPr id="33" name="Text Placeholder 5"/>
          <p:cNvSpPr>
            <a:spLocks noGrp="1"/>
          </p:cNvSpPr>
          <p:nvPr>
            <p:ph type="body" sz="quarter" idx="27" hasCustomPrompt="1"/>
          </p:nvPr>
        </p:nvSpPr>
        <p:spPr>
          <a:xfrm>
            <a:off x="8946800" y="2845588"/>
            <a:ext cx="2218307"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Phone number</a:t>
            </a:r>
          </a:p>
        </p:txBody>
      </p:sp>
      <p:sp>
        <p:nvSpPr>
          <p:cNvPr id="34" name="Text Placeholder 5"/>
          <p:cNvSpPr>
            <a:spLocks noGrp="1"/>
          </p:cNvSpPr>
          <p:nvPr>
            <p:ph type="body" sz="quarter" idx="28" hasCustomPrompt="1"/>
          </p:nvPr>
        </p:nvSpPr>
        <p:spPr>
          <a:xfrm>
            <a:off x="8946800" y="3128395"/>
            <a:ext cx="2218307"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Email address</a:t>
            </a:r>
          </a:p>
        </p:txBody>
      </p:sp>
      <p:grpSp>
        <p:nvGrpSpPr>
          <p:cNvPr id="35" name="Gruppieren 2">
            <a:extLst>
              <a:ext uri="{FF2B5EF4-FFF2-40B4-BE49-F238E27FC236}">
                <a16:creationId xmlns:a16="http://schemas.microsoft.com/office/drawing/2014/main" id="{BE697CE9-EBDE-6B4A-BE70-582D92A8A831}"/>
              </a:ext>
            </a:extLst>
          </p:cNvPr>
          <p:cNvGrpSpPr/>
          <p:nvPr/>
        </p:nvGrpSpPr>
        <p:grpSpPr>
          <a:xfrm>
            <a:off x="3770065" y="5045939"/>
            <a:ext cx="171180" cy="171180"/>
            <a:chOff x="3392092" y="1841122"/>
            <a:chExt cx="646508" cy="646508"/>
          </a:xfrm>
        </p:grpSpPr>
        <p:sp>
          <p:nvSpPr>
            <p:cNvPr id="36" name="Rechteck 14">
              <a:extLst>
                <a:ext uri="{FF2B5EF4-FFF2-40B4-BE49-F238E27FC236}">
                  <a16:creationId xmlns:a16="http://schemas.microsoft.com/office/drawing/2014/main" id="{E142A731-19B7-C34D-9534-9E05108F895F}"/>
                </a:ext>
              </a:extLst>
            </p:cNvPr>
            <p:cNvSpPr>
              <a:spLocks noChangeAspect="1"/>
            </p:cNvSpPr>
            <p:nvPr/>
          </p:nvSpPr>
          <p:spPr bwMode="gray">
            <a:xfrm>
              <a:off x="3392092" y="1841122"/>
              <a:ext cx="646508" cy="646508"/>
            </a:xfrm>
            <a:prstGeom prst="rect">
              <a:avLst/>
            </a:prstGeom>
            <a:solidFill>
              <a:srgbClr val="E55A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pPr>
              <a:endParaRPr lang="en-US" sz="1000">
                <a:solidFill>
                  <a:schemeClr val="tx1"/>
                </a:solidFill>
                <a:latin typeface="Arial" pitchFamily="34" charset="0"/>
                <a:cs typeface="Arial" pitchFamily="34" charset="0"/>
              </a:endParaRPr>
            </a:p>
          </p:txBody>
        </p:sp>
        <p:sp>
          <p:nvSpPr>
            <p:cNvPr id="37" name="Freeform 36">
              <a:extLst>
                <a:ext uri="{FF2B5EF4-FFF2-40B4-BE49-F238E27FC236}">
                  <a16:creationId xmlns:a16="http://schemas.microsoft.com/office/drawing/2014/main" id="{F97E84AE-4AD9-4B44-9AA1-F797FC373809}"/>
                </a:ext>
              </a:extLst>
            </p:cNvPr>
            <p:cNvSpPr>
              <a:spLocks noChangeAspect="1"/>
            </p:cNvSpPr>
            <p:nvPr/>
          </p:nvSpPr>
          <p:spPr bwMode="auto">
            <a:xfrm>
              <a:off x="3546638" y="1970424"/>
              <a:ext cx="337415" cy="387905"/>
            </a:xfrm>
            <a:custGeom>
              <a:avLst/>
              <a:gdLst>
                <a:gd name="T0" fmla="*/ 573 w 1624"/>
                <a:gd name="T1" fmla="*/ 1257 h 1867"/>
                <a:gd name="T2" fmla="*/ 662 w 1624"/>
                <a:gd name="T3" fmla="*/ 1288 h 1867"/>
                <a:gd name="T4" fmla="*/ 938 w 1624"/>
                <a:gd name="T5" fmla="*/ 1051 h 1867"/>
                <a:gd name="T6" fmla="*/ 1106 w 1624"/>
                <a:gd name="T7" fmla="*/ 731 h 1867"/>
                <a:gd name="T8" fmla="*/ 1059 w 1624"/>
                <a:gd name="T9" fmla="*/ 645 h 1867"/>
                <a:gd name="T10" fmla="*/ 1001 w 1624"/>
                <a:gd name="T11" fmla="*/ 613 h 1867"/>
                <a:gd name="T12" fmla="*/ 924 w 1624"/>
                <a:gd name="T13" fmla="*/ 432 h 1867"/>
                <a:gd name="T14" fmla="*/ 1114 w 1624"/>
                <a:gd name="T15" fmla="*/ 81 h 1867"/>
                <a:gd name="T16" fmla="*/ 1287 w 1624"/>
                <a:gd name="T17" fmla="*/ 35 h 1867"/>
                <a:gd name="T18" fmla="*/ 1350 w 1624"/>
                <a:gd name="T19" fmla="*/ 69 h 1867"/>
                <a:gd name="T20" fmla="*/ 1527 w 1624"/>
                <a:gd name="T21" fmla="*/ 235 h 1867"/>
                <a:gd name="T22" fmla="*/ 1583 w 1624"/>
                <a:gd name="T23" fmla="*/ 555 h 1867"/>
                <a:gd name="T24" fmla="*/ 1172 w 1624"/>
                <a:gd name="T25" fmla="*/ 1253 h 1867"/>
                <a:gd name="T26" fmla="*/ 586 w 1624"/>
                <a:gd name="T27" fmla="*/ 1803 h 1867"/>
                <a:gd name="T28" fmla="*/ 269 w 1624"/>
                <a:gd name="T29" fmla="*/ 1807 h 1867"/>
                <a:gd name="T30" fmla="*/ 33 w 1624"/>
                <a:gd name="T31" fmla="*/ 1602 h 1867"/>
                <a:gd name="T32" fmla="*/ 2 w 1624"/>
                <a:gd name="T33" fmla="*/ 1508 h 1867"/>
                <a:gd name="T34" fmla="*/ 45 w 1624"/>
                <a:gd name="T35" fmla="*/ 1421 h 1867"/>
                <a:gd name="T36" fmla="*/ 346 w 1624"/>
                <a:gd name="T37" fmla="*/ 1158 h 1867"/>
                <a:gd name="T38" fmla="*/ 448 w 1624"/>
                <a:gd name="T39" fmla="*/ 1145 h 1867"/>
                <a:gd name="T40" fmla="*/ 573 w 1624"/>
                <a:gd name="T41" fmla="*/ 1257 h 18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24" h="1867">
                  <a:moveTo>
                    <a:pt x="573" y="1257"/>
                  </a:moveTo>
                  <a:cubicBezTo>
                    <a:pt x="592" y="1282"/>
                    <a:pt x="630" y="1303"/>
                    <a:pt x="662" y="1288"/>
                  </a:cubicBezTo>
                  <a:cubicBezTo>
                    <a:pt x="753" y="1245"/>
                    <a:pt x="854" y="1156"/>
                    <a:pt x="938" y="1051"/>
                  </a:cubicBezTo>
                  <a:cubicBezTo>
                    <a:pt x="1020" y="948"/>
                    <a:pt x="1084" y="831"/>
                    <a:pt x="1106" y="731"/>
                  </a:cubicBezTo>
                  <a:cubicBezTo>
                    <a:pt x="1113" y="696"/>
                    <a:pt x="1089" y="661"/>
                    <a:pt x="1059" y="645"/>
                  </a:cubicBezTo>
                  <a:cubicBezTo>
                    <a:pt x="1001" y="613"/>
                    <a:pt x="1001" y="613"/>
                    <a:pt x="1001" y="613"/>
                  </a:cubicBezTo>
                  <a:cubicBezTo>
                    <a:pt x="942" y="580"/>
                    <a:pt x="888" y="499"/>
                    <a:pt x="924" y="432"/>
                  </a:cubicBezTo>
                  <a:cubicBezTo>
                    <a:pt x="1114" y="81"/>
                    <a:pt x="1114" y="81"/>
                    <a:pt x="1114" y="81"/>
                  </a:cubicBezTo>
                  <a:cubicBezTo>
                    <a:pt x="1150" y="16"/>
                    <a:pt x="1224" y="0"/>
                    <a:pt x="1287" y="35"/>
                  </a:cubicBezTo>
                  <a:cubicBezTo>
                    <a:pt x="1350" y="69"/>
                    <a:pt x="1350" y="69"/>
                    <a:pt x="1350" y="69"/>
                  </a:cubicBezTo>
                  <a:cubicBezTo>
                    <a:pt x="1415" y="105"/>
                    <a:pt x="1479" y="165"/>
                    <a:pt x="1527" y="235"/>
                  </a:cubicBezTo>
                  <a:cubicBezTo>
                    <a:pt x="1593" y="332"/>
                    <a:pt x="1624" y="442"/>
                    <a:pt x="1583" y="555"/>
                  </a:cubicBezTo>
                  <a:cubicBezTo>
                    <a:pt x="1500" y="781"/>
                    <a:pt x="1351" y="1030"/>
                    <a:pt x="1172" y="1253"/>
                  </a:cubicBezTo>
                  <a:cubicBezTo>
                    <a:pt x="994" y="1477"/>
                    <a:pt x="786" y="1676"/>
                    <a:pt x="586" y="1803"/>
                  </a:cubicBezTo>
                  <a:cubicBezTo>
                    <a:pt x="486" y="1867"/>
                    <a:pt x="375" y="1856"/>
                    <a:pt x="269" y="1807"/>
                  </a:cubicBezTo>
                  <a:cubicBezTo>
                    <a:pt x="157" y="1755"/>
                    <a:pt x="106" y="1695"/>
                    <a:pt x="33" y="1602"/>
                  </a:cubicBezTo>
                  <a:cubicBezTo>
                    <a:pt x="11" y="1573"/>
                    <a:pt x="0" y="1540"/>
                    <a:pt x="2" y="1508"/>
                  </a:cubicBezTo>
                  <a:cubicBezTo>
                    <a:pt x="4" y="1475"/>
                    <a:pt x="18" y="1444"/>
                    <a:pt x="45" y="1421"/>
                  </a:cubicBezTo>
                  <a:cubicBezTo>
                    <a:pt x="70" y="1399"/>
                    <a:pt x="346" y="1158"/>
                    <a:pt x="346" y="1158"/>
                  </a:cubicBezTo>
                  <a:cubicBezTo>
                    <a:pt x="376" y="1134"/>
                    <a:pt x="413" y="1133"/>
                    <a:pt x="448" y="1145"/>
                  </a:cubicBezTo>
                  <a:cubicBezTo>
                    <a:pt x="510" y="1166"/>
                    <a:pt x="536" y="1210"/>
                    <a:pt x="573" y="1257"/>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351"/>
            </a:p>
          </p:txBody>
        </p:sp>
      </p:grpSp>
      <p:grpSp>
        <p:nvGrpSpPr>
          <p:cNvPr id="38" name="Group 3">
            <a:extLst>
              <a:ext uri="{FF2B5EF4-FFF2-40B4-BE49-F238E27FC236}">
                <a16:creationId xmlns:a16="http://schemas.microsoft.com/office/drawing/2014/main" id="{7104BADD-8CD1-6F4A-B894-869C3BDB3EEB}"/>
              </a:ext>
            </a:extLst>
          </p:cNvPr>
          <p:cNvGrpSpPr>
            <a:grpSpLocks noChangeAspect="1"/>
          </p:cNvGrpSpPr>
          <p:nvPr>
            <p:custDataLst>
              <p:tags r:id="rId3"/>
            </p:custDataLst>
          </p:nvPr>
        </p:nvGrpSpPr>
        <p:grpSpPr>
          <a:xfrm>
            <a:off x="3770066" y="5330827"/>
            <a:ext cx="171180" cy="171180"/>
            <a:chOff x="328396" y="5313940"/>
            <a:chExt cx="720000" cy="720000"/>
          </a:xfrm>
        </p:grpSpPr>
        <p:sp>
          <p:nvSpPr>
            <p:cNvPr id="39" name="Rectangle 4">
              <a:extLst>
                <a:ext uri="{FF2B5EF4-FFF2-40B4-BE49-F238E27FC236}">
                  <a16:creationId xmlns:a16="http://schemas.microsoft.com/office/drawing/2014/main" id="{74BE3D5F-1445-6E40-8B49-72E15568383B}"/>
                </a:ext>
              </a:extLst>
            </p:cNvPr>
            <p:cNvSpPr/>
            <p:nvPr/>
          </p:nvSpPr>
          <p:spPr bwMode="gray">
            <a:xfrm>
              <a:off x="328396" y="5313940"/>
              <a:ext cx="720000" cy="720000"/>
            </a:xfrm>
            <a:prstGeom prst="rect">
              <a:avLst/>
            </a:prstGeom>
            <a:solidFill>
              <a:srgbClr val="E55A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pPr>
              <a:endParaRPr lang="en-US" sz="1000">
                <a:solidFill>
                  <a:schemeClr val="tx1"/>
                </a:solidFill>
                <a:latin typeface="Arial" pitchFamily="34" charset="0"/>
                <a:cs typeface="Arial" pitchFamily="34" charset="0"/>
              </a:endParaRPr>
            </a:p>
          </p:txBody>
        </p:sp>
        <p:sp>
          <p:nvSpPr>
            <p:cNvPr id="40" name="Freeform 76">
              <a:extLst>
                <a:ext uri="{FF2B5EF4-FFF2-40B4-BE49-F238E27FC236}">
                  <a16:creationId xmlns:a16="http://schemas.microsoft.com/office/drawing/2014/main" id="{55DB3C95-7D0C-D141-901E-96D692794D2B}"/>
                </a:ext>
              </a:extLst>
            </p:cNvPr>
            <p:cNvSpPr>
              <a:spLocks noChangeAspect="1" noEditPoints="1"/>
            </p:cNvSpPr>
            <p:nvPr/>
          </p:nvSpPr>
          <p:spPr bwMode="auto">
            <a:xfrm>
              <a:off x="456202" y="5509222"/>
              <a:ext cx="504000" cy="329436"/>
            </a:xfrm>
            <a:custGeom>
              <a:avLst/>
              <a:gdLst>
                <a:gd name="T0" fmla="*/ 0 w 2080"/>
                <a:gd name="T1" fmla="*/ 65 h 1360"/>
                <a:gd name="T2" fmla="*/ 0 w 2080"/>
                <a:gd name="T3" fmla="*/ 0 h 1360"/>
                <a:gd name="T4" fmla="*/ 2080 w 2080"/>
                <a:gd name="T5" fmla="*/ 0 h 1360"/>
                <a:gd name="T6" fmla="*/ 2080 w 2080"/>
                <a:gd name="T7" fmla="*/ 65 h 1360"/>
                <a:gd name="T8" fmla="*/ 1089 w 2080"/>
                <a:gd name="T9" fmla="*/ 862 h 1360"/>
                <a:gd name="T10" fmla="*/ 991 w 2080"/>
                <a:gd name="T11" fmla="*/ 862 h 1360"/>
                <a:gd name="T12" fmla="*/ 0 w 2080"/>
                <a:gd name="T13" fmla="*/ 65 h 1360"/>
                <a:gd name="T14" fmla="*/ 1139 w 2080"/>
                <a:gd name="T15" fmla="*/ 924 h 1360"/>
                <a:gd name="T16" fmla="*/ 1282 w 2080"/>
                <a:gd name="T17" fmla="*/ 810 h 1360"/>
                <a:gd name="T18" fmla="*/ 2076 w 2080"/>
                <a:gd name="T19" fmla="*/ 1360 h 1360"/>
                <a:gd name="T20" fmla="*/ 4 w 2080"/>
                <a:gd name="T21" fmla="*/ 1360 h 1360"/>
                <a:gd name="T22" fmla="*/ 798 w 2080"/>
                <a:gd name="T23" fmla="*/ 810 h 1360"/>
                <a:gd name="T24" fmla="*/ 941 w 2080"/>
                <a:gd name="T25" fmla="*/ 924 h 1360"/>
                <a:gd name="T26" fmla="*/ 1139 w 2080"/>
                <a:gd name="T27" fmla="*/ 924 h 1360"/>
                <a:gd name="T28" fmla="*/ 2 w 2080"/>
                <a:gd name="T29" fmla="*/ 137 h 1360"/>
                <a:gd name="T30" fmla="*/ 42 w 2080"/>
                <a:gd name="T31" fmla="*/ 201 h 1360"/>
                <a:gd name="T32" fmla="*/ 734 w 2080"/>
                <a:gd name="T33" fmla="*/ 758 h 1360"/>
                <a:gd name="T34" fmla="*/ 0 w 2080"/>
                <a:gd name="T35" fmla="*/ 1266 h 1360"/>
                <a:gd name="T36" fmla="*/ 0 w 2080"/>
                <a:gd name="T37" fmla="*/ 135 h 1360"/>
                <a:gd name="T38" fmla="*/ 2 w 2080"/>
                <a:gd name="T39" fmla="*/ 137 h 1360"/>
                <a:gd name="T40" fmla="*/ 2080 w 2080"/>
                <a:gd name="T41" fmla="*/ 136 h 1360"/>
                <a:gd name="T42" fmla="*/ 2080 w 2080"/>
                <a:gd name="T43" fmla="*/ 1265 h 1360"/>
                <a:gd name="T44" fmla="*/ 1346 w 2080"/>
                <a:gd name="T45" fmla="*/ 758 h 1360"/>
                <a:gd name="T46" fmla="*/ 2038 w 2080"/>
                <a:gd name="T47" fmla="*/ 201 h 1360"/>
                <a:gd name="T48" fmla="*/ 2080 w 2080"/>
                <a:gd name="T49" fmla="*/ 136 h 1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080" h="1360">
                  <a:moveTo>
                    <a:pt x="0" y="65"/>
                  </a:moveTo>
                  <a:cubicBezTo>
                    <a:pt x="0" y="0"/>
                    <a:pt x="0" y="0"/>
                    <a:pt x="0" y="0"/>
                  </a:cubicBezTo>
                  <a:cubicBezTo>
                    <a:pt x="2080" y="0"/>
                    <a:pt x="2080" y="0"/>
                    <a:pt x="2080" y="0"/>
                  </a:cubicBezTo>
                  <a:cubicBezTo>
                    <a:pt x="2080" y="65"/>
                    <a:pt x="2080" y="65"/>
                    <a:pt x="2080" y="65"/>
                  </a:cubicBezTo>
                  <a:cubicBezTo>
                    <a:pt x="1089" y="862"/>
                    <a:pt x="1089" y="862"/>
                    <a:pt x="1089" y="862"/>
                  </a:cubicBezTo>
                  <a:cubicBezTo>
                    <a:pt x="1060" y="886"/>
                    <a:pt x="1020" y="886"/>
                    <a:pt x="991" y="862"/>
                  </a:cubicBezTo>
                  <a:lnTo>
                    <a:pt x="0" y="65"/>
                  </a:lnTo>
                  <a:close/>
                  <a:moveTo>
                    <a:pt x="1139" y="924"/>
                  </a:moveTo>
                  <a:cubicBezTo>
                    <a:pt x="1282" y="810"/>
                    <a:pt x="1282" y="810"/>
                    <a:pt x="1282" y="810"/>
                  </a:cubicBezTo>
                  <a:cubicBezTo>
                    <a:pt x="2076" y="1360"/>
                    <a:pt x="2076" y="1360"/>
                    <a:pt x="2076" y="1360"/>
                  </a:cubicBezTo>
                  <a:cubicBezTo>
                    <a:pt x="4" y="1360"/>
                    <a:pt x="4" y="1360"/>
                    <a:pt x="4" y="1360"/>
                  </a:cubicBezTo>
                  <a:cubicBezTo>
                    <a:pt x="798" y="810"/>
                    <a:pt x="798" y="810"/>
                    <a:pt x="798" y="810"/>
                  </a:cubicBezTo>
                  <a:cubicBezTo>
                    <a:pt x="941" y="924"/>
                    <a:pt x="941" y="924"/>
                    <a:pt x="941" y="924"/>
                  </a:cubicBezTo>
                  <a:cubicBezTo>
                    <a:pt x="1000" y="972"/>
                    <a:pt x="1080" y="972"/>
                    <a:pt x="1139" y="924"/>
                  </a:cubicBezTo>
                  <a:close/>
                  <a:moveTo>
                    <a:pt x="2" y="137"/>
                  </a:moveTo>
                  <a:cubicBezTo>
                    <a:pt x="8" y="163"/>
                    <a:pt x="22" y="185"/>
                    <a:pt x="42" y="201"/>
                  </a:cubicBezTo>
                  <a:cubicBezTo>
                    <a:pt x="734" y="758"/>
                    <a:pt x="734" y="758"/>
                    <a:pt x="734" y="758"/>
                  </a:cubicBezTo>
                  <a:cubicBezTo>
                    <a:pt x="0" y="1266"/>
                    <a:pt x="0" y="1266"/>
                    <a:pt x="0" y="1266"/>
                  </a:cubicBezTo>
                  <a:cubicBezTo>
                    <a:pt x="0" y="135"/>
                    <a:pt x="0" y="135"/>
                    <a:pt x="0" y="135"/>
                  </a:cubicBezTo>
                  <a:lnTo>
                    <a:pt x="2" y="137"/>
                  </a:lnTo>
                  <a:close/>
                  <a:moveTo>
                    <a:pt x="2080" y="136"/>
                  </a:moveTo>
                  <a:cubicBezTo>
                    <a:pt x="2080" y="1265"/>
                    <a:pt x="2080" y="1265"/>
                    <a:pt x="2080" y="1265"/>
                  </a:cubicBezTo>
                  <a:cubicBezTo>
                    <a:pt x="1346" y="758"/>
                    <a:pt x="1346" y="758"/>
                    <a:pt x="1346" y="758"/>
                  </a:cubicBezTo>
                  <a:cubicBezTo>
                    <a:pt x="2038" y="201"/>
                    <a:pt x="2038" y="201"/>
                    <a:pt x="2038" y="201"/>
                  </a:cubicBezTo>
                  <a:cubicBezTo>
                    <a:pt x="2060" y="182"/>
                    <a:pt x="2072" y="162"/>
                    <a:pt x="2080" y="13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000"/>
            </a:p>
          </p:txBody>
        </p:sp>
      </p:grpSp>
      <p:cxnSp>
        <p:nvCxnSpPr>
          <p:cNvPr id="41" name="Straight Connector 40"/>
          <p:cNvCxnSpPr/>
          <p:nvPr/>
        </p:nvCxnSpPr>
        <p:spPr>
          <a:xfrm>
            <a:off x="2355914" y="5655833"/>
            <a:ext cx="3888000" cy="0"/>
          </a:xfrm>
          <a:prstGeom prst="line">
            <a:avLst/>
          </a:prstGeom>
          <a:ln w="6350">
            <a:solidFill>
              <a:schemeClr val="tx2"/>
            </a:solidFill>
            <a:prstDash val="dash"/>
          </a:ln>
        </p:spPr>
        <p:style>
          <a:lnRef idx="1">
            <a:schemeClr val="accent1"/>
          </a:lnRef>
          <a:fillRef idx="0">
            <a:schemeClr val="accent1"/>
          </a:fillRef>
          <a:effectRef idx="0">
            <a:schemeClr val="accent1"/>
          </a:effectRef>
          <a:fontRef idx="minor">
            <a:schemeClr val="tx1"/>
          </a:fontRef>
        </p:style>
      </p:cxnSp>
      <p:sp>
        <p:nvSpPr>
          <p:cNvPr id="42" name="Picture Placeholder 3"/>
          <p:cNvSpPr>
            <a:spLocks noGrp="1"/>
          </p:cNvSpPr>
          <p:nvPr>
            <p:ph type="pic" sz="quarter" idx="29" hasCustomPrompt="1"/>
          </p:nvPr>
        </p:nvSpPr>
        <p:spPr>
          <a:xfrm>
            <a:off x="2355914" y="3986604"/>
            <a:ext cx="1188677" cy="1547840"/>
          </a:xfrm>
          <a:solidFill>
            <a:srgbClr val="D9DADB"/>
          </a:solidFill>
        </p:spPr>
        <p:txBody>
          <a:bodyPr/>
          <a:lstStyle>
            <a:lvl1pPr marL="0" indent="0">
              <a:buNone/>
              <a:defRPr sz="1400"/>
            </a:lvl1pPr>
          </a:lstStyle>
          <a:p>
            <a:r>
              <a:rPr lang="en-US"/>
              <a:t>Insert picture</a:t>
            </a:r>
          </a:p>
        </p:txBody>
      </p:sp>
      <p:sp>
        <p:nvSpPr>
          <p:cNvPr id="43" name="Text Placeholder 5"/>
          <p:cNvSpPr>
            <a:spLocks noGrp="1"/>
          </p:cNvSpPr>
          <p:nvPr>
            <p:ph type="body" sz="quarter" idx="30" hasCustomPrompt="1"/>
          </p:nvPr>
        </p:nvSpPr>
        <p:spPr>
          <a:xfrm>
            <a:off x="3770065" y="3986141"/>
            <a:ext cx="2463190" cy="192360"/>
          </a:xfrm>
        </p:spPr>
        <p:txBody>
          <a:bodyPr lIns="0" tIns="0" rIns="0" bIns="0" anchor="ctr" anchorCtr="0"/>
          <a:lstStyle>
            <a:lvl1pPr marL="0" indent="0" algn="l">
              <a:lnSpc>
                <a:spcPct val="100000"/>
              </a:lnSpc>
              <a:buNone/>
              <a:defRPr sz="100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Country</a:t>
            </a:r>
          </a:p>
        </p:txBody>
      </p:sp>
      <p:sp>
        <p:nvSpPr>
          <p:cNvPr id="44" name="Text Placeholder 5"/>
          <p:cNvSpPr>
            <a:spLocks noGrp="1"/>
          </p:cNvSpPr>
          <p:nvPr>
            <p:ph type="body" sz="quarter" idx="31" hasCustomPrompt="1"/>
          </p:nvPr>
        </p:nvSpPr>
        <p:spPr>
          <a:xfrm>
            <a:off x="3770065" y="4197957"/>
            <a:ext cx="2463190" cy="266182"/>
          </a:xfrm>
        </p:spPr>
        <p:txBody>
          <a:bodyPr lIns="0" tIns="0" rIns="0" bIns="0" anchor="b" anchorCtr="0"/>
          <a:lstStyle>
            <a:lvl1pPr marL="0" indent="0" algn="l">
              <a:lnSpc>
                <a:spcPct val="100000"/>
              </a:lnSpc>
              <a:buNone/>
              <a:defRPr sz="1400" b="1" baseline="0">
                <a:solidFill>
                  <a:schemeClr val="tx2"/>
                </a:solidFill>
              </a:defRPr>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Name, Surname</a:t>
            </a:r>
          </a:p>
        </p:txBody>
      </p:sp>
      <p:sp>
        <p:nvSpPr>
          <p:cNvPr id="45" name="Text Placeholder 5"/>
          <p:cNvSpPr>
            <a:spLocks noGrp="1"/>
          </p:cNvSpPr>
          <p:nvPr>
            <p:ph type="body" sz="quarter" idx="32" hasCustomPrompt="1"/>
          </p:nvPr>
        </p:nvSpPr>
        <p:spPr>
          <a:xfrm>
            <a:off x="3770065" y="4494532"/>
            <a:ext cx="2463190"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Job Position</a:t>
            </a:r>
          </a:p>
        </p:txBody>
      </p:sp>
      <p:sp>
        <p:nvSpPr>
          <p:cNvPr id="46" name="Text Placeholder 5"/>
          <p:cNvSpPr>
            <a:spLocks noGrp="1"/>
          </p:cNvSpPr>
          <p:nvPr>
            <p:ph type="body" sz="quarter" idx="33" hasCustomPrompt="1"/>
          </p:nvPr>
        </p:nvSpPr>
        <p:spPr>
          <a:xfrm>
            <a:off x="4014948" y="5023208"/>
            <a:ext cx="2218307"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Phone number</a:t>
            </a:r>
          </a:p>
        </p:txBody>
      </p:sp>
      <p:sp>
        <p:nvSpPr>
          <p:cNvPr id="47" name="Text Placeholder 5"/>
          <p:cNvSpPr>
            <a:spLocks noGrp="1"/>
          </p:cNvSpPr>
          <p:nvPr>
            <p:ph type="body" sz="quarter" idx="34" hasCustomPrompt="1"/>
          </p:nvPr>
        </p:nvSpPr>
        <p:spPr>
          <a:xfrm>
            <a:off x="4014948" y="5306015"/>
            <a:ext cx="2218307"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Email address</a:t>
            </a:r>
          </a:p>
        </p:txBody>
      </p:sp>
      <p:grpSp>
        <p:nvGrpSpPr>
          <p:cNvPr id="48" name="Gruppieren 2">
            <a:extLst>
              <a:ext uri="{FF2B5EF4-FFF2-40B4-BE49-F238E27FC236}">
                <a16:creationId xmlns:a16="http://schemas.microsoft.com/office/drawing/2014/main" id="{BE697CE9-EBDE-6B4A-BE70-582D92A8A831}"/>
              </a:ext>
            </a:extLst>
          </p:cNvPr>
          <p:cNvGrpSpPr/>
          <p:nvPr/>
        </p:nvGrpSpPr>
        <p:grpSpPr>
          <a:xfrm>
            <a:off x="8701917" y="5043528"/>
            <a:ext cx="171180" cy="171180"/>
            <a:chOff x="3392092" y="1841122"/>
            <a:chExt cx="646508" cy="646508"/>
          </a:xfrm>
        </p:grpSpPr>
        <p:sp>
          <p:nvSpPr>
            <p:cNvPr id="49" name="Rechteck 14">
              <a:extLst>
                <a:ext uri="{FF2B5EF4-FFF2-40B4-BE49-F238E27FC236}">
                  <a16:creationId xmlns:a16="http://schemas.microsoft.com/office/drawing/2014/main" id="{E142A731-19B7-C34D-9534-9E05108F895F}"/>
                </a:ext>
              </a:extLst>
            </p:cNvPr>
            <p:cNvSpPr>
              <a:spLocks noChangeAspect="1"/>
            </p:cNvSpPr>
            <p:nvPr/>
          </p:nvSpPr>
          <p:spPr bwMode="gray">
            <a:xfrm>
              <a:off x="3392092" y="1841122"/>
              <a:ext cx="646508" cy="646508"/>
            </a:xfrm>
            <a:prstGeom prst="rect">
              <a:avLst/>
            </a:prstGeom>
            <a:solidFill>
              <a:srgbClr val="E55A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pPr>
              <a:endParaRPr lang="en-US" sz="1000">
                <a:solidFill>
                  <a:schemeClr val="tx1"/>
                </a:solidFill>
                <a:latin typeface="Arial" pitchFamily="34" charset="0"/>
                <a:cs typeface="Arial" pitchFamily="34" charset="0"/>
              </a:endParaRPr>
            </a:p>
          </p:txBody>
        </p:sp>
        <p:sp>
          <p:nvSpPr>
            <p:cNvPr id="50" name="Freeform 49">
              <a:extLst>
                <a:ext uri="{FF2B5EF4-FFF2-40B4-BE49-F238E27FC236}">
                  <a16:creationId xmlns:a16="http://schemas.microsoft.com/office/drawing/2014/main" id="{F97E84AE-4AD9-4B44-9AA1-F797FC373809}"/>
                </a:ext>
              </a:extLst>
            </p:cNvPr>
            <p:cNvSpPr>
              <a:spLocks noChangeAspect="1"/>
            </p:cNvSpPr>
            <p:nvPr/>
          </p:nvSpPr>
          <p:spPr bwMode="auto">
            <a:xfrm>
              <a:off x="3546638" y="1970424"/>
              <a:ext cx="337415" cy="387905"/>
            </a:xfrm>
            <a:custGeom>
              <a:avLst/>
              <a:gdLst>
                <a:gd name="T0" fmla="*/ 573 w 1624"/>
                <a:gd name="T1" fmla="*/ 1257 h 1867"/>
                <a:gd name="T2" fmla="*/ 662 w 1624"/>
                <a:gd name="T3" fmla="*/ 1288 h 1867"/>
                <a:gd name="T4" fmla="*/ 938 w 1624"/>
                <a:gd name="T5" fmla="*/ 1051 h 1867"/>
                <a:gd name="T6" fmla="*/ 1106 w 1624"/>
                <a:gd name="T7" fmla="*/ 731 h 1867"/>
                <a:gd name="T8" fmla="*/ 1059 w 1624"/>
                <a:gd name="T9" fmla="*/ 645 h 1867"/>
                <a:gd name="T10" fmla="*/ 1001 w 1624"/>
                <a:gd name="T11" fmla="*/ 613 h 1867"/>
                <a:gd name="T12" fmla="*/ 924 w 1624"/>
                <a:gd name="T13" fmla="*/ 432 h 1867"/>
                <a:gd name="T14" fmla="*/ 1114 w 1624"/>
                <a:gd name="T15" fmla="*/ 81 h 1867"/>
                <a:gd name="T16" fmla="*/ 1287 w 1624"/>
                <a:gd name="T17" fmla="*/ 35 h 1867"/>
                <a:gd name="T18" fmla="*/ 1350 w 1624"/>
                <a:gd name="T19" fmla="*/ 69 h 1867"/>
                <a:gd name="T20" fmla="*/ 1527 w 1624"/>
                <a:gd name="T21" fmla="*/ 235 h 1867"/>
                <a:gd name="T22" fmla="*/ 1583 w 1624"/>
                <a:gd name="T23" fmla="*/ 555 h 1867"/>
                <a:gd name="T24" fmla="*/ 1172 w 1624"/>
                <a:gd name="T25" fmla="*/ 1253 h 1867"/>
                <a:gd name="T26" fmla="*/ 586 w 1624"/>
                <a:gd name="T27" fmla="*/ 1803 h 1867"/>
                <a:gd name="T28" fmla="*/ 269 w 1624"/>
                <a:gd name="T29" fmla="*/ 1807 h 1867"/>
                <a:gd name="T30" fmla="*/ 33 w 1624"/>
                <a:gd name="T31" fmla="*/ 1602 h 1867"/>
                <a:gd name="T32" fmla="*/ 2 w 1624"/>
                <a:gd name="T33" fmla="*/ 1508 h 1867"/>
                <a:gd name="T34" fmla="*/ 45 w 1624"/>
                <a:gd name="T35" fmla="*/ 1421 h 1867"/>
                <a:gd name="T36" fmla="*/ 346 w 1624"/>
                <a:gd name="T37" fmla="*/ 1158 h 1867"/>
                <a:gd name="T38" fmla="*/ 448 w 1624"/>
                <a:gd name="T39" fmla="*/ 1145 h 1867"/>
                <a:gd name="T40" fmla="*/ 573 w 1624"/>
                <a:gd name="T41" fmla="*/ 1257 h 18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24" h="1867">
                  <a:moveTo>
                    <a:pt x="573" y="1257"/>
                  </a:moveTo>
                  <a:cubicBezTo>
                    <a:pt x="592" y="1282"/>
                    <a:pt x="630" y="1303"/>
                    <a:pt x="662" y="1288"/>
                  </a:cubicBezTo>
                  <a:cubicBezTo>
                    <a:pt x="753" y="1245"/>
                    <a:pt x="854" y="1156"/>
                    <a:pt x="938" y="1051"/>
                  </a:cubicBezTo>
                  <a:cubicBezTo>
                    <a:pt x="1020" y="948"/>
                    <a:pt x="1084" y="831"/>
                    <a:pt x="1106" y="731"/>
                  </a:cubicBezTo>
                  <a:cubicBezTo>
                    <a:pt x="1113" y="696"/>
                    <a:pt x="1089" y="661"/>
                    <a:pt x="1059" y="645"/>
                  </a:cubicBezTo>
                  <a:cubicBezTo>
                    <a:pt x="1001" y="613"/>
                    <a:pt x="1001" y="613"/>
                    <a:pt x="1001" y="613"/>
                  </a:cubicBezTo>
                  <a:cubicBezTo>
                    <a:pt x="942" y="580"/>
                    <a:pt x="888" y="499"/>
                    <a:pt x="924" y="432"/>
                  </a:cubicBezTo>
                  <a:cubicBezTo>
                    <a:pt x="1114" y="81"/>
                    <a:pt x="1114" y="81"/>
                    <a:pt x="1114" y="81"/>
                  </a:cubicBezTo>
                  <a:cubicBezTo>
                    <a:pt x="1150" y="16"/>
                    <a:pt x="1224" y="0"/>
                    <a:pt x="1287" y="35"/>
                  </a:cubicBezTo>
                  <a:cubicBezTo>
                    <a:pt x="1350" y="69"/>
                    <a:pt x="1350" y="69"/>
                    <a:pt x="1350" y="69"/>
                  </a:cubicBezTo>
                  <a:cubicBezTo>
                    <a:pt x="1415" y="105"/>
                    <a:pt x="1479" y="165"/>
                    <a:pt x="1527" y="235"/>
                  </a:cubicBezTo>
                  <a:cubicBezTo>
                    <a:pt x="1593" y="332"/>
                    <a:pt x="1624" y="442"/>
                    <a:pt x="1583" y="555"/>
                  </a:cubicBezTo>
                  <a:cubicBezTo>
                    <a:pt x="1500" y="781"/>
                    <a:pt x="1351" y="1030"/>
                    <a:pt x="1172" y="1253"/>
                  </a:cubicBezTo>
                  <a:cubicBezTo>
                    <a:pt x="994" y="1477"/>
                    <a:pt x="786" y="1676"/>
                    <a:pt x="586" y="1803"/>
                  </a:cubicBezTo>
                  <a:cubicBezTo>
                    <a:pt x="486" y="1867"/>
                    <a:pt x="375" y="1856"/>
                    <a:pt x="269" y="1807"/>
                  </a:cubicBezTo>
                  <a:cubicBezTo>
                    <a:pt x="157" y="1755"/>
                    <a:pt x="106" y="1695"/>
                    <a:pt x="33" y="1602"/>
                  </a:cubicBezTo>
                  <a:cubicBezTo>
                    <a:pt x="11" y="1573"/>
                    <a:pt x="0" y="1540"/>
                    <a:pt x="2" y="1508"/>
                  </a:cubicBezTo>
                  <a:cubicBezTo>
                    <a:pt x="4" y="1475"/>
                    <a:pt x="18" y="1444"/>
                    <a:pt x="45" y="1421"/>
                  </a:cubicBezTo>
                  <a:cubicBezTo>
                    <a:pt x="70" y="1399"/>
                    <a:pt x="346" y="1158"/>
                    <a:pt x="346" y="1158"/>
                  </a:cubicBezTo>
                  <a:cubicBezTo>
                    <a:pt x="376" y="1134"/>
                    <a:pt x="413" y="1133"/>
                    <a:pt x="448" y="1145"/>
                  </a:cubicBezTo>
                  <a:cubicBezTo>
                    <a:pt x="510" y="1166"/>
                    <a:pt x="536" y="1210"/>
                    <a:pt x="573" y="1257"/>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351"/>
            </a:p>
          </p:txBody>
        </p:sp>
      </p:grpSp>
      <p:grpSp>
        <p:nvGrpSpPr>
          <p:cNvPr id="51" name="Group 3">
            <a:extLst>
              <a:ext uri="{FF2B5EF4-FFF2-40B4-BE49-F238E27FC236}">
                <a16:creationId xmlns:a16="http://schemas.microsoft.com/office/drawing/2014/main" id="{7104BADD-8CD1-6F4A-B894-869C3BDB3EEB}"/>
              </a:ext>
            </a:extLst>
          </p:cNvPr>
          <p:cNvGrpSpPr>
            <a:grpSpLocks noChangeAspect="1"/>
          </p:cNvGrpSpPr>
          <p:nvPr>
            <p:custDataLst>
              <p:tags r:id="rId4"/>
            </p:custDataLst>
          </p:nvPr>
        </p:nvGrpSpPr>
        <p:grpSpPr>
          <a:xfrm>
            <a:off x="8701918" y="5328416"/>
            <a:ext cx="171180" cy="171180"/>
            <a:chOff x="328396" y="5313940"/>
            <a:chExt cx="720000" cy="720000"/>
          </a:xfrm>
        </p:grpSpPr>
        <p:sp>
          <p:nvSpPr>
            <p:cNvPr id="52" name="Rectangle 4">
              <a:extLst>
                <a:ext uri="{FF2B5EF4-FFF2-40B4-BE49-F238E27FC236}">
                  <a16:creationId xmlns:a16="http://schemas.microsoft.com/office/drawing/2014/main" id="{74BE3D5F-1445-6E40-8B49-72E15568383B}"/>
                </a:ext>
              </a:extLst>
            </p:cNvPr>
            <p:cNvSpPr/>
            <p:nvPr/>
          </p:nvSpPr>
          <p:spPr bwMode="gray">
            <a:xfrm>
              <a:off x="328396" y="5313940"/>
              <a:ext cx="720000" cy="720000"/>
            </a:xfrm>
            <a:prstGeom prst="rect">
              <a:avLst/>
            </a:prstGeom>
            <a:solidFill>
              <a:srgbClr val="E55A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pPr>
              <a:endParaRPr lang="en-US" sz="1000">
                <a:solidFill>
                  <a:schemeClr val="tx1"/>
                </a:solidFill>
                <a:latin typeface="Arial" pitchFamily="34" charset="0"/>
                <a:cs typeface="Arial" pitchFamily="34" charset="0"/>
              </a:endParaRPr>
            </a:p>
          </p:txBody>
        </p:sp>
        <p:sp>
          <p:nvSpPr>
            <p:cNvPr id="53" name="Freeform 76">
              <a:extLst>
                <a:ext uri="{FF2B5EF4-FFF2-40B4-BE49-F238E27FC236}">
                  <a16:creationId xmlns:a16="http://schemas.microsoft.com/office/drawing/2014/main" id="{55DB3C95-7D0C-D141-901E-96D692794D2B}"/>
                </a:ext>
              </a:extLst>
            </p:cNvPr>
            <p:cNvSpPr>
              <a:spLocks noChangeAspect="1" noEditPoints="1"/>
            </p:cNvSpPr>
            <p:nvPr/>
          </p:nvSpPr>
          <p:spPr bwMode="auto">
            <a:xfrm>
              <a:off x="456202" y="5509222"/>
              <a:ext cx="504000" cy="329436"/>
            </a:xfrm>
            <a:custGeom>
              <a:avLst/>
              <a:gdLst>
                <a:gd name="T0" fmla="*/ 0 w 2080"/>
                <a:gd name="T1" fmla="*/ 65 h 1360"/>
                <a:gd name="T2" fmla="*/ 0 w 2080"/>
                <a:gd name="T3" fmla="*/ 0 h 1360"/>
                <a:gd name="T4" fmla="*/ 2080 w 2080"/>
                <a:gd name="T5" fmla="*/ 0 h 1360"/>
                <a:gd name="T6" fmla="*/ 2080 w 2080"/>
                <a:gd name="T7" fmla="*/ 65 h 1360"/>
                <a:gd name="T8" fmla="*/ 1089 w 2080"/>
                <a:gd name="T9" fmla="*/ 862 h 1360"/>
                <a:gd name="T10" fmla="*/ 991 w 2080"/>
                <a:gd name="T11" fmla="*/ 862 h 1360"/>
                <a:gd name="T12" fmla="*/ 0 w 2080"/>
                <a:gd name="T13" fmla="*/ 65 h 1360"/>
                <a:gd name="T14" fmla="*/ 1139 w 2080"/>
                <a:gd name="T15" fmla="*/ 924 h 1360"/>
                <a:gd name="T16" fmla="*/ 1282 w 2080"/>
                <a:gd name="T17" fmla="*/ 810 h 1360"/>
                <a:gd name="T18" fmla="*/ 2076 w 2080"/>
                <a:gd name="T19" fmla="*/ 1360 h 1360"/>
                <a:gd name="T20" fmla="*/ 4 w 2080"/>
                <a:gd name="T21" fmla="*/ 1360 h 1360"/>
                <a:gd name="T22" fmla="*/ 798 w 2080"/>
                <a:gd name="T23" fmla="*/ 810 h 1360"/>
                <a:gd name="T24" fmla="*/ 941 w 2080"/>
                <a:gd name="T25" fmla="*/ 924 h 1360"/>
                <a:gd name="T26" fmla="*/ 1139 w 2080"/>
                <a:gd name="T27" fmla="*/ 924 h 1360"/>
                <a:gd name="T28" fmla="*/ 2 w 2080"/>
                <a:gd name="T29" fmla="*/ 137 h 1360"/>
                <a:gd name="T30" fmla="*/ 42 w 2080"/>
                <a:gd name="T31" fmla="*/ 201 h 1360"/>
                <a:gd name="T32" fmla="*/ 734 w 2080"/>
                <a:gd name="T33" fmla="*/ 758 h 1360"/>
                <a:gd name="T34" fmla="*/ 0 w 2080"/>
                <a:gd name="T35" fmla="*/ 1266 h 1360"/>
                <a:gd name="T36" fmla="*/ 0 w 2080"/>
                <a:gd name="T37" fmla="*/ 135 h 1360"/>
                <a:gd name="T38" fmla="*/ 2 w 2080"/>
                <a:gd name="T39" fmla="*/ 137 h 1360"/>
                <a:gd name="T40" fmla="*/ 2080 w 2080"/>
                <a:gd name="T41" fmla="*/ 136 h 1360"/>
                <a:gd name="T42" fmla="*/ 2080 w 2080"/>
                <a:gd name="T43" fmla="*/ 1265 h 1360"/>
                <a:gd name="T44" fmla="*/ 1346 w 2080"/>
                <a:gd name="T45" fmla="*/ 758 h 1360"/>
                <a:gd name="T46" fmla="*/ 2038 w 2080"/>
                <a:gd name="T47" fmla="*/ 201 h 1360"/>
                <a:gd name="T48" fmla="*/ 2080 w 2080"/>
                <a:gd name="T49" fmla="*/ 136 h 1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080" h="1360">
                  <a:moveTo>
                    <a:pt x="0" y="65"/>
                  </a:moveTo>
                  <a:cubicBezTo>
                    <a:pt x="0" y="0"/>
                    <a:pt x="0" y="0"/>
                    <a:pt x="0" y="0"/>
                  </a:cubicBezTo>
                  <a:cubicBezTo>
                    <a:pt x="2080" y="0"/>
                    <a:pt x="2080" y="0"/>
                    <a:pt x="2080" y="0"/>
                  </a:cubicBezTo>
                  <a:cubicBezTo>
                    <a:pt x="2080" y="65"/>
                    <a:pt x="2080" y="65"/>
                    <a:pt x="2080" y="65"/>
                  </a:cubicBezTo>
                  <a:cubicBezTo>
                    <a:pt x="1089" y="862"/>
                    <a:pt x="1089" y="862"/>
                    <a:pt x="1089" y="862"/>
                  </a:cubicBezTo>
                  <a:cubicBezTo>
                    <a:pt x="1060" y="886"/>
                    <a:pt x="1020" y="886"/>
                    <a:pt x="991" y="862"/>
                  </a:cubicBezTo>
                  <a:lnTo>
                    <a:pt x="0" y="65"/>
                  </a:lnTo>
                  <a:close/>
                  <a:moveTo>
                    <a:pt x="1139" y="924"/>
                  </a:moveTo>
                  <a:cubicBezTo>
                    <a:pt x="1282" y="810"/>
                    <a:pt x="1282" y="810"/>
                    <a:pt x="1282" y="810"/>
                  </a:cubicBezTo>
                  <a:cubicBezTo>
                    <a:pt x="2076" y="1360"/>
                    <a:pt x="2076" y="1360"/>
                    <a:pt x="2076" y="1360"/>
                  </a:cubicBezTo>
                  <a:cubicBezTo>
                    <a:pt x="4" y="1360"/>
                    <a:pt x="4" y="1360"/>
                    <a:pt x="4" y="1360"/>
                  </a:cubicBezTo>
                  <a:cubicBezTo>
                    <a:pt x="798" y="810"/>
                    <a:pt x="798" y="810"/>
                    <a:pt x="798" y="810"/>
                  </a:cubicBezTo>
                  <a:cubicBezTo>
                    <a:pt x="941" y="924"/>
                    <a:pt x="941" y="924"/>
                    <a:pt x="941" y="924"/>
                  </a:cubicBezTo>
                  <a:cubicBezTo>
                    <a:pt x="1000" y="972"/>
                    <a:pt x="1080" y="972"/>
                    <a:pt x="1139" y="924"/>
                  </a:cubicBezTo>
                  <a:close/>
                  <a:moveTo>
                    <a:pt x="2" y="137"/>
                  </a:moveTo>
                  <a:cubicBezTo>
                    <a:pt x="8" y="163"/>
                    <a:pt x="22" y="185"/>
                    <a:pt x="42" y="201"/>
                  </a:cubicBezTo>
                  <a:cubicBezTo>
                    <a:pt x="734" y="758"/>
                    <a:pt x="734" y="758"/>
                    <a:pt x="734" y="758"/>
                  </a:cubicBezTo>
                  <a:cubicBezTo>
                    <a:pt x="0" y="1266"/>
                    <a:pt x="0" y="1266"/>
                    <a:pt x="0" y="1266"/>
                  </a:cubicBezTo>
                  <a:cubicBezTo>
                    <a:pt x="0" y="135"/>
                    <a:pt x="0" y="135"/>
                    <a:pt x="0" y="135"/>
                  </a:cubicBezTo>
                  <a:lnTo>
                    <a:pt x="2" y="137"/>
                  </a:lnTo>
                  <a:close/>
                  <a:moveTo>
                    <a:pt x="2080" y="136"/>
                  </a:moveTo>
                  <a:cubicBezTo>
                    <a:pt x="2080" y="1265"/>
                    <a:pt x="2080" y="1265"/>
                    <a:pt x="2080" y="1265"/>
                  </a:cubicBezTo>
                  <a:cubicBezTo>
                    <a:pt x="1346" y="758"/>
                    <a:pt x="1346" y="758"/>
                    <a:pt x="1346" y="758"/>
                  </a:cubicBezTo>
                  <a:cubicBezTo>
                    <a:pt x="2038" y="201"/>
                    <a:pt x="2038" y="201"/>
                    <a:pt x="2038" y="201"/>
                  </a:cubicBezTo>
                  <a:cubicBezTo>
                    <a:pt x="2060" y="182"/>
                    <a:pt x="2072" y="162"/>
                    <a:pt x="2080" y="13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000"/>
            </a:p>
          </p:txBody>
        </p:sp>
      </p:grpSp>
      <p:cxnSp>
        <p:nvCxnSpPr>
          <p:cNvPr id="54" name="Straight Connector 53"/>
          <p:cNvCxnSpPr/>
          <p:nvPr/>
        </p:nvCxnSpPr>
        <p:spPr>
          <a:xfrm>
            <a:off x="7287766" y="5653422"/>
            <a:ext cx="3888000" cy="0"/>
          </a:xfrm>
          <a:prstGeom prst="line">
            <a:avLst/>
          </a:prstGeom>
          <a:ln w="6350">
            <a:solidFill>
              <a:schemeClr val="tx2"/>
            </a:solidFill>
            <a:prstDash val="dash"/>
          </a:ln>
        </p:spPr>
        <p:style>
          <a:lnRef idx="1">
            <a:schemeClr val="accent1"/>
          </a:lnRef>
          <a:fillRef idx="0">
            <a:schemeClr val="accent1"/>
          </a:fillRef>
          <a:effectRef idx="0">
            <a:schemeClr val="accent1"/>
          </a:effectRef>
          <a:fontRef idx="minor">
            <a:schemeClr val="tx1"/>
          </a:fontRef>
        </p:style>
      </p:cxnSp>
      <p:sp>
        <p:nvSpPr>
          <p:cNvPr id="55" name="Picture Placeholder 3"/>
          <p:cNvSpPr>
            <a:spLocks noGrp="1"/>
          </p:cNvSpPr>
          <p:nvPr>
            <p:ph type="pic" sz="quarter" idx="35" hasCustomPrompt="1"/>
          </p:nvPr>
        </p:nvSpPr>
        <p:spPr>
          <a:xfrm>
            <a:off x="7287766" y="3984193"/>
            <a:ext cx="1188677" cy="1547840"/>
          </a:xfrm>
          <a:solidFill>
            <a:srgbClr val="D9DADB"/>
          </a:solidFill>
        </p:spPr>
        <p:txBody>
          <a:bodyPr/>
          <a:lstStyle>
            <a:lvl1pPr marL="0" indent="0">
              <a:buNone/>
              <a:defRPr sz="1400"/>
            </a:lvl1pPr>
          </a:lstStyle>
          <a:p>
            <a:r>
              <a:rPr lang="en-US"/>
              <a:t>Insert picture</a:t>
            </a:r>
          </a:p>
        </p:txBody>
      </p:sp>
      <p:sp>
        <p:nvSpPr>
          <p:cNvPr id="56" name="Text Placeholder 5"/>
          <p:cNvSpPr>
            <a:spLocks noGrp="1"/>
          </p:cNvSpPr>
          <p:nvPr>
            <p:ph type="body" sz="quarter" idx="36" hasCustomPrompt="1"/>
          </p:nvPr>
        </p:nvSpPr>
        <p:spPr>
          <a:xfrm>
            <a:off x="8701917" y="3983730"/>
            <a:ext cx="2463190" cy="192360"/>
          </a:xfrm>
        </p:spPr>
        <p:txBody>
          <a:bodyPr lIns="0" tIns="0" rIns="0" bIns="0" anchor="ctr" anchorCtr="0"/>
          <a:lstStyle>
            <a:lvl1pPr marL="0" indent="0" algn="l">
              <a:lnSpc>
                <a:spcPct val="100000"/>
              </a:lnSpc>
              <a:buNone/>
              <a:defRPr sz="100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Country</a:t>
            </a:r>
          </a:p>
        </p:txBody>
      </p:sp>
      <p:sp>
        <p:nvSpPr>
          <p:cNvPr id="57" name="Text Placeholder 5"/>
          <p:cNvSpPr>
            <a:spLocks noGrp="1"/>
          </p:cNvSpPr>
          <p:nvPr>
            <p:ph type="body" sz="quarter" idx="37" hasCustomPrompt="1"/>
          </p:nvPr>
        </p:nvSpPr>
        <p:spPr>
          <a:xfrm>
            <a:off x="8701917" y="4195546"/>
            <a:ext cx="2463190" cy="266182"/>
          </a:xfrm>
        </p:spPr>
        <p:txBody>
          <a:bodyPr lIns="0" tIns="0" rIns="0" bIns="0" anchor="b" anchorCtr="0"/>
          <a:lstStyle>
            <a:lvl1pPr marL="0" indent="0" algn="l">
              <a:lnSpc>
                <a:spcPct val="100000"/>
              </a:lnSpc>
              <a:buNone/>
              <a:defRPr sz="1400" b="1" baseline="0">
                <a:solidFill>
                  <a:schemeClr val="tx2"/>
                </a:solidFill>
              </a:defRPr>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Name, Surname</a:t>
            </a:r>
          </a:p>
        </p:txBody>
      </p:sp>
      <p:sp>
        <p:nvSpPr>
          <p:cNvPr id="58" name="Text Placeholder 5"/>
          <p:cNvSpPr>
            <a:spLocks noGrp="1"/>
          </p:cNvSpPr>
          <p:nvPr>
            <p:ph type="body" sz="quarter" idx="38" hasCustomPrompt="1"/>
          </p:nvPr>
        </p:nvSpPr>
        <p:spPr>
          <a:xfrm>
            <a:off x="8701917" y="4492121"/>
            <a:ext cx="2463190"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Job Position</a:t>
            </a:r>
          </a:p>
        </p:txBody>
      </p:sp>
      <p:sp>
        <p:nvSpPr>
          <p:cNvPr id="59" name="Text Placeholder 5"/>
          <p:cNvSpPr>
            <a:spLocks noGrp="1"/>
          </p:cNvSpPr>
          <p:nvPr>
            <p:ph type="body" sz="quarter" idx="39" hasCustomPrompt="1"/>
          </p:nvPr>
        </p:nvSpPr>
        <p:spPr>
          <a:xfrm>
            <a:off x="8946800" y="5020797"/>
            <a:ext cx="2218307"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Phone number</a:t>
            </a:r>
          </a:p>
        </p:txBody>
      </p:sp>
      <p:sp>
        <p:nvSpPr>
          <p:cNvPr id="60" name="Text Placeholder 5"/>
          <p:cNvSpPr>
            <a:spLocks noGrp="1"/>
          </p:cNvSpPr>
          <p:nvPr>
            <p:ph type="body" sz="quarter" idx="40" hasCustomPrompt="1"/>
          </p:nvPr>
        </p:nvSpPr>
        <p:spPr>
          <a:xfrm>
            <a:off x="8946800" y="5303604"/>
            <a:ext cx="2218307"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Email address</a:t>
            </a:r>
          </a:p>
        </p:txBody>
      </p:sp>
    </p:spTree>
    <p:extLst>
      <p:ext uri="{BB962C8B-B14F-4D97-AF65-F5344CB8AC3E}">
        <p14:creationId xmlns:p14="http://schemas.microsoft.com/office/powerpoint/2010/main" val="3648317044"/>
      </p:ext>
    </p:extLst>
  </p:cSld>
  <p:clrMapOvr>
    <a:masterClrMapping/>
  </p:clrMapOvr>
</p:sldLayout>
</file>

<file path=ppt/slideLayouts/slideLayout383.xml><?xml version="1.0" encoding="utf-8"?>
<p:sldLayout xmlns:a="http://schemas.openxmlformats.org/drawingml/2006/main" xmlns:r="http://schemas.openxmlformats.org/officeDocument/2006/relationships" xmlns:p="http://schemas.openxmlformats.org/presentationml/2006/main" showMasterSp="0" preserve="1">
  <p:cSld name="End slide">
    <p:spTree>
      <p:nvGrpSpPr>
        <p:cNvPr id="1" name=""/>
        <p:cNvGrpSpPr/>
        <p:nvPr/>
      </p:nvGrpSpPr>
      <p:grpSpPr>
        <a:xfrm>
          <a:off x="0" y="0"/>
          <a:ext cx="0" cy="0"/>
          <a:chOff x="0" y="0"/>
          <a:chExt cx="0" cy="0"/>
        </a:xfrm>
      </p:grpSpPr>
      <p:pic>
        <p:nvPicPr>
          <p:cNvPr id="30" name="picture">
            <a:extLst>
              <a:ext uri="{FF2B5EF4-FFF2-40B4-BE49-F238E27FC236}">
                <a16:creationId xmlns:a16="http://schemas.microsoft.com/office/drawing/2014/main" id="{8BF907F5-A9CD-2740-AF54-6BACB62334AE}"/>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2620212" y="-8808"/>
            <a:ext cx="9697299" cy="6866807"/>
          </a:xfrm>
          <a:prstGeom prst="rect">
            <a:avLst/>
          </a:prstGeom>
        </p:spPr>
      </p:pic>
      <p:sp>
        <p:nvSpPr>
          <p:cNvPr id="29" name="shpPicture"/>
          <p:cNvSpPr/>
          <p:nvPr/>
        </p:nvSpPr>
        <p:spPr>
          <a:xfrm>
            <a:off x="0" y="0"/>
            <a:ext cx="4347306" cy="6858000"/>
          </a:xfrm>
          <a:custGeom>
            <a:avLst/>
            <a:gdLst>
              <a:gd name="connsiteX0" fmla="*/ 0 w 4347306"/>
              <a:gd name="connsiteY0" fmla="*/ 0 h 6858000"/>
              <a:gd name="connsiteX1" fmla="*/ 3252806 w 4347306"/>
              <a:gd name="connsiteY1" fmla="*/ 0 h 6858000"/>
              <a:gd name="connsiteX2" fmla="*/ 4347306 w 4347306"/>
              <a:gd name="connsiteY2" fmla="*/ 4140909 h 6858000"/>
              <a:gd name="connsiteX3" fmla="*/ 2943442 w 4347306"/>
              <a:gd name="connsiteY3" fmla="*/ 6858000 h 6858000"/>
              <a:gd name="connsiteX4" fmla="*/ 0 w 4347306"/>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47306" h="6858000">
                <a:moveTo>
                  <a:pt x="0" y="0"/>
                </a:moveTo>
                <a:lnTo>
                  <a:pt x="3252806" y="0"/>
                </a:lnTo>
                <a:lnTo>
                  <a:pt x="4347306" y="4140909"/>
                </a:lnTo>
                <a:lnTo>
                  <a:pt x="2943442"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US" sz="1600"/>
          </a:p>
        </p:txBody>
      </p:sp>
      <p:grpSp>
        <p:nvGrpSpPr>
          <p:cNvPr id="14" name="logo">
            <a:extLst>
              <a:ext uri="{FF2B5EF4-FFF2-40B4-BE49-F238E27FC236}">
                <a16:creationId xmlns:a16="http://schemas.microsoft.com/office/drawing/2014/main" id="{18C26D95-70F8-8A4D-9F18-DCCB92522AF8}"/>
              </a:ext>
            </a:extLst>
          </p:cNvPr>
          <p:cNvGrpSpPr/>
          <p:nvPr/>
        </p:nvGrpSpPr>
        <p:grpSpPr bwMode="gray">
          <a:xfrm>
            <a:off x="417363" y="407485"/>
            <a:ext cx="1518585" cy="646507"/>
            <a:chOff x="334963" y="296652"/>
            <a:chExt cx="1268411" cy="540000"/>
          </a:xfrm>
        </p:grpSpPr>
        <p:sp>
          <p:nvSpPr>
            <p:cNvPr id="17" name="Freeform 6">
              <a:extLst>
                <a:ext uri="{FF2B5EF4-FFF2-40B4-BE49-F238E27FC236}">
                  <a16:creationId xmlns:a16="http://schemas.microsoft.com/office/drawing/2014/main" id="{08737AD0-E375-E445-97E6-CD2E2DF60620}"/>
                </a:ext>
              </a:extLst>
            </p:cNvPr>
            <p:cNvSpPr>
              <a:spLocks noEditPoints="1"/>
            </p:cNvSpPr>
            <p:nvPr/>
          </p:nvSpPr>
          <p:spPr bwMode="gray">
            <a:xfrm>
              <a:off x="982662" y="360462"/>
              <a:ext cx="620712" cy="431800"/>
            </a:xfrm>
            <a:custGeom>
              <a:avLst/>
              <a:gdLst>
                <a:gd name="T0" fmla="*/ 19 w 1809"/>
                <a:gd name="T1" fmla="*/ 97 h 1253"/>
                <a:gd name="T2" fmla="*/ 165 w 1809"/>
                <a:gd name="T3" fmla="*/ 41 h 1253"/>
                <a:gd name="T4" fmla="*/ 211 w 1809"/>
                <a:gd name="T5" fmla="*/ 224 h 1253"/>
                <a:gd name="T6" fmla="*/ 248 w 1809"/>
                <a:gd name="T7" fmla="*/ 155 h 1253"/>
                <a:gd name="T8" fmla="*/ 931 w 1809"/>
                <a:gd name="T9" fmla="*/ 995 h 1253"/>
                <a:gd name="T10" fmla="*/ 858 w 1809"/>
                <a:gd name="T11" fmla="*/ 1115 h 1253"/>
                <a:gd name="T12" fmla="*/ 749 w 1809"/>
                <a:gd name="T13" fmla="*/ 1117 h 1253"/>
                <a:gd name="T14" fmla="*/ 681 w 1809"/>
                <a:gd name="T15" fmla="*/ 1055 h 1253"/>
                <a:gd name="T16" fmla="*/ 800 w 1809"/>
                <a:gd name="T17" fmla="*/ 1054 h 1253"/>
                <a:gd name="T18" fmla="*/ 884 w 1809"/>
                <a:gd name="T19" fmla="*/ 1181 h 1253"/>
                <a:gd name="T20" fmla="*/ 118 w 1809"/>
                <a:gd name="T21" fmla="*/ 1086 h 1253"/>
                <a:gd name="T22" fmla="*/ 147 w 1809"/>
                <a:gd name="T23" fmla="*/ 1026 h 1253"/>
                <a:gd name="T24" fmla="*/ 102 w 1809"/>
                <a:gd name="T25" fmla="*/ 1026 h 1253"/>
                <a:gd name="T26" fmla="*/ 639 w 1809"/>
                <a:gd name="T27" fmla="*/ 84 h 1253"/>
                <a:gd name="T28" fmla="*/ 763 w 1809"/>
                <a:gd name="T29" fmla="*/ 145 h 1253"/>
                <a:gd name="T30" fmla="*/ 863 w 1809"/>
                <a:gd name="T31" fmla="*/ 221 h 1253"/>
                <a:gd name="T32" fmla="*/ 834 w 1809"/>
                <a:gd name="T33" fmla="*/ 208 h 1253"/>
                <a:gd name="T34" fmla="*/ 719 w 1809"/>
                <a:gd name="T35" fmla="*/ 182 h 1253"/>
                <a:gd name="T36" fmla="*/ 507 w 1809"/>
                <a:gd name="T37" fmla="*/ 711 h 1253"/>
                <a:gd name="T38" fmla="*/ 614 w 1809"/>
                <a:gd name="T39" fmla="*/ 706 h 1253"/>
                <a:gd name="T40" fmla="*/ 736 w 1809"/>
                <a:gd name="T41" fmla="*/ 730 h 1253"/>
                <a:gd name="T42" fmla="*/ 607 w 1809"/>
                <a:gd name="T43" fmla="*/ 539 h 1253"/>
                <a:gd name="T44" fmla="*/ 1505 w 1809"/>
                <a:gd name="T45" fmla="*/ 1136 h 1253"/>
                <a:gd name="T46" fmla="*/ 1613 w 1809"/>
                <a:gd name="T47" fmla="*/ 1002 h 1253"/>
                <a:gd name="T48" fmla="*/ 1472 w 1809"/>
                <a:gd name="T49" fmla="*/ 1164 h 1253"/>
                <a:gd name="T50" fmla="*/ 1525 w 1809"/>
                <a:gd name="T51" fmla="*/ 1142 h 1253"/>
                <a:gd name="T52" fmla="*/ 1556 w 1809"/>
                <a:gd name="T53" fmla="*/ 1172 h 1253"/>
                <a:gd name="T54" fmla="*/ 1387 w 1809"/>
                <a:gd name="T55" fmla="*/ 910 h 1253"/>
                <a:gd name="T56" fmla="*/ 1261 w 1809"/>
                <a:gd name="T57" fmla="*/ 1157 h 1253"/>
                <a:gd name="T58" fmla="*/ 1413 w 1809"/>
                <a:gd name="T59" fmla="*/ 934 h 1253"/>
                <a:gd name="T60" fmla="*/ 1378 w 1809"/>
                <a:gd name="T61" fmla="*/ 1052 h 1253"/>
                <a:gd name="T62" fmla="*/ 488 w 1809"/>
                <a:gd name="T63" fmla="*/ 85 h 1253"/>
                <a:gd name="T64" fmla="*/ 509 w 1809"/>
                <a:gd name="T65" fmla="*/ 112 h 1253"/>
                <a:gd name="T66" fmla="*/ 548 w 1809"/>
                <a:gd name="T67" fmla="*/ 1187 h 1253"/>
                <a:gd name="T68" fmla="*/ 472 w 1809"/>
                <a:gd name="T69" fmla="*/ 1122 h 1253"/>
                <a:gd name="T70" fmla="*/ 558 w 1809"/>
                <a:gd name="T71" fmla="*/ 1157 h 1253"/>
                <a:gd name="T72" fmla="*/ 287 w 1809"/>
                <a:gd name="T73" fmla="*/ 654 h 1253"/>
                <a:gd name="T74" fmla="*/ 416 w 1809"/>
                <a:gd name="T75" fmla="*/ 684 h 1253"/>
                <a:gd name="T76" fmla="*/ 1106 w 1809"/>
                <a:gd name="T77" fmla="*/ 147 h 1253"/>
                <a:gd name="T78" fmla="*/ 1229 w 1809"/>
                <a:gd name="T79" fmla="*/ 258 h 1253"/>
                <a:gd name="T80" fmla="*/ 1106 w 1809"/>
                <a:gd name="T81" fmla="*/ 96 h 1253"/>
                <a:gd name="T82" fmla="*/ 1219 w 1809"/>
                <a:gd name="T83" fmla="*/ 1077 h 1253"/>
                <a:gd name="T84" fmla="*/ 1214 w 1809"/>
                <a:gd name="T85" fmla="*/ 1157 h 1253"/>
                <a:gd name="T86" fmla="*/ 1150 w 1809"/>
                <a:gd name="T87" fmla="*/ 1092 h 1253"/>
                <a:gd name="T88" fmla="*/ 1139 w 1809"/>
                <a:gd name="T89" fmla="*/ 1070 h 1253"/>
                <a:gd name="T90" fmla="*/ 1659 w 1809"/>
                <a:gd name="T91" fmla="*/ 1031 h 1253"/>
                <a:gd name="T92" fmla="*/ 1714 w 1809"/>
                <a:gd name="T93" fmla="*/ 1155 h 1253"/>
                <a:gd name="T94" fmla="*/ 1760 w 1809"/>
                <a:gd name="T95" fmla="*/ 1030 h 1253"/>
                <a:gd name="T96" fmla="*/ 111 w 1809"/>
                <a:gd name="T97" fmla="*/ 569 h 1253"/>
                <a:gd name="T98" fmla="*/ 109 w 1809"/>
                <a:gd name="T99" fmla="*/ 460 h 1253"/>
                <a:gd name="T100" fmla="*/ 32 w 1809"/>
                <a:gd name="T101" fmla="*/ 704 h 1253"/>
                <a:gd name="T102" fmla="*/ 310 w 1809"/>
                <a:gd name="T103" fmla="*/ 1058 h 1253"/>
                <a:gd name="T104" fmla="*/ 431 w 1809"/>
                <a:gd name="T105" fmla="*/ 1044 h 1253"/>
                <a:gd name="T106" fmla="*/ 278 w 1809"/>
                <a:gd name="T107" fmla="*/ 1165 h 1253"/>
                <a:gd name="T108" fmla="*/ 261 w 1809"/>
                <a:gd name="T109" fmla="*/ 540 h 1253"/>
                <a:gd name="T110" fmla="*/ 150 w 1809"/>
                <a:gd name="T111" fmla="*/ 635 h 1253"/>
                <a:gd name="T112" fmla="*/ 994 w 1809"/>
                <a:gd name="T113" fmla="*/ 1185 h 1253"/>
                <a:gd name="T114" fmla="*/ 331 w 1809"/>
                <a:gd name="T115" fmla="*/ 176 h 1253"/>
                <a:gd name="T116" fmla="*/ 333 w 1809"/>
                <a:gd name="T117" fmla="*/ 109 h 1253"/>
                <a:gd name="T118" fmla="*/ 946 w 1809"/>
                <a:gd name="T119" fmla="*/ 234 h 1253"/>
                <a:gd name="T120" fmla="*/ 1022 w 1809"/>
                <a:gd name="T121" fmla="*/ 113 h 1253"/>
                <a:gd name="T122" fmla="*/ 949 w 1809"/>
                <a:gd name="T123" fmla="*/ 65 h 1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09" h="1253">
                  <a:moveTo>
                    <a:pt x="248" y="198"/>
                  </a:moveTo>
                  <a:cubicBezTo>
                    <a:pt x="248" y="211"/>
                    <a:pt x="248" y="224"/>
                    <a:pt x="249" y="237"/>
                  </a:cubicBezTo>
                  <a:cubicBezTo>
                    <a:pt x="249" y="245"/>
                    <a:pt x="246" y="249"/>
                    <a:pt x="240" y="253"/>
                  </a:cubicBezTo>
                  <a:cubicBezTo>
                    <a:pt x="231" y="260"/>
                    <a:pt x="220" y="264"/>
                    <a:pt x="209" y="268"/>
                  </a:cubicBezTo>
                  <a:cubicBezTo>
                    <a:pt x="179" y="279"/>
                    <a:pt x="148" y="280"/>
                    <a:pt x="118" y="275"/>
                  </a:cubicBezTo>
                  <a:cubicBezTo>
                    <a:pt x="86" y="269"/>
                    <a:pt x="58" y="252"/>
                    <a:pt x="39" y="224"/>
                  </a:cubicBezTo>
                  <a:cubicBezTo>
                    <a:pt x="24" y="203"/>
                    <a:pt x="18" y="180"/>
                    <a:pt x="15" y="155"/>
                  </a:cubicBezTo>
                  <a:cubicBezTo>
                    <a:pt x="11" y="135"/>
                    <a:pt x="15" y="115"/>
                    <a:pt x="19" y="97"/>
                  </a:cubicBezTo>
                  <a:cubicBezTo>
                    <a:pt x="26" y="68"/>
                    <a:pt x="42" y="44"/>
                    <a:pt x="68" y="27"/>
                  </a:cubicBezTo>
                  <a:cubicBezTo>
                    <a:pt x="87" y="14"/>
                    <a:pt x="109" y="6"/>
                    <a:pt x="133" y="5"/>
                  </a:cubicBezTo>
                  <a:cubicBezTo>
                    <a:pt x="149" y="4"/>
                    <a:pt x="165" y="5"/>
                    <a:pt x="181" y="6"/>
                  </a:cubicBezTo>
                  <a:cubicBezTo>
                    <a:pt x="204" y="8"/>
                    <a:pt x="225" y="20"/>
                    <a:pt x="243" y="35"/>
                  </a:cubicBezTo>
                  <a:cubicBezTo>
                    <a:pt x="246" y="37"/>
                    <a:pt x="246" y="40"/>
                    <a:pt x="244" y="43"/>
                  </a:cubicBezTo>
                  <a:cubicBezTo>
                    <a:pt x="242" y="47"/>
                    <a:pt x="239" y="52"/>
                    <a:pt x="236" y="55"/>
                  </a:cubicBezTo>
                  <a:cubicBezTo>
                    <a:pt x="226" y="65"/>
                    <a:pt x="224" y="65"/>
                    <a:pt x="206" y="54"/>
                  </a:cubicBezTo>
                  <a:cubicBezTo>
                    <a:pt x="193" y="46"/>
                    <a:pt x="180" y="40"/>
                    <a:pt x="165" y="41"/>
                  </a:cubicBezTo>
                  <a:cubicBezTo>
                    <a:pt x="151" y="41"/>
                    <a:pt x="137" y="39"/>
                    <a:pt x="124" y="42"/>
                  </a:cubicBezTo>
                  <a:cubicBezTo>
                    <a:pt x="104" y="46"/>
                    <a:pt x="87" y="57"/>
                    <a:pt x="75" y="74"/>
                  </a:cubicBezTo>
                  <a:cubicBezTo>
                    <a:pt x="56" y="99"/>
                    <a:pt x="51" y="129"/>
                    <a:pt x="55" y="159"/>
                  </a:cubicBezTo>
                  <a:cubicBezTo>
                    <a:pt x="60" y="189"/>
                    <a:pt x="73" y="214"/>
                    <a:pt x="98" y="230"/>
                  </a:cubicBezTo>
                  <a:cubicBezTo>
                    <a:pt x="109" y="237"/>
                    <a:pt x="121" y="242"/>
                    <a:pt x="135" y="241"/>
                  </a:cubicBezTo>
                  <a:cubicBezTo>
                    <a:pt x="146" y="241"/>
                    <a:pt x="158" y="241"/>
                    <a:pt x="169" y="241"/>
                  </a:cubicBezTo>
                  <a:cubicBezTo>
                    <a:pt x="182" y="242"/>
                    <a:pt x="193" y="235"/>
                    <a:pt x="205" y="232"/>
                  </a:cubicBezTo>
                  <a:cubicBezTo>
                    <a:pt x="210" y="231"/>
                    <a:pt x="211" y="227"/>
                    <a:pt x="211" y="224"/>
                  </a:cubicBezTo>
                  <a:cubicBezTo>
                    <a:pt x="211" y="210"/>
                    <a:pt x="211" y="196"/>
                    <a:pt x="211" y="183"/>
                  </a:cubicBezTo>
                  <a:cubicBezTo>
                    <a:pt x="211" y="177"/>
                    <a:pt x="207" y="175"/>
                    <a:pt x="202" y="175"/>
                  </a:cubicBezTo>
                  <a:cubicBezTo>
                    <a:pt x="193" y="175"/>
                    <a:pt x="184" y="175"/>
                    <a:pt x="175" y="175"/>
                  </a:cubicBezTo>
                  <a:cubicBezTo>
                    <a:pt x="171" y="175"/>
                    <a:pt x="168" y="174"/>
                    <a:pt x="166" y="171"/>
                  </a:cubicBezTo>
                  <a:cubicBezTo>
                    <a:pt x="163" y="163"/>
                    <a:pt x="164" y="154"/>
                    <a:pt x="166" y="146"/>
                  </a:cubicBezTo>
                  <a:cubicBezTo>
                    <a:pt x="167" y="142"/>
                    <a:pt x="171" y="142"/>
                    <a:pt x="175" y="142"/>
                  </a:cubicBezTo>
                  <a:cubicBezTo>
                    <a:pt x="196" y="142"/>
                    <a:pt x="217" y="142"/>
                    <a:pt x="238" y="142"/>
                  </a:cubicBezTo>
                  <a:cubicBezTo>
                    <a:pt x="247" y="142"/>
                    <a:pt x="248" y="148"/>
                    <a:pt x="248" y="155"/>
                  </a:cubicBezTo>
                  <a:cubicBezTo>
                    <a:pt x="249" y="169"/>
                    <a:pt x="248" y="183"/>
                    <a:pt x="248" y="198"/>
                  </a:cubicBezTo>
                  <a:close/>
                  <a:moveTo>
                    <a:pt x="884" y="1181"/>
                  </a:moveTo>
                  <a:cubicBezTo>
                    <a:pt x="889" y="1167"/>
                    <a:pt x="894" y="1152"/>
                    <a:pt x="898" y="1137"/>
                  </a:cubicBezTo>
                  <a:cubicBezTo>
                    <a:pt x="901" y="1127"/>
                    <a:pt x="905" y="1116"/>
                    <a:pt x="908" y="1106"/>
                  </a:cubicBezTo>
                  <a:cubicBezTo>
                    <a:pt x="911" y="1098"/>
                    <a:pt x="912" y="1089"/>
                    <a:pt x="916" y="1081"/>
                  </a:cubicBezTo>
                  <a:cubicBezTo>
                    <a:pt x="921" y="1072"/>
                    <a:pt x="923" y="1060"/>
                    <a:pt x="927" y="1050"/>
                  </a:cubicBezTo>
                  <a:cubicBezTo>
                    <a:pt x="932" y="1037"/>
                    <a:pt x="934" y="1023"/>
                    <a:pt x="940" y="1010"/>
                  </a:cubicBezTo>
                  <a:cubicBezTo>
                    <a:pt x="945" y="1001"/>
                    <a:pt x="941" y="995"/>
                    <a:pt x="931" y="995"/>
                  </a:cubicBezTo>
                  <a:cubicBezTo>
                    <a:pt x="927" y="995"/>
                    <a:pt x="922" y="995"/>
                    <a:pt x="918" y="995"/>
                  </a:cubicBezTo>
                  <a:cubicBezTo>
                    <a:pt x="913" y="995"/>
                    <a:pt x="908" y="997"/>
                    <a:pt x="907" y="1001"/>
                  </a:cubicBezTo>
                  <a:cubicBezTo>
                    <a:pt x="904" y="1008"/>
                    <a:pt x="900" y="1015"/>
                    <a:pt x="899" y="1023"/>
                  </a:cubicBezTo>
                  <a:cubicBezTo>
                    <a:pt x="897" y="1034"/>
                    <a:pt x="893" y="1045"/>
                    <a:pt x="889" y="1055"/>
                  </a:cubicBezTo>
                  <a:cubicBezTo>
                    <a:pt x="887" y="1064"/>
                    <a:pt x="885" y="1072"/>
                    <a:pt x="882" y="1080"/>
                  </a:cubicBezTo>
                  <a:cubicBezTo>
                    <a:pt x="878" y="1091"/>
                    <a:pt x="874" y="1103"/>
                    <a:pt x="871" y="1115"/>
                  </a:cubicBezTo>
                  <a:cubicBezTo>
                    <a:pt x="870" y="1118"/>
                    <a:pt x="871" y="1124"/>
                    <a:pt x="866" y="1124"/>
                  </a:cubicBezTo>
                  <a:cubicBezTo>
                    <a:pt x="861" y="1125"/>
                    <a:pt x="859" y="1120"/>
                    <a:pt x="858" y="1115"/>
                  </a:cubicBezTo>
                  <a:cubicBezTo>
                    <a:pt x="856" y="1110"/>
                    <a:pt x="856" y="1104"/>
                    <a:pt x="854" y="1099"/>
                  </a:cubicBezTo>
                  <a:cubicBezTo>
                    <a:pt x="848" y="1080"/>
                    <a:pt x="841" y="1062"/>
                    <a:pt x="835" y="1044"/>
                  </a:cubicBezTo>
                  <a:cubicBezTo>
                    <a:pt x="831" y="1030"/>
                    <a:pt x="828" y="1016"/>
                    <a:pt x="822" y="1003"/>
                  </a:cubicBezTo>
                  <a:cubicBezTo>
                    <a:pt x="819" y="997"/>
                    <a:pt x="814" y="994"/>
                    <a:pt x="808" y="994"/>
                  </a:cubicBezTo>
                  <a:cubicBezTo>
                    <a:pt x="799" y="993"/>
                    <a:pt x="791" y="993"/>
                    <a:pt x="787" y="1001"/>
                  </a:cubicBezTo>
                  <a:cubicBezTo>
                    <a:pt x="783" y="1008"/>
                    <a:pt x="780" y="1015"/>
                    <a:pt x="779" y="1022"/>
                  </a:cubicBezTo>
                  <a:cubicBezTo>
                    <a:pt x="778" y="1034"/>
                    <a:pt x="772" y="1044"/>
                    <a:pt x="769" y="1055"/>
                  </a:cubicBezTo>
                  <a:cubicBezTo>
                    <a:pt x="762" y="1076"/>
                    <a:pt x="754" y="1096"/>
                    <a:pt x="749" y="1117"/>
                  </a:cubicBezTo>
                  <a:cubicBezTo>
                    <a:pt x="748" y="1120"/>
                    <a:pt x="747" y="1124"/>
                    <a:pt x="742" y="1124"/>
                  </a:cubicBezTo>
                  <a:cubicBezTo>
                    <a:pt x="737" y="1124"/>
                    <a:pt x="737" y="1120"/>
                    <a:pt x="736" y="1116"/>
                  </a:cubicBezTo>
                  <a:cubicBezTo>
                    <a:pt x="734" y="1104"/>
                    <a:pt x="730" y="1092"/>
                    <a:pt x="726" y="1080"/>
                  </a:cubicBezTo>
                  <a:cubicBezTo>
                    <a:pt x="720" y="1061"/>
                    <a:pt x="714" y="1040"/>
                    <a:pt x="708" y="1020"/>
                  </a:cubicBezTo>
                  <a:cubicBezTo>
                    <a:pt x="703" y="1000"/>
                    <a:pt x="698" y="994"/>
                    <a:pt x="676" y="995"/>
                  </a:cubicBezTo>
                  <a:cubicBezTo>
                    <a:pt x="665" y="996"/>
                    <a:pt x="661" y="1001"/>
                    <a:pt x="667" y="1011"/>
                  </a:cubicBezTo>
                  <a:cubicBezTo>
                    <a:pt x="669" y="1016"/>
                    <a:pt x="670" y="1021"/>
                    <a:pt x="672" y="1025"/>
                  </a:cubicBezTo>
                  <a:cubicBezTo>
                    <a:pt x="675" y="1035"/>
                    <a:pt x="678" y="1046"/>
                    <a:pt x="681" y="1055"/>
                  </a:cubicBezTo>
                  <a:cubicBezTo>
                    <a:pt x="685" y="1068"/>
                    <a:pt x="689" y="1080"/>
                    <a:pt x="693" y="1092"/>
                  </a:cubicBezTo>
                  <a:cubicBezTo>
                    <a:pt x="697" y="1103"/>
                    <a:pt x="699" y="1113"/>
                    <a:pt x="703" y="1124"/>
                  </a:cubicBezTo>
                  <a:cubicBezTo>
                    <a:pt x="707" y="1136"/>
                    <a:pt x="711" y="1147"/>
                    <a:pt x="715" y="1160"/>
                  </a:cubicBezTo>
                  <a:cubicBezTo>
                    <a:pt x="717" y="1168"/>
                    <a:pt x="720" y="1176"/>
                    <a:pt x="724" y="1183"/>
                  </a:cubicBezTo>
                  <a:cubicBezTo>
                    <a:pt x="728" y="1189"/>
                    <a:pt x="752" y="1185"/>
                    <a:pt x="757" y="1180"/>
                  </a:cubicBezTo>
                  <a:cubicBezTo>
                    <a:pt x="764" y="1173"/>
                    <a:pt x="762" y="1163"/>
                    <a:pt x="766" y="1156"/>
                  </a:cubicBezTo>
                  <a:cubicBezTo>
                    <a:pt x="774" y="1140"/>
                    <a:pt x="778" y="1122"/>
                    <a:pt x="784" y="1105"/>
                  </a:cubicBezTo>
                  <a:cubicBezTo>
                    <a:pt x="789" y="1088"/>
                    <a:pt x="796" y="1072"/>
                    <a:pt x="800" y="1054"/>
                  </a:cubicBezTo>
                  <a:cubicBezTo>
                    <a:pt x="800" y="1053"/>
                    <a:pt x="801" y="1050"/>
                    <a:pt x="803" y="1050"/>
                  </a:cubicBezTo>
                  <a:cubicBezTo>
                    <a:pt x="806" y="1050"/>
                    <a:pt x="806" y="1052"/>
                    <a:pt x="807" y="1055"/>
                  </a:cubicBezTo>
                  <a:cubicBezTo>
                    <a:pt x="807" y="1060"/>
                    <a:pt x="810" y="1066"/>
                    <a:pt x="811" y="1071"/>
                  </a:cubicBezTo>
                  <a:cubicBezTo>
                    <a:pt x="814" y="1081"/>
                    <a:pt x="818" y="1090"/>
                    <a:pt x="821" y="1099"/>
                  </a:cubicBezTo>
                  <a:cubicBezTo>
                    <a:pt x="824" y="1110"/>
                    <a:pt x="827" y="1120"/>
                    <a:pt x="831" y="1131"/>
                  </a:cubicBezTo>
                  <a:cubicBezTo>
                    <a:pt x="834" y="1142"/>
                    <a:pt x="839" y="1153"/>
                    <a:pt x="842" y="1164"/>
                  </a:cubicBezTo>
                  <a:cubicBezTo>
                    <a:pt x="846" y="1179"/>
                    <a:pt x="850" y="1188"/>
                    <a:pt x="869" y="1185"/>
                  </a:cubicBezTo>
                  <a:cubicBezTo>
                    <a:pt x="873" y="1184"/>
                    <a:pt x="881" y="1189"/>
                    <a:pt x="884" y="1181"/>
                  </a:cubicBezTo>
                  <a:close/>
                  <a:moveTo>
                    <a:pt x="33" y="1051"/>
                  </a:moveTo>
                  <a:cubicBezTo>
                    <a:pt x="33" y="1087"/>
                    <a:pt x="33" y="1124"/>
                    <a:pt x="33" y="1160"/>
                  </a:cubicBezTo>
                  <a:cubicBezTo>
                    <a:pt x="33" y="1188"/>
                    <a:pt x="29" y="1184"/>
                    <a:pt x="58" y="1185"/>
                  </a:cubicBezTo>
                  <a:cubicBezTo>
                    <a:pt x="72" y="1185"/>
                    <a:pt x="73" y="1184"/>
                    <a:pt x="73" y="1170"/>
                  </a:cubicBezTo>
                  <a:cubicBezTo>
                    <a:pt x="73" y="1138"/>
                    <a:pt x="73" y="1107"/>
                    <a:pt x="73" y="1076"/>
                  </a:cubicBezTo>
                  <a:cubicBezTo>
                    <a:pt x="73" y="1071"/>
                    <a:pt x="72" y="1067"/>
                    <a:pt x="78" y="1065"/>
                  </a:cubicBezTo>
                  <a:cubicBezTo>
                    <a:pt x="91" y="1062"/>
                    <a:pt x="102" y="1067"/>
                    <a:pt x="110" y="1076"/>
                  </a:cubicBezTo>
                  <a:cubicBezTo>
                    <a:pt x="112" y="1080"/>
                    <a:pt x="115" y="1083"/>
                    <a:pt x="118" y="1086"/>
                  </a:cubicBezTo>
                  <a:cubicBezTo>
                    <a:pt x="132" y="1103"/>
                    <a:pt x="146" y="1119"/>
                    <a:pt x="161" y="1136"/>
                  </a:cubicBezTo>
                  <a:cubicBezTo>
                    <a:pt x="173" y="1150"/>
                    <a:pt x="186" y="1165"/>
                    <a:pt x="198" y="1179"/>
                  </a:cubicBezTo>
                  <a:cubicBezTo>
                    <a:pt x="207" y="1188"/>
                    <a:pt x="218" y="1184"/>
                    <a:pt x="228" y="1185"/>
                  </a:cubicBezTo>
                  <a:cubicBezTo>
                    <a:pt x="233" y="1185"/>
                    <a:pt x="241" y="1188"/>
                    <a:pt x="244" y="1182"/>
                  </a:cubicBezTo>
                  <a:cubicBezTo>
                    <a:pt x="246" y="1178"/>
                    <a:pt x="239" y="1173"/>
                    <a:pt x="235" y="1169"/>
                  </a:cubicBezTo>
                  <a:cubicBezTo>
                    <a:pt x="206" y="1133"/>
                    <a:pt x="176" y="1098"/>
                    <a:pt x="146" y="1062"/>
                  </a:cubicBezTo>
                  <a:cubicBezTo>
                    <a:pt x="141" y="1056"/>
                    <a:pt x="131" y="1052"/>
                    <a:pt x="132" y="1044"/>
                  </a:cubicBezTo>
                  <a:cubicBezTo>
                    <a:pt x="132" y="1036"/>
                    <a:pt x="142" y="1032"/>
                    <a:pt x="147" y="1026"/>
                  </a:cubicBezTo>
                  <a:cubicBezTo>
                    <a:pt x="164" y="1006"/>
                    <a:pt x="182" y="988"/>
                    <a:pt x="198" y="968"/>
                  </a:cubicBezTo>
                  <a:cubicBezTo>
                    <a:pt x="209" y="954"/>
                    <a:pt x="221" y="942"/>
                    <a:pt x="234" y="929"/>
                  </a:cubicBezTo>
                  <a:cubicBezTo>
                    <a:pt x="236" y="926"/>
                    <a:pt x="238" y="923"/>
                    <a:pt x="237" y="920"/>
                  </a:cubicBezTo>
                  <a:cubicBezTo>
                    <a:pt x="235" y="915"/>
                    <a:pt x="231" y="917"/>
                    <a:pt x="228" y="917"/>
                  </a:cubicBezTo>
                  <a:cubicBezTo>
                    <a:pt x="224" y="918"/>
                    <a:pt x="221" y="918"/>
                    <a:pt x="217" y="918"/>
                  </a:cubicBezTo>
                  <a:cubicBezTo>
                    <a:pt x="204" y="917"/>
                    <a:pt x="193" y="922"/>
                    <a:pt x="185" y="931"/>
                  </a:cubicBezTo>
                  <a:cubicBezTo>
                    <a:pt x="172" y="946"/>
                    <a:pt x="158" y="961"/>
                    <a:pt x="145" y="977"/>
                  </a:cubicBezTo>
                  <a:cubicBezTo>
                    <a:pt x="131" y="993"/>
                    <a:pt x="117" y="1010"/>
                    <a:pt x="102" y="1026"/>
                  </a:cubicBezTo>
                  <a:cubicBezTo>
                    <a:pt x="96" y="1032"/>
                    <a:pt x="87" y="1037"/>
                    <a:pt x="78" y="1034"/>
                  </a:cubicBezTo>
                  <a:cubicBezTo>
                    <a:pt x="70" y="1030"/>
                    <a:pt x="73" y="1021"/>
                    <a:pt x="73" y="1015"/>
                  </a:cubicBezTo>
                  <a:cubicBezTo>
                    <a:pt x="73" y="991"/>
                    <a:pt x="73" y="967"/>
                    <a:pt x="73" y="944"/>
                  </a:cubicBezTo>
                  <a:cubicBezTo>
                    <a:pt x="73" y="916"/>
                    <a:pt x="75" y="917"/>
                    <a:pt x="46" y="918"/>
                  </a:cubicBezTo>
                  <a:cubicBezTo>
                    <a:pt x="33" y="918"/>
                    <a:pt x="33" y="918"/>
                    <a:pt x="33" y="931"/>
                  </a:cubicBezTo>
                  <a:cubicBezTo>
                    <a:pt x="33" y="971"/>
                    <a:pt x="33" y="1011"/>
                    <a:pt x="33" y="1051"/>
                  </a:cubicBezTo>
                  <a:cubicBezTo>
                    <a:pt x="33" y="1051"/>
                    <a:pt x="33" y="1051"/>
                    <a:pt x="33" y="1051"/>
                  </a:cubicBezTo>
                  <a:close/>
                  <a:moveTo>
                    <a:pt x="639" y="84"/>
                  </a:moveTo>
                  <a:cubicBezTo>
                    <a:pt x="627" y="84"/>
                    <a:pt x="626" y="84"/>
                    <a:pt x="629" y="95"/>
                  </a:cubicBezTo>
                  <a:cubicBezTo>
                    <a:pt x="634" y="113"/>
                    <a:pt x="640" y="131"/>
                    <a:pt x="646" y="148"/>
                  </a:cubicBezTo>
                  <a:cubicBezTo>
                    <a:pt x="652" y="166"/>
                    <a:pt x="658" y="185"/>
                    <a:pt x="664" y="203"/>
                  </a:cubicBezTo>
                  <a:cubicBezTo>
                    <a:pt x="671" y="223"/>
                    <a:pt x="676" y="244"/>
                    <a:pt x="684" y="264"/>
                  </a:cubicBezTo>
                  <a:cubicBezTo>
                    <a:pt x="688" y="274"/>
                    <a:pt x="694" y="274"/>
                    <a:pt x="702" y="274"/>
                  </a:cubicBezTo>
                  <a:cubicBezTo>
                    <a:pt x="711" y="274"/>
                    <a:pt x="719" y="272"/>
                    <a:pt x="723" y="263"/>
                  </a:cubicBezTo>
                  <a:cubicBezTo>
                    <a:pt x="733" y="236"/>
                    <a:pt x="741" y="208"/>
                    <a:pt x="750" y="181"/>
                  </a:cubicBezTo>
                  <a:cubicBezTo>
                    <a:pt x="754" y="169"/>
                    <a:pt x="757" y="156"/>
                    <a:pt x="763" y="145"/>
                  </a:cubicBezTo>
                  <a:cubicBezTo>
                    <a:pt x="764" y="143"/>
                    <a:pt x="764" y="140"/>
                    <a:pt x="767" y="140"/>
                  </a:cubicBezTo>
                  <a:cubicBezTo>
                    <a:pt x="770" y="140"/>
                    <a:pt x="770" y="143"/>
                    <a:pt x="771" y="145"/>
                  </a:cubicBezTo>
                  <a:cubicBezTo>
                    <a:pt x="771" y="156"/>
                    <a:pt x="777" y="165"/>
                    <a:pt x="780" y="175"/>
                  </a:cubicBezTo>
                  <a:cubicBezTo>
                    <a:pt x="782" y="184"/>
                    <a:pt x="785" y="193"/>
                    <a:pt x="788" y="201"/>
                  </a:cubicBezTo>
                  <a:cubicBezTo>
                    <a:pt x="794" y="219"/>
                    <a:pt x="801" y="237"/>
                    <a:pt x="806" y="255"/>
                  </a:cubicBezTo>
                  <a:cubicBezTo>
                    <a:pt x="811" y="272"/>
                    <a:pt x="825" y="280"/>
                    <a:pt x="842" y="273"/>
                  </a:cubicBezTo>
                  <a:cubicBezTo>
                    <a:pt x="845" y="271"/>
                    <a:pt x="847" y="269"/>
                    <a:pt x="848" y="266"/>
                  </a:cubicBezTo>
                  <a:cubicBezTo>
                    <a:pt x="853" y="251"/>
                    <a:pt x="859" y="236"/>
                    <a:pt x="863" y="221"/>
                  </a:cubicBezTo>
                  <a:cubicBezTo>
                    <a:pt x="867" y="202"/>
                    <a:pt x="875" y="185"/>
                    <a:pt x="880" y="166"/>
                  </a:cubicBezTo>
                  <a:cubicBezTo>
                    <a:pt x="886" y="144"/>
                    <a:pt x="895" y="123"/>
                    <a:pt x="900" y="101"/>
                  </a:cubicBezTo>
                  <a:cubicBezTo>
                    <a:pt x="901" y="96"/>
                    <a:pt x="909" y="91"/>
                    <a:pt x="904" y="86"/>
                  </a:cubicBezTo>
                  <a:cubicBezTo>
                    <a:pt x="900" y="81"/>
                    <a:pt x="892" y="84"/>
                    <a:pt x="886" y="84"/>
                  </a:cubicBezTo>
                  <a:cubicBezTo>
                    <a:pt x="885" y="84"/>
                    <a:pt x="883" y="84"/>
                    <a:pt x="881" y="84"/>
                  </a:cubicBezTo>
                  <a:cubicBezTo>
                    <a:pt x="875" y="84"/>
                    <a:pt x="872" y="86"/>
                    <a:pt x="869" y="91"/>
                  </a:cubicBezTo>
                  <a:cubicBezTo>
                    <a:pt x="860" y="110"/>
                    <a:pt x="856" y="131"/>
                    <a:pt x="850" y="151"/>
                  </a:cubicBezTo>
                  <a:cubicBezTo>
                    <a:pt x="844" y="170"/>
                    <a:pt x="836" y="188"/>
                    <a:pt x="834" y="208"/>
                  </a:cubicBezTo>
                  <a:cubicBezTo>
                    <a:pt x="833" y="211"/>
                    <a:pt x="831" y="214"/>
                    <a:pt x="827" y="214"/>
                  </a:cubicBezTo>
                  <a:cubicBezTo>
                    <a:pt x="823" y="214"/>
                    <a:pt x="822" y="210"/>
                    <a:pt x="822" y="207"/>
                  </a:cubicBezTo>
                  <a:cubicBezTo>
                    <a:pt x="817" y="188"/>
                    <a:pt x="811" y="170"/>
                    <a:pt x="805" y="152"/>
                  </a:cubicBezTo>
                  <a:cubicBezTo>
                    <a:pt x="799" y="133"/>
                    <a:pt x="794" y="114"/>
                    <a:pt x="786" y="96"/>
                  </a:cubicBezTo>
                  <a:cubicBezTo>
                    <a:pt x="783" y="87"/>
                    <a:pt x="779" y="84"/>
                    <a:pt x="770" y="84"/>
                  </a:cubicBezTo>
                  <a:cubicBezTo>
                    <a:pt x="761" y="84"/>
                    <a:pt x="752" y="82"/>
                    <a:pt x="748" y="94"/>
                  </a:cubicBezTo>
                  <a:cubicBezTo>
                    <a:pt x="744" y="109"/>
                    <a:pt x="738" y="123"/>
                    <a:pt x="734" y="138"/>
                  </a:cubicBezTo>
                  <a:cubicBezTo>
                    <a:pt x="729" y="153"/>
                    <a:pt x="724" y="167"/>
                    <a:pt x="719" y="182"/>
                  </a:cubicBezTo>
                  <a:cubicBezTo>
                    <a:pt x="716" y="192"/>
                    <a:pt x="715" y="203"/>
                    <a:pt x="708" y="212"/>
                  </a:cubicBezTo>
                  <a:cubicBezTo>
                    <a:pt x="707" y="214"/>
                    <a:pt x="707" y="217"/>
                    <a:pt x="704" y="217"/>
                  </a:cubicBezTo>
                  <a:cubicBezTo>
                    <a:pt x="701" y="217"/>
                    <a:pt x="701" y="213"/>
                    <a:pt x="700" y="211"/>
                  </a:cubicBezTo>
                  <a:cubicBezTo>
                    <a:pt x="699" y="198"/>
                    <a:pt x="694" y="186"/>
                    <a:pt x="690" y="174"/>
                  </a:cubicBezTo>
                  <a:cubicBezTo>
                    <a:pt x="684" y="153"/>
                    <a:pt x="677" y="131"/>
                    <a:pt x="672" y="110"/>
                  </a:cubicBezTo>
                  <a:cubicBezTo>
                    <a:pt x="667" y="88"/>
                    <a:pt x="663" y="84"/>
                    <a:pt x="645" y="84"/>
                  </a:cubicBezTo>
                  <a:cubicBezTo>
                    <a:pt x="643" y="84"/>
                    <a:pt x="641" y="84"/>
                    <a:pt x="639" y="84"/>
                  </a:cubicBezTo>
                  <a:close/>
                  <a:moveTo>
                    <a:pt x="507" y="711"/>
                  </a:moveTo>
                  <a:cubicBezTo>
                    <a:pt x="507" y="730"/>
                    <a:pt x="507" y="730"/>
                    <a:pt x="526" y="730"/>
                  </a:cubicBezTo>
                  <a:cubicBezTo>
                    <a:pt x="539" y="730"/>
                    <a:pt x="541" y="729"/>
                    <a:pt x="541" y="715"/>
                  </a:cubicBezTo>
                  <a:cubicBezTo>
                    <a:pt x="541" y="677"/>
                    <a:pt x="541" y="638"/>
                    <a:pt x="540" y="600"/>
                  </a:cubicBezTo>
                  <a:cubicBezTo>
                    <a:pt x="540" y="593"/>
                    <a:pt x="543" y="587"/>
                    <a:pt x="548" y="582"/>
                  </a:cubicBezTo>
                  <a:cubicBezTo>
                    <a:pt x="553" y="576"/>
                    <a:pt x="559" y="573"/>
                    <a:pt x="564" y="569"/>
                  </a:cubicBezTo>
                  <a:cubicBezTo>
                    <a:pt x="574" y="564"/>
                    <a:pt x="594" y="566"/>
                    <a:pt x="602" y="574"/>
                  </a:cubicBezTo>
                  <a:cubicBezTo>
                    <a:pt x="611" y="582"/>
                    <a:pt x="614" y="592"/>
                    <a:pt x="614" y="604"/>
                  </a:cubicBezTo>
                  <a:cubicBezTo>
                    <a:pt x="614" y="638"/>
                    <a:pt x="614" y="672"/>
                    <a:pt x="614" y="706"/>
                  </a:cubicBezTo>
                  <a:cubicBezTo>
                    <a:pt x="614" y="730"/>
                    <a:pt x="614" y="730"/>
                    <a:pt x="638" y="730"/>
                  </a:cubicBezTo>
                  <a:cubicBezTo>
                    <a:pt x="650" y="730"/>
                    <a:pt x="650" y="730"/>
                    <a:pt x="650" y="717"/>
                  </a:cubicBezTo>
                  <a:cubicBezTo>
                    <a:pt x="650" y="684"/>
                    <a:pt x="650" y="650"/>
                    <a:pt x="650" y="617"/>
                  </a:cubicBezTo>
                  <a:cubicBezTo>
                    <a:pt x="650" y="606"/>
                    <a:pt x="651" y="597"/>
                    <a:pt x="657" y="586"/>
                  </a:cubicBezTo>
                  <a:cubicBezTo>
                    <a:pt x="667" y="565"/>
                    <a:pt x="703" y="560"/>
                    <a:pt x="716" y="579"/>
                  </a:cubicBezTo>
                  <a:cubicBezTo>
                    <a:pt x="723" y="588"/>
                    <a:pt x="724" y="598"/>
                    <a:pt x="724" y="609"/>
                  </a:cubicBezTo>
                  <a:cubicBezTo>
                    <a:pt x="724" y="645"/>
                    <a:pt x="724" y="682"/>
                    <a:pt x="724" y="718"/>
                  </a:cubicBezTo>
                  <a:cubicBezTo>
                    <a:pt x="724" y="727"/>
                    <a:pt x="727" y="731"/>
                    <a:pt x="736" y="730"/>
                  </a:cubicBezTo>
                  <a:cubicBezTo>
                    <a:pt x="738" y="730"/>
                    <a:pt x="741" y="730"/>
                    <a:pt x="743" y="730"/>
                  </a:cubicBezTo>
                  <a:cubicBezTo>
                    <a:pt x="758" y="730"/>
                    <a:pt x="759" y="729"/>
                    <a:pt x="759" y="715"/>
                  </a:cubicBezTo>
                  <a:cubicBezTo>
                    <a:pt x="759" y="677"/>
                    <a:pt x="758" y="639"/>
                    <a:pt x="759" y="601"/>
                  </a:cubicBezTo>
                  <a:cubicBezTo>
                    <a:pt x="759" y="571"/>
                    <a:pt x="742" y="540"/>
                    <a:pt x="704" y="538"/>
                  </a:cubicBezTo>
                  <a:cubicBezTo>
                    <a:pt x="681" y="536"/>
                    <a:pt x="661" y="542"/>
                    <a:pt x="646" y="560"/>
                  </a:cubicBezTo>
                  <a:cubicBezTo>
                    <a:pt x="638" y="569"/>
                    <a:pt x="638" y="569"/>
                    <a:pt x="631" y="559"/>
                  </a:cubicBezTo>
                  <a:cubicBezTo>
                    <a:pt x="630" y="558"/>
                    <a:pt x="630" y="557"/>
                    <a:pt x="629" y="556"/>
                  </a:cubicBezTo>
                  <a:cubicBezTo>
                    <a:pt x="623" y="548"/>
                    <a:pt x="616" y="541"/>
                    <a:pt x="607" y="539"/>
                  </a:cubicBezTo>
                  <a:cubicBezTo>
                    <a:pt x="584" y="534"/>
                    <a:pt x="563" y="539"/>
                    <a:pt x="545" y="555"/>
                  </a:cubicBezTo>
                  <a:cubicBezTo>
                    <a:pt x="540" y="559"/>
                    <a:pt x="537" y="561"/>
                    <a:pt x="537" y="552"/>
                  </a:cubicBezTo>
                  <a:cubicBezTo>
                    <a:pt x="536" y="543"/>
                    <a:pt x="526" y="538"/>
                    <a:pt x="515" y="539"/>
                  </a:cubicBezTo>
                  <a:cubicBezTo>
                    <a:pt x="506" y="540"/>
                    <a:pt x="507" y="546"/>
                    <a:pt x="507" y="552"/>
                  </a:cubicBezTo>
                  <a:cubicBezTo>
                    <a:pt x="507" y="580"/>
                    <a:pt x="507" y="607"/>
                    <a:pt x="507" y="634"/>
                  </a:cubicBezTo>
                  <a:cubicBezTo>
                    <a:pt x="507" y="660"/>
                    <a:pt x="507" y="685"/>
                    <a:pt x="507" y="711"/>
                  </a:cubicBezTo>
                  <a:close/>
                  <a:moveTo>
                    <a:pt x="1525" y="1142"/>
                  </a:moveTo>
                  <a:cubicBezTo>
                    <a:pt x="1517" y="1143"/>
                    <a:pt x="1511" y="1141"/>
                    <a:pt x="1505" y="1136"/>
                  </a:cubicBezTo>
                  <a:cubicBezTo>
                    <a:pt x="1501" y="1133"/>
                    <a:pt x="1495" y="1130"/>
                    <a:pt x="1498" y="1124"/>
                  </a:cubicBezTo>
                  <a:cubicBezTo>
                    <a:pt x="1500" y="1118"/>
                    <a:pt x="1504" y="1114"/>
                    <a:pt x="1512" y="1114"/>
                  </a:cubicBezTo>
                  <a:cubicBezTo>
                    <a:pt x="1521" y="1115"/>
                    <a:pt x="1530" y="1114"/>
                    <a:pt x="1538" y="1115"/>
                  </a:cubicBezTo>
                  <a:cubicBezTo>
                    <a:pt x="1573" y="1117"/>
                    <a:pt x="1610" y="1084"/>
                    <a:pt x="1602" y="1044"/>
                  </a:cubicBezTo>
                  <a:cubicBezTo>
                    <a:pt x="1600" y="1035"/>
                    <a:pt x="1599" y="1028"/>
                    <a:pt x="1611" y="1027"/>
                  </a:cubicBezTo>
                  <a:cubicBezTo>
                    <a:pt x="1614" y="1027"/>
                    <a:pt x="1617" y="1024"/>
                    <a:pt x="1619" y="1023"/>
                  </a:cubicBezTo>
                  <a:cubicBezTo>
                    <a:pt x="1626" y="1019"/>
                    <a:pt x="1624" y="1013"/>
                    <a:pt x="1623" y="1008"/>
                  </a:cubicBezTo>
                  <a:cubicBezTo>
                    <a:pt x="1623" y="1002"/>
                    <a:pt x="1618" y="1003"/>
                    <a:pt x="1613" y="1002"/>
                  </a:cubicBezTo>
                  <a:cubicBezTo>
                    <a:pt x="1598" y="1002"/>
                    <a:pt x="1582" y="1004"/>
                    <a:pt x="1567" y="1000"/>
                  </a:cubicBezTo>
                  <a:cubicBezTo>
                    <a:pt x="1560" y="999"/>
                    <a:pt x="1554" y="993"/>
                    <a:pt x="1546" y="993"/>
                  </a:cubicBezTo>
                  <a:cubicBezTo>
                    <a:pt x="1536" y="994"/>
                    <a:pt x="1525" y="992"/>
                    <a:pt x="1515" y="993"/>
                  </a:cubicBezTo>
                  <a:cubicBezTo>
                    <a:pt x="1490" y="997"/>
                    <a:pt x="1469" y="1010"/>
                    <a:pt x="1462" y="1034"/>
                  </a:cubicBezTo>
                  <a:cubicBezTo>
                    <a:pt x="1455" y="1056"/>
                    <a:pt x="1457" y="1079"/>
                    <a:pt x="1476" y="1096"/>
                  </a:cubicBezTo>
                  <a:cubicBezTo>
                    <a:pt x="1483" y="1103"/>
                    <a:pt x="1483" y="1107"/>
                    <a:pt x="1476" y="1113"/>
                  </a:cubicBezTo>
                  <a:cubicBezTo>
                    <a:pt x="1462" y="1126"/>
                    <a:pt x="1462" y="1142"/>
                    <a:pt x="1473" y="1157"/>
                  </a:cubicBezTo>
                  <a:cubicBezTo>
                    <a:pt x="1476" y="1160"/>
                    <a:pt x="1476" y="1162"/>
                    <a:pt x="1472" y="1164"/>
                  </a:cubicBezTo>
                  <a:cubicBezTo>
                    <a:pt x="1470" y="1166"/>
                    <a:pt x="1468" y="1168"/>
                    <a:pt x="1466" y="1170"/>
                  </a:cubicBezTo>
                  <a:cubicBezTo>
                    <a:pt x="1449" y="1183"/>
                    <a:pt x="1444" y="1201"/>
                    <a:pt x="1454" y="1218"/>
                  </a:cubicBezTo>
                  <a:cubicBezTo>
                    <a:pt x="1464" y="1235"/>
                    <a:pt x="1479" y="1246"/>
                    <a:pt x="1499" y="1249"/>
                  </a:cubicBezTo>
                  <a:cubicBezTo>
                    <a:pt x="1517" y="1252"/>
                    <a:pt x="1535" y="1253"/>
                    <a:pt x="1553" y="1250"/>
                  </a:cubicBezTo>
                  <a:cubicBezTo>
                    <a:pt x="1584" y="1245"/>
                    <a:pt x="1607" y="1232"/>
                    <a:pt x="1619" y="1200"/>
                  </a:cubicBezTo>
                  <a:cubicBezTo>
                    <a:pt x="1627" y="1180"/>
                    <a:pt x="1611" y="1155"/>
                    <a:pt x="1593" y="1148"/>
                  </a:cubicBezTo>
                  <a:cubicBezTo>
                    <a:pt x="1578" y="1142"/>
                    <a:pt x="1563" y="1143"/>
                    <a:pt x="1549" y="1142"/>
                  </a:cubicBezTo>
                  <a:cubicBezTo>
                    <a:pt x="1540" y="1142"/>
                    <a:pt x="1532" y="1142"/>
                    <a:pt x="1525" y="1142"/>
                  </a:cubicBezTo>
                  <a:close/>
                  <a:moveTo>
                    <a:pt x="1556" y="1172"/>
                  </a:moveTo>
                  <a:cubicBezTo>
                    <a:pt x="1566" y="1172"/>
                    <a:pt x="1576" y="1176"/>
                    <a:pt x="1583" y="1183"/>
                  </a:cubicBezTo>
                  <a:cubicBezTo>
                    <a:pt x="1589" y="1190"/>
                    <a:pt x="1589" y="1198"/>
                    <a:pt x="1583" y="1205"/>
                  </a:cubicBezTo>
                  <a:cubicBezTo>
                    <a:pt x="1575" y="1215"/>
                    <a:pt x="1565" y="1220"/>
                    <a:pt x="1553" y="1223"/>
                  </a:cubicBezTo>
                  <a:cubicBezTo>
                    <a:pt x="1534" y="1228"/>
                    <a:pt x="1516" y="1225"/>
                    <a:pt x="1499" y="1219"/>
                  </a:cubicBezTo>
                  <a:cubicBezTo>
                    <a:pt x="1486" y="1214"/>
                    <a:pt x="1479" y="1203"/>
                    <a:pt x="1482" y="1193"/>
                  </a:cubicBezTo>
                  <a:cubicBezTo>
                    <a:pt x="1485" y="1182"/>
                    <a:pt x="1496" y="1168"/>
                    <a:pt x="1514" y="1171"/>
                  </a:cubicBezTo>
                  <a:cubicBezTo>
                    <a:pt x="1526" y="1173"/>
                    <a:pt x="1541" y="1171"/>
                    <a:pt x="1556" y="1172"/>
                  </a:cubicBezTo>
                  <a:close/>
                  <a:moveTo>
                    <a:pt x="1531" y="1019"/>
                  </a:moveTo>
                  <a:cubicBezTo>
                    <a:pt x="1553" y="1017"/>
                    <a:pt x="1570" y="1033"/>
                    <a:pt x="1570" y="1052"/>
                  </a:cubicBezTo>
                  <a:cubicBezTo>
                    <a:pt x="1570" y="1075"/>
                    <a:pt x="1554" y="1093"/>
                    <a:pt x="1532" y="1091"/>
                  </a:cubicBezTo>
                  <a:cubicBezTo>
                    <a:pt x="1508" y="1089"/>
                    <a:pt x="1494" y="1082"/>
                    <a:pt x="1493" y="1053"/>
                  </a:cubicBezTo>
                  <a:cubicBezTo>
                    <a:pt x="1494" y="1029"/>
                    <a:pt x="1508" y="1020"/>
                    <a:pt x="1531" y="1019"/>
                  </a:cubicBezTo>
                  <a:close/>
                  <a:moveTo>
                    <a:pt x="1413" y="934"/>
                  </a:moveTo>
                  <a:cubicBezTo>
                    <a:pt x="1413" y="909"/>
                    <a:pt x="1413" y="909"/>
                    <a:pt x="1389" y="910"/>
                  </a:cubicBezTo>
                  <a:cubicBezTo>
                    <a:pt x="1388" y="910"/>
                    <a:pt x="1387" y="910"/>
                    <a:pt x="1387" y="910"/>
                  </a:cubicBezTo>
                  <a:cubicBezTo>
                    <a:pt x="1379" y="910"/>
                    <a:pt x="1376" y="915"/>
                    <a:pt x="1376" y="921"/>
                  </a:cubicBezTo>
                  <a:cubicBezTo>
                    <a:pt x="1376" y="939"/>
                    <a:pt x="1377" y="956"/>
                    <a:pt x="1377" y="974"/>
                  </a:cubicBezTo>
                  <a:cubicBezTo>
                    <a:pt x="1377" y="983"/>
                    <a:pt x="1377" y="991"/>
                    <a:pt x="1377" y="1000"/>
                  </a:cubicBezTo>
                  <a:cubicBezTo>
                    <a:pt x="1377" y="1005"/>
                    <a:pt x="1374" y="1009"/>
                    <a:pt x="1369" y="1005"/>
                  </a:cubicBezTo>
                  <a:cubicBezTo>
                    <a:pt x="1352" y="990"/>
                    <a:pt x="1332" y="993"/>
                    <a:pt x="1312" y="993"/>
                  </a:cubicBezTo>
                  <a:cubicBezTo>
                    <a:pt x="1303" y="994"/>
                    <a:pt x="1294" y="998"/>
                    <a:pt x="1287" y="1003"/>
                  </a:cubicBezTo>
                  <a:cubicBezTo>
                    <a:pt x="1265" y="1017"/>
                    <a:pt x="1252" y="1039"/>
                    <a:pt x="1248" y="1065"/>
                  </a:cubicBezTo>
                  <a:cubicBezTo>
                    <a:pt x="1244" y="1096"/>
                    <a:pt x="1244" y="1128"/>
                    <a:pt x="1261" y="1157"/>
                  </a:cubicBezTo>
                  <a:cubicBezTo>
                    <a:pt x="1270" y="1170"/>
                    <a:pt x="1281" y="1181"/>
                    <a:pt x="1296" y="1185"/>
                  </a:cubicBezTo>
                  <a:cubicBezTo>
                    <a:pt x="1323" y="1191"/>
                    <a:pt x="1349" y="1188"/>
                    <a:pt x="1370" y="1167"/>
                  </a:cubicBezTo>
                  <a:cubicBezTo>
                    <a:pt x="1372" y="1165"/>
                    <a:pt x="1375" y="1162"/>
                    <a:pt x="1379" y="1163"/>
                  </a:cubicBezTo>
                  <a:cubicBezTo>
                    <a:pt x="1382" y="1165"/>
                    <a:pt x="1381" y="1169"/>
                    <a:pt x="1381" y="1172"/>
                  </a:cubicBezTo>
                  <a:cubicBezTo>
                    <a:pt x="1383" y="1181"/>
                    <a:pt x="1390" y="1186"/>
                    <a:pt x="1403" y="1186"/>
                  </a:cubicBezTo>
                  <a:cubicBezTo>
                    <a:pt x="1413" y="1185"/>
                    <a:pt x="1413" y="1178"/>
                    <a:pt x="1413" y="1172"/>
                  </a:cubicBezTo>
                  <a:cubicBezTo>
                    <a:pt x="1413" y="1131"/>
                    <a:pt x="1413" y="1090"/>
                    <a:pt x="1413" y="1049"/>
                  </a:cubicBezTo>
                  <a:cubicBezTo>
                    <a:pt x="1413" y="1010"/>
                    <a:pt x="1413" y="972"/>
                    <a:pt x="1413" y="934"/>
                  </a:cubicBezTo>
                  <a:close/>
                  <a:moveTo>
                    <a:pt x="1378" y="1113"/>
                  </a:moveTo>
                  <a:cubicBezTo>
                    <a:pt x="1378" y="1136"/>
                    <a:pt x="1360" y="1155"/>
                    <a:pt x="1337" y="1157"/>
                  </a:cubicBezTo>
                  <a:cubicBezTo>
                    <a:pt x="1319" y="1159"/>
                    <a:pt x="1304" y="1154"/>
                    <a:pt x="1294" y="1139"/>
                  </a:cubicBezTo>
                  <a:cubicBezTo>
                    <a:pt x="1286" y="1128"/>
                    <a:pt x="1283" y="1116"/>
                    <a:pt x="1283" y="1102"/>
                  </a:cubicBezTo>
                  <a:cubicBezTo>
                    <a:pt x="1282" y="1085"/>
                    <a:pt x="1282" y="1067"/>
                    <a:pt x="1290" y="1051"/>
                  </a:cubicBezTo>
                  <a:cubicBezTo>
                    <a:pt x="1297" y="1036"/>
                    <a:pt x="1308" y="1024"/>
                    <a:pt x="1325" y="1022"/>
                  </a:cubicBezTo>
                  <a:cubicBezTo>
                    <a:pt x="1342" y="1020"/>
                    <a:pt x="1358" y="1021"/>
                    <a:pt x="1371" y="1035"/>
                  </a:cubicBezTo>
                  <a:cubicBezTo>
                    <a:pt x="1376" y="1041"/>
                    <a:pt x="1378" y="1046"/>
                    <a:pt x="1378" y="1052"/>
                  </a:cubicBezTo>
                  <a:cubicBezTo>
                    <a:pt x="1378" y="1064"/>
                    <a:pt x="1378" y="1075"/>
                    <a:pt x="1378" y="1086"/>
                  </a:cubicBezTo>
                  <a:cubicBezTo>
                    <a:pt x="1378" y="1086"/>
                    <a:pt x="1378" y="1086"/>
                    <a:pt x="1378" y="1086"/>
                  </a:cubicBezTo>
                  <a:cubicBezTo>
                    <a:pt x="1378" y="1095"/>
                    <a:pt x="1378" y="1104"/>
                    <a:pt x="1378" y="1113"/>
                  </a:cubicBezTo>
                  <a:close/>
                  <a:moveTo>
                    <a:pt x="578" y="259"/>
                  </a:moveTo>
                  <a:cubicBezTo>
                    <a:pt x="603" y="241"/>
                    <a:pt x="611" y="213"/>
                    <a:pt x="614" y="183"/>
                  </a:cubicBezTo>
                  <a:cubicBezTo>
                    <a:pt x="615" y="171"/>
                    <a:pt x="610" y="159"/>
                    <a:pt x="609" y="147"/>
                  </a:cubicBezTo>
                  <a:cubicBezTo>
                    <a:pt x="608" y="137"/>
                    <a:pt x="603" y="129"/>
                    <a:pt x="599" y="121"/>
                  </a:cubicBezTo>
                  <a:cubicBezTo>
                    <a:pt x="579" y="87"/>
                    <a:pt x="527" y="70"/>
                    <a:pt x="488" y="85"/>
                  </a:cubicBezTo>
                  <a:cubicBezTo>
                    <a:pt x="453" y="99"/>
                    <a:pt x="436" y="127"/>
                    <a:pt x="431" y="163"/>
                  </a:cubicBezTo>
                  <a:cubicBezTo>
                    <a:pt x="429" y="180"/>
                    <a:pt x="430" y="196"/>
                    <a:pt x="436" y="213"/>
                  </a:cubicBezTo>
                  <a:cubicBezTo>
                    <a:pt x="439" y="222"/>
                    <a:pt x="442" y="232"/>
                    <a:pt x="447" y="239"/>
                  </a:cubicBezTo>
                  <a:cubicBezTo>
                    <a:pt x="465" y="265"/>
                    <a:pt x="491" y="277"/>
                    <a:pt x="525" y="276"/>
                  </a:cubicBezTo>
                  <a:cubicBezTo>
                    <a:pt x="543" y="278"/>
                    <a:pt x="562" y="271"/>
                    <a:pt x="578" y="259"/>
                  </a:cubicBezTo>
                  <a:close/>
                  <a:moveTo>
                    <a:pt x="471" y="205"/>
                  </a:moveTo>
                  <a:cubicBezTo>
                    <a:pt x="466" y="185"/>
                    <a:pt x="468" y="167"/>
                    <a:pt x="472" y="147"/>
                  </a:cubicBezTo>
                  <a:cubicBezTo>
                    <a:pt x="477" y="130"/>
                    <a:pt x="493" y="116"/>
                    <a:pt x="509" y="112"/>
                  </a:cubicBezTo>
                  <a:cubicBezTo>
                    <a:pt x="525" y="108"/>
                    <a:pt x="539" y="110"/>
                    <a:pt x="553" y="119"/>
                  </a:cubicBezTo>
                  <a:cubicBezTo>
                    <a:pt x="563" y="125"/>
                    <a:pt x="568" y="135"/>
                    <a:pt x="571" y="146"/>
                  </a:cubicBezTo>
                  <a:cubicBezTo>
                    <a:pt x="577" y="167"/>
                    <a:pt x="578" y="189"/>
                    <a:pt x="571" y="211"/>
                  </a:cubicBezTo>
                  <a:cubicBezTo>
                    <a:pt x="565" y="231"/>
                    <a:pt x="549" y="249"/>
                    <a:pt x="521" y="247"/>
                  </a:cubicBezTo>
                  <a:cubicBezTo>
                    <a:pt x="496" y="247"/>
                    <a:pt x="478" y="230"/>
                    <a:pt x="471" y="205"/>
                  </a:cubicBezTo>
                  <a:close/>
                  <a:moveTo>
                    <a:pt x="472" y="1122"/>
                  </a:moveTo>
                  <a:cubicBezTo>
                    <a:pt x="475" y="1136"/>
                    <a:pt x="481" y="1148"/>
                    <a:pt x="491" y="1158"/>
                  </a:cubicBezTo>
                  <a:cubicBezTo>
                    <a:pt x="506" y="1176"/>
                    <a:pt x="524" y="1185"/>
                    <a:pt x="548" y="1187"/>
                  </a:cubicBezTo>
                  <a:cubicBezTo>
                    <a:pt x="568" y="1188"/>
                    <a:pt x="587" y="1187"/>
                    <a:pt x="605" y="1177"/>
                  </a:cubicBezTo>
                  <a:cubicBezTo>
                    <a:pt x="632" y="1162"/>
                    <a:pt x="644" y="1136"/>
                    <a:pt x="649" y="1107"/>
                  </a:cubicBezTo>
                  <a:cubicBezTo>
                    <a:pt x="652" y="1089"/>
                    <a:pt x="649" y="1072"/>
                    <a:pt x="644" y="1054"/>
                  </a:cubicBezTo>
                  <a:cubicBezTo>
                    <a:pt x="638" y="1034"/>
                    <a:pt x="627" y="1019"/>
                    <a:pt x="610" y="1007"/>
                  </a:cubicBezTo>
                  <a:cubicBezTo>
                    <a:pt x="589" y="992"/>
                    <a:pt x="566" y="991"/>
                    <a:pt x="541" y="994"/>
                  </a:cubicBezTo>
                  <a:cubicBezTo>
                    <a:pt x="526" y="995"/>
                    <a:pt x="512" y="1002"/>
                    <a:pt x="500" y="1012"/>
                  </a:cubicBezTo>
                  <a:cubicBezTo>
                    <a:pt x="476" y="1032"/>
                    <a:pt x="469" y="1060"/>
                    <a:pt x="466" y="1095"/>
                  </a:cubicBezTo>
                  <a:cubicBezTo>
                    <a:pt x="465" y="1101"/>
                    <a:pt x="470" y="1111"/>
                    <a:pt x="472" y="1122"/>
                  </a:cubicBezTo>
                  <a:close/>
                  <a:moveTo>
                    <a:pt x="508" y="1113"/>
                  </a:moveTo>
                  <a:cubicBezTo>
                    <a:pt x="505" y="1095"/>
                    <a:pt x="506" y="1078"/>
                    <a:pt x="508" y="1061"/>
                  </a:cubicBezTo>
                  <a:cubicBezTo>
                    <a:pt x="511" y="1042"/>
                    <a:pt x="538" y="1021"/>
                    <a:pt x="554" y="1022"/>
                  </a:cubicBezTo>
                  <a:cubicBezTo>
                    <a:pt x="570" y="1022"/>
                    <a:pt x="586" y="1024"/>
                    <a:pt x="596" y="1037"/>
                  </a:cubicBezTo>
                  <a:cubicBezTo>
                    <a:pt x="602" y="1044"/>
                    <a:pt x="607" y="1052"/>
                    <a:pt x="608" y="1061"/>
                  </a:cubicBezTo>
                  <a:cubicBezTo>
                    <a:pt x="608" y="1064"/>
                    <a:pt x="609" y="1067"/>
                    <a:pt x="610" y="1070"/>
                  </a:cubicBezTo>
                  <a:cubicBezTo>
                    <a:pt x="618" y="1089"/>
                    <a:pt x="612" y="1107"/>
                    <a:pt x="607" y="1125"/>
                  </a:cubicBezTo>
                  <a:cubicBezTo>
                    <a:pt x="601" y="1143"/>
                    <a:pt x="588" y="1160"/>
                    <a:pt x="558" y="1157"/>
                  </a:cubicBezTo>
                  <a:cubicBezTo>
                    <a:pt x="530" y="1157"/>
                    <a:pt x="512" y="1141"/>
                    <a:pt x="508" y="1113"/>
                  </a:cubicBezTo>
                  <a:close/>
                  <a:moveTo>
                    <a:pt x="430" y="716"/>
                  </a:moveTo>
                  <a:cubicBezTo>
                    <a:pt x="450" y="703"/>
                    <a:pt x="459" y="683"/>
                    <a:pt x="464" y="661"/>
                  </a:cubicBezTo>
                  <a:cubicBezTo>
                    <a:pt x="468" y="648"/>
                    <a:pt x="467" y="635"/>
                    <a:pt x="466" y="621"/>
                  </a:cubicBezTo>
                  <a:cubicBezTo>
                    <a:pt x="463" y="592"/>
                    <a:pt x="453" y="567"/>
                    <a:pt x="427" y="550"/>
                  </a:cubicBezTo>
                  <a:cubicBezTo>
                    <a:pt x="401" y="534"/>
                    <a:pt x="372" y="532"/>
                    <a:pt x="345" y="541"/>
                  </a:cubicBezTo>
                  <a:cubicBezTo>
                    <a:pt x="310" y="552"/>
                    <a:pt x="291" y="580"/>
                    <a:pt x="287" y="617"/>
                  </a:cubicBezTo>
                  <a:cubicBezTo>
                    <a:pt x="286" y="629"/>
                    <a:pt x="286" y="641"/>
                    <a:pt x="287" y="654"/>
                  </a:cubicBezTo>
                  <a:cubicBezTo>
                    <a:pt x="289" y="671"/>
                    <a:pt x="295" y="686"/>
                    <a:pt x="306" y="700"/>
                  </a:cubicBezTo>
                  <a:cubicBezTo>
                    <a:pt x="324" y="722"/>
                    <a:pt x="348" y="733"/>
                    <a:pt x="378" y="731"/>
                  </a:cubicBezTo>
                  <a:cubicBezTo>
                    <a:pt x="396" y="733"/>
                    <a:pt x="414" y="727"/>
                    <a:pt x="430" y="716"/>
                  </a:cubicBezTo>
                  <a:close/>
                  <a:moveTo>
                    <a:pt x="331" y="592"/>
                  </a:moveTo>
                  <a:cubicBezTo>
                    <a:pt x="339" y="580"/>
                    <a:pt x="349" y="569"/>
                    <a:pt x="365" y="567"/>
                  </a:cubicBezTo>
                  <a:cubicBezTo>
                    <a:pt x="387" y="564"/>
                    <a:pt x="406" y="568"/>
                    <a:pt x="419" y="588"/>
                  </a:cubicBezTo>
                  <a:cubicBezTo>
                    <a:pt x="423" y="595"/>
                    <a:pt x="426" y="603"/>
                    <a:pt x="427" y="610"/>
                  </a:cubicBezTo>
                  <a:cubicBezTo>
                    <a:pt x="433" y="635"/>
                    <a:pt x="431" y="661"/>
                    <a:pt x="416" y="684"/>
                  </a:cubicBezTo>
                  <a:cubicBezTo>
                    <a:pt x="403" y="706"/>
                    <a:pt x="362" y="708"/>
                    <a:pt x="345" y="692"/>
                  </a:cubicBezTo>
                  <a:cubicBezTo>
                    <a:pt x="329" y="678"/>
                    <a:pt x="323" y="661"/>
                    <a:pt x="323" y="631"/>
                  </a:cubicBezTo>
                  <a:cubicBezTo>
                    <a:pt x="323" y="619"/>
                    <a:pt x="323" y="605"/>
                    <a:pt x="331" y="592"/>
                  </a:cubicBezTo>
                  <a:close/>
                  <a:moveTo>
                    <a:pt x="1073" y="259"/>
                  </a:moveTo>
                  <a:cubicBezTo>
                    <a:pt x="1073" y="269"/>
                    <a:pt x="1075" y="272"/>
                    <a:pt x="1086" y="272"/>
                  </a:cubicBezTo>
                  <a:cubicBezTo>
                    <a:pt x="1088" y="272"/>
                    <a:pt x="1090" y="272"/>
                    <a:pt x="1092" y="272"/>
                  </a:cubicBezTo>
                  <a:cubicBezTo>
                    <a:pt x="1105" y="272"/>
                    <a:pt x="1106" y="271"/>
                    <a:pt x="1106" y="258"/>
                  </a:cubicBezTo>
                  <a:cubicBezTo>
                    <a:pt x="1106" y="221"/>
                    <a:pt x="1106" y="184"/>
                    <a:pt x="1106" y="147"/>
                  </a:cubicBezTo>
                  <a:cubicBezTo>
                    <a:pt x="1106" y="143"/>
                    <a:pt x="1106" y="140"/>
                    <a:pt x="1107" y="137"/>
                  </a:cubicBezTo>
                  <a:cubicBezTo>
                    <a:pt x="1117" y="117"/>
                    <a:pt x="1157" y="104"/>
                    <a:pt x="1177" y="114"/>
                  </a:cubicBezTo>
                  <a:cubicBezTo>
                    <a:pt x="1179" y="115"/>
                    <a:pt x="1180" y="117"/>
                    <a:pt x="1182" y="118"/>
                  </a:cubicBezTo>
                  <a:cubicBezTo>
                    <a:pt x="1194" y="131"/>
                    <a:pt x="1196" y="147"/>
                    <a:pt x="1196" y="163"/>
                  </a:cubicBezTo>
                  <a:cubicBezTo>
                    <a:pt x="1197" y="195"/>
                    <a:pt x="1196" y="226"/>
                    <a:pt x="1196" y="258"/>
                  </a:cubicBezTo>
                  <a:cubicBezTo>
                    <a:pt x="1196" y="271"/>
                    <a:pt x="1197" y="272"/>
                    <a:pt x="1210" y="272"/>
                  </a:cubicBezTo>
                  <a:cubicBezTo>
                    <a:pt x="1212" y="272"/>
                    <a:pt x="1213" y="272"/>
                    <a:pt x="1215" y="272"/>
                  </a:cubicBezTo>
                  <a:cubicBezTo>
                    <a:pt x="1227" y="272"/>
                    <a:pt x="1229" y="270"/>
                    <a:pt x="1229" y="258"/>
                  </a:cubicBezTo>
                  <a:cubicBezTo>
                    <a:pt x="1229" y="222"/>
                    <a:pt x="1229" y="187"/>
                    <a:pt x="1229" y="151"/>
                  </a:cubicBezTo>
                  <a:cubicBezTo>
                    <a:pt x="1229" y="142"/>
                    <a:pt x="1228" y="132"/>
                    <a:pt x="1225" y="123"/>
                  </a:cubicBezTo>
                  <a:cubicBezTo>
                    <a:pt x="1219" y="105"/>
                    <a:pt x="1208" y="91"/>
                    <a:pt x="1189" y="85"/>
                  </a:cubicBezTo>
                  <a:cubicBezTo>
                    <a:pt x="1173" y="80"/>
                    <a:pt x="1156" y="84"/>
                    <a:pt x="1139" y="84"/>
                  </a:cubicBezTo>
                  <a:cubicBezTo>
                    <a:pt x="1137" y="84"/>
                    <a:pt x="1136" y="86"/>
                    <a:pt x="1134" y="87"/>
                  </a:cubicBezTo>
                  <a:cubicBezTo>
                    <a:pt x="1128" y="91"/>
                    <a:pt x="1121" y="96"/>
                    <a:pt x="1115" y="100"/>
                  </a:cubicBezTo>
                  <a:cubicBezTo>
                    <a:pt x="1113" y="102"/>
                    <a:pt x="1111" y="105"/>
                    <a:pt x="1108" y="103"/>
                  </a:cubicBezTo>
                  <a:cubicBezTo>
                    <a:pt x="1105" y="102"/>
                    <a:pt x="1106" y="98"/>
                    <a:pt x="1106" y="96"/>
                  </a:cubicBezTo>
                  <a:cubicBezTo>
                    <a:pt x="1106" y="69"/>
                    <a:pt x="1106" y="43"/>
                    <a:pt x="1106" y="17"/>
                  </a:cubicBezTo>
                  <a:cubicBezTo>
                    <a:pt x="1106" y="0"/>
                    <a:pt x="1106" y="0"/>
                    <a:pt x="1089" y="0"/>
                  </a:cubicBezTo>
                  <a:cubicBezTo>
                    <a:pt x="1074" y="0"/>
                    <a:pt x="1073" y="1"/>
                    <a:pt x="1073" y="16"/>
                  </a:cubicBezTo>
                  <a:cubicBezTo>
                    <a:pt x="1073" y="56"/>
                    <a:pt x="1073" y="96"/>
                    <a:pt x="1073" y="136"/>
                  </a:cubicBezTo>
                  <a:cubicBezTo>
                    <a:pt x="1073" y="177"/>
                    <a:pt x="1073" y="218"/>
                    <a:pt x="1073" y="259"/>
                  </a:cubicBezTo>
                  <a:close/>
                  <a:moveTo>
                    <a:pt x="1150" y="1092"/>
                  </a:moveTo>
                  <a:cubicBezTo>
                    <a:pt x="1168" y="1092"/>
                    <a:pt x="1186" y="1092"/>
                    <a:pt x="1204" y="1092"/>
                  </a:cubicBezTo>
                  <a:cubicBezTo>
                    <a:pt x="1215" y="1092"/>
                    <a:pt x="1218" y="1087"/>
                    <a:pt x="1219" y="1077"/>
                  </a:cubicBezTo>
                  <a:cubicBezTo>
                    <a:pt x="1220" y="1062"/>
                    <a:pt x="1216" y="1049"/>
                    <a:pt x="1210" y="1036"/>
                  </a:cubicBezTo>
                  <a:cubicBezTo>
                    <a:pt x="1204" y="1020"/>
                    <a:pt x="1193" y="1008"/>
                    <a:pt x="1177" y="1001"/>
                  </a:cubicBezTo>
                  <a:cubicBezTo>
                    <a:pt x="1155" y="992"/>
                    <a:pt x="1133" y="991"/>
                    <a:pt x="1109" y="999"/>
                  </a:cubicBezTo>
                  <a:cubicBezTo>
                    <a:pt x="1079" y="1010"/>
                    <a:pt x="1062" y="1031"/>
                    <a:pt x="1056" y="1061"/>
                  </a:cubicBezTo>
                  <a:cubicBezTo>
                    <a:pt x="1051" y="1090"/>
                    <a:pt x="1052" y="1120"/>
                    <a:pt x="1069" y="1148"/>
                  </a:cubicBezTo>
                  <a:cubicBezTo>
                    <a:pt x="1081" y="1169"/>
                    <a:pt x="1100" y="1180"/>
                    <a:pt x="1122" y="1185"/>
                  </a:cubicBezTo>
                  <a:cubicBezTo>
                    <a:pt x="1149" y="1190"/>
                    <a:pt x="1176" y="1186"/>
                    <a:pt x="1200" y="1171"/>
                  </a:cubicBezTo>
                  <a:cubicBezTo>
                    <a:pt x="1206" y="1168"/>
                    <a:pt x="1213" y="1165"/>
                    <a:pt x="1214" y="1157"/>
                  </a:cubicBezTo>
                  <a:cubicBezTo>
                    <a:pt x="1215" y="1147"/>
                    <a:pt x="1202" y="1139"/>
                    <a:pt x="1193" y="1144"/>
                  </a:cubicBezTo>
                  <a:cubicBezTo>
                    <a:pt x="1187" y="1147"/>
                    <a:pt x="1180" y="1150"/>
                    <a:pt x="1174" y="1153"/>
                  </a:cubicBezTo>
                  <a:cubicBezTo>
                    <a:pt x="1158" y="1161"/>
                    <a:pt x="1140" y="1161"/>
                    <a:pt x="1124" y="1155"/>
                  </a:cubicBezTo>
                  <a:cubicBezTo>
                    <a:pt x="1112" y="1151"/>
                    <a:pt x="1102" y="1142"/>
                    <a:pt x="1096" y="1129"/>
                  </a:cubicBezTo>
                  <a:cubicBezTo>
                    <a:pt x="1092" y="1121"/>
                    <a:pt x="1091" y="1112"/>
                    <a:pt x="1089" y="1104"/>
                  </a:cubicBezTo>
                  <a:cubicBezTo>
                    <a:pt x="1087" y="1093"/>
                    <a:pt x="1087" y="1092"/>
                    <a:pt x="1099" y="1092"/>
                  </a:cubicBezTo>
                  <a:cubicBezTo>
                    <a:pt x="1116" y="1092"/>
                    <a:pt x="1133" y="1092"/>
                    <a:pt x="1150" y="1092"/>
                  </a:cubicBezTo>
                  <a:cubicBezTo>
                    <a:pt x="1150" y="1092"/>
                    <a:pt x="1150" y="1092"/>
                    <a:pt x="1150" y="1092"/>
                  </a:cubicBezTo>
                  <a:close/>
                  <a:moveTo>
                    <a:pt x="1099" y="1070"/>
                  </a:moveTo>
                  <a:cubicBezTo>
                    <a:pt x="1092" y="1071"/>
                    <a:pt x="1089" y="1067"/>
                    <a:pt x="1091" y="1060"/>
                  </a:cubicBezTo>
                  <a:cubicBezTo>
                    <a:pt x="1094" y="1045"/>
                    <a:pt x="1108" y="1023"/>
                    <a:pt x="1128" y="1022"/>
                  </a:cubicBezTo>
                  <a:cubicBezTo>
                    <a:pt x="1142" y="1021"/>
                    <a:pt x="1156" y="1018"/>
                    <a:pt x="1168" y="1029"/>
                  </a:cubicBezTo>
                  <a:cubicBezTo>
                    <a:pt x="1181" y="1038"/>
                    <a:pt x="1185" y="1051"/>
                    <a:pt x="1187" y="1066"/>
                  </a:cubicBezTo>
                  <a:cubicBezTo>
                    <a:pt x="1188" y="1071"/>
                    <a:pt x="1183" y="1070"/>
                    <a:pt x="1180" y="1070"/>
                  </a:cubicBezTo>
                  <a:cubicBezTo>
                    <a:pt x="1166" y="1070"/>
                    <a:pt x="1153" y="1070"/>
                    <a:pt x="1139" y="1070"/>
                  </a:cubicBezTo>
                  <a:cubicBezTo>
                    <a:pt x="1139" y="1070"/>
                    <a:pt x="1139" y="1070"/>
                    <a:pt x="1139" y="1070"/>
                  </a:cubicBezTo>
                  <a:cubicBezTo>
                    <a:pt x="1126" y="1070"/>
                    <a:pt x="1113" y="1070"/>
                    <a:pt x="1099" y="1070"/>
                  </a:cubicBezTo>
                  <a:close/>
                  <a:moveTo>
                    <a:pt x="1741" y="1092"/>
                  </a:moveTo>
                  <a:cubicBezTo>
                    <a:pt x="1759" y="1092"/>
                    <a:pt x="1776" y="1092"/>
                    <a:pt x="1793" y="1092"/>
                  </a:cubicBezTo>
                  <a:cubicBezTo>
                    <a:pt x="1806" y="1092"/>
                    <a:pt x="1808" y="1089"/>
                    <a:pt x="1808" y="1076"/>
                  </a:cubicBezTo>
                  <a:cubicBezTo>
                    <a:pt x="1809" y="1063"/>
                    <a:pt x="1807" y="1051"/>
                    <a:pt x="1802" y="1038"/>
                  </a:cubicBezTo>
                  <a:cubicBezTo>
                    <a:pt x="1794" y="1021"/>
                    <a:pt x="1782" y="1008"/>
                    <a:pt x="1764" y="1000"/>
                  </a:cubicBezTo>
                  <a:cubicBezTo>
                    <a:pt x="1742" y="991"/>
                    <a:pt x="1720" y="991"/>
                    <a:pt x="1698" y="1000"/>
                  </a:cubicBezTo>
                  <a:cubicBezTo>
                    <a:pt x="1681" y="1006"/>
                    <a:pt x="1668" y="1016"/>
                    <a:pt x="1659" y="1031"/>
                  </a:cubicBezTo>
                  <a:cubicBezTo>
                    <a:pt x="1646" y="1050"/>
                    <a:pt x="1643" y="1071"/>
                    <a:pt x="1644" y="1094"/>
                  </a:cubicBezTo>
                  <a:cubicBezTo>
                    <a:pt x="1644" y="1110"/>
                    <a:pt x="1647" y="1127"/>
                    <a:pt x="1655" y="1141"/>
                  </a:cubicBezTo>
                  <a:cubicBezTo>
                    <a:pt x="1669" y="1168"/>
                    <a:pt x="1691" y="1183"/>
                    <a:pt x="1722" y="1186"/>
                  </a:cubicBezTo>
                  <a:cubicBezTo>
                    <a:pt x="1750" y="1188"/>
                    <a:pt x="1775" y="1183"/>
                    <a:pt x="1798" y="1165"/>
                  </a:cubicBezTo>
                  <a:cubicBezTo>
                    <a:pt x="1803" y="1161"/>
                    <a:pt x="1806" y="1157"/>
                    <a:pt x="1802" y="1151"/>
                  </a:cubicBezTo>
                  <a:cubicBezTo>
                    <a:pt x="1798" y="1144"/>
                    <a:pt x="1791" y="1140"/>
                    <a:pt x="1783" y="1144"/>
                  </a:cubicBezTo>
                  <a:cubicBezTo>
                    <a:pt x="1778" y="1147"/>
                    <a:pt x="1771" y="1149"/>
                    <a:pt x="1766" y="1152"/>
                  </a:cubicBezTo>
                  <a:cubicBezTo>
                    <a:pt x="1749" y="1161"/>
                    <a:pt x="1730" y="1162"/>
                    <a:pt x="1714" y="1155"/>
                  </a:cubicBezTo>
                  <a:cubicBezTo>
                    <a:pt x="1692" y="1145"/>
                    <a:pt x="1680" y="1127"/>
                    <a:pt x="1679" y="1102"/>
                  </a:cubicBezTo>
                  <a:cubicBezTo>
                    <a:pt x="1678" y="1095"/>
                    <a:pt x="1681" y="1092"/>
                    <a:pt x="1689" y="1092"/>
                  </a:cubicBezTo>
                  <a:cubicBezTo>
                    <a:pt x="1706" y="1092"/>
                    <a:pt x="1724" y="1092"/>
                    <a:pt x="1741" y="1092"/>
                  </a:cubicBezTo>
                  <a:cubicBezTo>
                    <a:pt x="1741" y="1092"/>
                    <a:pt x="1741" y="1092"/>
                    <a:pt x="1741" y="1092"/>
                  </a:cubicBezTo>
                  <a:close/>
                  <a:moveTo>
                    <a:pt x="1690" y="1070"/>
                  </a:moveTo>
                  <a:cubicBezTo>
                    <a:pt x="1683" y="1071"/>
                    <a:pt x="1680" y="1068"/>
                    <a:pt x="1681" y="1062"/>
                  </a:cubicBezTo>
                  <a:cubicBezTo>
                    <a:pt x="1683" y="1048"/>
                    <a:pt x="1697" y="1024"/>
                    <a:pt x="1716" y="1022"/>
                  </a:cubicBezTo>
                  <a:cubicBezTo>
                    <a:pt x="1731" y="1020"/>
                    <a:pt x="1747" y="1018"/>
                    <a:pt x="1760" y="1030"/>
                  </a:cubicBezTo>
                  <a:cubicBezTo>
                    <a:pt x="1771" y="1038"/>
                    <a:pt x="1775" y="1050"/>
                    <a:pt x="1778" y="1062"/>
                  </a:cubicBezTo>
                  <a:cubicBezTo>
                    <a:pt x="1780" y="1068"/>
                    <a:pt x="1775" y="1070"/>
                    <a:pt x="1769" y="1070"/>
                  </a:cubicBezTo>
                  <a:cubicBezTo>
                    <a:pt x="1756" y="1070"/>
                    <a:pt x="1742" y="1070"/>
                    <a:pt x="1729" y="1070"/>
                  </a:cubicBezTo>
                  <a:cubicBezTo>
                    <a:pt x="1729" y="1070"/>
                    <a:pt x="1729" y="1070"/>
                    <a:pt x="1729" y="1070"/>
                  </a:cubicBezTo>
                  <a:cubicBezTo>
                    <a:pt x="1716" y="1070"/>
                    <a:pt x="1703" y="1070"/>
                    <a:pt x="1690" y="1070"/>
                  </a:cubicBezTo>
                  <a:close/>
                  <a:moveTo>
                    <a:pt x="68" y="581"/>
                  </a:moveTo>
                  <a:cubicBezTo>
                    <a:pt x="68" y="573"/>
                    <a:pt x="70" y="568"/>
                    <a:pt x="80" y="569"/>
                  </a:cubicBezTo>
                  <a:cubicBezTo>
                    <a:pt x="90" y="570"/>
                    <a:pt x="101" y="570"/>
                    <a:pt x="111" y="569"/>
                  </a:cubicBezTo>
                  <a:cubicBezTo>
                    <a:pt x="120" y="569"/>
                    <a:pt x="120" y="563"/>
                    <a:pt x="120" y="556"/>
                  </a:cubicBezTo>
                  <a:cubicBezTo>
                    <a:pt x="120" y="549"/>
                    <a:pt x="119" y="544"/>
                    <a:pt x="111" y="544"/>
                  </a:cubicBezTo>
                  <a:cubicBezTo>
                    <a:pt x="104" y="544"/>
                    <a:pt x="97" y="544"/>
                    <a:pt x="91" y="544"/>
                  </a:cubicBezTo>
                  <a:cubicBezTo>
                    <a:pt x="66" y="544"/>
                    <a:pt x="65" y="543"/>
                    <a:pt x="68" y="518"/>
                  </a:cubicBezTo>
                  <a:cubicBezTo>
                    <a:pt x="69" y="504"/>
                    <a:pt x="83" y="487"/>
                    <a:pt x="99" y="489"/>
                  </a:cubicBezTo>
                  <a:cubicBezTo>
                    <a:pt x="103" y="489"/>
                    <a:pt x="107" y="489"/>
                    <a:pt x="110" y="488"/>
                  </a:cubicBezTo>
                  <a:cubicBezTo>
                    <a:pt x="118" y="487"/>
                    <a:pt x="123" y="479"/>
                    <a:pt x="123" y="471"/>
                  </a:cubicBezTo>
                  <a:cubicBezTo>
                    <a:pt x="123" y="461"/>
                    <a:pt x="116" y="462"/>
                    <a:pt x="109" y="460"/>
                  </a:cubicBezTo>
                  <a:cubicBezTo>
                    <a:pt x="100" y="458"/>
                    <a:pt x="92" y="460"/>
                    <a:pt x="84" y="460"/>
                  </a:cubicBezTo>
                  <a:cubicBezTo>
                    <a:pt x="68" y="461"/>
                    <a:pt x="56" y="469"/>
                    <a:pt x="47" y="480"/>
                  </a:cubicBezTo>
                  <a:cubicBezTo>
                    <a:pt x="34" y="493"/>
                    <a:pt x="32" y="511"/>
                    <a:pt x="32" y="529"/>
                  </a:cubicBezTo>
                  <a:cubicBezTo>
                    <a:pt x="32" y="544"/>
                    <a:pt x="32" y="544"/>
                    <a:pt x="17" y="544"/>
                  </a:cubicBezTo>
                  <a:cubicBezTo>
                    <a:pt x="4" y="543"/>
                    <a:pt x="0" y="548"/>
                    <a:pt x="4" y="561"/>
                  </a:cubicBezTo>
                  <a:cubicBezTo>
                    <a:pt x="6" y="569"/>
                    <a:pt x="13" y="568"/>
                    <a:pt x="19" y="569"/>
                  </a:cubicBezTo>
                  <a:cubicBezTo>
                    <a:pt x="32" y="571"/>
                    <a:pt x="32" y="571"/>
                    <a:pt x="32" y="584"/>
                  </a:cubicBezTo>
                  <a:cubicBezTo>
                    <a:pt x="32" y="624"/>
                    <a:pt x="32" y="664"/>
                    <a:pt x="32" y="704"/>
                  </a:cubicBezTo>
                  <a:cubicBezTo>
                    <a:pt x="32" y="731"/>
                    <a:pt x="32" y="730"/>
                    <a:pt x="57" y="731"/>
                  </a:cubicBezTo>
                  <a:cubicBezTo>
                    <a:pt x="66" y="731"/>
                    <a:pt x="68" y="727"/>
                    <a:pt x="68" y="720"/>
                  </a:cubicBezTo>
                  <a:cubicBezTo>
                    <a:pt x="68" y="697"/>
                    <a:pt x="68" y="674"/>
                    <a:pt x="68" y="651"/>
                  </a:cubicBezTo>
                  <a:cubicBezTo>
                    <a:pt x="68" y="628"/>
                    <a:pt x="68" y="605"/>
                    <a:pt x="68" y="581"/>
                  </a:cubicBezTo>
                  <a:close/>
                  <a:moveTo>
                    <a:pt x="278" y="1165"/>
                  </a:moveTo>
                  <a:cubicBezTo>
                    <a:pt x="278" y="1183"/>
                    <a:pt x="278" y="1183"/>
                    <a:pt x="296" y="1184"/>
                  </a:cubicBezTo>
                  <a:cubicBezTo>
                    <a:pt x="310" y="1184"/>
                    <a:pt x="310" y="1184"/>
                    <a:pt x="310" y="1169"/>
                  </a:cubicBezTo>
                  <a:cubicBezTo>
                    <a:pt x="310" y="1132"/>
                    <a:pt x="310" y="1095"/>
                    <a:pt x="310" y="1058"/>
                  </a:cubicBezTo>
                  <a:cubicBezTo>
                    <a:pt x="310" y="1052"/>
                    <a:pt x="312" y="1047"/>
                    <a:pt x="316" y="1042"/>
                  </a:cubicBezTo>
                  <a:cubicBezTo>
                    <a:pt x="324" y="1033"/>
                    <a:pt x="334" y="1027"/>
                    <a:pt x="345" y="1024"/>
                  </a:cubicBezTo>
                  <a:cubicBezTo>
                    <a:pt x="357" y="1020"/>
                    <a:pt x="371" y="1018"/>
                    <a:pt x="383" y="1028"/>
                  </a:cubicBezTo>
                  <a:cubicBezTo>
                    <a:pt x="397" y="1039"/>
                    <a:pt x="401" y="1054"/>
                    <a:pt x="401" y="1071"/>
                  </a:cubicBezTo>
                  <a:cubicBezTo>
                    <a:pt x="401" y="1102"/>
                    <a:pt x="401" y="1132"/>
                    <a:pt x="401" y="1163"/>
                  </a:cubicBezTo>
                  <a:cubicBezTo>
                    <a:pt x="401" y="1183"/>
                    <a:pt x="401" y="1182"/>
                    <a:pt x="420" y="1184"/>
                  </a:cubicBezTo>
                  <a:cubicBezTo>
                    <a:pt x="429" y="1185"/>
                    <a:pt x="433" y="1181"/>
                    <a:pt x="433" y="1173"/>
                  </a:cubicBezTo>
                  <a:cubicBezTo>
                    <a:pt x="432" y="1130"/>
                    <a:pt x="435" y="1087"/>
                    <a:pt x="431" y="1044"/>
                  </a:cubicBezTo>
                  <a:cubicBezTo>
                    <a:pt x="427" y="1014"/>
                    <a:pt x="404" y="996"/>
                    <a:pt x="376" y="994"/>
                  </a:cubicBezTo>
                  <a:cubicBezTo>
                    <a:pt x="353" y="992"/>
                    <a:pt x="333" y="1000"/>
                    <a:pt x="317" y="1017"/>
                  </a:cubicBezTo>
                  <a:cubicBezTo>
                    <a:pt x="312" y="1021"/>
                    <a:pt x="311" y="1019"/>
                    <a:pt x="309" y="1015"/>
                  </a:cubicBezTo>
                  <a:cubicBezTo>
                    <a:pt x="309" y="1013"/>
                    <a:pt x="308" y="1011"/>
                    <a:pt x="308" y="1008"/>
                  </a:cubicBezTo>
                  <a:cubicBezTo>
                    <a:pt x="306" y="1001"/>
                    <a:pt x="298" y="997"/>
                    <a:pt x="287" y="998"/>
                  </a:cubicBezTo>
                  <a:cubicBezTo>
                    <a:pt x="279" y="999"/>
                    <a:pt x="278" y="1004"/>
                    <a:pt x="278" y="1011"/>
                  </a:cubicBezTo>
                  <a:cubicBezTo>
                    <a:pt x="278" y="1037"/>
                    <a:pt x="278" y="1064"/>
                    <a:pt x="278" y="1091"/>
                  </a:cubicBezTo>
                  <a:cubicBezTo>
                    <a:pt x="278" y="1115"/>
                    <a:pt x="278" y="1140"/>
                    <a:pt x="278" y="1165"/>
                  </a:cubicBezTo>
                  <a:close/>
                  <a:moveTo>
                    <a:pt x="150" y="705"/>
                  </a:moveTo>
                  <a:cubicBezTo>
                    <a:pt x="150" y="734"/>
                    <a:pt x="145" y="730"/>
                    <a:pt x="176" y="731"/>
                  </a:cubicBezTo>
                  <a:cubicBezTo>
                    <a:pt x="185" y="731"/>
                    <a:pt x="187" y="727"/>
                    <a:pt x="187" y="719"/>
                  </a:cubicBezTo>
                  <a:cubicBezTo>
                    <a:pt x="187" y="685"/>
                    <a:pt x="187" y="651"/>
                    <a:pt x="187" y="618"/>
                  </a:cubicBezTo>
                  <a:cubicBezTo>
                    <a:pt x="187" y="597"/>
                    <a:pt x="204" y="578"/>
                    <a:pt x="225" y="574"/>
                  </a:cubicBezTo>
                  <a:cubicBezTo>
                    <a:pt x="232" y="572"/>
                    <a:pt x="240" y="574"/>
                    <a:pt x="247" y="575"/>
                  </a:cubicBezTo>
                  <a:cubicBezTo>
                    <a:pt x="257" y="576"/>
                    <a:pt x="261" y="572"/>
                    <a:pt x="265" y="564"/>
                  </a:cubicBezTo>
                  <a:cubicBezTo>
                    <a:pt x="269" y="556"/>
                    <a:pt x="267" y="542"/>
                    <a:pt x="261" y="540"/>
                  </a:cubicBezTo>
                  <a:cubicBezTo>
                    <a:pt x="253" y="538"/>
                    <a:pt x="244" y="534"/>
                    <a:pt x="237" y="536"/>
                  </a:cubicBezTo>
                  <a:cubicBezTo>
                    <a:pt x="228" y="537"/>
                    <a:pt x="217" y="537"/>
                    <a:pt x="209" y="544"/>
                  </a:cubicBezTo>
                  <a:cubicBezTo>
                    <a:pt x="204" y="549"/>
                    <a:pt x="198" y="553"/>
                    <a:pt x="194" y="558"/>
                  </a:cubicBezTo>
                  <a:cubicBezTo>
                    <a:pt x="192" y="561"/>
                    <a:pt x="189" y="563"/>
                    <a:pt x="185" y="562"/>
                  </a:cubicBezTo>
                  <a:cubicBezTo>
                    <a:pt x="182" y="561"/>
                    <a:pt x="182" y="558"/>
                    <a:pt x="182" y="556"/>
                  </a:cubicBezTo>
                  <a:cubicBezTo>
                    <a:pt x="180" y="539"/>
                    <a:pt x="179" y="539"/>
                    <a:pt x="162" y="539"/>
                  </a:cubicBezTo>
                  <a:cubicBezTo>
                    <a:pt x="151" y="539"/>
                    <a:pt x="150" y="540"/>
                    <a:pt x="150" y="551"/>
                  </a:cubicBezTo>
                  <a:cubicBezTo>
                    <a:pt x="150" y="579"/>
                    <a:pt x="150" y="607"/>
                    <a:pt x="150" y="635"/>
                  </a:cubicBezTo>
                  <a:cubicBezTo>
                    <a:pt x="150" y="658"/>
                    <a:pt x="149" y="682"/>
                    <a:pt x="150" y="705"/>
                  </a:cubicBezTo>
                  <a:close/>
                  <a:moveTo>
                    <a:pt x="1011" y="1049"/>
                  </a:moveTo>
                  <a:cubicBezTo>
                    <a:pt x="1011" y="1008"/>
                    <a:pt x="1011" y="966"/>
                    <a:pt x="1011" y="924"/>
                  </a:cubicBezTo>
                  <a:cubicBezTo>
                    <a:pt x="1011" y="913"/>
                    <a:pt x="1008" y="910"/>
                    <a:pt x="997" y="910"/>
                  </a:cubicBezTo>
                  <a:cubicBezTo>
                    <a:pt x="995" y="910"/>
                    <a:pt x="992" y="910"/>
                    <a:pt x="990" y="910"/>
                  </a:cubicBezTo>
                  <a:cubicBezTo>
                    <a:pt x="976" y="910"/>
                    <a:pt x="975" y="911"/>
                    <a:pt x="975" y="926"/>
                  </a:cubicBezTo>
                  <a:cubicBezTo>
                    <a:pt x="975" y="1006"/>
                    <a:pt x="975" y="1085"/>
                    <a:pt x="975" y="1165"/>
                  </a:cubicBezTo>
                  <a:cubicBezTo>
                    <a:pt x="975" y="1185"/>
                    <a:pt x="975" y="1185"/>
                    <a:pt x="994" y="1185"/>
                  </a:cubicBezTo>
                  <a:cubicBezTo>
                    <a:pt x="1009" y="1185"/>
                    <a:pt x="1011" y="1184"/>
                    <a:pt x="1011" y="1169"/>
                  </a:cubicBezTo>
                  <a:cubicBezTo>
                    <a:pt x="1011" y="1129"/>
                    <a:pt x="1011" y="1089"/>
                    <a:pt x="1011" y="1049"/>
                  </a:cubicBezTo>
                  <a:cubicBezTo>
                    <a:pt x="1011" y="1049"/>
                    <a:pt x="1011" y="1049"/>
                    <a:pt x="1011" y="1049"/>
                  </a:cubicBezTo>
                  <a:close/>
                  <a:moveTo>
                    <a:pt x="296" y="176"/>
                  </a:moveTo>
                  <a:cubicBezTo>
                    <a:pt x="296" y="201"/>
                    <a:pt x="296" y="226"/>
                    <a:pt x="296" y="251"/>
                  </a:cubicBezTo>
                  <a:cubicBezTo>
                    <a:pt x="295" y="276"/>
                    <a:pt x="296" y="274"/>
                    <a:pt x="318" y="274"/>
                  </a:cubicBezTo>
                  <a:cubicBezTo>
                    <a:pt x="330" y="274"/>
                    <a:pt x="331" y="274"/>
                    <a:pt x="331" y="260"/>
                  </a:cubicBezTo>
                  <a:cubicBezTo>
                    <a:pt x="331" y="232"/>
                    <a:pt x="331" y="204"/>
                    <a:pt x="331" y="176"/>
                  </a:cubicBezTo>
                  <a:cubicBezTo>
                    <a:pt x="331" y="165"/>
                    <a:pt x="331" y="155"/>
                    <a:pt x="337" y="145"/>
                  </a:cubicBezTo>
                  <a:cubicBezTo>
                    <a:pt x="349" y="123"/>
                    <a:pt x="359" y="117"/>
                    <a:pt x="377" y="118"/>
                  </a:cubicBezTo>
                  <a:cubicBezTo>
                    <a:pt x="383" y="118"/>
                    <a:pt x="389" y="119"/>
                    <a:pt x="395" y="120"/>
                  </a:cubicBezTo>
                  <a:cubicBezTo>
                    <a:pt x="401" y="120"/>
                    <a:pt x="407" y="118"/>
                    <a:pt x="408" y="112"/>
                  </a:cubicBezTo>
                  <a:cubicBezTo>
                    <a:pt x="409" y="103"/>
                    <a:pt x="415" y="93"/>
                    <a:pt x="407" y="85"/>
                  </a:cubicBezTo>
                  <a:cubicBezTo>
                    <a:pt x="406" y="84"/>
                    <a:pt x="404" y="84"/>
                    <a:pt x="402" y="84"/>
                  </a:cubicBezTo>
                  <a:cubicBezTo>
                    <a:pt x="376" y="78"/>
                    <a:pt x="353" y="82"/>
                    <a:pt x="337" y="106"/>
                  </a:cubicBezTo>
                  <a:cubicBezTo>
                    <a:pt x="336" y="108"/>
                    <a:pt x="335" y="110"/>
                    <a:pt x="333" y="109"/>
                  </a:cubicBezTo>
                  <a:cubicBezTo>
                    <a:pt x="331" y="109"/>
                    <a:pt x="330" y="107"/>
                    <a:pt x="330" y="105"/>
                  </a:cubicBezTo>
                  <a:cubicBezTo>
                    <a:pt x="329" y="101"/>
                    <a:pt x="329" y="97"/>
                    <a:pt x="328" y="94"/>
                  </a:cubicBezTo>
                  <a:cubicBezTo>
                    <a:pt x="325" y="85"/>
                    <a:pt x="318" y="82"/>
                    <a:pt x="303" y="84"/>
                  </a:cubicBezTo>
                  <a:cubicBezTo>
                    <a:pt x="297" y="84"/>
                    <a:pt x="295" y="86"/>
                    <a:pt x="295" y="92"/>
                  </a:cubicBezTo>
                  <a:cubicBezTo>
                    <a:pt x="296" y="120"/>
                    <a:pt x="295" y="148"/>
                    <a:pt x="295" y="176"/>
                  </a:cubicBezTo>
                  <a:cubicBezTo>
                    <a:pt x="296" y="176"/>
                    <a:pt x="296" y="176"/>
                    <a:pt x="296" y="176"/>
                  </a:cubicBezTo>
                  <a:close/>
                  <a:moveTo>
                    <a:pt x="946" y="179"/>
                  </a:moveTo>
                  <a:cubicBezTo>
                    <a:pt x="946" y="197"/>
                    <a:pt x="946" y="215"/>
                    <a:pt x="946" y="234"/>
                  </a:cubicBezTo>
                  <a:cubicBezTo>
                    <a:pt x="946" y="248"/>
                    <a:pt x="951" y="260"/>
                    <a:pt x="963" y="268"/>
                  </a:cubicBezTo>
                  <a:cubicBezTo>
                    <a:pt x="982" y="280"/>
                    <a:pt x="1011" y="277"/>
                    <a:pt x="1029" y="264"/>
                  </a:cubicBezTo>
                  <a:cubicBezTo>
                    <a:pt x="1036" y="259"/>
                    <a:pt x="1036" y="254"/>
                    <a:pt x="1032" y="248"/>
                  </a:cubicBezTo>
                  <a:cubicBezTo>
                    <a:pt x="1026" y="239"/>
                    <a:pt x="1020" y="238"/>
                    <a:pt x="1013" y="242"/>
                  </a:cubicBezTo>
                  <a:cubicBezTo>
                    <a:pt x="996" y="252"/>
                    <a:pt x="978" y="243"/>
                    <a:pt x="978" y="223"/>
                  </a:cubicBezTo>
                  <a:cubicBezTo>
                    <a:pt x="978" y="190"/>
                    <a:pt x="978" y="157"/>
                    <a:pt x="978" y="123"/>
                  </a:cubicBezTo>
                  <a:cubicBezTo>
                    <a:pt x="978" y="116"/>
                    <a:pt x="981" y="113"/>
                    <a:pt x="988" y="113"/>
                  </a:cubicBezTo>
                  <a:cubicBezTo>
                    <a:pt x="999" y="114"/>
                    <a:pt x="1011" y="113"/>
                    <a:pt x="1022" y="113"/>
                  </a:cubicBezTo>
                  <a:cubicBezTo>
                    <a:pt x="1028" y="113"/>
                    <a:pt x="1033" y="112"/>
                    <a:pt x="1033" y="104"/>
                  </a:cubicBezTo>
                  <a:cubicBezTo>
                    <a:pt x="1033" y="96"/>
                    <a:pt x="1032" y="90"/>
                    <a:pt x="1022" y="90"/>
                  </a:cubicBezTo>
                  <a:cubicBezTo>
                    <a:pt x="1011" y="90"/>
                    <a:pt x="1001" y="90"/>
                    <a:pt x="990" y="90"/>
                  </a:cubicBezTo>
                  <a:cubicBezTo>
                    <a:pt x="981" y="91"/>
                    <a:pt x="977" y="88"/>
                    <a:pt x="978" y="78"/>
                  </a:cubicBezTo>
                  <a:cubicBezTo>
                    <a:pt x="978" y="64"/>
                    <a:pt x="978" y="49"/>
                    <a:pt x="978" y="35"/>
                  </a:cubicBezTo>
                  <a:cubicBezTo>
                    <a:pt x="978" y="30"/>
                    <a:pt x="978" y="25"/>
                    <a:pt x="971" y="24"/>
                  </a:cubicBezTo>
                  <a:cubicBezTo>
                    <a:pt x="964" y="24"/>
                    <a:pt x="956" y="24"/>
                    <a:pt x="955" y="32"/>
                  </a:cubicBezTo>
                  <a:cubicBezTo>
                    <a:pt x="952" y="43"/>
                    <a:pt x="949" y="54"/>
                    <a:pt x="949" y="65"/>
                  </a:cubicBezTo>
                  <a:cubicBezTo>
                    <a:pt x="948" y="88"/>
                    <a:pt x="947" y="88"/>
                    <a:pt x="924" y="91"/>
                  </a:cubicBezTo>
                  <a:cubicBezTo>
                    <a:pt x="919" y="92"/>
                    <a:pt x="914" y="92"/>
                    <a:pt x="914" y="99"/>
                  </a:cubicBezTo>
                  <a:cubicBezTo>
                    <a:pt x="915" y="107"/>
                    <a:pt x="917" y="113"/>
                    <a:pt x="926" y="113"/>
                  </a:cubicBezTo>
                  <a:cubicBezTo>
                    <a:pt x="929" y="114"/>
                    <a:pt x="932" y="113"/>
                    <a:pt x="935" y="113"/>
                  </a:cubicBezTo>
                  <a:cubicBezTo>
                    <a:pt x="943" y="113"/>
                    <a:pt x="946" y="116"/>
                    <a:pt x="946" y="124"/>
                  </a:cubicBezTo>
                  <a:cubicBezTo>
                    <a:pt x="946" y="142"/>
                    <a:pt x="946" y="161"/>
                    <a:pt x="946" y="179"/>
                  </a:cubicBezTo>
                  <a:cubicBezTo>
                    <a:pt x="946" y="179"/>
                    <a:pt x="946" y="179"/>
                    <a:pt x="946" y="179"/>
                  </a:cubicBezTo>
                  <a:close/>
                </a:path>
              </a:pathLst>
            </a:custGeom>
            <a:solidFill>
              <a:srgbClr val="4C505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grpSp>
          <p:nvGrpSpPr>
            <p:cNvPr id="18" name="Group 4">
              <a:extLst>
                <a:ext uri="{FF2B5EF4-FFF2-40B4-BE49-F238E27FC236}">
                  <a16:creationId xmlns:a16="http://schemas.microsoft.com/office/drawing/2014/main" id="{57BD2C4C-DC67-B843-B26C-309622FC75F7}"/>
                </a:ext>
              </a:extLst>
            </p:cNvPr>
            <p:cNvGrpSpPr>
              <a:grpSpLocks noChangeAspect="1"/>
            </p:cNvGrpSpPr>
            <p:nvPr/>
          </p:nvGrpSpPr>
          <p:grpSpPr bwMode="gray">
            <a:xfrm>
              <a:off x="334963" y="296652"/>
              <a:ext cx="538094" cy="540000"/>
              <a:chOff x="2711" y="1027"/>
              <a:chExt cx="2258" cy="2266"/>
            </a:xfrm>
          </p:grpSpPr>
          <p:sp>
            <p:nvSpPr>
              <p:cNvPr id="19" name="AutoShape 3">
                <a:extLst>
                  <a:ext uri="{FF2B5EF4-FFF2-40B4-BE49-F238E27FC236}">
                    <a16:creationId xmlns:a16="http://schemas.microsoft.com/office/drawing/2014/main" id="{FE1DC41B-291E-574C-9F2C-874E70A40758}"/>
                  </a:ext>
                </a:extLst>
              </p:cNvPr>
              <p:cNvSpPr>
                <a:spLocks noChangeAspect="1" noChangeArrowheads="1" noTextEdit="1"/>
              </p:cNvSpPr>
              <p:nvPr/>
            </p:nvSpPr>
            <p:spPr bwMode="gray">
              <a:xfrm>
                <a:off x="2711" y="1027"/>
                <a:ext cx="2258" cy="22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20" name="Freeform 5">
                <a:extLst>
                  <a:ext uri="{FF2B5EF4-FFF2-40B4-BE49-F238E27FC236}">
                    <a16:creationId xmlns:a16="http://schemas.microsoft.com/office/drawing/2014/main" id="{D4B633C8-F761-C54B-9BD2-EB59D49A2DBC}"/>
                  </a:ext>
                </a:extLst>
              </p:cNvPr>
              <p:cNvSpPr>
                <a:spLocks/>
              </p:cNvSpPr>
              <p:nvPr/>
            </p:nvSpPr>
            <p:spPr bwMode="gray">
              <a:xfrm>
                <a:off x="2709" y="1029"/>
                <a:ext cx="2260" cy="2262"/>
              </a:xfrm>
              <a:custGeom>
                <a:avLst/>
                <a:gdLst>
                  <a:gd name="T0" fmla="*/ 2260 w 2260"/>
                  <a:gd name="T1" fmla="*/ 0 h 2262"/>
                  <a:gd name="T2" fmla="*/ 1612 w 2260"/>
                  <a:gd name="T3" fmla="*/ 649 h 2262"/>
                  <a:gd name="T4" fmla="*/ 1612 w 2260"/>
                  <a:gd name="T5" fmla="*/ 649 h 2262"/>
                  <a:gd name="T6" fmla="*/ 2035 w 2260"/>
                  <a:gd name="T7" fmla="*/ 0 h 2262"/>
                  <a:gd name="T8" fmla="*/ 0 w 2260"/>
                  <a:gd name="T9" fmla="*/ 0 h 2262"/>
                  <a:gd name="T10" fmla="*/ 0 w 2260"/>
                  <a:gd name="T11" fmla="*/ 2262 h 2262"/>
                  <a:gd name="T12" fmla="*/ 2260 w 2260"/>
                  <a:gd name="T13" fmla="*/ 2262 h 2262"/>
                  <a:gd name="T14" fmla="*/ 2260 w 2260"/>
                  <a:gd name="T15" fmla="*/ 0 h 2262"/>
                  <a:gd name="T16" fmla="*/ 2260 w 2260"/>
                  <a:gd name="T17" fmla="*/ 0 h 2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0" h="2262">
                    <a:moveTo>
                      <a:pt x="2260" y="0"/>
                    </a:moveTo>
                    <a:lnTo>
                      <a:pt x="1612" y="649"/>
                    </a:lnTo>
                    <a:lnTo>
                      <a:pt x="1612" y="649"/>
                    </a:lnTo>
                    <a:lnTo>
                      <a:pt x="2035" y="0"/>
                    </a:lnTo>
                    <a:lnTo>
                      <a:pt x="0" y="0"/>
                    </a:lnTo>
                    <a:lnTo>
                      <a:pt x="0" y="2262"/>
                    </a:lnTo>
                    <a:lnTo>
                      <a:pt x="2260" y="2262"/>
                    </a:lnTo>
                    <a:lnTo>
                      <a:pt x="2260" y="0"/>
                    </a:lnTo>
                    <a:lnTo>
                      <a:pt x="2260" y="0"/>
                    </a:lnTo>
                    <a:close/>
                  </a:path>
                </a:pathLst>
              </a:custGeom>
              <a:solidFill>
                <a:srgbClr val="E55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21" name="Freeform 6">
                <a:extLst>
                  <a:ext uri="{FF2B5EF4-FFF2-40B4-BE49-F238E27FC236}">
                    <a16:creationId xmlns:a16="http://schemas.microsoft.com/office/drawing/2014/main" id="{B16BAAE4-1A41-C843-9754-490F7A1E1270}"/>
                  </a:ext>
                </a:extLst>
              </p:cNvPr>
              <p:cNvSpPr>
                <a:spLocks noEditPoints="1"/>
              </p:cNvSpPr>
              <p:nvPr/>
            </p:nvSpPr>
            <p:spPr bwMode="gray">
              <a:xfrm>
                <a:off x="3623" y="1696"/>
                <a:ext cx="1167" cy="922"/>
              </a:xfrm>
              <a:custGeom>
                <a:avLst/>
                <a:gdLst>
                  <a:gd name="T0" fmla="*/ 411 w 580"/>
                  <a:gd name="T1" fmla="*/ 213 h 458"/>
                  <a:gd name="T2" fmla="*/ 570 w 580"/>
                  <a:gd name="T3" fmla="*/ 37 h 458"/>
                  <a:gd name="T4" fmla="*/ 580 w 580"/>
                  <a:gd name="T5" fmla="*/ 20 h 458"/>
                  <a:gd name="T6" fmla="*/ 545 w 580"/>
                  <a:gd name="T7" fmla="*/ 0 h 458"/>
                  <a:gd name="T8" fmla="*/ 519 w 580"/>
                  <a:gd name="T9" fmla="*/ 16 h 458"/>
                  <a:gd name="T10" fmla="*/ 344 w 580"/>
                  <a:gd name="T11" fmla="*/ 210 h 458"/>
                  <a:gd name="T12" fmla="*/ 334 w 580"/>
                  <a:gd name="T13" fmla="*/ 229 h 458"/>
                  <a:gd name="T14" fmla="*/ 344 w 580"/>
                  <a:gd name="T15" fmla="*/ 248 h 458"/>
                  <a:gd name="T16" fmla="*/ 519 w 580"/>
                  <a:gd name="T17" fmla="*/ 442 h 458"/>
                  <a:gd name="T18" fmla="*/ 545 w 580"/>
                  <a:gd name="T19" fmla="*/ 458 h 458"/>
                  <a:gd name="T20" fmla="*/ 580 w 580"/>
                  <a:gd name="T21" fmla="*/ 438 h 458"/>
                  <a:gd name="T22" fmla="*/ 570 w 580"/>
                  <a:gd name="T23" fmla="*/ 421 h 458"/>
                  <a:gd name="T24" fmla="*/ 411 w 580"/>
                  <a:gd name="T25" fmla="*/ 245 h 458"/>
                  <a:gd name="T26" fmla="*/ 399 w 580"/>
                  <a:gd name="T27" fmla="*/ 229 h 458"/>
                  <a:gd name="T28" fmla="*/ 411 w 580"/>
                  <a:gd name="T29" fmla="*/ 213 h 458"/>
                  <a:gd name="T30" fmla="*/ 252 w 580"/>
                  <a:gd name="T31" fmla="*/ 439 h 458"/>
                  <a:gd name="T32" fmla="*/ 281 w 580"/>
                  <a:gd name="T33" fmla="*/ 454 h 458"/>
                  <a:gd name="T34" fmla="*/ 309 w 580"/>
                  <a:gd name="T35" fmla="*/ 439 h 458"/>
                  <a:gd name="T36" fmla="*/ 309 w 580"/>
                  <a:gd name="T37" fmla="*/ 19 h 458"/>
                  <a:gd name="T38" fmla="*/ 281 w 580"/>
                  <a:gd name="T39" fmla="*/ 4 h 458"/>
                  <a:gd name="T40" fmla="*/ 252 w 580"/>
                  <a:gd name="T41" fmla="*/ 19 h 458"/>
                  <a:gd name="T42" fmla="*/ 252 w 580"/>
                  <a:gd name="T43" fmla="*/ 439 h 458"/>
                  <a:gd name="T44" fmla="*/ 0 w 580"/>
                  <a:gd name="T45" fmla="*/ 439 h 458"/>
                  <a:gd name="T46" fmla="*/ 28 w 580"/>
                  <a:gd name="T47" fmla="*/ 454 h 458"/>
                  <a:gd name="T48" fmla="*/ 56 w 580"/>
                  <a:gd name="T49" fmla="*/ 439 h 458"/>
                  <a:gd name="T50" fmla="*/ 56 w 580"/>
                  <a:gd name="T51" fmla="*/ 157 h 458"/>
                  <a:gd name="T52" fmla="*/ 165 w 580"/>
                  <a:gd name="T53" fmla="*/ 53 h 458"/>
                  <a:gd name="T54" fmla="*/ 180 w 580"/>
                  <a:gd name="T55" fmla="*/ 53 h 458"/>
                  <a:gd name="T56" fmla="*/ 196 w 580"/>
                  <a:gd name="T57" fmla="*/ 27 h 458"/>
                  <a:gd name="T58" fmla="*/ 154 w 580"/>
                  <a:gd name="T59" fmla="*/ 4 h 458"/>
                  <a:gd name="T60" fmla="*/ 0 w 580"/>
                  <a:gd name="T61" fmla="*/ 152 h 458"/>
                  <a:gd name="T62" fmla="*/ 0 w 580"/>
                  <a:gd name="T63" fmla="*/ 439 h 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80" h="458">
                    <a:moveTo>
                      <a:pt x="411" y="213"/>
                    </a:moveTo>
                    <a:cubicBezTo>
                      <a:pt x="570" y="37"/>
                      <a:pt x="570" y="37"/>
                      <a:pt x="570" y="37"/>
                    </a:cubicBezTo>
                    <a:cubicBezTo>
                      <a:pt x="576" y="30"/>
                      <a:pt x="580" y="25"/>
                      <a:pt x="580" y="20"/>
                    </a:cubicBezTo>
                    <a:cubicBezTo>
                      <a:pt x="580" y="10"/>
                      <a:pt x="559" y="0"/>
                      <a:pt x="545" y="0"/>
                    </a:cubicBezTo>
                    <a:cubicBezTo>
                      <a:pt x="535" y="0"/>
                      <a:pt x="526" y="8"/>
                      <a:pt x="519" y="16"/>
                    </a:cubicBezTo>
                    <a:cubicBezTo>
                      <a:pt x="344" y="210"/>
                      <a:pt x="344" y="210"/>
                      <a:pt x="344" y="210"/>
                    </a:cubicBezTo>
                    <a:cubicBezTo>
                      <a:pt x="336" y="219"/>
                      <a:pt x="334" y="224"/>
                      <a:pt x="334" y="229"/>
                    </a:cubicBezTo>
                    <a:cubicBezTo>
                      <a:pt x="334" y="234"/>
                      <a:pt x="336" y="239"/>
                      <a:pt x="344" y="248"/>
                    </a:cubicBezTo>
                    <a:cubicBezTo>
                      <a:pt x="519" y="442"/>
                      <a:pt x="519" y="442"/>
                      <a:pt x="519" y="442"/>
                    </a:cubicBezTo>
                    <a:cubicBezTo>
                      <a:pt x="526" y="450"/>
                      <a:pt x="535" y="458"/>
                      <a:pt x="545" y="458"/>
                    </a:cubicBezTo>
                    <a:cubicBezTo>
                      <a:pt x="559" y="458"/>
                      <a:pt x="580" y="448"/>
                      <a:pt x="580" y="438"/>
                    </a:cubicBezTo>
                    <a:cubicBezTo>
                      <a:pt x="580" y="433"/>
                      <a:pt x="576" y="428"/>
                      <a:pt x="570" y="421"/>
                    </a:cubicBezTo>
                    <a:cubicBezTo>
                      <a:pt x="411" y="245"/>
                      <a:pt x="411" y="245"/>
                      <a:pt x="411" y="245"/>
                    </a:cubicBezTo>
                    <a:cubicBezTo>
                      <a:pt x="403" y="236"/>
                      <a:pt x="399" y="232"/>
                      <a:pt x="399" y="229"/>
                    </a:cubicBezTo>
                    <a:cubicBezTo>
                      <a:pt x="399" y="226"/>
                      <a:pt x="403" y="222"/>
                      <a:pt x="411" y="213"/>
                    </a:cubicBezTo>
                    <a:moveTo>
                      <a:pt x="252" y="439"/>
                    </a:moveTo>
                    <a:cubicBezTo>
                      <a:pt x="252" y="449"/>
                      <a:pt x="261" y="454"/>
                      <a:pt x="281" y="454"/>
                    </a:cubicBezTo>
                    <a:cubicBezTo>
                      <a:pt x="300" y="454"/>
                      <a:pt x="309" y="449"/>
                      <a:pt x="309" y="439"/>
                    </a:cubicBezTo>
                    <a:cubicBezTo>
                      <a:pt x="309" y="19"/>
                      <a:pt x="309" y="19"/>
                      <a:pt x="309" y="19"/>
                    </a:cubicBezTo>
                    <a:cubicBezTo>
                      <a:pt x="309" y="9"/>
                      <a:pt x="300" y="4"/>
                      <a:pt x="281" y="4"/>
                    </a:cubicBezTo>
                    <a:cubicBezTo>
                      <a:pt x="261" y="4"/>
                      <a:pt x="252" y="9"/>
                      <a:pt x="252" y="19"/>
                    </a:cubicBezTo>
                    <a:lnTo>
                      <a:pt x="252" y="439"/>
                    </a:lnTo>
                    <a:close/>
                    <a:moveTo>
                      <a:pt x="0" y="439"/>
                    </a:moveTo>
                    <a:cubicBezTo>
                      <a:pt x="0" y="449"/>
                      <a:pt x="8" y="454"/>
                      <a:pt x="28" y="454"/>
                    </a:cubicBezTo>
                    <a:cubicBezTo>
                      <a:pt x="48" y="454"/>
                      <a:pt x="56" y="449"/>
                      <a:pt x="56" y="439"/>
                    </a:cubicBezTo>
                    <a:cubicBezTo>
                      <a:pt x="56" y="157"/>
                      <a:pt x="56" y="157"/>
                      <a:pt x="56" y="157"/>
                    </a:cubicBezTo>
                    <a:cubicBezTo>
                      <a:pt x="56" y="83"/>
                      <a:pt x="85" y="53"/>
                      <a:pt x="165" y="53"/>
                    </a:cubicBezTo>
                    <a:cubicBezTo>
                      <a:pt x="180" y="53"/>
                      <a:pt x="180" y="53"/>
                      <a:pt x="180" y="53"/>
                    </a:cubicBezTo>
                    <a:cubicBezTo>
                      <a:pt x="192" y="53"/>
                      <a:pt x="196" y="43"/>
                      <a:pt x="196" y="27"/>
                    </a:cubicBezTo>
                    <a:cubicBezTo>
                      <a:pt x="196" y="8"/>
                      <a:pt x="185" y="4"/>
                      <a:pt x="154" y="4"/>
                    </a:cubicBezTo>
                    <a:cubicBezTo>
                      <a:pt x="64" y="4"/>
                      <a:pt x="0" y="43"/>
                      <a:pt x="0" y="152"/>
                    </a:cubicBezTo>
                    <a:lnTo>
                      <a:pt x="0" y="43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22" name="Freeform 7">
                <a:extLst>
                  <a:ext uri="{FF2B5EF4-FFF2-40B4-BE49-F238E27FC236}">
                    <a16:creationId xmlns:a16="http://schemas.microsoft.com/office/drawing/2014/main" id="{2F32DCBD-8628-F245-85CD-97686A20ECFD}"/>
                  </a:ext>
                </a:extLst>
              </p:cNvPr>
              <p:cNvSpPr>
                <a:spLocks/>
              </p:cNvSpPr>
              <p:nvPr/>
            </p:nvSpPr>
            <p:spPr bwMode="gray">
              <a:xfrm>
                <a:off x="2880" y="1704"/>
                <a:ext cx="618" cy="916"/>
              </a:xfrm>
              <a:custGeom>
                <a:avLst/>
                <a:gdLst>
                  <a:gd name="T0" fmla="*/ 307 w 307"/>
                  <a:gd name="T1" fmla="*/ 405 h 455"/>
                  <a:gd name="T2" fmla="*/ 307 w 307"/>
                  <a:gd name="T3" fmla="*/ 244 h 455"/>
                  <a:gd name="T4" fmla="*/ 279 w 307"/>
                  <a:gd name="T5" fmla="*/ 229 h 455"/>
                  <a:gd name="T6" fmla="*/ 250 w 307"/>
                  <a:gd name="T7" fmla="*/ 244 h 455"/>
                  <a:gd name="T8" fmla="*/ 250 w 307"/>
                  <a:gd name="T9" fmla="*/ 378 h 455"/>
                  <a:gd name="T10" fmla="*/ 199 w 307"/>
                  <a:gd name="T11" fmla="*/ 408 h 455"/>
                  <a:gd name="T12" fmla="*/ 61 w 307"/>
                  <a:gd name="T13" fmla="*/ 231 h 455"/>
                  <a:gd name="T14" fmla="*/ 238 w 307"/>
                  <a:gd name="T15" fmla="*/ 49 h 455"/>
                  <a:gd name="T16" fmla="*/ 270 w 307"/>
                  <a:gd name="T17" fmla="*/ 49 h 455"/>
                  <a:gd name="T18" fmla="*/ 286 w 307"/>
                  <a:gd name="T19" fmla="*/ 23 h 455"/>
                  <a:gd name="T20" fmla="*/ 244 w 307"/>
                  <a:gd name="T21" fmla="*/ 0 h 455"/>
                  <a:gd name="T22" fmla="*/ 231 w 307"/>
                  <a:gd name="T23" fmla="*/ 0 h 455"/>
                  <a:gd name="T24" fmla="*/ 0 w 307"/>
                  <a:gd name="T25" fmla="*/ 232 h 455"/>
                  <a:gd name="T26" fmla="*/ 198 w 307"/>
                  <a:gd name="T27" fmla="*/ 455 h 455"/>
                  <a:gd name="T28" fmla="*/ 307 w 307"/>
                  <a:gd name="T29" fmla="*/ 405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7" h="455">
                    <a:moveTo>
                      <a:pt x="307" y="405"/>
                    </a:moveTo>
                    <a:cubicBezTo>
                      <a:pt x="307" y="244"/>
                      <a:pt x="307" y="244"/>
                      <a:pt x="307" y="244"/>
                    </a:cubicBezTo>
                    <a:cubicBezTo>
                      <a:pt x="307" y="234"/>
                      <a:pt x="298" y="229"/>
                      <a:pt x="279" y="229"/>
                    </a:cubicBezTo>
                    <a:cubicBezTo>
                      <a:pt x="259" y="229"/>
                      <a:pt x="250" y="234"/>
                      <a:pt x="250" y="244"/>
                    </a:cubicBezTo>
                    <a:cubicBezTo>
                      <a:pt x="250" y="378"/>
                      <a:pt x="250" y="378"/>
                      <a:pt x="250" y="378"/>
                    </a:cubicBezTo>
                    <a:cubicBezTo>
                      <a:pt x="250" y="399"/>
                      <a:pt x="241" y="408"/>
                      <a:pt x="199" y="408"/>
                    </a:cubicBezTo>
                    <a:cubicBezTo>
                      <a:pt x="114" y="408"/>
                      <a:pt x="61" y="342"/>
                      <a:pt x="61" y="231"/>
                    </a:cubicBezTo>
                    <a:cubicBezTo>
                      <a:pt x="61" y="115"/>
                      <a:pt x="126" y="49"/>
                      <a:pt x="238" y="49"/>
                    </a:cubicBezTo>
                    <a:cubicBezTo>
                      <a:pt x="270" y="49"/>
                      <a:pt x="270" y="49"/>
                      <a:pt x="270" y="49"/>
                    </a:cubicBezTo>
                    <a:cubicBezTo>
                      <a:pt x="282" y="49"/>
                      <a:pt x="286" y="39"/>
                      <a:pt x="286" y="23"/>
                    </a:cubicBezTo>
                    <a:cubicBezTo>
                      <a:pt x="286" y="4"/>
                      <a:pt x="275" y="0"/>
                      <a:pt x="244" y="0"/>
                    </a:cubicBezTo>
                    <a:cubicBezTo>
                      <a:pt x="231" y="0"/>
                      <a:pt x="231" y="0"/>
                      <a:pt x="231" y="0"/>
                    </a:cubicBezTo>
                    <a:cubicBezTo>
                      <a:pt x="101" y="0"/>
                      <a:pt x="0" y="71"/>
                      <a:pt x="0" y="232"/>
                    </a:cubicBezTo>
                    <a:cubicBezTo>
                      <a:pt x="0" y="386"/>
                      <a:pt x="88" y="455"/>
                      <a:pt x="198" y="455"/>
                    </a:cubicBezTo>
                    <a:cubicBezTo>
                      <a:pt x="286" y="455"/>
                      <a:pt x="307" y="430"/>
                      <a:pt x="307" y="40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23" name="Oval 8">
                <a:extLst>
                  <a:ext uri="{FF2B5EF4-FFF2-40B4-BE49-F238E27FC236}">
                    <a16:creationId xmlns:a16="http://schemas.microsoft.com/office/drawing/2014/main" id="{60D97C11-1A3B-5449-A48D-98A3E79B3810}"/>
                  </a:ext>
                </a:extLst>
              </p:cNvPr>
              <p:cNvSpPr>
                <a:spLocks noChangeArrowheads="1"/>
              </p:cNvSpPr>
              <p:nvPr/>
            </p:nvSpPr>
            <p:spPr bwMode="gray">
              <a:xfrm>
                <a:off x="3778" y="2099"/>
                <a:ext cx="122" cy="12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24" name="Freeform 9">
                <a:extLst>
                  <a:ext uri="{FF2B5EF4-FFF2-40B4-BE49-F238E27FC236}">
                    <a16:creationId xmlns:a16="http://schemas.microsoft.com/office/drawing/2014/main" id="{5856770D-B8F0-244E-A05D-AED190086F10}"/>
                  </a:ext>
                </a:extLst>
              </p:cNvPr>
              <p:cNvSpPr>
                <a:spLocks noEditPoints="1"/>
              </p:cNvSpPr>
              <p:nvPr/>
            </p:nvSpPr>
            <p:spPr bwMode="gray">
              <a:xfrm>
                <a:off x="3623" y="1696"/>
                <a:ext cx="1167" cy="922"/>
              </a:xfrm>
              <a:custGeom>
                <a:avLst/>
                <a:gdLst>
                  <a:gd name="T0" fmla="*/ 411 w 580"/>
                  <a:gd name="T1" fmla="*/ 213 h 458"/>
                  <a:gd name="T2" fmla="*/ 570 w 580"/>
                  <a:gd name="T3" fmla="*/ 37 h 458"/>
                  <a:gd name="T4" fmla="*/ 580 w 580"/>
                  <a:gd name="T5" fmla="*/ 20 h 458"/>
                  <a:gd name="T6" fmla="*/ 545 w 580"/>
                  <a:gd name="T7" fmla="*/ 0 h 458"/>
                  <a:gd name="T8" fmla="*/ 519 w 580"/>
                  <a:gd name="T9" fmla="*/ 16 h 458"/>
                  <a:gd name="T10" fmla="*/ 344 w 580"/>
                  <a:gd name="T11" fmla="*/ 210 h 458"/>
                  <a:gd name="T12" fmla="*/ 334 w 580"/>
                  <a:gd name="T13" fmla="*/ 229 h 458"/>
                  <a:gd name="T14" fmla="*/ 344 w 580"/>
                  <a:gd name="T15" fmla="*/ 248 h 458"/>
                  <a:gd name="T16" fmla="*/ 519 w 580"/>
                  <a:gd name="T17" fmla="*/ 442 h 458"/>
                  <a:gd name="T18" fmla="*/ 545 w 580"/>
                  <a:gd name="T19" fmla="*/ 458 h 458"/>
                  <a:gd name="T20" fmla="*/ 580 w 580"/>
                  <a:gd name="T21" fmla="*/ 438 h 458"/>
                  <a:gd name="T22" fmla="*/ 570 w 580"/>
                  <a:gd name="T23" fmla="*/ 421 h 458"/>
                  <a:gd name="T24" fmla="*/ 411 w 580"/>
                  <a:gd name="T25" fmla="*/ 245 h 458"/>
                  <a:gd name="T26" fmla="*/ 399 w 580"/>
                  <a:gd name="T27" fmla="*/ 229 h 458"/>
                  <a:gd name="T28" fmla="*/ 411 w 580"/>
                  <a:gd name="T29" fmla="*/ 213 h 458"/>
                  <a:gd name="T30" fmla="*/ 252 w 580"/>
                  <a:gd name="T31" fmla="*/ 439 h 458"/>
                  <a:gd name="T32" fmla="*/ 281 w 580"/>
                  <a:gd name="T33" fmla="*/ 454 h 458"/>
                  <a:gd name="T34" fmla="*/ 309 w 580"/>
                  <a:gd name="T35" fmla="*/ 439 h 458"/>
                  <a:gd name="T36" fmla="*/ 309 w 580"/>
                  <a:gd name="T37" fmla="*/ 19 h 458"/>
                  <a:gd name="T38" fmla="*/ 281 w 580"/>
                  <a:gd name="T39" fmla="*/ 4 h 458"/>
                  <a:gd name="T40" fmla="*/ 252 w 580"/>
                  <a:gd name="T41" fmla="*/ 19 h 458"/>
                  <a:gd name="T42" fmla="*/ 252 w 580"/>
                  <a:gd name="T43" fmla="*/ 439 h 458"/>
                  <a:gd name="T44" fmla="*/ 0 w 580"/>
                  <a:gd name="T45" fmla="*/ 439 h 458"/>
                  <a:gd name="T46" fmla="*/ 28 w 580"/>
                  <a:gd name="T47" fmla="*/ 454 h 458"/>
                  <a:gd name="T48" fmla="*/ 56 w 580"/>
                  <a:gd name="T49" fmla="*/ 439 h 458"/>
                  <a:gd name="T50" fmla="*/ 56 w 580"/>
                  <a:gd name="T51" fmla="*/ 157 h 458"/>
                  <a:gd name="T52" fmla="*/ 165 w 580"/>
                  <a:gd name="T53" fmla="*/ 53 h 458"/>
                  <a:gd name="T54" fmla="*/ 180 w 580"/>
                  <a:gd name="T55" fmla="*/ 53 h 458"/>
                  <a:gd name="T56" fmla="*/ 196 w 580"/>
                  <a:gd name="T57" fmla="*/ 27 h 458"/>
                  <a:gd name="T58" fmla="*/ 154 w 580"/>
                  <a:gd name="T59" fmla="*/ 4 h 458"/>
                  <a:gd name="T60" fmla="*/ 0 w 580"/>
                  <a:gd name="T61" fmla="*/ 152 h 458"/>
                  <a:gd name="T62" fmla="*/ 0 w 580"/>
                  <a:gd name="T63" fmla="*/ 439 h 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80" h="458">
                    <a:moveTo>
                      <a:pt x="411" y="213"/>
                    </a:moveTo>
                    <a:cubicBezTo>
                      <a:pt x="570" y="37"/>
                      <a:pt x="570" y="37"/>
                      <a:pt x="570" y="37"/>
                    </a:cubicBezTo>
                    <a:cubicBezTo>
                      <a:pt x="576" y="30"/>
                      <a:pt x="580" y="25"/>
                      <a:pt x="580" y="20"/>
                    </a:cubicBezTo>
                    <a:cubicBezTo>
                      <a:pt x="580" y="10"/>
                      <a:pt x="559" y="0"/>
                      <a:pt x="545" y="0"/>
                    </a:cubicBezTo>
                    <a:cubicBezTo>
                      <a:pt x="535" y="0"/>
                      <a:pt x="526" y="8"/>
                      <a:pt x="519" y="16"/>
                    </a:cubicBezTo>
                    <a:cubicBezTo>
                      <a:pt x="344" y="210"/>
                      <a:pt x="344" y="210"/>
                      <a:pt x="344" y="210"/>
                    </a:cubicBezTo>
                    <a:cubicBezTo>
                      <a:pt x="336" y="219"/>
                      <a:pt x="334" y="224"/>
                      <a:pt x="334" y="229"/>
                    </a:cubicBezTo>
                    <a:cubicBezTo>
                      <a:pt x="334" y="234"/>
                      <a:pt x="336" y="239"/>
                      <a:pt x="344" y="248"/>
                    </a:cubicBezTo>
                    <a:cubicBezTo>
                      <a:pt x="519" y="442"/>
                      <a:pt x="519" y="442"/>
                      <a:pt x="519" y="442"/>
                    </a:cubicBezTo>
                    <a:cubicBezTo>
                      <a:pt x="526" y="450"/>
                      <a:pt x="535" y="458"/>
                      <a:pt x="545" y="458"/>
                    </a:cubicBezTo>
                    <a:cubicBezTo>
                      <a:pt x="559" y="458"/>
                      <a:pt x="580" y="448"/>
                      <a:pt x="580" y="438"/>
                    </a:cubicBezTo>
                    <a:cubicBezTo>
                      <a:pt x="580" y="433"/>
                      <a:pt x="576" y="428"/>
                      <a:pt x="570" y="421"/>
                    </a:cubicBezTo>
                    <a:cubicBezTo>
                      <a:pt x="411" y="245"/>
                      <a:pt x="411" y="245"/>
                      <a:pt x="411" y="245"/>
                    </a:cubicBezTo>
                    <a:cubicBezTo>
                      <a:pt x="403" y="236"/>
                      <a:pt x="399" y="232"/>
                      <a:pt x="399" y="229"/>
                    </a:cubicBezTo>
                    <a:cubicBezTo>
                      <a:pt x="399" y="226"/>
                      <a:pt x="403" y="222"/>
                      <a:pt x="411" y="213"/>
                    </a:cubicBezTo>
                    <a:moveTo>
                      <a:pt x="252" y="439"/>
                    </a:moveTo>
                    <a:cubicBezTo>
                      <a:pt x="252" y="449"/>
                      <a:pt x="261" y="454"/>
                      <a:pt x="281" y="454"/>
                    </a:cubicBezTo>
                    <a:cubicBezTo>
                      <a:pt x="300" y="454"/>
                      <a:pt x="309" y="449"/>
                      <a:pt x="309" y="439"/>
                    </a:cubicBezTo>
                    <a:cubicBezTo>
                      <a:pt x="309" y="19"/>
                      <a:pt x="309" y="19"/>
                      <a:pt x="309" y="19"/>
                    </a:cubicBezTo>
                    <a:cubicBezTo>
                      <a:pt x="309" y="9"/>
                      <a:pt x="300" y="4"/>
                      <a:pt x="281" y="4"/>
                    </a:cubicBezTo>
                    <a:cubicBezTo>
                      <a:pt x="261" y="4"/>
                      <a:pt x="252" y="9"/>
                      <a:pt x="252" y="19"/>
                    </a:cubicBezTo>
                    <a:lnTo>
                      <a:pt x="252" y="439"/>
                    </a:lnTo>
                    <a:close/>
                    <a:moveTo>
                      <a:pt x="0" y="439"/>
                    </a:moveTo>
                    <a:cubicBezTo>
                      <a:pt x="0" y="449"/>
                      <a:pt x="8" y="454"/>
                      <a:pt x="28" y="454"/>
                    </a:cubicBezTo>
                    <a:cubicBezTo>
                      <a:pt x="48" y="454"/>
                      <a:pt x="56" y="449"/>
                      <a:pt x="56" y="439"/>
                    </a:cubicBezTo>
                    <a:cubicBezTo>
                      <a:pt x="56" y="157"/>
                      <a:pt x="56" y="157"/>
                      <a:pt x="56" y="157"/>
                    </a:cubicBezTo>
                    <a:cubicBezTo>
                      <a:pt x="56" y="83"/>
                      <a:pt x="85" y="53"/>
                      <a:pt x="165" y="53"/>
                    </a:cubicBezTo>
                    <a:cubicBezTo>
                      <a:pt x="180" y="53"/>
                      <a:pt x="180" y="53"/>
                      <a:pt x="180" y="53"/>
                    </a:cubicBezTo>
                    <a:cubicBezTo>
                      <a:pt x="192" y="53"/>
                      <a:pt x="196" y="43"/>
                      <a:pt x="196" y="27"/>
                    </a:cubicBezTo>
                    <a:cubicBezTo>
                      <a:pt x="196" y="8"/>
                      <a:pt x="185" y="4"/>
                      <a:pt x="154" y="4"/>
                    </a:cubicBezTo>
                    <a:cubicBezTo>
                      <a:pt x="64" y="4"/>
                      <a:pt x="0" y="43"/>
                      <a:pt x="0" y="152"/>
                    </a:cubicBezTo>
                    <a:lnTo>
                      <a:pt x="0" y="43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25" name="Freeform 10">
                <a:extLst>
                  <a:ext uri="{FF2B5EF4-FFF2-40B4-BE49-F238E27FC236}">
                    <a16:creationId xmlns:a16="http://schemas.microsoft.com/office/drawing/2014/main" id="{2B91B16B-BC11-E547-8FAC-B9B8D18EA449}"/>
                  </a:ext>
                </a:extLst>
              </p:cNvPr>
              <p:cNvSpPr>
                <a:spLocks/>
              </p:cNvSpPr>
              <p:nvPr/>
            </p:nvSpPr>
            <p:spPr bwMode="gray">
              <a:xfrm>
                <a:off x="2880" y="1704"/>
                <a:ext cx="618" cy="916"/>
              </a:xfrm>
              <a:custGeom>
                <a:avLst/>
                <a:gdLst>
                  <a:gd name="T0" fmla="*/ 307 w 307"/>
                  <a:gd name="T1" fmla="*/ 405 h 455"/>
                  <a:gd name="T2" fmla="*/ 307 w 307"/>
                  <a:gd name="T3" fmla="*/ 244 h 455"/>
                  <a:gd name="T4" fmla="*/ 279 w 307"/>
                  <a:gd name="T5" fmla="*/ 229 h 455"/>
                  <a:gd name="T6" fmla="*/ 250 w 307"/>
                  <a:gd name="T7" fmla="*/ 244 h 455"/>
                  <a:gd name="T8" fmla="*/ 250 w 307"/>
                  <a:gd name="T9" fmla="*/ 378 h 455"/>
                  <a:gd name="T10" fmla="*/ 199 w 307"/>
                  <a:gd name="T11" fmla="*/ 408 h 455"/>
                  <a:gd name="T12" fmla="*/ 61 w 307"/>
                  <a:gd name="T13" fmla="*/ 231 h 455"/>
                  <a:gd name="T14" fmla="*/ 238 w 307"/>
                  <a:gd name="T15" fmla="*/ 49 h 455"/>
                  <a:gd name="T16" fmla="*/ 270 w 307"/>
                  <a:gd name="T17" fmla="*/ 49 h 455"/>
                  <a:gd name="T18" fmla="*/ 286 w 307"/>
                  <a:gd name="T19" fmla="*/ 23 h 455"/>
                  <a:gd name="T20" fmla="*/ 244 w 307"/>
                  <a:gd name="T21" fmla="*/ 0 h 455"/>
                  <a:gd name="T22" fmla="*/ 231 w 307"/>
                  <a:gd name="T23" fmla="*/ 0 h 455"/>
                  <a:gd name="T24" fmla="*/ 0 w 307"/>
                  <a:gd name="T25" fmla="*/ 232 h 455"/>
                  <a:gd name="T26" fmla="*/ 198 w 307"/>
                  <a:gd name="T27" fmla="*/ 455 h 455"/>
                  <a:gd name="T28" fmla="*/ 307 w 307"/>
                  <a:gd name="T29" fmla="*/ 405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7" h="455">
                    <a:moveTo>
                      <a:pt x="307" y="405"/>
                    </a:moveTo>
                    <a:cubicBezTo>
                      <a:pt x="307" y="244"/>
                      <a:pt x="307" y="244"/>
                      <a:pt x="307" y="244"/>
                    </a:cubicBezTo>
                    <a:cubicBezTo>
                      <a:pt x="307" y="234"/>
                      <a:pt x="298" y="229"/>
                      <a:pt x="279" y="229"/>
                    </a:cubicBezTo>
                    <a:cubicBezTo>
                      <a:pt x="259" y="229"/>
                      <a:pt x="250" y="234"/>
                      <a:pt x="250" y="244"/>
                    </a:cubicBezTo>
                    <a:cubicBezTo>
                      <a:pt x="250" y="378"/>
                      <a:pt x="250" y="378"/>
                      <a:pt x="250" y="378"/>
                    </a:cubicBezTo>
                    <a:cubicBezTo>
                      <a:pt x="250" y="399"/>
                      <a:pt x="241" y="408"/>
                      <a:pt x="199" y="408"/>
                    </a:cubicBezTo>
                    <a:cubicBezTo>
                      <a:pt x="114" y="408"/>
                      <a:pt x="61" y="342"/>
                      <a:pt x="61" y="231"/>
                    </a:cubicBezTo>
                    <a:cubicBezTo>
                      <a:pt x="61" y="115"/>
                      <a:pt x="126" y="49"/>
                      <a:pt x="238" y="49"/>
                    </a:cubicBezTo>
                    <a:cubicBezTo>
                      <a:pt x="270" y="49"/>
                      <a:pt x="270" y="49"/>
                      <a:pt x="270" y="49"/>
                    </a:cubicBezTo>
                    <a:cubicBezTo>
                      <a:pt x="282" y="49"/>
                      <a:pt x="286" y="39"/>
                      <a:pt x="286" y="23"/>
                    </a:cubicBezTo>
                    <a:cubicBezTo>
                      <a:pt x="286" y="4"/>
                      <a:pt x="275" y="0"/>
                      <a:pt x="244" y="0"/>
                    </a:cubicBezTo>
                    <a:cubicBezTo>
                      <a:pt x="231" y="0"/>
                      <a:pt x="231" y="0"/>
                      <a:pt x="231" y="0"/>
                    </a:cubicBezTo>
                    <a:cubicBezTo>
                      <a:pt x="101" y="0"/>
                      <a:pt x="0" y="71"/>
                      <a:pt x="0" y="232"/>
                    </a:cubicBezTo>
                    <a:cubicBezTo>
                      <a:pt x="0" y="386"/>
                      <a:pt x="88" y="455"/>
                      <a:pt x="198" y="455"/>
                    </a:cubicBezTo>
                    <a:cubicBezTo>
                      <a:pt x="286" y="455"/>
                      <a:pt x="307" y="430"/>
                      <a:pt x="307" y="40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26" name="Oval 11">
                <a:extLst>
                  <a:ext uri="{FF2B5EF4-FFF2-40B4-BE49-F238E27FC236}">
                    <a16:creationId xmlns:a16="http://schemas.microsoft.com/office/drawing/2014/main" id="{14F8C3C8-4888-7646-B9B4-64EB46A1DA23}"/>
                  </a:ext>
                </a:extLst>
              </p:cNvPr>
              <p:cNvSpPr>
                <a:spLocks noChangeArrowheads="1"/>
              </p:cNvSpPr>
              <p:nvPr/>
            </p:nvSpPr>
            <p:spPr bwMode="gray">
              <a:xfrm>
                <a:off x="3778" y="2099"/>
                <a:ext cx="122" cy="12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27" name="Freeform 12">
                <a:extLst>
                  <a:ext uri="{FF2B5EF4-FFF2-40B4-BE49-F238E27FC236}">
                    <a16:creationId xmlns:a16="http://schemas.microsoft.com/office/drawing/2014/main" id="{D79D01D1-4E3E-F34B-97D7-2D387E68746E}"/>
                  </a:ext>
                </a:extLst>
              </p:cNvPr>
              <p:cNvSpPr>
                <a:spLocks/>
              </p:cNvSpPr>
              <p:nvPr/>
            </p:nvSpPr>
            <p:spPr bwMode="gray">
              <a:xfrm>
                <a:off x="4321" y="1029"/>
                <a:ext cx="648" cy="649"/>
              </a:xfrm>
              <a:custGeom>
                <a:avLst/>
                <a:gdLst>
                  <a:gd name="T0" fmla="*/ 0 w 648"/>
                  <a:gd name="T1" fmla="*/ 649 h 649"/>
                  <a:gd name="T2" fmla="*/ 2 w 648"/>
                  <a:gd name="T3" fmla="*/ 649 h 649"/>
                  <a:gd name="T4" fmla="*/ 648 w 648"/>
                  <a:gd name="T5" fmla="*/ 0 h 649"/>
                  <a:gd name="T6" fmla="*/ 423 w 648"/>
                  <a:gd name="T7" fmla="*/ 0 h 649"/>
                  <a:gd name="T8" fmla="*/ 0 w 648"/>
                  <a:gd name="T9" fmla="*/ 649 h 649"/>
                </a:gdLst>
                <a:ahLst/>
                <a:cxnLst>
                  <a:cxn ang="0">
                    <a:pos x="T0" y="T1"/>
                  </a:cxn>
                  <a:cxn ang="0">
                    <a:pos x="T2" y="T3"/>
                  </a:cxn>
                  <a:cxn ang="0">
                    <a:pos x="T4" y="T5"/>
                  </a:cxn>
                  <a:cxn ang="0">
                    <a:pos x="T6" y="T7"/>
                  </a:cxn>
                  <a:cxn ang="0">
                    <a:pos x="T8" y="T9"/>
                  </a:cxn>
                </a:cxnLst>
                <a:rect l="0" t="0" r="r" b="b"/>
                <a:pathLst>
                  <a:path w="648" h="649">
                    <a:moveTo>
                      <a:pt x="0" y="649"/>
                    </a:moveTo>
                    <a:lnTo>
                      <a:pt x="2" y="649"/>
                    </a:lnTo>
                    <a:lnTo>
                      <a:pt x="648" y="0"/>
                    </a:lnTo>
                    <a:lnTo>
                      <a:pt x="423" y="0"/>
                    </a:lnTo>
                    <a:lnTo>
                      <a:pt x="0" y="64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28" name="Freeform 13">
                <a:extLst>
                  <a:ext uri="{FF2B5EF4-FFF2-40B4-BE49-F238E27FC236}">
                    <a16:creationId xmlns:a16="http://schemas.microsoft.com/office/drawing/2014/main" id="{46549898-6C52-B147-A8F6-A73FDBE6163B}"/>
                  </a:ext>
                </a:extLst>
              </p:cNvPr>
              <p:cNvSpPr>
                <a:spLocks/>
              </p:cNvSpPr>
              <p:nvPr/>
            </p:nvSpPr>
            <p:spPr bwMode="gray">
              <a:xfrm>
                <a:off x="4321" y="1029"/>
                <a:ext cx="648" cy="649"/>
              </a:xfrm>
              <a:custGeom>
                <a:avLst/>
                <a:gdLst>
                  <a:gd name="T0" fmla="*/ 0 w 648"/>
                  <a:gd name="T1" fmla="*/ 649 h 649"/>
                  <a:gd name="T2" fmla="*/ 2 w 648"/>
                  <a:gd name="T3" fmla="*/ 649 h 649"/>
                  <a:gd name="T4" fmla="*/ 648 w 648"/>
                  <a:gd name="T5" fmla="*/ 0 h 649"/>
                  <a:gd name="T6" fmla="*/ 423 w 648"/>
                  <a:gd name="T7" fmla="*/ 0 h 649"/>
                  <a:gd name="T8" fmla="*/ 0 w 648"/>
                  <a:gd name="T9" fmla="*/ 649 h 649"/>
                </a:gdLst>
                <a:ahLst/>
                <a:cxnLst>
                  <a:cxn ang="0">
                    <a:pos x="T0" y="T1"/>
                  </a:cxn>
                  <a:cxn ang="0">
                    <a:pos x="T2" y="T3"/>
                  </a:cxn>
                  <a:cxn ang="0">
                    <a:pos x="T4" y="T5"/>
                  </a:cxn>
                  <a:cxn ang="0">
                    <a:pos x="T6" y="T7"/>
                  </a:cxn>
                  <a:cxn ang="0">
                    <a:pos x="T8" y="T9"/>
                  </a:cxn>
                </a:cxnLst>
                <a:rect l="0" t="0" r="r" b="b"/>
                <a:pathLst>
                  <a:path w="648" h="649">
                    <a:moveTo>
                      <a:pt x="0" y="649"/>
                    </a:moveTo>
                    <a:lnTo>
                      <a:pt x="2" y="649"/>
                    </a:lnTo>
                    <a:lnTo>
                      <a:pt x="648" y="0"/>
                    </a:lnTo>
                    <a:lnTo>
                      <a:pt x="423" y="0"/>
                    </a:lnTo>
                    <a:lnTo>
                      <a:pt x="0" y="64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grpSp>
      </p:grpSp>
      <p:sp>
        <p:nvSpPr>
          <p:cNvPr id="7" name="Date Placeholder 6"/>
          <p:cNvSpPr>
            <a:spLocks noGrp="1"/>
          </p:cNvSpPr>
          <p:nvPr>
            <p:ph type="dt" sz="half" idx="10"/>
          </p:nvPr>
        </p:nvSpPr>
        <p:spPr>
          <a:xfrm>
            <a:off x="0" y="0"/>
            <a:ext cx="0" cy="0"/>
          </a:xfrm>
          <a:prstGeom prst="rect">
            <a:avLst/>
          </a:prstGeom>
        </p:spPr>
        <p:txBody>
          <a:bodyPr/>
          <a:lstStyle>
            <a:lvl1pPr>
              <a:defRPr sz="100">
                <a:noFill/>
              </a:defRPr>
            </a:lvl1pPr>
          </a:lstStyle>
          <a:p>
            <a:endParaRPr lang="en-US"/>
          </a:p>
        </p:txBody>
      </p:sp>
      <p:sp>
        <p:nvSpPr>
          <p:cNvPr id="8" name="Footer Placeholder 7"/>
          <p:cNvSpPr>
            <a:spLocks noGrp="1"/>
          </p:cNvSpPr>
          <p:nvPr>
            <p:ph type="ftr" sz="quarter" idx="11"/>
          </p:nvPr>
        </p:nvSpPr>
        <p:spPr>
          <a:xfrm>
            <a:off x="0" y="0"/>
            <a:ext cx="0" cy="0"/>
          </a:xfrm>
          <a:prstGeom prst="rect">
            <a:avLst/>
          </a:prstGeom>
        </p:spPr>
        <p:txBody>
          <a:bodyPr/>
          <a:lstStyle>
            <a:lvl1pPr marL="0" indent="0">
              <a:buNone/>
              <a:defRPr sz="100">
                <a:noFill/>
              </a:defRPr>
            </a:lvl1pPr>
          </a:lstStyle>
          <a:p>
            <a:endParaRPr lang="en-US"/>
          </a:p>
        </p:txBody>
      </p:sp>
      <p:sp>
        <p:nvSpPr>
          <p:cNvPr id="9" name="Slide Number Placeholder 8"/>
          <p:cNvSpPr>
            <a:spLocks noGrp="1"/>
          </p:cNvSpPr>
          <p:nvPr>
            <p:ph type="sldNum" sz="quarter" idx="12"/>
          </p:nvPr>
        </p:nvSpPr>
        <p:spPr>
          <a:xfrm>
            <a:off x="0" y="0"/>
            <a:ext cx="0" cy="0"/>
          </a:xfrm>
          <a:prstGeom prst="rect">
            <a:avLst/>
          </a:prstGeom>
        </p:spPr>
        <p:txBody>
          <a:bodyPr/>
          <a:lstStyle>
            <a:lvl1pPr>
              <a:defRPr sz="100">
                <a:noFill/>
              </a:defRPr>
            </a:lvl1pPr>
          </a:lstStyle>
          <a:p>
            <a:fld id="{8E3B25F7-8D1F-44B5-B485-EE3C438CFD7B}" type="slidenum">
              <a:rPr lang="en-US" smtClean="0"/>
              <a:pPr/>
              <a:t>‹#›</a:t>
            </a:fld>
            <a:endParaRPr lang="en-US"/>
          </a:p>
        </p:txBody>
      </p:sp>
      <p:sp>
        <p:nvSpPr>
          <p:cNvPr id="2" name="Title 1"/>
          <p:cNvSpPr>
            <a:spLocks noGrp="1"/>
          </p:cNvSpPr>
          <p:nvPr>
            <p:ph type="ctrTitle" hasCustomPrompt="1"/>
          </p:nvPr>
        </p:nvSpPr>
        <p:spPr>
          <a:xfrm>
            <a:off x="4777671" y="2019727"/>
            <a:ext cx="3816000" cy="2236264"/>
          </a:xfrm>
        </p:spPr>
        <p:txBody>
          <a:bodyPr anchor="b"/>
          <a:lstStyle>
            <a:lvl1pPr algn="l">
              <a:defRPr sz="3600"/>
            </a:lvl1pPr>
          </a:lstStyle>
          <a:p>
            <a:r>
              <a:rPr lang="en-US"/>
              <a:t>Click to add thank you</a:t>
            </a:r>
          </a:p>
        </p:txBody>
      </p:sp>
    </p:spTree>
    <p:extLst>
      <p:ext uri="{BB962C8B-B14F-4D97-AF65-F5344CB8AC3E}">
        <p14:creationId xmlns:p14="http://schemas.microsoft.com/office/powerpoint/2010/main" val="2585165832"/>
      </p:ext>
    </p:extLst>
  </p:cSld>
  <p:clrMapOvr>
    <a:masterClrMapping/>
  </p:clrMapOvr>
</p:sldLayout>
</file>

<file path=ppt/slideLayouts/slideLayout384.xml><?xml version="1.0" encoding="utf-8"?>
<p:sldLayout xmlns:a="http://schemas.openxmlformats.org/drawingml/2006/main" xmlns:r="http://schemas.openxmlformats.org/officeDocument/2006/relationships" xmlns:p="http://schemas.openxmlformats.org/presentationml/2006/main">
  <p:cSld name="2_Headline only">
    <p:spTree>
      <p:nvGrpSpPr>
        <p:cNvPr id="1" name=""/>
        <p:cNvGrpSpPr/>
        <p:nvPr/>
      </p:nvGrpSpPr>
      <p:grpSpPr>
        <a:xfrm>
          <a:off x="0" y="0"/>
          <a:ext cx="0" cy="0"/>
          <a:chOff x="0" y="0"/>
          <a:chExt cx="0" cy="0"/>
        </a:xfrm>
      </p:grpSpPr>
      <p:sp>
        <p:nvSpPr>
          <p:cNvPr id="21" name="Date Placeholder 20"/>
          <p:cNvSpPr>
            <a:spLocks noGrp="1"/>
          </p:cNvSpPr>
          <p:nvPr>
            <p:ph type="dt" sz="half" idx="14"/>
          </p:nvPr>
        </p:nvSpPr>
        <p:spPr>
          <a:xfrm>
            <a:off x="192089" y="6237288"/>
            <a:ext cx="863600" cy="358173"/>
          </a:xfrm>
          <a:prstGeom prst="rect">
            <a:avLst/>
          </a:prstGeom>
        </p:spPr>
        <p:txBody>
          <a:bodyPr/>
          <a:lstStyle/>
          <a:p>
            <a:fld id="{7DCAAD07-09FD-49C1-9253-3DC58F499B21}" type="datetime5">
              <a:rPr lang="en-US" smtClean="0"/>
              <a:t>26-Jun-20</a:t>
            </a:fld>
            <a:endParaRPr lang="en-US"/>
          </a:p>
        </p:txBody>
      </p:sp>
      <p:sp>
        <p:nvSpPr>
          <p:cNvPr id="22" name="Footer Placeholder 21"/>
          <p:cNvSpPr>
            <a:spLocks noGrp="1"/>
          </p:cNvSpPr>
          <p:nvPr>
            <p:ph type="ftr" sz="quarter" idx="15"/>
          </p:nvPr>
        </p:nvSpPr>
        <p:spPr>
          <a:xfrm>
            <a:off x="1177999" y="6237288"/>
            <a:ext cx="8162717" cy="358173"/>
          </a:xfrm>
          <a:prstGeom prst="rect">
            <a:avLst/>
          </a:prstGeom>
        </p:spPr>
        <p:txBody>
          <a:bodyPr/>
          <a:lstStyle/>
          <a:p>
            <a:r>
              <a:rPr lang="en-US"/>
              <a:t>Portfolio </a:t>
            </a:r>
            <a:r>
              <a:rPr lang="en-US" err="1"/>
              <a:t>Multiclient</a:t>
            </a:r>
            <a:r>
              <a:rPr lang="en-US"/>
              <a:t> 2019</a:t>
            </a:r>
          </a:p>
        </p:txBody>
      </p:sp>
      <p:sp>
        <p:nvSpPr>
          <p:cNvPr id="23" name="Slide Number Placeholder 22"/>
          <p:cNvSpPr>
            <a:spLocks noGrp="1"/>
          </p:cNvSpPr>
          <p:nvPr>
            <p:ph type="sldNum" sz="quarter" idx="16"/>
          </p:nvPr>
        </p:nvSpPr>
        <p:spPr/>
        <p:txBody>
          <a:bodyPr/>
          <a:lstStyle/>
          <a:p>
            <a:fld id="{5F3E29E4-0979-4FCA-B4C5-5FC6044C982A}" type="slidenum">
              <a:rPr lang="en-US" smtClean="0"/>
              <a:t>‹#›</a:t>
            </a:fld>
            <a:endParaRPr lang="en-US"/>
          </a:p>
        </p:txBody>
      </p:sp>
      <p:sp>
        <p:nvSpPr>
          <p:cNvPr id="2" name="Title 1"/>
          <p:cNvSpPr>
            <a:spLocks noGrp="1"/>
          </p:cNvSpPr>
          <p:nvPr>
            <p:ph type="title" hasCustomPrompt="1"/>
          </p:nvPr>
        </p:nvSpPr>
        <p:spPr/>
        <p:txBody>
          <a:bodyPr/>
          <a:lstStyle>
            <a:lvl1pPr>
              <a:defRPr/>
            </a:lvl1pPr>
          </a:lstStyle>
          <a:p>
            <a:r>
              <a:rPr lang="en-US"/>
              <a:t>Click to add slide title</a:t>
            </a:r>
          </a:p>
        </p:txBody>
      </p:sp>
      <p:sp>
        <p:nvSpPr>
          <p:cNvPr id="7" name="Subtitle 2"/>
          <p:cNvSpPr>
            <a:spLocks noGrp="1"/>
          </p:cNvSpPr>
          <p:nvPr>
            <p:ph type="subTitle" idx="13" hasCustomPrompt="1"/>
          </p:nvPr>
        </p:nvSpPr>
        <p:spPr>
          <a:xfrm>
            <a:off x="1075061" y="964671"/>
            <a:ext cx="7910158" cy="490042"/>
          </a:xfrm>
        </p:spPr>
        <p:txBody>
          <a:bodyPr wrap="none"/>
          <a:lstStyle>
            <a:lvl1pPr marL="0" indent="0" algn="l">
              <a:spcBef>
                <a:spcPts val="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spTree>
    <p:extLst>
      <p:ext uri="{BB962C8B-B14F-4D97-AF65-F5344CB8AC3E}">
        <p14:creationId xmlns:p14="http://schemas.microsoft.com/office/powerpoint/2010/main" val="1330700312"/>
      </p:ext>
    </p:extLst>
  </p:cSld>
  <p:clrMapOvr>
    <a:masterClrMapping/>
  </p:clrMapOvr>
</p:sldLayout>
</file>

<file path=ppt/slideLayouts/slideLayout385.xml><?xml version="1.0" encoding="utf-8"?>
<p:sldLayout xmlns:a="http://schemas.openxmlformats.org/drawingml/2006/main" xmlns:r="http://schemas.openxmlformats.org/officeDocument/2006/relationships" xmlns:p="http://schemas.openxmlformats.org/presentationml/2006/main">
  <p:cSld name="1_Two contents">
    <p:spTree>
      <p:nvGrpSpPr>
        <p:cNvPr id="1" name=""/>
        <p:cNvGrpSpPr/>
        <p:nvPr/>
      </p:nvGrpSpPr>
      <p:grpSpPr>
        <a:xfrm>
          <a:off x="0" y="0"/>
          <a:ext cx="0" cy="0"/>
          <a:chOff x="0" y="0"/>
          <a:chExt cx="0" cy="0"/>
        </a:xfrm>
      </p:grpSpPr>
      <p:sp>
        <p:nvSpPr>
          <p:cNvPr id="21" name="Date Placeholder 20"/>
          <p:cNvSpPr>
            <a:spLocks noGrp="1"/>
          </p:cNvSpPr>
          <p:nvPr>
            <p:ph type="dt" sz="half" idx="14"/>
          </p:nvPr>
        </p:nvSpPr>
        <p:spPr/>
        <p:txBody>
          <a:bodyPr/>
          <a:lstStyle/>
          <a:p>
            <a:fld id="{9D45F382-CD09-4611-8552-1549F9F12240}" type="datetime5">
              <a:rPr lang="en-US" smtClean="0"/>
              <a:t>26-Jun-20</a:t>
            </a:fld>
            <a:endParaRPr lang="en-US"/>
          </a:p>
        </p:txBody>
      </p:sp>
      <p:sp>
        <p:nvSpPr>
          <p:cNvPr id="22" name="Footer Placeholder 21"/>
          <p:cNvSpPr>
            <a:spLocks noGrp="1"/>
          </p:cNvSpPr>
          <p:nvPr>
            <p:ph type="ftr" sz="quarter" idx="15"/>
          </p:nvPr>
        </p:nvSpPr>
        <p:spPr/>
        <p:txBody>
          <a:bodyPr/>
          <a:lstStyle/>
          <a:p>
            <a:r>
              <a:rPr lang="en-US"/>
              <a:t>Title of presentation (Insert / Header &amp; Footer / Apply to All)</a:t>
            </a:r>
          </a:p>
        </p:txBody>
      </p:sp>
      <p:sp>
        <p:nvSpPr>
          <p:cNvPr id="23" name="Slide Number Placeholder 22"/>
          <p:cNvSpPr>
            <a:spLocks noGrp="1"/>
          </p:cNvSpPr>
          <p:nvPr>
            <p:ph type="sldNum" sz="quarter" idx="16"/>
          </p:nvPr>
        </p:nvSpPr>
        <p:spPr/>
        <p:txBody>
          <a:bodyPr/>
          <a:lstStyle/>
          <a:p>
            <a:fld id="{5F3E29E4-0979-4FCA-B4C5-5FC6044C982A}" type="slidenum">
              <a:rPr lang="en-US" smtClean="0"/>
              <a:t>‹#›</a:t>
            </a:fld>
            <a:endParaRPr lang="en-US"/>
          </a:p>
        </p:txBody>
      </p:sp>
      <p:sp>
        <p:nvSpPr>
          <p:cNvPr id="2" name="Title 1"/>
          <p:cNvSpPr>
            <a:spLocks noGrp="1"/>
          </p:cNvSpPr>
          <p:nvPr>
            <p:ph type="title" hasCustomPrompt="1"/>
          </p:nvPr>
        </p:nvSpPr>
        <p:spPr/>
        <p:txBody>
          <a:bodyPr/>
          <a:lstStyle>
            <a:lvl1pPr>
              <a:defRPr/>
            </a:lvl1pPr>
          </a:lstStyle>
          <a:p>
            <a:r>
              <a:rPr lang="en-US"/>
              <a:t>Click to add slide title</a:t>
            </a:r>
          </a:p>
        </p:txBody>
      </p:sp>
      <p:sp>
        <p:nvSpPr>
          <p:cNvPr id="7" name="Subtitle 2"/>
          <p:cNvSpPr>
            <a:spLocks noGrp="1"/>
          </p:cNvSpPr>
          <p:nvPr>
            <p:ph type="subTitle" idx="13" hasCustomPrompt="1"/>
          </p:nvPr>
        </p:nvSpPr>
        <p:spPr>
          <a:xfrm>
            <a:off x="1075061" y="964671"/>
            <a:ext cx="7910158" cy="490042"/>
          </a:xfrm>
        </p:spPr>
        <p:txBody>
          <a:bodyPr wrap="none"/>
          <a:lstStyle>
            <a:lvl1pPr marL="0" indent="0" algn="l">
              <a:spcBef>
                <a:spcPts val="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sp>
        <p:nvSpPr>
          <p:cNvPr id="3" name="Content Placeholder 2"/>
          <p:cNvSpPr>
            <a:spLocks noGrp="1"/>
          </p:cNvSpPr>
          <p:nvPr>
            <p:ph idx="1" hasCustomPrompt="1"/>
          </p:nvPr>
        </p:nvSpPr>
        <p:spPr>
          <a:xfrm>
            <a:off x="1075062" y="1629618"/>
            <a:ext cx="5220000" cy="4139357"/>
          </a:xfrm>
        </p:spPr>
        <p:txBody>
          <a:bodyPr/>
          <a:lstStyle>
            <a:lvl1pPr>
              <a:defRPr/>
            </a:lvl1pPr>
          </a:lstStyle>
          <a:p>
            <a:pPr lvl="0"/>
            <a:r>
              <a:rPr lang="en-US"/>
              <a:t>Click to add text or content</a:t>
            </a:r>
          </a:p>
          <a:p>
            <a:pPr lvl="1"/>
            <a:r>
              <a:rPr lang="en-US"/>
              <a:t>Second level</a:t>
            </a:r>
          </a:p>
          <a:p>
            <a:pPr lvl="2"/>
            <a:r>
              <a:rPr lang="en-US"/>
              <a:t>Third level</a:t>
            </a:r>
          </a:p>
          <a:p>
            <a:pPr lvl="3"/>
            <a:r>
              <a:rPr lang="en-US"/>
              <a:t>Fourth level</a:t>
            </a:r>
          </a:p>
          <a:p>
            <a:pPr lvl="4"/>
            <a:r>
              <a:rPr lang="en-US"/>
              <a:t>Fifth level</a:t>
            </a:r>
          </a:p>
        </p:txBody>
      </p:sp>
      <p:sp>
        <p:nvSpPr>
          <p:cNvPr id="9" name="Content Placeholder 2"/>
          <p:cNvSpPr>
            <a:spLocks noGrp="1"/>
          </p:cNvSpPr>
          <p:nvPr>
            <p:ph idx="17" hasCustomPrompt="1"/>
          </p:nvPr>
        </p:nvSpPr>
        <p:spPr>
          <a:xfrm>
            <a:off x="6600525" y="1629618"/>
            <a:ext cx="5220000" cy="4139357"/>
          </a:xfrm>
        </p:spPr>
        <p:txBody>
          <a:bodyPr/>
          <a:lstStyle>
            <a:lvl1pPr>
              <a:defRPr/>
            </a:lvl1pPr>
          </a:lstStyle>
          <a:p>
            <a:pPr lvl="0"/>
            <a:r>
              <a:rPr lang="en-US"/>
              <a:t>Click to add text or conten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96279227"/>
      </p:ext>
    </p:extLst>
  </p:cSld>
  <p:clrMapOvr>
    <a:masterClrMapping/>
  </p:clrMapOvr>
</p:sldLayout>
</file>

<file path=ppt/slideLayouts/slideLayout386.xml><?xml version="1.0" encoding="utf-8"?>
<p:sldLayout xmlns:a="http://schemas.openxmlformats.org/drawingml/2006/main" xmlns:r="http://schemas.openxmlformats.org/officeDocument/2006/relationships" xmlns:p="http://schemas.openxmlformats.org/presentationml/2006/main">
  <p:cSld name="1_One content">
    <p:spTree>
      <p:nvGrpSpPr>
        <p:cNvPr id="1" name=""/>
        <p:cNvGrpSpPr/>
        <p:nvPr/>
      </p:nvGrpSpPr>
      <p:grpSpPr>
        <a:xfrm>
          <a:off x="0" y="0"/>
          <a:ext cx="0" cy="0"/>
          <a:chOff x="0" y="0"/>
          <a:chExt cx="0" cy="0"/>
        </a:xfrm>
      </p:grpSpPr>
      <p:sp>
        <p:nvSpPr>
          <p:cNvPr id="21" name="Date Placeholder 20"/>
          <p:cNvSpPr>
            <a:spLocks noGrp="1"/>
          </p:cNvSpPr>
          <p:nvPr>
            <p:ph type="dt" sz="half" idx="14"/>
          </p:nvPr>
        </p:nvSpPr>
        <p:spPr/>
        <p:txBody>
          <a:bodyPr/>
          <a:lstStyle/>
          <a:p>
            <a:fld id="{4CC19292-71B2-4BF0-8023-C669B9188137}" type="datetime5">
              <a:rPr lang="en-US" smtClean="0"/>
              <a:t>26-Jun-20</a:t>
            </a:fld>
            <a:endParaRPr lang="en-US"/>
          </a:p>
        </p:txBody>
      </p:sp>
      <p:sp>
        <p:nvSpPr>
          <p:cNvPr id="22" name="Footer Placeholder 21"/>
          <p:cNvSpPr>
            <a:spLocks noGrp="1"/>
          </p:cNvSpPr>
          <p:nvPr>
            <p:ph type="ftr" sz="quarter" idx="15"/>
          </p:nvPr>
        </p:nvSpPr>
        <p:spPr/>
        <p:txBody>
          <a:bodyPr/>
          <a:lstStyle/>
          <a:p>
            <a:r>
              <a:rPr lang="en-US"/>
              <a:t>Syndicated Surveys  Portfolio 2019</a:t>
            </a:r>
          </a:p>
        </p:txBody>
      </p:sp>
      <p:sp>
        <p:nvSpPr>
          <p:cNvPr id="23" name="Slide Number Placeholder 22"/>
          <p:cNvSpPr>
            <a:spLocks noGrp="1"/>
          </p:cNvSpPr>
          <p:nvPr>
            <p:ph type="sldNum" sz="quarter" idx="16"/>
          </p:nvPr>
        </p:nvSpPr>
        <p:spPr/>
        <p:txBody>
          <a:bodyPr/>
          <a:lstStyle/>
          <a:p>
            <a:fld id="{5F3E29E4-0979-4FCA-B4C5-5FC6044C982A}" type="slidenum">
              <a:rPr lang="en-US" smtClean="0"/>
              <a:t>‹#›</a:t>
            </a:fld>
            <a:endParaRPr lang="en-US"/>
          </a:p>
        </p:txBody>
      </p:sp>
      <p:sp>
        <p:nvSpPr>
          <p:cNvPr id="2" name="Title 1"/>
          <p:cNvSpPr>
            <a:spLocks noGrp="1"/>
          </p:cNvSpPr>
          <p:nvPr>
            <p:ph type="title" hasCustomPrompt="1"/>
          </p:nvPr>
        </p:nvSpPr>
        <p:spPr/>
        <p:txBody>
          <a:bodyPr/>
          <a:lstStyle>
            <a:lvl1pPr>
              <a:defRPr/>
            </a:lvl1pPr>
          </a:lstStyle>
          <a:p>
            <a:r>
              <a:rPr lang="en-US"/>
              <a:t>Click to add slide title</a:t>
            </a:r>
          </a:p>
        </p:txBody>
      </p:sp>
      <p:sp>
        <p:nvSpPr>
          <p:cNvPr id="7" name="Subtitle 2"/>
          <p:cNvSpPr>
            <a:spLocks noGrp="1"/>
          </p:cNvSpPr>
          <p:nvPr>
            <p:ph type="subTitle" idx="13" hasCustomPrompt="1"/>
          </p:nvPr>
        </p:nvSpPr>
        <p:spPr>
          <a:xfrm>
            <a:off x="1075061" y="964671"/>
            <a:ext cx="7910158" cy="490042"/>
          </a:xfrm>
        </p:spPr>
        <p:txBody>
          <a:bodyPr wrap="none"/>
          <a:lstStyle>
            <a:lvl1pPr marL="0" indent="0" algn="l">
              <a:spcBef>
                <a:spcPts val="0"/>
              </a:spcBef>
              <a:buNone/>
              <a:defRPr sz="2400" baseline="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sp>
        <p:nvSpPr>
          <p:cNvPr id="3" name="Content Placeholder 2"/>
          <p:cNvSpPr>
            <a:spLocks noGrp="1"/>
          </p:cNvSpPr>
          <p:nvPr>
            <p:ph idx="1" hasCustomPrompt="1"/>
          </p:nvPr>
        </p:nvSpPr>
        <p:spPr/>
        <p:txBody>
          <a:bodyPr/>
          <a:lstStyle>
            <a:lvl1pPr>
              <a:defRPr baseline="0"/>
            </a:lvl1pPr>
          </a:lstStyle>
          <a:p>
            <a:pPr lvl="0"/>
            <a:r>
              <a:rPr lang="en-US"/>
              <a:t>Click to add text or conten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49540443"/>
      </p:ext>
    </p:extLst>
  </p:cSld>
  <p:clrMapOvr>
    <a:masterClrMapping/>
  </p:clrMapOvr>
</p:sldLayout>
</file>

<file path=ppt/slideLayouts/slideLayout387.xml><?xml version="1.0" encoding="utf-8"?>
<p:sldLayout xmlns:a="http://schemas.openxmlformats.org/drawingml/2006/main" xmlns:r="http://schemas.openxmlformats.org/officeDocument/2006/relationships" xmlns:p="http://schemas.openxmlformats.org/presentationml/2006/main" userDrawn="1">
  <p:cSld name="1_Headline only">
    <p:spTree>
      <p:nvGrpSpPr>
        <p:cNvPr id="1" name=""/>
        <p:cNvGrpSpPr/>
        <p:nvPr/>
      </p:nvGrpSpPr>
      <p:grpSpPr>
        <a:xfrm>
          <a:off x="0" y="0"/>
          <a:ext cx="0" cy="0"/>
          <a:chOff x="0" y="0"/>
          <a:chExt cx="0" cy="0"/>
        </a:xfrm>
      </p:grpSpPr>
      <p:sp>
        <p:nvSpPr>
          <p:cNvPr id="3" name="Textplatzhalter 2"/>
          <p:cNvSpPr>
            <a:spLocks noGrp="1"/>
          </p:cNvSpPr>
          <p:nvPr>
            <p:ph type="body" sz="quarter" idx="10" hasCustomPrompt="1"/>
          </p:nvPr>
        </p:nvSpPr>
        <p:spPr bwMode="gray">
          <a:xfrm>
            <a:off x="431213" y="1220755"/>
            <a:ext cx="11328987" cy="384340"/>
          </a:xfrm>
        </p:spPr>
        <p:txBody>
          <a:bodyPr>
            <a:noAutofit/>
          </a:bodyPr>
          <a:lstStyle>
            <a:lvl1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1pPr>
            <a:lvl2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2pPr>
            <a:lvl3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3pPr>
            <a:lvl4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4pPr>
            <a:lvl5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5pPr>
            <a:lvl6pPr marL="0" indent="0">
              <a:lnSpc>
                <a:spcPct val="100000"/>
              </a:lnSpc>
              <a:spcBef>
                <a:spcPts val="800"/>
              </a:spcBef>
              <a:buNone/>
              <a:defRPr lang="en-GB" sz="2400" kern="1200" noProof="0" smtClean="0">
                <a:solidFill>
                  <a:schemeClr val="tx2"/>
                </a:solidFill>
                <a:latin typeface="Arial" pitchFamily="34" charset="0"/>
                <a:ea typeface="+mn-ea"/>
                <a:cs typeface="Arial" pitchFamily="34" charset="0"/>
              </a:defRPr>
            </a:lvl6pPr>
            <a:lvl7pPr marL="0" indent="0">
              <a:lnSpc>
                <a:spcPct val="100000"/>
              </a:lnSpc>
              <a:spcBef>
                <a:spcPts val="800"/>
              </a:spcBef>
              <a:buNone/>
              <a:defRPr lang="en-GB" sz="2400" kern="1200" noProof="0" smtClean="0">
                <a:solidFill>
                  <a:schemeClr val="tx2"/>
                </a:solidFill>
                <a:latin typeface="Arial" pitchFamily="34" charset="0"/>
                <a:ea typeface="+mn-ea"/>
                <a:cs typeface="Arial" pitchFamily="34" charset="0"/>
              </a:defRPr>
            </a:lvl7pPr>
            <a:lvl8pPr marL="0" indent="0">
              <a:lnSpc>
                <a:spcPct val="100000"/>
              </a:lnSpc>
              <a:spcBef>
                <a:spcPts val="800"/>
              </a:spcBef>
              <a:buNone/>
              <a:defRPr lang="en-GB" sz="2400" kern="1200" noProof="0" smtClean="0">
                <a:solidFill>
                  <a:schemeClr val="tx2"/>
                </a:solidFill>
                <a:latin typeface="Arial" pitchFamily="34" charset="0"/>
                <a:ea typeface="+mn-ea"/>
                <a:cs typeface="Arial" pitchFamily="34" charset="0"/>
              </a:defRPr>
            </a:lvl8pPr>
            <a:lvl9pPr marL="0" indent="0">
              <a:lnSpc>
                <a:spcPct val="100000"/>
              </a:lnSpc>
              <a:spcBef>
                <a:spcPts val="800"/>
              </a:spcBef>
              <a:buNone/>
              <a:defRPr lang="de-DE" sz="2400" kern="1200" noProof="0" smtClean="0">
                <a:solidFill>
                  <a:schemeClr val="tx2"/>
                </a:solidFill>
                <a:latin typeface="Arial" pitchFamily="34" charset="0"/>
                <a:ea typeface="+mn-ea"/>
                <a:cs typeface="Arial" pitchFamily="34" charset="0"/>
              </a:defRPr>
            </a:lvl9pPr>
          </a:lstStyle>
          <a:p>
            <a:pPr lvl="0"/>
            <a:r>
              <a:rPr lang="en-US"/>
              <a:t>Click to add </a:t>
            </a:r>
            <a:r>
              <a:rPr lang="en-US" err="1"/>
              <a:t>subheadline</a:t>
            </a:r>
            <a:endParaRPr lang="en-US"/>
          </a:p>
        </p:txBody>
      </p:sp>
      <p:sp>
        <p:nvSpPr>
          <p:cNvPr id="4" name="Textplatzhalter 3"/>
          <p:cNvSpPr>
            <a:spLocks noGrp="1"/>
          </p:cNvSpPr>
          <p:nvPr>
            <p:ph type="body" sz="quarter" idx="11" hasCustomPrompt="1"/>
          </p:nvPr>
        </p:nvSpPr>
        <p:spPr bwMode="gray">
          <a:xfrm>
            <a:off x="431371" y="6404736"/>
            <a:ext cx="11328400" cy="192616"/>
          </a:xfrm>
        </p:spPr>
        <p:txBody>
          <a:bodyPr tIns="0" bIns="36000" anchor="b" anchorCtr="0">
            <a:noAutofit/>
          </a:bodyPr>
          <a:lstStyle>
            <a:lvl1pPr marL="0" marR="0" indent="0" algn="l" defTabSz="1219170" rtl="0" eaLnBrk="1" fontAlgn="auto" latinLnBrk="0" hangingPunct="1">
              <a:lnSpc>
                <a:spcPct val="100000"/>
              </a:lnSpc>
              <a:spcBef>
                <a:spcPts val="0"/>
              </a:spcBef>
              <a:spcAft>
                <a:spcPts val="0"/>
              </a:spcAft>
              <a:buClrTx/>
              <a:buSzTx/>
              <a:buFont typeface="Arial" pitchFamily="34" charset="0"/>
              <a:buNone/>
              <a:tabLst/>
              <a:defRPr lang="de-DE" sz="1067" kern="1200" baseline="0" noProof="0" smtClean="0">
                <a:solidFill>
                  <a:schemeClr val="bg2"/>
                </a:solidFill>
                <a:latin typeface="Arial" pitchFamily="34" charset="0"/>
                <a:ea typeface="+mn-ea"/>
                <a:cs typeface="Arial" pitchFamily="34" charset="0"/>
              </a:defRPr>
            </a:lvl1pPr>
            <a:lvl2pPr marL="0" indent="0">
              <a:lnSpc>
                <a:spcPct val="100000"/>
              </a:lnSpc>
              <a:spcBef>
                <a:spcPts val="0"/>
              </a:spcBef>
              <a:buFont typeface="Arial" panose="020B0604020202020204" pitchFamily="34" charset="0"/>
              <a:buNone/>
              <a:defRPr lang="de-DE" sz="1067" kern="1200" baseline="0" noProof="0" smtClean="0">
                <a:solidFill>
                  <a:schemeClr val="bg2"/>
                </a:solidFill>
                <a:latin typeface="Arial" pitchFamily="34" charset="0"/>
                <a:ea typeface="+mn-ea"/>
                <a:cs typeface="Arial" pitchFamily="34" charset="0"/>
              </a:defRPr>
            </a:lvl2pPr>
            <a:lvl3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3pPr>
            <a:lvl4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4pPr>
            <a:lvl5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5pPr>
            <a:lvl6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6pPr>
            <a:lvl7pPr marL="0" indent="0">
              <a:lnSpc>
                <a:spcPct val="100000"/>
              </a:lnSpc>
              <a:spcBef>
                <a:spcPts val="0"/>
              </a:spcBef>
              <a:buNone/>
              <a:defRPr lang="de-DE" sz="1067" kern="1200" baseline="0" noProof="0" dirty="0" smtClean="0">
                <a:solidFill>
                  <a:schemeClr val="bg2"/>
                </a:solidFill>
                <a:latin typeface="Arial" pitchFamily="34" charset="0"/>
                <a:ea typeface="+mn-ea"/>
                <a:cs typeface="Arial" pitchFamily="34" charset="0"/>
              </a:defRPr>
            </a:lvl7pPr>
            <a:lvl8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8pPr>
            <a:lvl9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9pPr>
          </a:lstStyle>
          <a:p>
            <a:pPr lvl="0"/>
            <a:r>
              <a:rPr lang="en-US"/>
              <a:t>Click to add source information</a:t>
            </a:r>
          </a:p>
        </p:txBody>
      </p:sp>
      <p:sp>
        <p:nvSpPr>
          <p:cNvPr id="5" name="Title 4"/>
          <p:cNvSpPr>
            <a:spLocks noGrp="1"/>
          </p:cNvSpPr>
          <p:nvPr>
            <p:ph type="title" hasCustomPrompt="1"/>
          </p:nvPr>
        </p:nvSpPr>
        <p:spPr/>
        <p:txBody>
          <a:bodyPr/>
          <a:lstStyle/>
          <a:p>
            <a:r>
              <a:rPr lang="en-US"/>
              <a:t>Click to add headline</a:t>
            </a:r>
          </a:p>
        </p:txBody>
      </p:sp>
    </p:spTree>
    <p:extLst>
      <p:ext uri="{BB962C8B-B14F-4D97-AF65-F5344CB8AC3E}">
        <p14:creationId xmlns:p14="http://schemas.microsoft.com/office/powerpoint/2010/main" val="463385753"/>
      </p:ext>
    </p:extLst>
  </p:cSld>
  <p:clrMapOvr>
    <a:masterClrMapping/>
  </p:clrMapOvr>
</p:sldLayout>
</file>

<file path=ppt/slideLayouts/slideLayout388.xml><?xml version="1.0" encoding="utf-8"?>
<p:sldLayout xmlns:a="http://schemas.openxmlformats.org/drawingml/2006/main" xmlns:r="http://schemas.openxmlformats.org/officeDocument/2006/relationships" xmlns:p="http://schemas.openxmlformats.org/presentationml/2006/main" showMasterSp="0" preserve="1">
  <p:cSld name="Title 1">
    <p:spTree>
      <p:nvGrpSpPr>
        <p:cNvPr id="1" name=""/>
        <p:cNvGrpSpPr/>
        <p:nvPr/>
      </p:nvGrpSpPr>
      <p:grpSpPr>
        <a:xfrm>
          <a:off x="0" y="0"/>
          <a:ext cx="0" cy="0"/>
          <a:chOff x="0" y="0"/>
          <a:chExt cx="0" cy="0"/>
        </a:xfrm>
      </p:grpSpPr>
      <p:pic>
        <p:nvPicPr>
          <p:cNvPr id="32" name="picture">
            <a:extLst>
              <a:ext uri="{FF2B5EF4-FFF2-40B4-BE49-F238E27FC236}">
                <a16:creationId xmlns:a16="http://schemas.microsoft.com/office/drawing/2014/main" id="{4F153214-AFE7-D540-937D-96E89FDAD54B}"/>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2620212" y="-8808"/>
            <a:ext cx="9697299" cy="6866807"/>
          </a:xfrm>
          <a:prstGeom prst="rect">
            <a:avLst/>
          </a:prstGeom>
        </p:spPr>
      </p:pic>
      <p:sp>
        <p:nvSpPr>
          <p:cNvPr id="29" name="shpPicture"/>
          <p:cNvSpPr/>
          <p:nvPr/>
        </p:nvSpPr>
        <p:spPr>
          <a:xfrm>
            <a:off x="0" y="0"/>
            <a:ext cx="4956718" cy="6858000"/>
          </a:xfrm>
          <a:custGeom>
            <a:avLst/>
            <a:gdLst>
              <a:gd name="connsiteX0" fmla="*/ 0 w 4956718"/>
              <a:gd name="connsiteY0" fmla="*/ 0 h 6858000"/>
              <a:gd name="connsiteX1" fmla="*/ 3707268 w 4956718"/>
              <a:gd name="connsiteY1" fmla="*/ 0 h 6858000"/>
              <a:gd name="connsiteX2" fmla="*/ 4956718 w 4956718"/>
              <a:gd name="connsiteY2" fmla="*/ 4163677 h 6858000"/>
              <a:gd name="connsiteX3" fmla="*/ 3376226 w 4956718"/>
              <a:gd name="connsiteY3" fmla="*/ 6858000 h 6858000"/>
              <a:gd name="connsiteX4" fmla="*/ 0 w 4956718"/>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56718" h="6858000">
                <a:moveTo>
                  <a:pt x="0" y="0"/>
                </a:moveTo>
                <a:lnTo>
                  <a:pt x="3707268" y="0"/>
                </a:lnTo>
                <a:lnTo>
                  <a:pt x="4956718" y="4163677"/>
                </a:lnTo>
                <a:lnTo>
                  <a:pt x="3376226"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125000"/>
              </a:lnSpc>
            </a:pPr>
            <a:endParaRPr lang="en-US" sz="1600"/>
          </a:p>
        </p:txBody>
      </p:sp>
      <p:grpSp>
        <p:nvGrpSpPr>
          <p:cNvPr id="14" name="logo">
            <a:extLst>
              <a:ext uri="{FF2B5EF4-FFF2-40B4-BE49-F238E27FC236}">
                <a16:creationId xmlns:a16="http://schemas.microsoft.com/office/drawing/2014/main" id="{18C26D95-70F8-8A4D-9F18-DCCB92522AF8}"/>
              </a:ext>
            </a:extLst>
          </p:cNvPr>
          <p:cNvGrpSpPr/>
          <p:nvPr/>
        </p:nvGrpSpPr>
        <p:grpSpPr bwMode="gray">
          <a:xfrm>
            <a:off x="417363" y="407485"/>
            <a:ext cx="1518585" cy="646507"/>
            <a:chOff x="334963" y="296652"/>
            <a:chExt cx="1268411" cy="540000"/>
          </a:xfrm>
        </p:grpSpPr>
        <p:sp>
          <p:nvSpPr>
            <p:cNvPr id="17" name="Freeform 6">
              <a:extLst>
                <a:ext uri="{FF2B5EF4-FFF2-40B4-BE49-F238E27FC236}">
                  <a16:creationId xmlns:a16="http://schemas.microsoft.com/office/drawing/2014/main" id="{08737AD0-E375-E445-97E6-CD2E2DF60620}"/>
                </a:ext>
              </a:extLst>
            </p:cNvPr>
            <p:cNvSpPr>
              <a:spLocks noEditPoints="1"/>
            </p:cNvSpPr>
            <p:nvPr/>
          </p:nvSpPr>
          <p:spPr bwMode="gray">
            <a:xfrm>
              <a:off x="982662" y="360462"/>
              <a:ext cx="620712" cy="431800"/>
            </a:xfrm>
            <a:custGeom>
              <a:avLst/>
              <a:gdLst>
                <a:gd name="T0" fmla="*/ 19 w 1809"/>
                <a:gd name="T1" fmla="*/ 97 h 1253"/>
                <a:gd name="T2" fmla="*/ 165 w 1809"/>
                <a:gd name="T3" fmla="*/ 41 h 1253"/>
                <a:gd name="T4" fmla="*/ 211 w 1809"/>
                <a:gd name="T5" fmla="*/ 224 h 1253"/>
                <a:gd name="T6" fmla="*/ 248 w 1809"/>
                <a:gd name="T7" fmla="*/ 155 h 1253"/>
                <a:gd name="T8" fmla="*/ 931 w 1809"/>
                <a:gd name="T9" fmla="*/ 995 h 1253"/>
                <a:gd name="T10" fmla="*/ 858 w 1809"/>
                <a:gd name="T11" fmla="*/ 1115 h 1253"/>
                <a:gd name="T12" fmla="*/ 749 w 1809"/>
                <a:gd name="T13" fmla="*/ 1117 h 1253"/>
                <a:gd name="T14" fmla="*/ 681 w 1809"/>
                <a:gd name="T15" fmla="*/ 1055 h 1253"/>
                <a:gd name="T16" fmla="*/ 800 w 1809"/>
                <a:gd name="T17" fmla="*/ 1054 h 1253"/>
                <a:gd name="T18" fmla="*/ 884 w 1809"/>
                <a:gd name="T19" fmla="*/ 1181 h 1253"/>
                <a:gd name="T20" fmla="*/ 118 w 1809"/>
                <a:gd name="T21" fmla="*/ 1086 h 1253"/>
                <a:gd name="T22" fmla="*/ 147 w 1809"/>
                <a:gd name="T23" fmla="*/ 1026 h 1253"/>
                <a:gd name="T24" fmla="*/ 102 w 1809"/>
                <a:gd name="T25" fmla="*/ 1026 h 1253"/>
                <a:gd name="T26" fmla="*/ 639 w 1809"/>
                <a:gd name="T27" fmla="*/ 84 h 1253"/>
                <a:gd name="T28" fmla="*/ 763 w 1809"/>
                <a:gd name="T29" fmla="*/ 145 h 1253"/>
                <a:gd name="T30" fmla="*/ 863 w 1809"/>
                <a:gd name="T31" fmla="*/ 221 h 1253"/>
                <a:gd name="T32" fmla="*/ 834 w 1809"/>
                <a:gd name="T33" fmla="*/ 208 h 1253"/>
                <a:gd name="T34" fmla="*/ 719 w 1809"/>
                <a:gd name="T35" fmla="*/ 182 h 1253"/>
                <a:gd name="T36" fmla="*/ 507 w 1809"/>
                <a:gd name="T37" fmla="*/ 711 h 1253"/>
                <a:gd name="T38" fmla="*/ 614 w 1809"/>
                <a:gd name="T39" fmla="*/ 706 h 1253"/>
                <a:gd name="T40" fmla="*/ 736 w 1809"/>
                <a:gd name="T41" fmla="*/ 730 h 1253"/>
                <a:gd name="T42" fmla="*/ 607 w 1809"/>
                <a:gd name="T43" fmla="*/ 539 h 1253"/>
                <a:gd name="T44" fmla="*/ 1505 w 1809"/>
                <a:gd name="T45" fmla="*/ 1136 h 1253"/>
                <a:gd name="T46" fmla="*/ 1613 w 1809"/>
                <a:gd name="T47" fmla="*/ 1002 h 1253"/>
                <a:gd name="T48" fmla="*/ 1472 w 1809"/>
                <a:gd name="T49" fmla="*/ 1164 h 1253"/>
                <a:gd name="T50" fmla="*/ 1525 w 1809"/>
                <a:gd name="T51" fmla="*/ 1142 h 1253"/>
                <a:gd name="T52" fmla="*/ 1556 w 1809"/>
                <a:gd name="T53" fmla="*/ 1172 h 1253"/>
                <a:gd name="T54" fmla="*/ 1387 w 1809"/>
                <a:gd name="T55" fmla="*/ 910 h 1253"/>
                <a:gd name="T56" fmla="*/ 1261 w 1809"/>
                <a:gd name="T57" fmla="*/ 1157 h 1253"/>
                <a:gd name="T58" fmla="*/ 1413 w 1809"/>
                <a:gd name="T59" fmla="*/ 934 h 1253"/>
                <a:gd name="T60" fmla="*/ 1378 w 1809"/>
                <a:gd name="T61" fmla="*/ 1052 h 1253"/>
                <a:gd name="T62" fmla="*/ 488 w 1809"/>
                <a:gd name="T63" fmla="*/ 85 h 1253"/>
                <a:gd name="T64" fmla="*/ 509 w 1809"/>
                <a:gd name="T65" fmla="*/ 112 h 1253"/>
                <a:gd name="T66" fmla="*/ 548 w 1809"/>
                <a:gd name="T67" fmla="*/ 1187 h 1253"/>
                <a:gd name="T68" fmla="*/ 472 w 1809"/>
                <a:gd name="T69" fmla="*/ 1122 h 1253"/>
                <a:gd name="T70" fmla="*/ 558 w 1809"/>
                <a:gd name="T71" fmla="*/ 1157 h 1253"/>
                <a:gd name="T72" fmla="*/ 287 w 1809"/>
                <a:gd name="T73" fmla="*/ 654 h 1253"/>
                <a:gd name="T74" fmla="*/ 416 w 1809"/>
                <a:gd name="T75" fmla="*/ 684 h 1253"/>
                <a:gd name="T76" fmla="*/ 1106 w 1809"/>
                <a:gd name="T77" fmla="*/ 147 h 1253"/>
                <a:gd name="T78" fmla="*/ 1229 w 1809"/>
                <a:gd name="T79" fmla="*/ 258 h 1253"/>
                <a:gd name="T80" fmla="*/ 1106 w 1809"/>
                <a:gd name="T81" fmla="*/ 96 h 1253"/>
                <a:gd name="T82" fmla="*/ 1219 w 1809"/>
                <a:gd name="T83" fmla="*/ 1077 h 1253"/>
                <a:gd name="T84" fmla="*/ 1214 w 1809"/>
                <a:gd name="T85" fmla="*/ 1157 h 1253"/>
                <a:gd name="T86" fmla="*/ 1150 w 1809"/>
                <a:gd name="T87" fmla="*/ 1092 h 1253"/>
                <a:gd name="T88" fmla="*/ 1139 w 1809"/>
                <a:gd name="T89" fmla="*/ 1070 h 1253"/>
                <a:gd name="T90" fmla="*/ 1659 w 1809"/>
                <a:gd name="T91" fmla="*/ 1031 h 1253"/>
                <a:gd name="T92" fmla="*/ 1714 w 1809"/>
                <a:gd name="T93" fmla="*/ 1155 h 1253"/>
                <a:gd name="T94" fmla="*/ 1760 w 1809"/>
                <a:gd name="T95" fmla="*/ 1030 h 1253"/>
                <a:gd name="T96" fmla="*/ 111 w 1809"/>
                <a:gd name="T97" fmla="*/ 569 h 1253"/>
                <a:gd name="T98" fmla="*/ 109 w 1809"/>
                <a:gd name="T99" fmla="*/ 460 h 1253"/>
                <a:gd name="T100" fmla="*/ 32 w 1809"/>
                <a:gd name="T101" fmla="*/ 704 h 1253"/>
                <a:gd name="T102" fmla="*/ 310 w 1809"/>
                <a:gd name="T103" fmla="*/ 1058 h 1253"/>
                <a:gd name="T104" fmla="*/ 431 w 1809"/>
                <a:gd name="T105" fmla="*/ 1044 h 1253"/>
                <a:gd name="T106" fmla="*/ 278 w 1809"/>
                <a:gd name="T107" fmla="*/ 1165 h 1253"/>
                <a:gd name="T108" fmla="*/ 261 w 1809"/>
                <a:gd name="T109" fmla="*/ 540 h 1253"/>
                <a:gd name="T110" fmla="*/ 150 w 1809"/>
                <a:gd name="T111" fmla="*/ 635 h 1253"/>
                <a:gd name="T112" fmla="*/ 994 w 1809"/>
                <a:gd name="T113" fmla="*/ 1185 h 1253"/>
                <a:gd name="T114" fmla="*/ 331 w 1809"/>
                <a:gd name="T115" fmla="*/ 176 h 1253"/>
                <a:gd name="T116" fmla="*/ 333 w 1809"/>
                <a:gd name="T117" fmla="*/ 109 h 1253"/>
                <a:gd name="T118" fmla="*/ 946 w 1809"/>
                <a:gd name="T119" fmla="*/ 234 h 1253"/>
                <a:gd name="T120" fmla="*/ 1022 w 1809"/>
                <a:gd name="T121" fmla="*/ 113 h 1253"/>
                <a:gd name="T122" fmla="*/ 949 w 1809"/>
                <a:gd name="T123" fmla="*/ 65 h 1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09" h="1253">
                  <a:moveTo>
                    <a:pt x="248" y="198"/>
                  </a:moveTo>
                  <a:cubicBezTo>
                    <a:pt x="248" y="211"/>
                    <a:pt x="248" y="224"/>
                    <a:pt x="249" y="237"/>
                  </a:cubicBezTo>
                  <a:cubicBezTo>
                    <a:pt x="249" y="245"/>
                    <a:pt x="246" y="249"/>
                    <a:pt x="240" y="253"/>
                  </a:cubicBezTo>
                  <a:cubicBezTo>
                    <a:pt x="231" y="260"/>
                    <a:pt x="220" y="264"/>
                    <a:pt x="209" y="268"/>
                  </a:cubicBezTo>
                  <a:cubicBezTo>
                    <a:pt x="179" y="279"/>
                    <a:pt x="148" y="280"/>
                    <a:pt x="118" y="275"/>
                  </a:cubicBezTo>
                  <a:cubicBezTo>
                    <a:pt x="86" y="269"/>
                    <a:pt x="58" y="252"/>
                    <a:pt x="39" y="224"/>
                  </a:cubicBezTo>
                  <a:cubicBezTo>
                    <a:pt x="24" y="203"/>
                    <a:pt x="18" y="180"/>
                    <a:pt x="15" y="155"/>
                  </a:cubicBezTo>
                  <a:cubicBezTo>
                    <a:pt x="11" y="135"/>
                    <a:pt x="15" y="115"/>
                    <a:pt x="19" y="97"/>
                  </a:cubicBezTo>
                  <a:cubicBezTo>
                    <a:pt x="26" y="68"/>
                    <a:pt x="42" y="44"/>
                    <a:pt x="68" y="27"/>
                  </a:cubicBezTo>
                  <a:cubicBezTo>
                    <a:pt x="87" y="14"/>
                    <a:pt x="109" y="6"/>
                    <a:pt x="133" y="5"/>
                  </a:cubicBezTo>
                  <a:cubicBezTo>
                    <a:pt x="149" y="4"/>
                    <a:pt x="165" y="5"/>
                    <a:pt x="181" y="6"/>
                  </a:cubicBezTo>
                  <a:cubicBezTo>
                    <a:pt x="204" y="8"/>
                    <a:pt x="225" y="20"/>
                    <a:pt x="243" y="35"/>
                  </a:cubicBezTo>
                  <a:cubicBezTo>
                    <a:pt x="246" y="37"/>
                    <a:pt x="246" y="40"/>
                    <a:pt x="244" y="43"/>
                  </a:cubicBezTo>
                  <a:cubicBezTo>
                    <a:pt x="242" y="47"/>
                    <a:pt x="239" y="52"/>
                    <a:pt x="236" y="55"/>
                  </a:cubicBezTo>
                  <a:cubicBezTo>
                    <a:pt x="226" y="65"/>
                    <a:pt x="224" y="65"/>
                    <a:pt x="206" y="54"/>
                  </a:cubicBezTo>
                  <a:cubicBezTo>
                    <a:pt x="193" y="46"/>
                    <a:pt x="180" y="40"/>
                    <a:pt x="165" y="41"/>
                  </a:cubicBezTo>
                  <a:cubicBezTo>
                    <a:pt x="151" y="41"/>
                    <a:pt x="137" y="39"/>
                    <a:pt x="124" y="42"/>
                  </a:cubicBezTo>
                  <a:cubicBezTo>
                    <a:pt x="104" y="46"/>
                    <a:pt x="87" y="57"/>
                    <a:pt x="75" y="74"/>
                  </a:cubicBezTo>
                  <a:cubicBezTo>
                    <a:pt x="56" y="99"/>
                    <a:pt x="51" y="129"/>
                    <a:pt x="55" y="159"/>
                  </a:cubicBezTo>
                  <a:cubicBezTo>
                    <a:pt x="60" y="189"/>
                    <a:pt x="73" y="214"/>
                    <a:pt x="98" y="230"/>
                  </a:cubicBezTo>
                  <a:cubicBezTo>
                    <a:pt x="109" y="237"/>
                    <a:pt x="121" y="242"/>
                    <a:pt x="135" y="241"/>
                  </a:cubicBezTo>
                  <a:cubicBezTo>
                    <a:pt x="146" y="241"/>
                    <a:pt x="158" y="241"/>
                    <a:pt x="169" y="241"/>
                  </a:cubicBezTo>
                  <a:cubicBezTo>
                    <a:pt x="182" y="242"/>
                    <a:pt x="193" y="235"/>
                    <a:pt x="205" y="232"/>
                  </a:cubicBezTo>
                  <a:cubicBezTo>
                    <a:pt x="210" y="231"/>
                    <a:pt x="211" y="227"/>
                    <a:pt x="211" y="224"/>
                  </a:cubicBezTo>
                  <a:cubicBezTo>
                    <a:pt x="211" y="210"/>
                    <a:pt x="211" y="196"/>
                    <a:pt x="211" y="183"/>
                  </a:cubicBezTo>
                  <a:cubicBezTo>
                    <a:pt x="211" y="177"/>
                    <a:pt x="207" y="175"/>
                    <a:pt x="202" y="175"/>
                  </a:cubicBezTo>
                  <a:cubicBezTo>
                    <a:pt x="193" y="175"/>
                    <a:pt x="184" y="175"/>
                    <a:pt x="175" y="175"/>
                  </a:cubicBezTo>
                  <a:cubicBezTo>
                    <a:pt x="171" y="175"/>
                    <a:pt x="168" y="174"/>
                    <a:pt x="166" y="171"/>
                  </a:cubicBezTo>
                  <a:cubicBezTo>
                    <a:pt x="163" y="163"/>
                    <a:pt x="164" y="154"/>
                    <a:pt x="166" y="146"/>
                  </a:cubicBezTo>
                  <a:cubicBezTo>
                    <a:pt x="167" y="142"/>
                    <a:pt x="171" y="142"/>
                    <a:pt x="175" y="142"/>
                  </a:cubicBezTo>
                  <a:cubicBezTo>
                    <a:pt x="196" y="142"/>
                    <a:pt x="217" y="142"/>
                    <a:pt x="238" y="142"/>
                  </a:cubicBezTo>
                  <a:cubicBezTo>
                    <a:pt x="247" y="142"/>
                    <a:pt x="248" y="148"/>
                    <a:pt x="248" y="155"/>
                  </a:cubicBezTo>
                  <a:cubicBezTo>
                    <a:pt x="249" y="169"/>
                    <a:pt x="248" y="183"/>
                    <a:pt x="248" y="198"/>
                  </a:cubicBezTo>
                  <a:close/>
                  <a:moveTo>
                    <a:pt x="884" y="1181"/>
                  </a:moveTo>
                  <a:cubicBezTo>
                    <a:pt x="889" y="1167"/>
                    <a:pt x="894" y="1152"/>
                    <a:pt x="898" y="1137"/>
                  </a:cubicBezTo>
                  <a:cubicBezTo>
                    <a:pt x="901" y="1127"/>
                    <a:pt x="905" y="1116"/>
                    <a:pt x="908" y="1106"/>
                  </a:cubicBezTo>
                  <a:cubicBezTo>
                    <a:pt x="911" y="1098"/>
                    <a:pt x="912" y="1089"/>
                    <a:pt x="916" y="1081"/>
                  </a:cubicBezTo>
                  <a:cubicBezTo>
                    <a:pt x="921" y="1072"/>
                    <a:pt x="923" y="1060"/>
                    <a:pt x="927" y="1050"/>
                  </a:cubicBezTo>
                  <a:cubicBezTo>
                    <a:pt x="932" y="1037"/>
                    <a:pt x="934" y="1023"/>
                    <a:pt x="940" y="1010"/>
                  </a:cubicBezTo>
                  <a:cubicBezTo>
                    <a:pt x="945" y="1001"/>
                    <a:pt x="941" y="995"/>
                    <a:pt x="931" y="995"/>
                  </a:cubicBezTo>
                  <a:cubicBezTo>
                    <a:pt x="927" y="995"/>
                    <a:pt x="922" y="995"/>
                    <a:pt x="918" y="995"/>
                  </a:cubicBezTo>
                  <a:cubicBezTo>
                    <a:pt x="913" y="995"/>
                    <a:pt x="908" y="997"/>
                    <a:pt x="907" y="1001"/>
                  </a:cubicBezTo>
                  <a:cubicBezTo>
                    <a:pt x="904" y="1008"/>
                    <a:pt x="900" y="1015"/>
                    <a:pt x="899" y="1023"/>
                  </a:cubicBezTo>
                  <a:cubicBezTo>
                    <a:pt x="897" y="1034"/>
                    <a:pt x="893" y="1045"/>
                    <a:pt x="889" y="1055"/>
                  </a:cubicBezTo>
                  <a:cubicBezTo>
                    <a:pt x="887" y="1064"/>
                    <a:pt x="885" y="1072"/>
                    <a:pt x="882" y="1080"/>
                  </a:cubicBezTo>
                  <a:cubicBezTo>
                    <a:pt x="878" y="1091"/>
                    <a:pt x="874" y="1103"/>
                    <a:pt x="871" y="1115"/>
                  </a:cubicBezTo>
                  <a:cubicBezTo>
                    <a:pt x="870" y="1118"/>
                    <a:pt x="871" y="1124"/>
                    <a:pt x="866" y="1124"/>
                  </a:cubicBezTo>
                  <a:cubicBezTo>
                    <a:pt x="861" y="1125"/>
                    <a:pt x="859" y="1120"/>
                    <a:pt x="858" y="1115"/>
                  </a:cubicBezTo>
                  <a:cubicBezTo>
                    <a:pt x="856" y="1110"/>
                    <a:pt x="856" y="1104"/>
                    <a:pt x="854" y="1099"/>
                  </a:cubicBezTo>
                  <a:cubicBezTo>
                    <a:pt x="848" y="1080"/>
                    <a:pt x="841" y="1062"/>
                    <a:pt x="835" y="1044"/>
                  </a:cubicBezTo>
                  <a:cubicBezTo>
                    <a:pt x="831" y="1030"/>
                    <a:pt x="828" y="1016"/>
                    <a:pt x="822" y="1003"/>
                  </a:cubicBezTo>
                  <a:cubicBezTo>
                    <a:pt x="819" y="997"/>
                    <a:pt x="814" y="994"/>
                    <a:pt x="808" y="994"/>
                  </a:cubicBezTo>
                  <a:cubicBezTo>
                    <a:pt x="799" y="993"/>
                    <a:pt x="791" y="993"/>
                    <a:pt x="787" y="1001"/>
                  </a:cubicBezTo>
                  <a:cubicBezTo>
                    <a:pt x="783" y="1008"/>
                    <a:pt x="780" y="1015"/>
                    <a:pt x="779" y="1022"/>
                  </a:cubicBezTo>
                  <a:cubicBezTo>
                    <a:pt x="778" y="1034"/>
                    <a:pt x="772" y="1044"/>
                    <a:pt x="769" y="1055"/>
                  </a:cubicBezTo>
                  <a:cubicBezTo>
                    <a:pt x="762" y="1076"/>
                    <a:pt x="754" y="1096"/>
                    <a:pt x="749" y="1117"/>
                  </a:cubicBezTo>
                  <a:cubicBezTo>
                    <a:pt x="748" y="1120"/>
                    <a:pt x="747" y="1124"/>
                    <a:pt x="742" y="1124"/>
                  </a:cubicBezTo>
                  <a:cubicBezTo>
                    <a:pt x="737" y="1124"/>
                    <a:pt x="737" y="1120"/>
                    <a:pt x="736" y="1116"/>
                  </a:cubicBezTo>
                  <a:cubicBezTo>
                    <a:pt x="734" y="1104"/>
                    <a:pt x="730" y="1092"/>
                    <a:pt x="726" y="1080"/>
                  </a:cubicBezTo>
                  <a:cubicBezTo>
                    <a:pt x="720" y="1061"/>
                    <a:pt x="714" y="1040"/>
                    <a:pt x="708" y="1020"/>
                  </a:cubicBezTo>
                  <a:cubicBezTo>
                    <a:pt x="703" y="1000"/>
                    <a:pt x="698" y="994"/>
                    <a:pt x="676" y="995"/>
                  </a:cubicBezTo>
                  <a:cubicBezTo>
                    <a:pt x="665" y="996"/>
                    <a:pt x="661" y="1001"/>
                    <a:pt x="667" y="1011"/>
                  </a:cubicBezTo>
                  <a:cubicBezTo>
                    <a:pt x="669" y="1016"/>
                    <a:pt x="670" y="1021"/>
                    <a:pt x="672" y="1025"/>
                  </a:cubicBezTo>
                  <a:cubicBezTo>
                    <a:pt x="675" y="1035"/>
                    <a:pt x="678" y="1046"/>
                    <a:pt x="681" y="1055"/>
                  </a:cubicBezTo>
                  <a:cubicBezTo>
                    <a:pt x="685" y="1068"/>
                    <a:pt x="689" y="1080"/>
                    <a:pt x="693" y="1092"/>
                  </a:cubicBezTo>
                  <a:cubicBezTo>
                    <a:pt x="697" y="1103"/>
                    <a:pt x="699" y="1113"/>
                    <a:pt x="703" y="1124"/>
                  </a:cubicBezTo>
                  <a:cubicBezTo>
                    <a:pt x="707" y="1136"/>
                    <a:pt x="711" y="1147"/>
                    <a:pt x="715" y="1160"/>
                  </a:cubicBezTo>
                  <a:cubicBezTo>
                    <a:pt x="717" y="1168"/>
                    <a:pt x="720" y="1176"/>
                    <a:pt x="724" y="1183"/>
                  </a:cubicBezTo>
                  <a:cubicBezTo>
                    <a:pt x="728" y="1189"/>
                    <a:pt x="752" y="1185"/>
                    <a:pt x="757" y="1180"/>
                  </a:cubicBezTo>
                  <a:cubicBezTo>
                    <a:pt x="764" y="1173"/>
                    <a:pt x="762" y="1163"/>
                    <a:pt x="766" y="1156"/>
                  </a:cubicBezTo>
                  <a:cubicBezTo>
                    <a:pt x="774" y="1140"/>
                    <a:pt x="778" y="1122"/>
                    <a:pt x="784" y="1105"/>
                  </a:cubicBezTo>
                  <a:cubicBezTo>
                    <a:pt x="789" y="1088"/>
                    <a:pt x="796" y="1072"/>
                    <a:pt x="800" y="1054"/>
                  </a:cubicBezTo>
                  <a:cubicBezTo>
                    <a:pt x="800" y="1053"/>
                    <a:pt x="801" y="1050"/>
                    <a:pt x="803" y="1050"/>
                  </a:cubicBezTo>
                  <a:cubicBezTo>
                    <a:pt x="806" y="1050"/>
                    <a:pt x="806" y="1052"/>
                    <a:pt x="807" y="1055"/>
                  </a:cubicBezTo>
                  <a:cubicBezTo>
                    <a:pt x="807" y="1060"/>
                    <a:pt x="810" y="1066"/>
                    <a:pt x="811" y="1071"/>
                  </a:cubicBezTo>
                  <a:cubicBezTo>
                    <a:pt x="814" y="1081"/>
                    <a:pt x="818" y="1090"/>
                    <a:pt x="821" y="1099"/>
                  </a:cubicBezTo>
                  <a:cubicBezTo>
                    <a:pt x="824" y="1110"/>
                    <a:pt x="827" y="1120"/>
                    <a:pt x="831" y="1131"/>
                  </a:cubicBezTo>
                  <a:cubicBezTo>
                    <a:pt x="834" y="1142"/>
                    <a:pt x="839" y="1153"/>
                    <a:pt x="842" y="1164"/>
                  </a:cubicBezTo>
                  <a:cubicBezTo>
                    <a:pt x="846" y="1179"/>
                    <a:pt x="850" y="1188"/>
                    <a:pt x="869" y="1185"/>
                  </a:cubicBezTo>
                  <a:cubicBezTo>
                    <a:pt x="873" y="1184"/>
                    <a:pt x="881" y="1189"/>
                    <a:pt x="884" y="1181"/>
                  </a:cubicBezTo>
                  <a:close/>
                  <a:moveTo>
                    <a:pt x="33" y="1051"/>
                  </a:moveTo>
                  <a:cubicBezTo>
                    <a:pt x="33" y="1087"/>
                    <a:pt x="33" y="1124"/>
                    <a:pt x="33" y="1160"/>
                  </a:cubicBezTo>
                  <a:cubicBezTo>
                    <a:pt x="33" y="1188"/>
                    <a:pt x="29" y="1184"/>
                    <a:pt x="58" y="1185"/>
                  </a:cubicBezTo>
                  <a:cubicBezTo>
                    <a:pt x="72" y="1185"/>
                    <a:pt x="73" y="1184"/>
                    <a:pt x="73" y="1170"/>
                  </a:cubicBezTo>
                  <a:cubicBezTo>
                    <a:pt x="73" y="1138"/>
                    <a:pt x="73" y="1107"/>
                    <a:pt x="73" y="1076"/>
                  </a:cubicBezTo>
                  <a:cubicBezTo>
                    <a:pt x="73" y="1071"/>
                    <a:pt x="72" y="1067"/>
                    <a:pt x="78" y="1065"/>
                  </a:cubicBezTo>
                  <a:cubicBezTo>
                    <a:pt x="91" y="1062"/>
                    <a:pt x="102" y="1067"/>
                    <a:pt x="110" y="1076"/>
                  </a:cubicBezTo>
                  <a:cubicBezTo>
                    <a:pt x="112" y="1080"/>
                    <a:pt x="115" y="1083"/>
                    <a:pt x="118" y="1086"/>
                  </a:cubicBezTo>
                  <a:cubicBezTo>
                    <a:pt x="132" y="1103"/>
                    <a:pt x="146" y="1119"/>
                    <a:pt x="161" y="1136"/>
                  </a:cubicBezTo>
                  <a:cubicBezTo>
                    <a:pt x="173" y="1150"/>
                    <a:pt x="186" y="1165"/>
                    <a:pt x="198" y="1179"/>
                  </a:cubicBezTo>
                  <a:cubicBezTo>
                    <a:pt x="207" y="1188"/>
                    <a:pt x="218" y="1184"/>
                    <a:pt x="228" y="1185"/>
                  </a:cubicBezTo>
                  <a:cubicBezTo>
                    <a:pt x="233" y="1185"/>
                    <a:pt x="241" y="1188"/>
                    <a:pt x="244" y="1182"/>
                  </a:cubicBezTo>
                  <a:cubicBezTo>
                    <a:pt x="246" y="1178"/>
                    <a:pt x="239" y="1173"/>
                    <a:pt x="235" y="1169"/>
                  </a:cubicBezTo>
                  <a:cubicBezTo>
                    <a:pt x="206" y="1133"/>
                    <a:pt x="176" y="1098"/>
                    <a:pt x="146" y="1062"/>
                  </a:cubicBezTo>
                  <a:cubicBezTo>
                    <a:pt x="141" y="1056"/>
                    <a:pt x="131" y="1052"/>
                    <a:pt x="132" y="1044"/>
                  </a:cubicBezTo>
                  <a:cubicBezTo>
                    <a:pt x="132" y="1036"/>
                    <a:pt x="142" y="1032"/>
                    <a:pt x="147" y="1026"/>
                  </a:cubicBezTo>
                  <a:cubicBezTo>
                    <a:pt x="164" y="1006"/>
                    <a:pt x="182" y="988"/>
                    <a:pt x="198" y="968"/>
                  </a:cubicBezTo>
                  <a:cubicBezTo>
                    <a:pt x="209" y="954"/>
                    <a:pt x="221" y="942"/>
                    <a:pt x="234" y="929"/>
                  </a:cubicBezTo>
                  <a:cubicBezTo>
                    <a:pt x="236" y="926"/>
                    <a:pt x="238" y="923"/>
                    <a:pt x="237" y="920"/>
                  </a:cubicBezTo>
                  <a:cubicBezTo>
                    <a:pt x="235" y="915"/>
                    <a:pt x="231" y="917"/>
                    <a:pt x="228" y="917"/>
                  </a:cubicBezTo>
                  <a:cubicBezTo>
                    <a:pt x="224" y="918"/>
                    <a:pt x="221" y="918"/>
                    <a:pt x="217" y="918"/>
                  </a:cubicBezTo>
                  <a:cubicBezTo>
                    <a:pt x="204" y="917"/>
                    <a:pt x="193" y="922"/>
                    <a:pt x="185" y="931"/>
                  </a:cubicBezTo>
                  <a:cubicBezTo>
                    <a:pt x="172" y="946"/>
                    <a:pt x="158" y="961"/>
                    <a:pt x="145" y="977"/>
                  </a:cubicBezTo>
                  <a:cubicBezTo>
                    <a:pt x="131" y="993"/>
                    <a:pt x="117" y="1010"/>
                    <a:pt x="102" y="1026"/>
                  </a:cubicBezTo>
                  <a:cubicBezTo>
                    <a:pt x="96" y="1032"/>
                    <a:pt x="87" y="1037"/>
                    <a:pt x="78" y="1034"/>
                  </a:cubicBezTo>
                  <a:cubicBezTo>
                    <a:pt x="70" y="1030"/>
                    <a:pt x="73" y="1021"/>
                    <a:pt x="73" y="1015"/>
                  </a:cubicBezTo>
                  <a:cubicBezTo>
                    <a:pt x="73" y="991"/>
                    <a:pt x="73" y="967"/>
                    <a:pt x="73" y="944"/>
                  </a:cubicBezTo>
                  <a:cubicBezTo>
                    <a:pt x="73" y="916"/>
                    <a:pt x="75" y="917"/>
                    <a:pt x="46" y="918"/>
                  </a:cubicBezTo>
                  <a:cubicBezTo>
                    <a:pt x="33" y="918"/>
                    <a:pt x="33" y="918"/>
                    <a:pt x="33" y="931"/>
                  </a:cubicBezTo>
                  <a:cubicBezTo>
                    <a:pt x="33" y="971"/>
                    <a:pt x="33" y="1011"/>
                    <a:pt x="33" y="1051"/>
                  </a:cubicBezTo>
                  <a:cubicBezTo>
                    <a:pt x="33" y="1051"/>
                    <a:pt x="33" y="1051"/>
                    <a:pt x="33" y="1051"/>
                  </a:cubicBezTo>
                  <a:close/>
                  <a:moveTo>
                    <a:pt x="639" y="84"/>
                  </a:moveTo>
                  <a:cubicBezTo>
                    <a:pt x="627" y="84"/>
                    <a:pt x="626" y="84"/>
                    <a:pt x="629" y="95"/>
                  </a:cubicBezTo>
                  <a:cubicBezTo>
                    <a:pt x="634" y="113"/>
                    <a:pt x="640" y="131"/>
                    <a:pt x="646" y="148"/>
                  </a:cubicBezTo>
                  <a:cubicBezTo>
                    <a:pt x="652" y="166"/>
                    <a:pt x="658" y="185"/>
                    <a:pt x="664" y="203"/>
                  </a:cubicBezTo>
                  <a:cubicBezTo>
                    <a:pt x="671" y="223"/>
                    <a:pt x="676" y="244"/>
                    <a:pt x="684" y="264"/>
                  </a:cubicBezTo>
                  <a:cubicBezTo>
                    <a:pt x="688" y="274"/>
                    <a:pt x="694" y="274"/>
                    <a:pt x="702" y="274"/>
                  </a:cubicBezTo>
                  <a:cubicBezTo>
                    <a:pt x="711" y="274"/>
                    <a:pt x="719" y="272"/>
                    <a:pt x="723" y="263"/>
                  </a:cubicBezTo>
                  <a:cubicBezTo>
                    <a:pt x="733" y="236"/>
                    <a:pt x="741" y="208"/>
                    <a:pt x="750" y="181"/>
                  </a:cubicBezTo>
                  <a:cubicBezTo>
                    <a:pt x="754" y="169"/>
                    <a:pt x="757" y="156"/>
                    <a:pt x="763" y="145"/>
                  </a:cubicBezTo>
                  <a:cubicBezTo>
                    <a:pt x="764" y="143"/>
                    <a:pt x="764" y="140"/>
                    <a:pt x="767" y="140"/>
                  </a:cubicBezTo>
                  <a:cubicBezTo>
                    <a:pt x="770" y="140"/>
                    <a:pt x="770" y="143"/>
                    <a:pt x="771" y="145"/>
                  </a:cubicBezTo>
                  <a:cubicBezTo>
                    <a:pt x="771" y="156"/>
                    <a:pt x="777" y="165"/>
                    <a:pt x="780" y="175"/>
                  </a:cubicBezTo>
                  <a:cubicBezTo>
                    <a:pt x="782" y="184"/>
                    <a:pt x="785" y="193"/>
                    <a:pt x="788" y="201"/>
                  </a:cubicBezTo>
                  <a:cubicBezTo>
                    <a:pt x="794" y="219"/>
                    <a:pt x="801" y="237"/>
                    <a:pt x="806" y="255"/>
                  </a:cubicBezTo>
                  <a:cubicBezTo>
                    <a:pt x="811" y="272"/>
                    <a:pt x="825" y="280"/>
                    <a:pt x="842" y="273"/>
                  </a:cubicBezTo>
                  <a:cubicBezTo>
                    <a:pt x="845" y="271"/>
                    <a:pt x="847" y="269"/>
                    <a:pt x="848" y="266"/>
                  </a:cubicBezTo>
                  <a:cubicBezTo>
                    <a:pt x="853" y="251"/>
                    <a:pt x="859" y="236"/>
                    <a:pt x="863" y="221"/>
                  </a:cubicBezTo>
                  <a:cubicBezTo>
                    <a:pt x="867" y="202"/>
                    <a:pt x="875" y="185"/>
                    <a:pt x="880" y="166"/>
                  </a:cubicBezTo>
                  <a:cubicBezTo>
                    <a:pt x="886" y="144"/>
                    <a:pt x="895" y="123"/>
                    <a:pt x="900" y="101"/>
                  </a:cubicBezTo>
                  <a:cubicBezTo>
                    <a:pt x="901" y="96"/>
                    <a:pt x="909" y="91"/>
                    <a:pt x="904" y="86"/>
                  </a:cubicBezTo>
                  <a:cubicBezTo>
                    <a:pt x="900" y="81"/>
                    <a:pt x="892" y="84"/>
                    <a:pt x="886" y="84"/>
                  </a:cubicBezTo>
                  <a:cubicBezTo>
                    <a:pt x="885" y="84"/>
                    <a:pt x="883" y="84"/>
                    <a:pt x="881" y="84"/>
                  </a:cubicBezTo>
                  <a:cubicBezTo>
                    <a:pt x="875" y="84"/>
                    <a:pt x="872" y="86"/>
                    <a:pt x="869" y="91"/>
                  </a:cubicBezTo>
                  <a:cubicBezTo>
                    <a:pt x="860" y="110"/>
                    <a:pt x="856" y="131"/>
                    <a:pt x="850" y="151"/>
                  </a:cubicBezTo>
                  <a:cubicBezTo>
                    <a:pt x="844" y="170"/>
                    <a:pt x="836" y="188"/>
                    <a:pt x="834" y="208"/>
                  </a:cubicBezTo>
                  <a:cubicBezTo>
                    <a:pt x="833" y="211"/>
                    <a:pt x="831" y="214"/>
                    <a:pt x="827" y="214"/>
                  </a:cubicBezTo>
                  <a:cubicBezTo>
                    <a:pt x="823" y="214"/>
                    <a:pt x="822" y="210"/>
                    <a:pt x="822" y="207"/>
                  </a:cubicBezTo>
                  <a:cubicBezTo>
                    <a:pt x="817" y="188"/>
                    <a:pt x="811" y="170"/>
                    <a:pt x="805" y="152"/>
                  </a:cubicBezTo>
                  <a:cubicBezTo>
                    <a:pt x="799" y="133"/>
                    <a:pt x="794" y="114"/>
                    <a:pt x="786" y="96"/>
                  </a:cubicBezTo>
                  <a:cubicBezTo>
                    <a:pt x="783" y="87"/>
                    <a:pt x="779" y="84"/>
                    <a:pt x="770" y="84"/>
                  </a:cubicBezTo>
                  <a:cubicBezTo>
                    <a:pt x="761" y="84"/>
                    <a:pt x="752" y="82"/>
                    <a:pt x="748" y="94"/>
                  </a:cubicBezTo>
                  <a:cubicBezTo>
                    <a:pt x="744" y="109"/>
                    <a:pt x="738" y="123"/>
                    <a:pt x="734" y="138"/>
                  </a:cubicBezTo>
                  <a:cubicBezTo>
                    <a:pt x="729" y="153"/>
                    <a:pt x="724" y="167"/>
                    <a:pt x="719" y="182"/>
                  </a:cubicBezTo>
                  <a:cubicBezTo>
                    <a:pt x="716" y="192"/>
                    <a:pt x="715" y="203"/>
                    <a:pt x="708" y="212"/>
                  </a:cubicBezTo>
                  <a:cubicBezTo>
                    <a:pt x="707" y="214"/>
                    <a:pt x="707" y="217"/>
                    <a:pt x="704" y="217"/>
                  </a:cubicBezTo>
                  <a:cubicBezTo>
                    <a:pt x="701" y="217"/>
                    <a:pt x="701" y="213"/>
                    <a:pt x="700" y="211"/>
                  </a:cubicBezTo>
                  <a:cubicBezTo>
                    <a:pt x="699" y="198"/>
                    <a:pt x="694" y="186"/>
                    <a:pt x="690" y="174"/>
                  </a:cubicBezTo>
                  <a:cubicBezTo>
                    <a:pt x="684" y="153"/>
                    <a:pt x="677" y="131"/>
                    <a:pt x="672" y="110"/>
                  </a:cubicBezTo>
                  <a:cubicBezTo>
                    <a:pt x="667" y="88"/>
                    <a:pt x="663" y="84"/>
                    <a:pt x="645" y="84"/>
                  </a:cubicBezTo>
                  <a:cubicBezTo>
                    <a:pt x="643" y="84"/>
                    <a:pt x="641" y="84"/>
                    <a:pt x="639" y="84"/>
                  </a:cubicBezTo>
                  <a:close/>
                  <a:moveTo>
                    <a:pt x="507" y="711"/>
                  </a:moveTo>
                  <a:cubicBezTo>
                    <a:pt x="507" y="730"/>
                    <a:pt x="507" y="730"/>
                    <a:pt x="526" y="730"/>
                  </a:cubicBezTo>
                  <a:cubicBezTo>
                    <a:pt x="539" y="730"/>
                    <a:pt x="541" y="729"/>
                    <a:pt x="541" y="715"/>
                  </a:cubicBezTo>
                  <a:cubicBezTo>
                    <a:pt x="541" y="677"/>
                    <a:pt x="541" y="638"/>
                    <a:pt x="540" y="600"/>
                  </a:cubicBezTo>
                  <a:cubicBezTo>
                    <a:pt x="540" y="593"/>
                    <a:pt x="543" y="587"/>
                    <a:pt x="548" y="582"/>
                  </a:cubicBezTo>
                  <a:cubicBezTo>
                    <a:pt x="553" y="576"/>
                    <a:pt x="559" y="573"/>
                    <a:pt x="564" y="569"/>
                  </a:cubicBezTo>
                  <a:cubicBezTo>
                    <a:pt x="574" y="564"/>
                    <a:pt x="594" y="566"/>
                    <a:pt x="602" y="574"/>
                  </a:cubicBezTo>
                  <a:cubicBezTo>
                    <a:pt x="611" y="582"/>
                    <a:pt x="614" y="592"/>
                    <a:pt x="614" y="604"/>
                  </a:cubicBezTo>
                  <a:cubicBezTo>
                    <a:pt x="614" y="638"/>
                    <a:pt x="614" y="672"/>
                    <a:pt x="614" y="706"/>
                  </a:cubicBezTo>
                  <a:cubicBezTo>
                    <a:pt x="614" y="730"/>
                    <a:pt x="614" y="730"/>
                    <a:pt x="638" y="730"/>
                  </a:cubicBezTo>
                  <a:cubicBezTo>
                    <a:pt x="650" y="730"/>
                    <a:pt x="650" y="730"/>
                    <a:pt x="650" y="717"/>
                  </a:cubicBezTo>
                  <a:cubicBezTo>
                    <a:pt x="650" y="684"/>
                    <a:pt x="650" y="650"/>
                    <a:pt x="650" y="617"/>
                  </a:cubicBezTo>
                  <a:cubicBezTo>
                    <a:pt x="650" y="606"/>
                    <a:pt x="651" y="597"/>
                    <a:pt x="657" y="586"/>
                  </a:cubicBezTo>
                  <a:cubicBezTo>
                    <a:pt x="667" y="565"/>
                    <a:pt x="703" y="560"/>
                    <a:pt x="716" y="579"/>
                  </a:cubicBezTo>
                  <a:cubicBezTo>
                    <a:pt x="723" y="588"/>
                    <a:pt x="724" y="598"/>
                    <a:pt x="724" y="609"/>
                  </a:cubicBezTo>
                  <a:cubicBezTo>
                    <a:pt x="724" y="645"/>
                    <a:pt x="724" y="682"/>
                    <a:pt x="724" y="718"/>
                  </a:cubicBezTo>
                  <a:cubicBezTo>
                    <a:pt x="724" y="727"/>
                    <a:pt x="727" y="731"/>
                    <a:pt x="736" y="730"/>
                  </a:cubicBezTo>
                  <a:cubicBezTo>
                    <a:pt x="738" y="730"/>
                    <a:pt x="741" y="730"/>
                    <a:pt x="743" y="730"/>
                  </a:cubicBezTo>
                  <a:cubicBezTo>
                    <a:pt x="758" y="730"/>
                    <a:pt x="759" y="729"/>
                    <a:pt x="759" y="715"/>
                  </a:cubicBezTo>
                  <a:cubicBezTo>
                    <a:pt x="759" y="677"/>
                    <a:pt x="758" y="639"/>
                    <a:pt x="759" y="601"/>
                  </a:cubicBezTo>
                  <a:cubicBezTo>
                    <a:pt x="759" y="571"/>
                    <a:pt x="742" y="540"/>
                    <a:pt x="704" y="538"/>
                  </a:cubicBezTo>
                  <a:cubicBezTo>
                    <a:pt x="681" y="536"/>
                    <a:pt x="661" y="542"/>
                    <a:pt x="646" y="560"/>
                  </a:cubicBezTo>
                  <a:cubicBezTo>
                    <a:pt x="638" y="569"/>
                    <a:pt x="638" y="569"/>
                    <a:pt x="631" y="559"/>
                  </a:cubicBezTo>
                  <a:cubicBezTo>
                    <a:pt x="630" y="558"/>
                    <a:pt x="630" y="557"/>
                    <a:pt x="629" y="556"/>
                  </a:cubicBezTo>
                  <a:cubicBezTo>
                    <a:pt x="623" y="548"/>
                    <a:pt x="616" y="541"/>
                    <a:pt x="607" y="539"/>
                  </a:cubicBezTo>
                  <a:cubicBezTo>
                    <a:pt x="584" y="534"/>
                    <a:pt x="563" y="539"/>
                    <a:pt x="545" y="555"/>
                  </a:cubicBezTo>
                  <a:cubicBezTo>
                    <a:pt x="540" y="559"/>
                    <a:pt x="537" y="561"/>
                    <a:pt x="537" y="552"/>
                  </a:cubicBezTo>
                  <a:cubicBezTo>
                    <a:pt x="536" y="543"/>
                    <a:pt x="526" y="538"/>
                    <a:pt x="515" y="539"/>
                  </a:cubicBezTo>
                  <a:cubicBezTo>
                    <a:pt x="506" y="540"/>
                    <a:pt x="507" y="546"/>
                    <a:pt x="507" y="552"/>
                  </a:cubicBezTo>
                  <a:cubicBezTo>
                    <a:pt x="507" y="580"/>
                    <a:pt x="507" y="607"/>
                    <a:pt x="507" y="634"/>
                  </a:cubicBezTo>
                  <a:cubicBezTo>
                    <a:pt x="507" y="660"/>
                    <a:pt x="507" y="685"/>
                    <a:pt x="507" y="711"/>
                  </a:cubicBezTo>
                  <a:close/>
                  <a:moveTo>
                    <a:pt x="1525" y="1142"/>
                  </a:moveTo>
                  <a:cubicBezTo>
                    <a:pt x="1517" y="1143"/>
                    <a:pt x="1511" y="1141"/>
                    <a:pt x="1505" y="1136"/>
                  </a:cubicBezTo>
                  <a:cubicBezTo>
                    <a:pt x="1501" y="1133"/>
                    <a:pt x="1495" y="1130"/>
                    <a:pt x="1498" y="1124"/>
                  </a:cubicBezTo>
                  <a:cubicBezTo>
                    <a:pt x="1500" y="1118"/>
                    <a:pt x="1504" y="1114"/>
                    <a:pt x="1512" y="1114"/>
                  </a:cubicBezTo>
                  <a:cubicBezTo>
                    <a:pt x="1521" y="1115"/>
                    <a:pt x="1530" y="1114"/>
                    <a:pt x="1538" y="1115"/>
                  </a:cubicBezTo>
                  <a:cubicBezTo>
                    <a:pt x="1573" y="1117"/>
                    <a:pt x="1610" y="1084"/>
                    <a:pt x="1602" y="1044"/>
                  </a:cubicBezTo>
                  <a:cubicBezTo>
                    <a:pt x="1600" y="1035"/>
                    <a:pt x="1599" y="1028"/>
                    <a:pt x="1611" y="1027"/>
                  </a:cubicBezTo>
                  <a:cubicBezTo>
                    <a:pt x="1614" y="1027"/>
                    <a:pt x="1617" y="1024"/>
                    <a:pt x="1619" y="1023"/>
                  </a:cubicBezTo>
                  <a:cubicBezTo>
                    <a:pt x="1626" y="1019"/>
                    <a:pt x="1624" y="1013"/>
                    <a:pt x="1623" y="1008"/>
                  </a:cubicBezTo>
                  <a:cubicBezTo>
                    <a:pt x="1623" y="1002"/>
                    <a:pt x="1618" y="1003"/>
                    <a:pt x="1613" y="1002"/>
                  </a:cubicBezTo>
                  <a:cubicBezTo>
                    <a:pt x="1598" y="1002"/>
                    <a:pt x="1582" y="1004"/>
                    <a:pt x="1567" y="1000"/>
                  </a:cubicBezTo>
                  <a:cubicBezTo>
                    <a:pt x="1560" y="999"/>
                    <a:pt x="1554" y="993"/>
                    <a:pt x="1546" y="993"/>
                  </a:cubicBezTo>
                  <a:cubicBezTo>
                    <a:pt x="1536" y="994"/>
                    <a:pt x="1525" y="992"/>
                    <a:pt x="1515" y="993"/>
                  </a:cubicBezTo>
                  <a:cubicBezTo>
                    <a:pt x="1490" y="997"/>
                    <a:pt x="1469" y="1010"/>
                    <a:pt x="1462" y="1034"/>
                  </a:cubicBezTo>
                  <a:cubicBezTo>
                    <a:pt x="1455" y="1056"/>
                    <a:pt x="1457" y="1079"/>
                    <a:pt x="1476" y="1096"/>
                  </a:cubicBezTo>
                  <a:cubicBezTo>
                    <a:pt x="1483" y="1103"/>
                    <a:pt x="1483" y="1107"/>
                    <a:pt x="1476" y="1113"/>
                  </a:cubicBezTo>
                  <a:cubicBezTo>
                    <a:pt x="1462" y="1126"/>
                    <a:pt x="1462" y="1142"/>
                    <a:pt x="1473" y="1157"/>
                  </a:cubicBezTo>
                  <a:cubicBezTo>
                    <a:pt x="1476" y="1160"/>
                    <a:pt x="1476" y="1162"/>
                    <a:pt x="1472" y="1164"/>
                  </a:cubicBezTo>
                  <a:cubicBezTo>
                    <a:pt x="1470" y="1166"/>
                    <a:pt x="1468" y="1168"/>
                    <a:pt x="1466" y="1170"/>
                  </a:cubicBezTo>
                  <a:cubicBezTo>
                    <a:pt x="1449" y="1183"/>
                    <a:pt x="1444" y="1201"/>
                    <a:pt x="1454" y="1218"/>
                  </a:cubicBezTo>
                  <a:cubicBezTo>
                    <a:pt x="1464" y="1235"/>
                    <a:pt x="1479" y="1246"/>
                    <a:pt x="1499" y="1249"/>
                  </a:cubicBezTo>
                  <a:cubicBezTo>
                    <a:pt x="1517" y="1252"/>
                    <a:pt x="1535" y="1253"/>
                    <a:pt x="1553" y="1250"/>
                  </a:cubicBezTo>
                  <a:cubicBezTo>
                    <a:pt x="1584" y="1245"/>
                    <a:pt x="1607" y="1232"/>
                    <a:pt x="1619" y="1200"/>
                  </a:cubicBezTo>
                  <a:cubicBezTo>
                    <a:pt x="1627" y="1180"/>
                    <a:pt x="1611" y="1155"/>
                    <a:pt x="1593" y="1148"/>
                  </a:cubicBezTo>
                  <a:cubicBezTo>
                    <a:pt x="1578" y="1142"/>
                    <a:pt x="1563" y="1143"/>
                    <a:pt x="1549" y="1142"/>
                  </a:cubicBezTo>
                  <a:cubicBezTo>
                    <a:pt x="1540" y="1142"/>
                    <a:pt x="1532" y="1142"/>
                    <a:pt x="1525" y="1142"/>
                  </a:cubicBezTo>
                  <a:close/>
                  <a:moveTo>
                    <a:pt x="1556" y="1172"/>
                  </a:moveTo>
                  <a:cubicBezTo>
                    <a:pt x="1566" y="1172"/>
                    <a:pt x="1576" y="1176"/>
                    <a:pt x="1583" y="1183"/>
                  </a:cubicBezTo>
                  <a:cubicBezTo>
                    <a:pt x="1589" y="1190"/>
                    <a:pt x="1589" y="1198"/>
                    <a:pt x="1583" y="1205"/>
                  </a:cubicBezTo>
                  <a:cubicBezTo>
                    <a:pt x="1575" y="1215"/>
                    <a:pt x="1565" y="1220"/>
                    <a:pt x="1553" y="1223"/>
                  </a:cubicBezTo>
                  <a:cubicBezTo>
                    <a:pt x="1534" y="1228"/>
                    <a:pt x="1516" y="1225"/>
                    <a:pt x="1499" y="1219"/>
                  </a:cubicBezTo>
                  <a:cubicBezTo>
                    <a:pt x="1486" y="1214"/>
                    <a:pt x="1479" y="1203"/>
                    <a:pt x="1482" y="1193"/>
                  </a:cubicBezTo>
                  <a:cubicBezTo>
                    <a:pt x="1485" y="1182"/>
                    <a:pt x="1496" y="1168"/>
                    <a:pt x="1514" y="1171"/>
                  </a:cubicBezTo>
                  <a:cubicBezTo>
                    <a:pt x="1526" y="1173"/>
                    <a:pt x="1541" y="1171"/>
                    <a:pt x="1556" y="1172"/>
                  </a:cubicBezTo>
                  <a:close/>
                  <a:moveTo>
                    <a:pt x="1531" y="1019"/>
                  </a:moveTo>
                  <a:cubicBezTo>
                    <a:pt x="1553" y="1017"/>
                    <a:pt x="1570" y="1033"/>
                    <a:pt x="1570" y="1052"/>
                  </a:cubicBezTo>
                  <a:cubicBezTo>
                    <a:pt x="1570" y="1075"/>
                    <a:pt x="1554" y="1093"/>
                    <a:pt x="1532" y="1091"/>
                  </a:cubicBezTo>
                  <a:cubicBezTo>
                    <a:pt x="1508" y="1089"/>
                    <a:pt x="1494" y="1082"/>
                    <a:pt x="1493" y="1053"/>
                  </a:cubicBezTo>
                  <a:cubicBezTo>
                    <a:pt x="1494" y="1029"/>
                    <a:pt x="1508" y="1020"/>
                    <a:pt x="1531" y="1019"/>
                  </a:cubicBezTo>
                  <a:close/>
                  <a:moveTo>
                    <a:pt x="1413" y="934"/>
                  </a:moveTo>
                  <a:cubicBezTo>
                    <a:pt x="1413" y="909"/>
                    <a:pt x="1413" y="909"/>
                    <a:pt x="1389" y="910"/>
                  </a:cubicBezTo>
                  <a:cubicBezTo>
                    <a:pt x="1388" y="910"/>
                    <a:pt x="1387" y="910"/>
                    <a:pt x="1387" y="910"/>
                  </a:cubicBezTo>
                  <a:cubicBezTo>
                    <a:pt x="1379" y="910"/>
                    <a:pt x="1376" y="915"/>
                    <a:pt x="1376" y="921"/>
                  </a:cubicBezTo>
                  <a:cubicBezTo>
                    <a:pt x="1376" y="939"/>
                    <a:pt x="1377" y="956"/>
                    <a:pt x="1377" y="974"/>
                  </a:cubicBezTo>
                  <a:cubicBezTo>
                    <a:pt x="1377" y="983"/>
                    <a:pt x="1377" y="991"/>
                    <a:pt x="1377" y="1000"/>
                  </a:cubicBezTo>
                  <a:cubicBezTo>
                    <a:pt x="1377" y="1005"/>
                    <a:pt x="1374" y="1009"/>
                    <a:pt x="1369" y="1005"/>
                  </a:cubicBezTo>
                  <a:cubicBezTo>
                    <a:pt x="1352" y="990"/>
                    <a:pt x="1332" y="993"/>
                    <a:pt x="1312" y="993"/>
                  </a:cubicBezTo>
                  <a:cubicBezTo>
                    <a:pt x="1303" y="994"/>
                    <a:pt x="1294" y="998"/>
                    <a:pt x="1287" y="1003"/>
                  </a:cubicBezTo>
                  <a:cubicBezTo>
                    <a:pt x="1265" y="1017"/>
                    <a:pt x="1252" y="1039"/>
                    <a:pt x="1248" y="1065"/>
                  </a:cubicBezTo>
                  <a:cubicBezTo>
                    <a:pt x="1244" y="1096"/>
                    <a:pt x="1244" y="1128"/>
                    <a:pt x="1261" y="1157"/>
                  </a:cubicBezTo>
                  <a:cubicBezTo>
                    <a:pt x="1270" y="1170"/>
                    <a:pt x="1281" y="1181"/>
                    <a:pt x="1296" y="1185"/>
                  </a:cubicBezTo>
                  <a:cubicBezTo>
                    <a:pt x="1323" y="1191"/>
                    <a:pt x="1349" y="1188"/>
                    <a:pt x="1370" y="1167"/>
                  </a:cubicBezTo>
                  <a:cubicBezTo>
                    <a:pt x="1372" y="1165"/>
                    <a:pt x="1375" y="1162"/>
                    <a:pt x="1379" y="1163"/>
                  </a:cubicBezTo>
                  <a:cubicBezTo>
                    <a:pt x="1382" y="1165"/>
                    <a:pt x="1381" y="1169"/>
                    <a:pt x="1381" y="1172"/>
                  </a:cubicBezTo>
                  <a:cubicBezTo>
                    <a:pt x="1383" y="1181"/>
                    <a:pt x="1390" y="1186"/>
                    <a:pt x="1403" y="1186"/>
                  </a:cubicBezTo>
                  <a:cubicBezTo>
                    <a:pt x="1413" y="1185"/>
                    <a:pt x="1413" y="1178"/>
                    <a:pt x="1413" y="1172"/>
                  </a:cubicBezTo>
                  <a:cubicBezTo>
                    <a:pt x="1413" y="1131"/>
                    <a:pt x="1413" y="1090"/>
                    <a:pt x="1413" y="1049"/>
                  </a:cubicBezTo>
                  <a:cubicBezTo>
                    <a:pt x="1413" y="1010"/>
                    <a:pt x="1413" y="972"/>
                    <a:pt x="1413" y="934"/>
                  </a:cubicBezTo>
                  <a:close/>
                  <a:moveTo>
                    <a:pt x="1378" y="1113"/>
                  </a:moveTo>
                  <a:cubicBezTo>
                    <a:pt x="1378" y="1136"/>
                    <a:pt x="1360" y="1155"/>
                    <a:pt x="1337" y="1157"/>
                  </a:cubicBezTo>
                  <a:cubicBezTo>
                    <a:pt x="1319" y="1159"/>
                    <a:pt x="1304" y="1154"/>
                    <a:pt x="1294" y="1139"/>
                  </a:cubicBezTo>
                  <a:cubicBezTo>
                    <a:pt x="1286" y="1128"/>
                    <a:pt x="1283" y="1116"/>
                    <a:pt x="1283" y="1102"/>
                  </a:cubicBezTo>
                  <a:cubicBezTo>
                    <a:pt x="1282" y="1085"/>
                    <a:pt x="1282" y="1067"/>
                    <a:pt x="1290" y="1051"/>
                  </a:cubicBezTo>
                  <a:cubicBezTo>
                    <a:pt x="1297" y="1036"/>
                    <a:pt x="1308" y="1024"/>
                    <a:pt x="1325" y="1022"/>
                  </a:cubicBezTo>
                  <a:cubicBezTo>
                    <a:pt x="1342" y="1020"/>
                    <a:pt x="1358" y="1021"/>
                    <a:pt x="1371" y="1035"/>
                  </a:cubicBezTo>
                  <a:cubicBezTo>
                    <a:pt x="1376" y="1041"/>
                    <a:pt x="1378" y="1046"/>
                    <a:pt x="1378" y="1052"/>
                  </a:cubicBezTo>
                  <a:cubicBezTo>
                    <a:pt x="1378" y="1064"/>
                    <a:pt x="1378" y="1075"/>
                    <a:pt x="1378" y="1086"/>
                  </a:cubicBezTo>
                  <a:cubicBezTo>
                    <a:pt x="1378" y="1086"/>
                    <a:pt x="1378" y="1086"/>
                    <a:pt x="1378" y="1086"/>
                  </a:cubicBezTo>
                  <a:cubicBezTo>
                    <a:pt x="1378" y="1095"/>
                    <a:pt x="1378" y="1104"/>
                    <a:pt x="1378" y="1113"/>
                  </a:cubicBezTo>
                  <a:close/>
                  <a:moveTo>
                    <a:pt x="578" y="259"/>
                  </a:moveTo>
                  <a:cubicBezTo>
                    <a:pt x="603" y="241"/>
                    <a:pt x="611" y="213"/>
                    <a:pt x="614" y="183"/>
                  </a:cubicBezTo>
                  <a:cubicBezTo>
                    <a:pt x="615" y="171"/>
                    <a:pt x="610" y="159"/>
                    <a:pt x="609" y="147"/>
                  </a:cubicBezTo>
                  <a:cubicBezTo>
                    <a:pt x="608" y="137"/>
                    <a:pt x="603" y="129"/>
                    <a:pt x="599" y="121"/>
                  </a:cubicBezTo>
                  <a:cubicBezTo>
                    <a:pt x="579" y="87"/>
                    <a:pt x="527" y="70"/>
                    <a:pt x="488" y="85"/>
                  </a:cubicBezTo>
                  <a:cubicBezTo>
                    <a:pt x="453" y="99"/>
                    <a:pt x="436" y="127"/>
                    <a:pt x="431" y="163"/>
                  </a:cubicBezTo>
                  <a:cubicBezTo>
                    <a:pt x="429" y="180"/>
                    <a:pt x="430" y="196"/>
                    <a:pt x="436" y="213"/>
                  </a:cubicBezTo>
                  <a:cubicBezTo>
                    <a:pt x="439" y="222"/>
                    <a:pt x="442" y="232"/>
                    <a:pt x="447" y="239"/>
                  </a:cubicBezTo>
                  <a:cubicBezTo>
                    <a:pt x="465" y="265"/>
                    <a:pt x="491" y="277"/>
                    <a:pt x="525" y="276"/>
                  </a:cubicBezTo>
                  <a:cubicBezTo>
                    <a:pt x="543" y="278"/>
                    <a:pt x="562" y="271"/>
                    <a:pt x="578" y="259"/>
                  </a:cubicBezTo>
                  <a:close/>
                  <a:moveTo>
                    <a:pt x="471" y="205"/>
                  </a:moveTo>
                  <a:cubicBezTo>
                    <a:pt x="466" y="185"/>
                    <a:pt x="468" y="167"/>
                    <a:pt x="472" y="147"/>
                  </a:cubicBezTo>
                  <a:cubicBezTo>
                    <a:pt x="477" y="130"/>
                    <a:pt x="493" y="116"/>
                    <a:pt x="509" y="112"/>
                  </a:cubicBezTo>
                  <a:cubicBezTo>
                    <a:pt x="525" y="108"/>
                    <a:pt x="539" y="110"/>
                    <a:pt x="553" y="119"/>
                  </a:cubicBezTo>
                  <a:cubicBezTo>
                    <a:pt x="563" y="125"/>
                    <a:pt x="568" y="135"/>
                    <a:pt x="571" y="146"/>
                  </a:cubicBezTo>
                  <a:cubicBezTo>
                    <a:pt x="577" y="167"/>
                    <a:pt x="578" y="189"/>
                    <a:pt x="571" y="211"/>
                  </a:cubicBezTo>
                  <a:cubicBezTo>
                    <a:pt x="565" y="231"/>
                    <a:pt x="549" y="249"/>
                    <a:pt x="521" y="247"/>
                  </a:cubicBezTo>
                  <a:cubicBezTo>
                    <a:pt x="496" y="247"/>
                    <a:pt x="478" y="230"/>
                    <a:pt x="471" y="205"/>
                  </a:cubicBezTo>
                  <a:close/>
                  <a:moveTo>
                    <a:pt x="472" y="1122"/>
                  </a:moveTo>
                  <a:cubicBezTo>
                    <a:pt x="475" y="1136"/>
                    <a:pt x="481" y="1148"/>
                    <a:pt x="491" y="1158"/>
                  </a:cubicBezTo>
                  <a:cubicBezTo>
                    <a:pt x="506" y="1176"/>
                    <a:pt x="524" y="1185"/>
                    <a:pt x="548" y="1187"/>
                  </a:cubicBezTo>
                  <a:cubicBezTo>
                    <a:pt x="568" y="1188"/>
                    <a:pt x="587" y="1187"/>
                    <a:pt x="605" y="1177"/>
                  </a:cubicBezTo>
                  <a:cubicBezTo>
                    <a:pt x="632" y="1162"/>
                    <a:pt x="644" y="1136"/>
                    <a:pt x="649" y="1107"/>
                  </a:cubicBezTo>
                  <a:cubicBezTo>
                    <a:pt x="652" y="1089"/>
                    <a:pt x="649" y="1072"/>
                    <a:pt x="644" y="1054"/>
                  </a:cubicBezTo>
                  <a:cubicBezTo>
                    <a:pt x="638" y="1034"/>
                    <a:pt x="627" y="1019"/>
                    <a:pt x="610" y="1007"/>
                  </a:cubicBezTo>
                  <a:cubicBezTo>
                    <a:pt x="589" y="992"/>
                    <a:pt x="566" y="991"/>
                    <a:pt x="541" y="994"/>
                  </a:cubicBezTo>
                  <a:cubicBezTo>
                    <a:pt x="526" y="995"/>
                    <a:pt x="512" y="1002"/>
                    <a:pt x="500" y="1012"/>
                  </a:cubicBezTo>
                  <a:cubicBezTo>
                    <a:pt x="476" y="1032"/>
                    <a:pt x="469" y="1060"/>
                    <a:pt x="466" y="1095"/>
                  </a:cubicBezTo>
                  <a:cubicBezTo>
                    <a:pt x="465" y="1101"/>
                    <a:pt x="470" y="1111"/>
                    <a:pt x="472" y="1122"/>
                  </a:cubicBezTo>
                  <a:close/>
                  <a:moveTo>
                    <a:pt x="508" y="1113"/>
                  </a:moveTo>
                  <a:cubicBezTo>
                    <a:pt x="505" y="1095"/>
                    <a:pt x="506" y="1078"/>
                    <a:pt x="508" y="1061"/>
                  </a:cubicBezTo>
                  <a:cubicBezTo>
                    <a:pt x="511" y="1042"/>
                    <a:pt x="538" y="1021"/>
                    <a:pt x="554" y="1022"/>
                  </a:cubicBezTo>
                  <a:cubicBezTo>
                    <a:pt x="570" y="1022"/>
                    <a:pt x="586" y="1024"/>
                    <a:pt x="596" y="1037"/>
                  </a:cubicBezTo>
                  <a:cubicBezTo>
                    <a:pt x="602" y="1044"/>
                    <a:pt x="607" y="1052"/>
                    <a:pt x="608" y="1061"/>
                  </a:cubicBezTo>
                  <a:cubicBezTo>
                    <a:pt x="608" y="1064"/>
                    <a:pt x="609" y="1067"/>
                    <a:pt x="610" y="1070"/>
                  </a:cubicBezTo>
                  <a:cubicBezTo>
                    <a:pt x="618" y="1089"/>
                    <a:pt x="612" y="1107"/>
                    <a:pt x="607" y="1125"/>
                  </a:cubicBezTo>
                  <a:cubicBezTo>
                    <a:pt x="601" y="1143"/>
                    <a:pt x="588" y="1160"/>
                    <a:pt x="558" y="1157"/>
                  </a:cubicBezTo>
                  <a:cubicBezTo>
                    <a:pt x="530" y="1157"/>
                    <a:pt x="512" y="1141"/>
                    <a:pt x="508" y="1113"/>
                  </a:cubicBezTo>
                  <a:close/>
                  <a:moveTo>
                    <a:pt x="430" y="716"/>
                  </a:moveTo>
                  <a:cubicBezTo>
                    <a:pt x="450" y="703"/>
                    <a:pt x="459" y="683"/>
                    <a:pt x="464" y="661"/>
                  </a:cubicBezTo>
                  <a:cubicBezTo>
                    <a:pt x="468" y="648"/>
                    <a:pt x="467" y="635"/>
                    <a:pt x="466" y="621"/>
                  </a:cubicBezTo>
                  <a:cubicBezTo>
                    <a:pt x="463" y="592"/>
                    <a:pt x="453" y="567"/>
                    <a:pt x="427" y="550"/>
                  </a:cubicBezTo>
                  <a:cubicBezTo>
                    <a:pt x="401" y="534"/>
                    <a:pt x="372" y="532"/>
                    <a:pt x="345" y="541"/>
                  </a:cubicBezTo>
                  <a:cubicBezTo>
                    <a:pt x="310" y="552"/>
                    <a:pt x="291" y="580"/>
                    <a:pt x="287" y="617"/>
                  </a:cubicBezTo>
                  <a:cubicBezTo>
                    <a:pt x="286" y="629"/>
                    <a:pt x="286" y="641"/>
                    <a:pt x="287" y="654"/>
                  </a:cubicBezTo>
                  <a:cubicBezTo>
                    <a:pt x="289" y="671"/>
                    <a:pt x="295" y="686"/>
                    <a:pt x="306" y="700"/>
                  </a:cubicBezTo>
                  <a:cubicBezTo>
                    <a:pt x="324" y="722"/>
                    <a:pt x="348" y="733"/>
                    <a:pt x="378" y="731"/>
                  </a:cubicBezTo>
                  <a:cubicBezTo>
                    <a:pt x="396" y="733"/>
                    <a:pt x="414" y="727"/>
                    <a:pt x="430" y="716"/>
                  </a:cubicBezTo>
                  <a:close/>
                  <a:moveTo>
                    <a:pt x="331" y="592"/>
                  </a:moveTo>
                  <a:cubicBezTo>
                    <a:pt x="339" y="580"/>
                    <a:pt x="349" y="569"/>
                    <a:pt x="365" y="567"/>
                  </a:cubicBezTo>
                  <a:cubicBezTo>
                    <a:pt x="387" y="564"/>
                    <a:pt x="406" y="568"/>
                    <a:pt x="419" y="588"/>
                  </a:cubicBezTo>
                  <a:cubicBezTo>
                    <a:pt x="423" y="595"/>
                    <a:pt x="426" y="603"/>
                    <a:pt x="427" y="610"/>
                  </a:cubicBezTo>
                  <a:cubicBezTo>
                    <a:pt x="433" y="635"/>
                    <a:pt x="431" y="661"/>
                    <a:pt x="416" y="684"/>
                  </a:cubicBezTo>
                  <a:cubicBezTo>
                    <a:pt x="403" y="706"/>
                    <a:pt x="362" y="708"/>
                    <a:pt x="345" y="692"/>
                  </a:cubicBezTo>
                  <a:cubicBezTo>
                    <a:pt x="329" y="678"/>
                    <a:pt x="323" y="661"/>
                    <a:pt x="323" y="631"/>
                  </a:cubicBezTo>
                  <a:cubicBezTo>
                    <a:pt x="323" y="619"/>
                    <a:pt x="323" y="605"/>
                    <a:pt x="331" y="592"/>
                  </a:cubicBezTo>
                  <a:close/>
                  <a:moveTo>
                    <a:pt x="1073" y="259"/>
                  </a:moveTo>
                  <a:cubicBezTo>
                    <a:pt x="1073" y="269"/>
                    <a:pt x="1075" y="272"/>
                    <a:pt x="1086" y="272"/>
                  </a:cubicBezTo>
                  <a:cubicBezTo>
                    <a:pt x="1088" y="272"/>
                    <a:pt x="1090" y="272"/>
                    <a:pt x="1092" y="272"/>
                  </a:cubicBezTo>
                  <a:cubicBezTo>
                    <a:pt x="1105" y="272"/>
                    <a:pt x="1106" y="271"/>
                    <a:pt x="1106" y="258"/>
                  </a:cubicBezTo>
                  <a:cubicBezTo>
                    <a:pt x="1106" y="221"/>
                    <a:pt x="1106" y="184"/>
                    <a:pt x="1106" y="147"/>
                  </a:cubicBezTo>
                  <a:cubicBezTo>
                    <a:pt x="1106" y="143"/>
                    <a:pt x="1106" y="140"/>
                    <a:pt x="1107" y="137"/>
                  </a:cubicBezTo>
                  <a:cubicBezTo>
                    <a:pt x="1117" y="117"/>
                    <a:pt x="1157" y="104"/>
                    <a:pt x="1177" y="114"/>
                  </a:cubicBezTo>
                  <a:cubicBezTo>
                    <a:pt x="1179" y="115"/>
                    <a:pt x="1180" y="117"/>
                    <a:pt x="1182" y="118"/>
                  </a:cubicBezTo>
                  <a:cubicBezTo>
                    <a:pt x="1194" y="131"/>
                    <a:pt x="1196" y="147"/>
                    <a:pt x="1196" y="163"/>
                  </a:cubicBezTo>
                  <a:cubicBezTo>
                    <a:pt x="1197" y="195"/>
                    <a:pt x="1196" y="226"/>
                    <a:pt x="1196" y="258"/>
                  </a:cubicBezTo>
                  <a:cubicBezTo>
                    <a:pt x="1196" y="271"/>
                    <a:pt x="1197" y="272"/>
                    <a:pt x="1210" y="272"/>
                  </a:cubicBezTo>
                  <a:cubicBezTo>
                    <a:pt x="1212" y="272"/>
                    <a:pt x="1213" y="272"/>
                    <a:pt x="1215" y="272"/>
                  </a:cubicBezTo>
                  <a:cubicBezTo>
                    <a:pt x="1227" y="272"/>
                    <a:pt x="1229" y="270"/>
                    <a:pt x="1229" y="258"/>
                  </a:cubicBezTo>
                  <a:cubicBezTo>
                    <a:pt x="1229" y="222"/>
                    <a:pt x="1229" y="187"/>
                    <a:pt x="1229" y="151"/>
                  </a:cubicBezTo>
                  <a:cubicBezTo>
                    <a:pt x="1229" y="142"/>
                    <a:pt x="1228" y="132"/>
                    <a:pt x="1225" y="123"/>
                  </a:cubicBezTo>
                  <a:cubicBezTo>
                    <a:pt x="1219" y="105"/>
                    <a:pt x="1208" y="91"/>
                    <a:pt x="1189" y="85"/>
                  </a:cubicBezTo>
                  <a:cubicBezTo>
                    <a:pt x="1173" y="80"/>
                    <a:pt x="1156" y="84"/>
                    <a:pt x="1139" y="84"/>
                  </a:cubicBezTo>
                  <a:cubicBezTo>
                    <a:pt x="1137" y="84"/>
                    <a:pt x="1136" y="86"/>
                    <a:pt x="1134" y="87"/>
                  </a:cubicBezTo>
                  <a:cubicBezTo>
                    <a:pt x="1128" y="91"/>
                    <a:pt x="1121" y="96"/>
                    <a:pt x="1115" y="100"/>
                  </a:cubicBezTo>
                  <a:cubicBezTo>
                    <a:pt x="1113" y="102"/>
                    <a:pt x="1111" y="105"/>
                    <a:pt x="1108" y="103"/>
                  </a:cubicBezTo>
                  <a:cubicBezTo>
                    <a:pt x="1105" y="102"/>
                    <a:pt x="1106" y="98"/>
                    <a:pt x="1106" y="96"/>
                  </a:cubicBezTo>
                  <a:cubicBezTo>
                    <a:pt x="1106" y="69"/>
                    <a:pt x="1106" y="43"/>
                    <a:pt x="1106" y="17"/>
                  </a:cubicBezTo>
                  <a:cubicBezTo>
                    <a:pt x="1106" y="0"/>
                    <a:pt x="1106" y="0"/>
                    <a:pt x="1089" y="0"/>
                  </a:cubicBezTo>
                  <a:cubicBezTo>
                    <a:pt x="1074" y="0"/>
                    <a:pt x="1073" y="1"/>
                    <a:pt x="1073" y="16"/>
                  </a:cubicBezTo>
                  <a:cubicBezTo>
                    <a:pt x="1073" y="56"/>
                    <a:pt x="1073" y="96"/>
                    <a:pt x="1073" y="136"/>
                  </a:cubicBezTo>
                  <a:cubicBezTo>
                    <a:pt x="1073" y="177"/>
                    <a:pt x="1073" y="218"/>
                    <a:pt x="1073" y="259"/>
                  </a:cubicBezTo>
                  <a:close/>
                  <a:moveTo>
                    <a:pt x="1150" y="1092"/>
                  </a:moveTo>
                  <a:cubicBezTo>
                    <a:pt x="1168" y="1092"/>
                    <a:pt x="1186" y="1092"/>
                    <a:pt x="1204" y="1092"/>
                  </a:cubicBezTo>
                  <a:cubicBezTo>
                    <a:pt x="1215" y="1092"/>
                    <a:pt x="1218" y="1087"/>
                    <a:pt x="1219" y="1077"/>
                  </a:cubicBezTo>
                  <a:cubicBezTo>
                    <a:pt x="1220" y="1062"/>
                    <a:pt x="1216" y="1049"/>
                    <a:pt x="1210" y="1036"/>
                  </a:cubicBezTo>
                  <a:cubicBezTo>
                    <a:pt x="1204" y="1020"/>
                    <a:pt x="1193" y="1008"/>
                    <a:pt x="1177" y="1001"/>
                  </a:cubicBezTo>
                  <a:cubicBezTo>
                    <a:pt x="1155" y="992"/>
                    <a:pt x="1133" y="991"/>
                    <a:pt x="1109" y="999"/>
                  </a:cubicBezTo>
                  <a:cubicBezTo>
                    <a:pt x="1079" y="1010"/>
                    <a:pt x="1062" y="1031"/>
                    <a:pt x="1056" y="1061"/>
                  </a:cubicBezTo>
                  <a:cubicBezTo>
                    <a:pt x="1051" y="1090"/>
                    <a:pt x="1052" y="1120"/>
                    <a:pt x="1069" y="1148"/>
                  </a:cubicBezTo>
                  <a:cubicBezTo>
                    <a:pt x="1081" y="1169"/>
                    <a:pt x="1100" y="1180"/>
                    <a:pt x="1122" y="1185"/>
                  </a:cubicBezTo>
                  <a:cubicBezTo>
                    <a:pt x="1149" y="1190"/>
                    <a:pt x="1176" y="1186"/>
                    <a:pt x="1200" y="1171"/>
                  </a:cubicBezTo>
                  <a:cubicBezTo>
                    <a:pt x="1206" y="1168"/>
                    <a:pt x="1213" y="1165"/>
                    <a:pt x="1214" y="1157"/>
                  </a:cubicBezTo>
                  <a:cubicBezTo>
                    <a:pt x="1215" y="1147"/>
                    <a:pt x="1202" y="1139"/>
                    <a:pt x="1193" y="1144"/>
                  </a:cubicBezTo>
                  <a:cubicBezTo>
                    <a:pt x="1187" y="1147"/>
                    <a:pt x="1180" y="1150"/>
                    <a:pt x="1174" y="1153"/>
                  </a:cubicBezTo>
                  <a:cubicBezTo>
                    <a:pt x="1158" y="1161"/>
                    <a:pt x="1140" y="1161"/>
                    <a:pt x="1124" y="1155"/>
                  </a:cubicBezTo>
                  <a:cubicBezTo>
                    <a:pt x="1112" y="1151"/>
                    <a:pt x="1102" y="1142"/>
                    <a:pt x="1096" y="1129"/>
                  </a:cubicBezTo>
                  <a:cubicBezTo>
                    <a:pt x="1092" y="1121"/>
                    <a:pt x="1091" y="1112"/>
                    <a:pt x="1089" y="1104"/>
                  </a:cubicBezTo>
                  <a:cubicBezTo>
                    <a:pt x="1087" y="1093"/>
                    <a:pt x="1087" y="1092"/>
                    <a:pt x="1099" y="1092"/>
                  </a:cubicBezTo>
                  <a:cubicBezTo>
                    <a:pt x="1116" y="1092"/>
                    <a:pt x="1133" y="1092"/>
                    <a:pt x="1150" y="1092"/>
                  </a:cubicBezTo>
                  <a:cubicBezTo>
                    <a:pt x="1150" y="1092"/>
                    <a:pt x="1150" y="1092"/>
                    <a:pt x="1150" y="1092"/>
                  </a:cubicBezTo>
                  <a:close/>
                  <a:moveTo>
                    <a:pt x="1099" y="1070"/>
                  </a:moveTo>
                  <a:cubicBezTo>
                    <a:pt x="1092" y="1071"/>
                    <a:pt x="1089" y="1067"/>
                    <a:pt x="1091" y="1060"/>
                  </a:cubicBezTo>
                  <a:cubicBezTo>
                    <a:pt x="1094" y="1045"/>
                    <a:pt x="1108" y="1023"/>
                    <a:pt x="1128" y="1022"/>
                  </a:cubicBezTo>
                  <a:cubicBezTo>
                    <a:pt x="1142" y="1021"/>
                    <a:pt x="1156" y="1018"/>
                    <a:pt x="1168" y="1029"/>
                  </a:cubicBezTo>
                  <a:cubicBezTo>
                    <a:pt x="1181" y="1038"/>
                    <a:pt x="1185" y="1051"/>
                    <a:pt x="1187" y="1066"/>
                  </a:cubicBezTo>
                  <a:cubicBezTo>
                    <a:pt x="1188" y="1071"/>
                    <a:pt x="1183" y="1070"/>
                    <a:pt x="1180" y="1070"/>
                  </a:cubicBezTo>
                  <a:cubicBezTo>
                    <a:pt x="1166" y="1070"/>
                    <a:pt x="1153" y="1070"/>
                    <a:pt x="1139" y="1070"/>
                  </a:cubicBezTo>
                  <a:cubicBezTo>
                    <a:pt x="1139" y="1070"/>
                    <a:pt x="1139" y="1070"/>
                    <a:pt x="1139" y="1070"/>
                  </a:cubicBezTo>
                  <a:cubicBezTo>
                    <a:pt x="1126" y="1070"/>
                    <a:pt x="1113" y="1070"/>
                    <a:pt x="1099" y="1070"/>
                  </a:cubicBezTo>
                  <a:close/>
                  <a:moveTo>
                    <a:pt x="1741" y="1092"/>
                  </a:moveTo>
                  <a:cubicBezTo>
                    <a:pt x="1759" y="1092"/>
                    <a:pt x="1776" y="1092"/>
                    <a:pt x="1793" y="1092"/>
                  </a:cubicBezTo>
                  <a:cubicBezTo>
                    <a:pt x="1806" y="1092"/>
                    <a:pt x="1808" y="1089"/>
                    <a:pt x="1808" y="1076"/>
                  </a:cubicBezTo>
                  <a:cubicBezTo>
                    <a:pt x="1809" y="1063"/>
                    <a:pt x="1807" y="1051"/>
                    <a:pt x="1802" y="1038"/>
                  </a:cubicBezTo>
                  <a:cubicBezTo>
                    <a:pt x="1794" y="1021"/>
                    <a:pt x="1782" y="1008"/>
                    <a:pt x="1764" y="1000"/>
                  </a:cubicBezTo>
                  <a:cubicBezTo>
                    <a:pt x="1742" y="991"/>
                    <a:pt x="1720" y="991"/>
                    <a:pt x="1698" y="1000"/>
                  </a:cubicBezTo>
                  <a:cubicBezTo>
                    <a:pt x="1681" y="1006"/>
                    <a:pt x="1668" y="1016"/>
                    <a:pt x="1659" y="1031"/>
                  </a:cubicBezTo>
                  <a:cubicBezTo>
                    <a:pt x="1646" y="1050"/>
                    <a:pt x="1643" y="1071"/>
                    <a:pt x="1644" y="1094"/>
                  </a:cubicBezTo>
                  <a:cubicBezTo>
                    <a:pt x="1644" y="1110"/>
                    <a:pt x="1647" y="1127"/>
                    <a:pt x="1655" y="1141"/>
                  </a:cubicBezTo>
                  <a:cubicBezTo>
                    <a:pt x="1669" y="1168"/>
                    <a:pt x="1691" y="1183"/>
                    <a:pt x="1722" y="1186"/>
                  </a:cubicBezTo>
                  <a:cubicBezTo>
                    <a:pt x="1750" y="1188"/>
                    <a:pt x="1775" y="1183"/>
                    <a:pt x="1798" y="1165"/>
                  </a:cubicBezTo>
                  <a:cubicBezTo>
                    <a:pt x="1803" y="1161"/>
                    <a:pt x="1806" y="1157"/>
                    <a:pt x="1802" y="1151"/>
                  </a:cubicBezTo>
                  <a:cubicBezTo>
                    <a:pt x="1798" y="1144"/>
                    <a:pt x="1791" y="1140"/>
                    <a:pt x="1783" y="1144"/>
                  </a:cubicBezTo>
                  <a:cubicBezTo>
                    <a:pt x="1778" y="1147"/>
                    <a:pt x="1771" y="1149"/>
                    <a:pt x="1766" y="1152"/>
                  </a:cubicBezTo>
                  <a:cubicBezTo>
                    <a:pt x="1749" y="1161"/>
                    <a:pt x="1730" y="1162"/>
                    <a:pt x="1714" y="1155"/>
                  </a:cubicBezTo>
                  <a:cubicBezTo>
                    <a:pt x="1692" y="1145"/>
                    <a:pt x="1680" y="1127"/>
                    <a:pt x="1679" y="1102"/>
                  </a:cubicBezTo>
                  <a:cubicBezTo>
                    <a:pt x="1678" y="1095"/>
                    <a:pt x="1681" y="1092"/>
                    <a:pt x="1689" y="1092"/>
                  </a:cubicBezTo>
                  <a:cubicBezTo>
                    <a:pt x="1706" y="1092"/>
                    <a:pt x="1724" y="1092"/>
                    <a:pt x="1741" y="1092"/>
                  </a:cubicBezTo>
                  <a:cubicBezTo>
                    <a:pt x="1741" y="1092"/>
                    <a:pt x="1741" y="1092"/>
                    <a:pt x="1741" y="1092"/>
                  </a:cubicBezTo>
                  <a:close/>
                  <a:moveTo>
                    <a:pt x="1690" y="1070"/>
                  </a:moveTo>
                  <a:cubicBezTo>
                    <a:pt x="1683" y="1071"/>
                    <a:pt x="1680" y="1068"/>
                    <a:pt x="1681" y="1062"/>
                  </a:cubicBezTo>
                  <a:cubicBezTo>
                    <a:pt x="1683" y="1048"/>
                    <a:pt x="1697" y="1024"/>
                    <a:pt x="1716" y="1022"/>
                  </a:cubicBezTo>
                  <a:cubicBezTo>
                    <a:pt x="1731" y="1020"/>
                    <a:pt x="1747" y="1018"/>
                    <a:pt x="1760" y="1030"/>
                  </a:cubicBezTo>
                  <a:cubicBezTo>
                    <a:pt x="1771" y="1038"/>
                    <a:pt x="1775" y="1050"/>
                    <a:pt x="1778" y="1062"/>
                  </a:cubicBezTo>
                  <a:cubicBezTo>
                    <a:pt x="1780" y="1068"/>
                    <a:pt x="1775" y="1070"/>
                    <a:pt x="1769" y="1070"/>
                  </a:cubicBezTo>
                  <a:cubicBezTo>
                    <a:pt x="1756" y="1070"/>
                    <a:pt x="1742" y="1070"/>
                    <a:pt x="1729" y="1070"/>
                  </a:cubicBezTo>
                  <a:cubicBezTo>
                    <a:pt x="1729" y="1070"/>
                    <a:pt x="1729" y="1070"/>
                    <a:pt x="1729" y="1070"/>
                  </a:cubicBezTo>
                  <a:cubicBezTo>
                    <a:pt x="1716" y="1070"/>
                    <a:pt x="1703" y="1070"/>
                    <a:pt x="1690" y="1070"/>
                  </a:cubicBezTo>
                  <a:close/>
                  <a:moveTo>
                    <a:pt x="68" y="581"/>
                  </a:moveTo>
                  <a:cubicBezTo>
                    <a:pt x="68" y="573"/>
                    <a:pt x="70" y="568"/>
                    <a:pt x="80" y="569"/>
                  </a:cubicBezTo>
                  <a:cubicBezTo>
                    <a:pt x="90" y="570"/>
                    <a:pt x="101" y="570"/>
                    <a:pt x="111" y="569"/>
                  </a:cubicBezTo>
                  <a:cubicBezTo>
                    <a:pt x="120" y="569"/>
                    <a:pt x="120" y="563"/>
                    <a:pt x="120" y="556"/>
                  </a:cubicBezTo>
                  <a:cubicBezTo>
                    <a:pt x="120" y="549"/>
                    <a:pt x="119" y="544"/>
                    <a:pt x="111" y="544"/>
                  </a:cubicBezTo>
                  <a:cubicBezTo>
                    <a:pt x="104" y="544"/>
                    <a:pt x="97" y="544"/>
                    <a:pt x="91" y="544"/>
                  </a:cubicBezTo>
                  <a:cubicBezTo>
                    <a:pt x="66" y="544"/>
                    <a:pt x="65" y="543"/>
                    <a:pt x="68" y="518"/>
                  </a:cubicBezTo>
                  <a:cubicBezTo>
                    <a:pt x="69" y="504"/>
                    <a:pt x="83" y="487"/>
                    <a:pt x="99" y="489"/>
                  </a:cubicBezTo>
                  <a:cubicBezTo>
                    <a:pt x="103" y="489"/>
                    <a:pt x="107" y="489"/>
                    <a:pt x="110" y="488"/>
                  </a:cubicBezTo>
                  <a:cubicBezTo>
                    <a:pt x="118" y="487"/>
                    <a:pt x="123" y="479"/>
                    <a:pt x="123" y="471"/>
                  </a:cubicBezTo>
                  <a:cubicBezTo>
                    <a:pt x="123" y="461"/>
                    <a:pt x="116" y="462"/>
                    <a:pt x="109" y="460"/>
                  </a:cubicBezTo>
                  <a:cubicBezTo>
                    <a:pt x="100" y="458"/>
                    <a:pt x="92" y="460"/>
                    <a:pt x="84" y="460"/>
                  </a:cubicBezTo>
                  <a:cubicBezTo>
                    <a:pt x="68" y="461"/>
                    <a:pt x="56" y="469"/>
                    <a:pt x="47" y="480"/>
                  </a:cubicBezTo>
                  <a:cubicBezTo>
                    <a:pt x="34" y="493"/>
                    <a:pt x="32" y="511"/>
                    <a:pt x="32" y="529"/>
                  </a:cubicBezTo>
                  <a:cubicBezTo>
                    <a:pt x="32" y="544"/>
                    <a:pt x="32" y="544"/>
                    <a:pt x="17" y="544"/>
                  </a:cubicBezTo>
                  <a:cubicBezTo>
                    <a:pt x="4" y="543"/>
                    <a:pt x="0" y="548"/>
                    <a:pt x="4" y="561"/>
                  </a:cubicBezTo>
                  <a:cubicBezTo>
                    <a:pt x="6" y="569"/>
                    <a:pt x="13" y="568"/>
                    <a:pt x="19" y="569"/>
                  </a:cubicBezTo>
                  <a:cubicBezTo>
                    <a:pt x="32" y="571"/>
                    <a:pt x="32" y="571"/>
                    <a:pt x="32" y="584"/>
                  </a:cubicBezTo>
                  <a:cubicBezTo>
                    <a:pt x="32" y="624"/>
                    <a:pt x="32" y="664"/>
                    <a:pt x="32" y="704"/>
                  </a:cubicBezTo>
                  <a:cubicBezTo>
                    <a:pt x="32" y="731"/>
                    <a:pt x="32" y="730"/>
                    <a:pt x="57" y="731"/>
                  </a:cubicBezTo>
                  <a:cubicBezTo>
                    <a:pt x="66" y="731"/>
                    <a:pt x="68" y="727"/>
                    <a:pt x="68" y="720"/>
                  </a:cubicBezTo>
                  <a:cubicBezTo>
                    <a:pt x="68" y="697"/>
                    <a:pt x="68" y="674"/>
                    <a:pt x="68" y="651"/>
                  </a:cubicBezTo>
                  <a:cubicBezTo>
                    <a:pt x="68" y="628"/>
                    <a:pt x="68" y="605"/>
                    <a:pt x="68" y="581"/>
                  </a:cubicBezTo>
                  <a:close/>
                  <a:moveTo>
                    <a:pt x="278" y="1165"/>
                  </a:moveTo>
                  <a:cubicBezTo>
                    <a:pt x="278" y="1183"/>
                    <a:pt x="278" y="1183"/>
                    <a:pt x="296" y="1184"/>
                  </a:cubicBezTo>
                  <a:cubicBezTo>
                    <a:pt x="310" y="1184"/>
                    <a:pt x="310" y="1184"/>
                    <a:pt x="310" y="1169"/>
                  </a:cubicBezTo>
                  <a:cubicBezTo>
                    <a:pt x="310" y="1132"/>
                    <a:pt x="310" y="1095"/>
                    <a:pt x="310" y="1058"/>
                  </a:cubicBezTo>
                  <a:cubicBezTo>
                    <a:pt x="310" y="1052"/>
                    <a:pt x="312" y="1047"/>
                    <a:pt x="316" y="1042"/>
                  </a:cubicBezTo>
                  <a:cubicBezTo>
                    <a:pt x="324" y="1033"/>
                    <a:pt x="334" y="1027"/>
                    <a:pt x="345" y="1024"/>
                  </a:cubicBezTo>
                  <a:cubicBezTo>
                    <a:pt x="357" y="1020"/>
                    <a:pt x="371" y="1018"/>
                    <a:pt x="383" y="1028"/>
                  </a:cubicBezTo>
                  <a:cubicBezTo>
                    <a:pt x="397" y="1039"/>
                    <a:pt x="401" y="1054"/>
                    <a:pt x="401" y="1071"/>
                  </a:cubicBezTo>
                  <a:cubicBezTo>
                    <a:pt x="401" y="1102"/>
                    <a:pt x="401" y="1132"/>
                    <a:pt x="401" y="1163"/>
                  </a:cubicBezTo>
                  <a:cubicBezTo>
                    <a:pt x="401" y="1183"/>
                    <a:pt x="401" y="1182"/>
                    <a:pt x="420" y="1184"/>
                  </a:cubicBezTo>
                  <a:cubicBezTo>
                    <a:pt x="429" y="1185"/>
                    <a:pt x="433" y="1181"/>
                    <a:pt x="433" y="1173"/>
                  </a:cubicBezTo>
                  <a:cubicBezTo>
                    <a:pt x="432" y="1130"/>
                    <a:pt x="435" y="1087"/>
                    <a:pt x="431" y="1044"/>
                  </a:cubicBezTo>
                  <a:cubicBezTo>
                    <a:pt x="427" y="1014"/>
                    <a:pt x="404" y="996"/>
                    <a:pt x="376" y="994"/>
                  </a:cubicBezTo>
                  <a:cubicBezTo>
                    <a:pt x="353" y="992"/>
                    <a:pt x="333" y="1000"/>
                    <a:pt x="317" y="1017"/>
                  </a:cubicBezTo>
                  <a:cubicBezTo>
                    <a:pt x="312" y="1021"/>
                    <a:pt x="311" y="1019"/>
                    <a:pt x="309" y="1015"/>
                  </a:cubicBezTo>
                  <a:cubicBezTo>
                    <a:pt x="309" y="1013"/>
                    <a:pt x="308" y="1011"/>
                    <a:pt x="308" y="1008"/>
                  </a:cubicBezTo>
                  <a:cubicBezTo>
                    <a:pt x="306" y="1001"/>
                    <a:pt x="298" y="997"/>
                    <a:pt x="287" y="998"/>
                  </a:cubicBezTo>
                  <a:cubicBezTo>
                    <a:pt x="279" y="999"/>
                    <a:pt x="278" y="1004"/>
                    <a:pt x="278" y="1011"/>
                  </a:cubicBezTo>
                  <a:cubicBezTo>
                    <a:pt x="278" y="1037"/>
                    <a:pt x="278" y="1064"/>
                    <a:pt x="278" y="1091"/>
                  </a:cubicBezTo>
                  <a:cubicBezTo>
                    <a:pt x="278" y="1115"/>
                    <a:pt x="278" y="1140"/>
                    <a:pt x="278" y="1165"/>
                  </a:cubicBezTo>
                  <a:close/>
                  <a:moveTo>
                    <a:pt x="150" y="705"/>
                  </a:moveTo>
                  <a:cubicBezTo>
                    <a:pt x="150" y="734"/>
                    <a:pt x="145" y="730"/>
                    <a:pt x="176" y="731"/>
                  </a:cubicBezTo>
                  <a:cubicBezTo>
                    <a:pt x="185" y="731"/>
                    <a:pt x="187" y="727"/>
                    <a:pt x="187" y="719"/>
                  </a:cubicBezTo>
                  <a:cubicBezTo>
                    <a:pt x="187" y="685"/>
                    <a:pt x="187" y="651"/>
                    <a:pt x="187" y="618"/>
                  </a:cubicBezTo>
                  <a:cubicBezTo>
                    <a:pt x="187" y="597"/>
                    <a:pt x="204" y="578"/>
                    <a:pt x="225" y="574"/>
                  </a:cubicBezTo>
                  <a:cubicBezTo>
                    <a:pt x="232" y="572"/>
                    <a:pt x="240" y="574"/>
                    <a:pt x="247" y="575"/>
                  </a:cubicBezTo>
                  <a:cubicBezTo>
                    <a:pt x="257" y="576"/>
                    <a:pt x="261" y="572"/>
                    <a:pt x="265" y="564"/>
                  </a:cubicBezTo>
                  <a:cubicBezTo>
                    <a:pt x="269" y="556"/>
                    <a:pt x="267" y="542"/>
                    <a:pt x="261" y="540"/>
                  </a:cubicBezTo>
                  <a:cubicBezTo>
                    <a:pt x="253" y="538"/>
                    <a:pt x="244" y="534"/>
                    <a:pt x="237" y="536"/>
                  </a:cubicBezTo>
                  <a:cubicBezTo>
                    <a:pt x="228" y="537"/>
                    <a:pt x="217" y="537"/>
                    <a:pt x="209" y="544"/>
                  </a:cubicBezTo>
                  <a:cubicBezTo>
                    <a:pt x="204" y="549"/>
                    <a:pt x="198" y="553"/>
                    <a:pt x="194" y="558"/>
                  </a:cubicBezTo>
                  <a:cubicBezTo>
                    <a:pt x="192" y="561"/>
                    <a:pt x="189" y="563"/>
                    <a:pt x="185" y="562"/>
                  </a:cubicBezTo>
                  <a:cubicBezTo>
                    <a:pt x="182" y="561"/>
                    <a:pt x="182" y="558"/>
                    <a:pt x="182" y="556"/>
                  </a:cubicBezTo>
                  <a:cubicBezTo>
                    <a:pt x="180" y="539"/>
                    <a:pt x="179" y="539"/>
                    <a:pt x="162" y="539"/>
                  </a:cubicBezTo>
                  <a:cubicBezTo>
                    <a:pt x="151" y="539"/>
                    <a:pt x="150" y="540"/>
                    <a:pt x="150" y="551"/>
                  </a:cubicBezTo>
                  <a:cubicBezTo>
                    <a:pt x="150" y="579"/>
                    <a:pt x="150" y="607"/>
                    <a:pt x="150" y="635"/>
                  </a:cubicBezTo>
                  <a:cubicBezTo>
                    <a:pt x="150" y="658"/>
                    <a:pt x="149" y="682"/>
                    <a:pt x="150" y="705"/>
                  </a:cubicBezTo>
                  <a:close/>
                  <a:moveTo>
                    <a:pt x="1011" y="1049"/>
                  </a:moveTo>
                  <a:cubicBezTo>
                    <a:pt x="1011" y="1008"/>
                    <a:pt x="1011" y="966"/>
                    <a:pt x="1011" y="924"/>
                  </a:cubicBezTo>
                  <a:cubicBezTo>
                    <a:pt x="1011" y="913"/>
                    <a:pt x="1008" y="910"/>
                    <a:pt x="997" y="910"/>
                  </a:cubicBezTo>
                  <a:cubicBezTo>
                    <a:pt x="995" y="910"/>
                    <a:pt x="992" y="910"/>
                    <a:pt x="990" y="910"/>
                  </a:cubicBezTo>
                  <a:cubicBezTo>
                    <a:pt x="976" y="910"/>
                    <a:pt x="975" y="911"/>
                    <a:pt x="975" y="926"/>
                  </a:cubicBezTo>
                  <a:cubicBezTo>
                    <a:pt x="975" y="1006"/>
                    <a:pt x="975" y="1085"/>
                    <a:pt x="975" y="1165"/>
                  </a:cubicBezTo>
                  <a:cubicBezTo>
                    <a:pt x="975" y="1185"/>
                    <a:pt x="975" y="1185"/>
                    <a:pt x="994" y="1185"/>
                  </a:cubicBezTo>
                  <a:cubicBezTo>
                    <a:pt x="1009" y="1185"/>
                    <a:pt x="1011" y="1184"/>
                    <a:pt x="1011" y="1169"/>
                  </a:cubicBezTo>
                  <a:cubicBezTo>
                    <a:pt x="1011" y="1129"/>
                    <a:pt x="1011" y="1089"/>
                    <a:pt x="1011" y="1049"/>
                  </a:cubicBezTo>
                  <a:cubicBezTo>
                    <a:pt x="1011" y="1049"/>
                    <a:pt x="1011" y="1049"/>
                    <a:pt x="1011" y="1049"/>
                  </a:cubicBezTo>
                  <a:close/>
                  <a:moveTo>
                    <a:pt x="296" y="176"/>
                  </a:moveTo>
                  <a:cubicBezTo>
                    <a:pt x="296" y="201"/>
                    <a:pt x="296" y="226"/>
                    <a:pt x="296" y="251"/>
                  </a:cubicBezTo>
                  <a:cubicBezTo>
                    <a:pt x="295" y="276"/>
                    <a:pt x="296" y="274"/>
                    <a:pt x="318" y="274"/>
                  </a:cubicBezTo>
                  <a:cubicBezTo>
                    <a:pt x="330" y="274"/>
                    <a:pt x="331" y="274"/>
                    <a:pt x="331" y="260"/>
                  </a:cubicBezTo>
                  <a:cubicBezTo>
                    <a:pt x="331" y="232"/>
                    <a:pt x="331" y="204"/>
                    <a:pt x="331" y="176"/>
                  </a:cubicBezTo>
                  <a:cubicBezTo>
                    <a:pt x="331" y="165"/>
                    <a:pt x="331" y="155"/>
                    <a:pt x="337" y="145"/>
                  </a:cubicBezTo>
                  <a:cubicBezTo>
                    <a:pt x="349" y="123"/>
                    <a:pt x="359" y="117"/>
                    <a:pt x="377" y="118"/>
                  </a:cubicBezTo>
                  <a:cubicBezTo>
                    <a:pt x="383" y="118"/>
                    <a:pt x="389" y="119"/>
                    <a:pt x="395" y="120"/>
                  </a:cubicBezTo>
                  <a:cubicBezTo>
                    <a:pt x="401" y="120"/>
                    <a:pt x="407" y="118"/>
                    <a:pt x="408" y="112"/>
                  </a:cubicBezTo>
                  <a:cubicBezTo>
                    <a:pt x="409" y="103"/>
                    <a:pt x="415" y="93"/>
                    <a:pt x="407" y="85"/>
                  </a:cubicBezTo>
                  <a:cubicBezTo>
                    <a:pt x="406" y="84"/>
                    <a:pt x="404" y="84"/>
                    <a:pt x="402" y="84"/>
                  </a:cubicBezTo>
                  <a:cubicBezTo>
                    <a:pt x="376" y="78"/>
                    <a:pt x="353" y="82"/>
                    <a:pt x="337" y="106"/>
                  </a:cubicBezTo>
                  <a:cubicBezTo>
                    <a:pt x="336" y="108"/>
                    <a:pt x="335" y="110"/>
                    <a:pt x="333" y="109"/>
                  </a:cubicBezTo>
                  <a:cubicBezTo>
                    <a:pt x="331" y="109"/>
                    <a:pt x="330" y="107"/>
                    <a:pt x="330" y="105"/>
                  </a:cubicBezTo>
                  <a:cubicBezTo>
                    <a:pt x="329" y="101"/>
                    <a:pt x="329" y="97"/>
                    <a:pt x="328" y="94"/>
                  </a:cubicBezTo>
                  <a:cubicBezTo>
                    <a:pt x="325" y="85"/>
                    <a:pt x="318" y="82"/>
                    <a:pt x="303" y="84"/>
                  </a:cubicBezTo>
                  <a:cubicBezTo>
                    <a:pt x="297" y="84"/>
                    <a:pt x="295" y="86"/>
                    <a:pt x="295" y="92"/>
                  </a:cubicBezTo>
                  <a:cubicBezTo>
                    <a:pt x="296" y="120"/>
                    <a:pt x="295" y="148"/>
                    <a:pt x="295" y="176"/>
                  </a:cubicBezTo>
                  <a:cubicBezTo>
                    <a:pt x="296" y="176"/>
                    <a:pt x="296" y="176"/>
                    <a:pt x="296" y="176"/>
                  </a:cubicBezTo>
                  <a:close/>
                  <a:moveTo>
                    <a:pt x="946" y="179"/>
                  </a:moveTo>
                  <a:cubicBezTo>
                    <a:pt x="946" y="197"/>
                    <a:pt x="946" y="215"/>
                    <a:pt x="946" y="234"/>
                  </a:cubicBezTo>
                  <a:cubicBezTo>
                    <a:pt x="946" y="248"/>
                    <a:pt x="951" y="260"/>
                    <a:pt x="963" y="268"/>
                  </a:cubicBezTo>
                  <a:cubicBezTo>
                    <a:pt x="982" y="280"/>
                    <a:pt x="1011" y="277"/>
                    <a:pt x="1029" y="264"/>
                  </a:cubicBezTo>
                  <a:cubicBezTo>
                    <a:pt x="1036" y="259"/>
                    <a:pt x="1036" y="254"/>
                    <a:pt x="1032" y="248"/>
                  </a:cubicBezTo>
                  <a:cubicBezTo>
                    <a:pt x="1026" y="239"/>
                    <a:pt x="1020" y="238"/>
                    <a:pt x="1013" y="242"/>
                  </a:cubicBezTo>
                  <a:cubicBezTo>
                    <a:pt x="996" y="252"/>
                    <a:pt x="978" y="243"/>
                    <a:pt x="978" y="223"/>
                  </a:cubicBezTo>
                  <a:cubicBezTo>
                    <a:pt x="978" y="190"/>
                    <a:pt x="978" y="157"/>
                    <a:pt x="978" y="123"/>
                  </a:cubicBezTo>
                  <a:cubicBezTo>
                    <a:pt x="978" y="116"/>
                    <a:pt x="981" y="113"/>
                    <a:pt x="988" y="113"/>
                  </a:cubicBezTo>
                  <a:cubicBezTo>
                    <a:pt x="999" y="114"/>
                    <a:pt x="1011" y="113"/>
                    <a:pt x="1022" y="113"/>
                  </a:cubicBezTo>
                  <a:cubicBezTo>
                    <a:pt x="1028" y="113"/>
                    <a:pt x="1033" y="112"/>
                    <a:pt x="1033" y="104"/>
                  </a:cubicBezTo>
                  <a:cubicBezTo>
                    <a:pt x="1033" y="96"/>
                    <a:pt x="1032" y="90"/>
                    <a:pt x="1022" y="90"/>
                  </a:cubicBezTo>
                  <a:cubicBezTo>
                    <a:pt x="1011" y="90"/>
                    <a:pt x="1001" y="90"/>
                    <a:pt x="990" y="90"/>
                  </a:cubicBezTo>
                  <a:cubicBezTo>
                    <a:pt x="981" y="91"/>
                    <a:pt x="977" y="88"/>
                    <a:pt x="978" y="78"/>
                  </a:cubicBezTo>
                  <a:cubicBezTo>
                    <a:pt x="978" y="64"/>
                    <a:pt x="978" y="49"/>
                    <a:pt x="978" y="35"/>
                  </a:cubicBezTo>
                  <a:cubicBezTo>
                    <a:pt x="978" y="30"/>
                    <a:pt x="978" y="25"/>
                    <a:pt x="971" y="24"/>
                  </a:cubicBezTo>
                  <a:cubicBezTo>
                    <a:pt x="964" y="24"/>
                    <a:pt x="956" y="24"/>
                    <a:pt x="955" y="32"/>
                  </a:cubicBezTo>
                  <a:cubicBezTo>
                    <a:pt x="952" y="43"/>
                    <a:pt x="949" y="54"/>
                    <a:pt x="949" y="65"/>
                  </a:cubicBezTo>
                  <a:cubicBezTo>
                    <a:pt x="948" y="88"/>
                    <a:pt x="947" y="88"/>
                    <a:pt x="924" y="91"/>
                  </a:cubicBezTo>
                  <a:cubicBezTo>
                    <a:pt x="919" y="92"/>
                    <a:pt x="914" y="92"/>
                    <a:pt x="914" y="99"/>
                  </a:cubicBezTo>
                  <a:cubicBezTo>
                    <a:pt x="915" y="107"/>
                    <a:pt x="917" y="113"/>
                    <a:pt x="926" y="113"/>
                  </a:cubicBezTo>
                  <a:cubicBezTo>
                    <a:pt x="929" y="114"/>
                    <a:pt x="932" y="113"/>
                    <a:pt x="935" y="113"/>
                  </a:cubicBezTo>
                  <a:cubicBezTo>
                    <a:pt x="943" y="113"/>
                    <a:pt x="946" y="116"/>
                    <a:pt x="946" y="124"/>
                  </a:cubicBezTo>
                  <a:cubicBezTo>
                    <a:pt x="946" y="142"/>
                    <a:pt x="946" y="161"/>
                    <a:pt x="946" y="179"/>
                  </a:cubicBezTo>
                  <a:cubicBezTo>
                    <a:pt x="946" y="179"/>
                    <a:pt x="946" y="179"/>
                    <a:pt x="946" y="179"/>
                  </a:cubicBezTo>
                  <a:close/>
                </a:path>
              </a:pathLst>
            </a:custGeom>
            <a:solidFill>
              <a:srgbClr val="4C505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grpSp>
          <p:nvGrpSpPr>
            <p:cNvPr id="18" name="Group 4">
              <a:extLst>
                <a:ext uri="{FF2B5EF4-FFF2-40B4-BE49-F238E27FC236}">
                  <a16:creationId xmlns:a16="http://schemas.microsoft.com/office/drawing/2014/main" id="{57BD2C4C-DC67-B843-B26C-309622FC75F7}"/>
                </a:ext>
              </a:extLst>
            </p:cNvPr>
            <p:cNvGrpSpPr>
              <a:grpSpLocks noChangeAspect="1"/>
            </p:cNvGrpSpPr>
            <p:nvPr/>
          </p:nvGrpSpPr>
          <p:grpSpPr bwMode="gray">
            <a:xfrm>
              <a:off x="334963" y="296652"/>
              <a:ext cx="538094" cy="540000"/>
              <a:chOff x="2711" y="1027"/>
              <a:chExt cx="2258" cy="2266"/>
            </a:xfrm>
          </p:grpSpPr>
          <p:sp>
            <p:nvSpPr>
              <p:cNvPr id="19" name="AutoShape 3">
                <a:extLst>
                  <a:ext uri="{FF2B5EF4-FFF2-40B4-BE49-F238E27FC236}">
                    <a16:creationId xmlns:a16="http://schemas.microsoft.com/office/drawing/2014/main" id="{FE1DC41B-291E-574C-9F2C-874E70A40758}"/>
                  </a:ext>
                </a:extLst>
              </p:cNvPr>
              <p:cNvSpPr>
                <a:spLocks noChangeAspect="1" noChangeArrowheads="1" noTextEdit="1"/>
              </p:cNvSpPr>
              <p:nvPr/>
            </p:nvSpPr>
            <p:spPr bwMode="gray">
              <a:xfrm>
                <a:off x="2711" y="1027"/>
                <a:ext cx="2258" cy="22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20" name="Freeform 5">
                <a:extLst>
                  <a:ext uri="{FF2B5EF4-FFF2-40B4-BE49-F238E27FC236}">
                    <a16:creationId xmlns:a16="http://schemas.microsoft.com/office/drawing/2014/main" id="{D4B633C8-F761-C54B-9BD2-EB59D49A2DBC}"/>
                  </a:ext>
                </a:extLst>
              </p:cNvPr>
              <p:cNvSpPr>
                <a:spLocks/>
              </p:cNvSpPr>
              <p:nvPr/>
            </p:nvSpPr>
            <p:spPr bwMode="gray">
              <a:xfrm>
                <a:off x="2709" y="1029"/>
                <a:ext cx="2260" cy="2262"/>
              </a:xfrm>
              <a:custGeom>
                <a:avLst/>
                <a:gdLst>
                  <a:gd name="T0" fmla="*/ 2260 w 2260"/>
                  <a:gd name="T1" fmla="*/ 0 h 2262"/>
                  <a:gd name="T2" fmla="*/ 1612 w 2260"/>
                  <a:gd name="T3" fmla="*/ 649 h 2262"/>
                  <a:gd name="T4" fmla="*/ 1612 w 2260"/>
                  <a:gd name="T5" fmla="*/ 649 h 2262"/>
                  <a:gd name="T6" fmla="*/ 2035 w 2260"/>
                  <a:gd name="T7" fmla="*/ 0 h 2262"/>
                  <a:gd name="T8" fmla="*/ 0 w 2260"/>
                  <a:gd name="T9" fmla="*/ 0 h 2262"/>
                  <a:gd name="T10" fmla="*/ 0 w 2260"/>
                  <a:gd name="T11" fmla="*/ 2262 h 2262"/>
                  <a:gd name="T12" fmla="*/ 2260 w 2260"/>
                  <a:gd name="T13" fmla="*/ 2262 h 2262"/>
                  <a:gd name="T14" fmla="*/ 2260 w 2260"/>
                  <a:gd name="T15" fmla="*/ 0 h 2262"/>
                  <a:gd name="T16" fmla="*/ 2260 w 2260"/>
                  <a:gd name="T17" fmla="*/ 0 h 2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0" h="2262">
                    <a:moveTo>
                      <a:pt x="2260" y="0"/>
                    </a:moveTo>
                    <a:lnTo>
                      <a:pt x="1612" y="649"/>
                    </a:lnTo>
                    <a:lnTo>
                      <a:pt x="1612" y="649"/>
                    </a:lnTo>
                    <a:lnTo>
                      <a:pt x="2035" y="0"/>
                    </a:lnTo>
                    <a:lnTo>
                      <a:pt x="0" y="0"/>
                    </a:lnTo>
                    <a:lnTo>
                      <a:pt x="0" y="2262"/>
                    </a:lnTo>
                    <a:lnTo>
                      <a:pt x="2260" y="2262"/>
                    </a:lnTo>
                    <a:lnTo>
                      <a:pt x="2260" y="0"/>
                    </a:lnTo>
                    <a:lnTo>
                      <a:pt x="2260" y="0"/>
                    </a:lnTo>
                    <a:close/>
                  </a:path>
                </a:pathLst>
              </a:custGeom>
              <a:solidFill>
                <a:srgbClr val="E55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21" name="Freeform 6">
                <a:extLst>
                  <a:ext uri="{FF2B5EF4-FFF2-40B4-BE49-F238E27FC236}">
                    <a16:creationId xmlns:a16="http://schemas.microsoft.com/office/drawing/2014/main" id="{B16BAAE4-1A41-C843-9754-490F7A1E1270}"/>
                  </a:ext>
                </a:extLst>
              </p:cNvPr>
              <p:cNvSpPr>
                <a:spLocks noEditPoints="1"/>
              </p:cNvSpPr>
              <p:nvPr/>
            </p:nvSpPr>
            <p:spPr bwMode="gray">
              <a:xfrm>
                <a:off x="3623" y="1696"/>
                <a:ext cx="1167" cy="922"/>
              </a:xfrm>
              <a:custGeom>
                <a:avLst/>
                <a:gdLst>
                  <a:gd name="T0" fmla="*/ 411 w 580"/>
                  <a:gd name="T1" fmla="*/ 213 h 458"/>
                  <a:gd name="T2" fmla="*/ 570 w 580"/>
                  <a:gd name="T3" fmla="*/ 37 h 458"/>
                  <a:gd name="T4" fmla="*/ 580 w 580"/>
                  <a:gd name="T5" fmla="*/ 20 h 458"/>
                  <a:gd name="T6" fmla="*/ 545 w 580"/>
                  <a:gd name="T7" fmla="*/ 0 h 458"/>
                  <a:gd name="T8" fmla="*/ 519 w 580"/>
                  <a:gd name="T9" fmla="*/ 16 h 458"/>
                  <a:gd name="T10" fmla="*/ 344 w 580"/>
                  <a:gd name="T11" fmla="*/ 210 h 458"/>
                  <a:gd name="T12" fmla="*/ 334 w 580"/>
                  <a:gd name="T13" fmla="*/ 229 h 458"/>
                  <a:gd name="T14" fmla="*/ 344 w 580"/>
                  <a:gd name="T15" fmla="*/ 248 h 458"/>
                  <a:gd name="T16" fmla="*/ 519 w 580"/>
                  <a:gd name="T17" fmla="*/ 442 h 458"/>
                  <a:gd name="T18" fmla="*/ 545 w 580"/>
                  <a:gd name="T19" fmla="*/ 458 h 458"/>
                  <a:gd name="T20" fmla="*/ 580 w 580"/>
                  <a:gd name="T21" fmla="*/ 438 h 458"/>
                  <a:gd name="T22" fmla="*/ 570 w 580"/>
                  <a:gd name="T23" fmla="*/ 421 h 458"/>
                  <a:gd name="T24" fmla="*/ 411 w 580"/>
                  <a:gd name="T25" fmla="*/ 245 h 458"/>
                  <a:gd name="T26" fmla="*/ 399 w 580"/>
                  <a:gd name="T27" fmla="*/ 229 h 458"/>
                  <a:gd name="T28" fmla="*/ 411 w 580"/>
                  <a:gd name="T29" fmla="*/ 213 h 458"/>
                  <a:gd name="T30" fmla="*/ 252 w 580"/>
                  <a:gd name="T31" fmla="*/ 439 h 458"/>
                  <a:gd name="T32" fmla="*/ 281 w 580"/>
                  <a:gd name="T33" fmla="*/ 454 h 458"/>
                  <a:gd name="T34" fmla="*/ 309 w 580"/>
                  <a:gd name="T35" fmla="*/ 439 h 458"/>
                  <a:gd name="T36" fmla="*/ 309 w 580"/>
                  <a:gd name="T37" fmla="*/ 19 h 458"/>
                  <a:gd name="T38" fmla="*/ 281 w 580"/>
                  <a:gd name="T39" fmla="*/ 4 h 458"/>
                  <a:gd name="T40" fmla="*/ 252 w 580"/>
                  <a:gd name="T41" fmla="*/ 19 h 458"/>
                  <a:gd name="T42" fmla="*/ 252 w 580"/>
                  <a:gd name="T43" fmla="*/ 439 h 458"/>
                  <a:gd name="T44" fmla="*/ 0 w 580"/>
                  <a:gd name="T45" fmla="*/ 439 h 458"/>
                  <a:gd name="T46" fmla="*/ 28 w 580"/>
                  <a:gd name="T47" fmla="*/ 454 h 458"/>
                  <a:gd name="T48" fmla="*/ 56 w 580"/>
                  <a:gd name="T49" fmla="*/ 439 h 458"/>
                  <a:gd name="T50" fmla="*/ 56 w 580"/>
                  <a:gd name="T51" fmla="*/ 157 h 458"/>
                  <a:gd name="T52" fmla="*/ 165 w 580"/>
                  <a:gd name="T53" fmla="*/ 53 h 458"/>
                  <a:gd name="T54" fmla="*/ 180 w 580"/>
                  <a:gd name="T55" fmla="*/ 53 h 458"/>
                  <a:gd name="T56" fmla="*/ 196 w 580"/>
                  <a:gd name="T57" fmla="*/ 27 h 458"/>
                  <a:gd name="T58" fmla="*/ 154 w 580"/>
                  <a:gd name="T59" fmla="*/ 4 h 458"/>
                  <a:gd name="T60" fmla="*/ 0 w 580"/>
                  <a:gd name="T61" fmla="*/ 152 h 458"/>
                  <a:gd name="T62" fmla="*/ 0 w 580"/>
                  <a:gd name="T63" fmla="*/ 439 h 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80" h="458">
                    <a:moveTo>
                      <a:pt x="411" y="213"/>
                    </a:moveTo>
                    <a:cubicBezTo>
                      <a:pt x="570" y="37"/>
                      <a:pt x="570" y="37"/>
                      <a:pt x="570" y="37"/>
                    </a:cubicBezTo>
                    <a:cubicBezTo>
                      <a:pt x="576" y="30"/>
                      <a:pt x="580" y="25"/>
                      <a:pt x="580" y="20"/>
                    </a:cubicBezTo>
                    <a:cubicBezTo>
                      <a:pt x="580" y="10"/>
                      <a:pt x="559" y="0"/>
                      <a:pt x="545" y="0"/>
                    </a:cubicBezTo>
                    <a:cubicBezTo>
                      <a:pt x="535" y="0"/>
                      <a:pt x="526" y="8"/>
                      <a:pt x="519" y="16"/>
                    </a:cubicBezTo>
                    <a:cubicBezTo>
                      <a:pt x="344" y="210"/>
                      <a:pt x="344" y="210"/>
                      <a:pt x="344" y="210"/>
                    </a:cubicBezTo>
                    <a:cubicBezTo>
                      <a:pt x="336" y="219"/>
                      <a:pt x="334" y="224"/>
                      <a:pt x="334" y="229"/>
                    </a:cubicBezTo>
                    <a:cubicBezTo>
                      <a:pt x="334" y="234"/>
                      <a:pt x="336" y="239"/>
                      <a:pt x="344" y="248"/>
                    </a:cubicBezTo>
                    <a:cubicBezTo>
                      <a:pt x="519" y="442"/>
                      <a:pt x="519" y="442"/>
                      <a:pt x="519" y="442"/>
                    </a:cubicBezTo>
                    <a:cubicBezTo>
                      <a:pt x="526" y="450"/>
                      <a:pt x="535" y="458"/>
                      <a:pt x="545" y="458"/>
                    </a:cubicBezTo>
                    <a:cubicBezTo>
                      <a:pt x="559" y="458"/>
                      <a:pt x="580" y="448"/>
                      <a:pt x="580" y="438"/>
                    </a:cubicBezTo>
                    <a:cubicBezTo>
                      <a:pt x="580" y="433"/>
                      <a:pt x="576" y="428"/>
                      <a:pt x="570" y="421"/>
                    </a:cubicBezTo>
                    <a:cubicBezTo>
                      <a:pt x="411" y="245"/>
                      <a:pt x="411" y="245"/>
                      <a:pt x="411" y="245"/>
                    </a:cubicBezTo>
                    <a:cubicBezTo>
                      <a:pt x="403" y="236"/>
                      <a:pt x="399" y="232"/>
                      <a:pt x="399" y="229"/>
                    </a:cubicBezTo>
                    <a:cubicBezTo>
                      <a:pt x="399" y="226"/>
                      <a:pt x="403" y="222"/>
                      <a:pt x="411" y="213"/>
                    </a:cubicBezTo>
                    <a:moveTo>
                      <a:pt x="252" y="439"/>
                    </a:moveTo>
                    <a:cubicBezTo>
                      <a:pt x="252" y="449"/>
                      <a:pt x="261" y="454"/>
                      <a:pt x="281" y="454"/>
                    </a:cubicBezTo>
                    <a:cubicBezTo>
                      <a:pt x="300" y="454"/>
                      <a:pt x="309" y="449"/>
                      <a:pt x="309" y="439"/>
                    </a:cubicBezTo>
                    <a:cubicBezTo>
                      <a:pt x="309" y="19"/>
                      <a:pt x="309" y="19"/>
                      <a:pt x="309" y="19"/>
                    </a:cubicBezTo>
                    <a:cubicBezTo>
                      <a:pt x="309" y="9"/>
                      <a:pt x="300" y="4"/>
                      <a:pt x="281" y="4"/>
                    </a:cubicBezTo>
                    <a:cubicBezTo>
                      <a:pt x="261" y="4"/>
                      <a:pt x="252" y="9"/>
                      <a:pt x="252" y="19"/>
                    </a:cubicBezTo>
                    <a:lnTo>
                      <a:pt x="252" y="439"/>
                    </a:lnTo>
                    <a:close/>
                    <a:moveTo>
                      <a:pt x="0" y="439"/>
                    </a:moveTo>
                    <a:cubicBezTo>
                      <a:pt x="0" y="449"/>
                      <a:pt x="8" y="454"/>
                      <a:pt x="28" y="454"/>
                    </a:cubicBezTo>
                    <a:cubicBezTo>
                      <a:pt x="48" y="454"/>
                      <a:pt x="56" y="449"/>
                      <a:pt x="56" y="439"/>
                    </a:cubicBezTo>
                    <a:cubicBezTo>
                      <a:pt x="56" y="157"/>
                      <a:pt x="56" y="157"/>
                      <a:pt x="56" y="157"/>
                    </a:cubicBezTo>
                    <a:cubicBezTo>
                      <a:pt x="56" y="83"/>
                      <a:pt x="85" y="53"/>
                      <a:pt x="165" y="53"/>
                    </a:cubicBezTo>
                    <a:cubicBezTo>
                      <a:pt x="180" y="53"/>
                      <a:pt x="180" y="53"/>
                      <a:pt x="180" y="53"/>
                    </a:cubicBezTo>
                    <a:cubicBezTo>
                      <a:pt x="192" y="53"/>
                      <a:pt x="196" y="43"/>
                      <a:pt x="196" y="27"/>
                    </a:cubicBezTo>
                    <a:cubicBezTo>
                      <a:pt x="196" y="8"/>
                      <a:pt x="185" y="4"/>
                      <a:pt x="154" y="4"/>
                    </a:cubicBezTo>
                    <a:cubicBezTo>
                      <a:pt x="64" y="4"/>
                      <a:pt x="0" y="43"/>
                      <a:pt x="0" y="152"/>
                    </a:cubicBezTo>
                    <a:lnTo>
                      <a:pt x="0" y="43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22" name="Freeform 7">
                <a:extLst>
                  <a:ext uri="{FF2B5EF4-FFF2-40B4-BE49-F238E27FC236}">
                    <a16:creationId xmlns:a16="http://schemas.microsoft.com/office/drawing/2014/main" id="{2F32DCBD-8628-F245-85CD-97686A20ECFD}"/>
                  </a:ext>
                </a:extLst>
              </p:cNvPr>
              <p:cNvSpPr>
                <a:spLocks/>
              </p:cNvSpPr>
              <p:nvPr/>
            </p:nvSpPr>
            <p:spPr bwMode="gray">
              <a:xfrm>
                <a:off x="2880" y="1704"/>
                <a:ext cx="618" cy="916"/>
              </a:xfrm>
              <a:custGeom>
                <a:avLst/>
                <a:gdLst>
                  <a:gd name="T0" fmla="*/ 307 w 307"/>
                  <a:gd name="T1" fmla="*/ 405 h 455"/>
                  <a:gd name="T2" fmla="*/ 307 w 307"/>
                  <a:gd name="T3" fmla="*/ 244 h 455"/>
                  <a:gd name="T4" fmla="*/ 279 w 307"/>
                  <a:gd name="T5" fmla="*/ 229 h 455"/>
                  <a:gd name="T6" fmla="*/ 250 w 307"/>
                  <a:gd name="T7" fmla="*/ 244 h 455"/>
                  <a:gd name="T8" fmla="*/ 250 w 307"/>
                  <a:gd name="T9" fmla="*/ 378 h 455"/>
                  <a:gd name="T10" fmla="*/ 199 w 307"/>
                  <a:gd name="T11" fmla="*/ 408 h 455"/>
                  <a:gd name="T12" fmla="*/ 61 w 307"/>
                  <a:gd name="T13" fmla="*/ 231 h 455"/>
                  <a:gd name="T14" fmla="*/ 238 w 307"/>
                  <a:gd name="T15" fmla="*/ 49 h 455"/>
                  <a:gd name="T16" fmla="*/ 270 w 307"/>
                  <a:gd name="T17" fmla="*/ 49 h 455"/>
                  <a:gd name="T18" fmla="*/ 286 w 307"/>
                  <a:gd name="T19" fmla="*/ 23 h 455"/>
                  <a:gd name="T20" fmla="*/ 244 w 307"/>
                  <a:gd name="T21" fmla="*/ 0 h 455"/>
                  <a:gd name="T22" fmla="*/ 231 w 307"/>
                  <a:gd name="T23" fmla="*/ 0 h 455"/>
                  <a:gd name="T24" fmla="*/ 0 w 307"/>
                  <a:gd name="T25" fmla="*/ 232 h 455"/>
                  <a:gd name="T26" fmla="*/ 198 w 307"/>
                  <a:gd name="T27" fmla="*/ 455 h 455"/>
                  <a:gd name="T28" fmla="*/ 307 w 307"/>
                  <a:gd name="T29" fmla="*/ 405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7" h="455">
                    <a:moveTo>
                      <a:pt x="307" y="405"/>
                    </a:moveTo>
                    <a:cubicBezTo>
                      <a:pt x="307" y="244"/>
                      <a:pt x="307" y="244"/>
                      <a:pt x="307" y="244"/>
                    </a:cubicBezTo>
                    <a:cubicBezTo>
                      <a:pt x="307" y="234"/>
                      <a:pt x="298" y="229"/>
                      <a:pt x="279" y="229"/>
                    </a:cubicBezTo>
                    <a:cubicBezTo>
                      <a:pt x="259" y="229"/>
                      <a:pt x="250" y="234"/>
                      <a:pt x="250" y="244"/>
                    </a:cubicBezTo>
                    <a:cubicBezTo>
                      <a:pt x="250" y="378"/>
                      <a:pt x="250" y="378"/>
                      <a:pt x="250" y="378"/>
                    </a:cubicBezTo>
                    <a:cubicBezTo>
                      <a:pt x="250" y="399"/>
                      <a:pt x="241" y="408"/>
                      <a:pt x="199" y="408"/>
                    </a:cubicBezTo>
                    <a:cubicBezTo>
                      <a:pt x="114" y="408"/>
                      <a:pt x="61" y="342"/>
                      <a:pt x="61" y="231"/>
                    </a:cubicBezTo>
                    <a:cubicBezTo>
                      <a:pt x="61" y="115"/>
                      <a:pt x="126" y="49"/>
                      <a:pt x="238" y="49"/>
                    </a:cubicBezTo>
                    <a:cubicBezTo>
                      <a:pt x="270" y="49"/>
                      <a:pt x="270" y="49"/>
                      <a:pt x="270" y="49"/>
                    </a:cubicBezTo>
                    <a:cubicBezTo>
                      <a:pt x="282" y="49"/>
                      <a:pt x="286" y="39"/>
                      <a:pt x="286" y="23"/>
                    </a:cubicBezTo>
                    <a:cubicBezTo>
                      <a:pt x="286" y="4"/>
                      <a:pt x="275" y="0"/>
                      <a:pt x="244" y="0"/>
                    </a:cubicBezTo>
                    <a:cubicBezTo>
                      <a:pt x="231" y="0"/>
                      <a:pt x="231" y="0"/>
                      <a:pt x="231" y="0"/>
                    </a:cubicBezTo>
                    <a:cubicBezTo>
                      <a:pt x="101" y="0"/>
                      <a:pt x="0" y="71"/>
                      <a:pt x="0" y="232"/>
                    </a:cubicBezTo>
                    <a:cubicBezTo>
                      <a:pt x="0" y="386"/>
                      <a:pt x="88" y="455"/>
                      <a:pt x="198" y="455"/>
                    </a:cubicBezTo>
                    <a:cubicBezTo>
                      <a:pt x="286" y="455"/>
                      <a:pt x="307" y="430"/>
                      <a:pt x="307" y="40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23" name="Oval 8">
                <a:extLst>
                  <a:ext uri="{FF2B5EF4-FFF2-40B4-BE49-F238E27FC236}">
                    <a16:creationId xmlns:a16="http://schemas.microsoft.com/office/drawing/2014/main" id="{60D97C11-1A3B-5449-A48D-98A3E79B3810}"/>
                  </a:ext>
                </a:extLst>
              </p:cNvPr>
              <p:cNvSpPr>
                <a:spLocks noChangeArrowheads="1"/>
              </p:cNvSpPr>
              <p:nvPr/>
            </p:nvSpPr>
            <p:spPr bwMode="gray">
              <a:xfrm>
                <a:off x="3778" y="2099"/>
                <a:ext cx="122" cy="12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24" name="Freeform 9">
                <a:extLst>
                  <a:ext uri="{FF2B5EF4-FFF2-40B4-BE49-F238E27FC236}">
                    <a16:creationId xmlns:a16="http://schemas.microsoft.com/office/drawing/2014/main" id="{5856770D-B8F0-244E-A05D-AED190086F10}"/>
                  </a:ext>
                </a:extLst>
              </p:cNvPr>
              <p:cNvSpPr>
                <a:spLocks noEditPoints="1"/>
              </p:cNvSpPr>
              <p:nvPr/>
            </p:nvSpPr>
            <p:spPr bwMode="gray">
              <a:xfrm>
                <a:off x="3623" y="1696"/>
                <a:ext cx="1167" cy="922"/>
              </a:xfrm>
              <a:custGeom>
                <a:avLst/>
                <a:gdLst>
                  <a:gd name="T0" fmla="*/ 411 w 580"/>
                  <a:gd name="T1" fmla="*/ 213 h 458"/>
                  <a:gd name="T2" fmla="*/ 570 w 580"/>
                  <a:gd name="T3" fmla="*/ 37 h 458"/>
                  <a:gd name="T4" fmla="*/ 580 w 580"/>
                  <a:gd name="T5" fmla="*/ 20 h 458"/>
                  <a:gd name="T6" fmla="*/ 545 w 580"/>
                  <a:gd name="T7" fmla="*/ 0 h 458"/>
                  <a:gd name="T8" fmla="*/ 519 w 580"/>
                  <a:gd name="T9" fmla="*/ 16 h 458"/>
                  <a:gd name="T10" fmla="*/ 344 w 580"/>
                  <a:gd name="T11" fmla="*/ 210 h 458"/>
                  <a:gd name="T12" fmla="*/ 334 w 580"/>
                  <a:gd name="T13" fmla="*/ 229 h 458"/>
                  <a:gd name="T14" fmla="*/ 344 w 580"/>
                  <a:gd name="T15" fmla="*/ 248 h 458"/>
                  <a:gd name="T16" fmla="*/ 519 w 580"/>
                  <a:gd name="T17" fmla="*/ 442 h 458"/>
                  <a:gd name="T18" fmla="*/ 545 w 580"/>
                  <a:gd name="T19" fmla="*/ 458 h 458"/>
                  <a:gd name="T20" fmla="*/ 580 w 580"/>
                  <a:gd name="T21" fmla="*/ 438 h 458"/>
                  <a:gd name="T22" fmla="*/ 570 w 580"/>
                  <a:gd name="T23" fmla="*/ 421 h 458"/>
                  <a:gd name="T24" fmla="*/ 411 w 580"/>
                  <a:gd name="T25" fmla="*/ 245 h 458"/>
                  <a:gd name="T26" fmla="*/ 399 w 580"/>
                  <a:gd name="T27" fmla="*/ 229 h 458"/>
                  <a:gd name="T28" fmla="*/ 411 w 580"/>
                  <a:gd name="T29" fmla="*/ 213 h 458"/>
                  <a:gd name="T30" fmla="*/ 252 w 580"/>
                  <a:gd name="T31" fmla="*/ 439 h 458"/>
                  <a:gd name="T32" fmla="*/ 281 w 580"/>
                  <a:gd name="T33" fmla="*/ 454 h 458"/>
                  <a:gd name="T34" fmla="*/ 309 w 580"/>
                  <a:gd name="T35" fmla="*/ 439 h 458"/>
                  <a:gd name="T36" fmla="*/ 309 w 580"/>
                  <a:gd name="T37" fmla="*/ 19 h 458"/>
                  <a:gd name="T38" fmla="*/ 281 w 580"/>
                  <a:gd name="T39" fmla="*/ 4 h 458"/>
                  <a:gd name="T40" fmla="*/ 252 w 580"/>
                  <a:gd name="T41" fmla="*/ 19 h 458"/>
                  <a:gd name="T42" fmla="*/ 252 w 580"/>
                  <a:gd name="T43" fmla="*/ 439 h 458"/>
                  <a:gd name="T44" fmla="*/ 0 w 580"/>
                  <a:gd name="T45" fmla="*/ 439 h 458"/>
                  <a:gd name="T46" fmla="*/ 28 w 580"/>
                  <a:gd name="T47" fmla="*/ 454 h 458"/>
                  <a:gd name="T48" fmla="*/ 56 w 580"/>
                  <a:gd name="T49" fmla="*/ 439 h 458"/>
                  <a:gd name="T50" fmla="*/ 56 w 580"/>
                  <a:gd name="T51" fmla="*/ 157 h 458"/>
                  <a:gd name="T52" fmla="*/ 165 w 580"/>
                  <a:gd name="T53" fmla="*/ 53 h 458"/>
                  <a:gd name="T54" fmla="*/ 180 w 580"/>
                  <a:gd name="T55" fmla="*/ 53 h 458"/>
                  <a:gd name="T56" fmla="*/ 196 w 580"/>
                  <a:gd name="T57" fmla="*/ 27 h 458"/>
                  <a:gd name="T58" fmla="*/ 154 w 580"/>
                  <a:gd name="T59" fmla="*/ 4 h 458"/>
                  <a:gd name="T60" fmla="*/ 0 w 580"/>
                  <a:gd name="T61" fmla="*/ 152 h 458"/>
                  <a:gd name="T62" fmla="*/ 0 w 580"/>
                  <a:gd name="T63" fmla="*/ 439 h 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80" h="458">
                    <a:moveTo>
                      <a:pt x="411" y="213"/>
                    </a:moveTo>
                    <a:cubicBezTo>
                      <a:pt x="570" y="37"/>
                      <a:pt x="570" y="37"/>
                      <a:pt x="570" y="37"/>
                    </a:cubicBezTo>
                    <a:cubicBezTo>
                      <a:pt x="576" y="30"/>
                      <a:pt x="580" y="25"/>
                      <a:pt x="580" y="20"/>
                    </a:cubicBezTo>
                    <a:cubicBezTo>
                      <a:pt x="580" y="10"/>
                      <a:pt x="559" y="0"/>
                      <a:pt x="545" y="0"/>
                    </a:cubicBezTo>
                    <a:cubicBezTo>
                      <a:pt x="535" y="0"/>
                      <a:pt x="526" y="8"/>
                      <a:pt x="519" y="16"/>
                    </a:cubicBezTo>
                    <a:cubicBezTo>
                      <a:pt x="344" y="210"/>
                      <a:pt x="344" y="210"/>
                      <a:pt x="344" y="210"/>
                    </a:cubicBezTo>
                    <a:cubicBezTo>
                      <a:pt x="336" y="219"/>
                      <a:pt x="334" y="224"/>
                      <a:pt x="334" y="229"/>
                    </a:cubicBezTo>
                    <a:cubicBezTo>
                      <a:pt x="334" y="234"/>
                      <a:pt x="336" y="239"/>
                      <a:pt x="344" y="248"/>
                    </a:cubicBezTo>
                    <a:cubicBezTo>
                      <a:pt x="519" y="442"/>
                      <a:pt x="519" y="442"/>
                      <a:pt x="519" y="442"/>
                    </a:cubicBezTo>
                    <a:cubicBezTo>
                      <a:pt x="526" y="450"/>
                      <a:pt x="535" y="458"/>
                      <a:pt x="545" y="458"/>
                    </a:cubicBezTo>
                    <a:cubicBezTo>
                      <a:pt x="559" y="458"/>
                      <a:pt x="580" y="448"/>
                      <a:pt x="580" y="438"/>
                    </a:cubicBezTo>
                    <a:cubicBezTo>
                      <a:pt x="580" y="433"/>
                      <a:pt x="576" y="428"/>
                      <a:pt x="570" y="421"/>
                    </a:cubicBezTo>
                    <a:cubicBezTo>
                      <a:pt x="411" y="245"/>
                      <a:pt x="411" y="245"/>
                      <a:pt x="411" y="245"/>
                    </a:cubicBezTo>
                    <a:cubicBezTo>
                      <a:pt x="403" y="236"/>
                      <a:pt x="399" y="232"/>
                      <a:pt x="399" y="229"/>
                    </a:cubicBezTo>
                    <a:cubicBezTo>
                      <a:pt x="399" y="226"/>
                      <a:pt x="403" y="222"/>
                      <a:pt x="411" y="213"/>
                    </a:cubicBezTo>
                    <a:moveTo>
                      <a:pt x="252" y="439"/>
                    </a:moveTo>
                    <a:cubicBezTo>
                      <a:pt x="252" y="449"/>
                      <a:pt x="261" y="454"/>
                      <a:pt x="281" y="454"/>
                    </a:cubicBezTo>
                    <a:cubicBezTo>
                      <a:pt x="300" y="454"/>
                      <a:pt x="309" y="449"/>
                      <a:pt x="309" y="439"/>
                    </a:cubicBezTo>
                    <a:cubicBezTo>
                      <a:pt x="309" y="19"/>
                      <a:pt x="309" y="19"/>
                      <a:pt x="309" y="19"/>
                    </a:cubicBezTo>
                    <a:cubicBezTo>
                      <a:pt x="309" y="9"/>
                      <a:pt x="300" y="4"/>
                      <a:pt x="281" y="4"/>
                    </a:cubicBezTo>
                    <a:cubicBezTo>
                      <a:pt x="261" y="4"/>
                      <a:pt x="252" y="9"/>
                      <a:pt x="252" y="19"/>
                    </a:cubicBezTo>
                    <a:lnTo>
                      <a:pt x="252" y="439"/>
                    </a:lnTo>
                    <a:close/>
                    <a:moveTo>
                      <a:pt x="0" y="439"/>
                    </a:moveTo>
                    <a:cubicBezTo>
                      <a:pt x="0" y="449"/>
                      <a:pt x="8" y="454"/>
                      <a:pt x="28" y="454"/>
                    </a:cubicBezTo>
                    <a:cubicBezTo>
                      <a:pt x="48" y="454"/>
                      <a:pt x="56" y="449"/>
                      <a:pt x="56" y="439"/>
                    </a:cubicBezTo>
                    <a:cubicBezTo>
                      <a:pt x="56" y="157"/>
                      <a:pt x="56" y="157"/>
                      <a:pt x="56" y="157"/>
                    </a:cubicBezTo>
                    <a:cubicBezTo>
                      <a:pt x="56" y="83"/>
                      <a:pt x="85" y="53"/>
                      <a:pt x="165" y="53"/>
                    </a:cubicBezTo>
                    <a:cubicBezTo>
                      <a:pt x="180" y="53"/>
                      <a:pt x="180" y="53"/>
                      <a:pt x="180" y="53"/>
                    </a:cubicBezTo>
                    <a:cubicBezTo>
                      <a:pt x="192" y="53"/>
                      <a:pt x="196" y="43"/>
                      <a:pt x="196" y="27"/>
                    </a:cubicBezTo>
                    <a:cubicBezTo>
                      <a:pt x="196" y="8"/>
                      <a:pt x="185" y="4"/>
                      <a:pt x="154" y="4"/>
                    </a:cubicBezTo>
                    <a:cubicBezTo>
                      <a:pt x="64" y="4"/>
                      <a:pt x="0" y="43"/>
                      <a:pt x="0" y="152"/>
                    </a:cubicBezTo>
                    <a:lnTo>
                      <a:pt x="0" y="43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25" name="Freeform 10">
                <a:extLst>
                  <a:ext uri="{FF2B5EF4-FFF2-40B4-BE49-F238E27FC236}">
                    <a16:creationId xmlns:a16="http://schemas.microsoft.com/office/drawing/2014/main" id="{2B91B16B-BC11-E547-8FAC-B9B8D18EA449}"/>
                  </a:ext>
                </a:extLst>
              </p:cNvPr>
              <p:cNvSpPr>
                <a:spLocks/>
              </p:cNvSpPr>
              <p:nvPr/>
            </p:nvSpPr>
            <p:spPr bwMode="gray">
              <a:xfrm>
                <a:off x="2880" y="1704"/>
                <a:ext cx="618" cy="916"/>
              </a:xfrm>
              <a:custGeom>
                <a:avLst/>
                <a:gdLst>
                  <a:gd name="T0" fmla="*/ 307 w 307"/>
                  <a:gd name="T1" fmla="*/ 405 h 455"/>
                  <a:gd name="T2" fmla="*/ 307 w 307"/>
                  <a:gd name="T3" fmla="*/ 244 h 455"/>
                  <a:gd name="T4" fmla="*/ 279 w 307"/>
                  <a:gd name="T5" fmla="*/ 229 h 455"/>
                  <a:gd name="T6" fmla="*/ 250 w 307"/>
                  <a:gd name="T7" fmla="*/ 244 h 455"/>
                  <a:gd name="T8" fmla="*/ 250 w 307"/>
                  <a:gd name="T9" fmla="*/ 378 h 455"/>
                  <a:gd name="T10" fmla="*/ 199 w 307"/>
                  <a:gd name="T11" fmla="*/ 408 h 455"/>
                  <a:gd name="T12" fmla="*/ 61 w 307"/>
                  <a:gd name="T13" fmla="*/ 231 h 455"/>
                  <a:gd name="T14" fmla="*/ 238 w 307"/>
                  <a:gd name="T15" fmla="*/ 49 h 455"/>
                  <a:gd name="T16" fmla="*/ 270 w 307"/>
                  <a:gd name="T17" fmla="*/ 49 h 455"/>
                  <a:gd name="T18" fmla="*/ 286 w 307"/>
                  <a:gd name="T19" fmla="*/ 23 h 455"/>
                  <a:gd name="T20" fmla="*/ 244 w 307"/>
                  <a:gd name="T21" fmla="*/ 0 h 455"/>
                  <a:gd name="T22" fmla="*/ 231 w 307"/>
                  <a:gd name="T23" fmla="*/ 0 h 455"/>
                  <a:gd name="T24" fmla="*/ 0 w 307"/>
                  <a:gd name="T25" fmla="*/ 232 h 455"/>
                  <a:gd name="T26" fmla="*/ 198 w 307"/>
                  <a:gd name="T27" fmla="*/ 455 h 455"/>
                  <a:gd name="T28" fmla="*/ 307 w 307"/>
                  <a:gd name="T29" fmla="*/ 405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7" h="455">
                    <a:moveTo>
                      <a:pt x="307" y="405"/>
                    </a:moveTo>
                    <a:cubicBezTo>
                      <a:pt x="307" y="244"/>
                      <a:pt x="307" y="244"/>
                      <a:pt x="307" y="244"/>
                    </a:cubicBezTo>
                    <a:cubicBezTo>
                      <a:pt x="307" y="234"/>
                      <a:pt x="298" y="229"/>
                      <a:pt x="279" y="229"/>
                    </a:cubicBezTo>
                    <a:cubicBezTo>
                      <a:pt x="259" y="229"/>
                      <a:pt x="250" y="234"/>
                      <a:pt x="250" y="244"/>
                    </a:cubicBezTo>
                    <a:cubicBezTo>
                      <a:pt x="250" y="378"/>
                      <a:pt x="250" y="378"/>
                      <a:pt x="250" y="378"/>
                    </a:cubicBezTo>
                    <a:cubicBezTo>
                      <a:pt x="250" y="399"/>
                      <a:pt x="241" y="408"/>
                      <a:pt x="199" y="408"/>
                    </a:cubicBezTo>
                    <a:cubicBezTo>
                      <a:pt x="114" y="408"/>
                      <a:pt x="61" y="342"/>
                      <a:pt x="61" y="231"/>
                    </a:cubicBezTo>
                    <a:cubicBezTo>
                      <a:pt x="61" y="115"/>
                      <a:pt x="126" y="49"/>
                      <a:pt x="238" y="49"/>
                    </a:cubicBezTo>
                    <a:cubicBezTo>
                      <a:pt x="270" y="49"/>
                      <a:pt x="270" y="49"/>
                      <a:pt x="270" y="49"/>
                    </a:cubicBezTo>
                    <a:cubicBezTo>
                      <a:pt x="282" y="49"/>
                      <a:pt x="286" y="39"/>
                      <a:pt x="286" y="23"/>
                    </a:cubicBezTo>
                    <a:cubicBezTo>
                      <a:pt x="286" y="4"/>
                      <a:pt x="275" y="0"/>
                      <a:pt x="244" y="0"/>
                    </a:cubicBezTo>
                    <a:cubicBezTo>
                      <a:pt x="231" y="0"/>
                      <a:pt x="231" y="0"/>
                      <a:pt x="231" y="0"/>
                    </a:cubicBezTo>
                    <a:cubicBezTo>
                      <a:pt x="101" y="0"/>
                      <a:pt x="0" y="71"/>
                      <a:pt x="0" y="232"/>
                    </a:cubicBezTo>
                    <a:cubicBezTo>
                      <a:pt x="0" y="386"/>
                      <a:pt x="88" y="455"/>
                      <a:pt x="198" y="455"/>
                    </a:cubicBezTo>
                    <a:cubicBezTo>
                      <a:pt x="286" y="455"/>
                      <a:pt x="307" y="430"/>
                      <a:pt x="307" y="40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26" name="Oval 11">
                <a:extLst>
                  <a:ext uri="{FF2B5EF4-FFF2-40B4-BE49-F238E27FC236}">
                    <a16:creationId xmlns:a16="http://schemas.microsoft.com/office/drawing/2014/main" id="{14F8C3C8-4888-7646-B9B4-64EB46A1DA23}"/>
                  </a:ext>
                </a:extLst>
              </p:cNvPr>
              <p:cNvSpPr>
                <a:spLocks noChangeArrowheads="1"/>
              </p:cNvSpPr>
              <p:nvPr/>
            </p:nvSpPr>
            <p:spPr bwMode="gray">
              <a:xfrm>
                <a:off x="3778" y="2099"/>
                <a:ext cx="122" cy="12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27" name="Freeform 12">
                <a:extLst>
                  <a:ext uri="{FF2B5EF4-FFF2-40B4-BE49-F238E27FC236}">
                    <a16:creationId xmlns:a16="http://schemas.microsoft.com/office/drawing/2014/main" id="{D79D01D1-4E3E-F34B-97D7-2D387E68746E}"/>
                  </a:ext>
                </a:extLst>
              </p:cNvPr>
              <p:cNvSpPr>
                <a:spLocks/>
              </p:cNvSpPr>
              <p:nvPr/>
            </p:nvSpPr>
            <p:spPr bwMode="gray">
              <a:xfrm>
                <a:off x="4321" y="1029"/>
                <a:ext cx="648" cy="649"/>
              </a:xfrm>
              <a:custGeom>
                <a:avLst/>
                <a:gdLst>
                  <a:gd name="T0" fmla="*/ 0 w 648"/>
                  <a:gd name="T1" fmla="*/ 649 h 649"/>
                  <a:gd name="T2" fmla="*/ 2 w 648"/>
                  <a:gd name="T3" fmla="*/ 649 h 649"/>
                  <a:gd name="T4" fmla="*/ 648 w 648"/>
                  <a:gd name="T5" fmla="*/ 0 h 649"/>
                  <a:gd name="T6" fmla="*/ 423 w 648"/>
                  <a:gd name="T7" fmla="*/ 0 h 649"/>
                  <a:gd name="T8" fmla="*/ 0 w 648"/>
                  <a:gd name="T9" fmla="*/ 649 h 649"/>
                </a:gdLst>
                <a:ahLst/>
                <a:cxnLst>
                  <a:cxn ang="0">
                    <a:pos x="T0" y="T1"/>
                  </a:cxn>
                  <a:cxn ang="0">
                    <a:pos x="T2" y="T3"/>
                  </a:cxn>
                  <a:cxn ang="0">
                    <a:pos x="T4" y="T5"/>
                  </a:cxn>
                  <a:cxn ang="0">
                    <a:pos x="T6" y="T7"/>
                  </a:cxn>
                  <a:cxn ang="0">
                    <a:pos x="T8" y="T9"/>
                  </a:cxn>
                </a:cxnLst>
                <a:rect l="0" t="0" r="r" b="b"/>
                <a:pathLst>
                  <a:path w="648" h="649">
                    <a:moveTo>
                      <a:pt x="0" y="649"/>
                    </a:moveTo>
                    <a:lnTo>
                      <a:pt x="2" y="649"/>
                    </a:lnTo>
                    <a:lnTo>
                      <a:pt x="648" y="0"/>
                    </a:lnTo>
                    <a:lnTo>
                      <a:pt x="423" y="0"/>
                    </a:lnTo>
                    <a:lnTo>
                      <a:pt x="0" y="64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28" name="Freeform 13">
                <a:extLst>
                  <a:ext uri="{FF2B5EF4-FFF2-40B4-BE49-F238E27FC236}">
                    <a16:creationId xmlns:a16="http://schemas.microsoft.com/office/drawing/2014/main" id="{46549898-6C52-B147-A8F6-A73FDBE6163B}"/>
                  </a:ext>
                </a:extLst>
              </p:cNvPr>
              <p:cNvSpPr>
                <a:spLocks/>
              </p:cNvSpPr>
              <p:nvPr/>
            </p:nvSpPr>
            <p:spPr bwMode="gray">
              <a:xfrm>
                <a:off x="4321" y="1029"/>
                <a:ext cx="648" cy="649"/>
              </a:xfrm>
              <a:custGeom>
                <a:avLst/>
                <a:gdLst>
                  <a:gd name="T0" fmla="*/ 0 w 648"/>
                  <a:gd name="T1" fmla="*/ 649 h 649"/>
                  <a:gd name="T2" fmla="*/ 2 w 648"/>
                  <a:gd name="T3" fmla="*/ 649 h 649"/>
                  <a:gd name="T4" fmla="*/ 648 w 648"/>
                  <a:gd name="T5" fmla="*/ 0 h 649"/>
                  <a:gd name="T6" fmla="*/ 423 w 648"/>
                  <a:gd name="T7" fmla="*/ 0 h 649"/>
                  <a:gd name="T8" fmla="*/ 0 w 648"/>
                  <a:gd name="T9" fmla="*/ 649 h 649"/>
                </a:gdLst>
                <a:ahLst/>
                <a:cxnLst>
                  <a:cxn ang="0">
                    <a:pos x="T0" y="T1"/>
                  </a:cxn>
                  <a:cxn ang="0">
                    <a:pos x="T2" y="T3"/>
                  </a:cxn>
                  <a:cxn ang="0">
                    <a:pos x="T4" y="T5"/>
                  </a:cxn>
                  <a:cxn ang="0">
                    <a:pos x="T6" y="T7"/>
                  </a:cxn>
                  <a:cxn ang="0">
                    <a:pos x="T8" y="T9"/>
                  </a:cxn>
                </a:cxnLst>
                <a:rect l="0" t="0" r="r" b="b"/>
                <a:pathLst>
                  <a:path w="648" h="649">
                    <a:moveTo>
                      <a:pt x="0" y="649"/>
                    </a:moveTo>
                    <a:lnTo>
                      <a:pt x="2" y="649"/>
                    </a:lnTo>
                    <a:lnTo>
                      <a:pt x="648" y="0"/>
                    </a:lnTo>
                    <a:lnTo>
                      <a:pt x="423" y="0"/>
                    </a:lnTo>
                    <a:lnTo>
                      <a:pt x="0" y="64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grpSp>
      </p:grpSp>
      <p:sp>
        <p:nvSpPr>
          <p:cNvPr id="7" name="Date Placeholder 6"/>
          <p:cNvSpPr>
            <a:spLocks noGrp="1"/>
          </p:cNvSpPr>
          <p:nvPr>
            <p:ph type="dt" sz="half" idx="10"/>
          </p:nvPr>
        </p:nvSpPr>
        <p:spPr>
          <a:xfrm>
            <a:off x="0" y="0"/>
            <a:ext cx="0" cy="0"/>
          </a:xfrm>
          <a:prstGeom prst="rect">
            <a:avLst/>
          </a:prstGeom>
        </p:spPr>
        <p:txBody>
          <a:bodyPr/>
          <a:lstStyle>
            <a:lvl1pPr>
              <a:defRPr sz="100">
                <a:noFill/>
              </a:defRPr>
            </a:lvl1pPr>
          </a:lstStyle>
          <a:p>
            <a:endParaRPr lang="en-US"/>
          </a:p>
        </p:txBody>
      </p:sp>
      <p:sp>
        <p:nvSpPr>
          <p:cNvPr id="8" name="Footer Placeholder 7"/>
          <p:cNvSpPr>
            <a:spLocks noGrp="1"/>
          </p:cNvSpPr>
          <p:nvPr>
            <p:ph type="ftr" sz="quarter" idx="11"/>
          </p:nvPr>
        </p:nvSpPr>
        <p:spPr>
          <a:xfrm>
            <a:off x="0" y="0"/>
            <a:ext cx="0" cy="0"/>
          </a:xfrm>
          <a:prstGeom prst="rect">
            <a:avLst/>
          </a:prstGeom>
        </p:spPr>
        <p:txBody>
          <a:bodyPr/>
          <a:lstStyle>
            <a:lvl1pPr marL="0" indent="0">
              <a:buNone/>
              <a:defRPr sz="100">
                <a:noFill/>
              </a:defRPr>
            </a:lvl1pPr>
          </a:lstStyle>
          <a:p>
            <a:endParaRPr lang="en-US"/>
          </a:p>
        </p:txBody>
      </p:sp>
      <p:sp>
        <p:nvSpPr>
          <p:cNvPr id="9" name="Slide Number Placeholder 8"/>
          <p:cNvSpPr>
            <a:spLocks noGrp="1"/>
          </p:cNvSpPr>
          <p:nvPr>
            <p:ph type="sldNum" sz="quarter" idx="12"/>
          </p:nvPr>
        </p:nvSpPr>
        <p:spPr>
          <a:xfrm>
            <a:off x="0" y="0"/>
            <a:ext cx="0" cy="0"/>
          </a:xfrm>
          <a:prstGeom prst="rect">
            <a:avLst/>
          </a:prstGeom>
        </p:spPr>
        <p:txBody>
          <a:bodyPr/>
          <a:lstStyle>
            <a:lvl1pPr>
              <a:defRPr sz="100">
                <a:noFill/>
              </a:defRPr>
            </a:lvl1pPr>
          </a:lstStyle>
          <a:p>
            <a:fld id="{8E3B25F7-8D1F-44B5-B485-EE3C438CFD7B}" type="slidenum">
              <a:rPr lang="en-US" smtClean="0"/>
              <a:pPr/>
              <a:t>‹#›</a:t>
            </a:fld>
            <a:endParaRPr lang="en-US"/>
          </a:p>
        </p:txBody>
      </p:sp>
      <p:sp>
        <p:nvSpPr>
          <p:cNvPr id="2" name="Title 1"/>
          <p:cNvSpPr>
            <a:spLocks noGrp="1"/>
          </p:cNvSpPr>
          <p:nvPr>
            <p:ph type="ctrTitle" hasCustomPrompt="1"/>
          </p:nvPr>
        </p:nvSpPr>
        <p:spPr>
          <a:xfrm>
            <a:off x="417600" y="1628775"/>
            <a:ext cx="3816000" cy="2236264"/>
          </a:xfrm>
        </p:spPr>
        <p:txBody>
          <a:bodyPr anchor="b"/>
          <a:lstStyle>
            <a:lvl1pPr algn="l">
              <a:defRPr sz="3600" baseline="0"/>
            </a:lvl1pPr>
          </a:lstStyle>
          <a:p>
            <a:r>
              <a:rPr lang="en-US"/>
              <a:t>Click to add presentation title</a:t>
            </a:r>
          </a:p>
        </p:txBody>
      </p:sp>
      <p:sp>
        <p:nvSpPr>
          <p:cNvPr id="3" name="Subtitle 2"/>
          <p:cNvSpPr>
            <a:spLocks noGrp="1"/>
          </p:cNvSpPr>
          <p:nvPr>
            <p:ph type="subTitle" idx="1" hasCustomPrompt="1"/>
          </p:nvPr>
        </p:nvSpPr>
        <p:spPr>
          <a:xfrm>
            <a:off x="417600" y="4094163"/>
            <a:ext cx="3816000" cy="1080000"/>
          </a:xfrm>
        </p:spPr>
        <p:txBody>
          <a:bodyPr/>
          <a:lstStyle>
            <a:lvl1pPr marL="0" indent="0" algn="l">
              <a:spcBef>
                <a:spcPts val="0"/>
              </a:spcBef>
              <a:buNone/>
              <a:defRPr sz="1800" b="1"/>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sp>
        <p:nvSpPr>
          <p:cNvPr id="31" name="Text Placeholder 30"/>
          <p:cNvSpPr>
            <a:spLocks noGrp="1"/>
          </p:cNvSpPr>
          <p:nvPr>
            <p:ph type="body" sz="quarter" idx="14" hasCustomPrompt="1"/>
          </p:nvPr>
        </p:nvSpPr>
        <p:spPr>
          <a:xfrm>
            <a:off x="417600" y="5393268"/>
            <a:ext cx="3816000" cy="296332"/>
          </a:xfrm>
        </p:spPr>
        <p:txBody>
          <a:bodyPr wrap="none"/>
          <a:lstStyle>
            <a:lvl1pPr marL="0" indent="0">
              <a:spcBef>
                <a:spcPts val="0"/>
              </a:spcBef>
              <a:buNone/>
              <a:defRPr sz="1200"/>
            </a:lvl1pPr>
            <a:lvl2pPr marL="0" indent="0">
              <a:buNone/>
              <a:defRPr sz="1200"/>
            </a:lvl2pPr>
            <a:lvl3pPr marL="0" indent="0">
              <a:buNone/>
              <a:defRPr sz="1200"/>
            </a:lvl3pPr>
            <a:lvl4pPr marL="0">
              <a:buNone/>
              <a:defRPr sz="1200"/>
            </a:lvl4pPr>
            <a:lvl5pPr marL="0" indent="0">
              <a:buNone/>
              <a:defRPr sz="1200"/>
            </a:lvl5pPr>
          </a:lstStyle>
          <a:p>
            <a:pPr lvl="0"/>
            <a:r>
              <a:rPr lang="en-US"/>
              <a:t>Name</a:t>
            </a:r>
          </a:p>
        </p:txBody>
      </p:sp>
      <p:sp>
        <p:nvSpPr>
          <p:cNvPr id="34" name="Text Placeholder 30"/>
          <p:cNvSpPr>
            <a:spLocks noGrp="1"/>
          </p:cNvSpPr>
          <p:nvPr>
            <p:ph type="body" sz="quarter" idx="15" hasCustomPrompt="1"/>
          </p:nvPr>
        </p:nvSpPr>
        <p:spPr>
          <a:xfrm>
            <a:off x="417600" y="5691446"/>
            <a:ext cx="3816000" cy="296332"/>
          </a:xfrm>
        </p:spPr>
        <p:txBody>
          <a:bodyPr wrap="none"/>
          <a:lstStyle>
            <a:lvl1pPr marL="0" indent="0">
              <a:spcBef>
                <a:spcPts val="0"/>
              </a:spcBef>
              <a:buNone/>
              <a:defRPr sz="1200"/>
            </a:lvl1pPr>
            <a:lvl2pPr marL="0" indent="0">
              <a:buNone/>
              <a:defRPr sz="1200"/>
            </a:lvl2pPr>
            <a:lvl3pPr marL="0" indent="0">
              <a:buNone/>
              <a:defRPr sz="1200"/>
            </a:lvl3pPr>
            <a:lvl4pPr marL="0">
              <a:buNone/>
              <a:defRPr sz="1200"/>
            </a:lvl4pPr>
            <a:lvl5pPr marL="0" indent="0">
              <a:buNone/>
              <a:defRPr sz="1200"/>
            </a:lvl5pPr>
          </a:lstStyle>
          <a:p>
            <a:pPr lvl="0"/>
            <a:r>
              <a:rPr lang="en-US"/>
              <a:t>Department</a:t>
            </a:r>
          </a:p>
        </p:txBody>
      </p:sp>
    </p:spTree>
    <p:extLst>
      <p:ext uri="{BB962C8B-B14F-4D97-AF65-F5344CB8AC3E}">
        <p14:creationId xmlns:p14="http://schemas.microsoft.com/office/powerpoint/2010/main" val="414054002"/>
      </p:ext>
    </p:extLst>
  </p:cSld>
  <p:clrMapOvr>
    <a:masterClrMapping/>
  </p:clrMapOvr>
</p:sldLayout>
</file>

<file path=ppt/slideLayouts/slideLayout389.xml><?xml version="1.0" encoding="utf-8"?>
<p:sldLayout xmlns:a="http://schemas.openxmlformats.org/drawingml/2006/main" xmlns:r="http://schemas.openxmlformats.org/officeDocument/2006/relationships" xmlns:p="http://schemas.openxmlformats.org/presentationml/2006/main" showMasterSp="0" preserve="1">
  <p:cSld name="Title 2">
    <p:spTree>
      <p:nvGrpSpPr>
        <p:cNvPr id="1" name=""/>
        <p:cNvGrpSpPr/>
        <p:nvPr/>
      </p:nvGrpSpPr>
      <p:grpSpPr>
        <a:xfrm>
          <a:off x="0" y="0"/>
          <a:ext cx="0" cy="0"/>
          <a:chOff x="0" y="0"/>
          <a:chExt cx="0" cy="0"/>
        </a:xfrm>
      </p:grpSpPr>
      <p:pic>
        <p:nvPicPr>
          <p:cNvPr id="29" name="picture">
            <a:extLst>
              <a:ext uri="{FF2B5EF4-FFF2-40B4-BE49-F238E27FC236}">
                <a16:creationId xmlns:a16="http://schemas.microsoft.com/office/drawing/2014/main" id="{8BF907F5-A9CD-2740-AF54-6BACB62334AE}"/>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2620212" y="-8808"/>
            <a:ext cx="9697299" cy="6866807"/>
          </a:xfrm>
          <a:prstGeom prst="rect">
            <a:avLst/>
          </a:prstGeom>
        </p:spPr>
      </p:pic>
      <p:sp>
        <p:nvSpPr>
          <p:cNvPr id="32" name="shpPicture"/>
          <p:cNvSpPr/>
          <p:nvPr/>
        </p:nvSpPr>
        <p:spPr>
          <a:xfrm>
            <a:off x="1" y="0"/>
            <a:ext cx="4112145" cy="6858000"/>
          </a:xfrm>
          <a:custGeom>
            <a:avLst/>
            <a:gdLst>
              <a:gd name="connsiteX0" fmla="*/ 0 w 4112145"/>
              <a:gd name="connsiteY0" fmla="*/ 0 h 6858000"/>
              <a:gd name="connsiteX1" fmla="*/ 2588964 w 4112145"/>
              <a:gd name="connsiteY1" fmla="*/ 0 h 6858000"/>
              <a:gd name="connsiteX2" fmla="*/ 4112145 w 4112145"/>
              <a:gd name="connsiteY2" fmla="*/ 3083531 h 6858000"/>
              <a:gd name="connsiteX3" fmla="*/ 2697661 w 4112145"/>
              <a:gd name="connsiteY3" fmla="*/ 6858000 h 6858000"/>
              <a:gd name="connsiteX4" fmla="*/ 0 w 4112145"/>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12145" h="6858000">
                <a:moveTo>
                  <a:pt x="0" y="0"/>
                </a:moveTo>
                <a:lnTo>
                  <a:pt x="2588964" y="0"/>
                </a:lnTo>
                <a:lnTo>
                  <a:pt x="4112145" y="3083531"/>
                </a:lnTo>
                <a:lnTo>
                  <a:pt x="2697661"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US" sz="1600"/>
          </a:p>
        </p:txBody>
      </p:sp>
      <p:grpSp>
        <p:nvGrpSpPr>
          <p:cNvPr id="14" name="logo">
            <a:extLst>
              <a:ext uri="{FF2B5EF4-FFF2-40B4-BE49-F238E27FC236}">
                <a16:creationId xmlns:a16="http://schemas.microsoft.com/office/drawing/2014/main" id="{18C26D95-70F8-8A4D-9F18-DCCB92522AF8}"/>
              </a:ext>
            </a:extLst>
          </p:cNvPr>
          <p:cNvGrpSpPr/>
          <p:nvPr/>
        </p:nvGrpSpPr>
        <p:grpSpPr bwMode="gray">
          <a:xfrm>
            <a:off x="417363" y="407485"/>
            <a:ext cx="1518585" cy="646507"/>
            <a:chOff x="334963" y="296652"/>
            <a:chExt cx="1268411" cy="540000"/>
          </a:xfrm>
        </p:grpSpPr>
        <p:sp>
          <p:nvSpPr>
            <p:cNvPr id="17" name="Freeform 6">
              <a:extLst>
                <a:ext uri="{FF2B5EF4-FFF2-40B4-BE49-F238E27FC236}">
                  <a16:creationId xmlns:a16="http://schemas.microsoft.com/office/drawing/2014/main" id="{08737AD0-E375-E445-97E6-CD2E2DF60620}"/>
                </a:ext>
              </a:extLst>
            </p:cNvPr>
            <p:cNvSpPr>
              <a:spLocks noEditPoints="1"/>
            </p:cNvSpPr>
            <p:nvPr/>
          </p:nvSpPr>
          <p:spPr bwMode="gray">
            <a:xfrm>
              <a:off x="982662" y="360462"/>
              <a:ext cx="620712" cy="431800"/>
            </a:xfrm>
            <a:custGeom>
              <a:avLst/>
              <a:gdLst>
                <a:gd name="T0" fmla="*/ 19 w 1809"/>
                <a:gd name="T1" fmla="*/ 97 h 1253"/>
                <a:gd name="T2" fmla="*/ 165 w 1809"/>
                <a:gd name="T3" fmla="*/ 41 h 1253"/>
                <a:gd name="T4" fmla="*/ 211 w 1809"/>
                <a:gd name="T5" fmla="*/ 224 h 1253"/>
                <a:gd name="T6" fmla="*/ 248 w 1809"/>
                <a:gd name="T7" fmla="*/ 155 h 1253"/>
                <a:gd name="T8" fmla="*/ 931 w 1809"/>
                <a:gd name="T9" fmla="*/ 995 h 1253"/>
                <a:gd name="T10" fmla="*/ 858 w 1809"/>
                <a:gd name="T11" fmla="*/ 1115 h 1253"/>
                <a:gd name="T12" fmla="*/ 749 w 1809"/>
                <a:gd name="T13" fmla="*/ 1117 h 1253"/>
                <a:gd name="T14" fmla="*/ 681 w 1809"/>
                <a:gd name="T15" fmla="*/ 1055 h 1253"/>
                <a:gd name="T16" fmla="*/ 800 w 1809"/>
                <a:gd name="T17" fmla="*/ 1054 h 1253"/>
                <a:gd name="T18" fmla="*/ 884 w 1809"/>
                <a:gd name="T19" fmla="*/ 1181 h 1253"/>
                <a:gd name="T20" fmla="*/ 118 w 1809"/>
                <a:gd name="T21" fmla="*/ 1086 h 1253"/>
                <a:gd name="T22" fmla="*/ 147 w 1809"/>
                <a:gd name="T23" fmla="*/ 1026 h 1253"/>
                <a:gd name="T24" fmla="*/ 102 w 1809"/>
                <a:gd name="T25" fmla="*/ 1026 h 1253"/>
                <a:gd name="T26" fmla="*/ 639 w 1809"/>
                <a:gd name="T27" fmla="*/ 84 h 1253"/>
                <a:gd name="T28" fmla="*/ 763 w 1809"/>
                <a:gd name="T29" fmla="*/ 145 h 1253"/>
                <a:gd name="T30" fmla="*/ 863 w 1809"/>
                <a:gd name="T31" fmla="*/ 221 h 1253"/>
                <a:gd name="T32" fmla="*/ 834 w 1809"/>
                <a:gd name="T33" fmla="*/ 208 h 1253"/>
                <a:gd name="T34" fmla="*/ 719 w 1809"/>
                <a:gd name="T35" fmla="*/ 182 h 1253"/>
                <a:gd name="T36" fmla="*/ 507 w 1809"/>
                <a:gd name="T37" fmla="*/ 711 h 1253"/>
                <a:gd name="T38" fmla="*/ 614 w 1809"/>
                <a:gd name="T39" fmla="*/ 706 h 1253"/>
                <a:gd name="T40" fmla="*/ 736 w 1809"/>
                <a:gd name="T41" fmla="*/ 730 h 1253"/>
                <a:gd name="T42" fmla="*/ 607 w 1809"/>
                <a:gd name="T43" fmla="*/ 539 h 1253"/>
                <a:gd name="T44" fmla="*/ 1505 w 1809"/>
                <a:gd name="T45" fmla="*/ 1136 h 1253"/>
                <a:gd name="T46" fmla="*/ 1613 w 1809"/>
                <a:gd name="T47" fmla="*/ 1002 h 1253"/>
                <a:gd name="T48" fmla="*/ 1472 w 1809"/>
                <a:gd name="T49" fmla="*/ 1164 h 1253"/>
                <a:gd name="T50" fmla="*/ 1525 w 1809"/>
                <a:gd name="T51" fmla="*/ 1142 h 1253"/>
                <a:gd name="T52" fmla="*/ 1556 w 1809"/>
                <a:gd name="T53" fmla="*/ 1172 h 1253"/>
                <a:gd name="T54" fmla="*/ 1387 w 1809"/>
                <a:gd name="T55" fmla="*/ 910 h 1253"/>
                <a:gd name="T56" fmla="*/ 1261 w 1809"/>
                <a:gd name="T57" fmla="*/ 1157 h 1253"/>
                <a:gd name="T58" fmla="*/ 1413 w 1809"/>
                <a:gd name="T59" fmla="*/ 934 h 1253"/>
                <a:gd name="T60" fmla="*/ 1378 w 1809"/>
                <a:gd name="T61" fmla="*/ 1052 h 1253"/>
                <a:gd name="T62" fmla="*/ 488 w 1809"/>
                <a:gd name="T63" fmla="*/ 85 h 1253"/>
                <a:gd name="T64" fmla="*/ 509 w 1809"/>
                <a:gd name="T65" fmla="*/ 112 h 1253"/>
                <a:gd name="T66" fmla="*/ 548 w 1809"/>
                <a:gd name="T67" fmla="*/ 1187 h 1253"/>
                <a:gd name="T68" fmla="*/ 472 w 1809"/>
                <a:gd name="T69" fmla="*/ 1122 h 1253"/>
                <a:gd name="T70" fmla="*/ 558 w 1809"/>
                <a:gd name="T71" fmla="*/ 1157 h 1253"/>
                <a:gd name="T72" fmla="*/ 287 w 1809"/>
                <a:gd name="T73" fmla="*/ 654 h 1253"/>
                <a:gd name="T74" fmla="*/ 416 w 1809"/>
                <a:gd name="T75" fmla="*/ 684 h 1253"/>
                <a:gd name="T76" fmla="*/ 1106 w 1809"/>
                <a:gd name="T77" fmla="*/ 147 h 1253"/>
                <a:gd name="T78" fmla="*/ 1229 w 1809"/>
                <a:gd name="T79" fmla="*/ 258 h 1253"/>
                <a:gd name="T80" fmla="*/ 1106 w 1809"/>
                <a:gd name="T81" fmla="*/ 96 h 1253"/>
                <a:gd name="T82" fmla="*/ 1219 w 1809"/>
                <a:gd name="T83" fmla="*/ 1077 h 1253"/>
                <a:gd name="T84" fmla="*/ 1214 w 1809"/>
                <a:gd name="T85" fmla="*/ 1157 h 1253"/>
                <a:gd name="T86" fmla="*/ 1150 w 1809"/>
                <a:gd name="T87" fmla="*/ 1092 h 1253"/>
                <a:gd name="T88" fmla="*/ 1139 w 1809"/>
                <a:gd name="T89" fmla="*/ 1070 h 1253"/>
                <a:gd name="T90" fmla="*/ 1659 w 1809"/>
                <a:gd name="T91" fmla="*/ 1031 h 1253"/>
                <a:gd name="T92" fmla="*/ 1714 w 1809"/>
                <a:gd name="T93" fmla="*/ 1155 h 1253"/>
                <a:gd name="T94" fmla="*/ 1760 w 1809"/>
                <a:gd name="T95" fmla="*/ 1030 h 1253"/>
                <a:gd name="T96" fmla="*/ 111 w 1809"/>
                <a:gd name="T97" fmla="*/ 569 h 1253"/>
                <a:gd name="T98" fmla="*/ 109 w 1809"/>
                <a:gd name="T99" fmla="*/ 460 h 1253"/>
                <a:gd name="T100" fmla="*/ 32 w 1809"/>
                <a:gd name="T101" fmla="*/ 704 h 1253"/>
                <a:gd name="T102" fmla="*/ 310 w 1809"/>
                <a:gd name="T103" fmla="*/ 1058 h 1253"/>
                <a:gd name="T104" fmla="*/ 431 w 1809"/>
                <a:gd name="T105" fmla="*/ 1044 h 1253"/>
                <a:gd name="T106" fmla="*/ 278 w 1809"/>
                <a:gd name="T107" fmla="*/ 1165 h 1253"/>
                <a:gd name="T108" fmla="*/ 261 w 1809"/>
                <a:gd name="T109" fmla="*/ 540 h 1253"/>
                <a:gd name="T110" fmla="*/ 150 w 1809"/>
                <a:gd name="T111" fmla="*/ 635 h 1253"/>
                <a:gd name="T112" fmla="*/ 994 w 1809"/>
                <a:gd name="T113" fmla="*/ 1185 h 1253"/>
                <a:gd name="T114" fmla="*/ 331 w 1809"/>
                <a:gd name="T115" fmla="*/ 176 h 1253"/>
                <a:gd name="T116" fmla="*/ 333 w 1809"/>
                <a:gd name="T117" fmla="*/ 109 h 1253"/>
                <a:gd name="T118" fmla="*/ 946 w 1809"/>
                <a:gd name="T119" fmla="*/ 234 h 1253"/>
                <a:gd name="T120" fmla="*/ 1022 w 1809"/>
                <a:gd name="T121" fmla="*/ 113 h 1253"/>
                <a:gd name="T122" fmla="*/ 949 w 1809"/>
                <a:gd name="T123" fmla="*/ 65 h 1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09" h="1253">
                  <a:moveTo>
                    <a:pt x="248" y="198"/>
                  </a:moveTo>
                  <a:cubicBezTo>
                    <a:pt x="248" y="211"/>
                    <a:pt x="248" y="224"/>
                    <a:pt x="249" y="237"/>
                  </a:cubicBezTo>
                  <a:cubicBezTo>
                    <a:pt x="249" y="245"/>
                    <a:pt x="246" y="249"/>
                    <a:pt x="240" y="253"/>
                  </a:cubicBezTo>
                  <a:cubicBezTo>
                    <a:pt x="231" y="260"/>
                    <a:pt x="220" y="264"/>
                    <a:pt x="209" y="268"/>
                  </a:cubicBezTo>
                  <a:cubicBezTo>
                    <a:pt x="179" y="279"/>
                    <a:pt x="148" y="280"/>
                    <a:pt x="118" y="275"/>
                  </a:cubicBezTo>
                  <a:cubicBezTo>
                    <a:pt x="86" y="269"/>
                    <a:pt x="58" y="252"/>
                    <a:pt x="39" y="224"/>
                  </a:cubicBezTo>
                  <a:cubicBezTo>
                    <a:pt x="24" y="203"/>
                    <a:pt x="18" y="180"/>
                    <a:pt x="15" y="155"/>
                  </a:cubicBezTo>
                  <a:cubicBezTo>
                    <a:pt x="11" y="135"/>
                    <a:pt x="15" y="115"/>
                    <a:pt x="19" y="97"/>
                  </a:cubicBezTo>
                  <a:cubicBezTo>
                    <a:pt x="26" y="68"/>
                    <a:pt x="42" y="44"/>
                    <a:pt x="68" y="27"/>
                  </a:cubicBezTo>
                  <a:cubicBezTo>
                    <a:pt x="87" y="14"/>
                    <a:pt x="109" y="6"/>
                    <a:pt x="133" y="5"/>
                  </a:cubicBezTo>
                  <a:cubicBezTo>
                    <a:pt x="149" y="4"/>
                    <a:pt x="165" y="5"/>
                    <a:pt x="181" y="6"/>
                  </a:cubicBezTo>
                  <a:cubicBezTo>
                    <a:pt x="204" y="8"/>
                    <a:pt x="225" y="20"/>
                    <a:pt x="243" y="35"/>
                  </a:cubicBezTo>
                  <a:cubicBezTo>
                    <a:pt x="246" y="37"/>
                    <a:pt x="246" y="40"/>
                    <a:pt x="244" y="43"/>
                  </a:cubicBezTo>
                  <a:cubicBezTo>
                    <a:pt x="242" y="47"/>
                    <a:pt x="239" y="52"/>
                    <a:pt x="236" y="55"/>
                  </a:cubicBezTo>
                  <a:cubicBezTo>
                    <a:pt x="226" y="65"/>
                    <a:pt x="224" y="65"/>
                    <a:pt x="206" y="54"/>
                  </a:cubicBezTo>
                  <a:cubicBezTo>
                    <a:pt x="193" y="46"/>
                    <a:pt x="180" y="40"/>
                    <a:pt x="165" y="41"/>
                  </a:cubicBezTo>
                  <a:cubicBezTo>
                    <a:pt x="151" y="41"/>
                    <a:pt x="137" y="39"/>
                    <a:pt x="124" y="42"/>
                  </a:cubicBezTo>
                  <a:cubicBezTo>
                    <a:pt x="104" y="46"/>
                    <a:pt x="87" y="57"/>
                    <a:pt x="75" y="74"/>
                  </a:cubicBezTo>
                  <a:cubicBezTo>
                    <a:pt x="56" y="99"/>
                    <a:pt x="51" y="129"/>
                    <a:pt x="55" y="159"/>
                  </a:cubicBezTo>
                  <a:cubicBezTo>
                    <a:pt x="60" y="189"/>
                    <a:pt x="73" y="214"/>
                    <a:pt x="98" y="230"/>
                  </a:cubicBezTo>
                  <a:cubicBezTo>
                    <a:pt x="109" y="237"/>
                    <a:pt x="121" y="242"/>
                    <a:pt x="135" y="241"/>
                  </a:cubicBezTo>
                  <a:cubicBezTo>
                    <a:pt x="146" y="241"/>
                    <a:pt x="158" y="241"/>
                    <a:pt x="169" y="241"/>
                  </a:cubicBezTo>
                  <a:cubicBezTo>
                    <a:pt x="182" y="242"/>
                    <a:pt x="193" y="235"/>
                    <a:pt x="205" y="232"/>
                  </a:cubicBezTo>
                  <a:cubicBezTo>
                    <a:pt x="210" y="231"/>
                    <a:pt x="211" y="227"/>
                    <a:pt x="211" y="224"/>
                  </a:cubicBezTo>
                  <a:cubicBezTo>
                    <a:pt x="211" y="210"/>
                    <a:pt x="211" y="196"/>
                    <a:pt x="211" y="183"/>
                  </a:cubicBezTo>
                  <a:cubicBezTo>
                    <a:pt x="211" y="177"/>
                    <a:pt x="207" y="175"/>
                    <a:pt x="202" y="175"/>
                  </a:cubicBezTo>
                  <a:cubicBezTo>
                    <a:pt x="193" y="175"/>
                    <a:pt x="184" y="175"/>
                    <a:pt x="175" y="175"/>
                  </a:cubicBezTo>
                  <a:cubicBezTo>
                    <a:pt x="171" y="175"/>
                    <a:pt x="168" y="174"/>
                    <a:pt x="166" y="171"/>
                  </a:cubicBezTo>
                  <a:cubicBezTo>
                    <a:pt x="163" y="163"/>
                    <a:pt x="164" y="154"/>
                    <a:pt x="166" y="146"/>
                  </a:cubicBezTo>
                  <a:cubicBezTo>
                    <a:pt x="167" y="142"/>
                    <a:pt x="171" y="142"/>
                    <a:pt x="175" y="142"/>
                  </a:cubicBezTo>
                  <a:cubicBezTo>
                    <a:pt x="196" y="142"/>
                    <a:pt x="217" y="142"/>
                    <a:pt x="238" y="142"/>
                  </a:cubicBezTo>
                  <a:cubicBezTo>
                    <a:pt x="247" y="142"/>
                    <a:pt x="248" y="148"/>
                    <a:pt x="248" y="155"/>
                  </a:cubicBezTo>
                  <a:cubicBezTo>
                    <a:pt x="249" y="169"/>
                    <a:pt x="248" y="183"/>
                    <a:pt x="248" y="198"/>
                  </a:cubicBezTo>
                  <a:close/>
                  <a:moveTo>
                    <a:pt x="884" y="1181"/>
                  </a:moveTo>
                  <a:cubicBezTo>
                    <a:pt x="889" y="1167"/>
                    <a:pt x="894" y="1152"/>
                    <a:pt x="898" y="1137"/>
                  </a:cubicBezTo>
                  <a:cubicBezTo>
                    <a:pt x="901" y="1127"/>
                    <a:pt x="905" y="1116"/>
                    <a:pt x="908" y="1106"/>
                  </a:cubicBezTo>
                  <a:cubicBezTo>
                    <a:pt x="911" y="1098"/>
                    <a:pt x="912" y="1089"/>
                    <a:pt x="916" y="1081"/>
                  </a:cubicBezTo>
                  <a:cubicBezTo>
                    <a:pt x="921" y="1072"/>
                    <a:pt x="923" y="1060"/>
                    <a:pt x="927" y="1050"/>
                  </a:cubicBezTo>
                  <a:cubicBezTo>
                    <a:pt x="932" y="1037"/>
                    <a:pt x="934" y="1023"/>
                    <a:pt x="940" y="1010"/>
                  </a:cubicBezTo>
                  <a:cubicBezTo>
                    <a:pt x="945" y="1001"/>
                    <a:pt x="941" y="995"/>
                    <a:pt x="931" y="995"/>
                  </a:cubicBezTo>
                  <a:cubicBezTo>
                    <a:pt x="927" y="995"/>
                    <a:pt x="922" y="995"/>
                    <a:pt x="918" y="995"/>
                  </a:cubicBezTo>
                  <a:cubicBezTo>
                    <a:pt x="913" y="995"/>
                    <a:pt x="908" y="997"/>
                    <a:pt x="907" y="1001"/>
                  </a:cubicBezTo>
                  <a:cubicBezTo>
                    <a:pt x="904" y="1008"/>
                    <a:pt x="900" y="1015"/>
                    <a:pt x="899" y="1023"/>
                  </a:cubicBezTo>
                  <a:cubicBezTo>
                    <a:pt x="897" y="1034"/>
                    <a:pt x="893" y="1045"/>
                    <a:pt x="889" y="1055"/>
                  </a:cubicBezTo>
                  <a:cubicBezTo>
                    <a:pt x="887" y="1064"/>
                    <a:pt x="885" y="1072"/>
                    <a:pt x="882" y="1080"/>
                  </a:cubicBezTo>
                  <a:cubicBezTo>
                    <a:pt x="878" y="1091"/>
                    <a:pt x="874" y="1103"/>
                    <a:pt x="871" y="1115"/>
                  </a:cubicBezTo>
                  <a:cubicBezTo>
                    <a:pt x="870" y="1118"/>
                    <a:pt x="871" y="1124"/>
                    <a:pt x="866" y="1124"/>
                  </a:cubicBezTo>
                  <a:cubicBezTo>
                    <a:pt x="861" y="1125"/>
                    <a:pt x="859" y="1120"/>
                    <a:pt x="858" y="1115"/>
                  </a:cubicBezTo>
                  <a:cubicBezTo>
                    <a:pt x="856" y="1110"/>
                    <a:pt x="856" y="1104"/>
                    <a:pt x="854" y="1099"/>
                  </a:cubicBezTo>
                  <a:cubicBezTo>
                    <a:pt x="848" y="1080"/>
                    <a:pt x="841" y="1062"/>
                    <a:pt x="835" y="1044"/>
                  </a:cubicBezTo>
                  <a:cubicBezTo>
                    <a:pt x="831" y="1030"/>
                    <a:pt x="828" y="1016"/>
                    <a:pt x="822" y="1003"/>
                  </a:cubicBezTo>
                  <a:cubicBezTo>
                    <a:pt x="819" y="997"/>
                    <a:pt x="814" y="994"/>
                    <a:pt x="808" y="994"/>
                  </a:cubicBezTo>
                  <a:cubicBezTo>
                    <a:pt x="799" y="993"/>
                    <a:pt x="791" y="993"/>
                    <a:pt x="787" y="1001"/>
                  </a:cubicBezTo>
                  <a:cubicBezTo>
                    <a:pt x="783" y="1008"/>
                    <a:pt x="780" y="1015"/>
                    <a:pt x="779" y="1022"/>
                  </a:cubicBezTo>
                  <a:cubicBezTo>
                    <a:pt x="778" y="1034"/>
                    <a:pt x="772" y="1044"/>
                    <a:pt x="769" y="1055"/>
                  </a:cubicBezTo>
                  <a:cubicBezTo>
                    <a:pt x="762" y="1076"/>
                    <a:pt x="754" y="1096"/>
                    <a:pt x="749" y="1117"/>
                  </a:cubicBezTo>
                  <a:cubicBezTo>
                    <a:pt x="748" y="1120"/>
                    <a:pt x="747" y="1124"/>
                    <a:pt x="742" y="1124"/>
                  </a:cubicBezTo>
                  <a:cubicBezTo>
                    <a:pt x="737" y="1124"/>
                    <a:pt x="737" y="1120"/>
                    <a:pt x="736" y="1116"/>
                  </a:cubicBezTo>
                  <a:cubicBezTo>
                    <a:pt x="734" y="1104"/>
                    <a:pt x="730" y="1092"/>
                    <a:pt x="726" y="1080"/>
                  </a:cubicBezTo>
                  <a:cubicBezTo>
                    <a:pt x="720" y="1061"/>
                    <a:pt x="714" y="1040"/>
                    <a:pt x="708" y="1020"/>
                  </a:cubicBezTo>
                  <a:cubicBezTo>
                    <a:pt x="703" y="1000"/>
                    <a:pt x="698" y="994"/>
                    <a:pt x="676" y="995"/>
                  </a:cubicBezTo>
                  <a:cubicBezTo>
                    <a:pt x="665" y="996"/>
                    <a:pt x="661" y="1001"/>
                    <a:pt x="667" y="1011"/>
                  </a:cubicBezTo>
                  <a:cubicBezTo>
                    <a:pt x="669" y="1016"/>
                    <a:pt x="670" y="1021"/>
                    <a:pt x="672" y="1025"/>
                  </a:cubicBezTo>
                  <a:cubicBezTo>
                    <a:pt x="675" y="1035"/>
                    <a:pt x="678" y="1046"/>
                    <a:pt x="681" y="1055"/>
                  </a:cubicBezTo>
                  <a:cubicBezTo>
                    <a:pt x="685" y="1068"/>
                    <a:pt x="689" y="1080"/>
                    <a:pt x="693" y="1092"/>
                  </a:cubicBezTo>
                  <a:cubicBezTo>
                    <a:pt x="697" y="1103"/>
                    <a:pt x="699" y="1113"/>
                    <a:pt x="703" y="1124"/>
                  </a:cubicBezTo>
                  <a:cubicBezTo>
                    <a:pt x="707" y="1136"/>
                    <a:pt x="711" y="1147"/>
                    <a:pt x="715" y="1160"/>
                  </a:cubicBezTo>
                  <a:cubicBezTo>
                    <a:pt x="717" y="1168"/>
                    <a:pt x="720" y="1176"/>
                    <a:pt x="724" y="1183"/>
                  </a:cubicBezTo>
                  <a:cubicBezTo>
                    <a:pt x="728" y="1189"/>
                    <a:pt x="752" y="1185"/>
                    <a:pt x="757" y="1180"/>
                  </a:cubicBezTo>
                  <a:cubicBezTo>
                    <a:pt x="764" y="1173"/>
                    <a:pt x="762" y="1163"/>
                    <a:pt x="766" y="1156"/>
                  </a:cubicBezTo>
                  <a:cubicBezTo>
                    <a:pt x="774" y="1140"/>
                    <a:pt x="778" y="1122"/>
                    <a:pt x="784" y="1105"/>
                  </a:cubicBezTo>
                  <a:cubicBezTo>
                    <a:pt x="789" y="1088"/>
                    <a:pt x="796" y="1072"/>
                    <a:pt x="800" y="1054"/>
                  </a:cubicBezTo>
                  <a:cubicBezTo>
                    <a:pt x="800" y="1053"/>
                    <a:pt x="801" y="1050"/>
                    <a:pt x="803" y="1050"/>
                  </a:cubicBezTo>
                  <a:cubicBezTo>
                    <a:pt x="806" y="1050"/>
                    <a:pt x="806" y="1052"/>
                    <a:pt x="807" y="1055"/>
                  </a:cubicBezTo>
                  <a:cubicBezTo>
                    <a:pt x="807" y="1060"/>
                    <a:pt x="810" y="1066"/>
                    <a:pt x="811" y="1071"/>
                  </a:cubicBezTo>
                  <a:cubicBezTo>
                    <a:pt x="814" y="1081"/>
                    <a:pt x="818" y="1090"/>
                    <a:pt x="821" y="1099"/>
                  </a:cubicBezTo>
                  <a:cubicBezTo>
                    <a:pt x="824" y="1110"/>
                    <a:pt x="827" y="1120"/>
                    <a:pt x="831" y="1131"/>
                  </a:cubicBezTo>
                  <a:cubicBezTo>
                    <a:pt x="834" y="1142"/>
                    <a:pt x="839" y="1153"/>
                    <a:pt x="842" y="1164"/>
                  </a:cubicBezTo>
                  <a:cubicBezTo>
                    <a:pt x="846" y="1179"/>
                    <a:pt x="850" y="1188"/>
                    <a:pt x="869" y="1185"/>
                  </a:cubicBezTo>
                  <a:cubicBezTo>
                    <a:pt x="873" y="1184"/>
                    <a:pt x="881" y="1189"/>
                    <a:pt x="884" y="1181"/>
                  </a:cubicBezTo>
                  <a:close/>
                  <a:moveTo>
                    <a:pt x="33" y="1051"/>
                  </a:moveTo>
                  <a:cubicBezTo>
                    <a:pt x="33" y="1087"/>
                    <a:pt x="33" y="1124"/>
                    <a:pt x="33" y="1160"/>
                  </a:cubicBezTo>
                  <a:cubicBezTo>
                    <a:pt x="33" y="1188"/>
                    <a:pt x="29" y="1184"/>
                    <a:pt x="58" y="1185"/>
                  </a:cubicBezTo>
                  <a:cubicBezTo>
                    <a:pt x="72" y="1185"/>
                    <a:pt x="73" y="1184"/>
                    <a:pt x="73" y="1170"/>
                  </a:cubicBezTo>
                  <a:cubicBezTo>
                    <a:pt x="73" y="1138"/>
                    <a:pt x="73" y="1107"/>
                    <a:pt x="73" y="1076"/>
                  </a:cubicBezTo>
                  <a:cubicBezTo>
                    <a:pt x="73" y="1071"/>
                    <a:pt x="72" y="1067"/>
                    <a:pt x="78" y="1065"/>
                  </a:cubicBezTo>
                  <a:cubicBezTo>
                    <a:pt x="91" y="1062"/>
                    <a:pt x="102" y="1067"/>
                    <a:pt x="110" y="1076"/>
                  </a:cubicBezTo>
                  <a:cubicBezTo>
                    <a:pt x="112" y="1080"/>
                    <a:pt x="115" y="1083"/>
                    <a:pt x="118" y="1086"/>
                  </a:cubicBezTo>
                  <a:cubicBezTo>
                    <a:pt x="132" y="1103"/>
                    <a:pt x="146" y="1119"/>
                    <a:pt x="161" y="1136"/>
                  </a:cubicBezTo>
                  <a:cubicBezTo>
                    <a:pt x="173" y="1150"/>
                    <a:pt x="186" y="1165"/>
                    <a:pt x="198" y="1179"/>
                  </a:cubicBezTo>
                  <a:cubicBezTo>
                    <a:pt x="207" y="1188"/>
                    <a:pt x="218" y="1184"/>
                    <a:pt x="228" y="1185"/>
                  </a:cubicBezTo>
                  <a:cubicBezTo>
                    <a:pt x="233" y="1185"/>
                    <a:pt x="241" y="1188"/>
                    <a:pt x="244" y="1182"/>
                  </a:cubicBezTo>
                  <a:cubicBezTo>
                    <a:pt x="246" y="1178"/>
                    <a:pt x="239" y="1173"/>
                    <a:pt x="235" y="1169"/>
                  </a:cubicBezTo>
                  <a:cubicBezTo>
                    <a:pt x="206" y="1133"/>
                    <a:pt x="176" y="1098"/>
                    <a:pt x="146" y="1062"/>
                  </a:cubicBezTo>
                  <a:cubicBezTo>
                    <a:pt x="141" y="1056"/>
                    <a:pt x="131" y="1052"/>
                    <a:pt x="132" y="1044"/>
                  </a:cubicBezTo>
                  <a:cubicBezTo>
                    <a:pt x="132" y="1036"/>
                    <a:pt x="142" y="1032"/>
                    <a:pt x="147" y="1026"/>
                  </a:cubicBezTo>
                  <a:cubicBezTo>
                    <a:pt x="164" y="1006"/>
                    <a:pt x="182" y="988"/>
                    <a:pt x="198" y="968"/>
                  </a:cubicBezTo>
                  <a:cubicBezTo>
                    <a:pt x="209" y="954"/>
                    <a:pt x="221" y="942"/>
                    <a:pt x="234" y="929"/>
                  </a:cubicBezTo>
                  <a:cubicBezTo>
                    <a:pt x="236" y="926"/>
                    <a:pt x="238" y="923"/>
                    <a:pt x="237" y="920"/>
                  </a:cubicBezTo>
                  <a:cubicBezTo>
                    <a:pt x="235" y="915"/>
                    <a:pt x="231" y="917"/>
                    <a:pt x="228" y="917"/>
                  </a:cubicBezTo>
                  <a:cubicBezTo>
                    <a:pt x="224" y="918"/>
                    <a:pt x="221" y="918"/>
                    <a:pt x="217" y="918"/>
                  </a:cubicBezTo>
                  <a:cubicBezTo>
                    <a:pt x="204" y="917"/>
                    <a:pt x="193" y="922"/>
                    <a:pt x="185" y="931"/>
                  </a:cubicBezTo>
                  <a:cubicBezTo>
                    <a:pt x="172" y="946"/>
                    <a:pt x="158" y="961"/>
                    <a:pt x="145" y="977"/>
                  </a:cubicBezTo>
                  <a:cubicBezTo>
                    <a:pt x="131" y="993"/>
                    <a:pt x="117" y="1010"/>
                    <a:pt x="102" y="1026"/>
                  </a:cubicBezTo>
                  <a:cubicBezTo>
                    <a:pt x="96" y="1032"/>
                    <a:pt x="87" y="1037"/>
                    <a:pt x="78" y="1034"/>
                  </a:cubicBezTo>
                  <a:cubicBezTo>
                    <a:pt x="70" y="1030"/>
                    <a:pt x="73" y="1021"/>
                    <a:pt x="73" y="1015"/>
                  </a:cubicBezTo>
                  <a:cubicBezTo>
                    <a:pt x="73" y="991"/>
                    <a:pt x="73" y="967"/>
                    <a:pt x="73" y="944"/>
                  </a:cubicBezTo>
                  <a:cubicBezTo>
                    <a:pt x="73" y="916"/>
                    <a:pt x="75" y="917"/>
                    <a:pt x="46" y="918"/>
                  </a:cubicBezTo>
                  <a:cubicBezTo>
                    <a:pt x="33" y="918"/>
                    <a:pt x="33" y="918"/>
                    <a:pt x="33" y="931"/>
                  </a:cubicBezTo>
                  <a:cubicBezTo>
                    <a:pt x="33" y="971"/>
                    <a:pt x="33" y="1011"/>
                    <a:pt x="33" y="1051"/>
                  </a:cubicBezTo>
                  <a:cubicBezTo>
                    <a:pt x="33" y="1051"/>
                    <a:pt x="33" y="1051"/>
                    <a:pt x="33" y="1051"/>
                  </a:cubicBezTo>
                  <a:close/>
                  <a:moveTo>
                    <a:pt x="639" y="84"/>
                  </a:moveTo>
                  <a:cubicBezTo>
                    <a:pt x="627" y="84"/>
                    <a:pt x="626" y="84"/>
                    <a:pt x="629" y="95"/>
                  </a:cubicBezTo>
                  <a:cubicBezTo>
                    <a:pt x="634" y="113"/>
                    <a:pt x="640" y="131"/>
                    <a:pt x="646" y="148"/>
                  </a:cubicBezTo>
                  <a:cubicBezTo>
                    <a:pt x="652" y="166"/>
                    <a:pt x="658" y="185"/>
                    <a:pt x="664" y="203"/>
                  </a:cubicBezTo>
                  <a:cubicBezTo>
                    <a:pt x="671" y="223"/>
                    <a:pt x="676" y="244"/>
                    <a:pt x="684" y="264"/>
                  </a:cubicBezTo>
                  <a:cubicBezTo>
                    <a:pt x="688" y="274"/>
                    <a:pt x="694" y="274"/>
                    <a:pt x="702" y="274"/>
                  </a:cubicBezTo>
                  <a:cubicBezTo>
                    <a:pt x="711" y="274"/>
                    <a:pt x="719" y="272"/>
                    <a:pt x="723" y="263"/>
                  </a:cubicBezTo>
                  <a:cubicBezTo>
                    <a:pt x="733" y="236"/>
                    <a:pt x="741" y="208"/>
                    <a:pt x="750" y="181"/>
                  </a:cubicBezTo>
                  <a:cubicBezTo>
                    <a:pt x="754" y="169"/>
                    <a:pt x="757" y="156"/>
                    <a:pt x="763" y="145"/>
                  </a:cubicBezTo>
                  <a:cubicBezTo>
                    <a:pt x="764" y="143"/>
                    <a:pt x="764" y="140"/>
                    <a:pt x="767" y="140"/>
                  </a:cubicBezTo>
                  <a:cubicBezTo>
                    <a:pt x="770" y="140"/>
                    <a:pt x="770" y="143"/>
                    <a:pt x="771" y="145"/>
                  </a:cubicBezTo>
                  <a:cubicBezTo>
                    <a:pt x="771" y="156"/>
                    <a:pt x="777" y="165"/>
                    <a:pt x="780" y="175"/>
                  </a:cubicBezTo>
                  <a:cubicBezTo>
                    <a:pt x="782" y="184"/>
                    <a:pt x="785" y="193"/>
                    <a:pt x="788" y="201"/>
                  </a:cubicBezTo>
                  <a:cubicBezTo>
                    <a:pt x="794" y="219"/>
                    <a:pt x="801" y="237"/>
                    <a:pt x="806" y="255"/>
                  </a:cubicBezTo>
                  <a:cubicBezTo>
                    <a:pt x="811" y="272"/>
                    <a:pt x="825" y="280"/>
                    <a:pt x="842" y="273"/>
                  </a:cubicBezTo>
                  <a:cubicBezTo>
                    <a:pt x="845" y="271"/>
                    <a:pt x="847" y="269"/>
                    <a:pt x="848" y="266"/>
                  </a:cubicBezTo>
                  <a:cubicBezTo>
                    <a:pt x="853" y="251"/>
                    <a:pt x="859" y="236"/>
                    <a:pt x="863" y="221"/>
                  </a:cubicBezTo>
                  <a:cubicBezTo>
                    <a:pt x="867" y="202"/>
                    <a:pt x="875" y="185"/>
                    <a:pt x="880" y="166"/>
                  </a:cubicBezTo>
                  <a:cubicBezTo>
                    <a:pt x="886" y="144"/>
                    <a:pt x="895" y="123"/>
                    <a:pt x="900" y="101"/>
                  </a:cubicBezTo>
                  <a:cubicBezTo>
                    <a:pt x="901" y="96"/>
                    <a:pt x="909" y="91"/>
                    <a:pt x="904" y="86"/>
                  </a:cubicBezTo>
                  <a:cubicBezTo>
                    <a:pt x="900" y="81"/>
                    <a:pt x="892" y="84"/>
                    <a:pt x="886" y="84"/>
                  </a:cubicBezTo>
                  <a:cubicBezTo>
                    <a:pt x="885" y="84"/>
                    <a:pt x="883" y="84"/>
                    <a:pt x="881" y="84"/>
                  </a:cubicBezTo>
                  <a:cubicBezTo>
                    <a:pt x="875" y="84"/>
                    <a:pt x="872" y="86"/>
                    <a:pt x="869" y="91"/>
                  </a:cubicBezTo>
                  <a:cubicBezTo>
                    <a:pt x="860" y="110"/>
                    <a:pt x="856" y="131"/>
                    <a:pt x="850" y="151"/>
                  </a:cubicBezTo>
                  <a:cubicBezTo>
                    <a:pt x="844" y="170"/>
                    <a:pt x="836" y="188"/>
                    <a:pt x="834" y="208"/>
                  </a:cubicBezTo>
                  <a:cubicBezTo>
                    <a:pt x="833" y="211"/>
                    <a:pt x="831" y="214"/>
                    <a:pt x="827" y="214"/>
                  </a:cubicBezTo>
                  <a:cubicBezTo>
                    <a:pt x="823" y="214"/>
                    <a:pt x="822" y="210"/>
                    <a:pt x="822" y="207"/>
                  </a:cubicBezTo>
                  <a:cubicBezTo>
                    <a:pt x="817" y="188"/>
                    <a:pt x="811" y="170"/>
                    <a:pt x="805" y="152"/>
                  </a:cubicBezTo>
                  <a:cubicBezTo>
                    <a:pt x="799" y="133"/>
                    <a:pt x="794" y="114"/>
                    <a:pt x="786" y="96"/>
                  </a:cubicBezTo>
                  <a:cubicBezTo>
                    <a:pt x="783" y="87"/>
                    <a:pt x="779" y="84"/>
                    <a:pt x="770" y="84"/>
                  </a:cubicBezTo>
                  <a:cubicBezTo>
                    <a:pt x="761" y="84"/>
                    <a:pt x="752" y="82"/>
                    <a:pt x="748" y="94"/>
                  </a:cubicBezTo>
                  <a:cubicBezTo>
                    <a:pt x="744" y="109"/>
                    <a:pt x="738" y="123"/>
                    <a:pt x="734" y="138"/>
                  </a:cubicBezTo>
                  <a:cubicBezTo>
                    <a:pt x="729" y="153"/>
                    <a:pt x="724" y="167"/>
                    <a:pt x="719" y="182"/>
                  </a:cubicBezTo>
                  <a:cubicBezTo>
                    <a:pt x="716" y="192"/>
                    <a:pt x="715" y="203"/>
                    <a:pt x="708" y="212"/>
                  </a:cubicBezTo>
                  <a:cubicBezTo>
                    <a:pt x="707" y="214"/>
                    <a:pt x="707" y="217"/>
                    <a:pt x="704" y="217"/>
                  </a:cubicBezTo>
                  <a:cubicBezTo>
                    <a:pt x="701" y="217"/>
                    <a:pt x="701" y="213"/>
                    <a:pt x="700" y="211"/>
                  </a:cubicBezTo>
                  <a:cubicBezTo>
                    <a:pt x="699" y="198"/>
                    <a:pt x="694" y="186"/>
                    <a:pt x="690" y="174"/>
                  </a:cubicBezTo>
                  <a:cubicBezTo>
                    <a:pt x="684" y="153"/>
                    <a:pt x="677" y="131"/>
                    <a:pt x="672" y="110"/>
                  </a:cubicBezTo>
                  <a:cubicBezTo>
                    <a:pt x="667" y="88"/>
                    <a:pt x="663" y="84"/>
                    <a:pt x="645" y="84"/>
                  </a:cubicBezTo>
                  <a:cubicBezTo>
                    <a:pt x="643" y="84"/>
                    <a:pt x="641" y="84"/>
                    <a:pt x="639" y="84"/>
                  </a:cubicBezTo>
                  <a:close/>
                  <a:moveTo>
                    <a:pt x="507" y="711"/>
                  </a:moveTo>
                  <a:cubicBezTo>
                    <a:pt x="507" y="730"/>
                    <a:pt x="507" y="730"/>
                    <a:pt x="526" y="730"/>
                  </a:cubicBezTo>
                  <a:cubicBezTo>
                    <a:pt x="539" y="730"/>
                    <a:pt x="541" y="729"/>
                    <a:pt x="541" y="715"/>
                  </a:cubicBezTo>
                  <a:cubicBezTo>
                    <a:pt x="541" y="677"/>
                    <a:pt x="541" y="638"/>
                    <a:pt x="540" y="600"/>
                  </a:cubicBezTo>
                  <a:cubicBezTo>
                    <a:pt x="540" y="593"/>
                    <a:pt x="543" y="587"/>
                    <a:pt x="548" y="582"/>
                  </a:cubicBezTo>
                  <a:cubicBezTo>
                    <a:pt x="553" y="576"/>
                    <a:pt x="559" y="573"/>
                    <a:pt x="564" y="569"/>
                  </a:cubicBezTo>
                  <a:cubicBezTo>
                    <a:pt x="574" y="564"/>
                    <a:pt x="594" y="566"/>
                    <a:pt x="602" y="574"/>
                  </a:cubicBezTo>
                  <a:cubicBezTo>
                    <a:pt x="611" y="582"/>
                    <a:pt x="614" y="592"/>
                    <a:pt x="614" y="604"/>
                  </a:cubicBezTo>
                  <a:cubicBezTo>
                    <a:pt x="614" y="638"/>
                    <a:pt x="614" y="672"/>
                    <a:pt x="614" y="706"/>
                  </a:cubicBezTo>
                  <a:cubicBezTo>
                    <a:pt x="614" y="730"/>
                    <a:pt x="614" y="730"/>
                    <a:pt x="638" y="730"/>
                  </a:cubicBezTo>
                  <a:cubicBezTo>
                    <a:pt x="650" y="730"/>
                    <a:pt x="650" y="730"/>
                    <a:pt x="650" y="717"/>
                  </a:cubicBezTo>
                  <a:cubicBezTo>
                    <a:pt x="650" y="684"/>
                    <a:pt x="650" y="650"/>
                    <a:pt x="650" y="617"/>
                  </a:cubicBezTo>
                  <a:cubicBezTo>
                    <a:pt x="650" y="606"/>
                    <a:pt x="651" y="597"/>
                    <a:pt x="657" y="586"/>
                  </a:cubicBezTo>
                  <a:cubicBezTo>
                    <a:pt x="667" y="565"/>
                    <a:pt x="703" y="560"/>
                    <a:pt x="716" y="579"/>
                  </a:cubicBezTo>
                  <a:cubicBezTo>
                    <a:pt x="723" y="588"/>
                    <a:pt x="724" y="598"/>
                    <a:pt x="724" y="609"/>
                  </a:cubicBezTo>
                  <a:cubicBezTo>
                    <a:pt x="724" y="645"/>
                    <a:pt x="724" y="682"/>
                    <a:pt x="724" y="718"/>
                  </a:cubicBezTo>
                  <a:cubicBezTo>
                    <a:pt x="724" y="727"/>
                    <a:pt x="727" y="731"/>
                    <a:pt x="736" y="730"/>
                  </a:cubicBezTo>
                  <a:cubicBezTo>
                    <a:pt x="738" y="730"/>
                    <a:pt x="741" y="730"/>
                    <a:pt x="743" y="730"/>
                  </a:cubicBezTo>
                  <a:cubicBezTo>
                    <a:pt x="758" y="730"/>
                    <a:pt x="759" y="729"/>
                    <a:pt x="759" y="715"/>
                  </a:cubicBezTo>
                  <a:cubicBezTo>
                    <a:pt x="759" y="677"/>
                    <a:pt x="758" y="639"/>
                    <a:pt x="759" y="601"/>
                  </a:cubicBezTo>
                  <a:cubicBezTo>
                    <a:pt x="759" y="571"/>
                    <a:pt x="742" y="540"/>
                    <a:pt x="704" y="538"/>
                  </a:cubicBezTo>
                  <a:cubicBezTo>
                    <a:pt x="681" y="536"/>
                    <a:pt x="661" y="542"/>
                    <a:pt x="646" y="560"/>
                  </a:cubicBezTo>
                  <a:cubicBezTo>
                    <a:pt x="638" y="569"/>
                    <a:pt x="638" y="569"/>
                    <a:pt x="631" y="559"/>
                  </a:cubicBezTo>
                  <a:cubicBezTo>
                    <a:pt x="630" y="558"/>
                    <a:pt x="630" y="557"/>
                    <a:pt x="629" y="556"/>
                  </a:cubicBezTo>
                  <a:cubicBezTo>
                    <a:pt x="623" y="548"/>
                    <a:pt x="616" y="541"/>
                    <a:pt x="607" y="539"/>
                  </a:cubicBezTo>
                  <a:cubicBezTo>
                    <a:pt x="584" y="534"/>
                    <a:pt x="563" y="539"/>
                    <a:pt x="545" y="555"/>
                  </a:cubicBezTo>
                  <a:cubicBezTo>
                    <a:pt x="540" y="559"/>
                    <a:pt x="537" y="561"/>
                    <a:pt x="537" y="552"/>
                  </a:cubicBezTo>
                  <a:cubicBezTo>
                    <a:pt x="536" y="543"/>
                    <a:pt x="526" y="538"/>
                    <a:pt x="515" y="539"/>
                  </a:cubicBezTo>
                  <a:cubicBezTo>
                    <a:pt x="506" y="540"/>
                    <a:pt x="507" y="546"/>
                    <a:pt x="507" y="552"/>
                  </a:cubicBezTo>
                  <a:cubicBezTo>
                    <a:pt x="507" y="580"/>
                    <a:pt x="507" y="607"/>
                    <a:pt x="507" y="634"/>
                  </a:cubicBezTo>
                  <a:cubicBezTo>
                    <a:pt x="507" y="660"/>
                    <a:pt x="507" y="685"/>
                    <a:pt x="507" y="711"/>
                  </a:cubicBezTo>
                  <a:close/>
                  <a:moveTo>
                    <a:pt x="1525" y="1142"/>
                  </a:moveTo>
                  <a:cubicBezTo>
                    <a:pt x="1517" y="1143"/>
                    <a:pt x="1511" y="1141"/>
                    <a:pt x="1505" y="1136"/>
                  </a:cubicBezTo>
                  <a:cubicBezTo>
                    <a:pt x="1501" y="1133"/>
                    <a:pt x="1495" y="1130"/>
                    <a:pt x="1498" y="1124"/>
                  </a:cubicBezTo>
                  <a:cubicBezTo>
                    <a:pt x="1500" y="1118"/>
                    <a:pt x="1504" y="1114"/>
                    <a:pt x="1512" y="1114"/>
                  </a:cubicBezTo>
                  <a:cubicBezTo>
                    <a:pt x="1521" y="1115"/>
                    <a:pt x="1530" y="1114"/>
                    <a:pt x="1538" y="1115"/>
                  </a:cubicBezTo>
                  <a:cubicBezTo>
                    <a:pt x="1573" y="1117"/>
                    <a:pt x="1610" y="1084"/>
                    <a:pt x="1602" y="1044"/>
                  </a:cubicBezTo>
                  <a:cubicBezTo>
                    <a:pt x="1600" y="1035"/>
                    <a:pt x="1599" y="1028"/>
                    <a:pt x="1611" y="1027"/>
                  </a:cubicBezTo>
                  <a:cubicBezTo>
                    <a:pt x="1614" y="1027"/>
                    <a:pt x="1617" y="1024"/>
                    <a:pt x="1619" y="1023"/>
                  </a:cubicBezTo>
                  <a:cubicBezTo>
                    <a:pt x="1626" y="1019"/>
                    <a:pt x="1624" y="1013"/>
                    <a:pt x="1623" y="1008"/>
                  </a:cubicBezTo>
                  <a:cubicBezTo>
                    <a:pt x="1623" y="1002"/>
                    <a:pt x="1618" y="1003"/>
                    <a:pt x="1613" y="1002"/>
                  </a:cubicBezTo>
                  <a:cubicBezTo>
                    <a:pt x="1598" y="1002"/>
                    <a:pt x="1582" y="1004"/>
                    <a:pt x="1567" y="1000"/>
                  </a:cubicBezTo>
                  <a:cubicBezTo>
                    <a:pt x="1560" y="999"/>
                    <a:pt x="1554" y="993"/>
                    <a:pt x="1546" y="993"/>
                  </a:cubicBezTo>
                  <a:cubicBezTo>
                    <a:pt x="1536" y="994"/>
                    <a:pt x="1525" y="992"/>
                    <a:pt x="1515" y="993"/>
                  </a:cubicBezTo>
                  <a:cubicBezTo>
                    <a:pt x="1490" y="997"/>
                    <a:pt x="1469" y="1010"/>
                    <a:pt x="1462" y="1034"/>
                  </a:cubicBezTo>
                  <a:cubicBezTo>
                    <a:pt x="1455" y="1056"/>
                    <a:pt x="1457" y="1079"/>
                    <a:pt x="1476" y="1096"/>
                  </a:cubicBezTo>
                  <a:cubicBezTo>
                    <a:pt x="1483" y="1103"/>
                    <a:pt x="1483" y="1107"/>
                    <a:pt x="1476" y="1113"/>
                  </a:cubicBezTo>
                  <a:cubicBezTo>
                    <a:pt x="1462" y="1126"/>
                    <a:pt x="1462" y="1142"/>
                    <a:pt x="1473" y="1157"/>
                  </a:cubicBezTo>
                  <a:cubicBezTo>
                    <a:pt x="1476" y="1160"/>
                    <a:pt x="1476" y="1162"/>
                    <a:pt x="1472" y="1164"/>
                  </a:cubicBezTo>
                  <a:cubicBezTo>
                    <a:pt x="1470" y="1166"/>
                    <a:pt x="1468" y="1168"/>
                    <a:pt x="1466" y="1170"/>
                  </a:cubicBezTo>
                  <a:cubicBezTo>
                    <a:pt x="1449" y="1183"/>
                    <a:pt x="1444" y="1201"/>
                    <a:pt x="1454" y="1218"/>
                  </a:cubicBezTo>
                  <a:cubicBezTo>
                    <a:pt x="1464" y="1235"/>
                    <a:pt x="1479" y="1246"/>
                    <a:pt x="1499" y="1249"/>
                  </a:cubicBezTo>
                  <a:cubicBezTo>
                    <a:pt x="1517" y="1252"/>
                    <a:pt x="1535" y="1253"/>
                    <a:pt x="1553" y="1250"/>
                  </a:cubicBezTo>
                  <a:cubicBezTo>
                    <a:pt x="1584" y="1245"/>
                    <a:pt x="1607" y="1232"/>
                    <a:pt x="1619" y="1200"/>
                  </a:cubicBezTo>
                  <a:cubicBezTo>
                    <a:pt x="1627" y="1180"/>
                    <a:pt x="1611" y="1155"/>
                    <a:pt x="1593" y="1148"/>
                  </a:cubicBezTo>
                  <a:cubicBezTo>
                    <a:pt x="1578" y="1142"/>
                    <a:pt x="1563" y="1143"/>
                    <a:pt x="1549" y="1142"/>
                  </a:cubicBezTo>
                  <a:cubicBezTo>
                    <a:pt x="1540" y="1142"/>
                    <a:pt x="1532" y="1142"/>
                    <a:pt x="1525" y="1142"/>
                  </a:cubicBezTo>
                  <a:close/>
                  <a:moveTo>
                    <a:pt x="1556" y="1172"/>
                  </a:moveTo>
                  <a:cubicBezTo>
                    <a:pt x="1566" y="1172"/>
                    <a:pt x="1576" y="1176"/>
                    <a:pt x="1583" y="1183"/>
                  </a:cubicBezTo>
                  <a:cubicBezTo>
                    <a:pt x="1589" y="1190"/>
                    <a:pt x="1589" y="1198"/>
                    <a:pt x="1583" y="1205"/>
                  </a:cubicBezTo>
                  <a:cubicBezTo>
                    <a:pt x="1575" y="1215"/>
                    <a:pt x="1565" y="1220"/>
                    <a:pt x="1553" y="1223"/>
                  </a:cubicBezTo>
                  <a:cubicBezTo>
                    <a:pt x="1534" y="1228"/>
                    <a:pt x="1516" y="1225"/>
                    <a:pt x="1499" y="1219"/>
                  </a:cubicBezTo>
                  <a:cubicBezTo>
                    <a:pt x="1486" y="1214"/>
                    <a:pt x="1479" y="1203"/>
                    <a:pt x="1482" y="1193"/>
                  </a:cubicBezTo>
                  <a:cubicBezTo>
                    <a:pt x="1485" y="1182"/>
                    <a:pt x="1496" y="1168"/>
                    <a:pt x="1514" y="1171"/>
                  </a:cubicBezTo>
                  <a:cubicBezTo>
                    <a:pt x="1526" y="1173"/>
                    <a:pt x="1541" y="1171"/>
                    <a:pt x="1556" y="1172"/>
                  </a:cubicBezTo>
                  <a:close/>
                  <a:moveTo>
                    <a:pt x="1531" y="1019"/>
                  </a:moveTo>
                  <a:cubicBezTo>
                    <a:pt x="1553" y="1017"/>
                    <a:pt x="1570" y="1033"/>
                    <a:pt x="1570" y="1052"/>
                  </a:cubicBezTo>
                  <a:cubicBezTo>
                    <a:pt x="1570" y="1075"/>
                    <a:pt x="1554" y="1093"/>
                    <a:pt x="1532" y="1091"/>
                  </a:cubicBezTo>
                  <a:cubicBezTo>
                    <a:pt x="1508" y="1089"/>
                    <a:pt x="1494" y="1082"/>
                    <a:pt x="1493" y="1053"/>
                  </a:cubicBezTo>
                  <a:cubicBezTo>
                    <a:pt x="1494" y="1029"/>
                    <a:pt x="1508" y="1020"/>
                    <a:pt x="1531" y="1019"/>
                  </a:cubicBezTo>
                  <a:close/>
                  <a:moveTo>
                    <a:pt x="1413" y="934"/>
                  </a:moveTo>
                  <a:cubicBezTo>
                    <a:pt x="1413" y="909"/>
                    <a:pt x="1413" y="909"/>
                    <a:pt x="1389" y="910"/>
                  </a:cubicBezTo>
                  <a:cubicBezTo>
                    <a:pt x="1388" y="910"/>
                    <a:pt x="1387" y="910"/>
                    <a:pt x="1387" y="910"/>
                  </a:cubicBezTo>
                  <a:cubicBezTo>
                    <a:pt x="1379" y="910"/>
                    <a:pt x="1376" y="915"/>
                    <a:pt x="1376" y="921"/>
                  </a:cubicBezTo>
                  <a:cubicBezTo>
                    <a:pt x="1376" y="939"/>
                    <a:pt x="1377" y="956"/>
                    <a:pt x="1377" y="974"/>
                  </a:cubicBezTo>
                  <a:cubicBezTo>
                    <a:pt x="1377" y="983"/>
                    <a:pt x="1377" y="991"/>
                    <a:pt x="1377" y="1000"/>
                  </a:cubicBezTo>
                  <a:cubicBezTo>
                    <a:pt x="1377" y="1005"/>
                    <a:pt x="1374" y="1009"/>
                    <a:pt x="1369" y="1005"/>
                  </a:cubicBezTo>
                  <a:cubicBezTo>
                    <a:pt x="1352" y="990"/>
                    <a:pt x="1332" y="993"/>
                    <a:pt x="1312" y="993"/>
                  </a:cubicBezTo>
                  <a:cubicBezTo>
                    <a:pt x="1303" y="994"/>
                    <a:pt x="1294" y="998"/>
                    <a:pt x="1287" y="1003"/>
                  </a:cubicBezTo>
                  <a:cubicBezTo>
                    <a:pt x="1265" y="1017"/>
                    <a:pt x="1252" y="1039"/>
                    <a:pt x="1248" y="1065"/>
                  </a:cubicBezTo>
                  <a:cubicBezTo>
                    <a:pt x="1244" y="1096"/>
                    <a:pt x="1244" y="1128"/>
                    <a:pt x="1261" y="1157"/>
                  </a:cubicBezTo>
                  <a:cubicBezTo>
                    <a:pt x="1270" y="1170"/>
                    <a:pt x="1281" y="1181"/>
                    <a:pt x="1296" y="1185"/>
                  </a:cubicBezTo>
                  <a:cubicBezTo>
                    <a:pt x="1323" y="1191"/>
                    <a:pt x="1349" y="1188"/>
                    <a:pt x="1370" y="1167"/>
                  </a:cubicBezTo>
                  <a:cubicBezTo>
                    <a:pt x="1372" y="1165"/>
                    <a:pt x="1375" y="1162"/>
                    <a:pt x="1379" y="1163"/>
                  </a:cubicBezTo>
                  <a:cubicBezTo>
                    <a:pt x="1382" y="1165"/>
                    <a:pt x="1381" y="1169"/>
                    <a:pt x="1381" y="1172"/>
                  </a:cubicBezTo>
                  <a:cubicBezTo>
                    <a:pt x="1383" y="1181"/>
                    <a:pt x="1390" y="1186"/>
                    <a:pt x="1403" y="1186"/>
                  </a:cubicBezTo>
                  <a:cubicBezTo>
                    <a:pt x="1413" y="1185"/>
                    <a:pt x="1413" y="1178"/>
                    <a:pt x="1413" y="1172"/>
                  </a:cubicBezTo>
                  <a:cubicBezTo>
                    <a:pt x="1413" y="1131"/>
                    <a:pt x="1413" y="1090"/>
                    <a:pt x="1413" y="1049"/>
                  </a:cubicBezTo>
                  <a:cubicBezTo>
                    <a:pt x="1413" y="1010"/>
                    <a:pt x="1413" y="972"/>
                    <a:pt x="1413" y="934"/>
                  </a:cubicBezTo>
                  <a:close/>
                  <a:moveTo>
                    <a:pt x="1378" y="1113"/>
                  </a:moveTo>
                  <a:cubicBezTo>
                    <a:pt x="1378" y="1136"/>
                    <a:pt x="1360" y="1155"/>
                    <a:pt x="1337" y="1157"/>
                  </a:cubicBezTo>
                  <a:cubicBezTo>
                    <a:pt x="1319" y="1159"/>
                    <a:pt x="1304" y="1154"/>
                    <a:pt x="1294" y="1139"/>
                  </a:cubicBezTo>
                  <a:cubicBezTo>
                    <a:pt x="1286" y="1128"/>
                    <a:pt x="1283" y="1116"/>
                    <a:pt x="1283" y="1102"/>
                  </a:cubicBezTo>
                  <a:cubicBezTo>
                    <a:pt x="1282" y="1085"/>
                    <a:pt x="1282" y="1067"/>
                    <a:pt x="1290" y="1051"/>
                  </a:cubicBezTo>
                  <a:cubicBezTo>
                    <a:pt x="1297" y="1036"/>
                    <a:pt x="1308" y="1024"/>
                    <a:pt x="1325" y="1022"/>
                  </a:cubicBezTo>
                  <a:cubicBezTo>
                    <a:pt x="1342" y="1020"/>
                    <a:pt x="1358" y="1021"/>
                    <a:pt x="1371" y="1035"/>
                  </a:cubicBezTo>
                  <a:cubicBezTo>
                    <a:pt x="1376" y="1041"/>
                    <a:pt x="1378" y="1046"/>
                    <a:pt x="1378" y="1052"/>
                  </a:cubicBezTo>
                  <a:cubicBezTo>
                    <a:pt x="1378" y="1064"/>
                    <a:pt x="1378" y="1075"/>
                    <a:pt x="1378" y="1086"/>
                  </a:cubicBezTo>
                  <a:cubicBezTo>
                    <a:pt x="1378" y="1086"/>
                    <a:pt x="1378" y="1086"/>
                    <a:pt x="1378" y="1086"/>
                  </a:cubicBezTo>
                  <a:cubicBezTo>
                    <a:pt x="1378" y="1095"/>
                    <a:pt x="1378" y="1104"/>
                    <a:pt x="1378" y="1113"/>
                  </a:cubicBezTo>
                  <a:close/>
                  <a:moveTo>
                    <a:pt x="578" y="259"/>
                  </a:moveTo>
                  <a:cubicBezTo>
                    <a:pt x="603" y="241"/>
                    <a:pt x="611" y="213"/>
                    <a:pt x="614" y="183"/>
                  </a:cubicBezTo>
                  <a:cubicBezTo>
                    <a:pt x="615" y="171"/>
                    <a:pt x="610" y="159"/>
                    <a:pt x="609" y="147"/>
                  </a:cubicBezTo>
                  <a:cubicBezTo>
                    <a:pt x="608" y="137"/>
                    <a:pt x="603" y="129"/>
                    <a:pt x="599" y="121"/>
                  </a:cubicBezTo>
                  <a:cubicBezTo>
                    <a:pt x="579" y="87"/>
                    <a:pt x="527" y="70"/>
                    <a:pt x="488" y="85"/>
                  </a:cubicBezTo>
                  <a:cubicBezTo>
                    <a:pt x="453" y="99"/>
                    <a:pt x="436" y="127"/>
                    <a:pt x="431" y="163"/>
                  </a:cubicBezTo>
                  <a:cubicBezTo>
                    <a:pt x="429" y="180"/>
                    <a:pt x="430" y="196"/>
                    <a:pt x="436" y="213"/>
                  </a:cubicBezTo>
                  <a:cubicBezTo>
                    <a:pt x="439" y="222"/>
                    <a:pt x="442" y="232"/>
                    <a:pt x="447" y="239"/>
                  </a:cubicBezTo>
                  <a:cubicBezTo>
                    <a:pt x="465" y="265"/>
                    <a:pt x="491" y="277"/>
                    <a:pt x="525" y="276"/>
                  </a:cubicBezTo>
                  <a:cubicBezTo>
                    <a:pt x="543" y="278"/>
                    <a:pt x="562" y="271"/>
                    <a:pt x="578" y="259"/>
                  </a:cubicBezTo>
                  <a:close/>
                  <a:moveTo>
                    <a:pt x="471" y="205"/>
                  </a:moveTo>
                  <a:cubicBezTo>
                    <a:pt x="466" y="185"/>
                    <a:pt x="468" y="167"/>
                    <a:pt x="472" y="147"/>
                  </a:cubicBezTo>
                  <a:cubicBezTo>
                    <a:pt x="477" y="130"/>
                    <a:pt x="493" y="116"/>
                    <a:pt x="509" y="112"/>
                  </a:cubicBezTo>
                  <a:cubicBezTo>
                    <a:pt x="525" y="108"/>
                    <a:pt x="539" y="110"/>
                    <a:pt x="553" y="119"/>
                  </a:cubicBezTo>
                  <a:cubicBezTo>
                    <a:pt x="563" y="125"/>
                    <a:pt x="568" y="135"/>
                    <a:pt x="571" y="146"/>
                  </a:cubicBezTo>
                  <a:cubicBezTo>
                    <a:pt x="577" y="167"/>
                    <a:pt x="578" y="189"/>
                    <a:pt x="571" y="211"/>
                  </a:cubicBezTo>
                  <a:cubicBezTo>
                    <a:pt x="565" y="231"/>
                    <a:pt x="549" y="249"/>
                    <a:pt x="521" y="247"/>
                  </a:cubicBezTo>
                  <a:cubicBezTo>
                    <a:pt x="496" y="247"/>
                    <a:pt x="478" y="230"/>
                    <a:pt x="471" y="205"/>
                  </a:cubicBezTo>
                  <a:close/>
                  <a:moveTo>
                    <a:pt x="472" y="1122"/>
                  </a:moveTo>
                  <a:cubicBezTo>
                    <a:pt x="475" y="1136"/>
                    <a:pt x="481" y="1148"/>
                    <a:pt x="491" y="1158"/>
                  </a:cubicBezTo>
                  <a:cubicBezTo>
                    <a:pt x="506" y="1176"/>
                    <a:pt x="524" y="1185"/>
                    <a:pt x="548" y="1187"/>
                  </a:cubicBezTo>
                  <a:cubicBezTo>
                    <a:pt x="568" y="1188"/>
                    <a:pt x="587" y="1187"/>
                    <a:pt x="605" y="1177"/>
                  </a:cubicBezTo>
                  <a:cubicBezTo>
                    <a:pt x="632" y="1162"/>
                    <a:pt x="644" y="1136"/>
                    <a:pt x="649" y="1107"/>
                  </a:cubicBezTo>
                  <a:cubicBezTo>
                    <a:pt x="652" y="1089"/>
                    <a:pt x="649" y="1072"/>
                    <a:pt x="644" y="1054"/>
                  </a:cubicBezTo>
                  <a:cubicBezTo>
                    <a:pt x="638" y="1034"/>
                    <a:pt x="627" y="1019"/>
                    <a:pt x="610" y="1007"/>
                  </a:cubicBezTo>
                  <a:cubicBezTo>
                    <a:pt x="589" y="992"/>
                    <a:pt x="566" y="991"/>
                    <a:pt x="541" y="994"/>
                  </a:cubicBezTo>
                  <a:cubicBezTo>
                    <a:pt x="526" y="995"/>
                    <a:pt x="512" y="1002"/>
                    <a:pt x="500" y="1012"/>
                  </a:cubicBezTo>
                  <a:cubicBezTo>
                    <a:pt x="476" y="1032"/>
                    <a:pt x="469" y="1060"/>
                    <a:pt x="466" y="1095"/>
                  </a:cubicBezTo>
                  <a:cubicBezTo>
                    <a:pt x="465" y="1101"/>
                    <a:pt x="470" y="1111"/>
                    <a:pt x="472" y="1122"/>
                  </a:cubicBezTo>
                  <a:close/>
                  <a:moveTo>
                    <a:pt x="508" y="1113"/>
                  </a:moveTo>
                  <a:cubicBezTo>
                    <a:pt x="505" y="1095"/>
                    <a:pt x="506" y="1078"/>
                    <a:pt x="508" y="1061"/>
                  </a:cubicBezTo>
                  <a:cubicBezTo>
                    <a:pt x="511" y="1042"/>
                    <a:pt x="538" y="1021"/>
                    <a:pt x="554" y="1022"/>
                  </a:cubicBezTo>
                  <a:cubicBezTo>
                    <a:pt x="570" y="1022"/>
                    <a:pt x="586" y="1024"/>
                    <a:pt x="596" y="1037"/>
                  </a:cubicBezTo>
                  <a:cubicBezTo>
                    <a:pt x="602" y="1044"/>
                    <a:pt x="607" y="1052"/>
                    <a:pt x="608" y="1061"/>
                  </a:cubicBezTo>
                  <a:cubicBezTo>
                    <a:pt x="608" y="1064"/>
                    <a:pt x="609" y="1067"/>
                    <a:pt x="610" y="1070"/>
                  </a:cubicBezTo>
                  <a:cubicBezTo>
                    <a:pt x="618" y="1089"/>
                    <a:pt x="612" y="1107"/>
                    <a:pt x="607" y="1125"/>
                  </a:cubicBezTo>
                  <a:cubicBezTo>
                    <a:pt x="601" y="1143"/>
                    <a:pt x="588" y="1160"/>
                    <a:pt x="558" y="1157"/>
                  </a:cubicBezTo>
                  <a:cubicBezTo>
                    <a:pt x="530" y="1157"/>
                    <a:pt x="512" y="1141"/>
                    <a:pt x="508" y="1113"/>
                  </a:cubicBezTo>
                  <a:close/>
                  <a:moveTo>
                    <a:pt x="430" y="716"/>
                  </a:moveTo>
                  <a:cubicBezTo>
                    <a:pt x="450" y="703"/>
                    <a:pt x="459" y="683"/>
                    <a:pt x="464" y="661"/>
                  </a:cubicBezTo>
                  <a:cubicBezTo>
                    <a:pt x="468" y="648"/>
                    <a:pt x="467" y="635"/>
                    <a:pt x="466" y="621"/>
                  </a:cubicBezTo>
                  <a:cubicBezTo>
                    <a:pt x="463" y="592"/>
                    <a:pt x="453" y="567"/>
                    <a:pt x="427" y="550"/>
                  </a:cubicBezTo>
                  <a:cubicBezTo>
                    <a:pt x="401" y="534"/>
                    <a:pt x="372" y="532"/>
                    <a:pt x="345" y="541"/>
                  </a:cubicBezTo>
                  <a:cubicBezTo>
                    <a:pt x="310" y="552"/>
                    <a:pt x="291" y="580"/>
                    <a:pt x="287" y="617"/>
                  </a:cubicBezTo>
                  <a:cubicBezTo>
                    <a:pt x="286" y="629"/>
                    <a:pt x="286" y="641"/>
                    <a:pt x="287" y="654"/>
                  </a:cubicBezTo>
                  <a:cubicBezTo>
                    <a:pt x="289" y="671"/>
                    <a:pt x="295" y="686"/>
                    <a:pt x="306" y="700"/>
                  </a:cubicBezTo>
                  <a:cubicBezTo>
                    <a:pt x="324" y="722"/>
                    <a:pt x="348" y="733"/>
                    <a:pt x="378" y="731"/>
                  </a:cubicBezTo>
                  <a:cubicBezTo>
                    <a:pt x="396" y="733"/>
                    <a:pt x="414" y="727"/>
                    <a:pt x="430" y="716"/>
                  </a:cubicBezTo>
                  <a:close/>
                  <a:moveTo>
                    <a:pt x="331" y="592"/>
                  </a:moveTo>
                  <a:cubicBezTo>
                    <a:pt x="339" y="580"/>
                    <a:pt x="349" y="569"/>
                    <a:pt x="365" y="567"/>
                  </a:cubicBezTo>
                  <a:cubicBezTo>
                    <a:pt x="387" y="564"/>
                    <a:pt x="406" y="568"/>
                    <a:pt x="419" y="588"/>
                  </a:cubicBezTo>
                  <a:cubicBezTo>
                    <a:pt x="423" y="595"/>
                    <a:pt x="426" y="603"/>
                    <a:pt x="427" y="610"/>
                  </a:cubicBezTo>
                  <a:cubicBezTo>
                    <a:pt x="433" y="635"/>
                    <a:pt x="431" y="661"/>
                    <a:pt x="416" y="684"/>
                  </a:cubicBezTo>
                  <a:cubicBezTo>
                    <a:pt x="403" y="706"/>
                    <a:pt x="362" y="708"/>
                    <a:pt x="345" y="692"/>
                  </a:cubicBezTo>
                  <a:cubicBezTo>
                    <a:pt x="329" y="678"/>
                    <a:pt x="323" y="661"/>
                    <a:pt x="323" y="631"/>
                  </a:cubicBezTo>
                  <a:cubicBezTo>
                    <a:pt x="323" y="619"/>
                    <a:pt x="323" y="605"/>
                    <a:pt x="331" y="592"/>
                  </a:cubicBezTo>
                  <a:close/>
                  <a:moveTo>
                    <a:pt x="1073" y="259"/>
                  </a:moveTo>
                  <a:cubicBezTo>
                    <a:pt x="1073" y="269"/>
                    <a:pt x="1075" y="272"/>
                    <a:pt x="1086" y="272"/>
                  </a:cubicBezTo>
                  <a:cubicBezTo>
                    <a:pt x="1088" y="272"/>
                    <a:pt x="1090" y="272"/>
                    <a:pt x="1092" y="272"/>
                  </a:cubicBezTo>
                  <a:cubicBezTo>
                    <a:pt x="1105" y="272"/>
                    <a:pt x="1106" y="271"/>
                    <a:pt x="1106" y="258"/>
                  </a:cubicBezTo>
                  <a:cubicBezTo>
                    <a:pt x="1106" y="221"/>
                    <a:pt x="1106" y="184"/>
                    <a:pt x="1106" y="147"/>
                  </a:cubicBezTo>
                  <a:cubicBezTo>
                    <a:pt x="1106" y="143"/>
                    <a:pt x="1106" y="140"/>
                    <a:pt x="1107" y="137"/>
                  </a:cubicBezTo>
                  <a:cubicBezTo>
                    <a:pt x="1117" y="117"/>
                    <a:pt x="1157" y="104"/>
                    <a:pt x="1177" y="114"/>
                  </a:cubicBezTo>
                  <a:cubicBezTo>
                    <a:pt x="1179" y="115"/>
                    <a:pt x="1180" y="117"/>
                    <a:pt x="1182" y="118"/>
                  </a:cubicBezTo>
                  <a:cubicBezTo>
                    <a:pt x="1194" y="131"/>
                    <a:pt x="1196" y="147"/>
                    <a:pt x="1196" y="163"/>
                  </a:cubicBezTo>
                  <a:cubicBezTo>
                    <a:pt x="1197" y="195"/>
                    <a:pt x="1196" y="226"/>
                    <a:pt x="1196" y="258"/>
                  </a:cubicBezTo>
                  <a:cubicBezTo>
                    <a:pt x="1196" y="271"/>
                    <a:pt x="1197" y="272"/>
                    <a:pt x="1210" y="272"/>
                  </a:cubicBezTo>
                  <a:cubicBezTo>
                    <a:pt x="1212" y="272"/>
                    <a:pt x="1213" y="272"/>
                    <a:pt x="1215" y="272"/>
                  </a:cubicBezTo>
                  <a:cubicBezTo>
                    <a:pt x="1227" y="272"/>
                    <a:pt x="1229" y="270"/>
                    <a:pt x="1229" y="258"/>
                  </a:cubicBezTo>
                  <a:cubicBezTo>
                    <a:pt x="1229" y="222"/>
                    <a:pt x="1229" y="187"/>
                    <a:pt x="1229" y="151"/>
                  </a:cubicBezTo>
                  <a:cubicBezTo>
                    <a:pt x="1229" y="142"/>
                    <a:pt x="1228" y="132"/>
                    <a:pt x="1225" y="123"/>
                  </a:cubicBezTo>
                  <a:cubicBezTo>
                    <a:pt x="1219" y="105"/>
                    <a:pt x="1208" y="91"/>
                    <a:pt x="1189" y="85"/>
                  </a:cubicBezTo>
                  <a:cubicBezTo>
                    <a:pt x="1173" y="80"/>
                    <a:pt x="1156" y="84"/>
                    <a:pt x="1139" y="84"/>
                  </a:cubicBezTo>
                  <a:cubicBezTo>
                    <a:pt x="1137" y="84"/>
                    <a:pt x="1136" y="86"/>
                    <a:pt x="1134" y="87"/>
                  </a:cubicBezTo>
                  <a:cubicBezTo>
                    <a:pt x="1128" y="91"/>
                    <a:pt x="1121" y="96"/>
                    <a:pt x="1115" y="100"/>
                  </a:cubicBezTo>
                  <a:cubicBezTo>
                    <a:pt x="1113" y="102"/>
                    <a:pt x="1111" y="105"/>
                    <a:pt x="1108" y="103"/>
                  </a:cubicBezTo>
                  <a:cubicBezTo>
                    <a:pt x="1105" y="102"/>
                    <a:pt x="1106" y="98"/>
                    <a:pt x="1106" y="96"/>
                  </a:cubicBezTo>
                  <a:cubicBezTo>
                    <a:pt x="1106" y="69"/>
                    <a:pt x="1106" y="43"/>
                    <a:pt x="1106" y="17"/>
                  </a:cubicBezTo>
                  <a:cubicBezTo>
                    <a:pt x="1106" y="0"/>
                    <a:pt x="1106" y="0"/>
                    <a:pt x="1089" y="0"/>
                  </a:cubicBezTo>
                  <a:cubicBezTo>
                    <a:pt x="1074" y="0"/>
                    <a:pt x="1073" y="1"/>
                    <a:pt x="1073" y="16"/>
                  </a:cubicBezTo>
                  <a:cubicBezTo>
                    <a:pt x="1073" y="56"/>
                    <a:pt x="1073" y="96"/>
                    <a:pt x="1073" y="136"/>
                  </a:cubicBezTo>
                  <a:cubicBezTo>
                    <a:pt x="1073" y="177"/>
                    <a:pt x="1073" y="218"/>
                    <a:pt x="1073" y="259"/>
                  </a:cubicBezTo>
                  <a:close/>
                  <a:moveTo>
                    <a:pt x="1150" y="1092"/>
                  </a:moveTo>
                  <a:cubicBezTo>
                    <a:pt x="1168" y="1092"/>
                    <a:pt x="1186" y="1092"/>
                    <a:pt x="1204" y="1092"/>
                  </a:cubicBezTo>
                  <a:cubicBezTo>
                    <a:pt x="1215" y="1092"/>
                    <a:pt x="1218" y="1087"/>
                    <a:pt x="1219" y="1077"/>
                  </a:cubicBezTo>
                  <a:cubicBezTo>
                    <a:pt x="1220" y="1062"/>
                    <a:pt x="1216" y="1049"/>
                    <a:pt x="1210" y="1036"/>
                  </a:cubicBezTo>
                  <a:cubicBezTo>
                    <a:pt x="1204" y="1020"/>
                    <a:pt x="1193" y="1008"/>
                    <a:pt x="1177" y="1001"/>
                  </a:cubicBezTo>
                  <a:cubicBezTo>
                    <a:pt x="1155" y="992"/>
                    <a:pt x="1133" y="991"/>
                    <a:pt x="1109" y="999"/>
                  </a:cubicBezTo>
                  <a:cubicBezTo>
                    <a:pt x="1079" y="1010"/>
                    <a:pt x="1062" y="1031"/>
                    <a:pt x="1056" y="1061"/>
                  </a:cubicBezTo>
                  <a:cubicBezTo>
                    <a:pt x="1051" y="1090"/>
                    <a:pt x="1052" y="1120"/>
                    <a:pt x="1069" y="1148"/>
                  </a:cubicBezTo>
                  <a:cubicBezTo>
                    <a:pt x="1081" y="1169"/>
                    <a:pt x="1100" y="1180"/>
                    <a:pt x="1122" y="1185"/>
                  </a:cubicBezTo>
                  <a:cubicBezTo>
                    <a:pt x="1149" y="1190"/>
                    <a:pt x="1176" y="1186"/>
                    <a:pt x="1200" y="1171"/>
                  </a:cubicBezTo>
                  <a:cubicBezTo>
                    <a:pt x="1206" y="1168"/>
                    <a:pt x="1213" y="1165"/>
                    <a:pt x="1214" y="1157"/>
                  </a:cubicBezTo>
                  <a:cubicBezTo>
                    <a:pt x="1215" y="1147"/>
                    <a:pt x="1202" y="1139"/>
                    <a:pt x="1193" y="1144"/>
                  </a:cubicBezTo>
                  <a:cubicBezTo>
                    <a:pt x="1187" y="1147"/>
                    <a:pt x="1180" y="1150"/>
                    <a:pt x="1174" y="1153"/>
                  </a:cubicBezTo>
                  <a:cubicBezTo>
                    <a:pt x="1158" y="1161"/>
                    <a:pt x="1140" y="1161"/>
                    <a:pt x="1124" y="1155"/>
                  </a:cubicBezTo>
                  <a:cubicBezTo>
                    <a:pt x="1112" y="1151"/>
                    <a:pt x="1102" y="1142"/>
                    <a:pt x="1096" y="1129"/>
                  </a:cubicBezTo>
                  <a:cubicBezTo>
                    <a:pt x="1092" y="1121"/>
                    <a:pt x="1091" y="1112"/>
                    <a:pt x="1089" y="1104"/>
                  </a:cubicBezTo>
                  <a:cubicBezTo>
                    <a:pt x="1087" y="1093"/>
                    <a:pt x="1087" y="1092"/>
                    <a:pt x="1099" y="1092"/>
                  </a:cubicBezTo>
                  <a:cubicBezTo>
                    <a:pt x="1116" y="1092"/>
                    <a:pt x="1133" y="1092"/>
                    <a:pt x="1150" y="1092"/>
                  </a:cubicBezTo>
                  <a:cubicBezTo>
                    <a:pt x="1150" y="1092"/>
                    <a:pt x="1150" y="1092"/>
                    <a:pt x="1150" y="1092"/>
                  </a:cubicBezTo>
                  <a:close/>
                  <a:moveTo>
                    <a:pt x="1099" y="1070"/>
                  </a:moveTo>
                  <a:cubicBezTo>
                    <a:pt x="1092" y="1071"/>
                    <a:pt x="1089" y="1067"/>
                    <a:pt x="1091" y="1060"/>
                  </a:cubicBezTo>
                  <a:cubicBezTo>
                    <a:pt x="1094" y="1045"/>
                    <a:pt x="1108" y="1023"/>
                    <a:pt x="1128" y="1022"/>
                  </a:cubicBezTo>
                  <a:cubicBezTo>
                    <a:pt x="1142" y="1021"/>
                    <a:pt x="1156" y="1018"/>
                    <a:pt x="1168" y="1029"/>
                  </a:cubicBezTo>
                  <a:cubicBezTo>
                    <a:pt x="1181" y="1038"/>
                    <a:pt x="1185" y="1051"/>
                    <a:pt x="1187" y="1066"/>
                  </a:cubicBezTo>
                  <a:cubicBezTo>
                    <a:pt x="1188" y="1071"/>
                    <a:pt x="1183" y="1070"/>
                    <a:pt x="1180" y="1070"/>
                  </a:cubicBezTo>
                  <a:cubicBezTo>
                    <a:pt x="1166" y="1070"/>
                    <a:pt x="1153" y="1070"/>
                    <a:pt x="1139" y="1070"/>
                  </a:cubicBezTo>
                  <a:cubicBezTo>
                    <a:pt x="1139" y="1070"/>
                    <a:pt x="1139" y="1070"/>
                    <a:pt x="1139" y="1070"/>
                  </a:cubicBezTo>
                  <a:cubicBezTo>
                    <a:pt x="1126" y="1070"/>
                    <a:pt x="1113" y="1070"/>
                    <a:pt x="1099" y="1070"/>
                  </a:cubicBezTo>
                  <a:close/>
                  <a:moveTo>
                    <a:pt x="1741" y="1092"/>
                  </a:moveTo>
                  <a:cubicBezTo>
                    <a:pt x="1759" y="1092"/>
                    <a:pt x="1776" y="1092"/>
                    <a:pt x="1793" y="1092"/>
                  </a:cubicBezTo>
                  <a:cubicBezTo>
                    <a:pt x="1806" y="1092"/>
                    <a:pt x="1808" y="1089"/>
                    <a:pt x="1808" y="1076"/>
                  </a:cubicBezTo>
                  <a:cubicBezTo>
                    <a:pt x="1809" y="1063"/>
                    <a:pt x="1807" y="1051"/>
                    <a:pt x="1802" y="1038"/>
                  </a:cubicBezTo>
                  <a:cubicBezTo>
                    <a:pt x="1794" y="1021"/>
                    <a:pt x="1782" y="1008"/>
                    <a:pt x="1764" y="1000"/>
                  </a:cubicBezTo>
                  <a:cubicBezTo>
                    <a:pt x="1742" y="991"/>
                    <a:pt x="1720" y="991"/>
                    <a:pt x="1698" y="1000"/>
                  </a:cubicBezTo>
                  <a:cubicBezTo>
                    <a:pt x="1681" y="1006"/>
                    <a:pt x="1668" y="1016"/>
                    <a:pt x="1659" y="1031"/>
                  </a:cubicBezTo>
                  <a:cubicBezTo>
                    <a:pt x="1646" y="1050"/>
                    <a:pt x="1643" y="1071"/>
                    <a:pt x="1644" y="1094"/>
                  </a:cubicBezTo>
                  <a:cubicBezTo>
                    <a:pt x="1644" y="1110"/>
                    <a:pt x="1647" y="1127"/>
                    <a:pt x="1655" y="1141"/>
                  </a:cubicBezTo>
                  <a:cubicBezTo>
                    <a:pt x="1669" y="1168"/>
                    <a:pt x="1691" y="1183"/>
                    <a:pt x="1722" y="1186"/>
                  </a:cubicBezTo>
                  <a:cubicBezTo>
                    <a:pt x="1750" y="1188"/>
                    <a:pt x="1775" y="1183"/>
                    <a:pt x="1798" y="1165"/>
                  </a:cubicBezTo>
                  <a:cubicBezTo>
                    <a:pt x="1803" y="1161"/>
                    <a:pt x="1806" y="1157"/>
                    <a:pt x="1802" y="1151"/>
                  </a:cubicBezTo>
                  <a:cubicBezTo>
                    <a:pt x="1798" y="1144"/>
                    <a:pt x="1791" y="1140"/>
                    <a:pt x="1783" y="1144"/>
                  </a:cubicBezTo>
                  <a:cubicBezTo>
                    <a:pt x="1778" y="1147"/>
                    <a:pt x="1771" y="1149"/>
                    <a:pt x="1766" y="1152"/>
                  </a:cubicBezTo>
                  <a:cubicBezTo>
                    <a:pt x="1749" y="1161"/>
                    <a:pt x="1730" y="1162"/>
                    <a:pt x="1714" y="1155"/>
                  </a:cubicBezTo>
                  <a:cubicBezTo>
                    <a:pt x="1692" y="1145"/>
                    <a:pt x="1680" y="1127"/>
                    <a:pt x="1679" y="1102"/>
                  </a:cubicBezTo>
                  <a:cubicBezTo>
                    <a:pt x="1678" y="1095"/>
                    <a:pt x="1681" y="1092"/>
                    <a:pt x="1689" y="1092"/>
                  </a:cubicBezTo>
                  <a:cubicBezTo>
                    <a:pt x="1706" y="1092"/>
                    <a:pt x="1724" y="1092"/>
                    <a:pt x="1741" y="1092"/>
                  </a:cubicBezTo>
                  <a:cubicBezTo>
                    <a:pt x="1741" y="1092"/>
                    <a:pt x="1741" y="1092"/>
                    <a:pt x="1741" y="1092"/>
                  </a:cubicBezTo>
                  <a:close/>
                  <a:moveTo>
                    <a:pt x="1690" y="1070"/>
                  </a:moveTo>
                  <a:cubicBezTo>
                    <a:pt x="1683" y="1071"/>
                    <a:pt x="1680" y="1068"/>
                    <a:pt x="1681" y="1062"/>
                  </a:cubicBezTo>
                  <a:cubicBezTo>
                    <a:pt x="1683" y="1048"/>
                    <a:pt x="1697" y="1024"/>
                    <a:pt x="1716" y="1022"/>
                  </a:cubicBezTo>
                  <a:cubicBezTo>
                    <a:pt x="1731" y="1020"/>
                    <a:pt x="1747" y="1018"/>
                    <a:pt x="1760" y="1030"/>
                  </a:cubicBezTo>
                  <a:cubicBezTo>
                    <a:pt x="1771" y="1038"/>
                    <a:pt x="1775" y="1050"/>
                    <a:pt x="1778" y="1062"/>
                  </a:cubicBezTo>
                  <a:cubicBezTo>
                    <a:pt x="1780" y="1068"/>
                    <a:pt x="1775" y="1070"/>
                    <a:pt x="1769" y="1070"/>
                  </a:cubicBezTo>
                  <a:cubicBezTo>
                    <a:pt x="1756" y="1070"/>
                    <a:pt x="1742" y="1070"/>
                    <a:pt x="1729" y="1070"/>
                  </a:cubicBezTo>
                  <a:cubicBezTo>
                    <a:pt x="1729" y="1070"/>
                    <a:pt x="1729" y="1070"/>
                    <a:pt x="1729" y="1070"/>
                  </a:cubicBezTo>
                  <a:cubicBezTo>
                    <a:pt x="1716" y="1070"/>
                    <a:pt x="1703" y="1070"/>
                    <a:pt x="1690" y="1070"/>
                  </a:cubicBezTo>
                  <a:close/>
                  <a:moveTo>
                    <a:pt x="68" y="581"/>
                  </a:moveTo>
                  <a:cubicBezTo>
                    <a:pt x="68" y="573"/>
                    <a:pt x="70" y="568"/>
                    <a:pt x="80" y="569"/>
                  </a:cubicBezTo>
                  <a:cubicBezTo>
                    <a:pt x="90" y="570"/>
                    <a:pt x="101" y="570"/>
                    <a:pt x="111" y="569"/>
                  </a:cubicBezTo>
                  <a:cubicBezTo>
                    <a:pt x="120" y="569"/>
                    <a:pt x="120" y="563"/>
                    <a:pt x="120" y="556"/>
                  </a:cubicBezTo>
                  <a:cubicBezTo>
                    <a:pt x="120" y="549"/>
                    <a:pt x="119" y="544"/>
                    <a:pt x="111" y="544"/>
                  </a:cubicBezTo>
                  <a:cubicBezTo>
                    <a:pt x="104" y="544"/>
                    <a:pt x="97" y="544"/>
                    <a:pt x="91" y="544"/>
                  </a:cubicBezTo>
                  <a:cubicBezTo>
                    <a:pt x="66" y="544"/>
                    <a:pt x="65" y="543"/>
                    <a:pt x="68" y="518"/>
                  </a:cubicBezTo>
                  <a:cubicBezTo>
                    <a:pt x="69" y="504"/>
                    <a:pt x="83" y="487"/>
                    <a:pt x="99" y="489"/>
                  </a:cubicBezTo>
                  <a:cubicBezTo>
                    <a:pt x="103" y="489"/>
                    <a:pt x="107" y="489"/>
                    <a:pt x="110" y="488"/>
                  </a:cubicBezTo>
                  <a:cubicBezTo>
                    <a:pt x="118" y="487"/>
                    <a:pt x="123" y="479"/>
                    <a:pt x="123" y="471"/>
                  </a:cubicBezTo>
                  <a:cubicBezTo>
                    <a:pt x="123" y="461"/>
                    <a:pt x="116" y="462"/>
                    <a:pt x="109" y="460"/>
                  </a:cubicBezTo>
                  <a:cubicBezTo>
                    <a:pt x="100" y="458"/>
                    <a:pt x="92" y="460"/>
                    <a:pt x="84" y="460"/>
                  </a:cubicBezTo>
                  <a:cubicBezTo>
                    <a:pt x="68" y="461"/>
                    <a:pt x="56" y="469"/>
                    <a:pt x="47" y="480"/>
                  </a:cubicBezTo>
                  <a:cubicBezTo>
                    <a:pt x="34" y="493"/>
                    <a:pt x="32" y="511"/>
                    <a:pt x="32" y="529"/>
                  </a:cubicBezTo>
                  <a:cubicBezTo>
                    <a:pt x="32" y="544"/>
                    <a:pt x="32" y="544"/>
                    <a:pt x="17" y="544"/>
                  </a:cubicBezTo>
                  <a:cubicBezTo>
                    <a:pt x="4" y="543"/>
                    <a:pt x="0" y="548"/>
                    <a:pt x="4" y="561"/>
                  </a:cubicBezTo>
                  <a:cubicBezTo>
                    <a:pt x="6" y="569"/>
                    <a:pt x="13" y="568"/>
                    <a:pt x="19" y="569"/>
                  </a:cubicBezTo>
                  <a:cubicBezTo>
                    <a:pt x="32" y="571"/>
                    <a:pt x="32" y="571"/>
                    <a:pt x="32" y="584"/>
                  </a:cubicBezTo>
                  <a:cubicBezTo>
                    <a:pt x="32" y="624"/>
                    <a:pt x="32" y="664"/>
                    <a:pt x="32" y="704"/>
                  </a:cubicBezTo>
                  <a:cubicBezTo>
                    <a:pt x="32" y="731"/>
                    <a:pt x="32" y="730"/>
                    <a:pt x="57" y="731"/>
                  </a:cubicBezTo>
                  <a:cubicBezTo>
                    <a:pt x="66" y="731"/>
                    <a:pt x="68" y="727"/>
                    <a:pt x="68" y="720"/>
                  </a:cubicBezTo>
                  <a:cubicBezTo>
                    <a:pt x="68" y="697"/>
                    <a:pt x="68" y="674"/>
                    <a:pt x="68" y="651"/>
                  </a:cubicBezTo>
                  <a:cubicBezTo>
                    <a:pt x="68" y="628"/>
                    <a:pt x="68" y="605"/>
                    <a:pt x="68" y="581"/>
                  </a:cubicBezTo>
                  <a:close/>
                  <a:moveTo>
                    <a:pt x="278" y="1165"/>
                  </a:moveTo>
                  <a:cubicBezTo>
                    <a:pt x="278" y="1183"/>
                    <a:pt x="278" y="1183"/>
                    <a:pt x="296" y="1184"/>
                  </a:cubicBezTo>
                  <a:cubicBezTo>
                    <a:pt x="310" y="1184"/>
                    <a:pt x="310" y="1184"/>
                    <a:pt x="310" y="1169"/>
                  </a:cubicBezTo>
                  <a:cubicBezTo>
                    <a:pt x="310" y="1132"/>
                    <a:pt x="310" y="1095"/>
                    <a:pt x="310" y="1058"/>
                  </a:cubicBezTo>
                  <a:cubicBezTo>
                    <a:pt x="310" y="1052"/>
                    <a:pt x="312" y="1047"/>
                    <a:pt x="316" y="1042"/>
                  </a:cubicBezTo>
                  <a:cubicBezTo>
                    <a:pt x="324" y="1033"/>
                    <a:pt x="334" y="1027"/>
                    <a:pt x="345" y="1024"/>
                  </a:cubicBezTo>
                  <a:cubicBezTo>
                    <a:pt x="357" y="1020"/>
                    <a:pt x="371" y="1018"/>
                    <a:pt x="383" y="1028"/>
                  </a:cubicBezTo>
                  <a:cubicBezTo>
                    <a:pt x="397" y="1039"/>
                    <a:pt x="401" y="1054"/>
                    <a:pt x="401" y="1071"/>
                  </a:cubicBezTo>
                  <a:cubicBezTo>
                    <a:pt x="401" y="1102"/>
                    <a:pt x="401" y="1132"/>
                    <a:pt x="401" y="1163"/>
                  </a:cubicBezTo>
                  <a:cubicBezTo>
                    <a:pt x="401" y="1183"/>
                    <a:pt x="401" y="1182"/>
                    <a:pt x="420" y="1184"/>
                  </a:cubicBezTo>
                  <a:cubicBezTo>
                    <a:pt x="429" y="1185"/>
                    <a:pt x="433" y="1181"/>
                    <a:pt x="433" y="1173"/>
                  </a:cubicBezTo>
                  <a:cubicBezTo>
                    <a:pt x="432" y="1130"/>
                    <a:pt x="435" y="1087"/>
                    <a:pt x="431" y="1044"/>
                  </a:cubicBezTo>
                  <a:cubicBezTo>
                    <a:pt x="427" y="1014"/>
                    <a:pt x="404" y="996"/>
                    <a:pt x="376" y="994"/>
                  </a:cubicBezTo>
                  <a:cubicBezTo>
                    <a:pt x="353" y="992"/>
                    <a:pt x="333" y="1000"/>
                    <a:pt x="317" y="1017"/>
                  </a:cubicBezTo>
                  <a:cubicBezTo>
                    <a:pt x="312" y="1021"/>
                    <a:pt x="311" y="1019"/>
                    <a:pt x="309" y="1015"/>
                  </a:cubicBezTo>
                  <a:cubicBezTo>
                    <a:pt x="309" y="1013"/>
                    <a:pt x="308" y="1011"/>
                    <a:pt x="308" y="1008"/>
                  </a:cubicBezTo>
                  <a:cubicBezTo>
                    <a:pt x="306" y="1001"/>
                    <a:pt x="298" y="997"/>
                    <a:pt x="287" y="998"/>
                  </a:cubicBezTo>
                  <a:cubicBezTo>
                    <a:pt x="279" y="999"/>
                    <a:pt x="278" y="1004"/>
                    <a:pt x="278" y="1011"/>
                  </a:cubicBezTo>
                  <a:cubicBezTo>
                    <a:pt x="278" y="1037"/>
                    <a:pt x="278" y="1064"/>
                    <a:pt x="278" y="1091"/>
                  </a:cubicBezTo>
                  <a:cubicBezTo>
                    <a:pt x="278" y="1115"/>
                    <a:pt x="278" y="1140"/>
                    <a:pt x="278" y="1165"/>
                  </a:cubicBezTo>
                  <a:close/>
                  <a:moveTo>
                    <a:pt x="150" y="705"/>
                  </a:moveTo>
                  <a:cubicBezTo>
                    <a:pt x="150" y="734"/>
                    <a:pt x="145" y="730"/>
                    <a:pt x="176" y="731"/>
                  </a:cubicBezTo>
                  <a:cubicBezTo>
                    <a:pt x="185" y="731"/>
                    <a:pt x="187" y="727"/>
                    <a:pt x="187" y="719"/>
                  </a:cubicBezTo>
                  <a:cubicBezTo>
                    <a:pt x="187" y="685"/>
                    <a:pt x="187" y="651"/>
                    <a:pt x="187" y="618"/>
                  </a:cubicBezTo>
                  <a:cubicBezTo>
                    <a:pt x="187" y="597"/>
                    <a:pt x="204" y="578"/>
                    <a:pt x="225" y="574"/>
                  </a:cubicBezTo>
                  <a:cubicBezTo>
                    <a:pt x="232" y="572"/>
                    <a:pt x="240" y="574"/>
                    <a:pt x="247" y="575"/>
                  </a:cubicBezTo>
                  <a:cubicBezTo>
                    <a:pt x="257" y="576"/>
                    <a:pt x="261" y="572"/>
                    <a:pt x="265" y="564"/>
                  </a:cubicBezTo>
                  <a:cubicBezTo>
                    <a:pt x="269" y="556"/>
                    <a:pt x="267" y="542"/>
                    <a:pt x="261" y="540"/>
                  </a:cubicBezTo>
                  <a:cubicBezTo>
                    <a:pt x="253" y="538"/>
                    <a:pt x="244" y="534"/>
                    <a:pt x="237" y="536"/>
                  </a:cubicBezTo>
                  <a:cubicBezTo>
                    <a:pt x="228" y="537"/>
                    <a:pt x="217" y="537"/>
                    <a:pt x="209" y="544"/>
                  </a:cubicBezTo>
                  <a:cubicBezTo>
                    <a:pt x="204" y="549"/>
                    <a:pt x="198" y="553"/>
                    <a:pt x="194" y="558"/>
                  </a:cubicBezTo>
                  <a:cubicBezTo>
                    <a:pt x="192" y="561"/>
                    <a:pt x="189" y="563"/>
                    <a:pt x="185" y="562"/>
                  </a:cubicBezTo>
                  <a:cubicBezTo>
                    <a:pt x="182" y="561"/>
                    <a:pt x="182" y="558"/>
                    <a:pt x="182" y="556"/>
                  </a:cubicBezTo>
                  <a:cubicBezTo>
                    <a:pt x="180" y="539"/>
                    <a:pt x="179" y="539"/>
                    <a:pt x="162" y="539"/>
                  </a:cubicBezTo>
                  <a:cubicBezTo>
                    <a:pt x="151" y="539"/>
                    <a:pt x="150" y="540"/>
                    <a:pt x="150" y="551"/>
                  </a:cubicBezTo>
                  <a:cubicBezTo>
                    <a:pt x="150" y="579"/>
                    <a:pt x="150" y="607"/>
                    <a:pt x="150" y="635"/>
                  </a:cubicBezTo>
                  <a:cubicBezTo>
                    <a:pt x="150" y="658"/>
                    <a:pt x="149" y="682"/>
                    <a:pt x="150" y="705"/>
                  </a:cubicBezTo>
                  <a:close/>
                  <a:moveTo>
                    <a:pt x="1011" y="1049"/>
                  </a:moveTo>
                  <a:cubicBezTo>
                    <a:pt x="1011" y="1008"/>
                    <a:pt x="1011" y="966"/>
                    <a:pt x="1011" y="924"/>
                  </a:cubicBezTo>
                  <a:cubicBezTo>
                    <a:pt x="1011" y="913"/>
                    <a:pt x="1008" y="910"/>
                    <a:pt x="997" y="910"/>
                  </a:cubicBezTo>
                  <a:cubicBezTo>
                    <a:pt x="995" y="910"/>
                    <a:pt x="992" y="910"/>
                    <a:pt x="990" y="910"/>
                  </a:cubicBezTo>
                  <a:cubicBezTo>
                    <a:pt x="976" y="910"/>
                    <a:pt x="975" y="911"/>
                    <a:pt x="975" y="926"/>
                  </a:cubicBezTo>
                  <a:cubicBezTo>
                    <a:pt x="975" y="1006"/>
                    <a:pt x="975" y="1085"/>
                    <a:pt x="975" y="1165"/>
                  </a:cubicBezTo>
                  <a:cubicBezTo>
                    <a:pt x="975" y="1185"/>
                    <a:pt x="975" y="1185"/>
                    <a:pt x="994" y="1185"/>
                  </a:cubicBezTo>
                  <a:cubicBezTo>
                    <a:pt x="1009" y="1185"/>
                    <a:pt x="1011" y="1184"/>
                    <a:pt x="1011" y="1169"/>
                  </a:cubicBezTo>
                  <a:cubicBezTo>
                    <a:pt x="1011" y="1129"/>
                    <a:pt x="1011" y="1089"/>
                    <a:pt x="1011" y="1049"/>
                  </a:cubicBezTo>
                  <a:cubicBezTo>
                    <a:pt x="1011" y="1049"/>
                    <a:pt x="1011" y="1049"/>
                    <a:pt x="1011" y="1049"/>
                  </a:cubicBezTo>
                  <a:close/>
                  <a:moveTo>
                    <a:pt x="296" y="176"/>
                  </a:moveTo>
                  <a:cubicBezTo>
                    <a:pt x="296" y="201"/>
                    <a:pt x="296" y="226"/>
                    <a:pt x="296" y="251"/>
                  </a:cubicBezTo>
                  <a:cubicBezTo>
                    <a:pt x="295" y="276"/>
                    <a:pt x="296" y="274"/>
                    <a:pt x="318" y="274"/>
                  </a:cubicBezTo>
                  <a:cubicBezTo>
                    <a:pt x="330" y="274"/>
                    <a:pt x="331" y="274"/>
                    <a:pt x="331" y="260"/>
                  </a:cubicBezTo>
                  <a:cubicBezTo>
                    <a:pt x="331" y="232"/>
                    <a:pt x="331" y="204"/>
                    <a:pt x="331" y="176"/>
                  </a:cubicBezTo>
                  <a:cubicBezTo>
                    <a:pt x="331" y="165"/>
                    <a:pt x="331" y="155"/>
                    <a:pt x="337" y="145"/>
                  </a:cubicBezTo>
                  <a:cubicBezTo>
                    <a:pt x="349" y="123"/>
                    <a:pt x="359" y="117"/>
                    <a:pt x="377" y="118"/>
                  </a:cubicBezTo>
                  <a:cubicBezTo>
                    <a:pt x="383" y="118"/>
                    <a:pt x="389" y="119"/>
                    <a:pt x="395" y="120"/>
                  </a:cubicBezTo>
                  <a:cubicBezTo>
                    <a:pt x="401" y="120"/>
                    <a:pt x="407" y="118"/>
                    <a:pt x="408" y="112"/>
                  </a:cubicBezTo>
                  <a:cubicBezTo>
                    <a:pt x="409" y="103"/>
                    <a:pt x="415" y="93"/>
                    <a:pt x="407" y="85"/>
                  </a:cubicBezTo>
                  <a:cubicBezTo>
                    <a:pt x="406" y="84"/>
                    <a:pt x="404" y="84"/>
                    <a:pt x="402" y="84"/>
                  </a:cubicBezTo>
                  <a:cubicBezTo>
                    <a:pt x="376" y="78"/>
                    <a:pt x="353" y="82"/>
                    <a:pt x="337" y="106"/>
                  </a:cubicBezTo>
                  <a:cubicBezTo>
                    <a:pt x="336" y="108"/>
                    <a:pt x="335" y="110"/>
                    <a:pt x="333" y="109"/>
                  </a:cubicBezTo>
                  <a:cubicBezTo>
                    <a:pt x="331" y="109"/>
                    <a:pt x="330" y="107"/>
                    <a:pt x="330" y="105"/>
                  </a:cubicBezTo>
                  <a:cubicBezTo>
                    <a:pt x="329" y="101"/>
                    <a:pt x="329" y="97"/>
                    <a:pt x="328" y="94"/>
                  </a:cubicBezTo>
                  <a:cubicBezTo>
                    <a:pt x="325" y="85"/>
                    <a:pt x="318" y="82"/>
                    <a:pt x="303" y="84"/>
                  </a:cubicBezTo>
                  <a:cubicBezTo>
                    <a:pt x="297" y="84"/>
                    <a:pt x="295" y="86"/>
                    <a:pt x="295" y="92"/>
                  </a:cubicBezTo>
                  <a:cubicBezTo>
                    <a:pt x="296" y="120"/>
                    <a:pt x="295" y="148"/>
                    <a:pt x="295" y="176"/>
                  </a:cubicBezTo>
                  <a:cubicBezTo>
                    <a:pt x="296" y="176"/>
                    <a:pt x="296" y="176"/>
                    <a:pt x="296" y="176"/>
                  </a:cubicBezTo>
                  <a:close/>
                  <a:moveTo>
                    <a:pt x="946" y="179"/>
                  </a:moveTo>
                  <a:cubicBezTo>
                    <a:pt x="946" y="197"/>
                    <a:pt x="946" y="215"/>
                    <a:pt x="946" y="234"/>
                  </a:cubicBezTo>
                  <a:cubicBezTo>
                    <a:pt x="946" y="248"/>
                    <a:pt x="951" y="260"/>
                    <a:pt x="963" y="268"/>
                  </a:cubicBezTo>
                  <a:cubicBezTo>
                    <a:pt x="982" y="280"/>
                    <a:pt x="1011" y="277"/>
                    <a:pt x="1029" y="264"/>
                  </a:cubicBezTo>
                  <a:cubicBezTo>
                    <a:pt x="1036" y="259"/>
                    <a:pt x="1036" y="254"/>
                    <a:pt x="1032" y="248"/>
                  </a:cubicBezTo>
                  <a:cubicBezTo>
                    <a:pt x="1026" y="239"/>
                    <a:pt x="1020" y="238"/>
                    <a:pt x="1013" y="242"/>
                  </a:cubicBezTo>
                  <a:cubicBezTo>
                    <a:pt x="996" y="252"/>
                    <a:pt x="978" y="243"/>
                    <a:pt x="978" y="223"/>
                  </a:cubicBezTo>
                  <a:cubicBezTo>
                    <a:pt x="978" y="190"/>
                    <a:pt x="978" y="157"/>
                    <a:pt x="978" y="123"/>
                  </a:cubicBezTo>
                  <a:cubicBezTo>
                    <a:pt x="978" y="116"/>
                    <a:pt x="981" y="113"/>
                    <a:pt x="988" y="113"/>
                  </a:cubicBezTo>
                  <a:cubicBezTo>
                    <a:pt x="999" y="114"/>
                    <a:pt x="1011" y="113"/>
                    <a:pt x="1022" y="113"/>
                  </a:cubicBezTo>
                  <a:cubicBezTo>
                    <a:pt x="1028" y="113"/>
                    <a:pt x="1033" y="112"/>
                    <a:pt x="1033" y="104"/>
                  </a:cubicBezTo>
                  <a:cubicBezTo>
                    <a:pt x="1033" y="96"/>
                    <a:pt x="1032" y="90"/>
                    <a:pt x="1022" y="90"/>
                  </a:cubicBezTo>
                  <a:cubicBezTo>
                    <a:pt x="1011" y="90"/>
                    <a:pt x="1001" y="90"/>
                    <a:pt x="990" y="90"/>
                  </a:cubicBezTo>
                  <a:cubicBezTo>
                    <a:pt x="981" y="91"/>
                    <a:pt x="977" y="88"/>
                    <a:pt x="978" y="78"/>
                  </a:cubicBezTo>
                  <a:cubicBezTo>
                    <a:pt x="978" y="64"/>
                    <a:pt x="978" y="49"/>
                    <a:pt x="978" y="35"/>
                  </a:cubicBezTo>
                  <a:cubicBezTo>
                    <a:pt x="978" y="30"/>
                    <a:pt x="978" y="25"/>
                    <a:pt x="971" y="24"/>
                  </a:cubicBezTo>
                  <a:cubicBezTo>
                    <a:pt x="964" y="24"/>
                    <a:pt x="956" y="24"/>
                    <a:pt x="955" y="32"/>
                  </a:cubicBezTo>
                  <a:cubicBezTo>
                    <a:pt x="952" y="43"/>
                    <a:pt x="949" y="54"/>
                    <a:pt x="949" y="65"/>
                  </a:cubicBezTo>
                  <a:cubicBezTo>
                    <a:pt x="948" y="88"/>
                    <a:pt x="947" y="88"/>
                    <a:pt x="924" y="91"/>
                  </a:cubicBezTo>
                  <a:cubicBezTo>
                    <a:pt x="919" y="92"/>
                    <a:pt x="914" y="92"/>
                    <a:pt x="914" y="99"/>
                  </a:cubicBezTo>
                  <a:cubicBezTo>
                    <a:pt x="915" y="107"/>
                    <a:pt x="917" y="113"/>
                    <a:pt x="926" y="113"/>
                  </a:cubicBezTo>
                  <a:cubicBezTo>
                    <a:pt x="929" y="114"/>
                    <a:pt x="932" y="113"/>
                    <a:pt x="935" y="113"/>
                  </a:cubicBezTo>
                  <a:cubicBezTo>
                    <a:pt x="943" y="113"/>
                    <a:pt x="946" y="116"/>
                    <a:pt x="946" y="124"/>
                  </a:cubicBezTo>
                  <a:cubicBezTo>
                    <a:pt x="946" y="142"/>
                    <a:pt x="946" y="161"/>
                    <a:pt x="946" y="179"/>
                  </a:cubicBezTo>
                  <a:cubicBezTo>
                    <a:pt x="946" y="179"/>
                    <a:pt x="946" y="179"/>
                    <a:pt x="946" y="179"/>
                  </a:cubicBezTo>
                  <a:close/>
                </a:path>
              </a:pathLst>
            </a:custGeom>
            <a:solidFill>
              <a:srgbClr val="4C505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grpSp>
          <p:nvGrpSpPr>
            <p:cNvPr id="18" name="Group 4">
              <a:extLst>
                <a:ext uri="{FF2B5EF4-FFF2-40B4-BE49-F238E27FC236}">
                  <a16:creationId xmlns:a16="http://schemas.microsoft.com/office/drawing/2014/main" id="{57BD2C4C-DC67-B843-B26C-309622FC75F7}"/>
                </a:ext>
              </a:extLst>
            </p:cNvPr>
            <p:cNvGrpSpPr>
              <a:grpSpLocks noChangeAspect="1"/>
            </p:cNvGrpSpPr>
            <p:nvPr/>
          </p:nvGrpSpPr>
          <p:grpSpPr bwMode="gray">
            <a:xfrm>
              <a:off x="334963" y="296652"/>
              <a:ext cx="538094" cy="540000"/>
              <a:chOff x="2711" y="1027"/>
              <a:chExt cx="2258" cy="2266"/>
            </a:xfrm>
          </p:grpSpPr>
          <p:sp>
            <p:nvSpPr>
              <p:cNvPr id="19" name="AutoShape 3">
                <a:extLst>
                  <a:ext uri="{FF2B5EF4-FFF2-40B4-BE49-F238E27FC236}">
                    <a16:creationId xmlns:a16="http://schemas.microsoft.com/office/drawing/2014/main" id="{FE1DC41B-291E-574C-9F2C-874E70A40758}"/>
                  </a:ext>
                </a:extLst>
              </p:cNvPr>
              <p:cNvSpPr>
                <a:spLocks noChangeAspect="1" noChangeArrowheads="1" noTextEdit="1"/>
              </p:cNvSpPr>
              <p:nvPr/>
            </p:nvSpPr>
            <p:spPr bwMode="gray">
              <a:xfrm>
                <a:off x="2711" y="1027"/>
                <a:ext cx="2258" cy="22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20" name="Freeform 5">
                <a:extLst>
                  <a:ext uri="{FF2B5EF4-FFF2-40B4-BE49-F238E27FC236}">
                    <a16:creationId xmlns:a16="http://schemas.microsoft.com/office/drawing/2014/main" id="{D4B633C8-F761-C54B-9BD2-EB59D49A2DBC}"/>
                  </a:ext>
                </a:extLst>
              </p:cNvPr>
              <p:cNvSpPr>
                <a:spLocks/>
              </p:cNvSpPr>
              <p:nvPr/>
            </p:nvSpPr>
            <p:spPr bwMode="gray">
              <a:xfrm>
                <a:off x="2709" y="1029"/>
                <a:ext cx="2260" cy="2262"/>
              </a:xfrm>
              <a:custGeom>
                <a:avLst/>
                <a:gdLst>
                  <a:gd name="T0" fmla="*/ 2260 w 2260"/>
                  <a:gd name="T1" fmla="*/ 0 h 2262"/>
                  <a:gd name="T2" fmla="*/ 1612 w 2260"/>
                  <a:gd name="T3" fmla="*/ 649 h 2262"/>
                  <a:gd name="T4" fmla="*/ 1612 w 2260"/>
                  <a:gd name="T5" fmla="*/ 649 h 2262"/>
                  <a:gd name="T6" fmla="*/ 2035 w 2260"/>
                  <a:gd name="T7" fmla="*/ 0 h 2262"/>
                  <a:gd name="T8" fmla="*/ 0 w 2260"/>
                  <a:gd name="T9" fmla="*/ 0 h 2262"/>
                  <a:gd name="T10" fmla="*/ 0 w 2260"/>
                  <a:gd name="T11" fmla="*/ 2262 h 2262"/>
                  <a:gd name="T12" fmla="*/ 2260 w 2260"/>
                  <a:gd name="T13" fmla="*/ 2262 h 2262"/>
                  <a:gd name="T14" fmla="*/ 2260 w 2260"/>
                  <a:gd name="T15" fmla="*/ 0 h 2262"/>
                  <a:gd name="T16" fmla="*/ 2260 w 2260"/>
                  <a:gd name="T17" fmla="*/ 0 h 2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0" h="2262">
                    <a:moveTo>
                      <a:pt x="2260" y="0"/>
                    </a:moveTo>
                    <a:lnTo>
                      <a:pt x="1612" y="649"/>
                    </a:lnTo>
                    <a:lnTo>
                      <a:pt x="1612" y="649"/>
                    </a:lnTo>
                    <a:lnTo>
                      <a:pt x="2035" y="0"/>
                    </a:lnTo>
                    <a:lnTo>
                      <a:pt x="0" y="0"/>
                    </a:lnTo>
                    <a:lnTo>
                      <a:pt x="0" y="2262"/>
                    </a:lnTo>
                    <a:lnTo>
                      <a:pt x="2260" y="2262"/>
                    </a:lnTo>
                    <a:lnTo>
                      <a:pt x="2260" y="0"/>
                    </a:lnTo>
                    <a:lnTo>
                      <a:pt x="2260" y="0"/>
                    </a:lnTo>
                    <a:close/>
                  </a:path>
                </a:pathLst>
              </a:custGeom>
              <a:solidFill>
                <a:srgbClr val="E55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21" name="Freeform 6">
                <a:extLst>
                  <a:ext uri="{FF2B5EF4-FFF2-40B4-BE49-F238E27FC236}">
                    <a16:creationId xmlns:a16="http://schemas.microsoft.com/office/drawing/2014/main" id="{B16BAAE4-1A41-C843-9754-490F7A1E1270}"/>
                  </a:ext>
                </a:extLst>
              </p:cNvPr>
              <p:cNvSpPr>
                <a:spLocks noEditPoints="1"/>
              </p:cNvSpPr>
              <p:nvPr/>
            </p:nvSpPr>
            <p:spPr bwMode="gray">
              <a:xfrm>
                <a:off x="3623" y="1696"/>
                <a:ext cx="1167" cy="922"/>
              </a:xfrm>
              <a:custGeom>
                <a:avLst/>
                <a:gdLst>
                  <a:gd name="T0" fmla="*/ 411 w 580"/>
                  <a:gd name="T1" fmla="*/ 213 h 458"/>
                  <a:gd name="T2" fmla="*/ 570 w 580"/>
                  <a:gd name="T3" fmla="*/ 37 h 458"/>
                  <a:gd name="T4" fmla="*/ 580 w 580"/>
                  <a:gd name="T5" fmla="*/ 20 h 458"/>
                  <a:gd name="T6" fmla="*/ 545 w 580"/>
                  <a:gd name="T7" fmla="*/ 0 h 458"/>
                  <a:gd name="T8" fmla="*/ 519 w 580"/>
                  <a:gd name="T9" fmla="*/ 16 h 458"/>
                  <a:gd name="T10" fmla="*/ 344 w 580"/>
                  <a:gd name="T11" fmla="*/ 210 h 458"/>
                  <a:gd name="T12" fmla="*/ 334 w 580"/>
                  <a:gd name="T13" fmla="*/ 229 h 458"/>
                  <a:gd name="T14" fmla="*/ 344 w 580"/>
                  <a:gd name="T15" fmla="*/ 248 h 458"/>
                  <a:gd name="T16" fmla="*/ 519 w 580"/>
                  <a:gd name="T17" fmla="*/ 442 h 458"/>
                  <a:gd name="T18" fmla="*/ 545 w 580"/>
                  <a:gd name="T19" fmla="*/ 458 h 458"/>
                  <a:gd name="T20" fmla="*/ 580 w 580"/>
                  <a:gd name="T21" fmla="*/ 438 h 458"/>
                  <a:gd name="T22" fmla="*/ 570 w 580"/>
                  <a:gd name="T23" fmla="*/ 421 h 458"/>
                  <a:gd name="T24" fmla="*/ 411 w 580"/>
                  <a:gd name="T25" fmla="*/ 245 h 458"/>
                  <a:gd name="T26" fmla="*/ 399 w 580"/>
                  <a:gd name="T27" fmla="*/ 229 h 458"/>
                  <a:gd name="T28" fmla="*/ 411 w 580"/>
                  <a:gd name="T29" fmla="*/ 213 h 458"/>
                  <a:gd name="T30" fmla="*/ 252 w 580"/>
                  <a:gd name="T31" fmla="*/ 439 h 458"/>
                  <a:gd name="T32" fmla="*/ 281 w 580"/>
                  <a:gd name="T33" fmla="*/ 454 h 458"/>
                  <a:gd name="T34" fmla="*/ 309 w 580"/>
                  <a:gd name="T35" fmla="*/ 439 h 458"/>
                  <a:gd name="T36" fmla="*/ 309 w 580"/>
                  <a:gd name="T37" fmla="*/ 19 h 458"/>
                  <a:gd name="T38" fmla="*/ 281 w 580"/>
                  <a:gd name="T39" fmla="*/ 4 h 458"/>
                  <a:gd name="T40" fmla="*/ 252 w 580"/>
                  <a:gd name="T41" fmla="*/ 19 h 458"/>
                  <a:gd name="T42" fmla="*/ 252 w 580"/>
                  <a:gd name="T43" fmla="*/ 439 h 458"/>
                  <a:gd name="T44" fmla="*/ 0 w 580"/>
                  <a:gd name="T45" fmla="*/ 439 h 458"/>
                  <a:gd name="T46" fmla="*/ 28 w 580"/>
                  <a:gd name="T47" fmla="*/ 454 h 458"/>
                  <a:gd name="T48" fmla="*/ 56 w 580"/>
                  <a:gd name="T49" fmla="*/ 439 h 458"/>
                  <a:gd name="T50" fmla="*/ 56 w 580"/>
                  <a:gd name="T51" fmla="*/ 157 h 458"/>
                  <a:gd name="T52" fmla="*/ 165 w 580"/>
                  <a:gd name="T53" fmla="*/ 53 h 458"/>
                  <a:gd name="T54" fmla="*/ 180 w 580"/>
                  <a:gd name="T55" fmla="*/ 53 h 458"/>
                  <a:gd name="T56" fmla="*/ 196 w 580"/>
                  <a:gd name="T57" fmla="*/ 27 h 458"/>
                  <a:gd name="T58" fmla="*/ 154 w 580"/>
                  <a:gd name="T59" fmla="*/ 4 h 458"/>
                  <a:gd name="T60" fmla="*/ 0 w 580"/>
                  <a:gd name="T61" fmla="*/ 152 h 458"/>
                  <a:gd name="T62" fmla="*/ 0 w 580"/>
                  <a:gd name="T63" fmla="*/ 439 h 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80" h="458">
                    <a:moveTo>
                      <a:pt x="411" y="213"/>
                    </a:moveTo>
                    <a:cubicBezTo>
                      <a:pt x="570" y="37"/>
                      <a:pt x="570" y="37"/>
                      <a:pt x="570" y="37"/>
                    </a:cubicBezTo>
                    <a:cubicBezTo>
                      <a:pt x="576" y="30"/>
                      <a:pt x="580" y="25"/>
                      <a:pt x="580" y="20"/>
                    </a:cubicBezTo>
                    <a:cubicBezTo>
                      <a:pt x="580" y="10"/>
                      <a:pt x="559" y="0"/>
                      <a:pt x="545" y="0"/>
                    </a:cubicBezTo>
                    <a:cubicBezTo>
                      <a:pt x="535" y="0"/>
                      <a:pt x="526" y="8"/>
                      <a:pt x="519" y="16"/>
                    </a:cubicBezTo>
                    <a:cubicBezTo>
                      <a:pt x="344" y="210"/>
                      <a:pt x="344" y="210"/>
                      <a:pt x="344" y="210"/>
                    </a:cubicBezTo>
                    <a:cubicBezTo>
                      <a:pt x="336" y="219"/>
                      <a:pt x="334" y="224"/>
                      <a:pt x="334" y="229"/>
                    </a:cubicBezTo>
                    <a:cubicBezTo>
                      <a:pt x="334" y="234"/>
                      <a:pt x="336" y="239"/>
                      <a:pt x="344" y="248"/>
                    </a:cubicBezTo>
                    <a:cubicBezTo>
                      <a:pt x="519" y="442"/>
                      <a:pt x="519" y="442"/>
                      <a:pt x="519" y="442"/>
                    </a:cubicBezTo>
                    <a:cubicBezTo>
                      <a:pt x="526" y="450"/>
                      <a:pt x="535" y="458"/>
                      <a:pt x="545" y="458"/>
                    </a:cubicBezTo>
                    <a:cubicBezTo>
                      <a:pt x="559" y="458"/>
                      <a:pt x="580" y="448"/>
                      <a:pt x="580" y="438"/>
                    </a:cubicBezTo>
                    <a:cubicBezTo>
                      <a:pt x="580" y="433"/>
                      <a:pt x="576" y="428"/>
                      <a:pt x="570" y="421"/>
                    </a:cubicBezTo>
                    <a:cubicBezTo>
                      <a:pt x="411" y="245"/>
                      <a:pt x="411" y="245"/>
                      <a:pt x="411" y="245"/>
                    </a:cubicBezTo>
                    <a:cubicBezTo>
                      <a:pt x="403" y="236"/>
                      <a:pt x="399" y="232"/>
                      <a:pt x="399" y="229"/>
                    </a:cubicBezTo>
                    <a:cubicBezTo>
                      <a:pt x="399" y="226"/>
                      <a:pt x="403" y="222"/>
                      <a:pt x="411" y="213"/>
                    </a:cubicBezTo>
                    <a:moveTo>
                      <a:pt x="252" y="439"/>
                    </a:moveTo>
                    <a:cubicBezTo>
                      <a:pt x="252" y="449"/>
                      <a:pt x="261" y="454"/>
                      <a:pt x="281" y="454"/>
                    </a:cubicBezTo>
                    <a:cubicBezTo>
                      <a:pt x="300" y="454"/>
                      <a:pt x="309" y="449"/>
                      <a:pt x="309" y="439"/>
                    </a:cubicBezTo>
                    <a:cubicBezTo>
                      <a:pt x="309" y="19"/>
                      <a:pt x="309" y="19"/>
                      <a:pt x="309" y="19"/>
                    </a:cubicBezTo>
                    <a:cubicBezTo>
                      <a:pt x="309" y="9"/>
                      <a:pt x="300" y="4"/>
                      <a:pt x="281" y="4"/>
                    </a:cubicBezTo>
                    <a:cubicBezTo>
                      <a:pt x="261" y="4"/>
                      <a:pt x="252" y="9"/>
                      <a:pt x="252" y="19"/>
                    </a:cubicBezTo>
                    <a:lnTo>
                      <a:pt x="252" y="439"/>
                    </a:lnTo>
                    <a:close/>
                    <a:moveTo>
                      <a:pt x="0" y="439"/>
                    </a:moveTo>
                    <a:cubicBezTo>
                      <a:pt x="0" y="449"/>
                      <a:pt x="8" y="454"/>
                      <a:pt x="28" y="454"/>
                    </a:cubicBezTo>
                    <a:cubicBezTo>
                      <a:pt x="48" y="454"/>
                      <a:pt x="56" y="449"/>
                      <a:pt x="56" y="439"/>
                    </a:cubicBezTo>
                    <a:cubicBezTo>
                      <a:pt x="56" y="157"/>
                      <a:pt x="56" y="157"/>
                      <a:pt x="56" y="157"/>
                    </a:cubicBezTo>
                    <a:cubicBezTo>
                      <a:pt x="56" y="83"/>
                      <a:pt x="85" y="53"/>
                      <a:pt x="165" y="53"/>
                    </a:cubicBezTo>
                    <a:cubicBezTo>
                      <a:pt x="180" y="53"/>
                      <a:pt x="180" y="53"/>
                      <a:pt x="180" y="53"/>
                    </a:cubicBezTo>
                    <a:cubicBezTo>
                      <a:pt x="192" y="53"/>
                      <a:pt x="196" y="43"/>
                      <a:pt x="196" y="27"/>
                    </a:cubicBezTo>
                    <a:cubicBezTo>
                      <a:pt x="196" y="8"/>
                      <a:pt x="185" y="4"/>
                      <a:pt x="154" y="4"/>
                    </a:cubicBezTo>
                    <a:cubicBezTo>
                      <a:pt x="64" y="4"/>
                      <a:pt x="0" y="43"/>
                      <a:pt x="0" y="152"/>
                    </a:cubicBezTo>
                    <a:lnTo>
                      <a:pt x="0" y="43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22" name="Freeform 7">
                <a:extLst>
                  <a:ext uri="{FF2B5EF4-FFF2-40B4-BE49-F238E27FC236}">
                    <a16:creationId xmlns:a16="http://schemas.microsoft.com/office/drawing/2014/main" id="{2F32DCBD-8628-F245-85CD-97686A20ECFD}"/>
                  </a:ext>
                </a:extLst>
              </p:cNvPr>
              <p:cNvSpPr>
                <a:spLocks/>
              </p:cNvSpPr>
              <p:nvPr/>
            </p:nvSpPr>
            <p:spPr bwMode="gray">
              <a:xfrm>
                <a:off x="2880" y="1704"/>
                <a:ext cx="618" cy="916"/>
              </a:xfrm>
              <a:custGeom>
                <a:avLst/>
                <a:gdLst>
                  <a:gd name="T0" fmla="*/ 307 w 307"/>
                  <a:gd name="T1" fmla="*/ 405 h 455"/>
                  <a:gd name="T2" fmla="*/ 307 w 307"/>
                  <a:gd name="T3" fmla="*/ 244 h 455"/>
                  <a:gd name="T4" fmla="*/ 279 w 307"/>
                  <a:gd name="T5" fmla="*/ 229 h 455"/>
                  <a:gd name="T6" fmla="*/ 250 w 307"/>
                  <a:gd name="T7" fmla="*/ 244 h 455"/>
                  <a:gd name="T8" fmla="*/ 250 w 307"/>
                  <a:gd name="T9" fmla="*/ 378 h 455"/>
                  <a:gd name="T10" fmla="*/ 199 w 307"/>
                  <a:gd name="T11" fmla="*/ 408 h 455"/>
                  <a:gd name="T12" fmla="*/ 61 w 307"/>
                  <a:gd name="T13" fmla="*/ 231 h 455"/>
                  <a:gd name="T14" fmla="*/ 238 w 307"/>
                  <a:gd name="T15" fmla="*/ 49 h 455"/>
                  <a:gd name="T16" fmla="*/ 270 w 307"/>
                  <a:gd name="T17" fmla="*/ 49 h 455"/>
                  <a:gd name="T18" fmla="*/ 286 w 307"/>
                  <a:gd name="T19" fmla="*/ 23 h 455"/>
                  <a:gd name="T20" fmla="*/ 244 w 307"/>
                  <a:gd name="T21" fmla="*/ 0 h 455"/>
                  <a:gd name="T22" fmla="*/ 231 w 307"/>
                  <a:gd name="T23" fmla="*/ 0 h 455"/>
                  <a:gd name="T24" fmla="*/ 0 w 307"/>
                  <a:gd name="T25" fmla="*/ 232 h 455"/>
                  <a:gd name="T26" fmla="*/ 198 w 307"/>
                  <a:gd name="T27" fmla="*/ 455 h 455"/>
                  <a:gd name="T28" fmla="*/ 307 w 307"/>
                  <a:gd name="T29" fmla="*/ 405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7" h="455">
                    <a:moveTo>
                      <a:pt x="307" y="405"/>
                    </a:moveTo>
                    <a:cubicBezTo>
                      <a:pt x="307" y="244"/>
                      <a:pt x="307" y="244"/>
                      <a:pt x="307" y="244"/>
                    </a:cubicBezTo>
                    <a:cubicBezTo>
                      <a:pt x="307" y="234"/>
                      <a:pt x="298" y="229"/>
                      <a:pt x="279" y="229"/>
                    </a:cubicBezTo>
                    <a:cubicBezTo>
                      <a:pt x="259" y="229"/>
                      <a:pt x="250" y="234"/>
                      <a:pt x="250" y="244"/>
                    </a:cubicBezTo>
                    <a:cubicBezTo>
                      <a:pt x="250" y="378"/>
                      <a:pt x="250" y="378"/>
                      <a:pt x="250" y="378"/>
                    </a:cubicBezTo>
                    <a:cubicBezTo>
                      <a:pt x="250" y="399"/>
                      <a:pt x="241" y="408"/>
                      <a:pt x="199" y="408"/>
                    </a:cubicBezTo>
                    <a:cubicBezTo>
                      <a:pt x="114" y="408"/>
                      <a:pt x="61" y="342"/>
                      <a:pt x="61" y="231"/>
                    </a:cubicBezTo>
                    <a:cubicBezTo>
                      <a:pt x="61" y="115"/>
                      <a:pt x="126" y="49"/>
                      <a:pt x="238" y="49"/>
                    </a:cubicBezTo>
                    <a:cubicBezTo>
                      <a:pt x="270" y="49"/>
                      <a:pt x="270" y="49"/>
                      <a:pt x="270" y="49"/>
                    </a:cubicBezTo>
                    <a:cubicBezTo>
                      <a:pt x="282" y="49"/>
                      <a:pt x="286" y="39"/>
                      <a:pt x="286" y="23"/>
                    </a:cubicBezTo>
                    <a:cubicBezTo>
                      <a:pt x="286" y="4"/>
                      <a:pt x="275" y="0"/>
                      <a:pt x="244" y="0"/>
                    </a:cubicBezTo>
                    <a:cubicBezTo>
                      <a:pt x="231" y="0"/>
                      <a:pt x="231" y="0"/>
                      <a:pt x="231" y="0"/>
                    </a:cubicBezTo>
                    <a:cubicBezTo>
                      <a:pt x="101" y="0"/>
                      <a:pt x="0" y="71"/>
                      <a:pt x="0" y="232"/>
                    </a:cubicBezTo>
                    <a:cubicBezTo>
                      <a:pt x="0" y="386"/>
                      <a:pt x="88" y="455"/>
                      <a:pt x="198" y="455"/>
                    </a:cubicBezTo>
                    <a:cubicBezTo>
                      <a:pt x="286" y="455"/>
                      <a:pt x="307" y="430"/>
                      <a:pt x="307" y="40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23" name="Oval 8">
                <a:extLst>
                  <a:ext uri="{FF2B5EF4-FFF2-40B4-BE49-F238E27FC236}">
                    <a16:creationId xmlns:a16="http://schemas.microsoft.com/office/drawing/2014/main" id="{60D97C11-1A3B-5449-A48D-98A3E79B3810}"/>
                  </a:ext>
                </a:extLst>
              </p:cNvPr>
              <p:cNvSpPr>
                <a:spLocks noChangeArrowheads="1"/>
              </p:cNvSpPr>
              <p:nvPr/>
            </p:nvSpPr>
            <p:spPr bwMode="gray">
              <a:xfrm>
                <a:off x="3778" y="2099"/>
                <a:ext cx="122" cy="12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24" name="Freeform 9">
                <a:extLst>
                  <a:ext uri="{FF2B5EF4-FFF2-40B4-BE49-F238E27FC236}">
                    <a16:creationId xmlns:a16="http://schemas.microsoft.com/office/drawing/2014/main" id="{5856770D-B8F0-244E-A05D-AED190086F10}"/>
                  </a:ext>
                </a:extLst>
              </p:cNvPr>
              <p:cNvSpPr>
                <a:spLocks noEditPoints="1"/>
              </p:cNvSpPr>
              <p:nvPr/>
            </p:nvSpPr>
            <p:spPr bwMode="gray">
              <a:xfrm>
                <a:off x="3623" y="1696"/>
                <a:ext cx="1167" cy="922"/>
              </a:xfrm>
              <a:custGeom>
                <a:avLst/>
                <a:gdLst>
                  <a:gd name="T0" fmla="*/ 411 w 580"/>
                  <a:gd name="T1" fmla="*/ 213 h 458"/>
                  <a:gd name="T2" fmla="*/ 570 w 580"/>
                  <a:gd name="T3" fmla="*/ 37 h 458"/>
                  <a:gd name="T4" fmla="*/ 580 w 580"/>
                  <a:gd name="T5" fmla="*/ 20 h 458"/>
                  <a:gd name="T6" fmla="*/ 545 w 580"/>
                  <a:gd name="T7" fmla="*/ 0 h 458"/>
                  <a:gd name="T8" fmla="*/ 519 w 580"/>
                  <a:gd name="T9" fmla="*/ 16 h 458"/>
                  <a:gd name="T10" fmla="*/ 344 w 580"/>
                  <a:gd name="T11" fmla="*/ 210 h 458"/>
                  <a:gd name="T12" fmla="*/ 334 w 580"/>
                  <a:gd name="T13" fmla="*/ 229 h 458"/>
                  <a:gd name="T14" fmla="*/ 344 w 580"/>
                  <a:gd name="T15" fmla="*/ 248 h 458"/>
                  <a:gd name="T16" fmla="*/ 519 w 580"/>
                  <a:gd name="T17" fmla="*/ 442 h 458"/>
                  <a:gd name="T18" fmla="*/ 545 w 580"/>
                  <a:gd name="T19" fmla="*/ 458 h 458"/>
                  <a:gd name="T20" fmla="*/ 580 w 580"/>
                  <a:gd name="T21" fmla="*/ 438 h 458"/>
                  <a:gd name="T22" fmla="*/ 570 w 580"/>
                  <a:gd name="T23" fmla="*/ 421 h 458"/>
                  <a:gd name="T24" fmla="*/ 411 w 580"/>
                  <a:gd name="T25" fmla="*/ 245 h 458"/>
                  <a:gd name="T26" fmla="*/ 399 w 580"/>
                  <a:gd name="T27" fmla="*/ 229 h 458"/>
                  <a:gd name="T28" fmla="*/ 411 w 580"/>
                  <a:gd name="T29" fmla="*/ 213 h 458"/>
                  <a:gd name="T30" fmla="*/ 252 w 580"/>
                  <a:gd name="T31" fmla="*/ 439 h 458"/>
                  <a:gd name="T32" fmla="*/ 281 w 580"/>
                  <a:gd name="T33" fmla="*/ 454 h 458"/>
                  <a:gd name="T34" fmla="*/ 309 w 580"/>
                  <a:gd name="T35" fmla="*/ 439 h 458"/>
                  <a:gd name="T36" fmla="*/ 309 w 580"/>
                  <a:gd name="T37" fmla="*/ 19 h 458"/>
                  <a:gd name="T38" fmla="*/ 281 w 580"/>
                  <a:gd name="T39" fmla="*/ 4 h 458"/>
                  <a:gd name="T40" fmla="*/ 252 w 580"/>
                  <a:gd name="T41" fmla="*/ 19 h 458"/>
                  <a:gd name="T42" fmla="*/ 252 w 580"/>
                  <a:gd name="T43" fmla="*/ 439 h 458"/>
                  <a:gd name="T44" fmla="*/ 0 w 580"/>
                  <a:gd name="T45" fmla="*/ 439 h 458"/>
                  <a:gd name="T46" fmla="*/ 28 w 580"/>
                  <a:gd name="T47" fmla="*/ 454 h 458"/>
                  <a:gd name="T48" fmla="*/ 56 w 580"/>
                  <a:gd name="T49" fmla="*/ 439 h 458"/>
                  <a:gd name="T50" fmla="*/ 56 w 580"/>
                  <a:gd name="T51" fmla="*/ 157 h 458"/>
                  <a:gd name="T52" fmla="*/ 165 w 580"/>
                  <a:gd name="T53" fmla="*/ 53 h 458"/>
                  <a:gd name="T54" fmla="*/ 180 w 580"/>
                  <a:gd name="T55" fmla="*/ 53 h 458"/>
                  <a:gd name="T56" fmla="*/ 196 w 580"/>
                  <a:gd name="T57" fmla="*/ 27 h 458"/>
                  <a:gd name="T58" fmla="*/ 154 w 580"/>
                  <a:gd name="T59" fmla="*/ 4 h 458"/>
                  <a:gd name="T60" fmla="*/ 0 w 580"/>
                  <a:gd name="T61" fmla="*/ 152 h 458"/>
                  <a:gd name="T62" fmla="*/ 0 w 580"/>
                  <a:gd name="T63" fmla="*/ 439 h 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80" h="458">
                    <a:moveTo>
                      <a:pt x="411" y="213"/>
                    </a:moveTo>
                    <a:cubicBezTo>
                      <a:pt x="570" y="37"/>
                      <a:pt x="570" y="37"/>
                      <a:pt x="570" y="37"/>
                    </a:cubicBezTo>
                    <a:cubicBezTo>
                      <a:pt x="576" y="30"/>
                      <a:pt x="580" y="25"/>
                      <a:pt x="580" y="20"/>
                    </a:cubicBezTo>
                    <a:cubicBezTo>
                      <a:pt x="580" y="10"/>
                      <a:pt x="559" y="0"/>
                      <a:pt x="545" y="0"/>
                    </a:cubicBezTo>
                    <a:cubicBezTo>
                      <a:pt x="535" y="0"/>
                      <a:pt x="526" y="8"/>
                      <a:pt x="519" y="16"/>
                    </a:cubicBezTo>
                    <a:cubicBezTo>
                      <a:pt x="344" y="210"/>
                      <a:pt x="344" y="210"/>
                      <a:pt x="344" y="210"/>
                    </a:cubicBezTo>
                    <a:cubicBezTo>
                      <a:pt x="336" y="219"/>
                      <a:pt x="334" y="224"/>
                      <a:pt x="334" y="229"/>
                    </a:cubicBezTo>
                    <a:cubicBezTo>
                      <a:pt x="334" y="234"/>
                      <a:pt x="336" y="239"/>
                      <a:pt x="344" y="248"/>
                    </a:cubicBezTo>
                    <a:cubicBezTo>
                      <a:pt x="519" y="442"/>
                      <a:pt x="519" y="442"/>
                      <a:pt x="519" y="442"/>
                    </a:cubicBezTo>
                    <a:cubicBezTo>
                      <a:pt x="526" y="450"/>
                      <a:pt x="535" y="458"/>
                      <a:pt x="545" y="458"/>
                    </a:cubicBezTo>
                    <a:cubicBezTo>
                      <a:pt x="559" y="458"/>
                      <a:pt x="580" y="448"/>
                      <a:pt x="580" y="438"/>
                    </a:cubicBezTo>
                    <a:cubicBezTo>
                      <a:pt x="580" y="433"/>
                      <a:pt x="576" y="428"/>
                      <a:pt x="570" y="421"/>
                    </a:cubicBezTo>
                    <a:cubicBezTo>
                      <a:pt x="411" y="245"/>
                      <a:pt x="411" y="245"/>
                      <a:pt x="411" y="245"/>
                    </a:cubicBezTo>
                    <a:cubicBezTo>
                      <a:pt x="403" y="236"/>
                      <a:pt x="399" y="232"/>
                      <a:pt x="399" y="229"/>
                    </a:cubicBezTo>
                    <a:cubicBezTo>
                      <a:pt x="399" y="226"/>
                      <a:pt x="403" y="222"/>
                      <a:pt x="411" y="213"/>
                    </a:cubicBezTo>
                    <a:moveTo>
                      <a:pt x="252" y="439"/>
                    </a:moveTo>
                    <a:cubicBezTo>
                      <a:pt x="252" y="449"/>
                      <a:pt x="261" y="454"/>
                      <a:pt x="281" y="454"/>
                    </a:cubicBezTo>
                    <a:cubicBezTo>
                      <a:pt x="300" y="454"/>
                      <a:pt x="309" y="449"/>
                      <a:pt x="309" y="439"/>
                    </a:cubicBezTo>
                    <a:cubicBezTo>
                      <a:pt x="309" y="19"/>
                      <a:pt x="309" y="19"/>
                      <a:pt x="309" y="19"/>
                    </a:cubicBezTo>
                    <a:cubicBezTo>
                      <a:pt x="309" y="9"/>
                      <a:pt x="300" y="4"/>
                      <a:pt x="281" y="4"/>
                    </a:cubicBezTo>
                    <a:cubicBezTo>
                      <a:pt x="261" y="4"/>
                      <a:pt x="252" y="9"/>
                      <a:pt x="252" y="19"/>
                    </a:cubicBezTo>
                    <a:lnTo>
                      <a:pt x="252" y="439"/>
                    </a:lnTo>
                    <a:close/>
                    <a:moveTo>
                      <a:pt x="0" y="439"/>
                    </a:moveTo>
                    <a:cubicBezTo>
                      <a:pt x="0" y="449"/>
                      <a:pt x="8" y="454"/>
                      <a:pt x="28" y="454"/>
                    </a:cubicBezTo>
                    <a:cubicBezTo>
                      <a:pt x="48" y="454"/>
                      <a:pt x="56" y="449"/>
                      <a:pt x="56" y="439"/>
                    </a:cubicBezTo>
                    <a:cubicBezTo>
                      <a:pt x="56" y="157"/>
                      <a:pt x="56" y="157"/>
                      <a:pt x="56" y="157"/>
                    </a:cubicBezTo>
                    <a:cubicBezTo>
                      <a:pt x="56" y="83"/>
                      <a:pt x="85" y="53"/>
                      <a:pt x="165" y="53"/>
                    </a:cubicBezTo>
                    <a:cubicBezTo>
                      <a:pt x="180" y="53"/>
                      <a:pt x="180" y="53"/>
                      <a:pt x="180" y="53"/>
                    </a:cubicBezTo>
                    <a:cubicBezTo>
                      <a:pt x="192" y="53"/>
                      <a:pt x="196" y="43"/>
                      <a:pt x="196" y="27"/>
                    </a:cubicBezTo>
                    <a:cubicBezTo>
                      <a:pt x="196" y="8"/>
                      <a:pt x="185" y="4"/>
                      <a:pt x="154" y="4"/>
                    </a:cubicBezTo>
                    <a:cubicBezTo>
                      <a:pt x="64" y="4"/>
                      <a:pt x="0" y="43"/>
                      <a:pt x="0" y="152"/>
                    </a:cubicBezTo>
                    <a:lnTo>
                      <a:pt x="0" y="43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25" name="Freeform 10">
                <a:extLst>
                  <a:ext uri="{FF2B5EF4-FFF2-40B4-BE49-F238E27FC236}">
                    <a16:creationId xmlns:a16="http://schemas.microsoft.com/office/drawing/2014/main" id="{2B91B16B-BC11-E547-8FAC-B9B8D18EA449}"/>
                  </a:ext>
                </a:extLst>
              </p:cNvPr>
              <p:cNvSpPr>
                <a:spLocks/>
              </p:cNvSpPr>
              <p:nvPr/>
            </p:nvSpPr>
            <p:spPr bwMode="gray">
              <a:xfrm>
                <a:off x="2880" y="1704"/>
                <a:ext cx="618" cy="916"/>
              </a:xfrm>
              <a:custGeom>
                <a:avLst/>
                <a:gdLst>
                  <a:gd name="T0" fmla="*/ 307 w 307"/>
                  <a:gd name="T1" fmla="*/ 405 h 455"/>
                  <a:gd name="T2" fmla="*/ 307 w 307"/>
                  <a:gd name="T3" fmla="*/ 244 h 455"/>
                  <a:gd name="T4" fmla="*/ 279 w 307"/>
                  <a:gd name="T5" fmla="*/ 229 h 455"/>
                  <a:gd name="T6" fmla="*/ 250 w 307"/>
                  <a:gd name="T7" fmla="*/ 244 h 455"/>
                  <a:gd name="T8" fmla="*/ 250 w 307"/>
                  <a:gd name="T9" fmla="*/ 378 h 455"/>
                  <a:gd name="T10" fmla="*/ 199 w 307"/>
                  <a:gd name="T11" fmla="*/ 408 h 455"/>
                  <a:gd name="T12" fmla="*/ 61 w 307"/>
                  <a:gd name="T13" fmla="*/ 231 h 455"/>
                  <a:gd name="T14" fmla="*/ 238 w 307"/>
                  <a:gd name="T15" fmla="*/ 49 h 455"/>
                  <a:gd name="T16" fmla="*/ 270 w 307"/>
                  <a:gd name="T17" fmla="*/ 49 h 455"/>
                  <a:gd name="T18" fmla="*/ 286 w 307"/>
                  <a:gd name="T19" fmla="*/ 23 h 455"/>
                  <a:gd name="T20" fmla="*/ 244 w 307"/>
                  <a:gd name="T21" fmla="*/ 0 h 455"/>
                  <a:gd name="T22" fmla="*/ 231 w 307"/>
                  <a:gd name="T23" fmla="*/ 0 h 455"/>
                  <a:gd name="T24" fmla="*/ 0 w 307"/>
                  <a:gd name="T25" fmla="*/ 232 h 455"/>
                  <a:gd name="T26" fmla="*/ 198 w 307"/>
                  <a:gd name="T27" fmla="*/ 455 h 455"/>
                  <a:gd name="T28" fmla="*/ 307 w 307"/>
                  <a:gd name="T29" fmla="*/ 405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7" h="455">
                    <a:moveTo>
                      <a:pt x="307" y="405"/>
                    </a:moveTo>
                    <a:cubicBezTo>
                      <a:pt x="307" y="244"/>
                      <a:pt x="307" y="244"/>
                      <a:pt x="307" y="244"/>
                    </a:cubicBezTo>
                    <a:cubicBezTo>
                      <a:pt x="307" y="234"/>
                      <a:pt x="298" y="229"/>
                      <a:pt x="279" y="229"/>
                    </a:cubicBezTo>
                    <a:cubicBezTo>
                      <a:pt x="259" y="229"/>
                      <a:pt x="250" y="234"/>
                      <a:pt x="250" y="244"/>
                    </a:cubicBezTo>
                    <a:cubicBezTo>
                      <a:pt x="250" y="378"/>
                      <a:pt x="250" y="378"/>
                      <a:pt x="250" y="378"/>
                    </a:cubicBezTo>
                    <a:cubicBezTo>
                      <a:pt x="250" y="399"/>
                      <a:pt x="241" y="408"/>
                      <a:pt x="199" y="408"/>
                    </a:cubicBezTo>
                    <a:cubicBezTo>
                      <a:pt x="114" y="408"/>
                      <a:pt x="61" y="342"/>
                      <a:pt x="61" y="231"/>
                    </a:cubicBezTo>
                    <a:cubicBezTo>
                      <a:pt x="61" y="115"/>
                      <a:pt x="126" y="49"/>
                      <a:pt x="238" y="49"/>
                    </a:cubicBezTo>
                    <a:cubicBezTo>
                      <a:pt x="270" y="49"/>
                      <a:pt x="270" y="49"/>
                      <a:pt x="270" y="49"/>
                    </a:cubicBezTo>
                    <a:cubicBezTo>
                      <a:pt x="282" y="49"/>
                      <a:pt x="286" y="39"/>
                      <a:pt x="286" y="23"/>
                    </a:cubicBezTo>
                    <a:cubicBezTo>
                      <a:pt x="286" y="4"/>
                      <a:pt x="275" y="0"/>
                      <a:pt x="244" y="0"/>
                    </a:cubicBezTo>
                    <a:cubicBezTo>
                      <a:pt x="231" y="0"/>
                      <a:pt x="231" y="0"/>
                      <a:pt x="231" y="0"/>
                    </a:cubicBezTo>
                    <a:cubicBezTo>
                      <a:pt x="101" y="0"/>
                      <a:pt x="0" y="71"/>
                      <a:pt x="0" y="232"/>
                    </a:cubicBezTo>
                    <a:cubicBezTo>
                      <a:pt x="0" y="386"/>
                      <a:pt x="88" y="455"/>
                      <a:pt x="198" y="455"/>
                    </a:cubicBezTo>
                    <a:cubicBezTo>
                      <a:pt x="286" y="455"/>
                      <a:pt x="307" y="430"/>
                      <a:pt x="307" y="40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26" name="Oval 11">
                <a:extLst>
                  <a:ext uri="{FF2B5EF4-FFF2-40B4-BE49-F238E27FC236}">
                    <a16:creationId xmlns:a16="http://schemas.microsoft.com/office/drawing/2014/main" id="{14F8C3C8-4888-7646-B9B4-64EB46A1DA23}"/>
                  </a:ext>
                </a:extLst>
              </p:cNvPr>
              <p:cNvSpPr>
                <a:spLocks noChangeArrowheads="1"/>
              </p:cNvSpPr>
              <p:nvPr/>
            </p:nvSpPr>
            <p:spPr bwMode="gray">
              <a:xfrm>
                <a:off x="3778" y="2099"/>
                <a:ext cx="122" cy="12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27" name="Freeform 12">
                <a:extLst>
                  <a:ext uri="{FF2B5EF4-FFF2-40B4-BE49-F238E27FC236}">
                    <a16:creationId xmlns:a16="http://schemas.microsoft.com/office/drawing/2014/main" id="{D79D01D1-4E3E-F34B-97D7-2D387E68746E}"/>
                  </a:ext>
                </a:extLst>
              </p:cNvPr>
              <p:cNvSpPr>
                <a:spLocks/>
              </p:cNvSpPr>
              <p:nvPr/>
            </p:nvSpPr>
            <p:spPr bwMode="gray">
              <a:xfrm>
                <a:off x="4321" y="1029"/>
                <a:ext cx="648" cy="649"/>
              </a:xfrm>
              <a:custGeom>
                <a:avLst/>
                <a:gdLst>
                  <a:gd name="T0" fmla="*/ 0 w 648"/>
                  <a:gd name="T1" fmla="*/ 649 h 649"/>
                  <a:gd name="T2" fmla="*/ 2 w 648"/>
                  <a:gd name="T3" fmla="*/ 649 h 649"/>
                  <a:gd name="T4" fmla="*/ 648 w 648"/>
                  <a:gd name="T5" fmla="*/ 0 h 649"/>
                  <a:gd name="T6" fmla="*/ 423 w 648"/>
                  <a:gd name="T7" fmla="*/ 0 h 649"/>
                  <a:gd name="T8" fmla="*/ 0 w 648"/>
                  <a:gd name="T9" fmla="*/ 649 h 649"/>
                </a:gdLst>
                <a:ahLst/>
                <a:cxnLst>
                  <a:cxn ang="0">
                    <a:pos x="T0" y="T1"/>
                  </a:cxn>
                  <a:cxn ang="0">
                    <a:pos x="T2" y="T3"/>
                  </a:cxn>
                  <a:cxn ang="0">
                    <a:pos x="T4" y="T5"/>
                  </a:cxn>
                  <a:cxn ang="0">
                    <a:pos x="T6" y="T7"/>
                  </a:cxn>
                  <a:cxn ang="0">
                    <a:pos x="T8" y="T9"/>
                  </a:cxn>
                </a:cxnLst>
                <a:rect l="0" t="0" r="r" b="b"/>
                <a:pathLst>
                  <a:path w="648" h="649">
                    <a:moveTo>
                      <a:pt x="0" y="649"/>
                    </a:moveTo>
                    <a:lnTo>
                      <a:pt x="2" y="649"/>
                    </a:lnTo>
                    <a:lnTo>
                      <a:pt x="648" y="0"/>
                    </a:lnTo>
                    <a:lnTo>
                      <a:pt x="423" y="0"/>
                    </a:lnTo>
                    <a:lnTo>
                      <a:pt x="0" y="64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28" name="Freeform 13">
                <a:extLst>
                  <a:ext uri="{FF2B5EF4-FFF2-40B4-BE49-F238E27FC236}">
                    <a16:creationId xmlns:a16="http://schemas.microsoft.com/office/drawing/2014/main" id="{46549898-6C52-B147-A8F6-A73FDBE6163B}"/>
                  </a:ext>
                </a:extLst>
              </p:cNvPr>
              <p:cNvSpPr>
                <a:spLocks/>
              </p:cNvSpPr>
              <p:nvPr/>
            </p:nvSpPr>
            <p:spPr bwMode="gray">
              <a:xfrm>
                <a:off x="4321" y="1029"/>
                <a:ext cx="648" cy="649"/>
              </a:xfrm>
              <a:custGeom>
                <a:avLst/>
                <a:gdLst>
                  <a:gd name="T0" fmla="*/ 0 w 648"/>
                  <a:gd name="T1" fmla="*/ 649 h 649"/>
                  <a:gd name="T2" fmla="*/ 2 w 648"/>
                  <a:gd name="T3" fmla="*/ 649 h 649"/>
                  <a:gd name="T4" fmla="*/ 648 w 648"/>
                  <a:gd name="T5" fmla="*/ 0 h 649"/>
                  <a:gd name="T6" fmla="*/ 423 w 648"/>
                  <a:gd name="T7" fmla="*/ 0 h 649"/>
                  <a:gd name="T8" fmla="*/ 0 w 648"/>
                  <a:gd name="T9" fmla="*/ 649 h 649"/>
                </a:gdLst>
                <a:ahLst/>
                <a:cxnLst>
                  <a:cxn ang="0">
                    <a:pos x="T0" y="T1"/>
                  </a:cxn>
                  <a:cxn ang="0">
                    <a:pos x="T2" y="T3"/>
                  </a:cxn>
                  <a:cxn ang="0">
                    <a:pos x="T4" y="T5"/>
                  </a:cxn>
                  <a:cxn ang="0">
                    <a:pos x="T6" y="T7"/>
                  </a:cxn>
                  <a:cxn ang="0">
                    <a:pos x="T8" y="T9"/>
                  </a:cxn>
                </a:cxnLst>
                <a:rect l="0" t="0" r="r" b="b"/>
                <a:pathLst>
                  <a:path w="648" h="649">
                    <a:moveTo>
                      <a:pt x="0" y="649"/>
                    </a:moveTo>
                    <a:lnTo>
                      <a:pt x="2" y="649"/>
                    </a:lnTo>
                    <a:lnTo>
                      <a:pt x="648" y="0"/>
                    </a:lnTo>
                    <a:lnTo>
                      <a:pt x="423" y="0"/>
                    </a:lnTo>
                    <a:lnTo>
                      <a:pt x="0" y="64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grpSp>
      </p:grpSp>
      <p:sp>
        <p:nvSpPr>
          <p:cNvPr id="7" name="Date Placeholder 6"/>
          <p:cNvSpPr>
            <a:spLocks noGrp="1"/>
          </p:cNvSpPr>
          <p:nvPr>
            <p:ph type="dt" sz="half" idx="10"/>
          </p:nvPr>
        </p:nvSpPr>
        <p:spPr>
          <a:xfrm>
            <a:off x="0" y="0"/>
            <a:ext cx="0" cy="0"/>
          </a:xfrm>
          <a:prstGeom prst="rect">
            <a:avLst/>
          </a:prstGeom>
        </p:spPr>
        <p:txBody>
          <a:bodyPr/>
          <a:lstStyle>
            <a:lvl1pPr>
              <a:defRPr sz="100">
                <a:noFill/>
              </a:defRPr>
            </a:lvl1pPr>
          </a:lstStyle>
          <a:p>
            <a:endParaRPr lang="en-US"/>
          </a:p>
        </p:txBody>
      </p:sp>
      <p:sp>
        <p:nvSpPr>
          <p:cNvPr id="8" name="Footer Placeholder 7"/>
          <p:cNvSpPr>
            <a:spLocks noGrp="1"/>
          </p:cNvSpPr>
          <p:nvPr>
            <p:ph type="ftr" sz="quarter" idx="11"/>
          </p:nvPr>
        </p:nvSpPr>
        <p:spPr>
          <a:xfrm>
            <a:off x="0" y="0"/>
            <a:ext cx="0" cy="0"/>
          </a:xfrm>
          <a:prstGeom prst="rect">
            <a:avLst/>
          </a:prstGeom>
        </p:spPr>
        <p:txBody>
          <a:bodyPr/>
          <a:lstStyle>
            <a:lvl1pPr marL="0" indent="0">
              <a:buNone/>
              <a:defRPr sz="100">
                <a:noFill/>
              </a:defRPr>
            </a:lvl1pPr>
          </a:lstStyle>
          <a:p>
            <a:endParaRPr lang="en-US"/>
          </a:p>
        </p:txBody>
      </p:sp>
      <p:sp>
        <p:nvSpPr>
          <p:cNvPr id="9" name="Slide Number Placeholder 8"/>
          <p:cNvSpPr>
            <a:spLocks noGrp="1"/>
          </p:cNvSpPr>
          <p:nvPr>
            <p:ph type="sldNum" sz="quarter" idx="12"/>
          </p:nvPr>
        </p:nvSpPr>
        <p:spPr>
          <a:xfrm>
            <a:off x="0" y="0"/>
            <a:ext cx="0" cy="0"/>
          </a:xfrm>
          <a:prstGeom prst="rect">
            <a:avLst/>
          </a:prstGeom>
        </p:spPr>
        <p:txBody>
          <a:bodyPr/>
          <a:lstStyle>
            <a:lvl1pPr>
              <a:defRPr sz="100">
                <a:noFill/>
              </a:defRPr>
            </a:lvl1pPr>
          </a:lstStyle>
          <a:p>
            <a:fld id="{8E3B25F7-8D1F-44B5-B485-EE3C438CFD7B}" type="slidenum">
              <a:rPr lang="en-US" smtClean="0"/>
              <a:pPr/>
              <a:t>‹#›</a:t>
            </a:fld>
            <a:endParaRPr lang="en-US"/>
          </a:p>
        </p:txBody>
      </p:sp>
      <p:sp>
        <p:nvSpPr>
          <p:cNvPr id="2" name="Title 1"/>
          <p:cNvSpPr>
            <a:spLocks noGrp="1"/>
          </p:cNvSpPr>
          <p:nvPr>
            <p:ph type="ctrTitle" hasCustomPrompt="1"/>
          </p:nvPr>
        </p:nvSpPr>
        <p:spPr>
          <a:xfrm>
            <a:off x="4524589" y="1628775"/>
            <a:ext cx="5707662" cy="2236264"/>
          </a:xfrm>
        </p:spPr>
        <p:txBody>
          <a:bodyPr anchor="b"/>
          <a:lstStyle>
            <a:lvl1pPr algn="l">
              <a:defRPr sz="3600" baseline="0"/>
            </a:lvl1pPr>
          </a:lstStyle>
          <a:p>
            <a:r>
              <a:rPr lang="en-US"/>
              <a:t>Click to add a longer presentation title</a:t>
            </a:r>
          </a:p>
        </p:txBody>
      </p:sp>
      <p:sp>
        <p:nvSpPr>
          <p:cNvPr id="3" name="Subtitle 2"/>
          <p:cNvSpPr>
            <a:spLocks noGrp="1"/>
          </p:cNvSpPr>
          <p:nvPr>
            <p:ph type="subTitle" idx="1" hasCustomPrompt="1"/>
          </p:nvPr>
        </p:nvSpPr>
        <p:spPr>
          <a:xfrm>
            <a:off x="4524589" y="4094163"/>
            <a:ext cx="5707662" cy="1080000"/>
          </a:xfrm>
        </p:spPr>
        <p:txBody>
          <a:bodyPr/>
          <a:lstStyle>
            <a:lvl1pPr marL="0" indent="0" algn="l">
              <a:spcBef>
                <a:spcPts val="0"/>
              </a:spcBef>
              <a:buNone/>
              <a:defRPr sz="1800" b="1"/>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sp>
        <p:nvSpPr>
          <p:cNvPr id="31" name="Text Placeholder 30"/>
          <p:cNvSpPr>
            <a:spLocks noGrp="1"/>
          </p:cNvSpPr>
          <p:nvPr>
            <p:ph type="body" sz="quarter" idx="14" hasCustomPrompt="1"/>
          </p:nvPr>
        </p:nvSpPr>
        <p:spPr>
          <a:xfrm>
            <a:off x="417600" y="5393268"/>
            <a:ext cx="2494933" cy="296332"/>
          </a:xfrm>
        </p:spPr>
        <p:txBody>
          <a:bodyPr wrap="none"/>
          <a:lstStyle>
            <a:lvl1pPr marL="0" indent="0">
              <a:spcBef>
                <a:spcPts val="0"/>
              </a:spcBef>
              <a:buNone/>
              <a:defRPr sz="1200"/>
            </a:lvl1pPr>
            <a:lvl2pPr marL="0" indent="0">
              <a:buNone/>
              <a:defRPr sz="1200"/>
            </a:lvl2pPr>
            <a:lvl3pPr marL="0" indent="0">
              <a:buNone/>
              <a:defRPr sz="1200"/>
            </a:lvl3pPr>
            <a:lvl4pPr marL="0">
              <a:buNone/>
              <a:defRPr sz="1200"/>
            </a:lvl4pPr>
            <a:lvl5pPr marL="0" indent="0">
              <a:buNone/>
              <a:defRPr sz="1200"/>
            </a:lvl5pPr>
          </a:lstStyle>
          <a:p>
            <a:pPr lvl="0"/>
            <a:r>
              <a:rPr lang="en-US"/>
              <a:t>Name</a:t>
            </a:r>
          </a:p>
        </p:txBody>
      </p:sp>
      <p:sp>
        <p:nvSpPr>
          <p:cNvPr id="34" name="Text Placeholder 30"/>
          <p:cNvSpPr>
            <a:spLocks noGrp="1"/>
          </p:cNvSpPr>
          <p:nvPr>
            <p:ph type="body" sz="quarter" idx="15" hasCustomPrompt="1"/>
          </p:nvPr>
        </p:nvSpPr>
        <p:spPr>
          <a:xfrm>
            <a:off x="417600" y="5691446"/>
            <a:ext cx="2494933" cy="296332"/>
          </a:xfrm>
        </p:spPr>
        <p:txBody>
          <a:bodyPr wrap="none"/>
          <a:lstStyle>
            <a:lvl1pPr marL="0" indent="0">
              <a:spcBef>
                <a:spcPts val="0"/>
              </a:spcBef>
              <a:buNone/>
              <a:defRPr sz="1200"/>
            </a:lvl1pPr>
            <a:lvl2pPr marL="0" indent="0">
              <a:buNone/>
              <a:defRPr sz="1200"/>
            </a:lvl2pPr>
            <a:lvl3pPr marL="0" indent="0">
              <a:buNone/>
              <a:defRPr sz="1200"/>
            </a:lvl3pPr>
            <a:lvl4pPr marL="0">
              <a:buNone/>
              <a:defRPr sz="1200"/>
            </a:lvl4pPr>
            <a:lvl5pPr marL="0" indent="0">
              <a:buNone/>
              <a:defRPr sz="1200"/>
            </a:lvl5pPr>
          </a:lstStyle>
          <a:p>
            <a:pPr lvl="0"/>
            <a:r>
              <a:rPr lang="en-US"/>
              <a:t>Department</a:t>
            </a:r>
          </a:p>
        </p:txBody>
      </p:sp>
    </p:spTree>
    <p:extLst>
      <p:ext uri="{BB962C8B-B14F-4D97-AF65-F5344CB8AC3E}">
        <p14:creationId xmlns:p14="http://schemas.microsoft.com/office/powerpoint/2010/main" val="3266312989"/>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Orange and text">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bwMode="gray">
          <a:xfrm>
            <a:off x="0" y="0"/>
            <a:ext cx="12192000" cy="6858000"/>
          </a:xfrm>
          <a:prstGeom prst="rect">
            <a:avLst/>
          </a:prstGeom>
          <a:noFill/>
          <a:ln>
            <a:noFill/>
          </a:ln>
        </p:spPr>
      </p:pic>
      <p:sp>
        <p:nvSpPr>
          <p:cNvPr id="3" name="Titel 2"/>
          <p:cNvSpPr>
            <a:spLocks noGrp="1"/>
          </p:cNvSpPr>
          <p:nvPr>
            <p:ph type="title" hasCustomPrompt="1"/>
          </p:nvPr>
        </p:nvSpPr>
        <p:spPr bwMode="gray">
          <a:xfrm>
            <a:off x="431801" y="1221318"/>
            <a:ext cx="11328400" cy="2688167"/>
          </a:xfrm>
        </p:spPr>
        <p:txBody>
          <a:bodyPr vert="horz" lIns="0" tIns="18000" rIns="0" bIns="0" rtlCol="0" anchor="b" anchorCtr="0">
            <a:noAutofit/>
          </a:bodyPr>
          <a:lstStyle>
            <a:lvl1pPr>
              <a:defRPr lang="de-DE" sz="4800" cap="none" baseline="0">
                <a:solidFill>
                  <a:schemeClr val="bg1"/>
                </a:solidFill>
                <a:latin typeface="Arial" pitchFamily="34" charset="0"/>
                <a:ea typeface="+mn-ea"/>
                <a:cs typeface="+mn-cs"/>
              </a:defRPr>
            </a:lvl1pPr>
          </a:lstStyle>
          <a:p>
            <a:pPr lvl="0"/>
            <a:r>
              <a:rPr lang="en-US"/>
              <a:t>Click to add text</a:t>
            </a:r>
          </a:p>
        </p:txBody>
      </p:sp>
    </p:spTree>
    <p:extLst>
      <p:ext uri="{BB962C8B-B14F-4D97-AF65-F5344CB8AC3E}">
        <p14:creationId xmlns:p14="http://schemas.microsoft.com/office/powerpoint/2010/main" val="2807068627"/>
      </p:ext>
    </p:extLst>
  </p:cSld>
  <p:clrMapOvr>
    <a:masterClrMapping/>
  </p:clrMapOvr>
</p:sldLayout>
</file>

<file path=ppt/slideLayouts/slideLayout390.xml><?xml version="1.0" encoding="utf-8"?>
<p:sldLayout xmlns:a="http://schemas.openxmlformats.org/drawingml/2006/main" xmlns:r="http://schemas.openxmlformats.org/officeDocument/2006/relationships" xmlns:p="http://schemas.openxmlformats.org/presentationml/2006/main" showMasterSp="0" preserve="1">
  <p:cSld name="Title with picture">
    <p:spTree>
      <p:nvGrpSpPr>
        <p:cNvPr id="1" name=""/>
        <p:cNvGrpSpPr/>
        <p:nvPr/>
      </p:nvGrpSpPr>
      <p:grpSpPr>
        <a:xfrm>
          <a:off x="0" y="0"/>
          <a:ext cx="0" cy="0"/>
          <a:chOff x="0" y="0"/>
          <a:chExt cx="0" cy="0"/>
        </a:xfrm>
      </p:grpSpPr>
      <p:sp>
        <p:nvSpPr>
          <p:cNvPr id="12" name="Picture Placeholder 11"/>
          <p:cNvSpPr>
            <a:spLocks noGrp="1"/>
          </p:cNvSpPr>
          <p:nvPr>
            <p:ph type="pic" sz="quarter" idx="13" hasCustomPrompt="1"/>
          </p:nvPr>
        </p:nvSpPr>
        <p:spPr>
          <a:xfrm>
            <a:off x="3376226" y="0"/>
            <a:ext cx="8815774" cy="6858000"/>
          </a:xfrm>
          <a:custGeom>
            <a:avLst/>
            <a:gdLst>
              <a:gd name="connsiteX0" fmla="*/ 331042 w 8815774"/>
              <a:gd name="connsiteY0" fmla="*/ 0 h 6858000"/>
              <a:gd name="connsiteX1" fmla="*/ 8815774 w 8815774"/>
              <a:gd name="connsiteY1" fmla="*/ 0 h 6858000"/>
              <a:gd name="connsiteX2" fmla="*/ 8815774 w 8815774"/>
              <a:gd name="connsiteY2" fmla="*/ 6858000 h 6858000"/>
              <a:gd name="connsiteX3" fmla="*/ 0 w 8815774"/>
              <a:gd name="connsiteY3" fmla="*/ 6858000 h 6858000"/>
              <a:gd name="connsiteX4" fmla="*/ 1580491 w 8815774"/>
              <a:gd name="connsiteY4" fmla="*/ 4163677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15774" h="6858000">
                <a:moveTo>
                  <a:pt x="331042" y="0"/>
                </a:moveTo>
                <a:lnTo>
                  <a:pt x="8815774" y="0"/>
                </a:lnTo>
                <a:lnTo>
                  <a:pt x="8815774" y="6858000"/>
                </a:lnTo>
                <a:lnTo>
                  <a:pt x="0" y="6858000"/>
                </a:lnTo>
                <a:lnTo>
                  <a:pt x="1580491" y="4163677"/>
                </a:lnTo>
                <a:close/>
              </a:path>
            </a:pathLst>
          </a:custGeom>
          <a:solidFill>
            <a:srgbClr val="D9DADB"/>
          </a:solidFill>
        </p:spPr>
        <p:txBody>
          <a:bodyPr wrap="square">
            <a:noAutofit/>
          </a:bodyPr>
          <a:lstStyle>
            <a:lvl1pPr marL="0" indent="0" algn="ctr">
              <a:buNone/>
              <a:defRPr/>
            </a:lvl1pPr>
          </a:lstStyle>
          <a:p>
            <a:r>
              <a:rPr lang="en-US"/>
              <a:t>Insert picture</a:t>
            </a:r>
          </a:p>
        </p:txBody>
      </p:sp>
      <p:grpSp>
        <p:nvGrpSpPr>
          <p:cNvPr id="14" name="logo">
            <a:extLst>
              <a:ext uri="{FF2B5EF4-FFF2-40B4-BE49-F238E27FC236}">
                <a16:creationId xmlns:a16="http://schemas.microsoft.com/office/drawing/2014/main" id="{18C26D95-70F8-8A4D-9F18-DCCB92522AF8}"/>
              </a:ext>
            </a:extLst>
          </p:cNvPr>
          <p:cNvGrpSpPr/>
          <p:nvPr/>
        </p:nvGrpSpPr>
        <p:grpSpPr bwMode="gray">
          <a:xfrm>
            <a:off x="417363" y="407485"/>
            <a:ext cx="1518585" cy="646507"/>
            <a:chOff x="334963" y="296652"/>
            <a:chExt cx="1268411" cy="540000"/>
          </a:xfrm>
        </p:grpSpPr>
        <p:sp>
          <p:nvSpPr>
            <p:cNvPr id="17" name="Freeform 6">
              <a:extLst>
                <a:ext uri="{FF2B5EF4-FFF2-40B4-BE49-F238E27FC236}">
                  <a16:creationId xmlns:a16="http://schemas.microsoft.com/office/drawing/2014/main" id="{08737AD0-E375-E445-97E6-CD2E2DF60620}"/>
                </a:ext>
              </a:extLst>
            </p:cNvPr>
            <p:cNvSpPr>
              <a:spLocks noEditPoints="1"/>
            </p:cNvSpPr>
            <p:nvPr/>
          </p:nvSpPr>
          <p:spPr bwMode="gray">
            <a:xfrm>
              <a:off x="982662" y="360462"/>
              <a:ext cx="620712" cy="431800"/>
            </a:xfrm>
            <a:custGeom>
              <a:avLst/>
              <a:gdLst>
                <a:gd name="T0" fmla="*/ 19 w 1809"/>
                <a:gd name="T1" fmla="*/ 97 h 1253"/>
                <a:gd name="T2" fmla="*/ 165 w 1809"/>
                <a:gd name="T3" fmla="*/ 41 h 1253"/>
                <a:gd name="T4" fmla="*/ 211 w 1809"/>
                <a:gd name="T5" fmla="*/ 224 h 1253"/>
                <a:gd name="T6" fmla="*/ 248 w 1809"/>
                <a:gd name="T7" fmla="*/ 155 h 1253"/>
                <a:gd name="T8" fmla="*/ 931 w 1809"/>
                <a:gd name="T9" fmla="*/ 995 h 1253"/>
                <a:gd name="T10" fmla="*/ 858 w 1809"/>
                <a:gd name="T11" fmla="*/ 1115 h 1253"/>
                <a:gd name="T12" fmla="*/ 749 w 1809"/>
                <a:gd name="T13" fmla="*/ 1117 h 1253"/>
                <a:gd name="T14" fmla="*/ 681 w 1809"/>
                <a:gd name="T15" fmla="*/ 1055 h 1253"/>
                <a:gd name="T16" fmla="*/ 800 w 1809"/>
                <a:gd name="T17" fmla="*/ 1054 h 1253"/>
                <a:gd name="T18" fmla="*/ 884 w 1809"/>
                <a:gd name="T19" fmla="*/ 1181 h 1253"/>
                <a:gd name="T20" fmla="*/ 118 w 1809"/>
                <a:gd name="T21" fmla="*/ 1086 h 1253"/>
                <a:gd name="T22" fmla="*/ 147 w 1809"/>
                <a:gd name="T23" fmla="*/ 1026 h 1253"/>
                <a:gd name="T24" fmla="*/ 102 w 1809"/>
                <a:gd name="T25" fmla="*/ 1026 h 1253"/>
                <a:gd name="T26" fmla="*/ 639 w 1809"/>
                <a:gd name="T27" fmla="*/ 84 h 1253"/>
                <a:gd name="T28" fmla="*/ 763 w 1809"/>
                <a:gd name="T29" fmla="*/ 145 h 1253"/>
                <a:gd name="T30" fmla="*/ 863 w 1809"/>
                <a:gd name="T31" fmla="*/ 221 h 1253"/>
                <a:gd name="T32" fmla="*/ 834 w 1809"/>
                <a:gd name="T33" fmla="*/ 208 h 1253"/>
                <a:gd name="T34" fmla="*/ 719 w 1809"/>
                <a:gd name="T35" fmla="*/ 182 h 1253"/>
                <a:gd name="T36" fmla="*/ 507 w 1809"/>
                <a:gd name="T37" fmla="*/ 711 h 1253"/>
                <a:gd name="T38" fmla="*/ 614 w 1809"/>
                <a:gd name="T39" fmla="*/ 706 h 1253"/>
                <a:gd name="T40" fmla="*/ 736 w 1809"/>
                <a:gd name="T41" fmla="*/ 730 h 1253"/>
                <a:gd name="T42" fmla="*/ 607 w 1809"/>
                <a:gd name="T43" fmla="*/ 539 h 1253"/>
                <a:gd name="T44" fmla="*/ 1505 w 1809"/>
                <a:gd name="T45" fmla="*/ 1136 h 1253"/>
                <a:gd name="T46" fmla="*/ 1613 w 1809"/>
                <a:gd name="T47" fmla="*/ 1002 h 1253"/>
                <a:gd name="T48" fmla="*/ 1472 w 1809"/>
                <a:gd name="T49" fmla="*/ 1164 h 1253"/>
                <a:gd name="T50" fmla="*/ 1525 w 1809"/>
                <a:gd name="T51" fmla="*/ 1142 h 1253"/>
                <a:gd name="T52" fmla="*/ 1556 w 1809"/>
                <a:gd name="T53" fmla="*/ 1172 h 1253"/>
                <a:gd name="T54" fmla="*/ 1387 w 1809"/>
                <a:gd name="T55" fmla="*/ 910 h 1253"/>
                <a:gd name="T56" fmla="*/ 1261 w 1809"/>
                <a:gd name="T57" fmla="*/ 1157 h 1253"/>
                <a:gd name="T58" fmla="*/ 1413 w 1809"/>
                <a:gd name="T59" fmla="*/ 934 h 1253"/>
                <a:gd name="T60" fmla="*/ 1378 w 1809"/>
                <a:gd name="T61" fmla="*/ 1052 h 1253"/>
                <a:gd name="T62" fmla="*/ 488 w 1809"/>
                <a:gd name="T63" fmla="*/ 85 h 1253"/>
                <a:gd name="T64" fmla="*/ 509 w 1809"/>
                <a:gd name="T65" fmla="*/ 112 h 1253"/>
                <a:gd name="T66" fmla="*/ 548 w 1809"/>
                <a:gd name="T67" fmla="*/ 1187 h 1253"/>
                <a:gd name="T68" fmla="*/ 472 w 1809"/>
                <a:gd name="T69" fmla="*/ 1122 h 1253"/>
                <a:gd name="T70" fmla="*/ 558 w 1809"/>
                <a:gd name="T71" fmla="*/ 1157 h 1253"/>
                <a:gd name="T72" fmla="*/ 287 w 1809"/>
                <a:gd name="T73" fmla="*/ 654 h 1253"/>
                <a:gd name="T74" fmla="*/ 416 w 1809"/>
                <a:gd name="T75" fmla="*/ 684 h 1253"/>
                <a:gd name="T76" fmla="*/ 1106 w 1809"/>
                <a:gd name="T77" fmla="*/ 147 h 1253"/>
                <a:gd name="T78" fmla="*/ 1229 w 1809"/>
                <a:gd name="T79" fmla="*/ 258 h 1253"/>
                <a:gd name="T80" fmla="*/ 1106 w 1809"/>
                <a:gd name="T81" fmla="*/ 96 h 1253"/>
                <a:gd name="T82" fmla="*/ 1219 w 1809"/>
                <a:gd name="T83" fmla="*/ 1077 h 1253"/>
                <a:gd name="T84" fmla="*/ 1214 w 1809"/>
                <a:gd name="T85" fmla="*/ 1157 h 1253"/>
                <a:gd name="T86" fmla="*/ 1150 w 1809"/>
                <a:gd name="T87" fmla="*/ 1092 h 1253"/>
                <a:gd name="T88" fmla="*/ 1139 w 1809"/>
                <a:gd name="T89" fmla="*/ 1070 h 1253"/>
                <a:gd name="T90" fmla="*/ 1659 w 1809"/>
                <a:gd name="T91" fmla="*/ 1031 h 1253"/>
                <a:gd name="T92" fmla="*/ 1714 w 1809"/>
                <a:gd name="T93" fmla="*/ 1155 h 1253"/>
                <a:gd name="T94" fmla="*/ 1760 w 1809"/>
                <a:gd name="T95" fmla="*/ 1030 h 1253"/>
                <a:gd name="T96" fmla="*/ 111 w 1809"/>
                <a:gd name="T97" fmla="*/ 569 h 1253"/>
                <a:gd name="T98" fmla="*/ 109 w 1809"/>
                <a:gd name="T99" fmla="*/ 460 h 1253"/>
                <a:gd name="T100" fmla="*/ 32 w 1809"/>
                <a:gd name="T101" fmla="*/ 704 h 1253"/>
                <a:gd name="T102" fmla="*/ 310 w 1809"/>
                <a:gd name="T103" fmla="*/ 1058 h 1253"/>
                <a:gd name="T104" fmla="*/ 431 w 1809"/>
                <a:gd name="T105" fmla="*/ 1044 h 1253"/>
                <a:gd name="T106" fmla="*/ 278 w 1809"/>
                <a:gd name="T107" fmla="*/ 1165 h 1253"/>
                <a:gd name="T108" fmla="*/ 261 w 1809"/>
                <a:gd name="T109" fmla="*/ 540 h 1253"/>
                <a:gd name="T110" fmla="*/ 150 w 1809"/>
                <a:gd name="T111" fmla="*/ 635 h 1253"/>
                <a:gd name="T112" fmla="*/ 994 w 1809"/>
                <a:gd name="T113" fmla="*/ 1185 h 1253"/>
                <a:gd name="T114" fmla="*/ 331 w 1809"/>
                <a:gd name="T115" fmla="*/ 176 h 1253"/>
                <a:gd name="T116" fmla="*/ 333 w 1809"/>
                <a:gd name="T117" fmla="*/ 109 h 1253"/>
                <a:gd name="T118" fmla="*/ 946 w 1809"/>
                <a:gd name="T119" fmla="*/ 234 h 1253"/>
                <a:gd name="T120" fmla="*/ 1022 w 1809"/>
                <a:gd name="T121" fmla="*/ 113 h 1253"/>
                <a:gd name="T122" fmla="*/ 949 w 1809"/>
                <a:gd name="T123" fmla="*/ 65 h 1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09" h="1253">
                  <a:moveTo>
                    <a:pt x="248" y="198"/>
                  </a:moveTo>
                  <a:cubicBezTo>
                    <a:pt x="248" y="211"/>
                    <a:pt x="248" y="224"/>
                    <a:pt x="249" y="237"/>
                  </a:cubicBezTo>
                  <a:cubicBezTo>
                    <a:pt x="249" y="245"/>
                    <a:pt x="246" y="249"/>
                    <a:pt x="240" y="253"/>
                  </a:cubicBezTo>
                  <a:cubicBezTo>
                    <a:pt x="231" y="260"/>
                    <a:pt x="220" y="264"/>
                    <a:pt x="209" y="268"/>
                  </a:cubicBezTo>
                  <a:cubicBezTo>
                    <a:pt x="179" y="279"/>
                    <a:pt x="148" y="280"/>
                    <a:pt x="118" y="275"/>
                  </a:cubicBezTo>
                  <a:cubicBezTo>
                    <a:pt x="86" y="269"/>
                    <a:pt x="58" y="252"/>
                    <a:pt x="39" y="224"/>
                  </a:cubicBezTo>
                  <a:cubicBezTo>
                    <a:pt x="24" y="203"/>
                    <a:pt x="18" y="180"/>
                    <a:pt x="15" y="155"/>
                  </a:cubicBezTo>
                  <a:cubicBezTo>
                    <a:pt x="11" y="135"/>
                    <a:pt x="15" y="115"/>
                    <a:pt x="19" y="97"/>
                  </a:cubicBezTo>
                  <a:cubicBezTo>
                    <a:pt x="26" y="68"/>
                    <a:pt x="42" y="44"/>
                    <a:pt x="68" y="27"/>
                  </a:cubicBezTo>
                  <a:cubicBezTo>
                    <a:pt x="87" y="14"/>
                    <a:pt x="109" y="6"/>
                    <a:pt x="133" y="5"/>
                  </a:cubicBezTo>
                  <a:cubicBezTo>
                    <a:pt x="149" y="4"/>
                    <a:pt x="165" y="5"/>
                    <a:pt x="181" y="6"/>
                  </a:cubicBezTo>
                  <a:cubicBezTo>
                    <a:pt x="204" y="8"/>
                    <a:pt x="225" y="20"/>
                    <a:pt x="243" y="35"/>
                  </a:cubicBezTo>
                  <a:cubicBezTo>
                    <a:pt x="246" y="37"/>
                    <a:pt x="246" y="40"/>
                    <a:pt x="244" y="43"/>
                  </a:cubicBezTo>
                  <a:cubicBezTo>
                    <a:pt x="242" y="47"/>
                    <a:pt x="239" y="52"/>
                    <a:pt x="236" y="55"/>
                  </a:cubicBezTo>
                  <a:cubicBezTo>
                    <a:pt x="226" y="65"/>
                    <a:pt x="224" y="65"/>
                    <a:pt x="206" y="54"/>
                  </a:cubicBezTo>
                  <a:cubicBezTo>
                    <a:pt x="193" y="46"/>
                    <a:pt x="180" y="40"/>
                    <a:pt x="165" y="41"/>
                  </a:cubicBezTo>
                  <a:cubicBezTo>
                    <a:pt x="151" y="41"/>
                    <a:pt x="137" y="39"/>
                    <a:pt x="124" y="42"/>
                  </a:cubicBezTo>
                  <a:cubicBezTo>
                    <a:pt x="104" y="46"/>
                    <a:pt x="87" y="57"/>
                    <a:pt x="75" y="74"/>
                  </a:cubicBezTo>
                  <a:cubicBezTo>
                    <a:pt x="56" y="99"/>
                    <a:pt x="51" y="129"/>
                    <a:pt x="55" y="159"/>
                  </a:cubicBezTo>
                  <a:cubicBezTo>
                    <a:pt x="60" y="189"/>
                    <a:pt x="73" y="214"/>
                    <a:pt x="98" y="230"/>
                  </a:cubicBezTo>
                  <a:cubicBezTo>
                    <a:pt x="109" y="237"/>
                    <a:pt x="121" y="242"/>
                    <a:pt x="135" y="241"/>
                  </a:cubicBezTo>
                  <a:cubicBezTo>
                    <a:pt x="146" y="241"/>
                    <a:pt x="158" y="241"/>
                    <a:pt x="169" y="241"/>
                  </a:cubicBezTo>
                  <a:cubicBezTo>
                    <a:pt x="182" y="242"/>
                    <a:pt x="193" y="235"/>
                    <a:pt x="205" y="232"/>
                  </a:cubicBezTo>
                  <a:cubicBezTo>
                    <a:pt x="210" y="231"/>
                    <a:pt x="211" y="227"/>
                    <a:pt x="211" y="224"/>
                  </a:cubicBezTo>
                  <a:cubicBezTo>
                    <a:pt x="211" y="210"/>
                    <a:pt x="211" y="196"/>
                    <a:pt x="211" y="183"/>
                  </a:cubicBezTo>
                  <a:cubicBezTo>
                    <a:pt x="211" y="177"/>
                    <a:pt x="207" y="175"/>
                    <a:pt x="202" y="175"/>
                  </a:cubicBezTo>
                  <a:cubicBezTo>
                    <a:pt x="193" y="175"/>
                    <a:pt x="184" y="175"/>
                    <a:pt x="175" y="175"/>
                  </a:cubicBezTo>
                  <a:cubicBezTo>
                    <a:pt x="171" y="175"/>
                    <a:pt x="168" y="174"/>
                    <a:pt x="166" y="171"/>
                  </a:cubicBezTo>
                  <a:cubicBezTo>
                    <a:pt x="163" y="163"/>
                    <a:pt x="164" y="154"/>
                    <a:pt x="166" y="146"/>
                  </a:cubicBezTo>
                  <a:cubicBezTo>
                    <a:pt x="167" y="142"/>
                    <a:pt x="171" y="142"/>
                    <a:pt x="175" y="142"/>
                  </a:cubicBezTo>
                  <a:cubicBezTo>
                    <a:pt x="196" y="142"/>
                    <a:pt x="217" y="142"/>
                    <a:pt x="238" y="142"/>
                  </a:cubicBezTo>
                  <a:cubicBezTo>
                    <a:pt x="247" y="142"/>
                    <a:pt x="248" y="148"/>
                    <a:pt x="248" y="155"/>
                  </a:cubicBezTo>
                  <a:cubicBezTo>
                    <a:pt x="249" y="169"/>
                    <a:pt x="248" y="183"/>
                    <a:pt x="248" y="198"/>
                  </a:cubicBezTo>
                  <a:close/>
                  <a:moveTo>
                    <a:pt x="884" y="1181"/>
                  </a:moveTo>
                  <a:cubicBezTo>
                    <a:pt x="889" y="1167"/>
                    <a:pt x="894" y="1152"/>
                    <a:pt x="898" y="1137"/>
                  </a:cubicBezTo>
                  <a:cubicBezTo>
                    <a:pt x="901" y="1127"/>
                    <a:pt x="905" y="1116"/>
                    <a:pt x="908" y="1106"/>
                  </a:cubicBezTo>
                  <a:cubicBezTo>
                    <a:pt x="911" y="1098"/>
                    <a:pt x="912" y="1089"/>
                    <a:pt x="916" y="1081"/>
                  </a:cubicBezTo>
                  <a:cubicBezTo>
                    <a:pt x="921" y="1072"/>
                    <a:pt x="923" y="1060"/>
                    <a:pt x="927" y="1050"/>
                  </a:cubicBezTo>
                  <a:cubicBezTo>
                    <a:pt x="932" y="1037"/>
                    <a:pt x="934" y="1023"/>
                    <a:pt x="940" y="1010"/>
                  </a:cubicBezTo>
                  <a:cubicBezTo>
                    <a:pt x="945" y="1001"/>
                    <a:pt x="941" y="995"/>
                    <a:pt x="931" y="995"/>
                  </a:cubicBezTo>
                  <a:cubicBezTo>
                    <a:pt x="927" y="995"/>
                    <a:pt x="922" y="995"/>
                    <a:pt x="918" y="995"/>
                  </a:cubicBezTo>
                  <a:cubicBezTo>
                    <a:pt x="913" y="995"/>
                    <a:pt x="908" y="997"/>
                    <a:pt x="907" y="1001"/>
                  </a:cubicBezTo>
                  <a:cubicBezTo>
                    <a:pt x="904" y="1008"/>
                    <a:pt x="900" y="1015"/>
                    <a:pt x="899" y="1023"/>
                  </a:cubicBezTo>
                  <a:cubicBezTo>
                    <a:pt x="897" y="1034"/>
                    <a:pt x="893" y="1045"/>
                    <a:pt x="889" y="1055"/>
                  </a:cubicBezTo>
                  <a:cubicBezTo>
                    <a:pt x="887" y="1064"/>
                    <a:pt x="885" y="1072"/>
                    <a:pt x="882" y="1080"/>
                  </a:cubicBezTo>
                  <a:cubicBezTo>
                    <a:pt x="878" y="1091"/>
                    <a:pt x="874" y="1103"/>
                    <a:pt x="871" y="1115"/>
                  </a:cubicBezTo>
                  <a:cubicBezTo>
                    <a:pt x="870" y="1118"/>
                    <a:pt x="871" y="1124"/>
                    <a:pt x="866" y="1124"/>
                  </a:cubicBezTo>
                  <a:cubicBezTo>
                    <a:pt x="861" y="1125"/>
                    <a:pt x="859" y="1120"/>
                    <a:pt x="858" y="1115"/>
                  </a:cubicBezTo>
                  <a:cubicBezTo>
                    <a:pt x="856" y="1110"/>
                    <a:pt x="856" y="1104"/>
                    <a:pt x="854" y="1099"/>
                  </a:cubicBezTo>
                  <a:cubicBezTo>
                    <a:pt x="848" y="1080"/>
                    <a:pt x="841" y="1062"/>
                    <a:pt x="835" y="1044"/>
                  </a:cubicBezTo>
                  <a:cubicBezTo>
                    <a:pt x="831" y="1030"/>
                    <a:pt x="828" y="1016"/>
                    <a:pt x="822" y="1003"/>
                  </a:cubicBezTo>
                  <a:cubicBezTo>
                    <a:pt x="819" y="997"/>
                    <a:pt x="814" y="994"/>
                    <a:pt x="808" y="994"/>
                  </a:cubicBezTo>
                  <a:cubicBezTo>
                    <a:pt x="799" y="993"/>
                    <a:pt x="791" y="993"/>
                    <a:pt x="787" y="1001"/>
                  </a:cubicBezTo>
                  <a:cubicBezTo>
                    <a:pt x="783" y="1008"/>
                    <a:pt x="780" y="1015"/>
                    <a:pt x="779" y="1022"/>
                  </a:cubicBezTo>
                  <a:cubicBezTo>
                    <a:pt x="778" y="1034"/>
                    <a:pt x="772" y="1044"/>
                    <a:pt x="769" y="1055"/>
                  </a:cubicBezTo>
                  <a:cubicBezTo>
                    <a:pt x="762" y="1076"/>
                    <a:pt x="754" y="1096"/>
                    <a:pt x="749" y="1117"/>
                  </a:cubicBezTo>
                  <a:cubicBezTo>
                    <a:pt x="748" y="1120"/>
                    <a:pt x="747" y="1124"/>
                    <a:pt x="742" y="1124"/>
                  </a:cubicBezTo>
                  <a:cubicBezTo>
                    <a:pt x="737" y="1124"/>
                    <a:pt x="737" y="1120"/>
                    <a:pt x="736" y="1116"/>
                  </a:cubicBezTo>
                  <a:cubicBezTo>
                    <a:pt x="734" y="1104"/>
                    <a:pt x="730" y="1092"/>
                    <a:pt x="726" y="1080"/>
                  </a:cubicBezTo>
                  <a:cubicBezTo>
                    <a:pt x="720" y="1061"/>
                    <a:pt x="714" y="1040"/>
                    <a:pt x="708" y="1020"/>
                  </a:cubicBezTo>
                  <a:cubicBezTo>
                    <a:pt x="703" y="1000"/>
                    <a:pt x="698" y="994"/>
                    <a:pt x="676" y="995"/>
                  </a:cubicBezTo>
                  <a:cubicBezTo>
                    <a:pt x="665" y="996"/>
                    <a:pt x="661" y="1001"/>
                    <a:pt x="667" y="1011"/>
                  </a:cubicBezTo>
                  <a:cubicBezTo>
                    <a:pt x="669" y="1016"/>
                    <a:pt x="670" y="1021"/>
                    <a:pt x="672" y="1025"/>
                  </a:cubicBezTo>
                  <a:cubicBezTo>
                    <a:pt x="675" y="1035"/>
                    <a:pt x="678" y="1046"/>
                    <a:pt x="681" y="1055"/>
                  </a:cubicBezTo>
                  <a:cubicBezTo>
                    <a:pt x="685" y="1068"/>
                    <a:pt x="689" y="1080"/>
                    <a:pt x="693" y="1092"/>
                  </a:cubicBezTo>
                  <a:cubicBezTo>
                    <a:pt x="697" y="1103"/>
                    <a:pt x="699" y="1113"/>
                    <a:pt x="703" y="1124"/>
                  </a:cubicBezTo>
                  <a:cubicBezTo>
                    <a:pt x="707" y="1136"/>
                    <a:pt x="711" y="1147"/>
                    <a:pt x="715" y="1160"/>
                  </a:cubicBezTo>
                  <a:cubicBezTo>
                    <a:pt x="717" y="1168"/>
                    <a:pt x="720" y="1176"/>
                    <a:pt x="724" y="1183"/>
                  </a:cubicBezTo>
                  <a:cubicBezTo>
                    <a:pt x="728" y="1189"/>
                    <a:pt x="752" y="1185"/>
                    <a:pt x="757" y="1180"/>
                  </a:cubicBezTo>
                  <a:cubicBezTo>
                    <a:pt x="764" y="1173"/>
                    <a:pt x="762" y="1163"/>
                    <a:pt x="766" y="1156"/>
                  </a:cubicBezTo>
                  <a:cubicBezTo>
                    <a:pt x="774" y="1140"/>
                    <a:pt x="778" y="1122"/>
                    <a:pt x="784" y="1105"/>
                  </a:cubicBezTo>
                  <a:cubicBezTo>
                    <a:pt x="789" y="1088"/>
                    <a:pt x="796" y="1072"/>
                    <a:pt x="800" y="1054"/>
                  </a:cubicBezTo>
                  <a:cubicBezTo>
                    <a:pt x="800" y="1053"/>
                    <a:pt x="801" y="1050"/>
                    <a:pt x="803" y="1050"/>
                  </a:cubicBezTo>
                  <a:cubicBezTo>
                    <a:pt x="806" y="1050"/>
                    <a:pt x="806" y="1052"/>
                    <a:pt x="807" y="1055"/>
                  </a:cubicBezTo>
                  <a:cubicBezTo>
                    <a:pt x="807" y="1060"/>
                    <a:pt x="810" y="1066"/>
                    <a:pt x="811" y="1071"/>
                  </a:cubicBezTo>
                  <a:cubicBezTo>
                    <a:pt x="814" y="1081"/>
                    <a:pt x="818" y="1090"/>
                    <a:pt x="821" y="1099"/>
                  </a:cubicBezTo>
                  <a:cubicBezTo>
                    <a:pt x="824" y="1110"/>
                    <a:pt x="827" y="1120"/>
                    <a:pt x="831" y="1131"/>
                  </a:cubicBezTo>
                  <a:cubicBezTo>
                    <a:pt x="834" y="1142"/>
                    <a:pt x="839" y="1153"/>
                    <a:pt x="842" y="1164"/>
                  </a:cubicBezTo>
                  <a:cubicBezTo>
                    <a:pt x="846" y="1179"/>
                    <a:pt x="850" y="1188"/>
                    <a:pt x="869" y="1185"/>
                  </a:cubicBezTo>
                  <a:cubicBezTo>
                    <a:pt x="873" y="1184"/>
                    <a:pt x="881" y="1189"/>
                    <a:pt x="884" y="1181"/>
                  </a:cubicBezTo>
                  <a:close/>
                  <a:moveTo>
                    <a:pt x="33" y="1051"/>
                  </a:moveTo>
                  <a:cubicBezTo>
                    <a:pt x="33" y="1087"/>
                    <a:pt x="33" y="1124"/>
                    <a:pt x="33" y="1160"/>
                  </a:cubicBezTo>
                  <a:cubicBezTo>
                    <a:pt x="33" y="1188"/>
                    <a:pt x="29" y="1184"/>
                    <a:pt x="58" y="1185"/>
                  </a:cubicBezTo>
                  <a:cubicBezTo>
                    <a:pt x="72" y="1185"/>
                    <a:pt x="73" y="1184"/>
                    <a:pt x="73" y="1170"/>
                  </a:cubicBezTo>
                  <a:cubicBezTo>
                    <a:pt x="73" y="1138"/>
                    <a:pt x="73" y="1107"/>
                    <a:pt x="73" y="1076"/>
                  </a:cubicBezTo>
                  <a:cubicBezTo>
                    <a:pt x="73" y="1071"/>
                    <a:pt x="72" y="1067"/>
                    <a:pt x="78" y="1065"/>
                  </a:cubicBezTo>
                  <a:cubicBezTo>
                    <a:pt x="91" y="1062"/>
                    <a:pt x="102" y="1067"/>
                    <a:pt x="110" y="1076"/>
                  </a:cubicBezTo>
                  <a:cubicBezTo>
                    <a:pt x="112" y="1080"/>
                    <a:pt x="115" y="1083"/>
                    <a:pt x="118" y="1086"/>
                  </a:cubicBezTo>
                  <a:cubicBezTo>
                    <a:pt x="132" y="1103"/>
                    <a:pt x="146" y="1119"/>
                    <a:pt x="161" y="1136"/>
                  </a:cubicBezTo>
                  <a:cubicBezTo>
                    <a:pt x="173" y="1150"/>
                    <a:pt x="186" y="1165"/>
                    <a:pt x="198" y="1179"/>
                  </a:cubicBezTo>
                  <a:cubicBezTo>
                    <a:pt x="207" y="1188"/>
                    <a:pt x="218" y="1184"/>
                    <a:pt x="228" y="1185"/>
                  </a:cubicBezTo>
                  <a:cubicBezTo>
                    <a:pt x="233" y="1185"/>
                    <a:pt x="241" y="1188"/>
                    <a:pt x="244" y="1182"/>
                  </a:cubicBezTo>
                  <a:cubicBezTo>
                    <a:pt x="246" y="1178"/>
                    <a:pt x="239" y="1173"/>
                    <a:pt x="235" y="1169"/>
                  </a:cubicBezTo>
                  <a:cubicBezTo>
                    <a:pt x="206" y="1133"/>
                    <a:pt x="176" y="1098"/>
                    <a:pt x="146" y="1062"/>
                  </a:cubicBezTo>
                  <a:cubicBezTo>
                    <a:pt x="141" y="1056"/>
                    <a:pt x="131" y="1052"/>
                    <a:pt x="132" y="1044"/>
                  </a:cubicBezTo>
                  <a:cubicBezTo>
                    <a:pt x="132" y="1036"/>
                    <a:pt x="142" y="1032"/>
                    <a:pt x="147" y="1026"/>
                  </a:cubicBezTo>
                  <a:cubicBezTo>
                    <a:pt x="164" y="1006"/>
                    <a:pt x="182" y="988"/>
                    <a:pt x="198" y="968"/>
                  </a:cubicBezTo>
                  <a:cubicBezTo>
                    <a:pt x="209" y="954"/>
                    <a:pt x="221" y="942"/>
                    <a:pt x="234" y="929"/>
                  </a:cubicBezTo>
                  <a:cubicBezTo>
                    <a:pt x="236" y="926"/>
                    <a:pt x="238" y="923"/>
                    <a:pt x="237" y="920"/>
                  </a:cubicBezTo>
                  <a:cubicBezTo>
                    <a:pt x="235" y="915"/>
                    <a:pt x="231" y="917"/>
                    <a:pt x="228" y="917"/>
                  </a:cubicBezTo>
                  <a:cubicBezTo>
                    <a:pt x="224" y="918"/>
                    <a:pt x="221" y="918"/>
                    <a:pt x="217" y="918"/>
                  </a:cubicBezTo>
                  <a:cubicBezTo>
                    <a:pt x="204" y="917"/>
                    <a:pt x="193" y="922"/>
                    <a:pt x="185" y="931"/>
                  </a:cubicBezTo>
                  <a:cubicBezTo>
                    <a:pt x="172" y="946"/>
                    <a:pt x="158" y="961"/>
                    <a:pt x="145" y="977"/>
                  </a:cubicBezTo>
                  <a:cubicBezTo>
                    <a:pt x="131" y="993"/>
                    <a:pt x="117" y="1010"/>
                    <a:pt x="102" y="1026"/>
                  </a:cubicBezTo>
                  <a:cubicBezTo>
                    <a:pt x="96" y="1032"/>
                    <a:pt x="87" y="1037"/>
                    <a:pt x="78" y="1034"/>
                  </a:cubicBezTo>
                  <a:cubicBezTo>
                    <a:pt x="70" y="1030"/>
                    <a:pt x="73" y="1021"/>
                    <a:pt x="73" y="1015"/>
                  </a:cubicBezTo>
                  <a:cubicBezTo>
                    <a:pt x="73" y="991"/>
                    <a:pt x="73" y="967"/>
                    <a:pt x="73" y="944"/>
                  </a:cubicBezTo>
                  <a:cubicBezTo>
                    <a:pt x="73" y="916"/>
                    <a:pt x="75" y="917"/>
                    <a:pt x="46" y="918"/>
                  </a:cubicBezTo>
                  <a:cubicBezTo>
                    <a:pt x="33" y="918"/>
                    <a:pt x="33" y="918"/>
                    <a:pt x="33" y="931"/>
                  </a:cubicBezTo>
                  <a:cubicBezTo>
                    <a:pt x="33" y="971"/>
                    <a:pt x="33" y="1011"/>
                    <a:pt x="33" y="1051"/>
                  </a:cubicBezTo>
                  <a:cubicBezTo>
                    <a:pt x="33" y="1051"/>
                    <a:pt x="33" y="1051"/>
                    <a:pt x="33" y="1051"/>
                  </a:cubicBezTo>
                  <a:close/>
                  <a:moveTo>
                    <a:pt x="639" y="84"/>
                  </a:moveTo>
                  <a:cubicBezTo>
                    <a:pt x="627" y="84"/>
                    <a:pt x="626" y="84"/>
                    <a:pt x="629" y="95"/>
                  </a:cubicBezTo>
                  <a:cubicBezTo>
                    <a:pt x="634" y="113"/>
                    <a:pt x="640" y="131"/>
                    <a:pt x="646" y="148"/>
                  </a:cubicBezTo>
                  <a:cubicBezTo>
                    <a:pt x="652" y="166"/>
                    <a:pt x="658" y="185"/>
                    <a:pt x="664" y="203"/>
                  </a:cubicBezTo>
                  <a:cubicBezTo>
                    <a:pt x="671" y="223"/>
                    <a:pt x="676" y="244"/>
                    <a:pt x="684" y="264"/>
                  </a:cubicBezTo>
                  <a:cubicBezTo>
                    <a:pt x="688" y="274"/>
                    <a:pt x="694" y="274"/>
                    <a:pt x="702" y="274"/>
                  </a:cubicBezTo>
                  <a:cubicBezTo>
                    <a:pt x="711" y="274"/>
                    <a:pt x="719" y="272"/>
                    <a:pt x="723" y="263"/>
                  </a:cubicBezTo>
                  <a:cubicBezTo>
                    <a:pt x="733" y="236"/>
                    <a:pt x="741" y="208"/>
                    <a:pt x="750" y="181"/>
                  </a:cubicBezTo>
                  <a:cubicBezTo>
                    <a:pt x="754" y="169"/>
                    <a:pt x="757" y="156"/>
                    <a:pt x="763" y="145"/>
                  </a:cubicBezTo>
                  <a:cubicBezTo>
                    <a:pt x="764" y="143"/>
                    <a:pt x="764" y="140"/>
                    <a:pt x="767" y="140"/>
                  </a:cubicBezTo>
                  <a:cubicBezTo>
                    <a:pt x="770" y="140"/>
                    <a:pt x="770" y="143"/>
                    <a:pt x="771" y="145"/>
                  </a:cubicBezTo>
                  <a:cubicBezTo>
                    <a:pt x="771" y="156"/>
                    <a:pt x="777" y="165"/>
                    <a:pt x="780" y="175"/>
                  </a:cubicBezTo>
                  <a:cubicBezTo>
                    <a:pt x="782" y="184"/>
                    <a:pt x="785" y="193"/>
                    <a:pt x="788" y="201"/>
                  </a:cubicBezTo>
                  <a:cubicBezTo>
                    <a:pt x="794" y="219"/>
                    <a:pt x="801" y="237"/>
                    <a:pt x="806" y="255"/>
                  </a:cubicBezTo>
                  <a:cubicBezTo>
                    <a:pt x="811" y="272"/>
                    <a:pt x="825" y="280"/>
                    <a:pt x="842" y="273"/>
                  </a:cubicBezTo>
                  <a:cubicBezTo>
                    <a:pt x="845" y="271"/>
                    <a:pt x="847" y="269"/>
                    <a:pt x="848" y="266"/>
                  </a:cubicBezTo>
                  <a:cubicBezTo>
                    <a:pt x="853" y="251"/>
                    <a:pt x="859" y="236"/>
                    <a:pt x="863" y="221"/>
                  </a:cubicBezTo>
                  <a:cubicBezTo>
                    <a:pt x="867" y="202"/>
                    <a:pt x="875" y="185"/>
                    <a:pt x="880" y="166"/>
                  </a:cubicBezTo>
                  <a:cubicBezTo>
                    <a:pt x="886" y="144"/>
                    <a:pt x="895" y="123"/>
                    <a:pt x="900" y="101"/>
                  </a:cubicBezTo>
                  <a:cubicBezTo>
                    <a:pt x="901" y="96"/>
                    <a:pt x="909" y="91"/>
                    <a:pt x="904" y="86"/>
                  </a:cubicBezTo>
                  <a:cubicBezTo>
                    <a:pt x="900" y="81"/>
                    <a:pt x="892" y="84"/>
                    <a:pt x="886" y="84"/>
                  </a:cubicBezTo>
                  <a:cubicBezTo>
                    <a:pt x="885" y="84"/>
                    <a:pt x="883" y="84"/>
                    <a:pt x="881" y="84"/>
                  </a:cubicBezTo>
                  <a:cubicBezTo>
                    <a:pt x="875" y="84"/>
                    <a:pt x="872" y="86"/>
                    <a:pt x="869" y="91"/>
                  </a:cubicBezTo>
                  <a:cubicBezTo>
                    <a:pt x="860" y="110"/>
                    <a:pt x="856" y="131"/>
                    <a:pt x="850" y="151"/>
                  </a:cubicBezTo>
                  <a:cubicBezTo>
                    <a:pt x="844" y="170"/>
                    <a:pt x="836" y="188"/>
                    <a:pt x="834" y="208"/>
                  </a:cubicBezTo>
                  <a:cubicBezTo>
                    <a:pt x="833" y="211"/>
                    <a:pt x="831" y="214"/>
                    <a:pt x="827" y="214"/>
                  </a:cubicBezTo>
                  <a:cubicBezTo>
                    <a:pt x="823" y="214"/>
                    <a:pt x="822" y="210"/>
                    <a:pt x="822" y="207"/>
                  </a:cubicBezTo>
                  <a:cubicBezTo>
                    <a:pt x="817" y="188"/>
                    <a:pt x="811" y="170"/>
                    <a:pt x="805" y="152"/>
                  </a:cubicBezTo>
                  <a:cubicBezTo>
                    <a:pt x="799" y="133"/>
                    <a:pt x="794" y="114"/>
                    <a:pt x="786" y="96"/>
                  </a:cubicBezTo>
                  <a:cubicBezTo>
                    <a:pt x="783" y="87"/>
                    <a:pt x="779" y="84"/>
                    <a:pt x="770" y="84"/>
                  </a:cubicBezTo>
                  <a:cubicBezTo>
                    <a:pt x="761" y="84"/>
                    <a:pt x="752" y="82"/>
                    <a:pt x="748" y="94"/>
                  </a:cubicBezTo>
                  <a:cubicBezTo>
                    <a:pt x="744" y="109"/>
                    <a:pt x="738" y="123"/>
                    <a:pt x="734" y="138"/>
                  </a:cubicBezTo>
                  <a:cubicBezTo>
                    <a:pt x="729" y="153"/>
                    <a:pt x="724" y="167"/>
                    <a:pt x="719" y="182"/>
                  </a:cubicBezTo>
                  <a:cubicBezTo>
                    <a:pt x="716" y="192"/>
                    <a:pt x="715" y="203"/>
                    <a:pt x="708" y="212"/>
                  </a:cubicBezTo>
                  <a:cubicBezTo>
                    <a:pt x="707" y="214"/>
                    <a:pt x="707" y="217"/>
                    <a:pt x="704" y="217"/>
                  </a:cubicBezTo>
                  <a:cubicBezTo>
                    <a:pt x="701" y="217"/>
                    <a:pt x="701" y="213"/>
                    <a:pt x="700" y="211"/>
                  </a:cubicBezTo>
                  <a:cubicBezTo>
                    <a:pt x="699" y="198"/>
                    <a:pt x="694" y="186"/>
                    <a:pt x="690" y="174"/>
                  </a:cubicBezTo>
                  <a:cubicBezTo>
                    <a:pt x="684" y="153"/>
                    <a:pt x="677" y="131"/>
                    <a:pt x="672" y="110"/>
                  </a:cubicBezTo>
                  <a:cubicBezTo>
                    <a:pt x="667" y="88"/>
                    <a:pt x="663" y="84"/>
                    <a:pt x="645" y="84"/>
                  </a:cubicBezTo>
                  <a:cubicBezTo>
                    <a:pt x="643" y="84"/>
                    <a:pt x="641" y="84"/>
                    <a:pt x="639" y="84"/>
                  </a:cubicBezTo>
                  <a:close/>
                  <a:moveTo>
                    <a:pt x="507" y="711"/>
                  </a:moveTo>
                  <a:cubicBezTo>
                    <a:pt x="507" y="730"/>
                    <a:pt x="507" y="730"/>
                    <a:pt x="526" y="730"/>
                  </a:cubicBezTo>
                  <a:cubicBezTo>
                    <a:pt x="539" y="730"/>
                    <a:pt x="541" y="729"/>
                    <a:pt x="541" y="715"/>
                  </a:cubicBezTo>
                  <a:cubicBezTo>
                    <a:pt x="541" y="677"/>
                    <a:pt x="541" y="638"/>
                    <a:pt x="540" y="600"/>
                  </a:cubicBezTo>
                  <a:cubicBezTo>
                    <a:pt x="540" y="593"/>
                    <a:pt x="543" y="587"/>
                    <a:pt x="548" y="582"/>
                  </a:cubicBezTo>
                  <a:cubicBezTo>
                    <a:pt x="553" y="576"/>
                    <a:pt x="559" y="573"/>
                    <a:pt x="564" y="569"/>
                  </a:cubicBezTo>
                  <a:cubicBezTo>
                    <a:pt x="574" y="564"/>
                    <a:pt x="594" y="566"/>
                    <a:pt x="602" y="574"/>
                  </a:cubicBezTo>
                  <a:cubicBezTo>
                    <a:pt x="611" y="582"/>
                    <a:pt x="614" y="592"/>
                    <a:pt x="614" y="604"/>
                  </a:cubicBezTo>
                  <a:cubicBezTo>
                    <a:pt x="614" y="638"/>
                    <a:pt x="614" y="672"/>
                    <a:pt x="614" y="706"/>
                  </a:cubicBezTo>
                  <a:cubicBezTo>
                    <a:pt x="614" y="730"/>
                    <a:pt x="614" y="730"/>
                    <a:pt x="638" y="730"/>
                  </a:cubicBezTo>
                  <a:cubicBezTo>
                    <a:pt x="650" y="730"/>
                    <a:pt x="650" y="730"/>
                    <a:pt x="650" y="717"/>
                  </a:cubicBezTo>
                  <a:cubicBezTo>
                    <a:pt x="650" y="684"/>
                    <a:pt x="650" y="650"/>
                    <a:pt x="650" y="617"/>
                  </a:cubicBezTo>
                  <a:cubicBezTo>
                    <a:pt x="650" y="606"/>
                    <a:pt x="651" y="597"/>
                    <a:pt x="657" y="586"/>
                  </a:cubicBezTo>
                  <a:cubicBezTo>
                    <a:pt x="667" y="565"/>
                    <a:pt x="703" y="560"/>
                    <a:pt x="716" y="579"/>
                  </a:cubicBezTo>
                  <a:cubicBezTo>
                    <a:pt x="723" y="588"/>
                    <a:pt x="724" y="598"/>
                    <a:pt x="724" y="609"/>
                  </a:cubicBezTo>
                  <a:cubicBezTo>
                    <a:pt x="724" y="645"/>
                    <a:pt x="724" y="682"/>
                    <a:pt x="724" y="718"/>
                  </a:cubicBezTo>
                  <a:cubicBezTo>
                    <a:pt x="724" y="727"/>
                    <a:pt x="727" y="731"/>
                    <a:pt x="736" y="730"/>
                  </a:cubicBezTo>
                  <a:cubicBezTo>
                    <a:pt x="738" y="730"/>
                    <a:pt x="741" y="730"/>
                    <a:pt x="743" y="730"/>
                  </a:cubicBezTo>
                  <a:cubicBezTo>
                    <a:pt x="758" y="730"/>
                    <a:pt x="759" y="729"/>
                    <a:pt x="759" y="715"/>
                  </a:cubicBezTo>
                  <a:cubicBezTo>
                    <a:pt x="759" y="677"/>
                    <a:pt x="758" y="639"/>
                    <a:pt x="759" y="601"/>
                  </a:cubicBezTo>
                  <a:cubicBezTo>
                    <a:pt x="759" y="571"/>
                    <a:pt x="742" y="540"/>
                    <a:pt x="704" y="538"/>
                  </a:cubicBezTo>
                  <a:cubicBezTo>
                    <a:pt x="681" y="536"/>
                    <a:pt x="661" y="542"/>
                    <a:pt x="646" y="560"/>
                  </a:cubicBezTo>
                  <a:cubicBezTo>
                    <a:pt x="638" y="569"/>
                    <a:pt x="638" y="569"/>
                    <a:pt x="631" y="559"/>
                  </a:cubicBezTo>
                  <a:cubicBezTo>
                    <a:pt x="630" y="558"/>
                    <a:pt x="630" y="557"/>
                    <a:pt x="629" y="556"/>
                  </a:cubicBezTo>
                  <a:cubicBezTo>
                    <a:pt x="623" y="548"/>
                    <a:pt x="616" y="541"/>
                    <a:pt x="607" y="539"/>
                  </a:cubicBezTo>
                  <a:cubicBezTo>
                    <a:pt x="584" y="534"/>
                    <a:pt x="563" y="539"/>
                    <a:pt x="545" y="555"/>
                  </a:cubicBezTo>
                  <a:cubicBezTo>
                    <a:pt x="540" y="559"/>
                    <a:pt x="537" y="561"/>
                    <a:pt x="537" y="552"/>
                  </a:cubicBezTo>
                  <a:cubicBezTo>
                    <a:pt x="536" y="543"/>
                    <a:pt x="526" y="538"/>
                    <a:pt x="515" y="539"/>
                  </a:cubicBezTo>
                  <a:cubicBezTo>
                    <a:pt x="506" y="540"/>
                    <a:pt x="507" y="546"/>
                    <a:pt x="507" y="552"/>
                  </a:cubicBezTo>
                  <a:cubicBezTo>
                    <a:pt x="507" y="580"/>
                    <a:pt x="507" y="607"/>
                    <a:pt x="507" y="634"/>
                  </a:cubicBezTo>
                  <a:cubicBezTo>
                    <a:pt x="507" y="660"/>
                    <a:pt x="507" y="685"/>
                    <a:pt x="507" y="711"/>
                  </a:cubicBezTo>
                  <a:close/>
                  <a:moveTo>
                    <a:pt x="1525" y="1142"/>
                  </a:moveTo>
                  <a:cubicBezTo>
                    <a:pt x="1517" y="1143"/>
                    <a:pt x="1511" y="1141"/>
                    <a:pt x="1505" y="1136"/>
                  </a:cubicBezTo>
                  <a:cubicBezTo>
                    <a:pt x="1501" y="1133"/>
                    <a:pt x="1495" y="1130"/>
                    <a:pt x="1498" y="1124"/>
                  </a:cubicBezTo>
                  <a:cubicBezTo>
                    <a:pt x="1500" y="1118"/>
                    <a:pt x="1504" y="1114"/>
                    <a:pt x="1512" y="1114"/>
                  </a:cubicBezTo>
                  <a:cubicBezTo>
                    <a:pt x="1521" y="1115"/>
                    <a:pt x="1530" y="1114"/>
                    <a:pt x="1538" y="1115"/>
                  </a:cubicBezTo>
                  <a:cubicBezTo>
                    <a:pt x="1573" y="1117"/>
                    <a:pt x="1610" y="1084"/>
                    <a:pt x="1602" y="1044"/>
                  </a:cubicBezTo>
                  <a:cubicBezTo>
                    <a:pt x="1600" y="1035"/>
                    <a:pt x="1599" y="1028"/>
                    <a:pt x="1611" y="1027"/>
                  </a:cubicBezTo>
                  <a:cubicBezTo>
                    <a:pt x="1614" y="1027"/>
                    <a:pt x="1617" y="1024"/>
                    <a:pt x="1619" y="1023"/>
                  </a:cubicBezTo>
                  <a:cubicBezTo>
                    <a:pt x="1626" y="1019"/>
                    <a:pt x="1624" y="1013"/>
                    <a:pt x="1623" y="1008"/>
                  </a:cubicBezTo>
                  <a:cubicBezTo>
                    <a:pt x="1623" y="1002"/>
                    <a:pt x="1618" y="1003"/>
                    <a:pt x="1613" y="1002"/>
                  </a:cubicBezTo>
                  <a:cubicBezTo>
                    <a:pt x="1598" y="1002"/>
                    <a:pt x="1582" y="1004"/>
                    <a:pt x="1567" y="1000"/>
                  </a:cubicBezTo>
                  <a:cubicBezTo>
                    <a:pt x="1560" y="999"/>
                    <a:pt x="1554" y="993"/>
                    <a:pt x="1546" y="993"/>
                  </a:cubicBezTo>
                  <a:cubicBezTo>
                    <a:pt x="1536" y="994"/>
                    <a:pt x="1525" y="992"/>
                    <a:pt x="1515" y="993"/>
                  </a:cubicBezTo>
                  <a:cubicBezTo>
                    <a:pt x="1490" y="997"/>
                    <a:pt x="1469" y="1010"/>
                    <a:pt x="1462" y="1034"/>
                  </a:cubicBezTo>
                  <a:cubicBezTo>
                    <a:pt x="1455" y="1056"/>
                    <a:pt x="1457" y="1079"/>
                    <a:pt x="1476" y="1096"/>
                  </a:cubicBezTo>
                  <a:cubicBezTo>
                    <a:pt x="1483" y="1103"/>
                    <a:pt x="1483" y="1107"/>
                    <a:pt x="1476" y="1113"/>
                  </a:cubicBezTo>
                  <a:cubicBezTo>
                    <a:pt x="1462" y="1126"/>
                    <a:pt x="1462" y="1142"/>
                    <a:pt x="1473" y="1157"/>
                  </a:cubicBezTo>
                  <a:cubicBezTo>
                    <a:pt x="1476" y="1160"/>
                    <a:pt x="1476" y="1162"/>
                    <a:pt x="1472" y="1164"/>
                  </a:cubicBezTo>
                  <a:cubicBezTo>
                    <a:pt x="1470" y="1166"/>
                    <a:pt x="1468" y="1168"/>
                    <a:pt x="1466" y="1170"/>
                  </a:cubicBezTo>
                  <a:cubicBezTo>
                    <a:pt x="1449" y="1183"/>
                    <a:pt x="1444" y="1201"/>
                    <a:pt x="1454" y="1218"/>
                  </a:cubicBezTo>
                  <a:cubicBezTo>
                    <a:pt x="1464" y="1235"/>
                    <a:pt x="1479" y="1246"/>
                    <a:pt x="1499" y="1249"/>
                  </a:cubicBezTo>
                  <a:cubicBezTo>
                    <a:pt x="1517" y="1252"/>
                    <a:pt x="1535" y="1253"/>
                    <a:pt x="1553" y="1250"/>
                  </a:cubicBezTo>
                  <a:cubicBezTo>
                    <a:pt x="1584" y="1245"/>
                    <a:pt x="1607" y="1232"/>
                    <a:pt x="1619" y="1200"/>
                  </a:cubicBezTo>
                  <a:cubicBezTo>
                    <a:pt x="1627" y="1180"/>
                    <a:pt x="1611" y="1155"/>
                    <a:pt x="1593" y="1148"/>
                  </a:cubicBezTo>
                  <a:cubicBezTo>
                    <a:pt x="1578" y="1142"/>
                    <a:pt x="1563" y="1143"/>
                    <a:pt x="1549" y="1142"/>
                  </a:cubicBezTo>
                  <a:cubicBezTo>
                    <a:pt x="1540" y="1142"/>
                    <a:pt x="1532" y="1142"/>
                    <a:pt x="1525" y="1142"/>
                  </a:cubicBezTo>
                  <a:close/>
                  <a:moveTo>
                    <a:pt x="1556" y="1172"/>
                  </a:moveTo>
                  <a:cubicBezTo>
                    <a:pt x="1566" y="1172"/>
                    <a:pt x="1576" y="1176"/>
                    <a:pt x="1583" y="1183"/>
                  </a:cubicBezTo>
                  <a:cubicBezTo>
                    <a:pt x="1589" y="1190"/>
                    <a:pt x="1589" y="1198"/>
                    <a:pt x="1583" y="1205"/>
                  </a:cubicBezTo>
                  <a:cubicBezTo>
                    <a:pt x="1575" y="1215"/>
                    <a:pt x="1565" y="1220"/>
                    <a:pt x="1553" y="1223"/>
                  </a:cubicBezTo>
                  <a:cubicBezTo>
                    <a:pt x="1534" y="1228"/>
                    <a:pt x="1516" y="1225"/>
                    <a:pt x="1499" y="1219"/>
                  </a:cubicBezTo>
                  <a:cubicBezTo>
                    <a:pt x="1486" y="1214"/>
                    <a:pt x="1479" y="1203"/>
                    <a:pt x="1482" y="1193"/>
                  </a:cubicBezTo>
                  <a:cubicBezTo>
                    <a:pt x="1485" y="1182"/>
                    <a:pt x="1496" y="1168"/>
                    <a:pt x="1514" y="1171"/>
                  </a:cubicBezTo>
                  <a:cubicBezTo>
                    <a:pt x="1526" y="1173"/>
                    <a:pt x="1541" y="1171"/>
                    <a:pt x="1556" y="1172"/>
                  </a:cubicBezTo>
                  <a:close/>
                  <a:moveTo>
                    <a:pt x="1531" y="1019"/>
                  </a:moveTo>
                  <a:cubicBezTo>
                    <a:pt x="1553" y="1017"/>
                    <a:pt x="1570" y="1033"/>
                    <a:pt x="1570" y="1052"/>
                  </a:cubicBezTo>
                  <a:cubicBezTo>
                    <a:pt x="1570" y="1075"/>
                    <a:pt x="1554" y="1093"/>
                    <a:pt x="1532" y="1091"/>
                  </a:cubicBezTo>
                  <a:cubicBezTo>
                    <a:pt x="1508" y="1089"/>
                    <a:pt x="1494" y="1082"/>
                    <a:pt x="1493" y="1053"/>
                  </a:cubicBezTo>
                  <a:cubicBezTo>
                    <a:pt x="1494" y="1029"/>
                    <a:pt x="1508" y="1020"/>
                    <a:pt x="1531" y="1019"/>
                  </a:cubicBezTo>
                  <a:close/>
                  <a:moveTo>
                    <a:pt x="1413" y="934"/>
                  </a:moveTo>
                  <a:cubicBezTo>
                    <a:pt x="1413" y="909"/>
                    <a:pt x="1413" y="909"/>
                    <a:pt x="1389" y="910"/>
                  </a:cubicBezTo>
                  <a:cubicBezTo>
                    <a:pt x="1388" y="910"/>
                    <a:pt x="1387" y="910"/>
                    <a:pt x="1387" y="910"/>
                  </a:cubicBezTo>
                  <a:cubicBezTo>
                    <a:pt x="1379" y="910"/>
                    <a:pt x="1376" y="915"/>
                    <a:pt x="1376" y="921"/>
                  </a:cubicBezTo>
                  <a:cubicBezTo>
                    <a:pt x="1376" y="939"/>
                    <a:pt x="1377" y="956"/>
                    <a:pt x="1377" y="974"/>
                  </a:cubicBezTo>
                  <a:cubicBezTo>
                    <a:pt x="1377" y="983"/>
                    <a:pt x="1377" y="991"/>
                    <a:pt x="1377" y="1000"/>
                  </a:cubicBezTo>
                  <a:cubicBezTo>
                    <a:pt x="1377" y="1005"/>
                    <a:pt x="1374" y="1009"/>
                    <a:pt x="1369" y="1005"/>
                  </a:cubicBezTo>
                  <a:cubicBezTo>
                    <a:pt x="1352" y="990"/>
                    <a:pt x="1332" y="993"/>
                    <a:pt x="1312" y="993"/>
                  </a:cubicBezTo>
                  <a:cubicBezTo>
                    <a:pt x="1303" y="994"/>
                    <a:pt x="1294" y="998"/>
                    <a:pt x="1287" y="1003"/>
                  </a:cubicBezTo>
                  <a:cubicBezTo>
                    <a:pt x="1265" y="1017"/>
                    <a:pt x="1252" y="1039"/>
                    <a:pt x="1248" y="1065"/>
                  </a:cubicBezTo>
                  <a:cubicBezTo>
                    <a:pt x="1244" y="1096"/>
                    <a:pt x="1244" y="1128"/>
                    <a:pt x="1261" y="1157"/>
                  </a:cubicBezTo>
                  <a:cubicBezTo>
                    <a:pt x="1270" y="1170"/>
                    <a:pt x="1281" y="1181"/>
                    <a:pt x="1296" y="1185"/>
                  </a:cubicBezTo>
                  <a:cubicBezTo>
                    <a:pt x="1323" y="1191"/>
                    <a:pt x="1349" y="1188"/>
                    <a:pt x="1370" y="1167"/>
                  </a:cubicBezTo>
                  <a:cubicBezTo>
                    <a:pt x="1372" y="1165"/>
                    <a:pt x="1375" y="1162"/>
                    <a:pt x="1379" y="1163"/>
                  </a:cubicBezTo>
                  <a:cubicBezTo>
                    <a:pt x="1382" y="1165"/>
                    <a:pt x="1381" y="1169"/>
                    <a:pt x="1381" y="1172"/>
                  </a:cubicBezTo>
                  <a:cubicBezTo>
                    <a:pt x="1383" y="1181"/>
                    <a:pt x="1390" y="1186"/>
                    <a:pt x="1403" y="1186"/>
                  </a:cubicBezTo>
                  <a:cubicBezTo>
                    <a:pt x="1413" y="1185"/>
                    <a:pt x="1413" y="1178"/>
                    <a:pt x="1413" y="1172"/>
                  </a:cubicBezTo>
                  <a:cubicBezTo>
                    <a:pt x="1413" y="1131"/>
                    <a:pt x="1413" y="1090"/>
                    <a:pt x="1413" y="1049"/>
                  </a:cubicBezTo>
                  <a:cubicBezTo>
                    <a:pt x="1413" y="1010"/>
                    <a:pt x="1413" y="972"/>
                    <a:pt x="1413" y="934"/>
                  </a:cubicBezTo>
                  <a:close/>
                  <a:moveTo>
                    <a:pt x="1378" y="1113"/>
                  </a:moveTo>
                  <a:cubicBezTo>
                    <a:pt x="1378" y="1136"/>
                    <a:pt x="1360" y="1155"/>
                    <a:pt x="1337" y="1157"/>
                  </a:cubicBezTo>
                  <a:cubicBezTo>
                    <a:pt x="1319" y="1159"/>
                    <a:pt x="1304" y="1154"/>
                    <a:pt x="1294" y="1139"/>
                  </a:cubicBezTo>
                  <a:cubicBezTo>
                    <a:pt x="1286" y="1128"/>
                    <a:pt x="1283" y="1116"/>
                    <a:pt x="1283" y="1102"/>
                  </a:cubicBezTo>
                  <a:cubicBezTo>
                    <a:pt x="1282" y="1085"/>
                    <a:pt x="1282" y="1067"/>
                    <a:pt x="1290" y="1051"/>
                  </a:cubicBezTo>
                  <a:cubicBezTo>
                    <a:pt x="1297" y="1036"/>
                    <a:pt x="1308" y="1024"/>
                    <a:pt x="1325" y="1022"/>
                  </a:cubicBezTo>
                  <a:cubicBezTo>
                    <a:pt x="1342" y="1020"/>
                    <a:pt x="1358" y="1021"/>
                    <a:pt x="1371" y="1035"/>
                  </a:cubicBezTo>
                  <a:cubicBezTo>
                    <a:pt x="1376" y="1041"/>
                    <a:pt x="1378" y="1046"/>
                    <a:pt x="1378" y="1052"/>
                  </a:cubicBezTo>
                  <a:cubicBezTo>
                    <a:pt x="1378" y="1064"/>
                    <a:pt x="1378" y="1075"/>
                    <a:pt x="1378" y="1086"/>
                  </a:cubicBezTo>
                  <a:cubicBezTo>
                    <a:pt x="1378" y="1086"/>
                    <a:pt x="1378" y="1086"/>
                    <a:pt x="1378" y="1086"/>
                  </a:cubicBezTo>
                  <a:cubicBezTo>
                    <a:pt x="1378" y="1095"/>
                    <a:pt x="1378" y="1104"/>
                    <a:pt x="1378" y="1113"/>
                  </a:cubicBezTo>
                  <a:close/>
                  <a:moveTo>
                    <a:pt x="578" y="259"/>
                  </a:moveTo>
                  <a:cubicBezTo>
                    <a:pt x="603" y="241"/>
                    <a:pt x="611" y="213"/>
                    <a:pt x="614" y="183"/>
                  </a:cubicBezTo>
                  <a:cubicBezTo>
                    <a:pt x="615" y="171"/>
                    <a:pt x="610" y="159"/>
                    <a:pt x="609" y="147"/>
                  </a:cubicBezTo>
                  <a:cubicBezTo>
                    <a:pt x="608" y="137"/>
                    <a:pt x="603" y="129"/>
                    <a:pt x="599" y="121"/>
                  </a:cubicBezTo>
                  <a:cubicBezTo>
                    <a:pt x="579" y="87"/>
                    <a:pt x="527" y="70"/>
                    <a:pt x="488" y="85"/>
                  </a:cubicBezTo>
                  <a:cubicBezTo>
                    <a:pt x="453" y="99"/>
                    <a:pt x="436" y="127"/>
                    <a:pt x="431" y="163"/>
                  </a:cubicBezTo>
                  <a:cubicBezTo>
                    <a:pt x="429" y="180"/>
                    <a:pt x="430" y="196"/>
                    <a:pt x="436" y="213"/>
                  </a:cubicBezTo>
                  <a:cubicBezTo>
                    <a:pt x="439" y="222"/>
                    <a:pt x="442" y="232"/>
                    <a:pt x="447" y="239"/>
                  </a:cubicBezTo>
                  <a:cubicBezTo>
                    <a:pt x="465" y="265"/>
                    <a:pt x="491" y="277"/>
                    <a:pt x="525" y="276"/>
                  </a:cubicBezTo>
                  <a:cubicBezTo>
                    <a:pt x="543" y="278"/>
                    <a:pt x="562" y="271"/>
                    <a:pt x="578" y="259"/>
                  </a:cubicBezTo>
                  <a:close/>
                  <a:moveTo>
                    <a:pt x="471" y="205"/>
                  </a:moveTo>
                  <a:cubicBezTo>
                    <a:pt x="466" y="185"/>
                    <a:pt x="468" y="167"/>
                    <a:pt x="472" y="147"/>
                  </a:cubicBezTo>
                  <a:cubicBezTo>
                    <a:pt x="477" y="130"/>
                    <a:pt x="493" y="116"/>
                    <a:pt x="509" y="112"/>
                  </a:cubicBezTo>
                  <a:cubicBezTo>
                    <a:pt x="525" y="108"/>
                    <a:pt x="539" y="110"/>
                    <a:pt x="553" y="119"/>
                  </a:cubicBezTo>
                  <a:cubicBezTo>
                    <a:pt x="563" y="125"/>
                    <a:pt x="568" y="135"/>
                    <a:pt x="571" y="146"/>
                  </a:cubicBezTo>
                  <a:cubicBezTo>
                    <a:pt x="577" y="167"/>
                    <a:pt x="578" y="189"/>
                    <a:pt x="571" y="211"/>
                  </a:cubicBezTo>
                  <a:cubicBezTo>
                    <a:pt x="565" y="231"/>
                    <a:pt x="549" y="249"/>
                    <a:pt x="521" y="247"/>
                  </a:cubicBezTo>
                  <a:cubicBezTo>
                    <a:pt x="496" y="247"/>
                    <a:pt x="478" y="230"/>
                    <a:pt x="471" y="205"/>
                  </a:cubicBezTo>
                  <a:close/>
                  <a:moveTo>
                    <a:pt x="472" y="1122"/>
                  </a:moveTo>
                  <a:cubicBezTo>
                    <a:pt x="475" y="1136"/>
                    <a:pt x="481" y="1148"/>
                    <a:pt x="491" y="1158"/>
                  </a:cubicBezTo>
                  <a:cubicBezTo>
                    <a:pt x="506" y="1176"/>
                    <a:pt x="524" y="1185"/>
                    <a:pt x="548" y="1187"/>
                  </a:cubicBezTo>
                  <a:cubicBezTo>
                    <a:pt x="568" y="1188"/>
                    <a:pt x="587" y="1187"/>
                    <a:pt x="605" y="1177"/>
                  </a:cubicBezTo>
                  <a:cubicBezTo>
                    <a:pt x="632" y="1162"/>
                    <a:pt x="644" y="1136"/>
                    <a:pt x="649" y="1107"/>
                  </a:cubicBezTo>
                  <a:cubicBezTo>
                    <a:pt x="652" y="1089"/>
                    <a:pt x="649" y="1072"/>
                    <a:pt x="644" y="1054"/>
                  </a:cubicBezTo>
                  <a:cubicBezTo>
                    <a:pt x="638" y="1034"/>
                    <a:pt x="627" y="1019"/>
                    <a:pt x="610" y="1007"/>
                  </a:cubicBezTo>
                  <a:cubicBezTo>
                    <a:pt x="589" y="992"/>
                    <a:pt x="566" y="991"/>
                    <a:pt x="541" y="994"/>
                  </a:cubicBezTo>
                  <a:cubicBezTo>
                    <a:pt x="526" y="995"/>
                    <a:pt x="512" y="1002"/>
                    <a:pt x="500" y="1012"/>
                  </a:cubicBezTo>
                  <a:cubicBezTo>
                    <a:pt x="476" y="1032"/>
                    <a:pt x="469" y="1060"/>
                    <a:pt x="466" y="1095"/>
                  </a:cubicBezTo>
                  <a:cubicBezTo>
                    <a:pt x="465" y="1101"/>
                    <a:pt x="470" y="1111"/>
                    <a:pt x="472" y="1122"/>
                  </a:cubicBezTo>
                  <a:close/>
                  <a:moveTo>
                    <a:pt x="508" y="1113"/>
                  </a:moveTo>
                  <a:cubicBezTo>
                    <a:pt x="505" y="1095"/>
                    <a:pt x="506" y="1078"/>
                    <a:pt x="508" y="1061"/>
                  </a:cubicBezTo>
                  <a:cubicBezTo>
                    <a:pt x="511" y="1042"/>
                    <a:pt x="538" y="1021"/>
                    <a:pt x="554" y="1022"/>
                  </a:cubicBezTo>
                  <a:cubicBezTo>
                    <a:pt x="570" y="1022"/>
                    <a:pt x="586" y="1024"/>
                    <a:pt x="596" y="1037"/>
                  </a:cubicBezTo>
                  <a:cubicBezTo>
                    <a:pt x="602" y="1044"/>
                    <a:pt x="607" y="1052"/>
                    <a:pt x="608" y="1061"/>
                  </a:cubicBezTo>
                  <a:cubicBezTo>
                    <a:pt x="608" y="1064"/>
                    <a:pt x="609" y="1067"/>
                    <a:pt x="610" y="1070"/>
                  </a:cubicBezTo>
                  <a:cubicBezTo>
                    <a:pt x="618" y="1089"/>
                    <a:pt x="612" y="1107"/>
                    <a:pt x="607" y="1125"/>
                  </a:cubicBezTo>
                  <a:cubicBezTo>
                    <a:pt x="601" y="1143"/>
                    <a:pt x="588" y="1160"/>
                    <a:pt x="558" y="1157"/>
                  </a:cubicBezTo>
                  <a:cubicBezTo>
                    <a:pt x="530" y="1157"/>
                    <a:pt x="512" y="1141"/>
                    <a:pt x="508" y="1113"/>
                  </a:cubicBezTo>
                  <a:close/>
                  <a:moveTo>
                    <a:pt x="430" y="716"/>
                  </a:moveTo>
                  <a:cubicBezTo>
                    <a:pt x="450" y="703"/>
                    <a:pt x="459" y="683"/>
                    <a:pt x="464" y="661"/>
                  </a:cubicBezTo>
                  <a:cubicBezTo>
                    <a:pt x="468" y="648"/>
                    <a:pt x="467" y="635"/>
                    <a:pt x="466" y="621"/>
                  </a:cubicBezTo>
                  <a:cubicBezTo>
                    <a:pt x="463" y="592"/>
                    <a:pt x="453" y="567"/>
                    <a:pt x="427" y="550"/>
                  </a:cubicBezTo>
                  <a:cubicBezTo>
                    <a:pt x="401" y="534"/>
                    <a:pt x="372" y="532"/>
                    <a:pt x="345" y="541"/>
                  </a:cubicBezTo>
                  <a:cubicBezTo>
                    <a:pt x="310" y="552"/>
                    <a:pt x="291" y="580"/>
                    <a:pt x="287" y="617"/>
                  </a:cubicBezTo>
                  <a:cubicBezTo>
                    <a:pt x="286" y="629"/>
                    <a:pt x="286" y="641"/>
                    <a:pt x="287" y="654"/>
                  </a:cubicBezTo>
                  <a:cubicBezTo>
                    <a:pt x="289" y="671"/>
                    <a:pt x="295" y="686"/>
                    <a:pt x="306" y="700"/>
                  </a:cubicBezTo>
                  <a:cubicBezTo>
                    <a:pt x="324" y="722"/>
                    <a:pt x="348" y="733"/>
                    <a:pt x="378" y="731"/>
                  </a:cubicBezTo>
                  <a:cubicBezTo>
                    <a:pt x="396" y="733"/>
                    <a:pt x="414" y="727"/>
                    <a:pt x="430" y="716"/>
                  </a:cubicBezTo>
                  <a:close/>
                  <a:moveTo>
                    <a:pt x="331" y="592"/>
                  </a:moveTo>
                  <a:cubicBezTo>
                    <a:pt x="339" y="580"/>
                    <a:pt x="349" y="569"/>
                    <a:pt x="365" y="567"/>
                  </a:cubicBezTo>
                  <a:cubicBezTo>
                    <a:pt x="387" y="564"/>
                    <a:pt x="406" y="568"/>
                    <a:pt x="419" y="588"/>
                  </a:cubicBezTo>
                  <a:cubicBezTo>
                    <a:pt x="423" y="595"/>
                    <a:pt x="426" y="603"/>
                    <a:pt x="427" y="610"/>
                  </a:cubicBezTo>
                  <a:cubicBezTo>
                    <a:pt x="433" y="635"/>
                    <a:pt x="431" y="661"/>
                    <a:pt x="416" y="684"/>
                  </a:cubicBezTo>
                  <a:cubicBezTo>
                    <a:pt x="403" y="706"/>
                    <a:pt x="362" y="708"/>
                    <a:pt x="345" y="692"/>
                  </a:cubicBezTo>
                  <a:cubicBezTo>
                    <a:pt x="329" y="678"/>
                    <a:pt x="323" y="661"/>
                    <a:pt x="323" y="631"/>
                  </a:cubicBezTo>
                  <a:cubicBezTo>
                    <a:pt x="323" y="619"/>
                    <a:pt x="323" y="605"/>
                    <a:pt x="331" y="592"/>
                  </a:cubicBezTo>
                  <a:close/>
                  <a:moveTo>
                    <a:pt x="1073" y="259"/>
                  </a:moveTo>
                  <a:cubicBezTo>
                    <a:pt x="1073" y="269"/>
                    <a:pt x="1075" y="272"/>
                    <a:pt x="1086" y="272"/>
                  </a:cubicBezTo>
                  <a:cubicBezTo>
                    <a:pt x="1088" y="272"/>
                    <a:pt x="1090" y="272"/>
                    <a:pt x="1092" y="272"/>
                  </a:cubicBezTo>
                  <a:cubicBezTo>
                    <a:pt x="1105" y="272"/>
                    <a:pt x="1106" y="271"/>
                    <a:pt x="1106" y="258"/>
                  </a:cubicBezTo>
                  <a:cubicBezTo>
                    <a:pt x="1106" y="221"/>
                    <a:pt x="1106" y="184"/>
                    <a:pt x="1106" y="147"/>
                  </a:cubicBezTo>
                  <a:cubicBezTo>
                    <a:pt x="1106" y="143"/>
                    <a:pt x="1106" y="140"/>
                    <a:pt x="1107" y="137"/>
                  </a:cubicBezTo>
                  <a:cubicBezTo>
                    <a:pt x="1117" y="117"/>
                    <a:pt x="1157" y="104"/>
                    <a:pt x="1177" y="114"/>
                  </a:cubicBezTo>
                  <a:cubicBezTo>
                    <a:pt x="1179" y="115"/>
                    <a:pt x="1180" y="117"/>
                    <a:pt x="1182" y="118"/>
                  </a:cubicBezTo>
                  <a:cubicBezTo>
                    <a:pt x="1194" y="131"/>
                    <a:pt x="1196" y="147"/>
                    <a:pt x="1196" y="163"/>
                  </a:cubicBezTo>
                  <a:cubicBezTo>
                    <a:pt x="1197" y="195"/>
                    <a:pt x="1196" y="226"/>
                    <a:pt x="1196" y="258"/>
                  </a:cubicBezTo>
                  <a:cubicBezTo>
                    <a:pt x="1196" y="271"/>
                    <a:pt x="1197" y="272"/>
                    <a:pt x="1210" y="272"/>
                  </a:cubicBezTo>
                  <a:cubicBezTo>
                    <a:pt x="1212" y="272"/>
                    <a:pt x="1213" y="272"/>
                    <a:pt x="1215" y="272"/>
                  </a:cubicBezTo>
                  <a:cubicBezTo>
                    <a:pt x="1227" y="272"/>
                    <a:pt x="1229" y="270"/>
                    <a:pt x="1229" y="258"/>
                  </a:cubicBezTo>
                  <a:cubicBezTo>
                    <a:pt x="1229" y="222"/>
                    <a:pt x="1229" y="187"/>
                    <a:pt x="1229" y="151"/>
                  </a:cubicBezTo>
                  <a:cubicBezTo>
                    <a:pt x="1229" y="142"/>
                    <a:pt x="1228" y="132"/>
                    <a:pt x="1225" y="123"/>
                  </a:cubicBezTo>
                  <a:cubicBezTo>
                    <a:pt x="1219" y="105"/>
                    <a:pt x="1208" y="91"/>
                    <a:pt x="1189" y="85"/>
                  </a:cubicBezTo>
                  <a:cubicBezTo>
                    <a:pt x="1173" y="80"/>
                    <a:pt x="1156" y="84"/>
                    <a:pt x="1139" y="84"/>
                  </a:cubicBezTo>
                  <a:cubicBezTo>
                    <a:pt x="1137" y="84"/>
                    <a:pt x="1136" y="86"/>
                    <a:pt x="1134" y="87"/>
                  </a:cubicBezTo>
                  <a:cubicBezTo>
                    <a:pt x="1128" y="91"/>
                    <a:pt x="1121" y="96"/>
                    <a:pt x="1115" y="100"/>
                  </a:cubicBezTo>
                  <a:cubicBezTo>
                    <a:pt x="1113" y="102"/>
                    <a:pt x="1111" y="105"/>
                    <a:pt x="1108" y="103"/>
                  </a:cubicBezTo>
                  <a:cubicBezTo>
                    <a:pt x="1105" y="102"/>
                    <a:pt x="1106" y="98"/>
                    <a:pt x="1106" y="96"/>
                  </a:cubicBezTo>
                  <a:cubicBezTo>
                    <a:pt x="1106" y="69"/>
                    <a:pt x="1106" y="43"/>
                    <a:pt x="1106" y="17"/>
                  </a:cubicBezTo>
                  <a:cubicBezTo>
                    <a:pt x="1106" y="0"/>
                    <a:pt x="1106" y="0"/>
                    <a:pt x="1089" y="0"/>
                  </a:cubicBezTo>
                  <a:cubicBezTo>
                    <a:pt x="1074" y="0"/>
                    <a:pt x="1073" y="1"/>
                    <a:pt x="1073" y="16"/>
                  </a:cubicBezTo>
                  <a:cubicBezTo>
                    <a:pt x="1073" y="56"/>
                    <a:pt x="1073" y="96"/>
                    <a:pt x="1073" y="136"/>
                  </a:cubicBezTo>
                  <a:cubicBezTo>
                    <a:pt x="1073" y="177"/>
                    <a:pt x="1073" y="218"/>
                    <a:pt x="1073" y="259"/>
                  </a:cubicBezTo>
                  <a:close/>
                  <a:moveTo>
                    <a:pt x="1150" y="1092"/>
                  </a:moveTo>
                  <a:cubicBezTo>
                    <a:pt x="1168" y="1092"/>
                    <a:pt x="1186" y="1092"/>
                    <a:pt x="1204" y="1092"/>
                  </a:cubicBezTo>
                  <a:cubicBezTo>
                    <a:pt x="1215" y="1092"/>
                    <a:pt x="1218" y="1087"/>
                    <a:pt x="1219" y="1077"/>
                  </a:cubicBezTo>
                  <a:cubicBezTo>
                    <a:pt x="1220" y="1062"/>
                    <a:pt x="1216" y="1049"/>
                    <a:pt x="1210" y="1036"/>
                  </a:cubicBezTo>
                  <a:cubicBezTo>
                    <a:pt x="1204" y="1020"/>
                    <a:pt x="1193" y="1008"/>
                    <a:pt x="1177" y="1001"/>
                  </a:cubicBezTo>
                  <a:cubicBezTo>
                    <a:pt x="1155" y="992"/>
                    <a:pt x="1133" y="991"/>
                    <a:pt x="1109" y="999"/>
                  </a:cubicBezTo>
                  <a:cubicBezTo>
                    <a:pt x="1079" y="1010"/>
                    <a:pt x="1062" y="1031"/>
                    <a:pt x="1056" y="1061"/>
                  </a:cubicBezTo>
                  <a:cubicBezTo>
                    <a:pt x="1051" y="1090"/>
                    <a:pt x="1052" y="1120"/>
                    <a:pt x="1069" y="1148"/>
                  </a:cubicBezTo>
                  <a:cubicBezTo>
                    <a:pt x="1081" y="1169"/>
                    <a:pt x="1100" y="1180"/>
                    <a:pt x="1122" y="1185"/>
                  </a:cubicBezTo>
                  <a:cubicBezTo>
                    <a:pt x="1149" y="1190"/>
                    <a:pt x="1176" y="1186"/>
                    <a:pt x="1200" y="1171"/>
                  </a:cubicBezTo>
                  <a:cubicBezTo>
                    <a:pt x="1206" y="1168"/>
                    <a:pt x="1213" y="1165"/>
                    <a:pt x="1214" y="1157"/>
                  </a:cubicBezTo>
                  <a:cubicBezTo>
                    <a:pt x="1215" y="1147"/>
                    <a:pt x="1202" y="1139"/>
                    <a:pt x="1193" y="1144"/>
                  </a:cubicBezTo>
                  <a:cubicBezTo>
                    <a:pt x="1187" y="1147"/>
                    <a:pt x="1180" y="1150"/>
                    <a:pt x="1174" y="1153"/>
                  </a:cubicBezTo>
                  <a:cubicBezTo>
                    <a:pt x="1158" y="1161"/>
                    <a:pt x="1140" y="1161"/>
                    <a:pt x="1124" y="1155"/>
                  </a:cubicBezTo>
                  <a:cubicBezTo>
                    <a:pt x="1112" y="1151"/>
                    <a:pt x="1102" y="1142"/>
                    <a:pt x="1096" y="1129"/>
                  </a:cubicBezTo>
                  <a:cubicBezTo>
                    <a:pt x="1092" y="1121"/>
                    <a:pt x="1091" y="1112"/>
                    <a:pt x="1089" y="1104"/>
                  </a:cubicBezTo>
                  <a:cubicBezTo>
                    <a:pt x="1087" y="1093"/>
                    <a:pt x="1087" y="1092"/>
                    <a:pt x="1099" y="1092"/>
                  </a:cubicBezTo>
                  <a:cubicBezTo>
                    <a:pt x="1116" y="1092"/>
                    <a:pt x="1133" y="1092"/>
                    <a:pt x="1150" y="1092"/>
                  </a:cubicBezTo>
                  <a:cubicBezTo>
                    <a:pt x="1150" y="1092"/>
                    <a:pt x="1150" y="1092"/>
                    <a:pt x="1150" y="1092"/>
                  </a:cubicBezTo>
                  <a:close/>
                  <a:moveTo>
                    <a:pt x="1099" y="1070"/>
                  </a:moveTo>
                  <a:cubicBezTo>
                    <a:pt x="1092" y="1071"/>
                    <a:pt x="1089" y="1067"/>
                    <a:pt x="1091" y="1060"/>
                  </a:cubicBezTo>
                  <a:cubicBezTo>
                    <a:pt x="1094" y="1045"/>
                    <a:pt x="1108" y="1023"/>
                    <a:pt x="1128" y="1022"/>
                  </a:cubicBezTo>
                  <a:cubicBezTo>
                    <a:pt x="1142" y="1021"/>
                    <a:pt x="1156" y="1018"/>
                    <a:pt x="1168" y="1029"/>
                  </a:cubicBezTo>
                  <a:cubicBezTo>
                    <a:pt x="1181" y="1038"/>
                    <a:pt x="1185" y="1051"/>
                    <a:pt x="1187" y="1066"/>
                  </a:cubicBezTo>
                  <a:cubicBezTo>
                    <a:pt x="1188" y="1071"/>
                    <a:pt x="1183" y="1070"/>
                    <a:pt x="1180" y="1070"/>
                  </a:cubicBezTo>
                  <a:cubicBezTo>
                    <a:pt x="1166" y="1070"/>
                    <a:pt x="1153" y="1070"/>
                    <a:pt x="1139" y="1070"/>
                  </a:cubicBezTo>
                  <a:cubicBezTo>
                    <a:pt x="1139" y="1070"/>
                    <a:pt x="1139" y="1070"/>
                    <a:pt x="1139" y="1070"/>
                  </a:cubicBezTo>
                  <a:cubicBezTo>
                    <a:pt x="1126" y="1070"/>
                    <a:pt x="1113" y="1070"/>
                    <a:pt x="1099" y="1070"/>
                  </a:cubicBezTo>
                  <a:close/>
                  <a:moveTo>
                    <a:pt x="1741" y="1092"/>
                  </a:moveTo>
                  <a:cubicBezTo>
                    <a:pt x="1759" y="1092"/>
                    <a:pt x="1776" y="1092"/>
                    <a:pt x="1793" y="1092"/>
                  </a:cubicBezTo>
                  <a:cubicBezTo>
                    <a:pt x="1806" y="1092"/>
                    <a:pt x="1808" y="1089"/>
                    <a:pt x="1808" y="1076"/>
                  </a:cubicBezTo>
                  <a:cubicBezTo>
                    <a:pt x="1809" y="1063"/>
                    <a:pt x="1807" y="1051"/>
                    <a:pt x="1802" y="1038"/>
                  </a:cubicBezTo>
                  <a:cubicBezTo>
                    <a:pt x="1794" y="1021"/>
                    <a:pt x="1782" y="1008"/>
                    <a:pt x="1764" y="1000"/>
                  </a:cubicBezTo>
                  <a:cubicBezTo>
                    <a:pt x="1742" y="991"/>
                    <a:pt x="1720" y="991"/>
                    <a:pt x="1698" y="1000"/>
                  </a:cubicBezTo>
                  <a:cubicBezTo>
                    <a:pt x="1681" y="1006"/>
                    <a:pt x="1668" y="1016"/>
                    <a:pt x="1659" y="1031"/>
                  </a:cubicBezTo>
                  <a:cubicBezTo>
                    <a:pt x="1646" y="1050"/>
                    <a:pt x="1643" y="1071"/>
                    <a:pt x="1644" y="1094"/>
                  </a:cubicBezTo>
                  <a:cubicBezTo>
                    <a:pt x="1644" y="1110"/>
                    <a:pt x="1647" y="1127"/>
                    <a:pt x="1655" y="1141"/>
                  </a:cubicBezTo>
                  <a:cubicBezTo>
                    <a:pt x="1669" y="1168"/>
                    <a:pt x="1691" y="1183"/>
                    <a:pt x="1722" y="1186"/>
                  </a:cubicBezTo>
                  <a:cubicBezTo>
                    <a:pt x="1750" y="1188"/>
                    <a:pt x="1775" y="1183"/>
                    <a:pt x="1798" y="1165"/>
                  </a:cubicBezTo>
                  <a:cubicBezTo>
                    <a:pt x="1803" y="1161"/>
                    <a:pt x="1806" y="1157"/>
                    <a:pt x="1802" y="1151"/>
                  </a:cubicBezTo>
                  <a:cubicBezTo>
                    <a:pt x="1798" y="1144"/>
                    <a:pt x="1791" y="1140"/>
                    <a:pt x="1783" y="1144"/>
                  </a:cubicBezTo>
                  <a:cubicBezTo>
                    <a:pt x="1778" y="1147"/>
                    <a:pt x="1771" y="1149"/>
                    <a:pt x="1766" y="1152"/>
                  </a:cubicBezTo>
                  <a:cubicBezTo>
                    <a:pt x="1749" y="1161"/>
                    <a:pt x="1730" y="1162"/>
                    <a:pt x="1714" y="1155"/>
                  </a:cubicBezTo>
                  <a:cubicBezTo>
                    <a:pt x="1692" y="1145"/>
                    <a:pt x="1680" y="1127"/>
                    <a:pt x="1679" y="1102"/>
                  </a:cubicBezTo>
                  <a:cubicBezTo>
                    <a:pt x="1678" y="1095"/>
                    <a:pt x="1681" y="1092"/>
                    <a:pt x="1689" y="1092"/>
                  </a:cubicBezTo>
                  <a:cubicBezTo>
                    <a:pt x="1706" y="1092"/>
                    <a:pt x="1724" y="1092"/>
                    <a:pt x="1741" y="1092"/>
                  </a:cubicBezTo>
                  <a:cubicBezTo>
                    <a:pt x="1741" y="1092"/>
                    <a:pt x="1741" y="1092"/>
                    <a:pt x="1741" y="1092"/>
                  </a:cubicBezTo>
                  <a:close/>
                  <a:moveTo>
                    <a:pt x="1690" y="1070"/>
                  </a:moveTo>
                  <a:cubicBezTo>
                    <a:pt x="1683" y="1071"/>
                    <a:pt x="1680" y="1068"/>
                    <a:pt x="1681" y="1062"/>
                  </a:cubicBezTo>
                  <a:cubicBezTo>
                    <a:pt x="1683" y="1048"/>
                    <a:pt x="1697" y="1024"/>
                    <a:pt x="1716" y="1022"/>
                  </a:cubicBezTo>
                  <a:cubicBezTo>
                    <a:pt x="1731" y="1020"/>
                    <a:pt x="1747" y="1018"/>
                    <a:pt x="1760" y="1030"/>
                  </a:cubicBezTo>
                  <a:cubicBezTo>
                    <a:pt x="1771" y="1038"/>
                    <a:pt x="1775" y="1050"/>
                    <a:pt x="1778" y="1062"/>
                  </a:cubicBezTo>
                  <a:cubicBezTo>
                    <a:pt x="1780" y="1068"/>
                    <a:pt x="1775" y="1070"/>
                    <a:pt x="1769" y="1070"/>
                  </a:cubicBezTo>
                  <a:cubicBezTo>
                    <a:pt x="1756" y="1070"/>
                    <a:pt x="1742" y="1070"/>
                    <a:pt x="1729" y="1070"/>
                  </a:cubicBezTo>
                  <a:cubicBezTo>
                    <a:pt x="1729" y="1070"/>
                    <a:pt x="1729" y="1070"/>
                    <a:pt x="1729" y="1070"/>
                  </a:cubicBezTo>
                  <a:cubicBezTo>
                    <a:pt x="1716" y="1070"/>
                    <a:pt x="1703" y="1070"/>
                    <a:pt x="1690" y="1070"/>
                  </a:cubicBezTo>
                  <a:close/>
                  <a:moveTo>
                    <a:pt x="68" y="581"/>
                  </a:moveTo>
                  <a:cubicBezTo>
                    <a:pt x="68" y="573"/>
                    <a:pt x="70" y="568"/>
                    <a:pt x="80" y="569"/>
                  </a:cubicBezTo>
                  <a:cubicBezTo>
                    <a:pt x="90" y="570"/>
                    <a:pt x="101" y="570"/>
                    <a:pt x="111" y="569"/>
                  </a:cubicBezTo>
                  <a:cubicBezTo>
                    <a:pt x="120" y="569"/>
                    <a:pt x="120" y="563"/>
                    <a:pt x="120" y="556"/>
                  </a:cubicBezTo>
                  <a:cubicBezTo>
                    <a:pt x="120" y="549"/>
                    <a:pt x="119" y="544"/>
                    <a:pt x="111" y="544"/>
                  </a:cubicBezTo>
                  <a:cubicBezTo>
                    <a:pt x="104" y="544"/>
                    <a:pt x="97" y="544"/>
                    <a:pt x="91" y="544"/>
                  </a:cubicBezTo>
                  <a:cubicBezTo>
                    <a:pt x="66" y="544"/>
                    <a:pt x="65" y="543"/>
                    <a:pt x="68" y="518"/>
                  </a:cubicBezTo>
                  <a:cubicBezTo>
                    <a:pt x="69" y="504"/>
                    <a:pt x="83" y="487"/>
                    <a:pt x="99" y="489"/>
                  </a:cubicBezTo>
                  <a:cubicBezTo>
                    <a:pt x="103" y="489"/>
                    <a:pt x="107" y="489"/>
                    <a:pt x="110" y="488"/>
                  </a:cubicBezTo>
                  <a:cubicBezTo>
                    <a:pt x="118" y="487"/>
                    <a:pt x="123" y="479"/>
                    <a:pt x="123" y="471"/>
                  </a:cubicBezTo>
                  <a:cubicBezTo>
                    <a:pt x="123" y="461"/>
                    <a:pt x="116" y="462"/>
                    <a:pt x="109" y="460"/>
                  </a:cubicBezTo>
                  <a:cubicBezTo>
                    <a:pt x="100" y="458"/>
                    <a:pt x="92" y="460"/>
                    <a:pt x="84" y="460"/>
                  </a:cubicBezTo>
                  <a:cubicBezTo>
                    <a:pt x="68" y="461"/>
                    <a:pt x="56" y="469"/>
                    <a:pt x="47" y="480"/>
                  </a:cubicBezTo>
                  <a:cubicBezTo>
                    <a:pt x="34" y="493"/>
                    <a:pt x="32" y="511"/>
                    <a:pt x="32" y="529"/>
                  </a:cubicBezTo>
                  <a:cubicBezTo>
                    <a:pt x="32" y="544"/>
                    <a:pt x="32" y="544"/>
                    <a:pt x="17" y="544"/>
                  </a:cubicBezTo>
                  <a:cubicBezTo>
                    <a:pt x="4" y="543"/>
                    <a:pt x="0" y="548"/>
                    <a:pt x="4" y="561"/>
                  </a:cubicBezTo>
                  <a:cubicBezTo>
                    <a:pt x="6" y="569"/>
                    <a:pt x="13" y="568"/>
                    <a:pt x="19" y="569"/>
                  </a:cubicBezTo>
                  <a:cubicBezTo>
                    <a:pt x="32" y="571"/>
                    <a:pt x="32" y="571"/>
                    <a:pt x="32" y="584"/>
                  </a:cubicBezTo>
                  <a:cubicBezTo>
                    <a:pt x="32" y="624"/>
                    <a:pt x="32" y="664"/>
                    <a:pt x="32" y="704"/>
                  </a:cubicBezTo>
                  <a:cubicBezTo>
                    <a:pt x="32" y="731"/>
                    <a:pt x="32" y="730"/>
                    <a:pt x="57" y="731"/>
                  </a:cubicBezTo>
                  <a:cubicBezTo>
                    <a:pt x="66" y="731"/>
                    <a:pt x="68" y="727"/>
                    <a:pt x="68" y="720"/>
                  </a:cubicBezTo>
                  <a:cubicBezTo>
                    <a:pt x="68" y="697"/>
                    <a:pt x="68" y="674"/>
                    <a:pt x="68" y="651"/>
                  </a:cubicBezTo>
                  <a:cubicBezTo>
                    <a:pt x="68" y="628"/>
                    <a:pt x="68" y="605"/>
                    <a:pt x="68" y="581"/>
                  </a:cubicBezTo>
                  <a:close/>
                  <a:moveTo>
                    <a:pt x="278" y="1165"/>
                  </a:moveTo>
                  <a:cubicBezTo>
                    <a:pt x="278" y="1183"/>
                    <a:pt x="278" y="1183"/>
                    <a:pt x="296" y="1184"/>
                  </a:cubicBezTo>
                  <a:cubicBezTo>
                    <a:pt x="310" y="1184"/>
                    <a:pt x="310" y="1184"/>
                    <a:pt x="310" y="1169"/>
                  </a:cubicBezTo>
                  <a:cubicBezTo>
                    <a:pt x="310" y="1132"/>
                    <a:pt x="310" y="1095"/>
                    <a:pt x="310" y="1058"/>
                  </a:cubicBezTo>
                  <a:cubicBezTo>
                    <a:pt x="310" y="1052"/>
                    <a:pt x="312" y="1047"/>
                    <a:pt x="316" y="1042"/>
                  </a:cubicBezTo>
                  <a:cubicBezTo>
                    <a:pt x="324" y="1033"/>
                    <a:pt x="334" y="1027"/>
                    <a:pt x="345" y="1024"/>
                  </a:cubicBezTo>
                  <a:cubicBezTo>
                    <a:pt x="357" y="1020"/>
                    <a:pt x="371" y="1018"/>
                    <a:pt x="383" y="1028"/>
                  </a:cubicBezTo>
                  <a:cubicBezTo>
                    <a:pt x="397" y="1039"/>
                    <a:pt x="401" y="1054"/>
                    <a:pt x="401" y="1071"/>
                  </a:cubicBezTo>
                  <a:cubicBezTo>
                    <a:pt x="401" y="1102"/>
                    <a:pt x="401" y="1132"/>
                    <a:pt x="401" y="1163"/>
                  </a:cubicBezTo>
                  <a:cubicBezTo>
                    <a:pt x="401" y="1183"/>
                    <a:pt x="401" y="1182"/>
                    <a:pt x="420" y="1184"/>
                  </a:cubicBezTo>
                  <a:cubicBezTo>
                    <a:pt x="429" y="1185"/>
                    <a:pt x="433" y="1181"/>
                    <a:pt x="433" y="1173"/>
                  </a:cubicBezTo>
                  <a:cubicBezTo>
                    <a:pt x="432" y="1130"/>
                    <a:pt x="435" y="1087"/>
                    <a:pt x="431" y="1044"/>
                  </a:cubicBezTo>
                  <a:cubicBezTo>
                    <a:pt x="427" y="1014"/>
                    <a:pt x="404" y="996"/>
                    <a:pt x="376" y="994"/>
                  </a:cubicBezTo>
                  <a:cubicBezTo>
                    <a:pt x="353" y="992"/>
                    <a:pt x="333" y="1000"/>
                    <a:pt x="317" y="1017"/>
                  </a:cubicBezTo>
                  <a:cubicBezTo>
                    <a:pt x="312" y="1021"/>
                    <a:pt x="311" y="1019"/>
                    <a:pt x="309" y="1015"/>
                  </a:cubicBezTo>
                  <a:cubicBezTo>
                    <a:pt x="309" y="1013"/>
                    <a:pt x="308" y="1011"/>
                    <a:pt x="308" y="1008"/>
                  </a:cubicBezTo>
                  <a:cubicBezTo>
                    <a:pt x="306" y="1001"/>
                    <a:pt x="298" y="997"/>
                    <a:pt x="287" y="998"/>
                  </a:cubicBezTo>
                  <a:cubicBezTo>
                    <a:pt x="279" y="999"/>
                    <a:pt x="278" y="1004"/>
                    <a:pt x="278" y="1011"/>
                  </a:cubicBezTo>
                  <a:cubicBezTo>
                    <a:pt x="278" y="1037"/>
                    <a:pt x="278" y="1064"/>
                    <a:pt x="278" y="1091"/>
                  </a:cubicBezTo>
                  <a:cubicBezTo>
                    <a:pt x="278" y="1115"/>
                    <a:pt x="278" y="1140"/>
                    <a:pt x="278" y="1165"/>
                  </a:cubicBezTo>
                  <a:close/>
                  <a:moveTo>
                    <a:pt x="150" y="705"/>
                  </a:moveTo>
                  <a:cubicBezTo>
                    <a:pt x="150" y="734"/>
                    <a:pt x="145" y="730"/>
                    <a:pt x="176" y="731"/>
                  </a:cubicBezTo>
                  <a:cubicBezTo>
                    <a:pt x="185" y="731"/>
                    <a:pt x="187" y="727"/>
                    <a:pt x="187" y="719"/>
                  </a:cubicBezTo>
                  <a:cubicBezTo>
                    <a:pt x="187" y="685"/>
                    <a:pt x="187" y="651"/>
                    <a:pt x="187" y="618"/>
                  </a:cubicBezTo>
                  <a:cubicBezTo>
                    <a:pt x="187" y="597"/>
                    <a:pt x="204" y="578"/>
                    <a:pt x="225" y="574"/>
                  </a:cubicBezTo>
                  <a:cubicBezTo>
                    <a:pt x="232" y="572"/>
                    <a:pt x="240" y="574"/>
                    <a:pt x="247" y="575"/>
                  </a:cubicBezTo>
                  <a:cubicBezTo>
                    <a:pt x="257" y="576"/>
                    <a:pt x="261" y="572"/>
                    <a:pt x="265" y="564"/>
                  </a:cubicBezTo>
                  <a:cubicBezTo>
                    <a:pt x="269" y="556"/>
                    <a:pt x="267" y="542"/>
                    <a:pt x="261" y="540"/>
                  </a:cubicBezTo>
                  <a:cubicBezTo>
                    <a:pt x="253" y="538"/>
                    <a:pt x="244" y="534"/>
                    <a:pt x="237" y="536"/>
                  </a:cubicBezTo>
                  <a:cubicBezTo>
                    <a:pt x="228" y="537"/>
                    <a:pt x="217" y="537"/>
                    <a:pt x="209" y="544"/>
                  </a:cubicBezTo>
                  <a:cubicBezTo>
                    <a:pt x="204" y="549"/>
                    <a:pt x="198" y="553"/>
                    <a:pt x="194" y="558"/>
                  </a:cubicBezTo>
                  <a:cubicBezTo>
                    <a:pt x="192" y="561"/>
                    <a:pt x="189" y="563"/>
                    <a:pt x="185" y="562"/>
                  </a:cubicBezTo>
                  <a:cubicBezTo>
                    <a:pt x="182" y="561"/>
                    <a:pt x="182" y="558"/>
                    <a:pt x="182" y="556"/>
                  </a:cubicBezTo>
                  <a:cubicBezTo>
                    <a:pt x="180" y="539"/>
                    <a:pt x="179" y="539"/>
                    <a:pt x="162" y="539"/>
                  </a:cubicBezTo>
                  <a:cubicBezTo>
                    <a:pt x="151" y="539"/>
                    <a:pt x="150" y="540"/>
                    <a:pt x="150" y="551"/>
                  </a:cubicBezTo>
                  <a:cubicBezTo>
                    <a:pt x="150" y="579"/>
                    <a:pt x="150" y="607"/>
                    <a:pt x="150" y="635"/>
                  </a:cubicBezTo>
                  <a:cubicBezTo>
                    <a:pt x="150" y="658"/>
                    <a:pt x="149" y="682"/>
                    <a:pt x="150" y="705"/>
                  </a:cubicBezTo>
                  <a:close/>
                  <a:moveTo>
                    <a:pt x="1011" y="1049"/>
                  </a:moveTo>
                  <a:cubicBezTo>
                    <a:pt x="1011" y="1008"/>
                    <a:pt x="1011" y="966"/>
                    <a:pt x="1011" y="924"/>
                  </a:cubicBezTo>
                  <a:cubicBezTo>
                    <a:pt x="1011" y="913"/>
                    <a:pt x="1008" y="910"/>
                    <a:pt x="997" y="910"/>
                  </a:cubicBezTo>
                  <a:cubicBezTo>
                    <a:pt x="995" y="910"/>
                    <a:pt x="992" y="910"/>
                    <a:pt x="990" y="910"/>
                  </a:cubicBezTo>
                  <a:cubicBezTo>
                    <a:pt x="976" y="910"/>
                    <a:pt x="975" y="911"/>
                    <a:pt x="975" y="926"/>
                  </a:cubicBezTo>
                  <a:cubicBezTo>
                    <a:pt x="975" y="1006"/>
                    <a:pt x="975" y="1085"/>
                    <a:pt x="975" y="1165"/>
                  </a:cubicBezTo>
                  <a:cubicBezTo>
                    <a:pt x="975" y="1185"/>
                    <a:pt x="975" y="1185"/>
                    <a:pt x="994" y="1185"/>
                  </a:cubicBezTo>
                  <a:cubicBezTo>
                    <a:pt x="1009" y="1185"/>
                    <a:pt x="1011" y="1184"/>
                    <a:pt x="1011" y="1169"/>
                  </a:cubicBezTo>
                  <a:cubicBezTo>
                    <a:pt x="1011" y="1129"/>
                    <a:pt x="1011" y="1089"/>
                    <a:pt x="1011" y="1049"/>
                  </a:cubicBezTo>
                  <a:cubicBezTo>
                    <a:pt x="1011" y="1049"/>
                    <a:pt x="1011" y="1049"/>
                    <a:pt x="1011" y="1049"/>
                  </a:cubicBezTo>
                  <a:close/>
                  <a:moveTo>
                    <a:pt x="296" y="176"/>
                  </a:moveTo>
                  <a:cubicBezTo>
                    <a:pt x="296" y="201"/>
                    <a:pt x="296" y="226"/>
                    <a:pt x="296" y="251"/>
                  </a:cubicBezTo>
                  <a:cubicBezTo>
                    <a:pt x="295" y="276"/>
                    <a:pt x="296" y="274"/>
                    <a:pt x="318" y="274"/>
                  </a:cubicBezTo>
                  <a:cubicBezTo>
                    <a:pt x="330" y="274"/>
                    <a:pt x="331" y="274"/>
                    <a:pt x="331" y="260"/>
                  </a:cubicBezTo>
                  <a:cubicBezTo>
                    <a:pt x="331" y="232"/>
                    <a:pt x="331" y="204"/>
                    <a:pt x="331" y="176"/>
                  </a:cubicBezTo>
                  <a:cubicBezTo>
                    <a:pt x="331" y="165"/>
                    <a:pt x="331" y="155"/>
                    <a:pt x="337" y="145"/>
                  </a:cubicBezTo>
                  <a:cubicBezTo>
                    <a:pt x="349" y="123"/>
                    <a:pt x="359" y="117"/>
                    <a:pt x="377" y="118"/>
                  </a:cubicBezTo>
                  <a:cubicBezTo>
                    <a:pt x="383" y="118"/>
                    <a:pt x="389" y="119"/>
                    <a:pt x="395" y="120"/>
                  </a:cubicBezTo>
                  <a:cubicBezTo>
                    <a:pt x="401" y="120"/>
                    <a:pt x="407" y="118"/>
                    <a:pt x="408" y="112"/>
                  </a:cubicBezTo>
                  <a:cubicBezTo>
                    <a:pt x="409" y="103"/>
                    <a:pt x="415" y="93"/>
                    <a:pt x="407" y="85"/>
                  </a:cubicBezTo>
                  <a:cubicBezTo>
                    <a:pt x="406" y="84"/>
                    <a:pt x="404" y="84"/>
                    <a:pt x="402" y="84"/>
                  </a:cubicBezTo>
                  <a:cubicBezTo>
                    <a:pt x="376" y="78"/>
                    <a:pt x="353" y="82"/>
                    <a:pt x="337" y="106"/>
                  </a:cubicBezTo>
                  <a:cubicBezTo>
                    <a:pt x="336" y="108"/>
                    <a:pt x="335" y="110"/>
                    <a:pt x="333" y="109"/>
                  </a:cubicBezTo>
                  <a:cubicBezTo>
                    <a:pt x="331" y="109"/>
                    <a:pt x="330" y="107"/>
                    <a:pt x="330" y="105"/>
                  </a:cubicBezTo>
                  <a:cubicBezTo>
                    <a:pt x="329" y="101"/>
                    <a:pt x="329" y="97"/>
                    <a:pt x="328" y="94"/>
                  </a:cubicBezTo>
                  <a:cubicBezTo>
                    <a:pt x="325" y="85"/>
                    <a:pt x="318" y="82"/>
                    <a:pt x="303" y="84"/>
                  </a:cubicBezTo>
                  <a:cubicBezTo>
                    <a:pt x="297" y="84"/>
                    <a:pt x="295" y="86"/>
                    <a:pt x="295" y="92"/>
                  </a:cubicBezTo>
                  <a:cubicBezTo>
                    <a:pt x="296" y="120"/>
                    <a:pt x="295" y="148"/>
                    <a:pt x="295" y="176"/>
                  </a:cubicBezTo>
                  <a:cubicBezTo>
                    <a:pt x="296" y="176"/>
                    <a:pt x="296" y="176"/>
                    <a:pt x="296" y="176"/>
                  </a:cubicBezTo>
                  <a:close/>
                  <a:moveTo>
                    <a:pt x="946" y="179"/>
                  </a:moveTo>
                  <a:cubicBezTo>
                    <a:pt x="946" y="197"/>
                    <a:pt x="946" y="215"/>
                    <a:pt x="946" y="234"/>
                  </a:cubicBezTo>
                  <a:cubicBezTo>
                    <a:pt x="946" y="248"/>
                    <a:pt x="951" y="260"/>
                    <a:pt x="963" y="268"/>
                  </a:cubicBezTo>
                  <a:cubicBezTo>
                    <a:pt x="982" y="280"/>
                    <a:pt x="1011" y="277"/>
                    <a:pt x="1029" y="264"/>
                  </a:cubicBezTo>
                  <a:cubicBezTo>
                    <a:pt x="1036" y="259"/>
                    <a:pt x="1036" y="254"/>
                    <a:pt x="1032" y="248"/>
                  </a:cubicBezTo>
                  <a:cubicBezTo>
                    <a:pt x="1026" y="239"/>
                    <a:pt x="1020" y="238"/>
                    <a:pt x="1013" y="242"/>
                  </a:cubicBezTo>
                  <a:cubicBezTo>
                    <a:pt x="996" y="252"/>
                    <a:pt x="978" y="243"/>
                    <a:pt x="978" y="223"/>
                  </a:cubicBezTo>
                  <a:cubicBezTo>
                    <a:pt x="978" y="190"/>
                    <a:pt x="978" y="157"/>
                    <a:pt x="978" y="123"/>
                  </a:cubicBezTo>
                  <a:cubicBezTo>
                    <a:pt x="978" y="116"/>
                    <a:pt x="981" y="113"/>
                    <a:pt x="988" y="113"/>
                  </a:cubicBezTo>
                  <a:cubicBezTo>
                    <a:pt x="999" y="114"/>
                    <a:pt x="1011" y="113"/>
                    <a:pt x="1022" y="113"/>
                  </a:cubicBezTo>
                  <a:cubicBezTo>
                    <a:pt x="1028" y="113"/>
                    <a:pt x="1033" y="112"/>
                    <a:pt x="1033" y="104"/>
                  </a:cubicBezTo>
                  <a:cubicBezTo>
                    <a:pt x="1033" y="96"/>
                    <a:pt x="1032" y="90"/>
                    <a:pt x="1022" y="90"/>
                  </a:cubicBezTo>
                  <a:cubicBezTo>
                    <a:pt x="1011" y="90"/>
                    <a:pt x="1001" y="90"/>
                    <a:pt x="990" y="90"/>
                  </a:cubicBezTo>
                  <a:cubicBezTo>
                    <a:pt x="981" y="91"/>
                    <a:pt x="977" y="88"/>
                    <a:pt x="978" y="78"/>
                  </a:cubicBezTo>
                  <a:cubicBezTo>
                    <a:pt x="978" y="64"/>
                    <a:pt x="978" y="49"/>
                    <a:pt x="978" y="35"/>
                  </a:cubicBezTo>
                  <a:cubicBezTo>
                    <a:pt x="978" y="30"/>
                    <a:pt x="978" y="25"/>
                    <a:pt x="971" y="24"/>
                  </a:cubicBezTo>
                  <a:cubicBezTo>
                    <a:pt x="964" y="24"/>
                    <a:pt x="956" y="24"/>
                    <a:pt x="955" y="32"/>
                  </a:cubicBezTo>
                  <a:cubicBezTo>
                    <a:pt x="952" y="43"/>
                    <a:pt x="949" y="54"/>
                    <a:pt x="949" y="65"/>
                  </a:cubicBezTo>
                  <a:cubicBezTo>
                    <a:pt x="948" y="88"/>
                    <a:pt x="947" y="88"/>
                    <a:pt x="924" y="91"/>
                  </a:cubicBezTo>
                  <a:cubicBezTo>
                    <a:pt x="919" y="92"/>
                    <a:pt x="914" y="92"/>
                    <a:pt x="914" y="99"/>
                  </a:cubicBezTo>
                  <a:cubicBezTo>
                    <a:pt x="915" y="107"/>
                    <a:pt x="917" y="113"/>
                    <a:pt x="926" y="113"/>
                  </a:cubicBezTo>
                  <a:cubicBezTo>
                    <a:pt x="929" y="114"/>
                    <a:pt x="932" y="113"/>
                    <a:pt x="935" y="113"/>
                  </a:cubicBezTo>
                  <a:cubicBezTo>
                    <a:pt x="943" y="113"/>
                    <a:pt x="946" y="116"/>
                    <a:pt x="946" y="124"/>
                  </a:cubicBezTo>
                  <a:cubicBezTo>
                    <a:pt x="946" y="142"/>
                    <a:pt x="946" y="161"/>
                    <a:pt x="946" y="179"/>
                  </a:cubicBezTo>
                  <a:cubicBezTo>
                    <a:pt x="946" y="179"/>
                    <a:pt x="946" y="179"/>
                    <a:pt x="946" y="179"/>
                  </a:cubicBezTo>
                  <a:close/>
                </a:path>
              </a:pathLst>
            </a:custGeom>
            <a:solidFill>
              <a:srgbClr val="4C505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grpSp>
          <p:nvGrpSpPr>
            <p:cNvPr id="18" name="Group 4">
              <a:extLst>
                <a:ext uri="{FF2B5EF4-FFF2-40B4-BE49-F238E27FC236}">
                  <a16:creationId xmlns:a16="http://schemas.microsoft.com/office/drawing/2014/main" id="{57BD2C4C-DC67-B843-B26C-309622FC75F7}"/>
                </a:ext>
              </a:extLst>
            </p:cNvPr>
            <p:cNvGrpSpPr>
              <a:grpSpLocks noChangeAspect="1"/>
            </p:cNvGrpSpPr>
            <p:nvPr/>
          </p:nvGrpSpPr>
          <p:grpSpPr bwMode="gray">
            <a:xfrm>
              <a:off x="334963" y="296652"/>
              <a:ext cx="538094" cy="540000"/>
              <a:chOff x="2711" y="1027"/>
              <a:chExt cx="2258" cy="2266"/>
            </a:xfrm>
          </p:grpSpPr>
          <p:sp>
            <p:nvSpPr>
              <p:cNvPr id="19" name="AutoShape 3">
                <a:extLst>
                  <a:ext uri="{FF2B5EF4-FFF2-40B4-BE49-F238E27FC236}">
                    <a16:creationId xmlns:a16="http://schemas.microsoft.com/office/drawing/2014/main" id="{FE1DC41B-291E-574C-9F2C-874E70A40758}"/>
                  </a:ext>
                </a:extLst>
              </p:cNvPr>
              <p:cNvSpPr>
                <a:spLocks noChangeAspect="1" noChangeArrowheads="1" noTextEdit="1"/>
              </p:cNvSpPr>
              <p:nvPr/>
            </p:nvSpPr>
            <p:spPr bwMode="gray">
              <a:xfrm>
                <a:off x="2711" y="1027"/>
                <a:ext cx="2258" cy="22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20" name="Freeform 5">
                <a:extLst>
                  <a:ext uri="{FF2B5EF4-FFF2-40B4-BE49-F238E27FC236}">
                    <a16:creationId xmlns:a16="http://schemas.microsoft.com/office/drawing/2014/main" id="{D4B633C8-F761-C54B-9BD2-EB59D49A2DBC}"/>
                  </a:ext>
                </a:extLst>
              </p:cNvPr>
              <p:cNvSpPr>
                <a:spLocks/>
              </p:cNvSpPr>
              <p:nvPr/>
            </p:nvSpPr>
            <p:spPr bwMode="gray">
              <a:xfrm>
                <a:off x="2709" y="1029"/>
                <a:ext cx="2260" cy="2262"/>
              </a:xfrm>
              <a:custGeom>
                <a:avLst/>
                <a:gdLst>
                  <a:gd name="T0" fmla="*/ 2260 w 2260"/>
                  <a:gd name="T1" fmla="*/ 0 h 2262"/>
                  <a:gd name="T2" fmla="*/ 1612 w 2260"/>
                  <a:gd name="T3" fmla="*/ 649 h 2262"/>
                  <a:gd name="T4" fmla="*/ 1612 w 2260"/>
                  <a:gd name="T5" fmla="*/ 649 h 2262"/>
                  <a:gd name="T6" fmla="*/ 2035 w 2260"/>
                  <a:gd name="T7" fmla="*/ 0 h 2262"/>
                  <a:gd name="T8" fmla="*/ 0 w 2260"/>
                  <a:gd name="T9" fmla="*/ 0 h 2262"/>
                  <a:gd name="T10" fmla="*/ 0 w 2260"/>
                  <a:gd name="T11" fmla="*/ 2262 h 2262"/>
                  <a:gd name="T12" fmla="*/ 2260 w 2260"/>
                  <a:gd name="T13" fmla="*/ 2262 h 2262"/>
                  <a:gd name="T14" fmla="*/ 2260 w 2260"/>
                  <a:gd name="T15" fmla="*/ 0 h 2262"/>
                  <a:gd name="T16" fmla="*/ 2260 w 2260"/>
                  <a:gd name="T17" fmla="*/ 0 h 2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0" h="2262">
                    <a:moveTo>
                      <a:pt x="2260" y="0"/>
                    </a:moveTo>
                    <a:lnTo>
                      <a:pt x="1612" y="649"/>
                    </a:lnTo>
                    <a:lnTo>
                      <a:pt x="1612" y="649"/>
                    </a:lnTo>
                    <a:lnTo>
                      <a:pt x="2035" y="0"/>
                    </a:lnTo>
                    <a:lnTo>
                      <a:pt x="0" y="0"/>
                    </a:lnTo>
                    <a:lnTo>
                      <a:pt x="0" y="2262"/>
                    </a:lnTo>
                    <a:lnTo>
                      <a:pt x="2260" y="2262"/>
                    </a:lnTo>
                    <a:lnTo>
                      <a:pt x="2260" y="0"/>
                    </a:lnTo>
                    <a:lnTo>
                      <a:pt x="2260" y="0"/>
                    </a:lnTo>
                    <a:close/>
                  </a:path>
                </a:pathLst>
              </a:custGeom>
              <a:solidFill>
                <a:srgbClr val="E55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21" name="Freeform 6">
                <a:extLst>
                  <a:ext uri="{FF2B5EF4-FFF2-40B4-BE49-F238E27FC236}">
                    <a16:creationId xmlns:a16="http://schemas.microsoft.com/office/drawing/2014/main" id="{B16BAAE4-1A41-C843-9754-490F7A1E1270}"/>
                  </a:ext>
                </a:extLst>
              </p:cNvPr>
              <p:cNvSpPr>
                <a:spLocks noEditPoints="1"/>
              </p:cNvSpPr>
              <p:nvPr/>
            </p:nvSpPr>
            <p:spPr bwMode="gray">
              <a:xfrm>
                <a:off x="3623" y="1696"/>
                <a:ext cx="1167" cy="922"/>
              </a:xfrm>
              <a:custGeom>
                <a:avLst/>
                <a:gdLst>
                  <a:gd name="T0" fmla="*/ 411 w 580"/>
                  <a:gd name="T1" fmla="*/ 213 h 458"/>
                  <a:gd name="T2" fmla="*/ 570 w 580"/>
                  <a:gd name="T3" fmla="*/ 37 h 458"/>
                  <a:gd name="T4" fmla="*/ 580 w 580"/>
                  <a:gd name="T5" fmla="*/ 20 h 458"/>
                  <a:gd name="T6" fmla="*/ 545 w 580"/>
                  <a:gd name="T7" fmla="*/ 0 h 458"/>
                  <a:gd name="T8" fmla="*/ 519 w 580"/>
                  <a:gd name="T9" fmla="*/ 16 h 458"/>
                  <a:gd name="T10" fmla="*/ 344 w 580"/>
                  <a:gd name="T11" fmla="*/ 210 h 458"/>
                  <a:gd name="T12" fmla="*/ 334 w 580"/>
                  <a:gd name="T13" fmla="*/ 229 h 458"/>
                  <a:gd name="T14" fmla="*/ 344 w 580"/>
                  <a:gd name="T15" fmla="*/ 248 h 458"/>
                  <a:gd name="T16" fmla="*/ 519 w 580"/>
                  <a:gd name="T17" fmla="*/ 442 h 458"/>
                  <a:gd name="T18" fmla="*/ 545 w 580"/>
                  <a:gd name="T19" fmla="*/ 458 h 458"/>
                  <a:gd name="T20" fmla="*/ 580 w 580"/>
                  <a:gd name="T21" fmla="*/ 438 h 458"/>
                  <a:gd name="T22" fmla="*/ 570 w 580"/>
                  <a:gd name="T23" fmla="*/ 421 h 458"/>
                  <a:gd name="T24" fmla="*/ 411 w 580"/>
                  <a:gd name="T25" fmla="*/ 245 h 458"/>
                  <a:gd name="T26" fmla="*/ 399 w 580"/>
                  <a:gd name="T27" fmla="*/ 229 h 458"/>
                  <a:gd name="T28" fmla="*/ 411 w 580"/>
                  <a:gd name="T29" fmla="*/ 213 h 458"/>
                  <a:gd name="T30" fmla="*/ 252 w 580"/>
                  <a:gd name="T31" fmla="*/ 439 h 458"/>
                  <a:gd name="T32" fmla="*/ 281 w 580"/>
                  <a:gd name="T33" fmla="*/ 454 h 458"/>
                  <a:gd name="T34" fmla="*/ 309 w 580"/>
                  <a:gd name="T35" fmla="*/ 439 h 458"/>
                  <a:gd name="T36" fmla="*/ 309 w 580"/>
                  <a:gd name="T37" fmla="*/ 19 h 458"/>
                  <a:gd name="T38" fmla="*/ 281 w 580"/>
                  <a:gd name="T39" fmla="*/ 4 h 458"/>
                  <a:gd name="T40" fmla="*/ 252 w 580"/>
                  <a:gd name="T41" fmla="*/ 19 h 458"/>
                  <a:gd name="T42" fmla="*/ 252 w 580"/>
                  <a:gd name="T43" fmla="*/ 439 h 458"/>
                  <a:gd name="T44" fmla="*/ 0 w 580"/>
                  <a:gd name="T45" fmla="*/ 439 h 458"/>
                  <a:gd name="T46" fmla="*/ 28 w 580"/>
                  <a:gd name="T47" fmla="*/ 454 h 458"/>
                  <a:gd name="T48" fmla="*/ 56 w 580"/>
                  <a:gd name="T49" fmla="*/ 439 h 458"/>
                  <a:gd name="T50" fmla="*/ 56 w 580"/>
                  <a:gd name="T51" fmla="*/ 157 h 458"/>
                  <a:gd name="T52" fmla="*/ 165 w 580"/>
                  <a:gd name="T53" fmla="*/ 53 h 458"/>
                  <a:gd name="T54" fmla="*/ 180 w 580"/>
                  <a:gd name="T55" fmla="*/ 53 h 458"/>
                  <a:gd name="T56" fmla="*/ 196 w 580"/>
                  <a:gd name="T57" fmla="*/ 27 h 458"/>
                  <a:gd name="T58" fmla="*/ 154 w 580"/>
                  <a:gd name="T59" fmla="*/ 4 h 458"/>
                  <a:gd name="T60" fmla="*/ 0 w 580"/>
                  <a:gd name="T61" fmla="*/ 152 h 458"/>
                  <a:gd name="T62" fmla="*/ 0 w 580"/>
                  <a:gd name="T63" fmla="*/ 439 h 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80" h="458">
                    <a:moveTo>
                      <a:pt x="411" y="213"/>
                    </a:moveTo>
                    <a:cubicBezTo>
                      <a:pt x="570" y="37"/>
                      <a:pt x="570" y="37"/>
                      <a:pt x="570" y="37"/>
                    </a:cubicBezTo>
                    <a:cubicBezTo>
                      <a:pt x="576" y="30"/>
                      <a:pt x="580" y="25"/>
                      <a:pt x="580" y="20"/>
                    </a:cubicBezTo>
                    <a:cubicBezTo>
                      <a:pt x="580" y="10"/>
                      <a:pt x="559" y="0"/>
                      <a:pt x="545" y="0"/>
                    </a:cubicBezTo>
                    <a:cubicBezTo>
                      <a:pt x="535" y="0"/>
                      <a:pt x="526" y="8"/>
                      <a:pt x="519" y="16"/>
                    </a:cubicBezTo>
                    <a:cubicBezTo>
                      <a:pt x="344" y="210"/>
                      <a:pt x="344" y="210"/>
                      <a:pt x="344" y="210"/>
                    </a:cubicBezTo>
                    <a:cubicBezTo>
                      <a:pt x="336" y="219"/>
                      <a:pt x="334" y="224"/>
                      <a:pt x="334" y="229"/>
                    </a:cubicBezTo>
                    <a:cubicBezTo>
                      <a:pt x="334" y="234"/>
                      <a:pt x="336" y="239"/>
                      <a:pt x="344" y="248"/>
                    </a:cubicBezTo>
                    <a:cubicBezTo>
                      <a:pt x="519" y="442"/>
                      <a:pt x="519" y="442"/>
                      <a:pt x="519" y="442"/>
                    </a:cubicBezTo>
                    <a:cubicBezTo>
                      <a:pt x="526" y="450"/>
                      <a:pt x="535" y="458"/>
                      <a:pt x="545" y="458"/>
                    </a:cubicBezTo>
                    <a:cubicBezTo>
                      <a:pt x="559" y="458"/>
                      <a:pt x="580" y="448"/>
                      <a:pt x="580" y="438"/>
                    </a:cubicBezTo>
                    <a:cubicBezTo>
                      <a:pt x="580" y="433"/>
                      <a:pt x="576" y="428"/>
                      <a:pt x="570" y="421"/>
                    </a:cubicBezTo>
                    <a:cubicBezTo>
                      <a:pt x="411" y="245"/>
                      <a:pt x="411" y="245"/>
                      <a:pt x="411" y="245"/>
                    </a:cubicBezTo>
                    <a:cubicBezTo>
                      <a:pt x="403" y="236"/>
                      <a:pt x="399" y="232"/>
                      <a:pt x="399" y="229"/>
                    </a:cubicBezTo>
                    <a:cubicBezTo>
                      <a:pt x="399" y="226"/>
                      <a:pt x="403" y="222"/>
                      <a:pt x="411" y="213"/>
                    </a:cubicBezTo>
                    <a:moveTo>
                      <a:pt x="252" y="439"/>
                    </a:moveTo>
                    <a:cubicBezTo>
                      <a:pt x="252" y="449"/>
                      <a:pt x="261" y="454"/>
                      <a:pt x="281" y="454"/>
                    </a:cubicBezTo>
                    <a:cubicBezTo>
                      <a:pt x="300" y="454"/>
                      <a:pt x="309" y="449"/>
                      <a:pt x="309" y="439"/>
                    </a:cubicBezTo>
                    <a:cubicBezTo>
                      <a:pt x="309" y="19"/>
                      <a:pt x="309" y="19"/>
                      <a:pt x="309" y="19"/>
                    </a:cubicBezTo>
                    <a:cubicBezTo>
                      <a:pt x="309" y="9"/>
                      <a:pt x="300" y="4"/>
                      <a:pt x="281" y="4"/>
                    </a:cubicBezTo>
                    <a:cubicBezTo>
                      <a:pt x="261" y="4"/>
                      <a:pt x="252" y="9"/>
                      <a:pt x="252" y="19"/>
                    </a:cubicBezTo>
                    <a:lnTo>
                      <a:pt x="252" y="439"/>
                    </a:lnTo>
                    <a:close/>
                    <a:moveTo>
                      <a:pt x="0" y="439"/>
                    </a:moveTo>
                    <a:cubicBezTo>
                      <a:pt x="0" y="449"/>
                      <a:pt x="8" y="454"/>
                      <a:pt x="28" y="454"/>
                    </a:cubicBezTo>
                    <a:cubicBezTo>
                      <a:pt x="48" y="454"/>
                      <a:pt x="56" y="449"/>
                      <a:pt x="56" y="439"/>
                    </a:cubicBezTo>
                    <a:cubicBezTo>
                      <a:pt x="56" y="157"/>
                      <a:pt x="56" y="157"/>
                      <a:pt x="56" y="157"/>
                    </a:cubicBezTo>
                    <a:cubicBezTo>
                      <a:pt x="56" y="83"/>
                      <a:pt x="85" y="53"/>
                      <a:pt x="165" y="53"/>
                    </a:cubicBezTo>
                    <a:cubicBezTo>
                      <a:pt x="180" y="53"/>
                      <a:pt x="180" y="53"/>
                      <a:pt x="180" y="53"/>
                    </a:cubicBezTo>
                    <a:cubicBezTo>
                      <a:pt x="192" y="53"/>
                      <a:pt x="196" y="43"/>
                      <a:pt x="196" y="27"/>
                    </a:cubicBezTo>
                    <a:cubicBezTo>
                      <a:pt x="196" y="8"/>
                      <a:pt x="185" y="4"/>
                      <a:pt x="154" y="4"/>
                    </a:cubicBezTo>
                    <a:cubicBezTo>
                      <a:pt x="64" y="4"/>
                      <a:pt x="0" y="43"/>
                      <a:pt x="0" y="152"/>
                    </a:cubicBezTo>
                    <a:lnTo>
                      <a:pt x="0" y="43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22" name="Freeform 7">
                <a:extLst>
                  <a:ext uri="{FF2B5EF4-FFF2-40B4-BE49-F238E27FC236}">
                    <a16:creationId xmlns:a16="http://schemas.microsoft.com/office/drawing/2014/main" id="{2F32DCBD-8628-F245-85CD-97686A20ECFD}"/>
                  </a:ext>
                </a:extLst>
              </p:cNvPr>
              <p:cNvSpPr>
                <a:spLocks/>
              </p:cNvSpPr>
              <p:nvPr/>
            </p:nvSpPr>
            <p:spPr bwMode="gray">
              <a:xfrm>
                <a:off x="2880" y="1704"/>
                <a:ext cx="618" cy="916"/>
              </a:xfrm>
              <a:custGeom>
                <a:avLst/>
                <a:gdLst>
                  <a:gd name="T0" fmla="*/ 307 w 307"/>
                  <a:gd name="T1" fmla="*/ 405 h 455"/>
                  <a:gd name="T2" fmla="*/ 307 w 307"/>
                  <a:gd name="T3" fmla="*/ 244 h 455"/>
                  <a:gd name="T4" fmla="*/ 279 w 307"/>
                  <a:gd name="T5" fmla="*/ 229 h 455"/>
                  <a:gd name="T6" fmla="*/ 250 w 307"/>
                  <a:gd name="T7" fmla="*/ 244 h 455"/>
                  <a:gd name="T8" fmla="*/ 250 w 307"/>
                  <a:gd name="T9" fmla="*/ 378 h 455"/>
                  <a:gd name="T10" fmla="*/ 199 w 307"/>
                  <a:gd name="T11" fmla="*/ 408 h 455"/>
                  <a:gd name="T12" fmla="*/ 61 w 307"/>
                  <a:gd name="T13" fmla="*/ 231 h 455"/>
                  <a:gd name="T14" fmla="*/ 238 w 307"/>
                  <a:gd name="T15" fmla="*/ 49 h 455"/>
                  <a:gd name="T16" fmla="*/ 270 w 307"/>
                  <a:gd name="T17" fmla="*/ 49 h 455"/>
                  <a:gd name="T18" fmla="*/ 286 w 307"/>
                  <a:gd name="T19" fmla="*/ 23 h 455"/>
                  <a:gd name="T20" fmla="*/ 244 w 307"/>
                  <a:gd name="T21" fmla="*/ 0 h 455"/>
                  <a:gd name="T22" fmla="*/ 231 w 307"/>
                  <a:gd name="T23" fmla="*/ 0 h 455"/>
                  <a:gd name="T24" fmla="*/ 0 w 307"/>
                  <a:gd name="T25" fmla="*/ 232 h 455"/>
                  <a:gd name="T26" fmla="*/ 198 w 307"/>
                  <a:gd name="T27" fmla="*/ 455 h 455"/>
                  <a:gd name="T28" fmla="*/ 307 w 307"/>
                  <a:gd name="T29" fmla="*/ 405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7" h="455">
                    <a:moveTo>
                      <a:pt x="307" y="405"/>
                    </a:moveTo>
                    <a:cubicBezTo>
                      <a:pt x="307" y="244"/>
                      <a:pt x="307" y="244"/>
                      <a:pt x="307" y="244"/>
                    </a:cubicBezTo>
                    <a:cubicBezTo>
                      <a:pt x="307" y="234"/>
                      <a:pt x="298" y="229"/>
                      <a:pt x="279" y="229"/>
                    </a:cubicBezTo>
                    <a:cubicBezTo>
                      <a:pt x="259" y="229"/>
                      <a:pt x="250" y="234"/>
                      <a:pt x="250" y="244"/>
                    </a:cubicBezTo>
                    <a:cubicBezTo>
                      <a:pt x="250" y="378"/>
                      <a:pt x="250" y="378"/>
                      <a:pt x="250" y="378"/>
                    </a:cubicBezTo>
                    <a:cubicBezTo>
                      <a:pt x="250" y="399"/>
                      <a:pt x="241" y="408"/>
                      <a:pt x="199" y="408"/>
                    </a:cubicBezTo>
                    <a:cubicBezTo>
                      <a:pt x="114" y="408"/>
                      <a:pt x="61" y="342"/>
                      <a:pt x="61" y="231"/>
                    </a:cubicBezTo>
                    <a:cubicBezTo>
                      <a:pt x="61" y="115"/>
                      <a:pt x="126" y="49"/>
                      <a:pt x="238" y="49"/>
                    </a:cubicBezTo>
                    <a:cubicBezTo>
                      <a:pt x="270" y="49"/>
                      <a:pt x="270" y="49"/>
                      <a:pt x="270" y="49"/>
                    </a:cubicBezTo>
                    <a:cubicBezTo>
                      <a:pt x="282" y="49"/>
                      <a:pt x="286" y="39"/>
                      <a:pt x="286" y="23"/>
                    </a:cubicBezTo>
                    <a:cubicBezTo>
                      <a:pt x="286" y="4"/>
                      <a:pt x="275" y="0"/>
                      <a:pt x="244" y="0"/>
                    </a:cubicBezTo>
                    <a:cubicBezTo>
                      <a:pt x="231" y="0"/>
                      <a:pt x="231" y="0"/>
                      <a:pt x="231" y="0"/>
                    </a:cubicBezTo>
                    <a:cubicBezTo>
                      <a:pt x="101" y="0"/>
                      <a:pt x="0" y="71"/>
                      <a:pt x="0" y="232"/>
                    </a:cubicBezTo>
                    <a:cubicBezTo>
                      <a:pt x="0" y="386"/>
                      <a:pt x="88" y="455"/>
                      <a:pt x="198" y="455"/>
                    </a:cubicBezTo>
                    <a:cubicBezTo>
                      <a:pt x="286" y="455"/>
                      <a:pt x="307" y="430"/>
                      <a:pt x="307" y="40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23" name="Oval 8">
                <a:extLst>
                  <a:ext uri="{FF2B5EF4-FFF2-40B4-BE49-F238E27FC236}">
                    <a16:creationId xmlns:a16="http://schemas.microsoft.com/office/drawing/2014/main" id="{60D97C11-1A3B-5449-A48D-98A3E79B3810}"/>
                  </a:ext>
                </a:extLst>
              </p:cNvPr>
              <p:cNvSpPr>
                <a:spLocks noChangeArrowheads="1"/>
              </p:cNvSpPr>
              <p:nvPr/>
            </p:nvSpPr>
            <p:spPr bwMode="gray">
              <a:xfrm>
                <a:off x="3778" y="2099"/>
                <a:ext cx="122" cy="12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24" name="Freeform 9">
                <a:extLst>
                  <a:ext uri="{FF2B5EF4-FFF2-40B4-BE49-F238E27FC236}">
                    <a16:creationId xmlns:a16="http://schemas.microsoft.com/office/drawing/2014/main" id="{5856770D-B8F0-244E-A05D-AED190086F10}"/>
                  </a:ext>
                </a:extLst>
              </p:cNvPr>
              <p:cNvSpPr>
                <a:spLocks noEditPoints="1"/>
              </p:cNvSpPr>
              <p:nvPr/>
            </p:nvSpPr>
            <p:spPr bwMode="gray">
              <a:xfrm>
                <a:off x="3623" y="1696"/>
                <a:ext cx="1167" cy="922"/>
              </a:xfrm>
              <a:custGeom>
                <a:avLst/>
                <a:gdLst>
                  <a:gd name="T0" fmla="*/ 411 w 580"/>
                  <a:gd name="T1" fmla="*/ 213 h 458"/>
                  <a:gd name="T2" fmla="*/ 570 w 580"/>
                  <a:gd name="T3" fmla="*/ 37 h 458"/>
                  <a:gd name="T4" fmla="*/ 580 w 580"/>
                  <a:gd name="T5" fmla="*/ 20 h 458"/>
                  <a:gd name="T6" fmla="*/ 545 w 580"/>
                  <a:gd name="T7" fmla="*/ 0 h 458"/>
                  <a:gd name="T8" fmla="*/ 519 w 580"/>
                  <a:gd name="T9" fmla="*/ 16 h 458"/>
                  <a:gd name="T10" fmla="*/ 344 w 580"/>
                  <a:gd name="T11" fmla="*/ 210 h 458"/>
                  <a:gd name="T12" fmla="*/ 334 w 580"/>
                  <a:gd name="T13" fmla="*/ 229 h 458"/>
                  <a:gd name="T14" fmla="*/ 344 w 580"/>
                  <a:gd name="T15" fmla="*/ 248 h 458"/>
                  <a:gd name="T16" fmla="*/ 519 w 580"/>
                  <a:gd name="T17" fmla="*/ 442 h 458"/>
                  <a:gd name="T18" fmla="*/ 545 w 580"/>
                  <a:gd name="T19" fmla="*/ 458 h 458"/>
                  <a:gd name="T20" fmla="*/ 580 w 580"/>
                  <a:gd name="T21" fmla="*/ 438 h 458"/>
                  <a:gd name="T22" fmla="*/ 570 w 580"/>
                  <a:gd name="T23" fmla="*/ 421 h 458"/>
                  <a:gd name="T24" fmla="*/ 411 w 580"/>
                  <a:gd name="T25" fmla="*/ 245 h 458"/>
                  <a:gd name="T26" fmla="*/ 399 w 580"/>
                  <a:gd name="T27" fmla="*/ 229 h 458"/>
                  <a:gd name="T28" fmla="*/ 411 w 580"/>
                  <a:gd name="T29" fmla="*/ 213 h 458"/>
                  <a:gd name="T30" fmla="*/ 252 w 580"/>
                  <a:gd name="T31" fmla="*/ 439 h 458"/>
                  <a:gd name="T32" fmla="*/ 281 w 580"/>
                  <a:gd name="T33" fmla="*/ 454 h 458"/>
                  <a:gd name="T34" fmla="*/ 309 w 580"/>
                  <a:gd name="T35" fmla="*/ 439 h 458"/>
                  <a:gd name="T36" fmla="*/ 309 w 580"/>
                  <a:gd name="T37" fmla="*/ 19 h 458"/>
                  <a:gd name="T38" fmla="*/ 281 w 580"/>
                  <a:gd name="T39" fmla="*/ 4 h 458"/>
                  <a:gd name="T40" fmla="*/ 252 w 580"/>
                  <a:gd name="T41" fmla="*/ 19 h 458"/>
                  <a:gd name="T42" fmla="*/ 252 w 580"/>
                  <a:gd name="T43" fmla="*/ 439 h 458"/>
                  <a:gd name="T44" fmla="*/ 0 w 580"/>
                  <a:gd name="T45" fmla="*/ 439 h 458"/>
                  <a:gd name="T46" fmla="*/ 28 w 580"/>
                  <a:gd name="T47" fmla="*/ 454 h 458"/>
                  <a:gd name="T48" fmla="*/ 56 w 580"/>
                  <a:gd name="T49" fmla="*/ 439 h 458"/>
                  <a:gd name="T50" fmla="*/ 56 w 580"/>
                  <a:gd name="T51" fmla="*/ 157 h 458"/>
                  <a:gd name="T52" fmla="*/ 165 w 580"/>
                  <a:gd name="T53" fmla="*/ 53 h 458"/>
                  <a:gd name="T54" fmla="*/ 180 w 580"/>
                  <a:gd name="T55" fmla="*/ 53 h 458"/>
                  <a:gd name="T56" fmla="*/ 196 w 580"/>
                  <a:gd name="T57" fmla="*/ 27 h 458"/>
                  <a:gd name="T58" fmla="*/ 154 w 580"/>
                  <a:gd name="T59" fmla="*/ 4 h 458"/>
                  <a:gd name="T60" fmla="*/ 0 w 580"/>
                  <a:gd name="T61" fmla="*/ 152 h 458"/>
                  <a:gd name="T62" fmla="*/ 0 w 580"/>
                  <a:gd name="T63" fmla="*/ 439 h 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80" h="458">
                    <a:moveTo>
                      <a:pt x="411" y="213"/>
                    </a:moveTo>
                    <a:cubicBezTo>
                      <a:pt x="570" y="37"/>
                      <a:pt x="570" y="37"/>
                      <a:pt x="570" y="37"/>
                    </a:cubicBezTo>
                    <a:cubicBezTo>
                      <a:pt x="576" y="30"/>
                      <a:pt x="580" y="25"/>
                      <a:pt x="580" y="20"/>
                    </a:cubicBezTo>
                    <a:cubicBezTo>
                      <a:pt x="580" y="10"/>
                      <a:pt x="559" y="0"/>
                      <a:pt x="545" y="0"/>
                    </a:cubicBezTo>
                    <a:cubicBezTo>
                      <a:pt x="535" y="0"/>
                      <a:pt x="526" y="8"/>
                      <a:pt x="519" y="16"/>
                    </a:cubicBezTo>
                    <a:cubicBezTo>
                      <a:pt x="344" y="210"/>
                      <a:pt x="344" y="210"/>
                      <a:pt x="344" y="210"/>
                    </a:cubicBezTo>
                    <a:cubicBezTo>
                      <a:pt x="336" y="219"/>
                      <a:pt x="334" y="224"/>
                      <a:pt x="334" y="229"/>
                    </a:cubicBezTo>
                    <a:cubicBezTo>
                      <a:pt x="334" y="234"/>
                      <a:pt x="336" y="239"/>
                      <a:pt x="344" y="248"/>
                    </a:cubicBezTo>
                    <a:cubicBezTo>
                      <a:pt x="519" y="442"/>
                      <a:pt x="519" y="442"/>
                      <a:pt x="519" y="442"/>
                    </a:cubicBezTo>
                    <a:cubicBezTo>
                      <a:pt x="526" y="450"/>
                      <a:pt x="535" y="458"/>
                      <a:pt x="545" y="458"/>
                    </a:cubicBezTo>
                    <a:cubicBezTo>
                      <a:pt x="559" y="458"/>
                      <a:pt x="580" y="448"/>
                      <a:pt x="580" y="438"/>
                    </a:cubicBezTo>
                    <a:cubicBezTo>
                      <a:pt x="580" y="433"/>
                      <a:pt x="576" y="428"/>
                      <a:pt x="570" y="421"/>
                    </a:cubicBezTo>
                    <a:cubicBezTo>
                      <a:pt x="411" y="245"/>
                      <a:pt x="411" y="245"/>
                      <a:pt x="411" y="245"/>
                    </a:cubicBezTo>
                    <a:cubicBezTo>
                      <a:pt x="403" y="236"/>
                      <a:pt x="399" y="232"/>
                      <a:pt x="399" y="229"/>
                    </a:cubicBezTo>
                    <a:cubicBezTo>
                      <a:pt x="399" y="226"/>
                      <a:pt x="403" y="222"/>
                      <a:pt x="411" y="213"/>
                    </a:cubicBezTo>
                    <a:moveTo>
                      <a:pt x="252" y="439"/>
                    </a:moveTo>
                    <a:cubicBezTo>
                      <a:pt x="252" y="449"/>
                      <a:pt x="261" y="454"/>
                      <a:pt x="281" y="454"/>
                    </a:cubicBezTo>
                    <a:cubicBezTo>
                      <a:pt x="300" y="454"/>
                      <a:pt x="309" y="449"/>
                      <a:pt x="309" y="439"/>
                    </a:cubicBezTo>
                    <a:cubicBezTo>
                      <a:pt x="309" y="19"/>
                      <a:pt x="309" y="19"/>
                      <a:pt x="309" y="19"/>
                    </a:cubicBezTo>
                    <a:cubicBezTo>
                      <a:pt x="309" y="9"/>
                      <a:pt x="300" y="4"/>
                      <a:pt x="281" y="4"/>
                    </a:cubicBezTo>
                    <a:cubicBezTo>
                      <a:pt x="261" y="4"/>
                      <a:pt x="252" y="9"/>
                      <a:pt x="252" y="19"/>
                    </a:cubicBezTo>
                    <a:lnTo>
                      <a:pt x="252" y="439"/>
                    </a:lnTo>
                    <a:close/>
                    <a:moveTo>
                      <a:pt x="0" y="439"/>
                    </a:moveTo>
                    <a:cubicBezTo>
                      <a:pt x="0" y="449"/>
                      <a:pt x="8" y="454"/>
                      <a:pt x="28" y="454"/>
                    </a:cubicBezTo>
                    <a:cubicBezTo>
                      <a:pt x="48" y="454"/>
                      <a:pt x="56" y="449"/>
                      <a:pt x="56" y="439"/>
                    </a:cubicBezTo>
                    <a:cubicBezTo>
                      <a:pt x="56" y="157"/>
                      <a:pt x="56" y="157"/>
                      <a:pt x="56" y="157"/>
                    </a:cubicBezTo>
                    <a:cubicBezTo>
                      <a:pt x="56" y="83"/>
                      <a:pt x="85" y="53"/>
                      <a:pt x="165" y="53"/>
                    </a:cubicBezTo>
                    <a:cubicBezTo>
                      <a:pt x="180" y="53"/>
                      <a:pt x="180" y="53"/>
                      <a:pt x="180" y="53"/>
                    </a:cubicBezTo>
                    <a:cubicBezTo>
                      <a:pt x="192" y="53"/>
                      <a:pt x="196" y="43"/>
                      <a:pt x="196" y="27"/>
                    </a:cubicBezTo>
                    <a:cubicBezTo>
                      <a:pt x="196" y="8"/>
                      <a:pt x="185" y="4"/>
                      <a:pt x="154" y="4"/>
                    </a:cubicBezTo>
                    <a:cubicBezTo>
                      <a:pt x="64" y="4"/>
                      <a:pt x="0" y="43"/>
                      <a:pt x="0" y="152"/>
                    </a:cubicBezTo>
                    <a:lnTo>
                      <a:pt x="0" y="43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25" name="Freeform 10">
                <a:extLst>
                  <a:ext uri="{FF2B5EF4-FFF2-40B4-BE49-F238E27FC236}">
                    <a16:creationId xmlns:a16="http://schemas.microsoft.com/office/drawing/2014/main" id="{2B91B16B-BC11-E547-8FAC-B9B8D18EA449}"/>
                  </a:ext>
                </a:extLst>
              </p:cNvPr>
              <p:cNvSpPr>
                <a:spLocks/>
              </p:cNvSpPr>
              <p:nvPr/>
            </p:nvSpPr>
            <p:spPr bwMode="gray">
              <a:xfrm>
                <a:off x="2880" y="1704"/>
                <a:ext cx="618" cy="916"/>
              </a:xfrm>
              <a:custGeom>
                <a:avLst/>
                <a:gdLst>
                  <a:gd name="T0" fmla="*/ 307 w 307"/>
                  <a:gd name="T1" fmla="*/ 405 h 455"/>
                  <a:gd name="T2" fmla="*/ 307 w 307"/>
                  <a:gd name="T3" fmla="*/ 244 h 455"/>
                  <a:gd name="T4" fmla="*/ 279 w 307"/>
                  <a:gd name="T5" fmla="*/ 229 h 455"/>
                  <a:gd name="T6" fmla="*/ 250 w 307"/>
                  <a:gd name="T7" fmla="*/ 244 h 455"/>
                  <a:gd name="T8" fmla="*/ 250 w 307"/>
                  <a:gd name="T9" fmla="*/ 378 h 455"/>
                  <a:gd name="T10" fmla="*/ 199 w 307"/>
                  <a:gd name="T11" fmla="*/ 408 h 455"/>
                  <a:gd name="T12" fmla="*/ 61 w 307"/>
                  <a:gd name="T13" fmla="*/ 231 h 455"/>
                  <a:gd name="T14" fmla="*/ 238 w 307"/>
                  <a:gd name="T15" fmla="*/ 49 h 455"/>
                  <a:gd name="T16" fmla="*/ 270 w 307"/>
                  <a:gd name="T17" fmla="*/ 49 h 455"/>
                  <a:gd name="T18" fmla="*/ 286 w 307"/>
                  <a:gd name="T19" fmla="*/ 23 h 455"/>
                  <a:gd name="T20" fmla="*/ 244 w 307"/>
                  <a:gd name="T21" fmla="*/ 0 h 455"/>
                  <a:gd name="T22" fmla="*/ 231 w 307"/>
                  <a:gd name="T23" fmla="*/ 0 h 455"/>
                  <a:gd name="T24" fmla="*/ 0 w 307"/>
                  <a:gd name="T25" fmla="*/ 232 h 455"/>
                  <a:gd name="T26" fmla="*/ 198 w 307"/>
                  <a:gd name="T27" fmla="*/ 455 h 455"/>
                  <a:gd name="T28" fmla="*/ 307 w 307"/>
                  <a:gd name="T29" fmla="*/ 405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7" h="455">
                    <a:moveTo>
                      <a:pt x="307" y="405"/>
                    </a:moveTo>
                    <a:cubicBezTo>
                      <a:pt x="307" y="244"/>
                      <a:pt x="307" y="244"/>
                      <a:pt x="307" y="244"/>
                    </a:cubicBezTo>
                    <a:cubicBezTo>
                      <a:pt x="307" y="234"/>
                      <a:pt x="298" y="229"/>
                      <a:pt x="279" y="229"/>
                    </a:cubicBezTo>
                    <a:cubicBezTo>
                      <a:pt x="259" y="229"/>
                      <a:pt x="250" y="234"/>
                      <a:pt x="250" y="244"/>
                    </a:cubicBezTo>
                    <a:cubicBezTo>
                      <a:pt x="250" y="378"/>
                      <a:pt x="250" y="378"/>
                      <a:pt x="250" y="378"/>
                    </a:cubicBezTo>
                    <a:cubicBezTo>
                      <a:pt x="250" y="399"/>
                      <a:pt x="241" y="408"/>
                      <a:pt x="199" y="408"/>
                    </a:cubicBezTo>
                    <a:cubicBezTo>
                      <a:pt x="114" y="408"/>
                      <a:pt x="61" y="342"/>
                      <a:pt x="61" y="231"/>
                    </a:cubicBezTo>
                    <a:cubicBezTo>
                      <a:pt x="61" y="115"/>
                      <a:pt x="126" y="49"/>
                      <a:pt x="238" y="49"/>
                    </a:cubicBezTo>
                    <a:cubicBezTo>
                      <a:pt x="270" y="49"/>
                      <a:pt x="270" y="49"/>
                      <a:pt x="270" y="49"/>
                    </a:cubicBezTo>
                    <a:cubicBezTo>
                      <a:pt x="282" y="49"/>
                      <a:pt x="286" y="39"/>
                      <a:pt x="286" y="23"/>
                    </a:cubicBezTo>
                    <a:cubicBezTo>
                      <a:pt x="286" y="4"/>
                      <a:pt x="275" y="0"/>
                      <a:pt x="244" y="0"/>
                    </a:cubicBezTo>
                    <a:cubicBezTo>
                      <a:pt x="231" y="0"/>
                      <a:pt x="231" y="0"/>
                      <a:pt x="231" y="0"/>
                    </a:cubicBezTo>
                    <a:cubicBezTo>
                      <a:pt x="101" y="0"/>
                      <a:pt x="0" y="71"/>
                      <a:pt x="0" y="232"/>
                    </a:cubicBezTo>
                    <a:cubicBezTo>
                      <a:pt x="0" y="386"/>
                      <a:pt x="88" y="455"/>
                      <a:pt x="198" y="455"/>
                    </a:cubicBezTo>
                    <a:cubicBezTo>
                      <a:pt x="286" y="455"/>
                      <a:pt x="307" y="430"/>
                      <a:pt x="307" y="40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26" name="Oval 11">
                <a:extLst>
                  <a:ext uri="{FF2B5EF4-FFF2-40B4-BE49-F238E27FC236}">
                    <a16:creationId xmlns:a16="http://schemas.microsoft.com/office/drawing/2014/main" id="{14F8C3C8-4888-7646-B9B4-64EB46A1DA23}"/>
                  </a:ext>
                </a:extLst>
              </p:cNvPr>
              <p:cNvSpPr>
                <a:spLocks noChangeArrowheads="1"/>
              </p:cNvSpPr>
              <p:nvPr/>
            </p:nvSpPr>
            <p:spPr bwMode="gray">
              <a:xfrm>
                <a:off x="3778" y="2099"/>
                <a:ext cx="122" cy="12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27" name="Freeform 12">
                <a:extLst>
                  <a:ext uri="{FF2B5EF4-FFF2-40B4-BE49-F238E27FC236}">
                    <a16:creationId xmlns:a16="http://schemas.microsoft.com/office/drawing/2014/main" id="{D79D01D1-4E3E-F34B-97D7-2D387E68746E}"/>
                  </a:ext>
                </a:extLst>
              </p:cNvPr>
              <p:cNvSpPr>
                <a:spLocks/>
              </p:cNvSpPr>
              <p:nvPr/>
            </p:nvSpPr>
            <p:spPr bwMode="gray">
              <a:xfrm>
                <a:off x="4321" y="1029"/>
                <a:ext cx="648" cy="649"/>
              </a:xfrm>
              <a:custGeom>
                <a:avLst/>
                <a:gdLst>
                  <a:gd name="T0" fmla="*/ 0 w 648"/>
                  <a:gd name="T1" fmla="*/ 649 h 649"/>
                  <a:gd name="T2" fmla="*/ 2 w 648"/>
                  <a:gd name="T3" fmla="*/ 649 h 649"/>
                  <a:gd name="T4" fmla="*/ 648 w 648"/>
                  <a:gd name="T5" fmla="*/ 0 h 649"/>
                  <a:gd name="T6" fmla="*/ 423 w 648"/>
                  <a:gd name="T7" fmla="*/ 0 h 649"/>
                  <a:gd name="T8" fmla="*/ 0 w 648"/>
                  <a:gd name="T9" fmla="*/ 649 h 649"/>
                </a:gdLst>
                <a:ahLst/>
                <a:cxnLst>
                  <a:cxn ang="0">
                    <a:pos x="T0" y="T1"/>
                  </a:cxn>
                  <a:cxn ang="0">
                    <a:pos x="T2" y="T3"/>
                  </a:cxn>
                  <a:cxn ang="0">
                    <a:pos x="T4" y="T5"/>
                  </a:cxn>
                  <a:cxn ang="0">
                    <a:pos x="T6" y="T7"/>
                  </a:cxn>
                  <a:cxn ang="0">
                    <a:pos x="T8" y="T9"/>
                  </a:cxn>
                </a:cxnLst>
                <a:rect l="0" t="0" r="r" b="b"/>
                <a:pathLst>
                  <a:path w="648" h="649">
                    <a:moveTo>
                      <a:pt x="0" y="649"/>
                    </a:moveTo>
                    <a:lnTo>
                      <a:pt x="2" y="649"/>
                    </a:lnTo>
                    <a:lnTo>
                      <a:pt x="648" y="0"/>
                    </a:lnTo>
                    <a:lnTo>
                      <a:pt x="423" y="0"/>
                    </a:lnTo>
                    <a:lnTo>
                      <a:pt x="0" y="64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28" name="Freeform 13">
                <a:extLst>
                  <a:ext uri="{FF2B5EF4-FFF2-40B4-BE49-F238E27FC236}">
                    <a16:creationId xmlns:a16="http://schemas.microsoft.com/office/drawing/2014/main" id="{46549898-6C52-B147-A8F6-A73FDBE6163B}"/>
                  </a:ext>
                </a:extLst>
              </p:cNvPr>
              <p:cNvSpPr>
                <a:spLocks/>
              </p:cNvSpPr>
              <p:nvPr/>
            </p:nvSpPr>
            <p:spPr bwMode="gray">
              <a:xfrm>
                <a:off x="4321" y="1029"/>
                <a:ext cx="648" cy="649"/>
              </a:xfrm>
              <a:custGeom>
                <a:avLst/>
                <a:gdLst>
                  <a:gd name="T0" fmla="*/ 0 w 648"/>
                  <a:gd name="T1" fmla="*/ 649 h 649"/>
                  <a:gd name="T2" fmla="*/ 2 w 648"/>
                  <a:gd name="T3" fmla="*/ 649 h 649"/>
                  <a:gd name="T4" fmla="*/ 648 w 648"/>
                  <a:gd name="T5" fmla="*/ 0 h 649"/>
                  <a:gd name="T6" fmla="*/ 423 w 648"/>
                  <a:gd name="T7" fmla="*/ 0 h 649"/>
                  <a:gd name="T8" fmla="*/ 0 w 648"/>
                  <a:gd name="T9" fmla="*/ 649 h 649"/>
                </a:gdLst>
                <a:ahLst/>
                <a:cxnLst>
                  <a:cxn ang="0">
                    <a:pos x="T0" y="T1"/>
                  </a:cxn>
                  <a:cxn ang="0">
                    <a:pos x="T2" y="T3"/>
                  </a:cxn>
                  <a:cxn ang="0">
                    <a:pos x="T4" y="T5"/>
                  </a:cxn>
                  <a:cxn ang="0">
                    <a:pos x="T6" y="T7"/>
                  </a:cxn>
                  <a:cxn ang="0">
                    <a:pos x="T8" y="T9"/>
                  </a:cxn>
                </a:cxnLst>
                <a:rect l="0" t="0" r="r" b="b"/>
                <a:pathLst>
                  <a:path w="648" h="649">
                    <a:moveTo>
                      <a:pt x="0" y="649"/>
                    </a:moveTo>
                    <a:lnTo>
                      <a:pt x="2" y="649"/>
                    </a:lnTo>
                    <a:lnTo>
                      <a:pt x="648" y="0"/>
                    </a:lnTo>
                    <a:lnTo>
                      <a:pt x="423" y="0"/>
                    </a:lnTo>
                    <a:lnTo>
                      <a:pt x="0" y="64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grpSp>
      </p:grpSp>
      <p:sp>
        <p:nvSpPr>
          <p:cNvPr id="7" name="Date Placeholder 6"/>
          <p:cNvSpPr>
            <a:spLocks noGrp="1"/>
          </p:cNvSpPr>
          <p:nvPr>
            <p:ph type="dt" sz="half" idx="10"/>
          </p:nvPr>
        </p:nvSpPr>
        <p:spPr>
          <a:xfrm>
            <a:off x="0" y="0"/>
            <a:ext cx="0" cy="0"/>
          </a:xfrm>
          <a:prstGeom prst="rect">
            <a:avLst/>
          </a:prstGeom>
        </p:spPr>
        <p:txBody>
          <a:bodyPr/>
          <a:lstStyle>
            <a:lvl1pPr>
              <a:defRPr sz="100">
                <a:noFill/>
              </a:defRPr>
            </a:lvl1pPr>
          </a:lstStyle>
          <a:p>
            <a:endParaRPr lang="en-US"/>
          </a:p>
        </p:txBody>
      </p:sp>
      <p:sp>
        <p:nvSpPr>
          <p:cNvPr id="8" name="Footer Placeholder 7"/>
          <p:cNvSpPr>
            <a:spLocks noGrp="1"/>
          </p:cNvSpPr>
          <p:nvPr>
            <p:ph type="ftr" sz="quarter" idx="11"/>
          </p:nvPr>
        </p:nvSpPr>
        <p:spPr>
          <a:xfrm>
            <a:off x="0" y="0"/>
            <a:ext cx="0" cy="0"/>
          </a:xfrm>
          <a:prstGeom prst="rect">
            <a:avLst/>
          </a:prstGeom>
        </p:spPr>
        <p:txBody>
          <a:bodyPr/>
          <a:lstStyle>
            <a:lvl1pPr marL="0" indent="0">
              <a:buNone/>
              <a:defRPr sz="100">
                <a:noFill/>
              </a:defRPr>
            </a:lvl1pPr>
          </a:lstStyle>
          <a:p>
            <a:endParaRPr lang="en-US"/>
          </a:p>
        </p:txBody>
      </p:sp>
      <p:sp>
        <p:nvSpPr>
          <p:cNvPr id="9" name="Slide Number Placeholder 8"/>
          <p:cNvSpPr>
            <a:spLocks noGrp="1"/>
          </p:cNvSpPr>
          <p:nvPr>
            <p:ph type="sldNum" sz="quarter" idx="12"/>
          </p:nvPr>
        </p:nvSpPr>
        <p:spPr>
          <a:xfrm>
            <a:off x="0" y="0"/>
            <a:ext cx="0" cy="0"/>
          </a:xfrm>
          <a:prstGeom prst="rect">
            <a:avLst/>
          </a:prstGeom>
        </p:spPr>
        <p:txBody>
          <a:bodyPr/>
          <a:lstStyle>
            <a:lvl1pPr>
              <a:defRPr sz="100">
                <a:noFill/>
              </a:defRPr>
            </a:lvl1pPr>
          </a:lstStyle>
          <a:p>
            <a:fld id="{8E3B25F7-8D1F-44B5-B485-EE3C438CFD7B}" type="slidenum">
              <a:rPr lang="en-US" smtClean="0"/>
              <a:pPr/>
              <a:t>‹#›</a:t>
            </a:fld>
            <a:endParaRPr lang="en-US"/>
          </a:p>
        </p:txBody>
      </p:sp>
      <p:sp>
        <p:nvSpPr>
          <p:cNvPr id="2" name="Title 1"/>
          <p:cNvSpPr>
            <a:spLocks noGrp="1"/>
          </p:cNvSpPr>
          <p:nvPr>
            <p:ph type="ctrTitle" hasCustomPrompt="1"/>
          </p:nvPr>
        </p:nvSpPr>
        <p:spPr>
          <a:xfrm>
            <a:off x="417600" y="1628775"/>
            <a:ext cx="3816000" cy="2236264"/>
          </a:xfrm>
        </p:spPr>
        <p:txBody>
          <a:bodyPr anchor="b"/>
          <a:lstStyle>
            <a:lvl1pPr algn="l">
              <a:defRPr sz="3600"/>
            </a:lvl1pPr>
          </a:lstStyle>
          <a:p>
            <a:r>
              <a:rPr lang="en-US"/>
              <a:t>Click to add presentation title</a:t>
            </a:r>
          </a:p>
        </p:txBody>
      </p:sp>
      <p:sp>
        <p:nvSpPr>
          <p:cNvPr id="3" name="Subtitle 2"/>
          <p:cNvSpPr>
            <a:spLocks noGrp="1"/>
          </p:cNvSpPr>
          <p:nvPr>
            <p:ph type="subTitle" idx="1" hasCustomPrompt="1"/>
          </p:nvPr>
        </p:nvSpPr>
        <p:spPr>
          <a:xfrm>
            <a:off x="417600" y="4094163"/>
            <a:ext cx="3816000" cy="1080000"/>
          </a:xfrm>
        </p:spPr>
        <p:txBody>
          <a:bodyPr/>
          <a:lstStyle>
            <a:lvl1pPr marL="0" indent="0" algn="l">
              <a:spcBef>
                <a:spcPts val="0"/>
              </a:spcBef>
              <a:buNone/>
              <a:defRPr sz="1800" b="1"/>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sp>
        <p:nvSpPr>
          <p:cNvPr id="31" name="Text Placeholder 30"/>
          <p:cNvSpPr>
            <a:spLocks noGrp="1"/>
          </p:cNvSpPr>
          <p:nvPr>
            <p:ph type="body" sz="quarter" idx="14" hasCustomPrompt="1"/>
          </p:nvPr>
        </p:nvSpPr>
        <p:spPr>
          <a:xfrm>
            <a:off x="417600" y="5393268"/>
            <a:ext cx="3816000" cy="296332"/>
          </a:xfrm>
        </p:spPr>
        <p:txBody>
          <a:bodyPr wrap="none"/>
          <a:lstStyle>
            <a:lvl1pPr marL="0" indent="0">
              <a:spcBef>
                <a:spcPts val="0"/>
              </a:spcBef>
              <a:buNone/>
              <a:defRPr sz="1200"/>
            </a:lvl1pPr>
            <a:lvl2pPr marL="0" indent="0">
              <a:buNone/>
              <a:defRPr sz="1200"/>
            </a:lvl2pPr>
            <a:lvl3pPr marL="0" indent="0">
              <a:buNone/>
              <a:defRPr sz="1200"/>
            </a:lvl3pPr>
            <a:lvl4pPr marL="0">
              <a:buNone/>
              <a:defRPr sz="1200"/>
            </a:lvl4pPr>
            <a:lvl5pPr marL="0" indent="0">
              <a:buNone/>
              <a:defRPr sz="1200"/>
            </a:lvl5pPr>
          </a:lstStyle>
          <a:p>
            <a:pPr lvl="0"/>
            <a:r>
              <a:rPr lang="en-US"/>
              <a:t>Name</a:t>
            </a:r>
          </a:p>
        </p:txBody>
      </p:sp>
      <p:sp>
        <p:nvSpPr>
          <p:cNvPr id="34" name="Text Placeholder 30"/>
          <p:cNvSpPr>
            <a:spLocks noGrp="1"/>
          </p:cNvSpPr>
          <p:nvPr>
            <p:ph type="body" sz="quarter" idx="15" hasCustomPrompt="1"/>
          </p:nvPr>
        </p:nvSpPr>
        <p:spPr>
          <a:xfrm>
            <a:off x="417600" y="5691446"/>
            <a:ext cx="3816000" cy="296332"/>
          </a:xfrm>
        </p:spPr>
        <p:txBody>
          <a:bodyPr wrap="none"/>
          <a:lstStyle>
            <a:lvl1pPr marL="0" indent="0">
              <a:spcBef>
                <a:spcPts val="0"/>
              </a:spcBef>
              <a:buNone/>
              <a:defRPr sz="1200"/>
            </a:lvl1pPr>
            <a:lvl2pPr marL="0" indent="0">
              <a:buNone/>
              <a:defRPr sz="1200"/>
            </a:lvl2pPr>
            <a:lvl3pPr marL="0" indent="0">
              <a:buNone/>
              <a:defRPr sz="1200"/>
            </a:lvl3pPr>
            <a:lvl4pPr marL="0">
              <a:buNone/>
              <a:defRPr sz="1200"/>
            </a:lvl4pPr>
            <a:lvl5pPr marL="0" indent="0">
              <a:buNone/>
              <a:defRPr sz="1200"/>
            </a:lvl5pPr>
          </a:lstStyle>
          <a:p>
            <a:pPr lvl="0"/>
            <a:r>
              <a:rPr lang="en-US"/>
              <a:t>Department</a:t>
            </a:r>
          </a:p>
        </p:txBody>
      </p:sp>
    </p:spTree>
    <p:extLst>
      <p:ext uri="{BB962C8B-B14F-4D97-AF65-F5344CB8AC3E}">
        <p14:creationId xmlns:p14="http://schemas.microsoft.com/office/powerpoint/2010/main" val="1458940088"/>
      </p:ext>
    </p:extLst>
  </p:cSld>
  <p:clrMapOvr>
    <a:masterClrMapping/>
  </p:clrMapOvr>
</p:sldLayout>
</file>

<file path=ppt/slideLayouts/slideLayout391.xml><?xml version="1.0" encoding="utf-8"?>
<p:sldLayout xmlns:a="http://schemas.openxmlformats.org/drawingml/2006/main" xmlns:r="http://schemas.openxmlformats.org/officeDocument/2006/relationships" xmlns:p="http://schemas.openxmlformats.org/presentationml/2006/main" preserve="1">
  <p:cSld name="Divider 1">
    <p:spTree>
      <p:nvGrpSpPr>
        <p:cNvPr id="1" name=""/>
        <p:cNvGrpSpPr/>
        <p:nvPr/>
      </p:nvGrpSpPr>
      <p:grpSpPr>
        <a:xfrm>
          <a:off x="0" y="0"/>
          <a:ext cx="0" cy="0"/>
          <a:chOff x="0" y="0"/>
          <a:chExt cx="0" cy="0"/>
        </a:xfrm>
      </p:grpSpPr>
      <p:sp>
        <p:nvSpPr>
          <p:cNvPr id="12" name="Picture Placeholder 11"/>
          <p:cNvSpPr>
            <a:spLocks noGrp="1"/>
          </p:cNvSpPr>
          <p:nvPr>
            <p:ph type="pic" sz="quarter" idx="17" hasCustomPrompt="1"/>
          </p:nvPr>
        </p:nvSpPr>
        <p:spPr>
          <a:xfrm>
            <a:off x="-1" y="0"/>
            <a:ext cx="8822478" cy="6858000"/>
          </a:xfrm>
          <a:custGeom>
            <a:avLst/>
            <a:gdLst>
              <a:gd name="connsiteX0" fmla="*/ 0 w 8822478"/>
              <a:gd name="connsiteY0" fmla="*/ 0 h 6858000"/>
              <a:gd name="connsiteX1" fmla="*/ 8477306 w 8822478"/>
              <a:gd name="connsiteY1" fmla="*/ 0 h 6858000"/>
              <a:gd name="connsiteX2" fmla="*/ 6998505 w 8822478"/>
              <a:gd name="connsiteY2" fmla="*/ 3834029 h 6858000"/>
              <a:gd name="connsiteX3" fmla="*/ 8822478 w 8822478"/>
              <a:gd name="connsiteY3" fmla="*/ 6858000 h 6858000"/>
              <a:gd name="connsiteX4" fmla="*/ 0 w 8822478"/>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22478" h="6858000">
                <a:moveTo>
                  <a:pt x="0" y="0"/>
                </a:moveTo>
                <a:lnTo>
                  <a:pt x="8477306" y="0"/>
                </a:lnTo>
                <a:lnTo>
                  <a:pt x="6998505" y="3834029"/>
                </a:lnTo>
                <a:lnTo>
                  <a:pt x="8822478" y="6858000"/>
                </a:lnTo>
                <a:lnTo>
                  <a:pt x="0" y="6858000"/>
                </a:lnTo>
                <a:close/>
              </a:path>
            </a:pathLst>
          </a:custGeom>
          <a:solidFill>
            <a:srgbClr val="D9DADB"/>
          </a:solidFill>
        </p:spPr>
        <p:txBody>
          <a:bodyPr wrap="square">
            <a:noAutofit/>
          </a:bodyPr>
          <a:lstStyle>
            <a:lvl1pPr marL="0" indent="0">
              <a:buNone/>
              <a:defRPr/>
            </a:lvl1pPr>
          </a:lstStyle>
          <a:p>
            <a:r>
              <a:rPr lang="en-US"/>
              <a:t>Insert picture</a:t>
            </a:r>
          </a:p>
        </p:txBody>
      </p:sp>
      <p:sp>
        <p:nvSpPr>
          <p:cNvPr id="21" name="Date Placeholder 20"/>
          <p:cNvSpPr>
            <a:spLocks noGrp="1"/>
          </p:cNvSpPr>
          <p:nvPr>
            <p:ph type="dt" sz="half" idx="14"/>
          </p:nvPr>
        </p:nvSpPr>
        <p:spPr/>
        <p:txBody>
          <a:bodyPr/>
          <a:lstStyle>
            <a:lvl1pPr>
              <a:defRPr>
                <a:solidFill>
                  <a:schemeClr val="bg1"/>
                </a:solidFill>
              </a:defRPr>
            </a:lvl1pPr>
          </a:lstStyle>
          <a:p>
            <a:endParaRPr lang="en-US"/>
          </a:p>
        </p:txBody>
      </p:sp>
      <p:sp>
        <p:nvSpPr>
          <p:cNvPr id="22" name="Footer Placeholder 21"/>
          <p:cNvSpPr>
            <a:spLocks noGrp="1"/>
          </p:cNvSpPr>
          <p:nvPr>
            <p:ph type="ftr" sz="quarter" idx="15"/>
          </p:nvPr>
        </p:nvSpPr>
        <p:spPr/>
        <p:txBody>
          <a:bodyPr/>
          <a:lstStyle>
            <a:lvl1pPr>
              <a:defRPr>
                <a:solidFill>
                  <a:schemeClr val="bg1"/>
                </a:solidFill>
              </a:defRPr>
            </a:lvl1pPr>
          </a:lstStyle>
          <a:p>
            <a:endParaRPr lang="en-US"/>
          </a:p>
        </p:txBody>
      </p:sp>
      <p:sp>
        <p:nvSpPr>
          <p:cNvPr id="23" name="Slide Number Placeholder 22"/>
          <p:cNvSpPr>
            <a:spLocks noGrp="1"/>
          </p:cNvSpPr>
          <p:nvPr>
            <p:ph type="sldNum" sz="quarter" idx="16"/>
          </p:nvPr>
        </p:nvSpPr>
        <p:spPr/>
        <p:txBody>
          <a:bodyPr/>
          <a:lstStyle>
            <a:lvl1pPr>
              <a:defRPr>
                <a:solidFill>
                  <a:schemeClr val="tx1"/>
                </a:solidFill>
              </a:defRPr>
            </a:lvl1pPr>
          </a:lstStyle>
          <a:p>
            <a:fld id="{5F3E29E4-0979-4FCA-B4C5-5FC6044C982A}" type="slidenum">
              <a:rPr lang="en-US" smtClean="0"/>
              <a:pPr/>
              <a:t>‹#›</a:t>
            </a:fld>
            <a:endParaRPr lang="en-US"/>
          </a:p>
        </p:txBody>
      </p:sp>
      <p:sp>
        <p:nvSpPr>
          <p:cNvPr id="2" name="Title 1"/>
          <p:cNvSpPr>
            <a:spLocks noGrp="1"/>
          </p:cNvSpPr>
          <p:nvPr>
            <p:ph type="title" hasCustomPrompt="1"/>
          </p:nvPr>
        </p:nvSpPr>
        <p:spPr>
          <a:xfrm>
            <a:off x="7737533" y="2908628"/>
            <a:ext cx="4082992" cy="2103640"/>
          </a:xfrm>
        </p:spPr>
        <p:txBody>
          <a:bodyPr/>
          <a:lstStyle>
            <a:lvl1pPr>
              <a:defRPr>
                <a:solidFill>
                  <a:schemeClr val="tx1"/>
                </a:solidFill>
              </a:defRPr>
            </a:lvl1pPr>
          </a:lstStyle>
          <a:p>
            <a:r>
              <a:rPr lang="en-US"/>
              <a:t>Click to add section title</a:t>
            </a:r>
          </a:p>
        </p:txBody>
      </p:sp>
    </p:spTree>
    <p:extLst>
      <p:ext uri="{BB962C8B-B14F-4D97-AF65-F5344CB8AC3E}">
        <p14:creationId xmlns:p14="http://schemas.microsoft.com/office/powerpoint/2010/main" val="1707424012"/>
      </p:ext>
    </p:extLst>
  </p:cSld>
  <p:clrMapOvr>
    <a:masterClrMapping/>
  </p:clrMapOvr>
</p:sldLayout>
</file>

<file path=ppt/slideLayouts/slideLayout392.xml><?xml version="1.0" encoding="utf-8"?>
<p:sldLayout xmlns:a="http://schemas.openxmlformats.org/drawingml/2006/main" xmlns:r="http://schemas.openxmlformats.org/officeDocument/2006/relationships" xmlns:p="http://schemas.openxmlformats.org/presentationml/2006/main" preserve="1">
  <p:cSld name="Divider 2">
    <p:spTree>
      <p:nvGrpSpPr>
        <p:cNvPr id="1" name=""/>
        <p:cNvGrpSpPr/>
        <p:nvPr/>
      </p:nvGrpSpPr>
      <p:grpSpPr>
        <a:xfrm>
          <a:off x="0" y="0"/>
          <a:ext cx="0" cy="0"/>
          <a:chOff x="0" y="0"/>
          <a:chExt cx="0" cy="0"/>
        </a:xfrm>
      </p:grpSpPr>
      <p:sp>
        <p:nvSpPr>
          <p:cNvPr id="4" name="shp2"/>
          <p:cNvSpPr/>
          <p:nvPr/>
        </p:nvSpPr>
        <p:spPr>
          <a:xfrm>
            <a:off x="0" y="0"/>
            <a:ext cx="121932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a:p>
        </p:txBody>
      </p:sp>
      <p:sp>
        <p:nvSpPr>
          <p:cNvPr id="21" name="Date Placeholder 20"/>
          <p:cNvSpPr>
            <a:spLocks noGrp="1"/>
          </p:cNvSpPr>
          <p:nvPr>
            <p:ph type="dt" sz="half" idx="14"/>
          </p:nvPr>
        </p:nvSpPr>
        <p:spPr bwMode="ltGray"/>
        <p:txBody>
          <a:bodyPr/>
          <a:lstStyle>
            <a:lvl1pPr>
              <a:defRPr>
                <a:solidFill>
                  <a:schemeClr val="bg1"/>
                </a:solidFill>
              </a:defRPr>
            </a:lvl1pPr>
          </a:lstStyle>
          <a:p>
            <a:endParaRPr lang="en-US"/>
          </a:p>
        </p:txBody>
      </p:sp>
      <p:sp>
        <p:nvSpPr>
          <p:cNvPr id="22" name="Footer Placeholder 21"/>
          <p:cNvSpPr>
            <a:spLocks noGrp="1"/>
          </p:cNvSpPr>
          <p:nvPr>
            <p:ph type="ftr" sz="quarter" idx="15"/>
          </p:nvPr>
        </p:nvSpPr>
        <p:spPr bwMode="ltGray"/>
        <p:txBody>
          <a:bodyPr/>
          <a:lstStyle>
            <a:lvl1pPr>
              <a:defRPr>
                <a:solidFill>
                  <a:schemeClr val="bg1"/>
                </a:solidFill>
              </a:defRPr>
            </a:lvl1pPr>
          </a:lstStyle>
          <a:p>
            <a:endParaRPr lang="en-US"/>
          </a:p>
        </p:txBody>
      </p:sp>
      <p:sp>
        <p:nvSpPr>
          <p:cNvPr id="23" name="Slide Number Placeholder 22"/>
          <p:cNvSpPr>
            <a:spLocks noGrp="1"/>
          </p:cNvSpPr>
          <p:nvPr>
            <p:ph type="sldNum" sz="quarter" idx="16"/>
          </p:nvPr>
        </p:nvSpPr>
        <p:spPr bwMode="ltGray"/>
        <p:txBody>
          <a:bodyPr/>
          <a:lstStyle>
            <a:lvl1pPr>
              <a:defRPr>
                <a:solidFill>
                  <a:schemeClr val="bg1"/>
                </a:solidFill>
              </a:defRPr>
            </a:lvl1pPr>
          </a:lstStyle>
          <a:p>
            <a:fld id="{5F3E29E4-0979-4FCA-B4C5-5FC6044C982A}" type="slidenum">
              <a:rPr lang="en-US" smtClean="0"/>
              <a:pPr/>
              <a:t>‹#›</a:t>
            </a:fld>
            <a:endParaRPr lang="en-US"/>
          </a:p>
        </p:txBody>
      </p:sp>
      <p:sp>
        <p:nvSpPr>
          <p:cNvPr id="8" name="copyright"/>
          <p:cNvSpPr txBox="1"/>
          <p:nvPr/>
        </p:nvSpPr>
        <p:spPr>
          <a:xfrm>
            <a:off x="10672209" y="6237288"/>
            <a:ext cx="500617" cy="358173"/>
          </a:xfrm>
          <a:prstGeom prst="rect">
            <a:avLst/>
          </a:prstGeom>
          <a:noFill/>
        </p:spPr>
        <p:txBody>
          <a:bodyPr wrap="none" lIns="0" tIns="0" rIns="0" bIns="0" rtlCol="0" anchor="b" anchorCtr="0">
            <a:noAutofit/>
          </a:bodyPr>
          <a:lstStyle/>
          <a:p>
            <a:pPr marL="0" indent="0" algn="r">
              <a:lnSpc>
                <a:spcPct val="125000"/>
              </a:lnSpc>
              <a:buClr>
                <a:schemeClr val="tx2"/>
              </a:buClr>
              <a:buFont typeface="Wingdings" panose="05000000000000000000" pitchFamily="2" charset="2"/>
              <a:buNone/>
            </a:pPr>
            <a:r>
              <a:rPr lang="en-US" sz="800">
                <a:solidFill>
                  <a:schemeClr val="bg1"/>
                </a:solidFill>
              </a:rPr>
              <a:t>© GfK</a:t>
            </a:r>
          </a:p>
        </p:txBody>
      </p:sp>
      <p:sp>
        <p:nvSpPr>
          <p:cNvPr id="2" name="Title 1"/>
          <p:cNvSpPr>
            <a:spLocks noGrp="1"/>
          </p:cNvSpPr>
          <p:nvPr>
            <p:ph type="title" hasCustomPrompt="1"/>
          </p:nvPr>
        </p:nvSpPr>
        <p:spPr bwMode="ltGray">
          <a:xfrm>
            <a:off x="1075062" y="1519552"/>
            <a:ext cx="10097763" cy="2273171"/>
          </a:xfrm>
        </p:spPr>
        <p:txBody>
          <a:bodyPr/>
          <a:lstStyle>
            <a:lvl1pPr>
              <a:defRPr>
                <a:solidFill>
                  <a:schemeClr val="bg1"/>
                </a:solidFill>
              </a:defRPr>
            </a:lvl1pPr>
          </a:lstStyle>
          <a:p>
            <a:r>
              <a:rPr lang="en-US"/>
              <a:t>Click to add section title</a:t>
            </a:r>
          </a:p>
        </p:txBody>
      </p:sp>
      <p:grpSp>
        <p:nvGrpSpPr>
          <p:cNvPr id="9" name="logo">
            <a:extLst>
              <a:ext uri="{FF2B5EF4-FFF2-40B4-BE49-F238E27FC236}">
                <a16:creationId xmlns:a16="http://schemas.microsoft.com/office/drawing/2014/main" id="{57BD2C4C-DC67-B843-B26C-309622FC75F7}"/>
              </a:ext>
            </a:extLst>
          </p:cNvPr>
          <p:cNvGrpSpPr>
            <a:grpSpLocks noChangeAspect="1"/>
          </p:cNvGrpSpPr>
          <p:nvPr/>
        </p:nvGrpSpPr>
        <p:grpSpPr bwMode="gray">
          <a:xfrm>
            <a:off x="11174018" y="401441"/>
            <a:ext cx="644225" cy="646507"/>
            <a:chOff x="2711" y="1027"/>
            <a:chExt cx="2258" cy="2266"/>
          </a:xfrm>
        </p:grpSpPr>
        <p:sp>
          <p:nvSpPr>
            <p:cNvPr id="11" name="AutoShape 3">
              <a:extLst>
                <a:ext uri="{FF2B5EF4-FFF2-40B4-BE49-F238E27FC236}">
                  <a16:creationId xmlns:a16="http://schemas.microsoft.com/office/drawing/2014/main" id="{FE1DC41B-291E-574C-9F2C-874E70A40758}"/>
                </a:ext>
              </a:extLst>
            </p:cNvPr>
            <p:cNvSpPr>
              <a:spLocks noChangeAspect="1" noChangeArrowheads="1" noTextEdit="1"/>
            </p:cNvSpPr>
            <p:nvPr/>
          </p:nvSpPr>
          <p:spPr bwMode="gray">
            <a:xfrm>
              <a:off x="2711" y="1027"/>
              <a:ext cx="2258" cy="22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12" name="Freeform 5">
              <a:extLst>
                <a:ext uri="{FF2B5EF4-FFF2-40B4-BE49-F238E27FC236}">
                  <a16:creationId xmlns:a16="http://schemas.microsoft.com/office/drawing/2014/main" id="{D4B633C8-F761-C54B-9BD2-EB59D49A2DBC}"/>
                </a:ext>
              </a:extLst>
            </p:cNvPr>
            <p:cNvSpPr>
              <a:spLocks/>
            </p:cNvSpPr>
            <p:nvPr/>
          </p:nvSpPr>
          <p:spPr bwMode="gray">
            <a:xfrm>
              <a:off x="2709" y="1029"/>
              <a:ext cx="2260" cy="2262"/>
            </a:xfrm>
            <a:custGeom>
              <a:avLst/>
              <a:gdLst>
                <a:gd name="T0" fmla="*/ 2260 w 2260"/>
                <a:gd name="T1" fmla="*/ 0 h 2262"/>
                <a:gd name="T2" fmla="*/ 1612 w 2260"/>
                <a:gd name="T3" fmla="*/ 649 h 2262"/>
                <a:gd name="T4" fmla="*/ 1612 w 2260"/>
                <a:gd name="T5" fmla="*/ 649 h 2262"/>
                <a:gd name="T6" fmla="*/ 2035 w 2260"/>
                <a:gd name="T7" fmla="*/ 0 h 2262"/>
                <a:gd name="T8" fmla="*/ 0 w 2260"/>
                <a:gd name="T9" fmla="*/ 0 h 2262"/>
                <a:gd name="T10" fmla="*/ 0 w 2260"/>
                <a:gd name="T11" fmla="*/ 2262 h 2262"/>
                <a:gd name="T12" fmla="*/ 2260 w 2260"/>
                <a:gd name="T13" fmla="*/ 2262 h 2262"/>
                <a:gd name="T14" fmla="*/ 2260 w 2260"/>
                <a:gd name="T15" fmla="*/ 0 h 2262"/>
                <a:gd name="T16" fmla="*/ 2260 w 2260"/>
                <a:gd name="T17" fmla="*/ 0 h 2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0" h="2262">
                  <a:moveTo>
                    <a:pt x="2260" y="0"/>
                  </a:moveTo>
                  <a:lnTo>
                    <a:pt x="1612" y="649"/>
                  </a:lnTo>
                  <a:lnTo>
                    <a:pt x="1612" y="649"/>
                  </a:lnTo>
                  <a:lnTo>
                    <a:pt x="2035" y="0"/>
                  </a:lnTo>
                  <a:lnTo>
                    <a:pt x="0" y="0"/>
                  </a:lnTo>
                  <a:lnTo>
                    <a:pt x="0" y="2262"/>
                  </a:lnTo>
                  <a:lnTo>
                    <a:pt x="2260" y="2262"/>
                  </a:lnTo>
                  <a:lnTo>
                    <a:pt x="2260" y="0"/>
                  </a:lnTo>
                  <a:lnTo>
                    <a:pt x="2260" y="0"/>
                  </a:lnTo>
                  <a:close/>
                </a:path>
              </a:pathLst>
            </a:custGeom>
            <a:solidFill>
              <a:srgbClr val="E55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13" name="Freeform 6">
              <a:extLst>
                <a:ext uri="{FF2B5EF4-FFF2-40B4-BE49-F238E27FC236}">
                  <a16:creationId xmlns:a16="http://schemas.microsoft.com/office/drawing/2014/main" id="{B16BAAE4-1A41-C843-9754-490F7A1E1270}"/>
                </a:ext>
              </a:extLst>
            </p:cNvPr>
            <p:cNvSpPr>
              <a:spLocks noEditPoints="1"/>
            </p:cNvSpPr>
            <p:nvPr/>
          </p:nvSpPr>
          <p:spPr bwMode="gray">
            <a:xfrm>
              <a:off x="3623" y="1696"/>
              <a:ext cx="1167" cy="922"/>
            </a:xfrm>
            <a:custGeom>
              <a:avLst/>
              <a:gdLst>
                <a:gd name="T0" fmla="*/ 411 w 580"/>
                <a:gd name="T1" fmla="*/ 213 h 458"/>
                <a:gd name="T2" fmla="*/ 570 w 580"/>
                <a:gd name="T3" fmla="*/ 37 h 458"/>
                <a:gd name="T4" fmla="*/ 580 w 580"/>
                <a:gd name="T5" fmla="*/ 20 h 458"/>
                <a:gd name="T6" fmla="*/ 545 w 580"/>
                <a:gd name="T7" fmla="*/ 0 h 458"/>
                <a:gd name="T8" fmla="*/ 519 w 580"/>
                <a:gd name="T9" fmla="*/ 16 h 458"/>
                <a:gd name="T10" fmla="*/ 344 w 580"/>
                <a:gd name="T11" fmla="*/ 210 h 458"/>
                <a:gd name="T12" fmla="*/ 334 w 580"/>
                <a:gd name="T13" fmla="*/ 229 h 458"/>
                <a:gd name="T14" fmla="*/ 344 w 580"/>
                <a:gd name="T15" fmla="*/ 248 h 458"/>
                <a:gd name="T16" fmla="*/ 519 w 580"/>
                <a:gd name="T17" fmla="*/ 442 h 458"/>
                <a:gd name="T18" fmla="*/ 545 w 580"/>
                <a:gd name="T19" fmla="*/ 458 h 458"/>
                <a:gd name="T20" fmla="*/ 580 w 580"/>
                <a:gd name="T21" fmla="*/ 438 h 458"/>
                <a:gd name="T22" fmla="*/ 570 w 580"/>
                <a:gd name="T23" fmla="*/ 421 h 458"/>
                <a:gd name="T24" fmla="*/ 411 w 580"/>
                <a:gd name="T25" fmla="*/ 245 h 458"/>
                <a:gd name="T26" fmla="*/ 399 w 580"/>
                <a:gd name="T27" fmla="*/ 229 h 458"/>
                <a:gd name="T28" fmla="*/ 411 w 580"/>
                <a:gd name="T29" fmla="*/ 213 h 458"/>
                <a:gd name="T30" fmla="*/ 252 w 580"/>
                <a:gd name="T31" fmla="*/ 439 h 458"/>
                <a:gd name="T32" fmla="*/ 281 w 580"/>
                <a:gd name="T33" fmla="*/ 454 h 458"/>
                <a:gd name="T34" fmla="*/ 309 w 580"/>
                <a:gd name="T35" fmla="*/ 439 h 458"/>
                <a:gd name="T36" fmla="*/ 309 w 580"/>
                <a:gd name="T37" fmla="*/ 19 h 458"/>
                <a:gd name="T38" fmla="*/ 281 w 580"/>
                <a:gd name="T39" fmla="*/ 4 h 458"/>
                <a:gd name="T40" fmla="*/ 252 w 580"/>
                <a:gd name="T41" fmla="*/ 19 h 458"/>
                <a:gd name="T42" fmla="*/ 252 w 580"/>
                <a:gd name="T43" fmla="*/ 439 h 458"/>
                <a:gd name="T44" fmla="*/ 0 w 580"/>
                <a:gd name="T45" fmla="*/ 439 h 458"/>
                <a:gd name="T46" fmla="*/ 28 w 580"/>
                <a:gd name="T47" fmla="*/ 454 h 458"/>
                <a:gd name="T48" fmla="*/ 56 w 580"/>
                <a:gd name="T49" fmla="*/ 439 h 458"/>
                <a:gd name="T50" fmla="*/ 56 w 580"/>
                <a:gd name="T51" fmla="*/ 157 h 458"/>
                <a:gd name="T52" fmla="*/ 165 w 580"/>
                <a:gd name="T53" fmla="*/ 53 h 458"/>
                <a:gd name="T54" fmla="*/ 180 w 580"/>
                <a:gd name="T55" fmla="*/ 53 h 458"/>
                <a:gd name="T56" fmla="*/ 196 w 580"/>
                <a:gd name="T57" fmla="*/ 27 h 458"/>
                <a:gd name="T58" fmla="*/ 154 w 580"/>
                <a:gd name="T59" fmla="*/ 4 h 458"/>
                <a:gd name="T60" fmla="*/ 0 w 580"/>
                <a:gd name="T61" fmla="*/ 152 h 458"/>
                <a:gd name="T62" fmla="*/ 0 w 580"/>
                <a:gd name="T63" fmla="*/ 439 h 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80" h="458">
                  <a:moveTo>
                    <a:pt x="411" y="213"/>
                  </a:moveTo>
                  <a:cubicBezTo>
                    <a:pt x="570" y="37"/>
                    <a:pt x="570" y="37"/>
                    <a:pt x="570" y="37"/>
                  </a:cubicBezTo>
                  <a:cubicBezTo>
                    <a:pt x="576" y="30"/>
                    <a:pt x="580" y="25"/>
                    <a:pt x="580" y="20"/>
                  </a:cubicBezTo>
                  <a:cubicBezTo>
                    <a:pt x="580" y="10"/>
                    <a:pt x="559" y="0"/>
                    <a:pt x="545" y="0"/>
                  </a:cubicBezTo>
                  <a:cubicBezTo>
                    <a:pt x="535" y="0"/>
                    <a:pt x="526" y="8"/>
                    <a:pt x="519" y="16"/>
                  </a:cubicBezTo>
                  <a:cubicBezTo>
                    <a:pt x="344" y="210"/>
                    <a:pt x="344" y="210"/>
                    <a:pt x="344" y="210"/>
                  </a:cubicBezTo>
                  <a:cubicBezTo>
                    <a:pt x="336" y="219"/>
                    <a:pt x="334" y="224"/>
                    <a:pt x="334" y="229"/>
                  </a:cubicBezTo>
                  <a:cubicBezTo>
                    <a:pt x="334" y="234"/>
                    <a:pt x="336" y="239"/>
                    <a:pt x="344" y="248"/>
                  </a:cubicBezTo>
                  <a:cubicBezTo>
                    <a:pt x="519" y="442"/>
                    <a:pt x="519" y="442"/>
                    <a:pt x="519" y="442"/>
                  </a:cubicBezTo>
                  <a:cubicBezTo>
                    <a:pt x="526" y="450"/>
                    <a:pt x="535" y="458"/>
                    <a:pt x="545" y="458"/>
                  </a:cubicBezTo>
                  <a:cubicBezTo>
                    <a:pt x="559" y="458"/>
                    <a:pt x="580" y="448"/>
                    <a:pt x="580" y="438"/>
                  </a:cubicBezTo>
                  <a:cubicBezTo>
                    <a:pt x="580" y="433"/>
                    <a:pt x="576" y="428"/>
                    <a:pt x="570" y="421"/>
                  </a:cubicBezTo>
                  <a:cubicBezTo>
                    <a:pt x="411" y="245"/>
                    <a:pt x="411" y="245"/>
                    <a:pt x="411" y="245"/>
                  </a:cubicBezTo>
                  <a:cubicBezTo>
                    <a:pt x="403" y="236"/>
                    <a:pt x="399" y="232"/>
                    <a:pt x="399" y="229"/>
                  </a:cubicBezTo>
                  <a:cubicBezTo>
                    <a:pt x="399" y="226"/>
                    <a:pt x="403" y="222"/>
                    <a:pt x="411" y="213"/>
                  </a:cubicBezTo>
                  <a:moveTo>
                    <a:pt x="252" y="439"/>
                  </a:moveTo>
                  <a:cubicBezTo>
                    <a:pt x="252" y="449"/>
                    <a:pt x="261" y="454"/>
                    <a:pt x="281" y="454"/>
                  </a:cubicBezTo>
                  <a:cubicBezTo>
                    <a:pt x="300" y="454"/>
                    <a:pt x="309" y="449"/>
                    <a:pt x="309" y="439"/>
                  </a:cubicBezTo>
                  <a:cubicBezTo>
                    <a:pt x="309" y="19"/>
                    <a:pt x="309" y="19"/>
                    <a:pt x="309" y="19"/>
                  </a:cubicBezTo>
                  <a:cubicBezTo>
                    <a:pt x="309" y="9"/>
                    <a:pt x="300" y="4"/>
                    <a:pt x="281" y="4"/>
                  </a:cubicBezTo>
                  <a:cubicBezTo>
                    <a:pt x="261" y="4"/>
                    <a:pt x="252" y="9"/>
                    <a:pt x="252" y="19"/>
                  </a:cubicBezTo>
                  <a:lnTo>
                    <a:pt x="252" y="439"/>
                  </a:lnTo>
                  <a:close/>
                  <a:moveTo>
                    <a:pt x="0" y="439"/>
                  </a:moveTo>
                  <a:cubicBezTo>
                    <a:pt x="0" y="449"/>
                    <a:pt x="8" y="454"/>
                    <a:pt x="28" y="454"/>
                  </a:cubicBezTo>
                  <a:cubicBezTo>
                    <a:pt x="48" y="454"/>
                    <a:pt x="56" y="449"/>
                    <a:pt x="56" y="439"/>
                  </a:cubicBezTo>
                  <a:cubicBezTo>
                    <a:pt x="56" y="157"/>
                    <a:pt x="56" y="157"/>
                    <a:pt x="56" y="157"/>
                  </a:cubicBezTo>
                  <a:cubicBezTo>
                    <a:pt x="56" y="83"/>
                    <a:pt x="85" y="53"/>
                    <a:pt x="165" y="53"/>
                  </a:cubicBezTo>
                  <a:cubicBezTo>
                    <a:pt x="180" y="53"/>
                    <a:pt x="180" y="53"/>
                    <a:pt x="180" y="53"/>
                  </a:cubicBezTo>
                  <a:cubicBezTo>
                    <a:pt x="192" y="53"/>
                    <a:pt x="196" y="43"/>
                    <a:pt x="196" y="27"/>
                  </a:cubicBezTo>
                  <a:cubicBezTo>
                    <a:pt x="196" y="8"/>
                    <a:pt x="185" y="4"/>
                    <a:pt x="154" y="4"/>
                  </a:cubicBezTo>
                  <a:cubicBezTo>
                    <a:pt x="64" y="4"/>
                    <a:pt x="0" y="43"/>
                    <a:pt x="0" y="152"/>
                  </a:cubicBezTo>
                  <a:lnTo>
                    <a:pt x="0" y="43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14" name="Freeform 7">
              <a:extLst>
                <a:ext uri="{FF2B5EF4-FFF2-40B4-BE49-F238E27FC236}">
                  <a16:creationId xmlns:a16="http://schemas.microsoft.com/office/drawing/2014/main" id="{2F32DCBD-8628-F245-85CD-97686A20ECFD}"/>
                </a:ext>
              </a:extLst>
            </p:cNvPr>
            <p:cNvSpPr>
              <a:spLocks/>
            </p:cNvSpPr>
            <p:nvPr/>
          </p:nvSpPr>
          <p:spPr bwMode="gray">
            <a:xfrm>
              <a:off x="2880" y="1704"/>
              <a:ext cx="618" cy="916"/>
            </a:xfrm>
            <a:custGeom>
              <a:avLst/>
              <a:gdLst>
                <a:gd name="T0" fmla="*/ 307 w 307"/>
                <a:gd name="T1" fmla="*/ 405 h 455"/>
                <a:gd name="T2" fmla="*/ 307 w 307"/>
                <a:gd name="T3" fmla="*/ 244 h 455"/>
                <a:gd name="T4" fmla="*/ 279 w 307"/>
                <a:gd name="T5" fmla="*/ 229 h 455"/>
                <a:gd name="T6" fmla="*/ 250 w 307"/>
                <a:gd name="T7" fmla="*/ 244 h 455"/>
                <a:gd name="T8" fmla="*/ 250 w 307"/>
                <a:gd name="T9" fmla="*/ 378 h 455"/>
                <a:gd name="T10" fmla="*/ 199 w 307"/>
                <a:gd name="T11" fmla="*/ 408 h 455"/>
                <a:gd name="T12" fmla="*/ 61 w 307"/>
                <a:gd name="T13" fmla="*/ 231 h 455"/>
                <a:gd name="T14" fmla="*/ 238 w 307"/>
                <a:gd name="T15" fmla="*/ 49 h 455"/>
                <a:gd name="T16" fmla="*/ 270 w 307"/>
                <a:gd name="T17" fmla="*/ 49 h 455"/>
                <a:gd name="T18" fmla="*/ 286 w 307"/>
                <a:gd name="T19" fmla="*/ 23 h 455"/>
                <a:gd name="T20" fmla="*/ 244 w 307"/>
                <a:gd name="T21" fmla="*/ 0 h 455"/>
                <a:gd name="T22" fmla="*/ 231 w 307"/>
                <a:gd name="T23" fmla="*/ 0 h 455"/>
                <a:gd name="T24" fmla="*/ 0 w 307"/>
                <a:gd name="T25" fmla="*/ 232 h 455"/>
                <a:gd name="T26" fmla="*/ 198 w 307"/>
                <a:gd name="T27" fmla="*/ 455 h 455"/>
                <a:gd name="T28" fmla="*/ 307 w 307"/>
                <a:gd name="T29" fmla="*/ 405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7" h="455">
                  <a:moveTo>
                    <a:pt x="307" y="405"/>
                  </a:moveTo>
                  <a:cubicBezTo>
                    <a:pt x="307" y="244"/>
                    <a:pt x="307" y="244"/>
                    <a:pt x="307" y="244"/>
                  </a:cubicBezTo>
                  <a:cubicBezTo>
                    <a:pt x="307" y="234"/>
                    <a:pt x="298" y="229"/>
                    <a:pt x="279" y="229"/>
                  </a:cubicBezTo>
                  <a:cubicBezTo>
                    <a:pt x="259" y="229"/>
                    <a:pt x="250" y="234"/>
                    <a:pt x="250" y="244"/>
                  </a:cubicBezTo>
                  <a:cubicBezTo>
                    <a:pt x="250" y="378"/>
                    <a:pt x="250" y="378"/>
                    <a:pt x="250" y="378"/>
                  </a:cubicBezTo>
                  <a:cubicBezTo>
                    <a:pt x="250" y="399"/>
                    <a:pt x="241" y="408"/>
                    <a:pt x="199" y="408"/>
                  </a:cubicBezTo>
                  <a:cubicBezTo>
                    <a:pt x="114" y="408"/>
                    <a:pt x="61" y="342"/>
                    <a:pt x="61" y="231"/>
                  </a:cubicBezTo>
                  <a:cubicBezTo>
                    <a:pt x="61" y="115"/>
                    <a:pt x="126" y="49"/>
                    <a:pt x="238" y="49"/>
                  </a:cubicBezTo>
                  <a:cubicBezTo>
                    <a:pt x="270" y="49"/>
                    <a:pt x="270" y="49"/>
                    <a:pt x="270" y="49"/>
                  </a:cubicBezTo>
                  <a:cubicBezTo>
                    <a:pt x="282" y="49"/>
                    <a:pt x="286" y="39"/>
                    <a:pt x="286" y="23"/>
                  </a:cubicBezTo>
                  <a:cubicBezTo>
                    <a:pt x="286" y="4"/>
                    <a:pt x="275" y="0"/>
                    <a:pt x="244" y="0"/>
                  </a:cubicBezTo>
                  <a:cubicBezTo>
                    <a:pt x="231" y="0"/>
                    <a:pt x="231" y="0"/>
                    <a:pt x="231" y="0"/>
                  </a:cubicBezTo>
                  <a:cubicBezTo>
                    <a:pt x="101" y="0"/>
                    <a:pt x="0" y="71"/>
                    <a:pt x="0" y="232"/>
                  </a:cubicBezTo>
                  <a:cubicBezTo>
                    <a:pt x="0" y="386"/>
                    <a:pt x="88" y="455"/>
                    <a:pt x="198" y="455"/>
                  </a:cubicBezTo>
                  <a:cubicBezTo>
                    <a:pt x="286" y="455"/>
                    <a:pt x="307" y="430"/>
                    <a:pt x="307" y="40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15" name="Oval 8">
              <a:extLst>
                <a:ext uri="{FF2B5EF4-FFF2-40B4-BE49-F238E27FC236}">
                  <a16:creationId xmlns:a16="http://schemas.microsoft.com/office/drawing/2014/main" id="{60D97C11-1A3B-5449-A48D-98A3E79B3810}"/>
                </a:ext>
              </a:extLst>
            </p:cNvPr>
            <p:cNvSpPr>
              <a:spLocks noChangeArrowheads="1"/>
            </p:cNvSpPr>
            <p:nvPr/>
          </p:nvSpPr>
          <p:spPr bwMode="gray">
            <a:xfrm>
              <a:off x="3778" y="2099"/>
              <a:ext cx="122" cy="12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16" name="Freeform 9">
              <a:extLst>
                <a:ext uri="{FF2B5EF4-FFF2-40B4-BE49-F238E27FC236}">
                  <a16:creationId xmlns:a16="http://schemas.microsoft.com/office/drawing/2014/main" id="{5856770D-B8F0-244E-A05D-AED190086F10}"/>
                </a:ext>
              </a:extLst>
            </p:cNvPr>
            <p:cNvSpPr>
              <a:spLocks noEditPoints="1"/>
            </p:cNvSpPr>
            <p:nvPr/>
          </p:nvSpPr>
          <p:spPr bwMode="gray">
            <a:xfrm>
              <a:off x="3623" y="1696"/>
              <a:ext cx="1167" cy="922"/>
            </a:xfrm>
            <a:custGeom>
              <a:avLst/>
              <a:gdLst>
                <a:gd name="T0" fmla="*/ 411 w 580"/>
                <a:gd name="T1" fmla="*/ 213 h 458"/>
                <a:gd name="T2" fmla="*/ 570 w 580"/>
                <a:gd name="T3" fmla="*/ 37 h 458"/>
                <a:gd name="T4" fmla="*/ 580 w 580"/>
                <a:gd name="T5" fmla="*/ 20 h 458"/>
                <a:gd name="T6" fmla="*/ 545 w 580"/>
                <a:gd name="T7" fmla="*/ 0 h 458"/>
                <a:gd name="T8" fmla="*/ 519 w 580"/>
                <a:gd name="T9" fmla="*/ 16 h 458"/>
                <a:gd name="T10" fmla="*/ 344 w 580"/>
                <a:gd name="T11" fmla="*/ 210 h 458"/>
                <a:gd name="T12" fmla="*/ 334 w 580"/>
                <a:gd name="T13" fmla="*/ 229 h 458"/>
                <a:gd name="T14" fmla="*/ 344 w 580"/>
                <a:gd name="T15" fmla="*/ 248 h 458"/>
                <a:gd name="T16" fmla="*/ 519 w 580"/>
                <a:gd name="T17" fmla="*/ 442 h 458"/>
                <a:gd name="T18" fmla="*/ 545 w 580"/>
                <a:gd name="T19" fmla="*/ 458 h 458"/>
                <a:gd name="T20" fmla="*/ 580 w 580"/>
                <a:gd name="T21" fmla="*/ 438 h 458"/>
                <a:gd name="T22" fmla="*/ 570 w 580"/>
                <a:gd name="T23" fmla="*/ 421 h 458"/>
                <a:gd name="T24" fmla="*/ 411 w 580"/>
                <a:gd name="T25" fmla="*/ 245 h 458"/>
                <a:gd name="T26" fmla="*/ 399 w 580"/>
                <a:gd name="T27" fmla="*/ 229 h 458"/>
                <a:gd name="T28" fmla="*/ 411 w 580"/>
                <a:gd name="T29" fmla="*/ 213 h 458"/>
                <a:gd name="T30" fmla="*/ 252 w 580"/>
                <a:gd name="T31" fmla="*/ 439 h 458"/>
                <a:gd name="T32" fmla="*/ 281 w 580"/>
                <a:gd name="T33" fmla="*/ 454 h 458"/>
                <a:gd name="T34" fmla="*/ 309 w 580"/>
                <a:gd name="T35" fmla="*/ 439 h 458"/>
                <a:gd name="T36" fmla="*/ 309 w 580"/>
                <a:gd name="T37" fmla="*/ 19 h 458"/>
                <a:gd name="T38" fmla="*/ 281 w 580"/>
                <a:gd name="T39" fmla="*/ 4 h 458"/>
                <a:gd name="T40" fmla="*/ 252 w 580"/>
                <a:gd name="T41" fmla="*/ 19 h 458"/>
                <a:gd name="T42" fmla="*/ 252 w 580"/>
                <a:gd name="T43" fmla="*/ 439 h 458"/>
                <a:gd name="T44" fmla="*/ 0 w 580"/>
                <a:gd name="T45" fmla="*/ 439 h 458"/>
                <a:gd name="T46" fmla="*/ 28 w 580"/>
                <a:gd name="T47" fmla="*/ 454 h 458"/>
                <a:gd name="T48" fmla="*/ 56 w 580"/>
                <a:gd name="T49" fmla="*/ 439 h 458"/>
                <a:gd name="T50" fmla="*/ 56 w 580"/>
                <a:gd name="T51" fmla="*/ 157 h 458"/>
                <a:gd name="T52" fmla="*/ 165 w 580"/>
                <a:gd name="T53" fmla="*/ 53 h 458"/>
                <a:gd name="T54" fmla="*/ 180 w 580"/>
                <a:gd name="T55" fmla="*/ 53 h 458"/>
                <a:gd name="T56" fmla="*/ 196 w 580"/>
                <a:gd name="T57" fmla="*/ 27 h 458"/>
                <a:gd name="T58" fmla="*/ 154 w 580"/>
                <a:gd name="T59" fmla="*/ 4 h 458"/>
                <a:gd name="T60" fmla="*/ 0 w 580"/>
                <a:gd name="T61" fmla="*/ 152 h 458"/>
                <a:gd name="T62" fmla="*/ 0 w 580"/>
                <a:gd name="T63" fmla="*/ 439 h 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80" h="458">
                  <a:moveTo>
                    <a:pt x="411" y="213"/>
                  </a:moveTo>
                  <a:cubicBezTo>
                    <a:pt x="570" y="37"/>
                    <a:pt x="570" y="37"/>
                    <a:pt x="570" y="37"/>
                  </a:cubicBezTo>
                  <a:cubicBezTo>
                    <a:pt x="576" y="30"/>
                    <a:pt x="580" y="25"/>
                    <a:pt x="580" y="20"/>
                  </a:cubicBezTo>
                  <a:cubicBezTo>
                    <a:pt x="580" y="10"/>
                    <a:pt x="559" y="0"/>
                    <a:pt x="545" y="0"/>
                  </a:cubicBezTo>
                  <a:cubicBezTo>
                    <a:pt x="535" y="0"/>
                    <a:pt x="526" y="8"/>
                    <a:pt x="519" y="16"/>
                  </a:cubicBezTo>
                  <a:cubicBezTo>
                    <a:pt x="344" y="210"/>
                    <a:pt x="344" y="210"/>
                    <a:pt x="344" y="210"/>
                  </a:cubicBezTo>
                  <a:cubicBezTo>
                    <a:pt x="336" y="219"/>
                    <a:pt x="334" y="224"/>
                    <a:pt x="334" y="229"/>
                  </a:cubicBezTo>
                  <a:cubicBezTo>
                    <a:pt x="334" y="234"/>
                    <a:pt x="336" y="239"/>
                    <a:pt x="344" y="248"/>
                  </a:cubicBezTo>
                  <a:cubicBezTo>
                    <a:pt x="519" y="442"/>
                    <a:pt x="519" y="442"/>
                    <a:pt x="519" y="442"/>
                  </a:cubicBezTo>
                  <a:cubicBezTo>
                    <a:pt x="526" y="450"/>
                    <a:pt x="535" y="458"/>
                    <a:pt x="545" y="458"/>
                  </a:cubicBezTo>
                  <a:cubicBezTo>
                    <a:pt x="559" y="458"/>
                    <a:pt x="580" y="448"/>
                    <a:pt x="580" y="438"/>
                  </a:cubicBezTo>
                  <a:cubicBezTo>
                    <a:pt x="580" y="433"/>
                    <a:pt x="576" y="428"/>
                    <a:pt x="570" y="421"/>
                  </a:cubicBezTo>
                  <a:cubicBezTo>
                    <a:pt x="411" y="245"/>
                    <a:pt x="411" y="245"/>
                    <a:pt x="411" y="245"/>
                  </a:cubicBezTo>
                  <a:cubicBezTo>
                    <a:pt x="403" y="236"/>
                    <a:pt x="399" y="232"/>
                    <a:pt x="399" y="229"/>
                  </a:cubicBezTo>
                  <a:cubicBezTo>
                    <a:pt x="399" y="226"/>
                    <a:pt x="403" y="222"/>
                    <a:pt x="411" y="213"/>
                  </a:cubicBezTo>
                  <a:moveTo>
                    <a:pt x="252" y="439"/>
                  </a:moveTo>
                  <a:cubicBezTo>
                    <a:pt x="252" y="449"/>
                    <a:pt x="261" y="454"/>
                    <a:pt x="281" y="454"/>
                  </a:cubicBezTo>
                  <a:cubicBezTo>
                    <a:pt x="300" y="454"/>
                    <a:pt x="309" y="449"/>
                    <a:pt x="309" y="439"/>
                  </a:cubicBezTo>
                  <a:cubicBezTo>
                    <a:pt x="309" y="19"/>
                    <a:pt x="309" y="19"/>
                    <a:pt x="309" y="19"/>
                  </a:cubicBezTo>
                  <a:cubicBezTo>
                    <a:pt x="309" y="9"/>
                    <a:pt x="300" y="4"/>
                    <a:pt x="281" y="4"/>
                  </a:cubicBezTo>
                  <a:cubicBezTo>
                    <a:pt x="261" y="4"/>
                    <a:pt x="252" y="9"/>
                    <a:pt x="252" y="19"/>
                  </a:cubicBezTo>
                  <a:lnTo>
                    <a:pt x="252" y="439"/>
                  </a:lnTo>
                  <a:close/>
                  <a:moveTo>
                    <a:pt x="0" y="439"/>
                  </a:moveTo>
                  <a:cubicBezTo>
                    <a:pt x="0" y="449"/>
                    <a:pt x="8" y="454"/>
                    <a:pt x="28" y="454"/>
                  </a:cubicBezTo>
                  <a:cubicBezTo>
                    <a:pt x="48" y="454"/>
                    <a:pt x="56" y="449"/>
                    <a:pt x="56" y="439"/>
                  </a:cubicBezTo>
                  <a:cubicBezTo>
                    <a:pt x="56" y="157"/>
                    <a:pt x="56" y="157"/>
                    <a:pt x="56" y="157"/>
                  </a:cubicBezTo>
                  <a:cubicBezTo>
                    <a:pt x="56" y="83"/>
                    <a:pt x="85" y="53"/>
                    <a:pt x="165" y="53"/>
                  </a:cubicBezTo>
                  <a:cubicBezTo>
                    <a:pt x="180" y="53"/>
                    <a:pt x="180" y="53"/>
                    <a:pt x="180" y="53"/>
                  </a:cubicBezTo>
                  <a:cubicBezTo>
                    <a:pt x="192" y="53"/>
                    <a:pt x="196" y="43"/>
                    <a:pt x="196" y="27"/>
                  </a:cubicBezTo>
                  <a:cubicBezTo>
                    <a:pt x="196" y="8"/>
                    <a:pt x="185" y="4"/>
                    <a:pt x="154" y="4"/>
                  </a:cubicBezTo>
                  <a:cubicBezTo>
                    <a:pt x="64" y="4"/>
                    <a:pt x="0" y="43"/>
                    <a:pt x="0" y="152"/>
                  </a:cubicBezTo>
                  <a:lnTo>
                    <a:pt x="0" y="43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17" name="Freeform 10">
              <a:extLst>
                <a:ext uri="{FF2B5EF4-FFF2-40B4-BE49-F238E27FC236}">
                  <a16:creationId xmlns:a16="http://schemas.microsoft.com/office/drawing/2014/main" id="{2B91B16B-BC11-E547-8FAC-B9B8D18EA449}"/>
                </a:ext>
              </a:extLst>
            </p:cNvPr>
            <p:cNvSpPr>
              <a:spLocks/>
            </p:cNvSpPr>
            <p:nvPr/>
          </p:nvSpPr>
          <p:spPr bwMode="gray">
            <a:xfrm>
              <a:off x="2880" y="1704"/>
              <a:ext cx="618" cy="916"/>
            </a:xfrm>
            <a:custGeom>
              <a:avLst/>
              <a:gdLst>
                <a:gd name="T0" fmla="*/ 307 w 307"/>
                <a:gd name="T1" fmla="*/ 405 h 455"/>
                <a:gd name="T2" fmla="*/ 307 w 307"/>
                <a:gd name="T3" fmla="*/ 244 h 455"/>
                <a:gd name="T4" fmla="*/ 279 w 307"/>
                <a:gd name="T5" fmla="*/ 229 h 455"/>
                <a:gd name="T6" fmla="*/ 250 w 307"/>
                <a:gd name="T7" fmla="*/ 244 h 455"/>
                <a:gd name="T8" fmla="*/ 250 w 307"/>
                <a:gd name="T9" fmla="*/ 378 h 455"/>
                <a:gd name="T10" fmla="*/ 199 w 307"/>
                <a:gd name="T11" fmla="*/ 408 h 455"/>
                <a:gd name="T12" fmla="*/ 61 w 307"/>
                <a:gd name="T13" fmla="*/ 231 h 455"/>
                <a:gd name="T14" fmla="*/ 238 w 307"/>
                <a:gd name="T15" fmla="*/ 49 h 455"/>
                <a:gd name="T16" fmla="*/ 270 w 307"/>
                <a:gd name="T17" fmla="*/ 49 h 455"/>
                <a:gd name="T18" fmla="*/ 286 w 307"/>
                <a:gd name="T19" fmla="*/ 23 h 455"/>
                <a:gd name="T20" fmla="*/ 244 w 307"/>
                <a:gd name="T21" fmla="*/ 0 h 455"/>
                <a:gd name="T22" fmla="*/ 231 w 307"/>
                <a:gd name="T23" fmla="*/ 0 h 455"/>
                <a:gd name="T24" fmla="*/ 0 w 307"/>
                <a:gd name="T25" fmla="*/ 232 h 455"/>
                <a:gd name="T26" fmla="*/ 198 w 307"/>
                <a:gd name="T27" fmla="*/ 455 h 455"/>
                <a:gd name="T28" fmla="*/ 307 w 307"/>
                <a:gd name="T29" fmla="*/ 405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7" h="455">
                  <a:moveTo>
                    <a:pt x="307" y="405"/>
                  </a:moveTo>
                  <a:cubicBezTo>
                    <a:pt x="307" y="244"/>
                    <a:pt x="307" y="244"/>
                    <a:pt x="307" y="244"/>
                  </a:cubicBezTo>
                  <a:cubicBezTo>
                    <a:pt x="307" y="234"/>
                    <a:pt x="298" y="229"/>
                    <a:pt x="279" y="229"/>
                  </a:cubicBezTo>
                  <a:cubicBezTo>
                    <a:pt x="259" y="229"/>
                    <a:pt x="250" y="234"/>
                    <a:pt x="250" y="244"/>
                  </a:cubicBezTo>
                  <a:cubicBezTo>
                    <a:pt x="250" y="378"/>
                    <a:pt x="250" y="378"/>
                    <a:pt x="250" y="378"/>
                  </a:cubicBezTo>
                  <a:cubicBezTo>
                    <a:pt x="250" y="399"/>
                    <a:pt x="241" y="408"/>
                    <a:pt x="199" y="408"/>
                  </a:cubicBezTo>
                  <a:cubicBezTo>
                    <a:pt x="114" y="408"/>
                    <a:pt x="61" y="342"/>
                    <a:pt x="61" y="231"/>
                  </a:cubicBezTo>
                  <a:cubicBezTo>
                    <a:pt x="61" y="115"/>
                    <a:pt x="126" y="49"/>
                    <a:pt x="238" y="49"/>
                  </a:cubicBezTo>
                  <a:cubicBezTo>
                    <a:pt x="270" y="49"/>
                    <a:pt x="270" y="49"/>
                    <a:pt x="270" y="49"/>
                  </a:cubicBezTo>
                  <a:cubicBezTo>
                    <a:pt x="282" y="49"/>
                    <a:pt x="286" y="39"/>
                    <a:pt x="286" y="23"/>
                  </a:cubicBezTo>
                  <a:cubicBezTo>
                    <a:pt x="286" y="4"/>
                    <a:pt x="275" y="0"/>
                    <a:pt x="244" y="0"/>
                  </a:cubicBezTo>
                  <a:cubicBezTo>
                    <a:pt x="231" y="0"/>
                    <a:pt x="231" y="0"/>
                    <a:pt x="231" y="0"/>
                  </a:cubicBezTo>
                  <a:cubicBezTo>
                    <a:pt x="101" y="0"/>
                    <a:pt x="0" y="71"/>
                    <a:pt x="0" y="232"/>
                  </a:cubicBezTo>
                  <a:cubicBezTo>
                    <a:pt x="0" y="386"/>
                    <a:pt x="88" y="455"/>
                    <a:pt x="198" y="455"/>
                  </a:cubicBezTo>
                  <a:cubicBezTo>
                    <a:pt x="286" y="455"/>
                    <a:pt x="307" y="430"/>
                    <a:pt x="307" y="40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18" name="Oval 11">
              <a:extLst>
                <a:ext uri="{FF2B5EF4-FFF2-40B4-BE49-F238E27FC236}">
                  <a16:creationId xmlns:a16="http://schemas.microsoft.com/office/drawing/2014/main" id="{14F8C3C8-4888-7646-B9B4-64EB46A1DA23}"/>
                </a:ext>
              </a:extLst>
            </p:cNvPr>
            <p:cNvSpPr>
              <a:spLocks noChangeArrowheads="1"/>
            </p:cNvSpPr>
            <p:nvPr/>
          </p:nvSpPr>
          <p:spPr bwMode="gray">
            <a:xfrm>
              <a:off x="3778" y="2099"/>
              <a:ext cx="122" cy="12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19" name="Freeform 12">
              <a:extLst>
                <a:ext uri="{FF2B5EF4-FFF2-40B4-BE49-F238E27FC236}">
                  <a16:creationId xmlns:a16="http://schemas.microsoft.com/office/drawing/2014/main" id="{D79D01D1-4E3E-F34B-97D7-2D387E68746E}"/>
                </a:ext>
              </a:extLst>
            </p:cNvPr>
            <p:cNvSpPr>
              <a:spLocks/>
            </p:cNvSpPr>
            <p:nvPr/>
          </p:nvSpPr>
          <p:spPr bwMode="gray">
            <a:xfrm>
              <a:off x="4321" y="1029"/>
              <a:ext cx="648" cy="649"/>
            </a:xfrm>
            <a:custGeom>
              <a:avLst/>
              <a:gdLst>
                <a:gd name="T0" fmla="*/ 0 w 648"/>
                <a:gd name="T1" fmla="*/ 649 h 649"/>
                <a:gd name="T2" fmla="*/ 2 w 648"/>
                <a:gd name="T3" fmla="*/ 649 h 649"/>
                <a:gd name="T4" fmla="*/ 648 w 648"/>
                <a:gd name="T5" fmla="*/ 0 h 649"/>
                <a:gd name="T6" fmla="*/ 423 w 648"/>
                <a:gd name="T7" fmla="*/ 0 h 649"/>
                <a:gd name="T8" fmla="*/ 0 w 648"/>
                <a:gd name="T9" fmla="*/ 649 h 649"/>
              </a:gdLst>
              <a:ahLst/>
              <a:cxnLst>
                <a:cxn ang="0">
                  <a:pos x="T0" y="T1"/>
                </a:cxn>
                <a:cxn ang="0">
                  <a:pos x="T2" y="T3"/>
                </a:cxn>
                <a:cxn ang="0">
                  <a:pos x="T4" y="T5"/>
                </a:cxn>
                <a:cxn ang="0">
                  <a:pos x="T6" y="T7"/>
                </a:cxn>
                <a:cxn ang="0">
                  <a:pos x="T8" y="T9"/>
                </a:cxn>
              </a:cxnLst>
              <a:rect l="0" t="0" r="r" b="b"/>
              <a:pathLst>
                <a:path w="648" h="649">
                  <a:moveTo>
                    <a:pt x="0" y="649"/>
                  </a:moveTo>
                  <a:lnTo>
                    <a:pt x="2" y="649"/>
                  </a:lnTo>
                  <a:lnTo>
                    <a:pt x="648" y="0"/>
                  </a:lnTo>
                  <a:lnTo>
                    <a:pt x="423" y="0"/>
                  </a:lnTo>
                  <a:lnTo>
                    <a:pt x="0" y="64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20" name="Freeform 13">
              <a:extLst>
                <a:ext uri="{FF2B5EF4-FFF2-40B4-BE49-F238E27FC236}">
                  <a16:creationId xmlns:a16="http://schemas.microsoft.com/office/drawing/2014/main" id="{46549898-6C52-B147-A8F6-A73FDBE6163B}"/>
                </a:ext>
              </a:extLst>
            </p:cNvPr>
            <p:cNvSpPr>
              <a:spLocks/>
            </p:cNvSpPr>
            <p:nvPr/>
          </p:nvSpPr>
          <p:spPr bwMode="gray">
            <a:xfrm>
              <a:off x="4321" y="1029"/>
              <a:ext cx="648" cy="649"/>
            </a:xfrm>
            <a:custGeom>
              <a:avLst/>
              <a:gdLst>
                <a:gd name="T0" fmla="*/ 0 w 648"/>
                <a:gd name="T1" fmla="*/ 649 h 649"/>
                <a:gd name="T2" fmla="*/ 2 w 648"/>
                <a:gd name="T3" fmla="*/ 649 h 649"/>
                <a:gd name="T4" fmla="*/ 648 w 648"/>
                <a:gd name="T5" fmla="*/ 0 h 649"/>
                <a:gd name="T6" fmla="*/ 423 w 648"/>
                <a:gd name="T7" fmla="*/ 0 h 649"/>
                <a:gd name="T8" fmla="*/ 0 w 648"/>
                <a:gd name="T9" fmla="*/ 649 h 649"/>
              </a:gdLst>
              <a:ahLst/>
              <a:cxnLst>
                <a:cxn ang="0">
                  <a:pos x="T0" y="T1"/>
                </a:cxn>
                <a:cxn ang="0">
                  <a:pos x="T2" y="T3"/>
                </a:cxn>
                <a:cxn ang="0">
                  <a:pos x="T4" y="T5"/>
                </a:cxn>
                <a:cxn ang="0">
                  <a:pos x="T6" y="T7"/>
                </a:cxn>
                <a:cxn ang="0">
                  <a:pos x="T8" y="T9"/>
                </a:cxn>
              </a:cxnLst>
              <a:rect l="0" t="0" r="r" b="b"/>
              <a:pathLst>
                <a:path w="648" h="649">
                  <a:moveTo>
                    <a:pt x="0" y="649"/>
                  </a:moveTo>
                  <a:lnTo>
                    <a:pt x="2" y="649"/>
                  </a:lnTo>
                  <a:lnTo>
                    <a:pt x="648" y="0"/>
                  </a:lnTo>
                  <a:lnTo>
                    <a:pt x="423" y="0"/>
                  </a:lnTo>
                  <a:lnTo>
                    <a:pt x="0" y="64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grpSp>
    </p:spTree>
    <p:extLst>
      <p:ext uri="{BB962C8B-B14F-4D97-AF65-F5344CB8AC3E}">
        <p14:creationId xmlns:p14="http://schemas.microsoft.com/office/powerpoint/2010/main" val="1178575558"/>
      </p:ext>
    </p:extLst>
  </p:cSld>
  <p:clrMapOvr>
    <a:masterClrMapping/>
  </p:clrMapOvr>
</p:sldLayout>
</file>

<file path=ppt/slideLayouts/slideLayout393.xml><?xml version="1.0" encoding="utf-8"?>
<p:sldLayout xmlns:a="http://schemas.openxmlformats.org/drawingml/2006/main" xmlns:r="http://schemas.openxmlformats.org/officeDocument/2006/relationships" xmlns:p="http://schemas.openxmlformats.org/presentationml/2006/main" preserve="1">
  <p:cSld name="Headline only">
    <p:spTree>
      <p:nvGrpSpPr>
        <p:cNvPr id="1" name=""/>
        <p:cNvGrpSpPr/>
        <p:nvPr/>
      </p:nvGrpSpPr>
      <p:grpSpPr>
        <a:xfrm>
          <a:off x="0" y="0"/>
          <a:ext cx="0" cy="0"/>
          <a:chOff x="0" y="0"/>
          <a:chExt cx="0" cy="0"/>
        </a:xfrm>
      </p:grpSpPr>
      <p:sp>
        <p:nvSpPr>
          <p:cNvPr id="21" name="Date Placeholder 20"/>
          <p:cNvSpPr>
            <a:spLocks noGrp="1"/>
          </p:cNvSpPr>
          <p:nvPr>
            <p:ph type="dt" sz="half" idx="14"/>
          </p:nvPr>
        </p:nvSpPr>
        <p:spPr/>
        <p:txBody>
          <a:bodyPr/>
          <a:lstStyle/>
          <a:p>
            <a:endParaRPr lang="en-US"/>
          </a:p>
        </p:txBody>
      </p:sp>
      <p:sp>
        <p:nvSpPr>
          <p:cNvPr id="22" name="Footer Placeholder 21"/>
          <p:cNvSpPr>
            <a:spLocks noGrp="1"/>
          </p:cNvSpPr>
          <p:nvPr>
            <p:ph type="ftr" sz="quarter" idx="15"/>
          </p:nvPr>
        </p:nvSpPr>
        <p:spPr/>
        <p:txBody>
          <a:bodyPr/>
          <a:lstStyle/>
          <a:p>
            <a:endParaRPr lang="en-US"/>
          </a:p>
        </p:txBody>
      </p:sp>
      <p:sp>
        <p:nvSpPr>
          <p:cNvPr id="23" name="Slide Number Placeholder 22"/>
          <p:cNvSpPr>
            <a:spLocks noGrp="1"/>
          </p:cNvSpPr>
          <p:nvPr>
            <p:ph type="sldNum" sz="quarter" idx="16"/>
          </p:nvPr>
        </p:nvSpPr>
        <p:spPr/>
        <p:txBody>
          <a:bodyPr/>
          <a:lstStyle/>
          <a:p>
            <a:fld id="{5F3E29E4-0979-4FCA-B4C5-5FC6044C982A}" type="slidenum">
              <a:rPr lang="en-US" smtClean="0"/>
              <a:t>‹#›</a:t>
            </a:fld>
            <a:endParaRPr lang="en-US"/>
          </a:p>
        </p:txBody>
      </p:sp>
      <p:sp>
        <p:nvSpPr>
          <p:cNvPr id="2" name="Title 1"/>
          <p:cNvSpPr>
            <a:spLocks noGrp="1"/>
          </p:cNvSpPr>
          <p:nvPr>
            <p:ph type="title" hasCustomPrompt="1"/>
          </p:nvPr>
        </p:nvSpPr>
        <p:spPr/>
        <p:txBody>
          <a:bodyPr/>
          <a:lstStyle>
            <a:lvl1pPr>
              <a:defRPr/>
            </a:lvl1pPr>
          </a:lstStyle>
          <a:p>
            <a:r>
              <a:rPr lang="en-US"/>
              <a:t>Click to add slide title</a:t>
            </a:r>
          </a:p>
        </p:txBody>
      </p:sp>
      <p:sp>
        <p:nvSpPr>
          <p:cNvPr id="7" name="Subtitle 2"/>
          <p:cNvSpPr>
            <a:spLocks noGrp="1"/>
          </p:cNvSpPr>
          <p:nvPr>
            <p:ph type="subTitle" idx="13" hasCustomPrompt="1"/>
          </p:nvPr>
        </p:nvSpPr>
        <p:spPr>
          <a:xfrm>
            <a:off x="1075061" y="964671"/>
            <a:ext cx="7910158" cy="490042"/>
          </a:xfrm>
        </p:spPr>
        <p:txBody>
          <a:bodyPr wrap="none"/>
          <a:lstStyle>
            <a:lvl1pPr marL="0" indent="0" algn="l">
              <a:spcBef>
                <a:spcPts val="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sp>
        <p:nvSpPr>
          <p:cNvPr id="9" name="Text Placeholder 4"/>
          <p:cNvSpPr>
            <a:spLocks noGrp="1"/>
          </p:cNvSpPr>
          <p:nvPr>
            <p:ph type="body" sz="quarter" idx="17" hasCustomPrompt="1"/>
          </p:nvPr>
        </p:nvSpPr>
        <p:spPr>
          <a:xfrm>
            <a:off x="1075063" y="6307665"/>
            <a:ext cx="8162717" cy="133200"/>
          </a:xfrm>
        </p:spPr>
        <p:txBody>
          <a:bodyPr lIns="0" tIns="0" rIns="0" bIns="0" anchor="b" anchorCtr="0"/>
          <a:lstStyle>
            <a:lvl1pPr marL="0" indent="0" algn="l">
              <a:lnSpc>
                <a:spcPct val="100000"/>
              </a:lnSpc>
              <a:spcBef>
                <a:spcPts val="0"/>
              </a:spcBef>
              <a:buNone/>
              <a:defRPr sz="800" baseline="0"/>
            </a:lvl1pPr>
            <a:lvl2pPr marL="0" indent="0" algn="l">
              <a:lnSpc>
                <a:spcPct val="100000"/>
              </a:lnSpc>
              <a:spcBef>
                <a:spcPts val="0"/>
              </a:spcBef>
              <a:buNone/>
              <a:defRPr sz="800"/>
            </a:lvl2pPr>
            <a:lvl3pPr marL="0" indent="0" algn="l">
              <a:lnSpc>
                <a:spcPct val="100000"/>
              </a:lnSpc>
              <a:spcBef>
                <a:spcPts val="0"/>
              </a:spcBef>
              <a:buNone/>
              <a:defRPr sz="800"/>
            </a:lvl3pPr>
            <a:lvl4pPr marL="0" algn="l">
              <a:lnSpc>
                <a:spcPct val="100000"/>
              </a:lnSpc>
              <a:spcBef>
                <a:spcPts val="0"/>
              </a:spcBef>
              <a:buNone/>
              <a:defRPr sz="800"/>
            </a:lvl4pPr>
            <a:lvl5pPr marL="0" indent="0" algn="l">
              <a:lnSpc>
                <a:spcPct val="100000"/>
              </a:lnSpc>
              <a:spcBef>
                <a:spcPts val="0"/>
              </a:spcBef>
              <a:buNone/>
              <a:defRPr sz="800"/>
            </a:lvl5pPr>
          </a:lstStyle>
          <a:p>
            <a:pPr lvl="0"/>
            <a:r>
              <a:rPr lang="en-US"/>
              <a:t>Source line</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96206504"/>
      </p:ext>
    </p:extLst>
  </p:cSld>
  <p:clrMapOvr>
    <a:masterClrMapping/>
  </p:clrMapOvr>
</p:sldLayout>
</file>

<file path=ppt/slideLayouts/slideLayout394.xml><?xml version="1.0" encoding="utf-8"?>
<p:sldLayout xmlns:a="http://schemas.openxmlformats.org/drawingml/2006/main" xmlns:r="http://schemas.openxmlformats.org/officeDocument/2006/relationships" xmlns:p="http://schemas.openxmlformats.org/presentationml/2006/main" preserve="1">
  <p:cSld name="One content">
    <p:spTree>
      <p:nvGrpSpPr>
        <p:cNvPr id="1" name=""/>
        <p:cNvGrpSpPr/>
        <p:nvPr/>
      </p:nvGrpSpPr>
      <p:grpSpPr>
        <a:xfrm>
          <a:off x="0" y="0"/>
          <a:ext cx="0" cy="0"/>
          <a:chOff x="0" y="0"/>
          <a:chExt cx="0" cy="0"/>
        </a:xfrm>
      </p:grpSpPr>
      <p:sp>
        <p:nvSpPr>
          <p:cNvPr id="21" name="Date Placeholder 20"/>
          <p:cNvSpPr>
            <a:spLocks noGrp="1"/>
          </p:cNvSpPr>
          <p:nvPr>
            <p:ph type="dt" sz="half" idx="14"/>
          </p:nvPr>
        </p:nvSpPr>
        <p:spPr/>
        <p:txBody>
          <a:bodyPr/>
          <a:lstStyle/>
          <a:p>
            <a:endParaRPr lang="en-US"/>
          </a:p>
        </p:txBody>
      </p:sp>
      <p:sp>
        <p:nvSpPr>
          <p:cNvPr id="22" name="Footer Placeholder 21"/>
          <p:cNvSpPr>
            <a:spLocks noGrp="1"/>
          </p:cNvSpPr>
          <p:nvPr>
            <p:ph type="ftr" sz="quarter" idx="15"/>
          </p:nvPr>
        </p:nvSpPr>
        <p:spPr/>
        <p:txBody>
          <a:bodyPr/>
          <a:lstStyle/>
          <a:p>
            <a:endParaRPr lang="en-US"/>
          </a:p>
        </p:txBody>
      </p:sp>
      <p:sp>
        <p:nvSpPr>
          <p:cNvPr id="23" name="Slide Number Placeholder 22"/>
          <p:cNvSpPr>
            <a:spLocks noGrp="1"/>
          </p:cNvSpPr>
          <p:nvPr>
            <p:ph type="sldNum" sz="quarter" idx="16"/>
          </p:nvPr>
        </p:nvSpPr>
        <p:spPr/>
        <p:txBody>
          <a:bodyPr/>
          <a:lstStyle/>
          <a:p>
            <a:fld id="{5F3E29E4-0979-4FCA-B4C5-5FC6044C982A}" type="slidenum">
              <a:rPr lang="en-US" smtClean="0"/>
              <a:t>‹#›</a:t>
            </a:fld>
            <a:endParaRPr lang="en-US"/>
          </a:p>
        </p:txBody>
      </p:sp>
      <p:sp>
        <p:nvSpPr>
          <p:cNvPr id="2" name="Title 1"/>
          <p:cNvSpPr>
            <a:spLocks noGrp="1"/>
          </p:cNvSpPr>
          <p:nvPr>
            <p:ph type="title" hasCustomPrompt="1"/>
          </p:nvPr>
        </p:nvSpPr>
        <p:spPr/>
        <p:txBody>
          <a:bodyPr/>
          <a:lstStyle>
            <a:lvl1pPr>
              <a:defRPr/>
            </a:lvl1pPr>
          </a:lstStyle>
          <a:p>
            <a:r>
              <a:rPr lang="en-US"/>
              <a:t>Click to add slide title</a:t>
            </a:r>
          </a:p>
        </p:txBody>
      </p:sp>
      <p:sp>
        <p:nvSpPr>
          <p:cNvPr id="7" name="Subtitle 2"/>
          <p:cNvSpPr>
            <a:spLocks noGrp="1"/>
          </p:cNvSpPr>
          <p:nvPr>
            <p:ph type="subTitle" idx="13" hasCustomPrompt="1"/>
          </p:nvPr>
        </p:nvSpPr>
        <p:spPr>
          <a:xfrm>
            <a:off x="1075061" y="964671"/>
            <a:ext cx="7910158" cy="490042"/>
          </a:xfrm>
        </p:spPr>
        <p:txBody>
          <a:bodyPr wrap="none"/>
          <a:lstStyle>
            <a:lvl1pPr marL="0" indent="0" algn="l">
              <a:spcBef>
                <a:spcPts val="0"/>
              </a:spcBef>
              <a:buNone/>
              <a:defRPr sz="2400" baseline="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sp>
        <p:nvSpPr>
          <p:cNvPr id="3" name="Content Placeholder 2"/>
          <p:cNvSpPr>
            <a:spLocks noGrp="1"/>
          </p:cNvSpPr>
          <p:nvPr>
            <p:ph idx="1" hasCustomPrompt="1"/>
          </p:nvPr>
        </p:nvSpPr>
        <p:spPr/>
        <p:txBody>
          <a:bodyPr/>
          <a:lstStyle>
            <a:lvl1pPr>
              <a:defRPr baseline="0"/>
            </a:lvl1pPr>
          </a:lstStyle>
          <a:p>
            <a:pPr lvl="0"/>
            <a:r>
              <a:rPr lang="en-US"/>
              <a:t>Click to add text or content</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17" hasCustomPrompt="1"/>
          </p:nvPr>
        </p:nvSpPr>
        <p:spPr>
          <a:xfrm>
            <a:off x="1075063" y="6307665"/>
            <a:ext cx="8162717" cy="133200"/>
          </a:xfrm>
        </p:spPr>
        <p:txBody>
          <a:bodyPr lIns="0" tIns="0" rIns="0" bIns="0" anchor="b" anchorCtr="0"/>
          <a:lstStyle>
            <a:lvl1pPr marL="0" indent="0" algn="l">
              <a:lnSpc>
                <a:spcPct val="100000"/>
              </a:lnSpc>
              <a:spcBef>
                <a:spcPts val="0"/>
              </a:spcBef>
              <a:buNone/>
              <a:defRPr sz="800" baseline="0"/>
            </a:lvl1pPr>
            <a:lvl2pPr marL="0" indent="0" algn="l">
              <a:lnSpc>
                <a:spcPct val="100000"/>
              </a:lnSpc>
              <a:spcBef>
                <a:spcPts val="0"/>
              </a:spcBef>
              <a:buNone/>
              <a:defRPr sz="800"/>
            </a:lvl2pPr>
            <a:lvl3pPr marL="0" indent="0" algn="l">
              <a:lnSpc>
                <a:spcPct val="100000"/>
              </a:lnSpc>
              <a:spcBef>
                <a:spcPts val="0"/>
              </a:spcBef>
              <a:buNone/>
              <a:defRPr sz="800"/>
            </a:lvl3pPr>
            <a:lvl4pPr marL="0" algn="l">
              <a:lnSpc>
                <a:spcPct val="100000"/>
              </a:lnSpc>
              <a:spcBef>
                <a:spcPts val="0"/>
              </a:spcBef>
              <a:buNone/>
              <a:defRPr sz="800"/>
            </a:lvl4pPr>
            <a:lvl5pPr marL="0" indent="0" algn="l">
              <a:lnSpc>
                <a:spcPct val="100000"/>
              </a:lnSpc>
              <a:spcBef>
                <a:spcPts val="0"/>
              </a:spcBef>
              <a:buNone/>
              <a:defRPr sz="800"/>
            </a:lvl5pPr>
          </a:lstStyle>
          <a:p>
            <a:pPr lvl="0"/>
            <a:r>
              <a:rPr lang="en-US"/>
              <a:t>Source line</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07543855"/>
      </p:ext>
    </p:extLst>
  </p:cSld>
  <p:clrMapOvr>
    <a:masterClrMapping/>
  </p:clrMapOvr>
</p:sldLayout>
</file>

<file path=ppt/slideLayouts/slideLayout395.xml><?xml version="1.0" encoding="utf-8"?>
<p:sldLayout xmlns:a="http://schemas.openxmlformats.org/drawingml/2006/main" xmlns:r="http://schemas.openxmlformats.org/officeDocument/2006/relationships" xmlns:p="http://schemas.openxmlformats.org/presentationml/2006/main" preserve="1">
  <p:cSld name="Content and picture">
    <p:spTree>
      <p:nvGrpSpPr>
        <p:cNvPr id="1" name=""/>
        <p:cNvGrpSpPr/>
        <p:nvPr/>
      </p:nvGrpSpPr>
      <p:grpSpPr>
        <a:xfrm>
          <a:off x="0" y="0"/>
          <a:ext cx="0" cy="0"/>
          <a:chOff x="0" y="0"/>
          <a:chExt cx="0" cy="0"/>
        </a:xfrm>
      </p:grpSpPr>
      <p:sp>
        <p:nvSpPr>
          <p:cNvPr id="21" name="Date Placeholder 20"/>
          <p:cNvSpPr>
            <a:spLocks noGrp="1"/>
          </p:cNvSpPr>
          <p:nvPr>
            <p:ph type="dt" sz="half" idx="14"/>
          </p:nvPr>
        </p:nvSpPr>
        <p:spPr/>
        <p:txBody>
          <a:bodyPr/>
          <a:lstStyle/>
          <a:p>
            <a:endParaRPr lang="en-US"/>
          </a:p>
        </p:txBody>
      </p:sp>
      <p:sp>
        <p:nvSpPr>
          <p:cNvPr id="22" name="Footer Placeholder 21"/>
          <p:cNvSpPr>
            <a:spLocks noGrp="1"/>
          </p:cNvSpPr>
          <p:nvPr>
            <p:ph type="ftr" sz="quarter" idx="15"/>
          </p:nvPr>
        </p:nvSpPr>
        <p:spPr/>
        <p:txBody>
          <a:bodyPr/>
          <a:lstStyle/>
          <a:p>
            <a:endParaRPr lang="en-US"/>
          </a:p>
        </p:txBody>
      </p:sp>
      <p:sp>
        <p:nvSpPr>
          <p:cNvPr id="23" name="Slide Number Placeholder 22"/>
          <p:cNvSpPr>
            <a:spLocks noGrp="1"/>
          </p:cNvSpPr>
          <p:nvPr>
            <p:ph type="sldNum" sz="quarter" idx="16"/>
          </p:nvPr>
        </p:nvSpPr>
        <p:spPr/>
        <p:txBody>
          <a:bodyPr/>
          <a:lstStyle/>
          <a:p>
            <a:fld id="{5F3E29E4-0979-4FCA-B4C5-5FC6044C982A}" type="slidenum">
              <a:rPr lang="en-US" smtClean="0"/>
              <a:t>‹#›</a:t>
            </a:fld>
            <a:endParaRPr lang="en-US"/>
          </a:p>
        </p:txBody>
      </p:sp>
      <p:sp>
        <p:nvSpPr>
          <p:cNvPr id="2" name="Title 1"/>
          <p:cNvSpPr>
            <a:spLocks noGrp="1"/>
          </p:cNvSpPr>
          <p:nvPr>
            <p:ph type="title" hasCustomPrompt="1"/>
          </p:nvPr>
        </p:nvSpPr>
        <p:spPr/>
        <p:txBody>
          <a:bodyPr/>
          <a:lstStyle>
            <a:lvl1pPr>
              <a:defRPr/>
            </a:lvl1pPr>
          </a:lstStyle>
          <a:p>
            <a:r>
              <a:rPr lang="en-US"/>
              <a:t>Click to add slide title</a:t>
            </a:r>
          </a:p>
        </p:txBody>
      </p:sp>
      <p:sp>
        <p:nvSpPr>
          <p:cNvPr id="7" name="Subtitle 2"/>
          <p:cNvSpPr>
            <a:spLocks noGrp="1"/>
          </p:cNvSpPr>
          <p:nvPr>
            <p:ph type="subTitle" idx="13" hasCustomPrompt="1"/>
          </p:nvPr>
        </p:nvSpPr>
        <p:spPr>
          <a:xfrm>
            <a:off x="1075061" y="964671"/>
            <a:ext cx="7910158" cy="490042"/>
          </a:xfrm>
        </p:spPr>
        <p:txBody>
          <a:bodyPr wrap="none"/>
          <a:lstStyle>
            <a:lvl1pPr marL="0" indent="0" algn="l">
              <a:spcBef>
                <a:spcPts val="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sp>
        <p:nvSpPr>
          <p:cNvPr id="3" name="Content Placeholder 2"/>
          <p:cNvSpPr>
            <a:spLocks noGrp="1"/>
          </p:cNvSpPr>
          <p:nvPr>
            <p:ph idx="1" hasCustomPrompt="1"/>
          </p:nvPr>
        </p:nvSpPr>
        <p:spPr>
          <a:xfrm>
            <a:off x="1075062" y="1629618"/>
            <a:ext cx="5220000" cy="4139357"/>
          </a:xfrm>
        </p:spPr>
        <p:txBody>
          <a:bodyPr/>
          <a:lstStyle>
            <a:lvl1pPr>
              <a:defRPr/>
            </a:lvl1pPr>
          </a:lstStyle>
          <a:p>
            <a:pPr lvl="0"/>
            <a:r>
              <a:rPr lang="en-US"/>
              <a:t>Click to add text or content</a:t>
            </a:r>
          </a:p>
          <a:p>
            <a:pPr lvl="1"/>
            <a:r>
              <a:rPr lang="en-US"/>
              <a:t>Second level</a:t>
            </a:r>
          </a:p>
          <a:p>
            <a:pPr lvl="2"/>
            <a:r>
              <a:rPr lang="en-US"/>
              <a:t>Third level</a:t>
            </a:r>
          </a:p>
          <a:p>
            <a:pPr lvl="3"/>
            <a:r>
              <a:rPr lang="en-US"/>
              <a:t>Fourth level</a:t>
            </a:r>
          </a:p>
          <a:p>
            <a:pPr lvl="4"/>
            <a:r>
              <a:rPr lang="en-US"/>
              <a:t>Fifth level</a:t>
            </a:r>
          </a:p>
        </p:txBody>
      </p:sp>
      <p:sp>
        <p:nvSpPr>
          <p:cNvPr id="5" name="Picture Placeholder 4"/>
          <p:cNvSpPr>
            <a:spLocks noGrp="1"/>
          </p:cNvSpPr>
          <p:nvPr>
            <p:ph type="pic" sz="quarter" idx="17" hasCustomPrompt="1"/>
          </p:nvPr>
        </p:nvSpPr>
        <p:spPr>
          <a:xfrm>
            <a:off x="6600525" y="1637783"/>
            <a:ext cx="5220000" cy="4599506"/>
          </a:xfrm>
          <a:solidFill>
            <a:srgbClr val="D9DADB"/>
          </a:solidFill>
        </p:spPr>
        <p:txBody>
          <a:bodyPr/>
          <a:lstStyle>
            <a:lvl1pPr marL="0" indent="0">
              <a:buNone/>
              <a:defRPr/>
            </a:lvl1pPr>
          </a:lstStyle>
          <a:p>
            <a:r>
              <a:rPr lang="en-US"/>
              <a:t>Insert picture</a:t>
            </a:r>
          </a:p>
        </p:txBody>
      </p:sp>
      <p:sp>
        <p:nvSpPr>
          <p:cNvPr id="10" name="Text Placeholder 4"/>
          <p:cNvSpPr>
            <a:spLocks noGrp="1"/>
          </p:cNvSpPr>
          <p:nvPr>
            <p:ph type="body" sz="quarter" idx="18" hasCustomPrompt="1"/>
          </p:nvPr>
        </p:nvSpPr>
        <p:spPr>
          <a:xfrm>
            <a:off x="1075063" y="6307665"/>
            <a:ext cx="8162717" cy="133200"/>
          </a:xfrm>
        </p:spPr>
        <p:txBody>
          <a:bodyPr lIns="0" tIns="0" rIns="0" bIns="0" anchor="b" anchorCtr="0"/>
          <a:lstStyle>
            <a:lvl1pPr marL="0" indent="0" algn="l">
              <a:lnSpc>
                <a:spcPct val="100000"/>
              </a:lnSpc>
              <a:spcBef>
                <a:spcPts val="0"/>
              </a:spcBef>
              <a:buNone/>
              <a:defRPr sz="800" baseline="0"/>
            </a:lvl1pPr>
            <a:lvl2pPr marL="0" indent="0" algn="l">
              <a:lnSpc>
                <a:spcPct val="100000"/>
              </a:lnSpc>
              <a:spcBef>
                <a:spcPts val="0"/>
              </a:spcBef>
              <a:buNone/>
              <a:defRPr sz="800"/>
            </a:lvl2pPr>
            <a:lvl3pPr marL="0" indent="0" algn="l">
              <a:lnSpc>
                <a:spcPct val="100000"/>
              </a:lnSpc>
              <a:spcBef>
                <a:spcPts val="0"/>
              </a:spcBef>
              <a:buNone/>
              <a:defRPr sz="800"/>
            </a:lvl3pPr>
            <a:lvl4pPr marL="0" algn="l">
              <a:lnSpc>
                <a:spcPct val="100000"/>
              </a:lnSpc>
              <a:spcBef>
                <a:spcPts val="0"/>
              </a:spcBef>
              <a:buNone/>
              <a:defRPr sz="800"/>
            </a:lvl4pPr>
            <a:lvl5pPr marL="0" indent="0" algn="l">
              <a:lnSpc>
                <a:spcPct val="100000"/>
              </a:lnSpc>
              <a:spcBef>
                <a:spcPts val="0"/>
              </a:spcBef>
              <a:buNone/>
              <a:defRPr sz="800"/>
            </a:lvl5pPr>
          </a:lstStyle>
          <a:p>
            <a:pPr lvl="0"/>
            <a:r>
              <a:rPr lang="en-US"/>
              <a:t>Source line</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60077431"/>
      </p:ext>
    </p:extLst>
  </p:cSld>
  <p:clrMapOvr>
    <a:masterClrMapping/>
  </p:clrMapOvr>
</p:sldLayout>
</file>

<file path=ppt/slideLayouts/slideLayout396.xml><?xml version="1.0" encoding="utf-8"?>
<p:sldLayout xmlns:a="http://schemas.openxmlformats.org/drawingml/2006/main" xmlns:r="http://schemas.openxmlformats.org/officeDocument/2006/relationships" xmlns:p="http://schemas.openxmlformats.org/presentationml/2006/main" preserve="1">
  <p:cSld name="Content with full picture">
    <p:spTree>
      <p:nvGrpSpPr>
        <p:cNvPr id="1" name=""/>
        <p:cNvGrpSpPr/>
        <p:nvPr/>
      </p:nvGrpSpPr>
      <p:grpSpPr>
        <a:xfrm>
          <a:off x="0" y="0"/>
          <a:ext cx="0" cy="0"/>
          <a:chOff x="0" y="0"/>
          <a:chExt cx="0" cy="0"/>
        </a:xfrm>
      </p:grpSpPr>
      <p:sp>
        <p:nvSpPr>
          <p:cNvPr id="12" name="Picture Placeholder 11"/>
          <p:cNvSpPr>
            <a:spLocks noGrp="1"/>
          </p:cNvSpPr>
          <p:nvPr>
            <p:ph type="pic" sz="quarter" idx="17" hasCustomPrompt="1"/>
          </p:nvPr>
        </p:nvSpPr>
        <p:spPr>
          <a:xfrm>
            <a:off x="0" y="0"/>
            <a:ext cx="12193200" cy="6858000"/>
          </a:xfrm>
          <a:prstGeom prst="rect">
            <a:avLst/>
          </a:prstGeom>
          <a:solidFill>
            <a:srgbClr val="D9DADB"/>
          </a:solidFill>
        </p:spPr>
        <p:txBody>
          <a:bodyPr wrap="square">
            <a:noAutofit/>
          </a:bodyPr>
          <a:lstStyle>
            <a:lvl1pPr marL="0" indent="0">
              <a:buNone/>
              <a:defRPr/>
            </a:lvl1pPr>
          </a:lstStyle>
          <a:p>
            <a:r>
              <a:rPr lang="en-US"/>
              <a:t>Insert picture</a:t>
            </a:r>
          </a:p>
        </p:txBody>
      </p:sp>
      <p:sp>
        <p:nvSpPr>
          <p:cNvPr id="9" name="copyright"/>
          <p:cNvSpPr txBox="1"/>
          <p:nvPr/>
        </p:nvSpPr>
        <p:spPr>
          <a:xfrm>
            <a:off x="10672209" y="6237288"/>
            <a:ext cx="500617" cy="358173"/>
          </a:xfrm>
          <a:prstGeom prst="rect">
            <a:avLst/>
          </a:prstGeom>
          <a:noFill/>
        </p:spPr>
        <p:txBody>
          <a:bodyPr wrap="none" lIns="0" tIns="0" rIns="0" bIns="0" rtlCol="0" anchor="b" anchorCtr="0">
            <a:noAutofit/>
          </a:bodyPr>
          <a:lstStyle/>
          <a:p>
            <a:pPr marL="0" indent="0" algn="r">
              <a:lnSpc>
                <a:spcPct val="125000"/>
              </a:lnSpc>
              <a:buClr>
                <a:schemeClr val="tx2"/>
              </a:buClr>
              <a:buFont typeface="Wingdings" panose="05000000000000000000" pitchFamily="2" charset="2"/>
              <a:buNone/>
            </a:pPr>
            <a:r>
              <a:rPr lang="en-US" sz="800">
                <a:solidFill>
                  <a:schemeClr val="bg1"/>
                </a:solidFill>
              </a:rPr>
              <a:t>© GfK</a:t>
            </a:r>
          </a:p>
        </p:txBody>
      </p:sp>
      <p:sp>
        <p:nvSpPr>
          <p:cNvPr id="21" name="Date Placeholder 20"/>
          <p:cNvSpPr>
            <a:spLocks noGrp="1"/>
          </p:cNvSpPr>
          <p:nvPr>
            <p:ph type="dt" sz="half" idx="14"/>
          </p:nvPr>
        </p:nvSpPr>
        <p:spPr/>
        <p:txBody>
          <a:bodyPr/>
          <a:lstStyle>
            <a:lvl1pPr>
              <a:defRPr>
                <a:solidFill>
                  <a:schemeClr val="bg1"/>
                </a:solidFill>
              </a:defRPr>
            </a:lvl1pPr>
          </a:lstStyle>
          <a:p>
            <a:endParaRPr lang="en-US"/>
          </a:p>
        </p:txBody>
      </p:sp>
      <p:sp>
        <p:nvSpPr>
          <p:cNvPr id="22" name="Footer Placeholder 21"/>
          <p:cNvSpPr>
            <a:spLocks noGrp="1"/>
          </p:cNvSpPr>
          <p:nvPr>
            <p:ph type="ftr" sz="quarter" idx="15"/>
          </p:nvPr>
        </p:nvSpPr>
        <p:spPr/>
        <p:txBody>
          <a:bodyPr/>
          <a:lstStyle>
            <a:lvl1pPr>
              <a:defRPr>
                <a:solidFill>
                  <a:schemeClr val="bg1"/>
                </a:solidFill>
              </a:defRPr>
            </a:lvl1pPr>
          </a:lstStyle>
          <a:p>
            <a:endParaRPr lang="en-US"/>
          </a:p>
        </p:txBody>
      </p:sp>
      <p:sp>
        <p:nvSpPr>
          <p:cNvPr id="23" name="Slide Number Placeholder 22"/>
          <p:cNvSpPr>
            <a:spLocks noGrp="1"/>
          </p:cNvSpPr>
          <p:nvPr>
            <p:ph type="sldNum" sz="quarter" idx="16"/>
          </p:nvPr>
        </p:nvSpPr>
        <p:spPr/>
        <p:txBody>
          <a:bodyPr/>
          <a:lstStyle>
            <a:lvl1pPr>
              <a:defRPr>
                <a:solidFill>
                  <a:schemeClr val="bg1"/>
                </a:solidFill>
              </a:defRPr>
            </a:lvl1pPr>
          </a:lstStyle>
          <a:p>
            <a:fld id="{5F3E29E4-0979-4FCA-B4C5-5FC6044C982A}" type="slidenum">
              <a:rPr lang="en-US" smtClean="0"/>
              <a:pPr/>
              <a:t>‹#›</a:t>
            </a:fld>
            <a:endParaRPr lang="en-US"/>
          </a:p>
        </p:txBody>
      </p:sp>
      <p:sp>
        <p:nvSpPr>
          <p:cNvPr id="2" name="Title 1"/>
          <p:cNvSpPr>
            <a:spLocks noGrp="1"/>
          </p:cNvSpPr>
          <p:nvPr>
            <p:ph type="title" hasCustomPrompt="1"/>
          </p:nvPr>
        </p:nvSpPr>
        <p:spPr>
          <a:xfrm>
            <a:off x="6543675" y="1519552"/>
            <a:ext cx="4629150" cy="4249423"/>
          </a:xfrm>
        </p:spPr>
        <p:txBody>
          <a:bodyPr/>
          <a:lstStyle>
            <a:lvl1pPr>
              <a:defRPr>
                <a:solidFill>
                  <a:schemeClr val="bg1"/>
                </a:solidFill>
              </a:defRPr>
            </a:lvl1pPr>
          </a:lstStyle>
          <a:p>
            <a:r>
              <a:rPr lang="en-US"/>
              <a:t>Click to add text</a:t>
            </a:r>
          </a:p>
        </p:txBody>
      </p:sp>
      <p:sp>
        <p:nvSpPr>
          <p:cNvPr id="8" name="Text Placeholder 4"/>
          <p:cNvSpPr>
            <a:spLocks noGrp="1"/>
          </p:cNvSpPr>
          <p:nvPr>
            <p:ph type="body" sz="quarter" idx="18" hasCustomPrompt="1"/>
          </p:nvPr>
        </p:nvSpPr>
        <p:spPr>
          <a:xfrm>
            <a:off x="1075063" y="6307665"/>
            <a:ext cx="8162717" cy="133200"/>
          </a:xfrm>
        </p:spPr>
        <p:txBody>
          <a:bodyPr lIns="0" tIns="0" rIns="0" bIns="0" anchor="b" anchorCtr="0"/>
          <a:lstStyle>
            <a:lvl1pPr marL="0" indent="0" algn="l">
              <a:lnSpc>
                <a:spcPct val="100000"/>
              </a:lnSpc>
              <a:spcBef>
                <a:spcPts val="0"/>
              </a:spcBef>
              <a:buNone/>
              <a:defRPr sz="800" baseline="0">
                <a:solidFill>
                  <a:schemeClr val="bg1"/>
                </a:solidFill>
              </a:defRPr>
            </a:lvl1pPr>
            <a:lvl2pPr marL="0" indent="0" algn="l">
              <a:lnSpc>
                <a:spcPct val="100000"/>
              </a:lnSpc>
              <a:spcBef>
                <a:spcPts val="0"/>
              </a:spcBef>
              <a:buNone/>
              <a:defRPr sz="800">
                <a:solidFill>
                  <a:schemeClr val="bg1"/>
                </a:solidFill>
              </a:defRPr>
            </a:lvl2pPr>
            <a:lvl3pPr marL="0" indent="0" algn="l">
              <a:lnSpc>
                <a:spcPct val="100000"/>
              </a:lnSpc>
              <a:spcBef>
                <a:spcPts val="0"/>
              </a:spcBef>
              <a:buNone/>
              <a:defRPr sz="800">
                <a:solidFill>
                  <a:schemeClr val="bg1"/>
                </a:solidFill>
              </a:defRPr>
            </a:lvl3pPr>
            <a:lvl4pPr marL="0" algn="l">
              <a:lnSpc>
                <a:spcPct val="100000"/>
              </a:lnSpc>
              <a:spcBef>
                <a:spcPts val="0"/>
              </a:spcBef>
              <a:buNone/>
              <a:defRPr sz="800">
                <a:solidFill>
                  <a:schemeClr val="bg1"/>
                </a:solidFill>
              </a:defRPr>
            </a:lvl4pPr>
            <a:lvl5pPr marL="0" indent="0" algn="l">
              <a:lnSpc>
                <a:spcPct val="100000"/>
              </a:lnSpc>
              <a:spcBef>
                <a:spcPts val="0"/>
              </a:spcBef>
              <a:buNone/>
              <a:defRPr sz="800">
                <a:solidFill>
                  <a:schemeClr val="bg1"/>
                </a:solidFill>
              </a:defRPr>
            </a:lvl5pPr>
          </a:lstStyle>
          <a:p>
            <a:pPr lvl="0"/>
            <a:r>
              <a:rPr lang="en-US"/>
              <a:t>Source line</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19390779"/>
      </p:ext>
    </p:extLst>
  </p:cSld>
  <p:clrMapOvr>
    <a:masterClrMapping/>
  </p:clrMapOvr>
</p:sldLayout>
</file>

<file path=ppt/slideLayouts/slideLayout397.xml><?xml version="1.0" encoding="utf-8"?>
<p:sldLayout xmlns:a="http://schemas.openxmlformats.org/drawingml/2006/main" xmlns:r="http://schemas.openxmlformats.org/officeDocument/2006/relationships" xmlns:p="http://schemas.openxmlformats.org/presentationml/2006/main" preserve="1">
  <p:cSld name="Two pictures">
    <p:spTree>
      <p:nvGrpSpPr>
        <p:cNvPr id="1" name=""/>
        <p:cNvGrpSpPr/>
        <p:nvPr/>
      </p:nvGrpSpPr>
      <p:grpSpPr>
        <a:xfrm>
          <a:off x="0" y="0"/>
          <a:ext cx="0" cy="0"/>
          <a:chOff x="0" y="0"/>
          <a:chExt cx="0" cy="0"/>
        </a:xfrm>
      </p:grpSpPr>
      <p:sp>
        <p:nvSpPr>
          <p:cNvPr id="21" name="Date Placeholder 20"/>
          <p:cNvSpPr>
            <a:spLocks noGrp="1"/>
          </p:cNvSpPr>
          <p:nvPr>
            <p:ph type="dt" sz="half" idx="14"/>
          </p:nvPr>
        </p:nvSpPr>
        <p:spPr/>
        <p:txBody>
          <a:bodyPr/>
          <a:lstStyle/>
          <a:p>
            <a:endParaRPr lang="en-US"/>
          </a:p>
        </p:txBody>
      </p:sp>
      <p:sp>
        <p:nvSpPr>
          <p:cNvPr id="22" name="Footer Placeholder 21"/>
          <p:cNvSpPr>
            <a:spLocks noGrp="1"/>
          </p:cNvSpPr>
          <p:nvPr>
            <p:ph type="ftr" sz="quarter" idx="15"/>
          </p:nvPr>
        </p:nvSpPr>
        <p:spPr/>
        <p:txBody>
          <a:bodyPr/>
          <a:lstStyle/>
          <a:p>
            <a:endParaRPr lang="en-US"/>
          </a:p>
        </p:txBody>
      </p:sp>
      <p:sp>
        <p:nvSpPr>
          <p:cNvPr id="23" name="Slide Number Placeholder 22"/>
          <p:cNvSpPr>
            <a:spLocks noGrp="1"/>
          </p:cNvSpPr>
          <p:nvPr>
            <p:ph type="sldNum" sz="quarter" idx="16"/>
          </p:nvPr>
        </p:nvSpPr>
        <p:spPr/>
        <p:txBody>
          <a:bodyPr/>
          <a:lstStyle/>
          <a:p>
            <a:fld id="{5F3E29E4-0979-4FCA-B4C5-5FC6044C982A}" type="slidenum">
              <a:rPr lang="en-US" smtClean="0"/>
              <a:t>‹#›</a:t>
            </a:fld>
            <a:endParaRPr lang="en-US"/>
          </a:p>
        </p:txBody>
      </p:sp>
      <p:sp>
        <p:nvSpPr>
          <p:cNvPr id="2" name="Title 1"/>
          <p:cNvSpPr>
            <a:spLocks noGrp="1"/>
          </p:cNvSpPr>
          <p:nvPr>
            <p:ph type="title" hasCustomPrompt="1"/>
          </p:nvPr>
        </p:nvSpPr>
        <p:spPr/>
        <p:txBody>
          <a:bodyPr/>
          <a:lstStyle>
            <a:lvl1pPr>
              <a:defRPr/>
            </a:lvl1pPr>
          </a:lstStyle>
          <a:p>
            <a:r>
              <a:rPr lang="en-US"/>
              <a:t>Click to add slide title</a:t>
            </a:r>
          </a:p>
        </p:txBody>
      </p:sp>
      <p:sp>
        <p:nvSpPr>
          <p:cNvPr id="7" name="Subtitle 2"/>
          <p:cNvSpPr>
            <a:spLocks noGrp="1"/>
          </p:cNvSpPr>
          <p:nvPr>
            <p:ph type="subTitle" idx="13" hasCustomPrompt="1"/>
          </p:nvPr>
        </p:nvSpPr>
        <p:spPr>
          <a:xfrm>
            <a:off x="1075061" y="964671"/>
            <a:ext cx="7910158" cy="490042"/>
          </a:xfrm>
        </p:spPr>
        <p:txBody>
          <a:bodyPr wrap="none"/>
          <a:lstStyle>
            <a:lvl1pPr marL="0" indent="0" algn="l">
              <a:spcBef>
                <a:spcPts val="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sp>
        <p:nvSpPr>
          <p:cNvPr id="5" name="Picture Placeholder 4"/>
          <p:cNvSpPr>
            <a:spLocks noGrp="1"/>
          </p:cNvSpPr>
          <p:nvPr>
            <p:ph type="pic" sz="quarter" idx="17" hasCustomPrompt="1"/>
          </p:nvPr>
        </p:nvSpPr>
        <p:spPr>
          <a:xfrm>
            <a:off x="1075062" y="1637783"/>
            <a:ext cx="5220000" cy="4599506"/>
          </a:xfrm>
          <a:solidFill>
            <a:srgbClr val="D9DADB"/>
          </a:solidFill>
        </p:spPr>
        <p:txBody>
          <a:bodyPr/>
          <a:lstStyle>
            <a:lvl1pPr marL="0" indent="0">
              <a:buNone/>
              <a:defRPr/>
            </a:lvl1pPr>
          </a:lstStyle>
          <a:p>
            <a:r>
              <a:rPr lang="en-US"/>
              <a:t>Insert picture</a:t>
            </a:r>
          </a:p>
        </p:txBody>
      </p:sp>
      <p:sp>
        <p:nvSpPr>
          <p:cNvPr id="9" name="Picture Placeholder 4"/>
          <p:cNvSpPr>
            <a:spLocks noGrp="1"/>
          </p:cNvSpPr>
          <p:nvPr>
            <p:ph type="pic" sz="quarter" idx="18" hasCustomPrompt="1"/>
          </p:nvPr>
        </p:nvSpPr>
        <p:spPr>
          <a:xfrm>
            <a:off x="6600525" y="1637783"/>
            <a:ext cx="5220000" cy="4599506"/>
          </a:xfrm>
          <a:solidFill>
            <a:srgbClr val="D9DADB"/>
          </a:solidFill>
        </p:spPr>
        <p:txBody>
          <a:bodyPr/>
          <a:lstStyle>
            <a:lvl1pPr marL="0" indent="0">
              <a:buNone/>
              <a:defRPr/>
            </a:lvl1pPr>
          </a:lstStyle>
          <a:p>
            <a:r>
              <a:rPr lang="en-US"/>
              <a:t>Insert picture</a:t>
            </a:r>
          </a:p>
        </p:txBody>
      </p:sp>
      <p:sp>
        <p:nvSpPr>
          <p:cNvPr id="11" name="Text Placeholder 4"/>
          <p:cNvSpPr>
            <a:spLocks noGrp="1"/>
          </p:cNvSpPr>
          <p:nvPr>
            <p:ph type="body" sz="quarter" idx="19" hasCustomPrompt="1"/>
          </p:nvPr>
        </p:nvSpPr>
        <p:spPr>
          <a:xfrm>
            <a:off x="1075063" y="6307665"/>
            <a:ext cx="8162717" cy="133200"/>
          </a:xfrm>
        </p:spPr>
        <p:txBody>
          <a:bodyPr lIns="0" tIns="0" rIns="0" bIns="0" anchor="b" anchorCtr="0"/>
          <a:lstStyle>
            <a:lvl1pPr marL="0" indent="0" algn="l">
              <a:lnSpc>
                <a:spcPct val="100000"/>
              </a:lnSpc>
              <a:spcBef>
                <a:spcPts val="0"/>
              </a:spcBef>
              <a:buNone/>
              <a:defRPr sz="800" baseline="0"/>
            </a:lvl1pPr>
            <a:lvl2pPr marL="0" indent="0" algn="l">
              <a:lnSpc>
                <a:spcPct val="100000"/>
              </a:lnSpc>
              <a:spcBef>
                <a:spcPts val="0"/>
              </a:spcBef>
              <a:buNone/>
              <a:defRPr sz="800"/>
            </a:lvl2pPr>
            <a:lvl3pPr marL="0" indent="0" algn="l">
              <a:lnSpc>
                <a:spcPct val="100000"/>
              </a:lnSpc>
              <a:spcBef>
                <a:spcPts val="0"/>
              </a:spcBef>
              <a:buNone/>
              <a:defRPr sz="800"/>
            </a:lvl3pPr>
            <a:lvl4pPr marL="0" algn="l">
              <a:lnSpc>
                <a:spcPct val="100000"/>
              </a:lnSpc>
              <a:spcBef>
                <a:spcPts val="0"/>
              </a:spcBef>
              <a:buNone/>
              <a:defRPr sz="800"/>
            </a:lvl4pPr>
            <a:lvl5pPr marL="0" indent="0" algn="l">
              <a:lnSpc>
                <a:spcPct val="100000"/>
              </a:lnSpc>
              <a:spcBef>
                <a:spcPts val="0"/>
              </a:spcBef>
              <a:buNone/>
              <a:defRPr sz="800"/>
            </a:lvl5pPr>
          </a:lstStyle>
          <a:p>
            <a:pPr lvl="0"/>
            <a:r>
              <a:rPr lang="en-US"/>
              <a:t>Source line</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2562324"/>
      </p:ext>
    </p:extLst>
  </p:cSld>
  <p:clrMapOvr>
    <a:masterClrMapping/>
  </p:clrMapOvr>
</p:sldLayout>
</file>

<file path=ppt/slideLayouts/slideLayout398.xml><?xml version="1.0" encoding="utf-8"?>
<p:sldLayout xmlns:a="http://schemas.openxmlformats.org/drawingml/2006/main" xmlns:r="http://schemas.openxmlformats.org/officeDocument/2006/relationships" xmlns:p="http://schemas.openxmlformats.org/presentationml/2006/main" preserve="1">
  <p:cSld name="Two contents">
    <p:spTree>
      <p:nvGrpSpPr>
        <p:cNvPr id="1" name=""/>
        <p:cNvGrpSpPr/>
        <p:nvPr/>
      </p:nvGrpSpPr>
      <p:grpSpPr>
        <a:xfrm>
          <a:off x="0" y="0"/>
          <a:ext cx="0" cy="0"/>
          <a:chOff x="0" y="0"/>
          <a:chExt cx="0" cy="0"/>
        </a:xfrm>
      </p:grpSpPr>
      <p:sp>
        <p:nvSpPr>
          <p:cNvPr id="21" name="Date Placeholder 20"/>
          <p:cNvSpPr>
            <a:spLocks noGrp="1"/>
          </p:cNvSpPr>
          <p:nvPr>
            <p:ph type="dt" sz="half" idx="14"/>
          </p:nvPr>
        </p:nvSpPr>
        <p:spPr/>
        <p:txBody>
          <a:bodyPr/>
          <a:lstStyle/>
          <a:p>
            <a:endParaRPr lang="en-US"/>
          </a:p>
        </p:txBody>
      </p:sp>
      <p:sp>
        <p:nvSpPr>
          <p:cNvPr id="22" name="Footer Placeholder 21"/>
          <p:cNvSpPr>
            <a:spLocks noGrp="1"/>
          </p:cNvSpPr>
          <p:nvPr>
            <p:ph type="ftr" sz="quarter" idx="15"/>
          </p:nvPr>
        </p:nvSpPr>
        <p:spPr/>
        <p:txBody>
          <a:bodyPr/>
          <a:lstStyle/>
          <a:p>
            <a:endParaRPr lang="en-US"/>
          </a:p>
        </p:txBody>
      </p:sp>
      <p:sp>
        <p:nvSpPr>
          <p:cNvPr id="23" name="Slide Number Placeholder 22"/>
          <p:cNvSpPr>
            <a:spLocks noGrp="1"/>
          </p:cNvSpPr>
          <p:nvPr>
            <p:ph type="sldNum" sz="quarter" idx="16"/>
          </p:nvPr>
        </p:nvSpPr>
        <p:spPr/>
        <p:txBody>
          <a:bodyPr/>
          <a:lstStyle/>
          <a:p>
            <a:fld id="{5F3E29E4-0979-4FCA-B4C5-5FC6044C982A}" type="slidenum">
              <a:rPr lang="en-US" smtClean="0"/>
              <a:t>‹#›</a:t>
            </a:fld>
            <a:endParaRPr lang="en-US"/>
          </a:p>
        </p:txBody>
      </p:sp>
      <p:sp>
        <p:nvSpPr>
          <p:cNvPr id="2" name="Title 1"/>
          <p:cNvSpPr>
            <a:spLocks noGrp="1"/>
          </p:cNvSpPr>
          <p:nvPr>
            <p:ph type="title" hasCustomPrompt="1"/>
          </p:nvPr>
        </p:nvSpPr>
        <p:spPr/>
        <p:txBody>
          <a:bodyPr/>
          <a:lstStyle>
            <a:lvl1pPr>
              <a:defRPr/>
            </a:lvl1pPr>
          </a:lstStyle>
          <a:p>
            <a:r>
              <a:rPr lang="en-US"/>
              <a:t>Click to add slide title</a:t>
            </a:r>
          </a:p>
        </p:txBody>
      </p:sp>
      <p:sp>
        <p:nvSpPr>
          <p:cNvPr id="7" name="Subtitle 2"/>
          <p:cNvSpPr>
            <a:spLocks noGrp="1"/>
          </p:cNvSpPr>
          <p:nvPr>
            <p:ph type="subTitle" idx="13" hasCustomPrompt="1"/>
          </p:nvPr>
        </p:nvSpPr>
        <p:spPr>
          <a:xfrm>
            <a:off x="1075061" y="964671"/>
            <a:ext cx="7910158" cy="490042"/>
          </a:xfrm>
        </p:spPr>
        <p:txBody>
          <a:bodyPr wrap="none"/>
          <a:lstStyle>
            <a:lvl1pPr marL="0" indent="0" algn="l">
              <a:spcBef>
                <a:spcPts val="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sp>
        <p:nvSpPr>
          <p:cNvPr id="3" name="Content Placeholder 2"/>
          <p:cNvSpPr>
            <a:spLocks noGrp="1"/>
          </p:cNvSpPr>
          <p:nvPr>
            <p:ph idx="1" hasCustomPrompt="1"/>
          </p:nvPr>
        </p:nvSpPr>
        <p:spPr>
          <a:xfrm>
            <a:off x="1075062" y="1629618"/>
            <a:ext cx="5220000" cy="4139357"/>
          </a:xfrm>
        </p:spPr>
        <p:txBody>
          <a:bodyPr/>
          <a:lstStyle>
            <a:lvl1pPr>
              <a:defRPr/>
            </a:lvl1pPr>
          </a:lstStyle>
          <a:p>
            <a:pPr lvl="0"/>
            <a:r>
              <a:rPr lang="en-US"/>
              <a:t>Click to add text or content</a:t>
            </a:r>
          </a:p>
          <a:p>
            <a:pPr lvl="1"/>
            <a:r>
              <a:rPr lang="en-US"/>
              <a:t>Second level</a:t>
            </a:r>
          </a:p>
          <a:p>
            <a:pPr lvl="2"/>
            <a:r>
              <a:rPr lang="en-US"/>
              <a:t>Third level</a:t>
            </a:r>
          </a:p>
          <a:p>
            <a:pPr lvl="3"/>
            <a:r>
              <a:rPr lang="en-US"/>
              <a:t>Fourth level</a:t>
            </a:r>
          </a:p>
          <a:p>
            <a:pPr lvl="4"/>
            <a:r>
              <a:rPr lang="en-US"/>
              <a:t>Fifth level</a:t>
            </a:r>
          </a:p>
        </p:txBody>
      </p:sp>
      <p:sp>
        <p:nvSpPr>
          <p:cNvPr id="9" name="Content Placeholder 2"/>
          <p:cNvSpPr>
            <a:spLocks noGrp="1"/>
          </p:cNvSpPr>
          <p:nvPr>
            <p:ph idx="17" hasCustomPrompt="1"/>
          </p:nvPr>
        </p:nvSpPr>
        <p:spPr>
          <a:xfrm>
            <a:off x="6600525" y="1629618"/>
            <a:ext cx="5220000" cy="4139357"/>
          </a:xfrm>
        </p:spPr>
        <p:txBody>
          <a:bodyPr/>
          <a:lstStyle>
            <a:lvl1pPr>
              <a:defRPr/>
            </a:lvl1pPr>
          </a:lstStyle>
          <a:p>
            <a:pPr lvl="0"/>
            <a:r>
              <a:rPr lang="en-US"/>
              <a:t>Click to add text or content</a:t>
            </a:r>
          </a:p>
          <a:p>
            <a:pPr lvl="1"/>
            <a:r>
              <a:rPr lang="en-US"/>
              <a:t>Second level</a:t>
            </a:r>
          </a:p>
          <a:p>
            <a:pPr lvl="2"/>
            <a:r>
              <a:rPr lang="en-US"/>
              <a:t>Third level</a:t>
            </a:r>
          </a:p>
          <a:p>
            <a:pPr lvl="3"/>
            <a:r>
              <a:rPr lang="en-US"/>
              <a:t>Fourth level</a:t>
            </a:r>
          </a:p>
          <a:p>
            <a:pPr lvl="4"/>
            <a:r>
              <a:rPr lang="en-US"/>
              <a:t>Fifth level</a:t>
            </a:r>
          </a:p>
        </p:txBody>
      </p:sp>
      <p:sp>
        <p:nvSpPr>
          <p:cNvPr id="11" name="Text Placeholder 4"/>
          <p:cNvSpPr>
            <a:spLocks noGrp="1"/>
          </p:cNvSpPr>
          <p:nvPr>
            <p:ph type="body" sz="quarter" idx="18" hasCustomPrompt="1"/>
          </p:nvPr>
        </p:nvSpPr>
        <p:spPr>
          <a:xfrm>
            <a:off x="1075063" y="6307665"/>
            <a:ext cx="8162717" cy="133200"/>
          </a:xfrm>
        </p:spPr>
        <p:txBody>
          <a:bodyPr lIns="0" tIns="0" rIns="0" bIns="0" anchor="b" anchorCtr="0"/>
          <a:lstStyle>
            <a:lvl1pPr marL="0" indent="0" algn="l">
              <a:lnSpc>
                <a:spcPct val="100000"/>
              </a:lnSpc>
              <a:spcBef>
                <a:spcPts val="0"/>
              </a:spcBef>
              <a:buNone/>
              <a:defRPr sz="800" baseline="0"/>
            </a:lvl1pPr>
            <a:lvl2pPr marL="0" indent="0" algn="l">
              <a:lnSpc>
                <a:spcPct val="100000"/>
              </a:lnSpc>
              <a:spcBef>
                <a:spcPts val="0"/>
              </a:spcBef>
              <a:buNone/>
              <a:defRPr sz="800"/>
            </a:lvl2pPr>
            <a:lvl3pPr marL="0" indent="0" algn="l">
              <a:lnSpc>
                <a:spcPct val="100000"/>
              </a:lnSpc>
              <a:spcBef>
                <a:spcPts val="0"/>
              </a:spcBef>
              <a:buNone/>
              <a:defRPr sz="800"/>
            </a:lvl3pPr>
            <a:lvl4pPr marL="0" algn="l">
              <a:lnSpc>
                <a:spcPct val="100000"/>
              </a:lnSpc>
              <a:spcBef>
                <a:spcPts val="0"/>
              </a:spcBef>
              <a:buNone/>
              <a:defRPr sz="800"/>
            </a:lvl4pPr>
            <a:lvl5pPr marL="0" indent="0" algn="l">
              <a:lnSpc>
                <a:spcPct val="100000"/>
              </a:lnSpc>
              <a:spcBef>
                <a:spcPts val="0"/>
              </a:spcBef>
              <a:buNone/>
              <a:defRPr sz="800"/>
            </a:lvl5pPr>
          </a:lstStyle>
          <a:p>
            <a:pPr lvl="0"/>
            <a:r>
              <a:rPr lang="en-US"/>
              <a:t>Source line</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79982845"/>
      </p:ext>
    </p:extLst>
  </p:cSld>
  <p:clrMapOvr>
    <a:masterClrMapping/>
  </p:clrMapOvr>
</p:sldLayout>
</file>

<file path=ppt/slideLayouts/slideLayout399.xml><?xml version="1.0" encoding="utf-8"?>
<p:sldLayout xmlns:a="http://schemas.openxmlformats.org/drawingml/2006/main" xmlns:r="http://schemas.openxmlformats.org/officeDocument/2006/relationships" xmlns:p="http://schemas.openxmlformats.org/presentationml/2006/main" preserve="1">
  <p:cSld name="Three contents">
    <p:spTree>
      <p:nvGrpSpPr>
        <p:cNvPr id="1" name=""/>
        <p:cNvGrpSpPr/>
        <p:nvPr/>
      </p:nvGrpSpPr>
      <p:grpSpPr>
        <a:xfrm>
          <a:off x="0" y="0"/>
          <a:ext cx="0" cy="0"/>
          <a:chOff x="0" y="0"/>
          <a:chExt cx="0" cy="0"/>
        </a:xfrm>
      </p:grpSpPr>
      <p:sp>
        <p:nvSpPr>
          <p:cNvPr id="21" name="Date Placeholder 20"/>
          <p:cNvSpPr>
            <a:spLocks noGrp="1"/>
          </p:cNvSpPr>
          <p:nvPr>
            <p:ph type="dt" sz="half" idx="14"/>
          </p:nvPr>
        </p:nvSpPr>
        <p:spPr/>
        <p:txBody>
          <a:bodyPr/>
          <a:lstStyle/>
          <a:p>
            <a:endParaRPr lang="en-US"/>
          </a:p>
        </p:txBody>
      </p:sp>
      <p:sp>
        <p:nvSpPr>
          <p:cNvPr id="22" name="Footer Placeholder 21"/>
          <p:cNvSpPr>
            <a:spLocks noGrp="1"/>
          </p:cNvSpPr>
          <p:nvPr>
            <p:ph type="ftr" sz="quarter" idx="15"/>
          </p:nvPr>
        </p:nvSpPr>
        <p:spPr/>
        <p:txBody>
          <a:bodyPr/>
          <a:lstStyle/>
          <a:p>
            <a:endParaRPr lang="en-US"/>
          </a:p>
        </p:txBody>
      </p:sp>
      <p:sp>
        <p:nvSpPr>
          <p:cNvPr id="23" name="Slide Number Placeholder 22"/>
          <p:cNvSpPr>
            <a:spLocks noGrp="1"/>
          </p:cNvSpPr>
          <p:nvPr>
            <p:ph type="sldNum" sz="quarter" idx="16"/>
          </p:nvPr>
        </p:nvSpPr>
        <p:spPr/>
        <p:txBody>
          <a:bodyPr/>
          <a:lstStyle/>
          <a:p>
            <a:fld id="{5F3E29E4-0979-4FCA-B4C5-5FC6044C982A}" type="slidenum">
              <a:rPr lang="en-US" smtClean="0"/>
              <a:t>‹#›</a:t>
            </a:fld>
            <a:endParaRPr lang="en-US"/>
          </a:p>
        </p:txBody>
      </p:sp>
      <p:sp>
        <p:nvSpPr>
          <p:cNvPr id="2" name="Title 1"/>
          <p:cNvSpPr>
            <a:spLocks noGrp="1"/>
          </p:cNvSpPr>
          <p:nvPr>
            <p:ph type="title" hasCustomPrompt="1"/>
          </p:nvPr>
        </p:nvSpPr>
        <p:spPr/>
        <p:txBody>
          <a:bodyPr/>
          <a:lstStyle>
            <a:lvl1pPr>
              <a:defRPr/>
            </a:lvl1pPr>
          </a:lstStyle>
          <a:p>
            <a:r>
              <a:rPr lang="en-US"/>
              <a:t>Click to add slide title</a:t>
            </a:r>
          </a:p>
        </p:txBody>
      </p:sp>
      <p:sp>
        <p:nvSpPr>
          <p:cNvPr id="7" name="Subtitle 2"/>
          <p:cNvSpPr>
            <a:spLocks noGrp="1"/>
          </p:cNvSpPr>
          <p:nvPr>
            <p:ph type="subTitle" idx="13" hasCustomPrompt="1"/>
          </p:nvPr>
        </p:nvSpPr>
        <p:spPr>
          <a:xfrm>
            <a:off x="1075061" y="964671"/>
            <a:ext cx="7910158" cy="490042"/>
          </a:xfrm>
        </p:spPr>
        <p:txBody>
          <a:bodyPr wrap="none"/>
          <a:lstStyle>
            <a:lvl1pPr marL="0" indent="0" algn="l">
              <a:spcBef>
                <a:spcPts val="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sp>
        <p:nvSpPr>
          <p:cNvPr id="3" name="Content Placeholder 2"/>
          <p:cNvSpPr>
            <a:spLocks noGrp="1"/>
          </p:cNvSpPr>
          <p:nvPr>
            <p:ph idx="1" hasCustomPrompt="1"/>
          </p:nvPr>
        </p:nvSpPr>
        <p:spPr>
          <a:xfrm>
            <a:off x="1075061" y="1629618"/>
            <a:ext cx="3384000" cy="4139357"/>
          </a:xfrm>
        </p:spPr>
        <p:txBody>
          <a:bodyPr/>
          <a:lstStyle>
            <a:lvl1pPr>
              <a:defRPr/>
            </a:lvl1pPr>
          </a:lstStyle>
          <a:p>
            <a:pPr lvl="0"/>
            <a:r>
              <a:rPr lang="en-US"/>
              <a:t>Click to add text or content</a:t>
            </a:r>
          </a:p>
          <a:p>
            <a:pPr lvl="1"/>
            <a:r>
              <a:rPr lang="en-US"/>
              <a:t>Second level</a:t>
            </a:r>
          </a:p>
          <a:p>
            <a:pPr lvl="2"/>
            <a:r>
              <a:rPr lang="en-US"/>
              <a:t>Third level</a:t>
            </a:r>
          </a:p>
          <a:p>
            <a:pPr lvl="3"/>
            <a:r>
              <a:rPr lang="en-US"/>
              <a:t>Fourth level</a:t>
            </a:r>
          </a:p>
          <a:p>
            <a:pPr lvl="4"/>
            <a:r>
              <a:rPr lang="en-US"/>
              <a:t>Fifth level</a:t>
            </a:r>
          </a:p>
        </p:txBody>
      </p:sp>
      <p:sp>
        <p:nvSpPr>
          <p:cNvPr id="9" name="Content Placeholder 2"/>
          <p:cNvSpPr>
            <a:spLocks noGrp="1"/>
          </p:cNvSpPr>
          <p:nvPr>
            <p:ph idx="17" hasCustomPrompt="1"/>
          </p:nvPr>
        </p:nvSpPr>
        <p:spPr>
          <a:xfrm>
            <a:off x="4755793" y="1629618"/>
            <a:ext cx="3384000" cy="4139357"/>
          </a:xfrm>
        </p:spPr>
        <p:txBody>
          <a:bodyPr/>
          <a:lstStyle>
            <a:lvl1pPr>
              <a:defRPr/>
            </a:lvl1pPr>
          </a:lstStyle>
          <a:p>
            <a:pPr lvl="0"/>
            <a:r>
              <a:rPr lang="en-US"/>
              <a:t>Click to add text or content</a:t>
            </a:r>
          </a:p>
          <a:p>
            <a:pPr lvl="1"/>
            <a:r>
              <a:rPr lang="en-US"/>
              <a:t>Second level</a:t>
            </a:r>
          </a:p>
          <a:p>
            <a:pPr lvl="2"/>
            <a:r>
              <a:rPr lang="en-US"/>
              <a:t>Third level</a:t>
            </a:r>
          </a:p>
          <a:p>
            <a:pPr lvl="3"/>
            <a:r>
              <a:rPr lang="en-US"/>
              <a:t>Fourth level</a:t>
            </a:r>
          </a:p>
          <a:p>
            <a:pPr lvl="4"/>
            <a:r>
              <a:rPr lang="en-US"/>
              <a:t>Fifth level</a:t>
            </a:r>
          </a:p>
        </p:txBody>
      </p:sp>
      <p:sp>
        <p:nvSpPr>
          <p:cNvPr id="10" name="Content Placeholder 2"/>
          <p:cNvSpPr>
            <a:spLocks noGrp="1"/>
          </p:cNvSpPr>
          <p:nvPr>
            <p:ph idx="18" hasCustomPrompt="1"/>
          </p:nvPr>
        </p:nvSpPr>
        <p:spPr>
          <a:xfrm>
            <a:off x="8436525" y="1629618"/>
            <a:ext cx="3384000" cy="4139357"/>
          </a:xfrm>
        </p:spPr>
        <p:txBody>
          <a:bodyPr/>
          <a:lstStyle>
            <a:lvl1pPr>
              <a:defRPr/>
            </a:lvl1pPr>
          </a:lstStyle>
          <a:p>
            <a:pPr lvl="0"/>
            <a:r>
              <a:rPr lang="en-US"/>
              <a:t>Click to add text or content</a:t>
            </a:r>
          </a:p>
          <a:p>
            <a:pPr lvl="1"/>
            <a:r>
              <a:rPr lang="en-US"/>
              <a:t>Second level</a:t>
            </a:r>
          </a:p>
          <a:p>
            <a:pPr lvl="2"/>
            <a:r>
              <a:rPr lang="en-US"/>
              <a:t>Third level</a:t>
            </a:r>
          </a:p>
          <a:p>
            <a:pPr lvl="3"/>
            <a:r>
              <a:rPr lang="en-US"/>
              <a:t>Fourth level</a:t>
            </a:r>
          </a:p>
          <a:p>
            <a:pPr lvl="4"/>
            <a:r>
              <a:rPr lang="en-US"/>
              <a:t>Fifth level</a:t>
            </a:r>
          </a:p>
        </p:txBody>
      </p:sp>
      <p:sp>
        <p:nvSpPr>
          <p:cNvPr id="12" name="Text Placeholder 4"/>
          <p:cNvSpPr>
            <a:spLocks noGrp="1"/>
          </p:cNvSpPr>
          <p:nvPr>
            <p:ph type="body" sz="quarter" idx="19" hasCustomPrompt="1"/>
          </p:nvPr>
        </p:nvSpPr>
        <p:spPr>
          <a:xfrm>
            <a:off x="1075063" y="6307665"/>
            <a:ext cx="8162717" cy="133200"/>
          </a:xfrm>
        </p:spPr>
        <p:txBody>
          <a:bodyPr lIns="0" tIns="0" rIns="0" bIns="0" anchor="b" anchorCtr="0"/>
          <a:lstStyle>
            <a:lvl1pPr marL="0" indent="0" algn="l">
              <a:lnSpc>
                <a:spcPct val="100000"/>
              </a:lnSpc>
              <a:spcBef>
                <a:spcPts val="0"/>
              </a:spcBef>
              <a:buNone/>
              <a:defRPr sz="800" baseline="0"/>
            </a:lvl1pPr>
            <a:lvl2pPr marL="0" indent="0" algn="l">
              <a:lnSpc>
                <a:spcPct val="100000"/>
              </a:lnSpc>
              <a:spcBef>
                <a:spcPts val="0"/>
              </a:spcBef>
              <a:buNone/>
              <a:defRPr sz="800"/>
            </a:lvl2pPr>
            <a:lvl3pPr marL="0" indent="0" algn="l">
              <a:lnSpc>
                <a:spcPct val="100000"/>
              </a:lnSpc>
              <a:spcBef>
                <a:spcPts val="0"/>
              </a:spcBef>
              <a:buNone/>
              <a:defRPr sz="800"/>
            </a:lvl3pPr>
            <a:lvl4pPr marL="0" algn="l">
              <a:lnSpc>
                <a:spcPct val="100000"/>
              </a:lnSpc>
              <a:spcBef>
                <a:spcPts val="0"/>
              </a:spcBef>
              <a:buNone/>
              <a:defRPr sz="800"/>
            </a:lvl4pPr>
            <a:lvl5pPr marL="0" indent="0" algn="l">
              <a:lnSpc>
                <a:spcPct val="100000"/>
              </a:lnSpc>
              <a:spcBef>
                <a:spcPts val="0"/>
              </a:spcBef>
              <a:buNone/>
              <a:defRPr sz="800"/>
            </a:lvl5pPr>
          </a:lstStyle>
          <a:p>
            <a:pPr lvl="0"/>
            <a:r>
              <a:rPr lang="en-US"/>
              <a:t>Source line</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5566248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Agenda">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p>
            <a:r>
              <a:rPr lang="en-US"/>
              <a:t>Click to add headline</a:t>
            </a:r>
          </a:p>
        </p:txBody>
      </p:sp>
      <p:sp>
        <p:nvSpPr>
          <p:cNvPr id="3" name="Content Placeholder 2"/>
          <p:cNvSpPr>
            <a:spLocks noGrp="1"/>
          </p:cNvSpPr>
          <p:nvPr>
            <p:ph idx="1" hasCustomPrompt="1"/>
          </p:nvPr>
        </p:nvSpPr>
        <p:spPr bwMode="gray"/>
        <p:txBody>
          <a:bodyPr/>
          <a:lstStyle>
            <a:lvl1pPr marL="479544" indent="-479544">
              <a:spcBef>
                <a:spcPts val="1598"/>
              </a:spcBef>
              <a:spcAft>
                <a:spcPts val="0"/>
              </a:spcAft>
              <a:buClr>
                <a:schemeClr val="tx2"/>
              </a:buClr>
              <a:buFont typeface="+mj-lt"/>
              <a:buAutoNum type="arabicPeriod"/>
              <a:tabLst>
                <a:tab pos="11317242" algn="r"/>
              </a:tabLst>
              <a:defRPr sz="2398">
                <a:solidFill>
                  <a:schemeClr val="tx1"/>
                </a:solidFill>
              </a:defRPr>
            </a:lvl1pPr>
            <a:lvl2pPr marL="477911" indent="0">
              <a:spcBef>
                <a:spcPts val="1598"/>
              </a:spcBef>
              <a:spcAft>
                <a:spcPts val="0"/>
              </a:spcAft>
              <a:buClr>
                <a:schemeClr val="bg2"/>
              </a:buClr>
              <a:buFont typeface="+mj-lt"/>
              <a:buNone/>
              <a:tabLst>
                <a:tab pos="11029516" algn="r"/>
              </a:tabLst>
              <a:defRPr sz="2398">
                <a:solidFill>
                  <a:schemeClr val="bg2"/>
                </a:solidFill>
              </a:defRPr>
            </a:lvl2pPr>
            <a:lvl3pPr marL="479544" indent="0">
              <a:spcBef>
                <a:spcPts val="1598"/>
              </a:spcBef>
              <a:spcAft>
                <a:spcPts val="0"/>
              </a:spcAft>
              <a:buFontTx/>
              <a:buNone/>
              <a:defRPr sz="2398">
                <a:solidFill>
                  <a:schemeClr val="bg2"/>
                </a:solidFill>
              </a:defRPr>
            </a:lvl3pPr>
            <a:lvl4pPr marL="479544" indent="0">
              <a:spcBef>
                <a:spcPts val="1598"/>
              </a:spcBef>
              <a:spcAft>
                <a:spcPts val="0"/>
              </a:spcAft>
              <a:buFontTx/>
              <a:buNone/>
              <a:defRPr sz="2398">
                <a:solidFill>
                  <a:schemeClr val="bg2"/>
                </a:solidFill>
              </a:defRPr>
            </a:lvl4pPr>
            <a:lvl5pPr marL="479544" indent="0">
              <a:spcBef>
                <a:spcPts val="1598"/>
              </a:spcBef>
              <a:spcAft>
                <a:spcPts val="0"/>
              </a:spcAft>
              <a:buFontTx/>
              <a:buNone/>
              <a:defRPr sz="2398">
                <a:solidFill>
                  <a:schemeClr val="bg2"/>
                </a:solidFill>
              </a:defRPr>
            </a:lvl5pPr>
            <a:lvl6pPr marL="479544" indent="0">
              <a:spcBef>
                <a:spcPts val="1598"/>
              </a:spcBef>
              <a:spcAft>
                <a:spcPts val="0"/>
              </a:spcAft>
              <a:buFontTx/>
              <a:buNone/>
              <a:defRPr sz="2398">
                <a:solidFill>
                  <a:schemeClr val="bg2"/>
                </a:solidFill>
              </a:defRPr>
            </a:lvl6pPr>
            <a:lvl7pPr marL="479544" indent="0">
              <a:spcBef>
                <a:spcPts val="1598"/>
              </a:spcBef>
              <a:spcAft>
                <a:spcPts val="0"/>
              </a:spcAft>
              <a:buFontTx/>
              <a:buNone/>
              <a:defRPr sz="2398">
                <a:solidFill>
                  <a:schemeClr val="bg2"/>
                </a:solidFill>
              </a:defRPr>
            </a:lvl7pPr>
            <a:lvl8pPr marL="479544" indent="0">
              <a:spcBef>
                <a:spcPts val="1598"/>
              </a:spcBef>
              <a:spcAft>
                <a:spcPts val="0"/>
              </a:spcAft>
              <a:buFontTx/>
              <a:buNone/>
              <a:defRPr sz="2398">
                <a:solidFill>
                  <a:schemeClr val="bg2"/>
                </a:solidFill>
              </a:defRPr>
            </a:lvl8pPr>
            <a:lvl9pPr marL="479544" indent="0">
              <a:spcBef>
                <a:spcPts val="1598"/>
              </a:spcBef>
              <a:spcAft>
                <a:spcPts val="0"/>
              </a:spcAft>
              <a:buFontTx/>
              <a:buNone/>
              <a:defRPr sz="2398">
                <a:solidFill>
                  <a:schemeClr val="bg2"/>
                </a:solidFill>
              </a:defRPr>
            </a:lvl9pPr>
          </a:lstStyle>
          <a:p>
            <a:pPr lvl="0"/>
            <a:r>
              <a:rPr lang="en-US"/>
              <a:t>Click to add agenda</a:t>
            </a:r>
          </a:p>
        </p:txBody>
      </p:sp>
    </p:spTree>
    <p:extLst>
      <p:ext uri="{BB962C8B-B14F-4D97-AF65-F5344CB8AC3E}">
        <p14:creationId xmlns:p14="http://schemas.microsoft.com/office/powerpoint/2010/main" val="4127341469"/>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wo contacts">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p>
            <a:r>
              <a:rPr lang="en-US"/>
              <a:t>Click to add headline</a:t>
            </a:r>
          </a:p>
        </p:txBody>
      </p:sp>
      <p:sp>
        <p:nvSpPr>
          <p:cNvPr id="24" name="Textplatzhalter 2"/>
          <p:cNvSpPr>
            <a:spLocks noGrp="1"/>
          </p:cNvSpPr>
          <p:nvPr>
            <p:ph type="body" sz="quarter" idx="11" hasCustomPrompt="1"/>
          </p:nvPr>
        </p:nvSpPr>
        <p:spPr bwMode="gray">
          <a:xfrm>
            <a:off x="431800" y="1220755"/>
            <a:ext cx="11328400" cy="384340"/>
          </a:xfrm>
        </p:spPr>
        <p:txBody>
          <a:bodyPr>
            <a:noAutofit/>
          </a:bodyPr>
          <a:lstStyle>
            <a:lvl1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1pPr>
            <a:lvl2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2pPr>
            <a:lvl3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3pPr>
            <a:lvl4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4pPr>
            <a:lvl5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5pPr>
            <a:lvl6pPr marL="0" indent="0">
              <a:lnSpc>
                <a:spcPct val="100000"/>
              </a:lnSpc>
              <a:spcBef>
                <a:spcPts val="800"/>
              </a:spcBef>
              <a:buNone/>
              <a:defRPr lang="en-GB" sz="2400" kern="1200" noProof="0" smtClean="0">
                <a:solidFill>
                  <a:schemeClr val="tx2"/>
                </a:solidFill>
                <a:latin typeface="Arial" pitchFamily="34" charset="0"/>
                <a:ea typeface="+mn-ea"/>
                <a:cs typeface="Arial" pitchFamily="34" charset="0"/>
              </a:defRPr>
            </a:lvl6pPr>
            <a:lvl7pPr marL="0" indent="0">
              <a:lnSpc>
                <a:spcPct val="100000"/>
              </a:lnSpc>
              <a:spcBef>
                <a:spcPts val="800"/>
              </a:spcBef>
              <a:buNone/>
              <a:defRPr lang="en-GB" sz="2400" kern="1200" noProof="0" smtClean="0">
                <a:solidFill>
                  <a:schemeClr val="tx2"/>
                </a:solidFill>
                <a:latin typeface="Arial" pitchFamily="34" charset="0"/>
                <a:ea typeface="+mn-ea"/>
                <a:cs typeface="Arial" pitchFamily="34" charset="0"/>
              </a:defRPr>
            </a:lvl7pPr>
            <a:lvl8pPr marL="0" indent="0">
              <a:lnSpc>
                <a:spcPct val="100000"/>
              </a:lnSpc>
              <a:spcBef>
                <a:spcPts val="800"/>
              </a:spcBef>
              <a:buNone/>
              <a:defRPr lang="en-GB" sz="2400" kern="1200" noProof="0" smtClean="0">
                <a:solidFill>
                  <a:schemeClr val="tx2"/>
                </a:solidFill>
                <a:latin typeface="Arial" pitchFamily="34" charset="0"/>
                <a:ea typeface="+mn-ea"/>
                <a:cs typeface="Arial" pitchFamily="34" charset="0"/>
              </a:defRPr>
            </a:lvl8pPr>
            <a:lvl9pPr marL="0" indent="0">
              <a:lnSpc>
                <a:spcPct val="100000"/>
              </a:lnSpc>
              <a:spcBef>
                <a:spcPts val="800"/>
              </a:spcBef>
              <a:buNone/>
              <a:defRPr lang="de-DE" sz="2400" kern="1200" noProof="0" smtClean="0">
                <a:solidFill>
                  <a:schemeClr val="tx2"/>
                </a:solidFill>
                <a:latin typeface="Arial" pitchFamily="34" charset="0"/>
                <a:ea typeface="+mn-ea"/>
                <a:cs typeface="Arial" pitchFamily="34" charset="0"/>
              </a:defRPr>
            </a:lvl9pPr>
          </a:lstStyle>
          <a:p>
            <a:pPr lvl="0"/>
            <a:r>
              <a:rPr lang="en-US"/>
              <a:t>Click to add </a:t>
            </a:r>
            <a:r>
              <a:rPr lang="en-US" err="1"/>
              <a:t>subheadline</a:t>
            </a:r>
            <a:endParaRPr lang="en-US"/>
          </a:p>
        </p:txBody>
      </p:sp>
      <p:sp>
        <p:nvSpPr>
          <p:cNvPr id="25" name="Picture Placeholder 4"/>
          <p:cNvSpPr>
            <a:spLocks noGrp="1"/>
          </p:cNvSpPr>
          <p:nvPr>
            <p:ph type="pic" sz="quarter" idx="34" hasCustomPrompt="1"/>
          </p:nvPr>
        </p:nvSpPr>
        <p:spPr bwMode="gray">
          <a:xfrm>
            <a:off x="431371" y="1700810"/>
            <a:ext cx="1728192" cy="2208245"/>
          </a:xfrm>
        </p:spPr>
        <p:txBody>
          <a:bodyPr/>
          <a:lstStyle>
            <a:lvl1pPr marL="0" indent="0">
              <a:buNone/>
              <a:defRPr/>
            </a:lvl1pPr>
          </a:lstStyle>
          <a:p>
            <a:r>
              <a:rPr lang="de-DE"/>
              <a:t>Picture</a:t>
            </a:r>
            <a:endParaRPr lang="en-US"/>
          </a:p>
        </p:txBody>
      </p:sp>
      <p:sp>
        <p:nvSpPr>
          <p:cNvPr id="26" name="Text Placeholder 3"/>
          <p:cNvSpPr>
            <a:spLocks noGrp="1"/>
          </p:cNvSpPr>
          <p:nvPr>
            <p:ph type="body" sz="quarter" idx="35" hasCustomPrompt="1"/>
          </p:nvPr>
        </p:nvSpPr>
        <p:spPr bwMode="gray">
          <a:xfrm>
            <a:off x="2351586" y="3046305"/>
            <a:ext cx="3648404" cy="288032"/>
          </a:xfrm>
        </p:spPr>
        <p:txBody>
          <a:bodyPr tIns="0" anchor="b" anchorCtr="0"/>
          <a:lstStyle>
            <a:lvl1pPr marL="0" indent="0">
              <a:spcBef>
                <a:spcPts val="0"/>
              </a:spcBef>
              <a:spcAft>
                <a:spcPts val="0"/>
              </a:spcAft>
              <a:buNone/>
              <a:defRPr sz="1600">
                <a:solidFill>
                  <a:schemeClr val="tx1"/>
                </a:solidFill>
              </a:defRPr>
            </a:lvl1pPr>
            <a:lvl2pPr marL="0" indent="0">
              <a:spcBef>
                <a:spcPts val="0"/>
              </a:spcBef>
              <a:spcAft>
                <a:spcPts val="0"/>
              </a:spcAft>
              <a:buNone/>
              <a:defRPr sz="1600"/>
            </a:lvl2pPr>
            <a:lvl3pPr marL="0" indent="0" algn="l">
              <a:spcBef>
                <a:spcPts val="0"/>
              </a:spcBef>
              <a:spcAft>
                <a:spcPts val="0"/>
              </a:spcAft>
              <a:buFontTx/>
              <a:buNone/>
              <a:tabLst>
                <a:tab pos="840296" algn="l"/>
              </a:tabLst>
              <a:defRPr sz="1600"/>
            </a:lvl3pPr>
            <a:lvl4pPr marL="0" indent="0" algn="l">
              <a:spcBef>
                <a:spcPts val="0"/>
              </a:spcBef>
              <a:spcAft>
                <a:spcPts val="0"/>
              </a:spcAft>
              <a:buFontTx/>
              <a:buNone/>
              <a:defRPr sz="1600">
                <a:solidFill>
                  <a:schemeClr val="tx1"/>
                </a:solidFill>
              </a:defRPr>
            </a:lvl4pPr>
            <a:lvl5pPr marL="0" indent="0" algn="l">
              <a:spcBef>
                <a:spcPts val="0"/>
              </a:spcBef>
              <a:spcAft>
                <a:spcPts val="0"/>
              </a:spcAft>
              <a:buFontTx/>
              <a:buNone/>
              <a:defRPr sz="1600"/>
            </a:lvl5pPr>
            <a:lvl6pPr marL="0" indent="0" algn="l">
              <a:spcBef>
                <a:spcPts val="0"/>
              </a:spcBef>
              <a:spcAft>
                <a:spcPts val="0"/>
              </a:spcAft>
              <a:buFontTx/>
              <a:buNone/>
              <a:defRPr sz="1600"/>
            </a:lvl6pPr>
            <a:lvl7pPr marL="0" indent="0" algn="l">
              <a:spcBef>
                <a:spcPts val="0"/>
              </a:spcBef>
              <a:spcAft>
                <a:spcPts val="0"/>
              </a:spcAft>
              <a:buFontTx/>
              <a:buNone/>
              <a:defRPr sz="1600"/>
            </a:lvl7pPr>
            <a:lvl8pPr marL="0" indent="0" algn="l">
              <a:spcBef>
                <a:spcPts val="0"/>
              </a:spcBef>
              <a:spcAft>
                <a:spcPts val="0"/>
              </a:spcAft>
              <a:buFontTx/>
              <a:buNone/>
              <a:defRPr sz="1600"/>
            </a:lvl8pPr>
            <a:lvl9pPr marL="0" indent="0" algn="l">
              <a:spcBef>
                <a:spcPts val="0"/>
              </a:spcBef>
              <a:spcAft>
                <a:spcPts val="0"/>
              </a:spcAft>
              <a:buFontTx/>
              <a:buNone/>
              <a:defRPr sz="1600"/>
            </a:lvl9pPr>
          </a:lstStyle>
          <a:p>
            <a:pPr lvl="4"/>
            <a:r>
              <a:rPr lang="en-US"/>
              <a:t>[phone number]</a:t>
            </a:r>
          </a:p>
        </p:txBody>
      </p:sp>
      <p:sp>
        <p:nvSpPr>
          <p:cNvPr id="27" name="Text Placeholder 3"/>
          <p:cNvSpPr>
            <a:spLocks noGrp="1"/>
          </p:cNvSpPr>
          <p:nvPr>
            <p:ph type="body" sz="quarter" idx="36" hasCustomPrompt="1"/>
          </p:nvPr>
        </p:nvSpPr>
        <p:spPr bwMode="gray">
          <a:xfrm>
            <a:off x="2351584" y="2470241"/>
            <a:ext cx="3648405" cy="576000"/>
          </a:xfrm>
        </p:spPr>
        <p:txBody>
          <a:bodyPr tIns="36000" anchor="t" anchorCtr="0"/>
          <a:lstStyle>
            <a:lvl1pPr marL="0" indent="0">
              <a:spcBef>
                <a:spcPts val="0"/>
              </a:spcBef>
              <a:spcAft>
                <a:spcPts val="0"/>
              </a:spcAft>
              <a:buNone/>
              <a:defRPr sz="1600">
                <a:solidFill>
                  <a:schemeClr val="tx1"/>
                </a:solidFill>
              </a:defRPr>
            </a:lvl1pPr>
            <a:lvl2pPr marL="0" indent="0">
              <a:spcBef>
                <a:spcPts val="0"/>
              </a:spcBef>
              <a:spcAft>
                <a:spcPts val="0"/>
              </a:spcAft>
              <a:buNone/>
              <a:defRPr sz="1600"/>
            </a:lvl2pPr>
            <a:lvl3pPr marL="0" indent="0" algn="l">
              <a:spcBef>
                <a:spcPts val="0"/>
              </a:spcBef>
              <a:spcAft>
                <a:spcPts val="0"/>
              </a:spcAft>
              <a:buFontTx/>
              <a:buNone/>
              <a:tabLst>
                <a:tab pos="840296" algn="l"/>
              </a:tabLst>
              <a:defRPr sz="1600"/>
            </a:lvl3pPr>
            <a:lvl4pPr marL="0" indent="0" algn="l">
              <a:spcBef>
                <a:spcPts val="0"/>
              </a:spcBef>
              <a:spcAft>
                <a:spcPts val="0"/>
              </a:spcAft>
              <a:buFontTx/>
              <a:buNone/>
              <a:defRPr sz="1600">
                <a:solidFill>
                  <a:schemeClr val="tx1"/>
                </a:solidFill>
              </a:defRPr>
            </a:lvl4pPr>
            <a:lvl5pPr marL="0" indent="0" algn="l">
              <a:spcBef>
                <a:spcPts val="0"/>
              </a:spcBef>
              <a:spcAft>
                <a:spcPts val="0"/>
              </a:spcAft>
              <a:buFontTx/>
              <a:buNone/>
              <a:defRPr sz="1600"/>
            </a:lvl5pPr>
            <a:lvl6pPr marL="0" indent="0" algn="l">
              <a:spcBef>
                <a:spcPts val="0"/>
              </a:spcBef>
              <a:spcAft>
                <a:spcPts val="0"/>
              </a:spcAft>
              <a:buFontTx/>
              <a:buNone/>
              <a:defRPr sz="1600"/>
            </a:lvl6pPr>
            <a:lvl7pPr marL="0" indent="0" algn="l">
              <a:spcBef>
                <a:spcPts val="0"/>
              </a:spcBef>
              <a:spcAft>
                <a:spcPts val="0"/>
              </a:spcAft>
              <a:buFontTx/>
              <a:buNone/>
              <a:defRPr sz="1600"/>
            </a:lvl7pPr>
            <a:lvl8pPr marL="0" indent="0" algn="l">
              <a:spcBef>
                <a:spcPts val="0"/>
              </a:spcBef>
              <a:spcAft>
                <a:spcPts val="0"/>
              </a:spcAft>
              <a:buFontTx/>
              <a:buNone/>
              <a:defRPr sz="1600"/>
            </a:lvl8pPr>
            <a:lvl9pPr marL="0" indent="0" algn="l">
              <a:spcBef>
                <a:spcPts val="0"/>
              </a:spcBef>
              <a:spcAft>
                <a:spcPts val="0"/>
              </a:spcAft>
              <a:buFontTx/>
              <a:buNone/>
              <a:defRPr sz="1600"/>
            </a:lvl9pPr>
          </a:lstStyle>
          <a:p>
            <a:pPr lvl="4"/>
            <a:r>
              <a:rPr lang="en-US"/>
              <a:t>[title]</a:t>
            </a:r>
          </a:p>
        </p:txBody>
      </p:sp>
      <p:sp>
        <p:nvSpPr>
          <p:cNvPr id="28" name="Text Placeholder 3"/>
          <p:cNvSpPr>
            <a:spLocks noGrp="1"/>
          </p:cNvSpPr>
          <p:nvPr>
            <p:ph type="body" sz="quarter" idx="37" hasCustomPrompt="1"/>
          </p:nvPr>
        </p:nvSpPr>
        <p:spPr bwMode="gray">
          <a:xfrm>
            <a:off x="2351584" y="1701800"/>
            <a:ext cx="3648405" cy="768440"/>
          </a:xfrm>
        </p:spPr>
        <p:txBody>
          <a:bodyPr tIns="0" bIns="36000" anchor="b" anchorCtr="0"/>
          <a:lstStyle>
            <a:lvl1pPr marL="0" indent="0">
              <a:spcBef>
                <a:spcPts val="0"/>
              </a:spcBef>
              <a:spcAft>
                <a:spcPts val="0"/>
              </a:spcAft>
              <a:buFontTx/>
              <a:buNone/>
              <a:defRPr sz="1867">
                <a:solidFill>
                  <a:schemeClr val="tx2"/>
                </a:solidFill>
              </a:defRPr>
            </a:lvl1pPr>
            <a:lvl2pPr marL="0" indent="0">
              <a:spcBef>
                <a:spcPts val="0"/>
              </a:spcBef>
              <a:spcAft>
                <a:spcPts val="0"/>
              </a:spcAft>
              <a:buNone/>
              <a:defRPr sz="1867">
                <a:solidFill>
                  <a:schemeClr val="tx2"/>
                </a:solidFill>
              </a:defRPr>
            </a:lvl2pPr>
            <a:lvl3pPr marL="0" indent="0" algn="l">
              <a:spcBef>
                <a:spcPts val="0"/>
              </a:spcBef>
              <a:spcAft>
                <a:spcPts val="0"/>
              </a:spcAft>
              <a:buFontTx/>
              <a:buNone/>
              <a:tabLst>
                <a:tab pos="840296" algn="l"/>
              </a:tabLst>
              <a:defRPr sz="1867">
                <a:solidFill>
                  <a:schemeClr val="tx2"/>
                </a:solidFill>
              </a:defRPr>
            </a:lvl3pPr>
            <a:lvl4pPr marL="0" indent="0" algn="l">
              <a:spcBef>
                <a:spcPts val="0"/>
              </a:spcBef>
              <a:spcAft>
                <a:spcPts val="0"/>
              </a:spcAft>
              <a:buFontTx/>
              <a:buNone/>
              <a:defRPr sz="1867">
                <a:solidFill>
                  <a:schemeClr val="tx2"/>
                </a:solidFill>
              </a:defRPr>
            </a:lvl4pPr>
            <a:lvl5pPr marL="0" indent="0" algn="l">
              <a:spcBef>
                <a:spcPts val="0"/>
              </a:spcBef>
              <a:spcAft>
                <a:spcPts val="0"/>
              </a:spcAft>
              <a:buFontTx/>
              <a:buNone/>
              <a:defRPr sz="1867" b="0">
                <a:solidFill>
                  <a:schemeClr val="tx2"/>
                </a:solidFill>
              </a:defRPr>
            </a:lvl5pPr>
            <a:lvl6pPr marL="0" indent="0" algn="l">
              <a:spcBef>
                <a:spcPts val="0"/>
              </a:spcBef>
              <a:spcAft>
                <a:spcPts val="0"/>
              </a:spcAft>
              <a:buFontTx/>
              <a:buNone/>
              <a:defRPr sz="1867">
                <a:solidFill>
                  <a:schemeClr val="tx2"/>
                </a:solidFill>
              </a:defRPr>
            </a:lvl6pPr>
            <a:lvl7pPr marL="0" indent="0" algn="l">
              <a:spcBef>
                <a:spcPts val="0"/>
              </a:spcBef>
              <a:spcAft>
                <a:spcPts val="0"/>
              </a:spcAft>
              <a:buFontTx/>
              <a:buNone/>
              <a:defRPr sz="1867">
                <a:solidFill>
                  <a:schemeClr val="tx2"/>
                </a:solidFill>
              </a:defRPr>
            </a:lvl7pPr>
            <a:lvl8pPr marL="0" indent="0" algn="l">
              <a:spcBef>
                <a:spcPts val="0"/>
              </a:spcBef>
              <a:spcAft>
                <a:spcPts val="0"/>
              </a:spcAft>
              <a:buFontTx/>
              <a:buNone/>
              <a:defRPr sz="1867"/>
            </a:lvl8pPr>
            <a:lvl9pPr marL="0" indent="0" algn="l">
              <a:spcBef>
                <a:spcPts val="0"/>
              </a:spcBef>
              <a:spcAft>
                <a:spcPts val="0"/>
              </a:spcAft>
              <a:buFontTx/>
              <a:buNone/>
              <a:defRPr sz="1867">
                <a:solidFill>
                  <a:schemeClr val="tx2"/>
                </a:solidFill>
              </a:defRPr>
            </a:lvl9pPr>
          </a:lstStyle>
          <a:p>
            <a:pPr lvl="0"/>
            <a:r>
              <a:rPr lang="en-US" noProof="0"/>
              <a:t>[name]</a:t>
            </a:r>
          </a:p>
        </p:txBody>
      </p:sp>
      <p:sp>
        <p:nvSpPr>
          <p:cNvPr id="29" name="Text Placeholder 3"/>
          <p:cNvSpPr>
            <a:spLocks noGrp="1"/>
          </p:cNvSpPr>
          <p:nvPr>
            <p:ph type="body" sz="quarter" idx="38" hasCustomPrompt="1"/>
          </p:nvPr>
        </p:nvSpPr>
        <p:spPr bwMode="gray">
          <a:xfrm>
            <a:off x="2351584" y="3334336"/>
            <a:ext cx="3648405" cy="288032"/>
          </a:xfrm>
        </p:spPr>
        <p:txBody>
          <a:bodyPr tIns="0" anchor="b" anchorCtr="0"/>
          <a:lstStyle>
            <a:lvl1pPr marL="0" indent="0">
              <a:spcBef>
                <a:spcPts val="0"/>
              </a:spcBef>
              <a:spcAft>
                <a:spcPts val="0"/>
              </a:spcAft>
              <a:buNone/>
              <a:defRPr sz="1600">
                <a:solidFill>
                  <a:schemeClr val="tx1"/>
                </a:solidFill>
              </a:defRPr>
            </a:lvl1pPr>
            <a:lvl2pPr marL="0" indent="0">
              <a:spcBef>
                <a:spcPts val="0"/>
              </a:spcBef>
              <a:spcAft>
                <a:spcPts val="0"/>
              </a:spcAft>
              <a:buNone/>
              <a:defRPr sz="1600"/>
            </a:lvl2pPr>
            <a:lvl3pPr marL="0" indent="0" algn="l">
              <a:spcBef>
                <a:spcPts val="0"/>
              </a:spcBef>
              <a:spcAft>
                <a:spcPts val="0"/>
              </a:spcAft>
              <a:buFontTx/>
              <a:buNone/>
              <a:tabLst>
                <a:tab pos="840296" algn="l"/>
              </a:tabLst>
              <a:defRPr sz="1600"/>
            </a:lvl3pPr>
            <a:lvl4pPr marL="0" indent="0" algn="l">
              <a:spcBef>
                <a:spcPts val="0"/>
              </a:spcBef>
              <a:spcAft>
                <a:spcPts val="0"/>
              </a:spcAft>
              <a:buFontTx/>
              <a:buNone/>
              <a:defRPr sz="1600">
                <a:solidFill>
                  <a:schemeClr val="tx1"/>
                </a:solidFill>
              </a:defRPr>
            </a:lvl4pPr>
            <a:lvl5pPr marL="0" indent="0" algn="l">
              <a:spcBef>
                <a:spcPts val="0"/>
              </a:spcBef>
              <a:spcAft>
                <a:spcPts val="0"/>
              </a:spcAft>
              <a:buFontTx/>
              <a:buNone/>
              <a:defRPr sz="1600"/>
            </a:lvl5pPr>
            <a:lvl6pPr marL="0" indent="0" algn="l">
              <a:spcBef>
                <a:spcPts val="0"/>
              </a:spcBef>
              <a:spcAft>
                <a:spcPts val="0"/>
              </a:spcAft>
              <a:buFontTx/>
              <a:buNone/>
              <a:defRPr sz="1600"/>
            </a:lvl6pPr>
            <a:lvl7pPr marL="0" indent="0" algn="l">
              <a:spcBef>
                <a:spcPts val="0"/>
              </a:spcBef>
              <a:spcAft>
                <a:spcPts val="0"/>
              </a:spcAft>
              <a:buFontTx/>
              <a:buNone/>
              <a:defRPr sz="1600"/>
            </a:lvl7pPr>
            <a:lvl8pPr marL="0" indent="0" algn="l">
              <a:spcBef>
                <a:spcPts val="0"/>
              </a:spcBef>
              <a:spcAft>
                <a:spcPts val="0"/>
              </a:spcAft>
              <a:buFontTx/>
              <a:buNone/>
              <a:defRPr sz="1600"/>
            </a:lvl8pPr>
            <a:lvl9pPr marL="0" indent="0" algn="l">
              <a:spcBef>
                <a:spcPts val="0"/>
              </a:spcBef>
              <a:spcAft>
                <a:spcPts val="0"/>
              </a:spcAft>
              <a:buFontTx/>
              <a:buNone/>
              <a:defRPr sz="1600"/>
            </a:lvl9pPr>
          </a:lstStyle>
          <a:p>
            <a:pPr lvl="4"/>
            <a:r>
              <a:rPr lang="en-US"/>
              <a:t>[email address]</a:t>
            </a:r>
          </a:p>
        </p:txBody>
      </p:sp>
      <p:sp>
        <p:nvSpPr>
          <p:cNvPr id="30" name="Text Placeholder 3"/>
          <p:cNvSpPr>
            <a:spLocks noGrp="1"/>
          </p:cNvSpPr>
          <p:nvPr>
            <p:ph type="body" sz="quarter" idx="39" hasCustomPrompt="1"/>
          </p:nvPr>
        </p:nvSpPr>
        <p:spPr bwMode="gray">
          <a:xfrm>
            <a:off x="2351690" y="3622368"/>
            <a:ext cx="3648301" cy="286685"/>
          </a:xfrm>
        </p:spPr>
        <p:txBody>
          <a:bodyPr tIns="0" anchor="b" anchorCtr="0"/>
          <a:lstStyle>
            <a:lvl1pPr marL="0" indent="0">
              <a:spcBef>
                <a:spcPts val="0"/>
              </a:spcBef>
              <a:spcAft>
                <a:spcPts val="0"/>
              </a:spcAft>
              <a:buNone/>
              <a:defRPr sz="1600">
                <a:solidFill>
                  <a:schemeClr val="tx1"/>
                </a:solidFill>
              </a:defRPr>
            </a:lvl1pPr>
            <a:lvl2pPr marL="0" indent="0">
              <a:spcBef>
                <a:spcPts val="0"/>
              </a:spcBef>
              <a:spcAft>
                <a:spcPts val="0"/>
              </a:spcAft>
              <a:buNone/>
              <a:defRPr sz="1600"/>
            </a:lvl2pPr>
            <a:lvl3pPr marL="0" indent="0" algn="l">
              <a:spcBef>
                <a:spcPts val="0"/>
              </a:spcBef>
              <a:spcAft>
                <a:spcPts val="0"/>
              </a:spcAft>
              <a:buFontTx/>
              <a:buNone/>
              <a:tabLst>
                <a:tab pos="840296" algn="l"/>
              </a:tabLst>
              <a:defRPr sz="1600"/>
            </a:lvl3pPr>
            <a:lvl4pPr marL="0" indent="0" algn="l">
              <a:spcBef>
                <a:spcPts val="0"/>
              </a:spcBef>
              <a:spcAft>
                <a:spcPts val="0"/>
              </a:spcAft>
              <a:buFontTx/>
              <a:buNone/>
              <a:defRPr sz="1600">
                <a:solidFill>
                  <a:schemeClr val="tx1"/>
                </a:solidFill>
              </a:defRPr>
            </a:lvl4pPr>
            <a:lvl5pPr marL="0" indent="0" algn="l">
              <a:spcBef>
                <a:spcPts val="0"/>
              </a:spcBef>
              <a:spcAft>
                <a:spcPts val="0"/>
              </a:spcAft>
              <a:buFontTx/>
              <a:buNone/>
              <a:defRPr sz="1600"/>
            </a:lvl5pPr>
            <a:lvl6pPr marL="0" indent="0" algn="l">
              <a:spcBef>
                <a:spcPts val="0"/>
              </a:spcBef>
              <a:spcAft>
                <a:spcPts val="0"/>
              </a:spcAft>
              <a:buFontTx/>
              <a:buNone/>
              <a:defRPr sz="1600"/>
            </a:lvl6pPr>
            <a:lvl7pPr marL="0" indent="0" algn="l">
              <a:spcBef>
                <a:spcPts val="0"/>
              </a:spcBef>
              <a:spcAft>
                <a:spcPts val="0"/>
              </a:spcAft>
              <a:buFontTx/>
              <a:buNone/>
              <a:defRPr sz="1600"/>
            </a:lvl7pPr>
            <a:lvl8pPr marL="0" indent="0" algn="l">
              <a:spcBef>
                <a:spcPts val="0"/>
              </a:spcBef>
              <a:spcAft>
                <a:spcPts val="0"/>
              </a:spcAft>
              <a:buFontTx/>
              <a:buNone/>
              <a:defRPr sz="1600"/>
            </a:lvl8pPr>
            <a:lvl9pPr marL="0" indent="0" algn="l">
              <a:spcBef>
                <a:spcPts val="0"/>
              </a:spcBef>
              <a:spcAft>
                <a:spcPts val="0"/>
              </a:spcAft>
              <a:buFontTx/>
              <a:buNone/>
              <a:defRPr sz="1600"/>
            </a:lvl9pPr>
          </a:lstStyle>
          <a:p>
            <a:pPr lvl="4"/>
            <a:r>
              <a:rPr lang="en-US"/>
              <a:t>[country]</a:t>
            </a:r>
          </a:p>
        </p:txBody>
      </p:sp>
      <p:sp>
        <p:nvSpPr>
          <p:cNvPr id="31" name="Picture Placeholder 4"/>
          <p:cNvSpPr>
            <a:spLocks noGrp="1"/>
          </p:cNvSpPr>
          <p:nvPr>
            <p:ph type="pic" sz="quarter" idx="40" hasCustomPrompt="1"/>
          </p:nvPr>
        </p:nvSpPr>
        <p:spPr bwMode="gray">
          <a:xfrm>
            <a:off x="6192971" y="1701800"/>
            <a:ext cx="1728192" cy="2208000"/>
          </a:xfrm>
        </p:spPr>
        <p:txBody>
          <a:bodyPr/>
          <a:lstStyle>
            <a:lvl1pPr marL="0" indent="0">
              <a:buNone/>
              <a:defRPr/>
            </a:lvl1pPr>
          </a:lstStyle>
          <a:p>
            <a:r>
              <a:rPr lang="de-DE"/>
              <a:t>Picture</a:t>
            </a:r>
            <a:endParaRPr lang="en-US"/>
          </a:p>
        </p:txBody>
      </p:sp>
      <p:sp>
        <p:nvSpPr>
          <p:cNvPr id="32" name="Text Placeholder 3"/>
          <p:cNvSpPr>
            <a:spLocks noGrp="1"/>
          </p:cNvSpPr>
          <p:nvPr>
            <p:ph type="body" sz="quarter" idx="41" hasCustomPrompt="1"/>
          </p:nvPr>
        </p:nvSpPr>
        <p:spPr bwMode="gray">
          <a:xfrm>
            <a:off x="8113186" y="3046305"/>
            <a:ext cx="3648404" cy="288032"/>
          </a:xfrm>
        </p:spPr>
        <p:txBody>
          <a:bodyPr tIns="0" anchor="b" anchorCtr="0"/>
          <a:lstStyle>
            <a:lvl1pPr marL="0" indent="0">
              <a:spcBef>
                <a:spcPts val="0"/>
              </a:spcBef>
              <a:spcAft>
                <a:spcPts val="0"/>
              </a:spcAft>
              <a:buNone/>
              <a:defRPr sz="1600">
                <a:solidFill>
                  <a:schemeClr val="tx1"/>
                </a:solidFill>
              </a:defRPr>
            </a:lvl1pPr>
            <a:lvl2pPr marL="0" indent="0">
              <a:spcBef>
                <a:spcPts val="0"/>
              </a:spcBef>
              <a:spcAft>
                <a:spcPts val="0"/>
              </a:spcAft>
              <a:buNone/>
              <a:defRPr sz="1600"/>
            </a:lvl2pPr>
            <a:lvl3pPr marL="0" indent="0" algn="l">
              <a:spcBef>
                <a:spcPts val="0"/>
              </a:spcBef>
              <a:spcAft>
                <a:spcPts val="0"/>
              </a:spcAft>
              <a:buFontTx/>
              <a:buNone/>
              <a:tabLst>
                <a:tab pos="840296" algn="l"/>
              </a:tabLst>
              <a:defRPr sz="1600"/>
            </a:lvl3pPr>
            <a:lvl4pPr marL="0" indent="0" algn="l">
              <a:spcBef>
                <a:spcPts val="0"/>
              </a:spcBef>
              <a:spcAft>
                <a:spcPts val="0"/>
              </a:spcAft>
              <a:buFontTx/>
              <a:buNone/>
              <a:defRPr sz="1600">
                <a:solidFill>
                  <a:schemeClr val="tx1"/>
                </a:solidFill>
              </a:defRPr>
            </a:lvl4pPr>
            <a:lvl5pPr marL="0" indent="0" algn="l">
              <a:spcBef>
                <a:spcPts val="0"/>
              </a:spcBef>
              <a:spcAft>
                <a:spcPts val="0"/>
              </a:spcAft>
              <a:buFontTx/>
              <a:buNone/>
              <a:defRPr sz="1600"/>
            </a:lvl5pPr>
            <a:lvl6pPr marL="0" indent="0" algn="l">
              <a:spcBef>
                <a:spcPts val="0"/>
              </a:spcBef>
              <a:spcAft>
                <a:spcPts val="0"/>
              </a:spcAft>
              <a:buFontTx/>
              <a:buNone/>
              <a:defRPr sz="1600"/>
            </a:lvl6pPr>
            <a:lvl7pPr marL="0" indent="0" algn="l">
              <a:spcBef>
                <a:spcPts val="0"/>
              </a:spcBef>
              <a:spcAft>
                <a:spcPts val="0"/>
              </a:spcAft>
              <a:buFontTx/>
              <a:buNone/>
              <a:defRPr sz="1600"/>
            </a:lvl7pPr>
            <a:lvl8pPr marL="0" indent="0" algn="l">
              <a:spcBef>
                <a:spcPts val="0"/>
              </a:spcBef>
              <a:spcAft>
                <a:spcPts val="0"/>
              </a:spcAft>
              <a:buFontTx/>
              <a:buNone/>
              <a:defRPr sz="1600"/>
            </a:lvl8pPr>
            <a:lvl9pPr marL="0" indent="0" algn="l">
              <a:spcBef>
                <a:spcPts val="0"/>
              </a:spcBef>
              <a:spcAft>
                <a:spcPts val="0"/>
              </a:spcAft>
              <a:buFontTx/>
              <a:buNone/>
              <a:defRPr sz="1600"/>
            </a:lvl9pPr>
          </a:lstStyle>
          <a:p>
            <a:pPr lvl="4"/>
            <a:r>
              <a:rPr lang="en-US"/>
              <a:t>[phone number]</a:t>
            </a:r>
          </a:p>
        </p:txBody>
      </p:sp>
      <p:sp>
        <p:nvSpPr>
          <p:cNvPr id="33" name="Text Placeholder 3"/>
          <p:cNvSpPr>
            <a:spLocks noGrp="1"/>
          </p:cNvSpPr>
          <p:nvPr>
            <p:ph type="body" sz="quarter" idx="42" hasCustomPrompt="1"/>
          </p:nvPr>
        </p:nvSpPr>
        <p:spPr bwMode="gray">
          <a:xfrm>
            <a:off x="8113184" y="2470241"/>
            <a:ext cx="3648405" cy="576000"/>
          </a:xfrm>
        </p:spPr>
        <p:txBody>
          <a:bodyPr tIns="36000" anchor="t" anchorCtr="0"/>
          <a:lstStyle>
            <a:lvl1pPr marL="0" indent="0">
              <a:spcBef>
                <a:spcPts val="0"/>
              </a:spcBef>
              <a:spcAft>
                <a:spcPts val="0"/>
              </a:spcAft>
              <a:buNone/>
              <a:defRPr sz="1600">
                <a:solidFill>
                  <a:schemeClr val="tx1"/>
                </a:solidFill>
              </a:defRPr>
            </a:lvl1pPr>
            <a:lvl2pPr marL="0" indent="0">
              <a:spcBef>
                <a:spcPts val="0"/>
              </a:spcBef>
              <a:spcAft>
                <a:spcPts val="0"/>
              </a:spcAft>
              <a:buNone/>
              <a:defRPr sz="1600"/>
            </a:lvl2pPr>
            <a:lvl3pPr marL="0" indent="0" algn="l">
              <a:spcBef>
                <a:spcPts val="0"/>
              </a:spcBef>
              <a:spcAft>
                <a:spcPts val="0"/>
              </a:spcAft>
              <a:buFontTx/>
              <a:buNone/>
              <a:tabLst>
                <a:tab pos="840296" algn="l"/>
              </a:tabLst>
              <a:defRPr sz="1600"/>
            </a:lvl3pPr>
            <a:lvl4pPr marL="0" indent="0" algn="l">
              <a:spcBef>
                <a:spcPts val="0"/>
              </a:spcBef>
              <a:spcAft>
                <a:spcPts val="0"/>
              </a:spcAft>
              <a:buFontTx/>
              <a:buNone/>
              <a:defRPr sz="1600">
                <a:solidFill>
                  <a:schemeClr val="tx1"/>
                </a:solidFill>
              </a:defRPr>
            </a:lvl4pPr>
            <a:lvl5pPr marL="0" indent="0" algn="l">
              <a:spcBef>
                <a:spcPts val="0"/>
              </a:spcBef>
              <a:spcAft>
                <a:spcPts val="0"/>
              </a:spcAft>
              <a:buFontTx/>
              <a:buNone/>
              <a:defRPr sz="1600"/>
            </a:lvl5pPr>
            <a:lvl6pPr marL="0" indent="0" algn="l">
              <a:spcBef>
                <a:spcPts val="0"/>
              </a:spcBef>
              <a:spcAft>
                <a:spcPts val="0"/>
              </a:spcAft>
              <a:buFontTx/>
              <a:buNone/>
              <a:defRPr sz="1600"/>
            </a:lvl6pPr>
            <a:lvl7pPr marL="0" indent="0" algn="l">
              <a:spcBef>
                <a:spcPts val="0"/>
              </a:spcBef>
              <a:spcAft>
                <a:spcPts val="0"/>
              </a:spcAft>
              <a:buFontTx/>
              <a:buNone/>
              <a:defRPr sz="1600"/>
            </a:lvl7pPr>
            <a:lvl8pPr marL="0" indent="0" algn="l">
              <a:spcBef>
                <a:spcPts val="0"/>
              </a:spcBef>
              <a:spcAft>
                <a:spcPts val="0"/>
              </a:spcAft>
              <a:buFontTx/>
              <a:buNone/>
              <a:defRPr sz="1600"/>
            </a:lvl8pPr>
            <a:lvl9pPr marL="0" indent="0" algn="l">
              <a:spcBef>
                <a:spcPts val="0"/>
              </a:spcBef>
              <a:spcAft>
                <a:spcPts val="0"/>
              </a:spcAft>
              <a:buFontTx/>
              <a:buNone/>
              <a:defRPr sz="1600"/>
            </a:lvl9pPr>
          </a:lstStyle>
          <a:p>
            <a:pPr lvl="4"/>
            <a:r>
              <a:rPr lang="en-US"/>
              <a:t>[title]</a:t>
            </a:r>
          </a:p>
        </p:txBody>
      </p:sp>
      <p:sp>
        <p:nvSpPr>
          <p:cNvPr id="34" name="Text Placeholder 3"/>
          <p:cNvSpPr>
            <a:spLocks noGrp="1"/>
          </p:cNvSpPr>
          <p:nvPr>
            <p:ph type="body" sz="quarter" idx="43" hasCustomPrompt="1"/>
          </p:nvPr>
        </p:nvSpPr>
        <p:spPr bwMode="gray">
          <a:xfrm>
            <a:off x="8113184" y="1702432"/>
            <a:ext cx="3648405" cy="768000"/>
          </a:xfrm>
        </p:spPr>
        <p:txBody>
          <a:bodyPr tIns="0" bIns="36000" anchor="b" anchorCtr="0"/>
          <a:lstStyle>
            <a:lvl1pPr marL="0" indent="0">
              <a:spcBef>
                <a:spcPts val="0"/>
              </a:spcBef>
              <a:spcAft>
                <a:spcPts val="0"/>
              </a:spcAft>
              <a:buFontTx/>
              <a:buNone/>
              <a:defRPr sz="1867">
                <a:solidFill>
                  <a:schemeClr val="tx2"/>
                </a:solidFill>
              </a:defRPr>
            </a:lvl1pPr>
            <a:lvl2pPr marL="0" indent="0">
              <a:spcBef>
                <a:spcPts val="0"/>
              </a:spcBef>
              <a:spcAft>
                <a:spcPts val="0"/>
              </a:spcAft>
              <a:buNone/>
              <a:defRPr sz="1867">
                <a:solidFill>
                  <a:schemeClr val="tx2"/>
                </a:solidFill>
              </a:defRPr>
            </a:lvl2pPr>
            <a:lvl3pPr marL="0" indent="0" algn="l">
              <a:spcBef>
                <a:spcPts val="0"/>
              </a:spcBef>
              <a:spcAft>
                <a:spcPts val="0"/>
              </a:spcAft>
              <a:buFontTx/>
              <a:buNone/>
              <a:tabLst>
                <a:tab pos="840296" algn="l"/>
              </a:tabLst>
              <a:defRPr sz="1867">
                <a:solidFill>
                  <a:schemeClr val="tx2"/>
                </a:solidFill>
              </a:defRPr>
            </a:lvl3pPr>
            <a:lvl4pPr marL="0" indent="0" algn="l">
              <a:spcBef>
                <a:spcPts val="0"/>
              </a:spcBef>
              <a:spcAft>
                <a:spcPts val="0"/>
              </a:spcAft>
              <a:buFontTx/>
              <a:buNone/>
              <a:defRPr sz="1867">
                <a:solidFill>
                  <a:schemeClr val="tx2"/>
                </a:solidFill>
              </a:defRPr>
            </a:lvl4pPr>
            <a:lvl5pPr marL="0" indent="0" algn="l">
              <a:spcBef>
                <a:spcPts val="0"/>
              </a:spcBef>
              <a:spcAft>
                <a:spcPts val="0"/>
              </a:spcAft>
              <a:buFontTx/>
              <a:buNone/>
              <a:defRPr sz="1867" b="0">
                <a:solidFill>
                  <a:schemeClr val="tx2"/>
                </a:solidFill>
              </a:defRPr>
            </a:lvl5pPr>
            <a:lvl6pPr marL="0" indent="0" algn="l">
              <a:spcBef>
                <a:spcPts val="0"/>
              </a:spcBef>
              <a:spcAft>
                <a:spcPts val="0"/>
              </a:spcAft>
              <a:buFontTx/>
              <a:buNone/>
              <a:defRPr sz="1867">
                <a:solidFill>
                  <a:schemeClr val="tx2"/>
                </a:solidFill>
              </a:defRPr>
            </a:lvl6pPr>
            <a:lvl7pPr marL="0" indent="0" algn="l">
              <a:spcBef>
                <a:spcPts val="0"/>
              </a:spcBef>
              <a:spcAft>
                <a:spcPts val="0"/>
              </a:spcAft>
              <a:buFontTx/>
              <a:buNone/>
              <a:defRPr sz="1867">
                <a:solidFill>
                  <a:schemeClr val="tx2"/>
                </a:solidFill>
              </a:defRPr>
            </a:lvl7pPr>
            <a:lvl8pPr marL="0" indent="0" algn="l">
              <a:spcBef>
                <a:spcPts val="0"/>
              </a:spcBef>
              <a:spcAft>
                <a:spcPts val="0"/>
              </a:spcAft>
              <a:buFontTx/>
              <a:buNone/>
              <a:defRPr sz="1867"/>
            </a:lvl8pPr>
            <a:lvl9pPr marL="0" indent="0" algn="l">
              <a:spcBef>
                <a:spcPts val="0"/>
              </a:spcBef>
              <a:spcAft>
                <a:spcPts val="0"/>
              </a:spcAft>
              <a:buFontTx/>
              <a:buNone/>
              <a:defRPr sz="1867">
                <a:solidFill>
                  <a:schemeClr val="tx2"/>
                </a:solidFill>
              </a:defRPr>
            </a:lvl9pPr>
          </a:lstStyle>
          <a:p>
            <a:pPr lvl="0"/>
            <a:r>
              <a:rPr lang="en-US"/>
              <a:t>[name]</a:t>
            </a:r>
          </a:p>
        </p:txBody>
      </p:sp>
      <p:sp>
        <p:nvSpPr>
          <p:cNvPr id="35" name="Text Placeholder 3"/>
          <p:cNvSpPr>
            <a:spLocks noGrp="1"/>
          </p:cNvSpPr>
          <p:nvPr>
            <p:ph type="body" sz="quarter" idx="44" hasCustomPrompt="1"/>
          </p:nvPr>
        </p:nvSpPr>
        <p:spPr bwMode="gray">
          <a:xfrm>
            <a:off x="8113184" y="3334336"/>
            <a:ext cx="3648405" cy="288032"/>
          </a:xfrm>
        </p:spPr>
        <p:txBody>
          <a:bodyPr tIns="0" anchor="b" anchorCtr="0"/>
          <a:lstStyle>
            <a:lvl1pPr marL="0" indent="0">
              <a:spcBef>
                <a:spcPts val="0"/>
              </a:spcBef>
              <a:spcAft>
                <a:spcPts val="0"/>
              </a:spcAft>
              <a:buNone/>
              <a:defRPr sz="1600">
                <a:solidFill>
                  <a:schemeClr val="tx1"/>
                </a:solidFill>
              </a:defRPr>
            </a:lvl1pPr>
            <a:lvl2pPr marL="0" indent="0">
              <a:spcBef>
                <a:spcPts val="0"/>
              </a:spcBef>
              <a:spcAft>
                <a:spcPts val="0"/>
              </a:spcAft>
              <a:buNone/>
              <a:defRPr sz="1600"/>
            </a:lvl2pPr>
            <a:lvl3pPr marL="0" indent="0" algn="l">
              <a:spcBef>
                <a:spcPts val="0"/>
              </a:spcBef>
              <a:spcAft>
                <a:spcPts val="0"/>
              </a:spcAft>
              <a:buFontTx/>
              <a:buNone/>
              <a:tabLst>
                <a:tab pos="840296" algn="l"/>
              </a:tabLst>
              <a:defRPr sz="1600"/>
            </a:lvl3pPr>
            <a:lvl4pPr marL="0" indent="0" algn="l">
              <a:spcBef>
                <a:spcPts val="0"/>
              </a:spcBef>
              <a:spcAft>
                <a:spcPts val="0"/>
              </a:spcAft>
              <a:buFontTx/>
              <a:buNone/>
              <a:defRPr sz="1600">
                <a:solidFill>
                  <a:schemeClr val="tx1"/>
                </a:solidFill>
              </a:defRPr>
            </a:lvl4pPr>
            <a:lvl5pPr marL="0" indent="0" algn="l">
              <a:spcBef>
                <a:spcPts val="0"/>
              </a:spcBef>
              <a:spcAft>
                <a:spcPts val="0"/>
              </a:spcAft>
              <a:buFontTx/>
              <a:buNone/>
              <a:defRPr sz="1600"/>
            </a:lvl5pPr>
            <a:lvl6pPr marL="0" indent="0" algn="l">
              <a:spcBef>
                <a:spcPts val="0"/>
              </a:spcBef>
              <a:spcAft>
                <a:spcPts val="0"/>
              </a:spcAft>
              <a:buFontTx/>
              <a:buNone/>
              <a:defRPr sz="1600"/>
            </a:lvl6pPr>
            <a:lvl7pPr marL="0" indent="0" algn="l">
              <a:spcBef>
                <a:spcPts val="0"/>
              </a:spcBef>
              <a:spcAft>
                <a:spcPts val="0"/>
              </a:spcAft>
              <a:buFontTx/>
              <a:buNone/>
              <a:defRPr sz="1600"/>
            </a:lvl7pPr>
            <a:lvl8pPr marL="0" indent="0" algn="l">
              <a:spcBef>
                <a:spcPts val="0"/>
              </a:spcBef>
              <a:spcAft>
                <a:spcPts val="0"/>
              </a:spcAft>
              <a:buFontTx/>
              <a:buNone/>
              <a:defRPr sz="1600"/>
            </a:lvl8pPr>
            <a:lvl9pPr marL="0" indent="0" algn="l">
              <a:spcBef>
                <a:spcPts val="0"/>
              </a:spcBef>
              <a:spcAft>
                <a:spcPts val="0"/>
              </a:spcAft>
              <a:buFontTx/>
              <a:buNone/>
              <a:defRPr sz="1600"/>
            </a:lvl9pPr>
          </a:lstStyle>
          <a:p>
            <a:pPr lvl="4"/>
            <a:r>
              <a:rPr lang="en-US"/>
              <a:t>[email address]</a:t>
            </a:r>
          </a:p>
        </p:txBody>
      </p:sp>
      <p:sp>
        <p:nvSpPr>
          <p:cNvPr id="36" name="Text Placeholder 3"/>
          <p:cNvSpPr>
            <a:spLocks noGrp="1"/>
          </p:cNvSpPr>
          <p:nvPr>
            <p:ph type="body" sz="quarter" idx="45" hasCustomPrompt="1"/>
          </p:nvPr>
        </p:nvSpPr>
        <p:spPr bwMode="gray">
          <a:xfrm>
            <a:off x="8113290" y="3622368"/>
            <a:ext cx="3648301" cy="286685"/>
          </a:xfrm>
        </p:spPr>
        <p:txBody>
          <a:bodyPr tIns="0" anchor="b" anchorCtr="0"/>
          <a:lstStyle>
            <a:lvl1pPr marL="0" indent="0">
              <a:spcBef>
                <a:spcPts val="0"/>
              </a:spcBef>
              <a:spcAft>
                <a:spcPts val="0"/>
              </a:spcAft>
              <a:buNone/>
              <a:defRPr sz="1600">
                <a:solidFill>
                  <a:schemeClr val="tx1"/>
                </a:solidFill>
              </a:defRPr>
            </a:lvl1pPr>
            <a:lvl2pPr marL="0" indent="0">
              <a:spcBef>
                <a:spcPts val="0"/>
              </a:spcBef>
              <a:spcAft>
                <a:spcPts val="0"/>
              </a:spcAft>
              <a:buNone/>
              <a:defRPr sz="1600"/>
            </a:lvl2pPr>
            <a:lvl3pPr marL="0" indent="0" algn="l">
              <a:spcBef>
                <a:spcPts val="0"/>
              </a:spcBef>
              <a:spcAft>
                <a:spcPts val="0"/>
              </a:spcAft>
              <a:buFontTx/>
              <a:buNone/>
              <a:tabLst>
                <a:tab pos="840296" algn="l"/>
              </a:tabLst>
              <a:defRPr sz="1600"/>
            </a:lvl3pPr>
            <a:lvl4pPr marL="0" indent="0" algn="l">
              <a:spcBef>
                <a:spcPts val="0"/>
              </a:spcBef>
              <a:spcAft>
                <a:spcPts val="0"/>
              </a:spcAft>
              <a:buFontTx/>
              <a:buNone/>
              <a:defRPr sz="1600">
                <a:solidFill>
                  <a:schemeClr val="tx1"/>
                </a:solidFill>
              </a:defRPr>
            </a:lvl4pPr>
            <a:lvl5pPr marL="0" indent="0" algn="l">
              <a:spcBef>
                <a:spcPts val="0"/>
              </a:spcBef>
              <a:spcAft>
                <a:spcPts val="0"/>
              </a:spcAft>
              <a:buFontTx/>
              <a:buNone/>
              <a:defRPr sz="1600"/>
            </a:lvl5pPr>
            <a:lvl6pPr marL="0" indent="0" algn="l">
              <a:spcBef>
                <a:spcPts val="0"/>
              </a:spcBef>
              <a:spcAft>
                <a:spcPts val="0"/>
              </a:spcAft>
              <a:buFontTx/>
              <a:buNone/>
              <a:defRPr sz="1600"/>
            </a:lvl6pPr>
            <a:lvl7pPr marL="0" indent="0" algn="l">
              <a:spcBef>
                <a:spcPts val="0"/>
              </a:spcBef>
              <a:spcAft>
                <a:spcPts val="0"/>
              </a:spcAft>
              <a:buFontTx/>
              <a:buNone/>
              <a:defRPr sz="1600"/>
            </a:lvl7pPr>
            <a:lvl8pPr marL="0" indent="0" algn="l">
              <a:spcBef>
                <a:spcPts val="0"/>
              </a:spcBef>
              <a:spcAft>
                <a:spcPts val="0"/>
              </a:spcAft>
              <a:buFontTx/>
              <a:buNone/>
              <a:defRPr sz="1600"/>
            </a:lvl8pPr>
            <a:lvl9pPr marL="0" indent="0" algn="l">
              <a:spcBef>
                <a:spcPts val="0"/>
              </a:spcBef>
              <a:spcAft>
                <a:spcPts val="0"/>
              </a:spcAft>
              <a:buFontTx/>
              <a:buNone/>
              <a:defRPr sz="1600"/>
            </a:lvl9pPr>
          </a:lstStyle>
          <a:p>
            <a:pPr lvl="4"/>
            <a:r>
              <a:rPr lang="en-US"/>
              <a:t>[country]</a:t>
            </a:r>
          </a:p>
        </p:txBody>
      </p:sp>
    </p:spTree>
    <p:extLst>
      <p:ext uri="{BB962C8B-B14F-4D97-AF65-F5344CB8AC3E}">
        <p14:creationId xmlns:p14="http://schemas.microsoft.com/office/powerpoint/2010/main" val="1218187710"/>
      </p:ext>
    </p:extLst>
  </p:cSld>
  <p:clrMapOvr>
    <a:masterClrMapping/>
  </p:clrMapOvr>
</p:sldLayout>
</file>

<file path=ppt/slideLayouts/slideLayout400.xml><?xml version="1.0" encoding="utf-8"?>
<p:sldLayout xmlns:a="http://schemas.openxmlformats.org/drawingml/2006/main" xmlns:r="http://schemas.openxmlformats.org/officeDocument/2006/relationships" xmlns:p="http://schemas.openxmlformats.org/presentationml/2006/main" preserve="1">
  <p:cSld name="Four contents 1">
    <p:spTree>
      <p:nvGrpSpPr>
        <p:cNvPr id="1" name=""/>
        <p:cNvGrpSpPr/>
        <p:nvPr/>
      </p:nvGrpSpPr>
      <p:grpSpPr>
        <a:xfrm>
          <a:off x="0" y="0"/>
          <a:ext cx="0" cy="0"/>
          <a:chOff x="0" y="0"/>
          <a:chExt cx="0" cy="0"/>
        </a:xfrm>
      </p:grpSpPr>
      <p:sp>
        <p:nvSpPr>
          <p:cNvPr id="21" name="Date Placeholder 20"/>
          <p:cNvSpPr>
            <a:spLocks noGrp="1"/>
          </p:cNvSpPr>
          <p:nvPr>
            <p:ph type="dt" sz="half" idx="14"/>
          </p:nvPr>
        </p:nvSpPr>
        <p:spPr/>
        <p:txBody>
          <a:bodyPr/>
          <a:lstStyle/>
          <a:p>
            <a:endParaRPr lang="en-US"/>
          </a:p>
        </p:txBody>
      </p:sp>
      <p:sp>
        <p:nvSpPr>
          <p:cNvPr id="22" name="Footer Placeholder 21"/>
          <p:cNvSpPr>
            <a:spLocks noGrp="1"/>
          </p:cNvSpPr>
          <p:nvPr>
            <p:ph type="ftr" sz="quarter" idx="15"/>
          </p:nvPr>
        </p:nvSpPr>
        <p:spPr/>
        <p:txBody>
          <a:bodyPr/>
          <a:lstStyle/>
          <a:p>
            <a:endParaRPr lang="en-US"/>
          </a:p>
        </p:txBody>
      </p:sp>
      <p:sp>
        <p:nvSpPr>
          <p:cNvPr id="23" name="Slide Number Placeholder 22"/>
          <p:cNvSpPr>
            <a:spLocks noGrp="1"/>
          </p:cNvSpPr>
          <p:nvPr>
            <p:ph type="sldNum" sz="quarter" idx="16"/>
          </p:nvPr>
        </p:nvSpPr>
        <p:spPr/>
        <p:txBody>
          <a:bodyPr/>
          <a:lstStyle/>
          <a:p>
            <a:fld id="{5F3E29E4-0979-4FCA-B4C5-5FC6044C982A}" type="slidenum">
              <a:rPr lang="en-US" smtClean="0"/>
              <a:t>‹#›</a:t>
            </a:fld>
            <a:endParaRPr lang="en-US"/>
          </a:p>
        </p:txBody>
      </p:sp>
      <p:sp>
        <p:nvSpPr>
          <p:cNvPr id="2" name="Title 1"/>
          <p:cNvSpPr>
            <a:spLocks noGrp="1"/>
          </p:cNvSpPr>
          <p:nvPr>
            <p:ph type="title" hasCustomPrompt="1"/>
          </p:nvPr>
        </p:nvSpPr>
        <p:spPr/>
        <p:txBody>
          <a:bodyPr/>
          <a:lstStyle>
            <a:lvl1pPr>
              <a:defRPr/>
            </a:lvl1pPr>
          </a:lstStyle>
          <a:p>
            <a:r>
              <a:rPr lang="en-US"/>
              <a:t>Click to add slide title</a:t>
            </a:r>
          </a:p>
        </p:txBody>
      </p:sp>
      <p:sp>
        <p:nvSpPr>
          <p:cNvPr id="7" name="Subtitle 2"/>
          <p:cNvSpPr>
            <a:spLocks noGrp="1"/>
          </p:cNvSpPr>
          <p:nvPr>
            <p:ph type="subTitle" idx="13" hasCustomPrompt="1"/>
          </p:nvPr>
        </p:nvSpPr>
        <p:spPr>
          <a:xfrm>
            <a:off x="1075061" y="964671"/>
            <a:ext cx="7910158" cy="490042"/>
          </a:xfrm>
        </p:spPr>
        <p:txBody>
          <a:bodyPr wrap="none"/>
          <a:lstStyle>
            <a:lvl1pPr marL="0" indent="0" algn="l">
              <a:spcBef>
                <a:spcPts val="0"/>
              </a:spcBef>
              <a:buNone/>
              <a:defRPr sz="2400" baseline="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sp>
        <p:nvSpPr>
          <p:cNvPr id="3" name="Content Placeholder 2"/>
          <p:cNvSpPr>
            <a:spLocks noGrp="1"/>
          </p:cNvSpPr>
          <p:nvPr>
            <p:ph idx="1" hasCustomPrompt="1"/>
          </p:nvPr>
        </p:nvSpPr>
        <p:spPr>
          <a:xfrm>
            <a:off x="192088" y="1629618"/>
            <a:ext cx="2682000" cy="4139357"/>
          </a:xfrm>
        </p:spPr>
        <p:txBody>
          <a:bodyPr/>
          <a:lstStyle>
            <a:lvl1pPr>
              <a:defRPr/>
            </a:lvl1pPr>
          </a:lstStyle>
          <a:p>
            <a:pPr lvl="0"/>
            <a:r>
              <a:rPr lang="en-US"/>
              <a:t>Click to add text or content</a:t>
            </a:r>
          </a:p>
          <a:p>
            <a:pPr lvl="1"/>
            <a:r>
              <a:rPr lang="en-US"/>
              <a:t>Second level</a:t>
            </a:r>
          </a:p>
          <a:p>
            <a:pPr lvl="2"/>
            <a:r>
              <a:rPr lang="en-US"/>
              <a:t>Third level</a:t>
            </a:r>
          </a:p>
          <a:p>
            <a:pPr lvl="3"/>
            <a:r>
              <a:rPr lang="en-US"/>
              <a:t>Fourth level</a:t>
            </a:r>
          </a:p>
          <a:p>
            <a:pPr lvl="4"/>
            <a:r>
              <a:rPr lang="en-US"/>
              <a:t>Fifth level</a:t>
            </a:r>
          </a:p>
        </p:txBody>
      </p:sp>
      <p:sp>
        <p:nvSpPr>
          <p:cNvPr id="9" name="Content Placeholder 2"/>
          <p:cNvSpPr>
            <a:spLocks noGrp="1"/>
          </p:cNvSpPr>
          <p:nvPr>
            <p:ph idx="17" hasCustomPrompt="1"/>
          </p:nvPr>
        </p:nvSpPr>
        <p:spPr>
          <a:xfrm>
            <a:off x="3174234" y="1629618"/>
            <a:ext cx="2682000" cy="4139357"/>
          </a:xfrm>
        </p:spPr>
        <p:txBody>
          <a:bodyPr/>
          <a:lstStyle>
            <a:lvl1pPr>
              <a:defRPr/>
            </a:lvl1pPr>
          </a:lstStyle>
          <a:p>
            <a:pPr lvl="0"/>
            <a:r>
              <a:rPr lang="en-US"/>
              <a:t>Click to add text or content</a:t>
            </a:r>
          </a:p>
          <a:p>
            <a:pPr lvl="1"/>
            <a:r>
              <a:rPr lang="en-US"/>
              <a:t>Second level</a:t>
            </a:r>
          </a:p>
          <a:p>
            <a:pPr lvl="2"/>
            <a:r>
              <a:rPr lang="en-US"/>
              <a:t>Third level</a:t>
            </a:r>
          </a:p>
          <a:p>
            <a:pPr lvl="3"/>
            <a:r>
              <a:rPr lang="en-US"/>
              <a:t>Fourth level</a:t>
            </a:r>
          </a:p>
          <a:p>
            <a:pPr lvl="4"/>
            <a:r>
              <a:rPr lang="en-US"/>
              <a:t>Fifth level</a:t>
            </a:r>
          </a:p>
        </p:txBody>
      </p:sp>
      <p:sp>
        <p:nvSpPr>
          <p:cNvPr id="10" name="Content Placeholder 2"/>
          <p:cNvSpPr>
            <a:spLocks noGrp="1"/>
          </p:cNvSpPr>
          <p:nvPr>
            <p:ph idx="18" hasCustomPrompt="1"/>
          </p:nvPr>
        </p:nvSpPr>
        <p:spPr>
          <a:xfrm>
            <a:off x="6156380" y="1629618"/>
            <a:ext cx="2682000" cy="4139357"/>
          </a:xfrm>
        </p:spPr>
        <p:txBody>
          <a:bodyPr/>
          <a:lstStyle>
            <a:lvl1pPr>
              <a:defRPr/>
            </a:lvl1pPr>
          </a:lstStyle>
          <a:p>
            <a:pPr lvl="0"/>
            <a:r>
              <a:rPr lang="en-US"/>
              <a:t>Click to add text or content</a:t>
            </a:r>
          </a:p>
          <a:p>
            <a:pPr lvl="1"/>
            <a:r>
              <a:rPr lang="en-US"/>
              <a:t>Second level</a:t>
            </a:r>
          </a:p>
          <a:p>
            <a:pPr lvl="2"/>
            <a:r>
              <a:rPr lang="en-US"/>
              <a:t>Third level</a:t>
            </a:r>
          </a:p>
          <a:p>
            <a:pPr lvl="3"/>
            <a:r>
              <a:rPr lang="en-US"/>
              <a:t>Fourth level</a:t>
            </a:r>
          </a:p>
          <a:p>
            <a:pPr lvl="4"/>
            <a:r>
              <a:rPr lang="en-US"/>
              <a:t>Fifth level</a:t>
            </a:r>
          </a:p>
        </p:txBody>
      </p:sp>
      <p:sp>
        <p:nvSpPr>
          <p:cNvPr id="13" name="Content Placeholder 2"/>
          <p:cNvSpPr>
            <a:spLocks noGrp="1"/>
          </p:cNvSpPr>
          <p:nvPr>
            <p:ph idx="19" hasCustomPrompt="1"/>
          </p:nvPr>
        </p:nvSpPr>
        <p:spPr>
          <a:xfrm>
            <a:off x="9138525" y="1629618"/>
            <a:ext cx="2682000" cy="4139357"/>
          </a:xfrm>
        </p:spPr>
        <p:txBody>
          <a:bodyPr/>
          <a:lstStyle>
            <a:lvl1pPr>
              <a:defRPr/>
            </a:lvl1pPr>
          </a:lstStyle>
          <a:p>
            <a:pPr lvl="0"/>
            <a:r>
              <a:rPr lang="en-US"/>
              <a:t>Click to add text or content</a:t>
            </a:r>
          </a:p>
          <a:p>
            <a:pPr lvl="1"/>
            <a:r>
              <a:rPr lang="en-US"/>
              <a:t>Second level</a:t>
            </a:r>
          </a:p>
          <a:p>
            <a:pPr lvl="2"/>
            <a:r>
              <a:rPr lang="en-US"/>
              <a:t>Third level</a:t>
            </a:r>
          </a:p>
          <a:p>
            <a:pPr lvl="3"/>
            <a:r>
              <a:rPr lang="en-US"/>
              <a:t>Fourth level</a:t>
            </a:r>
          </a:p>
          <a:p>
            <a:pPr lvl="4"/>
            <a:r>
              <a:rPr lang="en-US"/>
              <a:t>Fifth level</a:t>
            </a:r>
          </a:p>
        </p:txBody>
      </p:sp>
      <p:sp>
        <p:nvSpPr>
          <p:cNvPr id="12" name="Text Placeholder 4"/>
          <p:cNvSpPr>
            <a:spLocks noGrp="1"/>
          </p:cNvSpPr>
          <p:nvPr>
            <p:ph type="body" sz="quarter" idx="20" hasCustomPrompt="1"/>
          </p:nvPr>
        </p:nvSpPr>
        <p:spPr>
          <a:xfrm>
            <a:off x="1075063" y="6307665"/>
            <a:ext cx="8162717" cy="133200"/>
          </a:xfrm>
        </p:spPr>
        <p:txBody>
          <a:bodyPr lIns="0" tIns="0" rIns="0" bIns="0" anchor="b" anchorCtr="0"/>
          <a:lstStyle>
            <a:lvl1pPr marL="0" indent="0" algn="l">
              <a:lnSpc>
                <a:spcPct val="100000"/>
              </a:lnSpc>
              <a:spcBef>
                <a:spcPts val="0"/>
              </a:spcBef>
              <a:buNone/>
              <a:defRPr sz="800" baseline="0"/>
            </a:lvl1pPr>
            <a:lvl2pPr marL="0" indent="0" algn="l">
              <a:lnSpc>
                <a:spcPct val="100000"/>
              </a:lnSpc>
              <a:spcBef>
                <a:spcPts val="0"/>
              </a:spcBef>
              <a:buNone/>
              <a:defRPr sz="800"/>
            </a:lvl2pPr>
            <a:lvl3pPr marL="0" indent="0" algn="l">
              <a:lnSpc>
                <a:spcPct val="100000"/>
              </a:lnSpc>
              <a:spcBef>
                <a:spcPts val="0"/>
              </a:spcBef>
              <a:buNone/>
              <a:defRPr sz="800"/>
            </a:lvl3pPr>
            <a:lvl4pPr marL="0" algn="l">
              <a:lnSpc>
                <a:spcPct val="100000"/>
              </a:lnSpc>
              <a:spcBef>
                <a:spcPts val="0"/>
              </a:spcBef>
              <a:buNone/>
              <a:defRPr sz="800"/>
            </a:lvl4pPr>
            <a:lvl5pPr marL="0" indent="0" algn="l">
              <a:lnSpc>
                <a:spcPct val="100000"/>
              </a:lnSpc>
              <a:spcBef>
                <a:spcPts val="0"/>
              </a:spcBef>
              <a:buNone/>
              <a:defRPr sz="800"/>
            </a:lvl5pPr>
          </a:lstStyle>
          <a:p>
            <a:pPr lvl="0"/>
            <a:r>
              <a:rPr lang="en-US"/>
              <a:t>Source line</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89626312"/>
      </p:ext>
    </p:extLst>
  </p:cSld>
  <p:clrMapOvr>
    <a:masterClrMapping/>
  </p:clrMapOvr>
</p:sldLayout>
</file>

<file path=ppt/slideLayouts/slideLayout401.xml><?xml version="1.0" encoding="utf-8"?>
<p:sldLayout xmlns:a="http://schemas.openxmlformats.org/drawingml/2006/main" xmlns:r="http://schemas.openxmlformats.org/officeDocument/2006/relationships" xmlns:p="http://schemas.openxmlformats.org/presentationml/2006/main" preserve="1">
  <p:cSld name="Four contents 2">
    <p:spTree>
      <p:nvGrpSpPr>
        <p:cNvPr id="1" name=""/>
        <p:cNvGrpSpPr/>
        <p:nvPr/>
      </p:nvGrpSpPr>
      <p:grpSpPr>
        <a:xfrm>
          <a:off x="0" y="0"/>
          <a:ext cx="0" cy="0"/>
          <a:chOff x="0" y="0"/>
          <a:chExt cx="0" cy="0"/>
        </a:xfrm>
      </p:grpSpPr>
      <p:sp>
        <p:nvSpPr>
          <p:cNvPr id="21" name="Date Placeholder 20"/>
          <p:cNvSpPr>
            <a:spLocks noGrp="1"/>
          </p:cNvSpPr>
          <p:nvPr>
            <p:ph type="dt" sz="half" idx="14"/>
          </p:nvPr>
        </p:nvSpPr>
        <p:spPr/>
        <p:txBody>
          <a:bodyPr/>
          <a:lstStyle/>
          <a:p>
            <a:endParaRPr lang="en-US"/>
          </a:p>
        </p:txBody>
      </p:sp>
      <p:sp>
        <p:nvSpPr>
          <p:cNvPr id="22" name="Footer Placeholder 21"/>
          <p:cNvSpPr>
            <a:spLocks noGrp="1"/>
          </p:cNvSpPr>
          <p:nvPr>
            <p:ph type="ftr" sz="quarter" idx="15"/>
          </p:nvPr>
        </p:nvSpPr>
        <p:spPr/>
        <p:txBody>
          <a:bodyPr/>
          <a:lstStyle/>
          <a:p>
            <a:endParaRPr lang="en-US"/>
          </a:p>
        </p:txBody>
      </p:sp>
      <p:sp>
        <p:nvSpPr>
          <p:cNvPr id="23" name="Slide Number Placeholder 22"/>
          <p:cNvSpPr>
            <a:spLocks noGrp="1"/>
          </p:cNvSpPr>
          <p:nvPr>
            <p:ph type="sldNum" sz="quarter" idx="16"/>
          </p:nvPr>
        </p:nvSpPr>
        <p:spPr/>
        <p:txBody>
          <a:bodyPr/>
          <a:lstStyle/>
          <a:p>
            <a:fld id="{5F3E29E4-0979-4FCA-B4C5-5FC6044C982A}" type="slidenum">
              <a:rPr lang="en-US" smtClean="0"/>
              <a:t>‹#›</a:t>
            </a:fld>
            <a:endParaRPr lang="en-US"/>
          </a:p>
        </p:txBody>
      </p:sp>
      <p:sp>
        <p:nvSpPr>
          <p:cNvPr id="2" name="Title 1"/>
          <p:cNvSpPr>
            <a:spLocks noGrp="1"/>
          </p:cNvSpPr>
          <p:nvPr>
            <p:ph type="title" hasCustomPrompt="1"/>
          </p:nvPr>
        </p:nvSpPr>
        <p:spPr/>
        <p:txBody>
          <a:bodyPr/>
          <a:lstStyle>
            <a:lvl1pPr>
              <a:defRPr/>
            </a:lvl1pPr>
          </a:lstStyle>
          <a:p>
            <a:r>
              <a:rPr lang="en-US"/>
              <a:t>Click to add slide title</a:t>
            </a:r>
          </a:p>
        </p:txBody>
      </p:sp>
      <p:sp>
        <p:nvSpPr>
          <p:cNvPr id="7" name="Subtitle 2"/>
          <p:cNvSpPr>
            <a:spLocks noGrp="1"/>
          </p:cNvSpPr>
          <p:nvPr>
            <p:ph type="subTitle" idx="13" hasCustomPrompt="1"/>
          </p:nvPr>
        </p:nvSpPr>
        <p:spPr>
          <a:xfrm>
            <a:off x="1075061" y="964671"/>
            <a:ext cx="7910158" cy="490042"/>
          </a:xfrm>
        </p:spPr>
        <p:txBody>
          <a:bodyPr wrap="none"/>
          <a:lstStyle>
            <a:lvl1pPr marL="0" indent="0" algn="l">
              <a:spcBef>
                <a:spcPts val="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sp>
        <p:nvSpPr>
          <p:cNvPr id="3" name="Content Placeholder 2"/>
          <p:cNvSpPr>
            <a:spLocks noGrp="1"/>
          </p:cNvSpPr>
          <p:nvPr>
            <p:ph idx="1" hasCustomPrompt="1"/>
          </p:nvPr>
        </p:nvSpPr>
        <p:spPr>
          <a:xfrm>
            <a:off x="192088" y="1629617"/>
            <a:ext cx="6102974" cy="2160000"/>
          </a:xfrm>
        </p:spPr>
        <p:txBody>
          <a:bodyPr/>
          <a:lstStyle>
            <a:lvl1pPr>
              <a:defRPr/>
            </a:lvl1pPr>
          </a:lstStyle>
          <a:p>
            <a:pPr lvl="0"/>
            <a:r>
              <a:rPr lang="en-US"/>
              <a:t>Click to add text or content</a:t>
            </a:r>
          </a:p>
          <a:p>
            <a:pPr lvl="1"/>
            <a:r>
              <a:rPr lang="en-US"/>
              <a:t>Second level</a:t>
            </a:r>
          </a:p>
          <a:p>
            <a:pPr lvl="2"/>
            <a:r>
              <a:rPr lang="en-US"/>
              <a:t>Third level</a:t>
            </a:r>
          </a:p>
          <a:p>
            <a:pPr lvl="3"/>
            <a:r>
              <a:rPr lang="en-US"/>
              <a:t>Fourth level</a:t>
            </a:r>
          </a:p>
          <a:p>
            <a:pPr lvl="4"/>
            <a:r>
              <a:rPr lang="en-US"/>
              <a:t>Fifth level</a:t>
            </a:r>
          </a:p>
        </p:txBody>
      </p:sp>
      <p:sp>
        <p:nvSpPr>
          <p:cNvPr id="9" name="Content Placeholder 2"/>
          <p:cNvSpPr>
            <a:spLocks noGrp="1"/>
          </p:cNvSpPr>
          <p:nvPr>
            <p:ph idx="17" hasCustomPrompt="1"/>
          </p:nvPr>
        </p:nvSpPr>
        <p:spPr>
          <a:xfrm>
            <a:off x="6600525" y="1629617"/>
            <a:ext cx="5234144" cy="2160000"/>
          </a:xfrm>
        </p:spPr>
        <p:txBody>
          <a:bodyPr/>
          <a:lstStyle>
            <a:lvl1pPr>
              <a:defRPr/>
            </a:lvl1pPr>
          </a:lstStyle>
          <a:p>
            <a:pPr lvl="0"/>
            <a:r>
              <a:rPr lang="en-US"/>
              <a:t>Click to add text or content</a:t>
            </a:r>
          </a:p>
          <a:p>
            <a:pPr lvl="1"/>
            <a:r>
              <a:rPr lang="en-US"/>
              <a:t>Second level</a:t>
            </a:r>
          </a:p>
          <a:p>
            <a:pPr lvl="2"/>
            <a:r>
              <a:rPr lang="en-US"/>
              <a:t>Third level</a:t>
            </a:r>
          </a:p>
          <a:p>
            <a:pPr lvl="3"/>
            <a:r>
              <a:rPr lang="en-US"/>
              <a:t>Fourth level</a:t>
            </a:r>
          </a:p>
          <a:p>
            <a:pPr lvl="4"/>
            <a:r>
              <a:rPr lang="en-US"/>
              <a:t>Fifth level</a:t>
            </a:r>
          </a:p>
        </p:txBody>
      </p:sp>
      <p:sp>
        <p:nvSpPr>
          <p:cNvPr id="10" name="Content Placeholder 2"/>
          <p:cNvSpPr>
            <a:spLocks noGrp="1"/>
          </p:cNvSpPr>
          <p:nvPr>
            <p:ph idx="18" hasCustomPrompt="1"/>
          </p:nvPr>
        </p:nvSpPr>
        <p:spPr>
          <a:xfrm>
            <a:off x="192088" y="4077289"/>
            <a:ext cx="6102974" cy="2160000"/>
          </a:xfrm>
        </p:spPr>
        <p:txBody>
          <a:bodyPr/>
          <a:lstStyle>
            <a:lvl1pPr>
              <a:defRPr/>
            </a:lvl1pPr>
          </a:lstStyle>
          <a:p>
            <a:pPr lvl="0"/>
            <a:r>
              <a:rPr lang="en-US"/>
              <a:t>Click to add text or content</a:t>
            </a:r>
          </a:p>
          <a:p>
            <a:pPr lvl="1"/>
            <a:r>
              <a:rPr lang="en-US"/>
              <a:t>Second level</a:t>
            </a:r>
          </a:p>
          <a:p>
            <a:pPr lvl="2"/>
            <a:r>
              <a:rPr lang="en-US"/>
              <a:t>Third level</a:t>
            </a:r>
          </a:p>
          <a:p>
            <a:pPr lvl="3"/>
            <a:r>
              <a:rPr lang="en-US"/>
              <a:t>Fourth level</a:t>
            </a:r>
          </a:p>
          <a:p>
            <a:pPr lvl="4"/>
            <a:r>
              <a:rPr lang="en-US"/>
              <a:t>Fifth level</a:t>
            </a:r>
          </a:p>
        </p:txBody>
      </p:sp>
      <p:sp>
        <p:nvSpPr>
          <p:cNvPr id="13" name="Content Placeholder 2"/>
          <p:cNvSpPr>
            <a:spLocks noGrp="1"/>
          </p:cNvSpPr>
          <p:nvPr>
            <p:ph idx="19" hasCustomPrompt="1"/>
          </p:nvPr>
        </p:nvSpPr>
        <p:spPr>
          <a:xfrm>
            <a:off x="6600525" y="4077289"/>
            <a:ext cx="5234144" cy="2160000"/>
          </a:xfrm>
        </p:spPr>
        <p:txBody>
          <a:bodyPr/>
          <a:lstStyle>
            <a:lvl1pPr>
              <a:defRPr/>
            </a:lvl1pPr>
          </a:lstStyle>
          <a:p>
            <a:pPr lvl="0"/>
            <a:r>
              <a:rPr lang="en-US"/>
              <a:t>Click to add text or content</a:t>
            </a:r>
          </a:p>
          <a:p>
            <a:pPr lvl="1"/>
            <a:r>
              <a:rPr lang="en-US"/>
              <a:t>Second level</a:t>
            </a:r>
          </a:p>
          <a:p>
            <a:pPr lvl="2"/>
            <a:r>
              <a:rPr lang="en-US"/>
              <a:t>Third level</a:t>
            </a:r>
          </a:p>
          <a:p>
            <a:pPr lvl="3"/>
            <a:r>
              <a:rPr lang="en-US"/>
              <a:t>Fourth level</a:t>
            </a:r>
          </a:p>
          <a:p>
            <a:pPr lvl="4"/>
            <a:r>
              <a:rPr lang="en-US"/>
              <a:t>Fifth level</a:t>
            </a:r>
          </a:p>
        </p:txBody>
      </p:sp>
      <p:sp>
        <p:nvSpPr>
          <p:cNvPr id="12" name="Text Placeholder 4"/>
          <p:cNvSpPr>
            <a:spLocks noGrp="1"/>
          </p:cNvSpPr>
          <p:nvPr>
            <p:ph type="body" sz="quarter" idx="20" hasCustomPrompt="1"/>
          </p:nvPr>
        </p:nvSpPr>
        <p:spPr>
          <a:xfrm>
            <a:off x="1075063" y="6307665"/>
            <a:ext cx="8162717" cy="133200"/>
          </a:xfrm>
        </p:spPr>
        <p:txBody>
          <a:bodyPr lIns="0" tIns="0" rIns="0" bIns="0" anchor="b" anchorCtr="0"/>
          <a:lstStyle>
            <a:lvl1pPr marL="0" indent="0" algn="l">
              <a:lnSpc>
                <a:spcPct val="100000"/>
              </a:lnSpc>
              <a:spcBef>
                <a:spcPts val="0"/>
              </a:spcBef>
              <a:buNone/>
              <a:defRPr sz="800" baseline="0"/>
            </a:lvl1pPr>
            <a:lvl2pPr marL="0" indent="0" algn="l">
              <a:lnSpc>
                <a:spcPct val="100000"/>
              </a:lnSpc>
              <a:spcBef>
                <a:spcPts val="0"/>
              </a:spcBef>
              <a:buNone/>
              <a:defRPr sz="800"/>
            </a:lvl2pPr>
            <a:lvl3pPr marL="0" indent="0" algn="l">
              <a:lnSpc>
                <a:spcPct val="100000"/>
              </a:lnSpc>
              <a:spcBef>
                <a:spcPts val="0"/>
              </a:spcBef>
              <a:buNone/>
              <a:defRPr sz="800"/>
            </a:lvl3pPr>
            <a:lvl4pPr marL="0" algn="l">
              <a:lnSpc>
                <a:spcPct val="100000"/>
              </a:lnSpc>
              <a:spcBef>
                <a:spcPts val="0"/>
              </a:spcBef>
              <a:buNone/>
              <a:defRPr sz="800"/>
            </a:lvl4pPr>
            <a:lvl5pPr marL="0" indent="0" algn="l">
              <a:lnSpc>
                <a:spcPct val="100000"/>
              </a:lnSpc>
              <a:spcBef>
                <a:spcPts val="0"/>
              </a:spcBef>
              <a:buNone/>
              <a:defRPr sz="800"/>
            </a:lvl5pPr>
          </a:lstStyle>
          <a:p>
            <a:pPr lvl="0"/>
            <a:r>
              <a:rPr lang="en-US"/>
              <a:t>Source line</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07122294"/>
      </p:ext>
    </p:extLst>
  </p:cSld>
  <p:clrMapOvr>
    <a:masterClrMapping/>
  </p:clrMapOvr>
</p:sldLayout>
</file>

<file path=ppt/slideLayouts/slideLayout402.xml><?xml version="1.0" encoding="utf-8"?>
<p:sldLayout xmlns:a="http://schemas.openxmlformats.org/drawingml/2006/main" xmlns:r="http://schemas.openxmlformats.org/officeDocument/2006/relationships" xmlns:p="http://schemas.openxmlformats.org/presentationml/2006/main" preserve="1">
  <p:cSld name="Large charts and tables">
    <p:spTree>
      <p:nvGrpSpPr>
        <p:cNvPr id="1" name=""/>
        <p:cNvGrpSpPr/>
        <p:nvPr/>
      </p:nvGrpSpPr>
      <p:grpSpPr>
        <a:xfrm>
          <a:off x="0" y="0"/>
          <a:ext cx="0" cy="0"/>
          <a:chOff x="0" y="0"/>
          <a:chExt cx="0" cy="0"/>
        </a:xfrm>
      </p:grpSpPr>
      <p:sp>
        <p:nvSpPr>
          <p:cNvPr id="21" name="Date Placeholder 20"/>
          <p:cNvSpPr>
            <a:spLocks noGrp="1"/>
          </p:cNvSpPr>
          <p:nvPr>
            <p:ph type="dt" sz="half" idx="14"/>
          </p:nvPr>
        </p:nvSpPr>
        <p:spPr/>
        <p:txBody>
          <a:bodyPr/>
          <a:lstStyle/>
          <a:p>
            <a:endParaRPr lang="en-US"/>
          </a:p>
        </p:txBody>
      </p:sp>
      <p:sp>
        <p:nvSpPr>
          <p:cNvPr id="22" name="Footer Placeholder 21"/>
          <p:cNvSpPr>
            <a:spLocks noGrp="1"/>
          </p:cNvSpPr>
          <p:nvPr>
            <p:ph type="ftr" sz="quarter" idx="15"/>
          </p:nvPr>
        </p:nvSpPr>
        <p:spPr/>
        <p:txBody>
          <a:bodyPr/>
          <a:lstStyle/>
          <a:p>
            <a:endParaRPr lang="en-US"/>
          </a:p>
        </p:txBody>
      </p:sp>
      <p:sp>
        <p:nvSpPr>
          <p:cNvPr id="23" name="Slide Number Placeholder 22"/>
          <p:cNvSpPr>
            <a:spLocks noGrp="1"/>
          </p:cNvSpPr>
          <p:nvPr>
            <p:ph type="sldNum" sz="quarter" idx="16"/>
          </p:nvPr>
        </p:nvSpPr>
        <p:spPr/>
        <p:txBody>
          <a:bodyPr/>
          <a:lstStyle/>
          <a:p>
            <a:fld id="{5F3E29E4-0979-4FCA-B4C5-5FC6044C982A}" type="slidenum">
              <a:rPr lang="en-US" smtClean="0"/>
              <a:t>‹#›</a:t>
            </a:fld>
            <a:endParaRPr lang="en-US"/>
          </a:p>
        </p:txBody>
      </p:sp>
      <p:sp>
        <p:nvSpPr>
          <p:cNvPr id="2" name="Title 1"/>
          <p:cNvSpPr>
            <a:spLocks noGrp="1"/>
          </p:cNvSpPr>
          <p:nvPr>
            <p:ph type="title" hasCustomPrompt="1"/>
          </p:nvPr>
        </p:nvSpPr>
        <p:spPr/>
        <p:txBody>
          <a:bodyPr/>
          <a:lstStyle>
            <a:lvl1pPr>
              <a:defRPr/>
            </a:lvl1pPr>
          </a:lstStyle>
          <a:p>
            <a:r>
              <a:rPr lang="en-US"/>
              <a:t>Click to add slide title</a:t>
            </a:r>
          </a:p>
        </p:txBody>
      </p:sp>
      <p:sp>
        <p:nvSpPr>
          <p:cNvPr id="7" name="Subtitle 2"/>
          <p:cNvSpPr>
            <a:spLocks noGrp="1"/>
          </p:cNvSpPr>
          <p:nvPr>
            <p:ph type="subTitle" idx="13" hasCustomPrompt="1"/>
          </p:nvPr>
        </p:nvSpPr>
        <p:spPr>
          <a:xfrm>
            <a:off x="1075061" y="964671"/>
            <a:ext cx="7910158" cy="490042"/>
          </a:xfrm>
        </p:spPr>
        <p:txBody>
          <a:bodyPr wrap="none"/>
          <a:lstStyle>
            <a:lvl1pPr marL="0" indent="0" algn="l">
              <a:spcBef>
                <a:spcPts val="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sp>
        <p:nvSpPr>
          <p:cNvPr id="3" name="Content Placeholder 2"/>
          <p:cNvSpPr>
            <a:spLocks noGrp="1"/>
          </p:cNvSpPr>
          <p:nvPr>
            <p:ph idx="1" hasCustomPrompt="1"/>
          </p:nvPr>
        </p:nvSpPr>
        <p:spPr>
          <a:xfrm>
            <a:off x="192088" y="1629617"/>
            <a:ext cx="11642581" cy="4599506"/>
          </a:xfrm>
        </p:spPr>
        <p:txBody>
          <a:bodyPr anchor="t"/>
          <a:lstStyle>
            <a:lvl1pPr marL="0" indent="0" algn="ctr">
              <a:spcBef>
                <a:spcPts val="1000"/>
              </a:spcBef>
              <a:buNone/>
              <a:defRPr sz="2800" baseline="0"/>
            </a:lvl1pPr>
            <a:lvl2pPr marL="0" indent="0">
              <a:spcBef>
                <a:spcPts val="1000"/>
              </a:spcBef>
              <a:buNone/>
              <a:defRPr sz="2800"/>
            </a:lvl2pPr>
            <a:lvl3pPr marL="0" indent="0">
              <a:spcBef>
                <a:spcPts val="1000"/>
              </a:spcBef>
              <a:buNone/>
              <a:defRPr sz="2800"/>
            </a:lvl3pPr>
            <a:lvl4pPr>
              <a:spcBef>
                <a:spcPts val="1000"/>
              </a:spcBef>
              <a:buNone/>
              <a:defRPr sz="2800"/>
            </a:lvl4pPr>
            <a:lvl5pPr marL="0" indent="0">
              <a:spcBef>
                <a:spcPts val="1000"/>
              </a:spcBef>
              <a:buNone/>
              <a:defRPr sz="2800"/>
            </a:lvl5pPr>
          </a:lstStyle>
          <a:p>
            <a:pPr lvl="0"/>
            <a:r>
              <a:rPr lang="en-US"/>
              <a:t>Use this layout for large charts and tables only. Please, do not use with text.</a:t>
            </a:r>
          </a:p>
          <a:p>
            <a:pPr lvl="1"/>
            <a:r>
              <a:rPr lang="en-US"/>
              <a:t>Second level</a:t>
            </a:r>
          </a:p>
          <a:p>
            <a:pPr lvl="2"/>
            <a:r>
              <a:rPr lang="en-US"/>
              <a:t>Third level</a:t>
            </a:r>
          </a:p>
          <a:p>
            <a:pPr lvl="3"/>
            <a:r>
              <a:rPr lang="en-US"/>
              <a:t>Fourth level</a:t>
            </a:r>
          </a:p>
          <a:p>
            <a:pPr lvl="4"/>
            <a:r>
              <a:rPr lang="en-US"/>
              <a:t>Fifth level</a:t>
            </a:r>
          </a:p>
        </p:txBody>
      </p:sp>
      <p:sp>
        <p:nvSpPr>
          <p:cNvPr id="9" name="Text Placeholder 4"/>
          <p:cNvSpPr>
            <a:spLocks noGrp="1"/>
          </p:cNvSpPr>
          <p:nvPr>
            <p:ph type="body" sz="quarter" idx="17" hasCustomPrompt="1"/>
          </p:nvPr>
        </p:nvSpPr>
        <p:spPr>
          <a:xfrm>
            <a:off x="1075063" y="6307665"/>
            <a:ext cx="8162717" cy="133200"/>
          </a:xfrm>
        </p:spPr>
        <p:txBody>
          <a:bodyPr lIns="0" tIns="0" rIns="0" bIns="0" anchor="b" anchorCtr="0"/>
          <a:lstStyle>
            <a:lvl1pPr marL="0" indent="0" algn="l">
              <a:lnSpc>
                <a:spcPct val="100000"/>
              </a:lnSpc>
              <a:spcBef>
                <a:spcPts val="0"/>
              </a:spcBef>
              <a:buNone/>
              <a:defRPr sz="800" baseline="0"/>
            </a:lvl1pPr>
            <a:lvl2pPr marL="0" indent="0" algn="l">
              <a:lnSpc>
                <a:spcPct val="100000"/>
              </a:lnSpc>
              <a:spcBef>
                <a:spcPts val="0"/>
              </a:spcBef>
              <a:buNone/>
              <a:defRPr sz="800"/>
            </a:lvl2pPr>
            <a:lvl3pPr marL="0" indent="0" algn="l">
              <a:lnSpc>
                <a:spcPct val="100000"/>
              </a:lnSpc>
              <a:spcBef>
                <a:spcPts val="0"/>
              </a:spcBef>
              <a:buNone/>
              <a:defRPr sz="800"/>
            </a:lvl3pPr>
            <a:lvl4pPr marL="0" algn="l">
              <a:lnSpc>
                <a:spcPct val="100000"/>
              </a:lnSpc>
              <a:spcBef>
                <a:spcPts val="0"/>
              </a:spcBef>
              <a:buNone/>
              <a:defRPr sz="800"/>
            </a:lvl4pPr>
            <a:lvl5pPr marL="0" indent="0" algn="l">
              <a:lnSpc>
                <a:spcPct val="100000"/>
              </a:lnSpc>
              <a:spcBef>
                <a:spcPts val="0"/>
              </a:spcBef>
              <a:buNone/>
              <a:defRPr sz="800"/>
            </a:lvl5pPr>
          </a:lstStyle>
          <a:p>
            <a:pPr lvl="0"/>
            <a:r>
              <a:rPr lang="en-US"/>
              <a:t>Source line</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87595675"/>
      </p:ext>
    </p:extLst>
  </p:cSld>
  <p:clrMapOvr>
    <a:masterClrMapping/>
  </p:clrMapOvr>
</p:sldLayout>
</file>

<file path=ppt/slideLayouts/slideLayout403.xml><?xml version="1.0" encoding="utf-8"?>
<p:sldLayout xmlns:a="http://schemas.openxmlformats.org/drawingml/2006/main" xmlns:r="http://schemas.openxmlformats.org/officeDocument/2006/relationships" xmlns:p="http://schemas.openxmlformats.org/presentationml/2006/main" preserve="1">
  <p:cSld name="Chart with description">
    <p:spTree>
      <p:nvGrpSpPr>
        <p:cNvPr id="1" name=""/>
        <p:cNvGrpSpPr/>
        <p:nvPr/>
      </p:nvGrpSpPr>
      <p:grpSpPr>
        <a:xfrm>
          <a:off x="0" y="0"/>
          <a:ext cx="0" cy="0"/>
          <a:chOff x="0" y="0"/>
          <a:chExt cx="0" cy="0"/>
        </a:xfrm>
      </p:grpSpPr>
      <p:sp>
        <p:nvSpPr>
          <p:cNvPr id="21" name="Date Placeholder 20"/>
          <p:cNvSpPr>
            <a:spLocks noGrp="1"/>
          </p:cNvSpPr>
          <p:nvPr>
            <p:ph type="dt" sz="half" idx="14"/>
          </p:nvPr>
        </p:nvSpPr>
        <p:spPr/>
        <p:txBody>
          <a:bodyPr/>
          <a:lstStyle/>
          <a:p>
            <a:endParaRPr lang="en-US"/>
          </a:p>
        </p:txBody>
      </p:sp>
      <p:sp>
        <p:nvSpPr>
          <p:cNvPr id="22" name="Footer Placeholder 21"/>
          <p:cNvSpPr>
            <a:spLocks noGrp="1"/>
          </p:cNvSpPr>
          <p:nvPr>
            <p:ph type="ftr" sz="quarter" idx="15"/>
          </p:nvPr>
        </p:nvSpPr>
        <p:spPr/>
        <p:txBody>
          <a:bodyPr/>
          <a:lstStyle/>
          <a:p>
            <a:endParaRPr lang="en-US"/>
          </a:p>
        </p:txBody>
      </p:sp>
      <p:sp>
        <p:nvSpPr>
          <p:cNvPr id="23" name="Slide Number Placeholder 22"/>
          <p:cNvSpPr>
            <a:spLocks noGrp="1"/>
          </p:cNvSpPr>
          <p:nvPr>
            <p:ph type="sldNum" sz="quarter" idx="16"/>
          </p:nvPr>
        </p:nvSpPr>
        <p:spPr/>
        <p:txBody>
          <a:bodyPr/>
          <a:lstStyle/>
          <a:p>
            <a:fld id="{5F3E29E4-0979-4FCA-B4C5-5FC6044C982A}" type="slidenum">
              <a:rPr lang="en-US" smtClean="0"/>
              <a:t>‹#›</a:t>
            </a:fld>
            <a:endParaRPr lang="en-US"/>
          </a:p>
        </p:txBody>
      </p:sp>
      <p:sp>
        <p:nvSpPr>
          <p:cNvPr id="2" name="Title 1"/>
          <p:cNvSpPr>
            <a:spLocks noGrp="1"/>
          </p:cNvSpPr>
          <p:nvPr>
            <p:ph type="title" hasCustomPrompt="1"/>
          </p:nvPr>
        </p:nvSpPr>
        <p:spPr/>
        <p:txBody>
          <a:bodyPr/>
          <a:lstStyle>
            <a:lvl1pPr>
              <a:defRPr/>
            </a:lvl1pPr>
          </a:lstStyle>
          <a:p>
            <a:r>
              <a:rPr lang="en-US"/>
              <a:t>Click to add slide title</a:t>
            </a:r>
          </a:p>
        </p:txBody>
      </p:sp>
      <p:sp>
        <p:nvSpPr>
          <p:cNvPr id="7" name="Subtitle 2"/>
          <p:cNvSpPr>
            <a:spLocks noGrp="1"/>
          </p:cNvSpPr>
          <p:nvPr>
            <p:ph type="subTitle" idx="13" hasCustomPrompt="1"/>
          </p:nvPr>
        </p:nvSpPr>
        <p:spPr>
          <a:xfrm>
            <a:off x="1075061" y="964671"/>
            <a:ext cx="7910158" cy="490042"/>
          </a:xfrm>
        </p:spPr>
        <p:txBody>
          <a:bodyPr wrap="none"/>
          <a:lstStyle>
            <a:lvl1pPr marL="0" indent="0" algn="l">
              <a:spcBef>
                <a:spcPts val="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sp>
        <p:nvSpPr>
          <p:cNvPr id="4" name="Chart Placeholder 3"/>
          <p:cNvSpPr>
            <a:spLocks noGrp="1"/>
          </p:cNvSpPr>
          <p:nvPr>
            <p:ph type="chart" sz="quarter" idx="17" hasCustomPrompt="1"/>
          </p:nvPr>
        </p:nvSpPr>
        <p:spPr>
          <a:xfrm>
            <a:off x="192088" y="1629617"/>
            <a:ext cx="5903913" cy="4599506"/>
          </a:xfrm>
        </p:spPr>
        <p:txBody>
          <a:bodyPr/>
          <a:lstStyle>
            <a:lvl1pPr>
              <a:defRPr/>
            </a:lvl1pPr>
          </a:lstStyle>
          <a:p>
            <a:r>
              <a:rPr lang="en-US"/>
              <a:t>Click to add chart</a:t>
            </a:r>
          </a:p>
        </p:txBody>
      </p:sp>
      <p:sp>
        <p:nvSpPr>
          <p:cNvPr id="6" name="Text Placeholder 5"/>
          <p:cNvSpPr>
            <a:spLocks noGrp="1"/>
          </p:cNvSpPr>
          <p:nvPr>
            <p:ph type="body" sz="quarter" idx="18" hasCustomPrompt="1"/>
          </p:nvPr>
        </p:nvSpPr>
        <p:spPr>
          <a:xfrm>
            <a:off x="6206067" y="3393019"/>
            <a:ext cx="5628602" cy="2023841"/>
          </a:xfrm>
          <a:solidFill>
            <a:srgbClr val="D9DADB"/>
          </a:solidFill>
        </p:spPr>
        <p:txBody>
          <a:bodyPr lIns="108000" tIns="108000" rIns="108000" bIns="108000"/>
          <a:lstStyle>
            <a:lvl1pPr>
              <a:defRPr sz="1600"/>
            </a:lvl1pPr>
            <a:lvl2pPr>
              <a:defRPr sz="1600"/>
            </a:lvl2pPr>
            <a:lvl3pPr>
              <a:defRPr sz="1600"/>
            </a:lvl3pPr>
            <a:lvl4pPr>
              <a:defRPr sz="1600"/>
            </a:lvl4pPr>
            <a:lvl5pPr>
              <a:defRPr sz="1600"/>
            </a:lvl5pPr>
          </a:lstStyle>
          <a:p>
            <a:pPr lvl="0"/>
            <a:r>
              <a:rPr lang="en-US"/>
              <a:t>Click to add text</a:t>
            </a:r>
          </a:p>
          <a:p>
            <a:pPr lvl="1"/>
            <a:r>
              <a:rPr lang="en-US"/>
              <a:t>Second level</a:t>
            </a:r>
          </a:p>
          <a:p>
            <a:pPr lvl="2"/>
            <a:r>
              <a:rPr lang="en-US"/>
              <a:t>Third level</a:t>
            </a:r>
          </a:p>
          <a:p>
            <a:pPr lvl="3"/>
            <a:r>
              <a:rPr lang="en-US"/>
              <a:t>Fourth level</a:t>
            </a:r>
          </a:p>
          <a:p>
            <a:pPr lvl="4"/>
            <a:r>
              <a:rPr lang="en-US"/>
              <a:t>Fifth level</a:t>
            </a:r>
          </a:p>
        </p:txBody>
      </p:sp>
      <p:sp>
        <p:nvSpPr>
          <p:cNvPr id="10" name="Text Placeholder 4"/>
          <p:cNvSpPr>
            <a:spLocks noGrp="1"/>
          </p:cNvSpPr>
          <p:nvPr>
            <p:ph type="body" sz="quarter" idx="19" hasCustomPrompt="1"/>
          </p:nvPr>
        </p:nvSpPr>
        <p:spPr>
          <a:xfrm>
            <a:off x="1075063" y="6307665"/>
            <a:ext cx="8162717" cy="133200"/>
          </a:xfrm>
        </p:spPr>
        <p:txBody>
          <a:bodyPr lIns="0" tIns="0" rIns="0" bIns="0" anchor="b" anchorCtr="0"/>
          <a:lstStyle>
            <a:lvl1pPr marL="0" indent="0" algn="l">
              <a:lnSpc>
                <a:spcPct val="100000"/>
              </a:lnSpc>
              <a:spcBef>
                <a:spcPts val="0"/>
              </a:spcBef>
              <a:buNone/>
              <a:defRPr sz="800" baseline="0"/>
            </a:lvl1pPr>
            <a:lvl2pPr marL="0" indent="0" algn="l">
              <a:lnSpc>
                <a:spcPct val="100000"/>
              </a:lnSpc>
              <a:spcBef>
                <a:spcPts val="0"/>
              </a:spcBef>
              <a:buNone/>
              <a:defRPr sz="800"/>
            </a:lvl2pPr>
            <a:lvl3pPr marL="0" indent="0" algn="l">
              <a:lnSpc>
                <a:spcPct val="100000"/>
              </a:lnSpc>
              <a:spcBef>
                <a:spcPts val="0"/>
              </a:spcBef>
              <a:buNone/>
              <a:defRPr sz="800"/>
            </a:lvl3pPr>
            <a:lvl4pPr marL="0" algn="l">
              <a:lnSpc>
                <a:spcPct val="100000"/>
              </a:lnSpc>
              <a:spcBef>
                <a:spcPts val="0"/>
              </a:spcBef>
              <a:buNone/>
              <a:defRPr sz="800"/>
            </a:lvl4pPr>
            <a:lvl5pPr marL="0" indent="0" algn="l">
              <a:lnSpc>
                <a:spcPct val="100000"/>
              </a:lnSpc>
              <a:spcBef>
                <a:spcPts val="0"/>
              </a:spcBef>
              <a:buNone/>
              <a:defRPr sz="800"/>
            </a:lvl5pPr>
          </a:lstStyle>
          <a:p>
            <a:pPr lvl="0"/>
            <a:r>
              <a:rPr lang="en-US"/>
              <a:t>Source line</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64830569"/>
      </p:ext>
    </p:extLst>
  </p:cSld>
  <p:clrMapOvr>
    <a:masterClrMapping/>
  </p:clrMapOvr>
</p:sldLayout>
</file>

<file path=ppt/slideLayouts/slideLayout404.xml><?xml version="1.0" encoding="utf-8"?>
<p:sldLayout xmlns:a="http://schemas.openxmlformats.org/drawingml/2006/main" xmlns:r="http://schemas.openxmlformats.org/officeDocument/2006/relationships" xmlns:p="http://schemas.openxmlformats.org/presentationml/2006/main" preserve="1">
  <p:cSld name="Notebook">
    <p:spTree>
      <p:nvGrpSpPr>
        <p:cNvPr id="1" name=""/>
        <p:cNvGrpSpPr/>
        <p:nvPr/>
      </p:nvGrpSpPr>
      <p:grpSpPr>
        <a:xfrm>
          <a:off x="0" y="0"/>
          <a:ext cx="0" cy="0"/>
          <a:chOff x="0" y="0"/>
          <a:chExt cx="0" cy="0"/>
        </a:xfrm>
      </p:grpSpPr>
      <p:pic>
        <p:nvPicPr>
          <p:cNvPr id="13" name="Notebook">
            <a:extLst>
              <a:ext uri="{FF2B5EF4-FFF2-40B4-BE49-F238E27FC236}">
                <a16:creationId xmlns:a16="http://schemas.microsoft.com/office/drawing/2014/main" id="{6DEE1461-64EC-7246-8FA6-71C6BF497627}"/>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3651351" y="1267197"/>
            <a:ext cx="8528460" cy="5161713"/>
          </a:xfrm>
          <a:prstGeom prst="rect">
            <a:avLst/>
          </a:prstGeom>
        </p:spPr>
      </p:pic>
      <p:sp>
        <p:nvSpPr>
          <p:cNvPr id="21" name="Date Placeholder 20"/>
          <p:cNvSpPr>
            <a:spLocks noGrp="1"/>
          </p:cNvSpPr>
          <p:nvPr>
            <p:ph type="dt" sz="half" idx="14"/>
          </p:nvPr>
        </p:nvSpPr>
        <p:spPr/>
        <p:txBody>
          <a:bodyPr/>
          <a:lstStyle/>
          <a:p>
            <a:endParaRPr lang="en-US"/>
          </a:p>
        </p:txBody>
      </p:sp>
      <p:sp>
        <p:nvSpPr>
          <p:cNvPr id="22" name="Footer Placeholder 21"/>
          <p:cNvSpPr>
            <a:spLocks noGrp="1"/>
          </p:cNvSpPr>
          <p:nvPr>
            <p:ph type="ftr" sz="quarter" idx="15"/>
          </p:nvPr>
        </p:nvSpPr>
        <p:spPr/>
        <p:txBody>
          <a:bodyPr/>
          <a:lstStyle/>
          <a:p>
            <a:endParaRPr lang="en-US"/>
          </a:p>
        </p:txBody>
      </p:sp>
      <p:sp>
        <p:nvSpPr>
          <p:cNvPr id="23" name="Slide Number Placeholder 22"/>
          <p:cNvSpPr>
            <a:spLocks noGrp="1"/>
          </p:cNvSpPr>
          <p:nvPr>
            <p:ph type="sldNum" sz="quarter" idx="16"/>
          </p:nvPr>
        </p:nvSpPr>
        <p:spPr/>
        <p:txBody>
          <a:bodyPr/>
          <a:lstStyle/>
          <a:p>
            <a:fld id="{5F3E29E4-0979-4FCA-B4C5-5FC6044C982A}" type="slidenum">
              <a:rPr lang="en-US" smtClean="0"/>
              <a:t>‹#›</a:t>
            </a:fld>
            <a:endParaRPr lang="en-US"/>
          </a:p>
        </p:txBody>
      </p:sp>
      <p:sp>
        <p:nvSpPr>
          <p:cNvPr id="2" name="Title 1"/>
          <p:cNvSpPr>
            <a:spLocks noGrp="1"/>
          </p:cNvSpPr>
          <p:nvPr>
            <p:ph type="title" hasCustomPrompt="1"/>
          </p:nvPr>
        </p:nvSpPr>
        <p:spPr/>
        <p:txBody>
          <a:bodyPr/>
          <a:lstStyle>
            <a:lvl1pPr>
              <a:defRPr/>
            </a:lvl1pPr>
          </a:lstStyle>
          <a:p>
            <a:r>
              <a:rPr lang="en-US"/>
              <a:t>Click to add slide title</a:t>
            </a:r>
          </a:p>
        </p:txBody>
      </p:sp>
      <p:sp>
        <p:nvSpPr>
          <p:cNvPr id="7" name="Subtitle 2"/>
          <p:cNvSpPr>
            <a:spLocks noGrp="1"/>
          </p:cNvSpPr>
          <p:nvPr>
            <p:ph type="subTitle" idx="13" hasCustomPrompt="1"/>
          </p:nvPr>
        </p:nvSpPr>
        <p:spPr>
          <a:xfrm>
            <a:off x="1075061" y="964671"/>
            <a:ext cx="7910158" cy="490042"/>
          </a:xfrm>
        </p:spPr>
        <p:txBody>
          <a:bodyPr wrap="none"/>
          <a:lstStyle>
            <a:lvl1pPr marL="0" indent="0" algn="l">
              <a:spcBef>
                <a:spcPts val="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sp>
        <p:nvSpPr>
          <p:cNvPr id="3" name="Content Placeholder 2"/>
          <p:cNvSpPr>
            <a:spLocks noGrp="1"/>
          </p:cNvSpPr>
          <p:nvPr>
            <p:ph idx="1" hasCustomPrompt="1"/>
          </p:nvPr>
        </p:nvSpPr>
        <p:spPr>
          <a:xfrm>
            <a:off x="1075062" y="1852623"/>
            <a:ext cx="3287388" cy="3658714"/>
          </a:xfrm>
        </p:spPr>
        <p:txBody>
          <a:bodyPr anchor="ctr"/>
          <a:lstStyle>
            <a:lvl1pPr>
              <a:defRPr sz="1600"/>
            </a:lvl1pPr>
            <a:lvl2pPr>
              <a:defRPr sz="1600"/>
            </a:lvl2pPr>
            <a:lvl3pPr>
              <a:defRPr sz="1600"/>
            </a:lvl3pPr>
            <a:lvl4pPr>
              <a:defRPr sz="1600"/>
            </a:lvl4pPr>
            <a:lvl5pPr>
              <a:defRPr sz="1600"/>
            </a:lvl5pPr>
          </a:lstStyle>
          <a:p>
            <a:pPr lvl="0"/>
            <a:r>
              <a:rPr lang="en-US"/>
              <a:t>Click to add text</a:t>
            </a:r>
          </a:p>
          <a:p>
            <a:pPr lvl="1"/>
            <a:r>
              <a:rPr lang="en-US"/>
              <a:t>Second level</a:t>
            </a:r>
          </a:p>
          <a:p>
            <a:pPr lvl="2"/>
            <a:r>
              <a:rPr lang="en-US"/>
              <a:t>Third level</a:t>
            </a:r>
          </a:p>
          <a:p>
            <a:pPr lvl="3"/>
            <a:r>
              <a:rPr lang="en-US"/>
              <a:t>Fourth level</a:t>
            </a:r>
          </a:p>
          <a:p>
            <a:pPr lvl="4"/>
            <a:r>
              <a:rPr lang="en-US"/>
              <a:t>Fifth level</a:t>
            </a:r>
          </a:p>
        </p:txBody>
      </p:sp>
      <p:sp>
        <p:nvSpPr>
          <p:cNvPr id="5" name="Picture Placeholder 4"/>
          <p:cNvSpPr>
            <a:spLocks noGrp="1"/>
          </p:cNvSpPr>
          <p:nvPr>
            <p:ph type="pic" sz="quarter" idx="17" hasCustomPrompt="1"/>
          </p:nvPr>
        </p:nvSpPr>
        <p:spPr>
          <a:xfrm>
            <a:off x="4904507" y="1821610"/>
            <a:ext cx="6001200" cy="3664800"/>
          </a:xfrm>
          <a:solidFill>
            <a:srgbClr val="D9DADB"/>
          </a:solidFill>
        </p:spPr>
        <p:txBody>
          <a:bodyPr/>
          <a:lstStyle>
            <a:lvl1pPr marL="0" indent="0">
              <a:buNone/>
              <a:defRPr/>
            </a:lvl1pPr>
          </a:lstStyle>
          <a:p>
            <a:r>
              <a:rPr lang="en-US"/>
              <a:t>Insert picture</a:t>
            </a:r>
          </a:p>
        </p:txBody>
      </p:sp>
      <p:sp>
        <p:nvSpPr>
          <p:cNvPr id="11" name="Text Placeholder 4"/>
          <p:cNvSpPr>
            <a:spLocks noGrp="1"/>
          </p:cNvSpPr>
          <p:nvPr>
            <p:ph type="body" sz="quarter" idx="18" hasCustomPrompt="1"/>
          </p:nvPr>
        </p:nvSpPr>
        <p:spPr>
          <a:xfrm>
            <a:off x="1075063" y="6307665"/>
            <a:ext cx="8162717" cy="133200"/>
          </a:xfrm>
        </p:spPr>
        <p:txBody>
          <a:bodyPr lIns="0" tIns="0" rIns="0" bIns="0" anchor="b" anchorCtr="0"/>
          <a:lstStyle>
            <a:lvl1pPr marL="0" indent="0" algn="l">
              <a:lnSpc>
                <a:spcPct val="100000"/>
              </a:lnSpc>
              <a:spcBef>
                <a:spcPts val="0"/>
              </a:spcBef>
              <a:buNone/>
              <a:defRPr sz="800" baseline="0"/>
            </a:lvl1pPr>
            <a:lvl2pPr marL="0" indent="0" algn="l">
              <a:lnSpc>
                <a:spcPct val="100000"/>
              </a:lnSpc>
              <a:spcBef>
                <a:spcPts val="0"/>
              </a:spcBef>
              <a:buNone/>
              <a:defRPr sz="800"/>
            </a:lvl2pPr>
            <a:lvl3pPr marL="0" indent="0" algn="l">
              <a:lnSpc>
                <a:spcPct val="100000"/>
              </a:lnSpc>
              <a:spcBef>
                <a:spcPts val="0"/>
              </a:spcBef>
              <a:buNone/>
              <a:defRPr sz="800"/>
            </a:lvl3pPr>
            <a:lvl4pPr marL="0" algn="l">
              <a:lnSpc>
                <a:spcPct val="100000"/>
              </a:lnSpc>
              <a:spcBef>
                <a:spcPts val="0"/>
              </a:spcBef>
              <a:buNone/>
              <a:defRPr sz="800"/>
            </a:lvl4pPr>
            <a:lvl5pPr marL="0" indent="0" algn="l">
              <a:lnSpc>
                <a:spcPct val="100000"/>
              </a:lnSpc>
              <a:spcBef>
                <a:spcPts val="0"/>
              </a:spcBef>
              <a:buNone/>
              <a:defRPr sz="800"/>
            </a:lvl5pPr>
          </a:lstStyle>
          <a:p>
            <a:pPr lvl="0"/>
            <a:r>
              <a:rPr lang="en-US"/>
              <a:t>Source line</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86833095"/>
      </p:ext>
    </p:extLst>
  </p:cSld>
  <p:clrMapOvr>
    <a:masterClrMapping/>
  </p:clrMapOvr>
</p:sldLayout>
</file>

<file path=ppt/slideLayouts/slideLayout405.xml><?xml version="1.0" encoding="utf-8"?>
<p:sldLayout xmlns:a="http://schemas.openxmlformats.org/drawingml/2006/main" xmlns:r="http://schemas.openxmlformats.org/officeDocument/2006/relationships" xmlns:p="http://schemas.openxmlformats.org/presentationml/2006/main" preserve="1">
  <p:cSld name="Tablet">
    <p:spTree>
      <p:nvGrpSpPr>
        <p:cNvPr id="1" name=""/>
        <p:cNvGrpSpPr/>
        <p:nvPr/>
      </p:nvGrpSpPr>
      <p:grpSpPr>
        <a:xfrm>
          <a:off x="0" y="0"/>
          <a:ext cx="0" cy="0"/>
          <a:chOff x="0" y="0"/>
          <a:chExt cx="0" cy="0"/>
        </a:xfrm>
      </p:grpSpPr>
      <p:pic>
        <p:nvPicPr>
          <p:cNvPr id="12" name="Grafik 3">
            <a:extLst>
              <a:ext uri="{FF2B5EF4-FFF2-40B4-BE49-F238E27FC236}">
                <a16:creationId xmlns:a16="http://schemas.microsoft.com/office/drawing/2014/main" id="{1D97A272-8DE5-144D-9076-0F435EC79171}"/>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4422451" y="1441279"/>
            <a:ext cx="6858000" cy="5323585"/>
          </a:xfrm>
          <a:prstGeom prst="rect">
            <a:avLst/>
          </a:prstGeom>
        </p:spPr>
      </p:pic>
      <p:sp>
        <p:nvSpPr>
          <p:cNvPr id="21" name="Date Placeholder 20"/>
          <p:cNvSpPr>
            <a:spLocks noGrp="1"/>
          </p:cNvSpPr>
          <p:nvPr>
            <p:ph type="dt" sz="half" idx="14"/>
          </p:nvPr>
        </p:nvSpPr>
        <p:spPr/>
        <p:txBody>
          <a:bodyPr/>
          <a:lstStyle/>
          <a:p>
            <a:endParaRPr lang="en-US"/>
          </a:p>
        </p:txBody>
      </p:sp>
      <p:sp>
        <p:nvSpPr>
          <p:cNvPr id="22" name="Footer Placeholder 21"/>
          <p:cNvSpPr>
            <a:spLocks noGrp="1"/>
          </p:cNvSpPr>
          <p:nvPr>
            <p:ph type="ftr" sz="quarter" idx="15"/>
          </p:nvPr>
        </p:nvSpPr>
        <p:spPr/>
        <p:txBody>
          <a:bodyPr/>
          <a:lstStyle/>
          <a:p>
            <a:endParaRPr lang="en-US"/>
          </a:p>
        </p:txBody>
      </p:sp>
      <p:sp>
        <p:nvSpPr>
          <p:cNvPr id="23" name="Slide Number Placeholder 22"/>
          <p:cNvSpPr>
            <a:spLocks noGrp="1"/>
          </p:cNvSpPr>
          <p:nvPr>
            <p:ph type="sldNum" sz="quarter" idx="16"/>
          </p:nvPr>
        </p:nvSpPr>
        <p:spPr/>
        <p:txBody>
          <a:bodyPr/>
          <a:lstStyle/>
          <a:p>
            <a:fld id="{5F3E29E4-0979-4FCA-B4C5-5FC6044C982A}" type="slidenum">
              <a:rPr lang="en-US" smtClean="0"/>
              <a:t>‹#›</a:t>
            </a:fld>
            <a:endParaRPr lang="en-US"/>
          </a:p>
        </p:txBody>
      </p:sp>
      <p:sp>
        <p:nvSpPr>
          <p:cNvPr id="2" name="Title 1"/>
          <p:cNvSpPr>
            <a:spLocks noGrp="1"/>
          </p:cNvSpPr>
          <p:nvPr>
            <p:ph type="title" hasCustomPrompt="1"/>
          </p:nvPr>
        </p:nvSpPr>
        <p:spPr/>
        <p:txBody>
          <a:bodyPr/>
          <a:lstStyle>
            <a:lvl1pPr>
              <a:defRPr/>
            </a:lvl1pPr>
          </a:lstStyle>
          <a:p>
            <a:r>
              <a:rPr lang="en-US"/>
              <a:t>Click to add slide title</a:t>
            </a:r>
          </a:p>
        </p:txBody>
      </p:sp>
      <p:sp>
        <p:nvSpPr>
          <p:cNvPr id="7" name="Subtitle 2"/>
          <p:cNvSpPr>
            <a:spLocks noGrp="1"/>
          </p:cNvSpPr>
          <p:nvPr>
            <p:ph type="subTitle" idx="13" hasCustomPrompt="1"/>
          </p:nvPr>
        </p:nvSpPr>
        <p:spPr>
          <a:xfrm>
            <a:off x="1075061" y="964671"/>
            <a:ext cx="7910158" cy="490042"/>
          </a:xfrm>
        </p:spPr>
        <p:txBody>
          <a:bodyPr wrap="none"/>
          <a:lstStyle>
            <a:lvl1pPr marL="0" indent="0" algn="l">
              <a:spcBef>
                <a:spcPts val="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sp>
        <p:nvSpPr>
          <p:cNvPr id="3" name="Content Placeholder 2"/>
          <p:cNvSpPr>
            <a:spLocks noGrp="1"/>
          </p:cNvSpPr>
          <p:nvPr>
            <p:ph idx="1" hasCustomPrompt="1"/>
          </p:nvPr>
        </p:nvSpPr>
        <p:spPr>
          <a:xfrm>
            <a:off x="1075062" y="1852623"/>
            <a:ext cx="3287388" cy="3658714"/>
          </a:xfrm>
        </p:spPr>
        <p:txBody>
          <a:bodyPr anchor="ctr"/>
          <a:lstStyle>
            <a:lvl1pPr>
              <a:defRPr sz="1600"/>
            </a:lvl1pPr>
            <a:lvl2pPr>
              <a:defRPr sz="1600"/>
            </a:lvl2pPr>
            <a:lvl3pPr>
              <a:defRPr sz="1600"/>
            </a:lvl3pPr>
            <a:lvl4pPr>
              <a:defRPr sz="1600"/>
            </a:lvl4pPr>
            <a:lvl5pPr>
              <a:defRPr sz="1600"/>
            </a:lvl5pPr>
          </a:lstStyle>
          <a:p>
            <a:pPr lvl="0"/>
            <a:r>
              <a:rPr lang="en-US"/>
              <a:t>Click to add text</a:t>
            </a:r>
          </a:p>
          <a:p>
            <a:pPr lvl="1"/>
            <a:r>
              <a:rPr lang="en-US"/>
              <a:t>Second level</a:t>
            </a:r>
          </a:p>
          <a:p>
            <a:pPr lvl="2"/>
            <a:r>
              <a:rPr lang="en-US"/>
              <a:t>Third level</a:t>
            </a:r>
          </a:p>
          <a:p>
            <a:pPr lvl="3"/>
            <a:r>
              <a:rPr lang="en-US"/>
              <a:t>Fourth level</a:t>
            </a:r>
          </a:p>
          <a:p>
            <a:pPr lvl="4"/>
            <a:r>
              <a:rPr lang="en-US"/>
              <a:t>Fifth level</a:t>
            </a:r>
          </a:p>
        </p:txBody>
      </p:sp>
      <p:sp>
        <p:nvSpPr>
          <p:cNvPr id="5" name="Picture Placeholder 4"/>
          <p:cNvSpPr>
            <a:spLocks noGrp="1"/>
          </p:cNvSpPr>
          <p:nvPr>
            <p:ph type="pic" sz="quarter" idx="17" hasCustomPrompt="1"/>
          </p:nvPr>
        </p:nvSpPr>
        <p:spPr>
          <a:xfrm>
            <a:off x="5135561" y="2010934"/>
            <a:ext cx="5491064" cy="3428280"/>
          </a:xfrm>
          <a:solidFill>
            <a:srgbClr val="D9DADB"/>
          </a:solidFill>
        </p:spPr>
        <p:txBody>
          <a:bodyPr/>
          <a:lstStyle>
            <a:lvl1pPr marL="0" indent="0">
              <a:buNone/>
              <a:defRPr/>
            </a:lvl1pPr>
          </a:lstStyle>
          <a:p>
            <a:r>
              <a:rPr lang="en-US"/>
              <a:t>Insert picture</a:t>
            </a:r>
          </a:p>
        </p:txBody>
      </p:sp>
      <p:sp>
        <p:nvSpPr>
          <p:cNvPr id="11" name="Text Placeholder 4"/>
          <p:cNvSpPr>
            <a:spLocks noGrp="1"/>
          </p:cNvSpPr>
          <p:nvPr>
            <p:ph type="body" sz="quarter" idx="18" hasCustomPrompt="1"/>
          </p:nvPr>
        </p:nvSpPr>
        <p:spPr>
          <a:xfrm>
            <a:off x="1075063" y="6307665"/>
            <a:ext cx="8162717" cy="133200"/>
          </a:xfrm>
        </p:spPr>
        <p:txBody>
          <a:bodyPr lIns="0" tIns="0" rIns="0" bIns="0" anchor="b" anchorCtr="0"/>
          <a:lstStyle>
            <a:lvl1pPr marL="0" indent="0" algn="l">
              <a:lnSpc>
                <a:spcPct val="100000"/>
              </a:lnSpc>
              <a:spcBef>
                <a:spcPts val="0"/>
              </a:spcBef>
              <a:buNone/>
              <a:defRPr sz="800" baseline="0"/>
            </a:lvl1pPr>
            <a:lvl2pPr marL="0" indent="0" algn="l">
              <a:lnSpc>
                <a:spcPct val="100000"/>
              </a:lnSpc>
              <a:spcBef>
                <a:spcPts val="0"/>
              </a:spcBef>
              <a:buNone/>
              <a:defRPr sz="800"/>
            </a:lvl2pPr>
            <a:lvl3pPr marL="0" indent="0" algn="l">
              <a:lnSpc>
                <a:spcPct val="100000"/>
              </a:lnSpc>
              <a:spcBef>
                <a:spcPts val="0"/>
              </a:spcBef>
              <a:buNone/>
              <a:defRPr sz="800"/>
            </a:lvl3pPr>
            <a:lvl4pPr marL="0" algn="l">
              <a:lnSpc>
                <a:spcPct val="100000"/>
              </a:lnSpc>
              <a:spcBef>
                <a:spcPts val="0"/>
              </a:spcBef>
              <a:buNone/>
              <a:defRPr sz="800"/>
            </a:lvl4pPr>
            <a:lvl5pPr marL="0" indent="0" algn="l">
              <a:lnSpc>
                <a:spcPct val="100000"/>
              </a:lnSpc>
              <a:spcBef>
                <a:spcPts val="0"/>
              </a:spcBef>
              <a:buNone/>
              <a:defRPr sz="800"/>
            </a:lvl5pPr>
          </a:lstStyle>
          <a:p>
            <a:pPr lvl="0"/>
            <a:r>
              <a:rPr lang="en-US"/>
              <a:t>Source line</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62899302"/>
      </p:ext>
    </p:extLst>
  </p:cSld>
  <p:clrMapOvr>
    <a:masterClrMapping/>
  </p:clrMapOvr>
</p:sldLayout>
</file>

<file path=ppt/slideLayouts/slideLayout406.xml><?xml version="1.0" encoding="utf-8"?>
<p:sldLayout xmlns:a="http://schemas.openxmlformats.org/drawingml/2006/main" xmlns:r="http://schemas.openxmlformats.org/officeDocument/2006/relationships" xmlns:p="http://schemas.openxmlformats.org/presentationml/2006/main" preserve="1">
  <p:cSld name="Smartphone">
    <p:spTree>
      <p:nvGrpSpPr>
        <p:cNvPr id="1" name=""/>
        <p:cNvGrpSpPr/>
        <p:nvPr/>
      </p:nvGrpSpPr>
      <p:grpSpPr>
        <a:xfrm>
          <a:off x="0" y="0"/>
          <a:ext cx="0" cy="0"/>
          <a:chOff x="0" y="0"/>
          <a:chExt cx="0" cy="0"/>
        </a:xfrm>
      </p:grpSpPr>
      <p:pic>
        <p:nvPicPr>
          <p:cNvPr id="10" name="Grafik 2">
            <a:extLst>
              <a:ext uri="{FF2B5EF4-FFF2-40B4-BE49-F238E27FC236}">
                <a16:creationId xmlns:a16="http://schemas.microsoft.com/office/drawing/2014/main" id="{6421FD8A-F5D4-E041-A727-98ABA693B1A7}"/>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5472449" y="1362516"/>
            <a:ext cx="4953000" cy="4865134"/>
          </a:xfrm>
          <a:prstGeom prst="rect">
            <a:avLst/>
          </a:prstGeom>
          <a:effectLst>
            <a:reflection blurRad="6350" stA="48000" endPos="6000" dir="5400000" sy="-100000" algn="bl" rotWithShape="0"/>
          </a:effectLst>
        </p:spPr>
      </p:pic>
      <p:sp>
        <p:nvSpPr>
          <p:cNvPr id="21" name="Date Placeholder 20"/>
          <p:cNvSpPr>
            <a:spLocks noGrp="1"/>
          </p:cNvSpPr>
          <p:nvPr>
            <p:ph type="dt" sz="half" idx="14"/>
          </p:nvPr>
        </p:nvSpPr>
        <p:spPr/>
        <p:txBody>
          <a:bodyPr/>
          <a:lstStyle/>
          <a:p>
            <a:endParaRPr lang="en-US"/>
          </a:p>
        </p:txBody>
      </p:sp>
      <p:sp>
        <p:nvSpPr>
          <p:cNvPr id="22" name="Footer Placeholder 21"/>
          <p:cNvSpPr>
            <a:spLocks noGrp="1"/>
          </p:cNvSpPr>
          <p:nvPr>
            <p:ph type="ftr" sz="quarter" idx="15"/>
          </p:nvPr>
        </p:nvSpPr>
        <p:spPr/>
        <p:txBody>
          <a:bodyPr/>
          <a:lstStyle/>
          <a:p>
            <a:endParaRPr lang="en-US"/>
          </a:p>
        </p:txBody>
      </p:sp>
      <p:sp>
        <p:nvSpPr>
          <p:cNvPr id="23" name="Slide Number Placeholder 22"/>
          <p:cNvSpPr>
            <a:spLocks noGrp="1"/>
          </p:cNvSpPr>
          <p:nvPr>
            <p:ph type="sldNum" sz="quarter" idx="16"/>
          </p:nvPr>
        </p:nvSpPr>
        <p:spPr/>
        <p:txBody>
          <a:bodyPr/>
          <a:lstStyle/>
          <a:p>
            <a:fld id="{5F3E29E4-0979-4FCA-B4C5-5FC6044C982A}" type="slidenum">
              <a:rPr lang="en-US" smtClean="0"/>
              <a:t>‹#›</a:t>
            </a:fld>
            <a:endParaRPr lang="en-US"/>
          </a:p>
        </p:txBody>
      </p:sp>
      <p:sp>
        <p:nvSpPr>
          <p:cNvPr id="2" name="Title 1"/>
          <p:cNvSpPr>
            <a:spLocks noGrp="1"/>
          </p:cNvSpPr>
          <p:nvPr>
            <p:ph type="title" hasCustomPrompt="1"/>
          </p:nvPr>
        </p:nvSpPr>
        <p:spPr/>
        <p:txBody>
          <a:bodyPr/>
          <a:lstStyle>
            <a:lvl1pPr>
              <a:defRPr/>
            </a:lvl1pPr>
          </a:lstStyle>
          <a:p>
            <a:r>
              <a:rPr lang="en-US"/>
              <a:t>Click to add slide title</a:t>
            </a:r>
          </a:p>
        </p:txBody>
      </p:sp>
      <p:sp>
        <p:nvSpPr>
          <p:cNvPr id="7" name="Subtitle 2"/>
          <p:cNvSpPr>
            <a:spLocks noGrp="1"/>
          </p:cNvSpPr>
          <p:nvPr>
            <p:ph type="subTitle" idx="13" hasCustomPrompt="1"/>
          </p:nvPr>
        </p:nvSpPr>
        <p:spPr>
          <a:xfrm>
            <a:off x="1075061" y="964671"/>
            <a:ext cx="7910158" cy="490042"/>
          </a:xfrm>
        </p:spPr>
        <p:txBody>
          <a:bodyPr wrap="none"/>
          <a:lstStyle>
            <a:lvl1pPr marL="0" indent="0" algn="l">
              <a:spcBef>
                <a:spcPts val="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sp>
        <p:nvSpPr>
          <p:cNvPr id="3" name="Content Placeholder 2"/>
          <p:cNvSpPr>
            <a:spLocks noGrp="1"/>
          </p:cNvSpPr>
          <p:nvPr>
            <p:ph idx="1" hasCustomPrompt="1"/>
          </p:nvPr>
        </p:nvSpPr>
        <p:spPr>
          <a:xfrm>
            <a:off x="1075061" y="1852623"/>
            <a:ext cx="5241071" cy="3658714"/>
          </a:xfrm>
        </p:spPr>
        <p:txBody>
          <a:bodyPr anchor="ctr"/>
          <a:lstStyle>
            <a:lvl1pPr>
              <a:defRPr sz="1600"/>
            </a:lvl1pPr>
            <a:lvl2pPr>
              <a:defRPr sz="1600"/>
            </a:lvl2pPr>
            <a:lvl3pPr>
              <a:defRPr sz="1600"/>
            </a:lvl3pPr>
            <a:lvl4pPr>
              <a:defRPr sz="1600"/>
            </a:lvl4pPr>
            <a:lvl5pPr>
              <a:defRPr sz="1600"/>
            </a:lvl5pPr>
          </a:lstStyle>
          <a:p>
            <a:pPr lvl="0"/>
            <a:r>
              <a:rPr lang="en-US"/>
              <a:t>Click to add text</a:t>
            </a:r>
          </a:p>
          <a:p>
            <a:pPr lvl="1"/>
            <a:r>
              <a:rPr lang="en-US"/>
              <a:t>Second level</a:t>
            </a:r>
          </a:p>
          <a:p>
            <a:pPr lvl="2"/>
            <a:r>
              <a:rPr lang="en-US"/>
              <a:t>Third level</a:t>
            </a:r>
          </a:p>
          <a:p>
            <a:pPr lvl="3"/>
            <a:r>
              <a:rPr lang="en-US"/>
              <a:t>Fourth level</a:t>
            </a:r>
          </a:p>
          <a:p>
            <a:pPr lvl="4"/>
            <a:r>
              <a:rPr lang="en-US"/>
              <a:t>Fifth level</a:t>
            </a:r>
          </a:p>
        </p:txBody>
      </p:sp>
      <p:sp>
        <p:nvSpPr>
          <p:cNvPr id="5" name="Picture Placeholder 4"/>
          <p:cNvSpPr>
            <a:spLocks noGrp="1"/>
          </p:cNvSpPr>
          <p:nvPr>
            <p:ph type="pic" sz="quarter" idx="17" hasCustomPrompt="1"/>
          </p:nvPr>
        </p:nvSpPr>
        <p:spPr>
          <a:xfrm>
            <a:off x="6923531" y="1784822"/>
            <a:ext cx="2006654" cy="4104000"/>
          </a:xfrm>
          <a:solidFill>
            <a:srgbClr val="D9DADB"/>
          </a:solidFill>
        </p:spPr>
        <p:txBody>
          <a:bodyPr/>
          <a:lstStyle>
            <a:lvl1pPr marL="0" indent="0">
              <a:buNone/>
              <a:defRPr/>
            </a:lvl1pPr>
          </a:lstStyle>
          <a:p>
            <a:r>
              <a:rPr lang="en-US"/>
              <a:t>Insert picture</a:t>
            </a:r>
          </a:p>
        </p:txBody>
      </p:sp>
      <p:sp>
        <p:nvSpPr>
          <p:cNvPr id="12" name="Text Placeholder 4"/>
          <p:cNvSpPr>
            <a:spLocks noGrp="1"/>
          </p:cNvSpPr>
          <p:nvPr>
            <p:ph type="body" sz="quarter" idx="18" hasCustomPrompt="1"/>
          </p:nvPr>
        </p:nvSpPr>
        <p:spPr>
          <a:xfrm>
            <a:off x="1075063" y="6307665"/>
            <a:ext cx="8162717" cy="133200"/>
          </a:xfrm>
        </p:spPr>
        <p:txBody>
          <a:bodyPr lIns="0" tIns="0" rIns="0" bIns="0" anchor="b" anchorCtr="0"/>
          <a:lstStyle>
            <a:lvl1pPr marL="0" indent="0" algn="l">
              <a:lnSpc>
                <a:spcPct val="100000"/>
              </a:lnSpc>
              <a:spcBef>
                <a:spcPts val="0"/>
              </a:spcBef>
              <a:buNone/>
              <a:defRPr sz="800" baseline="0"/>
            </a:lvl1pPr>
            <a:lvl2pPr marL="0" indent="0" algn="l">
              <a:lnSpc>
                <a:spcPct val="100000"/>
              </a:lnSpc>
              <a:spcBef>
                <a:spcPts val="0"/>
              </a:spcBef>
              <a:buNone/>
              <a:defRPr sz="800"/>
            </a:lvl2pPr>
            <a:lvl3pPr marL="0" indent="0" algn="l">
              <a:lnSpc>
                <a:spcPct val="100000"/>
              </a:lnSpc>
              <a:spcBef>
                <a:spcPts val="0"/>
              </a:spcBef>
              <a:buNone/>
              <a:defRPr sz="800"/>
            </a:lvl3pPr>
            <a:lvl4pPr marL="0" algn="l">
              <a:lnSpc>
                <a:spcPct val="100000"/>
              </a:lnSpc>
              <a:spcBef>
                <a:spcPts val="0"/>
              </a:spcBef>
              <a:buNone/>
              <a:defRPr sz="800"/>
            </a:lvl4pPr>
            <a:lvl5pPr marL="0" indent="0" algn="l">
              <a:lnSpc>
                <a:spcPct val="100000"/>
              </a:lnSpc>
              <a:spcBef>
                <a:spcPts val="0"/>
              </a:spcBef>
              <a:buNone/>
              <a:defRPr sz="800"/>
            </a:lvl5pPr>
          </a:lstStyle>
          <a:p>
            <a:pPr lvl="0"/>
            <a:r>
              <a:rPr lang="en-US"/>
              <a:t>Source line</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22872409"/>
      </p:ext>
    </p:extLst>
  </p:cSld>
  <p:clrMapOvr>
    <a:masterClrMapping/>
  </p:clrMapOvr>
</p:sldLayout>
</file>

<file path=ppt/slideLayouts/slideLayout407.xml><?xml version="1.0" encoding="utf-8"?>
<p:sldLayout xmlns:a="http://schemas.openxmlformats.org/drawingml/2006/main" xmlns:r="http://schemas.openxmlformats.org/officeDocument/2006/relationships" xmlns:p="http://schemas.openxmlformats.org/presentationml/2006/main" preserve="1">
  <p:cSld name="One contact">
    <p:spTree>
      <p:nvGrpSpPr>
        <p:cNvPr id="1" name=""/>
        <p:cNvGrpSpPr/>
        <p:nvPr/>
      </p:nvGrpSpPr>
      <p:grpSpPr>
        <a:xfrm>
          <a:off x="0" y="0"/>
          <a:ext cx="0" cy="0"/>
          <a:chOff x="0" y="0"/>
          <a:chExt cx="0" cy="0"/>
        </a:xfrm>
      </p:grpSpPr>
      <p:sp>
        <p:nvSpPr>
          <p:cNvPr id="4" name="Picture Placeholder 3"/>
          <p:cNvSpPr>
            <a:spLocks noGrp="1"/>
          </p:cNvSpPr>
          <p:nvPr>
            <p:ph type="pic" sz="quarter" idx="17" hasCustomPrompt="1"/>
          </p:nvPr>
        </p:nvSpPr>
        <p:spPr>
          <a:xfrm>
            <a:off x="1056217" y="1833656"/>
            <a:ext cx="3203503" cy="3935319"/>
          </a:xfrm>
          <a:solidFill>
            <a:srgbClr val="D9DADB"/>
          </a:solidFill>
        </p:spPr>
        <p:txBody>
          <a:bodyPr/>
          <a:lstStyle>
            <a:lvl1pPr marL="0" indent="0">
              <a:buNone/>
              <a:defRPr sz="1400"/>
            </a:lvl1pPr>
          </a:lstStyle>
          <a:p>
            <a:r>
              <a:rPr lang="en-US"/>
              <a:t>Insert picture</a:t>
            </a:r>
          </a:p>
        </p:txBody>
      </p:sp>
      <p:sp>
        <p:nvSpPr>
          <p:cNvPr id="21" name="Date Placeholder 20"/>
          <p:cNvSpPr>
            <a:spLocks noGrp="1"/>
          </p:cNvSpPr>
          <p:nvPr>
            <p:ph type="dt" sz="half" idx="14"/>
          </p:nvPr>
        </p:nvSpPr>
        <p:spPr/>
        <p:txBody>
          <a:bodyPr/>
          <a:lstStyle/>
          <a:p>
            <a:endParaRPr lang="en-US"/>
          </a:p>
        </p:txBody>
      </p:sp>
      <p:sp>
        <p:nvSpPr>
          <p:cNvPr id="22" name="Footer Placeholder 21"/>
          <p:cNvSpPr>
            <a:spLocks noGrp="1"/>
          </p:cNvSpPr>
          <p:nvPr>
            <p:ph type="ftr" sz="quarter" idx="15"/>
          </p:nvPr>
        </p:nvSpPr>
        <p:spPr/>
        <p:txBody>
          <a:bodyPr/>
          <a:lstStyle/>
          <a:p>
            <a:endParaRPr lang="en-US"/>
          </a:p>
        </p:txBody>
      </p:sp>
      <p:sp>
        <p:nvSpPr>
          <p:cNvPr id="23" name="Slide Number Placeholder 22"/>
          <p:cNvSpPr>
            <a:spLocks noGrp="1"/>
          </p:cNvSpPr>
          <p:nvPr>
            <p:ph type="sldNum" sz="quarter" idx="16"/>
          </p:nvPr>
        </p:nvSpPr>
        <p:spPr/>
        <p:txBody>
          <a:bodyPr/>
          <a:lstStyle/>
          <a:p>
            <a:fld id="{5F3E29E4-0979-4FCA-B4C5-5FC6044C982A}" type="slidenum">
              <a:rPr lang="en-US" smtClean="0"/>
              <a:t>‹#›</a:t>
            </a:fld>
            <a:endParaRPr lang="en-US"/>
          </a:p>
        </p:txBody>
      </p:sp>
      <p:sp>
        <p:nvSpPr>
          <p:cNvPr id="2" name="Title 1"/>
          <p:cNvSpPr>
            <a:spLocks noGrp="1"/>
          </p:cNvSpPr>
          <p:nvPr>
            <p:ph type="title" hasCustomPrompt="1"/>
          </p:nvPr>
        </p:nvSpPr>
        <p:spPr/>
        <p:txBody>
          <a:bodyPr/>
          <a:lstStyle>
            <a:lvl1pPr>
              <a:defRPr/>
            </a:lvl1pPr>
          </a:lstStyle>
          <a:p>
            <a:r>
              <a:rPr lang="en-US"/>
              <a:t>Click to add contact title</a:t>
            </a:r>
          </a:p>
        </p:txBody>
      </p:sp>
      <p:sp>
        <p:nvSpPr>
          <p:cNvPr id="7" name="Subtitle 2"/>
          <p:cNvSpPr>
            <a:spLocks noGrp="1"/>
          </p:cNvSpPr>
          <p:nvPr>
            <p:ph type="subTitle" idx="13" hasCustomPrompt="1"/>
          </p:nvPr>
        </p:nvSpPr>
        <p:spPr>
          <a:xfrm>
            <a:off x="1075061" y="964671"/>
            <a:ext cx="7910158" cy="490042"/>
          </a:xfrm>
        </p:spPr>
        <p:txBody>
          <a:bodyPr wrap="none"/>
          <a:lstStyle>
            <a:lvl1pPr marL="0" indent="0" algn="l">
              <a:spcBef>
                <a:spcPts val="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grpSp>
        <p:nvGrpSpPr>
          <p:cNvPr id="8" name="Gruppieren 80">
            <a:extLst>
              <a:ext uri="{FF2B5EF4-FFF2-40B4-BE49-F238E27FC236}">
                <a16:creationId xmlns:a16="http://schemas.microsoft.com/office/drawing/2014/main" id="{6B969E7B-9C39-4443-9B02-74C1E7C5CCAC}"/>
              </a:ext>
            </a:extLst>
          </p:cNvPr>
          <p:cNvGrpSpPr/>
          <p:nvPr/>
        </p:nvGrpSpPr>
        <p:grpSpPr>
          <a:xfrm>
            <a:off x="4451001" y="2884199"/>
            <a:ext cx="171180" cy="171180"/>
            <a:chOff x="3392092" y="1841122"/>
            <a:chExt cx="646508" cy="646508"/>
          </a:xfrm>
        </p:grpSpPr>
        <p:sp>
          <p:nvSpPr>
            <p:cNvPr id="9" name="Rechteck 14">
              <a:extLst>
                <a:ext uri="{FF2B5EF4-FFF2-40B4-BE49-F238E27FC236}">
                  <a16:creationId xmlns:a16="http://schemas.microsoft.com/office/drawing/2014/main" id="{D78F58EA-5525-8D43-8295-FEA52ECF6BFA}"/>
                </a:ext>
              </a:extLst>
            </p:cNvPr>
            <p:cNvSpPr>
              <a:spLocks noChangeAspect="1"/>
            </p:cNvSpPr>
            <p:nvPr/>
          </p:nvSpPr>
          <p:spPr bwMode="gray">
            <a:xfrm>
              <a:off x="3392092" y="1841122"/>
              <a:ext cx="646508" cy="646508"/>
            </a:xfrm>
            <a:prstGeom prst="rect">
              <a:avLst/>
            </a:prstGeom>
            <a:solidFill>
              <a:srgbClr val="E55A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pPr>
              <a:endParaRPr lang="en-US" sz="1000">
                <a:solidFill>
                  <a:schemeClr val="tx1"/>
                </a:solidFill>
                <a:latin typeface="Arial" pitchFamily="34" charset="0"/>
                <a:cs typeface="Arial" pitchFamily="34" charset="0"/>
              </a:endParaRPr>
            </a:p>
          </p:txBody>
        </p:sp>
        <p:sp>
          <p:nvSpPr>
            <p:cNvPr id="10" name="Freeform 67">
              <a:extLst>
                <a:ext uri="{FF2B5EF4-FFF2-40B4-BE49-F238E27FC236}">
                  <a16:creationId xmlns:a16="http://schemas.microsoft.com/office/drawing/2014/main" id="{D01A6292-2776-4945-B828-483D79DC4908}"/>
                </a:ext>
              </a:extLst>
            </p:cNvPr>
            <p:cNvSpPr>
              <a:spLocks noChangeAspect="1"/>
            </p:cNvSpPr>
            <p:nvPr/>
          </p:nvSpPr>
          <p:spPr bwMode="auto">
            <a:xfrm>
              <a:off x="3546638" y="1970424"/>
              <a:ext cx="337415" cy="387905"/>
            </a:xfrm>
            <a:custGeom>
              <a:avLst/>
              <a:gdLst>
                <a:gd name="T0" fmla="*/ 573 w 1624"/>
                <a:gd name="T1" fmla="*/ 1257 h 1867"/>
                <a:gd name="T2" fmla="*/ 662 w 1624"/>
                <a:gd name="T3" fmla="*/ 1288 h 1867"/>
                <a:gd name="T4" fmla="*/ 938 w 1624"/>
                <a:gd name="T5" fmla="*/ 1051 h 1867"/>
                <a:gd name="T6" fmla="*/ 1106 w 1624"/>
                <a:gd name="T7" fmla="*/ 731 h 1867"/>
                <a:gd name="T8" fmla="*/ 1059 w 1624"/>
                <a:gd name="T9" fmla="*/ 645 h 1867"/>
                <a:gd name="T10" fmla="*/ 1001 w 1624"/>
                <a:gd name="T11" fmla="*/ 613 h 1867"/>
                <a:gd name="T12" fmla="*/ 924 w 1624"/>
                <a:gd name="T13" fmla="*/ 432 h 1867"/>
                <a:gd name="T14" fmla="*/ 1114 w 1624"/>
                <a:gd name="T15" fmla="*/ 81 h 1867"/>
                <a:gd name="T16" fmla="*/ 1287 w 1624"/>
                <a:gd name="T17" fmla="*/ 35 h 1867"/>
                <a:gd name="T18" fmla="*/ 1350 w 1624"/>
                <a:gd name="T19" fmla="*/ 69 h 1867"/>
                <a:gd name="T20" fmla="*/ 1527 w 1624"/>
                <a:gd name="T21" fmla="*/ 235 h 1867"/>
                <a:gd name="T22" fmla="*/ 1583 w 1624"/>
                <a:gd name="T23" fmla="*/ 555 h 1867"/>
                <a:gd name="T24" fmla="*/ 1172 w 1624"/>
                <a:gd name="T25" fmla="*/ 1253 h 1867"/>
                <a:gd name="T26" fmla="*/ 586 w 1624"/>
                <a:gd name="T27" fmla="*/ 1803 h 1867"/>
                <a:gd name="T28" fmla="*/ 269 w 1624"/>
                <a:gd name="T29" fmla="*/ 1807 h 1867"/>
                <a:gd name="T30" fmla="*/ 33 w 1624"/>
                <a:gd name="T31" fmla="*/ 1602 h 1867"/>
                <a:gd name="T32" fmla="*/ 2 w 1624"/>
                <a:gd name="T33" fmla="*/ 1508 h 1867"/>
                <a:gd name="T34" fmla="*/ 45 w 1624"/>
                <a:gd name="T35" fmla="*/ 1421 h 1867"/>
                <a:gd name="T36" fmla="*/ 346 w 1624"/>
                <a:gd name="T37" fmla="*/ 1158 h 1867"/>
                <a:gd name="T38" fmla="*/ 448 w 1624"/>
                <a:gd name="T39" fmla="*/ 1145 h 1867"/>
                <a:gd name="T40" fmla="*/ 573 w 1624"/>
                <a:gd name="T41" fmla="*/ 1257 h 18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24" h="1867">
                  <a:moveTo>
                    <a:pt x="573" y="1257"/>
                  </a:moveTo>
                  <a:cubicBezTo>
                    <a:pt x="592" y="1282"/>
                    <a:pt x="630" y="1303"/>
                    <a:pt x="662" y="1288"/>
                  </a:cubicBezTo>
                  <a:cubicBezTo>
                    <a:pt x="753" y="1245"/>
                    <a:pt x="854" y="1156"/>
                    <a:pt x="938" y="1051"/>
                  </a:cubicBezTo>
                  <a:cubicBezTo>
                    <a:pt x="1020" y="948"/>
                    <a:pt x="1084" y="831"/>
                    <a:pt x="1106" y="731"/>
                  </a:cubicBezTo>
                  <a:cubicBezTo>
                    <a:pt x="1113" y="696"/>
                    <a:pt x="1089" y="661"/>
                    <a:pt x="1059" y="645"/>
                  </a:cubicBezTo>
                  <a:cubicBezTo>
                    <a:pt x="1001" y="613"/>
                    <a:pt x="1001" y="613"/>
                    <a:pt x="1001" y="613"/>
                  </a:cubicBezTo>
                  <a:cubicBezTo>
                    <a:pt x="942" y="580"/>
                    <a:pt x="888" y="499"/>
                    <a:pt x="924" y="432"/>
                  </a:cubicBezTo>
                  <a:cubicBezTo>
                    <a:pt x="1114" y="81"/>
                    <a:pt x="1114" y="81"/>
                    <a:pt x="1114" y="81"/>
                  </a:cubicBezTo>
                  <a:cubicBezTo>
                    <a:pt x="1150" y="16"/>
                    <a:pt x="1224" y="0"/>
                    <a:pt x="1287" y="35"/>
                  </a:cubicBezTo>
                  <a:cubicBezTo>
                    <a:pt x="1350" y="69"/>
                    <a:pt x="1350" y="69"/>
                    <a:pt x="1350" y="69"/>
                  </a:cubicBezTo>
                  <a:cubicBezTo>
                    <a:pt x="1415" y="105"/>
                    <a:pt x="1479" y="165"/>
                    <a:pt x="1527" y="235"/>
                  </a:cubicBezTo>
                  <a:cubicBezTo>
                    <a:pt x="1593" y="332"/>
                    <a:pt x="1624" y="442"/>
                    <a:pt x="1583" y="555"/>
                  </a:cubicBezTo>
                  <a:cubicBezTo>
                    <a:pt x="1500" y="781"/>
                    <a:pt x="1351" y="1030"/>
                    <a:pt x="1172" y="1253"/>
                  </a:cubicBezTo>
                  <a:cubicBezTo>
                    <a:pt x="994" y="1477"/>
                    <a:pt x="786" y="1676"/>
                    <a:pt x="586" y="1803"/>
                  </a:cubicBezTo>
                  <a:cubicBezTo>
                    <a:pt x="486" y="1867"/>
                    <a:pt x="375" y="1856"/>
                    <a:pt x="269" y="1807"/>
                  </a:cubicBezTo>
                  <a:cubicBezTo>
                    <a:pt x="157" y="1755"/>
                    <a:pt x="106" y="1695"/>
                    <a:pt x="33" y="1602"/>
                  </a:cubicBezTo>
                  <a:cubicBezTo>
                    <a:pt x="11" y="1573"/>
                    <a:pt x="0" y="1540"/>
                    <a:pt x="2" y="1508"/>
                  </a:cubicBezTo>
                  <a:cubicBezTo>
                    <a:pt x="4" y="1475"/>
                    <a:pt x="18" y="1444"/>
                    <a:pt x="45" y="1421"/>
                  </a:cubicBezTo>
                  <a:cubicBezTo>
                    <a:pt x="70" y="1399"/>
                    <a:pt x="346" y="1158"/>
                    <a:pt x="346" y="1158"/>
                  </a:cubicBezTo>
                  <a:cubicBezTo>
                    <a:pt x="376" y="1134"/>
                    <a:pt x="413" y="1133"/>
                    <a:pt x="448" y="1145"/>
                  </a:cubicBezTo>
                  <a:cubicBezTo>
                    <a:pt x="510" y="1166"/>
                    <a:pt x="536" y="1210"/>
                    <a:pt x="573" y="1257"/>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351"/>
            </a:p>
          </p:txBody>
        </p:sp>
      </p:grpSp>
      <p:grpSp>
        <p:nvGrpSpPr>
          <p:cNvPr id="11" name="Group 3">
            <a:extLst>
              <a:ext uri="{FF2B5EF4-FFF2-40B4-BE49-F238E27FC236}">
                <a16:creationId xmlns:a16="http://schemas.microsoft.com/office/drawing/2014/main" id="{DED6A25A-5DE2-1441-8BA2-C68D3B4F9209}"/>
              </a:ext>
            </a:extLst>
          </p:cNvPr>
          <p:cNvGrpSpPr>
            <a:grpSpLocks noChangeAspect="1"/>
          </p:cNvGrpSpPr>
          <p:nvPr>
            <p:custDataLst>
              <p:tags r:id="rId1"/>
            </p:custDataLst>
          </p:nvPr>
        </p:nvGrpSpPr>
        <p:grpSpPr>
          <a:xfrm>
            <a:off x="4451002" y="3169087"/>
            <a:ext cx="171180" cy="171180"/>
            <a:chOff x="328396" y="5313940"/>
            <a:chExt cx="720000" cy="720000"/>
          </a:xfrm>
        </p:grpSpPr>
        <p:sp>
          <p:nvSpPr>
            <p:cNvPr id="12" name="Rectangle 4">
              <a:extLst>
                <a:ext uri="{FF2B5EF4-FFF2-40B4-BE49-F238E27FC236}">
                  <a16:creationId xmlns:a16="http://schemas.microsoft.com/office/drawing/2014/main" id="{5F49E67F-D4FA-9D48-96BC-59AE946ECD15}"/>
                </a:ext>
              </a:extLst>
            </p:cNvPr>
            <p:cNvSpPr/>
            <p:nvPr/>
          </p:nvSpPr>
          <p:spPr bwMode="gray">
            <a:xfrm>
              <a:off x="328396" y="5313940"/>
              <a:ext cx="720000" cy="720000"/>
            </a:xfrm>
            <a:prstGeom prst="rect">
              <a:avLst/>
            </a:prstGeom>
            <a:solidFill>
              <a:srgbClr val="E55A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pPr>
              <a:endParaRPr lang="en-US" sz="1000">
                <a:solidFill>
                  <a:schemeClr val="tx1"/>
                </a:solidFill>
                <a:latin typeface="Arial" pitchFamily="34" charset="0"/>
                <a:cs typeface="Arial" pitchFamily="34" charset="0"/>
              </a:endParaRPr>
            </a:p>
          </p:txBody>
        </p:sp>
        <p:sp>
          <p:nvSpPr>
            <p:cNvPr id="13" name="Freeform 76">
              <a:extLst>
                <a:ext uri="{FF2B5EF4-FFF2-40B4-BE49-F238E27FC236}">
                  <a16:creationId xmlns:a16="http://schemas.microsoft.com/office/drawing/2014/main" id="{187E70E6-AF3F-2549-908E-DF4BA61040AA}"/>
                </a:ext>
              </a:extLst>
            </p:cNvPr>
            <p:cNvSpPr>
              <a:spLocks noChangeAspect="1" noEditPoints="1"/>
            </p:cNvSpPr>
            <p:nvPr/>
          </p:nvSpPr>
          <p:spPr bwMode="auto">
            <a:xfrm>
              <a:off x="456202" y="5509222"/>
              <a:ext cx="504000" cy="329436"/>
            </a:xfrm>
            <a:custGeom>
              <a:avLst/>
              <a:gdLst>
                <a:gd name="T0" fmla="*/ 0 w 2080"/>
                <a:gd name="T1" fmla="*/ 65 h 1360"/>
                <a:gd name="T2" fmla="*/ 0 w 2080"/>
                <a:gd name="T3" fmla="*/ 0 h 1360"/>
                <a:gd name="T4" fmla="*/ 2080 w 2080"/>
                <a:gd name="T5" fmla="*/ 0 h 1360"/>
                <a:gd name="T6" fmla="*/ 2080 w 2080"/>
                <a:gd name="T7" fmla="*/ 65 h 1360"/>
                <a:gd name="T8" fmla="*/ 1089 w 2080"/>
                <a:gd name="T9" fmla="*/ 862 h 1360"/>
                <a:gd name="T10" fmla="*/ 991 w 2080"/>
                <a:gd name="T11" fmla="*/ 862 h 1360"/>
                <a:gd name="T12" fmla="*/ 0 w 2080"/>
                <a:gd name="T13" fmla="*/ 65 h 1360"/>
                <a:gd name="T14" fmla="*/ 1139 w 2080"/>
                <a:gd name="T15" fmla="*/ 924 h 1360"/>
                <a:gd name="T16" fmla="*/ 1282 w 2080"/>
                <a:gd name="T17" fmla="*/ 810 h 1360"/>
                <a:gd name="T18" fmla="*/ 2076 w 2080"/>
                <a:gd name="T19" fmla="*/ 1360 h 1360"/>
                <a:gd name="T20" fmla="*/ 4 w 2080"/>
                <a:gd name="T21" fmla="*/ 1360 h 1360"/>
                <a:gd name="T22" fmla="*/ 798 w 2080"/>
                <a:gd name="T23" fmla="*/ 810 h 1360"/>
                <a:gd name="T24" fmla="*/ 941 w 2080"/>
                <a:gd name="T25" fmla="*/ 924 h 1360"/>
                <a:gd name="T26" fmla="*/ 1139 w 2080"/>
                <a:gd name="T27" fmla="*/ 924 h 1360"/>
                <a:gd name="T28" fmla="*/ 2 w 2080"/>
                <a:gd name="T29" fmla="*/ 137 h 1360"/>
                <a:gd name="T30" fmla="*/ 42 w 2080"/>
                <a:gd name="T31" fmla="*/ 201 h 1360"/>
                <a:gd name="T32" fmla="*/ 734 w 2080"/>
                <a:gd name="T33" fmla="*/ 758 h 1360"/>
                <a:gd name="T34" fmla="*/ 0 w 2080"/>
                <a:gd name="T35" fmla="*/ 1266 h 1360"/>
                <a:gd name="T36" fmla="*/ 0 w 2080"/>
                <a:gd name="T37" fmla="*/ 135 h 1360"/>
                <a:gd name="T38" fmla="*/ 2 w 2080"/>
                <a:gd name="T39" fmla="*/ 137 h 1360"/>
                <a:gd name="T40" fmla="*/ 2080 w 2080"/>
                <a:gd name="T41" fmla="*/ 136 h 1360"/>
                <a:gd name="T42" fmla="*/ 2080 w 2080"/>
                <a:gd name="T43" fmla="*/ 1265 h 1360"/>
                <a:gd name="T44" fmla="*/ 1346 w 2080"/>
                <a:gd name="T45" fmla="*/ 758 h 1360"/>
                <a:gd name="T46" fmla="*/ 2038 w 2080"/>
                <a:gd name="T47" fmla="*/ 201 h 1360"/>
                <a:gd name="T48" fmla="*/ 2080 w 2080"/>
                <a:gd name="T49" fmla="*/ 136 h 1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080" h="1360">
                  <a:moveTo>
                    <a:pt x="0" y="65"/>
                  </a:moveTo>
                  <a:cubicBezTo>
                    <a:pt x="0" y="0"/>
                    <a:pt x="0" y="0"/>
                    <a:pt x="0" y="0"/>
                  </a:cubicBezTo>
                  <a:cubicBezTo>
                    <a:pt x="2080" y="0"/>
                    <a:pt x="2080" y="0"/>
                    <a:pt x="2080" y="0"/>
                  </a:cubicBezTo>
                  <a:cubicBezTo>
                    <a:pt x="2080" y="65"/>
                    <a:pt x="2080" y="65"/>
                    <a:pt x="2080" y="65"/>
                  </a:cubicBezTo>
                  <a:cubicBezTo>
                    <a:pt x="1089" y="862"/>
                    <a:pt x="1089" y="862"/>
                    <a:pt x="1089" y="862"/>
                  </a:cubicBezTo>
                  <a:cubicBezTo>
                    <a:pt x="1060" y="886"/>
                    <a:pt x="1020" y="886"/>
                    <a:pt x="991" y="862"/>
                  </a:cubicBezTo>
                  <a:lnTo>
                    <a:pt x="0" y="65"/>
                  </a:lnTo>
                  <a:close/>
                  <a:moveTo>
                    <a:pt x="1139" y="924"/>
                  </a:moveTo>
                  <a:cubicBezTo>
                    <a:pt x="1282" y="810"/>
                    <a:pt x="1282" y="810"/>
                    <a:pt x="1282" y="810"/>
                  </a:cubicBezTo>
                  <a:cubicBezTo>
                    <a:pt x="2076" y="1360"/>
                    <a:pt x="2076" y="1360"/>
                    <a:pt x="2076" y="1360"/>
                  </a:cubicBezTo>
                  <a:cubicBezTo>
                    <a:pt x="4" y="1360"/>
                    <a:pt x="4" y="1360"/>
                    <a:pt x="4" y="1360"/>
                  </a:cubicBezTo>
                  <a:cubicBezTo>
                    <a:pt x="798" y="810"/>
                    <a:pt x="798" y="810"/>
                    <a:pt x="798" y="810"/>
                  </a:cubicBezTo>
                  <a:cubicBezTo>
                    <a:pt x="941" y="924"/>
                    <a:pt x="941" y="924"/>
                    <a:pt x="941" y="924"/>
                  </a:cubicBezTo>
                  <a:cubicBezTo>
                    <a:pt x="1000" y="972"/>
                    <a:pt x="1080" y="972"/>
                    <a:pt x="1139" y="924"/>
                  </a:cubicBezTo>
                  <a:close/>
                  <a:moveTo>
                    <a:pt x="2" y="137"/>
                  </a:moveTo>
                  <a:cubicBezTo>
                    <a:pt x="8" y="163"/>
                    <a:pt x="22" y="185"/>
                    <a:pt x="42" y="201"/>
                  </a:cubicBezTo>
                  <a:cubicBezTo>
                    <a:pt x="734" y="758"/>
                    <a:pt x="734" y="758"/>
                    <a:pt x="734" y="758"/>
                  </a:cubicBezTo>
                  <a:cubicBezTo>
                    <a:pt x="0" y="1266"/>
                    <a:pt x="0" y="1266"/>
                    <a:pt x="0" y="1266"/>
                  </a:cubicBezTo>
                  <a:cubicBezTo>
                    <a:pt x="0" y="135"/>
                    <a:pt x="0" y="135"/>
                    <a:pt x="0" y="135"/>
                  </a:cubicBezTo>
                  <a:lnTo>
                    <a:pt x="2" y="137"/>
                  </a:lnTo>
                  <a:close/>
                  <a:moveTo>
                    <a:pt x="2080" y="136"/>
                  </a:moveTo>
                  <a:cubicBezTo>
                    <a:pt x="2080" y="1265"/>
                    <a:pt x="2080" y="1265"/>
                    <a:pt x="2080" y="1265"/>
                  </a:cubicBezTo>
                  <a:cubicBezTo>
                    <a:pt x="1346" y="758"/>
                    <a:pt x="1346" y="758"/>
                    <a:pt x="1346" y="758"/>
                  </a:cubicBezTo>
                  <a:cubicBezTo>
                    <a:pt x="2038" y="201"/>
                    <a:pt x="2038" y="201"/>
                    <a:pt x="2038" y="201"/>
                  </a:cubicBezTo>
                  <a:cubicBezTo>
                    <a:pt x="2060" y="182"/>
                    <a:pt x="2072" y="162"/>
                    <a:pt x="2080" y="13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000"/>
            </a:p>
          </p:txBody>
        </p:sp>
      </p:grpSp>
      <p:cxnSp>
        <p:nvCxnSpPr>
          <p:cNvPr id="20" name="Straight Connector 19"/>
          <p:cNvCxnSpPr/>
          <p:nvPr/>
        </p:nvCxnSpPr>
        <p:spPr>
          <a:xfrm>
            <a:off x="4451001" y="3494093"/>
            <a:ext cx="2463190" cy="0"/>
          </a:xfrm>
          <a:prstGeom prst="line">
            <a:avLst/>
          </a:prstGeom>
          <a:ln w="6350">
            <a:solidFill>
              <a:schemeClr val="tx2"/>
            </a:solidFill>
            <a:prstDash val="dash"/>
          </a:ln>
        </p:spPr>
        <p:style>
          <a:lnRef idx="1">
            <a:schemeClr val="accent1"/>
          </a:lnRef>
          <a:fillRef idx="0">
            <a:schemeClr val="accent1"/>
          </a:fillRef>
          <a:effectRef idx="0">
            <a:schemeClr val="accent1"/>
          </a:effectRef>
          <a:fontRef idx="minor">
            <a:schemeClr val="tx1"/>
          </a:fontRef>
        </p:style>
      </p:cxnSp>
      <p:sp>
        <p:nvSpPr>
          <p:cNvPr id="6" name="Text Placeholder 5"/>
          <p:cNvSpPr>
            <a:spLocks noGrp="1"/>
          </p:cNvSpPr>
          <p:nvPr>
            <p:ph type="body" sz="quarter" idx="19" hasCustomPrompt="1"/>
          </p:nvPr>
        </p:nvSpPr>
        <p:spPr>
          <a:xfrm>
            <a:off x="4451001" y="1824401"/>
            <a:ext cx="2463190" cy="192360"/>
          </a:xfrm>
        </p:spPr>
        <p:txBody>
          <a:bodyPr lIns="0" tIns="0" rIns="0" bIns="0" anchor="ctr" anchorCtr="0"/>
          <a:lstStyle>
            <a:lvl1pPr marL="0" indent="0" algn="l">
              <a:lnSpc>
                <a:spcPct val="100000"/>
              </a:lnSpc>
              <a:buNone/>
              <a:defRPr sz="100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Country</a:t>
            </a:r>
          </a:p>
        </p:txBody>
      </p:sp>
      <p:sp>
        <p:nvSpPr>
          <p:cNvPr id="26" name="Text Placeholder 5"/>
          <p:cNvSpPr>
            <a:spLocks noGrp="1"/>
          </p:cNvSpPr>
          <p:nvPr>
            <p:ph type="body" sz="quarter" idx="20" hasCustomPrompt="1"/>
          </p:nvPr>
        </p:nvSpPr>
        <p:spPr>
          <a:xfrm>
            <a:off x="4451001" y="2036217"/>
            <a:ext cx="2463190" cy="266182"/>
          </a:xfrm>
        </p:spPr>
        <p:txBody>
          <a:bodyPr lIns="0" tIns="0" rIns="0" bIns="0" anchor="b" anchorCtr="0"/>
          <a:lstStyle>
            <a:lvl1pPr marL="0" indent="0" algn="l">
              <a:lnSpc>
                <a:spcPct val="100000"/>
              </a:lnSpc>
              <a:buNone/>
              <a:defRPr sz="1400" b="1" baseline="0">
                <a:solidFill>
                  <a:schemeClr val="tx2"/>
                </a:solidFill>
              </a:defRPr>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Name, Surname</a:t>
            </a:r>
          </a:p>
        </p:txBody>
      </p:sp>
      <p:sp>
        <p:nvSpPr>
          <p:cNvPr id="27" name="Text Placeholder 5"/>
          <p:cNvSpPr>
            <a:spLocks noGrp="1"/>
          </p:cNvSpPr>
          <p:nvPr>
            <p:ph type="body" sz="quarter" idx="21" hasCustomPrompt="1"/>
          </p:nvPr>
        </p:nvSpPr>
        <p:spPr>
          <a:xfrm>
            <a:off x="4451001" y="2332792"/>
            <a:ext cx="2463190"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Job Position</a:t>
            </a:r>
          </a:p>
        </p:txBody>
      </p:sp>
      <p:sp>
        <p:nvSpPr>
          <p:cNvPr id="28" name="Text Placeholder 5"/>
          <p:cNvSpPr>
            <a:spLocks noGrp="1"/>
          </p:cNvSpPr>
          <p:nvPr>
            <p:ph type="body" sz="quarter" idx="22" hasCustomPrompt="1"/>
          </p:nvPr>
        </p:nvSpPr>
        <p:spPr>
          <a:xfrm>
            <a:off x="4695884" y="2861468"/>
            <a:ext cx="2218307"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Phone number</a:t>
            </a:r>
          </a:p>
        </p:txBody>
      </p:sp>
      <p:sp>
        <p:nvSpPr>
          <p:cNvPr id="29" name="Text Placeholder 5"/>
          <p:cNvSpPr>
            <a:spLocks noGrp="1"/>
          </p:cNvSpPr>
          <p:nvPr>
            <p:ph type="body" sz="quarter" idx="23" hasCustomPrompt="1"/>
          </p:nvPr>
        </p:nvSpPr>
        <p:spPr>
          <a:xfrm>
            <a:off x="4695884" y="3144275"/>
            <a:ext cx="2218307"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Email address</a:t>
            </a:r>
          </a:p>
        </p:txBody>
      </p:sp>
      <p:sp>
        <p:nvSpPr>
          <p:cNvPr id="35" name="Text Placeholder 34"/>
          <p:cNvSpPr>
            <a:spLocks noGrp="1"/>
          </p:cNvSpPr>
          <p:nvPr>
            <p:ph type="body" sz="quarter" idx="24" hasCustomPrompt="1"/>
          </p:nvPr>
        </p:nvSpPr>
        <p:spPr>
          <a:xfrm>
            <a:off x="4492626" y="3681413"/>
            <a:ext cx="4492594" cy="2087562"/>
          </a:xfrm>
        </p:spPr>
        <p:txBody>
          <a:bodyPr/>
          <a:lstStyle>
            <a:lvl1pPr>
              <a:defRPr sz="1400" baseline="0"/>
            </a:lvl1pPr>
            <a:lvl2pPr>
              <a:defRPr sz="1400"/>
            </a:lvl2pPr>
            <a:lvl3pPr>
              <a:defRPr sz="1400"/>
            </a:lvl3pPr>
            <a:lvl4pPr>
              <a:defRPr sz="1400"/>
            </a:lvl4pPr>
            <a:lvl5pPr>
              <a:defRPr sz="1400"/>
            </a:lvl5pPr>
          </a:lstStyle>
          <a:p>
            <a:pPr lvl="0"/>
            <a:r>
              <a:rPr lang="en-US"/>
              <a:t>Additional information (if needed)</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72574898"/>
      </p:ext>
    </p:extLst>
  </p:cSld>
  <p:clrMapOvr>
    <a:masterClrMapping/>
  </p:clrMapOvr>
</p:sldLayout>
</file>

<file path=ppt/slideLayouts/slideLayout408.xml><?xml version="1.0" encoding="utf-8"?>
<p:sldLayout xmlns:a="http://schemas.openxmlformats.org/drawingml/2006/main" xmlns:r="http://schemas.openxmlformats.org/officeDocument/2006/relationships" xmlns:p="http://schemas.openxmlformats.org/presentationml/2006/main" preserve="1">
  <p:cSld name="Two contacts">
    <p:spTree>
      <p:nvGrpSpPr>
        <p:cNvPr id="1" name=""/>
        <p:cNvGrpSpPr/>
        <p:nvPr/>
      </p:nvGrpSpPr>
      <p:grpSpPr>
        <a:xfrm>
          <a:off x="0" y="0"/>
          <a:ext cx="0" cy="0"/>
          <a:chOff x="0" y="0"/>
          <a:chExt cx="0" cy="0"/>
        </a:xfrm>
      </p:grpSpPr>
      <p:sp>
        <p:nvSpPr>
          <p:cNvPr id="21" name="Date Placeholder 20"/>
          <p:cNvSpPr>
            <a:spLocks noGrp="1"/>
          </p:cNvSpPr>
          <p:nvPr>
            <p:ph type="dt" sz="half" idx="14"/>
          </p:nvPr>
        </p:nvSpPr>
        <p:spPr/>
        <p:txBody>
          <a:bodyPr/>
          <a:lstStyle/>
          <a:p>
            <a:endParaRPr lang="en-US"/>
          </a:p>
        </p:txBody>
      </p:sp>
      <p:sp>
        <p:nvSpPr>
          <p:cNvPr id="22" name="Footer Placeholder 21"/>
          <p:cNvSpPr>
            <a:spLocks noGrp="1"/>
          </p:cNvSpPr>
          <p:nvPr>
            <p:ph type="ftr" sz="quarter" idx="15"/>
          </p:nvPr>
        </p:nvSpPr>
        <p:spPr/>
        <p:txBody>
          <a:bodyPr/>
          <a:lstStyle/>
          <a:p>
            <a:endParaRPr lang="en-US"/>
          </a:p>
        </p:txBody>
      </p:sp>
      <p:sp>
        <p:nvSpPr>
          <p:cNvPr id="23" name="Slide Number Placeholder 22"/>
          <p:cNvSpPr>
            <a:spLocks noGrp="1"/>
          </p:cNvSpPr>
          <p:nvPr>
            <p:ph type="sldNum" sz="quarter" idx="16"/>
          </p:nvPr>
        </p:nvSpPr>
        <p:spPr/>
        <p:txBody>
          <a:bodyPr/>
          <a:lstStyle/>
          <a:p>
            <a:fld id="{5F3E29E4-0979-4FCA-B4C5-5FC6044C982A}" type="slidenum">
              <a:rPr lang="en-US" smtClean="0"/>
              <a:t>‹#›</a:t>
            </a:fld>
            <a:endParaRPr lang="en-US"/>
          </a:p>
        </p:txBody>
      </p:sp>
      <p:sp>
        <p:nvSpPr>
          <p:cNvPr id="2" name="Title 1"/>
          <p:cNvSpPr>
            <a:spLocks noGrp="1"/>
          </p:cNvSpPr>
          <p:nvPr>
            <p:ph type="title" hasCustomPrompt="1"/>
          </p:nvPr>
        </p:nvSpPr>
        <p:spPr/>
        <p:txBody>
          <a:bodyPr/>
          <a:lstStyle>
            <a:lvl1pPr>
              <a:defRPr/>
            </a:lvl1pPr>
          </a:lstStyle>
          <a:p>
            <a:r>
              <a:rPr lang="en-US"/>
              <a:t>Click to add contact title</a:t>
            </a:r>
          </a:p>
        </p:txBody>
      </p:sp>
      <p:sp>
        <p:nvSpPr>
          <p:cNvPr id="7" name="Subtitle 2"/>
          <p:cNvSpPr>
            <a:spLocks noGrp="1"/>
          </p:cNvSpPr>
          <p:nvPr>
            <p:ph type="subTitle" idx="13" hasCustomPrompt="1"/>
          </p:nvPr>
        </p:nvSpPr>
        <p:spPr>
          <a:xfrm>
            <a:off x="1075061" y="964671"/>
            <a:ext cx="7910158" cy="490042"/>
          </a:xfrm>
        </p:spPr>
        <p:txBody>
          <a:bodyPr wrap="none"/>
          <a:lstStyle>
            <a:lvl1pPr marL="0" indent="0" algn="l">
              <a:spcBef>
                <a:spcPts val="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grpSp>
        <p:nvGrpSpPr>
          <p:cNvPr id="8" name="Gruppieren 80">
            <a:extLst>
              <a:ext uri="{FF2B5EF4-FFF2-40B4-BE49-F238E27FC236}">
                <a16:creationId xmlns:a16="http://schemas.microsoft.com/office/drawing/2014/main" id="{6B969E7B-9C39-4443-9B02-74C1E7C5CCAC}"/>
              </a:ext>
            </a:extLst>
          </p:cNvPr>
          <p:cNvGrpSpPr/>
          <p:nvPr/>
        </p:nvGrpSpPr>
        <p:grpSpPr>
          <a:xfrm>
            <a:off x="3770065" y="2868319"/>
            <a:ext cx="171180" cy="171180"/>
            <a:chOff x="3392092" y="1841122"/>
            <a:chExt cx="646508" cy="646508"/>
          </a:xfrm>
        </p:grpSpPr>
        <p:sp>
          <p:nvSpPr>
            <p:cNvPr id="9" name="Rechteck 14">
              <a:extLst>
                <a:ext uri="{FF2B5EF4-FFF2-40B4-BE49-F238E27FC236}">
                  <a16:creationId xmlns:a16="http://schemas.microsoft.com/office/drawing/2014/main" id="{D78F58EA-5525-8D43-8295-FEA52ECF6BFA}"/>
                </a:ext>
              </a:extLst>
            </p:cNvPr>
            <p:cNvSpPr>
              <a:spLocks noChangeAspect="1"/>
            </p:cNvSpPr>
            <p:nvPr/>
          </p:nvSpPr>
          <p:spPr bwMode="gray">
            <a:xfrm>
              <a:off x="3392092" y="1841122"/>
              <a:ext cx="646508" cy="646508"/>
            </a:xfrm>
            <a:prstGeom prst="rect">
              <a:avLst/>
            </a:prstGeom>
            <a:solidFill>
              <a:srgbClr val="E55A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pPr>
              <a:endParaRPr lang="en-US" sz="1000">
                <a:solidFill>
                  <a:schemeClr val="tx1"/>
                </a:solidFill>
                <a:latin typeface="Arial" pitchFamily="34" charset="0"/>
                <a:cs typeface="Arial" pitchFamily="34" charset="0"/>
              </a:endParaRPr>
            </a:p>
          </p:txBody>
        </p:sp>
        <p:sp>
          <p:nvSpPr>
            <p:cNvPr id="10" name="Freeform 67">
              <a:extLst>
                <a:ext uri="{FF2B5EF4-FFF2-40B4-BE49-F238E27FC236}">
                  <a16:creationId xmlns:a16="http://schemas.microsoft.com/office/drawing/2014/main" id="{D01A6292-2776-4945-B828-483D79DC4908}"/>
                </a:ext>
              </a:extLst>
            </p:cNvPr>
            <p:cNvSpPr>
              <a:spLocks noChangeAspect="1"/>
            </p:cNvSpPr>
            <p:nvPr/>
          </p:nvSpPr>
          <p:spPr bwMode="auto">
            <a:xfrm>
              <a:off x="3546638" y="1970424"/>
              <a:ext cx="337415" cy="387905"/>
            </a:xfrm>
            <a:custGeom>
              <a:avLst/>
              <a:gdLst>
                <a:gd name="T0" fmla="*/ 573 w 1624"/>
                <a:gd name="T1" fmla="*/ 1257 h 1867"/>
                <a:gd name="T2" fmla="*/ 662 w 1624"/>
                <a:gd name="T3" fmla="*/ 1288 h 1867"/>
                <a:gd name="T4" fmla="*/ 938 w 1624"/>
                <a:gd name="T5" fmla="*/ 1051 h 1867"/>
                <a:gd name="T6" fmla="*/ 1106 w 1624"/>
                <a:gd name="T7" fmla="*/ 731 h 1867"/>
                <a:gd name="T8" fmla="*/ 1059 w 1624"/>
                <a:gd name="T9" fmla="*/ 645 h 1867"/>
                <a:gd name="T10" fmla="*/ 1001 w 1624"/>
                <a:gd name="T11" fmla="*/ 613 h 1867"/>
                <a:gd name="T12" fmla="*/ 924 w 1624"/>
                <a:gd name="T13" fmla="*/ 432 h 1867"/>
                <a:gd name="T14" fmla="*/ 1114 w 1624"/>
                <a:gd name="T15" fmla="*/ 81 h 1867"/>
                <a:gd name="T16" fmla="*/ 1287 w 1624"/>
                <a:gd name="T17" fmla="*/ 35 h 1867"/>
                <a:gd name="T18" fmla="*/ 1350 w 1624"/>
                <a:gd name="T19" fmla="*/ 69 h 1867"/>
                <a:gd name="T20" fmla="*/ 1527 w 1624"/>
                <a:gd name="T21" fmla="*/ 235 h 1867"/>
                <a:gd name="T22" fmla="*/ 1583 w 1624"/>
                <a:gd name="T23" fmla="*/ 555 h 1867"/>
                <a:gd name="T24" fmla="*/ 1172 w 1624"/>
                <a:gd name="T25" fmla="*/ 1253 h 1867"/>
                <a:gd name="T26" fmla="*/ 586 w 1624"/>
                <a:gd name="T27" fmla="*/ 1803 h 1867"/>
                <a:gd name="T28" fmla="*/ 269 w 1624"/>
                <a:gd name="T29" fmla="*/ 1807 h 1867"/>
                <a:gd name="T30" fmla="*/ 33 w 1624"/>
                <a:gd name="T31" fmla="*/ 1602 h 1867"/>
                <a:gd name="T32" fmla="*/ 2 w 1624"/>
                <a:gd name="T33" fmla="*/ 1508 h 1867"/>
                <a:gd name="T34" fmla="*/ 45 w 1624"/>
                <a:gd name="T35" fmla="*/ 1421 h 1867"/>
                <a:gd name="T36" fmla="*/ 346 w 1624"/>
                <a:gd name="T37" fmla="*/ 1158 h 1867"/>
                <a:gd name="T38" fmla="*/ 448 w 1624"/>
                <a:gd name="T39" fmla="*/ 1145 h 1867"/>
                <a:gd name="T40" fmla="*/ 573 w 1624"/>
                <a:gd name="T41" fmla="*/ 1257 h 18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24" h="1867">
                  <a:moveTo>
                    <a:pt x="573" y="1257"/>
                  </a:moveTo>
                  <a:cubicBezTo>
                    <a:pt x="592" y="1282"/>
                    <a:pt x="630" y="1303"/>
                    <a:pt x="662" y="1288"/>
                  </a:cubicBezTo>
                  <a:cubicBezTo>
                    <a:pt x="753" y="1245"/>
                    <a:pt x="854" y="1156"/>
                    <a:pt x="938" y="1051"/>
                  </a:cubicBezTo>
                  <a:cubicBezTo>
                    <a:pt x="1020" y="948"/>
                    <a:pt x="1084" y="831"/>
                    <a:pt x="1106" y="731"/>
                  </a:cubicBezTo>
                  <a:cubicBezTo>
                    <a:pt x="1113" y="696"/>
                    <a:pt x="1089" y="661"/>
                    <a:pt x="1059" y="645"/>
                  </a:cubicBezTo>
                  <a:cubicBezTo>
                    <a:pt x="1001" y="613"/>
                    <a:pt x="1001" y="613"/>
                    <a:pt x="1001" y="613"/>
                  </a:cubicBezTo>
                  <a:cubicBezTo>
                    <a:pt x="942" y="580"/>
                    <a:pt x="888" y="499"/>
                    <a:pt x="924" y="432"/>
                  </a:cubicBezTo>
                  <a:cubicBezTo>
                    <a:pt x="1114" y="81"/>
                    <a:pt x="1114" y="81"/>
                    <a:pt x="1114" y="81"/>
                  </a:cubicBezTo>
                  <a:cubicBezTo>
                    <a:pt x="1150" y="16"/>
                    <a:pt x="1224" y="0"/>
                    <a:pt x="1287" y="35"/>
                  </a:cubicBezTo>
                  <a:cubicBezTo>
                    <a:pt x="1350" y="69"/>
                    <a:pt x="1350" y="69"/>
                    <a:pt x="1350" y="69"/>
                  </a:cubicBezTo>
                  <a:cubicBezTo>
                    <a:pt x="1415" y="105"/>
                    <a:pt x="1479" y="165"/>
                    <a:pt x="1527" y="235"/>
                  </a:cubicBezTo>
                  <a:cubicBezTo>
                    <a:pt x="1593" y="332"/>
                    <a:pt x="1624" y="442"/>
                    <a:pt x="1583" y="555"/>
                  </a:cubicBezTo>
                  <a:cubicBezTo>
                    <a:pt x="1500" y="781"/>
                    <a:pt x="1351" y="1030"/>
                    <a:pt x="1172" y="1253"/>
                  </a:cubicBezTo>
                  <a:cubicBezTo>
                    <a:pt x="994" y="1477"/>
                    <a:pt x="786" y="1676"/>
                    <a:pt x="586" y="1803"/>
                  </a:cubicBezTo>
                  <a:cubicBezTo>
                    <a:pt x="486" y="1867"/>
                    <a:pt x="375" y="1856"/>
                    <a:pt x="269" y="1807"/>
                  </a:cubicBezTo>
                  <a:cubicBezTo>
                    <a:pt x="157" y="1755"/>
                    <a:pt x="106" y="1695"/>
                    <a:pt x="33" y="1602"/>
                  </a:cubicBezTo>
                  <a:cubicBezTo>
                    <a:pt x="11" y="1573"/>
                    <a:pt x="0" y="1540"/>
                    <a:pt x="2" y="1508"/>
                  </a:cubicBezTo>
                  <a:cubicBezTo>
                    <a:pt x="4" y="1475"/>
                    <a:pt x="18" y="1444"/>
                    <a:pt x="45" y="1421"/>
                  </a:cubicBezTo>
                  <a:cubicBezTo>
                    <a:pt x="70" y="1399"/>
                    <a:pt x="346" y="1158"/>
                    <a:pt x="346" y="1158"/>
                  </a:cubicBezTo>
                  <a:cubicBezTo>
                    <a:pt x="376" y="1134"/>
                    <a:pt x="413" y="1133"/>
                    <a:pt x="448" y="1145"/>
                  </a:cubicBezTo>
                  <a:cubicBezTo>
                    <a:pt x="510" y="1166"/>
                    <a:pt x="536" y="1210"/>
                    <a:pt x="573" y="1257"/>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351"/>
            </a:p>
          </p:txBody>
        </p:sp>
      </p:grpSp>
      <p:grpSp>
        <p:nvGrpSpPr>
          <p:cNvPr id="11" name="Group 3">
            <a:extLst>
              <a:ext uri="{FF2B5EF4-FFF2-40B4-BE49-F238E27FC236}">
                <a16:creationId xmlns:a16="http://schemas.microsoft.com/office/drawing/2014/main" id="{DED6A25A-5DE2-1441-8BA2-C68D3B4F9209}"/>
              </a:ext>
            </a:extLst>
          </p:cNvPr>
          <p:cNvGrpSpPr>
            <a:grpSpLocks noChangeAspect="1"/>
          </p:cNvGrpSpPr>
          <p:nvPr>
            <p:custDataLst>
              <p:tags r:id="rId1"/>
            </p:custDataLst>
          </p:nvPr>
        </p:nvGrpSpPr>
        <p:grpSpPr>
          <a:xfrm>
            <a:off x="3770066" y="3153207"/>
            <a:ext cx="171180" cy="171180"/>
            <a:chOff x="328396" y="5313940"/>
            <a:chExt cx="720000" cy="720000"/>
          </a:xfrm>
        </p:grpSpPr>
        <p:sp>
          <p:nvSpPr>
            <p:cNvPr id="12" name="Rectangle 4">
              <a:extLst>
                <a:ext uri="{FF2B5EF4-FFF2-40B4-BE49-F238E27FC236}">
                  <a16:creationId xmlns:a16="http://schemas.microsoft.com/office/drawing/2014/main" id="{5F49E67F-D4FA-9D48-96BC-59AE946ECD15}"/>
                </a:ext>
              </a:extLst>
            </p:cNvPr>
            <p:cNvSpPr/>
            <p:nvPr/>
          </p:nvSpPr>
          <p:spPr bwMode="gray">
            <a:xfrm>
              <a:off x="328396" y="5313940"/>
              <a:ext cx="720000" cy="720000"/>
            </a:xfrm>
            <a:prstGeom prst="rect">
              <a:avLst/>
            </a:prstGeom>
            <a:solidFill>
              <a:srgbClr val="E55A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pPr>
              <a:endParaRPr lang="en-US" sz="1000">
                <a:solidFill>
                  <a:schemeClr val="tx1"/>
                </a:solidFill>
                <a:latin typeface="Arial" pitchFamily="34" charset="0"/>
                <a:cs typeface="Arial" pitchFamily="34" charset="0"/>
              </a:endParaRPr>
            </a:p>
          </p:txBody>
        </p:sp>
        <p:sp>
          <p:nvSpPr>
            <p:cNvPr id="13" name="Freeform 76">
              <a:extLst>
                <a:ext uri="{FF2B5EF4-FFF2-40B4-BE49-F238E27FC236}">
                  <a16:creationId xmlns:a16="http://schemas.microsoft.com/office/drawing/2014/main" id="{187E70E6-AF3F-2549-908E-DF4BA61040AA}"/>
                </a:ext>
              </a:extLst>
            </p:cNvPr>
            <p:cNvSpPr>
              <a:spLocks noChangeAspect="1" noEditPoints="1"/>
            </p:cNvSpPr>
            <p:nvPr/>
          </p:nvSpPr>
          <p:spPr bwMode="auto">
            <a:xfrm>
              <a:off x="456202" y="5509222"/>
              <a:ext cx="504000" cy="329436"/>
            </a:xfrm>
            <a:custGeom>
              <a:avLst/>
              <a:gdLst>
                <a:gd name="T0" fmla="*/ 0 w 2080"/>
                <a:gd name="T1" fmla="*/ 65 h 1360"/>
                <a:gd name="T2" fmla="*/ 0 w 2080"/>
                <a:gd name="T3" fmla="*/ 0 h 1360"/>
                <a:gd name="T4" fmla="*/ 2080 w 2080"/>
                <a:gd name="T5" fmla="*/ 0 h 1360"/>
                <a:gd name="T6" fmla="*/ 2080 w 2080"/>
                <a:gd name="T7" fmla="*/ 65 h 1360"/>
                <a:gd name="T8" fmla="*/ 1089 w 2080"/>
                <a:gd name="T9" fmla="*/ 862 h 1360"/>
                <a:gd name="T10" fmla="*/ 991 w 2080"/>
                <a:gd name="T11" fmla="*/ 862 h 1360"/>
                <a:gd name="T12" fmla="*/ 0 w 2080"/>
                <a:gd name="T13" fmla="*/ 65 h 1360"/>
                <a:gd name="T14" fmla="*/ 1139 w 2080"/>
                <a:gd name="T15" fmla="*/ 924 h 1360"/>
                <a:gd name="T16" fmla="*/ 1282 w 2080"/>
                <a:gd name="T17" fmla="*/ 810 h 1360"/>
                <a:gd name="T18" fmla="*/ 2076 w 2080"/>
                <a:gd name="T19" fmla="*/ 1360 h 1360"/>
                <a:gd name="T20" fmla="*/ 4 w 2080"/>
                <a:gd name="T21" fmla="*/ 1360 h 1360"/>
                <a:gd name="T22" fmla="*/ 798 w 2080"/>
                <a:gd name="T23" fmla="*/ 810 h 1360"/>
                <a:gd name="T24" fmla="*/ 941 w 2080"/>
                <a:gd name="T25" fmla="*/ 924 h 1360"/>
                <a:gd name="T26" fmla="*/ 1139 w 2080"/>
                <a:gd name="T27" fmla="*/ 924 h 1360"/>
                <a:gd name="T28" fmla="*/ 2 w 2080"/>
                <a:gd name="T29" fmla="*/ 137 h 1360"/>
                <a:gd name="T30" fmla="*/ 42 w 2080"/>
                <a:gd name="T31" fmla="*/ 201 h 1360"/>
                <a:gd name="T32" fmla="*/ 734 w 2080"/>
                <a:gd name="T33" fmla="*/ 758 h 1360"/>
                <a:gd name="T34" fmla="*/ 0 w 2080"/>
                <a:gd name="T35" fmla="*/ 1266 h 1360"/>
                <a:gd name="T36" fmla="*/ 0 w 2080"/>
                <a:gd name="T37" fmla="*/ 135 h 1360"/>
                <a:gd name="T38" fmla="*/ 2 w 2080"/>
                <a:gd name="T39" fmla="*/ 137 h 1360"/>
                <a:gd name="T40" fmla="*/ 2080 w 2080"/>
                <a:gd name="T41" fmla="*/ 136 h 1360"/>
                <a:gd name="T42" fmla="*/ 2080 w 2080"/>
                <a:gd name="T43" fmla="*/ 1265 h 1360"/>
                <a:gd name="T44" fmla="*/ 1346 w 2080"/>
                <a:gd name="T45" fmla="*/ 758 h 1360"/>
                <a:gd name="T46" fmla="*/ 2038 w 2080"/>
                <a:gd name="T47" fmla="*/ 201 h 1360"/>
                <a:gd name="T48" fmla="*/ 2080 w 2080"/>
                <a:gd name="T49" fmla="*/ 136 h 1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080" h="1360">
                  <a:moveTo>
                    <a:pt x="0" y="65"/>
                  </a:moveTo>
                  <a:cubicBezTo>
                    <a:pt x="0" y="0"/>
                    <a:pt x="0" y="0"/>
                    <a:pt x="0" y="0"/>
                  </a:cubicBezTo>
                  <a:cubicBezTo>
                    <a:pt x="2080" y="0"/>
                    <a:pt x="2080" y="0"/>
                    <a:pt x="2080" y="0"/>
                  </a:cubicBezTo>
                  <a:cubicBezTo>
                    <a:pt x="2080" y="65"/>
                    <a:pt x="2080" y="65"/>
                    <a:pt x="2080" y="65"/>
                  </a:cubicBezTo>
                  <a:cubicBezTo>
                    <a:pt x="1089" y="862"/>
                    <a:pt x="1089" y="862"/>
                    <a:pt x="1089" y="862"/>
                  </a:cubicBezTo>
                  <a:cubicBezTo>
                    <a:pt x="1060" y="886"/>
                    <a:pt x="1020" y="886"/>
                    <a:pt x="991" y="862"/>
                  </a:cubicBezTo>
                  <a:lnTo>
                    <a:pt x="0" y="65"/>
                  </a:lnTo>
                  <a:close/>
                  <a:moveTo>
                    <a:pt x="1139" y="924"/>
                  </a:moveTo>
                  <a:cubicBezTo>
                    <a:pt x="1282" y="810"/>
                    <a:pt x="1282" y="810"/>
                    <a:pt x="1282" y="810"/>
                  </a:cubicBezTo>
                  <a:cubicBezTo>
                    <a:pt x="2076" y="1360"/>
                    <a:pt x="2076" y="1360"/>
                    <a:pt x="2076" y="1360"/>
                  </a:cubicBezTo>
                  <a:cubicBezTo>
                    <a:pt x="4" y="1360"/>
                    <a:pt x="4" y="1360"/>
                    <a:pt x="4" y="1360"/>
                  </a:cubicBezTo>
                  <a:cubicBezTo>
                    <a:pt x="798" y="810"/>
                    <a:pt x="798" y="810"/>
                    <a:pt x="798" y="810"/>
                  </a:cubicBezTo>
                  <a:cubicBezTo>
                    <a:pt x="941" y="924"/>
                    <a:pt x="941" y="924"/>
                    <a:pt x="941" y="924"/>
                  </a:cubicBezTo>
                  <a:cubicBezTo>
                    <a:pt x="1000" y="972"/>
                    <a:pt x="1080" y="972"/>
                    <a:pt x="1139" y="924"/>
                  </a:cubicBezTo>
                  <a:close/>
                  <a:moveTo>
                    <a:pt x="2" y="137"/>
                  </a:moveTo>
                  <a:cubicBezTo>
                    <a:pt x="8" y="163"/>
                    <a:pt x="22" y="185"/>
                    <a:pt x="42" y="201"/>
                  </a:cubicBezTo>
                  <a:cubicBezTo>
                    <a:pt x="734" y="758"/>
                    <a:pt x="734" y="758"/>
                    <a:pt x="734" y="758"/>
                  </a:cubicBezTo>
                  <a:cubicBezTo>
                    <a:pt x="0" y="1266"/>
                    <a:pt x="0" y="1266"/>
                    <a:pt x="0" y="1266"/>
                  </a:cubicBezTo>
                  <a:cubicBezTo>
                    <a:pt x="0" y="135"/>
                    <a:pt x="0" y="135"/>
                    <a:pt x="0" y="135"/>
                  </a:cubicBezTo>
                  <a:lnTo>
                    <a:pt x="2" y="137"/>
                  </a:lnTo>
                  <a:close/>
                  <a:moveTo>
                    <a:pt x="2080" y="136"/>
                  </a:moveTo>
                  <a:cubicBezTo>
                    <a:pt x="2080" y="1265"/>
                    <a:pt x="2080" y="1265"/>
                    <a:pt x="2080" y="1265"/>
                  </a:cubicBezTo>
                  <a:cubicBezTo>
                    <a:pt x="1346" y="758"/>
                    <a:pt x="1346" y="758"/>
                    <a:pt x="1346" y="758"/>
                  </a:cubicBezTo>
                  <a:cubicBezTo>
                    <a:pt x="2038" y="201"/>
                    <a:pt x="2038" y="201"/>
                    <a:pt x="2038" y="201"/>
                  </a:cubicBezTo>
                  <a:cubicBezTo>
                    <a:pt x="2060" y="182"/>
                    <a:pt x="2072" y="162"/>
                    <a:pt x="2080" y="13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000"/>
            </a:p>
          </p:txBody>
        </p:sp>
      </p:grpSp>
      <p:grpSp>
        <p:nvGrpSpPr>
          <p:cNvPr id="14" name="Gruppieren 2">
            <a:extLst>
              <a:ext uri="{FF2B5EF4-FFF2-40B4-BE49-F238E27FC236}">
                <a16:creationId xmlns:a16="http://schemas.microsoft.com/office/drawing/2014/main" id="{BE697CE9-EBDE-6B4A-BE70-582D92A8A831}"/>
              </a:ext>
            </a:extLst>
          </p:cNvPr>
          <p:cNvGrpSpPr/>
          <p:nvPr/>
        </p:nvGrpSpPr>
        <p:grpSpPr>
          <a:xfrm>
            <a:off x="8701917" y="2868319"/>
            <a:ext cx="171180" cy="171180"/>
            <a:chOff x="3392092" y="1841122"/>
            <a:chExt cx="646508" cy="646508"/>
          </a:xfrm>
        </p:grpSpPr>
        <p:sp>
          <p:nvSpPr>
            <p:cNvPr id="15" name="Rechteck 14">
              <a:extLst>
                <a:ext uri="{FF2B5EF4-FFF2-40B4-BE49-F238E27FC236}">
                  <a16:creationId xmlns:a16="http://schemas.microsoft.com/office/drawing/2014/main" id="{E142A731-19B7-C34D-9534-9E05108F895F}"/>
                </a:ext>
              </a:extLst>
            </p:cNvPr>
            <p:cNvSpPr>
              <a:spLocks noChangeAspect="1"/>
            </p:cNvSpPr>
            <p:nvPr/>
          </p:nvSpPr>
          <p:spPr bwMode="gray">
            <a:xfrm>
              <a:off x="3392092" y="1841122"/>
              <a:ext cx="646508" cy="646508"/>
            </a:xfrm>
            <a:prstGeom prst="rect">
              <a:avLst/>
            </a:prstGeom>
            <a:solidFill>
              <a:srgbClr val="E55A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pPr>
              <a:endParaRPr lang="en-US" sz="1000">
                <a:solidFill>
                  <a:schemeClr val="tx1"/>
                </a:solidFill>
                <a:latin typeface="Arial" pitchFamily="34" charset="0"/>
                <a:cs typeface="Arial" pitchFamily="34" charset="0"/>
              </a:endParaRPr>
            </a:p>
          </p:txBody>
        </p:sp>
        <p:sp>
          <p:nvSpPr>
            <p:cNvPr id="16" name="Freeform 15">
              <a:extLst>
                <a:ext uri="{FF2B5EF4-FFF2-40B4-BE49-F238E27FC236}">
                  <a16:creationId xmlns:a16="http://schemas.microsoft.com/office/drawing/2014/main" id="{F97E84AE-4AD9-4B44-9AA1-F797FC373809}"/>
                </a:ext>
              </a:extLst>
            </p:cNvPr>
            <p:cNvSpPr>
              <a:spLocks noChangeAspect="1"/>
            </p:cNvSpPr>
            <p:nvPr/>
          </p:nvSpPr>
          <p:spPr bwMode="auto">
            <a:xfrm>
              <a:off x="3546638" y="1970424"/>
              <a:ext cx="337415" cy="387905"/>
            </a:xfrm>
            <a:custGeom>
              <a:avLst/>
              <a:gdLst>
                <a:gd name="T0" fmla="*/ 573 w 1624"/>
                <a:gd name="T1" fmla="*/ 1257 h 1867"/>
                <a:gd name="T2" fmla="*/ 662 w 1624"/>
                <a:gd name="T3" fmla="*/ 1288 h 1867"/>
                <a:gd name="T4" fmla="*/ 938 w 1624"/>
                <a:gd name="T5" fmla="*/ 1051 h 1867"/>
                <a:gd name="T6" fmla="*/ 1106 w 1624"/>
                <a:gd name="T7" fmla="*/ 731 h 1867"/>
                <a:gd name="T8" fmla="*/ 1059 w 1624"/>
                <a:gd name="T9" fmla="*/ 645 h 1867"/>
                <a:gd name="T10" fmla="*/ 1001 w 1624"/>
                <a:gd name="T11" fmla="*/ 613 h 1867"/>
                <a:gd name="T12" fmla="*/ 924 w 1624"/>
                <a:gd name="T13" fmla="*/ 432 h 1867"/>
                <a:gd name="T14" fmla="*/ 1114 w 1624"/>
                <a:gd name="T15" fmla="*/ 81 h 1867"/>
                <a:gd name="T16" fmla="*/ 1287 w 1624"/>
                <a:gd name="T17" fmla="*/ 35 h 1867"/>
                <a:gd name="T18" fmla="*/ 1350 w 1624"/>
                <a:gd name="T19" fmla="*/ 69 h 1867"/>
                <a:gd name="T20" fmla="*/ 1527 w 1624"/>
                <a:gd name="T21" fmla="*/ 235 h 1867"/>
                <a:gd name="T22" fmla="*/ 1583 w 1624"/>
                <a:gd name="T23" fmla="*/ 555 h 1867"/>
                <a:gd name="T24" fmla="*/ 1172 w 1624"/>
                <a:gd name="T25" fmla="*/ 1253 h 1867"/>
                <a:gd name="T26" fmla="*/ 586 w 1624"/>
                <a:gd name="T27" fmla="*/ 1803 h 1867"/>
                <a:gd name="T28" fmla="*/ 269 w 1624"/>
                <a:gd name="T29" fmla="*/ 1807 h 1867"/>
                <a:gd name="T30" fmla="*/ 33 w 1624"/>
                <a:gd name="T31" fmla="*/ 1602 h 1867"/>
                <a:gd name="T32" fmla="*/ 2 w 1624"/>
                <a:gd name="T33" fmla="*/ 1508 h 1867"/>
                <a:gd name="T34" fmla="*/ 45 w 1624"/>
                <a:gd name="T35" fmla="*/ 1421 h 1867"/>
                <a:gd name="T36" fmla="*/ 346 w 1624"/>
                <a:gd name="T37" fmla="*/ 1158 h 1867"/>
                <a:gd name="T38" fmla="*/ 448 w 1624"/>
                <a:gd name="T39" fmla="*/ 1145 h 1867"/>
                <a:gd name="T40" fmla="*/ 573 w 1624"/>
                <a:gd name="T41" fmla="*/ 1257 h 18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24" h="1867">
                  <a:moveTo>
                    <a:pt x="573" y="1257"/>
                  </a:moveTo>
                  <a:cubicBezTo>
                    <a:pt x="592" y="1282"/>
                    <a:pt x="630" y="1303"/>
                    <a:pt x="662" y="1288"/>
                  </a:cubicBezTo>
                  <a:cubicBezTo>
                    <a:pt x="753" y="1245"/>
                    <a:pt x="854" y="1156"/>
                    <a:pt x="938" y="1051"/>
                  </a:cubicBezTo>
                  <a:cubicBezTo>
                    <a:pt x="1020" y="948"/>
                    <a:pt x="1084" y="831"/>
                    <a:pt x="1106" y="731"/>
                  </a:cubicBezTo>
                  <a:cubicBezTo>
                    <a:pt x="1113" y="696"/>
                    <a:pt x="1089" y="661"/>
                    <a:pt x="1059" y="645"/>
                  </a:cubicBezTo>
                  <a:cubicBezTo>
                    <a:pt x="1001" y="613"/>
                    <a:pt x="1001" y="613"/>
                    <a:pt x="1001" y="613"/>
                  </a:cubicBezTo>
                  <a:cubicBezTo>
                    <a:pt x="942" y="580"/>
                    <a:pt x="888" y="499"/>
                    <a:pt x="924" y="432"/>
                  </a:cubicBezTo>
                  <a:cubicBezTo>
                    <a:pt x="1114" y="81"/>
                    <a:pt x="1114" y="81"/>
                    <a:pt x="1114" y="81"/>
                  </a:cubicBezTo>
                  <a:cubicBezTo>
                    <a:pt x="1150" y="16"/>
                    <a:pt x="1224" y="0"/>
                    <a:pt x="1287" y="35"/>
                  </a:cubicBezTo>
                  <a:cubicBezTo>
                    <a:pt x="1350" y="69"/>
                    <a:pt x="1350" y="69"/>
                    <a:pt x="1350" y="69"/>
                  </a:cubicBezTo>
                  <a:cubicBezTo>
                    <a:pt x="1415" y="105"/>
                    <a:pt x="1479" y="165"/>
                    <a:pt x="1527" y="235"/>
                  </a:cubicBezTo>
                  <a:cubicBezTo>
                    <a:pt x="1593" y="332"/>
                    <a:pt x="1624" y="442"/>
                    <a:pt x="1583" y="555"/>
                  </a:cubicBezTo>
                  <a:cubicBezTo>
                    <a:pt x="1500" y="781"/>
                    <a:pt x="1351" y="1030"/>
                    <a:pt x="1172" y="1253"/>
                  </a:cubicBezTo>
                  <a:cubicBezTo>
                    <a:pt x="994" y="1477"/>
                    <a:pt x="786" y="1676"/>
                    <a:pt x="586" y="1803"/>
                  </a:cubicBezTo>
                  <a:cubicBezTo>
                    <a:pt x="486" y="1867"/>
                    <a:pt x="375" y="1856"/>
                    <a:pt x="269" y="1807"/>
                  </a:cubicBezTo>
                  <a:cubicBezTo>
                    <a:pt x="157" y="1755"/>
                    <a:pt x="106" y="1695"/>
                    <a:pt x="33" y="1602"/>
                  </a:cubicBezTo>
                  <a:cubicBezTo>
                    <a:pt x="11" y="1573"/>
                    <a:pt x="0" y="1540"/>
                    <a:pt x="2" y="1508"/>
                  </a:cubicBezTo>
                  <a:cubicBezTo>
                    <a:pt x="4" y="1475"/>
                    <a:pt x="18" y="1444"/>
                    <a:pt x="45" y="1421"/>
                  </a:cubicBezTo>
                  <a:cubicBezTo>
                    <a:pt x="70" y="1399"/>
                    <a:pt x="346" y="1158"/>
                    <a:pt x="346" y="1158"/>
                  </a:cubicBezTo>
                  <a:cubicBezTo>
                    <a:pt x="376" y="1134"/>
                    <a:pt x="413" y="1133"/>
                    <a:pt x="448" y="1145"/>
                  </a:cubicBezTo>
                  <a:cubicBezTo>
                    <a:pt x="510" y="1166"/>
                    <a:pt x="536" y="1210"/>
                    <a:pt x="573" y="1257"/>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351"/>
            </a:p>
          </p:txBody>
        </p:sp>
      </p:grpSp>
      <p:grpSp>
        <p:nvGrpSpPr>
          <p:cNvPr id="17" name="Group 3">
            <a:extLst>
              <a:ext uri="{FF2B5EF4-FFF2-40B4-BE49-F238E27FC236}">
                <a16:creationId xmlns:a16="http://schemas.microsoft.com/office/drawing/2014/main" id="{7104BADD-8CD1-6F4A-B894-869C3BDB3EEB}"/>
              </a:ext>
            </a:extLst>
          </p:cNvPr>
          <p:cNvGrpSpPr>
            <a:grpSpLocks noChangeAspect="1"/>
          </p:cNvGrpSpPr>
          <p:nvPr>
            <p:custDataLst>
              <p:tags r:id="rId2"/>
            </p:custDataLst>
          </p:nvPr>
        </p:nvGrpSpPr>
        <p:grpSpPr>
          <a:xfrm>
            <a:off x="8701918" y="3153207"/>
            <a:ext cx="171180" cy="171180"/>
            <a:chOff x="328396" y="5313940"/>
            <a:chExt cx="720000" cy="720000"/>
          </a:xfrm>
        </p:grpSpPr>
        <p:sp>
          <p:nvSpPr>
            <p:cNvPr id="18" name="Rectangle 4">
              <a:extLst>
                <a:ext uri="{FF2B5EF4-FFF2-40B4-BE49-F238E27FC236}">
                  <a16:creationId xmlns:a16="http://schemas.microsoft.com/office/drawing/2014/main" id="{74BE3D5F-1445-6E40-8B49-72E15568383B}"/>
                </a:ext>
              </a:extLst>
            </p:cNvPr>
            <p:cNvSpPr/>
            <p:nvPr/>
          </p:nvSpPr>
          <p:spPr bwMode="gray">
            <a:xfrm>
              <a:off x="328396" y="5313940"/>
              <a:ext cx="720000" cy="720000"/>
            </a:xfrm>
            <a:prstGeom prst="rect">
              <a:avLst/>
            </a:prstGeom>
            <a:solidFill>
              <a:srgbClr val="E55A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pPr>
              <a:endParaRPr lang="en-US" sz="1000">
                <a:solidFill>
                  <a:schemeClr val="tx1"/>
                </a:solidFill>
                <a:latin typeface="Arial" pitchFamily="34" charset="0"/>
                <a:cs typeface="Arial" pitchFamily="34" charset="0"/>
              </a:endParaRPr>
            </a:p>
          </p:txBody>
        </p:sp>
        <p:sp>
          <p:nvSpPr>
            <p:cNvPr id="19" name="Freeform 76">
              <a:extLst>
                <a:ext uri="{FF2B5EF4-FFF2-40B4-BE49-F238E27FC236}">
                  <a16:creationId xmlns:a16="http://schemas.microsoft.com/office/drawing/2014/main" id="{55DB3C95-7D0C-D141-901E-96D692794D2B}"/>
                </a:ext>
              </a:extLst>
            </p:cNvPr>
            <p:cNvSpPr>
              <a:spLocks noChangeAspect="1" noEditPoints="1"/>
            </p:cNvSpPr>
            <p:nvPr/>
          </p:nvSpPr>
          <p:spPr bwMode="auto">
            <a:xfrm>
              <a:off x="456202" y="5509222"/>
              <a:ext cx="504000" cy="329436"/>
            </a:xfrm>
            <a:custGeom>
              <a:avLst/>
              <a:gdLst>
                <a:gd name="T0" fmla="*/ 0 w 2080"/>
                <a:gd name="T1" fmla="*/ 65 h 1360"/>
                <a:gd name="T2" fmla="*/ 0 w 2080"/>
                <a:gd name="T3" fmla="*/ 0 h 1360"/>
                <a:gd name="T4" fmla="*/ 2080 w 2080"/>
                <a:gd name="T5" fmla="*/ 0 h 1360"/>
                <a:gd name="T6" fmla="*/ 2080 w 2080"/>
                <a:gd name="T7" fmla="*/ 65 h 1360"/>
                <a:gd name="T8" fmla="*/ 1089 w 2080"/>
                <a:gd name="T9" fmla="*/ 862 h 1360"/>
                <a:gd name="T10" fmla="*/ 991 w 2080"/>
                <a:gd name="T11" fmla="*/ 862 h 1360"/>
                <a:gd name="T12" fmla="*/ 0 w 2080"/>
                <a:gd name="T13" fmla="*/ 65 h 1360"/>
                <a:gd name="T14" fmla="*/ 1139 w 2080"/>
                <a:gd name="T15" fmla="*/ 924 h 1360"/>
                <a:gd name="T16" fmla="*/ 1282 w 2080"/>
                <a:gd name="T17" fmla="*/ 810 h 1360"/>
                <a:gd name="T18" fmla="*/ 2076 w 2080"/>
                <a:gd name="T19" fmla="*/ 1360 h 1360"/>
                <a:gd name="T20" fmla="*/ 4 w 2080"/>
                <a:gd name="T21" fmla="*/ 1360 h 1360"/>
                <a:gd name="T22" fmla="*/ 798 w 2080"/>
                <a:gd name="T23" fmla="*/ 810 h 1360"/>
                <a:gd name="T24" fmla="*/ 941 w 2080"/>
                <a:gd name="T25" fmla="*/ 924 h 1360"/>
                <a:gd name="T26" fmla="*/ 1139 w 2080"/>
                <a:gd name="T27" fmla="*/ 924 h 1360"/>
                <a:gd name="T28" fmla="*/ 2 w 2080"/>
                <a:gd name="T29" fmla="*/ 137 h 1360"/>
                <a:gd name="T30" fmla="*/ 42 w 2080"/>
                <a:gd name="T31" fmla="*/ 201 h 1360"/>
                <a:gd name="T32" fmla="*/ 734 w 2080"/>
                <a:gd name="T33" fmla="*/ 758 h 1360"/>
                <a:gd name="T34" fmla="*/ 0 w 2080"/>
                <a:gd name="T35" fmla="*/ 1266 h 1360"/>
                <a:gd name="T36" fmla="*/ 0 w 2080"/>
                <a:gd name="T37" fmla="*/ 135 h 1360"/>
                <a:gd name="T38" fmla="*/ 2 w 2080"/>
                <a:gd name="T39" fmla="*/ 137 h 1360"/>
                <a:gd name="T40" fmla="*/ 2080 w 2080"/>
                <a:gd name="T41" fmla="*/ 136 h 1360"/>
                <a:gd name="T42" fmla="*/ 2080 w 2080"/>
                <a:gd name="T43" fmla="*/ 1265 h 1360"/>
                <a:gd name="T44" fmla="*/ 1346 w 2080"/>
                <a:gd name="T45" fmla="*/ 758 h 1360"/>
                <a:gd name="T46" fmla="*/ 2038 w 2080"/>
                <a:gd name="T47" fmla="*/ 201 h 1360"/>
                <a:gd name="T48" fmla="*/ 2080 w 2080"/>
                <a:gd name="T49" fmla="*/ 136 h 1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080" h="1360">
                  <a:moveTo>
                    <a:pt x="0" y="65"/>
                  </a:moveTo>
                  <a:cubicBezTo>
                    <a:pt x="0" y="0"/>
                    <a:pt x="0" y="0"/>
                    <a:pt x="0" y="0"/>
                  </a:cubicBezTo>
                  <a:cubicBezTo>
                    <a:pt x="2080" y="0"/>
                    <a:pt x="2080" y="0"/>
                    <a:pt x="2080" y="0"/>
                  </a:cubicBezTo>
                  <a:cubicBezTo>
                    <a:pt x="2080" y="65"/>
                    <a:pt x="2080" y="65"/>
                    <a:pt x="2080" y="65"/>
                  </a:cubicBezTo>
                  <a:cubicBezTo>
                    <a:pt x="1089" y="862"/>
                    <a:pt x="1089" y="862"/>
                    <a:pt x="1089" y="862"/>
                  </a:cubicBezTo>
                  <a:cubicBezTo>
                    <a:pt x="1060" y="886"/>
                    <a:pt x="1020" y="886"/>
                    <a:pt x="991" y="862"/>
                  </a:cubicBezTo>
                  <a:lnTo>
                    <a:pt x="0" y="65"/>
                  </a:lnTo>
                  <a:close/>
                  <a:moveTo>
                    <a:pt x="1139" y="924"/>
                  </a:moveTo>
                  <a:cubicBezTo>
                    <a:pt x="1282" y="810"/>
                    <a:pt x="1282" y="810"/>
                    <a:pt x="1282" y="810"/>
                  </a:cubicBezTo>
                  <a:cubicBezTo>
                    <a:pt x="2076" y="1360"/>
                    <a:pt x="2076" y="1360"/>
                    <a:pt x="2076" y="1360"/>
                  </a:cubicBezTo>
                  <a:cubicBezTo>
                    <a:pt x="4" y="1360"/>
                    <a:pt x="4" y="1360"/>
                    <a:pt x="4" y="1360"/>
                  </a:cubicBezTo>
                  <a:cubicBezTo>
                    <a:pt x="798" y="810"/>
                    <a:pt x="798" y="810"/>
                    <a:pt x="798" y="810"/>
                  </a:cubicBezTo>
                  <a:cubicBezTo>
                    <a:pt x="941" y="924"/>
                    <a:pt x="941" y="924"/>
                    <a:pt x="941" y="924"/>
                  </a:cubicBezTo>
                  <a:cubicBezTo>
                    <a:pt x="1000" y="972"/>
                    <a:pt x="1080" y="972"/>
                    <a:pt x="1139" y="924"/>
                  </a:cubicBezTo>
                  <a:close/>
                  <a:moveTo>
                    <a:pt x="2" y="137"/>
                  </a:moveTo>
                  <a:cubicBezTo>
                    <a:pt x="8" y="163"/>
                    <a:pt x="22" y="185"/>
                    <a:pt x="42" y="201"/>
                  </a:cubicBezTo>
                  <a:cubicBezTo>
                    <a:pt x="734" y="758"/>
                    <a:pt x="734" y="758"/>
                    <a:pt x="734" y="758"/>
                  </a:cubicBezTo>
                  <a:cubicBezTo>
                    <a:pt x="0" y="1266"/>
                    <a:pt x="0" y="1266"/>
                    <a:pt x="0" y="1266"/>
                  </a:cubicBezTo>
                  <a:cubicBezTo>
                    <a:pt x="0" y="135"/>
                    <a:pt x="0" y="135"/>
                    <a:pt x="0" y="135"/>
                  </a:cubicBezTo>
                  <a:lnTo>
                    <a:pt x="2" y="137"/>
                  </a:lnTo>
                  <a:close/>
                  <a:moveTo>
                    <a:pt x="2080" y="136"/>
                  </a:moveTo>
                  <a:cubicBezTo>
                    <a:pt x="2080" y="1265"/>
                    <a:pt x="2080" y="1265"/>
                    <a:pt x="2080" y="1265"/>
                  </a:cubicBezTo>
                  <a:cubicBezTo>
                    <a:pt x="1346" y="758"/>
                    <a:pt x="1346" y="758"/>
                    <a:pt x="1346" y="758"/>
                  </a:cubicBezTo>
                  <a:cubicBezTo>
                    <a:pt x="2038" y="201"/>
                    <a:pt x="2038" y="201"/>
                    <a:pt x="2038" y="201"/>
                  </a:cubicBezTo>
                  <a:cubicBezTo>
                    <a:pt x="2060" y="182"/>
                    <a:pt x="2072" y="162"/>
                    <a:pt x="2080" y="13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000"/>
            </a:p>
          </p:txBody>
        </p:sp>
      </p:grpSp>
      <p:cxnSp>
        <p:nvCxnSpPr>
          <p:cNvPr id="20" name="Straight Connector 19"/>
          <p:cNvCxnSpPr/>
          <p:nvPr/>
        </p:nvCxnSpPr>
        <p:spPr>
          <a:xfrm>
            <a:off x="2371725" y="3478213"/>
            <a:ext cx="3888000" cy="0"/>
          </a:xfrm>
          <a:prstGeom prst="line">
            <a:avLst/>
          </a:prstGeom>
          <a:ln w="6350">
            <a:solidFill>
              <a:schemeClr val="tx2"/>
            </a:solidFill>
            <a:prstDash val="dash"/>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p:nvCxnSpPr>
        <p:spPr>
          <a:xfrm>
            <a:off x="7287766" y="3478213"/>
            <a:ext cx="3888000" cy="0"/>
          </a:xfrm>
          <a:prstGeom prst="line">
            <a:avLst/>
          </a:prstGeom>
          <a:ln w="6350">
            <a:solidFill>
              <a:schemeClr val="tx2"/>
            </a:solidFill>
            <a:prstDash val="dash"/>
          </a:ln>
        </p:spPr>
        <p:style>
          <a:lnRef idx="1">
            <a:schemeClr val="accent1"/>
          </a:lnRef>
          <a:fillRef idx="0">
            <a:schemeClr val="accent1"/>
          </a:fillRef>
          <a:effectRef idx="0">
            <a:schemeClr val="accent1"/>
          </a:effectRef>
          <a:fontRef idx="minor">
            <a:schemeClr val="tx1"/>
          </a:fontRef>
        </p:style>
      </p:cxnSp>
      <p:sp>
        <p:nvSpPr>
          <p:cNvPr id="4" name="Picture Placeholder 3"/>
          <p:cNvSpPr>
            <a:spLocks noGrp="1"/>
          </p:cNvSpPr>
          <p:nvPr>
            <p:ph type="pic" sz="quarter" idx="17" hasCustomPrompt="1"/>
          </p:nvPr>
        </p:nvSpPr>
        <p:spPr>
          <a:xfrm>
            <a:off x="2355914" y="1808984"/>
            <a:ext cx="1188677" cy="1547840"/>
          </a:xfrm>
          <a:solidFill>
            <a:srgbClr val="D9DADB"/>
          </a:solidFill>
        </p:spPr>
        <p:txBody>
          <a:bodyPr/>
          <a:lstStyle>
            <a:lvl1pPr marL="0" indent="0">
              <a:buNone/>
              <a:defRPr sz="1400"/>
            </a:lvl1pPr>
          </a:lstStyle>
          <a:p>
            <a:r>
              <a:rPr lang="en-US"/>
              <a:t>Insert picture</a:t>
            </a:r>
          </a:p>
        </p:txBody>
      </p:sp>
      <p:sp>
        <p:nvSpPr>
          <p:cNvPr id="25" name="Picture Placeholder 3"/>
          <p:cNvSpPr>
            <a:spLocks noGrp="1"/>
          </p:cNvSpPr>
          <p:nvPr>
            <p:ph type="pic" sz="quarter" idx="18" hasCustomPrompt="1"/>
          </p:nvPr>
        </p:nvSpPr>
        <p:spPr>
          <a:xfrm>
            <a:off x="7287766" y="1808984"/>
            <a:ext cx="1188677" cy="1547840"/>
          </a:xfrm>
          <a:solidFill>
            <a:srgbClr val="D9DADB"/>
          </a:solidFill>
        </p:spPr>
        <p:txBody>
          <a:bodyPr/>
          <a:lstStyle>
            <a:lvl1pPr marL="0" indent="0">
              <a:buNone/>
              <a:defRPr sz="1400"/>
            </a:lvl1pPr>
          </a:lstStyle>
          <a:p>
            <a:r>
              <a:rPr lang="en-US"/>
              <a:t>Insert picture</a:t>
            </a:r>
          </a:p>
        </p:txBody>
      </p:sp>
      <p:sp>
        <p:nvSpPr>
          <p:cNvPr id="6" name="Text Placeholder 5"/>
          <p:cNvSpPr>
            <a:spLocks noGrp="1"/>
          </p:cNvSpPr>
          <p:nvPr>
            <p:ph type="body" sz="quarter" idx="19" hasCustomPrompt="1"/>
          </p:nvPr>
        </p:nvSpPr>
        <p:spPr>
          <a:xfrm>
            <a:off x="3770065" y="1808521"/>
            <a:ext cx="2463190" cy="192360"/>
          </a:xfrm>
        </p:spPr>
        <p:txBody>
          <a:bodyPr lIns="0" tIns="0" rIns="0" bIns="0" anchor="ctr" anchorCtr="0"/>
          <a:lstStyle>
            <a:lvl1pPr marL="0" indent="0" algn="l">
              <a:lnSpc>
                <a:spcPct val="100000"/>
              </a:lnSpc>
              <a:buNone/>
              <a:defRPr sz="100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Country</a:t>
            </a:r>
          </a:p>
        </p:txBody>
      </p:sp>
      <p:sp>
        <p:nvSpPr>
          <p:cNvPr id="26" name="Text Placeholder 5"/>
          <p:cNvSpPr>
            <a:spLocks noGrp="1"/>
          </p:cNvSpPr>
          <p:nvPr>
            <p:ph type="body" sz="quarter" idx="20" hasCustomPrompt="1"/>
          </p:nvPr>
        </p:nvSpPr>
        <p:spPr>
          <a:xfrm>
            <a:off x="3770065" y="2020337"/>
            <a:ext cx="2463190" cy="266182"/>
          </a:xfrm>
        </p:spPr>
        <p:txBody>
          <a:bodyPr lIns="0" tIns="0" rIns="0" bIns="0" anchor="b" anchorCtr="0"/>
          <a:lstStyle>
            <a:lvl1pPr marL="0" indent="0" algn="l">
              <a:lnSpc>
                <a:spcPct val="100000"/>
              </a:lnSpc>
              <a:buNone/>
              <a:defRPr sz="1400" b="1" baseline="0">
                <a:solidFill>
                  <a:schemeClr val="tx2"/>
                </a:solidFill>
              </a:defRPr>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Name, Surname</a:t>
            </a:r>
          </a:p>
        </p:txBody>
      </p:sp>
      <p:sp>
        <p:nvSpPr>
          <p:cNvPr id="27" name="Text Placeholder 5"/>
          <p:cNvSpPr>
            <a:spLocks noGrp="1"/>
          </p:cNvSpPr>
          <p:nvPr>
            <p:ph type="body" sz="quarter" idx="21" hasCustomPrompt="1"/>
          </p:nvPr>
        </p:nvSpPr>
        <p:spPr>
          <a:xfrm>
            <a:off x="3770065" y="2316912"/>
            <a:ext cx="2463190"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Job Position</a:t>
            </a:r>
          </a:p>
        </p:txBody>
      </p:sp>
      <p:sp>
        <p:nvSpPr>
          <p:cNvPr id="28" name="Text Placeholder 5"/>
          <p:cNvSpPr>
            <a:spLocks noGrp="1"/>
          </p:cNvSpPr>
          <p:nvPr>
            <p:ph type="body" sz="quarter" idx="22" hasCustomPrompt="1"/>
          </p:nvPr>
        </p:nvSpPr>
        <p:spPr>
          <a:xfrm>
            <a:off x="4014948" y="2845588"/>
            <a:ext cx="2218307"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Phone number</a:t>
            </a:r>
          </a:p>
        </p:txBody>
      </p:sp>
      <p:sp>
        <p:nvSpPr>
          <p:cNvPr id="29" name="Text Placeholder 5"/>
          <p:cNvSpPr>
            <a:spLocks noGrp="1"/>
          </p:cNvSpPr>
          <p:nvPr>
            <p:ph type="body" sz="quarter" idx="23" hasCustomPrompt="1"/>
          </p:nvPr>
        </p:nvSpPr>
        <p:spPr>
          <a:xfrm>
            <a:off x="4014948" y="3128395"/>
            <a:ext cx="2218307"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Email address</a:t>
            </a:r>
          </a:p>
        </p:txBody>
      </p:sp>
      <p:sp>
        <p:nvSpPr>
          <p:cNvPr id="30" name="Text Placeholder 5"/>
          <p:cNvSpPr>
            <a:spLocks noGrp="1"/>
          </p:cNvSpPr>
          <p:nvPr>
            <p:ph type="body" sz="quarter" idx="24" hasCustomPrompt="1"/>
          </p:nvPr>
        </p:nvSpPr>
        <p:spPr>
          <a:xfrm>
            <a:off x="8701917" y="1808521"/>
            <a:ext cx="2463190" cy="192360"/>
          </a:xfrm>
        </p:spPr>
        <p:txBody>
          <a:bodyPr lIns="0" tIns="0" rIns="0" bIns="0" anchor="ctr" anchorCtr="0"/>
          <a:lstStyle>
            <a:lvl1pPr marL="0" indent="0" algn="l">
              <a:lnSpc>
                <a:spcPct val="100000"/>
              </a:lnSpc>
              <a:buNone/>
              <a:defRPr sz="100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Country</a:t>
            </a:r>
          </a:p>
        </p:txBody>
      </p:sp>
      <p:sp>
        <p:nvSpPr>
          <p:cNvPr id="31" name="Text Placeholder 5"/>
          <p:cNvSpPr>
            <a:spLocks noGrp="1"/>
          </p:cNvSpPr>
          <p:nvPr>
            <p:ph type="body" sz="quarter" idx="25" hasCustomPrompt="1"/>
          </p:nvPr>
        </p:nvSpPr>
        <p:spPr>
          <a:xfrm>
            <a:off x="8701917" y="2020337"/>
            <a:ext cx="2463190" cy="266182"/>
          </a:xfrm>
        </p:spPr>
        <p:txBody>
          <a:bodyPr lIns="0" tIns="0" rIns="0" bIns="0" anchor="b" anchorCtr="0"/>
          <a:lstStyle>
            <a:lvl1pPr marL="0" indent="0" algn="l">
              <a:lnSpc>
                <a:spcPct val="100000"/>
              </a:lnSpc>
              <a:buNone/>
              <a:defRPr sz="1400" b="1" baseline="0">
                <a:solidFill>
                  <a:schemeClr val="tx2"/>
                </a:solidFill>
              </a:defRPr>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Name, Surname</a:t>
            </a:r>
          </a:p>
        </p:txBody>
      </p:sp>
      <p:sp>
        <p:nvSpPr>
          <p:cNvPr id="32" name="Text Placeholder 5"/>
          <p:cNvSpPr>
            <a:spLocks noGrp="1"/>
          </p:cNvSpPr>
          <p:nvPr>
            <p:ph type="body" sz="quarter" idx="26" hasCustomPrompt="1"/>
          </p:nvPr>
        </p:nvSpPr>
        <p:spPr>
          <a:xfrm>
            <a:off x="8701917" y="2316912"/>
            <a:ext cx="2463190"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Job Position</a:t>
            </a:r>
          </a:p>
        </p:txBody>
      </p:sp>
      <p:sp>
        <p:nvSpPr>
          <p:cNvPr id="33" name="Text Placeholder 5"/>
          <p:cNvSpPr>
            <a:spLocks noGrp="1"/>
          </p:cNvSpPr>
          <p:nvPr>
            <p:ph type="body" sz="quarter" idx="27" hasCustomPrompt="1"/>
          </p:nvPr>
        </p:nvSpPr>
        <p:spPr>
          <a:xfrm>
            <a:off x="8946800" y="2845588"/>
            <a:ext cx="2218307"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Phone number</a:t>
            </a:r>
          </a:p>
        </p:txBody>
      </p:sp>
      <p:sp>
        <p:nvSpPr>
          <p:cNvPr id="34" name="Text Placeholder 5"/>
          <p:cNvSpPr>
            <a:spLocks noGrp="1"/>
          </p:cNvSpPr>
          <p:nvPr>
            <p:ph type="body" sz="quarter" idx="28" hasCustomPrompt="1"/>
          </p:nvPr>
        </p:nvSpPr>
        <p:spPr>
          <a:xfrm>
            <a:off x="8946800" y="3128395"/>
            <a:ext cx="2218307"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Email address</a:t>
            </a:r>
          </a:p>
        </p:txBody>
      </p:sp>
    </p:spTree>
    <p:extLst>
      <p:ext uri="{BB962C8B-B14F-4D97-AF65-F5344CB8AC3E}">
        <p14:creationId xmlns:p14="http://schemas.microsoft.com/office/powerpoint/2010/main" val="3436084517"/>
      </p:ext>
    </p:extLst>
  </p:cSld>
  <p:clrMapOvr>
    <a:masterClrMapping/>
  </p:clrMapOvr>
</p:sldLayout>
</file>

<file path=ppt/slideLayouts/slideLayout409.xml><?xml version="1.0" encoding="utf-8"?>
<p:sldLayout xmlns:a="http://schemas.openxmlformats.org/drawingml/2006/main" xmlns:r="http://schemas.openxmlformats.org/officeDocument/2006/relationships" xmlns:p="http://schemas.openxmlformats.org/presentationml/2006/main" preserve="1">
  <p:cSld name="Three contacts">
    <p:spTree>
      <p:nvGrpSpPr>
        <p:cNvPr id="1" name=""/>
        <p:cNvGrpSpPr/>
        <p:nvPr/>
      </p:nvGrpSpPr>
      <p:grpSpPr>
        <a:xfrm>
          <a:off x="0" y="0"/>
          <a:ext cx="0" cy="0"/>
          <a:chOff x="0" y="0"/>
          <a:chExt cx="0" cy="0"/>
        </a:xfrm>
      </p:grpSpPr>
      <p:sp>
        <p:nvSpPr>
          <p:cNvPr id="21" name="Date Placeholder 20"/>
          <p:cNvSpPr>
            <a:spLocks noGrp="1"/>
          </p:cNvSpPr>
          <p:nvPr>
            <p:ph type="dt" sz="half" idx="14"/>
          </p:nvPr>
        </p:nvSpPr>
        <p:spPr/>
        <p:txBody>
          <a:bodyPr/>
          <a:lstStyle/>
          <a:p>
            <a:endParaRPr lang="en-US"/>
          </a:p>
        </p:txBody>
      </p:sp>
      <p:sp>
        <p:nvSpPr>
          <p:cNvPr id="22" name="Footer Placeholder 21"/>
          <p:cNvSpPr>
            <a:spLocks noGrp="1"/>
          </p:cNvSpPr>
          <p:nvPr>
            <p:ph type="ftr" sz="quarter" idx="15"/>
          </p:nvPr>
        </p:nvSpPr>
        <p:spPr/>
        <p:txBody>
          <a:bodyPr/>
          <a:lstStyle/>
          <a:p>
            <a:endParaRPr lang="en-US"/>
          </a:p>
        </p:txBody>
      </p:sp>
      <p:sp>
        <p:nvSpPr>
          <p:cNvPr id="23" name="Slide Number Placeholder 22"/>
          <p:cNvSpPr>
            <a:spLocks noGrp="1"/>
          </p:cNvSpPr>
          <p:nvPr>
            <p:ph type="sldNum" sz="quarter" idx="16"/>
          </p:nvPr>
        </p:nvSpPr>
        <p:spPr/>
        <p:txBody>
          <a:bodyPr/>
          <a:lstStyle/>
          <a:p>
            <a:fld id="{5F3E29E4-0979-4FCA-B4C5-5FC6044C982A}" type="slidenum">
              <a:rPr lang="en-US" smtClean="0"/>
              <a:t>‹#›</a:t>
            </a:fld>
            <a:endParaRPr lang="en-US"/>
          </a:p>
        </p:txBody>
      </p:sp>
      <p:sp>
        <p:nvSpPr>
          <p:cNvPr id="2" name="Title 1"/>
          <p:cNvSpPr>
            <a:spLocks noGrp="1"/>
          </p:cNvSpPr>
          <p:nvPr>
            <p:ph type="title" hasCustomPrompt="1"/>
          </p:nvPr>
        </p:nvSpPr>
        <p:spPr/>
        <p:txBody>
          <a:bodyPr/>
          <a:lstStyle>
            <a:lvl1pPr>
              <a:defRPr/>
            </a:lvl1pPr>
          </a:lstStyle>
          <a:p>
            <a:r>
              <a:rPr lang="en-US"/>
              <a:t>Click to add contact title</a:t>
            </a:r>
          </a:p>
        </p:txBody>
      </p:sp>
      <p:sp>
        <p:nvSpPr>
          <p:cNvPr id="7" name="Subtitle 2"/>
          <p:cNvSpPr>
            <a:spLocks noGrp="1"/>
          </p:cNvSpPr>
          <p:nvPr>
            <p:ph type="subTitle" idx="13" hasCustomPrompt="1"/>
          </p:nvPr>
        </p:nvSpPr>
        <p:spPr>
          <a:xfrm>
            <a:off x="1075061" y="964671"/>
            <a:ext cx="7910158" cy="490042"/>
          </a:xfrm>
        </p:spPr>
        <p:txBody>
          <a:bodyPr wrap="none"/>
          <a:lstStyle>
            <a:lvl1pPr marL="0" indent="0" algn="l">
              <a:spcBef>
                <a:spcPts val="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grpSp>
        <p:nvGrpSpPr>
          <p:cNvPr id="8" name="Gruppieren 80">
            <a:extLst>
              <a:ext uri="{FF2B5EF4-FFF2-40B4-BE49-F238E27FC236}">
                <a16:creationId xmlns:a16="http://schemas.microsoft.com/office/drawing/2014/main" id="{6B969E7B-9C39-4443-9B02-74C1E7C5CCAC}"/>
              </a:ext>
            </a:extLst>
          </p:cNvPr>
          <p:cNvGrpSpPr/>
          <p:nvPr/>
        </p:nvGrpSpPr>
        <p:grpSpPr>
          <a:xfrm>
            <a:off x="3770065" y="2868319"/>
            <a:ext cx="171180" cy="171180"/>
            <a:chOff x="3392092" y="1841122"/>
            <a:chExt cx="646508" cy="646508"/>
          </a:xfrm>
        </p:grpSpPr>
        <p:sp>
          <p:nvSpPr>
            <p:cNvPr id="9" name="Rechteck 14">
              <a:extLst>
                <a:ext uri="{FF2B5EF4-FFF2-40B4-BE49-F238E27FC236}">
                  <a16:creationId xmlns:a16="http://schemas.microsoft.com/office/drawing/2014/main" id="{D78F58EA-5525-8D43-8295-FEA52ECF6BFA}"/>
                </a:ext>
              </a:extLst>
            </p:cNvPr>
            <p:cNvSpPr>
              <a:spLocks noChangeAspect="1"/>
            </p:cNvSpPr>
            <p:nvPr/>
          </p:nvSpPr>
          <p:spPr bwMode="gray">
            <a:xfrm>
              <a:off x="3392092" y="1841122"/>
              <a:ext cx="646508" cy="646508"/>
            </a:xfrm>
            <a:prstGeom prst="rect">
              <a:avLst/>
            </a:prstGeom>
            <a:solidFill>
              <a:srgbClr val="E55A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pPr>
              <a:endParaRPr lang="en-US" sz="1000">
                <a:solidFill>
                  <a:schemeClr val="tx1"/>
                </a:solidFill>
                <a:latin typeface="Arial" pitchFamily="34" charset="0"/>
                <a:cs typeface="Arial" pitchFamily="34" charset="0"/>
              </a:endParaRPr>
            </a:p>
          </p:txBody>
        </p:sp>
        <p:sp>
          <p:nvSpPr>
            <p:cNvPr id="10" name="Freeform 67">
              <a:extLst>
                <a:ext uri="{FF2B5EF4-FFF2-40B4-BE49-F238E27FC236}">
                  <a16:creationId xmlns:a16="http://schemas.microsoft.com/office/drawing/2014/main" id="{D01A6292-2776-4945-B828-483D79DC4908}"/>
                </a:ext>
              </a:extLst>
            </p:cNvPr>
            <p:cNvSpPr>
              <a:spLocks noChangeAspect="1"/>
            </p:cNvSpPr>
            <p:nvPr/>
          </p:nvSpPr>
          <p:spPr bwMode="auto">
            <a:xfrm>
              <a:off x="3546638" y="1970424"/>
              <a:ext cx="337415" cy="387905"/>
            </a:xfrm>
            <a:custGeom>
              <a:avLst/>
              <a:gdLst>
                <a:gd name="T0" fmla="*/ 573 w 1624"/>
                <a:gd name="T1" fmla="*/ 1257 h 1867"/>
                <a:gd name="T2" fmla="*/ 662 w 1624"/>
                <a:gd name="T3" fmla="*/ 1288 h 1867"/>
                <a:gd name="T4" fmla="*/ 938 w 1624"/>
                <a:gd name="T5" fmla="*/ 1051 h 1867"/>
                <a:gd name="T6" fmla="*/ 1106 w 1624"/>
                <a:gd name="T7" fmla="*/ 731 h 1867"/>
                <a:gd name="T8" fmla="*/ 1059 w 1624"/>
                <a:gd name="T9" fmla="*/ 645 h 1867"/>
                <a:gd name="T10" fmla="*/ 1001 w 1624"/>
                <a:gd name="T11" fmla="*/ 613 h 1867"/>
                <a:gd name="T12" fmla="*/ 924 w 1624"/>
                <a:gd name="T13" fmla="*/ 432 h 1867"/>
                <a:gd name="T14" fmla="*/ 1114 w 1624"/>
                <a:gd name="T15" fmla="*/ 81 h 1867"/>
                <a:gd name="T16" fmla="*/ 1287 w 1624"/>
                <a:gd name="T17" fmla="*/ 35 h 1867"/>
                <a:gd name="T18" fmla="*/ 1350 w 1624"/>
                <a:gd name="T19" fmla="*/ 69 h 1867"/>
                <a:gd name="T20" fmla="*/ 1527 w 1624"/>
                <a:gd name="T21" fmla="*/ 235 h 1867"/>
                <a:gd name="T22" fmla="*/ 1583 w 1624"/>
                <a:gd name="T23" fmla="*/ 555 h 1867"/>
                <a:gd name="T24" fmla="*/ 1172 w 1624"/>
                <a:gd name="T25" fmla="*/ 1253 h 1867"/>
                <a:gd name="T26" fmla="*/ 586 w 1624"/>
                <a:gd name="T27" fmla="*/ 1803 h 1867"/>
                <a:gd name="T28" fmla="*/ 269 w 1624"/>
                <a:gd name="T29" fmla="*/ 1807 h 1867"/>
                <a:gd name="T30" fmla="*/ 33 w 1624"/>
                <a:gd name="T31" fmla="*/ 1602 h 1867"/>
                <a:gd name="T32" fmla="*/ 2 w 1624"/>
                <a:gd name="T33" fmla="*/ 1508 h 1867"/>
                <a:gd name="T34" fmla="*/ 45 w 1624"/>
                <a:gd name="T35" fmla="*/ 1421 h 1867"/>
                <a:gd name="T36" fmla="*/ 346 w 1624"/>
                <a:gd name="T37" fmla="*/ 1158 h 1867"/>
                <a:gd name="T38" fmla="*/ 448 w 1624"/>
                <a:gd name="T39" fmla="*/ 1145 h 1867"/>
                <a:gd name="T40" fmla="*/ 573 w 1624"/>
                <a:gd name="T41" fmla="*/ 1257 h 18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24" h="1867">
                  <a:moveTo>
                    <a:pt x="573" y="1257"/>
                  </a:moveTo>
                  <a:cubicBezTo>
                    <a:pt x="592" y="1282"/>
                    <a:pt x="630" y="1303"/>
                    <a:pt x="662" y="1288"/>
                  </a:cubicBezTo>
                  <a:cubicBezTo>
                    <a:pt x="753" y="1245"/>
                    <a:pt x="854" y="1156"/>
                    <a:pt x="938" y="1051"/>
                  </a:cubicBezTo>
                  <a:cubicBezTo>
                    <a:pt x="1020" y="948"/>
                    <a:pt x="1084" y="831"/>
                    <a:pt x="1106" y="731"/>
                  </a:cubicBezTo>
                  <a:cubicBezTo>
                    <a:pt x="1113" y="696"/>
                    <a:pt x="1089" y="661"/>
                    <a:pt x="1059" y="645"/>
                  </a:cubicBezTo>
                  <a:cubicBezTo>
                    <a:pt x="1001" y="613"/>
                    <a:pt x="1001" y="613"/>
                    <a:pt x="1001" y="613"/>
                  </a:cubicBezTo>
                  <a:cubicBezTo>
                    <a:pt x="942" y="580"/>
                    <a:pt x="888" y="499"/>
                    <a:pt x="924" y="432"/>
                  </a:cubicBezTo>
                  <a:cubicBezTo>
                    <a:pt x="1114" y="81"/>
                    <a:pt x="1114" y="81"/>
                    <a:pt x="1114" y="81"/>
                  </a:cubicBezTo>
                  <a:cubicBezTo>
                    <a:pt x="1150" y="16"/>
                    <a:pt x="1224" y="0"/>
                    <a:pt x="1287" y="35"/>
                  </a:cubicBezTo>
                  <a:cubicBezTo>
                    <a:pt x="1350" y="69"/>
                    <a:pt x="1350" y="69"/>
                    <a:pt x="1350" y="69"/>
                  </a:cubicBezTo>
                  <a:cubicBezTo>
                    <a:pt x="1415" y="105"/>
                    <a:pt x="1479" y="165"/>
                    <a:pt x="1527" y="235"/>
                  </a:cubicBezTo>
                  <a:cubicBezTo>
                    <a:pt x="1593" y="332"/>
                    <a:pt x="1624" y="442"/>
                    <a:pt x="1583" y="555"/>
                  </a:cubicBezTo>
                  <a:cubicBezTo>
                    <a:pt x="1500" y="781"/>
                    <a:pt x="1351" y="1030"/>
                    <a:pt x="1172" y="1253"/>
                  </a:cubicBezTo>
                  <a:cubicBezTo>
                    <a:pt x="994" y="1477"/>
                    <a:pt x="786" y="1676"/>
                    <a:pt x="586" y="1803"/>
                  </a:cubicBezTo>
                  <a:cubicBezTo>
                    <a:pt x="486" y="1867"/>
                    <a:pt x="375" y="1856"/>
                    <a:pt x="269" y="1807"/>
                  </a:cubicBezTo>
                  <a:cubicBezTo>
                    <a:pt x="157" y="1755"/>
                    <a:pt x="106" y="1695"/>
                    <a:pt x="33" y="1602"/>
                  </a:cubicBezTo>
                  <a:cubicBezTo>
                    <a:pt x="11" y="1573"/>
                    <a:pt x="0" y="1540"/>
                    <a:pt x="2" y="1508"/>
                  </a:cubicBezTo>
                  <a:cubicBezTo>
                    <a:pt x="4" y="1475"/>
                    <a:pt x="18" y="1444"/>
                    <a:pt x="45" y="1421"/>
                  </a:cubicBezTo>
                  <a:cubicBezTo>
                    <a:pt x="70" y="1399"/>
                    <a:pt x="346" y="1158"/>
                    <a:pt x="346" y="1158"/>
                  </a:cubicBezTo>
                  <a:cubicBezTo>
                    <a:pt x="376" y="1134"/>
                    <a:pt x="413" y="1133"/>
                    <a:pt x="448" y="1145"/>
                  </a:cubicBezTo>
                  <a:cubicBezTo>
                    <a:pt x="510" y="1166"/>
                    <a:pt x="536" y="1210"/>
                    <a:pt x="573" y="1257"/>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351"/>
            </a:p>
          </p:txBody>
        </p:sp>
      </p:grpSp>
      <p:grpSp>
        <p:nvGrpSpPr>
          <p:cNvPr id="11" name="Group 3">
            <a:extLst>
              <a:ext uri="{FF2B5EF4-FFF2-40B4-BE49-F238E27FC236}">
                <a16:creationId xmlns:a16="http://schemas.microsoft.com/office/drawing/2014/main" id="{DED6A25A-5DE2-1441-8BA2-C68D3B4F9209}"/>
              </a:ext>
            </a:extLst>
          </p:cNvPr>
          <p:cNvGrpSpPr>
            <a:grpSpLocks noChangeAspect="1"/>
          </p:cNvGrpSpPr>
          <p:nvPr>
            <p:custDataLst>
              <p:tags r:id="rId1"/>
            </p:custDataLst>
          </p:nvPr>
        </p:nvGrpSpPr>
        <p:grpSpPr>
          <a:xfrm>
            <a:off x="3770066" y="3153207"/>
            <a:ext cx="171180" cy="171180"/>
            <a:chOff x="328396" y="5313940"/>
            <a:chExt cx="720000" cy="720000"/>
          </a:xfrm>
        </p:grpSpPr>
        <p:sp>
          <p:nvSpPr>
            <p:cNvPr id="12" name="Rectangle 4">
              <a:extLst>
                <a:ext uri="{FF2B5EF4-FFF2-40B4-BE49-F238E27FC236}">
                  <a16:creationId xmlns:a16="http://schemas.microsoft.com/office/drawing/2014/main" id="{5F49E67F-D4FA-9D48-96BC-59AE946ECD15}"/>
                </a:ext>
              </a:extLst>
            </p:cNvPr>
            <p:cNvSpPr/>
            <p:nvPr/>
          </p:nvSpPr>
          <p:spPr bwMode="gray">
            <a:xfrm>
              <a:off x="328396" y="5313940"/>
              <a:ext cx="720000" cy="720000"/>
            </a:xfrm>
            <a:prstGeom prst="rect">
              <a:avLst/>
            </a:prstGeom>
            <a:solidFill>
              <a:srgbClr val="E55A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pPr>
              <a:endParaRPr lang="en-US" sz="1000">
                <a:solidFill>
                  <a:schemeClr val="tx1"/>
                </a:solidFill>
                <a:latin typeface="Arial" pitchFamily="34" charset="0"/>
                <a:cs typeface="Arial" pitchFamily="34" charset="0"/>
              </a:endParaRPr>
            </a:p>
          </p:txBody>
        </p:sp>
        <p:sp>
          <p:nvSpPr>
            <p:cNvPr id="13" name="Freeform 76">
              <a:extLst>
                <a:ext uri="{FF2B5EF4-FFF2-40B4-BE49-F238E27FC236}">
                  <a16:creationId xmlns:a16="http://schemas.microsoft.com/office/drawing/2014/main" id="{187E70E6-AF3F-2549-908E-DF4BA61040AA}"/>
                </a:ext>
              </a:extLst>
            </p:cNvPr>
            <p:cNvSpPr>
              <a:spLocks noChangeAspect="1" noEditPoints="1"/>
            </p:cNvSpPr>
            <p:nvPr/>
          </p:nvSpPr>
          <p:spPr bwMode="auto">
            <a:xfrm>
              <a:off x="456202" y="5509222"/>
              <a:ext cx="504000" cy="329436"/>
            </a:xfrm>
            <a:custGeom>
              <a:avLst/>
              <a:gdLst>
                <a:gd name="T0" fmla="*/ 0 w 2080"/>
                <a:gd name="T1" fmla="*/ 65 h 1360"/>
                <a:gd name="T2" fmla="*/ 0 w 2080"/>
                <a:gd name="T3" fmla="*/ 0 h 1360"/>
                <a:gd name="T4" fmla="*/ 2080 w 2080"/>
                <a:gd name="T5" fmla="*/ 0 h 1360"/>
                <a:gd name="T6" fmla="*/ 2080 w 2080"/>
                <a:gd name="T7" fmla="*/ 65 h 1360"/>
                <a:gd name="T8" fmla="*/ 1089 w 2080"/>
                <a:gd name="T9" fmla="*/ 862 h 1360"/>
                <a:gd name="T10" fmla="*/ 991 w 2080"/>
                <a:gd name="T11" fmla="*/ 862 h 1360"/>
                <a:gd name="T12" fmla="*/ 0 w 2080"/>
                <a:gd name="T13" fmla="*/ 65 h 1360"/>
                <a:gd name="T14" fmla="*/ 1139 w 2080"/>
                <a:gd name="T15" fmla="*/ 924 h 1360"/>
                <a:gd name="T16" fmla="*/ 1282 w 2080"/>
                <a:gd name="T17" fmla="*/ 810 h 1360"/>
                <a:gd name="T18" fmla="*/ 2076 w 2080"/>
                <a:gd name="T19" fmla="*/ 1360 h 1360"/>
                <a:gd name="T20" fmla="*/ 4 w 2080"/>
                <a:gd name="T21" fmla="*/ 1360 h 1360"/>
                <a:gd name="T22" fmla="*/ 798 w 2080"/>
                <a:gd name="T23" fmla="*/ 810 h 1360"/>
                <a:gd name="T24" fmla="*/ 941 w 2080"/>
                <a:gd name="T25" fmla="*/ 924 h 1360"/>
                <a:gd name="T26" fmla="*/ 1139 w 2080"/>
                <a:gd name="T27" fmla="*/ 924 h 1360"/>
                <a:gd name="T28" fmla="*/ 2 w 2080"/>
                <a:gd name="T29" fmla="*/ 137 h 1360"/>
                <a:gd name="T30" fmla="*/ 42 w 2080"/>
                <a:gd name="T31" fmla="*/ 201 h 1360"/>
                <a:gd name="T32" fmla="*/ 734 w 2080"/>
                <a:gd name="T33" fmla="*/ 758 h 1360"/>
                <a:gd name="T34" fmla="*/ 0 w 2080"/>
                <a:gd name="T35" fmla="*/ 1266 h 1360"/>
                <a:gd name="T36" fmla="*/ 0 w 2080"/>
                <a:gd name="T37" fmla="*/ 135 h 1360"/>
                <a:gd name="T38" fmla="*/ 2 w 2080"/>
                <a:gd name="T39" fmla="*/ 137 h 1360"/>
                <a:gd name="T40" fmla="*/ 2080 w 2080"/>
                <a:gd name="T41" fmla="*/ 136 h 1360"/>
                <a:gd name="T42" fmla="*/ 2080 w 2080"/>
                <a:gd name="T43" fmla="*/ 1265 h 1360"/>
                <a:gd name="T44" fmla="*/ 1346 w 2080"/>
                <a:gd name="T45" fmla="*/ 758 h 1360"/>
                <a:gd name="T46" fmla="*/ 2038 w 2080"/>
                <a:gd name="T47" fmla="*/ 201 h 1360"/>
                <a:gd name="T48" fmla="*/ 2080 w 2080"/>
                <a:gd name="T49" fmla="*/ 136 h 1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080" h="1360">
                  <a:moveTo>
                    <a:pt x="0" y="65"/>
                  </a:moveTo>
                  <a:cubicBezTo>
                    <a:pt x="0" y="0"/>
                    <a:pt x="0" y="0"/>
                    <a:pt x="0" y="0"/>
                  </a:cubicBezTo>
                  <a:cubicBezTo>
                    <a:pt x="2080" y="0"/>
                    <a:pt x="2080" y="0"/>
                    <a:pt x="2080" y="0"/>
                  </a:cubicBezTo>
                  <a:cubicBezTo>
                    <a:pt x="2080" y="65"/>
                    <a:pt x="2080" y="65"/>
                    <a:pt x="2080" y="65"/>
                  </a:cubicBezTo>
                  <a:cubicBezTo>
                    <a:pt x="1089" y="862"/>
                    <a:pt x="1089" y="862"/>
                    <a:pt x="1089" y="862"/>
                  </a:cubicBezTo>
                  <a:cubicBezTo>
                    <a:pt x="1060" y="886"/>
                    <a:pt x="1020" y="886"/>
                    <a:pt x="991" y="862"/>
                  </a:cubicBezTo>
                  <a:lnTo>
                    <a:pt x="0" y="65"/>
                  </a:lnTo>
                  <a:close/>
                  <a:moveTo>
                    <a:pt x="1139" y="924"/>
                  </a:moveTo>
                  <a:cubicBezTo>
                    <a:pt x="1282" y="810"/>
                    <a:pt x="1282" y="810"/>
                    <a:pt x="1282" y="810"/>
                  </a:cubicBezTo>
                  <a:cubicBezTo>
                    <a:pt x="2076" y="1360"/>
                    <a:pt x="2076" y="1360"/>
                    <a:pt x="2076" y="1360"/>
                  </a:cubicBezTo>
                  <a:cubicBezTo>
                    <a:pt x="4" y="1360"/>
                    <a:pt x="4" y="1360"/>
                    <a:pt x="4" y="1360"/>
                  </a:cubicBezTo>
                  <a:cubicBezTo>
                    <a:pt x="798" y="810"/>
                    <a:pt x="798" y="810"/>
                    <a:pt x="798" y="810"/>
                  </a:cubicBezTo>
                  <a:cubicBezTo>
                    <a:pt x="941" y="924"/>
                    <a:pt x="941" y="924"/>
                    <a:pt x="941" y="924"/>
                  </a:cubicBezTo>
                  <a:cubicBezTo>
                    <a:pt x="1000" y="972"/>
                    <a:pt x="1080" y="972"/>
                    <a:pt x="1139" y="924"/>
                  </a:cubicBezTo>
                  <a:close/>
                  <a:moveTo>
                    <a:pt x="2" y="137"/>
                  </a:moveTo>
                  <a:cubicBezTo>
                    <a:pt x="8" y="163"/>
                    <a:pt x="22" y="185"/>
                    <a:pt x="42" y="201"/>
                  </a:cubicBezTo>
                  <a:cubicBezTo>
                    <a:pt x="734" y="758"/>
                    <a:pt x="734" y="758"/>
                    <a:pt x="734" y="758"/>
                  </a:cubicBezTo>
                  <a:cubicBezTo>
                    <a:pt x="0" y="1266"/>
                    <a:pt x="0" y="1266"/>
                    <a:pt x="0" y="1266"/>
                  </a:cubicBezTo>
                  <a:cubicBezTo>
                    <a:pt x="0" y="135"/>
                    <a:pt x="0" y="135"/>
                    <a:pt x="0" y="135"/>
                  </a:cubicBezTo>
                  <a:lnTo>
                    <a:pt x="2" y="137"/>
                  </a:lnTo>
                  <a:close/>
                  <a:moveTo>
                    <a:pt x="2080" y="136"/>
                  </a:moveTo>
                  <a:cubicBezTo>
                    <a:pt x="2080" y="1265"/>
                    <a:pt x="2080" y="1265"/>
                    <a:pt x="2080" y="1265"/>
                  </a:cubicBezTo>
                  <a:cubicBezTo>
                    <a:pt x="1346" y="758"/>
                    <a:pt x="1346" y="758"/>
                    <a:pt x="1346" y="758"/>
                  </a:cubicBezTo>
                  <a:cubicBezTo>
                    <a:pt x="2038" y="201"/>
                    <a:pt x="2038" y="201"/>
                    <a:pt x="2038" y="201"/>
                  </a:cubicBezTo>
                  <a:cubicBezTo>
                    <a:pt x="2060" y="182"/>
                    <a:pt x="2072" y="162"/>
                    <a:pt x="2080" y="13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000"/>
            </a:p>
          </p:txBody>
        </p:sp>
      </p:grpSp>
      <p:grpSp>
        <p:nvGrpSpPr>
          <p:cNvPr id="14" name="Gruppieren 2">
            <a:extLst>
              <a:ext uri="{FF2B5EF4-FFF2-40B4-BE49-F238E27FC236}">
                <a16:creationId xmlns:a16="http://schemas.microsoft.com/office/drawing/2014/main" id="{BE697CE9-EBDE-6B4A-BE70-582D92A8A831}"/>
              </a:ext>
            </a:extLst>
          </p:cNvPr>
          <p:cNvGrpSpPr/>
          <p:nvPr/>
        </p:nvGrpSpPr>
        <p:grpSpPr>
          <a:xfrm>
            <a:off x="8701917" y="2868319"/>
            <a:ext cx="171180" cy="171180"/>
            <a:chOff x="3392092" y="1841122"/>
            <a:chExt cx="646508" cy="646508"/>
          </a:xfrm>
        </p:grpSpPr>
        <p:sp>
          <p:nvSpPr>
            <p:cNvPr id="15" name="Rechteck 14">
              <a:extLst>
                <a:ext uri="{FF2B5EF4-FFF2-40B4-BE49-F238E27FC236}">
                  <a16:creationId xmlns:a16="http://schemas.microsoft.com/office/drawing/2014/main" id="{E142A731-19B7-C34D-9534-9E05108F895F}"/>
                </a:ext>
              </a:extLst>
            </p:cNvPr>
            <p:cNvSpPr>
              <a:spLocks noChangeAspect="1"/>
            </p:cNvSpPr>
            <p:nvPr/>
          </p:nvSpPr>
          <p:spPr bwMode="gray">
            <a:xfrm>
              <a:off x="3392092" y="1841122"/>
              <a:ext cx="646508" cy="646508"/>
            </a:xfrm>
            <a:prstGeom prst="rect">
              <a:avLst/>
            </a:prstGeom>
            <a:solidFill>
              <a:srgbClr val="E55A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pPr>
              <a:endParaRPr lang="en-US" sz="1000">
                <a:solidFill>
                  <a:schemeClr val="tx1"/>
                </a:solidFill>
                <a:latin typeface="Arial" pitchFamily="34" charset="0"/>
                <a:cs typeface="Arial" pitchFamily="34" charset="0"/>
              </a:endParaRPr>
            </a:p>
          </p:txBody>
        </p:sp>
        <p:sp>
          <p:nvSpPr>
            <p:cNvPr id="16" name="Freeform 15">
              <a:extLst>
                <a:ext uri="{FF2B5EF4-FFF2-40B4-BE49-F238E27FC236}">
                  <a16:creationId xmlns:a16="http://schemas.microsoft.com/office/drawing/2014/main" id="{F97E84AE-4AD9-4B44-9AA1-F797FC373809}"/>
                </a:ext>
              </a:extLst>
            </p:cNvPr>
            <p:cNvSpPr>
              <a:spLocks noChangeAspect="1"/>
            </p:cNvSpPr>
            <p:nvPr/>
          </p:nvSpPr>
          <p:spPr bwMode="auto">
            <a:xfrm>
              <a:off x="3546638" y="1970424"/>
              <a:ext cx="337415" cy="387905"/>
            </a:xfrm>
            <a:custGeom>
              <a:avLst/>
              <a:gdLst>
                <a:gd name="T0" fmla="*/ 573 w 1624"/>
                <a:gd name="T1" fmla="*/ 1257 h 1867"/>
                <a:gd name="T2" fmla="*/ 662 w 1624"/>
                <a:gd name="T3" fmla="*/ 1288 h 1867"/>
                <a:gd name="T4" fmla="*/ 938 w 1624"/>
                <a:gd name="T5" fmla="*/ 1051 h 1867"/>
                <a:gd name="T6" fmla="*/ 1106 w 1624"/>
                <a:gd name="T7" fmla="*/ 731 h 1867"/>
                <a:gd name="T8" fmla="*/ 1059 w 1624"/>
                <a:gd name="T9" fmla="*/ 645 h 1867"/>
                <a:gd name="T10" fmla="*/ 1001 w 1624"/>
                <a:gd name="T11" fmla="*/ 613 h 1867"/>
                <a:gd name="T12" fmla="*/ 924 w 1624"/>
                <a:gd name="T13" fmla="*/ 432 h 1867"/>
                <a:gd name="T14" fmla="*/ 1114 w 1624"/>
                <a:gd name="T15" fmla="*/ 81 h 1867"/>
                <a:gd name="T16" fmla="*/ 1287 w 1624"/>
                <a:gd name="T17" fmla="*/ 35 h 1867"/>
                <a:gd name="T18" fmla="*/ 1350 w 1624"/>
                <a:gd name="T19" fmla="*/ 69 h 1867"/>
                <a:gd name="T20" fmla="*/ 1527 w 1624"/>
                <a:gd name="T21" fmla="*/ 235 h 1867"/>
                <a:gd name="T22" fmla="*/ 1583 w 1624"/>
                <a:gd name="T23" fmla="*/ 555 h 1867"/>
                <a:gd name="T24" fmla="*/ 1172 w 1624"/>
                <a:gd name="T25" fmla="*/ 1253 h 1867"/>
                <a:gd name="T26" fmla="*/ 586 w 1624"/>
                <a:gd name="T27" fmla="*/ 1803 h 1867"/>
                <a:gd name="T28" fmla="*/ 269 w 1624"/>
                <a:gd name="T29" fmla="*/ 1807 h 1867"/>
                <a:gd name="T30" fmla="*/ 33 w 1624"/>
                <a:gd name="T31" fmla="*/ 1602 h 1867"/>
                <a:gd name="T32" fmla="*/ 2 w 1624"/>
                <a:gd name="T33" fmla="*/ 1508 h 1867"/>
                <a:gd name="T34" fmla="*/ 45 w 1624"/>
                <a:gd name="T35" fmla="*/ 1421 h 1867"/>
                <a:gd name="T36" fmla="*/ 346 w 1624"/>
                <a:gd name="T37" fmla="*/ 1158 h 1867"/>
                <a:gd name="T38" fmla="*/ 448 w 1624"/>
                <a:gd name="T39" fmla="*/ 1145 h 1867"/>
                <a:gd name="T40" fmla="*/ 573 w 1624"/>
                <a:gd name="T41" fmla="*/ 1257 h 18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24" h="1867">
                  <a:moveTo>
                    <a:pt x="573" y="1257"/>
                  </a:moveTo>
                  <a:cubicBezTo>
                    <a:pt x="592" y="1282"/>
                    <a:pt x="630" y="1303"/>
                    <a:pt x="662" y="1288"/>
                  </a:cubicBezTo>
                  <a:cubicBezTo>
                    <a:pt x="753" y="1245"/>
                    <a:pt x="854" y="1156"/>
                    <a:pt x="938" y="1051"/>
                  </a:cubicBezTo>
                  <a:cubicBezTo>
                    <a:pt x="1020" y="948"/>
                    <a:pt x="1084" y="831"/>
                    <a:pt x="1106" y="731"/>
                  </a:cubicBezTo>
                  <a:cubicBezTo>
                    <a:pt x="1113" y="696"/>
                    <a:pt x="1089" y="661"/>
                    <a:pt x="1059" y="645"/>
                  </a:cubicBezTo>
                  <a:cubicBezTo>
                    <a:pt x="1001" y="613"/>
                    <a:pt x="1001" y="613"/>
                    <a:pt x="1001" y="613"/>
                  </a:cubicBezTo>
                  <a:cubicBezTo>
                    <a:pt x="942" y="580"/>
                    <a:pt x="888" y="499"/>
                    <a:pt x="924" y="432"/>
                  </a:cubicBezTo>
                  <a:cubicBezTo>
                    <a:pt x="1114" y="81"/>
                    <a:pt x="1114" y="81"/>
                    <a:pt x="1114" y="81"/>
                  </a:cubicBezTo>
                  <a:cubicBezTo>
                    <a:pt x="1150" y="16"/>
                    <a:pt x="1224" y="0"/>
                    <a:pt x="1287" y="35"/>
                  </a:cubicBezTo>
                  <a:cubicBezTo>
                    <a:pt x="1350" y="69"/>
                    <a:pt x="1350" y="69"/>
                    <a:pt x="1350" y="69"/>
                  </a:cubicBezTo>
                  <a:cubicBezTo>
                    <a:pt x="1415" y="105"/>
                    <a:pt x="1479" y="165"/>
                    <a:pt x="1527" y="235"/>
                  </a:cubicBezTo>
                  <a:cubicBezTo>
                    <a:pt x="1593" y="332"/>
                    <a:pt x="1624" y="442"/>
                    <a:pt x="1583" y="555"/>
                  </a:cubicBezTo>
                  <a:cubicBezTo>
                    <a:pt x="1500" y="781"/>
                    <a:pt x="1351" y="1030"/>
                    <a:pt x="1172" y="1253"/>
                  </a:cubicBezTo>
                  <a:cubicBezTo>
                    <a:pt x="994" y="1477"/>
                    <a:pt x="786" y="1676"/>
                    <a:pt x="586" y="1803"/>
                  </a:cubicBezTo>
                  <a:cubicBezTo>
                    <a:pt x="486" y="1867"/>
                    <a:pt x="375" y="1856"/>
                    <a:pt x="269" y="1807"/>
                  </a:cubicBezTo>
                  <a:cubicBezTo>
                    <a:pt x="157" y="1755"/>
                    <a:pt x="106" y="1695"/>
                    <a:pt x="33" y="1602"/>
                  </a:cubicBezTo>
                  <a:cubicBezTo>
                    <a:pt x="11" y="1573"/>
                    <a:pt x="0" y="1540"/>
                    <a:pt x="2" y="1508"/>
                  </a:cubicBezTo>
                  <a:cubicBezTo>
                    <a:pt x="4" y="1475"/>
                    <a:pt x="18" y="1444"/>
                    <a:pt x="45" y="1421"/>
                  </a:cubicBezTo>
                  <a:cubicBezTo>
                    <a:pt x="70" y="1399"/>
                    <a:pt x="346" y="1158"/>
                    <a:pt x="346" y="1158"/>
                  </a:cubicBezTo>
                  <a:cubicBezTo>
                    <a:pt x="376" y="1134"/>
                    <a:pt x="413" y="1133"/>
                    <a:pt x="448" y="1145"/>
                  </a:cubicBezTo>
                  <a:cubicBezTo>
                    <a:pt x="510" y="1166"/>
                    <a:pt x="536" y="1210"/>
                    <a:pt x="573" y="1257"/>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351"/>
            </a:p>
          </p:txBody>
        </p:sp>
      </p:grpSp>
      <p:grpSp>
        <p:nvGrpSpPr>
          <p:cNvPr id="17" name="Group 3">
            <a:extLst>
              <a:ext uri="{FF2B5EF4-FFF2-40B4-BE49-F238E27FC236}">
                <a16:creationId xmlns:a16="http://schemas.microsoft.com/office/drawing/2014/main" id="{7104BADD-8CD1-6F4A-B894-869C3BDB3EEB}"/>
              </a:ext>
            </a:extLst>
          </p:cNvPr>
          <p:cNvGrpSpPr>
            <a:grpSpLocks noChangeAspect="1"/>
          </p:cNvGrpSpPr>
          <p:nvPr>
            <p:custDataLst>
              <p:tags r:id="rId2"/>
            </p:custDataLst>
          </p:nvPr>
        </p:nvGrpSpPr>
        <p:grpSpPr>
          <a:xfrm>
            <a:off x="8701918" y="3153207"/>
            <a:ext cx="171180" cy="171180"/>
            <a:chOff x="328396" y="5313940"/>
            <a:chExt cx="720000" cy="720000"/>
          </a:xfrm>
        </p:grpSpPr>
        <p:sp>
          <p:nvSpPr>
            <p:cNvPr id="18" name="Rectangle 4">
              <a:extLst>
                <a:ext uri="{FF2B5EF4-FFF2-40B4-BE49-F238E27FC236}">
                  <a16:creationId xmlns:a16="http://schemas.microsoft.com/office/drawing/2014/main" id="{74BE3D5F-1445-6E40-8B49-72E15568383B}"/>
                </a:ext>
              </a:extLst>
            </p:cNvPr>
            <p:cNvSpPr/>
            <p:nvPr/>
          </p:nvSpPr>
          <p:spPr bwMode="gray">
            <a:xfrm>
              <a:off x="328396" y="5313940"/>
              <a:ext cx="720000" cy="720000"/>
            </a:xfrm>
            <a:prstGeom prst="rect">
              <a:avLst/>
            </a:prstGeom>
            <a:solidFill>
              <a:srgbClr val="E55A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pPr>
              <a:endParaRPr lang="en-US" sz="1000">
                <a:solidFill>
                  <a:schemeClr val="tx1"/>
                </a:solidFill>
                <a:latin typeface="Arial" pitchFamily="34" charset="0"/>
                <a:cs typeface="Arial" pitchFamily="34" charset="0"/>
              </a:endParaRPr>
            </a:p>
          </p:txBody>
        </p:sp>
        <p:sp>
          <p:nvSpPr>
            <p:cNvPr id="19" name="Freeform 76">
              <a:extLst>
                <a:ext uri="{FF2B5EF4-FFF2-40B4-BE49-F238E27FC236}">
                  <a16:creationId xmlns:a16="http://schemas.microsoft.com/office/drawing/2014/main" id="{55DB3C95-7D0C-D141-901E-96D692794D2B}"/>
                </a:ext>
              </a:extLst>
            </p:cNvPr>
            <p:cNvSpPr>
              <a:spLocks noChangeAspect="1" noEditPoints="1"/>
            </p:cNvSpPr>
            <p:nvPr/>
          </p:nvSpPr>
          <p:spPr bwMode="auto">
            <a:xfrm>
              <a:off x="456202" y="5509222"/>
              <a:ext cx="504000" cy="329436"/>
            </a:xfrm>
            <a:custGeom>
              <a:avLst/>
              <a:gdLst>
                <a:gd name="T0" fmla="*/ 0 w 2080"/>
                <a:gd name="T1" fmla="*/ 65 h 1360"/>
                <a:gd name="T2" fmla="*/ 0 w 2080"/>
                <a:gd name="T3" fmla="*/ 0 h 1360"/>
                <a:gd name="T4" fmla="*/ 2080 w 2080"/>
                <a:gd name="T5" fmla="*/ 0 h 1360"/>
                <a:gd name="T6" fmla="*/ 2080 w 2080"/>
                <a:gd name="T7" fmla="*/ 65 h 1360"/>
                <a:gd name="T8" fmla="*/ 1089 w 2080"/>
                <a:gd name="T9" fmla="*/ 862 h 1360"/>
                <a:gd name="T10" fmla="*/ 991 w 2080"/>
                <a:gd name="T11" fmla="*/ 862 h 1360"/>
                <a:gd name="T12" fmla="*/ 0 w 2080"/>
                <a:gd name="T13" fmla="*/ 65 h 1360"/>
                <a:gd name="T14" fmla="*/ 1139 w 2080"/>
                <a:gd name="T15" fmla="*/ 924 h 1360"/>
                <a:gd name="T16" fmla="*/ 1282 w 2080"/>
                <a:gd name="T17" fmla="*/ 810 h 1360"/>
                <a:gd name="T18" fmla="*/ 2076 w 2080"/>
                <a:gd name="T19" fmla="*/ 1360 h 1360"/>
                <a:gd name="T20" fmla="*/ 4 w 2080"/>
                <a:gd name="T21" fmla="*/ 1360 h 1360"/>
                <a:gd name="T22" fmla="*/ 798 w 2080"/>
                <a:gd name="T23" fmla="*/ 810 h 1360"/>
                <a:gd name="T24" fmla="*/ 941 w 2080"/>
                <a:gd name="T25" fmla="*/ 924 h 1360"/>
                <a:gd name="T26" fmla="*/ 1139 w 2080"/>
                <a:gd name="T27" fmla="*/ 924 h 1360"/>
                <a:gd name="T28" fmla="*/ 2 w 2080"/>
                <a:gd name="T29" fmla="*/ 137 h 1360"/>
                <a:gd name="T30" fmla="*/ 42 w 2080"/>
                <a:gd name="T31" fmla="*/ 201 h 1360"/>
                <a:gd name="T32" fmla="*/ 734 w 2080"/>
                <a:gd name="T33" fmla="*/ 758 h 1360"/>
                <a:gd name="T34" fmla="*/ 0 w 2080"/>
                <a:gd name="T35" fmla="*/ 1266 h 1360"/>
                <a:gd name="T36" fmla="*/ 0 w 2080"/>
                <a:gd name="T37" fmla="*/ 135 h 1360"/>
                <a:gd name="T38" fmla="*/ 2 w 2080"/>
                <a:gd name="T39" fmla="*/ 137 h 1360"/>
                <a:gd name="T40" fmla="*/ 2080 w 2080"/>
                <a:gd name="T41" fmla="*/ 136 h 1360"/>
                <a:gd name="T42" fmla="*/ 2080 w 2080"/>
                <a:gd name="T43" fmla="*/ 1265 h 1360"/>
                <a:gd name="T44" fmla="*/ 1346 w 2080"/>
                <a:gd name="T45" fmla="*/ 758 h 1360"/>
                <a:gd name="T46" fmla="*/ 2038 w 2080"/>
                <a:gd name="T47" fmla="*/ 201 h 1360"/>
                <a:gd name="T48" fmla="*/ 2080 w 2080"/>
                <a:gd name="T49" fmla="*/ 136 h 1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080" h="1360">
                  <a:moveTo>
                    <a:pt x="0" y="65"/>
                  </a:moveTo>
                  <a:cubicBezTo>
                    <a:pt x="0" y="0"/>
                    <a:pt x="0" y="0"/>
                    <a:pt x="0" y="0"/>
                  </a:cubicBezTo>
                  <a:cubicBezTo>
                    <a:pt x="2080" y="0"/>
                    <a:pt x="2080" y="0"/>
                    <a:pt x="2080" y="0"/>
                  </a:cubicBezTo>
                  <a:cubicBezTo>
                    <a:pt x="2080" y="65"/>
                    <a:pt x="2080" y="65"/>
                    <a:pt x="2080" y="65"/>
                  </a:cubicBezTo>
                  <a:cubicBezTo>
                    <a:pt x="1089" y="862"/>
                    <a:pt x="1089" y="862"/>
                    <a:pt x="1089" y="862"/>
                  </a:cubicBezTo>
                  <a:cubicBezTo>
                    <a:pt x="1060" y="886"/>
                    <a:pt x="1020" y="886"/>
                    <a:pt x="991" y="862"/>
                  </a:cubicBezTo>
                  <a:lnTo>
                    <a:pt x="0" y="65"/>
                  </a:lnTo>
                  <a:close/>
                  <a:moveTo>
                    <a:pt x="1139" y="924"/>
                  </a:moveTo>
                  <a:cubicBezTo>
                    <a:pt x="1282" y="810"/>
                    <a:pt x="1282" y="810"/>
                    <a:pt x="1282" y="810"/>
                  </a:cubicBezTo>
                  <a:cubicBezTo>
                    <a:pt x="2076" y="1360"/>
                    <a:pt x="2076" y="1360"/>
                    <a:pt x="2076" y="1360"/>
                  </a:cubicBezTo>
                  <a:cubicBezTo>
                    <a:pt x="4" y="1360"/>
                    <a:pt x="4" y="1360"/>
                    <a:pt x="4" y="1360"/>
                  </a:cubicBezTo>
                  <a:cubicBezTo>
                    <a:pt x="798" y="810"/>
                    <a:pt x="798" y="810"/>
                    <a:pt x="798" y="810"/>
                  </a:cubicBezTo>
                  <a:cubicBezTo>
                    <a:pt x="941" y="924"/>
                    <a:pt x="941" y="924"/>
                    <a:pt x="941" y="924"/>
                  </a:cubicBezTo>
                  <a:cubicBezTo>
                    <a:pt x="1000" y="972"/>
                    <a:pt x="1080" y="972"/>
                    <a:pt x="1139" y="924"/>
                  </a:cubicBezTo>
                  <a:close/>
                  <a:moveTo>
                    <a:pt x="2" y="137"/>
                  </a:moveTo>
                  <a:cubicBezTo>
                    <a:pt x="8" y="163"/>
                    <a:pt x="22" y="185"/>
                    <a:pt x="42" y="201"/>
                  </a:cubicBezTo>
                  <a:cubicBezTo>
                    <a:pt x="734" y="758"/>
                    <a:pt x="734" y="758"/>
                    <a:pt x="734" y="758"/>
                  </a:cubicBezTo>
                  <a:cubicBezTo>
                    <a:pt x="0" y="1266"/>
                    <a:pt x="0" y="1266"/>
                    <a:pt x="0" y="1266"/>
                  </a:cubicBezTo>
                  <a:cubicBezTo>
                    <a:pt x="0" y="135"/>
                    <a:pt x="0" y="135"/>
                    <a:pt x="0" y="135"/>
                  </a:cubicBezTo>
                  <a:lnTo>
                    <a:pt x="2" y="137"/>
                  </a:lnTo>
                  <a:close/>
                  <a:moveTo>
                    <a:pt x="2080" y="136"/>
                  </a:moveTo>
                  <a:cubicBezTo>
                    <a:pt x="2080" y="1265"/>
                    <a:pt x="2080" y="1265"/>
                    <a:pt x="2080" y="1265"/>
                  </a:cubicBezTo>
                  <a:cubicBezTo>
                    <a:pt x="1346" y="758"/>
                    <a:pt x="1346" y="758"/>
                    <a:pt x="1346" y="758"/>
                  </a:cubicBezTo>
                  <a:cubicBezTo>
                    <a:pt x="2038" y="201"/>
                    <a:pt x="2038" y="201"/>
                    <a:pt x="2038" y="201"/>
                  </a:cubicBezTo>
                  <a:cubicBezTo>
                    <a:pt x="2060" y="182"/>
                    <a:pt x="2072" y="162"/>
                    <a:pt x="2080" y="13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000"/>
            </a:p>
          </p:txBody>
        </p:sp>
      </p:grpSp>
      <p:cxnSp>
        <p:nvCxnSpPr>
          <p:cNvPr id="20" name="Straight Connector 19"/>
          <p:cNvCxnSpPr/>
          <p:nvPr/>
        </p:nvCxnSpPr>
        <p:spPr>
          <a:xfrm>
            <a:off x="2371725" y="3478213"/>
            <a:ext cx="3888000" cy="0"/>
          </a:xfrm>
          <a:prstGeom prst="line">
            <a:avLst/>
          </a:prstGeom>
          <a:ln w="6350">
            <a:solidFill>
              <a:schemeClr val="tx2"/>
            </a:solidFill>
            <a:prstDash val="dash"/>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p:nvCxnSpPr>
        <p:spPr>
          <a:xfrm>
            <a:off x="7287766" y="3478213"/>
            <a:ext cx="3888000" cy="0"/>
          </a:xfrm>
          <a:prstGeom prst="line">
            <a:avLst/>
          </a:prstGeom>
          <a:ln w="6350">
            <a:solidFill>
              <a:schemeClr val="tx2"/>
            </a:solidFill>
            <a:prstDash val="dash"/>
          </a:ln>
        </p:spPr>
        <p:style>
          <a:lnRef idx="1">
            <a:schemeClr val="accent1"/>
          </a:lnRef>
          <a:fillRef idx="0">
            <a:schemeClr val="accent1"/>
          </a:fillRef>
          <a:effectRef idx="0">
            <a:schemeClr val="accent1"/>
          </a:effectRef>
          <a:fontRef idx="minor">
            <a:schemeClr val="tx1"/>
          </a:fontRef>
        </p:style>
      </p:cxnSp>
      <p:sp>
        <p:nvSpPr>
          <p:cNvPr id="4" name="Picture Placeholder 3"/>
          <p:cNvSpPr>
            <a:spLocks noGrp="1"/>
          </p:cNvSpPr>
          <p:nvPr>
            <p:ph type="pic" sz="quarter" idx="17" hasCustomPrompt="1"/>
          </p:nvPr>
        </p:nvSpPr>
        <p:spPr>
          <a:xfrm>
            <a:off x="2355914" y="1808984"/>
            <a:ext cx="1188677" cy="1547840"/>
          </a:xfrm>
          <a:solidFill>
            <a:srgbClr val="D9DADB"/>
          </a:solidFill>
        </p:spPr>
        <p:txBody>
          <a:bodyPr/>
          <a:lstStyle>
            <a:lvl1pPr marL="0" indent="0">
              <a:buNone/>
              <a:defRPr sz="1400"/>
            </a:lvl1pPr>
          </a:lstStyle>
          <a:p>
            <a:r>
              <a:rPr lang="en-US"/>
              <a:t>Insert picture</a:t>
            </a:r>
          </a:p>
        </p:txBody>
      </p:sp>
      <p:sp>
        <p:nvSpPr>
          <p:cNvPr id="25" name="Picture Placeholder 3"/>
          <p:cNvSpPr>
            <a:spLocks noGrp="1"/>
          </p:cNvSpPr>
          <p:nvPr>
            <p:ph type="pic" sz="quarter" idx="18" hasCustomPrompt="1"/>
          </p:nvPr>
        </p:nvSpPr>
        <p:spPr>
          <a:xfrm>
            <a:off x="7287766" y="1808984"/>
            <a:ext cx="1188677" cy="1547840"/>
          </a:xfrm>
          <a:solidFill>
            <a:srgbClr val="D9DADB"/>
          </a:solidFill>
        </p:spPr>
        <p:txBody>
          <a:bodyPr/>
          <a:lstStyle>
            <a:lvl1pPr marL="0" indent="0">
              <a:buNone/>
              <a:defRPr sz="1400"/>
            </a:lvl1pPr>
          </a:lstStyle>
          <a:p>
            <a:r>
              <a:rPr lang="en-US"/>
              <a:t>Insert picture</a:t>
            </a:r>
          </a:p>
        </p:txBody>
      </p:sp>
      <p:sp>
        <p:nvSpPr>
          <p:cNvPr id="6" name="Text Placeholder 5"/>
          <p:cNvSpPr>
            <a:spLocks noGrp="1"/>
          </p:cNvSpPr>
          <p:nvPr>
            <p:ph type="body" sz="quarter" idx="19" hasCustomPrompt="1"/>
          </p:nvPr>
        </p:nvSpPr>
        <p:spPr>
          <a:xfrm>
            <a:off x="3770065" y="1808521"/>
            <a:ext cx="2463190" cy="192360"/>
          </a:xfrm>
        </p:spPr>
        <p:txBody>
          <a:bodyPr lIns="0" tIns="0" rIns="0" bIns="0" anchor="ctr" anchorCtr="0"/>
          <a:lstStyle>
            <a:lvl1pPr marL="0" indent="0" algn="l">
              <a:lnSpc>
                <a:spcPct val="100000"/>
              </a:lnSpc>
              <a:buNone/>
              <a:defRPr sz="100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Country</a:t>
            </a:r>
          </a:p>
        </p:txBody>
      </p:sp>
      <p:sp>
        <p:nvSpPr>
          <p:cNvPr id="26" name="Text Placeholder 5"/>
          <p:cNvSpPr>
            <a:spLocks noGrp="1"/>
          </p:cNvSpPr>
          <p:nvPr>
            <p:ph type="body" sz="quarter" idx="20" hasCustomPrompt="1"/>
          </p:nvPr>
        </p:nvSpPr>
        <p:spPr>
          <a:xfrm>
            <a:off x="3770065" y="2020337"/>
            <a:ext cx="2463190" cy="266182"/>
          </a:xfrm>
        </p:spPr>
        <p:txBody>
          <a:bodyPr lIns="0" tIns="0" rIns="0" bIns="0" anchor="b" anchorCtr="0"/>
          <a:lstStyle>
            <a:lvl1pPr marL="0" indent="0" algn="l">
              <a:lnSpc>
                <a:spcPct val="100000"/>
              </a:lnSpc>
              <a:buNone/>
              <a:defRPr sz="1400" b="1" baseline="0">
                <a:solidFill>
                  <a:schemeClr val="tx2"/>
                </a:solidFill>
              </a:defRPr>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Name, Surname</a:t>
            </a:r>
          </a:p>
        </p:txBody>
      </p:sp>
      <p:sp>
        <p:nvSpPr>
          <p:cNvPr id="27" name="Text Placeholder 5"/>
          <p:cNvSpPr>
            <a:spLocks noGrp="1"/>
          </p:cNvSpPr>
          <p:nvPr>
            <p:ph type="body" sz="quarter" idx="21" hasCustomPrompt="1"/>
          </p:nvPr>
        </p:nvSpPr>
        <p:spPr>
          <a:xfrm>
            <a:off x="3770065" y="2316912"/>
            <a:ext cx="2463190"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Job Position</a:t>
            </a:r>
          </a:p>
        </p:txBody>
      </p:sp>
      <p:sp>
        <p:nvSpPr>
          <p:cNvPr id="28" name="Text Placeholder 5"/>
          <p:cNvSpPr>
            <a:spLocks noGrp="1"/>
          </p:cNvSpPr>
          <p:nvPr>
            <p:ph type="body" sz="quarter" idx="22" hasCustomPrompt="1"/>
          </p:nvPr>
        </p:nvSpPr>
        <p:spPr>
          <a:xfrm>
            <a:off x="4014948" y="2845588"/>
            <a:ext cx="2218307"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Phone number</a:t>
            </a:r>
          </a:p>
        </p:txBody>
      </p:sp>
      <p:sp>
        <p:nvSpPr>
          <p:cNvPr id="29" name="Text Placeholder 5"/>
          <p:cNvSpPr>
            <a:spLocks noGrp="1"/>
          </p:cNvSpPr>
          <p:nvPr>
            <p:ph type="body" sz="quarter" idx="23" hasCustomPrompt="1"/>
          </p:nvPr>
        </p:nvSpPr>
        <p:spPr>
          <a:xfrm>
            <a:off x="4014948" y="3128395"/>
            <a:ext cx="2218307"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Email address</a:t>
            </a:r>
          </a:p>
        </p:txBody>
      </p:sp>
      <p:sp>
        <p:nvSpPr>
          <p:cNvPr id="30" name="Text Placeholder 5"/>
          <p:cNvSpPr>
            <a:spLocks noGrp="1"/>
          </p:cNvSpPr>
          <p:nvPr>
            <p:ph type="body" sz="quarter" idx="24" hasCustomPrompt="1"/>
          </p:nvPr>
        </p:nvSpPr>
        <p:spPr>
          <a:xfrm>
            <a:off x="8701917" y="1808521"/>
            <a:ext cx="2463190" cy="192360"/>
          </a:xfrm>
        </p:spPr>
        <p:txBody>
          <a:bodyPr lIns="0" tIns="0" rIns="0" bIns="0" anchor="ctr" anchorCtr="0"/>
          <a:lstStyle>
            <a:lvl1pPr marL="0" indent="0" algn="l">
              <a:lnSpc>
                <a:spcPct val="100000"/>
              </a:lnSpc>
              <a:buNone/>
              <a:defRPr sz="100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Country</a:t>
            </a:r>
          </a:p>
        </p:txBody>
      </p:sp>
      <p:sp>
        <p:nvSpPr>
          <p:cNvPr id="31" name="Text Placeholder 5"/>
          <p:cNvSpPr>
            <a:spLocks noGrp="1"/>
          </p:cNvSpPr>
          <p:nvPr>
            <p:ph type="body" sz="quarter" idx="25" hasCustomPrompt="1"/>
          </p:nvPr>
        </p:nvSpPr>
        <p:spPr>
          <a:xfrm>
            <a:off x="8701917" y="2020337"/>
            <a:ext cx="2463190" cy="266182"/>
          </a:xfrm>
        </p:spPr>
        <p:txBody>
          <a:bodyPr lIns="0" tIns="0" rIns="0" bIns="0" anchor="b" anchorCtr="0"/>
          <a:lstStyle>
            <a:lvl1pPr marL="0" indent="0" algn="l">
              <a:lnSpc>
                <a:spcPct val="100000"/>
              </a:lnSpc>
              <a:buNone/>
              <a:defRPr sz="1400" b="1" baseline="0">
                <a:solidFill>
                  <a:schemeClr val="tx2"/>
                </a:solidFill>
              </a:defRPr>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Name, Surname</a:t>
            </a:r>
          </a:p>
        </p:txBody>
      </p:sp>
      <p:sp>
        <p:nvSpPr>
          <p:cNvPr id="32" name="Text Placeholder 5"/>
          <p:cNvSpPr>
            <a:spLocks noGrp="1"/>
          </p:cNvSpPr>
          <p:nvPr>
            <p:ph type="body" sz="quarter" idx="26" hasCustomPrompt="1"/>
          </p:nvPr>
        </p:nvSpPr>
        <p:spPr>
          <a:xfrm>
            <a:off x="8701917" y="2316912"/>
            <a:ext cx="2463190"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Job Position</a:t>
            </a:r>
          </a:p>
        </p:txBody>
      </p:sp>
      <p:sp>
        <p:nvSpPr>
          <p:cNvPr id="33" name="Text Placeholder 5"/>
          <p:cNvSpPr>
            <a:spLocks noGrp="1"/>
          </p:cNvSpPr>
          <p:nvPr>
            <p:ph type="body" sz="quarter" idx="27" hasCustomPrompt="1"/>
          </p:nvPr>
        </p:nvSpPr>
        <p:spPr>
          <a:xfrm>
            <a:off x="8946800" y="2845588"/>
            <a:ext cx="2218307"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Phone number</a:t>
            </a:r>
          </a:p>
        </p:txBody>
      </p:sp>
      <p:sp>
        <p:nvSpPr>
          <p:cNvPr id="34" name="Text Placeholder 5"/>
          <p:cNvSpPr>
            <a:spLocks noGrp="1"/>
          </p:cNvSpPr>
          <p:nvPr>
            <p:ph type="body" sz="quarter" idx="28" hasCustomPrompt="1"/>
          </p:nvPr>
        </p:nvSpPr>
        <p:spPr>
          <a:xfrm>
            <a:off x="8946800" y="3128395"/>
            <a:ext cx="2218307"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Email address</a:t>
            </a:r>
          </a:p>
        </p:txBody>
      </p:sp>
      <p:grpSp>
        <p:nvGrpSpPr>
          <p:cNvPr id="35" name="Gruppieren 2">
            <a:extLst>
              <a:ext uri="{FF2B5EF4-FFF2-40B4-BE49-F238E27FC236}">
                <a16:creationId xmlns:a16="http://schemas.microsoft.com/office/drawing/2014/main" id="{BE697CE9-EBDE-6B4A-BE70-582D92A8A831}"/>
              </a:ext>
            </a:extLst>
          </p:cNvPr>
          <p:cNvGrpSpPr/>
          <p:nvPr/>
        </p:nvGrpSpPr>
        <p:grpSpPr>
          <a:xfrm>
            <a:off x="3770065" y="5045939"/>
            <a:ext cx="171180" cy="171180"/>
            <a:chOff x="3392092" y="1841122"/>
            <a:chExt cx="646508" cy="646508"/>
          </a:xfrm>
        </p:grpSpPr>
        <p:sp>
          <p:nvSpPr>
            <p:cNvPr id="36" name="Rechteck 14">
              <a:extLst>
                <a:ext uri="{FF2B5EF4-FFF2-40B4-BE49-F238E27FC236}">
                  <a16:creationId xmlns:a16="http://schemas.microsoft.com/office/drawing/2014/main" id="{E142A731-19B7-C34D-9534-9E05108F895F}"/>
                </a:ext>
              </a:extLst>
            </p:cNvPr>
            <p:cNvSpPr>
              <a:spLocks noChangeAspect="1"/>
            </p:cNvSpPr>
            <p:nvPr/>
          </p:nvSpPr>
          <p:spPr bwMode="gray">
            <a:xfrm>
              <a:off x="3392092" y="1841122"/>
              <a:ext cx="646508" cy="646508"/>
            </a:xfrm>
            <a:prstGeom prst="rect">
              <a:avLst/>
            </a:prstGeom>
            <a:solidFill>
              <a:srgbClr val="E55A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pPr>
              <a:endParaRPr lang="en-US" sz="1000">
                <a:solidFill>
                  <a:schemeClr val="tx1"/>
                </a:solidFill>
                <a:latin typeface="Arial" pitchFamily="34" charset="0"/>
                <a:cs typeface="Arial" pitchFamily="34" charset="0"/>
              </a:endParaRPr>
            </a:p>
          </p:txBody>
        </p:sp>
        <p:sp>
          <p:nvSpPr>
            <p:cNvPr id="37" name="Freeform 36">
              <a:extLst>
                <a:ext uri="{FF2B5EF4-FFF2-40B4-BE49-F238E27FC236}">
                  <a16:creationId xmlns:a16="http://schemas.microsoft.com/office/drawing/2014/main" id="{F97E84AE-4AD9-4B44-9AA1-F797FC373809}"/>
                </a:ext>
              </a:extLst>
            </p:cNvPr>
            <p:cNvSpPr>
              <a:spLocks noChangeAspect="1"/>
            </p:cNvSpPr>
            <p:nvPr/>
          </p:nvSpPr>
          <p:spPr bwMode="auto">
            <a:xfrm>
              <a:off x="3546638" y="1970424"/>
              <a:ext cx="337415" cy="387905"/>
            </a:xfrm>
            <a:custGeom>
              <a:avLst/>
              <a:gdLst>
                <a:gd name="T0" fmla="*/ 573 w 1624"/>
                <a:gd name="T1" fmla="*/ 1257 h 1867"/>
                <a:gd name="T2" fmla="*/ 662 w 1624"/>
                <a:gd name="T3" fmla="*/ 1288 h 1867"/>
                <a:gd name="T4" fmla="*/ 938 w 1624"/>
                <a:gd name="T5" fmla="*/ 1051 h 1867"/>
                <a:gd name="T6" fmla="*/ 1106 w 1624"/>
                <a:gd name="T7" fmla="*/ 731 h 1867"/>
                <a:gd name="T8" fmla="*/ 1059 w 1624"/>
                <a:gd name="T9" fmla="*/ 645 h 1867"/>
                <a:gd name="T10" fmla="*/ 1001 w 1624"/>
                <a:gd name="T11" fmla="*/ 613 h 1867"/>
                <a:gd name="T12" fmla="*/ 924 w 1624"/>
                <a:gd name="T13" fmla="*/ 432 h 1867"/>
                <a:gd name="T14" fmla="*/ 1114 w 1624"/>
                <a:gd name="T15" fmla="*/ 81 h 1867"/>
                <a:gd name="T16" fmla="*/ 1287 w 1624"/>
                <a:gd name="T17" fmla="*/ 35 h 1867"/>
                <a:gd name="T18" fmla="*/ 1350 w 1624"/>
                <a:gd name="T19" fmla="*/ 69 h 1867"/>
                <a:gd name="T20" fmla="*/ 1527 w 1624"/>
                <a:gd name="T21" fmla="*/ 235 h 1867"/>
                <a:gd name="T22" fmla="*/ 1583 w 1624"/>
                <a:gd name="T23" fmla="*/ 555 h 1867"/>
                <a:gd name="T24" fmla="*/ 1172 w 1624"/>
                <a:gd name="T25" fmla="*/ 1253 h 1867"/>
                <a:gd name="T26" fmla="*/ 586 w 1624"/>
                <a:gd name="T27" fmla="*/ 1803 h 1867"/>
                <a:gd name="T28" fmla="*/ 269 w 1624"/>
                <a:gd name="T29" fmla="*/ 1807 h 1867"/>
                <a:gd name="T30" fmla="*/ 33 w 1624"/>
                <a:gd name="T31" fmla="*/ 1602 h 1867"/>
                <a:gd name="T32" fmla="*/ 2 w 1624"/>
                <a:gd name="T33" fmla="*/ 1508 h 1867"/>
                <a:gd name="T34" fmla="*/ 45 w 1624"/>
                <a:gd name="T35" fmla="*/ 1421 h 1867"/>
                <a:gd name="T36" fmla="*/ 346 w 1624"/>
                <a:gd name="T37" fmla="*/ 1158 h 1867"/>
                <a:gd name="T38" fmla="*/ 448 w 1624"/>
                <a:gd name="T39" fmla="*/ 1145 h 1867"/>
                <a:gd name="T40" fmla="*/ 573 w 1624"/>
                <a:gd name="T41" fmla="*/ 1257 h 18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24" h="1867">
                  <a:moveTo>
                    <a:pt x="573" y="1257"/>
                  </a:moveTo>
                  <a:cubicBezTo>
                    <a:pt x="592" y="1282"/>
                    <a:pt x="630" y="1303"/>
                    <a:pt x="662" y="1288"/>
                  </a:cubicBezTo>
                  <a:cubicBezTo>
                    <a:pt x="753" y="1245"/>
                    <a:pt x="854" y="1156"/>
                    <a:pt x="938" y="1051"/>
                  </a:cubicBezTo>
                  <a:cubicBezTo>
                    <a:pt x="1020" y="948"/>
                    <a:pt x="1084" y="831"/>
                    <a:pt x="1106" y="731"/>
                  </a:cubicBezTo>
                  <a:cubicBezTo>
                    <a:pt x="1113" y="696"/>
                    <a:pt x="1089" y="661"/>
                    <a:pt x="1059" y="645"/>
                  </a:cubicBezTo>
                  <a:cubicBezTo>
                    <a:pt x="1001" y="613"/>
                    <a:pt x="1001" y="613"/>
                    <a:pt x="1001" y="613"/>
                  </a:cubicBezTo>
                  <a:cubicBezTo>
                    <a:pt x="942" y="580"/>
                    <a:pt x="888" y="499"/>
                    <a:pt x="924" y="432"/>
                  </a:cubicBezTo>
                  <a:cubicBezTo>
                    <a:pt x="1114" y="81"/>
                    <a:pt x="1114" y="81"/>
                    <a:pt x="1114" y="81"/>
                  </a:cubicBezTo>
                  <a:cubicBezTo>
                    <a:pt x="1150" y="16"/>
                    <a:pt x="1224" y="0"/>
                    <a:pt x="1287" y="35"/>
                  </a:cubicBezTo>
                  <a:cubicBezTo>
                    <a:pt x="1350" y="69"/>
                    <a:pt x="1350" y="69"/>
                    <a:pt x="1350" y="69"/>
                  </a:cubicBezTo>
                  <a:cubicBezTo>
                    <a:pt x="1415" y="105"/>
                    <a:pt x="1479" y="165"/>
                    <a:pt x="1527" y="235"/>
                  </a:cubicBezTo>
                  <a:cubicBezTo>
                    <a:pt x="1593" y="332"/>
                    <a:pt x="1624" y="442"/>
                    <a:pt x="1583" y="555"/>
                  </a:cubicBezTo>
                  <a:cubicBezTo>
                    <a:pt x="1500" y="781"/>
                    <a:pt x="1351" y="1030"/>
                    <a:pt x="1172" y="1253"/>
                  </a:cubicBezTo>
                  <a:cubicBezTo>
                    <a:pt x="994" y="1477"/>
                    <a:pt x="786" y="1676"/>
                    <a:pt x="586" y="1803"/>
                  </a:cubicBezTo>
                  <a:cubicBezTo>
                    <a:pt x="486" y="1867"/>
                    <a:pt x="375" y="1856"/>
                    <a:pt x="269" y="1807"/>
                  </a:cubicBezTo>
                  <a:cubicBezTo>
                    <a:pt x="157" y="1755"/>
                    <a:pt x="106" y="1695"/>
                    <a:pt x="33" y="1602"/>
                  </a:cubicBezTo>
                  <a:cubicBezTo>
                    <a:pt x="11" y="1573"/>
                    <a:pt x="0" y="1540"/>
                    <a:pt x="2" y="1508"/>
                  </a:cubicBezTo>
                  <a:cubicBezTo>
                    <a:pt x="4" y="1475"/>
                    <a:pt x="18" y="1444"/>
                    <a:pt x="45" y="1421"/>
                  </a:cubicBezTo>
                  <a:cubicBezTo>
                    <a:pt x="70" y="1399"/>
                    <a:pt x="346" y="1158"/>
                    <a:pt x="346" y="1158"/>
                  </a:cubicBezTo>
                  <a:cubicBezTo>
                    <a:pt x="376" y="1134"/>
                    <a:pt x="413" y="1133"/>
                    <a:pt x="448" y="1145"/>
                  </a:cubicBezTo>
                  <a:cubicBezTo>
                    <a:pt x="510" y="1166"/>
                    <a:pt x="536" y="1210"/>
                    <a:pt x="573" y="1257"/>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351"/>
            </a:p>
          </p:txBody>
        </p:sp>
      </p:grpSp>
      <p:grpSp>
        <p:nvGrpSpPr>
          <p:cNvPr id="38" name="Group 3">
            <a:extLst>
              <a:ext uri="{FF2B5EF4-FFF2-40B4-BE49-F238E27FC236}">
                <a16:creationId xmlns:a16="http://schemas.microsoft.com/office/drawing/2014/main" id="{7104BADD-8CD1-6F4A-B894-869C3BDB3EEB}"/>
              </a:ext>
            </a:extLst>
          </p:cNvPr>
          <p:cNvGrpSpPr>
            <a:grpSpLocks noChangeAspect="1"/>
          </p:cNvGrpSpPr>
          <p:nvPr>
            <p:custDataLst>
              <p:tags r:id="rId3"/>
            </p:custDataLst>
          </p:nvPr>
        </p:nvGrpSpPr>
        <p:grpSpPr>
          <a:xfrm>
            <a:off x="3770066" y="5330827"/>
            <a:ext cx="171180" cy="171180"/>
            <a:chOff x="328396" y="5313940"/>
            <a:chExt cx="720000" cy="720000"/>
          </a:xfrm>
        </p:grpSpPr>
        <p:sp>
          <p:nvSpPr>
            <p:cNvPr id="39" name="Rectangle 4">
              <a:extLst>
                <a:ext uri="{FF2B5EF4-FFF2-40B4-BE49-F238E27FC236}">
                  <a16:creationId xmlns:a16="http://schemas.microsoft.com/office/drawing/2014/main" id="{74BE3D5F-1445-6E40-8B49-72E15568383B}"/>
                </a:ext>
              </a:extLst>
            </p:cNvPr>
            <p:cNvSpPr/>
            <p:nvPr/>
          </p:nvSpPr>
          <p:spPr bwMode="gray">
            <a:xfrm>
              <a:off x="328396" y="5313940"/>
              <a:ext cx="720000" cy="720000"/>
            </a:xfrm>
            <a:prstGeom prst="rect">
              <a:avLst/>
            </a:prstGeom>
            <a:solidFill>
              <a:srgbClr val="E55A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pPr>
              <a:endParaRPr lang="en-US" sz="1000">
                <a:solidFill>
                  <a:schemeClr val="tx1"/>
                </a:solidFill>
                <a:latin typeface="Arial" pitchFamily="34" charset="0"/>
                <a:cs typeface="Arial" pitchFamily="34" charset="0"/>
              </a:endParaRPr>
            </a:p>
          </p:txBody>
        </p:sp>
        <p:sp>
          <p:nvSpPr>
            <p:cNvPr id="40" name="Freeform 76">
              <a:extLst>
                <a:ext uri="{FF2B5EF4-FFF2-40B4-BE49-F238E27FC236}">
                  <a16:creationId xmlns:a16="http://schemas.microsoft.com/office/drawing/2014/main" id="{55DB3C95-7D0C-D141-901E-96D692794D2B}"/>
                </a:ext>
              </a:extLst>
            </p:cNvPr>
            <p:cNvSpPr>
              <a:spLocks noChangeAspect="1" noEditPoints="1"/>
            </p:cNvSpPr>
            <p:nvPr/>
          </p:nvSpPr>
          <p:spPr bwMode="auto">
            <a:xfrm>
              <a:off x="456202" y="5509222"/>
              <a:ext cx="504000" cy="329436"/>
            </a:xfrm>
            <a:custGeom>
              <a:avLst/>
              <a:gdLst>
                <a:gd name="T0" fmla="*/ 0 w 2080"/>
                <a:gd name="T1" fmla="*/ 65 h 1360"/>
                <a:gd name="T2" fmla="*/ 0 w 2080"/>
                <a:gd name="T3" fmla="*/ 0 h 1360"/>
                <a:gd name="T4" fmla="*/ 2080 w 2080"/>
                <a:gd name="T5" fmla="*/ 0 h 1360"/>
                <a:gd name="T6" fmla="*/ 2080 w 2080"/>
                <a:gd name="T7" fmla="*/ 65 h 1360"/>
                <a:gd name="T8" fmla="*/ 1089 w 2080"/>
                <a:gd name="T9" fmla="*/ 862 h 1360"/>
                <a:gd name="T10" fmla="*/ 991 w 2080"/>
                <a:gd name="T11" fmla="*/ 862 h 1360"/>
                <a:gd name="T12" fmla="*/ 0 w 2080"/>
                <a:gd name="T13" fmla="*/ 65 h 1360"/>
                <a:gd name="T14" fmla="*/ 1139 w 2080"/>
                <a:gd name="T15" fmla="*/ 924 h 1360"/>
                <a:gd name="T16" fmla="*/ 1282 w 2080"/>
                <a:gd name="T17" fmla="*/ 810 h 1360"/>
                <a:gd name="T18" fmla="*/ 2076 w 2080"/>
                <a:gd name="T19" fmla="*/ 1360 h 1360"/>
                <a:gd name="T20" fmla="*/ 4 w 2080"/>
                <a:gd name="T21" fmla="*/ 1360 h 1360"/>
                <a:gd name="T22" fmla="*/ 798 w 2080"/>
                <a:gd name="T23" fmla="*/ 810 h 1360"/>
                <a:gd name="T24" fmla="*/ 941 w 2080"/>
                <a:gd name="T25" fmla="*/ 924 h 1360"/>
                <a:gd name="T26" fmla="*/ 1139 w 2080"/>
                <a:gd name="T27" fmla="*/ 924 h 1360"/>
                <a:gd name="T28" fmla="*/ 2 w 2080"/>
                <a:gd name="T29" fmla="*/ 137 h 1360"/>
                <a:gd name="T30" fmla="*/ 42 w 2080"/>
                <a:gd name="T31" fmla="*/ 201 h 1360"/>
                <a:gd name="T32" fmla="*/ 734 w 2080"/>
                <a:gd name="T33" fmla="*/ 758 h 1360"/>
                <a:gd name="T34" fmla="*/ 0 w 2080"/>
                <a:gd name="T35" fmla="*/ 1266 h 1360"/>
                <a:gd name="T36" fmla="*/ 0 w 2080"/>
                <a:gd name="T37" fmla="*/ 135 h 1360"/>
                <a:gd name="T38" fmla="*/ 2 w 2080"/>
                <a:gd name="T39" fmla="*/ 137 h 1360"/>
                <a:gd name="T40" fmla="*/ 2080 w 2080"/>
                <a:gd name="T41" fmla="*/ 136 h 1360"/>
                <a:gd name="T42" fmla="*/ 2080 w 2080"/>
                <a:gd name="T43" fmla="*/ 1265 h 1360"/>
                <a:gd name="T44" fmla="*/ 1346 w 2080"/>
                <a:gd name="T45" fmla="*/ 758 h 1360"/>
                <a:gd name="T46" fmla="*/ 2038 w 2080"/>
                <a:gd name="T47" fmla="*/ 201 h 1360"/>
                <a:gd name="T48" fmla="*/ 2080 w 2080"/>
                <a:gd name="T49" fmla="*/ 136 h 1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080" h="1360">
                  <a:moveTo>
                    <a:pt x="0" y="65"/>
                  </a:moveTo>
                  <a:cubicBezTo>
                    <a:pt x="0" y="0"/>
                    <a:pt x="0" y="0"/>
                    <a:pt x="0" y="0"/>
                  </a:cubicBezTo>
                  <a:cubicBezTo>
                    <a:pt x="2080" y="0"/>
                    <a:pt x="2080" y="0"/>
                    <a:pt x="2080" y="0"/>
                  </a:cubicBezTo>
                  <a:cubicBezTo>
                    <a:pt x="2080" y="65"/>
                    <a:pt x="2080" y="65"/>
                    <a:pt x="2080" y="65"/>
                  </a:cubicBezTo>
                  <a:cubicBezTo>
                    <a:pt x="1089" y="862"/>
                    <a:pt x="1089" y="862"/>
                    <a:pt x="1089" y="862"/>
                  </a:cubicBezTo>
                  <a:cubicBezTo>
                    <a:pt x="1060" y="886"/>
                    <a:pt x="1020" y="886"/>
                    <a:pt x="991" y="862"/>
                  </a:cubicBezTo>
                  <a:lnTo>
                    <a:pt x="0" y="65"/>
                  </a:lnTo>
                  <a:close/>
                  <a:moveTo>
                    <a:pt x="1139" y="924"/>
                  </a:moveTo>
                  <a:cubicBezTo>
                    <a:pt x="1282" y="810"/>
                    <a:pt x="1282" y="810"/>
                    <a:pt x="1282" y="810"/>
                  </a:cubicBezTo>
                  <a:cubicBezTo>
                    <a:pt x="2076" y="1360"/>
                    <a:pt x="2076" y="1360"/>
                    <a:pt x="2076" y="1360"/>
                  </a:cubicBezTo>
                  <a:cubicBezTo>
                    <a:pt x="4" y="1360"/>
                    <a:pt x="4" y="1360"/>
                    <a:pt x="4" y="1360"/>
                  </a:cubicBezTo>
                  <a:cubicBezTo>
                    <a:pt x="798" y="810"/>
                    <a:pt x="798" y="810"/>
                    <a:pt x="798" y="810"/>
                  </a:cubicBezTo>
                  <a:cubicBezTo>
                    <a:pt x="941" y="924"/>
                    <a:pt x="941" y="924"/>
                    <a:pt x="941" y="924"/>
                  </a:cubicBezTo>
                  <a:cubicBezTo>
                    <a:pt x="1000" y="972"/>
                    <a:pt x="1080" y="972"/>
                    <a:pt x="1139" y="924"/>
                  </a:cubicBezTo>
                  <a:close/>
                  <a:moveTo>
                    <a:pt x="2" y="137"/>
                  </a:moveTo>
                  <a:cubicBezTo>
                    <a:pt x="8" y="163"/>
                    <a:pt x="22" y="185"/>
                    <a:pt x="42" y="201"/>
                  </a:cubicBezTo>
                  <a:cubicBezTo>
                    <a:pt x="734" y="758"/>
                    <a:pt x="734" y="758"/>
                    <a:pt x="734" y="758"/>
                  </a:cubicBezTo>
                  <a:cubicBezTo>
                    <a:pt x="0" y="1266"/>
                    <a:pt x="0" y="1266"/>
                    <a:pt x="0" y="1266"/>
                  </a:cubicBezTo>
                  <a:cubicBezTo>
                    <a:pt x="0" y="135"/>
                    <a:pt x="0" y="135"/>
                    <a:pt x="0" y="135"/>
                  </a:cubicBezTo>
                  <a:lnTo>
                    <a:pt x="2" y="137"/>
                  </a:lnTo>
                  <a:close/>
                  <a:moveTo>
                    <a:pt x="2080" y="136"/>
                  </a:moveTo>
                  <a:cubicBezTo>
                    <a:pt x="2080" y="1265"/>
                    <a:pt x="2080" y="1265"/>
                    <a:pt x="2080" y="1265"/>
                  </a:cubicBezTo>
                  <a:cubicBezTo>
                    <a:pt x="1346" y="758"/>
                    <a:pt x="1346" y="758"/>
                    <a:pt x="1346" y="758"/>
                  </a:cubicBezTo>
                  <a:cubicBezTo>
                    <a:pt x="2038" y="201"/>
                    <a:pt x="2038" y="201"/>
                    <a:pt x="2038" y="201"/>
                  </a:cubicBezTo>
                  <a:cubicBezTo>
                    <a:pt x="2060" y="182"/>
                    <a:pt x="2072" y="162"/>
                    <a:pt x="2080" y="13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000"/>
            </a:p>
          </p:txBody>
        </p:sp>
      </p:grpSp>
      <p:cxnSp>
        <p:nvCxnSpPr>
          <p:cNvPr id="41" name="Straight Connector 40"/>
          <p:cNvCxnSpPr/>
          <p:nvPr/>
        </p:nvCxnSpPr>
        <p:spPr>
          <a:xfrm>
            <a:off x="2355914" y="5655833"/>
            <a:ext cx="3888000" cy="0"/>
          </a:xfrm>
          <a:prstGeom prst="line">
            <a:avLst/>
          </a:prstGeom>
          <a:ln w="6350">
            <a:solidFill>
              <a:schemeClr val="tx2"/>
            </a:solidFill>
            <a:prstDash val="dash"/>
          </a:ln>
        </p:spPr>
        <p:style>
          <a:lnRef idx="1">
            <a:schemeClr val="accent1"/>
          </a:lnRef>
          <a:fillRef idx="0">
            <a:schemeClr val="accent1"/>
          </a:fillRef>
          <a:effectRef idx="0">
            <a:schemeClr val="accent1"/>
          </a:effectRef>
          <a:fontRef idx="minor">
            <a:schemeClr val="tx1"/>
          </a:fontRef>
        </p:style>
      </p:cxnSp>
      <p:sp>
        <p:nvSpPr>
          <p:cNvPr id="42" name="Picture Placeholder 3"/>
          <p:cNvSpPr>
            <a:spLocks noGrp="1"/>
          </p:cNvSpPr>
          <p:nvPr>
            <p:ph type="pic" sz="quarter" idx="29" hasCustomPrompt="1"/>
          </p:nvPr>
        </p:nvSpPr>
        <p:spPr>
          <a:xfrm>
            <a:off x="2355914" y="3986604"/>
            <a:ext cx="1188677" cy="1547840"/>
          </a:xfrm>
          <a:solidFill>
            <a:srgbClr val="D9DADB"/>
          </a:solidFill>
        </p:spPr>
        <p:txBody>
          <a:bodyPr/>
          <a:lstStyle>
            <a:lvl1pPr marL="0" indent="0">
              <a:buNone/>
              <a:defRPr sz="1400"/>
            </a:lvl1pPr>
          </a:lstStyle>
          <a:p>
            <a:r>
              <a:rPr lang="en-US"/>
              <a:t>Insert picture</a:t>
            </a:r>
          </a:p>
        </p:txBody>
      </p:sp>
      <p:sp>
        <p:nvSpPr>
          <p:cNvPr id="43" name="Text Placeholder 5"/>
          <p:cNvSpPr>
            <a:spLocks noGrp="1"/>
          </p:cNvSpPr>
          <p:nvPr>
            <p:ph type="body" sz="quarter" idx="30" hasCustomPrompt="1"/>
          </p:nvPr>
        </p:nvSpPr>
        <p:spPr>
          <a:xfrm>
            <a:off x="3770065" y="3986141"/>
            <a:ext cx="2463190" cy="192360"/>
          </a:xfrm>
        </p:spPr>
        <p:txBody>
          <a:bodyPr lIns="0" tIns="0" rIns="0" bIns="0" anchor="ctr" anchorCtr="0"/>
          <a:lstStyle>
            <a:lvl1pPr marL="0" indent="0" algn="l">
              <a:lnSpc>
                <a:spcPct val="100000"/>
              </a:lnSpc>
              <a:buNone/>
              <a:defRPr sz="100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Country</a:t>
            </a:r>
          </a:p>
        </p:txBody>
      </p:sp>
      <p:sp>
        <p:nvSpPr>
          <p:cNvPr id="44" name="Text Placeholder 5"/>
          <p:cNvSpPr>
            <a:spLocks noGrp="1"/>
          </p:cNvSpPr>
          <p:nvPr>
            <p:ph type="body" sz="quarter" idx="31" hasCustomPrompt="1"/>
          </p:nvPr>
        </p:nvSpPr>
        <p:spPr>
          <a:xfrm>
            <a:off x="3770065" y="4197957"/>
            <a:ext cx="2463190" cy="266182"/>
          </a:xfrm>
        </p:spPr>
        <p:txBody>
          <a:bodyPr lIns="0" tIns="0" rIns="0" bIns="0" anchor="b" anchorCtr="0"/>
          <a:lstStyle>
            <a:lvl1pPr marL="0" indent="0" algn="l">
              <a:lnSpc>
                <a:spcPct val="100000"/>
              </a:lnSpc>
              <a:buNone/>
              <a:defRPr sz="1400" b="1" baseline="0">
                <a:solidFill>
                  <a:schemeClr val="tx2"/>
                </a:solidFill>
              </a:defRPr>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Name, Surname</a:t>
            </a:r>
          </a:p>
        </p:txBody>
      </p:sp>
      <p:sp>
        <p:nvSpPr>
          <p:cNvPr id="45" name="Text Placeholder 5"/>
          <p:cNvSpPr>
            <a:spLocks noGrp="1"/>
          </p:cNvSpPr>
          <p:nvPr>
            <p:ph type="body" sz="quarter" idx="32" hasCustomPrompt="1"/>
          </p:nvPr>
        </p:nvSpPr>
        <p:spPr>
          <a:xfrm>
            <a:off x="3770065" y="4494532"/>
            <a:ext cx="2463190"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Job Position</a:t>
            </a:r>
          </a:p>
        </p:txBody>
      </p:sp>
      <p:sp>
        <p:nvSpPr>
          <p:cNvPr id="46" name="Text Placeholder 5"/>
          <p:cNvSpPr>
            <a:spLocks noGrp="1"/>
          </p:cNvSpPr>
          <p:nvPr>
            <p:ph type="body" sz="quarter" idx="33" hasCustomPrompt="1"/>
          </p:nvPr>
        </p:nvSpPr>
        <p:spPr>
          <a:xfrm>
            <a:off x="4014948" y="5023208"/>
            <a:ext cx="2218307"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Phone number</a:t>
            </a:r>
          </a:p>
        </p:txBody>
      </p:sp>
      <p:sp>
        <p:nvSpPr>
          <p:cNvPr id="47" name="Text Placeholder 5"/>
          <p:cNvSpPr>
            <a:spLocks noGrp="1"/>
          </p:cNvSpPr>
          <p:nvPr>
            <p:ph type="body" sz="quarter" idx="34" hasCustomPrompt="1"/>
          </p:nvPr>
        </p:nvSpPr>
        <p:spPr>
          <a:xfrm>
            <a:off x="4014948" y="5306015"/>
            <a:ext cx="2218307"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Email address</a:t>
            </a:r>
          </a:p>
        </p:txBody>
      </p:sp>
    </p:spTree>
    <p:extLst>
      <p:ext uri="{BB962C8B-B14F-4D97-AF65-F5344CB8AC3E}">
        <p14:creationId xmlns:p14="http://schemas.microsoft.com/office/powerpoint/2010/main" val="3768657749"/>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Four contacts">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p>
            <a:r>
              <a:rPr lang="en-US"/>
              <a:t>Click to add headline</a:t>
            </a:r>
          </a:p>
        </p:txBody>
      </p:sp>
      <p:sp>
        <p:nvSpPr>
          <p:cNvPr id="13" name="Picture Placeholder 4"/>
          <p:cNvSpPr>
            <a:spLocks noGrp="1"/>
          </p:cNvSpPr>
          <p:nvPr>
            <p:ph type="pic" sz="quarter" idx="15" hasCustomPrompt="1"/>
          </p:nvPr>
        </p:nvSpPr>
        <p:spPr bwMode="gray">
          <a:xfrm>
            <a:off x="431371" y="4101320"/>
            <a:ext cx="1728192" cy="2208000"/>
          </a:xfrm>
        </p:spPr>
        <p:txBody>
          <a:bodyPr/>
          <a:lstStyle>
            <a:lvl1pPr marL="0" indent="0">
              <a:buNone/>
              <a:defRPr/>
            </a:lvl1pPr>
          </a:lstStyle>
          <a:p>
            <a:r>
              <a:rPr lang="de-DE"/>
              <a:t>Picture</a:t>
            </a:r>
            <a:endParaRPr lang="en-US"/>
          </a:p>
        </p:txBody>
      </p:sp>
      <p:sp>
        <p:nvSpPr>
          <p:cNvPr id="14" name="Text Placeholder 3"/>
          <p:cNvSpPr>
            <a:spLocks noGrp="1"/>
          </p:cNvSpPr>
          <p:nvPr>
            <p:ph type="body" sz="quarter" idx="18" hasCustomPrompt="1"/>
          </p:nvPr>
        </p:nvSpPr>
        <p:spPr bwMode="gray">
          <a:xfrm>
            <a:off x="2351586" y="5445305"/>
            <a:ext cx="3648404" cy="288032"/>
          </a:xfrm>
        </p:spPr>
        <p:txBody>
          <a:bodyPr tIns="0" anchor="b" anchorCtr="0"/>
          <a:lstStyle>
            <a:lvl1pPr marL="0" indent="0">
              <a:spcBef>
                <a:spcPts val="0"/>
              </a:spcBef>
              <a:spcAft>
                <a:spcPts val="0"/>
              </a:spcAft>
              <a:buNone/>
              <a:defRPr sz="1600">
                <a:solidFill>
                  <a:schemeClr val="tx1"/>
                </a:solidFill>
              </a:defRPr>
            </a:lvl1pPr>
            <a:lvl2pPr marL="0" indent="0">
              <a:spcBef>
                <a:spcPts val="0"/>
              </a:spcBef>
              <a:spcAft>
                <a:spcPts val="0"/>
              </a:spcAft>
              <a:buNone/>
              <a:defRPr sz="1600"/>
            </a:lvl2pPr>
            <a:lvl3pPr marL="0" indent="0" algn="l">
              <a:spcBef>
                <a:spcPts val="0"/>
              </a:spcBef>
              <a:spcAft>
                <a:spcPts val="0"/>
              </a:spcAft>
              <a:buFontTx/>
              <a:buNone/>
              <a:tabLst>
                <a:tab pos="840296" algn="l"/>
              </a:tabLst>
              <a:defRPr sz="1600"/>
            </a:lvl3pPr>
            <a:lvl4pPr marL="0" indent="0" algn="l">
              <a:spcBef>
                <a:spcPts val="0"/>
              </a:spcBef>
              <a:spcAft>
                <a:spcPts val="0"/>
              </a:spcAft>
              <a:buFontTx/>
              <a:buNone/>
              <a:defRPr sz="1600">
                <a:solidFill>
                  <a:schemeClr val="tx1"/>
                </a:solidFill>
              </a:defRPr>
            </a:lvl4pPr>
            <a:lvl5pPr marL="0" indent="0" algn="l">
              <a:spcBef>
                <a:spcPts val="0"/>
              </a:spcBef>
              <a:spcAft>
                <a:spcPts val="0"/>
              </a:spcAft>
              <a:buFontTx/>
              <a:buNone/>
              <a:defRPr sz="1600"/>
            </a:lvl5pPr>
            <a:lvl6pPr marL="0" indent="0" algn="l">
              <a:spcBef>
                <a:spcPts val="0"/>
              </a:spcBef>
              <a:spcAft>
                <a:spcPts val="0"/>
              </a:spcAft>
              <a:buFontTx/>
              <a:buNone/>
              <a:defRPr sz="1600"/>
            </a:lvl6pPr>
            <a:lvl7pPr marL="0" indent="0" algn="l">
              <a:spcBef>
                <a:spcPts val="0"/>
              </a:spcBef>
              <a:spcAft>
                <a:spcPts val="0"/>
              </a:spcAft>
              <a:buFontTx/>
              <a:buNone/>
              <a:defRPr sz="1600"/>
            </a:lvl7pPr>
            <a:lvl8pPr marL="0" indent="0" algn="l">
              <a:spcBef>
                <a:spcPts val="0"/>
              </a:spcBef>
              <a:spcAft>
                <a:spcPts val="0"/>
              </a:spcAft>
              <a:buFontTx/>
              <a:buNone/>
              <a:defRPr sz="1600"/>
            </a:lvl8pPr>
            <a:lvl9pPr marL="0" indent="0" algn="l">
              <a:spcBef>
                <a:spcPts val="0"/>
              </a:spcBef>
              <a:spcAft>
                <a:spcPts val="0"/>
              </a:spcAft>
              <a:buFontTx/>
              <a:buNone/>
              <a:defRPr sz="1600"/>
            </a:lvl9pPr>
          </a:lstStyle>
          <a:p>
            <a:pPr lvl="4"/>
            <a:r>
              <a:rPr lang="en-US"/>
              <a:t>[phone number]</a:t>
            </a:r>
          </a:p>
        </p:txBody>
      </p:sp>
      <p:sp>
        <p:nvSpPr>
          <p:cNvPr id="17" name="Text Placeholder 3"/>
          <p:cNvSpPr>
            <a:spLocks noGrp="1"/>
          </p:cNvSpPr>
          <p:nvPr>
            <p:ph type="body" sz="quarter" idx="19" hasCustomPrompt="1"/>
          </p:nvPr>
        </p:nvSpPr>
        <p:spPr bwMode="gray">
          <a:xfrm>
            <a:off x="2351584" y="4869241"/>
            <a:ext cx="3648405" cy="576000"/>
          </a:xfrm>
        </p:spPr>
        <p:txBody>
          <a:bodyPr tIns="36000" anchor="t" anchorCtr="0"/>
          <a:lstStyle>
            <a:lvl1pPr marL="0" indent="0">
              <a:spcBef>
                <a:spcPts val="0"/>
              </a:spcBef>
              <a:spcAft>
                <a:spcPts val="0"/>
              </a:spcAft>
              <a:buNone/>
              <a:defRPr sz="1600">
                <a:solidFill>
                  <a:schemeClr val="tx1"/>
                </a:solidFill>
              </a:defRPr>
            </a:lvl1pPr>
            <a:lvl2pPr marL="0" indent="0">
              <a:spcBef>
                <a:spcPts val="0"/>
              </a:spcBef>
              <a:spcAft>
                <a:spcPts val="0"/>
              </a:spcAft>
              <a:buNone/>
              <a:defRPr sz="1600"/>
            </a:lvl2pPr>
            <a:lvl3pPr marL="0" indent="0" algn="l">
              <a:spcBef>
                <a:spcPts val="0"/>
              </a:spcBef>
              <a:spcAft>
                <a:spcPts val="0"/>
              </a:spcAft>
              <a:buFontTx/>
              <a:buNone/>
              <a:tabLst>
                <a:tab pos="840296" algn="l"/>
              </a:tabLst>
              <a:defRPr sz="1600"/>
            </a:lvl3pPr>
            <a:lvl4pPr marL="0" indent="0" algn="l">
              <a:spcBef>
                <a:spcPts val="0"/>
              </a:spcBef>
              <a:spcAft>
                <a:spcPts val="0"/>
              </a:spcAft>
              <a:buFontTx/>
              <a:buNone/>
              <a:defRPr sz="1600">
                <a:solidFill>
                  <a:schemeClr val="tx1"/>
                </a:solidFill>
              </a:defRPr>
            </a:lvl4pPr>
            <a:lvl5pPr marL="0" indent="0" algn="l">
              <a:spcBef>
                <a:spcPts val="0"/>
              </a:spcBef>
              <a:spcAft>
                <a:spcPts val="0"/>
              </a:spcAft>
              <a:buFontTx/>
              <a:buNone/>
              <a:defRPr sz="1600"/>
            </a:lvl5pPr>
            <a:lvl6pPr marL="0" indent="0" algn="l">
              <a:spcBef>
                <a:spcPts val="0"/>
              </a:spcBef>
              <a:spcAft>
                <a:spcPts val="0"/>
              </a:spcAft>
              <a:buFontTx/>
              <a:buNone/>
              <a:defRPr sz="1600"/>
            </a:lvl6pPr>
            <a:lvl7pPr marL="0" indent="0" algn="l">
              <a:spcBef>
                <a:spcPts val="0"/>
              </a:spcBef>
              <a:spcAft>
                <a:spcPts val="0"/>
              </a:spcAft>
              <a:buFontTx/>
              <a:buNone/>
              <a:defRPr sz="1600"/>
            </a:lvl7pPr>
            <a:lvl8pPr marL="0" indent="0" algn="l">
              <a:spcBef>
                <a:spcPts val="0"/>
              </a:spcBef>
              <a:spcAft>
                <a:spcPts val="0"/>
              </a:spcAft>
              <a:buFontTx/>
              <a:buNone/>
              <a:defRPr sz="1600"/>
            </a:lvl8pPr>
            <a:lvl9pPr marL="0" indent="0" algn="l">
              <a:spcBef>
                <a:spcPts val="0"/>
              </a:spcBef>
              <a:spcAft>
                <a:spcPts val="0"/>
              </a:spcAft>
              <a:buFontTx/>
              <a:buNone/>
              <a:defRPr sz="1600"/>
            </a:lvl9pPr>
          </a:lstStyle>
          <a:p>
            <a:pPr lvl="4"/>
            <a:r>
              <a:rPr lang="en-US"/>
              <a:t>[title]</a:t>
            </a:r>
          </a:p>
        </p:txBody>
      </p:sp>
      <p:sp>
        <p:nvSpPr>
          <p:cNvPr id="19" name="Text Placeholder 3"/>
          <p:cNvSpPr>
            <a:spLocks noGrp="1"/>
          </p:cNvSpPr>
          <p:nvPr>
            <p:ph type="body" sz="quarter" idx="26" hasCustomPrompt="1"/>
          </p:nvPr>
        </p:nvSpPr>
        <p:spPr bwMode="gray">
          <a:xfrm>
            <a:off x="2351584" y="5733336"/>
            <a:ext cx="3648405" cy="288032"/>
          </a:xfrm>
        </p:spPr>
        <p:txBody>
          <a:bodyPr tIns="0" anchor="b" anchorCtr="0"/>
          <a:lstStyle>
            <a:lvl1pPr marL="0" indent="0">
              <a:spcBef>
                <a:spcPts val="0"/>
              </a:spcBef>
              <a:spcAft>
                <a:spcPts val="0"/>
              </a:spcAft>
              <a:buNone/>
              <a:defRPr sz="1600">
                <a:solidFill>
                  <a:schemeClr val="tx1"/>
                </a:solidFill>
              </a:defRPr>
            </a:lvl1pPr>
            <a:lvl2pPr marL="0" indent="0">
              <a:spcBef>
                <a:spcPts val="0"/>
              </a:spcBef>
              <a:spcAft>
                <a:spcPts val="0"/>
              </a:spcAft>
              <a:buNone/>
              <a:defRPr sz="1600"/>
            </a:lvl2pPr>
            <a:lvl3pPr marL="0" indent="0" algn="l">
              <a:spcBef>
                <a:spcPts val="0"/>
              </a:spcBef>
              <a:spcAft>
                <a:spcPts val="0"/>
              </a:spcAft>
              <a:buFontTx/>
              <a:buNone/>
              <a:tabLst>
                <a:tab pos="840296" algn="l"/>
              </a:tabLst>
              <a:defRPr sz="1600"/>
            </a:lvl3pPr>
            <a:lvl4pPr marL="0" indent="0" algn="l">
              <a:spcBef>
                <a:spcPts val="0"/>
              </a:spcBef>
              <a:spcAft>
                <a:spcPts val="0"/>
              </a:spcAft>
              <a:buFontTx/>
              <a:buNone/>
              <a:defRPr sz="1600">
                <a:solidFill>
                  <a:schemeClr val="tx1"/>
                </a:solidFill>
              </a:defRPr>
            </a:lvl4pPr>
            <a:lvl5pPr marL="0" indent="0" algn="l">
              <a:spcBef>
                <a:spcPts val="0"/>
              </a:spcBef>
              <a:spcAft>
                <a:spcPts val="0"/>
              </a:spcAft>
              <a:buFontTx/>
              <a:buNone/>
              <a:defRPr sz="1600"/>
            </a:lvl5pPr>
            <a:lvl6pPr marL="0" indent="0" algn="l">
              <a:spcBef>
                <a:spcPts val="0"/>
              </a:spcBef>
              <a:spcAft>
                <a:spcPts val="0"/>
              </a:spcAft>
              <a:buFontTx/>
              <a:buNone/>
              <a:defRPr sz="1600"/>
            </a:lvl6pPr>
            <a:lvl7pPr marL="0" indent="0" algn="l">
              <a:spcBef>
                <a:spcPts val="0"/>
              </a:spcBef>
              <a:spcAft>
                <a:spcPts val="0"/>
              </a:spcAft>
              <a:buFontTx/>
              <a:buNone/>
              <a:defRPr sz="1600"/>
            </a:lvl7pPr>
            <a:lvl8pPr marL="0" indent="0" algn="l">
              <a:spcBef>
                <a:spcPts val="0"/>
              </a:spcBef>
              <a:spcAft>
                <a:spcPts val="0"/>
              </a:spcAft>
              <a:buFontTx/>
              <a:buNone/>
              <a:defRPr sz="1600"/>
            </a:lvl8pPr>
            <a:lvl9pPr marL="0" indent="0" algn="l">
              <a:spcBef>
                <a:spcPts val="0"/>
              </a:spcBef>
              <a:spcAft>
                <a:spcPts val="0"/>
              </a:spcAft>
              <a:buFontTx/>
              <a:buNone/>
              <a:defRPr sz="1600"/>
            </a:lvl9pPr>
          </a:lstStyle>
          <a:p>
            <a:pPr lvl="4"/>
            <a:r>
              <a:rPr lang="en-US"/>
              <a:t>[email address]</a:t>
            </a:r>
          </a:p>
        </p:txBody>
      </p:sp>
      <p:sp>
        <p:nvSpPr>
          <p:cNvPr id="26" name="Text Placeholder 3"/>
          <p:cNvSpPr>
            <a:spLocks noGrp="1"/>
          </p:cNvSpPr>
          <p:nvPr>
            <p:ph type="body" sz="quarter" idx="27" hasCustomPrompt="1"/>
          </p:nvPr>
        </p:nvSpPr>
        <p:spPr bwMode="gray">
          <a:xfrm>
            <a:off x="2351690" y="6021368"/>
            <a:ext cx="3648301" cy="286685"/>
          </a:xfrm>
        </p:spPr>
        <p:txBody>
          <a:bodyPr tIns="0" anchor="b" anchorCtr="0"/>
          <a:lstStyle>
            <a:lvl1pPr marL="0" indent="0">
              <a:spcBef>
                <a:spcPts val="0"/>
              </a:spcBef>
              <a:spcAft>
                <a:spcPts val="0"/>
              </a:spcAft>
              <a:buNone/>
              <a:defRPr sz="1600">
                <a:solidFill>
                  <a:schemeClr val="tx1"/>
                </a:solidFill>
              </a:defRPr>
            </a:lvl1pPr>
            <a:lvl2pPr marL="0" indent="0">
              <a:spcBef>
                <a:spcPts val="0"/>
              </a:spcBef>
              <a:spcAft>
                <a:spcPts val="0"/>
              </a:spcAft>
              <a:buNone/>
              <a:defRPr sz="1600"/>
            </a:lvl2pPr>
            <a:lvl3pPr marL="0" indent="0" algn="l">
              <a:spcBef>
                <a:spcPts val="0"/>
              </a:spcBef>
              <a:spcAft>
                <a:spcPts val="0"/>
              </a:spcAft>
              <a:buFontTx/>
              <a:buNone/>
              <a:tabLst>
                <a:tab pos="840296" algn="l"/>
              </a:tabLst>
              <a:defRPr sz="1600"/>
            </a:lvl3pPr>
            <a:lvl4pPr marL="0" indent="0" algn="l">
              <a:spcBef>
                <a:spcPts val="0"/>
              </a:spcBef>
              <a:spcAft>
                <a:spcPts val="0"/>
              </a:spcAft>
              <a:buFontTx/>
              <a:buNone/>
              <a:defRPr sz="1600">
                <a:solidFill>
                  <a:schemeClr val="tx1"/>
                </a:solidFill>
              </a:defRPr>
            </a:lvl4pPr>
            <a:lvl5pPr marL="0" indent="0" algn="l">
              <a:spcBef>
                <a:spcPts val="0"/>
              </a:spcBef>
              <a:spcAft>
                <a:spcPts val="0"/>
              </a:spcAft>
              <a:buFontTx/>
              <a:buNone/>
              <a:defRPr sz="1600"/>
            </a:lvl5pPr>
            <a:lvl6pPr marL="0" indent="0" algn="l">
              <a:spcBef>
                <a:spcPts val="0"/>
              </a:spcBef>
              <a:spcAft>
                <a:spcPts val="0"/>
              </a:spcAft>
              <a:buFontTx/>
              <a:buNone/>
              <a:defRPr sz="1600"/>
            </a:lvl6pPr>
            <a:lvl7pPr marL="0" indent="0" algn="l">
              <a:spcBef>
                <a:spcPts val="0"/>
              </a:spcBef>
              <a:spcAft>
                <a:spcPts val="0"/>
              </a:spcAft>
              <a:buFontTx/>
              <a:buNone/>
              <a:defRPr sz="1600"/>
            </a:lvl7pPr>
            <a:lvl8pPr marL="0" indent="0" algn="l">
              <a:spcBef>
                <a:spcPts val="0"/>
              </a:spcBef>
              <a:spcAft>
                <a:spcPts val="0"/>
              </a:spcAft>
              <a:buFontTx/>
              <a:buNone/>
              <a:defRPr sz="1600"/>
            </a:lvl8pPr>
            <a:lvl9pPr marL="0" indent="0" algn="l">
              <a:spcBef>
                <a:spcPts val="0"/>
              </a:spcBef>
              <a:spcAft>
                <a:spcPts val="0"/>
              </a:spcAft>
              <a:buFontTx/>
              <a:buNone/>
              <a:defRPr sz="1600"/>
            </a:lvl9pPr>
          </a:lstStyle>
          <a:p>
            <a:pPr lvl="4"/>
            <a:r>
              <a:rPr lang="en-US"/>
              <a:t>[country]</a:t>
            </a:r>
          </a:p>
        </p:txBody>
      </p:sp>
      <p:sp>
        <p:nvSpPr>
          <p:cNvPr id="27" name="Picture Placeholder 4"/>
          <p:cNvSpPr>
            <a:spLocks noGrp="1"/>
          </p:cNvSpPr>
          <p:nvPr>
            <p:ph type="pic" sz="quarter" idx="28" hasCustomPrompt="1"/>
          </p:nvPr>
        </p:nvSpPr>
        <p:spPr bwMode="gray">
          <a:xfrm>
            <a:off x="6192971" y="4101320"/>
            <a:ext cx="1728192" cy="2208000"/>
          </a:xfrm>
        </p:spPr>
        <p:txBody>
          <a:bodyPr/>
          <a:lstStyle>
            <a:lvl1pPr marL="0" indent="0">
              <a:buNone/>
              <a:defRPr/>
            </a:lvl1pPr>
          </a:lstStyle>
          <a:p>
            <a:r>
              <a:rPr lang="de-DE"/>
              <a:t>Picture</a:t>
            </a:r>
            <a:endParaRPr lang="en-US"/>
          </a:p>
        </p:txBody>
      </p:sp>
      <p:sp>
        <p:nvSpPr>
          <p:cNvPr id="28" name="Text Placeholder 3"/>
          <p:cNvSpPr>
            <a:spLocks noGrp="1"/>
          </p:cNvSpPr>
          <p:nvPr>
            <p:ph type="body" sz="quarter" idx="29" hasCustomPrompt="1"/>
          </p:nvPr>
        </p:nvSpPr>
        <p:spPr bwMode="gray">
          <a:xfrm>
            <a:off x="8113186" y="5445305"/>
            <a:ext cx="3648404" cy="288032"/>
          </a:xfrm>
        </p:spPr>
        <p:txBody>
          <a:bodyPr tIns="0" anchor="b" anchorCtr="0"/>
          <a:lstStyle>
            <a:lvl1pPr marL="0" indent="0">
              <a:spcBef>
                <a:spcPts val="0"/>
              </a:spcBef>
              <a:spcAft>
                <a:spcPts val="0"/>
              </a:spcAft>
              <a:buNone/>
              <a:defRPr sz="1600">
                <a:solidFill>
                  <a:schemeClr val="tx1"/>
                </a:solidFill>
              </a:defRPr>
            </a:lvl1pPr>
            <a:lvl2pPr marL="0" indent="0">
              <a:spcBef>
                <a:spcPts val="0"/>
              </a:spcBef>
              <a:spcAft>
                <a:spcPts val="0"/>
              </a:spcAft>
              <a:buNone/>
              <a:defRPr sz="1600"/>
            </a:lvl2pPr>
            <a:lvl3pPr marL="0" indent="0" algn="l">
              <a:spcBef>
                <a:spcPts val="0"/>
              </a:spcBef>
              <a:spcAft>
                <a:spcPts val="0"/>
              </a:spcAft>
              <a:buFontTx/>
              <a:buNone/>
              <a:tabLst>
                <a:tab pos="840296" algn="l"/>
              </a:tabLst>
              <a:defRPr sz="1600"/>
            </a:lvl3pPr>
            <a:lvl4pPr marL="0" indent="0" algn="l">
              <a:spcBef>
                <a:spcPts val="0"/>
              </a:spcBef>
              <a:spcAft>
                <a:spcPts val="0"/>
              </a:spcAft>
              <a:buFontTx/>
              <a:buNone/>
              <a:defRPr sz="1600">
                <a:solidFill>
                  <a:schemeClr val="tx1"/>
                </a:solidFill>
              </a:defRPr>
            </a:lvl4pPr>
            <a:lvl5pPr marL="0" indent="0" algn="l">
              <a:spcBef>
                <a:spcPts val="0"/>
              </a:spcBef>
              <a:spcAft>
                <a:spcPts val="0"/>
              </a:spcAft>
              <a:buFontTx/>
              <a:buNone/>
              <a:defRPr sz="1600"/>
            </a:lvl5pPr>
            <a:lvl6pPr marL="0" indent="0" algn="l">
              <a:spcBef>
                <a:spcPts val="0"/>
              </a:spcBef>
              <a:spcAft>
                <a:spcPts val="0"/>
              </a:spcAft>
              <a:buFontTx/>
              <a:buNone/>
              <a:defRPr sz="1600"/>
            </a:lvl6pPr>
            <a:lvl7pPr marL="0" indent="0" algn="l">
              <a:spcBef>
                <a:spcPts val="0"/>
              </a:spcBef>
              <a:spcAft>
                <a:spcPts val="0"/>
              </a:spcAft>
              <a:buFontTx/>
              <a:buNone/>
              <a:defRPr sz="1600"/>
            </a:lvl7pPr>
            <a:lvl8pPr marL="0" indent="0" algn="l">
              <a:spcBef>
                <a:spcPts val="0"/>
              </a:spcBef>
              <a:spcAft>
                <a:spcPts val="0"/>
              </a:spcAft>
              <a:buFontTx/>
              <a:buNone/>
              <a:defRPr sz="1600"/>
            </a:lvl8pPr>
            <a:lvl9pPr marL="0" indent="0" algn="l">
              <a:spcBef>
                <a:spcPts val="0"/>
              </a:spcBef>
              <a:spcAft>
                <a:spcPts val="0"/>
              </a:spcAft>
              <a:buFontTx/>
              <a:buNone/>
              <a:defRPr sz="1600"/>
            </a:lvl9pPr>
          </a:lstStyle>
          <a:p>
            <a:pPr lvl="4"/>
            <a:r>
              <a:rPr lang="en-US"/>
              <a:t>[phone number]</a:t>
            </a:r>
          </a:p>
        </p:txBody>
      </p:sp>
      <p:sp>
        <p:nvSpPr>
          <p:cNvPr id="29" name="Text Placeholder 3"/>
          <p:cNvSpPr>
            <a:spLocks noGrp="1"/>
          </p:cNvSpPr>
          <p:nvPr>
            <p:ph type="body" sz="quarter" idx="30" hasCustomPrompt="1"/>
          </p:nvPr>
        </p:nvSpPr>
        <p:spPr bwMode="gray">
          <a:xfrm>
            <a:off x="8113184" y="4869241"/>
            <a:ext cx="3648405" cy="576000"/>
          </a:xfrm>
        </p:spPr>
        <p:txBody>
          <a:bodyPr tIns="36000" anchor="t" anchorCtr="0"/>
          <a:lstStyle>
            <a:lvl1pPr marL="0" indent="0">
              <a:spcBef>
                <a:spcPts val="0"/>
              </a:spcBef>
              <a:spcAft>
                <a:spcPts val="0"/>
              </a:spcAft>
              <a:buNone/>
              <a:defRPr sz="1600">
                <a:solidFill>
                  <a:schemeClr val="tx1"/>
                </a:solidFill>
              </a:defRPr>
            </a:lvl1pPr>
            <a:lvl2pPr marL="0" indent="0">
              <a:spcBef>
                <a:spcPts val="0"/>
              </a:spcBef>
              <a:spcAft>
                <a:spcPts val="0"/>
              </a:spcAft>
              <a:buNone/>
              <a:defRPr sz="1600"/>
            </a:lvl2pPr>
            <a:lvl3pPr marL="0" indent="0" algn="l">
              <a:spcBef>
                <a:spcPts val="0"/>
              </a:spcBef>
              <a:spcAft>
                <a:spcPts val="0"/>
              </a:spcAft>
              <a:buFontTx/>
              <a:buNone/>
              <a:tabLst>
                <a:tab pos="840296" algn="l"/>
              </a:tabLst>
              <a:defRPr sz="1600"/>
            </a:lvl3pPr>
            <a:lvl4pPr marL="0" indent="0" algn="l">
              <a:spcBef>
                <a:spcPts val="0"/>
              </a:spcBef>
              <a:spcAft>
                <a:spcPts val="0"/>
              </a:spcAft>
              <a:buFontTx/>
              <a:buNone/>
              <a:defRPr sz="1600">
                <a:solidFill>
                  <a:schemeClr val="tx1"/>
                </a:solidFill>
              </a:defRPr>
            </a:lvl4pPr>
            <a:lvl5pPr marL="0" indent="0" algn="l">
              <a:spcBef>
                <a:spcPts val="0"/>
              </a:spcBef>
              <a:spcAft>
                <a:spcPts val="0"/>
              </a:spcAft>
              <a:buFontTx/>
              <a:buNone/>
              <a:defRPr sz="1600"/>
            </a:lvl5pPr>
            <a:lvl6pPr marL="0" indent="0" algn="l">
              <a:spcBef>
                <a:spcPts val="0"/>
              </a:spcBef>
              <a:spcAft>
                <a:spcPts val="0"/>
              </a:spcAft>
              <a:buFontTx/>
              <a:buNone/>
              <a:defRPr sz="1600"/>
            </a:lvl6pPr>
            <a:lvl7pPr marL="0" indent="0" algn="l">
              <a:spcBef>
                <a:spcPts val="0"/>
              </a:spcBef>
              <a:spcAft>
                <a:spcPts val="0"/>
              </a:spcAft>
              <a:buFontTx/>
              <a:buNone/>
              <a:defRPr sz="1600"/>
            </a:lvl7pPr>
            <a:lvl8pPr marL="0" indent="0" algn="l">
              <a:spcBef>
                <a:spcPts val="0"/>
              </a:spcBef>
              <a:spcAft>
                <a:spcPts val="0"/>
              </a:spcAft>
              <a:buFontTx/>
              <a:buNone/>
              <a:defRPr sz="1600"/>
            </a:lvl8pPr>
            <a:lvl9pPr marL="0" indent="0" algn="l">
              <a:spcBef>
                <a:spcPts val="0"/>
              </a:spcBef>
              <a:spcAft>
                <a:spcPts val="0"/>
              </a:spcAft>
              <a:buFontTx/>
              <a:buNone/>
              <a:defRPr sz="1600"/>
            </a:lvl9pPr>
          </a:lstStyle>
          <a:p>
            <a:pPr lvl="4"/>
            <a:r>
              <a:rPr lang="en-US"/>
              <a:t>[title]</a:t>
            </a:r>
          </a:p>
        </p:txBody>
      </p:sp>
      <p:sp>
        <p:nvSpPr>
          <p:cNvPr id="31" name="Text Placeholder 3"/>
          <p:cNvSpPr>
            <a:spLocks noGrp="1"/>
          </p:cNvSpPr>
          <p:nvPr>
            <p:ph type="body" sz="quarter" idx="32" hasCustomPrompt="1"/>
          </p:nvPr>
        </p:nvSpPr>
        <p:spPr bwMode="gray">
          <a:xfrm>
            <a:off x="8113184" y="5733336"/>
            <a:ext cx="3648405" cy="288032"/>
          </a:xfrm>
        </p:spPr>
        <p:txBody>
          <a:bodyPr tIns="0" anchor="b" anchorCtr="0"/>
          <a:lstStyle>
            <a:lvl1pPr marL="0" indent="0">
              <a:spcBef>
                <a:spcPts val="0"/>
              </a:spcBef>
              <a:spcAft>
                <a:spcPts val="0"/>
              </a:spcAft>
              <a:buNone/>
              <a:defRPr sz="1600">
                <a:solidFill>
                  <a:schemeClr val="tx1"/>
                </a:solidFill>
              </a:defRPr>
            </a:lvl1pPr>
            <a:lvl2pPr marL="0" indent="0">
              <a:spcBef>
                <a:spcPts val="0"/>
              </a:spcBef>
              <a:spcAft>
                <a:spcPts val="0"/>
              </a:spcAft>
              <a:buNone/>
              <a:defRPr sz="1600"/>
            </a:lvl2pPr>
            <a:lvl3pPr marL="0" indent="0" algn="l">
              <a:spcBef>
                <a:spcPts val="0"/>
              </a:spcBef>
              <a:spcAft>
                <a:spcPts val="0"/>
              </a:spcAft>
              <a:buFontTx/>
              <a:buNone/>
              <a:tabLst>
                <a:tab pos="840296" algn="l"/>
              </a:tabLst>
              <a:defRPr sz="1600"/>
            </a:lvl3pPr>
            <a:lvl4pPr marL="0" indent="0" algn="l">
              <a:spcBef>
                <a:spcPts val="0"/>
              </a:spcBef>
              <a:spcAft>
                <a:spcPts val="0"/>
              </a:spcAft>
              <a:buFontTx/>
              <a:buNone/>
              <a:defRPr sz="1600">
                <a:solidFill>
                  <a:schemeClr val="tx1"/>
                </a:solidFill>
              </a:defRPr>
            </a:lvl4pPr>
            <a:lvl5pPr marL="0" indent="0" algn="l">
              <a:spcBef>
                <a:spcPts val="0"/>
              </a:spcBef>
              <a:spcAft>
                <a:spcPts val="0"/>
              </a:spcAft>
              <a:buFontTx/>
              <a:buNone/>
              <a:defRPr sz="1600"/>
            </a:lvl5pPr>
            <a:lvl6pPr marL="0" indent="0" algn="l">
              <a:spcBef>
                <a:spcPts val="0"/>
              </a:spcBef>
              <a:spcAft>
                <a:spcPts val="0"/>
              </a:spcAft>
              <a:buFontTx/>
              <a:buNone/>
              <a:defRPr sz="1600"/>
            </a:lvl6pPr>
            <a:lvl7pPr marL="0" indent="0" algn="l">
              <a:spcBef>
                <a:spcPts val="0"/>
              </a:spcBef>
              <a:spcAft>
                <a:spcPts val="0"/>
              </a:spcAft>
              <a:buFontTx/>
              <a:buNone/>
              <a:defRPr sz="1600"/>
            </a:lvl7pPr>
            <a:lvl8pPr marL="0" indent="0" algn="l">
              <a:spcBef>
                <a:spcPts val="0"/>
              </a:spcBef>
              <a:spcAft>
                <a:spcPts val="0"/>
              </a:spcAft>
              <a:buFontTx/>
              <a:buNone/>
              <a:defRPr sz="1600"/>
            </a:lvl8pPr>
            <a:lvl9pPr marL="0" indent="0" algn="l">
              <a:spcBef>
                <a:spcPts val="0"/>
              </a:spcBef>
              <a:spcAft>
                <a:spcPts val="0"/>
              </a:spcAft>
              <a:buFontTx/>
              <a:buNone/>
              <a:defRPr sz="1600"/>
            </a:lvl9pPr>
          </a:lstStyle>
          <a:p>
            <a:pPr lvl="4"/>
            <a:r>
              <a:rPr lang="en-US"/>
              <a:t>[email address]</a:t>
            </a:r>
          </a:p>
        </p:txBody>
      </p:sp>
      <p:sp>
        <p:nvSpPr>
          <p:cNvPr id="32" name="Text Placeholder 3"/>
          <p:cNvSpPr>
            <a:spLocks noGrp="1"/>
          </p:cNvSpPr>
          <p:nvPr>
            <p:ph type="body" sz="quarter" idx="33" hasCustomPrompt="1"/>
          </p:nvPr>
        </p:nvSpPr>
        <p:spPr bwMode="gray">
          <a:xfrm>
            <a:off x="8113290" y="6021368"/>
            <a:ext cx="3648301" cy="286685"/>
          </a:xfrm>
        </p:spPr>
        <p:txBody>
          <a:bodyPr tIns="0" anchor="b" anchorCtr="0"/>
          <a:lstStyle>
            <a:lvl1pPr marL="0" indent="0">
              <a:spcBef>
                <a:spcPts val="0"/>
              </a:spcBef>
              <a:spcAft>
                <a:spcPts val="0"/>
              </a:spcAft>
              <a:buNone/>
              <a:defRPr sz="1600">
                <a:solidFill>
                  <a:schemeClr val="tx1"/>
                </a:solidFill>
              </a:defRPr>
            </a:lvl1pPr>
            <a:lvl2pPr marL="0" indent="0">
              <a:spcBef>
                <a:spcPts val="0"/>
              </a:spcBef>
              <a:spcAft>
                <a:spcPts val="0"/>
              </a:spcAft>
              <a:buNone/>
              <a:defRPr sz="1600"/>
            </a:lvl2pPr>
            <a:lvl3pPr marL="0" indent="0" algn="l">
              <a:spcBef>
                <a:spcPts val="0"/>
              </a:spcBef>
              <a:spcAft>
                <a:spcPts val="0"/>
              </a:spcAft>
              <a:buFontTx/>
              <a:buNone/>
              <a:tabLst>
                <a:tab pos="840296" algn="l"/>
              </a:tabLst>
              <a:defRPr sz="1600"/>
            </a:lvl3pPr>
            <a:lvl4pPr marL="0" indent="0" algn="l">
              <a:spcBef>
                <a:spcPts val="0"/>
              </a:spcBef>
              <a:spcAft>
                <a:spcPts val="0"/>
              </a:spcAft>
              <a:buFontTx/>
              <a:buNone/>
              <a:defRPr sz="1600">
                <a:solidFill>
                  <a:schemeClr val="tx1"/>
                </a:solidFill>
              </a:defRPr>
            </a:lvl4pPr>
            <a:lvl5pPr marL="0" indent="0" algn="l">
              <a:spcBef>
                <a:spcPts val="0"/>
              </a:spcBef>
              <a:spcAft>
                <a:spcPts val="0"/>
              </a:spcAft>
              <a:buFontTx/>
              <a:buNone/>
              <a:defRPr sz="1600"/>
            </a:lvl5pPr>
            <a:lvl6pPr marL="0" indent="0" algn="l">
              <a:spcBef>
                <a:spcPts val="0"/>
              </a:spcBef>
              <a:spcAft>
                <a:spcPts val="0"/>
              </a:spcAft>
              <a:buFontTx/>
              <a:buNone/>
              <a:defRPr sz="1600"/>
            </a:lvl6pPr>
            <a:lvl7pPr marL="0" indent="0" algn="l">
              <a:spcBef>
                <a:spcPts val="0"/>
              </a:spcBef>
              <a:spcAft>
                <a:spcPts val="0"/>
              </a:spcAft>
              <a:buFontTx/>
              <a:buNone/>
              <a:defRPr sz="1600"/>
            </a:lvl7pPr>
            <a:lvl8pPr marL="0" indent="0" algn="l">
              <a:spcBef>
                <a:spcPts val="0"/>
              </a:spcBef>
              <a:spcAft>
                <a:spcPts val="0"/>
              </a:spcAft>
              <a:buFontTx/>
              <a:buNone/>
              <a:defRPr sz="1600"/>
            </a:lvl8pPr>
            <a:lvl9pPr marL="0" indent="0" algn="l">
              <a:spcBef>
                <a:spcPts val="0"/>
              </a:spcBef>
              <a:spcAft>
                <a:spcPts val="0"/>
              </a:spcAft>
              <a:buFontTx/>
              <a:buNone/>
              <a:defRPr sz="1600"/>
            </a:lvl9pPr>
          </a:lstStyle>
          <a:p>
            <a:pPr lvl="4"/>
            <a:r>
              <a:rPr lang="en-US"/>
              <a:t>[country]</a:t>
            </a:r>
          </a:p>
        </p:txBody>
      </p:sp>
      <p:sp>
        <p:nvSpPr>
          <p:cNvPr id="33" name="Picture Placeholder 4"/>
          <p:cNvSpPr>
            <a:spLocks noGrp="1"/>
          </p:cNvSpPr>
          <p:nvPr>
            <p:ph type="pic" sz="quarter" idx="34" hasCustomPrompt="1"/>
          </p:nvPr>
        </p:nvSpPr>
        <p:spPr bwMode="gray">
          <a:xfrm>
            <a:off x="431371" y="1700810"/>
            <a:ext cx="1728192" cy="2208245"/>
          </a:xfrm>
        </p:spPr>
        <p:txBody>
          <a:bodyPr/>
          <a:lstStyle>
            <a:lvl1pPr marL="0" indent="0">
              <a:buNone/>
              <a:defRPr/>
            </a:lvl1pPr>
          </a:lstStyle>
          <a:p>
            <a:r>
              <a:rPr lang="de-DE"/>
              <a:t>Picture</a:t>
            </a:r>
            <a:endParaRPr lang="en-US"/>
          </a:p>
        </p:txBody>
      </p:sp>
      <p:sp>
        <p:nvSpPr>
          <p:cNvPr id="34" name="Text Placeholder 3"/>
          <p:cNvSpPr>
            <a:spLocks noGrp="1"/>
          </p:cNvSpPr>
          <p:nvPr>
            <p:ph type="body" sz="quarter" idx="35" hasCustomPrompt="1"/>
          </p:nvPr>
        </p:nvSpPr>
        <p:spPr bwMode="gray">
          <a:xfrm>
            <a:off x="2351586" y="3046305"/>
            <a:ext cx="3648404" cy="288032"/>
          </a:xfrm>
        </p:spPr>
        <p:txBody>
          <a:bodyPr tIns="0" anchor="b" anchorCtr="0"/>
          <a:lstStyle>
            <a:lvl1pPr marL="0" indent="0">
              <a:spcBef>
                <a:spcPts val="0"/>
              </a:spcBef>
              <a:spcAft>
                <a:spcPts val="0"/>
              </a:spcAft>
              <a:buNone/>
              <a:defRPr sz="1600">
                <a:solidFill>
                  <a:schemeClr val="tx1"/>
                </a:solidFill>
              </a:defRPr>
            </a:lvl1pPr>
            <a:lvl2pPr marL="0" indent="0">
              <a:spcBef>
                <a:spcPts val="0"/>
              </a:spcBef>
              <a:spcAft>
                <a:spcPts val="0"/>
              </a:spcAft>
              <a:buNone/>
              <a:defRPr sz="1600"/>
            </a:lvl2pPr>
            <a:lvl3pPr marL="0" indent="0" algn="l">
              <a:spcBef>
                <a:spcPts val="0"/>
              </a:spcBef>
              <a:spcAft>
                <a:spcPts val="0"/>
              </a:spcAft>
              <a:buFontTx/>
              <a:buNone/>
              <a:tabLst>
                <a:tab pos="840296" algn="l"/>
              </a:tabLst>
              <a:defRPr sz="1600"/>
            </a:lvl3pPr>
            <a:lvl4pPr marL="0" indent="0" algn="l">
              <a:spcBef>
                <a:spcPts val="0"/>
              </a:spcBef>
              <a:spcAft>
                <a:spcPts val="0"/>
              </a:spcAft>
              <a:buFontTx/>
              <a:buNone/>
              <a:defRPr sz="1600">
                <a:solidFill>
                  <a:schemeClr val="tx1"/>
                </a:solidFill>
              </a:defRPr>
            </a:lvl4pPr>
            <a:lvl5pPr marL="0" indent="0" algn="l">
              <a:spcBef>
                <a:spcPts val="0"/>
              </a:spcBef>
              <a:spcAft>
                <a:spcPts val="0"/>
              </a:spcAft>
              <a:buFontTx/>
              <a:buNone/>
              <a:defRPr sz="1600"/>
            </a:lvl5pPr>
            <a:lvl6pPr marL="0" indent="0" algn="l">
              <a:spcBef>
                <a:spcPts val="0"/>
              </a:spcBef>
              <a:spcAft>
                <a:spcPts val="0"/>
              </a:spcAft>
              <a:buFontTx/>
              <a:buNone/>
              <a:defRPr sz="1600"/>
            </a:lvl6pPr>
            <a:lvl7pPr marL="0" indent="0" algn="l">
              <a:spcBef>
                <a:spcPts val="0"/>
              </a:spcBef>
              <a:spcAft>
                <a:spcPts val="0"/>
              </a:spcAft>
              <a:buFontTx/>
              <a:buNone/>
              <a:defRPr sz="1600"/>
            </a:lvl7pPr>
            <a:lvl8pPr marL="0" indent="0" algn="l">
              <a:spcBef>
                <a:spcPts val="0"/>
              </a:spcBef>
              <a:spcAft>
                <a:spcPts val="0"/>
              </a:spcAft>
              <a:buFontTx/>
              <a:buNone/>
              <a:defRPr sz="1600"/>
            </a:lvl8pPr>
            <a:lvl9pPr marL="0" indent="0" algn="l">
              <a:spcBef>
                <a:spcPts val="0"/>
              </a:spcBef>
              <a:spcAft>
                <a:spcPts val="0"/>
              </a:spcAft>
              <a:buFontTx/>
              <a:buNone/>
              <a:defRPr sz="1600"/>
            </a:lvl9pPr>
          </a:lstStyle>
          <a:p>
            <a:pPr lvl="4"/>
            <a:r>
              <a:rPr lang="en-US"/>
              <a:t>[phone number]</a:t>
            </a:r>
          </a:p>
        </p:txBody>
      </p:sp>
      <p:sp>
        <p:nvSpPr>
          <p:cNvPr id="35" name="Text Placeholder 3"/>
          <p:cNvSpPr>
            <a:spLocks noGrp="1"/>
          </p:cNvSpPr>
          <p:nvPr>
            <p:ph type="body" sz="quarter" idx="36" hasCustomPrompt="1"/>
          </p:nvPr>
        </p:nvSpPr>
        <p:spPr bwMode="gray">
          <a:xfrm>
            <a:off x="2351584" y="2470241"/>
            <a:ext cx="3648405" cy="576000"/>
          </a:xfrm>
        </p:spPr>
        <p:txBody>
          <a:bodyPr tIns="36000" anchor="t" anchorCtr="0"/>
          <a:lstStyle>
            <a:lvl1pPr marL="0" indent="0">
              <a:spcBef>
                <a:spcPts val="0"/>
              </a:spcBef>
              <a:spcAft>
                <a:spcPts val="0"/>
              </a:spcAft>
              <a:buNone/>
              <a:defRPr sz="1600">
                <a:solidFill>
                  <a:schemeClr val="tx1"/>
                </a:solidFill>
              </a:defRPr>
            </a:lvl1pPr>
            <a:lvl2pPr marL="0" indent="0">
              <a:spcBef>
                <a:spcPts val="0"/>
              </a:spcBef>
              <a:spcAft>
                <a:spcPts val="0"/>
              </a:spcAft>
              <a:buNone/>
              <a:defRPr sz="1600"/>
            </a:lvl2pPr>
            <a:lvl3pPr marL="0" indent="0" algn="l">
              <a:spcBef>
                <a:spcPts val="0"/>
              </a:spcBef>
              <a:spcAft>
                <a:spcPts val="0"/>
              </a:spcAft>
              <a:buFontTx/>
              <a:buNone/>
              <a:tabLst>
                <a:tab pos="840296" algn="l"/>
              </a:tabLst>
              <a:defRPr sz="1600"/>
            </a:lvl3pPr>
            <a:lvl4pPr marL="0" indent="0" algn="l">
              <a:spcBef>
                <a:spcPts val="0"/>
              </a:spcBef>
              <a:spcAft>
                <a:spcPts val="0"/>
              </a:spcAft>
              <a:buFontTx/>
              <a:buNone/>
              <a:defRPr sz="1600">
                <a:solidFill>
                  <a:schemeClr val="tx1"/>
                </a:solidFill>
              </a:defRPr>
            </a:lvl4pPr>
            <a:lvl5pPr marL="0" indent="0" algn="l">
              <a:spcBef>
                <a:spcPts val="0"/>
              </a:spcBef>
              <a:spcAft>
                <a:spcPts val="0"/>
              </a:spcAft>
              <a:buFontTx/>
              <a:buNone/>
              <a:defRPr sz="1600"/>
            </a:lvl5pPr>
            <a:lvl6pPr marL="0" indent="0" algn="l">
              <a:spcBef>
                <a:spcPts val="0"/>
              </a:spcBef>
              <a:spcAft>
                <a:spcPts val="0"/>
              </a:spcAft>
              <a:buFontTx/>
              <a:buNone/>
              <a:defRPr sz="1600"/>
            </a:lvl6pPr>
            <a:lvl7pPr marL="0" indent="0" algn="l">
              <a:spcBef>
                <a:spcPts val="0"/>
              </a:spcBef>
              <a:spcAft>
                <a:spcPts val="0"/>
              </a:spcAft>
              <a:buFontTx/>
              <a:buNone/>
              <a:defRPr sz="1600"/>
            </a:lvl7pPr>
            <a:lvl8pPr marL="0" indent="0" algn="l">
              <a:spcBef>
                <a:spcPts val="0"/>
              </a:spcBef>
              <a:spcAft>
                <a:spcPts val="0"/>
              </a:spcAft>
              <a:buFontTx/>
              <a:buNone/>
              <a:defRPr sz="1600"/>
            </a:lvl8pPr>
            <a:lvl9pPr marL="0" indent="0" algn="l">
              <a:spcBef>
                <a:spcPts val="0"/>
              </a:spcBef>
              <a:spcAft>
                <a:spcPts val="0"/>
              </a:spcAft>
              <a:buFontTx/>
              <a:buNone/>
              <a:defRPr sz="1600"/>
            </a:lvl9pPr>
          </a:lstStyle>
          <a:p>
            <a:pPr lvl="4"/>
            <a:r>
              <a:rPr lang="en-US"/>
              <a:t>[title]</a:t>
            </a:r>
          </a:p>
        </p:txBody>
      </p:sp>
      <p:sp>
        <p:nvSpPr>
          <p:cNvPr id="37" name="Text Placeholder 3"/>
          <p:cNvSpPr>
            <a:spLocks noGrp="1"/>
          </p:cNvSpPr>
          <p:nvPr>
            <p:ph type="body" sz="quarter" idx="38" hasCustomPrompt="1"/>
          </p:nvPr>
        </p:nvSpPr>
        <p:spPr bwMode="gray">
          <a:xfrm>
            <a:off x="2351584" y="3334336"/>
            <a:ext cx="3648405" cy="288032"/>
          </a:xfrm>
        </p:spPr>
        <p:txBody>
          <a:bodyPr tIns="0" anchor="b" anchorCtr="0"/>
          <a:lstStyle>
            <a:lvl1pPr marL="0" indent="0">
              <a:spcBef>
                <a:spcPts val="0"/>
              </a:spcBef>
              <a:spcAft>
                <a:spcPts val="0"/>
              </a:spcAft>
              <a:buNone/>
              <a:defRPr sz="1600">
                <a:solidFill>
                  <a:schemeClr val="tx1"/>
                </a:solidFill>
              </a:defRPr>
            </a:lvl1pPr>
            <a:lvl2pPr marL="0" indent="0">
              <a:spcBef>
                <a:spcPts val="0"/>
              </a:spcBef>
              <a:spcAft>
                <a:spcPts val="0"/>
              </a:spcAft>
              <a:buNone/>
              <a:defRPr sz="1600"/>
            </a:lvl2pPr>
            <a:lvl3pPr marL="0" indent="0" algn="l">
              <a:spcBef>
                <a:spcPts val="0"/>
              </a:spcBef>
              <a:spcAft>
                <a:spcPts val="0"/>
              </a:spcAft>
              <a:buFontTx/>
              <a:buNone/>
              <a:tabLst>
                <a:tab pos="840296" algn="l"/>
              </a:tabLst>
              <a:defRPr sz="1600"/>
            </a:lvl3pPr>
            <a:lvl4pPr marL="0" indent="0" algn="l">
              <a:spcBef>
                <a:spcPts val="0"/>
              </a:spcBef>
              <a:spcAft>
                <a:spcPts val="0"/>
              </a:spcAft>
              <a:buFontTx/>
              <a:buNone/>
              <a:defRPr sz="1600">
                <a:solidFill>
                  <a:schemeClr val="tx1"/>
                </a:solidFill>
              </a:defRPr>
            </a:lvl4pPr>
            <a:lvl5pPr marL="0" indent="0" algn="l">
              <a:spcBef>
                <a:spcPts val="0"/>
              </a:spcBef>
              <a:spcAft>
                <a:spcPts val="0"/>
              </a:spcAft>
              <a:buFontTx/>
              <a:buNone/>
              <a:defRPr sz="1600"/>
            </a:lvl5pPr>
            <a:lvl6pPr marL="0" indent="0" algn="l">
              <a:spcBef>
                <a:spcPts val="0"/>
              </a:spcBef>
              <a:spcAft>
                <a:spcPts val="0"/>
              </a:spcAft>
              <a:buFontTx/>
              <a:buNone/>
              <a:defRPr sz="1600"/>
            </a:lvl6pPr>
            <a:lvl7pPr marL="0" indent="0" algn="l">
              <a:spcBef>
                <a:spcPts val="0"/>
              </a:spcBef>
              <a:spcAft>
                <a:spcPts val="0"/>
              </a:spcAft>
              <a:buFontTx/>
              <a:buNone/>
              <a:defRPr sz="1600"/>
            </a:lvl7pPr>
            <a:lvl8pPr marL="0" indent="0" algn="l">
              <a:spcBef>
                <a:spcPts val="0"/>
              </a:spcBef>
              <a:spcAft>
                <a:spcPts val="0"/>
              </a:spcAft>
              <a:buFontTx/>
              <a:buNone/>
              <a:defRPr sz="1600"/>
            </a:lvl8pPr>
            <a:lvl9pPr marL="0" indent="0" algn="l">
              <a:spcBef>
                <a:spcPts val="0"/>
              </a:spcBef>
              <a:spcAft>
                <a:spcPts val="0"/>
              </a:spcAft>
              <a:buFontTx/>
              <a:buNone/>
              <a:defRPr sz="1600"/>
            </a:lvl9pPr>
          </a:lstStyle>
          <a:p>
            <a:pPr lvl="4"/>
            <a:r>
              <a:rPr lang="en-US"/>
              <a:t>[email address]</a:t>
            </a:r>
          </a:p>
        </p:txBody>
      </p:sp>
      <p:sp>
        <p:nvSpPr>
          <p:cNvPr id="38" name="Text Placeholder 3"/>
          <p:cNvSpPr>
            <a:spLocks noGrp="1"/>
          </p:cNvSpPr>
          <p:nvPr>
            <p:ph type="body" sz="quarter" idx="39" hasCustomPrompt="1"/>
          </p:nvPr>
        </p:nvSpPr>
        <p:spPr bwMode="gray">
          <a:xfrm>
            <a:off x="2351690" y="3622368"/>
            <a:ext cx="3648301" cy="286685"/>
          </a:xfrm>
        </p:spPr>
        <p:txBody>
          <a:bodyPr tIns="0" anchor="b" anchorCtr="0"/>
          <a:lstStyle>
            <a:lvl1pPr marL="0" indent="0">
              <a:spcBef>
                <a:spcPts val="0"/>
              </a:spcBef>
              <a:spcAft>
                <a:spcPts val="0"/>
              </a:spcAft>
              <a:buNone/>
              <a:defRPr sz="1600">
                <a:solidFill>
                  <a:schemeClr val="tx1"/>
                </a:solidFill>
              </a:defRPr>
            </a:lvl1pPr>
            <a:lvl2pPr marL="0" indent="0">
              <a:spcBef>
                <a:spcPts val="0"/>
              </a:spcBef>
              <a:spcAft>
                <a:spcPts val="0"/>
              </a:spcAft>
              <a:buNone/>
              <a:defRPr sz="1600"/>
            </a:lvl2pPr>
            <a:lvl3pPr marL="0" indent="0" algn="l">
              <a:spcBef>
                <a:spcPts val="0"/>
              </a:spcBef>
              <a:spcAft>
                <a:spcPts val="0"/>
              </a:spcAft>
              <a:buFontTx/>
              <a:buNone/>
              <a:tabLst>
                <a:tab pos="840296" algn="l"/>
              </a:tabLst>
              <a:defRPr sz="1600"/>
            </a:lvl3pPr>
            <a:lvl4pPr marL="0" indent="0" algn="l">
              <a:spcBef>
                <a:spcPts val="0"/>
              </a:spcBef>
              <a:spcAft>
                <a:spcPts val="0"/>
              </a:spcAft>
              <a:buFontTx/>
              <a:buNone/>
              <a:defRPr sz="1600">
                <a:solidFill>
                  <a:schemeClr val="tx1"/>
                </a:solidFill>
              </a:defRPr>
            </a:lvl4pPr>
            <a:lvl5pPr marL="0" indent="0" algn="l">
              <a:spcBef>
                <a:spcPts val="0"/>
              </a:spcBef>
              <a:spcAft>
                <a:spcPts val="0"/>
              </a:spcAft>
              <a:buFontTx/>
              <a:buNone/>
              <a:defRPr sz="1600"/>
            </a:lvl5pPr>
            <a:lvl6pPr marL="0" indent="0" algn="l">
              <a:spcBef>
                <a:spcPts val="0"/>
              </a:spcBef>
              <a:spcAft>
                <a:spcPts val="0"/>
              </a:spcAft>
              <a:buFontTx/>
              <a:buNone/>
              <a:defRPr sz="1600"/>
            </a:lvl6pPr>
            <a:lvl7pPr marL="0" indent="0" algn="l">
              <a:spcBef>
                <a:spcPts val="0"/>
              </a:spcBef>
              <a:spcAft>
                <a:spcPts val="0"/>
              </a:spcAft>
              <a:buFontTx/>
              <a:buNone/>
              <a:defRPr sz="1600"/>
            </a:lvl7pPr>
            <a:lvl8pPr marL="0" indent="0" algn="l">
              <a:spcBef>
                <a:spcPts val="0"/>
              </a:spcBef>
              <a:spcAft>
                <a:spcPts val="0"/>
              </a:spcAft>
              <a:buFontTx/>
              <a:buNone/>
              <a:defRPr sz="1600"/>
            </a:lvl8pPr>
            <a:lvl9pPr marL="0" indent="0" algn="l">
              <a:spcBef>
                <a:spcPts val="0"/>
              </a:spcBef>
              <a:spcAft>
                <a:spcPts val="0"/>
              </a:spcAft>
              <a:buFontTx/>
              <a:buNone/>
              <a:defRPr sz="1600"/>
            </a:lvl9pPr>
          </a:lstStyle>
          <a:p>
            <a:pPr lvl="4"/>
            <a:r>
              <a:rPr lang="en-US"/>
              <a:t>[country]</a:t>
            </a:r>
          </a:p>
        </p:txBody>
      </p:sp>
      <p:sp>
        <p:nvSpPr>
          <p:cNvPr id="39" name="Picture Placeholder 4"/>
          <p:cNvSpPr>
            <a:spLocks noGrp="1"/>
          </p:cNvSpPr>
          <p:nvPr>
            <p:ph type="pic" sz="quarter" idx="40" hasCustomPrompt="1"/>
          </p:nvPr>
        </p:nvSpPr>
        <p:spPr bwMode="gray">
          <a:xfrm>
            <a:off x="6192971" y="1701800"/>
            <a:ext cx="1728192" cy="2208000"/>
          </a:xfrm>
        </p:spPr>
        <p:txBody>
          <a:bodyPr/>
          <a:lstStyle>
            <a:lvl1pPr marL="0" indent="0">
              <a:buNone/>
              <a:defRPr/>
            </a:lvl1pPr>
          </a:lstStyle>
          <a:p>
            <a:r>
              <a:rPr lang="de-DE"/>
              <a:t>Picture</a:t>
            </a:r>
            <a:endParaRPr lang="en-US"/>
          </a:p>
        </p:txBody>
      </p:sp>
      <p:sp>
        <p:nvSpPr>
          <p:cNvPr id="40" name="Text Placeholder 3"/>
          <p:cNvSpPr>
            <a:spLocks noGrp="1"/>
          </p:cNvSpPr>
          <p:nvPr>
            <p:ph type="body" sz="quarter" idx="41" hasCustomPrompt="1"/>
          </p:nvPr>
        </p:nvSpPr>
        <p:spPr bwMode="gray">
          <a:xfrm>
            <a:off x="8113186" y="3046305"/>
            <a:ext cx="3648404" cy="288032"/>
          </a:xfrm>
        </p:spPr>
        <p:txBody>
          <a:bodyPr tIns="0" anchor="b" anchorCtr="0"/>
          <a:lstStyle>
            <a:lvl1pPr marL="0" indent="0">
              <a:spcBef>
                <a:spcPts val="0"/>
              </a:spcBef>
              <a:spcAft>
                <a:spcPts val="0"/>
              </a:spcAft>
              <a:buNone/>
              <a:defRPr sz="1600">
                <a:solidFill>
                  <a:schemeClr val="tx1"/>
                </a:solidFill>
              </a:defRPr>
            </a:lvl1pPr>
            <a:lvl2pPr marL="0" indent="0">
              <a:spcBef>
                <a:spcPts val="0"/>
              </a:spcBef>
              <a:spcAft>
                <a:spcPts val="0"/>
              </a:spcAft>
              <a:buNone/>
              <a:defRPr sz="1600"/>
            </a:lvl2pPr>
            <a:lvl3pPr marL="0" indent="0" algn="l">
              <a:spcBef>
                <a:spcPts val="0"/>
              </a:spcBef>
              <a:spcAft>
                <a:spcPts val="0"/>
              </a:spcAft>
              <a:buFontTx/>
              <a:buNone/>
              <a:tabLst>
                <a:tab pos="840296" algn="l"/>
              </a:tabLst>
              <a:defRPr sz="1600"/>
            </a:lvl3pPr>
            <a:lvl4pPr marL="0" indent="0" algn="l">
              <a:spcBef>
                <a:spcPts val="0"/>
              </a:spcBef>
              <a:spcAft>
                <a:spcPts val="0"/>
              </a:spcAft>
              <a:buFontTx/>
              <a:buNone/>
              <a:defRPr sz="1600">
                <a:solidFill>
                  <a:schemeClr val="tx1"/>
                </a:solidFill>
              </a:defRPr>
            </a:lvl4pPr>
            <a:lvl5pPr marL="0" indent="0" algn="l">
              <a:spcBef>
                <a:spcPts val="0"/>
              </a:spcBef>
              <a:spcAft>
                <a:spcPts val="0"/>
              </a:spcAft>
              <a:buFontTx/>
              <a:buNone/>
              <a:defRPr sz="1600"/>
            </a:lvl5pPr>
            <a:lvl6pPr marL="0" indent="0" algn="l">
              <a:spcBef>
                <a:spcPts val="0"/>
              </a:spcBef>
              <a:spcAft>
                <a:spcPts val="0"/>
              </a:spcAft>
              <a:buFontTx/>
              <a:buNone/>
              <a:defRPr sz="1600"/>
            </a:lvl6pPr>
            <a:lvl7pPr marL="0" indent="0" algn="l">
              <a:spcBef>
                <a:spcPts val="0"/>
              </a:spcBef>
              <a:spcAft>
                <a:spcPts val="0"/>
              </a:spcAft>
              <a:buFontTx/>
              <a:buNone/>
              <a:defRPr sz="1600"/>
            </a:lvl7pPr>
            <a:lvl8pPr marL="0" indent="0" algn="l">
              <a:spcBef>
                <a:spcPts val="0"/>
              </a:spcBef>
              <a:spcAft>
                <a:spcPts val="0"/>
              </a:spcAft>
              <a:buFontTx/>
              <a:buNone/>
              <a:defRPr sz="1600"/>
            </a:lvl8pPr>
            <a:lvl9pPr marL="0" indent="0" algn="l">
              <a:spcBef>
                <a:spcPts val="0"/>
              </a:spcBef>
              <a:spcAft>
                <a:spcPts val="0"/>
              </a:spcAft>
              <a:buFontTx/>
              <a:buNone/>
              <a:defRPr sz="1600"/>
            </a:lvl9pPr>
          </a:lstStyle>
          <a:p>
            <a:pPr lvl="4"/>
            <a:r>
              <a:rPr lang="en-US"/>
              <a:t>[phone number]</a:t>
            </a:r>
          </a:p>
        </p:txBody>
      </p:sp>
      <p:sp>
        <p:nvSpPr>
          <p:cNvPr id="41" name="Text Placeholder 3"/>
          <p:cNvSpPr>
            <a:spLocks noGrp="1"/>
          </p:cNvSpPr>
          <p:nvPr>
            <p:ph type="body" sz="quarter" idx="42" hasCustomPrompt="1"/>
          </p:nvPr>
        </p:nvSpPr>
        <p:spPr bwMode="gray">
          <a:xfrm>
            <a:off x="8113184" y="2470241"/>
            <a:ext cx="3648405" cy="576000"/>
          </a:xfrm>
        </p:spPr>
        <p:txBody>
          <a:bodyPr tIns="36000" anchor="t" anchorCtr="0"/>
          <a:lstStyle>
            <a:lvl1pPr marL="0" indent="0">
              <a:spcBef>
                <a:spcPts val="0"/>
              </a:spcBef>
              <a:spcAft>
                <a:spcPts val="0"/>
              </a:spcAft>
              <a:buNone/>
              <a:defRPr sz="1600">
                <a:solidFill>
                  <a:schemeClr val="tx1"/>
                </a:solidFill>
              </a:defRPr>
            </a:lvl1pPr>
            <a:lvl2pPr marL="0" indent="0">
              <a:spcBef>
                <a:spcPts val="0"/>
              </a:spcBef>
              <a:spcAft>
                <a:spcPts val="0"/>
              </a:spcAft>
              <a:buNone/>
              <a:defRPr sz="1600"/>
            </a:lvl2pPr>
            <a:lvl3pPr marL="0" indent="0" algn="l">
              <a:spcBef>
                <a:spcPts val="0"/>
              </a:spcBef>
              <a:spcAft>
                <a:spcPts val="0"/>
              </a:spcAft>
              <a:buFontTx/>
              <a:buNone/>
              <a:tabLst>
                <a:tab pos="840296" algn="l"/>
              </a:tabLst>
              <a:defRPr sz="1600"/>
            </a:lvl3pPr>
            <a:lvl4pPr marL="0" indent="0" algn="l">
              <a:spcBef>
                <a:spcPts val="0"/>
              </a:spcBef>
              <a:spcAft>
                <a:spcPts val="0"/>
              </a:spcAft>
              <a:buFontTx/>
              <a:buNone/>
              <a:defRPr sz="1600">
                <a:solidFill>
                  <a:schemeClr val="tx1"/>
                </a:solidFill>
              </a:defRPr>
            </a:lvl4pPr>
            <a:lvl5pPr marL="0" indent="0" algn="l">
              <a:spcBef>
                <a:spcPts val="0"/>
              </a:spcBef>
              <a:spcAft>
                <a:spcPts val="0"/>
              </a:spcAft>
              <a:buFontTx/>
              <a:buNone/>
              <a:defRPr sz="1600"/>
            </a:lvl5pPr>
            <a:lvl6pPr marL="0" indent="0" algn="l">
              <a:spcBef>
                <a:spcPts val="0"/>
              </a:spcBef>
              <a:spcAft>
                <a:spcPts val="0"/>
              </a:spcAft>
              <a:buFontTx/>
              <a:buNone/>
              <a:defRPr sz="1600"/>
            </a:lvl6pPr>
            <a:lvl7pPr marL="0" indent="0" algn="l">
              <a:spcBef>
                <a:spcPts val="0"/>
              </a:spcBef>
              <a:spcAft>
                <a:spcPts val="0"/>
              </a:spcAft>
              <a:buFontTx/>
              <a:buNone/>
              <a:defRPr sz="1600"/>
            </a:lvl7pPr>
            <a:lvl8pPr marL="0" indent="0" algn="l">
              <a:spcBef>
                <a:spcPts val="0"/>
              </a:spcBef>
              <a:spcAft>
                <a:spcPts val="0"/>
              </a:spcAft>
              <a:buFontTx/>
              <a:buNone/>
              <a:defRPr sz="1600"/>
            </a:lvl8pPr>
            <a:lvl9pPr marL="0" indent="0" algn="l">
              <a:spcBef>
                <a:spcPts val="0"/>
              </a:spcBef>
              <a:spcAft>
                <a:spcPts val="0"/>
              </a:spcAft>
              <a:buFontTx/>
              <a:buNone/>
              <a:defRPr sz="1600"/>
            </a:lvl9pPr>
          </a:lstStyle>
          <a:p>
            <a:pPr lvl="4"/>
            <a:r>
              <a:rPr lang="en-US"/>
              <a:t>[title]</a:t>
            </a:r>
          </a:p>
        </p:txBody>
      </p:sp>
      <p:sp>
        <p:nvSpPr>
          <p:cNvPr id="43" name="Text Placeholder 3"/>
          <p:cNvSpPr>
            <a:spLocks noGrp="1"/>
          </p:cNvSpPr>
          <p:nvPr>
            <p:ph type="body" sz="quarter" idx="44" hasCustomPrompt="1"/>
          </p:nvPr>
        </p:nvSpPr>
        <p:spPr bwMode="gray">
          <a:xfrm>
            <a:off x="8113184" y="3334336"/>
            <a:ext cx="3648405" cy="288032"/>
          </a:xfrm>
        </p:spPr>
        <p:txBody>
          <a:bodyPr tIns="0" anchor="b" anchorCtr="0"/>
          <a:lstStyle>
            <a:lvl1pPr marL="0" indent="0">
              <a:spcBef>
                <a:spcPts val="0"/>
              </a:spcBef>
              <a:spcAft>
                <a:spcPts val="0"/>
              </a:spcAft>
              <a:buNone/>
              <a:defRPr sz="1600">
                <a:solidFill>
                  <a:schemeClr val="tx1"/>
                </a:solidFill>
              </a:defRPr>
            </a:lvl1pPr>
            <a:lvl2pPr marL="0" indent="0">
              <a:spcBef>
                <a:spcPts val="0"/>
              </a:spcBef>
              <a:spcAft>
                <a:spcPts val="0"/>
              </a:spcAft>
              <a:buNone/>
              <a:defRPr sz="1600"/>
            </a:lvl2pPr>
            <a:lvl3pPr marL="0" indent="0" algn="l">
              <a:spcBef>
                <a:spcPts val="0"/>
              </a:spcBef>
              <a:spcAft>
                <a:spcPts val="0"/>
              </a:spcAft>
              <a:buFontTx/>
              <a:buNone/>
              <a:tabLst>
                <a:tab pos="840296" algn="l"/>
              </a:tabLst>
              <a:defRPr sz="1600"/>
            </a:lvl3pPr>
            <a:lvl4pPr marL="0" indent="0" algn="l">
              <a:spcBef>
                <a:spcPts val="0"/>
              </a:spcBef>
              <a:spcAft>
                <a:spcPts val="0"/>
              </a:spcAft>
              <a:buFontTx/>
              <a:buNone/>
              <a:defRPr sz="1600">
                <a:solidFill>
                  <a:schemeClr val="tx1"/>
                </a:solidFill>
              </a:defRPr>
            </a:lvl4pPr>
            <a:lvl5pPr marL="0" indent="0" algn="l">
              <a:spcBef>
                <a:spcPts val="0"/>
              </a:spcBef>
              <a:spcAft>
                <a:spcPts val="0"/>
              </a:spcAft>
              <a:buFontTx/>
              <a:buNone/>
              <a:defRPr sz="1600"/>
            </a:lvl5pPr>
            <a:lvl6pPr marL="0" indent="0" algn="l">
              <a:spcBef>
                <a:spcPts val="0"/>
              </a:spcBef>
              <a:spcAft>
                <a:spcPts val="0"/>
              </a:spcAft>
              <a:buFontTx/>
              <a:buNone/>
              <a:defRPr sz="1600"/>
            </a:lvl6pPr>
            <a:lvl7pPr marL="0" indent="0" algn="l">
              <a:spcBef>
                <a:spcPts val="0"/>
              </a:spcBef>
              <a:spcAft>
                <a:spcPts val="0"/>
              </a:spcAft>
              <a:buFontTx/>
              <a:buNone/>
              <a:defRPr sz="1600"/>
            </a:lvl7pPr>
            <a:lvl8pPr marL="0" indent="0" algn="l">
              <a:spcBef>
                <a:spcPts val="0"/>
              </a:spcBef>
              <a:spcAft>
                <a:spcPts val="0"/>
              </a:spcAft>
              <a:buFontTx/>
              <a:buNone/>
              <a:defRPr sz="1600"/>
            </a:lvl8pPr>
            <a:lvl9pPr marL="0" indent="0" algn="l">
              <a:spcBef>
                <a:spcPts val="0"/>
              </a:spcBef>
              <a:spcAft>
                <a:spcPts val="0"/>
              </a:spcAft>
              <a:buFontTx/>
              <a:buNone/>
              <a:defRPr sz="1600"/>
            </a:lvl9pPr>
          </a:lstStyle>
          <a:p>
            <a:pPr lvl="4"/>
            <a:r>
              <a:rPr lang="en-US"/>
              <a:t>[email address]</a:t>
            </a:r>
          </a:p>
        </p:txBody>
      </p:sp>
      <p:sp>
        <p:nvSpPr>
          <p:cNvPr id="44" name="Text Placeholder 3"/>
          <p:cNvSpPr>
            <a:spLocks noGrp="1"/>
          </p:cNvSpPr>
          <p:nvPr>
            <p:ph type="body" sz="quarter" idx="45" hasCustomPrompt="1"/>
          </p:nvPr>
        </p:nvSpPr>
        <p:spPr bwMode="gray">
          <a:xfrm>
            <a:off x="8113290" y="3622368"/>
            <a:ext cx="3648301" cy="286685"/>
          </a:xfrm>
        </p:spPr>
        <p:txBody>
          <a:bodyPr tIns="0" anchor="b" anchorCtr="0"/>
          <a:lstStyle>
            <a:lvl1pPr marL="0" indent="0">
              <a:spcBef>
                <a:spcPts val="0"/>
              </a:spcBef>
              <a:spcAft>
                <a:spcPts val="0"/>
              </a:spcAft>
              <a:buNone/>
              <a:defRPr sz="1600">
                <a:solidFill>
                  <a:schemeClr val="tx1"/>
                </a:solidFill>
              </a:defRPr>
            </a:lvl1pPr>
            <a:lvl2pPr marL="0" indent="0">
              <a:spcBef>
                <a:spcPts val="0"/>
              </a:spcBef>
              <a:spcAft>
                <a:spcPts val="0"/>
              </a:spcAft>
              <a:buNone/>
              <a:defRPr sz="1600"/>
            </a:lvl2pPr>
            <a:lvl3pPr marL="0" indent="0" algn="l">
              <a:spcBef>
                <a:spcPts val="0"/>
              </a:spcBef>
              <a:spcAft>
                <a:spcPts val="0"/>
              </a:spcAft>
              <a:buFontTx/>
              <a:buNone/>
              <a:tabLst>
                <a:tab pos="840296" algn="l"/>
              </a:tabLst>
              <a:defRPr sz="1600"/>
            </a:lvl3pPr>
            <a:lvl4pPr marL="0" indent="0" algn="l">
              <a:spcBef>
                <a:spcPts val="0"/>
              </a:spcBef>
              <a:spcAft>
                <a:spcPts val="0"/>
              </a:spcAft>
              <a:buFontTx/>
              <a:buNone/>
              <a:defRPr sz="1600">
                <a:solidFill>
                  <a:schemeClr val="tx1"/>
                </a:solidFill>
              </a:defRPr>
            </a:lvl4pPr>
            <a:lvl5pPr marL="0" indent="0" algn="l">
              <a:spcBef>
                <a:spcPts val="0"/>
              </a:spcBef>
              <a:spcAft>
                <a:spcPts val="0"/>
              </a:spcAft>
              <a:buFontTx/>
              <a:buNone/>
              <a:defRPr sz="1600"/>
            </a:lvl5pPr>
            <a:lvl6pPr marL="0" indent="0" algn="l">
              <a:spcBef>
                <a:spcPts val="0"/>
              </a:spcBef>
              <a:spcAft>
                <a:spcPts val="0"/>
              </a:spcAft>
              <a:buFontTx/>
              <a:buNone/>
              <a:defRPr sz="1600"/>
            </a:lvl6pPr>
            <a:lvl7pPr marL="0" indent="0" algn="l">
              <a:spcBef>
                <a:spcPts val="0"/>
              </a:spcBef>
              <a:spcAft>
                <a:spcPts val="0"/>
              </a:spcAft>
              <a:buFontTx/>
              <a:buNone/>
              <a:defRPr sz="1600"/>
            </a:lvl7pPr>
            <a:lvl8pPr marL="0" indent="0" algn="l">
              <a:spcBef>
                <a:spcPts val="0"/>
              </a:spcBef>
              <a:spcAft>
                <a:spcPts val="0"/>
              </a:spcAft>
              <a:buFontTx/>
              <a:buNone/>
              <a:defRPr sz="1600"/>
            </a:lvl8pPr>
            <a:lvl9pPr marL="0" indent="0" algn="l">
              <a:spcBef>
                <a:spcPts val="0"/>
              </a:spcBef>
              <a:spcAft>
                <a:spcPts val="0"/>
              </a:spcAft>
              <a:buFontTx/>
              <a:buNone/>
              <a:defRPr sz="1600"/>
            </a:lvl9pPr>
          </a:lstStyle>
          <a:p>
            <a:pPr lvl="4"/>
            <a:r>
              <a:rPr lang="en-US"/>
              <a:t>[country]</a:t>
            </a:r>
          </a:p>
        </p:txBody>
      </p:sp>
      <p:sp>
        <p:nvSpPr>
          <p:cNvPr id="45" name="Textplatzhalter 2"/>
          <p:cNvSpPr>
            <a:spLocks noGrp="1"/>
          </p:cNvSpPr>
          <p:nvPr>
            <p:ph type="body" sz="quarter" idx="11" hasCustomPrompt="1"/>
          </p:nvPr>
        </p:nvSpPr>
        <p:spPr bwMode="gray">
          <a:xfrm>
            <a:off x="431800" y="1220755"/>
            <a:ext cx="11328400" cy="384340"/>
          </a:xfrm>
        </p:spPr>
        <p:txBody>
          <a:bodyPr>
            <a:noAutofit/>
          </a:bodyPr>
          <a:lstStyle>
            <a:lvl1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1pPr>
            <a:lvl2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2pPr>
            <a:lvl3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3pPr>
            <a:lvl4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4pPr>
            <a:lvl5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5pPr>
            <a:lvl6pPr marL="0" indent="0">
              <a:lnSpc>
                <a:spcPct val="100000"/>
              </a:lnSpc>
              <a:spcBef>
                <a:spcPts val="800"/>
              </a:spcBef>
              <a:buNone/>
              <a:defRPr lang="en-GB" sz="2400" kern="1200" noProof="0" smtClean="0">
                <a:solidFill>
                  <a:schemeClr val="tx2"/>
                </a:solidFill>
                <a:latin typeface="Arial" pitchFamily="34" charset="0"/>
                <a:ea typeface="+mn-ea"/>
                <a:cs typeface="Arial" pitchFamily="34" charset="0"/>
              </a:defRPr>
            </a:lvl6pPr>
            <a:lvl7pPr marL="0" indent="0">
              <a:lnSpc>
                <a:spcPct val="100000"/>
              </a:lnSpc>
              <a:spcBef>
                <a:spcPts val="800"/>
              </a:spcBef>
              <a:buNone/>
              <a:defRPr lang="en-GB" sz="2400" kern="1200" noProof="0" smtClean="0">
                <a:solidFill>
                  <a:schemeClr val="tx2"/>
                </a:solidFill>
                <a:latin typeface="Arial" pitchFamily="34" charset="0"/>
                <a:ea typeface="+mn-ea"/>
                <a:cs typeface="Arial" pitchFamily="34" charset="0"/>
              </a:defRPr>
            </a:lvl7pPr>
            <a:lvl8pPr marL="0" indent="0">
              <a:lnSpc>
                <a:spcPct val="100000"/>
              </a:lnSpc>
              <a:spcBef>
                <a:spcPts val="800"/>
              </a:spcBef>
              <a:buNone/>
              <a:defRPr lang="en-GB" sz="2400" kern="1200" noProof="0" smtClean="0">
                <a:solidFill>
                  <a:schemeClr val="tx2"/>
                </a:solidFill>
                <a:latin typeface="Arial" pitchFamily="34" charset="0"/>
                <a:ea typeface="+mn-ea"/>
                <a:cs typeface="Arial" pitchFamily="34" charset="0"/>
              </a:defRPr>
            </a:lvl8pPr>
            <a:lvl9pPr marL="0" indent="0">
              <a:lnSpc>
                <a:spcPct val="100000"/>
              </a:lnSpc>
              <a:spcBef>
                <a:spcPts val="800"/>
              </a:spcBef>
              <a:buNone/>
              <a:defRPr lang="de-DE" sz="2400" kern="1200" noProof="0" smtClean="0">
                <a:solidFill>
                  <a:schemeClr val="tx2"/>
                </a:solidFill>
                <a:latin typeface="Arial" pitchFamily="34" charset="0"/>
                <a:ea typeface="+mn-ea"/>
                <a:cs typeface="Arial" pitchFamily="34" charset="0"/>
              </a:defRPr>
            </a:lvl9pPr>
          </a:lstStyle>
          <a:p>
            <a:pPr lvl="0"/>
            <a:r>
              <a:rPr lang="en-US"/>
              <a:t>Click to add </a:t>
            </a:r>
            <a:r>
              <a:rPr lang="en-US" err="1"/>
              <a:t>subheadline</a:t>
            </a:r>
            <a:endParaRPr lang="en-US"/>
          </a:p>
        </p:txBody>
      </p:sp>
      <p:sp>
        <p:nvSpPr>
          <p:cNvPr id="46" name="Text Placeholder 3"/>
          <p:cNvSpPr>
            <a:spLocks noGrp="1"/>
          </p:cNvSpPr>
          <p:nvPr>
            <p:ph type="body" sz="quarter" idx="37" hasCustomPrompt="1"/>
          </p:nvPr>
        </p:nvSpPr>
        <p:spPr bwMode="gray">
          <a:xfrm>
            <a:off x="2351584" y="1701800"/>
            <a:ext cx="3648405" cy="768440"/>
          </a:xfrm>
        </p:spPr>
        <p:txBody>
          <a:bodyPr tIns="0" bIns="36000" anchor="b" anchorCtr="0"/>
          <a:lstStyle>
            <a:lvl1pPr marL="0" indent="0">
              <a:spcBef>
                <a:spcPts val="0"/>
              </a:spcBef>
              <a:spcAft>
                <a:spcPts val="0"/>
              </a:spcAft>
              <a:buFontTx/>
              <a:buNone/>
              <a:defRPr sz="1867">
                <a:solidFill>
                  <a:schemeClr val="tx2"/>
                </a:solidFill>
              </a:defRPr>
            </a:lvl1pPr>
            <a:lvl2pPr marL="0" indent="0">
              <a:spcBef>
                <a:spcPts val="0"/>
              </a:spcBef>
              <a:spcAft>
                <a:spcPts val="0"/>
              </a:spcAft>
              <a:buNone/>
              <a:defRPr sz="1867">
                <a:solidFill>
                  <a:schemeClr val="tx2"/>
                </a:solidFill>
              </a:defRPr>
            </a:lvl2pPr>
            <a:lvl3pPr marL="0" indent="0" algn="l">
              <a:spcBef>
                <a:spcPts val="0"/>
              </a:spcBef>
              <a:spcAft>
                <a:spcPts val="0"/>
              </a:spcAft>
              <a:buFontTx/>
              <a:buNone/>
              <a:tabLst>
                <a:tab pos="840296" algn="l"/>
              </a:tabLst>
              <a:defRPr sz="1867">
                <a:solidFill>
                  <a:schemeClr val="tx2"/>
                </a:solidFill>
              </a:defRPr>
            </a:lvl3pPr>
            <a:lvl4pPr marL="0" indent="0" algn="l">
              <a:spcBef>
                <a:spcPts val="0"/>
              </a:spcBef>
              <a:spcAft>
                <a:spcPts val="0"/>
              </a:spcAft>
              <a:buFontTx/>
              <a:buNone/>
              <a:defRPr sz="1867">
                <a:solidFill>
                  <a:schemeClr val="tx2"/>
                </a:solidFill>
              </a:defRPr>
            </a:lvl4pPr>
            <a:lvl5pPr marL="0" indent="0" algn="l">
              <a:spcBef>
                <a:spcPts val="0"/>
              </a:spcBef>
              <a:spcAft>
                <a:spcPts val="0"/>
              </a:spcAft>
              <a:buFontTx/>
              <a:buNone/>
              <a:defRPr sz="1867" b="0">
                <a:solidFill>
                  <a:schemeClr val="tx2"/>
                </a:solidFill>
              </a:defRPr>
            </a:lvl5pPr>
            <a:lvl6pPr marL="0" indent="0" algn="l">
              <a:spcBef>
                <a:spcPts val="0"/>
              </a:spcBef>
              <a:spcAft>
                <a:spcPts val="0"/>
              </a:spcAft>
              <a:buFontTx/>
              <a:buNone/>
              <a:defRPr sz="1867">
                <a:solidFill>
                  <a:schemeClr val="tx2"/>
                </a:solidFill>
              </a:defRPr>
            </a:lvl6pPr>
            <a:lvl7pPr marL="0" indent="0" algn="l">
              <a:spcBef>
                <a:spcPts val="0"/>
              </a:spcBef>
              <a:spcAft>
                <a:spcPts val="0"/>
              </a:spcAft>
              <a:buFontTx/>
              <a:buNone/>
              <a:defRPr sz="1867">
                <a:solidFill>
                  <a:schemeClr val="tx2"/>
                </a:solidFill>
              </a:defRPr>
            </a:lvl7pPr>
            <a:lvl8pPr marL="0" indent="0" algn="l">
              <a:spcBef>
                <a:spcPts val="0"/>
              </a:spcBef>
              <a:spcAft>
                <a:spcPts val="0"/>
              </a:spcAft>
              <a:buFontTx/>
              <a:buNone/>
              <a:defRPr sz="1867"/>
            </a:lvl8pPr>
            <a:lvl9pPr marL="0" indent="0" algn="l">
              <a:spcBef>
                <a:spcPts val="0"/>
              </a:spcBef>
              <a:spcAft>
                <a:spcPts val="0"/>
              </a:spcAft>
              <a:buFontTx/>
              <a:buNone/>
              <a:defRPr sz="1867">
                <a:solidFill>
                  <a:schemeClr val="tx2"/>
                </a:solidFill>
              </a:defRPr>
            </a:lvl9pPr>
          </a:lstStyle>
          <a:p>
            <a:pPr lvl="0"/>
            <a:r>
              <a:rPr lang="en-US" noProof="0"/>
              <a:t>[name]</a:t>
            </a:r>
          </a:p>
        </p:txBody>
      </p:sp>
      <p:sp>
        <p:nvSpPr>
          <p:cNvPr id="47" name="Text Placeholder 3"/>
          <p:cNvSpPr>
            <a:spLocks noGrp="1"/>
          </p:cNvSpPr>
          <p:nvPr>
            <p:ph type="body" sz="quarter" idx="43" hasCustomPrompt="1"/>
          </p:nvPr>
        </p:nvSpPr>
        <p:spPr bwMode="gray">
          <a:xfrm>
            <a:off x="8113184" y="1702432"/>
            <a:ext cx="3648405" cy="768000"/>
          </a:xfrm>
        </p:spPr>
        <p:txBody>
          <a:bodyPr tIns="0" bIns="36000" anchor="b" anchorCtr="0"/>
          <a:lstStyle>
            <a:lvl1pPr marL="0" indent="0">
              <a:spcBef>
                <a:spcPts val="0"/>
              </a:spcBef>
              <a:spcAft>
                <a:spcPts val="0"/>
              </a:spcAft>
              <a:buFontTx/>
              <a:buNone/>
              <a:defRPr sz="1867">
                <a:solidFill>
                  <a:schemeClr val="tx2"/>
                </a:solidFill>
              </a:defRPr>
            </a:lvl1pPr>
            <a:lvl2pPr marL="0" indent="0">
              <a:spcBef>
                <a:spcPts val="0"/>
              </a:spcBef>
              <a:spcAft>
                <a:spcPts val="0"/>
              </a:spcAft>
              <a:buNone/>
              <a:defRPr sz="1867">
                <a:solidFill>
                  <a:schemeClr val="tx2"/>
                </a:solidFill>
              </a:defRPr>
            </a:lvl2pPr>
            <a:lvl3pPr marL="0" indent="0" algn="l">
              <a:spcBef>
                <a:spcPts val="0"/>
              </a:spcBef>
              <a:spcAft>
                <a:spcPts val="0"/>
              </a:spcAft>
              <a:buFontTx/>
              <a:buNone/>
              <a:tabLst>
                <a:tab pos="840296" algn="l"/>
              </a:tabLst>
              <a:defRPr sz="1867">
                <a:solidFill>
                  <a:schemeClr val="tx2"/>
                </a:solidFill>
              </a:defRPr>
            </a:lvl3pPr>
            <a:lvl4pPr marL="0" indent="0" algn="l">
              <a:spcBef>
                <a:spcPts val="0"/>
              </a:spcBef>
              <a:spcAft>
                <a:spcPts val="0"/>
              </a:spcAft>
              <a:buFontTx/>
              <a:buNone/>
              <a:defRPr sz="1867">
                <a:solidFill>
                  <a:schemeClr val="tx2"/>
                </a:solidFill>
              </a:defRPr>
            </a:lvl4pPr>
            <a:lvl5pPr marL="0" indent="0" algn="l">
              <a:spcBef>
                <a:spcPts val="0"/>
              </a:spcBef>
              <a:spcAft>
                <a:spcPts val="0"/>
              </a:spcAft>
              <a:buFontTx/>
              <a:buNone/>
              <a:defRPr sz="1867" b="0">
                <a:solidFill>
                  <a:schemeClr val="tx2"/>
                </a:solidFill>
              </a:defRPr>
            </a:lvl5pPr>
            <a:lvl6pPr marL="0" indent="0" algn="l">
              <a:spcBef>
                <a:spcPts val="0"/>
              </a:spcBef>
              <a:spcAft>
                <a:spcPts val="0"/>
              </a:spcAft>
              <a:buFontTx/>
              <a:buNone/>
              <a:defRPr sz="1867">
                <a:solidFill>
                  <a:schemeClr val="tx2"/>
                </a:solidFill>
              </a:defRPr>
            </a:lvl6pPr>
            <a:lvl7pPr marL="0" indent="0" algn="l">
              <a:spcBef>
                <a:spcPts val="0"/>
              </a:spcBef>
              <a:spcAft>
                <a:spcPts val="0"/>
              </a:spcAft>
              <a:buFontTx/>
              <a:buNone/>
              <a:defRPr sz="1867">
                <a:solidFill>
                  <a:schemeClr val="tx2"/>
                </a:solidFill>
              </a:defRPr>
            </a:lvl7pPr>
            <a:lvl8pPr marL="0" indent="0" algn="l">
              <a:spcBef>
                <a:spcPts val="0"/>
              </a:spcBef>
              <a:spcAft>
                <a:spcPts val="0"/>
              </a:spcAft>
              <a:buFontTx/>
              <a:buNone/>
              <a:defRPr sz="1867"/>
            </a:lvl8pPr>
            <a:lvl9pPr marL="0" indent="0" algn="l">
              <a:spcBef>
                <a:spcPts val="0"/>
              </a:spcBef>
              <a:spcAft>
                <a:spcPts val="0"/>
              </a:spcAft>
              <a:buFontTx/>
              <a:buNone/>
              <a:defRPr sz="1867">
                <a:solidFill>
                  <a:schemeClr val="tx2"/>
                </a:solidFill>
              </a:defRPr>
            </a:lvl9pPr>
          </a:lstStyle>
          <a:p>
            <a:pPr lvl="0"/>
            <a:r>
              <a:rPr lang="en-US"/>
              <a:t>[name]</a:t>
            </a:r>
          </a:p>
        </p:txBody>
      </p:sp>
      <p:sp>
        <p:nvSpPr>
          <p:cNvPr id="48" name="Text Placeholder 3"/>
          <p:cNvSpPr>
            <a:spLocks noGrp="1"/>
          </p:cNvSpPr>
          <p:nvPr>
            <p:ph type="body" sz="quarter" idx="46" hasCustomPrompt="1"/>
          </p:nvPr>
        </p:nvSpPr>
        <p:spPr bwMode="gray">
          <a:xfrm>
            <a:off x="2351584" y="4101093"/>
            <a:ext cx="3648405" cy="768440"/>
          </a:xfrm>
        </p:spPr>
        <p:txBody>
          <a:bodyPr tIns="0" bIns="36000" anchor="b" anchorCtr="0"/>
          <a:lstStyle>
            <a:lvl1pPr marL="0" indent="0">
              <a:spcBef>
                <a:spcPts val="0"/>
              </a:spcBef>
              <a:spcAft>
                <a:spcPts val="0"/>
              </a:spcAft>
              <a:buFontTx/>
              <a:buNone/>
              <a:defRPr sz="1867">
                <a:solidFill>
                  <a:schemeClr val="tx2"/>
                </a:solidFill>
              </a:defRPr>
            </a:lvl1pPr>
            <a:lvl2pPr marL="0" indent="0">
              <a:spcBef>
                <a:spcPts val="0"/>
              </a:spcBef>
              <a:spcAft>
                <a:spcPts val="0"/>
              </a:spcAft>
              <a:buNone/>
              <a:defRPr sz="1867">
                <a:solidFill>
                  <a:schemeClr val="tx2"/>
                </a:solidFill>
              </a:defRPr>
            </a:lvl2pPr>
            <a:lvl3pPr marL="0" indent="0" algn="l">
              <a:spcBef>
                <a:spcPts val="0"/>
              </a:spcBef>
              <a:spcAft>
                <a:spcPts val="0"/>
              </a:spcAft>
              <a:buFontTx/>
              <a:buNone/>
              <a:tabLst>
                <a:tab pos="840296" algn="l"/>
              </a:tabLst>
              <a:defRPr sz="1867">
                <a:solidFill>
                  <a:schemeClr val="tx2"/>
                </a:solidFill>
              </a:defRPr>
            </a:lvl3pPr>
            <a:lvl4pPr marL="0" indent="0" algn="l">
              <a:spcBef>
                <a:spcPts val="0"/>
              </a:spcBef>
              <a:spcAft>
                <a:spcPts val="0"/>
              </a:spcAft>
              <a:buFontTx/>
              <a:buNone/>
              <a:defRPr sz="1867">
                <a:solidFill>
                  <a:schemeClr val="tx2"/>
                </a:solidFill>
              </a:defRPr>
            </a:lvl4pPr>
            <a:lvl5pPr marL="0" indent="0" algn="l">
              <a:spcBef>
                <a:spcPts val="0"/>
              </a:spcBef>
              <a:spcAft>
                <a:spcPts val="0"/>
              </a:spcAft>
              <a:buFontTx/>
              <a:buNone/>
              <a:defRPr sz="1867" b="0">
                <a:solidFill>
                  <a:schemeClr val="tx2"/>
                </a:solidFill>
              </a:defRPr>
            </a:lvl5pPr>
            <a:lvl6pPr marL="0" indent="0" algn="l">
              <a:spcBef>
                <a:spcPts val="0"/>
              </a:spcBef>
              <a:spcAft>
                <a:spcPts val="0"/>
              </a:spcAft>
              <a:buFontTx/>
              <a:buNone/>
              <a:defRPr sz="1867">
                <a:solidFill>
                  <a:schemeClr val="tx2"/>
                </a:solidFill>
              </a:defRPr>
            </a:lvl6pPr>
            <a:lvl7pPr marL="0" indent="0" algn="l">
              <a:spcBef>
                <a:spcPts val="0"/>
              </a:spcBef>
              <a:spcAft>
                <a:spcPts val="0"/>
              </a:spcAft>
              <a:buFontTx/>
              <a:buNone/>
              <a:defRPr sz="1867">
                <a:solidFill>
                  <a:schemeClr val="tx2"/>
                </a:solidFill>
              </a:defRPr>
            </a:lvl7pPr>
            <a:lvl8pPr marL="0" indent="0" algn="l">
              <a:spcBef>
                <a:spcPts val="0"/>
              </a:spcBef>
              <a:spcAft>
                <a:spcPts val="0"/>
              </a:spcAft>
              <a:buFontTx/>
              <a:buNone/>
              <a:defRPr sz="1867"/>
            </a:lvl8pPr>
            <a:lvl9pPr marL="0" indent="0" algn="l">
              <a:spcBef>
                <a:spcPts val="0"/>
              </a:spcBef>
              <a:spcAft>
                <a:spcPts val="0"/>
              </a:spcAft>
              <a:buFontTx/>
              <a:buNone/>
              <a:defRPr sz="1867">
                <a:solidFill>
                  <a:schemeClr val="tx2"/>
                </a:solidFill>
              </a:defRPr>
            </a:lvl9pPr>
          </a:lstStyle>
          <a:p>
            <a:pPr lvl="0"/>
            <a:r>
              <a:rPr lang="en-US" noProof="0"/>
              <a:t>[name]</a:t>
            </a:r>
          </a:p>
        </p:txBody>
      </p:sp>
      <p:sp>
        <p:nvSpPr>
          <p:cNvPr id="49" name="Text Placeholder 3"/>
          <p:cNvSpPr>
            <a:spLocks noGrp="1"/>
          </p:cNvSpPr>
          <p:nvPr>
            <p:ph type="body" sz="quarter" idx="47" hasCustomPrompt="1"/>
          </p:nvPr>
        </p:nvSpPr>
        <p:spPr bwMode="gray">
          <a:xfrm>
            <a:off x="8113184" y="4101725"/>
            <a:ext cx="3648405" cy="768000"/>
          </a:xfrm>
        </p:spPr>
        <p:txBody>
          <a:bodyPr tIns="0" bIns="36000" anchor="b" anchorCtr="0"/>
          <a:lstStyle>
            <a:lvl1pPr marL="0" indent="0">
              <a:spcBef>
                <a:spcPts val="0"/>
              </a:spcBef>
              <a:spcAft>
                <a:spcPts val="0"/>
              </a:spcAft>
              <a:buFontTx/>
              <a:buNone/>
              <a:defRPr sz="1867">
                <a:solidFill>
                  <a:schemeClr val="tx2"/>
                </a:solidFill>
              </a:defRPr>
            </a:lvl1pPr>
            <a:lvl2pPr marL="0" indent="0">
              <a:spcBef>
                <a:spcPts val="0"/>
              </a:spcBef>
              <a:spcAft>
                <a:spcPts val="0"/>
              </a:spcAft>
              <a:buNone/>
              <a:defRPr sz="1867">
                <a:solidFill>
                  <a:schemeClr val="tx2"/>
                </a:solidFill>
              </a:defRPr>
            </a:lvl2pPr>
            <a:lvl3pPr marL="0" indent="0" algn="l">
              <a:spcBef>
                <a:spcPts val="0"/>
              </a:spcBef>
              <a:spcAft>
                <a:spcPts val="0"/>
              </a:spcAft>
              <a:buFontTx/>
              <a:buNone/>
              <a:tabLst>
                <a:tab pos="840296" algn="l"/>
              </a:tabLst>
              <a:defRPr sz="1867">
                <a:solidFill>
                  <a:schemeClr val="tx2"/>
                </a:solidFill>
              </a:defRPr>
            </a:lvl3pPr>
            <a:lvl4pPr marL="0" indent="0" algn="l">
              <a:spcBef>
                <a:spcPts val="0"/>
              </a:spcBef>
              <a:spcAft>
                <a:spcPts val="0"/>
              </a:spcAft>
              <a:buFontTx/>
              <a:buNone/>
              <a:defRPr sz="1867">
                <a:solidFill>
                  <a:schemeClr val="tx2"/>
                </a:solidFill>
              </a:defRPr>
            </a:lvl4pPr>
            <a:lvl5pPr marL="0" indent="0" algn="l">
              <a:spcBef>
                <a:spcPts val="0"/>
              </a:spcBef>
              <a:spcAft>
                <a:spcPts val="0"/>
              </a:spcAft>
              <a:buFontTx/>
              <a:buNone/>
              <a:defRPr sz="1867" b="0">
                <a:solidFill>
                  <a:schemeClr val="tx2"/>
                </a:solidFill>
              </a:defRPr>
            </a:lvl5pPr>
            <a:lvl6pPr marL="0" indent="0" algn="l">
              <a:spcBef>
                <a:spcPts val="0"/>
              </a:spcBef>
              <a:spcAft>
                <a:spcPts val="0"/>
              </a:spcAft>
              <a:buFontTx/>
              <a:buNone/>
              <a:defRPr sz="1867">
                <a:solidFill>
                  <a:schemeClr val="tx2"/>
                </a:solidFill>
              </a:defRPr>
            </a:lvl6pPr>
            <a:lvl7pPr marL="0" indent="0" algn="l">
              <a:spcBef>
                <a:spcPts val="0"/>
              </a:spcBef>
              <a:spcAft>
                <a:spcPts val="0"/>
              </a:spcAft>
              <a:buFontTx/>
              <a:buNone/>
              <a:defRPr sz="1867">
                <a:solidFill>
                  <a:schemeClr val="tx2"/>
                </a:solidFill>
              </a:defRPr>
            </a:lvl7pPr>
            <a:lvl8pPr marL="0" indent="0" algn="l">
              <a:spcBef>
                <a:spcPts val="0"/>
              </a:spcBef>
              <a:spcAft>
                <a:spcPts val="0"/>
              </a:spcAft>
              <a:buFontTx/>
              <a:buNone/>
              <a:defRPr sz="1867"/>
            </a:lvl8pPr>
            <a:lvl9pPr marL="0" indent="0" algn="l">
              <a:spcBef>
                <a:spcPts val="0"/>
              </a:spcBef>
              <a:spcAft>
                <a:spcPts val="0"/>
              </a:spcAft>
              <a:buFontTx/>
              <a:buNone/>
              <a:defRPr sz="1867">
                <a:solidFill>
                  <a:schemeClr val="tx2"/>
                </a:solidFill>
              </a:defRPr>
            </a:lvl9pPr>
          </a:lstStyle>
          <a:p>
            <a:pPr lvl="0"/>
            <a:r>
              <a:rPr lang="en-US"/>
              <a:t>[name]</a:t>
            </a:r>
          </a:p>
        </p:txBody>
      </p:sp>
    </p:spTree>
    <p:extLst>
      <p:ext uri="{BB962C8B-B14F-4D97-AF65-F5344CB8AC3E}">
        <p14:creationId xmlns:p14="http://schemas.microsoft.com/office/powerpoint/2010/main" val="1786816444"/>
      </p:ext>
    </p:extLst>
  </p:cSld>
  <p:clrMapOvr>
    <a:masterClrMapping/>
  </p:clrMapOvr>
</p:sldLayout>
</file>

<file path=ppt/slideLayouts/slideLayout410.xml><?xml version="1.0" encoding="utf-8"?>
<p:sldLayout xmlns:a="http://schemas.openxmlformats.org/drawingml/2006/main" xmlns:r="http://schemas.openxmlformats.org/officeDocument/2006/relationships" xmlns:p="http://schemas.openxmlformats.org/presentationml/2006/main" preserve="1">
  <p:cSld name="Four contacts">
    <p:spTree>
      <p:nvGrpSpPr>
        <p:cNvPr id="1" name=""/>
        <p:cNvGrpSpPr/>
        <p:nvPr/>
      </p:nvGrpSpPr>
      <p:grpSpPr>
        <a:xfrm>
          <a:off x="0" y="0"/>
          <a:ext cx="0" cy="0"/>
          <a:chOff x="0" y="0"/>
          <a:chExt cx="0" cy="0"/>
        </a:xfrm>
      </p:grpSpPr>
      <p:sp>
        <p:nvSpPr>
          <p:cNvPr id="21" name="Date Placeholder 20"/>
          <p:cNvSpPr>
            <a:spLocks noGrp="1"/>
          </p:cNvSpPr>
          <p:nvPr>
            <p:ph type="dt" sz="half" idx="14"/>
          </p:nvPr>
        </p:nvSpPr>
        <p:spPr/>
        <p:txBody>
          <a:bodyPr/>
          <a:lstStyle/>
          <a:p>
            <a:endParaRPr lang="en-US"/>
          </a:p>
        </p:txBody>
      </p:sp>
      <p:sp>
        <p:nvSpPr>
          <p:cNvPr id="22" name="Footer Placeholder 21"/>
          <p:cNvSpPr>
            <a:spLocks noGrp="1"/>
          </p:cNvSpPr>
          <p:nvPr>
            <p:ph type="ftr" sz="quarter" idx="15"/>
          </p:nvPr>
        </p:nvSpPr>
        <p:spPr/>
        <p:txBody>
          <a:bodyPr/>
          <a:lstStyle/>
          <a:p>
            <a:endParaRPr lang="en-US"/>
          </a:p>
        </p:txBody>
      </p:sp>
      <p:sp>
        <p:nvSpPr>
          <p:cNvPr id="23" name="Slide Number Placeholder 22"/>
          <p:cNvSpPr>
            <a:spLocks noGrp="1"/>
          </p:cNvSpPr>
          <p:nvPr>
            <p:ph type="sldNum" sz="quarter" idx="16"/>
          </p:nvPr>
        </p:nvSpPr>
        <p:spPr/>
        <p:txBody>
          <a:bodyPr/>
          <a:lstStyle/>
          <a:p>
            <a:fld id="{5F3E29E4-0979-4FCA-B4C5-5FC6044C982A}" type="slidenum">
              <a:rPr lang="en-US" smtClean="0"/>
              <a:t>‹#›</a:t>
            </a:fld>
            <a:endParaRPr lang="en-US"/>
          </a:p>
        </p:txBody>
      </p:sp>
      <p:sp>
        <p:nvSpPr>
          <p:cNvPr id="2" name="Title 1"/>
          <p:cNvSpPr>
            <a:spLocks noGrp="1"/>
          </p:cNvSpPr>
          <p:nvPr>
            <p:ph type="title" hasCustomPrompt="1"/>
          </p:nvPr>
        </p:nvSpPr>
        <p:spPr/>
        <p:txBody>
          <a:bodyPr/>
          <a:lstStyle>
            <a:lvl1pPr>
              <a:defRPr/>
            </a:lvl1pPr>
          </a:lstStyle>
          <a:p>
            <a:r>
              <a:rPr lang="en-US"/>
              <a:t>Click to add contact title</a:t>
            </a:r>
          </a:p>
        </p:txBody>
      </p:sp>
      <p:sp>
        <p:nvSpPr>
          <p:cNvPr id="7" name="Subtitle 2"/>
          <p:cNvSpPr>
            <a:spLocks noGrp="1"/>
          </p:cNvSpPr>
          <p:nvPr>
            <p:ph type="subTitle" idx="13" hasCustomPrompt="1"/>
          </p:nvPr>
        </p:nvSpPr>
        <p:spPr>
          <a:xfrm>
            <a:off x="1075061" y="964671"/>
            <a:ext cx="7910158" cy="490042"/>
          </a:xfrm>
        </p:spPr>
        <p:txBody>
          <a:bodyPr wrap="none"/>
          <a:lstStyle>
            <a:lvl1pPr marL="0" indent="0" algn="l">
              <a:spcBef>
                <a:spcPts val="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grpSp>
        <p:nvGrpSpPr>
          <p:cNvPr id="8" name="Gruppieren 80">
            <a:extLst>
              <a:ext uri="{FF2B5EF4-FFF2-40B4-BE49-F238E27FC236}">
                <a16:creationId xmlns:a16="http://schemas.microsoft.com/office/drawing/2014/main" id="{6B969E7B-9C39-4443-9B02-74C1E7C5CCAC}"/>
              </a:ext>
            </a:extLst>
          </p:cNvPr>
          <p:cNvGrpSpPr/>
          <p:nvPr/>
        </p:nvGrpSpPr>
        <p:grpSpPr>
          <a:xfrm>
            <a:off x="3770065" y="2868319"/>
            <a:ext cx="171180" cy="171180"/>
            <a:chOff x="3392092" y="1841122"/>
            <a:chExt cx="646508" cy="646508"/>
          </a:xfrm>
        </p:grpSpPr>
        <p:sp>
          <p:nvSpPr>
            <p:cNvPr id="9" name="Rechteck 14">
              <a:extLst>
                <a:ext uri="{FF2B5EF4-FFF2-40B4-BE49-F238E27FC236}">
                  <a16:creationId xmlns:a16="http://schemas.microsoft.com/office/drawing/2014/main" id="{D78F58EA-5525-8D43-8295-FEA52ECF6BFA}"/>
                </a:ext>
              </a:extLst>
            </p:cNvPr>
            <p:cNvSpPr>
              <a:spLocks noChangeAspect="1"/>
            </p:cNvSpPr>
            <p:nvPr/>
          </p:nvSpPr>
          <p:spPr bwMode="gray">
            <a:xfrm>
              <a:off x="3392092" y="1841122"/>
              <a:ext cx="646508" cy="646508"/>
            </a:xfrm>
            <a:prstGeom prst="rect">
              <a:avLst/>
            </a:prstGeom>
            <a:solidFill>
              <a:srgbClr val="E55A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pPr>
              <a:endParaRPr lang="en-US" sz="1000">
                <a:solidFill>
                  <a:schemeClr val="tx1"/>
                </a:solidFill>
                <a:latin typeface="Arial" pitchFamily="34" charset="0"/>
                <a:cs typeface="Arial" pitchFamily="34" charset="0"/>
              </a:endParaRPr>
            </a:p>
          </p:txBody>
        </p:sp>
        <p:sp>
          <p:nvSpPr>
            <p:cNvPr id="10" name="Freeform 67">
              <a:extLst>
                <a:ext uri="{FF2B5EF4-FFF2-40B4-BE49-F238E27FC236}">
                  <a16:creationId xmlns:a16="http://schemas.microsoft.com/office/drawing/2014/main" id="{D01A6292-2776-4945-B828-483D79DC4908}"/>
                </a:ext>
              </a:extLst>
            </p:cNvPr>
            <p:cNvSpPr>
              <a:spLocks noChangeAspect="1"/>
            </p:cNvSpPr>
            <p:nvPr/>
          </p:nvSpPr>
          <p:spPr bwMode="auto">
            <a:xfrm>
              <a:off x="3546638" y="1970424"/>
              <a:ext cx="337415" cy="387905"/>
            </a:xfrm>
            <a:custGeom>
              <a:avLst/>
              <a:gdLst>
                <a:gd name="T0" fmla="*/ 573 w 1624"/>
                <a:gd name="T1" fmla="*/ 1257 h 1867"/>
                <a:gd name="T2" fmla="*/ 662 w 1624"/>
                <a:gd name="T3" fmla="*/ 1288 h 1867"/>
                <a:gd name="T4" fmla="*/ 938 w 1624"/>
                <a:gd name="T5" fmla="*/ 1051 h 1867"/>
                <a:gd name="T6" fmla="*/ 1106 w 1624"/>
                <a:gd name="T7" fmla="*/ 731 h 1867"/>
                <a:gd name="T8" fmla="*/ 1059 w 1624"/>
                <a:gd name="T9" fmla="*/ 645 h 1867"/>
                <a:gd name="T10" fmla="*/ 1001 w 1624"/>
                <a:gd name="T11" fmla="*/ 613 h 1867"/>
                <a:gd name="T12" fmla="*/ 924 w 1624"/>
                <a:gd name="T13" fmla="*/ 432 h 1867"/>
                <a:gd name="T14" fmla="*/ 1114 w 1624"/>
                <a:gd name="T15" fmla="*/ 81 h 1867"/>
                <a:gd name="T16" fmla="*/ 1287 w 1624"/>
                <a:gd name="T17" fmla="*/ 35 h 1867"/>
                <a:gd name="T18" fmla="*/ 1350 w 1624"/>
                <a:gd name="T19" fmla="*/ 69 h 1867"/>
                <a:gd name="T20" fmla="*/ 1527 w 1624"/>
                <a:gd name="T21" fmla="*/ 235 h 1867"/>
                <a:gd name="T22" fmla="*/ 1583 w 1624"/>
                <a:gd name="T23" fmla="*/ 555 h 1867"/>
                <a:gd name="T24" fmla="*/ 1172 w 1624"/>
                <a:gd name="T25" fmla="*/ 1253 h 1867"/>
                <a:gd name="T26" fmla="*/ 586 w 1624"/>
                <a:gd name="T27" fmla="*/ 1803 h 1867"/>
                <a:gd name="T28" fmla="*/ 269 w 1624"/>
                <a:gd name="T29" fmla="*/ 1807 h 1867"/>
                <a:gd name="T30" fmla="*/ 33 w 1624"/>
                <a:gd name="T31" fmla="*/ 1602 h 1867"/>
                <a:gd name="T32" fmla="*/ 2 w 1624"/>
                <a:gd name="T33" fmla="*/ 1508 h 1867"/>
                <a:gd name="T34" fmla="*/ 45 w 1624"/>
                <a:gd name="T35" fmla="*/ 1421 h 1867"/>
                <a:gd name="T36" fmla="*/ 346 w 1624"/>
                <a:gd name="T37" fmla="*/ 1158 h 1867"/>
                <a:gd name="T38" fmla="*/ 448 w 1624"/>
                <a:gd name="T39" fmla="*/ 1145 h 1867"/>
                <a:gd name="T40" fmla="*/ 573 w 1624"/>
                <a:gd name="T41" fmla="*/ 1257 h 18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24" h="1867">
                  <a:moveTo>
                    <a:pt x="573" y="1257"/>
                  </a:moveTo>
                  <a:cubicBezTo>
                    <a:pt x="592" y="1282"/>
                    <a:pt x="630" y="1303"/>
                    <a:pt x="662" y="1288"/>
                  </a:cubicBezTo>
                  <a:cubicBezTo>
                    <a:pt x="753" y="1245"/>
                    <a:pt x="854" y="1156"/>
                    <a:pt x="938" y="1051"/>
                  </a:cubicBezTo>
                  <a:cubicBezTo>
                    <a:pt x="1020" y="948"/>
                    <a:pt x="1084" y="831"/>
                    <a:pt x="1106" y="731"/>
                  </a:cubicBezTo>
                  <a:cubicBezTo>
                    <a:pt x="1113" y="696"/>
                    <a:pt x="1089" y="661"/>
                    <a:pt x="1059" y="645"/>
                  </a:cubicBezTo>
                  <a:cubicBezTo>
                    <a:pt x="1001" y="613"/>
                    <a:pt x="1001" y="613"/>
                    <a:pt x="1001" y="613"/>
                  </a:cubicBezTo>
                  <a:cubicBezTo>
                    <a:pt x="942" y="580"/>
                    <a:pt x="888" y="499"/>
                    <a:pt x="924" y="432"/>
                  </a:cubicBezTo>
                  <a:cubicBezTo>
                    <a:pt x="1114" y="81"/>
                    <a:pt x="1114" y="81"/>
                    <a:pt x="1114" y="81"/>
                  </a:cubicBezTo>
                  <a:cubicBezTo>
                    <a:pt x="1150" y="16"/>
                    <a:pt x="1224" y="0"/>
                    <a:pt x="1287" y="35"/>
                  </a:cubicBezTo>
                  <a:cubicBezTo>
                    <a:pt x="1350" y="69"/>
                    <a:pt x="1350" y="69"/>
                    <a:pt x="1350" y="69"/>
                  </a:cubicBezTo>
                  <a:cubicBezTo>
                    <a:pt x="1415" y="105"/>
                    <a:pt x="1479" y="165"/>
                    <a:pt x="1527" y="235"/>
                  </a:cubicBezTo>
                  <a:cubicBezTo>
                    <a:pt x="1593" y="332"/>
                    <a:pt x="1624" y="442"/>
                    <a:pt x="1583" y="555"/>
                  </a:cubicBezTo>
                  <a:cubicBezTo>
                    <a:pt x="1500" y="781"/>
                    <a:pt x="1351" y="1030"/>
                    <a:pt x="1172" y="1253"/>
                  </a:cubicBezTo>
                  <a:cubicBezTo>
                    <a:pt x="994" y="1477"/>
                    <a:pt x="786" y="1676"/>
                    <a:pt x="586" y="1803"/>
                  </a:cubicBezTo>
                  <a:cubicBezTo>
                    <a:pt x="486" y="1867"/>
                    <a:pt x="375" y="1856"/>
                    <a:pt x="269" y="1807"/>
                  </a:cubicBezTo>
                  <a:cubicBezTo>
                    <a:pt x="157" y="1755"/>
                    <a:pt x="106" y="1695"/>
                    <a:pt x="33" y="1602"/>
                  </a:cubicBezTo>
                  <a:cubicBezTo>
                    <a:pt x="11" y="1573"/>
                    <a:pt x="0" y="1540"/>
                    <a:pt x="2" y="1508"/>
                  </a:cubicBezTo>
                  <a:cubicBezTo>
                    <a:pt x="4" y="1475"/>
                    <a:pt x="18" y="1444"/>
                    <a:pt x="45" y="1421"/>
                  </a:cubicBezTo>
                  <a:cubicBezTo>
                    <a:pt x="70" y="1399"/>
                    <a:pt x="346" y="1158"/>
                    <a:pt x="346" y="1158"/>
                  </a:cubicBezTo>
                  <a:cubicBezTo>
                    <a:pt x="376" y="1134"/>
                    <a:pt x="413" y="1133"/>
                    <a:pt x="448" y="1145"/>
                  </a:cubicBezTo>
                  <a:cubicBezTo>
                    <a:pt x="510" y="1166"/>
                    <a:pt x="536" y="1210"/>
                    <a:pt x="573" y="1257"/>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351"/>
            </a:p>
          </p:txBody>
        </p:sp>
      </p:grpSp>
      <p:grpSp>
        <p:nvGrpSpPr>
          <p:cNvPr id="11" name="Group 3">
            <a:extLst>
              <a:ext uri="{FF2B5EF4-FFF2-40B4-BE49-F238E27FC236}">
                <a16:creationId xmlns:a16="http://schemas.microsoft.com/office/drawing/2014/main" id="{DED6A25A-5DE2-1441-8BA2-C68D3B4F9209}"/>
              </a:ext>
            </a:extLst>
          </p:cNvPr>
          <p:cNvGrpSpPr>
            <a:grpSpLocks noChangeAspect="1"/>
          </p:cNvGrpSpPr>
          <p:nvPr>
            <p:custDataLst>
              <p:tags r:id="rId1"/>
            </p:custDataLst>
          </p:nvPr>
        </p:nvGrpSpPr>
        <p:grpSpPr>
          <a:xfrm>
            <a:off x="3770066" y="3153207"/>
            <a:ext cx="171180" cy="171180"/>
            <a:chOff x="328396" y="5313940"/>
            <a:chExt cx="720000" cy="720000"/>
          </a:xfrm>
        </p:grpSpPr>
        <p:sp>
          <p:nvSpPr>
            <p:cNvPr id="12" name="Rectangle 4">
              <a:extLst>
                <a:ext uri="{FF2B5EF4-FFF2-40B4-BE49-F238E27FC236}">
                  <a16:creationId xmlns:a16="http://schemas.microsoft.com/office/drawing/2014/main" id="{5F49E67F-D4FA-9D48-96BC-59AE946ECD15}"/>
                </a:ext>
              </a:extLst>
            </p:cNvPr>
            <p:cNvSpPr/>
            <p:nvPr/>
          </p:nvSpPr>
          <p:spPr bwMode="gray">
            <a:xfrm>
              <a:off x="328396" y="5313940"/>
              <a:ext cx="720000" cy="720000"/>
            </a:xfrm>
            <a:prstGeom prst="rect">
              <a:avLst/>
            </a:prstGeom>
            <a:solidFill>
              <a:srgbClr val="E55A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pPr>
              <a:endParaRPr lang="en-US" sz="1000">
                <a:solidFill>
                  <a:schemeClr val="tx1"/>
                </a:solidFill>
                <a:latin typeface="Arial" pitchFamily="34" charset="0"/>
                <a:cs typeface="Arial" pitchFamily="34" charset="0"/>
              </a:endParaRPr>
            </a:p>
          </p:txBody>
        </p:sp>
        <p:sp>
          <p:nvSpPr>
            <p:cNvPr id="13" name="Freeform 76">
              <a:extLst>
                <a:ext uri="{FF2B5EF4-FFF2-40B4-BE49-F238E27FC236}">
                  <a16:creationId xmlns:a16="http://schemas.microsoft.com/office/drawing/2014/main" id="{187E70E6-AF3F-2549-908E-DF4BA61040AA}"/>
                </a:ext>
              </a:extLst>
            </p:cNvPr>
            <p:cNvSpPr>
              <a:spLocks noChangeAspect="1" noEditPoints="1"/>
            </p:cNvSpPr>
            <p:nvPr/>
          </p:nvSpPr>
          <p:spPr bwMode="auto">
            <a:xfrm>
              <a:off x="456202" y="5509222"/>
              <a:ext cx="504000" cy="329436"/>
            </a:xfrm>
            <a:custGeom>
              <a:avLst/>
              <a:gdLst>
                <a:gd name="T0" fmla="*/ 0 w 2080"/>
                <a:gd name="T1" fmla="*/ 65 h 1360"/>
                <a:gd name="T2" fmla="*/ 0 w 2080"/>
                <a:gd name="T3" fmla="*/ 0 h 1360"/>
                <a:gd name="T4" fmla="*/ 2080 w 2080"/>
                <a:gd name="T5" fmla="*/ 0 h 1360"/>
                <a:gd name="T6" fmla="*/ 2080 w 2080"/>
                <a:gd name="T7" fmla="*/ 65 h 1360"/>
                <a:gd name="T8" fmla="*/ 1089 w 2080"/>
                <a:gd name="T9" fmla="*/ 862 h 1360"/>
                <a:gd name="T10" fmla="*/ 991 w 2080"/>
                <a:gd name="T11" fmla="*/ 862 h 1360"/>
                <a:gd name="T12" fmla="*/ 0 w 2080"/>
                <a:gd name="T13" fmla="*/ 65 h 1360"/>
                <a:gd name="T14" fmla="*/ 1139 w 2080"/>
                <a:gd name="T15" fmla="*/ 924 h 1360"/>
                <a:gd name="T16" fmla="*/ 1282 w 2080"/>
                <a:gd name="T17" fmla="*/ 810 h 1360"/>
                <a:gd name="T18" fmla="*/ 2076 w 2080"/>
                <a:gd name="T19" fmla="*/ 1360 h 1360"/>
                <a:gd name="T20" fmla="*/ 4 w 2080"/>
                <a:gd name="T21" fmla="*/ 1360 h 1360"/>
                <a:gd name="T22" fmla="*/ 798 w 2080"/>
                <a:gd name="T23" fmla="*/ 810 h 1360"/>
                <a:gd name="T24" fmla="*/ 941 w 2080"/>
                <a:gd name="T25" fmla="*/ 924 h 1360"/>
                <a:gd name="T26" fmla="*/ 1139 w 2080"/>
                <a:gd name="T27" fmla="*/ 924 h 1360"/>
                <a:gd name="T28" fmla="*/ 2 w 2080"/>
                <a:gd name="T29" fmla="*/ 137 h 1360"/>
                <a:gd name="T30" fmla="*/ 42 w 2080"/>
                <a:gd name="T31" fmla="*/ 201 h 1360"/>
                <a:gd name="T32" fmla="*/ 734 w 2080"/>
                <a:gd name="T33" fmla="*/ 758 h 1360"/>
                <a:gd name="T34" fmla="*/ 0 w 2080"/>
                <a:gd name="T35" fmla="*/ 1266 h 1360"/>
                <a:gd name="T36" fmla="*/ 0 w 2080"/>
                <a:gd name="T37" fmla="*/ 135 h 1360"/>
                <a:gd name="T38" fmla="*/ 2 w 2080"/>
                <a:gd name="T39" fmla="*/ 137 h 1360"/>
                <a:gd name="T40" fmla="*/ 2080 w 2080"/>
                <a:gd name="T41" fmla="*/ 136 h 1360"/>
                <a:gd name="T42" fmla="*/ 2080 w 2080"/>
                <a:gd name="T43" fmla="*/ 1265 h 1360"/>
                <a:gd name="T44" fmla="*/ 1346 w 2080"/>
                <a:gd name="T45" fmla="*/ 758 h 1360"/>
                <a:gd name="T46" fmla="*/ 2038 w 2080"/>
                <a:gd name="T47" fmla="*/ 201 h 1360"/>
                <a:gd name="T48" fmla="*/ 2080 w 2080"/>
                <a:gd name="T49" fmla="*/ 136 h 1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080" h="1360">
                  <a:moveTo>
                    <a:pt x="0" y="65"/>
                  </a:moveTo>
                  <a:cubicBezTo>
                    <a:pt x="0" y="0"/>
                    <a:pt x="0" y="0"/>
                    <a:pt x="0" y="0"/>
                  </a:cubicBezTo>
                  <a:cubicBezTo>
                    <a:pt x="2080" y="0"/>
                    <a:pt x="2080" y="0"/>
                    <a:pt x="2080" y="0"/>
                  </a:cubicBezTo>
                  <a:cubicBezTo>
                    <a:pt x="2080" y="65"/>
                    <a:pt x="2080" y="65"/>
                    <a:pt x="2080" y="65"/>
                  </a:cubicBezTo>
                  <a:cubicBezTo>
                    <a:pt x="1089" y="862"/>
                    <a:pt x="1089" y="862"/>
                    <a:pt x="1089" y="862"/>
                  </a:cubicBezTo>
                  <a:cubicBezTo>
                    <a:pt x="1060" y="886"/>
                    <a:pt x="1020" y="886"/>
                    <a:pt x="991" y="862"/>
                  </a:cubicBezTo>
                  <a:lnTo>
                    <a:pt x="0" y="65"/>
                  </a:lnTo>
                  <a:close/>
                  <a:moveTo>
                    <a:pt x="1139" y="924"/>
                  </a:moveTo>
                  <a:cubicBezTo>
                    <a:pt x="1282" y="810"/>
                    <a:pt x="1282" y="810"/>
                    <a:pt x="1282" y="810"/>
                  </a:cubicBezTo>
                  <a:cubicBezTo>
                    <a:pt x="2076" y="1360"/>
                    <a:pt x="2076" y="1360"/>
                    <a:pt x="2076" y="1360"/>
                  </a:cubicBezTo>
                  <a:cubicBezTo>
                    <a:pt x="4" y="1360"/>
                    <a:pt x="4" y="1360"/>
                    <a:pt x="4" y="1360"/>
                  </a:cubicBezTo>
                  <a:cubicBezTo>
                    <a:pt x="798" y="810"/>
                    <a:pt x="798" y="810"/>
                    <a:pt x="798" y="810"/>
                  </a:cubicBezTo>
                  <a:cubicBezTo>
                    <a:pt x="941" y="924"/>
                    <a:pt x="941" y="924"/>
                    <a:pt x="941" y="924"/>
                  </a:cubicBezTo>
                  <a:cubicBezTo>
                    <a:pt x="1000" y="972"/>
                    <a:pt x="1080" y="972"/>
                    <a:pt x="1139" y="924"/>
                  </a:cubicBezTo>
                  <a:close/>
                  <a:moveTo>
                    <a:pt x="2" y="137"/>
                  </a:moveTo>
                  <a:cubicBezTo>
                    <a:pt x="8" y="163"/>
                    <a:pt x="22" y="185"/>
                    <a:pt x="42" y="201"/>
                  </a:cubicBezTo>
                  <a:cubicBezTo>
                    <a:pt x="734" y="758"/>
                    <a:pt x="734" y="758"/>
                    <a:pt x="734" y="758"/>
                  </a:cubicBezTo>
                  <a:cubicBezTo>
                    <a:pt x="0" y="1266"/>
                    <a:pt x="0" y="1266"/>
                    <a:pt x="0" y="1266"/>
                  </a:cubicBezTo>
                  <a:cubicBezTo>
                    <a:pt x="0" y="135"/>
                    <a:pt x="0" y="135"/>
                    <a:pt x="0" y="135"/>
                  </a:cubicBezTo>
                  <a:lnTo>
                    <a:pt x="2" y="137"/>
                  </a:lnTo>
                  <a:close/>
                  <a:moveTo>
                    <a:pt x="2080" y="136"/>
                  </a:moveTo>
                  <a:cubicBezTo>
                    <a:pt x="2080" y="1265"/>
                    <a:pt x="2080" y="1265"/>
                    <a:pt x="2080" y="1265"/>
                  </a:cubicBezTo>
                  <a:cubicBezTo>
                    <a:pt x="1346" y="758"/>
                    <a:pt x="1346" y="758"/>
                    <a:pt x="1346" y="758"/>
                  </a:cubicBezTo>
                  <a:cubicBezTo>
                    <a:pt x="2038" y="201"/>
                    <a:pt x="2038" y="201"/>
                    <a:pt x="2038" y="201"/>
                  </a:cubicBezTo>
                  <a:cubicBezTo>
                    <a:pt x="2060" y="182"/>
                    <a:pt x="2072" y="162"/>
                    <a:pt x="2080" y="13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000"/>
            </a:p>
          </p:txBody>
        </p:sp>
      </p:grpSp>
      <p:grpSp>
        <p:nvGrpSpPr>
          <p:cNvPr id="14" name="Gruppieren 2">
            <a:extLst>
              <a:ext uri="{FF2B5EF4-FFF2-40B4-BE49-F238E27FC236}">
                <a16:creationId xmlns:a16="http://schemas.microsoft.com/office/drawing/2014/main" id="{BE697CE9-EBDE-6B4A-BE70-582D92A8A831}"/>
              </a:ext>
            </a:extLst>
          </p:cNvPr>
          <p:cNvGrpSpPr/>
          <p:nvPr/>
        </p:nvGrpSpPr>
        <p:grpSpPr>
          <a:xfrm>
            <a:off x="8701917" y="2868319"/>
            <a:ext cx="171180" cy="171180"/>
            <a:chOff x="3392092" y="1841122"/>
            <a:chExt cx="646508" cy="646508"/>
          </a:xfrm>
        </p:grpSpPr>
        <p:sp>
          <p:nvSpPr>
            <p:cNvPr id="15" name="Rechteck 14">
              <a:extLst>
                <a:ext uri="{FF2B5EF4-FFF2-40B4-BE49-F238E27FC236}">
                  <a16:creationId xmlns:a16="http://schemas.microsoft.com/office/drawing/2014/main" id="{E142A731-19B7-C34D-9534-9E05108F895F}"/>
                </a:ext>
              </a:extLst>
            </p:cNvPr>
            <p:cNvSpPr>
              <a:spLocks noChangeAspect="1"/>
            </p:cNvSpPr>
            <p:nvPr/>
          </p:nvSpPr>
          <p:spPr bwMode="gray">
            <a:xfrm>
              <a:off x="3392092" y="1841122"/>
              <a:ext cx="646508" cy="646508"/>
            </a:xfrm>
            <a:prstGeom prst="rect">
              <a:avLst/>
            </a:prstGeom>
            <a:solidFill>
              <a:srgbClr val="E55A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pPr>
              <a:endParaRPr lang="en-US" sz="1000">
                <a:solidFill>
                  <a:schemeClr val="tx1"/>
                </a:solidFill>
                <a:latin typeface="Arial" pitchFamily="34" charset="0"/>
                <a:cs typeface="Arial" pitchFamily="34" charset="0"/>
              </a:endParaRPr>
            </a:p>
          </p:txBody>
        </p:sp>
        <p:sp>
          <p:nvSpPr>
            <p:cNvPr id="16" name="Freeform 15">
              <a:extLst>
                <a:ext uri="{FF2B5EF4-FFF2-40B4-BE49-F238E27FC236}">
                  <a16:creationId xmlns:a16="http://schemas.microsoft.com/office/drawing/2014/main" id="{F97E84AE-4AD9-4B44-9AA1-F797FC373809}"/>
                </a:ext>
              </a:extLst>
            </p:cNvPr>
            <p:cNvSpPr>
              <a:spLocks noChangeAspect="1"/>
            </p:cNvSpPr>
            <p:nvPr/>
          </p:nvSpPr>
          <p:spPr bwMode="auto">
            <a:xfrm>
              <a:off x="3546638" y="1970424"/>
              <a:ext cx="337415" cy="387905"/>
            </a:xfrm>
            <a:custGeom>
              <a:avLst/>
              <a:gdLst>
                <a:gd name="T0" fmla="*/ 573 w 1624"/>
                <a:gd name="T1" fmla="*/ 1257 h 1867"/>
                <a:gd name="T2" fmla="*/ 662 w 1624"/>
                <a:gd name="T3" fmla="*/ 1288 h 1867"/>
                <a:gd name="T4" fmla="*/ 938 w 1624"/>
                <a:gd name="T5" fmla="*/ 1051 h 1867"/>
                <a:gd name="T6" fmla="*/ 1106 w 1624"/>
                <a:gd name="T7" fmla="*/ 731 h 1867"/>
                <a:gd name="T8" fmla="*/ 1059 w 1624"/>
                <a:gd name="T9" fmla="*/ 645 h 1867"/>
                <a:gd name="T10" fmla="*/ 1001 w 1624"/>
                <a:gd name="T11" fmla="*/ 613 h 1867"/>
                <a:gd name="T12" fmla="*/ 924 w 1624"/>
                <a:gd name="T13" fmla="*/ 432 h 1867"/>
                <a:gd name="T14" fmla="*/ 1114 w 1624"/>
                <a:gd name="T15" fmla="*/ 81 h 1867"/>
                <a:gd name="T16" fmla="*/ 1287 w 1624"/>
                <a:gd name="T17" fmla="*/ 35 h 1867"/>
                <a:gd name="T18" fmla="*/ 1350 w 1624"/>
                <a:gd name="T19" fmla="*/ 69 h 1867"/>
                <a:gd name="T20" fmla="*/ 1527 w 1624"/>
                <a:gd name="T21" fmla="*/ 235 h 1867"/>
                <a:gd name="T22" fmla="*/ 1583 w 1624"/>
                <a:gd name="T23" fmla="*/ 555 h 1867"/>
                <a:gd name="T24" fmla="*/ 1172 w 1624"/>
                <a:gd name="T25" fmla="*/ 1253 h 1867"/>
                <a:gd name="T26" fmla="*/ 586 w 1624"/>
                <a:gd name="T27" fmla="*/ 1803 h 1867"/>
                <a:gd name="T28" fmla="*/ 269 w 1624"/>
                <a:gd name="T29" fmla="*/ 1807 h 1867"/>
                <a:gd name="T30" fmla="*/ 33 w 1624"/>
                <a:gd name="T31" fmla="*/ 1602 h 1867"/>
                <a:gd name="T32" fmla="*/ 2 w 1624"/>
                <a:gd name="T33" fmla="*/ 1508 h 1867"/>
                <a:gd name="T34" fmla="*/ 45 w 1624"/>
                <a:gd name="T35" fmla="*/ 1421 h 1867"/>
                <a:gd name="T36" fmla="*/ 346 w 1624"/>
                <a:gd name="T37" fmla="*/ 1158 h 1867"/>
                <a:gd name="T38" fmla="*/ 448 w 1624"/>
                <a:gd name="T39" fmla="*/ 1145 h 1867"/>
                <a:gd name="T40" fmla="*/ 573 w 1624"/>
                <a:gd name="T41" fmla="*/ 1257 h 18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24" h="1867">
                  <a:moveTo>
                    <a:pt x="573" y="1257"/>
                  </a:moveTo>
                  <a:cubicBezTo>
                    <a:pt x="592" y="1282"/>
                    <a:pt x="630" y="1303"/>
                    <a:pt x="662" y="1288"/>
                  </a:cubicBezTo>
                  <a:cubicBezTo>
                    <a:pt x="753" y="1245"/>
                    <a:pt x="854" y="1156"/>
                    <a:pt x="938" y="1051"/>
                  </a:cubicBezTo>
                  <a:cubicBezTo>
                    <a:pt x="1020" y="948"/>
                    <a:pt x="1084" y="831"/>
                    <a:pt x="1106" y="731"/>
                  </a:cubicBezTo>
                  <a:cubicBezTo>
                    <a:pt x="1113" y="696"/>
                    <a:pt x="1089" y="661"/>
                    <a:pt x="1059" y="645"/>
                  </a:cubicBezTo>
                  <a:cubicBezTo>
                    <a:pt x="1001" y="613"/>
                    <a:pt x="1001" y="613"/>
                    <a:pt x="1001" y="613"/>
                  </a:cubicBezTo>
                  <a:cubicBezTo>
                    <a:pt x="942" y="580"/>
                    <a:pt x="888" y="499"/>
                    <a:pt x="924" y="432"/>
                  </a:cubicBezTo>
                  <a:cubicBezTo>
                    <a:pt x="1114" y="81"/>
                    <a:pt x="1114" y="81"/>
                    <a:pt x="1114" y="81"/>
                  </a:cubicBezTo>
                  <a:cubicBezTo>
                    <a:pt x="1150" y="16"/>
                    <a:pt x="1224" y="0"/>
                    <a:pt x="1287" y="35"/>
                  </a:cubicBezTo>
                  <a:cubicBezTo>
                    <a:pt x="1350" y="69"/>
                    <a:pt x="1350" y="69"/>
                    <a:pt x="1350" y="69"/>
                  </a:cubicBezTo>
                  <a:cubicBezTo>
                    <a:pt x="1415" y="105"/>
                    <a:pt x="1479" y="165"/>
                    <a:pt x="1527" y="235"/>
                  </a:cubicBezTo>
                  <a:cubicBezTo>
                    <a:pt x="1593" y="332"/>
                    <a:pt x="1624" y="442"/>
                    <a:pt x="1583" y="555"/>
                  </a:cubicBezTo>
                  <a:cubicBezTo>
                    <a:pt x="1500" y="781"/>
                    <a:pt x="1351" y="1030"/>
                    <a:pt x="1172" y="1253"/>
                  </a:cubicBezTo>
                  <a:cubicBezTo>
                    <a:pt x="994" y="1477"/>
                    <a:pt x="786" y="1676"/>
                    <a:pt x="586" y="1803"/>
                  </a:cubicBezTo>
                  <a:cubicBezTo>
                    <a:pt x="486" y="1867"/>
                    <a:pt x="375" y="1856"/>
                    <a:pt x="269" y="1807"/>
                  </a:cubicBezTo>
                  <a:cubicBezTo>
                    <a:pt x="157" y="1755"/>
                    <a:pt x="106" y="1695"/>
                    <a:pt x="33" y="1602"/>
                  </a:cubicBezTo>
                  <a:cubicBezTo>
                    <a:pt x="11" y="1573"/>
                    <a:pt x="0" y="1540"/>
                    <a:pt x="2" y="1508"/>
                  </a:cubicBezTo>
                  <a:cubicBezTo>
                    <a:pt x="4" y="1475"/>
                    <a:pt x="18" y="1444"/>
                    <a:pt x="45" y="1421"/>
                  </a:cubicBezTo>
                  <a:cubicBezTo>
                    <a:pt x="70" y="1399"/>
                    <a:pt x="346" y="1158"/>
                    <a:pt x="346" y="1158"/>
                  </a:cubicBezTo>
                  <a:cubicBezTo>
                    <a:pt x="376" y="1134"/>
                    <a:pt x="413" y="1133"/>
                    <a:pt x="448" y="1145"/>
                  </a:cubicBezTo>
                  <a:cubicBezTo>
                    <a:pt x="510" y="1166"/>
                    <a:pt x="536" y="1210"/>
                    <a:pt x="573" y="1257"/>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351"/>
            </a:p>
          </p:txBody>
        </p:sp>
      </p:grpSp>
      <p:grpSp>
        <p:nvGrpSpPr>
          <p:cNvPr id="17" name="Group 3">
            <a:extLst>
              <a:ext uri="{FF2B5EF4-FFF2-40B4-BE49-F238E27FC236}">
                <a16:creationId xmlns:a16="http://schemas.microsoft.com/office/drawing/2014/main" id="{7104BADD-8CD1-6F4A-B894-869C3BDB3EEB}"/>
              </a:ext>
            </a:extLst>
          </p:cNvPr>
          <p:cNvGrpSpPr>
            <a:grpSpLocks noChangeAspect="1"/>
          </p:cNvGrpSpPr>
          <p:nvPr>
            <p:custDataLst>
              <p:tags r:id="rId2"/>
            </p:custDataLst>
          </p:nvPr>
        </p:nvGrpSpPr>
        <p:grpSpPr>
          <a:xfrm>
            <a:off x="8701918" y="3153207"/>
            <a:ext cx="171180" cy="171180"/>
            <a:chOff x="328396" y="5313940"/>
            <a:chExt cx="720000" cy="720000"/>
          </a:xfrm>
        </p:grpSpPr>
        <p:sp>
          <p:nvSpPr>
            <p:cNvPr id="18" name="Rectangle 4">
              <a:extLst>
                <a:ext uri="{FF2B5EF4-FFF2-40B4-BE49-F238E27FC236}">
                  <a16:creationId xmlns:a16="http://schemas.microsoft.com/office/drawing/2014/main" id="{74BE3D5F-1445-6E40-8B49-72E15568383B}"/>
                </a:ext>
              </a:extLst>
            </p:cNvPr>
            <p:cNvSpPr/>
            <p:nvPr/>
          </p:nvSpPr>
          <p:spPr bwMode="gray">
            <a:xfrm>
              <a:off x="328396" y="5313940"/>
              <a:ext cx="720000" cy="720000"/>
            </a:xfrm>
            <a:prstGeom prst="rect">
              <a:avLst/>
            </a:prstGeom>
            <a:solidFill>
              <a:srgbClr val="E55A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pPr>
              <a:endParaRPr lang="en-US" sz="1000">
                <a:solidFill>
                  <a:schemeClr val="tx1"/>
                </a:solidFill>
                <a:latin typeface="Arial" pitchFamily="34" charset="0"/>
                <a:cs typeface="Arial" pitchFamily="34" charset="0"/>
              </a:endParaRPr>
            </a:p>
          </p:txBody>
        </p:sp>
        <p:sp>
          <p:nvSpPr>
            <p:cNvPr id="19" name="Freeform 76">
              <a:extLst>
                <a:ext uri="{FF2B5EF4-FFF2-40B4-BE49-F238E27FC236}">
                  <a16:creationId xmlns:a16="http://schemas.microsoft.com/office/drawing/2014/main" id="{55DB3C95-7D0C-D141-901E-96D692794D2B}"/>
                </a:ext>
              </a:extLst>
            </p:cNvPr>
            <p:cNvSpPr>
              <a:spLocks noChangeAspect="1" noEditPoints="1"/>
            </p:cNvSpPr>
            <p:nvPr/>
          </p:nvSpPr>
          <p:spPr bwMode="auto">
            <a:xfrm>
              <a:off x="456202" y="5509222"/>
              <a:ext cx="504000" cy="329436"/>
            </a:xfrm>
            <a:custGeom>
              <a:avLst/>
              <a:gdLst>
                <a:gd name="T0" fmla="*/ 0 w 2080"/>
                <a:gd name="T1" fmla="*/ 65 h 1360"/>
                <a:gd name="T2" fmla="*/ 0 w 2080"/>
                <a:gd name="T3" fmla="*/ 0 h 1360"/>
                <a:gd name="T4" fmla="*/ 2080 w 2080"/>
                <a:gd name="T5" fmla="*/ 0 h 1360"/>
                <a:gd name="T6" fmla="*/ 2080 w 2080"/>
                <a:gd name="T7" fmla="*/ 65 h 1360"/>
                <a:gd name="T8" fmla="*/ 1089 w 2080"/>
                <a:gd name="T9" fmla="*/ 862 h 1360"/>
                <a:gd name="T10" fmla="*/ 991 w 2080"/>
                <a:gd name="T11" fmla="*/ 862 h 1360"/>
                <a:gd name="T12" fmla="*/ 0 w 2080"/>
                <a:gd name="T13" fmla="*/ 65 h 1360"/>
                <a:gd name="T14" fmla="*/ 1139 w 2080"/>
                <a:gd name="T15" fmla="*/ 924 h 1360"/>
                <a:gd name="T16" fmla="*/ 1282 w 2080"/>
                <a:gd name="T17" fmla="*/ 810 h 1360"/>
                <a:gd name="T18" fmla="*/ 2076 w 2080"/>
                <a:gd name="T19" fmla="*/ 1360 h 1360"/>
                <a:gd name="T20" fmla="*/ 4 w 2080"/>
                <a:gd name="T21" fmla="*/ 1360 h 1360"/>
                <a:gd name="T22" fmla="*/ 798 w 2080"/>
                <a:gd name="T23" fmla="*/ 810 h 1360"/>
                <a:gd name="T24" fmla="*/ 941 w 2080"/>
                <a:gd name="T25" fmla="*/ 924 h 1360"/>
                <a:gd name="T26" fmla="*/ 1139 w 2080"/>
                <a:gd name="T27" fmla="*/ 924 h 1360"/>
                <a:gd name="T28" fmla="*/ 2 w 2080"/>
                <a:gd name="T29" fmla="*/ 137 h 1360"/>
                <a:gd name="T30" fmla="*/ 42 w 2080"/>
                <a:gd name="T31" fmla="*/ 201 h 1360"/>
                <a:gd name="T32" fmla="*/ 734 w 2080"/>
                <a:gd name="T33" fmla="*/ 758 h 1360"/>
                <a:gd name="T34" fmla="*/ 0 w 2080"/>
                <a:gd name="T35" fmla="*/ 1266 h 1360"/>
                <a:gd name="T36" fmla="*/ 0 w 2080"/>
                <a:gd name="T37" fmla="*/ 135 h 1360"/>
                <a:gd name="T38" fmla="*/ 2 w 2080"/>
                <a:gd name="T39" fmla="*/ 137 h 1360"/>
                <a:gd name="T40" fmla="*/ 2080 w 2080"/>
                <a:gd name="T41" fmla="*/ 136 h 1360"/>
                <a:gd name="T42" fmla="*/ 2080 w 2080"/>
                <a:gd name="T43" fmla="*/ 1265 h 1360"/>
                <a:gd name="T44" fmla="*/ 1346 w 2080"/>
                <a:gd name="T45" fmla="*/ 758 h 1360"/>
                <a:gd name="T46" fmla="*/ 2038 w 2080"/>
                <a:gd name="T47" fmla="*/ 201 h 1360"/>
                <a:gd name="T48" fmla="*/ 2080 w 2080"/>
                <a:gd name="T49" fmla="*/ 136 h 1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080" h="1360">
                  <a:moveTo>
                    <a:pt x="0" y="65"/>
                  </a:moveTo>
                  <a:cubicBezTo>
                    <a:pt x="0" y="0"/>
                    <a:pt x="0" y="0"/>
                    <a:pt x="0" y="0"/>
                  </a:cubicBezTo>
                  <a:cubicBezTo>
                    <a:pt x="2080" y="0"/>
                    <a:pt x="2080" y="0"/>
                    <a:pt x="2080" y="0"/>
                  </a:cubicBezTo>
                  <a:cubicBezTo>
                    <a:pt x="2080" y="65"/>
                    <a:pt x="2080" y="65"/>
                    <a:pt x="2080" y="65"/>
                  </a:cubicBezTo>
                  <a:cubicBezTo>
                    <a:pt x="1089" y="862"/>
                    <a:pt x="1089" y="862"/>
                    <a:pt x="1089" y="862"/>
                  </a:cubicBezTo>
                  <a:cubicBezTo>
                    <a:pt x="1060" y="886"/>
                    <a:pt x="1020" y="886"/>
                    <a:pt x="991" y="862"/>
                  </a:cubicBezTo>
                  <a:lnTo>
                    <a:pt x="0" y="65"/>
                  </a:lnTo>
                  <a:close/>
                  <a:moveTo>
                    <a:pt x="1139" y="924"/>
                  </a:moveTo>
                  <a:cubicBezTo>
                    <a:pt x="1282" y="810"/>
                    <a:pt x="1282" y="810"/>
                    <a:pt x="1282" y="810"/>
                  </a:cubicBezTo>
                  <a:cubicBezTo>
                    <a:pt x="2076" y="1360"/>
                    <a:pt x="2076" y="1360"/>
                    <a:pt x="2076" y="1360"/>
                  </a:cubicBezTo>
                  <a:cubicBezTo>
                    <a:pt x="4" y="1360"/>
                    <a:pt x="4" y="1360"/>
                    <a:pt x="4" y="1360"/>
                  </a:cubicBezTo>
                  <a:cubicBezTo>
                    <a:pt x="798" y="810"/>
                    <a:pt x="798" y="810"/>
                    <a:pt x="798" y="810"/>
                  </a:cubicBezTo>
                  <a:cubicBezTo>
                    <a:pt x="941" y="924"/>
                    <a:pt x="941" y="924"/>
                    <a:pt x="941" y="924"/>
                  </a:cubicBezTo>
                  <a:cubicBezTo>
                    <a:pt x="1000" y="972"/>
                    <a:pt x="1080" y="972"/>
                    <a:pt x="1139" y="924"/>
                  </a:cubicBezTo>
                  <a:close/>
                  <a:moveTo>
                    <a:pt x="2" y="137"/>
                  </a:moveTo>
                  <a:cubicBezTo>
                    <a:pt x="8" y="163"/>
                    <a:pt x="22" y="185"/>
                    <a:pt x="42" y="201"/>
                  </a:cubicBezTo>
                  <a:cubicBezTo>
                    <a:pt x="734" y="758"/>
                    <a:pt x="734" y="758"/>
                    <a:pt x="734" y="758"/>
                  </a:cubicBezTo>
                  <a:cubicBezTo>
                    <a:pt x="0" y="1266"/>
                    <a:pt x="0" y="1266"/>
                    <a:pt x="0" y="1266"/>
                  </a:cubicBezTo>
                  <a:cubicBezTo>
                    <a:pt x="0" y="135"/>
                    <a:pt x="0" y="135"/>
                    <a:pt x="0" y="135"/>
                  </a:cubicBezTo>
                  <a:lnTo>
                    <a:pt x="2" y="137"/>
                  </a:lnTo>
                  <a:close/>
                  <a:moveTo>
                    <a:pt x="2080" y="136"/>
                  </a:moveTo>
                  <a:cubicBezTo>
                    <a:pt x="2080" y="1265"/>
                    <a:pt x="2080" y="1265"/>
                    <a:pt x="2080" y="1265"/>
                  </a:cubicBezTo>
                  <a:cubicBezTo>
                    <a:pt x="1346" y="758"/>
                    <a:pt x="1346" y="758"/>
                    <a:pt x="1346" y="758"/>
                  </a:cubicBezTo>
                  <a:cubicBezTo>
                    <a:pt x="2038" y="201"/>
                    <a:pt x="2038" y="201"/>
                    <a:pt x="2038" y="201"/>
                  </a:cubicBezTo>
                  <a:cubicBezTo>
                    <a:pt x="2060" y="182"/>
                    <a:pt x="2072" y="162"/>
                    <a:pt x="2080" y="13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000"/>
            </a:p>
          </p:txBody>
        </p:sp>
      </p:grpSp>
      <p:cxnSp>
        <p:nvCxnSpPr>
          <p:cNvPr id="20" name="Straight Connector 19"/>
          <p:cNvCxnSpPr/>
          <p:nvPr/>
        </p:nvCxnSpPr>
        <p:spPr>
          <a:xfrm>
            <a:off x="2371725" y="3478213"/>
            <a:ext cx="3888000" cy="0"/>
          </a:xfrm>
          <a:prstGeom prst="line">
            <a:avLst/>
          </a:prstGeom>
          <a:ln w="6350">
            <a:solidFill>
              <a:schemeClr val="tx2"/>
            </a:solidFill>
            <a:prstDash val="dash"/>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p:nvCxnSpPr>
        <p:spPr>
          <a:xfrm>
            <a:off x="7287766" y="3478213"/>
            <a:ext cx="3888000" cy="0"/>
          </a:xfrm>
          <a:prstGeom prst="line">
            <a:avLst/>
          </a:prstGeom>
          <a:ln w="6350">
            <a:solidFill>
              <a:schemeClr val="tx2"/>
            </a:solidFill>
            <a:prstDash val="dash"/>
          </a:ln>
        </p:spPr>
        <p:style>
          <a:lnRef idx="1">
            <a:schemeClr val="accent1"/>
          </a:lnRef>
          <a:fillRef idx="0">
            <a:schemeClr val="accent1"/>
          </a:fillRef>
          <a:effectRef idx="0">
            <a:schemeClr val="accent1"/>
          </a:effectRef>
          <a:fontRef idx="minor">
            <a:schemeClr val="tx1"/>
          </a:fontRef>
        </p:style>
      </p:cxnSp>
      <p:sp>
        <p:nvSpPr>
          <p:cNvPr id="4" name="Picture Placeholder 3"/>
          <p:cNvSpPr>
            <a:spLocks noGrp="1"/>
          </p:cNvSpPr>
          <p:nvPr>
            <p:ph type="pic" sz="quarter" idx="17" hasCustomPrompt="1"/>
          </p:nvPr>
        </p:nvSpPr>
        <p:spPr>
          <a:xfrm>
            <a:off x="2355914" y="1808984"/>
            <a:ext cx="1188677" cy="1547840"/>
          </a:xfrm>
          <a:solidFill>
            <a:srgbClr val="D9DADB"/>
          </a:solidFill>
        </p:spPr>
        <p:txBody>
          <a:bodyPr/>
          <a:lstStyle>
            <a:lvl1pPr marL="0" indent="0">
              <a:buNone/>
              <a:defRPr sz="1400"/>
            </a:lvl1pPr>
          </a:lstStyle>
          <a:p>
            <a:r>
              <a:rPr lang="en-US"/>
              <a:t>Insert picture</a:t>
            </a:r>
          </a:p>
        </p:txBody>
      </p:sp>
      <p:sp>
        <p:nvSpPr>
          <p:cNvPr id="25" name="Picture Placeholder 3"/>
          <p:cNvSpPr>
            <a:spLocks noGrp="1"/>
          </p:cNvSpPr>
          <p:nvPr>
            <p:ph type="pic" sz="quarter" idx="18" hasCustomPrompt="1"/>
          </p:nvPr>
        </p:nvSpPr>
        <p:spPr>
          <a:xfrm>
            <a:off x="7287766" y="1808984"/>
            <a:ext cx="1188677" cy="1547840"/>
          </a:xfrm>
          <a:solidFill>
            <a:srgbClr val="D9DADB"/>
          </a:solidFill>
        </p:spPr>
        <p:txBody>
          <a:bodyPr/>
          <a:lstStyle>
            <a:lvl1pPr marL="0" indent="0">
              <a:buNone/>
              <a:defRPr sz="1400"/>
            </a:lvl1pPr>
          </a:lstStyle>
          <a:p>
            <a:r>
              <a:rPr lang="en-US"/>
              <a:t>Insert picture</a:t>
            </a:r>
          </a:p>
        </p:txBody>
      </p:sp>
      <p:sp>
        <p:nvSpPr>
          <p:cNvPr id="6" name="Text Placeholder 5"/>
          <p:cNvSpPr>
            <a:spLocks noGrp="1"/>
          </p:cNvSpPr>
          <p:nvPr>
            <p:ph type="body" sz="quarter" idx="19" hasCustomPrompt="1"/>
          </p:nvPr>
        </p:nvSpPr>
        <p:spPr>
          <a:xfrm>
            <a:off x="3770065" y="1808521"/>
            <a:ext cx="2463190" cy="192360"/>
          </a:xfrm>
        </p:spPr>
        <p:txBody>
          <a:bodyPr lIns="0" tIns="0" rIns="0" bIns="0" anchor="ctr" anchorCtr="0"/>
          <a:lstStyle>
            <a:lvl1pPr marL="0" indent="0" algn="l">
              <a:lnSpc>
                <a:spcPct val="100000"/>
              </a:lnSpc>
              <a:buNone/>
              <a:defRPr sz="100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Country</a:t>
            </a:r>
          </a:p>
        </p:txBody>
      </p:sp>
      <p:sp>
        <p:nvSpPr>
          <p:cNvPr id="26" name="Text Placeholder 5"/>
          <p:cNvSpPr>
            <a:spLocks noGrp="1"/>
          </p:cNvSpPr>
          <p:nvPr>
            <p:ph type="body" sz="quarter" idx="20" hasCustomPrompt="1"/>
          </p:nvPr>
        </p:nvSpPr>
        <p:spPr>
          <a:xfrm>
            <a:off x="3770065" y="2020337"/>
            <a:ext cx="2463190" cy="266182"/>
          </a:xfrm>
        </p:spPr>
        <p:txBody>
          <a:bodyPr lIns="0" tIns="0" rIns="0" bIns="0" anchor="b" anchorCtr="0"/>
          <a:lstStyle>
            <a:lvl1pPr marL="0" indent="0" algn="l">
              <a:lnSpc>
                <a:spcPct val="100000"/>
              </a:lnSpc>
              <a:buNone/>
              <a:defRPr sz="1400" b="1" baseline="0">
                <a:solidFill>
                  <a:schemeClr val="tx2"/>
                </a:solidFill>
              </a:defRPr>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Name, Surname</a:t>
            </a:r>
          </a:p>
        </p:txBody>
      </p:sp>
      <p:sp>
        <p:nvSpPr>
          <p:cNvPr id="27" name="Text Placeholder 5"/>
          <p:cNvSpPr>
            <a:spLocks noGrp="1"/>
          </p:cNvSpPr>
          <p:nvPr>
            <p:ph type="body" sz="quarter" idx="21" hasCustomPrompt="1"/>
          </p:nvPr>
        </p:nvSpPr>
        <p:spPr>
          <a:xfrm>
            <a:off x="3770065" y="2316912"/>
            <a:ext cx="2463190"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Job Position</a:t>
            </a:r>
          </a:p>
        </p:txBody>
      </p:sp>
      <p:sp>
        <p:nvSpPr>
          <p:cNvPr id="28" name="Text Placeholder 5"/>
          <p:cNvSpPr>
            <a:spLocks noGrp="1"/>
          </p:cNvSpPr>
          <p:nvPr>
            <p:ph type="body" sz="quarter" idx="22" hasCustomPrompt="1"/>
          </p:nvPr>
        </p:nvSpPr>
        <p:spPr>
          <a:xfrm>
            <a:off x="4014948" y="2845588"/>
            <a:ext cx="2218307"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Phone number</a:t>
            </a:r>
          </a:p>
        </p:txBody>
      </p:sp>
      <p:sp>
        <p:nvSpPr>
          <p:cNvPr id="29" name="Text Placeholder 5"/>
          <p:cNvSpPr>
            <a:spLocks noGrp="1"/>
          </p:cNvSpPr>
          <p:nvPr>
            <p:ph type="body" sz="quarter" idx="23" hasCustomPrompt="1"/>
          </p:nvPr>
        </p:nvSpPr>
        <p:spPr>
          <a:xfrm>
            <a:off x="4014948" y="3128395"/>
            <a:ext cx="2218307"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Email address</a:t>
            </a:r>
          </a:p>
        </p:txBody>
      </p:sp>
      <p:sp>
        <p:nvSpPr>
          <p:cNvPr id="30" name="Text Placeholder 5"/>
          <p:cNvSpPr>
            <a:spLocks noGrp="1"/>
          </p:cNvSpPr>
          <p:nvPr>
            <p:ph type="body" sz="quarter" idx="24" hasCustomPrompt="1"/>
          </p:nvPr>
        </p:nvSpPr>
        <p:spPr>
          <a:xfrm>
            <a:off x="8701917" y="1808521"/>
            <a:ext cx="2463190" cy="192360"/>
          </a:xfrm>
        </p:spPr>
        <p:txBody>
          <a:bodyPr lIns="0" tIns="0" rIns="0" bIns="0" anchor="ctr" anchorCtr="0"/>
          <a:lstStyle>
            <a:lvl1pPr marL="0" indent="0" algn="l">
              <a:lnSpc>
                <a:spcPct val="100000"/>
              </a:lnSpc>
              <a:buNone/>
              <a:defRPr sz="100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Country</a:t>
            </a:r>
          </a:p>
        </p:txBody>
      </p:sp>
      <p:sp>
        <p:nvSpPr>
          <p:cNvPr id="31" name="Text Placeholder 5"/>
          <p:cNvSpPr>
            <a:spLocks noGrp="1"/>
          </p:cNvSpPr>
          <p:nvPr>
            <p:ph type="body" sz="quarter" idx="25" hasCustomPrompt="1"/>
          </p:nvPr>
        </p:nvSpPr>
        <p:spPr>
          <a:xfrm>
            <a:off x="8701917" y="2020337"/>
            <a:ext cx="2463190" cy="266182"/>
          </a:xfrm>
        </p:spPr>
        <p:txBody>
          <a:bodyPr lIns="0" tIns="0" rIns="0" bIns="0" anchor="b" anchorCtr="0"/>
          <a:lstStyle>
            <a:lvl1pPr marL="0" indent="0" algn="l">
              <a:lnSpc>
                <a:spcPct val="100000"/>
              </a:lnSpc>
              <a:buNone/>
              <a:defRPr sz="1400" b="1" baseline="0">
                <a:solidFill>
                  <a:schemeClr val="tx2"/>
                </a:solidFill>
              </a:defRPr>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Name, Surname</a:t>
            </a:r>
          </a:p>
        </p:txBody>
      </p:sp>
      <p:sp>
        <p:nvSpPr>
          <p:cNvPr id="32" name="Text Placeholder 5"/>
          <p:cNvSpPr>
            <a:spLocks noGrp="1"/>
          </p:cNvSpPr>
          <p:nvPr>
            <p:ph type="body" sz="quarter" idx="26" hasCustomPrompt="1"/>
          </p:nvPr>
        </p:nvSpPr>
        <p:spPr>
          <a:xfrm>
            <a:off x="8701917" y="2316912"/>
            <a:ext cx="2463190"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Job Position</a:t>
            </a:r>
          </a:p>
        </p:txBody>
      </p:sp>
      <p:sp>
        <p:nvSpPr>
          <p:cNvPr id="33" name="Text Placeholder 5"/>
          <p:cNvSpPr>
            <a:spLocks noGrp="1"/>
          </p:cNvSpPr>
          <p:nvPr>
            <p:ph type="body" sz="quarter" idx="27" hasCustomPrompt="1"/>
          </p:nvPr>
        </p:nvSpPr>
        <p:spPr>
          <a:xfrm>
            <a:off x="8946800" y="2845588"/>
            <a:ext cx="2218307"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Phone number</a:t>
            </a:r>
          </a:p>
        </p:txBody>
      </p:sp>
      <p:sp>
        <p:nvSpPr>
          <p:cNvPr id="34" name="Text Placeholder 5"/>
          <p:cNvSpPr>
            <a:spLocks noGrp="1"/>
          </p:cNvSpPr>
          <p:nvPr>
            <p:ph type="body" sz="quarter" idx="28" hasCustomPrompt="1"/>
          </p:nvPr>
        </p:nvSpPr>
        <p:spPr>
          <a:xfrm>
            <a:off x="8946800" y="3128395"/>
            <a:ext cx="2218307"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Email address</a:t>
            </a:r>
          </a:p>
        </p:txBody>
      </p:sp>
      <p:grpSp>
        <p:nvGrpSpPr>
          <p:cNvPr id="35" name="Gruppieren 2">
            <a:extLst>
              <a:ext uri="{FF2B5EF4-FFF2-40B4-BE49-F238E27FC236}">
                <a16:creationId xmlns:a16="http://schemas.microsoft.com/office/drawing/2014/main" id="{BE697CE9-EBDE-6B4A-BE70-582D92A8A831}"/>
              </a:ext>
            </a:extLst>
          </p:cNvPr>
          <p:cNvGrpSpPr/>
          <p:nvPr/>
        </p:nvGrpSpPr>
        <p:grpSpPr>
          <a:xfrm>
            <a:off x="3770065" y="5045939"/>
            <a:ext cx="171180" cy="171180"/>
            <a:chOff x="3392092" y="1841122"/>
            <a:chExt cx="646508" cy="646508"/>
          </a:xfrm>
        </p:grpSpPr>
        <p:sp>
          <p:nvSpPr>
            <p:cNvPr id="36" name="Rechteck 14">
              <a:extLst>
                <a:ext uri="{FF2B5EF4-FFF2-40B4-BE49-F238E27FC236}">
                  <a16:creationId xmlns:a16="http://schemas.microsoft.com/office/drawing/2014/main" id="{E142A731-19B7-C34D-9534-9E05108F895F}"/>
                </a:ext>
              </a:extLst>
            </p:cNvPr>
            <p:cNvSpPr>
              <a:spLocks noChangeAspect="1"/>
            </p:cNvSpPr>
            <p:nvPr/>
          </p:nvSpPr>
          <p:spPr bwMode="gray">
            <a:xfrm>
              <a:off x="3392092" y="1841122"/>
              <a:ext cx="646508" cy="646508"/>
            </a:xfrm>
            <a:prstGeom prst="rect">
              <a:avLst/>
            </a:prstGeom>
            <a:solidFill>
              <a:srgbClr val="E55A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pPr>
              <a:endParaRPr lang="en-US" sz="1000">
                <a:solidFill>
                  <a:schemeClr val="tx1"/>
                </a:solidFill>
                <a:latin typeface="Arial" pitchFamily="34" charset="0"/>
                <a:cs typeface="Arial" pitchFamily="34" charset="0"/>
              </a:endParaRPr>
            </a:p>
          </p:txBody>
        </p:sp>
        <p:sp>
          <p:nvSpPr>
            <p:cNvPr id="37" name="Freeform 36">
              <a:extLst>
                <a:ext uri="{FF2B5EF4-FFF2-40B4-BE49-F238E27FC236}">
                  <a16:creationId xmlns:a16="http://schemas.microsoft.com/office/drawing/2014/main" id="{F97E84AE-4AD9-4B44-9AA1-F797FC373809}"/>
                </a:ext>
              </a:extLst>
            </p:cNvPr>
            <p:cNvSpPr>
              <a:spLocks noChangeAspect="1"/>
            </p:cNvSpPr>
            <p:nvPr/>
          </p:nvSpPr>
          <p:spPr bwMode="auto">
            <a:xfrm>
              <a:off x="3546638" y="1970424"/>
              <a:ext cx="337415" cy="387905"/>
            </a:xfrm>
            <a:custGeom>
              <a:avLst/>
              <a:gdLst>
                <a:gd name="T0" fmla="*/ 573 w 1624"/>
                <a:gd name="T1" fmla="*/ 1257 h 1867"/>
                <a:gd name="T2" fmla="*/ 662 w 1624"/>
                <a:gd name="T3" fmla="*/ 1288 h 1867"/>
                <a:gd name="T4" fmla="*/ 938 w 1624"/>
                <a:gd name="T5" fmla="*/ 1051 h 1867"/>
                <a:gd name="T6" fmla="*/ 1106 w 1624"/>
                <a:gd name="T7" fmla="*/ 731 h 1867"/>
                <a:gd name="T8" fmla="*/ 1059 w 1624"/>
                <a:gd name="T9" fmla="*/ 645 h 1867"/>
                <a:gd name="T10" fmla="*/ 1001 w 1624"/>
                <a:gd name="T11" fmla="*/ 613 h 1867"/>
                <a:gd name="T12" fmla="*/ 924 w 1624"/>
                <a:gd name="T13" fmla="*/ 432 h 1867"/>
                <a:gd name="T14" fmla="*/ 1114 w 1624"/>
                <a:gd name="T15" fmla="*/ 81 h 1867"/>
                <a:gd name="T16" fmla="*/ 1287 w 1624"/>
                <a:gd name="T17" fmla="*/ 35 h 1867"/>
                <a:gd name="T18" fmla="*/ 1350 w 1624"/>
                <a:gd name="T19" fmla="*/ 69 h 1867"/>
                <a:gd name="T20" fmla="*/ 1527 w 1624"/>
                <a:gd name="T21" fmla="*/ 235 h 1867"/>
                <a:gd name="T22" fmla="*/ 1583 w 1624"/>
                <a:gd name="T23" fmla="*/ 555 h 1867"/>
                <a:gd name="T24" fmla="*/ 1172 w 1624"/>
                <a:gd name="T25" fmla="*/ 1253 h 1867"/>
                <a:gd name="T26" fmla="*/ 586 w 1624"/>
                <a:gd name="T27" fmla="*/ 1803 h 1867"/>
                <a:gd name="T28" fmla="*/ 269 w 1624"/>
                <a:gd name="T29" fmla="*/ 1807 h 1867"/>
                <a:gd name="T30" fmla="*/ 33 w 1624"/>
                <a:gd name="T31" fmla="*/ 1602 h 1867"/>
                <a:gd name="T32" fmla="*/ 2 w 1624"/>
                <a:gd name="T33" fmla="*/ 1508 h 1867"/>
                <a:gd name="T34" fmla="*/ 45 w 1624"/>
                <a:gd name="T35" fmla="*/ 1421 h 1867"/>
                <a:gd name="T36" fmla="*/ 346 w 1624"/>
                <a:gd name="T37" fmla="*/ 1158 h 1867"/>
                <a:gd name="T38" fmla="*/ 448 w 1624"/>
                <a:gd name="T39" fmla="*/ 1145 h 1867"/>
                <a:gd name="T40" fmla="*/ 573 w 1624"/>
                <a:gd name="T41" fmla="*/ 1257 h 18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24" h="1867">
                  <a:moveTo>
                    <a:pt x="573" y="1257"/>
                  </a:moveTo>
                  <a:cubicBezTo>
                    <a:pt x="592" y="1282"/>
                    <a:pt x="630" y="1303"/>
                    <a:pt x="662" y="1288"/>
                  </a:cubicBezTo>
                  <a:cubicBezTo>
                    <a:pt x="753" y="1245"/>
                    <a:pt x="854" y="1156"/>
                    <a:pt x="938" y="1051"/>
                  </a:cubicBezTo>
                  <a:cubicBezTo>
                    <a:pt x="1020" y="948"/>
                    <a:pt x="1084" y="831"/>
                    <a:pt x="1106" y="731"/>
                  </a:cubicBezTo>
                  <a:cubicBezTo>
                    <a:pt x="1113" y="696"/>
                    <a:pt x="1089" y="661"/>
                    <a:pt x="1059" y="645"/>
                  </a:cubicBezTo>
                  <a:cubicBezTo>
                    <a:pt x="1001" y="613"/>
                    <a:pt x="1001" y="613"/>
                    <a:pt x="1001" y="613"/>
                  </a:cubicBezTo>
                  <a:cubicBezTo>
                    <a:pt x="942" y="580"/>
                    <a:pt x="888" y="499"/>
                    <a:pt x="924" y="432"/>
                  </a:cubicBezTo>
                  <a:cubicBezTo>
                    <a:pt x="1114" y="81"/>
                    <a:pt x="1114" y="81"/>
                    <a:pt x="1114" y="81"/>
                  </a:cubicBezTo>
                  <a:cubicBezTo>
                    <a:pt x="1150" y="16"/>
                    <a:pt x="1224" y="0"/>
                    <a:pt x="1287" y="35"/>
                  </a:cubicBezTo>
                  <a:cubicBezTo>
                    <a:pt x="1350" y="69"/>
                    <a:pt x="1350" y="69"/>
                    <a:pt x="1350" y="69"/>
                  </a:cubicBezTo>
                  <a:cubicBezTo>
                    <a:pt x="1415" y="105"/>
                    <a:pt x="1479" y="165"/>
                    <a:pt x="1527" y="235"/>
                  </a:cubicBezTo>
                  <a:cubicBezTo>
                    <a:pt x="1593" y="332"/>
                    <a:pt x="1624" y="442"/>
                    <a:pt x="1583" y="555"/>
                  </a:cubicBezTo>
                  <a:cubicBezTo>
                    <a:pt x="1500" y="781"/>
                    <a:pt x="1351" y="1030"/>
                    <a:pt x="1172" y="1253"/>
                  </a:cubicBezTo>
                  <a:cubicBezTo>
                    <a:pt x="994" y="1477"/>
                    <a:pt x="786" y="1676"/>
                    <a:pt x="586" y="1803"/>
                  </a:cubicBezTo>
                  <a:cubicBezTo>
                    <a:pt x="486" y="1867"/>
                    <a:pt x="375" y="1856"/>
                    <a:pt x="269" y="1807"/>
                  </a:cubicBezTo>
                  <a:cubicBezTo>
                    <a:pt x="157" y="1755"/>
                    <a:pt x="106" y="1695"/>
                    <a:pt x="33" y="1602"/>
                  </a:cubicBezTo>
                  <a:cubicBezTo>
                    <a:pt x="11" y="1573"/>
                    <a:pt x="0" y="1540"/>
                    <a:pt x="2" y="1508"/>
                  </a:cubicBezTo>
                  <a:cubicBezTo>
                    <a:pt x="4" y="1475"/>
                    <a:pt x="18" y="1444"/>
                    <a:pt x="45" y="1421"/>
                  </a:cubicBezTo>
                  <a:cubicBezTo>
                    <a:pt x="70" y="1399"/>
                    <a:pt x="346" y="1158"/>
                    <a:pt x="346" y="1158"/>
                  </a:cubicBezTo>
                  <a:cubicBezTo>
                    <a:pt x="376" y="1134"/>
                    <a:pt x="413" y="1133"/>
                    <a:pt x="448" y="1145"/>
                  </a:cubicBezTo>
                  <a:cubicBezTo>
                    <a:pt x="510" y="1166"/>
                    <a:pt x="536" y="1210"/>
                    <a:pt x="573" y="1257"/>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351"/>
            </a:p>
          </p:txBody>
        </p:sp>
      </p:grpSp>
      <p:grpSp>
        <p:nvGrpSpPr>
          <p:cNvPr id="38" name="Group 3">
            <a:extLst>
              <a:ext uri="{FF2B5EF4-FFF2-40B4-BE49-F238E27FC236}">
                <a16:creationId xmlns:a16="http://schemas.microsoft.com/office/drawing/2014/main" id="{7104BADD-8CD1-6F4A-B894-869C3BDB3EEB}"/>
              </a:ext>
            </a:extLst>
          </p:cNvPr>
          <p:cNvGrpSpPr>
            <a:grpSpLocks noChangeAspect="1"/>
          </p:cNvGrpSpPr>
          <p:nvPr>
            <p:custDataLst>
              <p:tags r:id="rId3"/>
            </p:custDataLst>
          </p:nvPr>
        </p:nvGrpSpPr>
        <p:grpSpPr>
          <a:xfrm>
            <a:off x="3770066" y="5330827"/>
            <a:ext cx="171180" cy="171180"/>
            <a:chOff x="328396" y="5313940"/>
            <a:chExt cx="720000" cy="720000"/>
          </a:xfrm>
        </p:grpSpPr>
        <p:sp>
          <p:nvSpPr>
            <p:cNvPr id="39" name="Rectangle 4">
              <a:extLst>
                <a:ext uri="{FF2B5EF4-FFF2-40B4-BE49-F238E27FC236}">
                  <a16:creationId xmlns:a16="http://schemas.microsoft.com/office/drawing/2014/main" id="{74BE3D5F-1445-6E40-8B49-72E15568383B}"/>
                </a:ext>
              </a:extLst>
            </p:cNvPr>
            <p:cNvSpPr/>
            <p:nvPr/>
          </p:nvSpPr>
          <p:spPr bwMode="gray">
            <a:xfrm>
              <a:off x="328396" y="5313940"/>
              <a:ext cx="720000" cy="720000"/>
            </a:xfrm>
            <a:prstGeom prst="rect">
              <a:avLst/>
            </a:prstGeom>
            <a:solidFill>
              <a:srgbClr val="E55A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pPr>
              <a:endParaRPr lang="en-US" sz="1000">
                <a:solidFill>
                  <a:schemeClr val="tx1"/>
                </a:solidFill>
                <a:latin typeface="Arial" pitchFamily="34" charset="0"/>
                <a:cs typeface="Arial" pitchFamily="34" charset="0"/>
              </a:endParaRPr>
            </a:p>
          </p:txBody>
        </p:sp>
        <p:sp>
          <p:nvSpPr>
            <p:cNvPr id="40" name="Freeform 76">
              <a:extLst>
                <a:ext uri="{FF2B5EF4-FFF2-40B4-BE49-F238E27FC236}">
                  <a16:creationId xmlns:a16="http://schemas.microsoft.com/office/drawing/2014/main" id="{55DB3C95-7D0C-D141-901E-96D692794D2B}"/>
                </a:ext>
              </a:extLst>
            </p:cNvPr>
            <p:cNvSpPr>
              <a:spLocks noChangeAspect="1" noEditPoints="1"/>
            </p:cNvSpPr>
            <p:nvPr/>
          </p:nvSpPr>
          <p:spPr bwMode="auto">
            <a:xfrm>
              <a:off x="456202" y="5509222"/>
              <a:ext cx="504000" cy="329436"/>
            </a:xfrm>
            <a:custGeom>
              <a:avLst/>
              <a:gdLst>
                <a:gd name="T0" fmla="*/ 0 w 2080"/>
                <a:gd name="T1" fmla="*/ 65 h 1360"/>
                <a:gd name="T2" fmla="*/ 0 w 2080"/>
                <a:gd name="T3" fmla="*/ 0 h 1360"/>
                <a:gd name="T4" fmla="*/ 2080 w 2080"/>
                <a:gd name="T5" fmla="*/ 0 h 1360"/>
                <a:gd name="T6" fmla="*/ 2080 w 2080"/>
                <a:gd name="T7" fmla="*/ 65 h 1360"/>
                <a:gd name="T8" fmla="*/ 1089 w 2080"/>
                <a:gd name="T9" fmla="*/ 862 h 1360"/>
                <a:gd name="T10" fmla="*/ 991 w 2080"/>
                <a:gd name="T11" fmla="*/ 862 h 1360"/>
                <a:gd name="T12" fmla="*/ 0 w 2080"/>
                <a:gd name="T13" fmla="*/ 65 h 1360"/>
                <a:gd name="T14" fmla="*/ 1139 w 2080"/>
                <a:gd name="T15" fmla="*/ 924 h 1360"/>
                <a:gd name="T16" fmla="*/ 1282 w 2080"/>
                <a:gd name="T17" fmla="*/ 810 h 1360"/>
                <a:gd name="T18" fmla="*/ 2076 w 2080"/>
                <a:gd name="T19" fmla="*/ 1360 h 1360"/>
                <a:gd name="T20" fmla="*/ 4 w 2080"/>
                <a:gd name="T21" fmla="*/ 1360 h 1360"/>
                <a:gd name="T22" fmla="*/ 798 w 2080"/>
                <a:gd name="T23" fmla="*/ 810 h 1360"/>
                <a:gd name="T24" fmla="*/ 941 w 2080"/>
                <a:gd name="T25" fmla="*/ 924 h 1360"/>
                <a:gd name="T26" fmla="*/ 1139 w 2080"/>
                <a:gd name="T27" fmla="*/ 924 h 1360"/>
                <a:gd name="T28" fmla="*/ 2 w 2080"/>
                <a:gd name="T29" fmla="*/ 137 h 1360"/>
                <a:gd name="T30" fmla="*/ 42 w 2080"/>
                <a:gd name="T31" fmla="*/ 201 h 1360"/>
                <a:gd name="T32" fmla="*/ 734 w 2080"/>
                <a:gd name="T33" fmla="*/ 758 h 1360"/>
                <a:gd name="T34" fmla="*/ 0 w 2080"/>
                <a:gd name="T35" fmla="*/ 1266 h 1360"/>
                <a:gd name="T36" fmla="*/ 0 w 2080"/>
                <a:gd name="T37" fmla="*/ 135 h 1360"/>
                <a:gd name="T38" fmla="*/ 2 w 2080"/>
                <a:gd name="T39" fmla="*/ 137 h 1360"/>
                <a:gd name="T40" fmla="*/ 2080 w 2080"/>
                <a:gd name="T41" fmla="*/ 136 h 1360"/>
                <a:gd name="T42" fmla="*/ 2080 w 2080"/>
                <a:gd name="T43" fmla="*/ 1265 h 1360"/>
                <a:gd name="T44" fmla="*/ 1346 w 2080"/>
                <a:gd name="T45" fmla="*/ 758 h 1360"/>
                <a:gd name="T46" fmla="*/ 2038 w 2080"/>
                <a:gd name="T47" fmla="*/ 201 h 1360"/>
                <a:gd name="T48" fmla="*/ 2080 w 2080"/>
                <a:gd name="T49" fmla="*/ 136 h 1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080" h="1360">
                  <a:moveTo>
                    <a:pt x="0" y="65"/>
                  </a:moveTo>
                  <a:cubicBezTo>
                    <a:pt x="0" y="0"/>
                    <a:pt x="0" y="0"/>
                    <a:pt x="0" y="0"/>
                  </a:cubicBezTo>
                  <a:cubicBezTo>
                    <a:pt x="2080" y="0"/>
                    <a:pt x="2080" y="0"/>
                    <a:pt x="2080" y="0"/>
                  </a:cubicBezTo>
                  <a:cubicBezTo>
                    <a:pt x="2080" y="65"/>
                    <a:pt x="2080" y="65"/>
                    <a:pt x="2080" y="65"/>
                  </a:cubicBezTo>
                  <a:cubicBezTo>
                    <a:pt x="1089" y="862"/>
                    <a:pt x="1089" y="862"/>
                    <a:pt x="1089" y="862"/>
                  </a:cubicBezTo>
                  <a:cubicBezTo>
                    <a:pt x="1060" y="886"/>
                    <a:pt x="1020" y="886"/>
                    <a:pt x="991" y="862"/>
                  </a:cubicBezTo>
                  <a:lnTo>
                    <a:pt x="0" y="65"/>
                  </a:lnTo>
                  <a:close/>
                  <a:moveTo>
                    <a:pt x="1139" y="924"/>
                  </a:moveTo>
                  <a:cubicBezTo>
                    <a:pt x="1282" y="810"/>
                    <a:pt x="1282" y="810"/>
                    <a:pt x="1282" y="810"/>
                  </a:cubicBezTo>
                  <a:cubicBezTo>
                    <a:pt x="2076" y="1360"/>
                    <a:pt x="2076" y="1360"/>
                    <a:pt x="2076" y="1360"/>
                  </a:cubicBezTo>
                  <a:cubicBezTo>
                    <a:pt x="4" y="1360"/>
                    <a:pt x="4" y="1360"/>
                    <a:pt x="4" y="1360"/>
                  </a:cubicBezTo>
                  <a:cubicBezTo>
                    <a:pt x="798" y="810"/>
                    <a:pt x="798" y="810"/>
                    <a:pt x="798" y="810"/>
                  </a:cubicBezTo>
                  <a:cubicBezTo>
                    <a:pt x="941" y="924"/>
                    <a:pt x="941" y="924"/>
                    <a:pt x="941" y="924"/>
                  </a:cubicBezTo>
                  <a:cubicBezTo>
                    <a:pt x="1000" y="972"/>
                    <a:pt x="1080" y="972"/>
                    <a:pt x="1139" y="924"/>
                  </a:cubicBezTo>
                  <a:close/>
                  <a:moveTo>
                    <a:pt x="2" y="137"/>
                  </a:moveTo>
                  <a:cubicBezTo>
                    <a:pt x="8" y="163"/>
                    <a:pt x="22" y="185"/>
                    <a:pt x="42" y="201"/>
                  </a:cubicBezTo>
                  <a:cubicBezTo>
                    <a:pt x="734" y="758"/>
                    <a:pt x="734" y="758"/>
                    <a:pt x="734" y="758"/>
                  </a:cubicBezTo>
                  <a:cubicBezTo>
                    <a:pt x="0" y="1266"/>
                    <a:pt x="0" y="1266"/>
                    <a:pt x="0" y="1266"/>
                  </a:cubicBezTo>
                  <a:cubicBezTo>
                    <a:pt x="0" y="135"/>
                    <a:pt x="0" y="135"/>
                    <a:pt x="0" y="135"/>
                  </a:cubicBezTo>
                  <a:lnTo>
                    <a:pt x="2" y="137"/>
                  </a:lnTo>
                  <a:close/>
                  <a:moveTo>
                    <a:pt x="2080" y="136"/>
                  </a:moveTo>
                  <a:cubicBezTo>
                    <a:pt x="2080" y="1265"/>
                    <a:pt x="2080" y="1265"/>
                    <a:pt x="2080" y="1265"/>
                  </a:cubicBezTo>
                  <a:cubicBezTo>
                    <a:pt x="1346" y="758"/>
                    <a:pt x="1346" y="758"/>
                    <a:pt x="1346" y="758"/>
                  </a:cubicBezTo>
                  <a:cubicBezTo>
                    <a:pt x="2038" y="201"/>
                    <a:pt x="2038" y="201"/>
                    <a:pt x="2038" y="201"/>
                  </a:cubicBezTo>
                  <a:cubicBezTo>
                    <a:pt x="2060" y="182"/>
                    <a:pt x="2072" y="162"/>
                    <a:pt x="2080" y="13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000"/>
            </a:p>
          </p:txBody>
        </p:sp>
      </p:grpSp>
      <p:cxnSp>
        <p:nvCxnSpPr>
          <p:cNvPr id="41" name="Straight Connector 40"/>
          <p:cNvCxnSpPr/>
          <p:nvPr/>
        </p:nvCxnSpPr>
        <p:spPr>
          <a:xfrm>
            <a:off x="2355914" y="5655833"/>
            <a:ext cx="3888000" cy="0"/>
          </a:xfrm>
          <a:prstGeom prst="line">
            <a:avLst/>
          </a:prstGeom>
          <a:ln w="6350">
            <a:solidFill>
              <a:schemeClr val="tx2"/>
            </a:solidFill>
            <a:prstDash val="dash"/>
          </a:ln>
        </p:spPr>
        <p:style>
          <a:lnRef idx="1">
            <a:schemeClr val="accent1"/>
          </a:lnRef>
          <a:fillRef idx="0">
            <a:schemeClr val="accent1"/>
          </a:fillRef>
          <a:effectRef idx="0">
            <a:schemeClr val="accent1"/>
          </a:effectRef>
          <a:fontRef idx="minor">
            <a:schemeClr val="tx1"/>
          </a:fontRef>
        </p:style>
      </p:cxnSp>
      <p:sp>
        <p:nvSpPr>
          <p:cNvPr id="42" name="Picture Placeholder 3"/>
          <p:cNvSpPr>
            <a:spLocks noGrp="1"/>
          </p:cNvSpPr>
          <p:nvPr>
            <p:ph type="pic" sz="quarter" idx="29" hasCustomPrompt="1"/>
          </p:nvPr>
        </p:nvSpPr>
        <p:spPr>
          <a:xfrm>
            <a:off x="2355914" y="3986604"/>
            <a:ext cx="1188677" cy="1547840"/>
          </a:xfrm>
          <a:solidFill>
            <a:srgbClr val="D9DADB"/>
          </a:solidFill>
        </p:spPr>
        <p:txBody>
          <a:bodyPr/>
          <a:lstStyle>
            <a:lvl1pPr marL="0" indent="0">
              <a:buNone/>
              <a:defRPr sz="1400"/>
            </a:lvl1pPr>
          </a:lstStyle>
          <a:p>
            <a:r>
              <a:rPr lang="en-US"/>
              <a:t>Insert picture</a:t>
            </a:r>
          </a:p>
        </p:txBody>
      </p:sp>
      <p:sp>
        <p:nvSpPr>
          <p:cNvPr id="43" name="Text Placeholder 5"/>
          <p:cNvSpPr>
            <a:spLocks noGrp="1"/>
          </p:cNvSpPr>
          <p:nvPr>
            <p:ph type="body" sz="quarter" idx="30" hasCustomPrompt="1"/>
          </p:nvPr>
        </p:nvSpPr>
        <p:spPr>
          <a:xfrm>
            <a:off x="3770065" y="3986141"/>
            <a:ext cx="2463190" cy="192360"/>
          </a:xfrm>
        </p:spPr>
        <p:txBody>
          <a:bodyPr lIns="0" tIns="0" rIns="0" bIns="0" anchor="ctr" anchorCtr="0"/>
          <a:lstStyle>
            <a:lvl1pPr marL="0" indent="0" algn="l">
              <a:lnSpc>
                <a:spcPct val="100000"/>
              </a:lnSpc>
              <a:buNone/>
              <a:defRPr sz="100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Country</a:t>
            </a:r>
          </a:p>
        </p:txBody>
      </p:sp>
      <p:sp>
        <p:nvSpPr>
          <p:cNvPr id="44" name="Text Placeholder 5"/>
          <p:cNvSpPr>
            <a:spLocks noGrp="1"/>
          </p:cNvSpPr>
          <p:nvPr>
            <p:ph type="body" sz="quarter" idx="31" hasCustomPrompt="1"/>
          </p:nvPr>
        </p:nvSpPr>
        <p:spPr>
          <a:xfrm>
            <a:off x="3770065" y="4197957"/>
            <a:ext cx="2463190" cy="266182"/>
          </a:xfrm>
        </p:spPr>
        <p:txBody>
          <a:bodyPr lIns="0" tIns="0" rIns="0" bIns="0" anchor="b" anchorCtr="0"/>
          <a:lstStyle>
            <a:lvl1pPr marL="0" indent="0" algn="l">
              <a:lnSpc>
                <a:spcPct val="100000"/>
              </a:lnSpc>
              <a:buNone/>
              <a:defRPr sz="1400" b="1" baseline="0">
                <a:solidFill>
                  <a:schemeClr val="tx2"/>
                </a:solidFill>
              </a:defRPr>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Name, Surname</a:t>
            </a:r>
          </a:p>
        </p:txBody>
      </p:sp>
      <p:sp>
        <p:nvSpPr>
          <p:cNvPr id="45" name="Text Placeholder 5"/>
          <p:cNvSpPr>
            <a:spLocks noGrp="1"/>
          </p:cNvSpPr>
          <p:nvPr>
            <p:ph type="body" sz="quarter" idx="32" hasCustomPrompt="1"/>
          </p:nvPr>
        </p:nvSpPr>
        <p:spPr>
          <a:xfrm>
            <a:off x="3770065" y="4494532"/>
            <a:ext cx="2463190"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Job Position</a:t>
            </a:r>
          </a:p>
        </p:txBody>
      </p:sp>
      <p:sp>
        <p:nvSpPr>
          <p:cNvPr id="46" name="Text Placeholder 5"/>
          <p:cNvSpPr>
            <a:spLocks noGrp="1"/>
          </p:cNvSpPr>
          <p:nvPr>
            <p:ph type="body" sz="quarter" idx="33" hasCustomPrompt="1"/>
          </p:nvPr>
        </p:nvSpPr>
        <p:spPr>
          <a:xfrm>
            <a:off x="4014948" y="5023208"/>
            <a:ext cx="2218307"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Phone number</a:t>
            </a:r>
          </a:p>
        </p:txBody>
      </p:sp>
      <p:sp>
        <p:nvSpPr>
          <p:cNvPr id="47" name="Text Placeholder 5"/>
          <p:cNvSpPr>
            <a:spLocks noGrp="1"/>
          </p:cNvSpPr>
          <p:nvPr>
            <p:ph type="body" sz="quarter" idx="34" hasCustomPrompt="1"/>
          </p:nvPr>
        </p:nvSpPr>
        <p:spPr>
          <a:xfrm>
            <a:off x="4014948" y="5306015"/>
            <a:ext cx="2218307"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Email address</a:t>
            </a:r>
          </a:p>
        </p:txBody>
      </p:sp>
      <p:grpSp>
        <p:nvGrpSpPr>
          <p:cNvPr id="48" name="Gruppieren 2">
            <a:extLst>
              <a:ext uri="{FF2B5EF4-FFF2-40B4-BE49-F238E27FC236}">
                <a16:creationId xmlns:a16="http://schemas.microsoft.com/office/drawing/2014/main" id="{BE697CE9-EBDE-6B4A-BE70-582D92A8A831}"/>
              </a:ext>
            </a:extLst>
          </p:cNvPr>
          <p:cNvGrpSpPr/>
          <p:nvPr/>
        </p:nvGrpSpPr>
        <p:grpSpPr>
          <a:xfrm>
            <a:off x="8701917" y="5043528"/>
            <a:ext cx="171180" cy="171180"/>
            <a:chOff x="3392092" y="1841122"/>
            <a:chExt cx="646508" cy="646508"/>
          </a:xfrm>
        </p:grpSpPr>
        <p:sp>
          <p:nvSpPr>
            <p:cNvPr id="49" name="Rechteck 14">
              <a:extLst>
                <a:ext uri="{FF2B5EF4-FFF2-40B4-BE49-F238E27FC236}">
                  <a16:creationId xmlns:a16="http://schemas.microsoft.com/office/drawing/2014/main" id="{E142A731-19B7-C34D-9534-9E05108F895F}"/>
                </a:ext>
              </a:extLst>
            </p:cNvPr>
            <p:cNvSpPr>
              <a:spLocks noChangeAspect="1"/>
            </p:cNvSpPr>
            <p:nvPr/>
          </p:nvSpPr>
          <p:spPr bwMode="gray">
            <a:xfrm>
              <a:off x="3392092" y="1841122"/>
              <a:ext cx="646508" cy="646508"/>
            </a:xfrm>
            <a:prstGeom prst="rect">
              <a:avLst/>
            </a:prstGeom>
            <a:solidFill>
              <a:srgbClr val="E55A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pPr>
              <a:endParaRPr lang="en-US" sz="1000">
                <a:solidFill>
                  <a:schemeClr val="tx1"/>
                </a:solidFill>
                <a:latin typeface="Arial" pitchFamily="34" charset="0"/>
                <a:cs typeface="Arial" pitchFamily="34" charset="0"/>
              </a:endParaRPr>
            </a:p>
          </p:txBody>
        </p:sp>
        <p:sp>
          <p:nvSpPr>
            <p:cNvPr id="50" name="Freeform 49">
              <a:extLst>
                <a:ext uri="{FF2B5EF4-FFF2-40B4-BE49-F238E27FC236}">
                  <a16:creationId xmlns:a16="http://schemas.microsoft.com/office/drawing/2014/main" id="{F97E84AE-4AD9-4B44-9AA1-F797FC373809}"/>
                </a:ext>
              </a:extLst>
            </p:cNvPr>
            <p:cNvSpPr>
              <a:spLocks noChangeAspect="1"/>
            </p:cNvSpPr>
            <p:nvPr/>
          </p:nvSpPr>
          <p:spPr bwMode="auto">
            <a:xfrm>
              <a:off x="3546638" y="1970424"/>
              <a:ext cx="337415" cy="387905"/>
            </a:xfrm>
            <a:custGeom>
              <a:avLst/>
              <a:gdLst>
                <a:gd name="T0" fmla="*/ 573 w 1624"/>
                <a:gd name="T1" fmla="*/ 1257 h 1867"/>
                <a:gd name="T2" fmla="*/ 662 w 1624"/>
                <a:gd name="T3" fmla="*/ 1288 h 1867"/>
                <a:gd name="T4" fmla="*/ 938 w 1624"/>
                <a:gd name="T5" fmla="*/ 1051 h 1867"/>
                <a:gd name="T6" fmla="*/ 1106 w 1624"/>
                <a:gd name="T7" fmla="*/ 731 h 1867"/>
                <a:gd name="T8" fmla="*/ 1059 w 1624"/>
                <a:gd name="T9" fmla="*/ 645 h 1867"/>
                <a:gd name="T10" fmla="*/ 1001 w 1624"/>
                <a:gd name="T11" fmla="*/ 613 h 1867"/>
                <a:gd name="T12" fmla="*/ 924 w 1624"/>
                <a:gd name="T13" fmla="*/ 432 h 1867"/>
                <a:gd name="T14" fmla="*/ 1114 w 1624"/>
                <a:gd name="T15" fmla="*/ 81 h 1867"/>
                <a:gd name="T16" fmla="*/ 1287 w 1624"/>
                <a:gd name="T17" fmla="*/ 35 h 1867"/>
                <a:gd name="T18" fmla="*/ 1350 w 1624"/>
                <a:gd name="T19" fmla="*/ 69 h 1867"/>
                <a:gd name="T20" fmla="*/ 1527 w 1624"/>
                <a:gd name="T21" fmla="*/ 235 h 1867"/>
                <a:gd name="T22" fmla="*/ 1583 w 1624"/>
                <a:gd name="T23" fmla="*/ 555 h 1867"/>
                <a:gd name="T24" fmla="*/ 1172 w 1624"/>
                <a:gd name="T25" fmla="*/ 1253 h 1867"/>
                <a:gd name="T26" fmla="*/ 586 w 1624"/>
                <a:gd name="T27" fmla="*/ 1803 h 1867"/>
                <a:gd name="T28" fmla="*/ 269 w 1624"/>
                <a:gd name="T29" fmla="*/ 1807 h 1867"/>
                <a:gd name="T30" fmla="*/ 33 w 1624"/>
                <a:gd name="T31" fmla="*/ 1602 h 1867"/>
                <a:gd name="T32" fmla="*/ 2 w 1624"/>
                <a:gd name="T33" fmla="*/ 1508 h 1867"/>
                <a:gd name="T34" fmla="*/ 45 w 1624"/>
                <a:gd name="T35" fmla="*/ 1421 h 1867"/>
                <a:gd name="T36" fmla="*/ 346 w 1624"/>
                <a:gd name="T37" fmla="*/ 1158 h 1867"/>
                <a:gd name="T38" fmla="*/ 448 w 1624"/>
                <a:gd name="T39" fmla="*/ 1145 h 1867"/>
                <a:gd name="T40" fmla="*/ 573 w 1624"/>
                <a:gd name="T41" fmla="*/ 1257 h 18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24" h="1867">
                  <a:moveTo>
                    <a:pt x="573" y="1257"/>
                  </a:moveTo>
                  <a:cubicBezTo>
                    <a:pt x="592" y="1282"/>
                    <a:pt x="630" y="1303"/>
                    <a:pt x="662" y="1288"/>
                  </a:cubicBezTo>
                  <a:cubicBezTo>
                    <a:pt x="753" y="1245"/>
                    <a:pt x="854" y="1156"/>
                    <a:pt x="938" y="1051"/>
                  </a:cubicBezTo>
                  <a:cubicBezTo>
                    <a:pt x="1020" y="948"/>
                    <a:pt x="1084" y="831"/>
                    <a:pt x="1106" y="731"/>
                  </a:cubicBezTo>
                  <a:cubicBezTo>
                    <a:pt x="1113" y="696"/>
                    <a:pt x="1089" y="661"/>
                    <a:pt x="1059" y="645"/>
                  </a:cubicBezTo>
                  <a:cubicBezTo>
                    <a:pt x="1001" y="613"/>
                    <a:pt x="1001" y="613"/>
                    <a:pt x="1001" y="613"/>
                  </a:cubicBezTo>
                  <a:cubicBezTo>
                    <a:pt x="942" y="580"/>
                    <a:pt x="888" y="499"/>
                    <a:pt x="924" y="432"/>
                  </a:cubicBezTo>
                  <a:cubicBezTo>
                    <a:pt x="1114" y="81"/>
                    <a:pt x="1114" y="81"/>
                    <a:pt x="1114" y="81"/>
                  </a:cubicBezTo>
                  <a:cubicBezTo>
                    <a:pt x="1150" y="16"/>
                    <a:pt x="1224" y="0"/>
                    <a:pt x="1287" y="35"/>
                  </a:cubicBezTo>
                  <a:cubicBezTo>
                    <a:pt x="1350" y="69"/>
                    <a:pt x="1350" y="69"/>
                    <a:pt x="1350" y="69"/>
                  </a:cubicBezTo>
                  <a:cubicBezTo>
                    <a:pt x="1415" y="105"/>
                    <a:pt x="1479" y="165"/>
                    <a:pt x="1527" y="235"/>
                  </a:cubicBezTo>
                  <a:cubicBezTo>
                    <a:pt x="1593" y="332"/>
                    <a:pt x="1624" y="442"/>
                    <a:pt x="1583" y="555"/>
                  </a:cubicBezTo>
                  <a:cubicBezTo>
                    <a:pt x="1500" y="781"/>
                    <a:pt x="1351" y="1030"/>
                    <a:pt x="1172" y="1253"/>
                  </a:cubicBezTo>
                  <a:cubicBezTo>
                    <a:pt x="994" y="1477"/>
                    <a:pt x="786" y="1676"/>
                    <a:pt x="586" y="1803"/>
                  </a:cubicBezTo>
                  <a:cubicBezTo>
                    <a:pt x="486" y="1867"/>
                    <a:pt x="375" y="1856"/>
                    <a:pt x="269" y="1807"/>
                  </a:cubicBezTo>
                  <a:cubicBezTo>
                    <a:pt x="157" y="1755"/>
                    <a:pt x="106" y="1695"/>
                    <a:pt x="33" y="1602"/>
                  </a:cubicBezTo>
                  <a:cubicBezTo>
                    <a:pt x="11" y="1573"/>
                    <a:pt x="0" y="1540"/>
                    <a:pt x="2" y="1508"/>
                  </a:cubicBezTo>
                  <a:cubicBezTo>
                    <a:pt x="4" y="1475"/>
                    <a:pt x="18" y="1444"/>
                    <a:pt x="45" y="1421"/>
                  </a:cubicBezTo>
                  <a:cubicBezTo>
                    <a:pt x="70" y="1399"/>
                    <a:pt x="346" y="1158"/>
                    <a:pt x="346" y="1158"/>
                  </a:cubicBezTo>
                  <a:cubicBezTo>
                    <a:pt x="376" y="1134"/>
                    <a:pt x="413" y="1133"/>
                    <a:pt x="448" y="1145"/>
                  </a:cubicBezTo>
                  <a:cubicBezTo>
                    <a:pt x="510" y="1166"/>
                    <a:pt x="536" y="1210"/>
                    <a:pt x="573" y="1257"/>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351"/>
            </a:p>
          </p:txBody>
        </p:sp>
      </p:grpSp>
      <p:grpSp>
        <p:nvGrpSpPr>
          <p:cNvPr id="51" name="Group 3">
            <a:extLst>
              <a:ext uri="{FF2B5EF4-FFF2-40B4-BE49-F238E27FC236}">
                <a16:creationId xmlns:a16="http://schemas.microsoft.com/office/drawing/2014/main" id="{7104BADD-8CD1-6F4A-B894-869C3BDB3EEB}"/>
              </a:ext>
            </a:extLst>
          </p:cNvPr>
          <p:cNvGrpSpPr>
            <a:grpSpLocks noChangeAspect="1"/>
          </p:cNvGrpSpPr>
          <p:nvPr>
            <p:custDataLst>
              <p:tags r:id="rId4"/>
            </p:custDataLst>
          </p:nvPr>
        </p:nvGrpSpPr>
        <p:grpSpPr>
          <a:xfrm>
            <a:off x="8701918" y="5328416"/>
            <a:ext cx="171180" cy="171180"/>
            <a:chOff x="328396" y="5313940"/>
            <a:chExt cx="720000" cy="720000"/>
          </a:xfrm>
        </p:grpSpPr>
        <p:sp>
          <p:nvSpPr>
            <p:cNvPr id="52" name="Rectangle 4">
              <a:extLst>
                <a:ext uri="{FF2B5EF4-FFF2-40B4-BE49-F238E27FC236}">
                  <a16:creationId xmlns:a16="http://schemas.microsoft.com/office/drawing/2014/main" id="{74BE3D5F-1445-6E40-8B49-72E15568383B}"/>
                </a:ext>
              </a:extLst>
            </p:cNvPr>
            <p:cNvSpPr/>
            <p:nvPr/>
          </p:nvSpPr>
          <p:spPr bwMode="gray">
            <a:xfrm>
              <a:off x="328396" y="5313940"/>
              <a:ext cx="720000" cy="720000"/>
            </a:xfrm>
            <a:prstGeom prst="rect">
              <a:avLst/>
            </a:prstGeom>
            <a:solidFill>
              <a:srgbClr val="E55A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pPr>
              <a:endParaRPr lang="en-US" sz="1000">
                <a:solidFill>
                  <a:schemeClr val="tx1"/>
                </a:solidFill>
                <a:latin typeface="Arial" pitchFamily="34" charset="0"/>
                <a:cs typeface="Arial" pitchFamily="34" charset="0"/>
              </a:endParaRPr>
            </a:p>
          </p:txBody>
        </p:sp>
        <p:sp>
          <p:nvSpPr>
            <p:cNvPr id="53" name="Freeform 76">
              <a:extLst>
                <a:ext uri="{FF2B5EF4-FFF2-40B4-BE49-F238E27FC236}">
                  <a16:creationId xmlns:a16="http://schemas.microsoft.com/office/drawing/2014/main" id="{55DB3C95-7D0C-D141-901E-96D692794D2B}"/>
                </a:ext>
              </a:extLst>
            </p:cNvPr>
            <p:cNvSpPr>
              <a:spLocks noChangeAspect="1" noEditPoints="1"/>
            </p:cNvSpPr>
            <p:nvPr/>
          </p:nvSpPr>
          <p:spPr bwMode="auto">
            <a:xfrm>
              <a:off x="456202" y="5509222"/>
              <a:ext cx="504000" cy="329436"/>
            </a:xfrm>
            <a:custGeom>
              <a:avLst/>
              <a:gdLst>
                <a:gd name="T0" fmla="*/ 0 w 2080"/>
                <a:gd name="T1" fmla="*/ 65 h 1360"/>
                <a:gd name="T2" fmla="*/ 0 w 2080"/>
                <a:gd name="T3" fmla="*/ 0 h 1360"/>
                <a:gd name="T4" fmla="*/ 2080 w 2080"/>
                <a:gd name="T5" fmla="*/ 0 h 1360"/>
                <a:gd name="T6" fmla="*/ 2080 w 2080"/>
                <a:gd name="T7" fmla="*/ 65 h 1360"/>
                <a:gd name="T8" fmla="*/ 1089 w 2080"/>
                <a:gd name="T9" fmla="*/ 862 h 1360"/>
                <a:gd name="T10" fmla="*/ 991 w 2080"/>
                <a:gd name="T11" fmla="*/ 862 h 1360"/>
                <a:gd name="T12" fmla="*/ 0 w 2080"/>
                <a:gd name="T13" fmla="*/ 65 h 1360"/>
                <a:gd name="T14" fmla="*/ 1139 w 2080"/>
                <a:gd name="T15" fmla="*/ 924 h 1360"/>
                <a:gd name="T16" fmla="*/ 1282 w 2080"/>
                <a:gd name="T17" fmla="*/ 810 h 1360"/>
                <a:gd name="T18" fmla="*/ 2076 w 2080"/>
                <a:gd name="T19" fmla="*/ 1360 h 1360"/>
                <a:gd name="T20" fmla="*/ 4 w 2080"/>
                <a:gd name="T21" fmla="*/ 1360 h 1360"/>
                <a:gd name="T22" fmla="*/ 798 w 2080"/>
                <a:gd name="T23" fmla="*/ 810 h 1360"/>
                <a:gd name="T24" fmla="*/ 941 w 2080"/>
                <a:gd name="T25" fmla="*/ 924 h 1360"/>
                <a:gd name="T26" fmla="*/ 1139 w 2080"/>
                <a:gd name="T27" fmla="*/ 924 h 1360"/>
                <a:gd name="T28" fmla="*/ 2 w 2080"/>
                <a:gd name="T29" fmla="*/ 137 h 1360"/>
                <a:gd name="T30" fmla="*/ 42 w 2080"/>
                <a:gd name="T31" fmla="*/ 201 h 1360"/>
                <a:gd name="T32" fmla="*/ 734 w 2080"/>
                <a:gd name="T33" fmla="*/ 758 h 1360"/>
                <a:gd name="T34" fmla="*/ 0 w 2080"/>
                <a:gd name="T35" fmla="*/ 1266 h 1360"/>
                <a:gd name="T36" fmla="*/ 0 w 2080"/>
                <a:gd name="T37" fmla="*/ 135 h 1360"/>
                <a:gd name="T38" fmla="*/ 2 w 2080"/>
                <a:gd name="T39" fmla="*/ 137 h 1360"/>
                <a:gd name="T40" fmla="*/ 2080 w 2080"/>
                <a:gd name="T41" fmla="*/ 136 h 1360"/>
                <a:gd name="T42" fmla="*/ 2080 w 2080"/>
                <a:gd name="T43" fmla="*/ 1265 h 1360"/>
                <a:gd name="T44" fmla="*/ 1346 w 2080"/>
                <a:gd name="T45" fmla="*/ 758 h 1360"/>
                <a:gd name="T46" fmla="*/ 2038 w 2080"/>
                <a:gd name="T47" fmla="*/ 201 h 1360"/>
                <a:gd name="T48" fmla="*/ 2080 w 2080"/>
                <a:gd name="T49" fmla="*/ 136 h 1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080" h="1360">
                  <a:moveTo>
                    <a:pt x="0" y="65"/>
                  </a:moveTo>
                  <a:cubicBezTo>
                    <a:pt x="0" y="0"/>
                    <a:pt x="0" y="0"/>
                    <a:pt x="0" y="0"/>
                  </a:cubicBezTo>
                  <a:cubicBezTo>
                    <a:pt x="2080" y="0"/>
                    <a:pt x="2080" y="0"/>
                    <a:pt x="2080" y="0"/>
                  </a:cubicBezTo>
                  <a:cubicBezTo>
                    <a:pt x="2080" y="65"/>
                    <a:pt x="2080" y="65"/>
                    <a:pt x="2080" y="65"/>
                  </a:cubicBezTo>
                  <a:cubicBezTo>
                    <a:pt x="1089" y="862"/>
                    <a:pt x="1089" y="862"/>
                    <a:pt x="1089" y="862"/>
                  </a:cubicBezTo>
                  <a:cubicBezTo>
                    <a:pt x="1060" y="886"/>
                    <a:pt x="1020" y="886"/>
                    <a:pt x="991" y="862"/>
                  </a:cubicBezTo>
                  <a:lnTo>
                    <a:pt x="0" y="65"/>
                  </a:lnTo>
                  <a:close/>
                  <a:moveTo>
                    <a:pt x="1139" y="924"/>
                  </a:moveTo>
                  <a:cubicBezTo>
                    <a:pt x="1282" y="810"/>
                    <a:pt x="1282" y="810"/>
                    <a:pt x="1282" y="810"/>
                  </a:cubicBezTo>
                  <a:cubicBezTo>
                    <a:pt x="2076" y="1360"/>
                    <a:pt x="2076" y="1360"/>
                    <a:pt x="2076" y="1360"/>
                  </a:cubicBezTo>
                  <a:cubicBezTo>
                    <a:pt x="4" y="1360"/>
                    <a:pt x="4" y="1360"/>
                    <a:pt x="4" y="1360"/>
                  </a:cubicBezTo>
                  <a:cubicBezTo>
                    <a:pt x="798" y="810"/>
                    <a:pt x="798" y="810"/>
                    <a:pt x="798" y="810"/>
                  </a:cubicBezTo>
                  <a:cubicBezTo>
                    <a:pt x="941" y="924"/>
                    <a:pt x="941" y="924"/>
                    <a:pt x="941" y="924"/>
                  </a:cubicBezTo>
                  <a:cubicBezTo>
                    <a:pt x="1000" y="972"/>
                    <a:pt x="1080" y="972"/>
                    <a:pt x="1139" y="924"/>
                  </a:cubicBezTo>
                  <a:close/>
                  <a:moveTo>
                    <a:pt x="2" y="137"/>
                  </a:moveTo>
                  <a:cubicBezTo>
                    <a:pt x="8" y="163"/>
                    <a:pt x="22" y="185"/>
                    <a:pt x="42" y="201"/>
                  </a:cubicBezTo>
                  <a:cubicBezTo>
                    <a:pt x="734" y="758"/>
                    <a:pt x="734" y="758"/>
                    <a:pt x="734" y="758"/>
                  </a:cubicBezTo>
                  <a:cubicBezTo>
                    <a:pt x="0" y="1266"/>
                    <a:pt x="0" y="1266"/>
                    <a:pt x="0" y="1266"/>
                  </a:cubicBezTo>
                  <a:cubicBezTo>
                    <a:pt x="0" y="135"/>
                    <a:pt x="0" y="135"/>
                    <a:pt x="0" y="135"/>
                  </a:cubicBezTo>
                  <a:lnTo>
                    <a:pt x="2" y="137"/>
                  </a:lnTo>
                  <a:close/>
                  <a:moveTo>
                    <a:pt x="2080" y="136"/>
                  </a:moveTo>
                  <a:cubicBezTo>
                    <a:pt x="2080" y="1265"/>
                    <a:pt x="2080" y="1265"/>
                    <a:pt x="2080" y="1265"/>
                  </a:cubicBezTo>
                  <a:cubicBezTo>
                    <a:pt x="1346" y="758"/>
                    <a:pt x="1346" y="758"/>
                    <a:pt x="1346" y="758"/>
                  </a:cubicBezTo>
                  <a:cubicBezTo>
                    <a:pt x="2038" y="201"/>
                    <a:pt x="2038" y="201"/>
                    <a:pt x="2038" y="201"/>
                  </a:cubicBezTo>
                  <a:cubicBezTo>
                    <a:pt x="2060" y="182"/>
                    <a:pt x="2072" y="162"/>
                    <a:pt x="2080" y="13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000"/>
            </a:p>
          </p:txBody>
        </p:sp>
      </p:grpSp>
      <p:cxnSp>
        <p:nvCxnSpPr>
          <p:cNvPr id="54" name="Straight Connector 53"/>
          <p:cNvCxnSpPr/>
          <p:nvPr/>
        </p:nvCxnSpPr>
        <p:spPr>
          <a:xfrm>
            <a:off x="7287766" y="5653422"/>
            <a:ext cx="3888000" cy="0"/>
          </a:xfrm>
          <a:prstGeom prst="line">
            <a:avLst/>
          </a:prstGeom>
          <a:ln w="6350">
            <a:solidFill>
              <a:schemeClr val="tx2"/>
            </a:solidFill>
            <a:prstDash val="dash"/>
          </a:ln>
        </p:spPr>
        <p:style>
          <a:lnRef idx="1">
            <a:schemeClr val="accent1"/>
          </a:lnRef>
          <a:fillRef idx="0">
            <a:schemeClr val="accent1"/>
          </a:fillRef>
          <a:effectRef idx="0">
            <a:schemeClr val="accent1"/>
          </a:effectRef>
          <a:fontRef idx="minor">
            <a:schemeClr val="tx1"/>
          </a:fontRef>
        </p:style>
      </p:cxnSp>
      <p:sp>
        <p:nvSpPr>
          <p:cNvPr id="55" name="Picture Placeholder 3"/>
          <p:cNvSpPr>
            <a:spLocks noGrp="1"/>
          </p:cNvSpPr>
          <p:nvPr>
            <p:ph type="pic" sz="quarter" idx="35" hasCustomPrompt="1"/>
          </p:nvPr>
        </p:nvSpPr>
        <p:spPr>
          <a:xfrm>
            <a:off x="7287766" y="3984193"/>
            <a:ext cx="1188677" cy="1547840"/>
          </a:xfrm>
          <a:solidFill>
            <a:srgbClr val="D9DADB"/>
          </a:solidFill>
        </p:spPr>
        <p:txBody>
          <a:bodyPr/>
          <a:lstStyle>
            <a:lvl1pPr marL="0" indent="0">
              <a:buNone/>
              <a:defRPr sz="1400"/>
            </a:lvl1pPr>
          </a:lstStyle>
          <a:p>
            <a:r>
              <a:rPr lang="en-US"/>
              <a:t>Insert picture</a:t>
            </a:r>
          </a:p>
        </p:txBody>
      </p:sp>
      <p:sp>
        <p:nvSpPr>
          <p:cNvPr id="56" name="Text Placeholder 5"/>
          <p:cNvSpPr>
            <a:spLocks noGrp="1"/>
          </p:cNvSpPr>
          <p:nvPr>
            <p:ph type="body" sz="quarter" idx="36" hasCustomPrompt="1"/>
          </p:nvPr>
        </p:nvSpPr>
        <p:spPr>
          <a:xfrm>
            <a:off x="8701917" y="3983730"/>
            <a:ext cx="2463190" cy="192360"/>
          </a:xfrm>
        </p:spPr>
        <p:txBody>
          <a:bodyPr lIns="0" tIns="0" rIns="0" bIns="0" anchor="ctr" anchorCtr="0"/>
          <a:lstStyle>
            <a:lvl1pPr marL="0" indent="0" algn="l">
              <a:lnSpc>
                <a:spcPct val="100000"/>
              </a:lnSpc>
              <a:buNone/>
              <a:defRPr sz="100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Country</a:t>
            </a:r>
          </a:p>
        </p:txBody>
      </p:sp>
      <p:sp>
        <p:nvSpPr>
          <p:cNvPr id="57" name="Text Placeholder 5"/>
          <p:cNvSpPr>
            <a:spLocks noGrp="1"/>
          </p:cNvSpPr>
          <p:nvPr>
            <p:ph type="body" sz="quarter" idx="37" hasCustomPrompt="1"/>
          </p:nvPr>
        </p:nvSpPr>
        <p:spPr>
          <a:xfrm>
            <a:off x="8701917" y="4195546"/>
            <a:ext cx="2463190" cy="266182"/>
          </a:xfrm>
        </p:spPr>
        <p:txBody>
          <a:bodyPr lIns="0" tIns="0" rIns="0" bIns="0" anchor="b" anchorCtr="0"/>
          <a:lstStyle>
            <a:lvl1pPr marL="0" indent="0" algn="l">
              <a:lnSpc>
                <a:spcPct val="100000"/>
              </a:lnSpc>
              <a:buNone/>
              <a:defRPr sz="1400" b="1" baseline="0">
                <a:solidFill>
                  <a:schemeClr val="tx2"/>
                </a:solidFill>
              </a:defRPr>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Name, Surname</a:t>
            </a:r>
          </a:p>
        </p:txBody>
      </p:sp>
      <p:sp>
        <p:nvSpPr>
          <p:cNvPr id="58" name="Text Placeholder 5"/>
          <p:cNvSpPr>
            <a:spLocks noGrp="1"/>
          </p:cNvSpPr>
          <p:nvPr>
            <p:ph type="body" sz="quarter" idx="38" hasCustomPrompt="1"/>
          </p:nvPr>
        </p:nvSpPr>
        <p:spPr>
          <a:xfrm>
            <a:off x="8701917" y="4492121"/>
            <a:ext cx="2463190"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Job Position</a:t>
            </a:r>
          </a:p>
        </p:txBody>
      </p:sp>
      <p:sp>
        <p:nvSpPr>
          <p:cNvPr id="59" name="Text Placeholder 5"/>
          <p:cNvSpPr>
            <a:spLocks noGrp="1"/>
          </p:cNvSpPr>
          <p:nvPr>
            <p:ph type="body" sz="quarter" idx="39" hasCustomPrompt="1"/>
          </p:nvPr>
        </p:nvSpPr>
        <p:spPr>
          <a:xfrm>
            <a:off x="8946800" y="5020797"/>
            <a:ext cx="2218307"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Phone number</a:t>
            </a:r>
          </a:p>
        </p:txBody>
      </p:sp>
      <p:sp>
        <p:nvSpPr>
          <p:cNvPr id="60" name="Text Placeholder 5"/>
          <p:cNvSpPr>
            <a:spLocks noGrp="1"/>
          </p:cNvSpPr>
          <p:nvPr>
            <p:ph type="body" sz="quarter" idx="40" hasCustomPrompt="1"/>
          </p:nvPr>
        </p:nvSpPr>
        <p:spPr>
          <a:xfrm>
            <a:off x="8946800" y="5303604"/>
            <a:ext cx="2218307"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Email address</a:t>
            </a:r>
          </a:p>
        </p:txBody>
      </p:sp>
    </p:spTree>
    <p:extLst>
      <p:ext uri="{BB962C8B-B14F-4D97-AF65-F5344CB8AC3E}">
        <p14:creationId xmlns:p14="http://schemas.microsoft.com/office/powerpoint/2010/main" val="1572555443"/>
      </p:ext>
    </p:extLst>
  </p:cSld>
  <p:clrMapOvr>
    <a:masterClrMapping/>
  </p:clrMapOvr>
</p:sldLayout>
</file>

<file path=ppt/slideLayouts/slideLayout411.xml><?xml version="1.0" encoding="utf-8"?>
<p:sldLayout xmlns:a="http://schemas.openxmlformats.org/drawingml/2006/main" xmlns:r="http://schemas.openxmlformats.org/officeDocument/2006/relationships" xmlns:p="http://schemas.openxmlformats.org/presentationml/2006/main" showMasterSp="0" preserve="1">
  <p:cSld name="End slide">
    <p:spTree>
      <p:nvGrpSpPr>
        <p:cNvPr id="1" name=""/>
        <p:cNvGrpSpPr/>
        <p:nvPr/>
      </p:nvGrpSpPr>
      <p:grpSpPr>
        <a:xfrm>
          <a:off x="0" y="0"/>
          <a:ext cx="0" cy="0"/>
          <a:chOff x="0" y="0"/>
          <a:chExt cx="0" cy="0"/>
        </a:xfrm>
      </p:grpSpPr>
      <p:pic>
        <p:nvPicPr>
          <p:cNvPr id="30" name="picture">
            <a:extLst>
              <a:ext uri="{FF2B5EF4-FFF2-40B4-BE49-F238E27FC236}">
                <a16:creationId xmlns:a16="http://schemas.microsoft.com/office/drawing/2014/main" id="{8BF907F5-A9CD-2740-AF54-6BACB62334AE}"/>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2620212" y="-8808"/>
            <a:ext cx="9697299" cy="6866807"/>
          </a:xfrm>
          <a:prstGeom prst="rect">
            <a:avLst/>
          </a:prstGeom>
        </p:spPr>
      </p:pic>
      <p:sp>
        <p:nvSpPr>
          <p:cNvPr id="29" name="shpPicture"/>
          <p:cNvSpPr/>
          <p:nvPr/>
        </p:nvSpPr>
        <p:spPr>
          <a:xfrm>
            <a:off x="0" y="0"/>
            <a:ext cx="4347306" cy="6858000"/>
          </a:xfrm>
          <a:custGeom>
            <a:avLst/>
            <a:gdLst>
              <a:gd name="connsiteX0" fmla="*/ 0 w 4347306"/>
              <a:gd name="connsiteY0" fmla="*/ 0 h 6858000"/>
              <a:gd name="connsiteX1" fmla="*/ 3252806 w 4347306"/>
              <a:gd name="connsiteY1" fmla="*/ 0 h 6858000"/>
              <a:gd name="connsiteX2" fmla="*/ 4347306 w 4347306"/>
              <a:gd name="connsiteY2" fmla="*/ 4140909 h 6858000"/>
              <a:gd name="connsiteX3" fmla="*/ 2943442 w 4347306"/>
              <a:gd name="connsiteY3" fmla="*/ 6858000 h 6858000"/>
              <a:gd name="connsiteX4" fmla="*/ 0 w 4347306"/>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47306" h="6858000">
                <a:moveTo>
                  <a:pt x="0" y="0"/>
                </a:moveTo>
                <a:lnTo>
                  <a:pt x="3252806" y="0"/>
                </a:lnTo>
                <a:lnTo>
                  <a:pt x="4347306" y="4140909"/>
                </a:lnTo>
                <a:lnTo>
                  <a:pt x="2943442"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US" sz="1600"/>
          </a:p>
        </p:txBody>
      </p:sp>
      <p:grpSp>
        <p:nvGrpSpPr>
          <p:cNvPr id="14" name="logo">
            <a:extLst>
              <a:ext uri="{FF2B5EF4-FFF2-40B4-BE49-F238E27FC236}">
                <a16:creationId xmlns:a16="http://schemas.microsoft.com/office/drawing/2014/main" id="{18C26D95-70F8-8A4D-9F18-DCCB92522AF8}"/>
              </a:ext>
            </a:extLst>
          </p:cNvPr>
          <p:cNvGrpSpPr/>
          <p:nvPr/>
        </p:nvGrpSpPr>
        <p:grpSpPr bwMode="gray">
          <a:xfrm>
            <a:off x="417363" y="407485"/>
            <a:ext cx="1518585" cy="646507"/>
            <a:chOff x="334963" y="296652"/>
            <a:chExt cx="1268411" cy="540000"/>
          </a:xfrm>
        </p:grpSpPr>
        <p:sp>
          <p:nvSpPr>
            <p:cNvPr id="17" name="Freeform 6">
              <a:extLst>
                <a:ext uri="{FF2B5EF4-FFF2-40B4-BE49-F238E27FC236}">
                  <a16:creationId xmlns:a16="http://schemas.microsoft.com/office/drawing/2014/main" id="{08737AD0-E375-E445-97E6-CD2E2DF60620}"/>
                </a:ext>
              </a:extLst>
            </p:cNvPr>
            <p:cNvSpPr>
              <a:spLocks noEditPoints="1"/>
            </p:cNvSpPr>
            <p:nvPr/>
          </p:nvSpPr>
          <p:spPr bwMode="gray">
            <a:xfrm>
              <a:off x="982662" y="360462"/>
              <a:ext cx="620712" cy="431800"/>
            </a:xfrm>
            <a:custGeom>
              <a:avLst/>
              <a:gdLst>
                <a:gd name="T0" fmla="*/ 19 w 1809"/>
                <a:gd name="T1" fmla="*/ 97 h 1253"/>
                <a:gd name="T2" fmla="*/ 165 w 1809"/>
                <a:gd name="T3" fmla="*/ 41 h 1253"/>
                <a:gd name="T4" fmla="*/ 211 w 1809"/>
                <a:gd name="T5" fmla="*/ 224 h 1253"/>
                <a:gd name="T6" fmla="*/ 248 w 1809"/>
                <a:gd name="T7" fmla="*/ 155 h 1253"/>
                <a:gd name="T8" fmla="*/ 931 w 1809"/>
                <a:gd name="T9" fmla="*/ 995 h 1253"/>
                <a:gd name="T10" fmla="*/ 858 w 1809"/>
                <a:gd name="T11" fmla="*/ 1115 h 1253"/>
                <a:gd name="T12" fmla="*/ 749 w 1809"/>
                <a:gd name="T13" fmla="*/ 1117 h 1253"/>
                <a:gd name="T14" fmla="*/ 681 w 1809"/>
                <a:gd name="T15" fmla="*/ 1055 h 1253"/>
                <a:gd name="T16" fmla="*/ 800 w 1809"/>
                <a:gd name="T17" fmla="*/ 1054 h 1253"/>
                <a:gd name="T18" fmla="*/ 884 w 1809"/>
                <a:gd name="T19" fmla="*/ 1181 h 1253"/>
                <a:gd name="T20" fmla="*/ 118 w 1809"/>
                <a:gd name="T21" fmla="*/ 1086 h 1253"/>
                <a:gd name="T22" fmla="*/ 147 w 1809"/>
                <a:gd name="T23" fmla="*/ 1026 h 1253"/>
                <a:gd name="T24" fmla="*/ 102 w 1809"/>
                <a:gd name="T25" fmla="*/ 1026 h 1253"/>
                <a:gd name="T26" fmla="*/ 639 w 1809"/>
                <a:gd name="T27" fmla="*/ 84 h 1253"/>
                <a:gd name="T28" fmla="*/ 763 w 1809"/>
                <a:gd name="T29" fmla="*/ 145 h 1253"/>
                <a:gd name="T30" fmla="*/ 863 w 1809"/>
                <a:gd name="T31" fmla="*/ 221 h 1253"/>
                <a:gd name="T32" fmla="*/ 834 w 1809"/>
                <a:gd name="T33" fmla="*/ 208 h 1253"/>
                <a:gd name="T34" fmla="*/ 719 w 1809"/>
                <a:gd name="T35" fmla="*/ 182 h 1253"/>
                <a:gd name="T36" fmla="*/ 507 w 1809"/>
                <a:gd name="T37" fmla="*/ 711 h 1253"/>
                <a:gd name="T38" fmla="*/ 614 w 1809"/>
                <a:gd name="T39" fmla="*/ 706 h 1253"/>
                <a:gd name="T40" fmla="*/ 736 w 1809"/>
                <a:gd name="T41" fmla="*/ 730 h 1253"/>
                <a:gd name="T42" fmla="*/ 607 w 1809"/>
                <a:gd name="T43" fmla="*/ 539 h 1253"/>
                <a:gd name="T44" fmla="*/ 1505 w 1809"/>
                <a:gd name="T45" fmla="*/ 1136 h 1253"/>
                <a:gd name="T46" fmla="*/ 1613 w 1809"/>
                <a:gd name="T47" fmla="*/ 1002 h 1253"/>
                <a:gd name="T48" fmla="*/ 1472 w 1809"/>
                <a:gd name="T49" fmla="*/ 1164 h 1253"/>
                <a:gd name="T50" fmla="*/ 1525 w 1809"/>
                <a:gd name="T51" fmla="*/ 1142 h 1253"/>
                <a:gd name="T52" fmla="*/ 1556 w 1809"/>
                <a:gd name="T53" fmla="*/ 1172 h 1253"/>
                <a:gd name="T54" fmla="*/ 1387 w 1809"/>
                <a:gd name="T55" fmla="*/ 910 h 1253"/>
                <a:gd name="T56" fmla="*/ 1261 w 1809"/>
                <a:gd name="T57" fmla="*/ 1157 h 1253"/>
                <a:gd name="T58" fmla="*/ 1413 w 1809"/>
                <a:gd name="T59" fmla="*/ 934 h 1253"/>
                <a:gd name="T60" fmla="*/ 1378 w 1809"/>
                <a:gd name="T61" fmla="*/ 1052 h 1253"/>
                <a:gd name="T62" fmla="*/ 488 w 1809"/>
                <a:gd name="T63" fmla="*/ 85 h 1253"/>
                <a:gd name="T64" fmla="*/ 509 w 1809"/>
                <a:gd name="T65" fmla="*/ 112 h 1253"/>
                <a:gd name="T66" fmla="*/ 548 w 1809"/>
                <a:gd name="T67" fmla="*/ 1187 h 1253"/>
                <a:gd name="T68" fmla="*/ 472 w 1809"/>
                <a:gd name="T69" fmla="*/ 1122 h 1253"/>
                <a:gd name="T70" fmla="*/ 558 w 1809"/>
                <a:gd name="T71" fmla="*/ 1157 h 1253"/>
                <a:gd name="T72" fmla="*/ 287 w 1809"/>
                <a:gd name="T73" fmla="*/ 654 h 1253"/>
                <a:gd name="T74" fmla="*/ 416 w 1809"/>
                <a:gd name="T75" fmla="*/ 684 h 1253"/>
                <a:gd name="T76" fmla="*/ 1106 w 1809"/>
                <a:gd name="T77" fmla="*/ 147 h 1253"/>
                <a:gd name="T78" fmla="*/ 1229 w 1809"/>
                <a:gd name="T79" fmla="*/ 258 h 1253"/>
                <a:gd name="T80" fmla="*/ 1106 w 1809"/>
                <a:gd name="T81" fmla="*/ 96 h 1253"/>
                <a:gd name="T82" fmla="*/ 1219 w 1809"/>
                <a:gd name="T83" fmla="*/ 1077 h 1253"/>
                <a:gd name="T84" fmla="*/ 1214 w 1809"/>
                <a:gd name="T85" fmla="*/ 1157 h 1253"/>
                <a:gd name="T86" fmla="*/ 1150 w 1809"/>
                <a:gd name="T87" fmla="*/ 1092 h 1253"/>
                <a:gd name="T88" fmla="*/ 1139 w 1809"/>
                <a:gd name="T89" fmla="*/ 1070 h 1253"/>
                <a:gd name="T90" fmla="*/ 1659 w 1809"/>
                <a:gd name="T91" fmla="*/ 1031 h 1253"/>
                <a:gd name="T92" fmla="*/ 1714 w 1809"/>
                <a:gd name="T93" fmla="*/ 1155 h 1253"/>
                <a:gd name="T94" fmla="*/ 1760 w 1809"/>
                <a:gd name="T95" fmla="*/ 1030 h 1253"/>
                <a:gd name="T96" fmla="*/ 111 w 1809"/>
                <a:gd name="T97" fmla="*/ 569 h 1253"/>
                <a:gd name="T98" fmla="*/ 109 w 1809"/>
                <a:gd name="T99" fmla="*/ 460 h 1253"/>
                <a:gd name="T100" fmla="*/ 32 w 1809"/>
                <a:gd name="T101" fmla="*/ 704 h 1253"/>
                <a:gd name="T102" fmla="*/ 310 w 1809"/>
                <a:gd name="T103" fmla="*/ 1058 h 1253"/>
                <a:gd name="T104" fmla="*/ 431 w 1809"/>
                <a:gd name="T105" fmla="*/ 1044 h 1253"/>
                <a:gd name="T106" fmla="*/ 278 w 1809"/>
                <a:gd name="T107" fmla="*/ 1165 h 1253"/>
                <a:gd name="T108" fmla="*/ 261 w 1809"/>
                <a:gd name="T109" fmla="*/ 540 h 1253"/>
                <a:gd name="T110" fmla="*/ 150 w 1809"/>
                <a:gd name="T111" fmla="*/ 635 h 1253"/>
                <a:gd name="T112" fmla="*/ 994 w 1809"/>
                <a:gd name="T113" fmla="*/ 1185 h 1253"/>
                <a:gd name="T114" fmla="*/ 331 w 1809"/>
                <a:gd name="T115" fmla="*/ 176 h 1253"/>
                <a:gd name="T116" fmla="*/ 333 w 1809"/>
                <a:gd name="T117" fmla="*/ 109 h 1253"/>
                <a:gd name="T118" fmla="*/ 946 w 1809"/>
                <a:gd name="T119" fmla="*/ 234 h 1253"/>
                <a:gd name="T120" fmla="*/ 1022 w 1809"/>
                <a:gd name="T121" fmla="*/ 113 h 1253"/>
                <a:gd name="T122" fmla="*/ 949 w 1809"/>
                <a:gd name="T123" fmla="*/ 65 h 1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09" h="1253">
                  <a:moveTo>
                    <a:pt x="248" y="198"/>
                  </a:moveTo>
                  <a:cubicBezTo>
                    <a:pt x="248" y="211"/>
                    <a:pt x="248" y="224"/>
                    <a:pt x="249" y="237"/>
                  </a:cubicBezTo>
                  <a:cubicBezTo>
                    <a:pt x="249" y="245"/>
                    <a:pt x="246" y="249"/>
                    <a:pt x="240" y="253"/>
                  </a:cubicBezTo>
                  <a:cubicBezTo>
                    <a:pt x="231" y="260"/>
                    <a:pt x="220" y="264"/>
                    <a:pt x="209" y="268"/>
                  </a:cubicBezTo>
                  <a:cubicBezTo>
                    <a:pt x="179" y="279"/>
                    <a:pt x="148" y="280"/>
                    <a:pt x="118" y="275"/>
                  </a:cubicBezTo>
                  <a:cubicBezTo>
                    <a:pt x="86" y="269"/>
                    <a:pt x="58" y="252"/>
                    <a:pt x="39" y="224"/>
                  </a:cubicBezTo>
                  <a:cubicBezTo>
                    <a:pt x="24" y="203"/>
                    <a:pt x="18" y="180"/>
                    <a:pt x="15" y="155"/>
                  </a:cubicBezTo>
                  <a:cubicBezTo>
                    <a:pt x="11" y="135"/>
                    <a:pt x="15" y="115"/>
                    <a:pt x="19" y="97"/>
                  </a:cubicBezTo>
                  <a:cubicBezTo>
                    <a:pt x="26" y="68"/>
                    <a:pt x="42" y="44"/>
                    <a:pt x="68" y="27"/>
                  </a:cubicBezTo>
                  <a:cubicBezTo>
                    <a:pt x="87" y="14"/>
                    <a:pt x="109" y="6"/>
                    <a:pt x="133" y="5"/>
                  </a:cubicBezTo>
                  <a:cubicBezTo>
                    <a:pt x="149" y="4"/>
                    <a:pt x="165" y="5"/>
                    <a:pt x="181" y="6"/>
                  </a:cubicBezTo>
                  <a:cubicBezTo>
                    <a:pt x="204" y="8"/>
                    <a:pt x="225" y="20"/>
                    <a:pt x="243" y="35"/>
                  </a:cubicBezTo>
                  <a:cubicBezTo>
                    <a:pt x="246" y="37"/>
                    <a:pt x="246" y="40"/>
                    <a:pt x="244" y="43"/>
                  </a:cubicBezTo>
                  <a:cubicBezTo>
                    <a:pt x="242" y="47"/>
                    <a:pt x="239" y="52"/>
                    <a:pt x="236" y="55"/>
                  </a:cubicBezTo>
                  <a:cubicBezTo>
                    <a:pt x="226" y="65"/>
                    <a:pt x="224" y="65"/>
                    <a:pt x="206" y="54"/>
                  </a:cubicBezTo>
                  <a:cubicBezTo>
                    <a:pt x="193" y="46"/>
                    <a:pt x="180" y="40"/>
                    <a:pt x="165" y="41"/>
                  </a:cubicBezTo>
                  <a:cubicBezTo>
                    <a:pt x="151" y="41"/>
                    <a:pt x="137" y="39"/>
                    <a:pt x="124" y="42"/>
                  </a:cubicBezTo>
                  <a:cubicBezTo>
                    <a:pt x="104" y="46"/>
                    <a:pt x="87" y="57"/>
                    <a:pt x="75" y="74"/>
                  </a:cubicBezTo>
                  <a:cubicBezTo>
                    <a:pt x="56" y="99"/>
                    <a:pt x="51" y="129"/>
                    <a:pt x="55" y="159"/>
                  </a:cubicBezTo>
                  <a:cubicBezTo>
                    <a:pt x="60" y="189"/>
                    <a:pt x="73" y="214"/>
                    <a:pt x="98" y="230"/>
                  </a:cubicBezTo>
                  <a:cubicBezTo>
                    <a:pt x="109" y="237"/>
                    <a:pt x="121" y="242"/>
                    <a:pt x="135" y="241"/>
                  </a:cubicBezTo>
                  <a:cubicBezTo>
                    <a:pt x="146" y="241"/>
                    <a:pt x="158" y="241"/>
                    <a:pt x="169" y="241"/>
                  </a:cubicBezTo>
                  <a:cubicBezTo>
                    <a:pt x="182" y="242"/>
                    <a:pt x="193" y="235"/>
                    <a:pt x="205" y="232"/>
                  </a:cubicBezTo>
                  <a:cubicBezTo>
                    <a:pt x="210" y="231"/>
                    <a:pt x="211" y="227"/>
                    <a:pt x="211" y="224"/>
                  </a:cubicBezTo>
                  <a:cubicBezTo>
                    <a:pt x="211" y="210"/>
                    <a:pt x="211" y="196"/>
                    <a:pt x="211" y="183"/>
                  </a:cubicBezTo>
                  <a:cubicBezTo>
                    <a:pt x="211" y="177"/>
                    <a:pt x="207" y="175"/>
                    <a:pt x="202" y="175"/>
                  </a:cubicBezTo>
                  <a:cubicBezTo>
                    <a:pt x="193" y="175"/>
                    <a:pt x="184" y="175"/>
                    <a:pt x="175" y="175"/>
                  </a:cubicBezTo>
                  <a:cubicBezTo>
                    <a:pt x="171" y="175"/>
                    <a:pt x="168" y="174"/>
                    <a:pt x="166" y="171"/>
                  </a:cubicBezTo>
                  <a:cubicBezTo>
                    <a:pt x="163" y="163"/>
                    <a:pt x="164" y="154"/>
                    <a:pt x="166" y="146"/>
                  </a:cubicBezTo>
                  <a:cubicBezTo>
                    <a:pt x="167" y="142"/>
                    <a:pt x="171" y="142"/>
                    <a:pt x="175" y="142"/>
                  </a:cubicBezTo>
                  <a:cubicBezTo>
                    <a:pt x="196" y="142"/>
                    <a:pt x="217" y="142"/>
                    <a:pt x="238" y="142"/>
                  </a:cubicBezTo>
                  <a:cubicBezTo>
                    <a:pt x="247" y="142"/>
                    <a:pt x="248" y="148"/>
                    <a:pt x="248" y="155"/>
                  </a:cubicBezTo>
                  <a:cubicBezTo>
                    <a:pt x="249" y="169"/>
                    <a:pt x="248" y="183"/>
                    <a:pt x="248" y="198"/>
                  </a:cubicBezTo>
                  <a:close/>
                  <a:moveTo>
                    <a:pt x="884" y="1181"/>
                  </a:moveTo>
                  <a:cubicBezTo>
                    <a:pt x="889" y="1167"/>
                    <a:pt x="894" y="1152"/>
                    <a:pt x="898" y="1137"/>
                  </a:cubicBezTo>
                  <a:cubicBezTo>
                    <a:pt x="901" y="1127"/>
                    <a:pt x="905" y="1116"/>
                    <a:pt x="908" y="1106"/>
                  </a:cubicBezTo>
                  <a:cubicBezTo>
                    <a:pt x="911" y="1098"/>
                    <a:pt x="912" y="1089"/>
                    <a:pt x="916" y="1081"/>
                  </a:cubicBezTo>
                  <a:cubicBezTo>
                    <a:pt x="921" y="1072"/>
                    <a:pt x="923" y="1060"/>
                    <a:pt x="927" y="1050"/>
                  </a:cubicBezTo>
                  <a:cubicBezTo>
                    <a:pt x="932" y="1037"/>
                    <a:pt x="934" y="1023"/>
                    <a:pt x="940" y="1010"/>
                  </a:cubicBezTo>
                  <a:cubicBezTo>
                    <a:pt x="945" y="1001"/>
                    <a:pt x="941" y="995"/>
                    <a:pt x="931" y="995"/>
                  </a:cubicBezTo>
                  <a:cubicBezTo>
                    <a:pt x="927" y="995"/>
                    <a:pt x="922" y="995"/>
                    <a:pt x="918" y="995"/>
                  </a:cubicBezTo>
                  <a:cubicBezTo>
                    <a:pt x="913" y="995"/>
                    <a:pt x="908" y="997"/>
                    <a:pt x="907" y="1001"/>
                  </a:cubicBezTo>
                  <a:cubicBezTo>
                    <a:pt x="904" y="1008"/>
                    <a:pt x="900" y="1015"/>
                    <a:pt x="899" y="1023"/>
                  </a:cubicBezTo>
                  <a:cubicBezTo>
                    <a:pt x="897" y="1034"/>
                    <a:pt x="893" y="1045"/>
                    <a:pt x="889" y="1055"/>
                  </a:cubicBezTo>
                  <a:cubicBezTo>
                    <a:pt x="887" y="1064"/>
                    <a:pt x="885" y="1072"/>
                    <a:pt x="882" y="1080"/>
                  </a:cubicBezTo>
                  <a:cubicBezTo>
                    <a:pt x="878" y="1091"/>
                    <a:pt x="874" y="1103"/>
                    <a:pt x="871" y="1115"/>
                  </a:cubicBezTo>
                  <a:cubicBezTo>
                    <a:pt x="870" y="1118"/>
                    <a:pt x="871" y="1124"/>
                    <a:pt x="866" y="1124"/>
                  </a:cubicBezTo>
                  <a:cubicBezTo>
                    <a:pt x="861" y="1125"/>
                    <a:pt x="859" y="1120"/>
                    <a:pt x="858" y="1115"/>
                  </a:cubicBezTo>
                  <a:cubicBezTo>
                    <a:pt x="856" y="1110"/>
                    <a:pt x="856" y="1104"/>
                    <a:pt x="854" y="1099"/>
                  </a:cubicBezTo>
                  <a:cubicBezTo>
                    <a:pt x="848" y="1080"/>
                    <a:pt x="841" y="1062"/>
                    <a:pt x="835" y="1044"/>
                  </a:cubicBezTo>
                  <a:cubicBezTo>
                    <a:pt x="831" y="1030"/>
                    <a:pt x="828" y="1016"/>
                    <a:pt x="822" y="1003"/>
                  </a:cubicBezTo>
                  <a:cubicBezTo>
                    <a:pt x="819" y="997"/>
                    <a:pt x="814" y="994"/>
                    <a:pt x="808" y="994"/>
                  </a:cubicBezTo>
                  <a:cubicBezTo>
                    <a:pt x="799" y="993"/>
                    <a:pt x="791" y="993"/>
                    <a:pt x="787" y="1001"/>
                  </a:cubicBezTo>
                  <a:cubicBezTo>
                    <a:pt x="783" y="1008"/>
                    <a:pt x="780" y="1015"/>
                    <a:pt x="779" y="1022"/>
                  </a:cubicBezTo>
                  <a:cubicBezTo>
                    <a:pt x="778" y="1034"/>
                    <a:pt x="772" y="1044"/>
                    <a:pt x="769" y="1055"/>
                  </a:cubicBezTo>
                  <a:cubicBezTo>
                    <a:pt x="762" y="1076"/>
                    <a:pt x="754" y="1096"/>
                    <a:pt x="749" y="1117"/>
                  </a:cubicBezTo>
                  <a:cubicBezTo>
                    <a:pt x="748" y="1120"/>
                    <a:pt x="747" y="1124"/>
                    <a:pt x="742" y="1124"/>
                  </a:cubicBezTo>
                  <a:cubicBezTo>
                    <a:pt x="737" y="1124"/>
                    <a:pt x="737" y="1120"/>
                    <a:pt x="736" y="1116"/>
                  </a:cubicBezTo>
                  <a:cubicBezTo>
                    <a:pt x="734" y="1104"/>
                    <a:pt x="730" y="1092"/>
                    <a:pt x="726" y="1080"/>
                  </a:cubicBezTo>
                  <a:cubicBezTo>
                    <a:pt x="720" y="1061"/>
                    <a:pt x="714" y="1040"/>
                    <a:pt x="708" y="1020"/>
                  </a:cubicBezTo>
                  <a:cubicBezTo>
                    <a:pt x="703" y="1000"/>
                    <a:pt x="698" y="994"/>
                    <a:pt x="676" y="995"/>
                  </a:cubicBezTo>
                  <a:cubicBezTo>
                    <a:pt x="665" y="996"/>
                    <a:pt x="661" y="1001"/>
                    <a:pt x="667" y="1011"/>
                  </a:cubicBezTo>
                  <a:cubicBezTo>
                    <a:pt x="669" y="1016"/>
                    <a:pt x="670" y="1021"/>
                    <a:pt x="672" y="1025"/>
                  </a:cubicBezTo>
                  <a:cubicBezTo>
                    <a:pt x="675" y="1035"/>
                    <a:pt x="678" y="1046"/>
                    <a:pt x="681" y="1055"/>
                  </a:cubicBezTo>
                  <a:cubicBezTo>
                    <a:pt x="685" y="1068"/>
                    <a:pt x="689" y="1080"/>
                    <a:pt x="693" y="1092"/>
                  </a:cubicBezTo>
                  <a:cubicBezTo>
                    <a:pt x="697" y="1103"/>
                    <a:pt x="699" y="1113"/>
                    <a:pt x="703" y="1124"/>
                  </a:cubicBezTo>
                  <a:cubicBezTo>
                    <a:pt x="707" y="1136"/>
                    <a:pt x="711" y="1147"/>
                    <a:pt x="715" y="1160"/>
                  </a:cubicBezTo>
                  <a:cubicBezTo>
                    <a:pt x="717" y="1168"/>
                    <a:pt x="720" y="1176"/>
                    <a:pt x="724" y="1183"/>
                  </a:cubicBezTo>
                  <a:cubicBezTo>
                    <a:pt x="728" y="1189"/>
                    <a:pt x="752" y="1185"/>
                    <a:pt x="757" y="1180"/>
                  </a:cubicBezTo>
                  <a:cubicBezTo>
                    <a:pt x="764" y="1173"/>
                    <a:pt x="762" y="1163"/>
                    <a:pt x="766" y="1156"/>
                  </a:cubicBezTo>
                  <a:cubicBezTo>
                    <a:pt x="774" y="1140"/>
                    <a:pt x="778" y="1122"/>
                    <a:pt x="784" y="1105"/>
                  </a:cubicBezTo>
                  <a:cubicBezTo>
                    <a:pt x="789" y="1088"/>
                    <a:pt x="796" y="1072"/>
                    <a:pt x="800" y="1054"/>
                  </a:cubicBezTo>
                  <a:cubicBezTo>
                    <a:pt x="800" y="1053"/>
                    <a:pt x="801" y="1050"/>
                    <a:pt x="803" y="1050"/>
                  </a:cubicBezTo>
                  <a:cubicBezTo>
                    <a:pt x="806" y="1050"/>
                    <a:pt x="806" y="1052"/>
                    <a:pt x="807" y="1055"/>
                  </a:cubicBezTo>
                  <a:cubicBezTo>
                    <a:pt x="807" y="1060"/>
                    <a:pt x="810" y="1066"/>
                    <a:pt x="811" y="1071"/>
                  </a:cubicBezTo>
                  <a:cubicBezTo>
                    <a:pt x="814" y="1081"/>
                    <a:pt x="818" y="1090"/>
                    <a:pt x="821" y="1099"/>
                  </a:cubicBezTo>
                  <a:cubicBezTo>
                    <a:pt x="824" y="1110"/>
                    <a:pt x="827" y="1120"/>
                    <a:pt x="831" y="1131"/>
                  </a:cubicBezTo>
                  <a:cubicBezTo>
                    <a:pt x="834" y="1142"/>
                    <a:pt x="839" y="1153"/>
                    <a:pt x="842" y="1164"/>
                  </a:cubicBezTo>
                  <a:cubicBezTo>
                    <a:pt x="846" y="1179"/>
                    <a:pt x="850" y="1188"/>
                    <a:pt x="869" y="1185"/>
                  </a:cubicBezTo>
                  <a:cubicBezTo>
                    <a:pt x="873" y="1184"/>
                    <a:pt x="881" y="1189"/>
                    <a:pt x="884" y="1181"/>
                  </a:cubicBezTo>
                  <a:close/>
                  <a:moveTo>
                    <a:pt x="33" y="1051"/>
                  </a:moveTo>
                  <a:cubicBezTo>
                    <a:pt x="33" y="1087"/>
                    <a:pt x="33" y="1124"/>
                    <a:pt x="33" y="1160"/>
                  </a:cubicBezTo>
                  <a:cubicBezTo>
                    <a:pt x="33" y="1188"/>
                    <a:pt x="29" y="1184"/>
                    <a:pt x="58" y="1185"/>
                  </a:cubicBezTo>
                  <a:cubicBezTo>
                    <a:pt x="72" y="1185"/>
                    <a:pt x="73" y="1184"/>
                    <a:pt x="73" y="1170"/>
                  </a:cubicBezTo>
                  <a:cubicBezTo>
                    <a:pt x="73" y="1138"/>
                    <a:pt x="73" y="1107"/>
                    <a:pt x="73" y="1076"/>
                  </a:cubicBezTo>
                  <a:cubicBezTo>
                    <a:pt x="73" y="1071"/>
                    <a:pt x="72" y="1067"/>
                    <a:pt x="78" y="1065"/>
                  </a:cubicBezTo>
                  <a:cubicBezTo>
                    <a:pt x="91" y="1062"/>
                    <a:pt x="102" y="1067"/>
                    <a:pt x="110" y="1076"/>
                  </a:cubicBezTo>
                  <a:cubicBezTo>
                    <a:pt x="112" y="1080"/>
                    <a:pt x="115" y="1083"/>
                    <a:pt x="118" y="1086"/>
                  </a:cubicBezTo>
                  <a:cubicBezTo>
                    <a:pt x="132" y="1103"/>
                    <a:pt x="146" y="1119"/>
                    <a:pt x="161" y="1136"/>
                  </a:cubicBezTo>
                  <a:cubicBezTo>
                    <a:pt x="173" y="1150"/>
                    <a:pt x="186" y="1165"/>
                    <a:pt x="198" y="1179"/>
                  </a:cubicBezTo>
                  <a:cubicBezTo>
                    <a:pt x="207" y="1188"/>
                    <a:pt x="218" y="1184"/>
                    <a:pt x="228" y="1185"/>
                  </a:cubicBezTo>
                  <a:cubicBezTo>
                    <a:pt x="233" y="1185"/>
                    <a:pt x="241" y="1188"/>
                    <a:pt x="244" y="1182"/>
                  </a:cubicBezTo>
                  <a:cubicBezTo>
                    <a:pt x="246" y="1178"/>
                    <a:pt x="239" y="1173"/>
                    <a:pt x="235" y="1169"/>
                  </a:cubicBezTo>
                  <a:cubicBezTo>
                    <a:pt x="206" y="1133"/>
                    <a:pt x="176" y="1098"/>
                    <a:pt x="146" y="1062"/>
                  </a:cubicBezTo>
                  <a:cubicBezTo>
                    <a:pt x="141" y="1056"/>
                    <a:pt x="131" y="1052"/>
                    <a:pt x="132" y="1044"/>
                  </a:cubicBezTo>
                  <a:cubicBezTo>
                    <a:pt x="132" y="1036"/>
                    <a:pt x="142" y="1032"/>
                    <a:pt x="147" y="1026"/>
                  </a:cubicBezTo>
                  <a:cubicBezTo>
                    <a:pt x="164" y="1006"/>
                    <a:pt x="182" y="988"/>
                    <a:pt x="198" y="968"/>
                  </a:cubicBezTo>
                  <a:cubicBezTo>
                    <a:pt x="209" y="954"/>
                    <a:pt x="221" y="942"/>
                    <a:pt x="234" y="929"/>
                  </a:cubicBezTo>
                  <a:cubicBezTo>
                    <a:pt x="236" y="926"/>
                    <a:pt x="238" y="923"/>
                    <a:pt x="237" y="920"/>
                  </a:cubicBezTo>
                  <a:cubicBezTo>
                    <a:pt x="235" y="915"/>
                    <a:pt x="231" y="917"/>
                    <a:pt x="228" y="917"/>
                  </a:cubicBezTo>
                  <a:cubicBezTo>
                    <a:pt x="224" y="918"/>
                    <a:pt x="221" y="918"/>
                    <a:pt x="217" y="918"/>
                  </a:cubicBezTo>
                  <a:cubicBezTo>
                    <a:pt x="204" y="917"/>
                    <a:pt x="193" y="922"/>
                    <a:pt x="185" y="931"/>
                  </a:cubicBezTo>
                  <a:cubicBezTo>
                    <a:pt x="172" y="946"/>
                    <a:pt x="158" y="961"/>
                    <a:pt x="145" y="977"/>
                  </a:cubicBezTo>
                  <a:cubicBezTo>
                    <a:pt x="131" y="993"/>
                    <a:pt x="117" y="1010"/>
                    <a:pt x="102" y="1026"/>
                  </a:cubicBezTo>
                  <a:cubicBezTo>
                    <a:pt x="96" y="1032"/>
                    <a:pt x="87" y="1037"/>
                    <a:pt x="78" y="1034"/>
                  </a:cubicBezTo>
                  <a:cubicBezTo>
                    <a:pt x="70" y="1030"/>
                    <a:pt x="73" y="1021"/>
                    <a:pt x="73" y="1015"/>
                  </a:cubicBezTo>
                  <a:cubicBezTo>
                    <a:pt x="73" y="991"/>
                    <a:pt x="73" y="967"/>
                    <a:pt x="73" y="944"/>
                  </a:cubicBezTo>
                  <a:cubicBezTo>
                    <a:pt x="73" y="916"/>
                    <a:pt x="75" y="917"/>
                    <a:pt x="46" y="918"/>
                  </a:cubicBezTo>
                  <a:cubicBezTo>
                    <a:pt x="33" y="918"/>
                    <a:pt x="33" y="918"/>
                    <a:pt x="33" y="931"/>
                  </a:cubicBezTo>
                  <a:cubicBezTo>
                    <a:pt x="33" y="971"/>
                    <a:pt x="33" y="1011"/>
                    <a:pt x="33" y="1051"/>
                  </a:cubicBezTo>
                  <a:cubicBezTo>
                    <a:pt x="33" y="1051"/>
                    <a:pt x="33" y="1051"/>
                    <a:pt x="33" y="1051"/>
                  </a:cubicBezTo>
                  <a:close/>
                  <a:moveTo>
                    <a:pt x="639" y="84"/>
                  </a:moveTo>
                  <a:cubicBezTo>
                    <a:pt x="627" y="84"/>
                    <a:pt x="626" y="84"/>
                    <a:pt x="629" y="95"/>
                  </a:cubicBezTo>
                  <a:cubicBezTo>
                    <a:pt x="634" y="113"/>
                    <a:pt x="640" y="131"/>
                    <a:pt x="646" y="148"/>
                  </a:cubicBezTo>
                  <a:cubicBezTo>
                    <a:pt x="652" y="166"/>
                    <a:pt x="658" y="185"/>
                    <a:pt x="664" y="203"/>
                  </a:cubicBezTo>
                  <a:cubicBezTo>
                    <a:pt x="671" y="223"/>
                    <a:pt x="676" y="244"/>
                    <a:pt x="684" y="264"/>
                  </a:cubicBezTo>
                  <a:cubicBezTo>
                    <a:pt x="688" y="274"/>
                    <a:pt x="694" y="274"/>
                    <a:pt x="702" y="274"/>
                  </a:cubicBezTo>
                  <a:cubicBezTo>
                    <a:pt x="711" y="274"/>
                    <a:pt x="719" y="272"/>
                    <a:pt x="723" y="263"/>
                  </a:cubicBezTo>
                  <a:cubicBezTo>
                    <a:pt x="733" y="236"/>
                    <a:pt x="741" y="208"/>
                    <a:pt x="750" y="181"/>
                  </a:cubicBezTo>
                  <a:cubicBezTo>
                    <a:pt x="754" y="169"/>
                    <a:pt x="757" y="156"/>
                    <a:pt x="763" y="145"/>
                  </a:cubicBezTo>
                  <a:cubicBezTo>
                    <a:pt x="764" y="143"/>
                    <a:pt x="764" y="140"/>
                    <a:pt x="767" y="140"/>
                  </a:cubicBezTo>
                  <a:cubicBezTo>
                    <a:pt x="770" y="140"/>
                    <a:pt x="770" y="143"/>
                    <a:pt x="771" y="145"/>
                  </a:cubicBezTo>
                  <a:cubicBezTo>
                    <a:pt x="771" y="156"/>
                    <a:pt x="777" y="165"/>
                    <a:pt x="780" y="175"/>
                  </a:cubicBezTo>
                  <a:cubicBezTo>
                    <a:pt x="782" y="184"/>
                    <a:pt x="785" y="193"/>
                    <a:pt x="788" y="201"/>
                  </a:cubicBezTo>
                  <a:cubicBezTo>
                    <a:pt x="794" y="219"/>
                    <a:pt x="801" y="237"/>
                    <a:pt x="806" y="255"/>
                  </a:cubicBezTo>
                  <a:cubicBezTo>
                    <a:pt x="811" y="272"/>
                    <a:pt x="825" y="280"/>
                    <a:pt x="842" y="273"/>
                  </a:cubicBezTo>
                  <a:cubicBezTo>
                    <a:pt x="845" y="271"/>
                    <a:pt x="847" y="269"/>
                    <a:pt x="848" y="266"/>
                  </a:cubicBezTo>
                  <a:cubicBezTo>
                    <a:pt x="853" y="251"/>
                    <a:pt x="859" y="236"/>
                    <a:pt x="863" y="221"/>
                  </a:cubicBezTo>
                  <a:cubicBezTo>
                    <a:pt x="867" y="202"/>
                    <a:pt x="875" y="185"/>
                    <a:pt x="880" y="166"/>
                  </a:cubicBezTo>
                  <a:cubicBezTo>
                    <a:pt x="886" y="144"/>
                    <a:pt x="895" y="123"/>
                    <a:pt x="900" y="101"/>
                  </a:cubicBezTo>
                  <a:cubicBezTo>
                    <a:pt x="901" y="96"/>
                    <a:pt x="909" y="91"/>
                    <a:pt x="904" y="86"/>
                  </a:cubicBezTo>
                  <a:cubicBezTo>
                    <a:pt x="900" y="81"/>
                    <a:pt x="892" y="84"/>
                    <a:pt x="886" y="84"/>
                  </a:cubicBezTo>
                  <a:cubicBezTo>
                    <a:pt x="885" y="84"/>
                    <a:pt x="883" y="84"/>
                    <a:pt x="881" y="84"/>
                  </a:cubicBezTo>
                  <a:cubicBezTo>
                    <a:pt x="875" y="84"/>
                    <a:pt x="872" y="86"/>
                    <a:pt x="869" y="91"/>
                  </a:cubicBezTo>
                  <a:cubicBezTo>
                    <a:pt x="860" y="110"/>
                    <a:pt x="856" y="131"/>
                    <a:pt x="850" y="151"/>
                  </a:cubicBezTo>
                  <a:cubicBezTo>
                    <a:pt x="844" y="170"/>
                    <a:pt x="836" y="188"/>
                    <a:pt x="834" y="208"/>
                  </a:cubicBezTo>
                  <a:cubicBezTo>
                    <a:pt x="833" y="211"/>
                    <a:pt x="831" y="214"/>
                    <a:pt x="827" y="214"/>
                  </a:cubicBezTo>
                  <a:cubicBezTo>
                    <a:pt x="823" y="214"/>
                    <a:pt x="822" y="210"/>
                    <a:pt x="822" y="207"/>
                  </a:cubicBezTo>
                  <a:cubicBezTo>
                    <a:pt x="817" y="188"/>
                    <a:pt x="811" y="170"/>
                    <a:pt x="805" y="152"/>
                  </a:cubicBezTo>
                  <a:cubicBezTo>
                    <a:pt x="799" y="133"/>
                    <a:pt x="794" y="114"/>
                    <a:pt x="786" y="96"/>
                  </a:cubicBezTo>
                  <a:cubicBezTo>
                    <a:pt x="783" y="87"/>
                    <a:pt x="779" y="84"/>
                    <a:pt x="770" y="84"/>
                  </a:cubicBezTo>
                  <a:cubicBezTo>
                    <a:pt x="761" y="84"/>
                    <a:pt x="752" y="82"/>
                    <a:pt x="748" y="94"/>
                  </a:cubicBezTo>
                  <a:cubicBezTo>
                    <a:pt x="744" y="109"/>
                    <a:pt x="738" y="123"/>
                    <a:pt x="734" y="138"/>
                  </a:cubicBezTo>
                  <a:cubicBezTo>
                    <a:pt x="729" y="153"/>
                    <a:pt x="724" y="167"/>
                    <a:pt x="719" y="182"/>
                  </a:cubicBezTo>
                  <a:cubicBezTo>
                    <a:pt x="716" y="192"/>
                    <a:pt x="715" y="203"/>
                    <a:pt x="708" y="212"/>
                  </a:cubicBezTo>
                  <a:cubicBezTo>
                    <a:pt x="707" y="214"/>
                    <a:pt x="707" y="217"/>
                    <a:pt x="704" y="217"/>
                  </a:cubicBezTo>
                  <a:cubicBezTo>
                    <a:pt x="701" y="217"/>
                    <a:pt x="701" y="213"/>
                    <a:pt x="700" y="211"/>
                  </a:cubicBezTo>
                  <a:cubicBezTo>
                    <a:pt x="699" y="198"/>
                    <a:pt x="694" y="186"/>
                    <a:pt x="690" y="174"/>
                  </a:cubicBezTo>
                  <a:cubicBezTo>
                    <a:pt x="684" y="153"/>
                    <a:pt x="677" y="131"/>
                    <a:pt x="672" y="110"/>
                  </a:cubicBezTo>
                  <a:cubicBezTo>
                    <a:pt x="667" y="88"/>
                    <a:pt x="663" y="84"/>
                    <a:pt x="645" y="84"/>
                  </a:cubicBezTo>
                  <a:cubicBezTo>
                    <a:pt x="643" y="84"/>
                    <a:pt x="641" y="84"/>
                    <a:pt x="639" y="84"/>
                  </a:cubicBezTo>
                  <a:close/>
                  <a:moveTo>
                    <a:pt x="507" y="711"/>
                  </a:moveTo>
                  <a:cubicBezTo>
                    <a:pt x="507" y="730"/>
                    <a:pt x="507" y="730"/>
                    <a:pt x="526" y="730"/>
                  </a:cubicBezTo>
                  <a:cubicBezTo>
                    <a:pt x="539" y="730"/>
                    <a:pt x="541" y="729"/>
                    <a:pt x="541" y="715"/>
                  </a:cubicBezTo>
                  <a:cubicBezTo>
                    <a:pt x="541" y="677"/>
                    <a:pt x="541" y="638"/>
                    <a:pt x="540" y="600"/>
                  </a:cubicBezTo>
                  <a:cubicBezTo>
                    <a:pt x="540" y="593"/>
                    <a:pt x="543" y="587"/>
                    <a:pt x="548" y="582"/>
                  </a:cubicBezTo>
                  <a:cubicBezTo>
                    <a:pt x="553" y="576"/>
                    <a:pt x="559" y="573"/>
                    <a:pt x="564" y="569"/>
                  </a:cubicBezTo>
                  <a:cubicBezTo>
                    <a:pt x="574" y="564"/>
                    <a:pt x="594" y="566"/>
                    <a:pt x="602" y="574"/>
                  </a:cubicBezTo>
                  <a:cubicBezTo>
                    <a:pt x="611" y="582"/>
                    <a:pt x="614" y="592"/>
                    <a:pt x="614" y="604"/>
                  </a:cubicBezTo>
                  <a:cubicBezTo>
                    <a:pt x="614" y="638"/>
                    <a:pt x="614" y="672"/>
                    <a:pt x="614" y="706"/>
                  </a:cubicBezTo>
                  <a:cubicBezTo>
                    <a:pt x="614" y="730"/>
                    <a:pt x="614" y="730"/>
                    <a:pt x="638" y="730"/>
                  </a:cubicBezTo>
                  <a:cubicBezTo>
                    <a:pt x="650" y="730"/>
                    <a:pt x="650" y="730"/>
                    <a:pt x="650" y="717"/>
                  </a:cubicBezTo>
                  <a:cubicBezTo>
                    <a:pt x="650" y="684"/>
                    <a:pt x="650" y="650"/>
                    <a:pt x="650" y="617"/>
                  </a:cubicBezTo>
                  <a:cubicBezTo>
                    <a:pt x="650" y="606"/>
                    <a:pt x="651" y="597"/>
                    <a:pt x="657" y="586"/>
                  </a:cubicBezTo>
                  <a:cubicBezTo>
                    <a:pt x="667" y="565"/>
                    <a:pt x="703" y="560"/>
                    <a:pt x="716" y="579"/>
                  </a:cubicBezTo>
                  <a:cubicBezTo>
                    <a:pt x="723" y="588"/>
                    <a:pt x="724" y="598"/>
                    <a:pt x="724" y="609"/>
                  </a:cubicBezTo>
                  <a:cubicBezTo>
                    <a:pt x="724" y="645"/>
                    <a:pt x="724" y="682"/>
                    <a:pt x="724" y="718"/>
                  </a:cubicBezTo>
                  <a:cubicBezTo>
                    <a:pt x="724" y="727"/>
                    <a:pt x="727" y="731"/>
                    <a:pt x="736" y="730"/>
                  </a:cubicBezTo>
                  <a:cubicBezTo>
                    <a:pt x="738" y="730"/>
                    <a:pt x="741" y="730"/>
                    <a:pt x="743" y="730"/>
                  </a:cubicBezTo>
                  <a:cubicBezTo>
                    <a:pt x="758" y="730"/>
                    <a:pt x="759" y="729"/>
                    <a:pt x="759" y="715"/>
                  </a:cubicBezTo>
                  <a:cubicBezTo>
                    <a:pt x="759" y="677"/>
                    <a:pt x="758" y="639"/>
                    <a:pt x="759" y="601"/>
                  </a:cubicBezTo>
                  <a:cubicBezTo>
                    <a:pt x="759" y="571"/>
                    <a:pt x="742" y="540"/>
                    <a:pt x="704" y="538"/>
                  </a:cubicBezTo>
                  <a:cubicBezTo>
                    <a:pt x="681" y="536"/>
                    <a:pt x="661" y="542"/>
                    <a:pt x="646" y="560"/>
                  </a:cubicBezTo>
                  <a:cubicBezTo>
                    <a:pt x="638" y="569"/>
                    <a:pt x="638" y="569"/>
                    <a:pt x="631" y="559"/>
                  </a:cubicBezTo>
                  <a:cubicBezTo>
                    <a:pt x="630" y="558"/>
                    <a:pt x="630" y="557"/>
                    <a:pt x="629" y="556"/>
                  </a:cubicBezTo>
                  <a:cubicBezTo>
                    <a:pt x="623" y="548"/>
                    <a:pt x="616" y="541"/>
                    <a:pt x="607" y="539"/>
                  </a:cubicBezTo>
                  <a:cubicBezTo>
                    <a:pt x="584" y="534"/>
                    <a:pt x="563" y="539"/>
                    <a:pt x="545" y="555"/>
                  </a:cubicBezTo>
                  <a:cubicBezTo>
                    <a:pt x="540" y="559"/>
                    <a:pt x="537" y="561"/>
                    <a:pt x="537" y="552"/>
                  </a:cubicBezTo>
                  <a:cubicBezTo>
                    <a:pt x="536" y="543"/>
                    <a:pt x="526" y="538"/>
                    <a:pt x="515" y="539"/>
                  </a:cubicBezTo>
                  <a:cubicBezTo>
                    <a:pt x="506" y="540"/>
                    <a:pt x="507" y="546"/>
                    <a:pt x="507" y="552"/>
                  </a:cubicBezTo>
                  <a:cubicBezTo>
                    <a:pt x="507" y="580"/>
                    <a:pt x="507" y="607"/>
                    <a:pt x="507" y="634"/>
                  </a:cubicBezTo>
                  <a:cubicBezTo>
                    <a:pt x="507" y="660"/>
                    <a:pt x="507" y="685"/>
                    <a:pt x="507" y="711"/>
                  </a:cubicBezTo>
                  <a:close/>
                  <a:moveTo>
                    <a:pt x="1525" y="1142"/>
                  </a:moveTo>
                  <a:cubicBezTo>
                    <a:pt x="1517" y="1143"/>
                    <a:pt x="1511" y="1141"/>
                    <a:pt x="1505" y="1136"/>
                  </a:cubicBezTo>
                  <a:cubicBezTo>
                    <a:pt x="1501" y="1133"/>
                    <a:pt x="1495" y="1130"/>
                    <a:pt x="1498" y="1124"/>
                  </a:cubicBezTo>
                  <a:cubicBezTo>
                    <a:pt x="1500" y="1118"/>
                    <a:pt x="1504" y="1114"/>
                    <a:pt x="1512" y="1114"/>
                  </a:cubicBezTo>
                  <a:cubicBezTo>
                    <a:pt x="1521" y="1115"/>
                    <a:pt x="1530" y="1114"/>
                    <a:pt x="1538" y="1115"/>
                  </a:cubicBezTo>
                  <a:cubicBezTo>
                    <a:pt x="1573" y="1117"/>
                    <a:pt x="1610" y="1084"/>
                    <a:pt x="1602" y="1044"/>
                  </a:cubicBezTo>
                  <a:cubicBezTo>
                    <a:pt x="1600" y="1035"/>
                    <a:pt x="1599" y="1028"/>
                    <a:pt x="1611" y="1027"/>
                  </a:cubicBezTo>
                  <a:cubicBezTo>
                    <a:pt x="1614" y="1027"/>
                    <a:pt x="1617" y="1024"/>
                    <a:pt x="1619" y="1023"/>
                  </a:cubicBezTo>
                  <a:cubicBezTo>
                    <a:pt x="1626" y="1019"/>
                    <a:pt x="1624" y="1013"/>
                    <a:pt x="1623" y="1008"/>
                  </a:cubicBezTo>
                  <a:cubicBezTo>
                    <a:pt x="1623" y="1002"/>
                    <a:pt x="1618" y="1003"/>
                    <a:pt x="1613" y="1002"/>
                  </a:cubicBezTo>
                  <a:cubicBezTo>
                    <a:pt x="1598" y="1002"/>
                    <a:pt x="1582" y="1004"/>
                    <a:pt x="1567" y="1000"/>
                  </a:cubicBezTo>
                  <a:cubicBezTo>
                    <a:pt x="1560" y="999"/>
                    <a:pt x="1554" y="993"/>
                    <a:pt x="1546" y="993"/>
                  </a:cubicBezTo>
                  <a:cubicBezTo>
                    <a:pt x="1536" y="994"/>
                    <a:pt x="1525" y="992"/>
                    <a:pt x="1515" y="993"/>
                  </a:cubicBezTo>
                  <a:cubicBezTo>
                    <a:pt x="1490" y="997"/>
                    <a:pt x="1469" y="1010"/>
                    <a:pt x="1462" y="1034"/>
                  </a:cubicBezTo>
                  <a:cubicBezTo>
                    <a:pt x="1455" y="1056"/>
                    <a:pt x="1457" y="1079"/>
                    <a:pt x="1476" y="1096"/>
                  </a:cubicBezTo>
                  <a:cubicBezTo>
                    <a:pt x="1483" y="1103"/>
                    <a:pt x="1483" y="1107"/>
                    <a:pt x="1476" y="1113"/>
                  </a:cubicBezTo>
                  <a:cubicBezTo>
                    <a:pt x="1462" y="1126"/>
                    <a:pt x="1462" y="1142"/>
                    <a:pt x="1473" y="1157"/>
                  </a:cubicBezTo>
                  <a:cubicBezTo>
                    <a:pt x="1476" y="1160"/>
                    <a:pt x="1476" y="1162"/>
                    <a:pt x="1472" y="1164"/>
                  </a:cubicBezTo>
                  <a:cubicBezTo>
                    <a:pt x="1470" y="1166"/>
                    <a:pt x="1468" y="1168"/>
                    <a:pt x="1466" y="1170"/>
                  </a:cubicBezTo>
                  <a:cubicBezTo>
                    <a:pt x="1449" y="1183"/>
                    <a:pt x="1444" y="1201"/>
                    <a:pt x="1454" y="1218"/>
                  </a:cubicBezTo>
                  <a:cubicBezTo>
                    <a:pt x="1464" y="1235"/>
                    <a:pt x="1479" y="1246"/>
                    <a:pt x="1499" y="1249"/>
                  </a:cubicBezTo>
                  <a:cubicBezTo>
                    <a:pt x="1517" y="1252"/>
                    <a:pt x="1535" y="1253"/>
                    <a:pt x="1553" y="1250"/>
                  </a:cubicBezTo>
                  <a:cubicBezTo>
                    <a:pt x="1584" y="1245"/>
                    <a:pt x="1607" y="1232"/>
                    <a:pt x="1619" y="1200"/>
                  </a:cubicBezTo>
                  <a:cubicBezTo>
                    <a:pt x="1627" y="1180"/>
                    <a:pt x="1611" y="1155"/>
                    <a:pt x="1593" y="1148"/>
                  </a:cubicBezTo>
                  <a:cubicBezTo>
                    <a:pt x="1578" y="1142"/>
                    <a:pt x="1563" y="1143"/>
                    <a:pt x="1549" y="1142"/>
                  </a:cubicBezTo>
                  <a:cubicBezTo>
                    <a:pt x="1540" y="1142"/>
                    <a:pt x="1532" y="1142"/>
                    <a:pt x="1525" y="1142"/>
                  </a:cubicBezTo>
                  <a:close/>
                  <a:moveTo>
                    <a:pt x="1556" y="1172"/>
                  </a:moveTo>
                  <a:cubicBezTo>
                    <a:pt x="1566" y="1172"/>
                    <a:pt x="1576" y="1176"/>
                    <a:pt x="1583" y="1183"/>
                  </a:cubicBezTo>
                  <a:cubicBezTo>
                    <a:pt x="1589" y="1190"/>
                    <a:pt x="1589" y="1198"/>
                    <a:pt x="1583" y="1205"/>
                  </a:cubicBezTo>
                  <a:cubicBezTo>
                    <a:pt x="1575" y="1215"/>
                    <a:pt x="1565" y="1220"/>
                    <a:pt x="1553" y="1223"/>
                  </a:cubicBezTo>
                  <a:cubicBezTo>
                    <a:pt x="1534" y="1228"/>
                    <a:pt x="1516" y="1225"/>
                    <a:pt x="1499" y="1219"/>
                  </a:cubicBezTo>
                  <a:cubicBezTo>
                    <a:pt x="1486" y="1214"/>
                    <a:pt x="1479" y="1203"/>
                    <a:pt x="1482" y="1193"/>
                  </a:cubicBezTo>
                  <a:cubicBezTo>
                    <a:pt x="1485" y="1182"/>
                    <a:pt x="1496" y="1168"/>
                    <a:pt x="1514" y="1171"/>
                  </a:cubicBezTo>
                  <a:cubicBezTo>
                    <a:pt x="1526" y="1173"/>
                    <a:pt x="1541" y="1171"/>
                    <a:pt x="1556" y="1172"/>
                  </a:cubicBezTo>
                  <a:close/>
                  <a:moveTo>
                    <a:pt x="1531" y="1019"/>
                  </a:moveTo>
                  <a:cubicBezTo>
                    <a:pt x="1553" y="1017"/>
                    <a:pt x="1570" y="1033"/>
                    <a:pt x="1570" y="1052"/>
                  </a:cubicBezTo>
                  <a:cubicBezTo>
                    <a:pt x="1570" y="1075"/>
                    <a:pt x="1554" y="1093"/>
                    <a:pt x="1532" y="1091"/>
                  </a:cubicBezTo>
                  <a:cubicBezTo>
                    <a:pt x="1508" y="1089"/>
                    <a:pt x="1494" y="1082"/>
                    <a:pt x="1493" y="1053"/>
                  </a:cubicBezTo>
                  <a:cubicBezTo>
                    <a:pt x="1494" y="1029"/>
                    <a:pt x="1508" y="1020"/>
                    <a:pt x="1531" y="1019"/>
                  </a:cubicBezTo>
                  <a:close/>
                  <a:moveTo>
                    <a:pt x="1413" y="934"/>
                  </a:moveTo>
                  <a:cubicBezTo>
                    <a:pt x="1413" y="909"/>
                    <a:pt x="1413" y="909"/>
                    <a:pt x="1389" y="910"/>
                  </a:cubicBezTo>
                  <a:cubicBezTo>
                    <a:pt x="1388" y="910"/>
                    <a:pt x="1387" y="910"/>
                    <a:pt x="1387" y="910"/>
                  </a:cubicBezTo>
                  <a:cubicBezTo>
                    <a:pt x="1379" y="910"/>
                    <a:pt x="1376" y="915"/>
                    <a:pt x="1376" y="921"/>
                  </a:cubicBezTo>
                  <a:cubicBezTo>
                    <a:pt x="1376" y="939"/>
                    <a:pt x="1377" y="956"/>
                    <a:pt x="1377" y="974"/>
                  </a:cubicBezTo>
                  <a:cubicBezTo>
                    <a:pt x="1377" y="983"/>
                    <a:pt x="1377" y="991"/>
                    <a:pt x="1377" y="1000"/>
                  </a:cubicBezTo>
                  <a:cubicBezTo>
                    <a:pt x="1377" y="1005"/>
                    <a:pt x="1374" y="1009"/>
                    <a:pt x="1369" y="1005"/>
                  </a:cubicBezTo>
                  <a:cubicBezTo>
                    <a:pt x="1352" y="990"/>
                    <a:pt x="1332" y="993"/>
                    <a:pt x="1312" y="993"/>
                  </a:cubicBezTo>
                  <a:cubicBezTo>
                    <a:pt x="1303" y="994"/>
                    <a:pt x="1294" y="998"/>
                    <a:pt x="1287" y="1003"/>
                  </a:cubicBezTo>
                  <a:cubicBezTo>
                    <a:pt x="1265" y="1017"/>
                    <a:pt x="1252" y="1039"/>
                    <a:pt x="1248" y="1065"/>
                  </a:cubicBezTo>
                  <a:cubicBezTo>
                    <a:pt x="1244" y="1096"/>
                    <a:pt x="1244" y="1128"/>
                    <a:pt x="1261" y="1157"/>
                  </a:cubicBezTo>
                  <a:cubicBezTo>
                    <a:pt x="1270" y="1170"/>
                    <a:pt x="1281" y="1181"/>
                    <a:pt x="1296" y="1185"/>
                  </a:cubicBezTo>
                  <a:cubicBezTo>
                    <a:pt x="1323" y="1191"/>
                    <a:pt x="1349" y="1188"/>
                    <a:pt x="1370" y="1167"/>
                  </a:cubicBezTo>
                  <a:cubicBezTo>
                    <a:pt x="1372" y="1165"/>
                    <a:pt x="1375" y="1162"/>
                    <a:pt x="1379" y="1163"/>
                  </a:cubicBezTo>
                  <a:cubicBezTo>
                    <a:pt x="1382" y="1165"/>
                    <a:pt x="1381" y="1169"/>
                    <a:pt x="1381" y="1172"/>
                  </a:cubicBezTo>
                  <a:cubicBezTo>
                    <a:pt x="1383" y="1181"/>
                    <a:pt x="1390" y="1186"/>
                    <a:pt x="1403" y="1186"/>
                  </a:cubicBezTo>
                  <a:cubicBezTo>
                    <a:pt x="1413" y="1185"/>
                    <a:pt x="1413" y="1178"/>
                    <a:pt x="1413" y="1172"/>
                  </a:cubicBezTo>
                  <a:cubicBezTo>
                    <a:pt x="1413" y="1131"/>
                    <a:pt x="1413" y="1090"/>
                    <a:pt x="1413" y="1049"/>
                  </a:cubicBezTo>
                  <a:cubicBezTo>
                    <a:pt x="1413" y="1010"/>
                    <a:pt x="1413" y="972"/>
                    <a:pt x="1413" y="934"/>
                  </a:cubicBezTo>
                  <a:close/>
                  <a:moveTo>
                    <a:pt x="1378" y="1113"/>
                  </a:moveTo>
                  <a:cubicBezTo>
                    <a:pt x="1378" y="1136"/>
                    <a:pt x="1360" y="1155"/>
                    <a:pt x="1337" y="1157"/>
                  </a:cubicBezTo>
                  <a:cubicBezTo>
                    <a:pt x="1319" y="1159"/>
                    <a:pt x="1304" y="1154"/>
                    <a:pt x="1294" y="1139"/>
                  </a:cubicBezTo>
                  <a:cubicBezTo>
                    <a:pt x="1286" y="1128"/>
                    <a:pt x="1283" y="1116"/>
                    <a:pt x="1283" y="1102"/>
                  </a:cubicBezTo>
                  <a:cubicBezTo>
                    <a:pt x="1282" y="1085"/>
                    <a:pt x="1282" y="1067"/>
                    <a:pt x="1290" y="1051"/>
                  </a:cubicBezTo>
                  <a:cubicBezTo>
                    <a:pt x="1297" y="1036"/>
                    <a:pt x="1308" y="1024"/>
                    <a:pt x="1325" y="1022"/>
                  </a:cubicBezTo>
                  <a:cubicBezTo>
                    <a:pt x="1342" y="1020"/>
                    <a:pt x="1358" y="1021"/>
                    <a:pt x="1371" y="1035"/>
                  </a:cubicBezTo>
                  <a:cubicBezTo>
                    <a:pt x="1376" y="1041"/>
                    <a:pt x="1378" y="1046"/>
                    <a:pt x="1378" y="1052"/>
                  </a:cubicBezTo>
                  <a:cubicBezTo>
                    <a:pt x="1378" y="1064"/>
                    <a:pt x="1378" y="1075"/>
                    <a:pt x="1378" y="1086"/>
                  </a:cubicBezTo>
                  <a:cubicBezTo>
                    <a:pt x="1378" y="1086"/>
                    <a:pt x="1378" y="1086"/>
                    <a:pt x="1378" y="1086"/>
                  </a:cubicBezTo>
                  <a:cubicBezTo>
                    <a:pt x="1378" y="1095"/>
                    <a:pt x="1378" y="1104"/>
                    <a:pt x="1378" y="1113"/>
                  </a:cubicBezTo>
                  <a:close/>
                  <a:moveTo>
                    <a:pt x="578" y="259"/>
                  </a:moveTo>
                  <a:cubicBezTo>
                    <a:pt x="603" y="241"/>
                    <a:pt x="611" y="213"/>
                    <a:pt x="614" y="183"/>
                  </a:cubicBezTo>
                  <a:cubicBezTo>
                    <a:pt x="615" y="171"/>
                    <a:pt x="610" y="159"/>
                    <a:pt x="609" y="147"/>
                  </a:cubicBezTo>
                  <a:cubicBezTo>
                    <a:pt x="608" y="137"/>
                    <a:pt x="603" y="129"/>
                    <a:pt x="599" y="121"/>
                  </a:cubicBezTo>
                  <a:cubicBezTo>
                    <a:pt x="579" y="87"/>
                    <a:pt x="527" y="70"/>
                    <a:pt x="488" y="85"/>
                  </a:cubicBezTo>
                  <a:cubicBezTo>
                    <a:pt x="453" y="99"/>
                    <a:pt x="436" y="127"/>
                    <a:pt x="431" y="163"/>
                  </a:cubicBezTo>
                  <a:cubicBezTo>
                    <a:pt x="429" y="180"/>
                    <a:pt x="430" y="196"/>
                    <a:pt x="436" y="213"/>
                  </a:cubicBezTo>
                  <a:cubicBezTo>
                    <a:pt x="439" y="222"/>
                    <a:pt x="442" y="232"/>
                    <a:pt x="447" y="239"/>
                  </a:cubicBezTo>
                  <a:cubicBezTo>
                    <a:pt x="465" y="265"/>
                    <a:pt x="491" y="277"/>
                    <a:pt x="525" y="276"/>
                  </a:cubicBezTo>
                  <a:cubicBezTo>
                    <a:pt x="543" y="278"/>
                    <a:pt x="562" y="271"/>
                    <a:pt x="578" y="259"/>
                  </a:cubicBezTo>
                  <a:close/>
                  <a:moveTo>
                    <a:pt x="471" y="205"/>
                  </a:moveTo>
                  <a:cubicBezTo>
                    <a:pt x="466" y="185"/>
                    <a:pt x="468" y="167"/>
                    <a:pt x="472" y="147"/>
                  </a:cubicBezTo>
                  <a:cubicBezTo>
                    <a:pt x="477" y="130"/>
                    <a:pt x="493" y="116"/>
                    <a:pt x="509" y="112"/>
                  </a:cubicBezTo>
                  <a:cubicBezTo>
                    <a:pt x="525" y="108"/>
                    <a:pt x="539" y="110"/>
                    <a:pt x="553" y="119"/>
                  </a:cubicBezTo>
                  <a:cubicBezTo>
                    <a:pt x="563" y="125"/>
                    <a:pt x="568" y="135"/>
                    <a:pt x="571" y="146"/>
                  </a:cubicBezTo>
                  <a:cubicBezTo>
                    <a:pt x="577" y="167"/>
                    <a:pt x="578" y="189"/>
                    <a:pt x="571" y="211"/>
                  </a:cubicBezTo>
                  <a:cubicBezTo>
                    <a:pt x="565" y="231"/>
                    <a:pt x="549" y="249"/>
                    <a:pt x="521" y="247"/>
                  </a:cubicBezTo>
                  <a:cubicBezTo>
                    <a:pt x="496" y="247"/>
                    <a:pt x="478" y="230"/>
                    <a:pt x="471" y="205"/>
                  </a:cubicBezTo>
                  <a:close/>
                  <a:moveTo>
                    <a:pt x="472" y="1122"/>
                  </a:moveTo>
                  <a:cubicBezTo>
                    <a:pt x="475" y="1136"/>
                    <a:pt x="481" y="1148"/>
                    <a:pt x="491" y="1158"/>
                  </a:cubicBezTo>
                  <a:cubicBezTo>
                    <a:pt x="506" y="1176"/>
                    <a:pt x="524" y="1185"/>
                    <a:pt x="548" y="1187"/>
                  </a:cubicBezTo>
                  <a:cubicBezTo>
                    <a:pt x="568" y="1188"/>
                    <a:pt x="587" y="1187"/>
                    <a:pt x="605" y="1177"/>
                  </a:cubicBezTo>
                  <a:cubicBezTo>
                    <a:pt x="632" y="1162"/>
                    <a:pt x="644" y="1136"/>
                    <a:pt x="649" y="1107"/>
                  </a:cubicBezTo>
                  <a:cubicBezTo>
                    <a:pt x="652" y="1089"/>
                    <a:pt x="649" y="1072"/>
                    <a:pt x="644" y="1054"/>
                  </a:cubicBezTo>
                  <a:cubicBezTo>
                    <a:pt x="638" y="1034"/>
                    <a:pt x="627" y="1019"/>
                    <a:pt x="610" y="1007"/>
                  </a:cubicBezTo>
                  <a:cubicBezTo>
                    <a:pt x="589" y="992"/>
                    <a:pt x="566" y="991"/>
                    <a:pt x="541" y="994"/>
                  </a:cubicBezTo>
                  <a:cubicBezTo>
                    <a:pt x="526" y="995"/>
                    <a:pt x="512" y="1002"/>
                    <a:pt x="500" y="1012"/>
                  </a:cubicBezTo>
                  <a:cubicBezTo>
                    <a:pt x="476" y="1032"/>
                    <a:pt x="469" y="1060"/>
                    <a:pt x="466" y="1095"/>
                  </a:cubicBezTo>
                  <a:cubicBezTo>
                    <a:pt x="465" y="1101"/>
                    <a:pt x="470" y="1111"/>
                    <a:pt x="472" y="1122"/>
                  </a:cubicBezTo>
                  <a:close/>
                  <a:moveTo>
                    <a:pt x="508" y="1113"/>
                  </a:moveTo>
                  <a:cubicBezTo>
                    <a:pt x="505" y="1095"/>
                    <a:pt x="506" y="1078"/>
                    <a:pt x="508" y="1061"/>
                  </a:cubicBezTo>
                  <a:cubicBezTo>
                    <a:pt x="511" y="1042"/>
                    <a:pt x="538" y="1021"/>
                    <a:pt x="554" y="1022"/>
                  </a:cubicBezTo>
                  <a:cubicBezTo>
                    <a:pt x="570" y="1022"/>
                    <a:pt x="586" y="1024"/>
                    <a:pt x="596" y="1037"/>
                  </a:cubicBezTo>
                  <a:cubicBezTo>
                    <a:pt x="602" y="1044"/>
                    <a:pt x="607" y="1052"/>
                    <a:pt x="608" y="1061"/>
                  </a:cubicBezTo>
                  <a:cubicBezTo>
                    <a:pt x="608" y="1064"/>
                    <a:pt x="609" y="1067"/>
                    <a:pt x="610" y="1070"/>
                  </a:cubicBezTo>
                  <a:cubicBezTo>
                    <a:pt x="618" y="1089"/>
                    <a:pt x="612" y="1107"/>
                    <a:pt x="607" y="1125"/>
                  </a:cubicBezTo>
                  <a:cubicBezTo>
                    <a:pt x="601" y="1143"/>
                    <a:pt x="588" y="1160"/>
                    <a:pt x="558" y="1157"/>
                  </a:cubicBezTo>
                  <a:cubicBezTo>
                    <a:pt x="530" y="1157"/>
                    <a:pt x="512" y="1141"/>
                    <a:pt x="508" y="1113"/>
                  </a:cubicBezTo>
                  <a:close/>
                  <a:moveTo>
                    <a:pt x="430" y="716"/>
                  </a:moveTo>
                  <a:cubicBezTo>
                    <a:pt x="450" y="703"/>
                    <a:pt x="459" y="683"/>
                    <a:pt x="464" y="661"/>
                  </a:cubicBezTo>
                  <a:cubicBezTo>
                    <a:pt x="468" y="648"/>
                    <a:pt x="467" y="635"/>
                    <a:pt x="466" y="621"/>
                  </a:cubicBezTo>
                  <a:cubicBezTo>
                    <a:pt x="463" y="592"/>
                    <a:pt x="453" y="567"/>
                    <a:pt x="427" y="550"/>
                  </a:cubicBezTo>
                  <a:cubicBezTo>
                    <a:pt x="401" y="534"/>
                    <a:pt x="372" y="532"/>
                    <a:pt x="345" y="541"/>
                  </a:cubicBezTo>
                  <a:cubicBezTo>
                    <a:pt x="310" y="552"/>
                    <a:pt x="291" y="580"/>
                    <a:pt x="287" y="617"/>
                  </a:cubicBezTo>
                  <a:cubicBezTo>
                    <a:pt x="286" y="629"/>
                    <a:pt x="286" y="641"/>
                    <a:pt x="287" y="654"/>
                  </a:cubicBezTo>
                  <a:cubicBezTo>
                    <a:pt x="289" y="671"/>
                    <a:pt x="295" y="686"/>
                    <a:pt x="306" y="700"/>
                  </a:cubicBezTo>
                  <a:cubicBezTo>
                    <a:pt x="324" y="722"/>
                    <a:pt x="348" y="733"/>
                    <a:pt x="378" y="731"/>
                  </a:cubicBezTo>
                  <a:cubicBezTo>
                    <a:pt x="396" y="733"/>
                    <a:pt x="414" y="727"/>
                    <a:pt x="430" y="716"/>
                  </a:cubicBezTo>
                  <a:close/>
                  <a:moveTo>
                    <a:pt x="331" y="592"/>
                  </a:moveTo>
                  <a:cubicBezTo>
                    <a:pt x="339" y="580"/>
                    <a:pt x="349" y="569"/>
                    <a:pt x="365" y="567"/>
                  </a:cubicBezTo>
                  <a:cubicBezTo>
                    <a:pt x="387" y="564"/>
                    <a:pt x="406" y="568"/>
                    <a:pt x="419" y="588"/>
                  </a:cubicBezTo>
                  <a:cubicBezTo>
                    <a:pt x="423" y="595"/>
                    <a:pt x="426" y="603"/>
                    <a:pt x="427" y="610"/>
                  </a:cubicBezTo>
                  <a:cubicBezTo>
                    <a:pt x="433" y="635"/>
                    <a:pt x="431" y="661"/>
                    <a:pt x="416" y="684"/>
                  </a:cubicBezTo>
                  <a:cubicBezTo>
                    <a:pt x="403" y="706"/>
                    <a:pt x="362" y="708"/>
                    <a:pt x="345" y="692"/>
                  </a:cubicBezTo>
                  <a:cubicBezTo>
                    <a:pt x="329" y="678"/>
                    <a:pt x="323" y="661"/>
                    <a:pt x="323" y="631"/>
                  </a:cubicBezTo>
                  <a:cubicBezTo>
                    <a:pt x="323" y="619"/>
                    <a:pt x="323" y="605"/>
                    <a:pt x="331" y="592"/>
                  </a:cubicBezTo>
                  <a:close/>
                  <a:moveTo>
                    <a:pt x="1073" y="259"/>
                  </a:moveTo>
                  <a:cubicBezTo>
                    <a:pt x="1073" y="269"/>
                    <a:pt x="1075" y="272"/>
                    <a:pt x="1086" y="272"/>
                  </a:cubicBezTo>
                  <a:cubicBezTo>
                    <a:pt x="1088" y="272"/>
                    <a:pt x="1090" y="272"/>
                    <a:pt x="1092" y="272"/>
                  </a:cubicBezTo>
                  <a:cubicBezTo>
                    <a:pt x="1105" y="272"/>
                    <a:pt x="1106" y="271"/>
                    <a:pt x="1106" y="258"/>
                  </a:cubicBezTo>
                  <a:cubicBezTo>
                    <a:pt x="1106" y="221"/>
                    <a:pt x="1106" y="184"/>
                    <a:pt x="1106" y="147"/>
                  </a:cubicBezTo>
                  <a:cubicBezTo>
                    <a:pt x="1106" y="143"/>
                    <a:pt x="1106" y="140"/>
                    <a:pt x="1107" y="137"/>
                  </a:cubicBezTo>
                  <a:cubicBezTo>
                    <a:pt x="1117" y="117"/>
                    <a:pt x="1157" y="104"/>
                    <a:pt x="1177" y="114"/>
                  </a:cubicBezTo>
                  <a:cubicBezTo>
                    <a:pt x="1179" y="115"/>
                    <a:pt x="1180" y="117"/>
                    <a:pt x="1182" y="118"/>
                  </a:cubicBezTo>
                  <a:cubicBezTo>
                    <a:pt x="1194" y="131"/>
                    <a:pt x="1196" y="147"/>
                    <a:pt x="1196" y="163"/>
                  </a:cubicBezTo>
                  <a:cubicBezTo>
                    <a:pt x="1197" y="195"/>
                    <a:pt x="1196" y="226"/>
                    <a:pt x="1196" y="258"/>
                  </a:cubicBezTo>
                  <a:cubicBezTo>
                    <a:pt x="1196" y="271"/>
                    <a:pt x="1197" y="272"/>
                    <a:pt x="1210" y="272"/>
                  </a:cubicBezTo>
                  <a:cubicBezTo>
                    <a:pt x="1212" y="272"/>
                    <a:pt x="1213" y="272"/>
                    <a:pt x="1215" y="272"/>
                  </a:cubicBezTo>
                  <a:cubicBezTo>
                    <a:pt x="1227" y="272"/>
                    <a:pt x="1229" y="270"/>
                    <a:pt x="1229" y="258"/>
                  </a:cubicBezTo>
                  <a:cubicBezTo>
                    <a:pt x="1229" y="222"/>
                    <a:pt x="1229" y="187"/>
                    <a:pt x="1229" y="151"/>
                  </a:cubicBezTo>
                  <a:cubicBezTo>
                    <a:pt x="1229" y="142"/>
                    <a:pt x="1228" y="132"/>
                    <a:pt x="1225" y="123"/>
                  </a:cubicBezTo>
                  <a:cubicBezTo>
                    <a:pt x="1219" y="105"/>
                    <a:pt x="1208" y="91"/>
                    <a:pt x="1189" y="85"/>
                  </a:cubicBezTo>
                  <a:cubicBezTo>
                    <a:pt x="1173" y="80"/>
                    <a:pt x="1156" y="84"/>
                    <a:pt x="1139" y="84"/>
                  </a:cubicBezTo>
                  <a:cubicBezTo>
                    <a:pt x="1137" y="84"/>
                    <a:pt x="1136" y="86"/>
                    <a:pt x="1134" y="87"/>
                  </a:cubicBezTo>
                  <a:cubicBezTo>
                    <a:pt x="1128" y="91"/>
                    <a:pt x="1121" y="96"/>
                    <a:pt x="1115" y="100"/>
                  </a:cubicBezTo>
                  <a:cubicBezTo>
                    <a:pt x="1113" y="102"/>
                    <a:pt x="1111" y="105"/>
                    <a:pt x="1108" y="103"/>
                  </a:cubicBezTo>
                  <a:cubicBezTo>
                    <a:pt x="1105" y="102"/>
                    <a:pt x="1106" y="98"/>
                    <a:pt x="1106" y="96"/>
                  </a:cubicBezTo>
                  <a:cubicBezTo>
                    <a:pt x="1106" y="69"/>
                    <a:pt x="1106" y="43"/>
                    <a:pt x="1106" y="17"/>
                  </a:cubicBezTo>
                  <a:cubicBezTo>
                    <a:pt x="1106" y="0"/>
                    <a:pt x="1106" y="0"/>
                    <a:pt x="1089" y="0"/>
                  </a:cubicBezTo>
                  <a:cubicBezTo>
                    <a:pt x="1074" y="0"/>
                    <a:pt x="1073" y="1"/>
                    <a:pt x="1073" y="16"/>
                  </a:cubicBezTo>
                  <a:cubicBezTo>
                    <a:pt x="1073" y="56"/>
                    <a:pt x="1073" y="96"/>
                    <a:pt x="1073" y="136"/>
                  </a:cubicBezTo>
                  <a:cubicBezTo>
                    <a:pt x="1073" y="177"/>
                    <a:pt x="1073" y="218"/>
                    <a:pt x="1073" y="259"/>
                  </a:cubicBezTo>
                  <a:close/>
                  <a:moveTo>
                    <a:pt x="1150" y="1092"/>
                  </a:moveTo>
                  <a:cubicBezTo>
                    <a:pt x="1168" y="1092"/>
                    <a:pt x="1186" y="1092"/>
                    <a:pt x="1204" y="1092"/>
                  </a:cubicBezTo>
                  <a:cubicBezTo>
                    <a:pt x="1215" y="1092"/>
                    <a:pt x="1218" y="1087"/>
                    <a:pt x="1219" y="1077"/>
                  </a:cubicBezTo>
                  <a:cubicBezTo>
                    <a:pt x="1220" y="1062"/>
                    <a:pt x="1216" y="1049"/>
                    <a:pt x="1210" y="1036"/>
                  </a:cubicBezTo>
                  <a:cubicBezTo>
                    <a:pt x="1204" y="1020"/>
                    <a:pt x="1193" y="1008"/>
                    <a:pt x="1177" y="1001"/>
                  </a:cubicBezTo>
                  <a:cubicBezTo>
                    <a:pt x="1155" y="992"/>
                    <a:pt x="1133" y="991"/>
                    <a:pt x="1109" y="999"/>
                  </a:cubicBezTo>
                  <a:cubicBezTo>
                    <a:pt x="1079" y="1010"/>
                    <a:pt x="1062" y="1031"/>
                    <a:pt x="1056" y="1061"/>
                  </a:cubicBezTo>
                  <a:cubicBezTo>
                    <a:pt x="1051" y="1090"/>
                    <a:pt x="1052" y="1120"/>
                    <a:pt x="1069" y="1148"/>
                  </a:cubicBezTo>
                  <a:cubicBezTo>
                    <a:pt x="1081" y="1169"/>
                    <a:pt x="1100" y="1180"/>
                    <a:pt x="1122" y="1185"/>
                  </a:cubicBezTo>
                  <a:cubicBezTo>
                    <a:pt x="1149" y="1190"/>
                    <a:pt x="1176" y="1186"/>
                    <a:pt x="1200" y="1171"/>
                  </a:cubicBezTo>
                  <a:cubicBezTo>
                    <a:pt x="1206" y="1168"/>
                    <a:pt x="1213" y="1165"/>
                    <a:pt x="1214" y="1157"/>
                  </a:cubicBezTo>
                  <a:cubicBezTo>
                    <a:pt x="1215" y="1147"/>
                    <a:pt x="1202" y="1139"/>
                    <a:pt x="1193" y="1144"/>
                  </a:cubicBezTo>
                  <a:cubicBezTo>
                    <a:pt x="1187" y="1147"/>
                    <a:pt x="1180" y="1150"/>
                    <a:pt x="1174" y="1153"/>
                  </a:cubicBezTo>
                  <a:cubicBezTo>
                    <a:pt x="1158" y="1161"/>
                    <a:pt x="1140" y="1161"/>
                    <a:pt x="1124" y="1155"/>
                  </a:cubicBezTo>
                  <a:cubicBezTo>
                    <a:pt x="1112" y="1151"/>
                    <a:pt x="1102" y="1142"/>
                    <a:pt x="1096" y="1129"/>
                  </a:cubicBezTo>
                  <a:cubicBezTo>
                    <a:pt x="1092" y="1121"/>
                    <a:pt x="1091" y="1112"/>
                    <a:pt x="1089" y="1104"/>
                  </a:cubicBezTo>
                  <a:cubicBezTo>
                    <a:pt x="1087" y="1093"/>
                    <a:pt x="1087" y="1092"/>
                    <a:pt x="1099" y="1092"/>
                  </a:cubicBezTo>
                  <a:cubicBezTo>
                    <a:pt x="1116" y="1092"/>
                    <a:pt x="1133" y="1092"/>
                    <a:pt x="1150" y="1092"/>
                  </a:cubicBezTo>
                  <a:cubicBezTo>
                    <a:pt x="1150" y="1092"/>
                    <a:pt x="1150" y="1092"/>
                    <a:pt x="1150" y="1092"/>
                  </a:cubicBezTo>
                  <a:close/>
                  <a:moveTo>
                    <a:pt x="1099" y="1070"/>
                  </a:moveTo>
                  <a:cubicBezTo>
                    <a:pt x="1092" y="1071"/>
                    <a:pt x="1089" y="1067"/>
                    <a:pt x="1091" y="1060"/>
                  </a:cubicBezTo>
                  <a:cubicBezTo>
                    <a:pt x="1094" y="1045"/>
                    <a:pt x="1108" y="1023"/>
                    <a:pt x="1128" y="1022"/>
                  </a:cubicBezTo>
                  <a:cubicBezTo>
                    <a:pt x="1142" y="1021"/>
                    <a:pt x="1156" y="1018"/>
                    <a:pt x="1168" y="1029"/>
                  </a:cubicBezTo>
                  <a:cubicBezTo>
                    <a:pt x="1181" y="1038"/>
                    <a:pt x="1185" y="1051"/>
                    <a:pt x="1187" y="1066"/>
                  </a:cubicBezTo>
                  <a:cubicBezTo>
                    <a:pt x="1188" y="1071"/>
                    <a:pt x="1183" y="1070"/>
                    <a:pt x="1180" y="1070"/>
                  </a:cubicBezTo>
                  <a:cubicBezTo>
                    <a:pt x="1166" y="1070"/>
                    <a:pt x="1153" y="1070"/>
                    <a:pt x="1139" y="1070"/>
                  </a:cubicBezTo>
                  <a:cubicBezTo>
                    <a:pt x="1139" y="1070"/>
                    <a:pt x="1139" y="1070"/>
                    <a:pt x="1139" y="1070"/>
                  </a:cubicBezTo>
                  <a:cubicBezTo>
                    <a:pt x="1126" y="1070"/>
                    <a:pt x="1113" y="1070"/>
                    <a:pt x="1099" y="1070"/>
                  </a:cubicBezTo>
                  <a:close/>
                  <a:moveTo>
                    <a:pt x="1741" y="1092"/>
                  </a:moveTo>
                  <a:cubicBezTo>
                    <a:pt x="1759" y="1092"/>
                    <a:pt x="1776" y="1092"/>
                    <a:pt x="1793" y="1092"/>
                  </a:cubicBezTo>
                  <a:cubicBezTo>
                    <a:pt x="1806" y="1092"/>
                    <a:pt x="1808" y="1089"/>
                    <a:pt x="1808" y="1076"/>
                  </a:cubicBezTo>
                  <a:cubicBezTo>
                    <a:pt x="1809" y="1063"/>
                    <a:pt x="1807" y="1051"/>
                    <a:pt x="1802" y="1038"/>
                  </a:cubicBezTo>
                  <a:cubicBezTo>
                    <a:pt x="1794" y="1021"/>
                    <a:pt x="1782" y="1008"/>
                    <a:pt x="1764" y="1000"/>
                  </a:cubicBezTo>
                  <a:cubicBezTo>
                    <a:pt x="1742" y="991"/>
                    <a:pt x="1720" y="991"/>
                    <a:pt x="1698" y="1000"/>
                  </a:cubicBezTo>
                  <a:cubicBezTo>
                    <a:pt x="1681" y="1006"/>
                    <a:pt x="1668" y="1016"/>
                    <a:pt x="1659" y="1031"/>
                  </a:cubicBezTo>
                  <a:cubicBezTo>
                    <a:pt x="1646" y="1050"/>
                    <a:pt x="1643" y="1071"/>
                    <a:pt x="1644" y="1094"/>
                  </a:cubicBezTo>
                  <a:cubicBezTo>
                    <a:pt x="1644" y="1110"/>
                    <a:pt x="1647" y="1127"/>
                    <a:pt x="1655" y="1141"/>
                  </a:cubicBezTo>
                  <a:cubicBezTo>
                    <a:pt x="1669" y="1168"/>
                    <a:pt x="1691" y="1183"/>
                    <a:pt x="1722" y="1186"/>
                  </a:cubicBezTo>
                  <a:cubicBezTo>
                    <a:pt x="1750" y="1188"/>
                    <a:pt x="1775" y="1183"/>
                    <a:pt x="1798" y="1165"/>
                  </a:cubicBezTo>
                  <a:cubicBezTo>
                    <a:pt x="1803" y="1161"/>
                    <a:pt x="1806" y="1157"/>
                    <a:pt x="1802" y="1151"/>
                  </a:cubicBezTo>
                  <a:cubicBezTo>
                    <a:pt x="1798" y="1144"/>
                    <a:pt x="1791" y="1140"/>
                    <a:pt x="1783" y="1144"/>
                  </a:cubicBezTo>
                  <a:cubicBezTo>
                    <a:pt x="1778" y="1147"/>
                    <a:pt x="1771" y="1149"/>
                    <a:pt x="1766" y="1152"/>
                  </a:cubicBezTo>
                  <a:cubicBezTo>
                    <a:pt x="1749" y="1161"/>
                    <a:pt x="1730" y="1162"/>
                    <a:pt x="1714" y="1155"/>
                  </a:cubicBezTo>
                  <a:cubicBezTo>
                    <a:pt x="1692" y="1145"/>
                    <a:pt x="1680" y="1127"/>
                    <a:pt x="1679" y="1102"/>
                  </a:cubicBezTo>
                  <a:cubicBezTo>
                    <a:pt x="1678" y="1095"/>
                    <a:pt x="1681" y="1092"/>
                    <a:pt x="1689" y="1092"/>
                  </a:cubicBezTo>
                  <a:cubicBezTo>
                    <a:pt x="1706" y="1092"/>
                    <a:pt x="1724" y="1092"/>
                    <a:pt x="1741" y="1092"/>
                  </a:cubicBezTo>
                  <a:cubicBezTo>
                    <a:pt x="1741" y="1092"/>
                    <a:pt x="1741" y="1092"/>
                    <a:pt x="1741" y="1092"/>
                  </a:cubicBezTo>
                  <a:close/>
                  <a:moveTo>
                    <a:pt x="1690" y="1070"/>
                  </a:moveTo>
                  <a:cubicBezTo>
                    <a:pt x="1683" y="1071"/>
                    <a:pt x="1680" y="1068"/>
                    <a:pt x="1681" y="1062"/>
                  </a:cubicBezTo>
                  <a:cubicBezTo>
                    <a:pt x="1683" y="1048"/>
                    <a:pt x="1697" y="1024"/>
                    <a:pt x="1716" y="1022"/>
                  </a:cubicBezTo>
                  <a:cubicBezTo>
                    <a:pt x="1731" y="1020"/>
                    <a:pt x="1747" y="1018"/>
                    <a:pt x="1760" y="1030"/>
                  </a:cubicBezTo>
                  <a:cubicBezTo>
                    <a:pt x="1771" y="1038"/>
                    <a:pt x="1775" y="1050"/>
                    <a:pt x="1778" y="1062"/>
                  </a:cubicBezTo>
                  <a:cubicBezTo>
                    <a:pt x="1780" y="1068"/>
                    <a:pt x="1775" y="1070"/>
                    <a:pt x="1769" y="1070"/>
                  </a:cubicBezTo>
                  <a:cubicBezTo>
                    <a:pt x="1756" y="1070"/>
                    <a:pt x="1742" y="1070"/>
                    <a:pt x="1729" y="1070"/>
                  </a:cubicBezTo>
                  <a:cubicBezTo>
                    <a:pt x="1729" y="1070"/>
                    <a:pt x="1729" y="1070"/>
                    <a:pt x="1729" y="1070"/>
                  </a:cubicBezTo>
                  <a:cubicBezTo>
                    <a:pt x="1716" y="1070"/>
                    <a:pt x="1703" y="1070"/>
                    <a:pt x="1690" y="1070"/>
                  </a:cubicBezTo>
                  <a:close/>
                  <a:moveTo>
                    <a:pt x="68" y="581"/>
                  </a:moveTo>
                  <a:cubicBezTo>
                    <a:pt x="68" y="573"/>
                    <a:pt x="70" y="568"/>
                    <a:pt x="80" y="569"/>
                  </a:cubicBezTo>
                  <a:cubicBezTo>
                    <a:pt x="90" y="570"/>
                    <a:pt x="101" y="570"/>
                    <a:pt x="111" y="569"/>
                  </a:cubicBezTo>
                  <a:cubicBezTo>
                    <a:pt x="120" y="569"/>
                    <a:pt x="120" y="563"/>
                    <a:pt x="120" y="556"/>
                  </a:cubicBezTo>
                  <a:cubicBezTo>
                    <a:pt x="120" y="549"/>
                    <a:pt x="119" y="544"/>
                    <a:pt x="111" y="544"/>
                  </a:cubicBezTo>
                  <a:cubicBezTo>
                    <a:pt x="104" y="544"/>
                    <a:pt x="97" y="544"/>
                    <a:pt x="91" y="544"/>
                  </a:cubicBezTo>
                  <a:cubicBezTo>
                    <a:pt x="66" y="544"/>
                    <a:pt x="65" y="543"/>
                    <a:pt x="68" y="518"/>
                  </a:cubicBezTo>
                  <a:cubicBezTo>
                    <a:pt x="69" y="504"/>
                    <a:pt x="83" y="487"/>
                    <a:pt x="99" y="489"/>
                  </a:cubicBezTo>
                  <a:cubicBezTo>
                    <a:pt x="103" y="489"/>
                    <a:pt x="107" y="489"/>
                    <a:pt x="110" y="488"/>
                  </a:cubicBezTo>
                  <a:cubicBezTo>
                    <a:pt x="118" y="487"/>
                    <a:pt x="123" y="479"/>
                    <a:pt x="123" y="471"/>
                  </a:cubicBezTo>
                  <a:cubicBezTo>
                    <a:pt x="123" y="461"/>
                    <a:pt x="116" y="462"/>
                    <a:pt x="109" y="460"/>
                  </a:cubicBezTo>
                  <a:cubicBezTo>
                    <a:pt x="100" y="458"/>
                    <a:pt x="92" y="460"/>
                    <a:pt x="84" y="460"/>
                  </a:cubicBezTo>
                  <a:cubicBezTo>
                    <a:pt x="68" y="461"/>
                    <a:pt x="56" y="469"/>
                    <a:pt x="47" y="480"/>
                  </a:cubicBezTo>
                  <a:cubicBezTo>
                    <a:pt x="34" y="493"/>
                    <a:pt x="32" y="511"/>
                    <a:pt x="32" y="529"/>
                  </a:cubicBezTo>
                  <a:cubicBezTo>
                    <a:pt x="32" y="544"/>
                    <a:pt x="32" y="544"/>
                    <a:pt x="17" y="544"/>
                  </a:cubicBezTo>
                  <a:cubicBezTo>
                    <a:pt x="4" y="543"/>
                    <a:pt x="0" y="548"/>
                    <a:pt x="4" y="561"/>
                  </a:cubicBezTo>
                  <a:cubicBezTo>
                    <a:pt x="6" y="569"/>
                    <a:pt x="13" y="568"/>
                    <a:pt x="19" y="569"/>
                  </a:cubicBezTo>
                  <a:cubicBezTo>
                    <a:pt x="32" y="571"/>
                    <a:pt x="32" y="571"/>
                    <a:pt x="32" y="584"/>
                  </a:cubicBezTo>
                  <a:cubicBezTo>
                    <a:pt x="32" y="624"/>
                    <a:pt x="32" y="664"/>
                    <a:pt x="32" y="704"/>
                  </a:cubicBezTo>
                  <a:cubicBezTo>
                    <a:pt x="32" y="731"/>
                    <a:pt x="32" y="730"/>
                    <a:pt x="57" y="731"/>
                  </a:cubicBezTo>
                  <a:cubicBezTo>
                    <a:pt x="66" y="731"/>
                    <a:pt x="68" y="727"/>
                    <a:pt x="68" y="720"/>
                  </a:cubicBezTo>
                  <a:cubicBezTo>
                    <a:pt x="68" y="697"/>
                    <a:pt x="68" y="674"/>
                    <a:pt x="68" y="651"/>
                  </a:cubicBezTo>
                  <a:cubicBezTo>
                    <a:pt x="68" y="628"/>
                    <a:pt x="68" y="605"/>
                    <a:pt x="68" y="581"/>
                  </a:cubicBezTo>
                  <a:close/>
                  <a:moveTo>
                    <a:pt x="278" y="1165"/>
                  </a:moveTo>
                  <a:cubicBezTo>
                    <a:pt x="278" y="1183"/>
                    <a:pt x="278" y="1183"/>
                    <a:pt x="296" y="1184"/>
                  </a:cubicBezTo>
                  <a:cubicBezTo>
                    <a:pt x="310" y="1184"/>
                    <a:pt x="310" y="1184"/>
                    <a:pt x="310" y="1169"/>
                  </a:cubicBezTo>
                  <a:cubicBezTo>
                    <a:pt x="310" y="1132"/>
                    <a:pt x="310" y="1095"/>
                    <a:pt x="310" y="1058"/>
                  </a:cubicBezTo>
                  <a:cubicBezTo>
                    <a:pt x="310" y="1052"/>
                    <a:pt x="312" y="1047"/>
                    <a:pt x="316" y="1042"/>
                  </a:cubicBezTo>
                  <a:cubicBezTo>
                    <a:pt x="324" y="1033"/>
                    <a:pt x="334" y="1027"/>
                    <a:pt x="345" y="1024"/>
                  </a:cubicBezTo>
                  <a:cubicBezTo>
                    <a:pt x="357" y="1020"/>
                    <a:pt x="371" y="1018"/>
                    <a:pt x="383" y="1028"/>
                  </a:cubicBezTo>
                  <a:cubicBezTo>
                    <a:pt x="397" y="1039"/>
                    <a:pt x="401" y="1054"/>
                    <a:pt x="401" y="1071"/>
                  </a:cubicBezTo>
                  <a:cubicBezTo>
                    <a:pt x="401" y="1102"/>
                    <a:pt x="401" y="1132"/>
                    <a:pt x="401" y="1163"/>
                  </a:cubicBezTo>
                  <a:cubicBezTo>
                    <a:pt x="401" y="1183"/>
                    <a:pt x="401" y="1182"/>
                    <a:pt x="420" y="1184"/>
                  </a:cubicBezTo>
                  <a:cubicBezTo>
                    <a:pt x="429" y="1185"/>
                    <a:pt x="433" y="1181"/>
                    <a:pt x="433" y="1173"/>
                  </a:cubicBezTo>
                  <a:cubicBezTo>
                    <a:pt x="432" y="1130"/>
                    <a:pt x="435" y="1087"/>
                    <a:pt x="431" y="1044"/>
                  </a:cubicBezTo>
                  <a:cubicBezTo>
                    <a:pt x="427" y="1014"/>
                    <a:pt x="404" y="996"/>
                    <a:pt x="376" y="994"/>
                  </a:cubicBezTo>
                  <a:cubicBezTo>
                    <a:pt x="353" y="992"/>
                    <a:pt x="333" y="1000"/>
                    <a:pt x="317" y="1017"/>
                  </a:cubicBezTo>
                  <a:cubicBezTo>
                    <a:pt x="312" y="1021"/>
                    <a:pt x="311" y="1019"/>
                    <a:pt x="309" y="1015"/>
                  </a:cubicBezTo>
                  <a:cubicBezTo>
                    <a:pt x="309" y="1013"/>
                    <a:pt x="308" y="1011"/>
                    <a:pt x="308" y="1008"/>
                  </a:cubicBezTo>
                  <a:cubicBezTo>
                    <a:pt x="306" y="1001"/>
                    <a:pt x="298" y="997"/>
                    <a:pt x="287" y="998"/>
                  </a:cubicBezTo>
                  <a:cubicBezTo>
                    <a:pt x="279" y="999"/>
                    <a:pt x="278" y="1004"/>
                    <a:pt x="278" y="1011"/>
                  </a:cubicBezTo>
                  <a:cubicBezTo>
                    <a:pt x="278" y="1037"/>
                    <a:pt x="278" y="1064"/>
                    <a:pt x="278" y="1091"/>
                  </a:cubicBezTo>
                  <a:cubicBezTo>
                    <a:pt x="278" y="1115"/>
                    <a:pt x="278" y="1140"/>
                    <a:pt x="278" y="1165"/>
                  </a:cubicBezTo>
                  <a:close/>
                  <a:moveTo>
                    <a:pt x="150" y="705"/>
                  </a:moveTo>
                  <a:cubicBezTo>
                    <a:pt x="150" y="734"/>
                    <a:pt x="145" y="730"/>
                    <a:pt x="176" y="731"/>
                  </a:cubicBezTo>
                  <a:cubicBezTo>
                    <a:pt x="185" y="731"/>
                    <a:pt x="187" y="727"/>
                    <a:pt x="187" y="719"/>
                  </a:cubicBezTo>
                  <a:cubicBezTo>
                    <a:pt x="187" y="685"/>
                    <a:pt x="187" y="651"/>
                    <a:pt x="187" y="618"/>
                  </a:cubicBezTo>
                  <a:cubicBezTo>
                    <a:pt x="187" y="597"/>
                    <a:pt x="204" y="578"/>
                    <a:pt x="225" y="574"/>
                  </a:cubicBezTo>
                  <a:cubicBezTo>
                    <a:pt x="232" y="572"/>
                    <a:pt x="240" y="574"/>
                    <a:pt x="247" y="575"/>
                  </a:cubicBezTo>
                  <a:cubicBezTo>
                    <a:pt x="257" y="576"/>
                    <a:pt x="261" y="572"/>
                    <a:pt x="265" y="564"/>
                  </a:cubicBezTo>
                  <a:cubicBezTo>
                    <a:pt x="269" y="556"/>
                    <a:pt x="267" y="542"/>
                    <a:pt x="261" y="540"/>
                  </a:cubicBezTo>
                  <a:cubicBezTo>
                    <a:pt x="253" y="538"/>
                    <a:pt x="244" y="534"/>
                    <a:pt x="237" y="536"/>
                  </a:cubicBezTo>
                  <a:cubicBezTo>
                    <a:pt x="228" y="537"/>
                    <a:pt x="217" y="537"/>
                    <a:pt x="209" y="544"/>
                  </a:cubicBezTo>
                  <a:cubicBezTo>
                    <a:pt x="204" y="549"/>
                    <a:pt x="198" y="553"/>
                    <a:pt x="194" y="558"/>
                  </a:cubicBezTo>
                  <a:cubicBezTo>
                    <a:pt x="192" y="561"/>
                    <a:pt x="189" y="563"/>
                    <a:pt x="185" y="562"/>
                  </a:cubicBezTo>
                  <a:cubicBezTo>
                    <a:pt x="182" y="561"/>
                    <a:pt x="182" y="558"/>
                    <a:pt x="182" y="556"/>
                  </a:cubicBezTo>
                  <a:cubicBezTo>
                    <a:pt x="180" y="539"/>
                    <a:pt x="179" y="539"/>
                    <a:pt x="162" y="539"/>
                  </a:cubicBezTo>
                  <a:cubicBezTo>
                    <a:pt x="151" y="539"/>
                    <a:pt x="150" y="540"/>
                    <a:pt x="150" y="551"/>
                  </a:cubicBezTo>
                  <a:cubicBezTo>
                    <a:pt x="150" y="579"/>
                    <a:pt x="150" y="607"/>
                    <a:pt x="150" y="635"/>
                  </a:cubicBezTo>
                  <a:cubicBezTo>
                    <a:pt x="150" y="658"/>
                    <a:pt x="149" y="682"/>
                    <a:pt x="150" y="705"/>
                  </a:cubicBezTo>
                  <a:close/>
                  <a:moveTo>
                    <a:pt x="1011" y="1049"/>
                  </a:moveTo>
                  <a:cubicBezTo>
                    <a:pt x="1011" y="1008"/>
                    <a:pt x="1011" y="966"/>
                    <a:pt x="1011" y="924"/>
                  </a:cubicBezTo>
                  <a:cubicBezTo>
                    <a:pt x="1011" y="913"/>
                    <a:pt x="1008" y="910"/>
                    <a:pt x="997" y="910"/>
                  </a:cubicBezTo>
                  <a:cubicBezTo>
                    <a:pt x="995" y="910"/>
                    <a:pt x="992" y="910"/>
                    <a:pt x="990" y="910"/>
                  </a:cubicBezTo>
                  <a:cubicBezTo>
                    <a:pt x="976" y="910"/>
                    <a:pt x="975" y="911"/>
                    <a:pt x="975" y="926"/>
                  </a:cubicBezTo>
                  <a:cubicBezTo>
                    <a:pt x="975" y="1006"/>
                    <a:pt x="975" y="1085"/>
                    <a:pt x="975" y="1165"/>
                  </a:cubicBezTo>
                  <a:cubicBezTo>
                    <a:pt x="975" y="1185"/>
                    <a:pt x="975" y="1185"/>
                    <a:pt x="994" y="1185"/>
                  </a:cubicBezTo>
                  <a:cubicBezTo>
                    <a:pt x="1009" y="1185"/>
                    <a:pt x="1011" y="1184"/>
                    <a:pt x="1011" y="1169"/>
                  </a:cubicBezTo>
                  <a:cubicBezTo>
                    <a:pt x="1011" y="1129"/>
                    <a:pt x="1011" y="1089"/>
                    <a:pt x="1011" y="1049"/>
                  </a:cubicBezTo>
                  <a:cubicBezTo>
                    <a:pt x="1011" y="1049"/>
                    <a:pt x="1011" y="1049"/>
                    <a:pt x="1011" y="1049"/>
                  </a:cubicBezTo>
                  <a:close/>
                  <a:moveTo>
                    <a:pt x="296" y="176"/>
                  </a:moveTo>
                  <a:cubicBezTo>
                    <a:pt x="296" y="201"/>
                    <a:pt x="296" y="226"/>
                    <a:pt x="296" y="251"/>
                  </a:cubicBezTo>
                  <a:cubicBezTo>
                    <a:pt x="295" y="276"/>
                    <a:pt x="296" y="274"/>
                    <a:pt x="318" y="274"/>
                  </a:cubicBezTo>
                  <a:cubicBezTo>
                    <a:pt x="330" y="274"/>
                    <a:pt x="331" y="274"/>
                    <a:pt x="331" y="260"/>
                  </a:cubicBezTo>
                  <a:cubicBezTo>
                    <a:pt x="331" y="232"/>
                    <a:pt x="331" y="204"/>
                    <a:pt x="331" y="176"/>
                  </a:cubicBezTo>
                  <a:cubicBezTo>
                    <a:pt x="331" y="165"/>
                    <a:pt x="331" y="155"/>
                    <a:pt x="337" y="145"/>
                  </a:cubicBezTo>
                  <a:cubicBezTo>
                    <a:pt x="349" y="123"/>
                    <a:pt x="359" y="117"/>
                    <a:pt x="377" y="118"/>
                  </a:cubicBezTo>
                  <a:cubicBezTo>
                    <a:pt x="383" y="118"/>
                    <a:pt x="389" y="119"/>
                    <a:pt x="395" y="120"/>
                  </a:cubicBezTo>
                  <a:cubicBezTo>
                    <a:pt x="401" y="120"/>
                    <a:pt x="407" y="118"/>
                    <a:pt x="408" y="112"/>
                  </a:cubicBezTo>
                  <a:cubicBezTo>
                    <a:pt x="409" y="103"/>
                    <a:pt x="415" y="93"/>
                    <a:pt x="407" y="85"/>
                  </a:cubicBezTo>
                  <a:cubicBezTo>
                    <a:pt x="406" y="84"/>
                    <a:pt x="404" y="84"/>
                    <a:pt x="402" y="84"/>
                  </a:cubicBezTo>
                  <a:cubicBezTo>
                    <a:pt x="376" y="78"/>
                    <a:pt x="353" y="82"/>
                    <a:pt x="337" y="106"/>
                  </a:cubicBezTo>
                  <a:cubicBezTo>
                    <a:pt x="336" y="108"/>
                    <a:pt x="335" y="110"/>
                    <a:pt x="333" y="109"/>
                  </a:cubicBezTo>
                  <a:cubicBezTo>
                    <a:pt x="331" y="109"/>
                    <a:pt x="330" y="107"/>
                    <a:pt x="330" y="105"/>
                  </a:cubicBezTo>
                  <a:cubicBezTo>
                    <a:pt x="329" y="101"/>
                    <a:pt x="329" y="97"/>
                    <a:pt x="328" y="94"/>
                  </a:cubicBezTo>
                  <a:cubicBezTo>
                    <a:pt x="325" y="85"/>
                    <a:pt x="318" y="82"/>
                    <a:pt x="303" y="84"/>
                  </a:cubicBezTo>
                  <a:cubicBezTo>
                    <a:pt x="297" y="84"/>
                    <a:pt x="295" y="86"/>
                    <a:pt x="295" y="92"/>
                  </a:cubicBezTo>
                  <a:cubicBezTo>
                    <a:pt x="296" y="120"/>
                    <a:pt x="295" y="148"/>
                    <a:pt x="295" y="176"/>
                  </a:cubicBezTo>
                  <a:cubicBezTo>
                    <a:pt x="296" y="176"/>
                    <a:pt x="296" y="176"/>
                    <a:pt x="296" y="176"/>
                  </a:cubicBezTo>
                  <a:close/>
                  <a:moveTo>
                    <a:pt x="946" y="179"/>
                  </a:moveTo>
                  <a:cubicBezTo>
                    <a:pt x="946" y="197"/>
                    <a:pt x="946" y="215"/>
                    <a:pt x="946" y="234"/>
                  </a:cubicBezTo>
                  <a:cubicBezTo>
                    <a:pt x="946" y="248"/>
                    <a:pt x="951" y="260"/>
                    <a:pt x="963" y="268"/>
                  </a:cubicBezTo>
                  <a:cubicBezTo>
                    <a:pt x="982" y="280"/>
                    <a:pt x="1011" y="277"/>
                    <a:pt x="1029" y="264"/>
                  </a:cubicBezTo>
                  <a:cubicBezTo>
                    <a:pt x="1036" y="259"/>
                    <a:pt x="1036" y="254"/>
                    <a:pt x="1032" y="248"/>
                  </a:cubicBezTo>
                  <a:cubicBezTo>
                    <a:pt x="1026" y="239"/>
                    <a:pt x="1020" y="238"/>
                    <a:pt x="1013" y="242"/>
                  </a:cubicBezTo>
                  <a:cubicBezTo>
                    <a:pt x="996" y="252"/>
                    <a:pt x="978" y="243"/>
                    <a:pt x="978" y="223"/>
                  </a:cubicBezTo>
                  <a:cubicBezTo>
                    <a:pt x="978" y="190"/>
                    <a:pt x="978" y="157"/>
                    <a:pt x="978" y="123"/>
                  </a:cubicBezTo>
                  <a:cubicBezTo>
                    <a:pt x="978" y="116"/>
                    <a:pt x="981" y="113"/>
                    <a:pt x="988" y="113"/>
                  </a:cubicBezTo>
                  <a:cubicBezTo>
                    <a:pt x="999" y="114"/>
                    <a:pt x="1011" y="113"/>
                    <a:pt x="1022" y="113"/>
                  </a:cubicBezTo>
                  <a:cubicBezTo>
                    <a:pt x="1028" y="113"/>
                    <a:pt x="1033" y="112"/>
                    <a:pt x="1033" y="104"/>
                  </a:cubicBezTo>
                  <a:cubicBezTo>
                    <a:pt x="1033" y="96"/>
                    <a:pt x="1032" y="90"/>
                    <a:pt x="1022" y="90"/>
                  </a:cubicBezTo>
                  <a:cubicBezTo>
                    <a:pt x="1011" y="90"/>
                    <a:pt x="1001" y="90"/>
                    <a:pt x="990" y="90"/>
                  </a:cubicBezTo>
                  <a:cubicBezTo>
                    <a:pt x="981" y="91"/>
                    <a:pt x="977" y="88"/>
                    <a:pt x="978" y="78"/>
                  </a:cubicBezTo>
                  <a:cubicBezTo>
                    <a:pt x="978" y="64"/>
                    <a:pt x="978" y="49"/>
                    <a:pt x="978" y="35"/>
                  </a:cubicBezTo>
                  <a:cubicBezTo>
                    <a:pt x="978" y="30"/>
                    <a:pt x="978" y="25"/>
                    <a:pt x="971" y="24"/>
                  </a:cubicBezTo>
                  <a:cubicBezTo>
                    <a:pt x="964" y="24"/>
                    <a:pt x="956" y="24"/>
                    <a:pt x="955" y="32"/>
                  </a:cubicBezTo>
                  <a:cubicBezTo>
                    <a:pt x="952" y="43"/>
                    <a:pt x="949" y="54"/>
                    <a:pt x="949" y="65"/>
                  </a:cubicBezTo>
                  <a:cubicBezTo>
                    <a:pt x="948" y="88"/>
                    <a:pt x="947" y="88"/>
                    <a:pt x="924" y="91"/>
                  </a:cubicBezTo>
                  <a:cubicBezTo>
                    <a:pt x="919" y="92"/>
                    <a:pt x="914" y="92"/>
                    <a:pt x="914" y="99"/>
                  </a:cubicBezTo>
                  <a:cubicBezTo>
                    <a:pt x="915" y="107"/>
                    <a:pt x="917" y="113"/>
                    <a:pt x="926" y="113"/>
                  </a:cubicBezTo>
                  <a:cubicBezTo>
                    <a:pt x="929" y="114"/>
                    <a:pt x="932" y="113"/>
                    <a:pt x="935" y="113"/>
                  </a:cubicBezTo>
                  <a:cubicBezTo>
                    <a:pt x="943" y="113"/>
                    <a:pt x="946" y="116"/>
                    <a:pt x="946" y="124"/>
                  </a:cubicBezTo>
                  <a:cubicBezTo>
                    <a:pt x="946" y="142"/>
                    <a:pt x="946" y="161"/>
                    <a:pt x="946" y="179"/>
                  </a:cubicBezTo>
                  <a:cubicBezTo>
                    <a:pt x="946" y="179"/>
                    <a:pt x="946" y="179"/>
                    <a:pt x="946" y="179"/>
                  </a:cubicBezTo>
                  <a:close/>
                </a:path>
              </a:pathLst>
            </a:custGeom>
            <a:solidFill>
              <a:srgbClr val="4C505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grpSp>
          <p:nvGrpSpPr>
            <p:cNvPr id="18" name="Group 4">
              <a:extLst>
                <a:ext uri="{FF2B5EF4-FFF2-40B4-BE49-F238E27FC236}">
                  <a16:creationId xmlns:a16="http://schemas.microsoft.com/office/drawing/2014/main" id="{57BD2C4C-DC67-B843-B26C-309622FC75F7}"/>
                </a:ext>
              </a:extLst>
            </p:cNvPr>
            <p:cNvGrpSpPr>
              <a:grpSpLocks noChangeAspect="1"/>
            </p:cNvGrpSpPr>
            <p:nvPr/>
          </p:nvGrpSpPr>
          <p:grpSpPr bwMode="gray">
            <a:xfrm>
              <a:off x="334963" y="296652"/>
              <a:ext cx="538094" cy="540000"/>
              <a:chOff x="2711" y="1027"/>
              <a:chExt cx="2258" cy="2266"/>
            </a:xfrm>
          </p:grpSpPr>
          <p:sp>
            <p:nvSpPr>
              <p:cNvPr id="19" name="AutoShape 3">
                <a:extLst>
                  <a:ext uri="{FF2B5EF4-FFF2-40B4-BE49-F238E27FC236}">
                    <a16:creationId xmlns:a16="http://schemas.microsoft.com/office/drawing/2014/main" id="{FE1DC41B-291E-574C-9F2C-874E70A40758}"/>
                  </a:ext>
                </a:extLst>
              </p:cNvPr>
              <p:cNvSpPr>
                <a:spLocks noChangeAspect="1" noChangeArrowheads="1" noTextEdit="1"/>
              </p:cNvSpPr>
              <p:nvPr/>
            </p:nvSpPr>
            <p:spPr bwMode="gray">
              <a:xfrm>
                <a:off x="2711" y="1027"/>
                <a:ext cx="2258" cy="22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20" name="Freeform 5">
                <a:extLst>
                  <a:ext uri="{FF2B5EF4-FFF2-40B4-BE49-F238E27FC236}">
                    <a16:creationId xmlns:a16="http://schemas.microsoft.com/office/drawing/2014/main" id="{D4B633C8-F761-C54B-9BD2-EB59D49A2DBC}"/>
                  </a:ext>
                </a:extLst>
              </p:cNvPr>
              <p:cNvSpPr>
                <a:spLocks/>
              </p:cNvSpPr>
              <p:nvPr/>
            </p:nvSpPr>
            <p:spPr bwMode="gray">
              <a:xfrm>
                <a:off x="2709" y="1029"/>
                <a:ext cx="2260" cy="2262"/>
              </a:xfrm>
              <a:custGeom>
                <a:avLst/>
                <a:gdLst>
                  <a:gd name="T0" fmla="*/ 2260 w 2260"/>
                  <a:gd name="T1" fmla="*/ 0 h 2262"/>
                  <a:gd name="T2" fmla="*/ 1612 w 2260"/>
                  <a:gd name="T3" fmla="*/ 649 h 2262"/>
                  <a:gd name="T4" fmla="*/ 1612 w 2260"/>
                  <a:gd name="T5" fmla="*/ 649 h 2262"/>
                  <a:gd name="T6" fmla="*/ 2035 w 2260"/>
                  <a:gd name="T7" fmla="*/ 0 h 2262"/>
                  <a:gd name="T8" fmla="*/ 0 w 2260"/>
                  <a:gd name="T9" fmla="*/ 0 h 2262"/>
                  <a:gd name="T10" fmla="*/ 0 w 2260"/>
                  <a:gd name="T11" fmla="*/ 2262 h 2262"/>
                  <a:gd name="T12" fmla="*/ 2260 w 2260"/>
                  <a:gd name="T13" fmla="*/ 2262 h 2262"/>
                  <a:gd name="T14" fmla="*/ 2260 w 2260"/>
                  <a:gd name="T15" fmla="*/ 0 h 2262"/>
                  <a:gd name="T16" fmla="*/ 2260 w 2260"/>
                  <a:gd name="T17" fmla="*/ 0 h 2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0" h="2262">
                    <a:moveTo>
                      <a:pt x="2260" y="0"/>
                    </a:moveTo>
                    <a:lnTo>
                      <a:pt x="1612" y="649"/>
                    </a:lnTo>
                    <a:lnTo>
                      <a:pt x="1612" y="649"/>
                    </a:lnTo>
                    <a:lnTo>
                      <a:pt x="2035" y="0"/>
                    </a:lnTo>
                    <a:lnTo>
                      <a:pt x="0" y="0"/>
                    </a:lnTo>
                    <a:lnTo>
                      <a:pt x="0" y="2262"/>
                    </a:lnTo>
                    <a:lnTo>
                      <a:pt x="2260" y="2262"/>
                    </a:lnTo>
                    <a:lnTo>
                      <a:pt x="2260" y="0"/>
                    </a:lnTo>
                    <a:lnTo>
                      <a:pt x="2260" y="0"/>
                    </a:lnTo>
                    <a:close/>
                  </a:path>
                </a:pathLst>
              </a:custGeom>
              <a:solidFill>
                <a:srgbClr val="E55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21" name="Freeform 6">
                <a:extLst>
                  <a:ext uri="{FF2B5EF4-FFF2-40B4-BE49-F238E27FC236}">
                    <a16:creationId xmlns:a16="http://schemas.microsoft.com/office/drawing/2014/main" id="{B16BAAE4-1A41-C843-9754-490F7A1E1270}"/>
                  </a:ext>
                </a:extLst>
              </p:cNvPr>
              <p:cNvSpPr>
                <a:spLocks noEditPoints="1"/>
              </p:cNvSpPr>
              <p:nvPr/>
            </p:nvSpPr>
            <p:spPr bwMode="gray">
              <a:xfrm>
                <a:off x="3623" y="1696"/>
                <a:ext cx="1167" cy="922"/>
              </a:xfrm>
              <a:custGeom>
                <a:avLst/>
                <a:gdLst>
                  <a:gd name="T0" fmla="*/ 411 w 580"/>
                  <a:gd name="T1" fmla="*/ 213 h 458"/>
                  <a:gd name="T2" fmla="*/ 570 w 580"/>
                  <a:gd name="T3" fmla="*/ 37 h 458"/>
                  <a:gd name="T4" fmla="*/ 580 w 580"/>
                  <a:gd name="T5" fmla="*/ 20 h 458"/>
                  <a:gd name="T6" fmla="*/ 545 w 580"/>
                  <a:gd name="T7" fmla="*/ 0 h 458"/>
                  <a:gd name="T8" fmla="*/ 519 w 580"/>
                  <a:gd name="T9" fmla="*/ 16 h 458"/>
                  <a:gd name="T10" fmla="*/ 344 w 580"/>
                  <a:gd name="T11" fmla="*/ 210 h 458"/>
                  <a:gd name="T12" fmla="*/ 334 w 580"/>
                  <a:gd name="T13" fmla="*/ 229 h 458"/>
                  <a:gd name="T14" fmla="*/ 344 w 580"/>
                  <a:gd name="T15" fmla="*/ 248 h 458"/>
                  <a:gd name="T16" fmla="*/ 519 w 580"/>
                  <a:gd name="T17" fmla="*/ 442 h 458"/>
                  <a:gd name="T18" fmla="*/ 545 w 580"/>
                  <a:gd name="T19" fmla="*/ 458 h 458"/>
                  <a:gd name="T20" fmla="*/ 580 w 580"/>
                  <a:gd name="T21" fmla="*/ 438 h 458"/>
                  <a:gd name="T22" fmla="*/ 570 w 580"/>
                  <a:gd name="T23" fmla="*/ 421 h 458"/>
                  <a:gd name="T24" fmla="*/ 411 w 580"/>
                  <a:gd name="T25" fmla="*/ 245 h 458"/>
                  <a:gd name="T26" fmla="*/ 399 w 580"/>
                  <a:gd name="T27" fmla="*/ 229 h 458"/>
                  <a:gd name="T28" fmla="*/ 411 w 580"/>
                  <a:gd name="T29" fmla="*/ 213 h 458"/>
                  <a:gd name="T30" fmla="*/ 252 w 580"/>
                  <a:gd name="T31" fmla="*/ 439 h 458"/>
                  <a:gd name="T32" fmla="*/ 281 w 580"/>
                  <a:gd name="T33" fmla="*/ 454 h 458"/>
                  <a:gd name="T34" fmla="*/ 309 w 580"/>
                  <a:gd name="T35" fmla="*/ 439 h 458"/>
                  <a:gd name="T36" fmla="*/ 309 w 580"/>
                  <a:gd name="T37" fmla="*/ 19 h 458"/>
                  <a:gd name="T38" fmla="*/ 281 w 580"/>
                  <a:gd name="T39" fmla="*/ 4 h 458"/>
                  <a:gd name="T40" fmla="*/ 252 w 580"/>
                  <a:gd name="T41" fmla="*/ 19 h 458"/>
                  <a:gd name="T42" fmla="*/ 252 w 580"/>
                  <a:gd name="T43" fmla="*/ 439 h 458"/>
                  <a:gd name="T44" fmla="*/ 0 w 580"/>
                  <a:gd name="T45" fmla="*/ 439 h 458"/>
                  <a:gd name="T46" fmla="*/ 28 w 580"/>
                  <a:gd name="T47" fmla="*/ 454 h 458"/>
                  <a:gd name="T48" fmla="*/ 56 w 580"/>
                  <a:gd name="T49" fmla="*/ 439 h 458"/>
                  <a:gd name="T50" fmla="*/ 56 w 580"/>
                  <a:gd name="T51" fmla="*/ 157 h 458"/>
                  <a:gd name="T52" fmla="*/ 165 w 580"/>
                  <a:gd name="T53" fmla="*/ 53 h 458"/>
                  <a:gd name="T54" fmla="*/ 180 w 580"/>
                  <a:gd name="T55" fmla="*/ 53 h 458"/>
                  <a:gd name="T56" fmla="*/ 196 w 580"/>
                  <a:gd name="T57" fmla="*/ 27 h 458"/>
                  <a:gd name="T58" fmla="*/ 154 w 580"/>
                  <a:gd name="T59" fmla="*/ 4 h 458"/>
                  <a:gd name="T60" fmla="*/ 0 w 580"/>
                  <a:gd name="T61" fmla="*/ 152 h 458"/>
                  <a:gd name="T62" fmla="*/ 0 w 580"/>
                  <a:gd name="T63" fmla="*/ 439 h 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80" h="458">
                    <a:moveTo>
                      <a:pt x="411" y="213"/>
                    </a:moveTo>
                    <a:cubicBezTo>
                      <a:pt x="570" y="37"/>
                      <a:pt x="570" y="37"/>
                      <a:pt x="570" y="37"/>
                    </a:cubicBezTo>
                    <a:cubicBezTo>
                      <a:pt x="576" y="30"/>
                      <a:pt x="580" y="25"/>
                      <a:pt x="580" y="20"/>
                    </a:cubicBezTo>
                    <a:cubicBezTo>
                      <a:pt x="580" y="10"/>
                      <a:pt x="559" y="0"/>
                      <a:pt x="545" y="0"/>
                    </a:cubicBezTo>
                    <a:cubicBezTo>
                      <a:pt x="535" y="0"/>
                      <a:pt x="526" y="8"/>
                      <a:pt x="519" y="16"/>
                    </a:cubicBezTo>
                    <a:cubicBezTo>
                      <a:pt x="344" y="210"/>
                      <a:pt x="344" y="210"/>
                      <a:pt x="344" y="210"/>
                    </a:cubicBezTo>
                    <a:cubicBezTo>
                      <a:pt x="336" y="219"/>
                      <a:pt x="334" y="224"/>
                      <a:pt x="334" y="229"/>
                    </a:cubicBezTo>
                    <a:cubicBezTo>
                      <a:pt x="334" y="234"/>
                      <a:pt x="336" y="239"/>
                      <a:pt x="344" y="248"/>
                    </a:cubicBezTo>
                    <a:cubicBezTo>
                      <a:pt x="519" y="442"/>
                      <a:pt x="519" y="442"/>
                      <a:pt x="519" y="442"/>
                    </a:cubicBezTo>
                    <a:cubicBezTo>
                      <a:pt x="526" y="450"/>
                      <a:pt x="535" y="458"/>
                      <a:pt x="545" y="458"/>
                    </a:cubicBezTo>
                    <a:cubicBezTo>
                      <a:pt x="559" y="458"/>
                      <a:pt x="580" y="448"/>
                      <a:pt x="580" y="438"/>
                    </a:cubicBezTo>
                    <a:cubicBezTo>
                      <a:pt x="580" y="433"/>
                      <a:pt x="576" y="428"/>
                      <a:pt x="570" y="421"/>
                    </a:cubicBezTo>
                    <a:cubicBezTo>
                      <a:pt x="411" y="245"/>
                      <a:pt x="411" y="245"/>
                      <a:pt x="411" y="245"/>
                    </a:cubicBezTo>
                    <a:cubicBezTo>
                      <a:pt x="403" y="236"/>
                      <a:pt x="399" y="232"/>
                      <a:pt x="399" y="229"/>
                    </a:cubicBezTo>
                    <a:cubicBezTo>
                      <a:pt x="399" y="226"/>
                      <a:pt x="403" y="222"/>
                      <a:pt x="411" y="213"/>
                    </a:cubicBezTo>
                    <a:moveTo>
                      <a:pt x="252" y="439"/>
                    </a:moveTo>
                    <a:cubicBezTo>
                      <a:pt x="252" y="449"/>
                      <a:pt x="261" y="454"/>
                      <a:pt x="281" y="454"/>
                    </a:cubicBezTo>
                    <a:cubicBezTo>
                      <a:pt x="300" y="454"/>
                      <a:pt x="309" y="449"/>
                      <a:pt x="309" y="439"/>
                    </a:cubicBezTo>
                    <a:cubicBezTo>
                      <a:pt x="309" y="19"/>
                      <a:pt x="309" y="19"/>
                      <a:pt x="309" y="19"/>
                    </a:cubicBezTo>
                    <a:cubicBezTo>
                      <a:pt x="309" y="9"/>
                      <a:pt x="300" y="4"/>
                      <a:pt x="281" y="4"/>
                    </a:cubicBezTo>
                    <a:cubicBezTo>
                      <a:pt x="261" y="4"/>
                      <a:pt x="252" y="9"/>
                      <a:pt x="252" y="19"/>
                    </a:cubicBezTo>
                    <a:lnTo>
                      <a:pt x="252" y="439"/>
                    </a:lnTo>
                    <a:close/>
                    <a:moveTo>
                      <a:pt x="0" y="439"/>
                    </a:moveTo>
                    <a:cubicBezTo>
                      <a:pt x="0" y="449"/>
                      <a:pt x="8" y="454"/>
                      <a:pt x="28" y="454"/>
                    </a:cubicBezTo>
                    <a:cubicBezTo>
                      <a:pt x="48" y="454"/>
                      <a:pt x="56" y="449"/>
                      <a:pt x="56" y="439"/>
                    </a:cubicBezTo>
                    <a:cubicBezTo>
                      <a:pt x="56" y="157"/>
                      <a:pt x="56" y="157"/>
                      <a:pt x="56" y="157"/>
                    </a:cubicBezTo>
                    <a:cubicBezTo>
                      <a:pt x="56" y="83"/>
                      <a:pt x="85" y="53"/>
                      <a:pt x="165" y="53"/>
                    </a:cubicBezTo>
                    <a:cubicBezTo>
                      <a:pt x="180" y="53"/>
                      <a:pt x="180" y="53"/>
                      <a:pt x="180" y="53"/>
                    </a:cubicBezTo>
                    <a:cubicBezTo>
                      <a:pt x="192" y="53"/>
                      <a:pt x="196" y="43"/>
                      <a:pt x="196" y="27"/>
                    </a:cubicBezTo>
                    <a:cubicBezTo>
                      <a:pt x="196" y="8"/>
                      <a:pt x="185" y="4"/>
                      <a:pt x="154" y="4"/>
                    </a:cubicBezTo>
                    <a:cubicBezTo>
                      <a:pt x="64" y="4"/>
                      <a:pt x="0" y="43"/>
                      <a:pt x="0" y="152"/>
                    </a:cubicBezTo>
                    <a:lnTo>
                      <a:pt x="0" y="43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22" name="Freeform 7">
                <a:extLst>
                  <a:ext uri="{FF2B5EF4-FFF2-40B4-BE49-F238E27FC236}">
                    <a16:creationId xmlns:a16="http://schemas.microsoft.com/office/drawing/2014/main" id="{2F32DCBD-8628-F245-85CD-97686A20ECFD}"/>
                  </a:ext>
                </a:extLst>
              </p:cNvPr>
              <p:cNvSpPr>
                <a:spLocks/>
              </p:cNvSpPr>
              <p:nvPr/>
            </p:nvSpPr>
            <p:spPr bwMode="gray">
              <a:xfrm>
                <a:off x="2880" y="1704"/>
                <a:ext cx="618" cy="916"/>
              </a:xfrm>
              <a:custGeom>
                <a:avLst/>
                <a:gdLst>
                  <a:gd name="T0" fmla="*/ 307 w 307"/>
                  <a:gd name="T1" fmla="*/ 405 h 455"/>
                  <a:gd name="T2" fmla="*/ 307 w 307"/>
                  <a:gd name="T3" fmla="*/ 244 h 455"/>
                  <a:gd name="T4" fmla="*/ 279 w 307"/>
                  <a:gd name="T5" fmla="*/ 229 h 455"/>
                  <a:gd name="T6" fmla="*/ 250 w 307"/>
                  <a:gd name="T7" fmla="*/ 244 h 455"/>
                  <a:gd name="T8" fmla="*/ 250 w 307"/>
                  <a:gd name="T9" fmla="*/ 378 h 455"/>
                  <a:gd name="T10" fmla="*/ 199 w 307"/>
                  <a:gd name="T11" fmla="*/ 408 h 455"/>
                  <a:gd name="T12" fmla="*/ 61 w 307"/>
                  <a:gd name="T13" fmla="*/ 231 h 455"/>
                  <a:gd name="T14" fmla="*/ 238 w 307"/>
                  <a:gd name="T15" fmla="*/ 49 h 455"/>
                  <a:gd name="T16" fmla="*/ 270 w 307"/>
                  <a:gd name="T17" fmla="*/ 49 h 455"/>
                  <a:gd name="T18" fmla="*/ 286 w 307"/>
                  <a:gd name="T19" fmla="*/ 23 h 455"/>
                  <a:gd name="T20" fmla="*/ 244 w 307"/>
                  <a:gd name="T21" fmla="*/ 0 h 455"/>
                  <a:gd name="T22" fmla="*/ 231 w 307"/>
                  <a:gd name="T23" fmla="*/ 0 h 455"/>
                  <a:gd name="T24" fmla="*/ 0 w 307"/>
                  <a:gd name="T25" fmla="*/ 232 h 455"/>
                  <a:gd name="T26" fmla="*/ 198 w 307"/>
                  <a:gd name="T27" fmla="*/ 455 h 455"/>
                  <a:gd name="T28" fmla="*/ 307 w 307"/>
                  <a:gd name="T29" fmla="*/ 405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7" h="455">
                    <a:moveTo>
                      <a:pt x="307" y="405"/>
                    </a:moveTo>
                    <a:cubicBezTo>
                      <a:pt x="307" y="244"/>
                      <a:pt x="307" y="244"/>
                      <a:pt x="307" y="244"/>
                    </a:cubicBezTo>
                    <a:cubicBezTo>
                      <a:pt x="307" y="234"/>
                      <a:pt x="298" y="229"/>
                      <a:pt x="279" y="229"/>
                    </a:cubicBezTo>
                    <a:cubicBezTo>
                      <a:pt x="259" y="229"/>
                      <a:pt x="250" y="234"/>
                      <a:pt x="250" y="244"/>
                    </a:cubicBezTo>
                    <a:cubicBezTo>
                      <a:pt x="250" y="378"/>
                      <a:pt x="250" y="378"/>
                      <a:pt x="250" y="378"/>
                    </a:cubicBezTo>
                    <a:cubicBezTo>
                      <a:pt x="250" y="399"/>
                      <a:pt x="241" y="408"/>
                      <a:pt x="199" y="408"/>
                    </a:cubicBezTo>
                    <a:cubicBezTo>
                      <a:pt x="114" y="408"/>
                      <a:pt x="61" y="342"/>
                      <a:pt x="61" y="231"/>
                    </a:cubicBezTo>
                    <a:cubicBezTo>
                      <a:pt x="61" y="115"/>
                      <a:pt x="126" y="49"/>
                      <a:pt x="238" y="49"/>
                    </a:cubicBezTo>
                    <a:cubicBezTo>
                      <a:pt x="270" y="49"/>
                      <a:pt x="270" y="49"/>
                      <a:pt x="270" y="49"/>
                    </a:cubicBezTo>
                    <a:cubicBezTo>
                      <a:pt x="282" y="49"/>
                      <a:pt x="286" y="39"/>
                      <a:pt x="286" y="23"/>
                    </a:cubicBezTo>
                    <a:cubicBezTo>
                      <a:pt x="286" y="4"/>
                      <a:pt x="275" y="0"/>
                      <a:pt x="244" y="0"/>
                    </a:cubicBezTo>
                    <a:cubicBezTo>
                      <a:pt x="231" y="0"/>
                      <a:pt x="231" y="0"/>
                      <a:pt x="231" y="0"/>
                    </a:cubicBezTo>
                    <a:cubicBezTo>
                      <a:pt x="101" y="0"/>
                      <a:pt x="0" y="71"/>
                      <a:pt x="0" y="232"/>
                    </a:cubicBezTo>
                    <a:cubicBezTo>
                      <a:pt x="0" y="386"/>
                      <a:pt x="88" y="455"/>
                      <a:pt x="198" y="455"/>
                    </a:cubicBezTo>
                    <a:cubicBezTo>
                      <a:pt x="286" y="455"/>
                      <a:pt x="307" y="430"/>
                      <a:pt x="307" y="40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23" name="Oval 8">
                <a:extLst>
                  <a:ext uri="{FF2B5EF4-FFF2-40B4-BE49-F238E27FC236}">
                    <a16:creationId xmlns:a16="http://schemas.microsoft.com/office/drawing/2014/main" id="{60D97C11-1A3B-5449-A48D-98A3E79B3810}"/>
                  </a:ext>
                </a:extLst>
              </p:cNvPr>
              <p:cNvSpPr>
                <a:spLocks noChangeArrowheads="1"/>
              </p:cNvSpPr>
              <p:nvPr/>
            </p:nvSpPr>
            <p:spPr bwMode="gray">
              <a:xfrm>
                <a:off x="3778" y="2099"/>
                <a:ext cx="122" cy="12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24" name="Freeform 9">
                <a:extLst>
                  <a:ext uri="{FF2B5EF4-FFF2-40B4-BE49-F238E27FC236}">
                    <a16:creationId xmlns:a16="http://schemas.microsoft.com/office/drawing/2014/main" id="{5856770D-B8F0-244E-A05D-AED190086F10}"/>
                  </a:ext>
                </a:extLst>
              </p:cNvPr>
              <p:cNvSpPr>
                <a:spLocks noEditPoints="1"/>
              </p:cNvSpPr>
              <p:nvPr/>
            </p:nvSpPr>
            <p:spPr bwMode="gray">
              <a:xfrm>
                <a:off x="3623" y="1696"/>
                <a:ext cx="1167" cy="922"/>
              </a:xfrm>
              <a:custGeom>
                <a:avLst/>
                <a:gdLst>
                  <a:gd name="T0" fmla="*/ 411 w 580"/>
                  <a:gd name="T1" fmla="*/ 213 h 458"/>
                  <a:gd name="T2" fmla="*/ 570 w 580"/>
                  <a:gd name="T3" fmla="*/ 37 h 458"/>
                  <a:gd name="T4" fmla="*/ 580 w 580"/>
                  <a:gd name="T5" fmla="*/ 20 h 458"/>
                  <a:gd name="T6" fmla="*/ 545 w 580"/>
                  <a:gd name="T7" fmla="*/ 0 h 458"/>
                  <a:gd name="T8" fmla="*/ 519 w 580"/>
                  <a:gd name="T9" fmla="*/ 16 h 458"/>
                  <a:gd name="T10" fmla="*/ 344 w 580"/>
                  <a:gd name="T11" fmla="*/ 210 h 458"/>
                  <a:gd name="T12" fmla="*/ 334 w 580"/>
                  <a:gd name="T13" fmla="*/ 229 h 458"/>
                  <a:gd name="T14" fmla="*/ 344 w 580"/>
                  <a:gd name="T15" fmla="*/ 248 h 458"/>
                  <a:gd name="T16" fmla="*/ 519 w 580"/>
                  <a:gd name="T17" fmla="*/ 442 h 458"/>
                  <a:gd name="T18" fmla="*/ 545 w 580"/>
                  <a:gd name="T19" fmla="*/ 458 h 458"/>
                  <a:gd name="T20" fmla="*/ 580 w 580"/>
                  <a:gd name="T21" fmla="*/ 438 h 458"/>
                  <a:gd name="T22" fmla="*/ 570 w 580"/>
                  <a:gd name="T23" fmla="*/ 421 h 458"/>
                  <a:gd name="T24" fmla="*/ 411 w 580"/>
                  <a:gd name="T25" fmla="*/ 245 h 458"/>
                  <a:gd name="T26" fmla="*/ 399 w 580"/>
                  <a:gd name="T27" fmla="*/ 229 h 458"/>
                  <a:gd name="T28" fmla="*/ 411 w 580"/>
                  <a:gd name="T29" fmla="*/ 213 h 458"/>
                  <a:gd name="T30" fmla="*/ 252 w 580"/>
                  <a:gd name="T31" fmla="*/ 439 h 458"/>
                  <a:gd name="T32" fmla="*/ 281 w 580"/>
                  <a:gd name="T33" fmla="*/ 454 h 458"/>
                  <a:gd name="T34" fmla="*/ 309 w 580"/>
                  <a:gd name="T35" fmla="*/ 439 h 458"/>
                  <a:gd name="T36" fmla="*/ 309 w 580"/>
                  <a:gd name="T37" fmla="*/ 19 h 458"/>
                  <a:gd name="T38" fmla="*/ 281 w 580"/>
                  <a:gd name="T39" fmla="*/ 4 h 458"/>
                  <a:gd name="T40" fmla="*/ 252 w 580"/>
                  <a:gd name="T41" fmla="*/ 19 h 458"/>
                  <a:gd name="T42" fmla="*/ 252 w 580"/>
                  <a:gd name="T43" fmla="*/ 439 h 458"/>
                  <a:gd name="T44" fmla="*/ 0 w 580"/>
                  <a:gd name="T45" fmla="*/ 439 h 458"/>
                  <a:gd name="T46" fmla="*/ 28 w 580"/>
                  <a:gd name="T47" fmla="*/ 454 h 458"/>
                  <a:gd name="T48" fmla="*/ 56 w 580"/>
                  <a:gd name="T49" fmla="*/ 439 h 458"/>
                  <a:gd name="T50" fmla="*/ 56 w 580"/>
                  <a:gd name="T51" fmla="*/ 157 h 458"/>
                  <a:gd name="T52" fmla="*/ 165 w 580"/>
                  <a:gd name="T53" fmla="*/ 53 h 458"/>
                  <a:gd name="T54" fmla="*/ 180 w 580"/>
                  <a:gd name="T55" fmla="*/ 53 h 458"/>
                  <a:gd name="T56" fmla="*/ 196 w 580"/>
                  <a:gd name="T57" fmla="*/ 27 h 458"/>
                  <a:gd name="T58" fmla="*/ 154 w 580"/>
                  <a:gd name="T59" fmla="*/ 4 h 458"/>
                  <a:gd name="T60" fmla="*/ 0 w 580"/>
                  <a:gd name="T61" fmla="*/ 152 h 458"/>
                  <a:gd name="T62" fmla="*/ 0 w 580"/>
                  <a:gd name="T63" fmla="*/ 439 h 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80" h="458">
                    <a:moveTo>
                      <a:pt x="411" y="213"/>
                    </a:moveTo>
                    <a:cubicBezTo>
                      <a:pt x="570" y="37"/>
                      <a:pt x="570" y="37"/>
                      <a:pt x="570" y="37"/>
                    </a:cubicBezTo>
                    <a:cubicBezTo>
                      <a:pt x="576" y="30"/>
                      <a:pt x="580" y="25"/>
                      <a:pt x="580" y="20"/>
                    </a:cubicBezTo>
                    <a:cubicBezTo>
                      <a:pt x="580" y="10"/>
                      <a:pt x="559" y="0"/>
                      <a:pt x="545" y="0"/>
                    </a:cubicBezTo>
                    <a:cubicBezTo>
                      <a:pt x="535" y="0"/>
                      <a:pt x="526" y="8"/>
                      <a:pt x="519" y="16"/>
                    </a:cubicBezTo>
                    <a:cubicBezTo>
                      <a:pt x="344" y="210"/>
                      <a:pt x="344" y="210"/>
                      <a:pt x="344" y="210"/>
                    </a:cubicBezTo>
                    <a:cubicBezTo>
                      <a:pt x="336" y="219"/>
                      <a:pt x="334" y="224"/>
                      <a:pt x="334" y="229"/>
                    </a:cubicBezTo>
                    <a:cubicBezTo>
                      <a:pt x="334" y="234"/>
                      <a:pt x="336" y="239"/>
                      <a:pt x="344" y="248"/>
                    </a:cubicBezTo>
                    <a:cubicBezTo>
                      <a:pt x="519" y="442"/>
                      <a:pt x="519" y="442"/>
                      <a:pt x="519" y="442"/>
                    </a:cubicBezTo>
                    <a:cubicBezTo>
                      <a:pt x="526" y="450"/>
                      <a:pt x="535" y="458"/>
                      <a:pt x="545" y="458"/>
                    </a:cubicBezTo>
                    <a:cubicBezTo>
                      <a:pt x="559" y="458"/>
                      <a:pt x="580" y="448"/>
                      <a:pt x="580" y="438"/>
                    </a:cubicBezTo>
                    <a:cubicBezTo>
                      <a:pt x="580" y="433"/>
                      <a:pt x="576" y="428"/>
                      <a:pt x="570" y="421"/>
                    </a:cubicBezTo>
                    <a:cubicBezTo>
                      <a:pt x="411" y="245"/>
                      <a:pt x="411" y="245"/>
                      <a:pt x="411" y="245"/>
                    </a:cubicBezTo>
                    <a:cubicBezTo>
                      <a:pt x="403" y="236"/>
                      <a:pt x="399" y="232"/>
                      <a:pt x="399" y="229"/>
                    </a:cubicBezTo>
                    <a:cubicBezTo>
                      <a:pt x="399" y="226"/>
                      <a:pt x="403" y="222"/>
                      <a:pt x="411" y="213"/>
                    </a:cubicBezTo>
                    <a:moveTo>
                      <a:pt x="252" y="439"/>
                    </a:moveTo>
                    <a:cubicBezTo>
                      <a:pt x="252" y="449"/>
                      <a:pt x="261" y="454"/>
                      <a:pt x="281" y="454"/>
                    </a:cubicBezTo>
                    <a:cubicBezTo>
                      <a:pt x="300" y="454"/>
                      <a:pt x="309" y="449"/>
                      <a:pt x="309" y="439"/>
                    </a:cubicBezTo>
                    <a:cubicBezTo>
                      <a:pt x="309" y="19"/>
                      <a:pt x="309" y="19"/>
                      <a:pt x="309" y="19"/>
                    </a:cubicBezTo>
                    <a:cubicBezTo>
                      <a:pt x="309" y="9"/>
                      <a:pt x="300" y="4"/>
                      <a:pt x="281" y="4"/>
                    </a:cubicBezTo>
                    <a:cubicBezTo>
                      <a:pt x="261" y="4"/>
                      <a:pt x="252" y="9"/>
                      <a:pt x="252" y="19"/>
                    </a:cubicBezTo>
                    <a:lnTo>
                      <a:pt x="252" y="439"/>
                    </a:lnTo>
                    <a:close/>
                    <a:moveTo>
                      <a:pt x="0" y="439"/>
                    </a:moveTo>
                    <a:cubicBezTo>
                      <a:pt x="0" y="449"/>
                      <a:pt x="8" y="454"/>
                      <a:pt x="28" y="454"/>
                    </a:cubicBezTo>
                    <a:cubicBezTo>
                      <a:pt x="48" y="454"/>
                      <a:pt x="56" y="449"/>
                      <a:pt x="56" y="439"/>
                    </a:cubicBezTo>
                    <a:cubicBezTo>
                      <a:pt x="56" y="157"/>
                      <a:pt x="56" y="157"/>
                      <a:pt x="56" y="157"/>
                    </a:cubicBezTo>
                    <a:cubicBezTo>
                      <a:pt x="56" y="83"/>
                      <a:pt x="85" y="53"/>
                      <a:pt x="165" y="53"/>
                    </a:cubicBezTo>
                    <a:cubicBezTo>
                      <a:pt x="180" y="53"/>
                      <a:pt x="180" y="53"/>
                      <a:pt x="180" y="53"/>
                    </a:cubicBezTo>
                    <a:cubicBezTo>
                      <a:pt x="192" y="53"/>
                      <a:pt x="196" y="43"/>
                      <a:pt x="196" y="27"/>
                    </a:cubicBezTo>
                    <a:cubicBezTo>
                      <a:pt x="196" y="8"/>
                      <a:pt x="185" y="4"/>
                      <a:pt x="154" y="4"/>
                    </a:cubicBezTo>
                    <a:cubicBezTo>
                      <a:pt x="64" y="4"/>
                      <a:pt x="0" y="43"/>
                      <a:pt x="0" y="152"/>
                    </a:cubicBezTo>
                    <a:lnTo>
                      <a:pt x="0" y="43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25" name="Freeform 10">
                <a:extLst>
                  <a:ext uri="{FF2B5EF4-FFF2-40B4-BE49-F238E27FC236}">
                    <a16:creationId xmlns:a16="http://schemas.microsoft.com/office/drawing/2014/main" id="{2B91B16B-BC11-E547-8FAC-B9B8D18EA449}"/>
                  </a:ext>
                </a:extLst>
              </p:cNvPr>
              <p:cNvSpPr>
                <a:spLocks/>
              </p:cNvSpPr>
              <p:nvPr/>
            </p:nvSpPr>
            <p:spPr bwMode="gray">
              <a:xfrm>
                <a:off x="2880" y="1704"/>
                <a:ext cx="618" cy="916"/>
              </a:xfrm>
              <a:custGeom>
                <a:avLst/>
                <a:gdLst>
                  <a:gd name="T0" fmla="*/ 307 w 307"/>
                  <a:gd name="T1" fmla="*/ 405 h 455"/>
                  <a:gd name="T2" fmla="*/ 307 w 307"/>
                  <a:gd name="T3" fmla="*/ 244 h 455"/>
                  <a:gd name="T4" fmla="*/ 279 w 307"/>
                  <a:gd name="T5" fmla="*/ 229 h 455"/>
                  <a:gd name="T6" fmla="*/ 250 w 307"/>
                  <a:gd name="T7" fmla="*/ 244 h 455"/>
                  <a:gd name="T8" fmla="*/ 250 w 307"/>
                  <a:gd name="T9" fmla="*/ 378 h 455"/>
                  <a:gd name="T10" fmla="*/ 199 w 307"/>
                  <a:gd name="T11" fmla="*/ 408 h 455"/>
                  <a:gd name="T12" fmla="*/ 61 w 307"/>
                  <a:gd name="T13" fmla="*/ 231 h 455"/>
                  <a:gd name="T14" fmla="*/ 238 w 307"/>
                  <a:gd name="T15" fmla="*/ 49 h 455"/>
                  <a:gd name="T16" fmla="*/ 270 w 307"/>
                  <a:gd name="T17" fmla="*/ 49 h 455"/>
                  <a:gd name="T18" fmla="*/ 286 w 307"/>
                  <a:gd name="T19" fmla="*/ 23 h 455"/>
                  <a:gd name="T20" fmla="*/ 244 w 307"/>
                  <a:gd name="T21" fmla="*/ 0 h 455"/>
                  <a:gd name="T22" fmla="*/ 231 w 307"/>
                  <a:gd name="T23" fmla="*/ 0 h 455"/>
                  <a:gd name="T24" fmla="*/ 0 w 307"/>
                  <a:gd name="T25" fmla="*/ 232 h 455"/>
                  <a:gd name="T26" fmla="*/ 198 w 307"/>
                  <a:gd name="T27" fmla="*/ 455 h 455"/>
                  <a:gd name="T28" fmla="*/ 307 w 307"/>
                  <a:gd name="T29" fmla="*/ 405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7" h="455">
                    <a:moveTo>
                      <a:pt x="307" y="405"/>
                    </a:moveTo>
                    <a:cubicBezTo>
                      <a:pt x="307" y="244"/>
                      <a:pt x="307" y="244"/>
                      <a:pt x="307" y="244"/>
                    </a:cubicBezTo>
                    <a:cubicBezTo>
                      <a:pt x="307" y="234"/>
                      <a:pt x="298" y="229"/>
                      <a:pt x="279" y="229"/>
                    </a:cubicBezTo>
                    <a:cubicBezTo>
                      <a:pt x="259" y="229"/>
                      <a:pt x="250" y="234"/>
                      <a:pt x="250" y="244"/>
                    </a:cubicBezTo>
                    <a:cubicBezTo>
                      <a:pt x="250" y="378"/>
                      <a:pt x="250" y="378"/>
                      <a:pt x="250" y="378"/>
                    </a:cubicBezTo>
                    <a:cubicBezTo>
                      <a:pt x="250" y="399"/>
                      <a:pt x="241" y="408"/>
                      <a:pt x="199" y="408"/>
                    </a:cubicBezTo>
                    <a:cubicBezTo>
                      <a:pt x="114" y="408"/>
                      <a:pt x="61" y="342"/>
                      <a:pt x="61" y="231"/>
                    </a:cubicBezTo>
                    <a:cubicBezTo>
                      <a:pt x="61" y="115"/>
                      <a:pt x="126" y="49"/>
                      <a:pt x="238" y="49"/>
                    </a:cubicBezTo>
                    <a:cubicBezTo>
                      <a:pt x="270" y="49"/>
                      <a:pt x="270" y="49"/>
                      <a:pt x="270" y="49"/>
                    </a:cubicBezTo>
                    <a:cubicBezTo>
                      <a:pt x="282" y="49"/>
                      <a:pt x="286" y="39"/>
                      <a:pt x="286" y="23"/>
                    </a:cubicBezTo>
                    <a:cubicBezTo>
                      <a:pt x="286" y="4"/>
                      <a:pt x="275" y="0"/>
                      <a:pt x="244" y="0"/>
                    </a:cubicBezTo>
                    <a:cubicBezTo>
                      <a:pt x="231" y="0"/>
                      <a:pt x="231" y="0"/>
                      <a:pt x="231" y="0"/>
                    </a:cubicBezTo>
                    <a:cubicBezTo>
                      <a:pt x="101" y="0"/>
                      <a:pt x="0" y="71"/>
                      <a:pt x="0" y="232"/>
                    </a:cubicBezTo>
                    <a:cubicBezTo>
                      <a:pt x="0" y="386"/>
                      <a:pt x="88" y="455"/>
                      <a:pt x="198" y="455"/>
                    </a:cubicBezTo>
                    <a:cubicBezTo>
                      <a:pt x="286" y="455"/>
                      <a:pt x="307" y="430"/>
                      <a:pt x="307" y="40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26" name="Oval 11">
                <a:extLst>
                  <a:ext uri="{FF2B5EF4-FFF2-40B4-BE49-F238E27FC236}">
                    <a16:creationId xmlns:a16="http://schemas.microsoft.com/office/drawing/2014/main" id="{14F8C3C8-4888-7646-B9B4-64EB46A1DA23}"/>
                  </a:ext>
                </a:extLst>
              </p:cNvPr>
              <p:cNvSpPr>
                <a:spLocks noChangeArrowheads="1"/>
              </p:cNvSpPr>
              <p:nvPr/>
            </p:nvSpPr>
            <p:spPr bwMode="gray">
              <a:xfrm>
                <a:off x="3778" y="2099"/>
                <a:ext cx="122" cy="12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27" name="Freeform 12">
                <a:extLst>
                  <a:ext uri="{FF2B5EF4-FFF2-40B4-BE49-F238E27FC236}">
                    <a16:creationId xmlns:a16="http://schemas.microsoft.com/office/drawing/2014/main" id="{D79D01D1-4E3E-F34B-97D7-2D387E68746E}"/>
                  </a:ext>
                </a:extLst>
              </p:cNvPr>
              <p:cNvSpPr>
                <a:spLocks/>
              </p:cNvSpPr>
              <p:nvPr/>
            </p:nvSpPr>
            <p:spPr bwMode="gray">
              <a:xfrm>
                <a:off x="4321" y="1029"/>
                <a:ext cx="648" cy="649"/>
              </a:xfrm>
              <a:custGeom>
                <a:avLst/>
                <a:gdLst>
                  <a:gd name="T0" fmla="*/ 0 w 648"/>
                  <a:gd name="T1" fmla="*/ 649 h 649"/>
                  <a:gd name="T2" fmla="*/ 2 w 648"/>
                  <a:gd name="T3" fmla="*/ 649 h 649"/>
                  <a:gd name="T4" fmla="*/ 648 w 648"/>
                  <a:gd name="T5" fmla="*/ 0 h 649"/>
                  <a:gd name="T6" fmla="*/ 423 w 648"/>
                  <a:gd name="T7" fmla="*/ 0 h 649"/>
                  <a:gd name="T8" fmla="*/ 0 w 648"/>
                  <a:gd name="T9" fmla="*/ 649 h 649"/>
                </a:gdLst>
                <a:ahLst/>
                <a:cxnLst>
                  <a:cxn ang="0">
                    <a:pos x="T0" y="T1"/>
                  </a:cxn>
                  <a:cxn ang="0">
                    <a:pos x="T2" y="T3"/>
                  </a:cxn>
                  <a:cxn ang="0">
                    <a:pos x="T4" y="T5"/>
                  </a:cxn>
                  <a:cxn ang="0">
                    <a:pos x="T6" y="T7"/>
                  </a:cxn>
                  <a:cxn ang="0">
                    <a:pos x="T8" y="T9"/>
                  </a:cxn>
                </a:cxnLst>
                <a:rect l="0" t="0" r="r" b="b"/>
                <a:pathLst>
                  <a:path w="648" h="649">
                    <a:moveTo>
                      <a:pt x="0" y="649"/>
                    </a:moveTo>
                    <a:lnTo>
                      <a:pt x="2" y="649"/>
                    </a:lnTo>
                    <a:lnTo>
                      <a:pt x="648" y="0"/>
                    </a:lnTo>
                    <a:lnTo>
                      <a:pt x="423" y="0"/>
                    </a:lnTo>
                    <a:lnTo>
                      <a:pt x="0" y="64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28" name="Freeform 13">
                <a:extLst>
                  <a:ext uri="{FF2B5EF4-FFF2-40B4-BE49-F238E27FC236}">
                    <a16:creationId xmlns:a16="http://schemas.microsoft.com/office/drawing/2014/main" id="{46549898-6C52-B147-A8F6-A73FDBE6163B}"/>
                  </a:ext>
                </a:extLst>
              </p:cNvPr>
              <p:cNvSpPr>
                <a:spLocks/>
              </p:cNvSpPr>
              <p:nvPr/>
            </p:nvSpPr>
            <p:spPr bwMode="gray">
              <a:xfrm>
                <a:off x="4321" y="1029"/>
                <a:ext cx="648" cy="649"/>
              </a:xfrm>
              <a:custGeom>
                <a:avLst/>
                <a:gdLst>
                  <a:gd name="T0" fmla="*/ 0 w 648"/>
                  <a:gd name="T1" fmla="*/ 649 h 649"/>
                  <a:gd name="T2" fmla="*/ 2 w 648"/>
                  <a:gd name="T3" fmla="*/ 649 h 649"/>
                  <a:gd name="T4" fmla="*/ 648 w 648"/>
                  <a:gd name="T5" fmla="*/ 0 h 649"/>
                  <a:gd name="T6" fmla="*/ 423 w 648"/>
                  <a:gd name="T7" fmla="*/ 0 h 649"/>
                  <a:gd name="T8" fmla="*/ 0 w 648"/>
                  <a:gd name="T9" fmla="*/ 649 h 649"/>
                </a:gdLst>
                <a:ahLst/>
                <a:cxnLst>
                  <a:cxn ang="0">
                    <a:pos x="T0" y="T1"/>
                  </a:cxn>
                  <a:cxn ang="0">
                    <a:pos x="T2" y="T3"/>
                  </a:cxn>
                  <a:cxn ang="0">
                    <a:pos x="T4" y="T5"/>
                  </a:cxn>
                  <a:cxn ang="0">
                    <a:pos x="T6" y="T7"/>
                  </a:cxn>
                  <a:cxn ang="0">
                    <a:pos x="T8" y="T9"/>
                  </a:cxn>
                </a:cxnLst>
                <a:rect l="0" t="0" r="r" b="b"/>
                <a:pathLst>
                  <a:path w="648" h="649">
                    <a:moveTo>
                      <a:pt x="0" y="649"/>
                    </a:moveTo>
                    <a:lnTo>
                      <a:pt x="2" y="649"/>
                    </a:lnTo>
                    <a:lnTo>
                      <a:pt x="648" y="0"/>
                    </a:lnTo>
                    <a:lnTo>
                      <a:pt x="423" y="0"/>
                    </a:lnTo>
                    <a:lnTo>
                      <a:pt x="0" y="64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grpSp>
      </p:grpSp>
      <p:sp>
        <p:nvSpPr>
          <p:cNvPr id="7" name="Date Placeholder 6"/>
          <p:cNvSpPr>
            <a:spLocks noGrp="1"/>
          </p:cNvSpPr>
          <p:nvPr>
            <p:ph type="dt" sz="half" idx="10"/>
          </p:nvPr>
        </p:nvSpPr>
        <p:spPr>
          <a:xfrm>
            <a:off x="0" y="0"/>
            <a:ext cx="0" cy="0"/>
          </a:xfrm>
          <a:prstGeom prst="rect">
            <a:avLst/>
          </a:prstGeom>
        </p:spPr>
        <p:txBody>
          <a:bodyPr/>
          <a:lstStyle>
            <a:lvl1pPr>
              <a:defRPr sz="100">
                <a:noFill/>
              </a:defRPr>
            </a:lvl1pPr>
          </a:lstStyle>
          <a:p>
            <a:endParaRPr lang="en-US"/>
          </a:p>
        </p:txBody>
      </p:sp>
      <p:sp>
        <p:nvSpPr>
          <p:cNvPr id="8" name="Footer Placeholder 7"/>
          <p:cNvSpPr>
            <a:spLocks noGrp="1"/>
          </p:cNvSpPr>
          <p:nvPr>
            <p:ph type="ftr" sz="quarter" idx="11"/>
          </p:nvPr>
        </p:nvSpPr>
        <p:spPr>
          <a:xfrm>
            <a:off x="0" y="0"/>
            <a:ext cx="0" cy="0"/>
          </a:xfrm>
          <a:prstGeom prst="rect">
            <a:avLst/>
          </a:prstGeom>
        </p:spPr>
        <p:txBody>
          <a:bodyPr/>
          <a:lstStyle>
            <a:lvl1pPr marL="0" indent="0">
              <a:buNone/>
              <a:defRPr sz="100">
                <a:noFill/>
              </a:defRPr>
            </a:lvl1pPr>
          </a:lstStyle>
          <a:p>
            <a:endParaRPr lang="en-US"/>
          </a:p>
        </p:txBody>
      </p:sp>
      <p:sp>
        <p:nvSpPr>
          <p:cNvPr id="9" name="Slide Number Placeholder 8"/>
          <p:cNvSpPr>
            <a:spLocks noGrp="1"/>
          </p:cNvSpPr>
          <p:nvPr>
            <p:ph type="sldNum" sz="quarter" idx="12"/>
          </p:nvPr>
        </p:nvSpPr>
        <p:spPr>
          <a:xfrm>
            <a:off x="0" y="0"/>
            <a:ext cx="0" cy="0"/>
          </a:xfrm>
          <a:prstGeom prst="rect">
            <a:avLst/>
          </a:prstGeom>
        </p:spPr>
        <p:txBody>
          <a:bodyPr/>
          <a:lstStyle>
            <a:lvl1pPr>
              <a:defRPr sz="100">
                <a:noFill/>
              </a:defRPr>
            </a:lvl1pPr>
          </a:lstStyle>
          <a:p>
            <a:fld id="{8E3B25F7-8D1F-44B5-B485-EE3C438CFD7B}" type="slidenum">
              <a:rPr lang="en-US" smtClean="0"/>
              <a:pPr/>
              <a:t>‹#›</a:t>
            </a:fld>
            <a:endParaRPr lang="en-US"/>
          </a:p>
        </p:txBody>
      </p:sp>
      <p:sp>
        <p:nvSpPr>
          <p:cNvPr id="2" name="Title 1"/>
          <p:cNvSpPr>
            <a:spLocks noGrp="1"/>
          </p:cNvSpPr>
          <p:nvPr>
            <p:ph type="ctrTitle" hasCustomPrompt="1"/>
          </p:nvPr>
        </p:nvSpPr>
        <p:spPr>
          <a:xfrm>
            <a:off x="4777671" y="2019727"/>
            <a:ext cx="3816000" cy="2236264"/>
          </a:xfrm>
        </p:spPr>
        <p:txBody>
          <a:bodyPr anchor="b"/>
          <a:lstStyle>
            <a:lvl1pPr algn="l">
              <a:defRPr sz="3600"/>
            </a:lvl1pPr>
          </a:lstStyle>
          <a:p>
            <a:r>
              <a:rPr lang="en-US"/>
              <a:t>Click to add thank you</a:t>
            </a:r>
          </a:p>
        </p:txBody>
      </p:sp>
    </p:spTree>
    <p:extLst>
      <p:ext uri="{BB962C8B-B14F-4D97-AF65-F5344CB8AC3E}">
        <p14:creationId xmlns:p14="http://schemas.microsoft.com/office/powerpoint/2010/main" val="2726112578"/>
      </p:ext>
    </p:extLst>
  </p:cSld>
  <p:clrMapOvr>
    <a:masterClrMapping/>
  </p:clrMapOvr>
</p:sldLayout>
</file>

<file path=ppt/slideLayouts/slideLayout412.xml><?xml version="1.0" encoding="utf-8"?>
<p:sldLayout xmlns:a="http://schemas.openxmlformats.org/drawingml/2006/main" xmlns:r="http://schemas.openxmlformats.org/officeDocument/2006/relationships" xmlns:p="http://schemas.openxmlformats.org/presentationml/2006/main">
  <p:cSld name="2_Headline only">
    <p:spTree>
      <p:nvGrpSpPr>
        <p:cNvPr id="1" name=""/>
        <p:cNvGrpSpPr/>
        <p:nvPr/>
      </p:nvGrpSpPr>
      <p:grpSpPr>
        <a:xfrm>
          <a:off x="0" y="0"/>
          <a:ext cx="0" cy="0"/>
          <a:chOff x="0" y="0"/>
          <a:chExt cx="0" cy="0"/>
        </a:xfrm>
      </p:grpSpPr>
      <p:sp>
        <p:nvSpPr>
          <p:cNvPr id="21" name="Date Placeholder 20"/>
          <p:cNvSpPr>
            <a:spLocks noGrp="1"/>
          </p:cNvSpPr>
          <p:nvPr>
            <p:ph type="dt" sz="half" idx="14"/>
          </p:nvPr>
        </p:nvSpPr>
        <p:spPr>
          <a:xfrm>
            <a:off x="192089" y="6237288"/>
            <a:ext cx="863600" cy="358173"/>
          </a:xfrm>
          <a:prstGeom prst="rect">
            <a:avLst/>
          </a:prstGeom>
        </p:spPr>
        <p:txBody>
          <a:bodyPr/>
          <a:lstStyle/>
          <a:p>
            <a:fld id="{7DCAAD07-09FD-49C1-9253-3DC58F499B21}" type="datetime5">
              <a:rPr lang="en-US" smtClean="0"/>
              <a:t>26-Jun-20</a:t>
            </a:fld>
            <a:endParaRPr lang="en-US"/>
          </a:p>
        </p:txBody>
      </p:sp>
      <p:sp>
        <p:nvSpPr>
          <p:cNvPr id="22" name="Footer Placeholder 21"/>
          <p:cNvSpPr>
            <a:spLocks noGrp="1"/>
          </p:cNvSpPr>
          <p:nvPr>
            <p:ph type="ftr" sz="quarter" idx="15"/>
          </p:nvPr>
        </p:nvSpPr>
        <p:spPr>
          <a:xfrm>
            <a:off x="1177999" y="6237288"/>
            <a:ext cx="8162717" cy="358173"/>
          </a:xfrm>
          <a:prstGeom prst="rect">
            <a:avLst/>
          </a:prstGeom>
        </p:spPr>
        <p:txBody>
          <a:bodyPr/>
          <a:lstStyle/>
          <a:p>
            <a:r>
              <a:rPr lang="en-US"/>
              <a:t>Portfolio </a:t>
            </a:r>
            <a:r>
              <a:rPr lang="en-US" err="1"/>
              <a:t>Multiclient</a:t>
            </a:r>
            <a:r>
              <a:rPr lang="en-US"/>
              <a:t> 2019</a:t>
            </a:r>
          </a:p>
        </p:txBody>
      </p:sp>
      <p:sp>
        <p:nvSpPr>
          <p:cNvPr id="23" name="Slide Number Placeholder 22"/>
          <p:cNvSpPr>
            <a:spLocks noGrp="1"/>
          </p:cNvSpPr>
          <p:nvPr>
            <p:ph type="sldNum" sz="quarter" idx="16"/>
          </p:nvPr>
        </p:nvSpPr>
        <p:spPr/>
        <p:txBody>
          <a:bodyPr/>
          <a:lstStyle/>
          <a:p>
            <a:fld id="{5F3E29E4-0979-4FCA-B4C5-5FC6044C982A}" type="slidenum">
              <a:rPr lang="en-US" smtClean="0"/>
              <a:t>‹#›</a:t>
            </a:fld>
            <a:endParaRPr lang="en-US"/>
          </a:p>
        </p:txBody>
      </p:sp>
      <p:sp>
        <p:nvSpPr>
          <p:cNvPr id="2" name="Title 1"/>
          <p:cNvSpPr>
            <a:spLocks noGrp="1"/>
          </p:cNvSpPr>
          <p:nvPr>
            <p:ph type="title" hasCustomPrompt="1"/>
          </p:nvPr>
        </p:nvSpPr>
        <p:spPr/>
        <p:txBody>
          <a:bodyPr/>
          <a:lstStyle>
            <a:lvl1pPr>
              <a:defRPr/>
            </a:lvl1pPr>
          </a:lstStyle>
          <a:p>
            <a:r>
              <a:rPr lang="en-US"/>
              <a:t>Click to add slide title</a:t>
            </a:r>
          </a:p>
        </p:txBody>
      </p:sp>
      <p:sp>
        <p:nvSpPr>
          <p:cNvPr id="7" name="Subtitle 2"/>
          <p:cNvSpPr>
            <a:spLocks noGrp="1"/>
          </p:cNvSpPr>
          <p:nvPr>
            <p:ph type="subTitle" idx="13" hasCustomPrompt="1"/>
          </p:nvPr>
        </p:nvSpPr>
        <p:spPr>
          <a:xfrm>
            <a:off x="1075061" y="964671"/>
            <a:ext cx="7910158" cy="490042"/>
          </a:xfrm>
        </p:spPr>
        <p:txBody>
          <a:bodyPr wrap="none"/>
          <a:lstStyle>
            <a:lvl1pPr marL="0" indent="0" algn="l">
              <a:spcBef>
                <a:spcPts val="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spTree>
    <p:extLst>
      <p:ext uri="{BB962C8B-B14F-4D97-AF65-F5344CB8AC3E}">
        <p14:creationId xmlns:p14="http://schemas.microsoft.com/office/powerpoint/2010/main" val="4006359358"/>
      </p:ext>
    </p:extLst>
  </p:cSld>
  <p:clrMapOvr>
    <a:masterClrMapping/>
  </p:clrMapOvr>
</p:sldLayout>
</file>

<file path=ppt/slideLayouts/slideLayout413.xml><?xml version="1.0" encoding="utf-8"?>
<p:sldLayout xmlns:a="http://schemas.openxmlformats.org/drawingml/2006/main" xmlns:r="http://schemas.openxmlformats.org/officeDocument/2006/relationships" xmlns:p="http://schemas.openxmlformats.org/presentationml/2006/main">
  <p:cSld name="1_Two contents">
    <p:spTree>
      <p:nvGrpSpPr>
        <p:cNvPr id="1" name=""/>
        <p:cNvGrpSpPr/>
        <p:nvPr/>
      </p:nvGrpSpPr>
      <p:grpSpPr>
        <a:xfrm>
          <a:off x="0" y="0"/>
          <a:ext cx="0" cy="0"/>
          <a:chOff x="0" y="0"/>
          <a:chExt cx="0" cy="0"/>
        </a:xfrm>
      </p:grpSpPr>
      <p:sp>
        <p:nvSpPr>
          <p:cNvPr id="21" name="Date Placeholder 20"/>
          <p:cNvSpPr>
            <a:spLocks noGrp="1"/>
          </p:cNvSpPr>
          <p:nvPr>
            <p:ph type="dt" sz="half" idx="14"/>
          </p:nvPr>
        </p:nvSpPr>
        <p:spPr/>
        <p:txBody>
          <a:bodyPr/>
          <a:lstStyle/>
          <a:p>
            <a:fld id="{9D45F382-CD09-4611-8552-1549F9F12240}" type="datetime5">
              <a:rPr lang="en-US" smtClean="0"/>
              <a:t>26-Jun-20</a:t>
            </a:fld>
            <a:endParaRPr lang="en-US"/>
          </a:p>
        </p:txBody>
      </p:sp>
      <p:sp>
        <p:nvSpPr>
          <p:cNvPr id="22" name="Footer Placeholder 21"/>
          <p:cNvSpPr>
            <a:spLocks noGrp="1"/>
          </p:cNvSpPr>
          <p:nvPr>
            <p:ph type="ftr" sz="quarter" idx="15"/>
          </p:nvPr>
        </p:nvSpPr>
        <p:spPr/>
        <p:txBody>
          <a:bodyPr/>
          <a:lstStyle/>
          <a:p>
            <a:r>
              <a:rPr lang="en-US"/>
              <a:t>Title of presentation (Insert / Header &amp; Footer / Apply to All)</a:t>
            </a:r>
          </a:p>
        </p:txBody>
      </p:sp>
      <p:sp>
        <p:nvSpPr>
          <p:cNvPr id="23" name="Slide Number Placeholder 22"/>
          <p:cNvSpPr>
            <a:spLocks noGrp="1"/>
          </p:cNvSpPr>
          <p:nvPr>
            <p:ph type="sldNum" sz="quarter" idx="16"/>
          </p:nvPr>
        </p:nvSpPr>
        <p:spPr/>
        <p:txBody>
          <a:bodyPr/>
          <a:lstStyle/>
          <a:p>
            <a:fld id="{5F3E29E4-0979-4FCA-B4C5-5FC6044C982A}" type="slidenum">
              <a:rPr lang="en-US" smtClean="0"/>
              <a:t>‹#›</a:t>
            </a:fld>
            <a:endParaRPr lang="en-US"/>
          </a:p>
        </p:txBody>
      </p:sp>
      <p:sp>
        <p:nvSpPr>
          <p:cNvPr id="2" name="Title 1"/>
          <p:cNvSpPr>
            <a:spLocks noGrp="1"/>
          </p:cNvSpPr>
          <p:nvPr>
            <p:ph type="title" hasCustomPrompt="1"/>
          </p:nvPr>
        </p:nvSpPr>
        <p:spPr/>
        <p:txBody>
          <a:bodyPr/>
          <a:lstStyle>
            <a:lvl1pPr>
              <a:defRPr/>
            </a:lvl1pPr>
          </a:lstStyle>
          <a:p>
            <a:r>
              <a:rPr lang="en-US"/>
              <a:t>Click to add slide title</a:t>
            </a:r>
          </a:p>
        </p:txBody>
      </p:sp>
      <p:sp>
        <p:nvSpPr>
          <p:cNvPr id="7" name="Subtitle 2"/>
          <p:cNvSpPr>
            <a:spLocks noGrp="1"/>
          </p:cNvSpPr>
          <p:nvPr>
            <p:ph type="subTitle" idx="13" hasCustomPrompt="1"/>
          </p:nvPr>
        </p:nvSpPr>
        <p:spPr>
          <a:xfrm>
            <a:off x="1075061" y="964671"/>
            <a:ext cx="7910158" cy="490042"/>
          </a:xfrm>
        </p:spPr>
        <p:txBody>
          <a:bodyPr wrap="none"/>
          <a:lstStyle>
            <a:lvl1pPr marL="0" indent="0" algn="l">
              <a:spcBef>
                <a:spcPts val="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sp>
        <p:nvSpPr>
          <p:cNvPr id="3" name="Content Placeholder 2"/>
          <p:cNvSpPr>
            <a:spLocks noGrp="1"/>
          </p:cNvSpPr>
          <p:nvPr>
            <p:ph idx="1" hasCustomPrompt="1"/>
          </p:nvPr>
        </p:nvSpPr>
        <p:spPr>
          <a:xfrm>
            <a:off x="1075062" y="1629618"/>
            <a:ext cx="5220000" cy="4139357"/>
          </a:xfrm>
        </p:spPr>
        <p:txBody>
          <a:bodyPr/>
          <a:lstStyle>
            <a:lvl1pPr>
              <a:defRPr/>
            </a:lvl1pPr>
          </a:lstStyle>
          <a:p>
            <a:pPr lvl="0"/>
            <a:r>
              <a:rPr lang="en-US"/>
              <a:t>Click to add text or content</a:t>
            </a:r>
          </a:p>
          <a:p>
            <a:pPr lvl="1"/>
            <a:r>
              <a:rPr lang="en-US"/>
              <a:t>Second level</a:t>
            </a:r>
          </a:p>
          <a:p>
            <a:pPr lvl="2"/>
            <a:r>
              <a:rPr lang="en-US"/>
              <a:t>Third level</a:t>
            </a:r>
          </a:p>
          <a:p>
            <a:pPr lvl="3"/>
            <a:r>
              <a:rPr lang="en-US"/>
              <a:t>Fourth level</a:t>
            </a:r>
          </a:p>
          <a:p>
            <a:pPr lvl="4"/>
            <a:r>
              <a:rPr lang="en-US"/>
              <a:t>Fifth level</a:t>
            </a:r>
          </a:p>
        </p:txBody>
      </p:sp>
      <p:sp>
        <p:nvSpPr>
          <p:cNvPr id="9" name="Content Placeholder 2"/>
          <p:cNvSpPr>
            <a:spLocks noGrp="1"/>
          </p:cNvSpPr>
          <p:nvPr>
            <p:ph idx="17" hasCustomPrompt="1"/>
          </p:nvPr>
        </p:nvSpPr>
        <p:spPr>
          <a:xfrm>
            <a:off x="6600525" y="1629618"/>
            <a:ext cx="5220000" cy="4139357"/>
          </a:xfrm>
        </p:spPr>
        <p:txBody>
          <a:bodyPr/>
          <a:lstStyle>
            <a:lvl1pPr>
              <a:defRPr/>
            </a:lvl1pPr>
          </a:lstStyle>
          <a:p>
            <a:pPr lvl="0"/>
            <a:r>
              <a:rPr lang="en-US"/>
              <a:t>Click to add text or conten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38841718"/>
      </p:ext>
    </p:extLst>
  </p:cSld>
  <p:clrMapOvr>
    <a:masterClrMapping/>
  </p:clrMapOvr>
</p:sldLayout>
</file>

<file path=ppt/slideLayouts/slideLayout414.xml><?xml version="1.0" encoding="utf-8"?>
<p:sldLayout xmlns:a="http://schemas.openxmlformats.org/drawingml/2006/main" xmlns:r="http://schemas.openxmlformats.org/officeDocument/2006/relationships" xmlns:p="http://schemas.openxmlformats.org/presentationml/2006/main">
  <p:cSld name="1_One content">
    <p:spTree>
      <p:nvGrpSpPr>
        <p:cNvPr id="1" name=""/>
        <p:cNvGrpSpPr/>
        <p:nvPr/>
      </p:nvGrpSpPr>
      <p:grpSpPr>
        <a:xfrm>
          <a:off x="0" y="0"/>
          <a:ext cx="0" cy="0"/>
          <a:chOff x="0" y="0"/>
          <a:chExt cx="0" cy="0"/>
        </a:xfrm>
      </p:grpSpPr>
      <p:sp>
        <p:nvSpPr>
          <p:cNvPr id="21" name="Date Placeholder 20"/>
          <p:cNvSpPr>
            <a:spLocks noGrp="1"/>
          </p:cNvSpPr>
          <p:nvPr>
            <p:ph type="dt" sz="half" idx="14"/>
          </p:nvPr>
        </p:nvSpPr>
        <p:spPr/>
        <p:txBody>
          <a:bodyPr/>
          <a:lstStyle/>
          <a:p>
            <a:fld id="{4CC19292-71B2-4BF0-8023-C669B9188137}" type="datetime5">
              <a:rPr lang="en-US" smtClean="0"/>
              <a:t>26-Jun-20</a:t>
            </a:fld>
            <a:endParaRPr lang="en-US"/>
          </a:p>
        </p:txBody>
      </p:sp>
      <p:sp>
        <p:nvSpPr>
          <p:cNvPr id="22" name="Footer Placeholder 21"/>
          <p:cNvSpPr>
            <a:spLocks noGrp="1"/>
          </p:cNvSpPr>
          <p:nvPr>
            <p:ph type="ftr" sz="quarter" idx="15"/>
          </p:nvPr>
        </p:nvSpPr>
        <p:spPr/>
        <p:txBody>
          <a:bodyPr/>
          <a:lstStyle/>
          <a:p>
            <a:r>
              <a:rPr lang="en-US"/>
              <a:t>Syndicated Surveys  Portfolio 2019</a:t>
            </a:r>
          </a:p>
        </p:txBody>
      </p:sp>
      <p:sp>
        <p:nvSpPr>
          <p:cNvPr id="23" name="Slide Number Placeholder 22"/>
          <p:cNvSpPr>
            <a:spLocks noGrp="1"/>
          </p:cNvSpPr>
          <p:nvPr>
            <p:ph type="sldNum" sz="quarter" idx="16"/>
          </p:nvPr>
        </p:nvSpPr>
        <p:spPr/>
        <p:txBody>
          <a:bodyPr/>
          <a:lstStyle/>
          <a:p>
            <a:fld id="{5F3E29E4-0979-4FCA-B4C5-5FC6044C982A}" type="slidenum">
              <a:rPr lang="en-US" smtClean="0"/>
              <a:t>‹#›</a:t>
            </a:fld>
            <a:endParaRPr lang="en-US"/>
          </a:p>
        </p:txBody>
      </p:sp>
      <p:sp>
        <p:nvSpPr>
          <p:cNvPr id="2" name="Title 1"/>
          <p:cNvSpPr>
            <a:spLocks noGrp="1"/>
          </p:cNvSpPr>
          <p:nvPr>
            <p:ph type="title" hasCustomPrompt="1"/>
          </p:nvPr>
        </p:nvSpPr>
        <p:spPr/>
        <p:txBody>
          <a:bodyPr/>
          <a:lstStyle>
            <a:lvl1pPr>
              <a:defRPr/>
            </a:lvl1pPr>
          </a:lstStyle>
          <a:p>
            <a:r>
              <a:rPr lang="en-US"/>
              <a:t>Click to add slide title</a:t>
            </a:r>
          </a:p>
        </p:txBody>
      </p:sp>
      <p:sp>
        <p:nvSpPr>
          <p:cNvPr id="7" name="Subtitle 2"/>
          <p:cNvSpPr>
            <a:spLocks noGrp="1"/>
          </p:cNvSpPr>
          <p:nvPr>
            <p:ph type="subTitle" idx="13" hasCustomPrompt="1"/>
          </p:nvPr>
        </p:nvSpPr>
        <p:spPr>
          <a:xfrm>
            <a:off x="1075061" y="964671"/>
            <a:ext cx="7910158" cy="490042"/>
          </a:xfrm>
        </p:spPr>
        <p:txBody>
          <a:bodyPr wrap="none"/>
          <a:lstStyle>
            <a:lvl1pPr marL="0" indent="0" algn="l">
              <a:spcBef>
                <a:spcPts val="0"/>
              </a:spcBef>
              <a:buNone/>
              <a:defRPr sz="2400" baseline="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sp>
        <p:nvSpPr>
          <p:cNvPr id="3" name="Content Placeholder 2"/>
          <p:cNvSpPr>
            <a:spLocks noGrp="1"/>
          </p:cNvSpPr>
          <p:nvPr>
            <p:ph idx="1" hasCustomPrompt="1"/>
          </p:nvPr>
        </p:nvSpPr>
        <p:spPr/>
        <p:txBody>
          <a:bodyPr/>
          <a:lstStyle>
            <a:lvl1pPr>
              <a:defRPr baseline="0"/>
            </a:lvl1pPr>
          </a:lstStyle>
          <a:p>
            <a:pPr lvl="0"/>
            <a:r>
              <a:rPr lang="en-US"/>
              <a:t>Click to add text or conten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049458"/>
      </p:ext>
    </p:extLst>
  </p:cSld>
  <p:clrMapOvr>
    <a:masterClrMapping/>
  </p:clrMapOvr>
</p:sldLayout>
</file>

<file path=ppt/slideLayouts/slideLayout415.xml><?xml version="1.0" encoding="utf-8"?>
<p:sldLayout xmlns:a="http://schemas.openxmlformats.org/drawingml/2006/main" xmlns:r="http://schemas.openxmlformats.org/officeDocument/2006/relationships" xmlns:p="http://schemas.openxmlformats.org/presentationml/2006/main" userDrawn="1">
  <p:cSld name="1_Headline only">
    <p:spTree>
      <p:nvGrpSpPr>
        <p:cNvPr id="1" name=""/>
        <p:cNvGrpSpPr/>
        <p:nvPr/>
      </p:nvGrpSpPr>
      <p:grpSpPr>
        <a:xfrm>
          <a:off x="0" y="0"/>
          <a:ext cx="0" cy="0"/>
          <a:chOff x="0" y="0"/>
          <a:chExt cx="0" cy="0"/>
        </a:xfrm>
      </p:grpSpPr>
      <p:sp>
        <p:nvSpPr>
          <p:cNvPr id="3" name="Textplatzhalter 2"/>
          <p:cNvSpPr>
            <a:spLocks noGrp="1"/>
          </p:cNvSpPr>
          <p:nvPr>
            <p:ph type="body" sz="quarter" idx="10" hasCustomPrompt="1"/>
          </p:nvPr>
        </p:nvSpPr>
        <p:spPr bwMode="gray">
          <a:xfrm>
            <a:off x="431213" y="1220755"/>
            <a:ext cx="11328987" cy="384340"/>
          </a:xfrm>
        </p:spPr>
        <p:txBody>
          <a:bodyPr>
            <a:noAutofit/>
          </a:bodyPr>
          <a:lstStyle>
            <a:lvl1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1pPr>
            <a:lvl2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2pPr>
            <a:lvl3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3pPr>
            <a:lvl4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4pPr>
            <a:lvl5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5pPr>
            <a:lvl6pPr marL="0" indent="0">
              <a:lnSpc>
                <a:spcPct val="100000"/>
              </a:lnSpc>
              <a:spcBef>
                <a:spcPts val="800"/>
              </a:spcBef>
              <a:buNone/>
              <a:defRPr lang="en-GB" sz="2400" kern="1200" noProof="0" smtClean="0">
                <a:solidFill>
                  <a:schemeClr val="tx2"/>
                </a:solidFill>
                <a:latin typeface="Arial" pitchFamily="34" charset="0"/>
                <a:ea typeface="+mn-ea"/>
                <a:cs typeface="Arial" pitchFamily="34" charset="0"/>
              </a:defRPr>
            </a:lvl6pPr>
            <a:lvl7pPr marL="0" indent="0">
              <a:lnSpc>
                <a:spcPct val="100000"/>
              </a:lnSpc>
              <a:spcBef>
                <a:spcPts val="800"/>
              </a:spcBef>
              <a:buNone/>
              <a:defRPr lang="en-GB" sz="2400" kern="1200" noProof="0" smtClean="0">
                <a:solidFill>
                  <a:schemeClr val="tx2"/>
                </a:solidFill>
                <a:latin typeface="Arial" pitchFamily="34" charset="0"/>
                <a:ea typeface="+mn-ea"/>
                <a:cs typeface="Arial" pitchFamily="34" charset="0"/>
              </a:defRPr>
            </a:lvl7pPr>
            <a:lvl8pPr marL="0" indent="0">
              <a:lnSpc>
                <a:spcPct val="100000"/>
              </a:lnSpc>
              <a:spcBef>
                <a:spcPts val="800"/>
              </a:spcBef>
              <a:buNone/>
              <a:defRPr lang="en-GB" sz="2400" kern="1200" noProof="0" smtClean="0">
                <a:solidFill>
                  <a:schemeClr val="tx2"/>
                </a:solidFill>
                <a:latin typeface="Arial" pitchFamily="34" charset="0"/>
                <a:ea typeface="+mn-ea"/>
                <a:cs typeface="Arial" pitchFamily="34" charset="0"/>
              </a:defRPr>
            </a:lvl8pPr>
            <a:lvl9pPr marL="0" indent="0">
              <a:lnSpc>
                <a:spcPct val="100000"/>
              </a:lnSpc>
              <a:spcBef>
                <a:spcPts val="800"/>
              </a:spcBef>
              <a:buNone/>
              <a:defRPr lang="de-DE" sz="2400" kern="1200" noProof="0" smtClean="0">
                <a:solidFill>
                  <a:schemeClr val="tx2"/>
                </a:solidFill>
                <a:latin typeface="Arial" pitchFamily="34" charset="0"/>
                <a:ea typeface="+mn-ea"/>
                <a:cs typeface="Arial" pitchFamily="34" charset="0"/>
              </a:defRPr>
            </a:lvl9pPr>
          </a:lstStyle>
          <a:p>
            <a:pPr lvl="0"/>
            <a:r>
              <a:rPr lang="en-US"/>
              <a:t>Click to add </a:t>
            </a:r>
            <a:r>
              <a:rPr lang="en-US" err="1"/>
              <a:t>subheadline</a:t>
            </a:r>
            <a:endParaRPr lang="en-US"/>
          </a:p>
        </p:txBody>
      </p:sp>
      <p:sp>
        <p:nvSpPr>
          <p:cNvPr id="4" name="Textplatzhalter 3"/>
          <p:cNvSpPr>
            <a:spLocks noGrp="1"/>
          </p:cNvSpPr>
          <p:nvPr>
            <p:ph type="body" sz="quarter" idx="11" hasCustomPrompt="1"/>
          </p:nvPr>
        </p:nvSpPr>
        <p:spPr bwMode="gray">
          <a:xfrm>
            <a:off x="431371" y="6404736"/>
            <a:ext cx="11328400" cy="192616"/>
          </a:xfrm>
        </p:spPr>
        <p:txBody>
          <a:bodyPr tIns="0" bIns="36000" anchor="b" anchorCtr="0">
            <a:noAutofit/>
          </a:bodyPr>
          <a:lstStyle>
            <a:lvl1pPr marL="0" marR="0" indent="0" algn="l" defTabSz="1219170" rtl="0" eaLnBrk="1" fontAlgn="auto" latinLnBrk="0" hangingPunct="1">
              <a:lnSpc>
                <a:spcPct val="100000"/>
              </a:lnSpc>
              <a:spcBef>
                <a:spcPts val="0"/>
              </a:spcBef>
              <a:spcAft>
                <a:spcPts val="0"/>
              </a:spcAft>
              <a:buClrTx/>
              <a:buSzTx/>
              <a:buFont typeface="Arial" pitchFamily="34" charset="0"/>
              <a:buNone/>
              <a:tabLst/>
              <a:defRPr lang="de-DE" sz="1067" kern="1200" baseline="0" noProof="0" smtClean="0">
                <a:solidFill>
                  <a:schemeClr val="bg2"/>
                </a:solidFill>
                <a:latin typeface="Arial" pitchFamily="34" charset="0"/>
                <a:ea typeface="+mn-ea"/>
                <a:cs typeface="Arial" pitchFamily="34" charset="0"/>
              </a:defRPr>
            </a:lvl1pPr>
            <a:lvl2pPr marL="0" indent="0">
              <a:lnSpc>
                <a:spcPct val="100000"/>
              </a:lnSpc>
              <a:spcBef>
                <a:spcPts val="0"/>
              </a:spcBef>
              <a:buFont typeface="Arial" panose="020B0604020202020204" pitchFamily="34" charset="0"/>
              <a:buNone/>
              <a:defRPr lang="de-DE" sz="1067" kern="1200" baseline="0" noProof="0" smtClean="0">
                <a:solidFill>
                  <a:schemeClr val="bg2"/>
                </a:solidFill>
                <a:latin typeface="Arial" pitchFamily="34" charset="0"/>
                <a:ea typeface="+mn-ea"/>
                <a:cs typeface="Arial" pitchFamily="34" charset="0"/>
              </a:defRPr>
            </a:lvl2pPr>
            <a:lvl3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3pPr>
            <a:lvl4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4pPr>
            <a:lvl5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5pPr>
            <a:lvl6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6pPr>
            <a:lvl7pPr marL="0" indent="0">
              <a:lnSpc>
                <a:spcPct val="100000"/>
              </a:lnSpc>
              <a:spcBef>
                <a:spcPts val="0"/>
              </a:spcBef>
              <a:buNone/>
              <a:defRPr lang="de-DE" sz="1067" kern="1200" baseline="0" noProof="0" dirty="0" smtClean="0">
                <a:solidFill>
                  <a:schemeClr val="bg2"/>
                </a:solidFill>
                <a:latin typeface="Arial" pitchFamily="34" charset="0"/>
                <a:ea typeface="+mn-ea"/>
                <a:cs typeface="Arial" pitchFamily="34" charset="0"/>
              </a:defRPr>
            </a:lvl7pPr>
            <a:lvl8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8pPr>
            <a:lvl9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9pPr>
          </a:lstStyle>
          <a:p>
            <a:pPr lvl="0"/>
            <a:r>
              <a:rPr lang="en-US"/>
              <a:t>Click to add source information</a:t>
            </a:r>
          </a:p>
        </p:txBody>
      </p:sp>
      <p:sp>
        <p:nvSpPr>
          <p:cNvPr id="5" name="Title 4"/>
          <p:cNvSpPr>
            <a:spLocks noGrp="1"/>
          </p:cNvSpPr>
          <p:nvPr>
            <p:ph type="title" hasCustomPrompt="1"/>
          </p:nvPr>
        </p:nvSpPr>
        <p:spPr/>
        <p:txBody>
          <a:bodyPr/>
          <a:lstStyle/>
          <a:p>
            <a:r>
              <a:rPr lang="en-US"/>
              <a:t>Click to add headline</a:t>
            </a:r>
          </a:p>
        </p:txBody>
      </p:sp>
    </p:spTree>
    <p:extLst>
      <p:ext uri="{BB962C8B-B14F-4D97-AF65-F5344CB8AC3E}">
        <p14:creationId xmlns:p14="http://schemas.microsoft.com/office/powerpoint/2010/main" val="189535155"/>
      </p:ext>
    </p:extLst>
  </p:cSld>
  <p:clrMapOvr>
    <a:masterClrMapping/>
  </p:clrMapOvr>
</p:sldLayout>
</file>

<file path=ppt/slideLayouts/slideLayout416.xml><?xml version="1.0" encoding="utf-8"?>
<p:sldLayout xmlns:a="http://schemas.openxmlformats.org/drawingml/2006/main" xmlns:r="http://schemas.openxmlformats.org/officeDocument/2006/relationships" xmlns:p="http://schemas.openxmlformats.org/presentationml/2006/main" showMasterSp="0" preserve="1">
  <p:cSld name="Title 1">
    <p:spTree>
      <p:nvGrpSpPr>
        <p:cNvPr id="1" name=""/>
        <p:cNvGrpSpPr/>
        <p:nvPr/>
      </p:nvGrpSpPr>
      <p:grpSpPr>
        <a:xfrm>
          <a:off x="0" y="0"/>
          <a:ext cx="0" cy="0"/>
          <a:chOff x="0" y="0"/>
          <a:chExt cx="0" cy="0"/>
        </a:xfrm>
      </p:grpSpPr>
      <p:pic>
        <p:nvPicPr>
          <p:cNvPr id="32" name="picture">
            <a:extLst>
              <a:ext uri="{FF2B5EF4-FFF2-40B4-BE49-F238E27FC236}">
                <a16:creationId xmlns:a16="http://schemas.microsoft.com/office/drawing/2014/main" id="{4F153214-AFE7-D540-937D-96E89FDAD54B}"/>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2620212" y="-8808"/>
            <a:ext cx="9697299" cy="6866807"/>
          </a:xfrm>
          <a:prstGeom prst="rect">
            <a:avLst/>
          </a:prstGeom>
        </p:spPr>
      </p:pic>
      <p:sp>
        <p:nvSpPr>
          <p:cNvPr id="29" name="shpPicture"/>
          <p:cNvSpPr/>
          <p:nvPr/>
        </p:nvSpPr>
        <p:spPr>
          <a:xfrm>
            <a:off x="0" y="0"/>
            <a:ext cx="4956718" cy="6858000"/>
          </a:xfrm>
          <a:custGeom>
            <a:avLst/>
            <a:gdLst>
              <a:gd name="connsiteX0" fmla="*/ 0 w 4956718"/>
              <a:gd name="connsiteY0" fmla="*/ 0 h 6858000"/>
              <a:gd name="connsiteX1" fmla="*/ 3707268 w 4956718"/>
              <a:gd name="connsiteY1" fmla="*/ 0 h 6858000"/>
              <a:gd name="connsiteX2" fmla="*/ 4956718 w 4956718"/>
              <a:gd name="connsiteY2" fmla="*/ 4163677 h 6858000"/>
              <a:gd name="connsiteX3" fmla="*/ 3376226 w 4956718"/>
              <a:gd name="connsiteY3" fmla="*/ 6858000 h 6858000"/>
              <a:gd name="connsiteX4" fmla="*/ 0 w 4956718"/>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56718" h="6858000">
                <a:moveTo>
                  <a:pt x="0" y="0"/>
                </a:moveTo>
                <a:lnTo>
                  <a:pt x="3707268" y="0"/>
                </a:lnTo>
                <a:lnTo>
                  <a:pt x="4956718" y="4163677"/>
                </a:lnTo>
                <a:lnTo>
                  <a:pt x="3376226"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125000"/>
              </a:lnSpc>
            </a:pPr>
            <a:endParaRPr lang="en-US" sz="1600"/>
          </a:p>
        </p:txBody>
      </p:sp>
      <p:grpSp>
        <p:nvGrpSpPr>
          <p:cNvPr id="14" name="logo">
            <a:extLst>
              <a:ext uri="{FF2B5EF4-FFF2-40B4-BE49-F238E27FC236}">
                <a16:creationId xmlns:a16="http://schemas.microsoft.com/office/drawing/2014/main" id="{18C26D95-70F8-8A4D-9F18-DCCB92522AF8}"/>
              </a:ext>
            </a:extLst>
          </p:cNvPr>
          <p:cNvGrpSpPr/>
          <p:nvPr/>
        </p:nvGrpSpPr>
        <p:grpSpPr bwMode="gray">
          <a:xfrm>
            <a:off x="417363" y="407485"/>
            <a:ext cx="1518585" cy="646507"/>
            <a:chOff x="334963" y="296652"/>
            <a:chExt cx="1268411" cy="540000"/>
          </a:xfrm>
        </p:grpSpPr>
        <p:sp>
          <p:nvSpPr>
            <p:cNvPr id="17" name="Freeform 6">
              <a:extLst>
                <a:ext uri="{FF2B5EF4-FFF2-40B4-BE49-F238E27FC236}">
                  <a16:creationId xmlns:a16="http://schemas.microsoft.com/office/drawing/2014/main" id="{08737AD0-E375-E445-97E6-CD2E2DF60620}"/>
                </a:ext>
              </a:extLst>
            </p:cNvPr>
            <p:cNvSpPr>
              <a:spLocks noEditPoints="1"/>
            </p:cNvSpPr>
            <p:nvPr/>
          </p:nvSpPr>
          <p:spPr bwMode="gray">
            <a:xfrm>
              <a:off x="982662" y="360462"/>
              <a:ext cx="620712" cy="431800"/>
            </a:xfrm>
            <a:custGeom>
              <a:avLst/>
              <a:gdLst>
                <a:gd name="T0" fmla="*/ 19 w 1809"/>
                <a:gd name="T1" fmla="*/ 97 h 1253"/>
                <a:gd name="T2" fmla="*/ 165 w 1809"/>
                <a:gd name="T3" fmla="*/ 41 h 1253"/>
                <a:gd name="T4" fmla="*/ 211 w 1809"/>
                <a:gd name="T5" fmla="*/ 224 h 1253"/>
                <a:gd name="T6" fmla="*/ 248 w 1809"/>
                <a:gd name="T7" fmla="*/ 155 h 1253"/>
                <a:gd name="T8" fmla="*/ 931 w 1809"/>
                <a:gd name="T9" fmla="*/ 995 h 1253"/>
                <a:gd name="T10" fmla="*/ 858 w 1809"/>
                <a:gd name="T11" fmla="*/ 1115 h 1253"/>
                <a:gd name="T12" fmla="*/ 749 w 1809"/>
                <a:gd name="T13" fmla="*/ 1117 h 1253"/>
                <a:gd name="T14" fmla="*/ 681 w 1809"/>
                <a:gd name="T15" fmla="*/ 1055 h 1253"/>
                <a:gd name="T16" fmla="*/ 800 w 1809"/>
                <a:gd name="T17" fmla="*/ 1054 h 1253"/>
                <a:gd name="T18" fmla="*/ 884 w 1809"/>
                <a:gd name="T19" fmla="*/ 1181 h 1253"/>
                <a:gd name="T20" fmla="*/ 118 w 1809"/>
                <a:gd name="T21" fmla="*/ 1086 h 1253"/>
                <a:gd name="T22" fmla="*/ 147 w 1809"/>
                <a:gd name="T23" fmla="*/ 1026 h 1253"/>
                <a:gd name="T24" fmla="*/ 102 w 1809"/>
                <a:gd name="T25" fmla="*/ 1026 h 1253"/>
                <a:gd name="T26" fmla="*/ 639 w 1809"/>
                <a:gd name="T27" fmla="*/ 84 h 1253"/>
                <a:gd name="T28" fmla="*/ 763 w 1809"/>
                <a:gd name="T29" fmla="*/ 145 h 1253"/>
                <a:gd name="T30" fmla="*/ 863 w 1809"/>
                <a:gd name="T31" fmla="*/ 221 h 1253"/>
                <a:gd name="T32" fmla="*/ 834 w 1809"/>
                <a:gd name="T33" fmla="*/ 208 h 1253"/>
                <a:gd name="T34" fmla="*/ 719 w 1809"/>
                <a:gd name="T35" fmla="*/ 182 h 1253"/>
                <a:gd name="T36" fmla="*/ 507 w 1809"/>
                <a:gd name="T37" fmla="*/ 711 h 1253"/>
                <a:gd name="T38" fmla="*/ 614 w 1809"/>
                <a:gd name="T39" fmla="*/ 706 h 1253"/>
                <a:gd name="T40" fmla="*/ 736 w 1809"/>
                <a:gd name="T41" fmla="*/ 730 h 1253"/>
                <a:gd name="T42" fmla="*/ 607 w 1809"/>
                <a:gd name="T43" fmla="*/ 539 h 1253"/>
                <a:gd name="T44" fmla="*/ 1505 w 1809"/>
                <a:gd name="T45" fmla="*/ 1136 h 1253"/>
                <a:gd name="T46" fmla="*/ 1613 w 1809"/>
                <a:gd name="T47" fmla="*/ 1002 h 1253"/>
                <a:gd name="T48" fmla="*/ 1472 w 1809"/>
                <a:gd name="T49" fmla="*/ 1164 h 1253"/>
                <a:gd name="T50" fmla="*/ 1525 w 1809"/>
                <a:gd name="T51" fmla="*/ 1142 h 1253"/>
                <a:gd name="T52" fmla="*/ 1556 w 1809"/>
                <a:gd name="T53" fmla="*/ 1172 h 1253"/>
                <a:gd name="T54" fmla="*/ 1387 w 1809"/>
                <a:gd name="T55" fmla="*/ 910 h 1253"/>
                <a:gd name="T56" fmla="*/ 1261 w 1809"/>
                <a:gd name="T57" fmla="*/ 1157 h 1253"/>
                <a:gd name="T58" fmla="*/ 1413 w 1809"/>
                <a:gd name="T59" fmla="*/ 934 h 1253"/>
                <a:gd name="T60" fmla="*/ 1378 w 1809"/>
                <a:gd name="T61" fmla="*/ 1052 h 1253"/>
                <a:gd name="T62" fmla="*/ 488 w 1809"/>
                <a:gd name="T63" fmla="*/ 85 h 1253"/>
                <a:gd name="T64" fmla="*/ 509 w 1809"/>
                <a:gd name="T65" fmla="*/ 112 h 1253"/>
                <a:gd name="T66" fmla="*/ 548 w 1809"/>
                <a:gd name="T67" fmla="*/ 1187 h 1253"/>
                <a:gd name="T68" fmla="*/ 472 w 1809"/>
                <a:gd name="T69" fmla="*/ 1122 h 1253"/>
                <a:gd name="T70" fmla="*/ 558 w 1809"/>
                <a:gd name="T71" fmla="*/ 1157 h 1253"/>
                <a:gd name="T72" fmla="*/ 287 w 1809"/>
                <a:gd name="T73" fmla="*/ 654 h 1253"/>
                <a:gd name="T74" fmla="*/ 416 w 1809"/>
                <a:gd name="T75" fmla="*/ 684 h 1253"/>
                <a:gd name="T76" fmla="*/ 1106 w 1809"/>
                <a:gd name="T77" fmla="*/ 147 h 1253"/>
                <a:gd name="T78" fmla="*/ 1229 w 1809"/>
                <a:gd name="T79" fmla="*/ 258 h 1253"/>
                <a:gd name="T80" fmla="*/ 1106 w 1809"/>
                <a:gd name="T81" fmla="*/ 96 h 1253"/>
                <a:gd name="T82" fmla="*/ 1219 w 1809"/>
                <a:gd name="T83" fmla="*/ 1077 h 1253"/>
                <a:gd name="T84" fmla="*/ 1214 w 1809"/>
                <a:gd name="T85" fmla="*/ 1157 h 1253"/>
                <a:gd name="T86" fmla="*/ 1150 w 1809"/>
                <a:gd name="T87" fmla="*/ 1092 h 1253"/>
                <a:gd name="T88" fmla="*/ 1139 w 1809"/>
                <a:gd name="T89" fmla="*/ 1070 h 1253"/>
                <a:gd name="T90" fmla="*/ 1659 w 1809"/>
                <a:gd name="T91" fmla="*/ 1031 h 1253"/>
                <a:gd name="T92" fmla="*/ 1714 w 1809"/>
                <a:gd name="T93" fmla="*/ 1155 h 1253"/>
                <a:gd name="T94" fmla="*/ 1760 w 1809"/>
                <a:gd name="T95" fmla="*/ 1030 h 1253"/>
                <a:gd name="T96" fmla="*/ 111 w 1809"/>
                <a:gd name="T97" fmla="*/ 569 h 1253"/>
                <a:gd name="T98" fmla="*/ 109 w 1809"/>
                <a:gd name="T99" fmla="*/ 460 h 1253"/>
                <a:gd name="T100" fmla="*/ 32 w 1809"/>
                <a:gd name="T101" fmla="*/ 704 h 1253"/>
                <a:gd name="T102" fmla="*/ 310 w 1809"/>
                <a:gd name="T103" fmla="*/ 1058 h 1253"/>
                <a:gd name="T104" fmla="*/ 431 w 1809"/>
                <a:gd name="T105" fmla="*/ 1044 h 1253"/>
                <a:gd name="T106" fmla="*/ 278 w 1809"/>
                <a:gd name="T107" fmla="*/ 1165 h 1253"/>
                <a:gd name="T108" fmla="*/ 261 w 1809"/>
                <a:gd name="T109" fmla="*/ 540 h 1253"/>
                <a:gd name="T110" fmla="*/ 150 w 1809"/>
                <a:gd name="T111" fmla="*/ 635 h 1253"/>
                <a:gd name="T112" fmla="*/ 994 w 1809"/>
                <a:gd name="T113" fmla="*/ 1185 h 1253"/>
                <a:gd name="T114" fmla="*/ 331 w 1809"/>
                <a:gd name="T115" fmla="*/ 176 h 1253"/>
                <a:gd name="T116" fmla="*/ 333 w 1809"/>
                <a:gd name="T117" fmla="*/ 109 h 1253"/>
                <a:gd name="T118" fmla="*/ 946 w 1809"/>
                <a:gd name="T119" fmla="*/ 234 h 1253"/>
                <a:gd name="T120" fmla="*/ 1022 w 1809"/>
                <a:gd name="T121" fmla="*/ 113 h 1253"/>
                <a:gd name="T122" fmla="*/ 949 w 1809"/>
                <a:gd name="T123" fmla="*/ 65 h 1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09" h="1253">
                  <a:moveTo>
                    <a:pt x="248" y="198"/>
                  </a:moveTo>
                  <a:cubicBezTo>
                    <a:pt x="248" y="211"/>
                    <a:pt x="248" y="224"/>
                    <a:pt x="249" y="237"/>
                  </a:cubicBezTo>
                  <a:cubicBezTo>
                    <a:pt x="249" y="245"/>
                    <a:pt x="246" y="249"/>
                    <a:pt x="240" y="253"/>
                  </a:cubicBezTo>
                  <a:cubicBezTo>
                    <a:pt x="231" y="260"/>
                    <a:pt x="220" y="264"/>
                    <a:pt x="209" y="268"/>
                  </a:cubicBezTo>
                  <a:cubicBezTo>
                    <a:pt x="179" y="279"/>
                    <a:pt x="148" y="280"/>
                    <a:pt x="118" y="275"/>
                  </a:cubicBezTo>
                  <a:cubicBezTo>
                    <a:pt x="86" y="269"/>
                    <a:pt x="58" y="252"/>
                    <a:pt x="39" y="224"/>
                  </a:cubicBezTo>
                  <a:cubicBezTo>
                    <a:pt x="24" y="203"/>
                    <a:pt x="18" y="180"/>
                    <a:pt x="15" y="155"/>
                  </a:cubicBezTo>
                  <a:cubicBezTo>
                    <a:pt x="11" y="135"/>
                    <a:pt x="15" y="115"/>
                    <a:pt x="19" y="97"/>
                  </a:cubicBezTo>
                  <a:cubicBezTo>
                    <a:pt x="26" y="68"/>
                    <a:pt x="42" y="44"/>
                    <a:pt x="68" y="27"/>
                  </a:cubicBezTo>
                  <a:cubicBezTo>
                    <a:pt x="87" y="14"/>
                    <a:pt x="109" y="6"/>
                    <a:pt x="133" y="5"/>
                  </a:cubicBezTo>
                  <a:cubicBezTo>
                    <a:pt x="149" y="4"/>
                    <a:pt x="165" y="5"/>
                    <a:pt x="181" y="6"/>
                  </a:cubicBezTo>
                  <a:cubicBezTo>
                    <a:pt x="204" y="8"/>
                    <a:pt x="225" y="20"/>
                    <a:pt x="243" y="35"/>
                  </a:cubicBezTo>
                  <a:cubicBezTo>
                    <a:pt x="246" y="37"/>
                    <a:pt x="246" y="40"/>
                    <a:pt x="244" y="43"/>
                  </a:cubicBezTo>
                  <a:cubicBezTo>
                    <a:pt x="242" y="47"/>
                    <a:pt x="239" y="52"/>
                    <a:pt x="236" y="55"/>
                  </a:cubicBezTo>
                  <a:cubicBezTo>
                    <a:pt x="226" y="65"/>
                    <a:pt x="224" y="65"/>
                    <a:pt x="206" y="54"/>
                  </a:cubicBezTo>
                  <a:cubicBezTo>
                    <a:pt x="193" y="46"/>
                    <a:pt x="180" y="40"/>
                    <a:pt x="165" y="41"/>
                  </a:cubicBezTo>
                  <a:cubicBezTo>
                    <a:pt x="151" y="41"/>
                    <a:pt x="137" y="39"/>
                    <a:pt x="124" y="42"/>
                  </a:cubicBezTo>
                  <a:cubicBezTo>
                    <a:pt x="104" y="46"/>
                    <a:pt x="87" y="57"/>
                    <a:pt x="75" y="74"/>
                  </a:cubicBezTo>
                  <a:cubicBezTo>
                    <a:pt x="56" y="99"/>
                    <a:pt x="51" y="129"/>
                    <a:pt x="55" y="159"/>
                  </a:cubicBezTo>
                  <a:cubicBezTo>
                    <a:pt x="60" y="189"/>
                    <a:pt x="73" y="214"/>
                    <a:pt x="98" y="230"/>
                  </a:cubicBezTo>
                  <a:cubicBezTo>
                    <a:pt x="109" y="237"/>
                    <a:pt x="121" y="242"/>
                    <a:pt x="135" y="241"/>
                  </a:cubicBezTo>
                  <a:cubicBezTo>
                    <a:pt x="146" y="241"/>
                    <a:pt x="158" y="241"/>
                    <a:pt x="169" y="241"/>
                  </a:cubicBezTo>
                  <a:cubicBezTo>
                    <a:pt x="182" y="242"/>
                    <a:pt x="193" y="235"/>
                    <a:pt x="205" y="232"/>
                  </a:cubicBezTo>
                  <a:cubicBezTo>
                    <a:pt x="210" y="231"/>
                    <a:pt x="211" y="227"/>
                    <a:pt x="211" y="224"/>
                  </a:cubicBezTo>
                  <a:cubicBezTo>
                    <a:pt x="211" y="210"/>
                    <a:pt x="211" y="196"/>
                    <a:pt x="211" y="183"/>
                  </a:cubicBezTo>
                  <a:cubicBezTo>
                    <a:pt x="211" y="177"/>
                    <a:pt x="207" y="175"/>
                    <a:pt x="202" y="175"/>
                  </a:cubicBezTo>
                  <a:cubicBezTo>
                    <a:pt x="193" y="175"/>
                    <a:pt x="184" y="175"/>
                    <a:pt x="175" y="175"/>
                  </a:cubicBezTo>
                  <a:cubicBezTo>
                    <a:pt x="171" y="175"/>
                    <a:pt x="168" y="174"/>
                    <a:pt x="166" y="171"/>
                  </a:cubicBezTo>
                  <a:cubicBezTo>
                    <a:pt x="163" y="163"/>
                    <a:pt x="164" y="154"/>
                    <a:pt x="166" y="146"/>
                  </a:cubicBezTo>
                  <a:cubicBezTo>
                    <a:pt x="167" y="142"/>
                    <a:pt x="171" y="142"/>
                    <a:pt x="175" y="142"/>
                  </a:cubicBezTo>
                  <a:cubicBezTo>
                    <a:pt x="196" y="142"/>
                    <a:pt x="217" y="142"/>
                    <a:pt x="238" y="142"/>
                  </a:cubicBezTo>
                  <a:cubicBezTo>
                    <a:pt x="247" y="142"/>
                    <a:pt x="248" y="148"/>
                    <a:pt x="248" y="155"/>
                  </a:cubicBezTo>
                  <a:cubicBezTo>
                    <a:pt x="249" y="169"/>
                    <a:pt x="248" y="183"/>
                    <a:pt x="248" y="198"/>
                  </a:cubicBezTo>
                  <a:close/>
                  <a:moveTo>
                    <a:pt x="884" y="1181"/>
                  </a:moveTo>
                  <a:cubicBezTo>
                    <a:pt x="889" y="1167"/>
                    <a:pt x="894" y="1152"/>
                    <a:pt x="898" y="1137"/>
                  </a:cubicBezTo>
                  <a:cubicBezTo>
                    <a:pt x="901" y="1127"/>
                    <a:pt x="905" y="1116"/>
                    <a:pt x="908" y="1106"/>
                  </a:cubicBezTo>
                  <a:cubicBezTo>
                    <a:pt x="911" y="1098"/>
                    <a:pt x="912" y="1089"/>
                    <a:pt x="916" y="1081"/>
                  </a:cubicBezTo>
                  <a:cubicBezTo>
                    <a:pt x="921" y="1072"/>
                    <a:pt x="923" y="1060"/>
                    <a:pt x="927" y="1050"/>
                  </a:cubicBezTo>
                  <a:cubicBezTo>
                    <a:pt x="932" y="1037"/>
                    <a:pt x="934" y="1023"/>
                    <a:pt x="940" y="1010"/>
                  </a:cubicBezTo>
                  <a:cubicBezTo>
                    <a:pt x="945" y="1001"/>
                    <a:pt x="941" y="995"/>
                    <a:pt x="931" y="995"/>
                  </a:cubicBezTo>
                  <a:cubicBezTo>
                    <a:pt x="927" y="995"/>
                    <a:pt x="922" y="995"/>
                    <a:pt x="918" y="995"/>
                  </a:cubicBezTo>
                  <a:cubicBezTo>
                    <a:pt x="913" y="995"/>
                    <a:pt x="908" y="997"/>
                    <a:pt x="907" y="1001"/>
                  </a:cubicBezTo>
                  <a:cubicBezTo>
                    <a:pt x="904" y="1008"/>
                    <a:pt x="900" y="1015"/>
                    <a:pt x="899" y="1023"/>
                  </a:cubicBezTo>
                  <a:cubicBezTo>
                    <a:pt x="897" y="1034"/>
                    <a:pt x="893" y="1045"/>
                    <a:pt x="889" y="1055"/>
                  </a:cubicBezTo>
                  <a:cubicBezTo>
                    <a:pt x="887" y="1064"/>
                    <a:pt x="885" y="1072"/>
                    <a:pt x="882" y="1080"/>
                  </a:cubicBezTo>
                  <a:cubicBezTo>
                    <a:pt x="878" y="1091"/>
                    <a:pt x="874" y="1103"/>
                    <a:pt x="871" y="1115"/>
                  </a:cubicBezTo>
                  <a:cubicBezTo>
                    <a:pt x="870" y="1118"/>
                    <a:pt x="871" y="1124"/>
                    <a:pt x="866" y="1124"/>
                  </a:cubicBezTo>
                  <a:cubicBezTo>
                    <a:pt x="861" y="1125"/>
                    <a:pt x="859" y="1120"/>
                    <a:pt x="858" y="1115"/>
                  </a:cubicBezTo>
                  <a:cubicBezTo>
                    <a:pt x="856" y="1110"/>
                    <a:pt x="856" y="1104"/>
                    <a:pt x="854" y="1099"/>
                  </a:cubicBezTo>
                  <a:cubicBezTo>
                    <a:pt x="848" y="1080"/>
                    <a:pt x="841" y="1062"/>
                    <a:pt x="835" y="1044"/>
                  </a:cubicBezTo>
                  <a:cubicBezTo>
                    <a:pt x="831" y="1030"/>
                    <a:pt x="828" y="1016"/>
                    <a:pt x="822" y="1003"/>
                  </a:cubicBezTo>
                  <a:cubicBezTo>
                    <a:pt x="819" y="997"/>
                    <a:pt x="814" y="994"/>
                    <a:pt x="808" y="994"/>
                  </a:cubicBezTo>
                  <a:cubicBezTo>
                    <a:pt x="799" y="993"/>
                    <a:pt x="791" y="993"/>
                    <a:pt x="787" y="1001"/>
                  </a:cubicBezTo>
                  <a:cubicBezTo>
                    <a:pt x="783" y="1008"/>
                    <a:pt x="780" y="1015"/>
                    <a:pt x="779" y="1022"/>
                  </a:cubicBezTo>
                  <a:cubicBezTo>
                    <a:pt x="778" y="1034"/>
                    <a:pt x="772" y="1044"/>
                    <a:pt x="769" y="1055"/>
                  </a:cubicBezTo>
                  <a:cubicBezTo>
                    <a:pt x="762" y="1076"/>
                    <a:pt x="754" y="1096"/>
                    <a:pt x="749" y="1117"/>
                  </a:cubicBezTo>
                  <a:cubicBezTo>
                    <a:pt x="748" y="1120"/>
                    <a:pt x="747" y="1124"/>
                    <a:pt x="742" y="1124"/>
                  </a:cubicBezTo>
                  <a:cubicBezTo>
                    <a:pt x="737" y="1124"/>
                    <a:pt x="737" y="1120"/>
                    <a:pt x="736" y="1116"/>
                  </a:cubicBezTo>
                  <a:cubicBezTo>
                    <a:pt x="734" y="1104"/>
                    <a:pt x="730" y="1092"/>
                    <a:pt x="726" y="1080"/>
                  </a:cubicBezTo>
                  <a:cubicBezTo>
                    <a:pt x="720" y="1061"/>
                    <a:pt x="714" y="1040"/>
                    <a:pt x="708" y="1020"/>
                  </a:cubicBezTo>
                  <a:cubicBezTo>
                    <a:pt x="703" y="1000"/>
                    <a:pt x="698" y="994"/>
                    <a:pt x="676" y="995"/>
                  </a:cubicBezTo>
                  <a:cubicBezTo>
                    <a:pt x="665" y="996"/>
                    <a:pt x="661" y="1001"/>
                    <a:pt x="667" y="1011"/>
                  </a:cubicBezTo>
                  <a:cubicBezTo>
                    <a:pt x="669" y="1016"/>
                    <a:pt x="670" y="1021"/>
                    <a:pt x="672" y="1025"/>
                  </a:cubicBezTo>
                  <a:cubicBezTo>
                    <a:pt x="675" y="1035"/>
                    <a:pt x="678" y="1046"/>
                    <a:pt x="681" y="1055"/>
                  </a:cubicBezTo>
                  <a:cubicBezTo>
                    <a:pt x="685" y="1068"/>
                    <a:pt x="689" y="1080"/>
                    <a:pt x="693" y="1092"/>
                  </a:cubicBezTo>
                  <a:cubicBezTo>
                    <a:pt x="697" y="1103"/>
                    <a:pt x="699" y="1113"/>
                    <a:pt x="703" y="1124"/>
                  </a:cubicBezTo>
                  <a:cubicBezTo>
                    <a:pt x="707" y="1136"/>
                    <a:pt x="711" y="1147"/>
                    <a:pt x="715" y="1160"/>
                  </a:cubicBezTo>
                  <a:cubicBezTo>
                    <a:pt x="717" y="1168"/>
                    <a:pt x="720" y="1176"/>
                    <a:pt x="724" y="1183"/>
                  </a:cubicBezTo>
                  <a:cubicBezTo>
                    <a:pt x="728" y="1189"/>
                    <a:pt x="752" y="1185"/>
                    <a:pt x="757" y="1180"/>
                  </a:cubicBezTo>
                  <a:cubicBezTo>
                    <a:pt x="764" y="1173"/>
                    <a:pt x="762" y="1163"/>
                    <a:pt x="766" y="1156"/>
                  </a:cubicBezTo>
                  <a:cubicBezTo>
                    <a:pt x="774" y="1140"/>
                    <a:pt x="778" y="1122"/>
                    <a:pt x="784" y="1105"/>
                  </a:cubicBezTo>
                  <a:cubicBezTo>
                    <a:pt x="789" y="1088"/>
                    <a:pt x="796" y="1072"/>
                    <a:pt x="800" y="1054"/>
                  </a:cubicBezTo>
                  <a:cubicBezTo>
                    <a:pt x="800" y="1053"/>
                    <a:pt x="801" y="1050"/>
                    <a:pt x="803" y="1050"/>
                  </a:cubicBezTo>
                  <a:cubicBezTo>
                    <a:pt x="806" y="1050"/>
                    <a:pt x="806" y="1052"/>
                    <a:pt x="807" y="1055"/>
                  </a:cubicBezTo>
                  <a:cubicBezTo>
                    <a:pt x="807" y="1060"/>
                    <a:pt x="810" y="1066"/>
                    <a:pt x="811" y="1071"/>
                  </a:cubicBezTo>
                  <a:cubicBezTo>
                    <a:pt x="814" y="1081"/>
                    <a:pt x="818" y="1090"/>
                    <a:pt x="821" y="1099"/>
                  </a:cubicBezTo>
                  <a:cubicBezTo>
                    <a:pt x="824" y="1110"/>
                    <a:pt x="827" y="1120"/>
                    <a:pt x="831" y="1131"/>
                  </a:cubicBezTo>
                  <a:cubicBezTo>
                    <a:pt x="834" y="1142"/>
                    <a:pt x="839" y="1153"/>
                    <a:pt x="842" y="1164"/>
                  </a:cubicBezTo>
                  <a:cubicBezTo>
                    <a:pt x="846" y="1179"/>
                    <a:pt x="850" y="1188"/>
                    <a:pt x="869" y="1185"/>
                  </a:cubicBezTo>
                  <a:cubicBezTo>
                    <a:pt x="873" y="1184"/>
                    <a:pt x="881" y="1189"/>
                    <a:pt x="884" y="1181"/>
                  </a:cubicBezTo>
                  <a:close/>
                  <a:moveTo>
                    <a:pt x="33" y="1051"/>
                  </a:moveTo>
                  <a:cubicBezTo>
                    <a:pt x="33" y="1087"/>
                    <a:pt x="33" y="1124"/>
                    <a:pt x="33" y="1160"/>
                  </a:cubicBezTo>
                  <a:cubicBezTo>
                    <a:pt x="33" y="1188"/>
                    <a:pt x="29" y="1184"/>
                    <a:pt x="58" y="1185"/>
                  </a:cubicBezTo>
                  <a:cubicBezTo>
                    <a:pt x="72" y="1185"/>
                    <a:pt x="73" y="1184"/>
                    <a:pt x="73" y="1170"/>
                  </a:cubicBezTo>
                  <a:cubicBezTo>
                    <a:pt x="73" y="1138"/>
                    <a:pt x="73" y="1107"/>
                    <a:pt x="73" y="1076"/>
                  </a:cubicBezTo>
                  <a:cubicBezTo>
                    <a:pt x="73" y="1071"/>
                    <a:pt x="72" y="1067"/>
                    <a:pt x="78" y="1065"/>
                  </a:cubicBezTo>
                  <a:cubicBezTo>
                    <a:pt x="91" y="1062"/>
                    <a:pt x="102" y="1067"/>
                    <a:pt x="110" y="1076"/>
                  </a:cubicBezTo>
                  <a:cubicBezTo>
                    <a:pt x="112" y="1080"/>
                    <a:pt x="115" y="1083"/>
                    <a:pt x="118" y="1086"/>
                  </a:cubicBezTo>
                  <a:cubicBezTo>
                    <a:pt x="132" y="1103"/>
                    <a:pt x="146" y="1119"/>
                    <a:pt x="161" y="1136"/>
                  </a:cubicBezTo>
                  <a:cubicBezTo>
                    <a:pt x="173" y="1150"/>
                    <a:pt x="186" y="1165"/>
                    <a:pt x="198" y="1179"/>
                  </a:cubicBezTo>
                  <a:cubicBezTo>
                    <a:pt x="207" y="1188"/>
                    <a:pt x="218" y="1184"/>
                    <a:pt x="228" y="1185"/>
                  </a:cubicBezTo>
                  <a:cubicBezTo>
                    <a:pt x="233" y="1185"/>
                    <a:pt x="241" y="1188"/>
                    <a:pt x="244" y="1182"/>
                  </a:cubicBezTo>
                  <a:cubicBezTo>
                    <a:pt x="246" y="1178"/>
                    <a:pt x="239" y="1173"/>
                    <a:pt x="235" y="1169"/>
                  </a:cubicBezTo>
                  <a:cubicBezTo>
                    <a:pt x="206" y="1133"/>
                    <a:pt x="176" y="1098"/>
                    <a:pt x="146" y="1062"/>
                  </a:cubicBezTo>
                  <a:cubicBezTo>
                    <a:pt x="141" y="1056"/>
                    <a:pt x="131" y="1052"/>
                    <a:pt x="132" y="1044"/>
                  </a:cubicBezTo>
                  <a:cubicBezTo>
                    <a:pt x="132" y="1036"/>
                    <a:pt x="142" y="1032"/>
                    <a:pt x="147" y="1026"/>
                  </a:cubicBezTo>
                  <a:cubicBezTo>
                    <a:pt x="164" y="1006"/>
                    <a:pt x="182" y="988"/>
                    <a:pt x="198" y="968"/>
                  </a:cubicBezTo>
                  <a:cubicBezTo>
                    <a:pt x="209" y="954"/>
                    <a:pt x="221" y="942"/>
                    <a:pt x="234" y="929"/>
                  </a:cubicBezTo>
                  <a:cubicBezTo>
                    <a:pt x="236" y="926"/>
                    <a:pt x="238" y="923"/>
                    <a:pt x="237" y="920"/>
                  </a:cubicBezTo>
                  <a:cubicBezTo>
                    <a:pt x="235" y="915"/>
                    <a:pt x="231" y="917"/>
                    <a:pt x="228" y="917"/>
                  </a:cubicBezTo>
                  <a:cubicBezTo>
                    <a:pt x="224" y="918"/>
                    <a:pt x="221" y="918"/>
                    <a:pt x="217" y="918"/>
                  </a:cubicBezTo>
                  <a:cubicBezTo>
                    <a:pt x="204" y="917"/>
                    <a:pt x="193" y="922"/>
                    <a:pt x="185" y="931"/>
                  </a:cubicBezTo>
                  <a:cubicBezTo>
                    <a:pt x="172" y="946"/>
                    <a:pt x="158" y="961"/>
                    <a:pt x="145" y="977"/>
                  </a:cubicBezTo>
                  <a:cubicBezTo>
                    <a:pt x="131" y="993"/>
                    <a:pt x="117" y="1010"/>
                    <a:pt x="102" y="1026"/>
                  </a:cubicBezTo>
                  <a:cubicBezTo>
                    <a:pt x="96" y="1032"/>
                    <a:pt x="87" y="1037"/>
                    <a:pt x="78" y="1034"/>
                  </a:cubicBezTo>
                  <a:cubicBezTo>
                    <a:pt x="70" y="1030"/>
                    <a:pt x="73" y="1021"/>
                    <a:pt x="73" y="1015"/>
                  </a:cubicBezTo>
                  <a:cubicBezTo>
                    <a:pt x="73" y="991"/>
                    <a:pt x="73" y="967"/>
                    <a:pt x="73" y="944"/>
                  </a:cubicBezTo>
                  <a:cubicBezTo>
                    <a:pt x="73" y="916"/>
                    <a:pt x="75" y="917"/>
                    <a:pt x="46" y="918"/>
                  </a:cubicBezTo>
                  <a:cubicBezTo>
                    <a:pt x="33" y="918"/>
                    <a:pt x="33" y="918"/>
                    <a:pt x="33" y="931"/>
                  </a:cubicBezTo>
                  <a:cubicBezTo>
                    <a:pt x="33" y="971"/>
                    <a:pt x="33" y="1011"/>
                    <a:pt x="33" y="1051"/>
                  </a:cubicBezTo>
                  <a:cubicBezTo>
                    <a:pt x="33" y="1051"/>
                    <a:pt x="33" y="1051"/>
                    <a:pt x="33" y="1051"/>
                  </a:cubicBezTo>
                  <a:close/>
                  <a:moveTo>
                    <a:pt x="639" y="84"/>
                  </a:moveTo>
                  <a:cubicBezTo>
                    <a:pt x="627" y="84"/>
                    <a:pt x="626" y="84"/>
                    <a:pt x="629" y="95"/>
                  </a:cubicBezTo>
                  <a:cubicBezTo>
                    <a:pt x="634" y="113"/>
                    <a:pt x="640" y="131"/>
                    <a:pt x="646" y="148"/>
                  </a:cubicBezTo>
                  <a:cubicBezTo>
                    <a:pt x="652" y="166"/>
                    <a:pt x="658" y="185"/>
                    <a:pt x="664" y="203"/>
                  </a:cubicBezTo>
                  <a:cubicBezTo>
                    <a:pt x="671" y="223"/>
                    <a:pt x="676" y="244"/>
                    <a:pt x="684" y="264"/>
                  </a:cubicBezTo>
                  <a:cubicBezTo>
                    <a:pt x="688" y="274"/>
                    <a:pt x="694" y="274"/>
                    <a:pt x="702" y="274"/>
                  </a:cubicBezTo>
                  <a:cubicBezTo>
                    <a:pt x="711" y="274"/>
                    <a:pt x="719" y="272"/>
                    <a:pt x="723" y="263"/>
                  </a:cubicBezTo>
                  <a:cubicBezTo>
                    <a:pt x="733" y="236"/>
                    <a:pt x="741" y="208"/>
                    <a:pt x="750" y="181"/>
                  </a:cubicBezTo>
                  <a:cubicBezTo>
                    <a:pt x="754" y="169"/>
                    <a:pt x="757" y="156"/>
                    <a:pt x="763" y="145"/>
                  </a:cubicBezTo>
                  <a:cubicBezTo>
                    <a:pt x="764" y="143"/>
                    <a:pt x="764" y="140"/>
                    <a:pt x="767" y="140"/>
                  </a:cubicBezTo>
                  <a:cubicBezTo>
                    <a:pt x="770" y="140"/>
                    <a:pt x="770" y="143"/>
                    <a:pt x="771" y="145"/>
                  </a:cubicBezTo>
                  <a:cubicBezTo>
                    <a:pt x="771" y="156"/>
                    <a:pt x="777" y="165"/>
                    <a:pt x="780" y="175"/>
                  </a:cubicBezTo>
                  <a:cubicBezTo>
                    <a:pt x="782" y="184"/>
                    <a:pt x="785" y="193"/>
                    <a:pt x="788" y="201"/>
                  </a:cubicBezTo>
                  <a:cubicBezTo>
                    <a:pt x="794" y="219"/>
                    <a:pt x="801" y="237"/>
                    <a:pt x="806" y="255"/>
                  </a:cubicBezTo>
                  <a:cubicBezTo>
                    <a:pt x="811" y="272"/>
                    <a:pt x="825" y="280"/>
                    <a:pt x="842" y="273"/>
                  </a:cubicBezTo>
                  <a:cubicBezTo>
                    <a:pt x="845" y="271"/>
                    <a:pt x="847" y="269"/>
                    <a:pt x="848" y="266"/>
                  </a:cubicBezTo>
                  <a:cubicBezTo>
                    <a:pt x="853" y="251"/>
                    <a:pt x="859" y="236"/>
                    <a:pt x="863" y="221"/>
                  </a:cubicBezTo>
                  <a:cubicBezTo>
                    <a:pt x="867" y="202"/>
                    <a:pt x="875" y="185"/>
                    <a:pt x="880" y="166"/>
                  </a:cubicBezTo>
                  <a:cubicBezTo>
                    <a:pt x="886" y="144"/>
                    <a:pt x="895" y="123"/>
                    <a:pt x="900" y="101"/>
                  </a:cubicBezTo>
                  <a:cubicBezTo>
                    <a:pt x="901" y="96"/>
                    <a:pt x="909" y="91"/>
                    <a:pt x="904" y="86"/>
                  </a:cubicBezTo>
                  <a:cubicBezTo>
                    <a:pt x="900" y="81"/>
                    <a:pt x="892" y="84"/>
                    <a:pt x="886" y="84"/>
                  </a:cubicBezTo>
                  <a:cubicBezTo>
                    <a:pt x="885" y="84"/>
                    <a:pt x="883" y="84"/>
                    <a:pt x="881" y="84"/>
                  </a:cubicBezTo>
                  <a:cubicBezTo>
                    <a:pt x="875" y="84"/>
                    <a:pt x="872" y="86"/>
                    <a:pt x="869" y="91"/>
                  </a:cubicBezTo>
                  <a:cubicBezTo>
                    <a:pt x="860" y="110"/>
                    <a:pt x="856" y="131"/>
                    <a:pt x="850" y="151"/>
                  </a:cubicBezTo>
                  <a:cubicBezTo>
                    <a:pt x="844" y="170"/>
                    <a:pt x="836" y="188"/>
                    <a:pt x="834" y="208"/>
                  </a:cubicBezTo>
                  <a:cubicBezTo>
                    <a:pt x="833" y="211"/>
                    <a:pt x="831" y="214"/>
                    <a:pt x="827" y="214"/>
                  </a:cubicBezTo>
                  <a:cubicBezTo>
                    <a:pt x="823" y="214"/>
                    <a:pt x="822" y="210"/>
                    <a:pt x="822" y="207"/>
                  </a:cubicBezTo>
                  <a:cubicBezTo>
                    <a:pt x="817" y="188"/>
                    <a:pt x="811" y="170"/>
                    <a:pt x="805" y="152"/>
                  </a:cubicBezTo>
                  <a:cubicBezTo>
                    <a:pt x="799" y="133"/>
                    <a:pt x="794" y="114"/>
                    <a:pt x="786" y="96"/>
                  </a:cubicBezTo>
                  <a:cubicBezTo>
                    <a:pt x="783" y="87"/>
                    <a:pt x="779" y="84"/>
                    <a:pt x="770" y="84"/>
                  </a:cubicBezTo>
                  <a:cubicBezTo>
                    <a:pt x="761" y="84"/>
                    <a:pt x="752" y="82"/>
                    <a:pt x="748" y="94"/>
                  </a:cubicBezTo>
                  <a:cubicBezTo>
                    <a:pt x="744" y="109"/>
                    <a:pt x="738" y="123"/>
                    <a:pt x="734" y="138"/>
                  </a:cubicBezTo>
                  <a:cubicBezTo>
                    <a:pt x="729" y="153"/>
                    <a:pt x="724" y="167"/>
                    <a:pt x="719" y="182"/>
                  </a:cubicBezTo>
                  <a:cubicBezTo>
                    <a:pt x="716" y="192"/>
                    <a:pt x="715" y="203"/>
                    <a:pt x="708" y="212"/>
                  </a:cubicBezTo>
                  <a:cubicBezTo>
                    <a:pt x="707" y="214"/>
                    <a:pt x="707" y="217"/>
                    <a:pt x="704" y="217"/>
                  </a:cubicBezTo>
                  <a:cubicBezTo>
                    <a:pt x="701" y="217"/>
                    <a:pt x="701" y="213"/>
                    <a:pt x="700" y="211"/>
                  </a:cubicBezTo>
                  <a:cubicBezTo>
                    <a:pt x="699" y="198"/>
                    <a:pt x="694" y="186"/>
                    <a:pt x="690" y="174"/>
                  </a:cubicBezTo>
                  <a:cubicBezTo>
                    <a:pt x="684" y="153"/>
                    <a:pt x="677" y="131"/>
                    <a:pt x="672" y="110"/>
                  </a:cubicBezTo>
                  <a:cubicBezTo>
                    <a:pt x="667" y="88"/>
                    <a:pt x="663" y="84"/>
                    <a:pt x="645" y="84"/>
                  </a:cubicBezTo>
                  <a:cubicBezTo>
                    <a:pt x="643" y="84"/>
                    <a:pt x="641" y="84"/>
                    <a:pt x="639" y="84"/>
                  </a:cubicBezTo>
                  <a:close/>
                  <a:moveTo>
                    <a:pt x="507" y="711"/>
                  </a:moveTo>
                  <a:cubicBezTo>
                    <a:pt x="507" y="730"/>
                    <a:pt x="507" y="730"/>
                    <a:pt x="526" y="730"/>
                  </a:cubicBezTo>
                  <a:cubicBezTo>
                    <a:pt x="539" y="730"/>
                    <a:pt x="541" y="729"/>
                    <a:pt x="541" y="715"/>
                  </a:cubicBezTo>
                  <a:cubicBezTo>
                    <a:pt x="541" y="677"/>
                    <a:pt x="541" y="638"/>
                    <a:pt x="540" y="600"/>
                  </a:cubicBezTo>
                  <a:cubicBezTo>
                    <a:pt x="540" y="593"/>
                    <a:pt x="543" y="587"/>
                    <a:pt x="548" y="582"/>
                  </a:cubicBezTo>
                  <a:cubicBezTo>
                    <a:pt x="553" y="576"/>
                    <a:pt x="559" y="573"/>
                    <a:pt x="564" y="569"/>
                  </a:cubicBezTo>
                  <a:cubicBezTo>
                    <a:pt x="574" y="564"/>
                    <a:pt x="594" y="566"/>
                    <a:pt x="602" y="574"/>
                  </a:cubicBezTo>
                  <a:cubicBezTo>
                    <a:pt x="611" y="582"/>
                    <a:pt x="614" y="592"/>
                    <a:pt x="614" y="604"/>
                  </a:cubicBezTo>
                  <a:cubicBezTo>
                    <a:pt x="614" y="638"/>
                    <a:pt x="614" y="672"/>
                    <a:pt x="614" y="706"/>
                  </a:cubicBezTo>
                  <a:cubicBezTo>
                    <a:pt x="614" y="730"/>
                    <a:pt x="614" y="730"/>
                    <a:pt x="638" y="730"/>
                  </a:cubicBezTo>
                  <a:cubicBezTo>
                    <a:pt x="650" y="730"/>
                    <a:pt x="650" y="730"/>
                    <a:pt x="650" y="717"/>
                  </a:cubicBezTo>
                  <a:cubicBezTo>
                    <a:pt x="650" y="684"/>
                    <a:pt x="650" y="650"/>
                    <a:pt x="650" y="617"/>
                  </a:cubicBezTo>
                  <a:cubicBezTo>
                    <a:pt x="650" y="606"/>
                    <a:pt x="651" y="597"/>
                    <a:pt x="657" y="586"/>
                  </a:cubicBezTo>
                  <a:cubicBezTo>
                    <a:pt x="667" y="565"/>
                    <a:pt x="703" y="560"/>
                    <a:pt x="716" y="579"/>
                  </a:cubicBezTo>
                  <a:cubicBezTo>
                    <a:pt x="723" y="588"/>
                    <a:pt x="724" y="598"/>
                    <a:pt x="724" y="609"/>
                  </a:cubicBezTo>
                  <a:cubicBezTo>
                    <a:pt x="724" y="645"/>
                    <a:pt x="724" y="682"/>
                    <a:pt x="724" y="718"/>
                  </a:cubicBezTo>
                  <a:cubicBezTo>
                    <a:pt x="724" y="727"/>
                    <a:pt x="727" y="731"/>
                    <a:pt x="736" y="730"/>
                  </a:cubicBezTo>
                  <a:cubicBezTo>
                    <a:pt x="738" y="730"/>
                    <a:pt x="741" y="730"/>
                    <a:pt x="743" y="730"/>
                  </a:cubicBezTo>
                  <a:cubicBezTo>
                    <a:pt x="758" y="730"/>
                    <a:pt x="759" y="729"/>
                    <a:pt x="759" y="715"/>
                  </a:cubicBezTo>
                  <a:cubicBezTo>
                    <a:pt x="759" y="677"/>
                    <a:pt x="758" y="639"/>
                    <a:pt x="759" y="601"/>
                  </a:cubicBezTo>
                  <a:cubicBezTo>
                    <a:pt x="759" y="571"/>
                    <a:pt x="742" y="540"/>
                    <a:pt x="704" y="538"/>
                  </a:cubicBezTo>
                  <a:cubicBezTo>
                    <a:pt x="681" y="536"/>
                    <a:pt x="661" y="542"/>
                    <a:pt x="646" y="560"/>
                  </a:cubicBezTo>
                  <a:cubicBezTo>
                    <a:pt x="638" y="569"/>
                    <a:pt x="638" y="569"/>
                    <a:pt x="631" y="559"/>
                  </a:cubicBezTo>
                  <a:cubicBezTo>
                    <a:pt x="630" y="558"/>
                    <a:pt x="630" y="557"/>
                    <a:pt x="629" y="556"/>
                  </a:cubicBezTo>
                  <a:cubicBezTo>
                    <a:pt x="623" y="548"/>
                    <a:pt x="616" y="541"/>
                    <a:pt x="607" y="539"/>
                  </a:cubicBezTo>
                  <a:cubicBezTo>
                    <a:pt x="584" y="534"/>
                    <a:pt x="563" y="539"/>
                    <a:pt x="545" y="555"/>
                  </a:cubicBezTo>
                  <a:cubicBezTo>
                    <a:pt x="540" y="559"/>
                    <a:pt x="537" y="561"/>
                    <a:pt x="537" y="552"/>
                  </a:cubicBezTo>
                  <a:cubicBezTo>
                    <a:pt x="536" y="543"/>
                    <a:pt x="526" y="538"/>
                    <a:pt x="515" y="539"/>
                  </a:cubicBezTo>
                  <a:cubicBezTo>
                    <a:pt x="506" y="540"/>
                    <a:pt x="507" y="546"/>
                    <a:pt x="507" y="552"/>
                  </a:cubicBezTo>
                  <a:cubicBezTo>
                    <a:pt x="507" y="580"/>
                    <a:pt x="507" y="607"/>
                    <a:pt x="507" y="634"/>
                  </a:cubicBezTo>
                  <a:cubicBezTo>
                    <a:pt x="507" y="660"/>
                    <a:pt x="507" y="685"/>
                    <a:pt x="507" y="711"/>
                  </a:cubicBezTo>
                  <a:close/>
                  <a:moveTo>
                    <a:pt x="1525" y="1142"/>
                  </a:moveTo>
                  <a:cubicBezTo>
                    <a:pt x="1517" y="1143"/>
                    <a:pt x="1511" y="1141"/>
                    <a:pt x="1505" y="1136"/>
                  </a:cubicBezTo>
                  <a:cubicBezTo>
                    <a:pt x="1501" y="1133"/>
                    <a:pt x="1495" y="1130"/>
                    <a:pt x="1498" y="1124"/>
                  </a:cubicBezTo>
                  <a:cubicBezTo>
                    <a:pt x="1500" y="1118"/>
                    <a:pt x="1504" y="1114"/>
                    <a:pt x="1512" y="1114"/>
                  </a:cubicBezTo>
                  <a:cubicBezTo>
                    <a:pt x="1521" y="1115"/>
                    <a:pt x="1530" y="1114"/>
                    <a:pt x="1538" y="1115"/>
                  </a:cubicBezTo>
                  <a:cubicBezTo>
                    <a:pt x="1573" y="1117"/>
                    <a:pt x="1610" y="1084"/>
                    <a:pt x="1602" y="1044"/>
                  </a:cubicBezTo>
                  <a:cubicBezTo>
                    <a:pt x="1600" y="1035"/>
                    <a:pt x="1599" y="1028"/>
                    <a:pt x="1611" y="1027"/>
                  </a:cubicBezTo>
                  <a:cubicBezTo>
                    <a:pt x="1614" y="1027"/>
                    <a:pt x="1617" y="1024"/>
                    <a:pt x="1619" y="1023"/>
                  </a:cubicBezTo>
                  <a:cubicBezTo>
                    <a:pt x="1626" y="1019"/>
                    <a:pt x="1624" y="1013"/>
                    <a:pt x="1623" y="1008"/>
                  </a:cubicBezTo>
                  <a:cubicBezTo>
                    <a:pt x="1623" y="1002"/>
                    <a:pt x="1618" y="1003"/>
                    <a:pt x="1613" y="1002"/>
                  </a:cubicBezTo>
                  <a:cubicBezTo>
                    <a:pt x="1598" y="1002"/>
                    <a:pt x="1582" y="1004"/>
                    <a:pt x="1567" y="1000"/>
                  </a:cubicBezTo>
                  <a:cubicBezTo>
                    <a:pt x="1560" y="999"/>
                    <a:pt x="1554" y="993"/>
                    <a:pt x="1546" y="993"/>
                  </a:cubicBezTo>
                  <a:cubicBezTo>
                    <a:pt x="1536" y="994"/>
                    <a:pt x="1525" y="992"/>
                    <a:pt x="1515" y="993"/>
                  </a:cubicBezTo>
                  <a:cubicBezTo>
                    <a:pt x="1490" y="997"/>
                    <a:pt x="1469" y="1010"/>
                    <a:pt x="1462" y="1034"/>
                  </a:cubicBezTo>
                  <a:cubicBezTo>
                    <a:pt x="1455" y="1056"/>
                    <a:pt x="1457" y="1079"/>
                    <a:pt x="1476" y="1096"/>
                  </a:cubicBezTo>
                  <a:cubicBezTo>
                    <a:pt x="1483" y="1103"/>
                    <a:pt x="1483" y="1107"/>
                    <a:pt x="1476" y="1113"/>
                  </a:cubicBezTo>
                  <a:cubicBezTo>
                    <a:pt x="1462" y="1126"/>
                    <a:pt x="1462" y="1142"/>
                    <a:pt x="1473" y="1157"/>
                  </a:cubicBezTo>
                  <a:cubicBezTo>
                    <a:pt x="1476" y="1160"/>
                    <a:pt x="1476" y="1162"/>
                    <a:pt x="1472" y="1164"/>
                  </a:cubicBezTo>
                  <a:cubicBezTo>
                    <a:pt x="1470" y="1166"/>
                    <a:pt x="1468" y="1168"/>
                    <a:pt x="1466" y="1170"/>
                  </a:cubicBezTo>
                  <a:cubicBezTo>
                    <a:pt x="1449" y="1183"/>
                    <a:pt x="1444" y="1201"/>
                    <a:pt x="1454" y="1218"/>
                  </a:cubicBezTo>
                  <a:cubicBezTo>
                    <a:pt x="1464" y="1235"/>
                    <a:pt x="1479" y="1246"/>
                    <a:pt x="1499" y="1249"/>
                  </a:cubicBezTo>
                  <a:cubicBezTo>
                    <a:pt x="1517" y="1252"/>
                    <a:pt x="1535" y="1253"/>
                    <a:pt x="1553" y="1250"/>
                  </a:cubicBezTo>
                  <a:cubicBezTo>
                    <a:pt x="1584" y="1245"/>
                    <a:pt x="1607" y="1232"/>
                    <a:pt x="1619" y="1200"/>
                  </a:cubicBezTo>
                  <a:cubicBezTo>
                    <a:pt x="1627" y="1180"/>
                    <a:pt x="1611" y="1155"/>
                    <a:pt x="1593" y="1148"/>
                  </a:cubicBezTo>
                  <a:cubicBezTo>
                    <a:pt x="1578" y="1142"/>
                    <a:pt x="1563" y="1143"/>
                    <a:pt x="1549" y="1142"/>
                  </a:cubicBezTo>
                  <a:cubicBezTo>
                    <a:pt x="1540" y="1142"/>
                    <a:pt x="1532" y="1142"/>
                    <a:pt x="1525" y="1142"/>
                  </a:cubicBezTo>
                  <a:close/>
                  <a:moveTo>
                    <a:pt x="1556" y="1172"/>
                  </a:moveTo>
                  <a:cubicBezTo>
                    <a:pt x="1566" y="1172"/>
                    <a:pt x="1576" y="1176"/>
                    <a:pt x="1583" y="1183"/>
                  </a:cubicBezTo>
                  <a:cubicBezTo>
                    <a:pt x="1589" y="1190"/>
                    <a:pt x="1589" y="1198"/>
                    <a:pt x="1583" y="1205"/>
                  </a:cubicBezTo>
                  <a:cubicBezTo>
                    <a:pt x="1575" y="1215"/>
                    <a:pt x="1565" y="1220"/>
                    <a:pt x="1553" y="1223"/>
                  </a:cubicBezTo>
                  <a:cubicBezTo>
                    <a:pt x="1534" y="1228"/>
                    <a:pt x="1516" y="1225"/>
                    <a:pt x="1499" y="1219"/>
                  </a:cubicBezTo>
                  <a:cubicBezTo>
                    <a:pt x="1486" y="1214"/>
                    <a:pt x="1479" y="1203"/>
                    <a:pt x="1482" y="1193"/>
                  </a:cubicBezTo>
                  <a:cubicBezTo>
                    <a:pt x="1485" y="1182"/>
                    <a:pt x="1496" y="1168"/>
                    <a:pt x="1514" y="1171"/>
                  </a:cubicBezTo>
                  <a:cubicBezTo>
                    <a:pt x="1526" y="1173"/>
                    <a:pt x="1541" y="1171"/>
                    <a:pt x="1556" y="1172"/>
                  </a:cubicBezTo>
                  <a:close/>
                  <a:moveTo>
                    <a:pt x="1531" y="1019"/>
                  </a:moveTo>
                  <a:cubicBezTo>
                    <a:pt x="1553" y="1017"/>
                    <a:pt x="1570" y="1033"/>
                    <a:pt x="1570" y="1052"/>
                  </a:cubicBezTo>
                  <a:cubicBezTo>
                    <a:pt x="1570" y="1075"/>
                    <a:pt x="1554" y="1093"/>
                    <a:pt x="1532" y="1091"/>
                  </a:cubicBezTo>
                  <a:cubicBezTo>
                    <a:pt x="1508" y="1089"/>
                    <a:pt x="1494" y="1082"/>
                    <a:pt x="1493" y="1053"/>
                  </a:cubicBezTo>
                  <a:cubicBezTo>
                    <a:pt x="1494" y="1029"/>
                    <a:pt x="1508" y="1020"/>
                    <a:pt x="1531" y="1019"/>
                  </a:cubicBezTo>
                  <a:close/>
                  <a:moveTo>
                    <a:pt x="1413" y="934"/>
                  </a:moveTo>
                  <a:cubicBezTo>
                    <a:pt x="1413" y="909"/>
                    <a:pt x="1413" y="909"/>
                    <a:pt x="1389" y="910"/>
                  </a:cubicBezTo>
                  <a:cubicBezTo>
                    <a:pt x="1388" y="910"/>
                    <a:pt x="1387" y="910"/>
                    <a:pt x="1387" y="910"/>
                  </a:cubicBezTo>
                  <a:cubicBezTo>
                    <a:pt x="1379" y="910"/>
                    <a:pt x="1376" y="915"/>
                    <a:pt x="1376" y="921"/>
                  </a:cubicBezTo>
                  <a:cubicBezTo>
                    <a:pt x="1376" y="939"/>
                    <a:pt x="1377" y="956"/>
                    <a:pt x="1377" y="974"/>
                  </a:cubicBezTo>
                  <a:cubicBezTo>
                    <a:pt x="1377" y="983"/>
                    <a:pt x="1377" y="991"/>
                    <a:pt x="1377" y="1000"/>
                  </a:cubicBezTo>
                  <a:cubicBezTo>
                    <a:pt x="1377" y="1005"/>
                    <a:pt x="1374" y="1009"/>
                    <a:pt x="1369" y="1005"/>
                  </a:cubicBezTo>
                  <a:cubicBezTo>
                    <a:pt x="1352" y="990"/>
                    <a:pt x="1332" y="993"/>
                    <a:pt x="1312" y="993"/>
                  </a:cubicBezTo>
                  <a:cubicBezTo>
                    <a:pt x="1303" y="994"/>
                    <a:pt x="1294" y="998"/>
                    <a:pt x="1287" y="1003"/>
                  </a:cubicBezTo>
                  <a:cubicBezTo>
                    <a:pt x="1265" y="1017"/>
                    <a:pt x="1252" y="1039"/>
                    <a:pt x="1248" y="1065"/>
                  </a:cubicBezTo>
                  <a:cubicBezTo>
                    <a:pt x="1244" y="1096"/>
                    <a:pt x="1244" y="1128"/>
                    <a:pt x="1261" y="1157"/>
                  </a:cubicBezTo>
                  <a:cubicBezTo>
                    <a:pt x="1270" y="1170"/>
                    <a:pt x="1281" y="1181"/>
                    <a:pt x="1296" y="1185"/>
                  </a:cubicBezTo>
                  <a:cubicBezTo>
                    <a:pt x="1323" y="1191"/>
                    <a:pt x="1349" y="1188"/>
                    <a:pt x="1370" y="1167"/>
                  </a:cubicBezTo>
                  <a:cubicBezTo>
                    <a:pt x="1372" y="1165"/>
                    <a:pt x="1375" y="1162"/>
                    <a:pt x="1379" y="1163"/>
                  </a:cubicBezTo>
                  <a:cubicBezTo>
                    <a:pt x="1382" y="1165"/>
                    <a:pt x="1381" y="1169"/>
                    <a:pt x="1381" y="1172"/>
                  </a:cubicBezTo>
                  <a:cubicBezTo>
                    <a:pt x="1383" y="1181"/>
                    <a:pt x="1390" y="1186"/>
                    <a:pt x="1403" y="1186"/>
                  </a:cubicBezTo>
                  <a:cubicBezTo>
                    <a:pt x="1413" y="1185"/>
                    <a:pt x="1413" y="1178"/>
                    <a:pt x="1413" y="1172"/>
                  </a:cubicBezTo>
                  <a:cubicBezTo>
                    <a:pt x="1413" y="1131"/>
                    <a:pt x="1413" y="1090"/>
                    <a:pt x="1413" y="1049"/>
                  </a:cubicBezTo>
                  <a:cubicBezTo>
                    <a:pt x="1413" y="1010"/>
                    <a:pt x="1413" y="972"/>
                    <a:pt x="1413" y="934"/>
                  </a:cubicBezTo>
                  <a:close/>
                  <a:moveTo>
                    <a:pt x="1378" y="1113"/>
                  </a:moveTo>
                  <a:cubicBezTo>
                    <a:pt x="1378" y="1136"/>
                    <a:pt x="1360" y="1155"/>
                    <a:pt x="1337" y="1157"/>
                  </a:cubicBezTo>
                  <a:cubicBezTo>
                    <a:pt x="1319" y="1159"/>
                    <a:pt x="1304" y="1154"/>
                    <a:pt x="1294" y="1139"/>
                  </a:cubicBezTo>
                  <a:cubicBezTo>
                    <a:pt x="1286" y="1128"/>
                    <a:pt x="1283" y="1116"/>
                    <a:pt x="1283" y="1102"/>
                  </a:cubicBezTo>
                  <a:cubicBezTo>
                    <a:pt x="1282" y="1085"/>
                    <a:pt x="1282" y="1067"/>
                    <a:pt x="1290" y="1051"/>
                  </a:cubicBezTo>
                  <a:cubicBezTo>
                    <a:pt x="1297" y="1036"/>
                    <a:pt x="1308" y="1024"/>
                    <a:pt x="1325" y="1022"/>
                  </a:cubicBezTo>
                  <a:cubicBezTo>
                    <a:pt x="1342" y="1020"/>
                    <a:pt x="1358" y="1021"/>
                    <a:pt x="1371" y="1035"/>
                  </a:cubicBezTo>
                  <a:cubicBezTo>
                    <a:pt x="1376" y="1041"/>
                    <a:pt x="1378" y="1046"/>
                    <a:pt x="1378" y="1052"/>
                  </a:cubicBezTo>
                  <a:cubicBezTo>
                    <a:pt x="1378" y="1064"/>
                    <a:pt x="1378" y="1075"/>
                    <a:pt x="1378" y="1086"/>
                  </a:cubicBezTo>
                  <a:cubicBezTo>
                    <a:pt x="1378" y="1086"/>
                    <a:pt x="1378" y="1086"/>
                    <a:pt x="1378" y="1086"/>
                  </a:cubicBezTo>
                  <a:cubicBezTo>
                    <a:pt x="1378" y="1095"/>
                    <a:pt x="1378" y="1104"/>
                    <a:pt x="1378" y="1113"/>
                  </a:cubicBezTo>
                  <a:close/>
                  <a:moveTo>
                    <a:pt x="578" y="259"/>
                  </a:moveTo>
                  <a:cubicBezTo>
                    <a:pt x="603" y="241"/>
                    <a:pt x="611" y="213"/>
                    <a:pt x="614" y="183"/>
                  </a:cubicBezTo>
                  <a:cubicBezTo>
                    <a:pt x="615" y="171"/>
                    <a:pt x="610" y="159"/>
                    <a:pt x="609" y="147"/>
                  </a:cubicBezTo>
                  <a:cubicBezTo>
                    <a:pt x="608" y="137"/>
                    <a:pt x="603" y="129"/>
                    <a:pt x="599" y="121"/>
                  </a:cubicBezTo>
                  <a:cubicBezTo>
                    <a:pt x="579" y="87"/>
                    <a:pt x="527" y="70"/>
                    <a:pt x="488" y="85"/>
                  </a:cubicBezTo>
                  <a:cubicBezTo>
                    <a:pt x="453" y="99"/>
                    <a:pt x="436" y="127"/>
                    <a:pt x="431" y="163"/>
                  </a:cubicBezTo>
                  <a:cubicBezTo>
                    <a:pt x="429" y="180"/>
                    <a:pt x="430" y="196"/>
                    <a:pt x="436" y="213"/>
                  </a:cubicBezTo>
                  <a:cubicBezTo>
                    <a:pt x="439" y="222"/>
                    <a:pt x="442" y="232"/>
                    <a:pt x="447" y="239"/>
                  </a:cubicBezTo>
                  <a:cubicBezTo>
                    <a:pt x="465" y="265"/>
                    <a:pt x="491" y="277"/>
                    <a:pt x="525" y="276"/>
                  </a:cubicBezTo>
                  <a:cubicBezTo>
                    <a:pt x="543" y="278"/>
                    <a:pt x="562" y="271"/>
                    <a:pt x="578" y="259"/>
                  </a:cubicBezTo>
                  <a:close/>
                  <a:moveTo>
                    <a:pt x="471" y="205"/>
                  </a:moveTo>
                  <a:cubicBezTo>
                    <a:pt x="466" y="185"/>
                    <a:pt x="468" y="167"/>
                    <a:pt x="472" y="147"/>
                  </a:cubicBezTo>
                  <a:cubicBezTo>
                    <a:pt x="477" y="130"/>
                    <a:pt x="493" y="116"/>
                    <a:pt x="509" y="112"/>
                  </a:cubicBezTo>
                  <a:cubicBezTo>
                    <a:pt x="525" y="108"/>
                    <a:pt x="539" y="110"/>
                    <a:pt x="553" y="119"/>
                  </a:cubicBezTo>
                  <a:cubicBezTo>
                    <a:pt x="563" y="125"/>
                    <a:pt x="568" y="135"/>
                    <a:pt x="571" y="146"/>
                  </a:cubicBezTo>
                  <a:cubicBezTo>
                    <a:pt x="577" y="167"/>
                    <a:pt x="578" y="189"/>
                    <a:pt x="571" y="211"/>
                  </a:cubicBezTo>
                  <a:cubicBezTo>
                    <a:pt x="565" y="231"/>
                    <a:pt x="549" y="249"/>
                    <a:pt x="521" y="247"/>
                  </a:cubicBezTo>
                  <a:cubicBezTo>
                    <a:pt x="496" y="247"/>
                    <a:pt x="478" y="230"/>
                    <a:pt x="471" y="205"/>
                  </a:cubicBezTo>
                  <a:close/>
                  <a:moveTo>
                    <a:pt x="472" y="1122"/>
                  </a:moveTo>
                  <a:cubicBezTo>
                    <a:pt x="475" y="1136"/>
                    <a:pt x="481" y="1148"/>
                    <a:pt x="491" y="1158"/>
                  </a:cubicBezTo>
                  <a:cubicBezTo>
                    <a:pt x="506" y="1176"/>
                    <a:pt x="524" y="1185"/>
                    <a:pt x="548" y="1187"/>
                  </a:cubicBezTo>
                  <a:cubicBezTo>
                    <a:pt x="568" y="1188"/>
                    <a:pt x="587" y="1187"/>
                    <a:pt x="605" y="1177"/>
                  </a:cubicBezTo>
                  <a:cubicBezTo>
                    <a:pt x="632" y="1162"/>
                    <a:pt x="644" y="1136"/>
                    <a:pt x="649" y="1107"/>
                  </a:cubicBezTo>
                  <a:cubicBezTo>
                    <a:pt x="652" y="1089"/>
                    <a:pt x="649" y="1072"/>
                    <a:pt x="644" y="1054"/>
                  </a:cubicBezTo>
                  <a:cubicBezTo>
                    <a:pt x="638" y="1034"/>
                    <a:pt x="627" y="1019"/>
                    <a:pt x="610" y="1007"/>
                  </a:cubicBezTo>
                  <a:cubicBezTo>
                    <a:pt x="589" y="992"/>
                    <a:pt x="566" y="991"/>
                    <a:pt x="541" y="994"/>
                  </a:cubicBezTo>
                  <a:cubicBezTo>
                    <a:pt x="526" y="995"/>
                    <a:pt x="512" y="1002"/>
                    <a:pt x="500" y="1012"/>
                  </a:cubicBezTo>
                  <a:cubicBezTo>
                    <a:pt x="476" y="1032"/>
                    <a:pt x="469" y="1060"/>
                    <a:pt x="466" y="1095"/>
                  </a:cubicBezTo>
                  <a:cubicBezTo>
                    <a:pt x="465" y="1101"/>
                    <a:pt x="470" y="1111"/>
                    <a:pt x="472" y="1122"/>
                  </a:cubicBezTo>
                  <a:close/>
                  <a:moveTo>
                    <a:pt x="508" y="1113"/>
                  </a:moveTo>
                  <a:cubicBezTo>
                    <a:pt x="505" y="1095"/>
                    <a:pt x="506" y="1078"/>
                    <a:pt x="508" y="1061"/>
                  </a:cubicBezTo>
                  <a:cubicBezTo>
                    <a:pt x="511" y="1042"/>
                    <a:pt x="538" y="1021"/>
                    <a:pt x="554" y="1022"/>
                  </a:cubicBezTo>
                  <a:cubicBezTo>
                    <a:pt x="570" y="1022"/>
                    <a:pt x="586" y="1024"/>
                    <a:pt x="596" y="1037"/>
                  </a:cubicBezTo>
                  <a:cubicBezTo>
                    <a:pt x="602" y="1044"/>
                    <a:pt x="607" y="1052"/>
                    <a:pt x="608" y="1061"/>
                  </a:cubicBezTo>
                  <a:cubicBezTo>
                    <a:pt x="608" y="1064"/>
                    <a:pt x="609" y="1067"/>
                    <a:pt x="610" y="1070"/>
                  </a:cubicBezTo>
                  <a:cubicBezTo>
                    <a:pt x="618" y="1089"/>
                    <a:pt x="612" y="1107"/>
                    <a:pt x="607" y="1125"/>
                  </a:cubicBezTo>
                  <a:cubicBezTo>
                    <a:pt x="601" y="1143"/>
                    <a:pt x="588" y="1160"/>
                    <a:pt x="558" y="1157"/>
                  </a:cubicBezTo>
                  <a:cubicBezTo>
                    <a:pt x="530" y="1157"/>
                    <a:pt x="512" y="1141"/>
                    <a:pt x="508" y="1113"/>
                  </a:cubicBezTo>
                  <a:close/>
                  <a:moveTo>
                    <a:pt x="430" y="716"/>
                  </a:moveTo>
                  <a:cubicBezTo>
                    <a:pt x="450" y="703"/>
                    <a:pt x="459" y="683"/>
                    <a:pt x="464" y="661"/>
                  </a:cubicBezTo>
                  <a:cubicBezTo>
                    <a:pt x="468" y="648"/>
                    <a:pt x="467" y="635"/>
                    <a:pt x="466" y="621"/>
                  </a:cubicBezTo>
                  <a:cubicBezTo>
                    <a:pt x="463" y="592"/>
                    <a:pt x="453" y="567"/>
                    <a:pt x="427" y="550"/>
                  </a:cubicBezTo>
                  <a:cubicBezTo>
                    <a:pt x="401" y="534"/>
                    <a:pt x="372" y="532"/>
                    <a:pt x="345" y="541"/>
                  </a:cubicBezTo>
                  <a:cubicBezTo>
                    <a:pt x="310" y="552"/>
                    <a:pt x="291" y="580"/>
                    <a:pt x="287" y="617"/>
                  </a:cubicBezTo>
                  <a:cubicBezTo>
                    <a:pt x="286" y="629"/>
                    <a:pt x="286" y="641"/>
                    <a:pt x="287" y="654"/>
                  </a:cubicBezTo>
                  <a:cubicBezTo>
                    <a:pt x="289" y="671"/>
                    <a:pt x="295" y="686"/>
                    <a:pt x="306" y="700"/>
                  </a:cubicBezTo>
                  <a:cubicBezTo>
                    <a:pt x="324" y="722"/>
                    <a:pt x="348" y="733"/>
                    <a:pt x="378" y="731"/>
                  </a:cubicBezTo>
                  <a:cubicBezTo>
                    <a:pt x="396" y="733"/>
                    <a:pt x="414" y="727"/>
                    <a:pt x="430" y="716"/>
                  </a:cubicBezTo>
                  <a:close/>
                  <a:moveTo>
                    <a:pt x="331" y="592"/>
                  </a:moveTo>
                  <a:cubicBezTo>
                    <a:pt x="339" y="580"/>
                    <a:pt x="349" y="569"/>
                    <a:pt x="365" y="567"/>
                  </a:cubicBezTo>
                  <a:cubicBezTo>
                    <a:pt x="387" y="564"/>
                    <a:pt x="406" y="568"/>
                    <a:pt x="419" y="588"/>
                  </a:cubicBezTo>
                  <a:cubicBezTo>
                    <a:pt x="423" y="595"/>
                    <a:pt x="426" y="603"/>
                    <a:pt x="427" y="610"/>
                  </a:cubicBezTo>
                  <a:cubicBezTo>
                    <a:pt x="433" y="635"/>
                    <a:pt x="431" y="661"/>
                    <a:pt x="416" y="684"/>
                  </a:cubicBezTo>
                  <a:cubicBezTo>
                    <a:pt x="403" y="706"/>
                    <a:pt x="362" y="708"/>
                    <a:pt x="345" y="692"/>
                  </a:cubicBezTo>
                  <a:cubicBezTo>
                    <a:pt x="329" y="678"/>
                    <a:pt x="323" y="661"/>
                    <a:pt x="323" y="631"/>
                  </a:cubicBezTo>
                  <a:cubicBezTo>
                    <a:pt x="323" y="619"/>
                    <a:pt x="323" y="605"/>
                    <a:pt x="331" y="592"/>
                  </a:cubicBezTo>
                  <a:close/>
                  <a:moveTo>
                    <a:pt x="1073" y="259"/>
                  </a:moveTo>
                  <a:cubicBezTo>
                    <a:pt x="1073" y="269"/>
                    <a:pt x="1075" y="272"/>
                    <a:pt x="1086" y="272"/>
                  </a:cubicBezTo>
                  <a:cubicBezTo>
                    <a:pt x="1088" y="272"/>
                    <a:pt x="1090" y="272"/>
                    <a:pt x="1092" y="272"/>
                  </a:cubicBezTo>
                  <a:cubicBezTo>
                    <a:pt x="1105" y="272"/>
                    <a:pt x="1106" y="271"/>
                    <a:pt x="1106" y="258"/>
                  </a:cubicBezTo>
                  <a:cubicBezTo>
                    <a:pt x="1106" y="221"/>
                    <a:pt x="1106" y="184"/>
                    <a:pt x="1106" y="147"/>
                  </a:cubicBezTo>
                  <a:cubicBezTo>
                    <a:pt x="1106" y="143"/>
                    <a:pt x="1106" y="140"/>
                    <a:pt x="1107" y="137"/>
                  </a:cubicBezTo>
                  <a:cubicBezTo>
                    <a:pt x="1117" y="117"/>
                    <a:pt x="1157" y="104"/>
                    <a:pt x="1177" y="114"/>
                  </a:cubicBezTo>
                  <a:cubicBezTo>
                    <a:pt x="1179" y="115"/>
                    <a:pt x="1180" y="117"/>
                    <a:pt x="1182" y="118"/>
                  </a:cubicBezTo>
                  <a:cubicBezTo>
                    <a:pt x="1194" y="131"/>
                    <a:pt x="1196" y="147"/>
                    <a:pt x="1196" y="163"/>
                  </a:cubicBezTo>
                  <a:cubicBezTo>
                    <a:pt x="1197" y="195"/>
                    <a:pt x="1196" y="226"/>
                    <a:pt x="1196" y="258"/>
                  </a:cubicBezTo>
                  <a:cubicBezTo>
                    <a:pt x="1196" y="271"/>
                    <a:pt x="1197" y="272"/>
                    <a:pt x="1210" y="272"/>
                  </a:cubicBezTo>
                  <a:cubicBezTo>
                    <a:pt x="1212" y="272"/>
                    <a:pt x="1213" y="272"/>
                    <a:pt x="1215" y="272"/>
                  </a:cubicBezTo>
                  <a:cubicBezTo>
                    <a:pt x="1227" y="272"/>
                    <a:pt x="1229" y="270"/>
                    <a:pt x="1229" y="258"/>
                  </a:cubicBezTo>
                  <a:cubicBezTo>
                    <a:pt x="1229" y="222"/>
                    <a:pt x="1229" y="187"/>
                    <a:pt x="1229" y="151"/>
                  </a:cubicBezTo>
                  <a:cubicBezTo>
                    <a:pt x="1229" y="142"/>
                    <a:pt x="1228" y="132"/>
                    <a:pt x="1225" y="123"/>
                  </a:cubicBezTo>
                  <a:cubicBezTo>
                    <a:pt x="1219" y="105"/>
                    <a:pt x="1208" y="91"/>
                    <a:pt x="1189" y="85"/>
                  </a:cubicBezTo>
                  <a:cubicBezTo>
                    <a:pt x="1173" y="80"/>
                    <a:pt x="1156" y="84"/>
                    <a:pt x="1139" y="84"/>
                  </a:cubicBezTo>
                  <a:cubicBezTo>
                    <a:pt x="1137" y="84"/>
                    <a:pt x="1136" y="86"/>
                    <a:pt x="1134" y="87"/>
                  </a:cubicBezTo>
                  <a:cubicBezTo>
                    <a:pt x="1128" y="91"/>
                    <a:pt x="1121" y="96"/>
                    <a:pt x="1115" y="100"/>
                  </a:cubicBezTo>
                  <a:cubicBezTo>
                    <a:pt x="1113" y="102"/>
                    <a:pt x="1111" y="105"/>
                    <a:pt x="1108" y="103"/>
                  </a:cubicBezTo>
                  <a:cubicBezTo>
                    <a:pt x="1105" y="102"/>
                    <a:pt x="1106" y="98"/>
                    <a:pt x="1106" y="96"/>
                  </a:cubicBezTo>
                  <a:cubicBezTo>
                    <a:pt x="1106" y="69"/>
                    <a:pt x="1106" y="43"/>
                    <a:pt x="1106" y="17"/>
                  </a:cubicBezTo>
                  <a:cubicBezTo>
                    <a:pt x="1106" y="0"/>
                    <a:pt x="1106" y="0"/>
                    <a:pt x="1089" y="0"/>
                  </a:cubicBezTo>
                  <a:cubicBezTo>
                    <a:pt x="1074" y="0"/>
                    <a:pt x="1073" y="1"/>
                    <a:pt x="1073" y="16"/>
                  </a:cubicBezTo>
                  <a:cubicBezTo>
                    <a:pt x="1073" y="56"/>
                    <a:pt x="1073" y="96"/>
                    <a:pt x="1073" y="136"/>
                  </a:cubicBezTo>
                  <a:cubicBezTo>
                    <a:pt x="1073" y="177"/>
                    <a:pt x="1073" y="218"/>
                    <a:pt x="1073" y="259"/>
                  </a:cubicBezTo>
                  <a:close/>
                  <a:moveTo>
                    <a:pt x="1150" y="1092"/>
                  </a:moveTo>
                  <a:cubicBezTo>
                    <a:pt x="1168" y="1092"/>
                    <a:pt x="1186" y="1092"/>
                    <a:pt x="1204" y="1092"/>
                  </a:cubicBezTo>
                  <a:cubicBezTo>
                    <a:pt x="1215" y="1092"/>
                    <a:pt x="1218" y="1087"/>
                    <a:pt x="1219" y="1077"/>
                  </a:cubicBezTo>
                  <a:cubicBezTo>
                    <a:pt x="1220" y="1062"/>
                    <a:pt x="1216" y="1049"/>
                    <a:pt x="1210" y="1036"/>
                  </a:cubicBezTo>
                  <a:cubicBezTo>
                    <a:pt x="1204" y="1020"/>
                    <a:pt x="1193" y="1008"/>
                    <a:pt x="1177" y="1001"/>
                  </a:cubicBezTo>
                  <a:cubicBezTo>
                    <a:pt x="1155" y="992"/>
                    <a:pt x="1133" y="991"/>
                    <a:pt x="1109" y="999"/>
                  </a:cubicBezTo>
                  <a:cubicBezTo>
                    <a:pt x="1079" y="1010"/>
                    <a:pt x="1062" y="1031"/>
                    <a:pt x="1056" y="1061"/>
                  </a:cubicBezTo>
                  <a:cubicBezTo>
                    <a:pt x="1051" y="1090"/>
                    <a:pt x="1052" y="1120"/>
                    <a:pt x="1069" y="1148"/>
                  </a:cubicBezTo>
                  <a:cubicBezTo>
                    <a:pt x="1081" y="1169"/>
                    <a:pt x="1100" y="1180"/>
                    <a:pt x="1122" y="1185"/>
                  </a:cubicBezTo>
                  <a:cubicBezTo>
                    <a:pt x="1149" y="1190"/>
                    <a:pt x="1176" y="1186"/>
                    <a:pt x="1200" y="1171"/>
                  </a:cubicBezTo>
                  <a:cubicBezTo>
                    <a:pt x="1206" y="1168"/>
                    <a:pt x="1213" y="1165"/>
                    <a:pt x="1214" y="1157"/>
                  </a:cubicBezTo>
                  <a:cubicBezTo>
                    <a:pt x="1215" y="1147"/>
                    <a:pt x="1202" y="1139"/>
                    <a:pt x="1193" y="1144"/>
                  </a:cubicBezTo>
                  <a:cubicBezTo>
                    <a:pt x="1187" y="1147"/>
                    <a:pt x="1180" y="1150"/>
                    <a:pt x="1174" y="1153"/>
                  </a:cubicBezTo>
                  <a:cubicBezTo>
                    <a:pt x="1158" y="1161"/>
                    <a:pt x="1140" y="1161"/>
                    <a:pt x="1124" y="1155"/>
                  </a:cubicBezTo>
                  <a:cubicBezTo>
                    <a:pt x="1112" y="1151"/>
                    <a:pt x="1102" y="1142"/>
                    <a:pt x="1096" y="1129"/>
                  </a:cubicBezTo>
                  <a:cubicBezTo>
                    <a:pt x="1092" y="1121"/>
                    <a:pt x="1091" y="1112"/>
                    <a:pt x="1089" y="1104"/>
                  </a:cubicBezTo>
                  <a:cubicBezTo>
                    <a:pt x="1087" y="1093"/>
                    <a:pt x="1087" y="1092"/>
                    <a:pt x="1099" y="1092"/>
                  </a:cubicBezTo>
                  <a:cubicBezTo>
                    <a:pt x="1116" y="1092"/>
                    <a:pt x="1133" y="1092"/>
                    <a:pt x="1150" y="1092"/>
                  </a:cubicBezTo>
                  <a:cubicBezTo>
                    <a:pt x="1150" y="1092"/>
                    <a:pt x="1150" y="1092"/>
                    <a:pt x="1150" y="1092"/>
                  </a:cubicBezTo>
                  <a:close/>
                  <a:moveTo>
                    <a:pt x="1099" y="1070"/>
                  </a:moveTo>
                  <a:cubicBezTo>
                    <a:pt x="1092" y="1071"/>
                    <a:pt x="1089" y="1067"/>
                    <a:pt x="1091" y="1060"/>
                  </a:cubicBezTo>
                  <a:cubicBezTo>
                    <a:pt x="1094" y="1045"/>
                    <a:pt x="1108" y="1023"/>
                    <a:pt x="1128" y="1022"/>
                  </a:cubicBezTo>
                  <a:cubicBezTo>
                    <a:pt x="1142" y="1021"/>
                    <a:pt x="1156" y="1018"/>
                    <a:pt x="1168" y="1029"/>
                  </a:cubicBezTo>
                  <a:cubicBezTo>
                    <a:pt x="1181" y="1038"/>
                    <a:pt x="1185" y="1051"/>
                    <a:pt x="1187" y="1066"/>
                  </a:cubicBezTo>
                  <a:cubicBezTo>
                    <a:pt x="1188" y="1071"/>
                    <a:pt x="1183" y="1070"/>
                    <a:pt x="1180" y="1070"/>
                  </a:cubicBezTo>
                  <a:cubicBezTo>
                    <a:pt x="1166" y="1070"/>
                    <a:pt x="1153" y="1070"/>
                    <a:pt x="1139" y="1070"/>
                  </a:cubicBezTo>
                  <a:cubicBezTo>
                    <a:pt x="1139" y="1070"/>
                    <a:pt x="1139" y="1070"/>
                    <a:pt x="1139" y="1070"/>
                  </a:cubicBezTo>
                  <a:cubicBezTo>
                    <a:pt x="1126" y="1070"/>
                    <a:pt x="1113" y="1070"/>
                    <a:pt x="1099" y="1070"/>
                  </a:cubicBezTo>
                  <a:close/>
                  <a:moveTo>
                    <a:pt x="1741" y="1092"/>
                  </a:moveTo>
                  <a:cubicBezTo>
                    <a:pt x="1759" y="1092"/>
                    <a:pt x="1776" y="1092"/>
                    <a:pt x="1793" y="1092"/>
                  </a:cubicBezTo>
                  <a:cubicBezTo>
                    <a:pt x="1806" y="1092"/>
                    <a:pt x="1808" y="1089"/>
                    <a:pt x="1808" y="1076"/>
                  </a:cubicBezTo>
                  <a:cubicBezTo>
                    <a:pt x="1809" y="1063"/>
                    <a:pt x="1807" y="1051"/>
                    <a:pt x="1802" y="1038"/>
                  </a:cubicBezTo>
                  <a:cubicBezTo>
                    <a:pt x="1794" y="1021"/>
                    <a:pt x="1782" y="1008"/>
                    <a:pt x="1764" y="1000"/>
                  </a:cubicBezTo>
                  <a:cubicBezTo>
                    <a:pt x="1742" y="991"/>
                    <a:pt x="1720" y="991"/>
                    <a:pt x="1698" y="1000"/>
                  </a:cubicBezTo>
                  <a:cubicBezTo>
                    <a:pt x="1681" y="1006"/>
                    <a:pt x="1668" y="1016"/>
                    <a:pt x="1659" y="1031"/>
                  </a:cubicBezTo>
                  <a:cubicBezTo>
                    <a:pt x="1646" y="1050"/>
                    <a:pt x="1643" y="1071"/>
                    <a:pt x="1644" y="1094"/>
                  </a:cubicBezTo>
                  <a:cubicBezTo>
                    <a:pt x="1644" y="1110"/>
                    <a:pt x="1647" y="1127"/>
                    <a:pt x="1655" y="1141"/>
                  </a:cubicBezTo>
                  <a:cubicBezTo>
                    <a:pt x="1669" y="1168"/>
                    <a:pt x="1691" y="1183"/>
                    <a:pt x="1722" y="1186"/>
                  </a:cubicBezTo>
                  <a:cubicBezTo>
                    <a:pt x="1750" y="1188"/>
                    <a:pt x="1775" y="1183"/>
                    <a:pt x="1798" y="1165"/>
                  </a:cubicBezTo>
                  <a:cubicBezTo>
                    <a:pt x="1803" y="1161"/>
                    <a:pt x="1806" y="1157"/>
                    <a:pt x="1802" y="1151"/>
                  </a:cubicBezTo>
                  <a:cubicBezTo>
                    <a:pt x="1798" y="1144"/>
                    <a:pt x="1791" y="1140"/>
                    <a:pt x="1783" y="1144"/>
                  </a:cubicBezTo>
                  <a:cubicBezTo>
                    <a:pt x="1778" y="1147"/>
                    <a:pt x="1771" y="1149"/>
                    <a:pt x="1766" y="1152"/>
                  </a:cubicBezTo>
                  <a:cubicBezTo>
                    <a:pt x="1749" y="1161"/>
                    <a:pt x="1730" y="1162"/>
                    <a:pt x="1714" y="1155"/>
                  </a:cubicBezTo>
                  <a:cubicBezTo>
                    <a:pt x="1692" y="1145"/>
                    <a:pt x="1680" y="1127"/>
                    <a:pt x="1679" y="1102"/>
                  </a:cubicBezTo>
                  <a:cubicBezTo>
                    <a:pt x="1678" y="1095"/>
                    <a:pt x="1681" y="1092"/>
                    <a:pt x="1689" y="1092"/>
                  </a:cubicBezTo>
                  <a:cubicBezTo>
                    <a:pt x="1706" y="1092"/>
                    <a:pt x="1724" y="1092"/>
                    <a:pt x="1741" y="1092"/>
                  </a:cubicBezTo>
                  <a:cubicBezTo>
                    <a:pt x="1741" y="1092"/>
                    <a:pt x="1741" y="1092"/>
                    <a:pt x="1741" y="1092"/>
                  </a:cubicBezTo>
                  <a:close/>
                  <a:moveTo>
                    <a:pt x="1690" y="1070"/>
                  </a:moveTo>
                  <a:cubicBezTo>
                    <a:pt x="1683" y="1071"/>
                    <a:pt x="1680" y="1068"/>
                    <a:pt x="1681" y="1062"/>
                  </a:cubicBezTo>
                  <a:cubicBezTo>
                    <a:pt x="1683" y="1048"/>
                    <a:pt x="1697" y="1024"/>
                    <a:pt x="1716" y="1022"/>
                  </a:cubicBezTo>
                  <a:cubicBezTo>
                    <a:pt x="1731" y="1020"/>
                    <a:pt x="1747" y="1018"/>
                    <a:pt x="1760" y="1030"/>
                  </a:cubicBezTo>
                  <a:cubicBezTo>
                    <a:pt x="1771" y="1038"/>
                    <a:pt x="1775" y="1050"/>
                    <a:pt x="1778" y="1062"/>
                  </a:cubicBezTo>
                  <a:cubicBezTo>
                    <a:pt x="1780" y="1068"/>
                    <a:pt x="1775" y="1070"/>
                    <a:pt x="1769" y="1070"/>
                  </a:cubicBezTo>
                  <a:cubicBezTo>
                    <a:pt x="1756" y="1070"/>
                    <a:pt x="1742" y="1070"/>
                    <a:pt x="1729" y="1070"/>
                  </a:cubicBezTo>
                  <a:cubicBezTo>
                    <a:pt x="1729" y="1070"/>
                    <a:pt x="1729" y="1070"/>
                    <a:pt x="1729" y="1070"/>
                  </a:cubicBezTo>
                  <a:cubicBezTo>
                    <a:pt x="1716" y="1070"/>
                    <a:pt x="1703" y="1070"/>
                    <a:pt x="1690" y="1070"/>
                  </a:cubicBezTo>
                  <a:close/>
                  <a:moveTo>
                    <a:pt x="68" y="581"/>
                  </a:moveTo>
                  <a:cubicBezTo>
                    <a:pt x="68" y="573"/>
                    <a:pt x="70" y="568"/>
                    <a:pt x="80" y="569"/>
                  </a:cubicBezTo>
                  <a:cubicBezTo>
                    <a:pt x="90" y="570"/>
                    <a:pt x="101" y="570"/>
                    <a:pt x="111" y="569"/>
                  </a:cubicBezTo>
                  <a:cubicBezTo>
                    <a:pt x="120" y="569"/>
                    <a:pt x="120" y="563"/>
                    <a:pt x="120" y="556"/>
                  </a:cubicBezTo>
                  <a:cubicBezTo>
                    <a:pt x="120" y="549"/>
                    <a:pt x="119" y="544"/>
                    <a:pt x="111" y="544"/>
                  </a:cubicBezTo>
                  <a:cubicBezTo>
                    <a:pt x="104" y="544"/>
                    <a:pt x="97" y="544"/>
                    <a:pt x="91" y="544"/>
                  </a:cubicBezTo>
                  <a:cubicBezTo>
                    <a:pt x="66" y="544"/>
                    <a:pt x="65" y="543"/>
                    <a:pt x="68" y="518"/>
                  </a:cubicBezTo>
                  <a:cubicBezTo>
                    <a:pt x="69" y="504"/>
                    <a:pt x="83" y="487"/>
                    <a:pt x="99" y="489"/>
                  </a:cubicBezTo>
                  <a:cubicBezTo>
                    <a:pt x="103" y="489"/>
                    <a:pt x="107" y="489"/>
                    <a:pt x="110" y="488"/>
                  </a:cubicBezTo>
                  <a:cubicBezTo>
                    <a:pt x="118" y="487"/>
                    <a:pt x="123" y="479"/>
                    <a:pt x="123" y="471"/>
                  </a:cubicBezTo>
                  <a:cubicBezTo>
                    <a:pt x="123" y="461"/>
                    <a:pt x="116" y="462"/>
                    <a:pt x="109" y="460"/>
                  </a:cubicBezTo>
                  <a:cubicBezTo>
                    <a:pt x="100" y="458"/>
                    <a:pt x="92" y="460"/>
                    <a:pt x="84" y="460"/>
                  </a:cubicBezTo>
                  <a:cubicBezTo>
                    <a:pt x="68" y="461"/>
                    <a:pt x="56" y="469"/>
                    <a:pt x="47" y="480"/>
                  </a:cubicBezTo>
                  <a:cubicBezTo>
                    <a:pt x="34" y="493"/>
                    <a:pt x="32" y="511"/>
                    <a:pt x="32" y="529"/>
                  </a:cubicBezTo>
                  <a:cubicBezTo>
                    <a:pt x="32" y="544"/>
                    <a:pt x="32" y="544"/>
                    <a:pt x="17" y="544"/>
                  </a:cubicBezTo>
                  <a:cubicBezTo>
                    <a:pt x="4" y="543"/>
                    <a:pt x="0" y="548"/>
                    <a:pt x="4" y="561"/>
                  </a:cubicBezTo>
                  <a:cubicBezTo>
                    <a:pt x="6" y="569"/>
                    <a:pt x="13" y="568"/>
                    <a:pt x="19" y="569"/>
                  </a:cubicBezTo>
                  <a:cubicBezTo>
                    <a:pt x="32" y="571"/>
                    <a:pt x="32" y="571"/>
                    <a:pt x="32" y="584"/>
                  </a:cubicBezTo>
                  <a:cubicBezTo>
                    <a:pt x="32" y="624"/>
                    <a:pt x="32" y="664"/>
                    <a:pt x="32" y="704"/>
                  </a:cubicBezTo>
                  <a:cubicBezTo>
                    <a:pt x="32" y="731"/>
                    <a:pt x="32" y="730"/>
                    <a:pt x="57" y="731"/>
                  </a:cubicBezTo>
                  <a:cubicBezTo>
                    <a:pt x="66" y="731"/>
                    <a:pt x="68" y="727"/>
                    <a:pt x="68" y="720"/>
                  </a:cubicBezTo>
                  <a:cubicBezTo>
                    <a:pt x="68" y="697"/>
                    <a:pt x="68" y="674"/>
                    <a:pt x="68" y="651"/>
                  </a:cubicBezTo>
                  <a:cubicBezTo>
                    <a:pt x="68" y="628"/>
                    <a:pt x="68" y="605"/>
                    <a:pt x="68" y="581"/>
                  </a:cubicBezTo>
                  <a:close/>
                  <a:moveTo>
                    <a:pt x="278" y="1165"/>
                  </a:moveTo>
                  <a:cubicBezTo>
                    <a:pt x="278" y="1183"/>
                    <a:pt x="278" y="1183"/>
                    <a:pt x="296" y="1184"/>
                  </a:cubicBezTo>
                  <a:cubicBezTo>
                    <a:pt x="310" y="1184"/>
                    <a:pt x="310" y="1184"/>
                    <a:pt x="310" y="1169"/>
                  </a:cubicBezTo>
                  <a:cubicBezTo>
                    <a:pt x="310" y="1132"/>
                    <a:pt x="310" y="1095"/>
                    <a:pt x="310" y="1058"/>
                  </a:cubicBezTo>
                  <a:cubicBezTo>
                    <a:pt x="310" y="1052"/>
                    <a:pt x="312" y="1047"/>
                    <a:pt x="316" y="1042"/>
                  </a:cubicBezTo>
                  <a:cubicBezTo>
                    <a:pt x="324" y="1033"/>
                    <a:pt x="334" y="1027"/>
                    <a:pt x="345" y="1024"/>
                  </a:cubicBezTo>
                  <a:cubicBezTo>
                    <a:pt x="357" y="1020"/>
                    <a:pt x="371" y="1018"/>
                    <a:pt x="383" y="1028"/>
                  </a:cubicBezTo>
                  <a:cubicBezTo>
                    <a:pt x="397" y="1039"/>
                    <a:pt x="401" y="1054"/>
                    <a:pt x="401" y="1071"/>
                  </a:cubicBezTo>
                  <a:cubicBezTo>
                    <a:pt x="401" y="1102"/>
                    <a:pt x="401" y="1132"/>
                    <a:pt x="401" y="1163"/>
                  </a:cubicBezTo>
                  <a:cubicBezTo>
                    <a:pt x="401" y="1183"/>
                    <a:pt x="401" y="1182"/>
                    <a:pt x="420" y="1184"/>
                  </a:cubicBezTo>
                  <a:cubicBezTo>
                    <a:pt x="429" y="1185"/>
                    <a:pt x="433" y="1181"/>
                    <a:pt x="433" y="1173"/>
                  </a:cubicBezTo>
                  <a:cubicBezTo>
                    <a:pt x="432" y="1130"/>
                    <a:pt x="435" y="1087"/>
                    <a:pt x="431" y="1044"/>
                  </a:cubicBezTo>
                  <a:cubicBezTo>
                    <a:pt x="427" y="1014"/>
                    <a:pt x="404" y="996"/>
                    <a:pt x="376" y="994"/>
                  </a:cubicBezTo>
                  <a:cubicBezTo>
                    <a:pt x="353" y="992"/>
                    <a:pt x="333" y="1000"/>
                    <a:pt x="317" y="1017"/>
                  </a:cubicBezTo>
                  <a:cubicBezTo>
                    <a:pt x="312" y="1021"/>
                    <a:pt x="311" y="1019"/>
                    <a:pt x="309" y="1015"/>
                  </a:cubicBezTo>
                  <a:cubicBezTo>
                    <a:pt x="309" y="1013"/>
                    <a:pt x="308" y="1011"/>
                    <a:pt x="308" y="1008"/>
                  </a:cubicBezTo>
                  <a:cubicBezTo>
                    <a:pt x="306" y="1001"/>
                    <a:pt x="298" y="997"/>
                    <a:pt x="287" y="998"/>
                  </a:cubicBezTo>
                  <a:cubicBezTo>
                    <a:pt x="279" y="999"/>
                    <a:pt x="278" y="1004"/>
                    <a:pt x="278" y="1011"/>
                  </a:cubicBezTo>
                  <a:cubicBezTo>
                    <a:pt x="278" y="1037"/>
                    <a:pt x="278" y="1064"/>
                    <a:pt x="278" y="1091"/>
                  </a:cubicBezTo>
                  <a:cubicBezTo>
                    <a:pt x="278" y="1115"/>
                    <a:pt x="278" y="1140"/>
                    <a:pt x="278" y="1165"/>
                  </a:cubicBezTo>
                  <a:close/>
                  <a:moveTo>
                    <a:pt x="150" y="705"/>
                  </a:moveTo>
                  <a:cubicBezTo>
                    <a:pt x="150" y="734"/>
                    <a:pt x="145" y="730"/>
                    <a:pt x="176" y="731"/>
                  </a:cubicBezTo>
                  <a:cubicBezTo>
                    <a:pt x="185" y="731"/>
                    <a:pt x="187" y="727"/>
                    <a:pt x="187" y="719"/>
                  </a:cubicBezTo>
                  <a:cubicBezTo>
                    <a:pt x="187" y="685"/>
                    <a:pt x="187" y="651"/>
                    <a:pt x="187" y="618"/>
                  </a:cubicBezTo>
                  <a:cubicBezTo>
                    <a:pt x="187" y="597"/>
                    <a:pt x="204" y="578"/>
                    <a:pt x="225" y="574"/>
                  </a:cubicBezTo>
                  <a:cubicBezTo>
                    <a:pt x="232" y="572"/>
                    <a:pt x="240" y="574"/>
                    <a:pt x="247" y="575"/>
                  </a:cubicBezTo>
                  <a:cubicBezTo>
                    <a:pt x="257" y="576"/>
                    <a:pt x="261" y="572"/>
                    <a:pt x="265" y="564"/>
                  </a:cubicBezTo>
                  <a:cubicBezTo>
                    <a:pt x="269" y="556"/>
                    <a:pt x="267" y="542"/>
                    <a:pt x="261" y="540"/>
                  </a:cubicBezTo>
                  <a:cubicBezTo>
                    <a:pt x="253" y="538"/>
                    <a:pt x="244" y="534"/>
                    <a:pt x="237" y="536"/>
                  </a:cubicBezTo>
                  <a:cubicBezTo>
                    <a:pt x="228" y="537"/>
                    <a:pt x="217" y="537"/>
                    <a:pt x="209" y="544"/>
                  </a:cubicBezTo>
                  <a:cubicBezTo>
                    <a:pt x="204" y="549"/>
                    <a:pt x="198" y="553"/>
                    <a:pt x="194" y="558"/>
                  </a:cubicBezTo>
                  <a:cubicBezTo>
                    <a:pt x="192" y="561"/>
                    <a:pt x="189" y="563"/>
                    <a:pt x="185" y="562"/>
                  </a:cubicBezTo>
                  <a:cubicBezTo>
                    <a:pt x="182" y="561"/>
                    <a:pt x="182" y="558"/>
                    <a:pt x="182" y="556"/>
                  </a:cubicBezTo>
                  <a:cubicBezTo>
                    <a:pt x="180" y="539"/>
                    <a:pt x="179" y="539"/>
                    <a:pt x="162" y="539"/>
                  </a:cubicBezTo>
                  <a:cubicBezTo>
                    <a:pt x="151" y="539"/>
                    <a:pt x="150" y="540"/>
                    <a:pt x="150" y="551"/>
                  </a:cubicBezTo>
                  <a:cubicBezTo>
                    <a:pt x="150" y="579"/>
                    <a:pt x="150" y="607"/>
                    <a:pt x="150" y="635"/>
                  </a:cubicBezTo>
                  <a:cubicBezTo>
                    <a:pt x="150" y="658"/>
                    <a:pt x="149" y="682"/>
                    <a:pt x="150" y="705"/>
                  </a:cubicBezTo>
                  <a:close/>
                  <a:moveTo>
                    <a:pt x="1011" y="1049"/>
                  </a:moveTo>
                  <a:cubicBezTo>
                    <a:pt x="1011" y="1008"/>
                    <a:pt x="1011" y="966"/>
                    <a:pt x="1011" y="924"/>
                  </a:cubicBezTo>
                  <a:cubicBezTo>
                    <a:pt x="1011" y="913"/>
                    <a:pt x="1008" y="910"/>
                    <a:pt x="997" y="910"/>
                  </a:cubicBezTo>
                  <a:cubicBezTo>
                    <a:pt x="995" y="910"/>
                    <a:pt x="992" y="910"/>
                    <a:pt x="990" y="910"/>
                  </a:cubicBezTo>
                  <a:cubicBezTo>
                    <a:pt x="976" y="910"/>
                    <a:pt x="975" y="911"/>
                    <a:pt x="975" y="926"/>
                  </a:cubicBezTo>
                  <a:cubicBezTo>
                    <a:pt x="975" y="1006"/>
                    <a:pt x="975" y="1085"/>
                    <a:pt x="975" y="1165"/>
                  </a:cubicBezTo>
                  <a:cubicBezTo>
                    <a:pt x="975" y="1185"/>
                    <a:pt x="975" y="1185"/>
                    <a:pt x="994" y="1185"/>
                  </a:cubicBezTo>
                  <a:cubicBezTo>
                    <a:pt x="1009" y="1185"/>
                    <a:pt x="1011" y="1184"/>
                    <a:pt x="1011" y="1169"/>
                  </a:cubicBezTo>
                  <a:cubicBezTo>
                    <a:pt x="1011" y="1129"/>
                    <a:pt x="1011" y="1089"/>
                    <a:pt x="1011" y="1049"/>
                  </a:cubicBezTo>
                  <a:cubicBezTo>
                    <a:pt x="1011" y="1049"/>
                    <a:pt x="1011" y="1049"/>
                    <a:pt x="1011" y="1049"/>
                  </a:cubicBezTo>
                  <a:close/>
                  <a:moveTo>
                    <a:pt x="296" y="176"/>
                  </a:moveTo>
                  <a:cubicBezTo>
                    <a:pt x="296" y="201"/>
                    <a:pt x="296" y="226"/>
                    <a:pt x="296" y="251"/>
                  </a:cubicBezTo>
                  <a:cubicBezTo>
                    <a:pt x="295" y="276"/>
                    <a:pt x="296" y="274"/>
                    <a:pt x="318" y="274"/>
                  </a:cubicBezTo>
                  <a:cubicBezTo>
                    <a:pt x="330" y="274"/>
                    <a:pt x="331" y="274"/>
                    <a:pt x="331" y="260"/>
                  </a:cubicBezTo>
                  <a:cubicBezTo>
                    <a:pt x="331" y="232"/>
                    <a:pt x="331" y="204"/>
                    <a:pt x="331" y="176"/>
                  </a:cubicBezTo>
                  <a:cubicBezTo>
                    <a:pt x="331" y="165"/>
                    <a:pt x="331" y="155"/>
                    <a:pt x="337" y="145"/>
                  </a:cubicBezTo>
                  <a:cubicBezTo>
                    <a:pt x="349" y="123"/>
                    <a:pt x="359" y="117"/>
                    <a:pt x="377" y="118"/>
                  </a:cubicBezTo>
                  <a:cubicBezTo>
                    <a:pt x="383" y="118"/>
                    <a:pt x="389" y="119"/>
                    <a:pt x="395" y="120"/>
                  </a:cubicBezTo>
                  <a:cubicBezTo>
                    <a:pt x="401" y="120"/>
                    <a:pt x="407" y="118"/>
                    <a:pt x="408" y="112"/>
                  </a:cubicBezTo>
                  <a:cubicBezTo>
                    <a:pt x="409" y="103"/>
                    <a:pt x="415" y="93"/>
                    <a:pt x="407" y="85"/>
                  </a:cubicBezTo>
                  <a:cubicBezTo>
                    <a:pt x="406" y="84"/>
                    <a:pt x="404" y="84"/>
                    <a:pt x="402" y="84"/>
                  </a:cubicBezTo>
                  <a:cubicBezTo>
                    <a:pt x="376" y="78"/>
                    <a:pt x="353" y="82"/>
                    <a:pt x="337" y="106"/>
                  </a:cubicBezTo>
                  <a:cubicBezTo>
                    <a:pt x="336" y="108"/>
                    <a:pt x="335" y="110"/>
                    <a:pt x="333" y="109"/>
                  </a:cubicBezTo>
                  <a:cubicBezTo>
                    <a:pt x="331" y="109"/>
                    <a:pt x="330" y="107"/>
                    <a:pt x="330" y="105"/>
                  </a:cubicBezTo>
                  <a:cubicBezTo>
                    <a:pt x="329" y="101"/>
                    <a:pt x="329" y="97"/>
                    <a:pt x="328" y="94"/>
                  </a:cubicBezTo>
                  <a:cubicBezTo>
                    <a:pt x="325" y="85"/>
                    <a:pt x="318" y="82"/>
                    <a:pt x="303" y="84"/>
                  </a:cubicBezTo>
                  <a:cubicBezTo>
                    <a:pt x="297" y="84"/>
                    <a:pt x="295" y="86"/>
                    <a:pt x="295" y="92"/>
                  </a:cubicBezTo>
                  <a:cubicBezTo>
                    <a:pt x="296" y="120"/>
                    <a:pt x="295" y="148"/>
                    <a:pt x="295" y="176"/>
                  </a:cubicBezTo>
                  <a:cubicBezTo>
                    <a:pt x="296" y="176"/>
                    <a:pt x="296" y="176"/>
                    <a:pt x="296" y="176"/>
                  </a:cubicBezTo>
                  <a:close/>
                  <a:moveTo>
                    <a:pt x="946" y="179"/>
                  </a:moveTo>
                  <a:cubicBezTo>
                    <a:pt x="946" y="197"/>
                    <a:pt x="946" y="215"/>
                    <a:pt x="946" y="234"/>
                  </a:cubicBezTo>
                  <a:cubicBezTo>
                    <a:pt x="946" y="248"/>
                    <a:pt x="951" y="260"/>
                    <a:pt x="963" y="268"/>
                  </a:cubicBezTo>
                  <a:cubicBezTo>
                    <a:pt x="982" y="280"/>
                    <a:pt x="1011" y="277"/>
                    <a:pt x="1029" y="264"/>
                  </a:cubicBezTo>
                  <a:cubicBezTo>
                    <a:pt x="1036" y="259"/>
                    <a:pt x="1036" y="254"/>
                    <a:pt x="1032" y="248"/>
                  </a:cubicBezTo>
                  <a:cubicBezTo>
                    <a:pt x="1026" y="239"/>
                    <a:pt x="1020" y="238"/>
                    <a:pt x="1013" y="242"/>
                  </a:cubicBezTo>
                  <a:cubicBezTo>
                    <a:pt x="996" y="252"/>
                    <a:pt x="978" y="243"/>
                    <a:pt x="978" y="223"/>
                  </a:cubicBezTo>
                  <a:cubicBezTo>
                    <a:pt x="978" y="190"/>
                    <a:pt x="978" y="157"/>
                    <a:pt x="978" y="123"/>
                  </a:cubicBezTo>
                  <a:cubicBezTo>
                    <a:pt x="978" y="116"/>
                    <a:pt x="981" y="113"/>
                    <a:pt x="988" y="113"/>
                  </a:cubicBezTo>
                  <a:cubicBezTo>
                    <a:pt x="999" y="114"/>
                    <a:pt x="1011" y="113"/>
                    <a:pt x="1022" y="113"/>
                  </a:cubicBezTo>
                  <a:cubicBezTo>
                    <a:pt x="1028" y="113"/>
                    <a:pt x="1033" y="112"/>
                    <a:pt x="1033" y="104"/>
                  </a:cubicBezTo>
                  <a:cubicBezTo>
                    <a:pt x="1033" y="96"/>
                    <a:pt x="1032" y="90"/>
                    <a:pt x="1022" y="90"/>
                  </a:cubicBezTo>
                  <a:cubicBezTo>
                    <a:pt x="1011" y="90"/>
                    <a:pt x="1001" y="90"/>
                    <a:pt x="990" y="90"/>
                  </a:cubicBezTo>
                  <a:cubicBezTo>
                    <a:pt x="981" y="91"/>
                    <a:pt x="977" y="88"/>
                    <a:pt x="978" y="78"/>
                  </a:cubicBezTo>
                  <a:cubicBezTo>
                    <a:pt x="978" y="64"/>
                    <a:pt x="978" y="49"/>
                    <a:pt x="978" y="35"/>
                  </a:cubicBezTo>
                  <a:cubicBezTo>
                    <a:pt x="978" y="30"/>
                    <a:pt x="978" y="25"/>
                    <a:pt x="971" y="24"/>
                  </a:cubicBezTo>
                  <a:cubicBezTo>
                    <a:pt x="964" y="24"/>
                    <a:pt x="956" y="24"/>
                    <a:pt x="955" y="32"/>
                  </a:cubicBezTo>
                  <a:cubicBezTo>
                    <a:pt x="952" y="43"/>
                    <a:pt x="949" y="54"/>
                    <a:pt x="949" y="65"/>
                  </a:cubicBezTo>
                  <a:cubicBezTo>
                    <a:pt x="948" y="88"/>
                    <a:pt x="947" y="88"/>
                    <a:pt x="924" y="91"/>
                  </a:cubicBezTo>
                  <a:cubicBezTo>
                    <a:pt x="919" y="92"/>
                    <a:pt x="914" y="92"/>
                    <a:pt x="914" y="99"/>
                  </a:cubicBezTo>
                  <a:cubicBezTo>
                    <a:pt x="915" y="107"/>
                    <a:pt x="917" y="113"/>
                    <a:pt x="926" y="113"/>
                  </a:cubicBezTo>
                  <a:cubicBezTo>
                    <a:pt x="929" y="114"/>
                    <a:pt x="932" y="113"/>
                    <a:pt x="935" y="113"/>
                  </a:cubicBezTo>
                  <a:cubicBezTo>
                    <a:pt x="943" y="113"/>
                    <a:pt x="946" y="116"/>
                    <a:pt x="946" y="124"/>
                  </a:cubicBezTo>
                  <a:cubicBezTo>
                    <a:pt x="946" y="142"/>
                    <a:pt x="946" y="161"/>
                    <a:pt x="946" y="179"/>
                  </a:cubicBezTo>
                  <a:cubicBezTo>
                    <a:pt x="946" y="179"/>
                    <a:pt x="946" y="179"/>
                    <a:pt x="946" y="179"/>
                  </a:cubicBezTo>
                  <a:close/>
                </a:path>
              </a:pathLst>
            </a:custGeom>
            <a:solidFill>
              <a:srgbClr val="4C505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grpSp>
          <p:nvGrpSpPr>
            <p:cNvPr id="18" name="Group 4">
              <a:extLst>
                <a:ext uri="{FF2B5EF4-FFF2-40B4-BE49-F238E27FC236}">
                  <a16:creationId xmlns:a16="http://schemas.microsoft.com/office/drawing/2014/main" id="{57BD2C4C-DC67-B843-B26C-309622FC75F7}"/>
                </a:ext>
              </a:extLst>
            </p:cNvPr>
            <p:cNvGrpSpPr>
              <a:grpSpLocks noChangeAspect="1"/>
            </p:cNvGrpSpPr>
            <p:nvPr/>
          </p:nvGrpSpPr>
          <p:grpSpPr bwMode="gray">
            <a:xfrm>
              <a:off x="334963" y="296652"/>
              <a:ext cx="538094" cy="540000"/>
              <a:chOff x="2711" y="1027"/>
              <a:chExt cx="2258" cy="2266"/>
            </a:xfrm>
          </p:grpSpPr>
          <p:sp>
            <p:nvSpPr>
              <p:cNvPr id="19" name="AutoShape 3">
                <a:extLst>
                  <a:ext uri="{FF2B5EF4-FFF2-40B4-BE49-F238E27FC236}">
                    <a16:creationId xmlns:a16="http://schemas.microsoft.com/office/drawing/2014/main" id="{FE1DC41B-291E-574C-9F2C-874E70A40758}"/>
                  </a:ext>
                </a:extLst>
              </p:cNvPr>
              <p:cNvSpPr>
                <a:spLocks noChangeAspect="1" noChangeArrowheads="1" noTextEdit="1"/>
              </p:cNvSpPr>
              <p:nvPr/>
            </p:nvSpPr>
            <p:spPr bwMode="gray">
              <a:xfrm>
                <a:off x="2711" y="1027"/>
                <a:ext cx="2258" cy="22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20" name="Freeform 5">
                <a:extLst>
                  <a:ext uri="{FF2B5EF4-FFF2-40B4-BE49-F238E27FC236}">
                    <a16:creationId xmlns:a16="http://schemas.microsoft.com/office/drawing/2014/main" id="{D4B633C8-F761-C54B-9BD2-EB59D49A2DBC}"/>
                  </a:ext>
                </a:extLst>
              </p:cNvPr>
              <p:cNvSpPr>
                <a:spLocks/>
              </p:cNvSpPr>
              <p:nvPr/>
            </p:nvSpPr>
            <p:spPr bwMode="gray">
              <a:xfrm>
                <a:off x="2709" y="1029"/>
                <a:ext cx="2260" cy="2262"/>
              </a:xfrm>
              <a:custGeom>
                <a:avLst/>
                <a:gdLst>
                  <a:gd name="T0" fmla="*/ 2260 w 2260"/>
                  <a:gd name="T1" fmla="*/ 0 h 2262"/>
                  <a:gd name="T2" fmla="*/ 1612 w 2260"/>
                  <a:gd name="T3" fmla="*/ 649 h 2262"/>
                  <a:gd name="T4" fmla="*/ 1612 w 2260"/>
                  <a:gd name="T5" fmla="*/ 649 h 2262"/>
                  <a:gd name="T6" fmla="*/ 2035 w 2260"/>
                  <a:gd name="T7" fmla="*/ 0 h 2262"/>
                  <a:gd name="T8" fmla="*/ 0 w 2260"/>
                  <a:gd name="T9" fmla="*/ 0 h 2262"/>
                  <a:gd name="T10" fmla="*/ 0 w 2260"/>
                  <a:gd name="T11" fmla="*/ 2262 h 2262"/>
                  <a:gd name="T12" fmla="*/ 2260 w 2260"/>
                  <a:gd name="T13" fmla="*/ 2262 h 2262"/>
                  <a:gd name="T14" fmla="*/ 2260 w 2260"/>
                  <a:gd name="T15" fmla="*/ 0 h 2262"/>
                  <a:gd name="T16" fmla="*/ 2260 w 2260"/>
                  <a:gd name="T17" fmla="*/ 0 h 2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0" h="2262">
                    <a:moveTo>
                      <a:pt x="2260" y="0"/>
                    </a:moveTo>
                    <a:lnTo>
                      <a:pt x="1612" y="649"/>
                    </a:lnTo>
                    <a:lnTo>
                      <a:pt x="1612" y="649"/>
                    </a:lnTo>
                    <a:lnTo>
                      <a:pt x="2035" y="0"/>
                    </a:lnTo>
                    <a:lnTo>
                      <a:pt x="0" y="0"/>
                    </a:lnTo>
                    <a:lnTo>
                      <a:pt x="0" y="2262"/>
                    </a:lnTo>
                    <a:lnTo>
                      <a:pt x="2260" y="2262"/>
                    </a:lnTo>
                    <a:lnTo>
                      <a:pt x="2260" y="0"/>
                    </a:lnTo>
                    <a:lnTo>
                      <a:pt x="2260" y="0"/>
                    </a:lnTo>
                    <a:close/>
                  </a:path>
                </a:pathLst>
              </a:custGeom>
              <a:solidFill>
                <a:srgbClr val="E55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21" name="Freeform 6">
                <a:extLst>
                  <a:ext uri="{FF2B5EF4-FFF2-40B4-BE49-F238E27FC236}">
                    <a16:creationId xmlns:a16="http://schemas.microsoft.com/office/drawing/2014/main" id="{B16BAAE4-1A41-C843-9754-490F7A1E1270}"/>
                  </a:ext>
                </a:extLst>
              </p:cNvPr>
              <p:cNvSpPr>
                <a:spLocks noEditPoints="1"/>
              </p:cNvSpPr>
              <p:nvPr/>
            </p:nvSpPr>
            <p:spPr bwMode="gray">
              <a:xfrm>
                <a:off x="3623" y="1696"/>
                <a:ext cx="1167" cy="922"/>
              </a:xfrm>
              <a:custGeom>
                <a:avLst/>
                <a:gdLst>
                  <a:gd name="T0" fmla="*/ 411 w 580"/>
                  <a:gd name="T1" fmla="*/ 213 h 458"/>
                  <a:gd name="T2" fmla="*/ 570 w 580"/>
                  <a:gd name="T3" fmla="*/ 37 h 458"/>
                  <a:gd name="T4" fmla="*/ 580 w 580"/>
                  <a:gd name="T5" fmla="*/ 20 h 458"/>
                  <a:gd name="T6" fmla="*/ 545 w 580"/>
                  <a:gd name="T7" fmla="*/ 0 h 458"/>
                  <a:gd name="T8" fmla="*/ 519 w 580"/>
                  <a:gd name="T9" fmla="*/ 16 h 458"/>
                  <a:gd name="T10" fmla="*/ 344 w 580"/>
                  <a:gd name="T11" fmla="*/ 210 h 458"/>
                  <a:gd name="T12" fmla="*/ 334 w 580"/>
                  <a:gd name="T13" fmla="*/ 229 h 458"/>
                  <a:gd name="T14" fmla="*/ 344 w 580"/>
                  <a:gd name="T15" fmla="*/ 248 h 458"/>
                  <a:gd name="T16" fmla="*/ 519 w 580"/>
                  <a:gd name="T17" fmla="*/ 442 h 458"/>
                  <a:gd name="T18" fmla="*/ 545 w 580"/>
                  <a:gd name="T19" fmla="*/ 458 h 458"/>
                  <a:gd name="T20" fmla="*/ 580 w 580"/>
                  <a:gd name="T21" fmla="*/ 438 h 458"/>
                  <a:gd name="T22" fmla="*/ 570 w 580"/>
                  <a:gd name="T23" fmla="*/ 421 h 458"/>
                  <a:gd name="T24" fmla="*/ 411 w 580"/>
                  <a:gd name="T25" fmla="*/ 245 h 458"/>
                  <a:gd name="T26" fmla="*/ 399 w 580"/>
                  <a:gd name="T27" fmla="*/ 229 h 458"/>
                  <a:gd name="T28" fmla="*/ 411 w 580"/>
                  <a:gd name="T29" fmla="*/ 213 h 458"/>
                  <a:gd name="T30" fmla="*/ 252 w 580"/>
                  <a:gd name="T31" fmla="*/ 439 h 458"/>
                  <a:gd name="T32" fmla="*/ 281 w 580"/>
                  <a:gd name="T33" fmla="*/ 454 h 458"/>
                  <a:gd name="T34" fmla="*/ 309 w 580"/>
                  <a:gd name="T35" fmla="*/ 439 h 458"/>
                  <a:gd name="T36" fmla="*/ 309 w 580"/>
                  <a:gd name="T37" fmla="*/ 19 h 458"/>
                  <a:gd name="T38" fmla="*/ 281 w 580"/>
                  <a:gd name="T39" fmla="*/ 4 h 458"/>
                  <a:gd name="T40" fmla="*/ 252 w 580"/>
                  <a:gd name="T41" fmla="*/ 19 h 458"/>
                  <a:gd name="T42" fmla="*/ 252 w 580"/>
                  <a:gd name="T43" fmla="*/ 439 h 458"/>
                  <a:gd name="T44" fmla="*/ 0 w 580"/>
                  <a:gd name="T45" fmla="*/ 439 h 458"/>
                  <a:gd name="T46" fmla="*/ 28 w 580"/>
                  <a:gd name="T47" fmla="*/ 454 h 458"/>
                  <a:gd name="T48" fmla="*/ 56 w 580"/>
                  <a:gd name="T49" fmla="*/ 439 h 458"/>
                  <a:gd name="T50" fmla="*/ 56 w 580"/>
                  <a:gd name="T51" fmla="*/ 157 h 458"/>
                  <a:gd name="T52" fmla="*/ 165 w 580"/>
                  <a:gd name="T53" fmla="*/ 53 h 458"/>
                  <a:gd name="T54" fmla="*/ 180 w 580"/>
                  <a:gd name="T55" fmla="*/ 53 h 458"/>
                  <a:gd name="T56" fmla="*/ 196 w 580"/>
                  <a:gd name="T57" fmla="*/ 27 h 458"/>
                  <a:gd name="T58" fmla="*/ 154 w 580"/>
                  <a:gd name="T59" fmla="*/ 4 h 458"/>
                  <a:gd name="T60" fmla="*/ 0 w 580"/>
                  <a:gd name="T61" fmla="*/ 152 h 458"/>
                  <a:gd name="T62" fmla="*/ 0 w 580"/>
                  <a:gd name="T63" fmla="*/ 439 h 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80" h="458">
                    <a:moveTo>
                      <a:pt x="411" y="213"/>
                    </a:moveTo>
                    <a:cubicBezTo>
                      <a:pt x="570" y="37"/>
                      <a:pt x="570" y="37"/>
                      <a:pt x="570" y="37"/>
                    </a:cubicBezTo>
                    <a:cubicBezTo>
                      <a:pt x="576" y="30"/>
                      <a:pt x="580" y="25"/>
                      <a:pt x="580" y="20"/>
                    </a:cubicBezTo>
                    <a:cubicBezTo>
                      <a:pt x="580" y="10"/>
                      <a:pt x="559" y="0"/>
                      <a:pt x="545" y="0"/>
                    </a:cubicBezTo>
                    <a:cubicBezTo>
                      <a:pt x="535" y="0"/>
                      <a:pt x="526" y="8"/>
                      <a:pt x="519" y="16"/>
                    </a:cubicBezTo>
                    <a:cubicBezTo>
                      <a:pt x="344" y="210"/>
                      <a:pt x="344" y="210"/>
                      <a:pt x="344" y="210"/>
                    </a:cubicBezTo>
                    <a:cubicBezTo>
                      <a:pt x="336" y="219"/>
                      <a:pt x="334" y="224"/>
                      <a:pt x="334" y="229"/>
                    </a:cubicBezTo>
                    <a:cubicBezTo>
                      <a:pt x="334" y="234"/>
                      <a:pt x="336" y="239"/>
                      <a:pt x="344" y="248"/>
                    </a:cubicBezTo>
                    <a:cubicBezTo>
                      <a:pt x="519" y="442"/>
                      <a:pt x="519" y="442"/>
                      <a:pt x="519" y="442"/>
                    </a:cubicBezTo>
                    <a:cubicBezTo>
                      <a:pt x="526" y="450"/>
                      <a:pt x="535" y="458"/>
                      <a:pt x="545" y="458"/>
                    </a:cubicBezTo>
                    <a:cubicBezTo>
                      <a:pt x="559" y="458"/>
                      <a:pt x="580" y="448"/>
                      <a:pt x="580" y="438"/>
                    </a:cubicBezTo>
                    <a:cubicBezTo>
                      <a:pt x="580" y="433"/>
                      <a:pt x="576" y="428"/>
                      <a:pt x="570" y="421"/>
                    </a:cubicBezTo>
                    <a:cubicBezTo>
                      <a:pt x="411" y="245"/>
                      <a:pt x="411" y="245"/>
                      <a:pt x="411" y="245"/>
                    </a:cubicBezTo>
                    <a:cubicBezTo>
                      <a:pt x="403" y="236"/>
                      <a:pt x="399" y="232"/>
                      <a:pt x="399" y="229"/>
                    </a:cubicBezTo>
                    <a:cubicBezTo>
                      <a:pt x="399" y="226"/>
                      <a:pt x="403" y="222"/>
                      <a:pt x="411" y="213"/>
                    </a:cubicBezTo>
                    <a:moveTo>
                      <a:pt x="252" y="439"/>
                    </a:moveTo>
                    <a:cubicBezTo>
                      <a:pt x="252" y="449"/>
                      <a:pt x="261" y="454"/>
                      <a:pt x="281" y="454"/>
                    </a:cubicBezTo>
                    <a:cubicBezTo>
                      <a:pt x="300" y="454"/>
                      <a:pt x="309" y="449"/>
                      <a:pt x="309" y="439"/>
                    </a:cubicBezTo>
                    <a:cubicBezTo>
                      <a:pt x="309" y="19"/>
                      <a:pt x="309" y="19"/>
                      <a:pt x="309" y="19"/>
                    </a:cubicBezTo>
                    <a:cubicBezTo>
                      <a:pt x="309" y="9"/>
                      <a:pt x="300" y="4"/>
                      <a:pt x="281" y="4"/>
                    </a:cubicBezTo>
                    <a:cubicBezTo>
                      <a:pt x="261" y="4"/>
                      <a:pt x="252" y="9"/>
                      <a:pt x="252" y="19"/>
                    </a:cubicBezTo>
                    <a:lnTo>
                      <a:pt x="252" y="439"/>
                    </a:lnTo>
                    <a:close/>
                    <a:moveTo>
                      <a:pt x="0" y="439"/>
                    </a:moveTo>
                    <a:cubicBezTo>
                      <a:pt x="0" y="449"/>
                      <a:pt x="8" y="454"/>
                      <a:pt x="28" y="454"/>
                    </a:cubicBezTo>
                    <a:cubicBezTo>
                      <a:pt x="48" y="454"/>
                      <a:pt x="56" y="449"/>
                      <a:pt x="56" y="439"/>
                    </a:cubicBezTo>
                    <a:cubicBezTo>
                      <a:pt x="56" y="157"/>
                      <a:pt x="56" y="157"/>
                      <a:pt x="56" y="157"/>
                    </a:cubicBezTo>
                    <a:cubicBezTo>
                      <a:pt x="56" y="83"/>
                      <a:pt x="85" y="53"/>
                      <a:pt x="165" y="53"/>
                    </a:cubicBezTo>
                    <a:cubicBezTo>
                      <a:pt x="180" y="53"/>
                      <a:pt x="180" y="53"/>
                      <a:pt x="180" y="53"/>
                    </a:cubicBezTo>
                    <a:cubicBezTo>
                      <a:pt x="192" y="53"/>
                      <a:pt x="196" y="43"/>
                      <a:pt x="196" y="27"/>
                    </a:cubicBezTo>
                    <a:cubicBezTo>
                      <a:pt x="196" y="8"/>
                      <a:pt x="185" y="4"/>
                      <a:pt x="154" y="4"/>
                    </a:cubicBezTo>
                    <a:cubicBezTo>
                      <a:pt x="64" y="4"/>
                      <a:pt x="0" y="43"/>
                      <a:pt x="0" y="152"/>
                    </a:cubicBezTo>
                    <a:lnTo>
                      <a:pt x="0" y="43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22" name="Freeform 7">
                <a:extLst>
                  <a:ext uri="{FF2B5EF4-FFF2-40B4-BE49-F238E27FC236}">
                    <a16:creationId xmlns:a16="http://schemas.microsoft.com/office/drawing/2014/main" id="{2F32DCBD-8628-F245-85CD-97686A20ECFD}"/>
                  </a:ext>
                </a:extLst>
              </p:cNvPr>
              <p:cNvSpPr>
                <a:spLocks/>
              </p:cNvSpPr>
              <p:nvPr/>
            </p:nvSpPr>
            <p:spPr bwMode="gray">
              <a:xfrm>
                <a:off x="2880" y="1704"/>
                <a:ext cx="618" cy="916"/>
              </a:xfrm>
              <a:custGeom>
                <a:avLst/>
                <a:gdLst>
                  <a:gd name="T0" fmla="*/ 307 w 307"/>
                  <a:gd name="T1" fmla="*/ 405 h 455"/>
                  <a:gd name="T2" fmla="*/ 307 w 307"/>
                  <a:gd name="T3" fmla="*/ 244 h 455"/>
                  <a:gd name="T4" fmla="*/ 279 w 307"/>
                  <a:gd name="T5" fmla="*/ 229 h 455"/>
                  <a:gd name="T6" fmla="*/ 250 w 307"/>
                  <a:gd name="T7" fmla="*/ 244 h 455"/>
                  <a:gd name="T8" fmla="*/ 250 w 307"/>
                  <a:gd name="T9" fmla="*/ 378 h 455"/>
                  <a:gd name="T10" fmla="*/ 199 w 307"/>
                  <a:gd name="T11" fmla="*/ 408 h 455"/>
                  <a:gd name="T12" fmla="*/ 61 w 307"/>
                  <a:gd name="T13" fmla="*/ 231 h 455"/>
                  <a:gd name="T14" fmla="*/ 238 w 307"/>
                  <a:gd name="T15" fmla="*/ 49 h 455"/>
                  <a:gd name="T16" fmla="*/ 270 w 307"/>
                  <a:gd name="T17" fmla="*/ 49 h 455"/>
                  <a:gd name="T18" fmla="*/ 286 w 307"/>
                  <a:gd name="T19" fmla="*/ 23 h 455"/>
                  <a:gd name="T20" fmla="*/ 244 w 307"/>
                  <a:gd name="T21" fmla="*/ 0 h 455"/>
                  <a:gd name="T22" fmla="*/ 231 w 307"/>
                  <a:gd name="T23" fmla="*/ 0 h 455"/>
                  <a:gd name="T24" fmla="*/ 0 w 307"/>
                  <a:gd name="T25" fmla="*/ 232 h 455"/>
                  <a:gd name="T26" fmla="*/ 198 w 307"/>
                  <a:gd name="T27" fmla="*/ 455 h 455"/>
                  <a:gd name="T28" fmla="*/ 307 w 307"/>
                  <a:gd name="T29" fmla="*/ 405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7" h="455">
                    <a:moveTo>
                      <a:pt x="307" y="405"/>
                    </a:moveTo>
                    <a:cubicBezTo>
                      <a:pt x="307" y="244"/>
                      <a:pt x="307" y="244"/>
                      <a:pt x="307" y="244"/>
                    </a:cubicBezTo>
                    <a:cubicBezTo>
                      <a:pt x="307" y="234"/>
                      <a:pt x="298" y="229"/>
                      <a:pt x="279" y="229"/>
                    </a:cubicBezTo>
                    <a:cubicBezTo>
                      <a:pt x="259" y="229"/>
                      <a:pt x="250" y="234"/>
                      <a:pt x="250" y="244"/>
                    </a:cubicBezTo>
                    <a:cubicBezTo>
                      <a:pt x="250" y="378"/>
                      <a:pt x="250" y="378"/>
                      <a:pt x="250" y="378"/>
                    </a:cubicBezTo>
                    <a:cubicBezTo>
                      <a:pt x="250" y="399"/>
                      <a:pt x="241" y="408"/>
                      <a:pt x="199" y="408"/>
                    </a:cubicBezTo>
                    <a:cubicBezTo>
                      <a:pt x="114" y="408"/>
                      <a:pt x="61" y="342"/>
                      <a:pt x="61" y="231"/>
                    </a:cubicBezTo>
                    <a:cubicBezTo>
                      <a:pt x="61" y="115"/>
                      <a:pt x="126" y="49"/>
                      <a:pt x="238" y="49"/>
                    </a:cubicBezTo>
                    <a:cubicBezTo>
                      <a:pt x="270" y="49"/>
                      <a:pt x="270" y="49"/>
                      <a:pt x="270" y="49"/>
                    </a:cubicBezTo>
                    <a:cubicBezTo>
                      <a:pt x="282" y="49"/>
                      <a:pt x="286" y="39"/>
                      <a:pt x="286" y="23"/>
                    </a:cubicBezTo>
                    <a:cubicBezTo>
                      <a:pt x="286" y="4"/>
                      <a:pt x="275" y="0"/>
                      <a:pt x="244" y="0"/>
                    </a:cubicBezTo>
                    <a:cubicBezTo>
                      <a:pt x="231" y="0"/>
                      <a:pt x="231" y="0"/>
                      <a:pt x="231" y="0"/>
                    </a:cubicBezTo>
                    <a:cubicBezTo>
                      <a:pt x="101" y="0"/>
                      <a:pt x="0" y="71"/>
                      <a:pt x="0" y="232"/>
                    </a:cubicBezTo>
                    <a:cubicBezTo>
                      <a:pt x="0" y="386"/>
                      <a:pt x="88" y="455"/>
                      <a:pt x="198" y="455"/>
                    </a:cubicBezTo>
                    <a:cubicBezTo>
                      <a:pt x="286" y="455"/>
                      <a:pt x="307" y="430"/>
                      <a:pt x="307" y="40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23" name="Oval 8">
                <a:extLst>
                  <a:ext uri="{FF2B5EF4-FFF2-40B4-BE49-F238E27FC236}">
                    <a16:creationId xmlns:a16="http://schemas.microsoft.com/office/drawing/2014/main" id="{60D97C11-1A3B-5449-A48D-98A3E79B3810}"/>
                  </a:ext>
                </a:extLst>
              </p:cNvPr>
              <p:cNvSpPr>
                <a:spLocks noChangeArrowheads="1"/>
              </p:cNvSpPr>
              <p:nvPr/>
            </p:nvSpPr>
            <p:spPr bwMode="gray">
              <a:xfrm>
                <a:off x="3778" y="2099"/>
                <a:ext cx="122" cy="12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24" name="Freeform 9">
                <a:extLst>
                  <a:ext uri="{FF2B5EF4-FFF2-40B4-BE49-F238E27FC236}">
                    <a16:creationId xmlns:a16="http://schemas.microsoft.com/office/drawing/2014/main" id="{5856770D-B8F0-244E-A05D-AED190086F10}"/>
                  </a:ext>
                </a:extLst>
              </p:cNvPr>
              <p:cNvSpPr>
                <a:spLocks noEditPoints="1"/>
              </p:cNvSpPr>
              <p:nvPr/>
            </p:nvSpPr>
            <p:spPr bwMode="gray">
              <a:xfrm>
                <a:off x="3623" y="1696"/>
                <a:ext cx="1167" cy="922"/>
              </a:xfrm>
              <a:custGeom>
                <a:avLst/>
                <a:gdLst>
                  <a:gd name="T0" fmla="*/ 411 w 580"/>
                  <a:gd name="T1" fmla="*/ 213 h 458"/>
                  <a:gd name="T2" fmla="*/ 570 w 580"/>
                  <a:gd name="T3" fmla="*/ 37 h 458"/>
                  <a:gd name="T4" fmla="*/ 580 w 580"/>
                  <a:gd name="T5" fmla="*/ 20 h 458"/>
                  <a:gd name="T6" fmla="*/ 545 w 580"/>
                  <a:gd name="T7" fmla="*/ 0 h 458"/>
                  <a:gd name="T8" fmla="*/ 519 w 580"/>
                  <a:gd name="T9" fmla="*/ 16 h 458"/>
                  <a:gd name="T10" fmla="*/ 344 w 580"/>
                  <a:gd name="T11" fmla="*/ 210 h 458"/>
                  <a:gd name="T12" fmla="*/ 334 w 580"/>
                  <a:gd name="T13" fmla="*/ 229 h 458"/>
                  <a:gd name="T14" fmla="*/ 344 w 580"/>
                  <a:gd name="T15" fmla="*/ 248 h 458"/>
                  <a:gd name="T16" fmla="*/ 519 w 580"/>
                  <a:gd name="T17" fmla="*/ 442 h 458"/>
                  <a:gd name="T18" fmla="*/ 545 w 580"/>
                  <a:gd name="T19" fmla="*/ 458 h 458"/>
                  <a:gd name="T20" fmla="*/ 580 w 580"/>
                  <a:gd name="T21" fmla="*/ 438 h 458"/>
                  <a:gd name="T22" fmla="*/ 570 w 580"/>
                  <a:gd name="T23" fmla="*/ 421 h 458"/>
                  <a:gd name="T24" fmla="*/ 411 w 580"/>
                  <a:gd name="T25" fmla="*/ 245 h 458"/>
                  <a:gd name="T26" fmla="*/ 399 w 580"/>
                  <a:gd name="T27" fmla="*/ 229 h 458"/>
                  <a:gd name="T28" fmla="*/ 411 w 580"/>
                  <a:gd name="T29" fmla="*/ 213 h 458"/>
                  <a:gd name="T30" fmla="*/ 252 w 580"/>
                  <a:gd name="T31" fmla="*/ 439 h 458"/>
                  <a:gd name="T32" fmla="*/ 281 w 580"/>
                  <a:gd name="T33" fmla="*/ 454 h 458"/>
                  <a:gd name="T34" fmla="*/ 309 w 580"/>
                  <a:gd name="T35" fmla="*/ 439 h 458"/>
                  <a:gd name="T36" fmla="*/ 309 w 580"/>
                  <a:gd name="T37" fmla="*/ 19 h 458"/>
                  <a:gd name="T38" fmla="*/ 281 w 580"/>
                  <a:gd name="T39" fmla="*/ 4 h 458"/>
                  <a:gd name="T40" fmla="*/ 252 w 580"/>
                  <a:gd name="T41" fmla="*/ 19 h 458"/>
                  <a:gd name="T42" fmla="*/ 252 w 580"/>
                  <a:gd name="T43" fmla="*/ 439 h 458"/>
                  <a:gd name="T44" fmla="*/ 0 w 580"/>
                  <a:gd name="T45" fmla="*/ 439 h 458"/>
                  <a:gd name="T46" fmla="*/ 28 w 580"/>
                  <a:gd name="T47" fmla="*/ 454 h 458"/>
                  <a:gd name="T48" fmla="*/ 56 w 580"/>
                  <a:gd name="T49" fmla="*/ 439 h 458"/>
                  <a:gd name="T50" fmla="*/ 56 w 580"/>
                  <a:gd name="T51" fmla="*/ 157 h 458"/>
                  <a:gd name="T52" fmla="*/ 165 w 580"/>
                  <a:gd name="T53" fmla="*/ 53 h 458"/>
                  <a:gd name="T54" fmla="*/ 180 w 580"/>
                  <a:gd name="T55" fmla="*/ 53 h 458"/>
                  <a:gd name="T56" fmla="*/ 196 w 580"/>
                  <a:gd name="T57" fmla="*/ 27 h 458"/>
                  <a:gd name="T58" fmla="*/ 154 w 580"/>
                  <a:gd name="T59" fmla="*/ 4 h 458"/>
                  <a:gd name="T60" fmla="*/ 0 w 580"/>
                  <a:gd name="T61" fmla="*/ 152 h 458"/>
                  <a:gd name="T62" fmla="*/ 0 w 580"/>
                  <a:gd name="T63" fmla="*/ 439 h 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80" h="458">
                    <a:moveTo>
                      <a:pt x="411" y="213"/>
                    </a:moveTo>
                    <a:cubicBezTo>
                      <a:pt x="570" y="37"/>
                      <a:pt x="570" y="37"/>
                      <a:pt x="570" y="37"/>
                    </a:cubicBezTo>
                    <a:cubicBezTo>
                      <a:pt x="576" y="30"/>
                      <a:pt x="580" y="25"/>
                      <a:pt x="580" y="20"/>
                    </a:cubicBezTo>
                    <a:cubicBezTo>
                      <a:pt x="580" y="10"/>
                      <a:pt x="559" y="0"/>
                      <a:pt x="545" y="0"/>
                    </a:cubicBezTo>
                    <a:cubicBezTo>
                      <a:pt x="535" y="0"/>
                      <a:pt x="526" y="8"/>
                      <a:pt x="519" y="16"/>
                    </a:cubicBezTo>
                    <a:cubicBezTo>
                      <a:pt x="344" y="210"/>
                      <a:pt x="344" y="210"/>
                      <a:pt x="344" y="210"/>
                    </a:cubicBezTo>
                    <a:cubicBezTo>
                      <a:pt x="336" y="219"/>
                      <a:pt x="334" y="224"/>
                      <a:pt x="334" y="229"/>
                    </a:cubicBezTo>
                    <a:cubicBezTo>
                      <a:pt x="334" y="234"/>
                      <a:pt x="336" y="239"/>
                      <a:pt x="344" y="248"/>
                    </a:cubicBezTo>
                    <a:cubicBezTo>
                      <a:pt x="519" y="442"/>
                      <a:pt x="519" y="442"/>
                      <a:pt x="519" y="442"/>
                    </a:cubicBezTo>
                    <a:cubicBezTo>
                      <a:pt x="526" y="450"/>
                      <a:pt x="535" y="458"/>
                      <a:pt x="545" y="458"/>
                    </a:cubicBezTo>
                    <a:cubicBezTo>
                      <a:pt x="559" y="458"/>
                      <a:pt x="580" y="448"/>
                      <a:pt x="580" y="438"/>
                    </a:cubicBezTo>
                    <a:cubicBezTo>
                      <a:pt x="580" y="433"/>
                      <a:pt x="576" y="428"/>
                      <a:pt x="570" y="421"/>
                    </a:cubicBezTo>
                    <a:cubicBezTo>
                      <a:pt x="411" y="245"/>
                      <a:pt x="411" y="245"/>
                      <a:pt x="411" y="245"/>
                    </a:cubicBezTo>
                    <a:cubicBezTo>
                      <a:pt x="403" y="236"/>
                      <a:pt x="399" y="232"/>
                      <a:pt x="399" y="229"/>
                    </a:cubicBezTo>
                    <a:cubicBezTo>
                      <a:pt x="399" y="226"/>
                      <a:pt x="403" y="222"/>
                      <a:pt x="411" y="213"/>
                    </a:cubicBezTo>
                    <a:moveTo>
                      <a:pt x="252" y="439"/>
                    </a:moveTo>
                    <a:cubicBezTo>
                      <a:pt x="252" y="449"/>
                      <a:pt x="261" y="454"/>
                      <a:pt x="281" y="454"/>
                    </a:cubicBezTo>
                    <a:cubicBezTo>
                      <a:pt x="300" y="454"/>
                      <a:pt x="309" y="449"/>
                      <a:pt x="309" y="439"/>
                    </a:cubicBezTo>
                    <a:cubicBezTo>
                      <a:pt x="309" y="19"/>
                      <a:pt x="309" y="19"/>
                      <a:pt x="309" y="19"/>
                    </a:cubicBezTo>
                    <a:cubicBezTo>
                      <a:pt x="309" y="9"/>
                      <a:pt x="300" y="4"/>
                      <a:pt x="281" y="4"/>
                    </a:cubicBezTo>
                    <a:cubicBezTo>
                      <a:pt x="261" y="4"/>
                      <a:pt x="252" y="9"/>
                      <a:pt x="252" y="19"/>
                    </a:cubicBezTo>
                    <a:lnTo>
                      <a:pt x="252" y="439"/>
                    </a:lnTo>
                    <a:close/>
                    <a:moveTo>
                      <a:pt x="0" y="439"/>
                    </a:moveTo>
                    <a:cubicBezTo>
                      <a:pt x="0" y="449"/>
                      <a:pt x="8" y="454"/>
                      <a:pt x="28" y="454"/>
                    </a:cubicBezTo>
                    <a:cubicBezTo>
                      <a:pt x="48" y="454"/>
                      <a:pt x="56" y="449"/>
                      <a:pt x="56" y="439"/>
                    </a:cubicBezTo>
                    <a:cubicBezTo>
                      <a:pt x="56" y="157"/>
                      <a:pt x="56" y="157"/>
                      <a:pt x="56" y="157"/>
                    </a:cubicBezTo>
                    <a:cubicBezTo>
                      <a:pt x="56" y="83"/>
                      <a:pt x="85" y="53"/>
                      <a:pt x="165" y="53"/>
                    </a:cubicBezTo>
                    <a:cubicBezTo>
                      <a:pt x="180" y="53"/>
                      <a:pt x="180" y="53"/>
                      <a:pt x="180" y="53"/>
                    </a:cubicBezTo>
                    <a:cubicBezTo>
                      <a:pt x="192" y="53"/>
                      <a:pt x="196" y="43"/>
                      <a:pt x="196" y="27"/>
                    </a:cubicBezTo>
                    <a:cubicBezTo>
                      <a:pt x="196" y="8"/>
                      <a:pt x="185" y="4"/>
                      <a:pt x="154" y="4"/>
                    </a:cubicBezTo>
                    <a:cubicBezTo>
                      <a:pt x="64" y="4"/>
                      <a:pt x="0" y="43"/>
                      <a:pt x="0" y="152"/>
                    </a:cubicBezTo>
                    <a:lnTo>
                      <a:pt x="0" y="43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25" name="Freeform 10">
                <a:extLst>
                  <a:ext uri="{FF2B5EF4-FFF2-40B4-BE49-F238E27FC236}">
                    <a16:creationId xmlns:a16="http://schemas.microsoft.com/office/drawing/2014/main" id="{2B91B16B-BC11-E547-8FAC-B9B8D18EA449}"/>
                  </a:ext>
                </a:extLst>
              </p:cNvPr>
              <p:cNvSpPr>
                <a:spLocks/>
              </p:cNvSpPr>
              <p:nvPr/>
            </p:nvSpPr>
            <p:spPr bwMode="gray">
              <a:xfrm>
                <a:off x="2880" y="1704"/>
                <a:ext cx="618" cy="916"/>
              </a:xfrm>
              <a:custGeom>
                <a:avLst/>
                <a:gdLst>
                  <a:gd name="T0" fmla="*/ 307 w 307"/>
                  <a:gd name="T1" fmla="*/ 405 h 455"/>
                  <a:gd name="T2" fmla="*/ 307 w 307"/>
                  <a:gd name="T3" fmla="*/ 244 h 455"/>
                  <a:gd name="T4" fmla="*/ 279 w 307"/>
                  <a:gd name="T5" fmla="*/ 229 h 455"/>
                  <a:gd name="T6" fmla="*/ 250 w 307"/>
                  <a:gd name="T7" fmla="*/ 244 h 455"/>
                  <a:gd name="T8" fmla="*/ 250 w 307"/>
                  <a:gd name="T9" fmla="*/ 378 h 455"/>
                  <a:gd name="T10" fmla="*/ 199 w 307"/>
                  <a:gd name="T11" fmla="*/ 408 h 455"/>
                  <a:gd name="T12" fmla="*/ 61 w 307"/>
                  <a:gd name="T13" fmla="*/ 231 h 455"/>
                  <a:gd name="T14" fmla="*/ 238 w 307"/>
                  <a:gd name="T15" fmla="*/ 49 h 455"/>
                  <a:gd name="T16" fmla="*/ 270 w 307"/>
                  <a:gd name="T17" fmla="*/ 49 h 455"/>
                  <a:gd name="T18" fmla="*/ 286 w 307"/>
                  <a:gd name="T19" fmla="*/ 23 h 455"/>
                  <a:gd name="T20" fmla="*/ 244 w 307"/>
                  <a:gd name="T21" fmla="*/ 0 h 455"/>
                  <a:gd name="T22" fmla="*/ 231 w 307"/>
                  <a:gd name="T23" fmla="*/ 0 h 455"/>
                  <a:gd name="T24" fmla="*/ 0 w 307"/>
                  <a:gd name="T25" fmla="*/ 232 h 455"/>
                  <a:gd name="T26" fmla="*/ 198 w 307"/>
                  <a:gd name="T27" fmla="*/ 455 h 455"/>
                  <a:gd name="T28" fmla="*/ 307 w 307"/>
                  <a:gd name="T29" fmla="*/ 405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7" h="455">
                    <a:moveTo>
                      <a:pt x="307" y="405"/>
                    </a:moveTo>
                    <a:cubicBezTo>
                      <a:pt x="307" y="244"/>
                      <a:pt x="307" y="244"/>
                      <a:pt x="307" y="244"/>
                    </a:cubicBezTo>
                    <a:cubicBezTo>
                      <a:pt x="307" y="234"/>
                      <a:pt x="298" y="229"/>
                      <a:pt x="279" y="229"/>
                    </a:cubicBezTo>
                    <a:cubicBezTo>
                      <a:pt x="259" y="229"/>
                      <a:pt x="250" y="234"/>
                      <a:pt x="250" y="244"/>
                    </a:cubicBezTo>
                    <a:cubicBezTo>
                      <a:pt x="250" y="378"/>
                      <a:pt x="250" y="378"/>
                      <a:pt x="250" y="378"/>
                    </a:cubicBezTo>
                    <a:cubicBezTo>
                      <a:pt x="250" y="399"/>
                      <a:pt x="241" y="408"/>
                      <a:pt x="199" y="408"/>
                    </a:cubicBezTo>
                    <a:cubicBezTo>
                      <a:pt x="114" y="408"/>
                      <a:pt x="61" y="342"/>
                      <a:pt x="61" y="231"/>
                    </a:cubicBezTo>
                    <a:cubicBezTo>
                      <a:pt x="61" y="115"/>
                      <a:pt x="126" y="49"/>
                      <a:pt x="238" y="49"/>
                    </a:cubicBezTo>
                    <a:cubicBezTo>
                      <a:pt x="270" y="49"/>
                      <a:pt x="270" y="49"/>
                      <a:pt x="270" y="49"/>
                    </a:cubicBezTo>
                    <a:cubicBezTo>
                      <a:pt x="282" y="49"/>
                      <a:pt x="286" y="39"/>
                      <a:pt x="286" y="23"/>
                    </a:cubicBezTo>
                    <a:cubicBezTo>
                      <a:pt x="286" y="4"/>
                      <a:pt x="275" y="0"/>
                      <a:pt x="244" y="0"/>
                    </a:cubicBezTo>
                    <a:cubicBezTo>
                      <a:pt x="231" y="0"/>
                      <a:pt x="231" y="0"/>
                      <a:pt x="231" y="0"/>
                    </a:cubicBezTo>
                    <a:cubicBezTo>
                      <a:pt x="101" y="0"/>
                      <a:pt x="0" y="71"/>
                      <a:pt x="0" y="232"/>
                    </a:cubicBezTo>
                    <a:cubicBezTo>
                      <a:pt x="0" y="386"/>
                      <a:pt x="88" y="455"/>
                      <a:pt x="198" y="455"/>
                    </a:cubicBezTo>
                    <a:cubicBezTo>
                      <a:pt x="286" y="455"/>
                      <a:pt x="307" y="430"/>
                      <a:pt x="307" y="40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26" name="Oval 11">
                <a:extLst>
                  <a:ext uri="{FF2B5EF4-FFF2-40B4-BE49-F238E27FC236}">
                    <a16:creationId xmlns:a16="http://schemas.microsoft.com/office/drawing/2014/main" id="{14F8C3C8-4888-7646-B9B4-64EB46A1DA23}"/>
                  </a:ext>
                </a:extLst>
              </p:cNvPr>
              <p:cNvSpPr>
                <a:spLocks noChangeArrowheads="1"/>
              </p:cNvSpPr>
              <p:nvPr/>
            </p:nvSpPr>
            <p:spPr bwMode="gray">
              <a:xfrm>
                <a:off x="3778" y="2099"/>
                <a:ext cx="122" cy="12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27" name="Freeform 12">
                <a:extLst>
                  <a:ext uri="{FF2B5EF4-FFF2-40B4-BE49-F238E27FC236}">
                    <a16:creationId xmlns:a16="http://schemas.microsoft.com/office/drawing/2014/main" id="{D79D01D1-4E3E-F34B-97D7-2D387E68746E}"/>
                  </a:ext>
                </a:extLst>
              </p:cNvPr>
              <p:cNvSpPr>
                <a:spLocks/>
              </p:cNvSpPr>
              <p:nvPr/>
            </p:nvSpPr>
            <p:spPr bwMode="gray">
              <a:xfrm>
                <a:off x="4321" y="1029"/>
                <a:ext cx="648" cy="649"/>
              </a:xfrm>
              <a:custGeom>
                <a:avLst/>
                <a:gdLst>
                  <a:gd name="T0" fmla="*/ 0 w 648"/>
                  <a:gd name="T1" fmla="*/ 649 h 649"/>
                  <a:gd name="T2" fmla="*/ 2 w 648"/>
                  <a:gd name="T3" fmla="*/ 649 h 649"/>
                  <a:gd name="T4" fmla="*/ 648 w 648"/>
                  <a:gd name="T5" fmla="*/ 0 h 649"/>
                  <a:gd name="T6" fmla="*/ 423 w 648"/>
                  <a:gd name="T7" fmla="*/ 0 h 649"/>
                  <a:gd name="T8" fmla="*/ 0 w 648"/>
                  <a:gd name="T9" fmla="*/ 649 h 649"/>
                </a:gdLst>
                <a:ahLst/>
                <a:cxnLst>
                  <a:cxn ang="0">
                    <a:pos x="T0" y="T1"/>
                  </a:cxn>
                  <a:cxn ang="0">
                    <a:pos x="T2" y="T3"/>
                  </a:cxn>
                  <a:cxn ang="0">
                    <a:pos x="T4" y="T5"/>
                  </a:cxn>
                  <a:cxn ang="0">
                    <a:pos x="T6" y="T7"/>
                  </a:cxn>
                  <a:cxn ang="0">
                    <a:pos x="T8" y="T9"/>
                  </a:cxn>
                </a:cxnLst>
                <a:rect l="0" t="0" r="r" b="b"/>
                <a:pathLst>
                  <a:path w="648" h="649">
                    <a:moveTo>
                      <a:pt x="0" y="649"/>
                    </a:moveTo>
                    <a:lnTo>
                      <a:pt x="2" y="649"/>
                    </a:lnTo>
                    <a:lnTo>
                      <a:pt x="648" y="0"/>
                    </a:lnTo>
                    <a:lnTo>
                      <a:pt x="423" y="0"/>
                    </a:lnTo>
                    <a:lnTo>
                      <a:pt x="0" y="64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28" name="Freeform 13">
                <a:extLst>
                  <a:ext uri="{FF2B5EF4-FFF2-40B4-BE49-F238E27FC236}">
                    <a16:creationId xmlns:a16="http://schemas.microsoft.com/office/drawing/2014/main" id="{46549898-6C52-B147-A8F6-A73FDBE6163B}"/>
                  </a:ext>
                </a:extLst>
              </p:cNvPr>
              <p:cNvSpPr>
                <a:spLocks/>
              </p:cNvSpPr>
              <p:nvPr/>
            </p:nvSpPr>
            <p:spPr bwMode="gray">
              <a:xfrm>
                <a:off x="4321" y="1029"/>
                <a:ext cx="648" cy="649"/>
              </a:xfrm>
              <a:custGeom>
                <a:avLst/>
                <a:gdLst>
                  <a:gd name="T0" fmla="*/ 0 w 648"/>
                  <a:gd name="T1" fmla="*/ 649 h 649"/>
                  <a:gd name="T2" fmla="*/ 2 w 648"/>
                  <a:gd name="T3" fmla="*/ 649 h 649"/>
                  <a:gd name="T4" fmla="*/ 648 w 648"/>
                  <a:gd name="T5" fmla="*/ 0 h 649"/>
                  <a:gd name="T6" fmla="*/ 423 w 648"/>
                  <a:gd name="T7" fmla="*/ 0 h 649"/>
                  <a:gd name="T8" fmla="*/ 0 w 648"/>
                  <a:gd name="T9" fmla="*/ 649 h 649"/>
                </a:gdLst>
                <a:ahLst/>
                <a:cxnLst>
                  <a:cxn ang="0">
                    <a:pos x="T0" y="T1"/>
                  </a:cxn>
                  <a:cxn ang="0">
                    <a:pos x="T2" y="T3"/>
                  </a:cxn>
                  <a:cxn ang="0">
                    <a:pos x="T4" y="T5"/>
                  </a:cxn>
                  <a:cxn ang="0">
                    <a:pos x="T6" y="T7"/>
                  </a:cxn>
                  <a:cxn ang="0">
                    <a:pos x="T8" y="T9"/>
                  </a:cxn>
                </a:cxnLst>
                <a:rect l="0" t="0" r="r" b="b"/>
                <a:pathLst>
                  <a:path w="648" h="649">
                    <a:moveTo>
                      <a:pt x="0" y="649"/>
                    </a:moveTo>
                    <a:lnTo>
                      <a:pt x="2" y="649"/>
                    </a:lnTo>
                    <a:lnTo>
                      <a:pt x="648" y="0"/>
                    </a:lnTo>
                    <a:lnTo>
                      <a:pt x="423" y="0"/>
                    </a:lnTo>
                    <a:lnTo>
                      <a:pt x="0" y="64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grpSp>
      </p:grpSp>
      <p:sp>
        <p:nvSpPr>
          <p:cNvPr id="7" name="Date Placeholder 6"/>
          <p:cNvSpPr>
            <a:spLocks noGrp="1"/>
          </p:cNvSpPr>
          <p:nvPr>
            <p:ph type="dt" sz="half" idx="10"/>
          </p:nvPr>
        </p:nvSpPr>
        <p:spPr>
          <a:xfrm>
            <a:off x="0" y="0"/>
            <a:ext cx="0" cy="0"/>
          </a:xfrm>
          <a:prstGeom prst="rect">
            <a:avLst/>
          </a:prstGeom>
        </p:spPr>
        <p:txBody>
          <a:bodyPr/>
          <a:lstStyle>
            <a:lvl1pPr>
              <a:defRPr sz="100">
                <a:noFill/>
              </a:defRPr>
            </a:lvl1pPr>
          </a:lstStyle>
          <a:p>
            <a:endParaRPr lang="en-US"/>
          </a:p>
        </p:txBody>
      </p:sp>
      <p:sp>
        <p:nvSpPr>
          <p:cNvPr id="8" name="Footer Placeholder 7"/>
          <p:cNvSpPr>
            <a:spLocks noGrp="1"/>
          </p:cNvSpPr>
          <p:nvPr>
            <p:ph type="ftr" sz="quarter" idx="11"/>
          </p:nvPr>
        </p:nvSpPr>
        <p:spPr>
          <a:xfrm>
            <a:off x="0" y="0"/>
            <a:ext cx="0" cy="0"/>
          </a:xfrm>
          <a:prstGeom prst="rect">
            <a:avLst/>
          </a:prstGeom>
        </p:spPr>
        <p:txBody>
          <a:bodyPr/>
          <a:lstStyle>
            <a:lvl1pPr marL="0" indent="0">
              <a:buNone/>
              <a:defRPr sz="100">
                <a:noFill/>
              </a:defRPr>
            </a:lvl1pPr>
          </a:lstStyle>
          <a:p>
            <a:endParaRPr lang="en-US"/>
          </a:p>
        </p:txBody>
      </p:sp>
      <p:sp>
        <p:nvSpPr>
          <p:cNvPr id="9" name="Slide Number Placeholder 8"/>
          <p:cNvSpPr>
            <a:spLocks noGrp="1"/>
          </p:cNvSpPr>
          <p:nvPr>
            <p:ph type="sldNum" sz="quarter" idx="12"/>
          </p:nvPr>
        </p:nvSpPr>
        <p:spPr>
          <a:xfrm>
            <a:off x="0" y="0"/>
            <a:ext cx="0" cy="0"/>
          </a:xfrm>
          <a:prstGeom prst="rect">
            <a:avLst/>
          </a:prstGeom>
        </p:spPr>
        <p:txBody>
          <a:bodyPr/>
          <a:lstStyle>
            <a:lvl1pPr>
              <a:defRPr sz="100">
                <a:noFill/>
              </a:defRPr>
            </a:lvl1pPr>
          </a:lstStyle>
          <a:p>
            <a:fld id="{8E3B25F7-8D1F-44B5-B485-EE3C438CFD7B}" type="slidenum">
              <a:rPr lang="en-US" smtClean="0"/>
              <a:pPr/>
              <a:t>‹#›</a:t>
            </a:fld>
            <a:endParaRPr lang="en-US"/>
          </a:p>
        </p:txBody>
      </p:sp>
      <p:sp>
        <p:nvSpPr>
          <p:cNvPr id="2" name="Title 1"/>
          <p:cNvSpPr>
            <a:spLocks noGrp="1"/>
          </p:cNvSpPr>
          <p:nvPr>
            <p:ph type="ctrTitle" hasCustomPrompt="1"/>
          </p:nvPr>
        </p:nvSpPr>
        <p:spPr>
          <a:xfrm>
            <a:off x="417600" y="1628775"/>
            <a:ext cx="3816000" cy="2236264"/>
          </a:xfrm>
        </p:spPr>
        <p:txBody>
          <a:bodyPr anchor="b"/>
          <a:lstStyle>
            <a:lvl1pPr algn="l">
              <a:defRPr sz="3600" baseline="0"/>
            </a:lvl1pPr>
          </a:lstStyle>
          <a:p>
            <a:r>
              <a:rPr lang="en-US"/>
              <a:t>Click to add presentation title</a:t>
            </a:r>
          </a:p>
        </p:txBody>
      </p:sp>
      <p:sp>
        <p:nvSpPr>
          <p:cNvPr id="3" name="Subtitle 2"/>
          <p:cNvSpPr>
            <a:spLocks noGrp="1"/>
          </p:cNvSpPr>
          <p:nvPr>
            <p:ph type="subTitle" idx="1" hasCustomPrompt="1"/>
          </p:nvPr>
        </p:nvSpPr>
        <p:spPr>
          <a:xfrm>
            <a:off x="417600" y="4094163"/>
            <a:ext cx="3816000" cy="1080000"/>
          </a:xfrm>
        </p:spPr>
        <p:txBody>
          <a:bodyPr/>
          <a:lstStyle>
            <a:lvl1pPr marL="0" indent="0" algn="l">
              <a:spcBef>
                <a:spcPts val="0"/>
              </a:spcBef>
              <a:buNone/>
              <a:defRPr sz="1800" b="1"/>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sp>
        <p:nvSpPr>
          <p:cNvPr id="31" name="Text Placeholder 30"/>
          <p:cNvSpPr>
            <a:spLocks noGrp="1"/>
          </p:cNvSpPr>
          <p:nvPr>
            <p:ph type="body" sz="quarter" idx="14" hasCustomPrompt="1"/>
          </p:nvPr>
        </p:nvSpPr>
        <p:spPr>
          <a:xfrm>
            <a:off x="417600" y="5393268"/>
            <a:ext cx="3816000" cy="296332"/>
          </a:xfrm>
        </p:spPr>
        <p:txBody>
          <a:bodyPr wrap="none"/>
          <a:lstStyle>
            <a:lvl1pPr marL="0" indent="0">
              <a:spcBef>
                <a:spcPts val="0"/>
              </a:spcBef>
              <a:buNone/>
              <a:defRPr sz="1200"/>
            </a:lvl1pPr>
            <a:lvl2pPr marL="0" indent="0">
              <a:buNone/>
              <a:defRPr sz="1200"/>
            </a:lvl2pPr>
            <a:lvl3pPr marL="0" indent="0">
              <a:buNone/>
              <a:defRPr sz="1200"/>
            </a:lvl3pPr>
            <a:lvl4pPr marL="0">
              <a:buNone/>
              <a:defRPr sz="1200"/>
            </a:lvl4pPr>
            <a:lvl5pPr marL="0" indent="0">
              <a:buNone/>
              <a:defRPr sz="1200"/>
            </a:lvl5pPr>
          </a:lstStyle>
          <a:p>
            <a:pPr lvl="0"/>
            <a:r>
              <a:rPr lang="en-US"/>
              <a:t>Name</a:t>
            </a:r>
          </a:p>
        </p:txBody>
      </p:sp>
      <p:sp>
        <p:nvSpPr>
          <p:cNvPr id="34" name="Text Placeholder 30"/>
          <p:cNvSpPr>
            <a:spLocks noGrp="1"/>
          </p:cNvSpPr>
          <p:nvPr>
            <p:ph type="body" sz="quarter" idx="15" hasCustomPrompt="1"/>
          </p:nvPr>
        </p:nvSpPr>
        <p:spPr>
          <a:xfrm>
            <a:off x="417600" y="5691446"/>
            <a:ext cx="3816000" cy="296332"/>
          </a:xfrm>
        </p:spPr>
        <p:txBody>
          <a:bodyPr wrap="none"/>
          <a:lstStyle>
            <a:lvl1pPr marL="0" indent="0">
              <a:spcBef>
                <a:spcPts val="0"/>
              </a:spcBef>
              <a:buNone/>
              <a:defRPr sz="1200"/>
            </a:lvl1pPr>
            <a:lvl2pPr marL="0" indent="0">
              <a:buNone/>
              <a:defRPr sz="1200"/>
            </a:lvl2pPr>
            <a:lvl3pPr marL="0" indent="0">
              <a:buNone/>
              <a:defRPr sz="1200"/>
            </a:lvl3pPr>
            <a:lvl4pPr marL="0">
              <a:buNone/>
              <a:defRPr sz="1200"/>
            </a:lvl4pPr>
            <a:lvl5pPr marL="0" indent="0">
              <a:buNone/>
              <a:defRPr sz="1200"/>
            </a:lvl5pPr>
          </a:lstStyle>
          <a:p>
            <a:pPr lvl="0"/>
            <a:r>
              <a:rPr lang="en-US"/>
              <a:t>Department</a:t>
            </a:r>
          </a:p>
        </p:txBody>
      </p:sp>
    </p:spTree>
    <p:extLst>
      <p:ext uri="{BB962C8B-B14F-4D97-AF65-F5344CB8AC3E}">
        <p14:creationId xmlns:p14="http://schemas.microsoft.com/office/powerpoint/2010/main" val="2234642667"/>
      </p:ext>
    </p:extLst>
  </p:cSld>
  <p:clrMapOvr>
    <a:masterClrMapping/>
  </p:clrMapOvr>
</p:sldLayout>
</file>

<file path=ppt/slideLayouts/slideLayout417.xml><?xml version="1.0" encoding="utf-8"?>
<p:sldLayout xmlns:a="http://schemas.openxmlformats.org/drawingml/2006/main" xmlns:r="http://schemas.openxmlformats.org/officeDocument/2006/relationships" xmlns:p="http://schemas.openxmlformats.org/presentationml/2006/main" showMasterSp="0" preserve="1">
  <p:cSld name="Title 2">
    <p:spTree>
      <p:nvGrpSpPr>
        <p:cNvPr id="1" name=""/>
        <p:cNvGrpSpPr/>
        <p:nvPr/>
      </p:nvGrpSpPr>
      <p:grpSpPr>
        <a:xfrm>
          <a:off x="0" y="0"/>
          <a:ext cx="0" cy="0"/>
          <a:chOff x="0" y="0"/>
          <a:chExt cx="0" cy="0"/>
        </a:xfrm>
      </p:grpSpPr>
      <p:pic>
        <p:nvPicPr>
          <p:cNvPr id="29" name="picture">
            <a:extLst>
              <a:ext uri="{FF2B5EF4-FFF2-40B4-BE49-F238E27FC236}">
                <a16:creationId xmlns:a16="http://schemas.microsoft.com/office/drawing/2014/main" id="{8BF907F5-A9CD-2740-AF54-6BACB62334AE}"/>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2620212" y="-8808"/>
            <a:ext cx="9697299" cy="6866807"/>
          </a:xfrm>
          <a:prstGeom prst="rect">
            <a:avLst/>
          </a:prstGeom>
        </p:spPr>
      </p:pic>
      <p:sp>
        <p:nvSpPr>
          <p:cNvPr id="32" name="shpPicture"/>
          <p:cNvSpPr/>
          <p:nvPr/>
        </p:nvSpPr>
        <p:spPr>
          <a:xfrm>
            <a:off x="1" y="0"/>
            <a:ext cx="4112145" cy="6858000"/>
          </a:xfrm>
          <a:custGeom>
            <a:avLst/>
            <a:gdLst>
              <a:gd name="connsiteX0" fmla="*/ 0 w 4112145"/>
              <a:gd name="connsiteY0" fmla="*/ 0 h 6858000"/>
              <a:gd name="connsiteX1" fmla="*/ 2588964 w 4112145"/>
              <a:gd name="connsiteY1" fmla="*/ 0 h 6858000"/>
              <a:gd name="connsiteX2" fmla="*/ 4112145 w 4112145"/>
              <a:gd name="connsiteY2" fmla="*/ 3083531 h 6858000"/>
              <a:gd name="connsiteX3" fmla="*/ 2697661 w 4112145"/>
              <a:gd name="connsiteY3" fmla="*/ 6858000 h 6858000"/>
              <a:gd name="connsiteX4" fmla="*/ 0 w 4112145"/>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12145" h="6858000">
                <a:moveTo>
                  <a:pt x="0" y="0"/>
                </a:moveTo>
                <a:lnTo>
                  <a:pt x="2588964" y="0"/>
                </a:lnTo>
                <a:lnTo>
                  <a:pt x="4112145" y="3083531"/>
                </a:lnTo>
                <a:lnTo>
                  <a:pt x="2697661"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US" sz="1600"/>
          </a:p>
        </p:txBody>
      </p:sp>
      <p:grpSp>
        <p:nvGrpSpPr>
          <p:cNvPr id="14" name="logo">
            <a:extLst>
              <a:ext uri="{FF2B5EF4-FFF2-40B4-BE49-F238E27FC236}">
                <a16:creationId xmlns:a16="http://schemas.microsoft.com/office/drawing/2014/main" id="{18C26D95-70F8-8A4D-9F18-DCCB92522AF8}"/>
              </a:ext>
            </a:extLst>
          </p:cNvPr>
          <p:cNvGrpSpPr/>
          <p:nvPr/>
        </p:nvGrpSpPr>
        <p:grpSpPr bwMode="gray">
          <a:xfrm>
            <a:off x="417363" y="407485"/>
            <a:ext cx="1518585" cy="646507"/>
            <a:chOff x="334963" y="296652"/>
            <a:chExt cx="1268411" cy="540000"/>
          </a:xfrm>
        </p:grpSpPr>
        <p:sp>
          <p:nvSpPr>
            <p:cNvPr id="17" name="Freeform 6">
              <a:extLst>
                <a:ext uri="{FF2B5EF4-FFF2-40B4-BE49-F238E27FC236}">
                  <a16:creationId xmlns:a16="http://schemas.microsoft.com/office/drawing/2014/main" id="{08737AD0-E375-E445-97E6-CD2E2DF60620}"/>
                </a:ext>
              </a:extLst>
            </p:cNvPr>
            <p:cNvSpPr>
              <a:spLocks noEditPoints="1"/>
            </p:cNvSpPr>
            <p:nvPr/>
          </p:nvSpPr>
          <p:spPr bwMode="gray">
            <a:xfrm>
              <a:off x="982662" y="360462"/>
              <a:ext cx="620712" cy="431800"/>
            </a:xfrm>
            <a:custGeom>
              <a:avLst/>
              <a:gdLst>
                <a:gd name="T0" fmla="*/ 19 w 1809"/>
                <a:gd name="T1" fmla="*/ 97 h 1253"/>
                <a:gd name="T2" fmla="*/ 165 w 1809"/>
                <a:gd name="T3" fmla="*/ 41 h 1253"/>
                <a:gd name="T4" fmla="*/ 211 w 1809"/>
                <a:gd name="T5" fmla="*/ 224 h 1253"/>
                <a:gd name="T6" fmla="*/ 248 w 1809"/>
                <a:gd name="T7" fmla="*/ 155 h 1253"/>
                <a:gd name="T8" fmla="*/ 931 w 1809"/>
                <a:gd name="T9" fmla="*/ 995 h 1253"/>
                <a:gd name="T10" fmla="*/ 858 w 1809"/>
                <a:gd name="T11" fmla="*/ 1115 h 1253"/>
                <a:gd name="T12" fmla="*/ 749 w 1809"/>
                <a:gd name="T13" fmla="*/ 1117 h 1253"/>
                <a:gd name="T14" fmla="*/ 681 w 1809"/>
                <a:gd name="T15" fmla="*/ 1055 h 1253"/>
                <a:gd name="T16" fmla="*/ 800 w 1809"/>
                <a:gd name="T17" fmla="*/ 1054 h 1253"/>
                <a:gd name="T18" fmla="*/ 884 w 1809"/>
                <a:gd name="T19" fmla="*/ 1181 h 1253"/>
                <a:gd name="T20" fmla="*/ 118 w 1809"/>
                <a:gd name="T21" fmla="*/ 1086 h 1253"/>
                <a:gd name="T22" fmla="*/ 147 w 1809"/>
                <a:gd name="T23" fmla="*/ 1026 h 1253"/>
                <a:gd name="T24" fmla="*/ 102 w 1809"/>
                <a:gd name="T25" fmla="*/ 1026 h 1253"/>
                <a:gd name="T26" fmla="*/ 639 w 1809"/>
                <a:gd name="T27" fmla="*/ 84 h 1253"/>
                <a:gd name="T28" fmla="*/ 763 w 1809"/>
                <a:gd name="T29" fmla="*/ 145 h 1253"/>
                <a:gd name="T30" fmla="*/ 863 w 1809"/>
                <a:gd name="T31" fmla="*/ 221 h 1253"/>
                <a:gd name="T32" fmla="*/ 834 w 1809"/>
                <a:gd name="T33" fmla="*/ 208 h 1253"/>
                <a:gd name="T34" fmla="*/ 719 w 1809"/>
                <a:gd name="T35" fmla="*/ 182 h 1253"/>
                <a:gd name="T36" fmla="*/ 507 w 1809"/>
                <a:gd name="T37" fmla="*/ 711 h 1253"/>
                <a:gd name="T38" fmla="*/ 614 w 1809"/>
                <a:gd name="T39" fmla="*/ 706 h 1253"/>
                <a:gd name="T40" fmla="*/ 736 w 1809"/>
                <a:gd name="T41" fmla="*/ 730 h 1253"/>
                <a:gd name="T42" fmla="*/ 607 w 1809"/>
                <a:gd name="T43" fmla="*/ 539 h 1253"/>
                <a:gd name="T44" fmla="*/ 1505 w 1809"/>
                <a:gd name="T45" fmla="*/ 1136 h 1253"/>
                <a:gd name="T46" fmla="*/ 1613 w 1809"/>
                <a:gd name="T47" fmla="*/ 1002 h 1253"/>
                <a:gd name="T48" fmla="*/ 1472 w 1809"/>
                <a:gd name="T49" fmla="*/ 1164 h 1253"/>
                <a:gd name="T50" fmla="*/ 1525 w 1809"/>
                <a:gd name="T51" fmla="*/ 1142 h 1253"/>
                <a:gd name="T52" fmla="*/ 1556 w 1809"/>
                <a:gd name="T53" fmla="*/ 1172 h 1253"/>
                <a:gd name="T54" fmla="*/ 1387 w 1809"/>
                <a:gd name="T55" fmla="*/ 910 h 1253"/>
                <a:gd name="T56" fmla="*/ 1261 w 1809"/>
                <a:gd name="T57" fmla="*/ 1157 h 1253"/>
                <a:gd name="T58" fmla="*/ 1413 w 1809"/>
                <a:gd name="T59" fmla="*/ 934 h 1253"/>
                <a:gd name="T60" fmla="*/ 1378 w 1809"/>
                <a:gd name="T61" fmla="*/ 1052 h 1253"/>
                <a:gd name="T62" fmla="*/ 488 w 1809"/>
                <a:gd name="T63" fmla="*/ 85 h 1253"/>
                <a:gd name="T64" fmla="*/ 509 w 1809"/>
                <a:gd name="T65" fmla="*/ 112 h 1253"/>
                <a:gd name="T66" fmla="*/ 548 w 1809"/>
                <a:gd name="T67" fmla="*/ 1187 h 1253"/>
                <a:gd name="T68" fmla="*/ 472 w 1809"/>
                <a:gd name="T69" fmla="*/ 1122 h 1253"/>
                <a:gd name="T70" fmla="*/ 558 w 1809"/>
                <a:gd name="T71" fmla="*/ 1157 h 1253"/>
                <a:gd name="T72" fmla="*/ 287 w 1809"/>
                <a:gd name="T73" fmla="*/ 654 h 1253"/>
                <a:gd name="T74" fmla="*/ 416 w 1809"/>
                <a:gd name="T75" fmla="*/ 684 h 1253"/>
                <a:gd name="T76" fmla="*/ 1106 w 1809"/>
                <a:gd name="T77" fmla="*/ 147 h 1253"/>
                <a:gd name="T78" fmla="*/ 1229 w 1809"/>
                <a:gd name="T79" fmla="*/ 258 h 1253"/>
                <a:gd name="T80" fmla="*/ 1106 w 1809"/>
                <a:gd name="T81" fmla="*/ 96 h 1253"/>
                <a:gd name="T82" fmla="*/ 1219 w 1809"/>
                <a:gd name="T83" fmla="*/ 1077 h 1253"/>
                <a:gd name="T84" fmla="*/ 1214 w 1809"/>
                <a:gd name="T85" fmla="*/ 1157 h 1253"/>
                <a:gd name="T86" fmla="*/ 1150 w 1809"/>
                <a:gd name="T87" fmla="*/ 1092 h 1253"/>
                <a:gd name="T88" fmla="*/ 1139 w 1809"/>
                <a:gd name="T89" fmla="*/ 1070 h 1253"/>
                <a:gd name="T90" fmla="*/ 1659 w 1809"/>
                <a:gd name="T91" fmla="*/ 1031 h 1253"/>
                <a:gd name="T92" fmla="*/ 1714 w 1809"/>
                <a:gd name="T93" fmla="*/ 1155 h 1253"/>
                <a:gd name="T94" fmla="*/ 1760 w 1809"/>
                <a:gd name="T95" fmla="*/ 1030 h 1253"/>
                <a:gd name="T96" fmla="*/ 111 w 1809"/>
                <a:gd name="T97" fmla="*/ 569 h 1253"/>
                <a:gd name="T98" fmla="*/ 109 w 1809"/>
                <a:gd name="T99" fmla="*/ 460 h 1253"/>
                <a:gd name="T100" fmla="*/ 32 w 1809"/>
                <a:gd name="T101" fmla="*/ 704 h 1253"/>
                <a:gd name="T102" fmla="*/ 310 w 1809"/>
                <a:gd name="T103" fmla="*/ 1058 h 1253"/>
                <a:gd name="T104" fmla="*/ 431 w 1809"/>
                <a:gd name="T105" fmla="*/ 1044 h 1253"/>
                <a:gd name="T106" fmla="*/ 278 w 1809"/>
                <a:gd name="T107" fmla="*/ 1165 h 1253"/>
                <a:gd name="T108" fmla="*/ 261 w 1809"/>
                <a:gd name="T109" fmla="*/ 540 h 1253"/>
                <a:gd name="T110" fmla="*/ 150 w 1809"/>
                <a:gd name="T111" fmla="*/ 635 h 1253"/>
                <a:gd name="T112" fmla="*/ 994 w 1809"/>
                <a:gd name="T113" fmla="*/ 1185 h 1253"/>
                <a:gd name="T114" fmla="*/ 331 w 1809"/>
                <a:gd name="T115" fmla="*/ 176 h 1253"/>
                <a:gd name="T116" fmla="*/ 333 w 1809"/>
                <a:gd name="T117" fmla="*/ 109 h 1253"/>
                <a:gd name="T118" fmla="*/ 946 w 1809"/>
                <a:gd name="T119" fmla="*/ 234 h 1253"/>
                <a:gd name="T120" fmla="*/ 1022 w 1809"/>
                <a:gd name="T121" fmla="*/ 113 h 1253"/>
                <a:gd name="T122" fmla="*/ 949 w 1809"/>
                <a:gd name="T123" fmla="*/ 65 h 1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09" h="1253">
                  <a:moveTo>
                    <a:pt x="248" y="198"/>
                  </a:moveTo>
                  <a:cubicBezTo>
                    <a:pt x="248" y="211"/>
                    <a:pt x="248" y="224"/>
                    <a:pt x="249" y="237"/>
                  </a:cubicBezTo>
                  <a:cubicBezTo>
                    <a:pt x="249" y="245"/>
                    <a:pt x="246" y="249"/>
                    <a:pt x="240" y="253"/>
                  </a:cubicBezTo>
                  <a:cubicBezTo>
                    <a:pt x="231" y="260"/>
                    <a:pt x="220" y="264"/>
                    <a:pt x="209" y="268"/>
                  </a:cubicBezTo>
                  <a:cubicBezTo>
                    <a:pt x="179" y="279"/>
                    <a:pt x="148" y="280"/>
                    <a:pt x="118" y="275"/>
                  </a:cubicBezTo>
                  <a:cubicBezTo>
                    <a:pt x="86" y="269"/>
                    <a:pt x="58" y="252"/>
                    <a:pt x="39" y="224"/>
                  </a:cubicBezTo>
                  <a:cubicBezTo>
                    <a:pt x="24" y="203"/>
                    <a:pt x="18" y="180"/>
                    <a:pt x="15" y="155"/>
                  </a:cubicBezTo>
                  <a:cubicBezTo>
                    <a:pt x="11" y="135"/>
                    <a:pt x="15" y="115"/>
                    <a:pt x="19" y="97"/>
                  </a:cubicBezTo>
                  <a:cubicBezTo>
                    <a:pt x="26" y="68"/>
                    <a:pt x="42" y="44"/>
                    <a:pt x="68" y="27"/>
                  </a:cubicBezTo>
                  <a:cubicBezTo>
                    <a:pt x="87" y="14"/>
                    <a:pt x="109" y="6"/>
                    <a:pt x="133" y="5"/>
                  </a:cubicBezTo>
                  <a:cubicBezTo>
                    <a:pt x="149" y="4"/>
                    <a:pt x="165" y="5"/>
                    <a:pt x="181" y="6"/>
                  </a:cubicBezTo>
                  <a:cubicBezTo>
                    <a:pt x="204" y="8"/>
                    <a:pt x="225" y="20"/>
                    <a:pt x="243" y="35"/>
                  </a:cubicBezTo>
                  <a:cubicBezTo>
                    <a:pt x="246" y="37"/>
                    <a:pt x="246" y="40"/>
                    <a:pt x="244" y="43"/>
                  </a:cubicBezTo>
                  <a:cubicBezTo>
                    <a:pt x="242" y="47"/>
                    <a:pt x="239" y="52"/>
                    <a:pt x="236" y="55"/>
                  </a:cubicBezTo>
                  <a:cubicBezTo>
                    <a:pt x="226" y="65"/>
                    <a:pt x="224" y="65"/>
                    <a:pt x="206" y="54"/>
                  </a:cubicBezTo>
                  <a:cubicBezTo>
                    <a:pt x="193" y="46"/>
                    <a:pt x="180" y="40"/>
                    <a:pt x="165" y="41"/>
                  </a:cubicBezTo>
                  <a:cubicBezTo>
                    <a:pt x="151" y="41"/>
                    <a:pt x="137" y="39"/>
                    <a:pt x="124" y="42"/>
                  </a:cubicBezTo>
                  <a:cubicBezTo>
                    <a:pt x="104" y="46"/>
                    <a:pt x="87" y="57"/>
                    <a:pt x="75" y="74"/>
                  </a:cubicBezTo>
                  <a:cubicBezTo>
                    <a:pt x="56" y="99"/>
                    <a:pt x="51" y="129"/>
                    <a:pt x="55" y="159"/>
                  </a:cubicBezTo>
                  <a:cubicBezTo>
                    <a:pt x="60" y="189"/>
                    <a:pt x="73" y="214"/>
                    <a:pt x="98" y="230"/>
                  </a:cubicBezTo>
                  <a:cubicBezTo>
                    <a:pt x="109" y="237"/>
                    <a:pt x="121" y="242"/>
                    <a:pt x="135" y="241"/>
                  </a:cubicBezTo>
                  <a:cubicBezTo>
                    <a:pt x="146" y="241"/>
                    <a:pt x="158" y="241"/>
                    <a:pt x="169" y="241"/>
                  </a:cubicBezTo>
                  <a:cubicBezTo>
                    <a:pt x="182" y="242"/>
                    <a:pt x="193" y="235"/>
                    <a:pt x="205" y="232"/>
                  </a:cubicBezTo>
                  <a:cubicBezTo>
                    <a:pt x="210" y="231"/>
                    <a:pt x="211" y="227"/>
                    <a:pt x="211" y="224"/>
                  </a:cubicBezTo>
                  <a:cubicBezTo>
                    <a:pt x="211" y="210"/>
                    <a:pt x="211" y="196"/>
                    <a:pt x="211" y="183"/>
                  </a:cubicBezTo>
                  <a:cubicBezTo>
                    <a:pt x="211" y="177"/>
                    <a:pt x="207" y="175"/>
                    <a:pt x="202" y="175"/>
                  </a:cubicBezTo>
                  <a:cubicBezTo>
                    <a:pt x="193" y="175"/>
                    <a:pt x="184" y="175"/>
                    <a:pt x="175" y="175"/>
                  </a:cubicBezTo>
                  <a:cubicBezTo>
                    <a:pt x="171" y="175"/>
                    <a:pt x="168" y="174"/>
                    <a:pt x="166" y="171"/>
                  </a:cubicBezTo>
                  <a:cubicBezTo>
                    <a:pt x="163" y="163"/>
                    <a:pt x="164" y="154"/>
                    <a:pt x="166" y="146"/>
                  </a:cubicBezTo>
                  <a:cubicBezTo>
                    <a:pt x="167" y="142"/>
                    <a:pt x="171" y="142"/>
                    <a:pt x="175" y="142"/>
                  </a:cubicBezTo>
                  <a:cubicBezTo>
                    <a:pt x="196" y="142"/>
                    <a:pt x="217" y="142"/>
                    <a:pt x="238" y="142"/>
                  </a:cubicBezTo>
                  <a:cubicBezTo>
                    <a:pt x="247" y="142"/>
                    <a:pt x="248" y="148"/>
                    <a:pt x="248" y="155"/>
                  </a:cubicBezTo>
                  <a:cubicBezTo>
                    <a:pt x="249" y="169"/>
                    <a:pt x="248" y="183"/>
                    <a:pt x="248" y="198"/>
                  </a:cubicBezTo>
                  <a:close/>
                  <a:moveTo>
                    <a:pt x="884" y="1181"/>
                  </a:moveTo>
                  <a:cubicBezTo>
                    <a:pt x="889" y="1167"/>
                    <a:pt x="894" y="1152"/>
                    <a:pt x="898" y="1137"/>
                  </a:cubicBezTo>
                  <a:cubicBezTo>
                    <a:pt x="901" y="1127"/>
                    <a:pt x="905" y="1116"/>
                    <a:pt x="908" y="1106"/>
                  </a:cubicBezTo>
                  <a:cubicBezTo>
                    <a:pt x="911" y="1098"/>
                    <a:pt x="912" y="1089"/>
                    <a:pt x="916" y="1081"/>
                  </a:cubicBezTo>
                  <a:cubicBezTo>
                    <a:pt x="921" y="1072"/>
                    <a:pt x="923" y="1060"/>
                    <a:pt x="927" y="1050"/>
                  </a:cubicBezTo>
                  <a:cubicBezTo>
                    <a:pt x="932" y="1037"/>
                    <a:pt x="934" y="1023"/>
                    <a:pt x="940" y="1010"/>
                  </a:cubicBezTo>
                  <a:cubicBezTo>
                    <a:pt x="945" y="1001"/>
                    <a:pt x="941" y="995"/>
                    <a:pt x="931" y="995"/>
                  </a:cubicBezTo>
                  <a:cubicBezTo>
                    <a:pt x="927" y="995"/>
                    <a:pt x="922" y="995"/>
                    <a:pt x="918" y="995"/>
                  </a:cubicBezTo>
                  <a:cubicBezTo>
                    <a:pt x="913" y="995"/>
                    <a:pt x="908" y="997"/>
                    <a:pt x="907" y="1001"/>
                  </a:cubicBezTo>
                  <a:cubicBezTo>
                    <a:pt x="904" y="1008"/>
                    <a:pt x="900" y="1015"/>
                    <a:pt x="899" y="1023"/>
                  </a:cubicBezTo>
                  <a:cubicBezTo>
                    <a:pt x="897" y="1034"/>
                    <a:pt x="893" y="1045"/>
                    <a:pt x="889" y="1055"/>
                  </a:cubicBezTo>
                  <a:cubicBezTo>
                    <a:pt x="887" y="1064"/>
                    <a:pt x="885" y="1072"/>
                    <a:pt x="882" y="1080"/>
                  </a:cubicBezTo>
                  <a:cubicBezTo>
                    <a:pt x="878" y="1091"/>
                    <a:pt x="874" y="1103"/>
                    <a:pt x="871" y="1115"/>
                  </a:cubicBezTo>
                  <a:cubicBezTo>
                    <a:pt x="870" y="1118"/>
                    <a:pt x="871" y="1124"/>
                    <a:pt x="866" y="1124"/>
                  </a:cubicBezTo>
                  <a:cubicBezTo>
                    <a:pt x="861" y="1125"/>
                    <a:pt x="859" y="1120"/>
                    <a:pt x="858" y="1115"/>
                  </a:cubicBezTo>
                  <a:cubicBezTo>
                    <a:pt x="856" y="1110"/>
                    <a:pt x="856" y="1104"/>
                    <a:pt x="854" y="1099"/>
                  </a:cubicBezTo>
                  <a:cubicBezTo>
                    <a:pt x="848" y="1080"/>
                    <a:pt x="841" y="1062"/>
                    <a:pt x="835" y="1044"/>
                  </a:cubicBezTo>
                  <a:cubicBezTo>
                    <a:pt x="831" y="1030"/>
                    <a:pt x="828" y="1016"/>
                    <a:pt x="822" y="1003"/>
                  </a:cubicBezTo>
                  <a:cubicBezTo>
                    <a:pt x="819" y="997"/>
                    <a:pt x="814" y="994"/>
                    <a:pt x="808" y="994"/>
                  </a:cubicBezTo>
                  <a:cubicBezTo>
                    <a:pt x="799" y="993"/>
                    <a:pt x="791" y="993"/>
                    <a:pt x="787" y="1001"/>
                  </a:cubicBezTo>
                  <a:cubicBezTo>
                    <a:pt x="783" y="1008"/>
                    <a:pt x="780" y="1015"/>
                    <a:pt x="779" y="1022"/>
                  </a:cubicBezTo>
                  <a:cubicBezTo>
                    <a:pt x="778" y="1034"/>
                    <a:pt x="772" y="1044"/>
                    <a:pt x="769" y="1055"/>
                  </a:cubicBezTo>
                  <a:cubicBezTo>
                    <a:pt x="762" y="1076"/>
                    <a:pt x="754" y="1096"/>
                    <a:pt x="749" y="1117"/>
                  </a:cubicBezTo>
                  <a:cubicBezTo>
                    <a:pt x="748" y="1120"/>
                    <a:pt x="747" y="1124"/>
                    <a:pt x="742" y="1124"/>
                  </a:cubicBezTo>
                  <a:cubicBezTo>
                    <a:pt x="737" y="1124"/>
                    <a:pt x="737" y="1120"/>
                    <a:pt x="736" y="1116"/>
                  </a:cubicBezTo>
                  <a:cubicBezTo>
                    <a:pt x="734" y="1104"/>
                    <a:pt x="730" y="1092"/>
                    <a:pt x="726" y="1080"/>
                  </a:cubicBezTo>
                  <a:cubicBezTo>
                    <a:pt x="720" y="1061"/>
                    <a:pt x="714" y="1040"/>
                    <a:pt x="708" y="1020"/>
                  </a:cubicBezTo>
                  <a:cubicBezTo>
                    <a:pt x="703" y="1000"/>
                    <a:pt x="698" y="994"/>
                    <a:pt x="676" y="995"/>
                  </a:cubicBezTo>
                  <a:cubicBezTo>
                    <a:pt x="665" y="996"/>
                    <a:pt x="661" y="1001"/>
                    <a:pt x="667" y="1011"/>
                  </a:cubicBezTo>
                  <a:cubicBezTo>
                    <a:pt x="669" y="1016"/>
                    <a:pt x="670" y="1021"/>
                    <a:pt x="672" y="1025"/>
                  </a:cubicBezTo>
                  <a:cubicBezTo>
                    <a:pt x="675" y="1035"/>
                    <a:pt x="678" y="1046"/>
                    <a:pt x="681" y="1055"/>
                  </a:cubicBezTo>
                  <a:cubicBezTo>
                    <a:pt x="685" y="1068"/>
                    <a:pt x="689" y="1080"/>
                    <a:pt x="693" y="1092"/>
                  </a:cubicBezTo>
                  <a:cubicBezTo>
                    <a:pt x="697" y="1103"/>
                    <a:pt x="699" y="1113"/>
                    <a:pt x="703" y="1124"/>
                  </a:cubicBezTo>
                  <a:cubicBezTo>
                    <a:pt x="707" y="1136"/>
                    <a:pt x="711" y="1147"/>
                    <a:pt x="715" y="1160"/>
                  </a:cubicBezTo>
                  <a:cubicBezTo>
                    <a:pt x="717" y="1168"/>
                    <a:pt x="720" y="1176"/>
                    <a:pt x="724" y="1183"/>
                  </a:cubicBezTo>
                  <a:cubicBezTo>
                    <a:pt x="728" y="1189"/>
                    <a:pt x="752" y="1185"/>
                    <a:pt x="757" y="1180"/>
                  </a:cubicBezTo>
                  <a:cubicBezTo>
                    <a:pt x="764" y="1173"/>
                    <a:pt x="762" y="1163"/>
                    <a:pt x="766" y="1156"/>
                  </a:cubicBezTo>
                  <a:cubicBezTo>
                    <a:pt x="774" y="1140"/>
                    <a:pt x="778" y="1122"/>
                    <a:pt x="784" y="1105"/>
                  </a:cubicBezTo>
                  <a:cubicBezTo>
                    <a:pt x="789" y="1088"/>
                    <a:pt x="796" y="1072"/>
                    <a:pt x="800" y="1054"/>
                  </a:cubicBezTo>
                  <a:cubicBezTo>
                    <a:pt x="800" y="1053"/>
                    <a:pt x="801" y="1050"/>
                    <a:pt x="803" y="1050"/>
                  </a:cubicBezTo>
                  <a:cubicBezTo>
                    <a:pt x="806" y="1050"/>
                    <a:pt x="806" y="1052"/>
                    <a:pt x="807" y="1055"/>
                  </a:cubicBezTo>
                  <a:cubicBezTo>
                    <a:pt x="807" y="1060"/>
                    <a:pt x="810" y="1066"/>
                    <a:pt x="811" y="1071"/>
                  </a:cubicBezTo>
                  <a:cubicBezTo>
                    <a:pt x="814" y="1081"/>
                    <a:pt x="818" y="1090"/>
                    <a:pt x="821" y="1099"/>
                  </a:cubicBezTo>
                  <a:cubicBezTo>
                    <a:pt x="824" y="1110"/>
                    <a:pt x="827" y="1120"/>
                    <a:pt x="831" y="1131"/>
                  </a:cubicBezTo>
                  <a:cubicBezTo>
                    <a:pt x="834" y="1142"/>
                    <a:pt x="839" y="1153"/>
                    <a:pt x="842" y="1164"/>
                  </a:cubicBezTo>
                  <a:cubicBezTo>
                    <a:pt x="846" y="1179"/>
                    <a:pt x="850" y="1188"/>
                    <a:pt x="869" y="1185"/>
                  </a:cubicBezTo>
                  <a:cubicBezTo>
                    <a:pt x="873" y="1184"/>
                    <a:pt x="881" y="1189"/>
                    <a:pt x="884" y="1181"/>
                  </a:cubicBezTo>
                  <a:close/>
                  <a:moveTo>
                    <a:pt x="33" y="1051"/>
                  </a:moveTo>
                  <a:cubicBezTo>
                    <a:pt x="33" y="1087"/>
                    <a:pt x="33" y="1124"/>
                    <a:pt x="33" y="1160"/>
                  </a:cubicBezTo>
                  <a:cubicBezTo>
                    <a:pt x="33" y="1188"/>
                    <a:pt x="29" y="1184"/>
                    <a:pt x="58" y="1185"/>
                  </a:cubicBezTo>
                  <a:cubicBezTo>
                    <a:pt x="72" y="1185"/>
                    <a:pt x="73" y="1184"/>
                    <a:pt x="73" y="1170"/>
                  </a:cubicBezTo>
                  <a:cubicBezTo>
                    <a:pt x="73" y="1138"/>
                    <a:pt x="73" y="1107"/>
                    <a:pt x="73" y="1076"/>
                  </a:cubicBezTo>
                  <a:cubicBezTo>
                    <a:pt x="73" y="1071"/>
                    <a:pt x="72" y="1067"/>
                    <a:pt x="78" y="1065"/>
                  </a:cubicBezTo>
                  <a:cubicBezTo>
                    <a:pt x="91" y="1062"/>
                    <a:pt x="102" y="1067"/>
                    <a:pt x="110" y="1076"/>
                  </a:cubicBezTo>
                  <a:cubicBezTo>
                    <a:pt x="112" y="1080"/>
                    <a:pt x="115" y="1083"/>
                    <a:pt x="118" y="1086"/>
                  </a:cubicBezTo>
                  <a:cubicBezTo>
                    <a:pt x="132" y="1103"/>
                    <a:pt x="146" y="1119"/>
                    <a:pt x="161" y="1136"/>
                  </a:cubicBezTo>
                  <a:cubicBezTo>
                    <a:pt x="173" y="1150"/>
                    <a:pt x="186" y="1165"/>
                    <a:pt x="198" y="1179"/>
                  </a:cubicBezTo>
                  <a:cubicBezTo>
                    <a:pt x="207" y="1188"/>
                    <a:pt x="218" y="1184"/>
                    <a:pt x="228" y="1185"/>
                  </a:cubicBezTo>
                  <a:cubicBezTo>
                    <a:pt x="233" y="1185"/>
                    <a:pt x="241" y="1188"/>
                    <a:pt x="244" y="1182"/>
                  </a:cubicBezTo>
                  <a:cubicBezTo>
                    <a:pt x="246" y="1178"/>
                    <a:pt x="239" y="1173"/>
                    <a:pt x="235" y="1169"/>
                  </a:cubicBezTo>
                  <a:cubicBezTo>
                    <a:pt x="206" y="1133"/>
                    <a:pt x="176" y="1098"/>
                    <a:pt x="146" y="1062"/>
                  </a:cubicBezTo>
                  <a:cubicBezTo>
                    <a:pt x="141" y="1056"/>
                    <a:pt x="131" y="1052"/>
                    <a:pt x="132" y="1044"/>
                  </a:cubicBezTo>
                  <a:cubicBezTo>
                    <a:pt x="132" y="1036"/>
                    <a:pt x="142" y="1032"/>
                    <a:pt x="147" y="1026"/>
                  </a:cubicBezTo>
                  <a:cubicBezTo>
                    <a:pt x="164" y="1006"/>
                    <a:pt x="182" y="988"/>
                    <a:pt x="198" y="968"/>
                  </a:cubicBezTo>
                  <a:cubicBezTo>
                    <a:pt x="209" y="954"/>
                    <a:pt x="221" y="942"/>
                    <a:pt x="234" y="929"/>
                  </a:cubicBezTo>
                  <a:cubicBezTo>
                    <a:pt x="236" y="926"/>
                    <a:pt x="238" y="923"/>
                    <a:pt x="237" y="920"/>
                  </a:cubicBezTo>
                  <a:cubicBezTo>
                    <a:pt x="235" y="915"/>
                    <a:pt x="231" y="917"/>
                    <a:pt x="228" y="917"/>
                  </a:cubicBezTo>
                  <a:cubicBezTo>
                    <a:pt x="224" y="918"/>
                    <a:pt x="221" y="918"/>
                    <a:pt x="217" y="918"/>
                  </a:cubicBezTo>
                  <a:cubicBezTo>
                    <a:pt x="204" y="917"/>
                    <a:pt x="193" y="922"/>
                    <a:pt x="185" y="931"/>
                  </a:cubicBezTo>
                  <a:cubicBezTo>
                    <a:pt x="172" y="946"/>
                    <a:pt x="158" y="961"/>
                    <a:pt x="145" y="977"/>
                  </a:cubicBezTo>
                  <a:cubicBezTo>
                    <a:pt x="131" y="993"/>
                    <a:pt x="117" y="1010"/>
                    <a:pt x="102" y="1026"/>
                  </a:cubicBezTo>
                  <a:cubicBezTo>
                    <a:pt x="96" y="1032"/>
                    <a:pt x="87" y="1037"/>
                    <a:pt x="78" y="1034"/>
                  </a:cubicBezTo>
                  <a:cubicBezTo>
                    <a:pt x="70" y="1030"/>
                    <a:pt x="73" y="1021"/>
                    <a:pt x="73" y="1015"/>
                  </a:cubicBezTo>
                  <a:cubicBezTo>
                    <a:pt x="73" y="991"/>
                    <a:pt x="73" y="967"/>
                    <a:pt x="73" y="944"/>
                  </a:cubicBezTo>
                  <a:cubicBezTo>
                    <a:pt x="73" y="916"/>
                    <a:pt x="75" y="917"/>
                    <a:pt x="46" y="918"/>
                  </a:cubicBezTo>
                  <a:cubicBezTo>
                    <a:pt x="33" y="918"/>
                    <a:pt x="33" y="918"/>
                    <a:pt x="33" y="931"/>
                  </a:cubicBezTo>
                  <a:cubicBezTo>
                    <a:pt x="33" y="971"/>
                    <a:pt x="33" y="1011"/>
                    <a:pt x="33" y="1051"/>
                  </a:cubicBezTo>
                  <a:cubicBezTo>
                    <a:pt x="33" y="1051"/>
                    <a:pt x="33" y="1051"/>
                    <a:pt x="33" y="1051"/>
                  </a:cubicBezTo>
                  <a:close/>
                  <a:moveTo>
                    <a:pt x="639" y="84"/>
                  </a:moveTo>
                  <a:cubicBezTo>
                    <a:pt x="627" y="84"/>
                    <a:pt x="626" y="84"/>
                    <a:pt x="629" y="95"/>
                  </a:cubicBezTo>
                  <a:cubicBezTo>
                    <a:pt x="634" y="113"/>
                    <a:pt x="640" y="131"/>
                    <a:pt x="646" y="148"/>
                  </a:cubicBezTo>
                  <a:cubicBezTo>
                    <a:pt x="652" y="166"/>
                    <a:pt x="658" y="185"/>
                    <a:pt x="664" y="203"/>
                  </a:cubicBezTo>
                  <a:cubicBezTo>
                    <a:pt x="671" y="223"/>
                    <a:pt x="676" y="244"/>
                    <a:pt x="684" y="264"/>
                  </a:cubicBezTo>
                  <a:cubicBezTo>
                    <a:pt x="688" y="274"/>
                    <a:pt x="694" y="274"/>
                    <a:pt x="702" y="274"/>
                  </a:cubicBezTo>
                  <a:cubicBezTo>
                    <a:pt x="711" y="274"/>
                    <a:pt x="719" y="272"/>
                    <a:pt x="723" y="263"/>
                  </a:cubicBezTo>
                  <a:cubicBezTo>
                    <a:pt x="733" y="236"/>
                    <a:pt x="741" y="208"/>
                    <a:pt x="750" y="181"/>
                  </a:cubicBezTo>
                  <a:cubicBezTo>
                    <a:pt x="754" y="169"/>
                    <a:pt x="757" y="156"/>
                    <a:pt x="763" y="145"/>
                  </a:cubicBezTo>
                  <a:cubicBezTo>
                    <a:pt x="764" y="143"/>
                    <a:pt x="764" y="140"/>
                    <a:pt x="767" y="140"/>
                  </a:cubicBezTo>
                  <a:cubicBezTo>
                    <a:pt x="770" y="140"/>
                    <a:pt x="770" y="143"/>
                    <a:pt x="771" y="145"/>
                  </a:cubicBezTo>
                  <a:cubicBezTo>
                    <a:pt x="771" y="156"/>
                    <a:pt x="777" y="165"/>
                    <a:pt x="780" y="175"/>
                  </a:cubicBezTo>
                  <a:cubicBezTo>
                    <a:pt x="782" y="184"/>
                    <a:pt x="785" y="193"/>
                    <a:pt x="788" y="201"/>
                  </a:cubicBezTo>
                  <a:cubicBezTo>
                    <a:pt x="794" y="219"/>
                    <a:pt x="801" y="237"/>
                    <a:pt x="806" y="255"/>
                  </a:cubicBezTo>
                  <a:cubicBezTo>
                    <a:pt x="811" y="272"/>
                    <a:pt x="825" y="280"/>
                    <a:pt x="842" y="273"/>
                  </a:cubicBezTo>
                  <a:cubicBezTo>
                    <a:pt x="845" y="271"/>
                    <a:pt x="847" y="269"/>
                    <a:pt x="848" y="266"/>
                  </a:cubicBezTo>
                  <a:cubicBezTo>
                    <a:pt x="853" y="251"/>
                    <a:pt x="859" y="236"/>
                    <a:pt x="863" y="221"/>
                  </a:cubicBezTo>
                  <a:cubicBezTo>
                    <a:pt x="867" y="202"/>
                    <a:pt x="875" y="185"/>
                    <a:pt x="880" y="166"/>
                  </a:cubicBezTo>
                  <a:cubicBezTo>
                    <a:pt x="886" y="144"/>
                    <a:pt x="895" y="123"/>
                    <a:pt x="900" y="101"/>
                  </a:cubicBezTo>
                  <a:cubicBezTo>
                    <a:pt x="901" y="96"/>
                    <a:pt x="909" y="91"/>
                    <a:pt x="904" y="86"/>
                  </a:cubicBezTo>
                  <a:cubicBezTo>
                    <a:pt x="900" y="81"/>
                    <a:pt x="892" y="84"/>
                    <a:pt x="886" y="84"/>
                  </a:cubicBezTo>
                  <a:cubicBezTo>
                    <a:pt x="885" y="84"/>
                    <a:pt x="883" y="84"/>
                    <a:pt x="881" y="84"/>
                  </a:cubicBezTo>
                  <a:cubicBezTo>
                    <a:pt x="875" y="84"/>
                    <a:pt x="872" y="86"/>
                    <a:pt x="869" y="91"/>
                  </a:cubicBezTo>
                  <a:cubicBezTo>
                    <a:pt x="860" y="110"/>
                    <a:pt x="856" y="131"/>
                    <a:pt x="850" y="151"/>
                  </a:cubicBezTo>
                  <a:cubicBezTo>
                    <a:pt x="844" y="170"/>
                    <a:pt x="836" y="188"/>
                    <a:pt x="834" y="208"/>
                  </a:cubicBezTo>
                  <a:cubicBezTo>
                    <a:pt x="833" y="211"/>
                    <a:pt x="831" y="214"/>
                    <a:pt x="827" y="214"/>
                  </a:cubicBezTo>
                  <a:cubicBezTo>
                    <a:pt x="823" y="214"/>
                    <a:pt x="822" y="210"/>
                    <a:pt x="822" y="207"/>
                  </a:cubicBezTo>
                  <a:cubicBezTo>
                    <a:pt x="817" y="188"/>
                    <a:pt x="811" y="170"/>
                    <a:pt x="805" y="152"/>
                  </a:cubicBezTo>
                  <a:cubicBezTo>
                    <a:pt x="799" y="133"/>
                    <a:pt x="794" y="114"/>
                    <a:pt x="786" y="96"/>
                  </a:cubicBezTo>
                  <a:cubicBezTo>
                    <a:pt x="783" y="87"/>
                    <a:pt x="779" y="84"/>
                    <a:pt x="770" y="84"/>
                  </a:cubicBezTo>
                  <a:cubicBezTo>
                    <a:pt x="761" y="84"/>
                    <a:pt x="752" y="82"/>
                    <a:pt x="748" y="94"/>
                  </a:cubicBezTo>
                  <a:cubicBezTo>
                    <a:pt x="744" y="109"/>
                    <a:pt x="738" y="123"/>
                    <a:pt x="734" y="138"/>
                  </a:cubicBezTo>
                  <a:cubicBezTo>
                    <a:pt x="729" y="153"/>
                    <a:pt x="724" y="167"/>
                    <a:pt x="719" y="182"/>
                  </a:cubicBezTo>
                  <a:cubicBezTo>
                    <a:pt x="716" y="192"/>
                    <a:pt x="715" y="203"/>
                    <a:pt x="708" y="212"/>
                  </a:cubicBezTo>
                  <a:cubicBezTo>
                    <a:pt x="707" y="214"/>
                    <a:pt x="707" y="217"/>
                    <a:pt x="704" y="217"/>
                  </a:cubicBezTo>
                  <a:cubicBezTo>
                    <a:pt x="701" y="217"/>
                    <a:pt x="701" y="213"/>
                    <a:pt x="700" y="211"/>
                  </a:cubicBezTo>
                  <a:cubicBezTo>
                    <a:pt x="699" y="198"/>
                    <a:pt x="694" y="186"/>
                    <a:pt x="690" y="174"/>
                  </a:cubicBezTo>
                  <a:cubicBezTo>
                    <a:pt x="684" y="153"/>
                    <a:pt x="677" y="131"/>
                    <a:pt x="672" y="110"/>
                  </a:cubicBezTo>
                  <a:cubicBezTo>
                    <a:pt x="667" y="88"/>
                    <a:pt x="663" y="84"/>
                    <a:pt x="645" y="84"/>
                  </a:cubicBezTo>
                  <a:cubicBezTo>
                    <a:pt x="643" y="84"/>
                    <a:pt x="641" y="84"/>
                    <a:pt x="639" y="84"/>
                  </a:cubicBezTo>
                  <a:close/>
                  <a:moveTo>
                    <a:pt x="507" y="711"/>
                  </a:moveTo>
                  <a:cubicBezTo>
                    <a:pt x="507" y="730"/>
                    <a:pt x="507" y="730"/>
                    <a:pt x="526" y="730"/>
                  </a:cubicBezTo>
                  <a:cubicBezTo>
                    <a:pt x="539" y="730"/>
                    <a:pt x="541" y="729"/>
                    <a:pt x="541" y="715"/>
                  </a:cubicBezTo>
                  <a:cubicBezTo>
                    <a:pt x="541" y="677"/>
                    <a:pt x="541" y="638"/>
                    <a:pt x="540" y="600"/>
                  </a:cubicBezTo>
                  <a:cubicBezTo>
                    <a:pt x="540" y="593"/>
                    <a:pt x="543" y="587"/>
                    <a:pt x="548" y="582"/>
                  </a:cubicBezTo>
                  <a:cubicBezTo>
                    <a:pt x="553" y="576"/>
                    <a:pt x="559" y="573"/>
                    <a:pt x="564" y="569"/>
                  </a:cubicBezTo>
                  <a:cubicBezTo>
                    <a:pt x="574" y="564"/>
                    <a:pt x="594" y="566"/>
                    <a:pt x="602" y="574"/>
                  </a:cubicBezTo>
                  <a:cubicBezTo>
                    <a:pt x="611" y="582"/>
                    <a:pt x="614" y="592"/>
                    <a:pt x="614" y="604"/>
                  </a:cubicBezTo>
                  <a:cubicBezTo>
                    <a:pt x="614" y="638"/>
                    <a:pt x="614" y="672"/>
                    <a:pt x="614" y="706"/>
                  </a:cubicBezTo>
                  <a:cubicBezTo>
                    <a:pt x="614" y="730"/>
                    <a:pt x="614" y="730"/>
                    <a:pt x="638" y="730"/>
                  </a:cubicBezTo>
                  <a:cubicBezTo>
                    <a:pt x="650" y="730"/>
                    <a:pt x="650" y="730"/>
                    <a:pt x="650" y="717"/>
                  </a:cubicBezTo>
                  <a:cubicBezTo>
                    <a:pt x="650" y="684"/>
                    <a:pt x="650" y="650"/>
                    <a:pt x="650" y="617"/>
                  </a:cubicBezTo>
                  <a:cubicBezTo>
                    <a:pt x="650" y="606"/>
                    <a:pt x="651" y="597"/>
                    <a:pt x="657" y="586"/>
                  </a:cubicBezTo>
                  <a:cubicBezTo>
                    <a:pt x="667" y="565"/>
                    <a:pt x="703" y="560"/>
                    <a:pt x="716" y="579"/>
                  </a:cubicBezTo>
                  <a:cubicBezTo>
                    <a:pt x="723" y="588"/>
                    <a:pt x="724" y="598"/>
                    <a:pt x="724" y="609"/>
                  </a:cubicBezTo>
                  <a:cubicBezTo>
                    <a:pt x="724" y="645"/>
                    <a:pt x="724" y="682"/>
                    <a:pt x="724" y="718"/>
                  </a:cubicBezTo>
                  <a:cubicBezTo>
                    <a:pt x="724" y="727"/>
                    <a:pt x="727" y="731"/>
                    <a:pt x="736" y="730"/>
                  </a:cubicBezTo>
                  <a:cubicBezTo>
                    <a:pt x="738" y="730"/>
                    <a:pt x="741" y="730"/>
                    <a:pt x="743" y="730"/>
                  </a:cubicBezTo>
                  <a:cubicBezTo>
                    <a:pt x="758" y="730"/>
                    <a:pt x="759" y="729"/>
                    <a:pt x="759" y="715"/>
                  </a:cubicBezTo>
                  <a:cubicBezTo>
                    <a:pt x="759" y="677"/>
                    <a:pt x="758" y="639"/>
                    <a:pt x="759" y="601"/>
                  </a:cubicBezTo>
                  <a:cubicBezTo>
                    <a:pt x="759" y="571"/>
                    <a:pt x="742" y="540"/>
                    <a:pt x="704" y="538"/>
                  </a:cubicBezTo>
                  <a:cubicBezTo>
                    <a:pt x="681" y="536"/>
                    <a:pt x="661" y="542"/>
                    <a:pt x="646" y="560"/>
                  </a:cubicBezTo>
                  <a:cubicBezTo>
                    <a:pt x="638" y="569"/>
                    <a:pt x="638" y="569"/>
                    <a:pt x="631" y="559"/>
                  </a:cubicBezTo>
                  <a:cubicBezTo>
                    <a:pt x="630" y="558"/>
                    <a:pt x="630" y="557"/>
                    <a:pt x="629" y="556"/>
                  </a:cubicBezTo>
                  <a:cubicBezTo>
                    <a:pt x="623" y="548"/>
                    <a:pt x="616" y="541"/>
                    <a:pt x="607" y="539"/>
                  </a:cubicBezTo>
                  <a:cubicBezTo>
                    <a:pt x="584" y="534"/>
                    <a:pt x="563" y="539"/>
                    <a:pt x="545" y="555"/>
                  </a:cubicBezTo>
                  <a:cubicBezTo>
                    <a:pt x="540" y="559"/>
                    <a:pt x="537" y="561"/>
                    <a:pt x="537" y="552"/>
                  </a:cubicBezTo>
                  <a:cubicBezTo>
                    <a:pt x="536" y="543"/>
                    <a:pt x="526" y="538"/>
                    <a:pt x="515" y="539"/>
                  </a:cubicBezTo>
                  <a:cubicBezTo>
                    <a:pt x="506" y="540"/>
                    <a:pt x="507" y="546"/>
                    <a:pt x="507" y="552"/>
                  </a:cubicBezTo>
                  <a:cubicBezTo>
                    <a:pt x="507" y="580"/>
                    <a:pt x="507" y="607"/>
                    <a:pt x="507" y="634"/>
                  </a:cubicBezTo>
                  <a:cubicBezTo>
                    <a:pt x="507" y="660"/>
                    <a:pt x="507" y="685"/>
                    <a:pt x="507" y="711"/>
                  </a:cubicBezTo>
                  <a:close/>
                  <a:moveTo>
                    <a:pt x="1525" y="1142"/>
                  </a:moveTo>
                  <a:cubicBezTo>
                    <a:pt x="1517" y="1143"/>
                    <a:pt x="1511" y="1141"/>
                    <a:pt x="1505" y="1136"/>
                  </a:cubicBezTo>
                  <a:cubicBezTo>
                    <a:pt x="1501" y="1133"/>
                    <a:pt x="1495" y="1130"/>
                    <a:pt x="1498" y="1124"/>
                  </a:cubicBezTo>
                  <a:cubicBezTo>
                    <a:pt x="1500" y="1118"/>
                    <a:pt x="1504" y="1114"/>
                    <a:pt x="1512" y="1114"/>
                  </a:cubicBezTo>
                  <a:cubicBezTo>
                    <a:pt x="1521" y="1115"/>
                    <a:pt x="1530" y="1114"/>
                    <a:pt x="1538" y="1115"/>
                  </a:cubicBezTo>
                  <a:cubicBezTo>
                    <a:pt x="1573" y="1117"/>
                    <a:pt x="1610" y="1084"/>
                    <a:pt x="1602" y="1044"/>
                  </a:cubicBezTo>
                  <a:cubicBezTo>
                    <a:pt x="1600" y="1035"/>
                    <a:pt x="1599" y="1028"/>
                    <a:pt x="1611" y="1027"/>
                  </a:cubicBezTo>
                  <a:cubicBezTo>
                    <a:pt x="1614" y="1027"/>
                    <a:pt x="1617" y="1024"/>
                    <a:pt x="1619" y="1023"/>
                  </a:cubicBezTo>
                  <a:cubicBezTo>
                    <a:pt x="1626" y="1019"/>
                    <a:pt x="1624" y="1013"/>
                    <a:pt x="1623" y="1008"/>
                  </a:cubicBezTo>
                  <a:cubicBezTo>
                    <a:pt x="1623" y="1002"/>
                    <a:pt x="1618" y="1003"/>
                    <a:pt x="1613" y="1002"/>
                  </a:cubicBezTo>
                  <a:cubicBezTo>
                    <a:pt x="1598" y="1002"/>
                    <a:pt x="1582" y="1004"/>
                    <a:pt x="1567" y="1000"/>
                  </a:cubicBezTo>
                  <a:cubicBezTo>
                    <a:pt x="1560" y="999"/>
                    <a:pt x="1554" y="993"/>
                    <a:pt x="1546" y="993"/>
                  </a:cubicBezTo>
                  <a:cubicBezTo>
                    <a:pt x="1536" y="994"/>
                    <a:pt x="1525" y="992"/>
                    <a:pt x="1515" y="993"/>
                  </a:cubicBezTo>
                  <a:cubicBezTo>
                    <a:pt x="1490" y="997"/>
                    <a:pt x="1469" y="1010"/>
                    <a:pt x="1462" y="1034"/>
                  </a:cubicBezTo>
                  <a:cubicBezTo>
                    <a:pt x="1455" y="1056"/>
                    <a:pt x="1457" y="1079"/>
                    <a:pt x="1476" y="1096"/>
                  </a:cubicBezTo>
                  <a:cubicBezTo>
                    <a:pt x="1483" y="1103"/>
                    <a:pt x="1483" y="1107"/>
                    <a:pt x="1476" y="1113"/>
                  </a:cubicBezTo>
                  <a:cubicBezTo>
                    <a:pt x="1462" y="1126"/>
                    <a:pt x="1462" y="1142"/>
                    <a:pt x="1473" y="1157"/>
                  </a:cubicBezTo>
                  <a:cubicBezTo>
                    <a:pt x="1476" y="1160"/>
                    <a:pt x="1476" y="1162"/>
                    <a:pt x="1472" y="1164"/>
                  </a:cubicBezTo>
                  <a:cubicBezTo>
                    <a:pt x="1470" y="1166"/>
                    <a:pt x="1468" y="1168"/>
                    <a:pt x="1466" y="1170"/>
                  </a:cubicBezTo>
                  <a:cubicBezTo>
                    <a:pt x="1449" y="1183"/>
                    <a:pt x="1444" y="1201"/>
                    <a:pt x="1454" y="1218"/>
                  </a:cubicBezTo>
                  <a:cubicBezTo>
                    <a:pt x="1464" y="1235"/>
                    <a:pt x="1479" y="1246"/>
                    <a:pt x="1499" y="1249"/>
                  </a:cubicBezTo>
                  <a:cubicBezTo>
                    <a:pt x="1517" y="1252"/>
                    <a:pt x="1535" y="1253"/>
                    <a:pt x="1553" y="1250"/>
                  </a:cubicBezTo>
                  <a:cubicBezTo>
                    <a:pt x="1584" y="1245"/>
                    <a:pt x="1607" y="1232"/>
                    <a:pt x="1619" y="1200"/>
                  </a:cubicBezTo>
                  <a:cubicBezTo>
                    <a:pt x="1627" y="1180"/>
                    <a:pt x="1611" y="1155"/>
                    <a:pt x="1593" y="1148"/>
                  </a:cubicBezTo>
                  <a:cubicBezTo>
                    <a:pt x="1578" y="1142"/>
                    <a:pt x="1563" y="1143"/>
                    <a:pt x="1549" y="1142"/>
                  </a:cubicBezTo>
                  <a:cubicBezTo>
                    <a:pt x="1540" y="1142"/>
                    <a:pt x="1532" y="1142"/>
                    <a:pt x="1525" y="1142"/>
                  </a:cubicBezTo>
                  <a:close/>
                  <a:moveTo>
                    <a:pt x="1556" y="1172"/>
                  </a:moveTo>
                  <a:cubicBezTo>
                    <a:pt x="1566" y="1172"/>
                    <a:pt x="1576" y="1176"/>
                    <a:pt x="1583" y="1183"/>
                  </a:cubicBezTo>
                  <a:cubicBezTo>
                    <a:pt x="1589" y="1190"/>
                    <a:pt x="1589" y="1198"/>
                    <a:pt x="1583" y="1205"/>
                  </a:cubicBezTo>
                  <a:cubicBezTo>
                    <a:pt x="1575" y="1215"/>
                    <a:pt x="1565" y="1220"/>
                    <a:pt x="1553" y="1223"/>
                  </a:cubicBezTo>
                  <a:cubicBezTo>
                    <a:pt x="1534" y="1228"/>
                    <a:pt x="1516" y="1225"/>
                    <a:pt x="1499" y="1219"/>
                  </a:cubicBezTo>
                  <a:cubicBezTo>
                    <a:pt x="1486" y="1214"/>
                    <a:pt x="1479" y="1203"/>
                    <a:pt x="1482" y="1193"/>
                  </a:cubicBezTo>
                  <a:cubicBezTo>
                    <a:pt x="1485" y="1182"/>
                    <a:pt x="1496" y="1168"/>
                    <a:pt x="1514" y="1171"/>
                  </a:cubicBezTo>
                  <a:cubicBezTo>
                    <a:pt x="1526" y="1173"/>
                    <a:pt x="1541" y="1171"/>
                    <a:pt x="1556" y="1172"/>
                  </a:cubicBezTo>
                  <a:close/>
                  <a:moveTo>
                    <a:pt x="1531" y="1019"/>
                  </a:moveTo>
                  <a:cubicBezTo>
                    <a:pt x="1553" y="1017"/>
                    <a:pt x="1570" y="1033"/>
                    <a:pt x="1570" y="1052"/>
                  </a:cubicBezTo>
                  <a:cubicBezTo>
                    <a:pt x="1570" y="1075"/>
                    <a:pt x="1554" y="1093"/>
                    <a:pt x="1532" y="1091"/>
                  </a:cubicBezTo>
                  <a:cubicBezTo>
                    <a:pt x="1508" y="1089"/>
                    <a:pt x="1494" y="1082"/>
                    <a:pt x="1493" y="1053"/>
                  </a:cubicBezTo>
                  <a:cubicBezTo>
                    <a:pt x="1494" y="1029"/>
                    <a:pt x="1508" y="1020"/>
                    <a:pt x="1531" y="1019"/>
                  </a:cubicBezTo>
                  <a:close/>
                  <a:moveTo>
                    <a:pt x="1413" y="934"/>
                  </a:moveTo>
                  <a:cubicBezTo>
                    <a:pt x="1413" y="909"/>
                    <a:pt x="1413" y="909"/>
                    <a:pt x="1389" y="910"/>
                  </a:cubicBezTo>
                  <a:cubicBezTo>
                    <a:pt x="1388" y="910"/>
                    <a:pt x="1387" y="910"/>
                    <a:pt x="1387" y="910"/>
                  </a:cubicBezTo>
                  <a:cubicBezTo>
                    <a:pt x="1379" y="910"/>
                    <a:pt x="1376" y="915"/>
                    <a:pt x="1376" y="921"/>
                  </a:cubicBezTo>
                  <a:cubicBezTo>
                    <a:pt x="1376" y="939"/>
                    <a:pt x="1377" y="956"/>
                    <a:pt x="1377" y="974"/>
                  </a:cubicBezTo>
                  <a:cubicBezTo>
                    <a:pt x="1377" y="983"/>
                    <a:pt x="1377" y="991"/>
                    <a:pt x="1377" y="1000"/>
                  </a:cubicBezTo>
                  <a:cubicBezTo>
                    <a:pt x="1377" y="1005"/>
                    <a:pt x="1374" y="1009"/>
                    <a:pt x="1369" y="1005"/>
                  </a:cubicBezTo>
                  <a:cubicBezTo>
                    <a:pt x="1352" y="990"/>
                    <a:pt x="1332" y="993"/>
                    <a:pt x="1312" y="993"/>
                  </a:cubicBezTo>
                  <a:cubicBezTo>
                    <a:pt x="1303" y="994"/>
                    <a:pt x="1294" y="998"/>
                    <a:pt x="1287" y="1003"/>
                  </a:cubicBezTo>
                  <a:cubicBezTo>
                    <a:pt x="1265" y="1017"/>
                    <a:pt x="1252" y="1039"/>
                    <a:pt x="1248" y="1065"/>
                  </a:cubicBezTo>
                  <a:cubicBezTo>
                    <a:pt x="1244" y="1096"/>
                    <a:pt x="1244" y="1128"/>
                    <a:pt x="1261" y="1157"/>
                  </a:cubicBezTo>
                  <a:cubicBezTo>
                    <a:pt x="1270" y="1170"/>
                    <a:pt x="1281" y="1181"/>
                    <a:pt x="1296" y="1185"/>
                  </a:cubicBezTo>
                  <a:cubicBezTo>
                    <a:pt x="1323" y="1191"/>
                    <a:pt x="1349" y="1188"/>
                    <a:pt x="1370" y="1167"/>
                  </a:cubicBezTo>
                  <a:cubicBezTo>
                    <a:pt x="1372" y="1165"/>
                    <a:pt x="1375" y="1162"/>
                    <a:pt x="1379" y="1163"/>
                  </a:cubicBezTo>
                  <a:cubicBezTo>
                    <a:pt x="1382" y="1165"/>
                    <a:pt x="1381" y="1169"/>
                    <a:pt x="1381" y="1172"/>
                  </a:cubicBezTo>
                  <a:cubicBezTo>
                    <a:pt x="1383" y="1181"/>
                    <a:pt x="1390" y="1186"/>
                    <a:pt x="1403" y="1186"/>
                  </a:cubicBezTo>
                  <a:cubicBezTo>
                    <a:pt x="1413" y="1185"/>
                    <a:pt x="1413" y="1178"/>
                    <a:pt x="1413" y="1172"/>
                  </a:cubicBezTo>
                  <a:cubicBezTo>
                    <a:pt x="1413" y="1131"/>
                    <a:pt x="1413" y="1090"/>
                    <a:pt x="1413" y="1049"/>
                  </a:cubicBezTo>
                  <a:cubicBezTo>
                    <a:pt x="1413" y="1010"/>
                    <a:pt x="1413" y="972"/>
                    <a:pt x="1413" y="934"/>
                  </a:cubicBezTo>
                  <a:close/>
                  <a:moveTo>
                    <a:pt x="1378" y="1113"/>
                  </a:moveTo>
                  <a:cubicBezTo>
                    <a:pt x="1378" y="1136"/>
                    <a:pt x="1360" y="1155"/>
                    <a:pt x="1337" y="1157"/>
                  </a:cubicBezTo>
                  <a:cubicBezTo>
                    <a:pt x="1319" y="1159"/>
                    <a:pt x="1304" y="1154"/>
                    <a:pt x="1294" y="1139"/>
                  </a:cubicBezTo>
                  <a:cubicBezTo>
                    <a:pt x="1286" y="1128"/>
                    <a:pt x="1283" y="1116"/>
                    <a:pt x="1283" y="1102"/>
                  </a:cubicBezTo>
                  <a:cubicBezTo>
                    <a:pt x="1282" y="1085"/>
                    <a:pt x="1282" y="1067"/>
                    <a:pt x="1290" y="1051"/>
                  </a:cubicBezTo>
                  <a:cubicBezTo>
                    <a:pt x="1297" y="1036"/>
                    <a:pt x="1308" y="1024"/>
                    <a:pt x="1325" y="1022"/>
                  </a:cubicBezTo>
                  <a:cubicBezTo>
                    <a:pt x="1342" y="1020"/>
                    <a:pt x="1358" y="1021"/>
                    <a:pt x="1371" y="1035"/>
                  </a:cubicBezTo>
                  <a:cubicBezTo>
                    <a:pt x="1376" y="1041"/>
                    <a:pt x="1378" y="1046"/>
                    <a:pt x="1378" y="1052"/>
                  </a:cubicBezTo>
                  <a:cubicBezTo>
                    <a:pt x="1378" y="1064"/>
                    <a:pt x="1378" y="1075"/>
                    <a:pt x="1378" y="1086"/>
                  </a:cubicBezTo>
                  <a:cubicBezTo>
                    <a:pt x="1378" y="1086"/>
                    <a:pt x="1378" y="1086"/>
                    <a:pt x="1378" y="1086"/>
                  </a:cubicBezTo>
                  <a:cubicBezTo>
                    <a:pt x="1378" y="1095"/>
                    <a:pt x="1378" y="1104"/>
                    <a:pt x="1378" y="1113"/>
                  </a:cubicBezTo>
                  <a:close/>
                  <a:moveTo>
                    <a:pt x="578" y="259"/>
                  </a:moveTo>
                  <a:cubicBezTo>
                    <a:pt x="603" y="241"/>
                    <a:pt x="611" y="213"/>
                    <a:pt x="614" y="183"/>
                  </a:cubicBezTo>
                  <a:cubicBezTo>
                    <a:pt x="615" y="171"/>
                    <a:pt x="610" y="159"/>
                    <a:pt x="609" y="147"/>
                  </a:cubicBezTo>
                  <a:cubicBezTo>
                    <a:pt x="608" y="137"/>
                    <a:pt x="603" y="129"/>
                    <a:pt x="599" y="121"/>
                  </a:cubicBezTo>
                  <a:cubicBezTo>
                    <a:pt x="579" y="87"/>
                    <a:pt x="527" y="70"/>
                    <a:pt x="488" y="85"/>
                  </a:cubicBezTo>
                  <a:cubicBezTo>
                    <a:pt x="453" y="99"/>
                    <a:pt x="436" y="127"/>
                    <a:pt x="431" y="163"/>
                  </a:cubicBezTo>
                  <a:cubicBezTo>
                    <a:pt x="429" y="180"/>
                    <a:pt x="430" y="196"/>
                    <a:pt x="436" y="213"/>
                  </a:cubicBezTo>
                  <a:cubicBezTo>
                    <a:pt x="439" y="222"/>
                    <a:pt x="442" y="232"/>
                    <a:pt x="447" y="239"/>
                  </a:cubicBezTo>
                  <a:cubicBezTo>
                    <a:pt x="465" y="265"/>
                    <a:pt x="491" y="277"/>
                    <a:pt x="525" y="276"/>
                  </a:cubicBezTo>
                  <a:cubicBezTo>
                    <a:pt x="543" y="278"/>
                    <a:pt x="562" y="271"/>
                    <a:pt x="578" y="259"/>
                  </a:cubicBezTo>
                  <a:close/>
                  <a:moveTo>
                    <a:pt x="471" y="205"/>
                  </a:moveTo>
                  <a:cubicBezTo>
                    <a:pt x="466" y="185"/>
                    <a:pt x="468" y="167"/>
                    <a:pt x="472" y="147"/>
                  </a:cubicBezTo>
                  <a:cubicBezTo>
                    <a:pt x="477" y="130"/>
                    <a:pt x="493" y="116"/>
                    <a:pt x="509" y="112"/>
                  </a:cubicBezTo>
                  <a:cubicBezTo>
                    <a:pt x="525" y="108"/>
                    <a:pt x="539" y="110"/>
                    <a:pt x="553" y="119"/>
                  </a:cubicBezTo>
                  <a:cubicBezTo>
                    <a:pt x="563" y="125"/>
                    <a:pt x="568" y="135"/>
                    <a:pt x="571" y="146"/>
                  </a:cubicBezTo>
                  <a:cubicBezTo>
                    <a:pt x="577" y="167"/>
                    <a:pt x="578" y="189"/>
                    <a:pt x="571" y="211"/>
                  </a:cubicBezTo>
                  <a:cubicBezTo>
                    <a:pt x="565" y="231"/>
                    <a:pt x="549" y="249"/>
                    <a:pt x="521" y="247"/>
                  </a:cubicBezTo>
                  <a:cubicBezTo>
                    <a:pt x="496" y="247"/>
                    <a:pt x="478" y="230"/>
                    <a:pt x="471" y="205"/>
                  </a:cubicBezTo>
                  <a:close/>
                  <a:moveTo>
                    <a:pt x="472" y="1122"/>
                  </a:moveTo>
                  <a:cubicBezTo>
                    <a:pt x="475" y="1136"/>
                    <a:pt x="481" y="1148"/>
                    <a:pt x="491" y="1158"/>
                  </a:cubicBezTo>
                  <a:cubicBezTo>
                    <a:pt x="506" y="1176"/>
                    <a:pt x="524" y="1185"/>
                    <a:pt x="548" y="1187"/>
                  </a:cubicBezTo>
                  <a:cubicBezTo>
                    <a:pt x="568" y="1188"/>
                    <a:pt x="587" y="1187"/>
                    <a:pt x="605" y="1177"/>
                  </a:cubicBezTo>
                  <a:cubicBezTo>
                    <a:pt x="632" y="1162"/>
                    <a:pt x="644" y="1136"/>
                    <a:pt x="649" y="1107"/>
                  </a:cubicBezTo>
                  <a:cubicBezTo>
                    <a:pt x="652" y="1089"/>
                    <a:pt x="649" y="1072"/>
                    <a:pt x="644" y="1054"/>
                  </a:cubicBezTo>
                  <a:cubicBezTo>
                    <a:pt x="638" y="1034"/>
                    <a:pt x="627" y="1019"/>
                    <a:pt x="610" y="1007"/>
                  </a:cubicBezTo>
                  <a:cubicBezTo>
                    <a:pt x="589" y="992"/>
                    <a:pt x="566" y="991"/>
                    <a:pt x="541" y="994"/>
                  </a:cubicBezTo>
                  <a:cubicBezTo>
                    <a:pt x="526" y="995"/>
                    <a:pt x="512" y="1002"/>
                    <a:pt x="500" y="1012"/>
                  </a:cubicBezTo>
                  <a:cubicBezTo>
                    <a:pt x="476" y="1032"/>
                    <a:pt x="469" y="1060"/>
                    <a:pt x="466" y="1095"/>
                  </a:cubicBezTo>
                  <a:cubicBezTo>
                    <a:pt x="465" y="1101"/>
                    <a:pt x="470" y="1111"/>
                    <a:pt x="472" y="1122"/>
                  </a:cubicBezTo>
                  <a:close/>
                  <a:moveTo>
                    <a:pt x="508" y="1113"/>
                  </a:moveTo>
                  <a:cubicBezTo>
                    <a:pt x="505" y="1095"/>
                    <a:pt x="506" y="1078"/>
                    <a:pt x="508" y="1061"/>
                  </a:cubicBezTo>
                  <a:cubicBezTo>
                    <a:pt x="511" y="1042"/>
                    <a:pt x="538" y="1021"/>
                    <a:pt x="554" y="1022"/>
                  </a:cubicBezTo>
                  <a:cubicBezTo>
                    <a:pt x="570" y="1022"/>
                    <a:pt x="586" y="1024"/>
                    <a:pt x="596" y="1037"/>
                  </a:cubicBezTo>
                  <a:cubicBezTo>
                    <a:pt x="602" y="1044"/>
                    <a:pt x="607" y="1052"/>
                    <a:pt x="608" y="1061"/>
                  </a:cubicBezTo>
                  <a:cubicBezTo>
                    <a:pt x="608" y="1064"/>
                    <a:pt x="609" y="1067"/>
                    <a:pt x="610" y="1070"/>
                  </a:cubicBezTo>
                  <a:cubicBezTo>
                    <a:pt x="618" y="1089"/>
                    <a:pt x="612" y="1107"/>
                    <a:pt x="607" y="1125"/>
                  </a:cubicBezTo>
                  <a:cubicBezTo>
                    <a:pt x="601" y="1143"/>
                    <a:pt x="588" y="1160"/>
                    <a:pt x="558" y="1157"/>
                  </a:cubicBezTo>
                  <a:cubicBezTo>
                    <a:pt x="530" y="1157"/>
                    <a:pt x="512" y="1141"/>
                    <a:pt x="508" y="1113"/>
                  </a:cubicBezTo>
                  <a:close/>
                  <a:moveTo>
                    <a:pt x="430" y="716"/>
                  </a:moveTo>
                  <a:cubicBezTo>
                    <a:pt x="450" y="703"/>
                    <a:pt x="459" y="683"/>
                    <a:pt x="464" y="661"/>
                  </a:cubicBezTo>
                  <a:cubicBezTo>
                    <a:pt x="468" y="648"/>
                    <a:pt x="467" y="635"/>
                    <a:pt x="466" y="621"/>
                  </a:cubicBezTo>
                  <a:cubicBezTo>
                    <a:pt x="463" y="592"/>
                    <a:pt x="453" y="567"/>
                    <a:pt x="427" y="550"/>
                  </a:cubicBezTo>
                  <a:cubicBezTo>
                    <a:pt x="401" y="534"/>
                    <a:pt x="372" y="532"/>
                    <a:pt x="345" y="541"/>
                  </a:cubicBezTo>
                  <a:cubicBezTo>
                    <a:pt x="310" y="552"/>
                    <a:pt x="291" y="580"/>
                    <a:pt x="287" y="617"/>
                  </a:cubicBezTo>
                  <a:cubicBezTo>
                    <a:pt x="286" y="629"/>
                    <a:pt x="286" y="641"/>
                    <a:pt x="287" y="654"/>
                  </a:cubicBezTo>
                  <a:cubicBezTo>
                    <a:pt x="289" y="671"/>
                    <a:pt x="295" y="686"/>
                    <a:pt x="306" y="700"/>
                  </a:cubicBezTo>
                  <a:cubicBezTo>
                    <a:pt x="324" y="722"/>
                    <a:pt x="348" y="733"/>
                    <a:pt x="378" y="731"/>
                  </a:cubicBezTo>
                  <a:cubicBezTo>
                    <a:pt x="396" y="733"/>
                    <a:pt x="414" y="727"/>
                    <a:pt x="430" y="716"/>
                  </a:cubicBezTo>
                  <a:close/>
                  <a:moveTo>
                    <a:pt x="331" y="592"/>
                  </a:moveTo>
                  <a:cubicBezTo>
                    <a:pt x="339" y="580"/>
                    <a:pt x="349" y="569"/>
                    <a:pt x="365" y="567"/>
                  </a:cubicBezTo>
                  <a:cubicBezTo>
                    <a:pt x="387" y="564"/>
                    <a:pt x="406" y="568"/>
                    <a:pt x="419" y="588"/>
                  </a:cubicBezTo>
                  <a:cubicBezTo>
                    <a:pt x="423" y="595"/>
                    <a:pt x="426" y="603"/>
                    <a:pt x="427" y="610"/>
                  </a:cubicBezTo>
                  <a:cubicBezTo>
                    <a:pt x="433" y="635"/>
                    <a:pt x="431" y="661"/>
                    <a:pt x="416" y="684"/>
                  </a:cubicBezTo>
                  <a:cubicBezTo>
                    <a:pt x="403" y="706"/>
                    <a:pt x="362" y="708"/>
                    <a:pt x="345" y="692"/>
                  </a:cubicBezTo>
                  <a:cubicBezTo>
                    <a:pt x="329" y="678"/>
                    <a:pt x="323" y="661"/>
                    <a:pt x="323" y="631"/>
                  </a:cubicBezTo>
                  <a:cubicBezTo>
                    <a:pt x="323" y="619"/>
                    <a:pt x="323" y="605"/>
                    <a:pt x="331" y="592"/>
                  </a:cubicBezTo>
                  <a:close/>
                  <a:moveTo>
                    <a:pt x="1073" y="259"/>
                  </a:moveTo>
                  <a:cubicBezTo>
                    <a:pt x="1073" y="269"/>
                    <a:pt x="1075" y="272"/>
                    <a:pt x="1086" y="272"/>
                  </a:cubicBezTo>
                  <a:cubicBezTo>
                    <a:pt x="1088" y="272"/>
                    <a:pt x="1090" y="272"/>
                    <a:pt x="1092" y="272"/>
                  </a:cubicBezTo>
                  <a:cubicBezTo>
                    <a:pt x="1105" y="272"/>
                    <a:pt x="1106" y="271"/>
                    <a:pt x="1106" y="258"/>
                  </a:cubicBezTo>
                  <a:cubicBezTo>
                    <a:pt x="1106" y="221"/>
                    <a:pt x="1106" y="184"/>
                    <a:pt x="1106" y="147"/>
                  </a:cubicBezTo>
                  <a:cubicBezTo>
                    <a:pt x="1106" y="143"/>
                    <a:pt x="1106" y="140"/>
                    <a:pt x="1107" y="137"/>
                  </a:cubicBezTo>
                  <a:cubicBezTo>
                    <a:pt x="1117" y="117"/>
                    <a:pt x="1157" y="104"/>
                    <a:pt x="1177" y="114"/>
                  </a:cubicBezTo>
                  <a:cubicBezTo>
                    <a:pt x="1179" y="115"/>
                    <a:pt x="1180" y="117"/>
                    <a:pt x="1182" y="118"/>
                  </a:cubicBezTo>
                  <a:cubicBezTo>
                    <a:pt x="1194" y="131"/>
                    <a:pt x="1196" y="147"/>
                    <a:pt x="1196" y="163"/>
                  </a:cubicBezTo>
                  <a:cubicBezTo>
                    <a:pt x="1197" y="195"/>
                    <a:pt x="1196" y="226"/>
                    <a:pt x="1196" y="258"/>
                  </a:cubicBezTo>
                  <a:cubicBezTo>
                    <a:pt x="1196" y="271"/>
                    <a:pt x="1197" y="272"/>
                    <a:pt x="1210" y="272"/>
                  </a:cubicBezTo>
                  <a:cubicBezTo>
                    <a:pt x="1212" y="272"/>
                    <a:pt x="1213" y="272"/>
                    <a:pt x="1215" y="272"/>
                  </a:cubicBezTo>
                  <a:cubicBezTo>
                    <a:pt x="1227" y="272"/>
                    <a:pt x="1229" y="270"/>
                    <a:pt x="1229" y="258"/>
                  </a:cubicBezTo>
                  <a:cubicBezTo>
                    <a:pt x="1229" y="222"/>
                    <a:pt x="1229" y="187"/>
                    <a:pt x="1229" y="151"/>
                  </a:cubicBezTo>
                  <a:cubicBezTo>
                    <a:pt x="1229" y="142"/>
                    <a:pt x="1228" y="132"/>
                    <a:pt x="1225" y="123"/>
                  </a:cubicBezTo>
                  <a:cubicBezTo>
                    <a:pt x="1219" y="105"/>
                    <a:pt x="1208" y="91"/>
                    <a:pt x="1189" y="85"/>
                  </a:cubicBezTo>
                  <a:cubicBezTo>
                    <a:pt x="1173" y="80"/>
                    <a:pt x="1156" y="84"/>
                    <a:pt x="1139" y="84"/>
                  </a:cubicBezTo>
                  <a:cubicBezTo>
                    <a:pt x="1137" y="84"/>
                    <a:pt x="1136" y="86"/>
                    <a:pt x="1134" y="87"/>
                  </a:cubicBezTo>
                  <a:cubicBezTo>
                    <a:pt x="1128" y="91"/>
                    <a:pt x="1121" y="96"/>
                    <a:pt x="1115" y="100"/>
                  </a:cubicBezTo>
                  <a:cubicBezTo>
                    <a:pt x="1113" y="102"/>
                    <a:pt x="1111" y="105"/>
                    <a:pt x="1108" y="103"/>
                  </a:cubicBezTo>
                  <a:cubicBezTo>
                    <a:pt x="1105" y="102"/>
                    <a:pt x="1106" y="98"/>
                    <a:pt x="1106" y="96"/>
                  </a:cubicBezTo>
                  <a:cubicBezTo>
                    <a:pt x="1106" y="69"/>
                    <a:pt x="1106" y="43"/>
                    <a:pt x="1106" y="17"/>
                  </a:cubicBezTo>
                  <a:cubicBezTo>
                    <a:pt x="1106" y="0"/>
                    <a:pt x="1106" y="0"/>
                    <a:pt x="1089" y="0"/>
                  </a:cubicBezTo>
                  <a:cubicBezTo>
                    <a:pt x="1074" y="0"/>
                    <a:pt x="1073" y="1"/>
                    <a:pt x="1073" y="16"/>
                  </a:cubicBezTo>
                  <a:cubicBezTo>
                    <a:pt x="1073" y="56"/>
                    <a:pt x="1073" y="96"/>
                    <a:pt x="1073" y="136"/>
                  </a:cubicBezTo>
                  <a:cubicBezTo>
                    <a:pt x="1073" y="177"/>
                    <a:pt x="1073" y="218"/>
                    <a:pt x="1073" y="259"/>
                  </a:cubicBezTo>
                  <a:close/>
                  <a:moveTo>
                    <a:pt x="1150" y="1092"/>
                  </a:moveTo>
                  <a:cubicBezTo>
                    <a:pt x="1168" y="1092"/>
                    <a:pt x="1186" y="1092"/>
                    <a:pt x="1204" y="1092"/>
                  </a:cubicBezTo>
                  <a:cubicBezTo>
                    <a:pt x="1215" y="1092"/>
                    <a:pt x="1218" y="1087"/>
                    <a:pt x="1219" y="1077"/>
                  </a:cubicBezTo>
                  <a:cubicBezTo>
                    <a:pt x="1220" y="1062"/>
                    <a:pt x="1216" y="1049"/>
                    <a:pt x="1210" y="1036"/>
                  </a:cubicBezTo>
                  <a:cubicBezTo>
                    <a:pt x="1204" y="1020"/>
                    <a:pt x="1193" y="1008"/>
                    <a:pt x="1177" y="1001"/>
                  </a:cubicBezTo>
                  <a:cubicBezTo>
                    <a:pt x="1155" y="992"/>
                    <a:pt x="1133" y="991"/>
                    <a:pt x="1109" y="999"/>
                  </a:cubicBezTo>
                  <a:cubicBezTo>
                    <a:pt x="1079" y="1010"/>
                    <a:pt x="1062" y="1031"/>
                    <a:pt x="1056" y="1061"/>
                  </a:cubicBezTo>
                  <a:cubicBezTo>
                    <a:pt x="1051" y="1090"/>
                    <a:pt x="1052" y="1120"/>
                    <a:pt x="1069" y="1148"/>
                  </a:cubicBezTo>
                  <a:cubicBezTo>
                    <a:pt x="1081" y="1169"/>
                    <a:pt x="1100" y="1180"/>
                    <a:pt x="1122" y="1185"/>
                  </a:cubicBezTo>
                  <a:cubicBezTo>
                    <a:pt x="1149" y="1190"/>
                    <a:pt x="1176" y="1186"/>
                    <a:pt x="1200" y="1171"/>
                  </a:cubicBezTo>
                  <a:cubicBezTo>
                    <a:pt x="1206" y="1168"/>
                    <a:pt x="1213" y="1165"/>
                    <a:pt x="1214" y="1157"/>
                  </a:cubicBezTo>
                  <a:cubicBezTo>
                    <a:pt x="1215" y="1147"/>
                    <a:pt x="1202" y="1139"/>
                    <a:pt x="1193" y="1144"/>
                  </a:cubicBezTo>
                  <a:cubicBezTo>
                    <a:pt x="1187" y="1147"/>
                    <a:pt x="1180" y="1150"/>
                    <a:pt x="1174" y="1153"/>
                  </a:cubicBezTo>
                  <a:cubicBezTo>
                    <a:pt x="1158" y="1161"/>
                    <a:pt x="1140" y="1161"/>
                    <a:pt x="1124" y="1155"/>
                  </a:cubicBezTo>
                  <a:cubicBezTo>
                    <a:pt x="1112" y="1151"/>
                    <a:pt x="1102" y="1142"/>
                    <a:pt x="1096" y="1129"/>
                  </a:cubicBezTo>
                  <a:cubicBezTo>
                    <a:pt x="1092" y="1121"/>
                    <a:pt x="1091" y="1112"/>
                    <a:pt x="1089" y="1104"/>
                  </a:cubicBezTo>
                  <a:cubicBezTo>
                    <a:pt x="1087" y="1093"/>
                    <a:pt x="1087" y="1092"/>
                    <a:pt x="1099" y="1092"/>
                  </a:cubicBezTo>
                  <a:cubicBezTo>
                    <a:pt x="1116" y="1092"/>
                    <a:pt x="1133" y="1092"/>
                    <a:pt x="1150" y="1092"/>
                  </a:cubicBezTo>
                  <a:cubicBezTo>
                    <a:pt x="1150" y="1092"/>
                    <a:pt x="1150" y="1092"/>
                    <a:pt x="1150" y="1092"/>
                  </a:cubicBezTo>
                  <a:close/>
                  <a:moveTo>
                    <a:pt x="1099" y="1070"/>
                  </a:moveTo>
                  <a:cubicBezTo>
                    <a:pt x="1092" y="1071"/>
                    <a:pt x="1089" y="1067"/>
                    <a:pt x="1091" y="1060"/>
                  </a:cubicBezTo>
                  <a:cubicBezTo>
                    <a:pt x="1094" y="1045"/>
                    <a:pt x="1108" y="1023"/>
                    <a:pt x="1128" y="1022"/>
                  </a:cubicBezTo>
                  <a:cubicBezTo>
                    <a:pt x="1142" y="1021"/>
                    <a:pt x="1156" y="1018"/>
                    <a:pt x="1168" y="1029"/>
                  </a:cubicBezTo>
                  <a:cubicBezTo>
                    <a:pt x="1181" y="1038"/>
                    <a:pt x="1185" y="1051"/>
                    <a:pt x="1187" y="1066"/>
                  </a:cubicBezTo>
                  <a:cubicBezTo>
                    <a:pt x="1188" y="1071"/>
                    <a:pt x="1183" y="1070"/>
                    <a:pt x="1180" y="1070"/>
                  </a:cubicBezTo>
                  <a:cubicBezTo>
                    <a:pt x="1166" y="1070"/>
                    <a:pt x="1153" y="1070"/>
                    <a:pt x="1139" y="1070"/>
                  </a:cubicBezTo>
                  <a:cubicBezTo>
                    <a:pt x="1139" y="1070"/>
                    <a:pt x="1139" y="1070"/>
                    <a:pt x="1139" y="1070"/>
                  </a:cubicBezTo>
                  <a:cubicBezTo>
                    <a:pt x="1126" y="1070"/>
                    <a:pt x="1113" y="1070"/>
                    <a:pt x="1099" y="1070"/>
                  </a:cubicBezTo>
                  <a:close/>
                  <a:moveTo>
                    <a:pt x="1741" y="1092"/>
                  </a:moveTo>
                  <a:cubicBezTo>
                    <a:pt x="1759" y="1092"/>
                    <a:pt x="1776" y="1092"/>
                    <a:pt x="1793" y="1092"/>
                  </a:cubicBezTo>
                  <a:cubicBezTo>
                    <a:pt x="1806" y="1092"/>
                    <a:pt x="1808" y="1089"/>
                    <a:pt x="1808" y="1076"/>
                  </a:cubicBezTo>
                  <a:cubicBezTo>
                    <a:pt x="1809" y="1063"/>
                    <a:pt x="1807" y="1051"/>
                    <a:pt x="1802" y="1038"/>
                  </a:cubicBezTo>
                  <a:cubicBezTo>
                    <a:pt x="1794" y="1021"/>
                    <a:pt x="1782" y="1008"/>
                    <a:pt x="1764" y="1000"/>
                  </a:cubicBezTo>
                  <a:cubicBezTo>
                    <a:pt x="1742" y="991"/>
                    <a:pt x="1720" y="991"/>
                    <a:pt x="1698" y="1000"/>
                  </a:cubicBezTo>
                  <a:cubicBezTo>
                    <a:pt x="1681" y="1006"/>
                    <a:pt x="1668" y="1016"/>
                    <a:pt x="1659" y="1031"/>
                  </a:cubicBezTo>
                  <a:cubicBezTo>
                    <a:pt x="1646" y="1050"/>
                    <a:pt x="1643" y="1071"/>
                    <a:pt x="1644" y="1094"/>
                  </a:cubicBezTo>
                  <a:cubicBezTo>
                    <a:pt x="1644" y="1110"/>
                    <a:pt x="1647" y="1127"/>
                    <a:pt x="1655" y="1141"/>
                  </a:cubicBezTo>
                  <a:cubicBezTo>
                    <a:pt x="1669" y="1168"/>
                    <a:pt x="1691" y="1183"/>
                    <a:pt x="1722" y="1186"/>
                  </a:cubicBezTo>
                  <a:cubicBezTo>
                    <a:pt x="1750" y="1188"/>
                    <a:pt x="1775" y="1183"/>
                    <a:pt x="1798" y="1165"/>
                  </a:cubicBezTo>
                  <a:cubicBezTo>
                    <a:pt x="1803" y="1161"/>
                    <a:pt x="1806" y="1157"/>
                    <a:pt x="1802" y="1151"/>
                  </a:cubicBezTo>
                  <a:cubicBezTo>
                    <a:pt x="1798" y="1144"/>
                    <a:pt x="1791" y="1140"/>
                    <a:pt x="1783" y="1144"/>
                  </a:cubicBezTo>
                  <a:cubicBezTo>
                    <a:pt x="1778" y="1147"/>
                    <a:pt x="1771" y="1149"/>
                    <a:pt x="1766" y="1152"/>
                  </a:cubicBezTo>
                  <a:cubicBezTo>
                    <a:pt x="1749" y="1161"/>
                    <a:pt x="1730" y="1162"/>
                    <a:pt x="1714" y="1155"/>
                  </a:cubicBezTo>
                  <a:cubicBezTo>
                    <a:pt x="1692" y="1145"/>
                    <a:pt x="1680" y="1127"/>
                    <a:pt x="1679" y="1102"/>
                  </a:cubicBezTo>
                  <a:cubicBezTo>
                    <a:pt x="1678" y="1095"/>
                    <a:pt x="1681" y="1092"/>
                    <a:pt x="1689" y="1092"/>
                  </a:cubicBezTo>
                  <a:cubicBezTo>
                    <a:pt x="1706" y="1092"/>
                    <a:pt x="1724" y="1092"/>
                    <a:pt x="1741" y="1092"/>
                  </a:cubicBezTo>
                  <a:cubicBezTo>
                    <a:pt x="1741" y="1092"/>
                    <a:pt x="1741" y="1092"/>
                    <a:pt x="1741" y="1092"/>
                  </a:cubicBezTo>
                  <a:close/>
                  <a:moveTo>
                    <a:pt x="1690" y="1070"/>
                  </a:moveTo>
                  <a:cubicBezTo>
                    <a:pt x="1683" y="1071"/>
                    <a:pt x="1680" y="1068"/>
                    <a:pt x="1681" y="1062"/>
                  </a:cubicBezTo>
                  <a:cubicBezTo>
                    <a:pt x="1683" y="1048"/>
                    <a:pt x="1697" y="1024"/>
                    <a:pt x="1716" y="1022"/>
                  </a:cubicBezTo>
                  <a:cubicBezTo>
                    <a:pt x="1731" y="1020"/>
                    <a:pt x="1747" y="1018"/>
                    <a:pt x="1760" y="1030"/>
                  </a:cubicBezTo>
                  <a:cubicBezTo>
                    <a:pt x="1771" y="1038"/>
                    <a:pt x="1775" y="1050"/>
                    <a:pt x="1778" y="1062"/>
                  </a:cubicBezTo>
                  <a:cubicBezTo>
                    <a:pt x="1780" y="1068"/>
                    <a:pt x="1775" y="1070"/>
                    <a:pt x="1769" y="1070"/>
                  </a:cubicBezTo>
                  <a:cubicBezTo>
                    <a:pt x="1756" y="1070"/>
                    <a:pt x="1742" y="1070"/>
                    <a:pt x="1729" y="1070"/>
                  </a:cubicBezTo>
                  <a:cubicBezTo>
                    <a:pt x="1729" y="1070"/>
                    <a:pt x="1729" y="1070"/>
                    <a:pt x="1729" y="1070"/>
                  </a:cubicBezTo>
                  <a:cubicBezTo>
                    <a:pt x="1716" y="1070"/>
                    <a:pt x="1703" y="1070"/>
                    <a:pt x="1690" y="1070"/>
                  </a:cubicBezTo>
                  <a:close/>
                  <a:moveTo>
                    <a:pt x="68" y="581"/>
                  </a:moveTo>
                  <a:cubicBezTo>
                    <a:pt x="68" y="573"/>
                    <a:pt x="70" y="568"/>
                    <a:pt x="80" y="569"/>
                  </a:cubicBezTo>
                  <a:cubicBezTo>
                    <a:pt x="90" y="570"/>
                    <a:pt x="101" y="570"/>
                    <a:pt x="111" y="569"/>
                  </a:cubicBezTo>
                  <a:cubicBezTo>
                    <a:pt x="120" y="569"/>
                    <a:pt x="120" y="563"/>
                    <a:pt x="120" y="556"/>
                  </a:cubicBezTo>
                  <a:cubicBezTo>
                    <a:pt x="120" y="549"/>
                    <a:pt x="119" y="544"/>
                    <a:pt x="111" y="544"/>
                  </a:cubicBezTo>
                  <a:cubicBezTo>
                    <a:pt x="104" y="544"/>
                    <a:pt x="97" y="544"/>
                    <a:pt x="91" y="544"/>
                  </a:cubicBezTo>
                  <a:cubicBezTo>
                    <a:pt x="66" y="544"/>
                    <a:pt x="65" y="543"/>
                    <a:pt x="68" y="518"/>
                  </a:cubicBezTo>
                  <a:cubicBezTo>
                    <a:pt x="69" y="504"/>
                    <a:pt x="83" y="487"/>
                    <a:pt x="99" y="489"/>
                  </a:cubicBezTo>
                  <a:cubicBezTo>
                    <a:pt x="103" y="489"/>
                    <a:pt x="107" y="489"/>
                    <a:pt x="110" y="488"/>
                  </a:cubicBezTo>
                  <a:cubicBezTo>
                    <a:pt x="118" y="487"/>
                    <a:pt x="123" y="479"/>
                    <a:pt x="123" y="471"/>
                  </a:cubicBezTo>
                  <a:cubicBezTo>
                    <a:pt x="123" y="461"/>
                    <a:pt x="116" y="462"/>
                    <a:pt x="109" y="460"/>
                  </a:cubicBezTo>
                  <a:cubicBezTo>
                    <a:pt x="100" y="458"/>
                    <a:pt x="92" y="460"/>
                    <a:pt x="84" y="460"/>
                  </a:cubicBezTo>
                  <a:cubicBezTo>
                    <a:pt x="68" y="461"/>
                    <a:pt x="56" y="469"/>
                    <a:pt x="47" y="480"/>
                  </a:cubicBezTo>
                  <a:cubicBezTo>
                    <a:pt x="34" y="493"/>
                    <a:pt x="32" y="511"/>
                    <a:pt x="32" y="529"/>
                  </a:cubicBezTo>
                  <a:cubicBezTo>
                    <a:pt x="32" y="544"/>
                    <a:pt x="32" y="544"/>
                    <a:pt x="17" y="544"/>
                  </a:cubicBezTo>
                  <a:cubicBezTo>
                    <a:pt x="4" y="543"/>
                    <a:pt x="0" y="548"/>
                    <a:pt x="4" y="561"/>
                  </a:cubicBezTo>
                  <a:cubicBezTo>
                    <a:pt x="6" y="569"/>
                    <a:pt x="13" y="568"/>
                    <a:pt x="19" y="569"/>
                  </a:cubicBezTo>
                  <a:cubicBezTo>
                    <a:pt x="32" y="571"/>
                    <a:pt x="32" y="571"/>
                    <a:pt x="32" y="584"/>
                  </a:cubicBezTo>
                  <a:cubicBezTo>
                    <a:pt x="32" y="624"/>
                    <a:pt x="32" y="664"/>
                    <a:pt x="32" y="704"/>
                  </a:cubicBezTo>
                  <a:cubicBezTo>
                    <a:pt x="32" y="731"/>
                    <a:pt x="32" y="730"/>
                    <a:pt x="57" y="731"/>
                  </a:cubicBezTo>
                  <a:cubicBezTo>
                    <a:pt x="66" y="731"/>
                    <a:pt x="68" y="727"/>
                    <a:pt x="68" y="720"/>
                  </a:cubicBezTo>
                  <a:cubicBezTo>
                    <a:pt x="68" y="697"/>
                    <a:pt x="68" y="674"/>
                    <a:pt x="68" y="651"/>
                  </a:cubicBezTo>
                  <a:cubicBezTo>
                    <a:pt x="68" y="628"/>
                    <a:pt x="68" y="605"/>
                    <a:pt x="68" y="581"/>
                  </a:cubicBezTo>
                  <a:close/>
                  <a:moveTo>
                    <a:pt x="278" y="1165"/>
                  </a:moveTo>
                  <a:cubicBezTo>
                    <a:pt x="278" y="1183"/>
                    <a:pt x="278" y="1183"/>
                    <a:pt x="296" y="1184"/>
                  </a:cubicBezTo>
                  <a:cubicBezTo>
                    <a:pt x="310" y="1184"/>
                    <a:pt x="310" y="1184"/>
                    <a:pt x="310" y="1169"/>
                  </a:cubicBezTo>
                  <a:cubicBezTo>
                    <a:pt x="310" y="1132"/>
                    <a:pt x="310" y="1095"/>
                    <a:pt x="310" y="1058"/>
                  </a:cubicBezTo>
                  <a:cubicBezTo>
                    <a:pt x="310" y="1052"/>
                    <a:pt x="312" y="1047"/>
                    <a:pt x="316" y="1042"/>
                  </a:cubicBezTo>
                  <a:cubicBezTo>
                    <a:pt x="324" y="1033"/>
                    <a:pt x="334" y="1027"/>
                    <a:pt x="345" y="1024"/>
                  </a:cubicBezTo>
                  <a:cubicBezTo>
                    <a:pt x="357" y="1020"/>
                    <a:pt x="371" y="1018"/>
                    <a:pt x="383" y="1028"/>
                  </a:cubicBezTo>
                  <a:cubicBezTo>
                    <a:pt x="397" y="1039"/>
                    <a:pt x="401" y="1054"/>
                    <a:pt x="401" y="1071"/>
                  </a:cubicBezTo>
                  <a:cubicBezTo>
                    <a:pt x="401" y="1102"/>
                    <a:pt x="401" y="1132"/>
                    <a:pt x="401" y="1163"/>
                  </a:cubicBezTo>
                  <a:cubicBezTo>
                    <a:pt x="401" y="1183"/>
                    <a:pt x="401" y="1182"/>
                    <a:pt x="420" y="1184"/>
                  </a:cubicBezTo>
                  <a:cubicBezTo>
                    <a:pt x="429" y="1185"/>
                    <a:pt x="433" y="1181"/>
                    <a:pt x="433" y="1173"/>
                  </a:cubicBezTo>
                  <a:cubicBezTo>
                    <a:pt x="432" y="1130"/>
                    <a:pt x="435" y="1087"/>
                    <a:pt x="431" y="1044"/>
                  </a:cubicBezTo>
                  <a:cubicBezTo>
                    <a:pt x="427" y="1014"/>
                    <a:pt x="404" y="996"/>
                    <a:pt x="376" y="994"/>
                  </a:cubicBezTo>
                  <a:cubicBezTo>
                    <a:pt x="353" y="992"/>
                    <a:pt x="333" y="1000"/>
                    <a:pt x="317" y="1017"/>
                  </a:cubicBezTo>
                  <a:cubicBezTo>
                    <a:pt x="312" y="1021"/>
                    <a:pt x="311" y="1019"/>
                    <a:pt x="309" y="1015"/>
                  </a:cubicBezTo>
                  <a:cubicBezTo>
                    <a:pt x="309" y="1013"/>
                    <a:pt x="308" y="1011"/>
                    <a:pt x="308" y="1008"/>
                  </a:cubicBezTo>
                  <a:cubicBezTo>
                    <a:pt x="306" y="1001"/>
                    <a:pt x="298" y="997"/>
                    <a:pt x="287" y="998"/>
                  </a:cubicBezTo>
                  <a:cubicBezTo>
                    <a:pt x="279" y="999"/>
                    <a:pt x="278" y="1004"/>
                    <a:pt x="278" y="1011"/>
                  </a:cubicBezTo>
                  <a:cubicBezTo>
                    <a:pt x="278" y="1037"/>
                    <a:pt x="278" y="1064"/>
                    <a:pt x="278" y="1091"/>
                  </a:cubicBezTo>
                  <a:cubicBezTo>
                    <a:pt x="278" y="1115"/>
                    <a:pt x="278" y="1140"/>
                    <a:pt x="278" y="1165"/>
                  </a:cubicBezTo>
                  <a:close/>
                  <a:moveTo>
                    <a:pt x="150" y="705"/>
                  </a:moveTo>
                  <a:cubicBezTo>
                    <a:pt x="150" y="734"/>
                    <a:pt x="145" y="730"/>
                    <a:pt x="176" y="731"/>
                  </a:cubicBezTo>
                  <a:cubicBezTo>
                    <a:pt x="185" y="731"/>
                    <a:pt x="187" y="727"/>
                    <a:pt x="187" y="719"/>
                  </a:cubicBezTo>
                  <a:cubicBezTo>
                    <a:pt x="187" y="685"/>
                    <a:pt x="187" y="651"/>
                    <a:pt x="187" y="618"/>
                  </a:cubicBezTo>
                  <a:cubicBezTo>
                    <a:pt x="187" y="597"/>
                    <a:pt x="204" y="578"/>
                    <a:pt x="225" y="574"/>
                  </a:cubicBezTo>
                  <a:cubicBezTo>
                    <a:pt x="232" y="572"/>
                    <a:pt x="240" y="574"/>
                    <a:pt x="247" y="575"/>
                  </a:cubicBezTo>
                  <a:cubicBezTo>
                    <a:pt x="257" y="576"/>
                    <a:pt x="261" y="572"/>
                    <a:pt x="265" y="564"/>
                  </a:cubicBezTo>
                  <a:cubicBezTo>
                    <a:pt x="269" y="556"/>
                    <a:pt x="267" y="542"/>
                    <a:pt x="261" y="540"/>
                  </a:cubicBezTo>
                  <a:cubicBezTo>
                    <a:pt x="253" y="538"/>
                    <a:pt x="244" y="534"/>
                    <a:pt x="237" y="536"/>
                  </a:cubicBezTo>
                  <a:cubicBezTo>
                    <a:pt x="228" y="537"/>
                    <a:pt x="217" y="537"/>
                    <a:pt x="209" y="544"/>
                  </a:cubicBezTo>
                  <a:cubicBezTo>
                    <a:pt x="204" y="549"/>
                    <a:pt x="198" y="553"/>
                    <a:pt x="194" y="558"/>
                  </a:cubicBezTo>
                  <a:cubicBezTo>
                    <a:pt x="192" y="561"/>
                    <a:pt x="189" y="563"/>
                    <a:pt x="185" y="562"/>
                  </a:cubicBezTo>
                  <a:cubicBezTo>
                    <a:pt x="182" y="561"/>
                    <a:pt x="182" y="558"/>
                    <a:pt x="182" y="556"/>
                  </a:cubicBezTo>
                  <a:cubicBezTo>
                    <a:pt x="180" y="539"/>
                    <a:pt x="179" y="539"/>
                    <a:pt x="162" y="539"/>
                  </a:cubicBezTo>
                  <a:cubicBezTo>
                    <a:pt x="151" y="539"/>
                    <a:pt x="150" y="540"/>
                    <a:pt x="150" y="551"/>
                  </a:cubicBezTo>
                  <a:cubicBezTo>
                    <a:pt x="150" y="579"/>
                    <a:pt x="150" y="607"/>
                    <a:pt x="150" y="635"/>
                  </a:cubicBezTo>
                  <a:cubicBezTo>
                    <a:pt x="150" y="658"/>
                    <a:pt x="149" y="682"/>
                    <a:pt x="150" y="705"/>
                  </a:cubicBezTo>
                  <a:close/>
                  <a:moveTo>
                    <a:pt x="1011" y="1049"/>
                  </a:moveTo>
                  <a:cubicBezTo>
                    <a:pt x="1011" y="1008"/>
                    <a:pt x="1011" y="966"/>
                    <a:pt x="1011" y="924"/>
                  </a:cubicBezTo>
                  <a:cubicBezTo>
                    <a:pt x="1011" y="913"/>
                    <a:pt x="1008" y="910"/>
                    <a:pt x="997" y="910"/>
                  </a:cubicBezTo>
                  <a:cubicBezTo>
                    <a:pt x="995" y="910"/>
                    <a:pt x="992" y="910"/>
                    <a:pt x="990" y="910"/>
                  </a:cubicBezTo>
                  <a:cubicBezTo>
                    <a:pt x="976" y="910"/>
                    <a:pt x="975" y="911"/>
                    <a:pt x="975" y="926"/>
                  </a:cubicBezTo>
                  <a:cubicBezTo>
                    <a:pt x="975" y="1006"/>
                    <a:pt x="975" y="1085"/>
                    <a:pt x="975" y="1165"/>
                  </a:cubicBezTo>
                  <a:cubicBezTo>
                    <a:pt x="975" y="1185"/>
                    <a:pt x="975" y="1185"/>
                    <a:pt x="994" y="1185"/>
                  </a:cubicBezTo>
                  <a:cubicBezTo>
                    <a:pt x="1009" y="1185"/>
                    <a:pt x="1011" y="1184"/>
                    <a:pt x="1011" y="1169"/>
                  </a:cubicBezTo>
                  <a:cubicBezTo>
                    <a:pt x="1011" y="1129"/>
                    <a:pt x="1011" y="1089"/>
                    <a:pt x="1011" y="1049"/>
                  </a:cubicBezTo>
                  <a:cubicBezTo>
                    <a:pt x="1011" y="1049"/>
                    <a:pt x="1011" y="1049"/>
                    <a:pt x="1011" y="1049"/>
                  </a:cubicBezTo>
                  <a:close/>
                  <a:moveTo>
                    <a:pt x="296" y="176"/>
                  </a:moveTo>
                  <a:cubicBezTo>
                    <a:pt x="296" y="201"/>
                    <a:pt x="296" y="226"/>
                    <a:pt x="296" y="251"/>
                  </a:cubicBezTo>
                  <a:cubicBezTo>
                    <a:pt x="295" y="276"/>
                    <a:pt x="296" y="274"/>
                    <a:pt x="318" y="274"/>
                  </a:cubicBezTo>
                  <a:cubicBezTo>
                    <a:pt x="330" y="274"/>
                    <a:pt x="331" y="274"/>
                    <a:pt x="331" y="260"/>
                  </a:cubicBezTo>
                  <a:cubicBezTo>
                    <a:pt x="331" y="232"/>
                    <a:pt x="331" y="204"/>
                    <a:pt x="331" y="176"/>
                  </a:cubicBezTo>
                  <a:cubicBezTo>
                    <a:pt x="331" y="165"/>
                    <a:pt x="331" y="155"/>
                    <a:pt x="337" y="145"/>
                  </a:cubicBezTo>
                  <a:cubicBezTo>
                    <a:pt x="349" y="123"/>
                    <a:pt x="359" y="117"/>
                    <a:pt x="377" y="118"/>
                  </a:cubicBezTo>
                  <a:cubicBezTo>
                    <a:pt x="383" y="118"/>
                    <a:pt x="389" y="119"/>
                    <a:pt x="395" y="120"/>
                  </a:cubicBezTo>
                  <a:cubicBezTo>
                    <a:pt x="401" y="120"/>
                    <a:pt x="407" y="118"/>
                    <a:pt x="408" y="112"/>
                  </a:cubicBezTo>
                  <a:cubicBezTo>
                    <a:pt x="409" y="103"/>
                    <a:pt x="415" y="93"/>
                    <a:pt x="407" y="85"/>
                  </a:cubicBezTo>
                  <a:cubicBezTo>
                    <a:pt x="406" y="84"/>
                    <a:pt x="404" y="84"/>
                    <a:pt x="402" y="84"/>
                  </a:cubicBezTo>
                  <a:cubicBezTo>
                    <a:pt x="376" y="78"/>
                    <a:pt x="353" y="82"/>
                    <a:pt x="337" y="106"/>
                  </a:cubicBezTo>
                  <a:cubicBezTo>
                    <a:pt x="336" y="108"/>
                    <a:pt x="335" y="110"/>
                    <a:pt x="333" y="109"/>
                  </a:cubicBezTo>
                  <a:cubicBezTo>
                    <a:pt x="331" y="109"/>
                    <a:pt x="330" y="107"/>
                    <a:pt x="330" y="105"/>
                  </a:cubicBezTo>
                  <a:cubicBezTo>
                    <a:pt x="329" y="101"/>
                    <a:pt x="329" y="97"/>
                    <a:pt x="328" y="94"/>
                  </a:cubicBezTo>
                  <a:cubicBezTo>
                    <a:pt x="325" y="85"/>
                    <a:pt x="318" y="82"/>
                    <a:pt x="303" y="84"/>
                  </a:cubicBezTo>
                  <a:cubicBezTo>
                    <a:pt x="297" y="84"/>
                    <a:pt x="295" y="86"/>
                    <a:pt x="295" y="92"/>
                  </a:cubicBezTo>
                  <a:cubicBezTo>
                    <a:pt x="296" y="120"/>
                    <a:pt x="295" y="148"/>
                    <a:pt x="295" y="176"/>
                  </a:cubicBezTo>
                  <a:cubicBezTo>
                    <a:pt x="296" y="176"/>
                    <a:pt x="296" y="176"/>
                    <a:pt x="296" y="176"/>
                  </a:cubicBezTo>
                  <a:close/>
                  <a:moveTo>
                    <a:pt x="946" y="179"/>
                  </a:moveTo>
                  <a:cubicBezTo>
                    <a:pt x="946" y="197"/>
                    <a:pt x="946" y="215"/>
                    <a:pt x="946" y="234"/>
                  </a:cubicBezTo>
                  <a:cubicBezTo>
                    <a:pt x="946" y="248"/>
                    <a:pt x="951" y="260"/>
                    <a:pt x="963" y="268"/>
                  </a:cubicBezTo>
                  <a:cubicBezTo>
                    <a:pt x="982" y="280"/>
                    <a:pt x="1011" y="277"/>
                    <a:pt x="1029" y="264"/>
                  </a:cubicBezTo>
                  <a:cubicBezTo>
                    <a:pt x="1036" y="259"/>
                    <a:pt x="1036" y="254"/>
                    <a:pt x="1032" y="248"/>
                  </a:cubicBezTo>
                  <a:cubicBezTo>
                    <a:pt x="1026" y="239"/>
                    <a:pt x="1020" y="238"/>
                    <a:pt x="1013" y="242"/>
                  </a:cubicBezTo>
                  <a:cubicBezTo>
                    <a:pt x="996" y="252"/>
                    <a:pt x="978" y="243"/>
                    <a:pt x="978" y="223"/>
                  </a:cubicBezTo>
                  <a:cubicBezTo>
                    <a:pt x="978" y="190"/>
                    <a:pt x="978" y="157"/>
                    <a:pt x="978" y="123"/>
                  </a:cubicBezTo>
                  <a:cubicBezTo>
                    <a:pt x="978" y="116"/>
                    <a:pt x="981" y="113"/>
                    <a:pt x="988" y="113"/>
                  </a:cubicBezTo>
                  <a:cubicBezTo>
                    <a:pt x="999" y="114"/>
                    <a:pt x="1011" y="113"/>
                    <a:pt x="1022" y="113"/>
                  </a:cubicBezTo>
                  <a:cubicBezTo>
                    <a:pt x="1028" y="113"/>
                    <a:pt x="1033" y="112"/>
                    <a:pt x="1033" y="104"/>
                  </a:cubicBezTo>
                  <a:cubicBezTo>
                    <a:pt x="1033" y="96"/>
                    <a:pt x="1032" y="90"/>
                    <a:pt x="1022" y="90"/>
                  </a:cubicBezTo>
                  <a:cubicBezTo>
                    <a:pt x="1011" y="90"/>
                    <a:pt x="1001" y="90"/>
                    <a:pt x="990" y="90"/>
                  </a:cubicBezTo>
                  <a:cubicBezTo>
                    <a:pt x="981" y="91"/>
                    <a:pt x="977" y="88"/>
                    <a:pt x="978" y="78"/>
                  </a:cubicBezTo>
                  <a:cubicBezTo>
                    <a:pt x="978" y="64"/>
                    <a:pt x="978" y="49"/>
                    <a:pt x="978" y="35"/>
                  </a:cubicBezTo>
                  <a:cubicBezTo>
                    <a:pt x="978" y="30"/>
                    <a:pt x="978" y="25"/>
                    <a:pt x="971" y="24"/>
                  </a:cubicBezTo>
                  <a:cubicBezTo>
                    <a:pt x="964" y="24"/>
                    <a:pt x="956" y="24"/>
                    <a:pt x="955" y="32"/>
                  </a:cubicBezTo>
                  <a:cubicBezTo>
                    <a:pt x="952" y="43"/>
                    <a:pt x="949" y="54"/>
                    <a:pt x="949" y="65"/>
                  </a:cubicBezTo>
                  <a:cubicBezTo>
                    <a:pt x="948" y="88"/>
                    <a:pt x="947" y="88"/>
                    <a:pt x="924" y="91"/>
                  </a:cubicBezTo>
                  <a:cubicBezTo>
                    <a:pt x="919" y="92"/>
                    <a:pt x="914" y="92"/>
                    <a:pt x="914" y="99"/>
                  </a:cubicBezTo>
                  <a:cubicBezTo>
                    <a:pt x="915" y="107"/>
                    <a:pt x="917" y="113"/>
                    <a:pt x="926" y="113"/>
                  </a:cubicBezTo>
                  <a:cubicBezTo>
                    <a:pt x="929" y="114"/>
                    <a:pt x="932" y="113"/>
                    <a:pt x="935" y="113"/>
                  </a:cubicBezTo>
                  <a:cubicBezTo>
                    <a:pt x="943" y="113"/>
                    <a:pt x="946" y="116"/>
                    <a:pt x="946" y="124"/>
                  </a:cubicBezTo>
                  <a:cubicBezTo>
                    <a:pt x="946" y="142"/>
                    <a:pt x="946" y="161"/>
                    <a:pt x="946" y="179"/>
                  </a:cubicBezTo>
                  <a:cubicBezTo>
                    <a:pt x="946" y="179"/>
                    <a:pt x="946" y="179"/>
                    <a:pt x="946" y="179"/>
                  </a:cubicBezTo>
                  <a:close/>
                </a:path>
              </a:pathLst>
            </a:custGeom>
            <a:solidFill>
              <a:srgbClr val="4C505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grpSp>
          <p:nvGrpSpPr>
            <p:cNvPr id="18" name="Group 4">
              <a:extLst>
                <a:ext uri="{FF2B5EF4-FFF2-40B4-BE49-F238E27FC236}">
                  <a16:creationId xmlns:a16="http://schemas.microsoft.com/office/drawing/2014/main" id="{57BD2C4C-DC67-B843-B26C-309622FC75F7}"/>
                </a:ext>
              </a:extLst>
            </p:cNvPr>
            <p:cNvGrpSpPr>
              <a:grpSpLocks noChangeAspect="1"/>
            </p:cNvGrpSpPr>
            <p:nvPr/>
          </p:nvGrpSpPr>
          <p:grpSpPr bwMode="gray">
            <a:xfrm>
              <a:off x="334963" y="296652"/>
              <a:ext cx="538094" cy="540000"/>
              <a:chOff x="2711" y="1027"/>
              <a:chExt cx="2258" cy="2266"/>
            </a:xfrm>
          </p:grpSpPr>
          <p:sp>
            <p:nvSpPr>
              <p:cNvPr id="19" name="AutoShape 3">
                <a:extLst>
                  <a:ext uri="{FF2B5EF4-FFF2-40B4-BE49-F238E27FC236}">
                    <a16:creationId xmlns:a16="http://schemas.microsoft.com/office/drawing/2014/main" id="{FE1DC41B-291E-574C-9F2C-874E70A40758}"/>
                  </a:ext>
                </a:extLst>
              </p:cNvPr>
              <p:cNvSpPr>
                <a:spLocks noChangeAspect="1" noChangeArrowheads="1" noTextEdit="1"/>
              </p:cNvSpPr>
              <p:nvPr/>
            </p:nvSpPr>
            <p:spPr bwMode="gray">
              <a:xfrm>
                <a:off x="2711" y="1027"/>
                <a:ext cx="2258" cy="22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20" name="Freeform 5">
                <a:extLst>
                  <a:ext uri="{FF2B5EF4-FFF2-40B4-BE49-F238E27FC236}">
                    <a16:creationId xmlns:a16="http://schemas.microsoft.com/office/drawing/2014/main" id="{D4B633C8-F761-C54B-9BD2-EB59D49A2DBC}"/>
                  </a:ext>
                </a:extLst>
              </p:cNvPr>
              <p:cNvSpPr>
                <a:spLocks/>
              </p:cNvSpPr>
              <p:nvPr/>
            </p:nvSpPr>
            <p:spPr bwMode="gray">
              <a:xfrm>
                <a:off x="2709" y="1029"/>
                <a:ext cx="2260" cy="2262"/>
              </a:xfrm>
              <a:custGeom>
                <a:avLst/>
                <a:gdLst>
                  <a:gd name="T0" fmla="*/ 2260 w 2260"/>
                  <a:gd name="T1" fmla="*/ 0 h 2262"/>
                  <a:gd name="T2" fmla="*/ 1612 w 2260"/>
                  <a:gd name="T3" fmla="*/ 649 h 2262"/>
                  <a:gd name="T4" fmla="*/ 1612 w 2260"/>
                  <a:gd name="T5" fmla="*/ 649 h 2262"/>
                  <a:gd name="T6" fmla="*/ 2035 w 2260"/>
                  <a:gd name="T7" fmla="*/ 0 h 2262"/>
                  <a:gd name="T8" fmla="*/ 0 w 2260"/>
                  <a:gd name="T9" fmla="*/ 0 h 2262"/>
                  <a:gd name="T10" fmla="*/ 0 w 2260"/>
                  <a:gd name="T11" fmla="*/ 2262 h 2262"/>
                  <a:gd name="T12" fmla="*/ 2260 w 2260"/>
                  <a:gd name="T13" fmla="*/ 2262 h 2262"/>
                  <a:gd name="T14" fmla="*/ 2260 w 2260"/>
                  <a:gd name="T15" fmla="*/ 0 h 2262"/>
                  <a:gd name="T16" fmla="*/ 2260 w 2260"/>
                  <a:gd name="T17" fmla="*/ 0 h 2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0" h="2262">
                    <a:moveTo>
                      <a:pt x="2260" y="0"/>
                    </a:moveTo>
                    <a:lnTo>
                      <a:pt x="1612" y="649"/>
                    </a:lnTo>
                    <a:lnTo>
                      <a:pt x="1612" y="649"/>
                    </a:lnTo>
                    <a:lnTo>
                      <a:pt x="2035" y="0"/>
                    </a:lnTo>
                    <a:lnTo>
                      <a:pt x="0" y="0"/>
                    </a:lnTo>
                    <a:lnTo>
                      <a:pt x="0" y="2262"/>
                    </a:lnTo>
                    <a:lnTo>
                      <a:pt x="2260" y="2262"/>
                    </a:lnTo>
                    <a:lnTo>
                      <a:pt x="2260" y="0"/>
                    </a:lnTo>
                    <a:lnTo>
                      <a:pt x="2260" y="0"/>
                    </a:lnTo>
                    <a:close/>
                  </a:path>
                </a:pathLst>
              </a:custGeom>
              <a:solidFill>
                <a:srgbClr val="E55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21" name="Freeform 6">
                <a:extLst>
                  <a:ext uri="{FF2B5EF4-FFF2-40B4-BE49-F238E27FC236}">
                    <a16:creationId xmlns:a16="http://schemas.microsoft.com/office/drawing/2014/main" id="{B16BAAE4-1A41-C843-9754-490F7A1E1270}"/>
                  </a:ext>
                </a:extLst>
              </p:cNvPr>
              <p:cNvSpPr>
                <a:spLocks noEditPoints="1"/>
              </p:cNvSpPr>
              <p:nvPr/>
            </p:nvSpPr>
            <p:spPr bwMode="gray">
              <a:xfrm>
                <a:off x="3623" y="1696"/>
                <a:ext cx="1167" cy="922"/>
              </a:xfrm>
              <a:custGeom>
                <a:avLst/>
                <a:gdLst>
                  <a:gd name="T0" fmla="*/ 411 w 580"/>
                  <a:gd name="T1" fmla="*/ 213 h 458"/>
                  <a:gd name="T2" fmla="*/ 570 w 580"/>
                  <a:gd name="T3" fmla="*/ 37 h 458"/>
                  <a:gd name="T4" fmla="*/ 580 w 580"/>
                  <a:gd name="T5" fmla="*/ 20 h 458"/>
                  <a:gd name="T6" fmla="*/ 545 w 580"/>
                  <a:gd name="T7" fmla="*/ 0 h 458"/>
                  <a:gd name="T8" fmla="*/ 519 w 580"/>
                  <a:gd name="T9" fmla="*/ 16 h 458"/>
                  <a:gd name="T10" fmla="*/ 344 w 580"/>
                  <a:gd name="T11" fmla="*/ 210 h 458"/>
                  <a:gd name="T12" fmla="*/ 334 w 580"/>
                  <a:gd name="T13" fmla="*/ 229 h 458"/>
                  <a:gd name="T14" fmla="*/ 344 w 580"/>
                  <a:gd name="T15" fmla="*/ 248 h 458"/>
                  <a:gd name="T16" fmla="*/ 519 w 580"/>
                  <a:gd name="T17" fmla="*/ 442 h 458"/>
                  <a:gd name="T18" fmla="*/ 545 w 580"/>
                  <a:gd name="T19" fmla="*/ 458 h 458"/>
                  <a:gd name="T20" fmla="*/ 580 w 580"/>
                  <a:gd name="T21" fmla="*/ 438 h 458"/>
                  <a:gd name="T22" fmla="*/ 570 w 580"/>
                  <a:gd name="T23" fmla="*/ 421 h 458"/>
                  <a:gd name="T24" fmla="*/ 411 w 580"/>
                  <a:gd name="T25" fmla="*/ 245 h 458"/>
                  <a:gd name="T26" fmla="*/ 399 w 580"/>
                  <a:gd name="T27" fmla="*/ 229 h 458"/>
                  <a:gd name="T28" fmla="*/ 411 w 580"/>
                  <a:gd name="T29" fmla="*/ 213 h 458"/>
                  <a:gd name="T30" fmla="*/ 252 w 580"/>
                  <a:gd name="T31" fmla="*/ 439 h 458"/>
                  <a:gd name="T32" fmla="*/ 281 w 580"/>
                  <a:gd name="T33" fmla="*/ 454 h 458"/>
                  <a:gd name="T34" fmla="*/ 309 w 580"/>
                  <a:gd name="T35" fmla="*/ 439 h 458"/>
                  <a:gd name="T36" fmla="*/ 309 w 580"/>
                  <a:gd name="T37" fmla="*/ 19 h 458"/>
                  <a:gd name="T38" fmla="*/ 281 w 580"/>
                  <a:gd name="T39" fmla="*/ 4 h 458"/>
                  <a:gd name="T40" fmla="*/ 252 w 580"/>
                  <a:gd name="T41" fmla="*/ 19 h 458"/>
                  <a:gd name="T42" fmla="*/ 252 w 580"/>
                  <a:gd name="T43" fmla="*/ 439 h 458"/>
                  <a:gd name="T44" fmla="*/ 0 w 580"/>
                  <a:gd name="T45" fmla="*/ 439 h 458"/>
                  <a:gd name="T46" fmla="*/ 28 w 580"/>
                  <a:gd name="T47" fmla="*/ 454 h 458"/>
                  <a:gd name="T48" fmla="*/ 56 w 580"/>
                  <a:gd name="T49" fmla="*/ 439 h 458"/>
                  <a:gd name="T50" fmla="*/ 56 w 580"/>
                  <a:gd name="T51" fmla="*/ 157 h 458"/>
                  <a:gd name="T52" fmla="*/ 165 w 580"/>
                  <a:gd name="T53" fmla="*/ 53 h 458"/>
                  <a:gd name="T54" fmla="*/ 180 w 580"/>
                  <a:gd name="T55" fmla="*/ 53 h 458"/>
                  <a:gd name="T56" fmla="*/ 196 w 580"/>
                  <a:gd name="T57" fmla="*/ 27 h 458"/>
                  <a:gd name="T58" fmla="*/ 154 w 580"/>
                  <a:gd name="T59" fmla="*/ 4 h 458"/>
                  <a:gd name="T60" fmla="*/ 0 w 580"/>
                  <a:gd name="T61" fmla="*/ 152 h 458"/>
                  <a:gd name="T62" fmla="*/ 0 w 580"/>
                  <a:gd name="T63" fmla="*/ 439 h 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80" h="458">
                    <a:moveTo>
                      <a:pt x="411" y="213"/>
                    </a:moveTo>
                    <a:cubicBezTo>
                      <a:pt x="570" y="37"/>
                      <a:pt x="570" y="37"/>
                      <a:pt x="570" y="37"/>
                    </a:cubicBezTo>
                    <a:cubicBezTo>
                      <a:pt x="576" y="30"/>
                      <a:pt x="580" y="25"/>
                      <a:pt x="580" y="20"/>
                    </a:cubicBezTo>
                    <a:cubicBezTo>
                      <a:pt x="580" y="10"/>
                      <a:pt x="559" y="0"/>
                      <a:pt x="545" y="0"/>
                    </a:cubicBezTo>
                    <a:cubicBezTo>
                      <a:pt x="535" y="0"/>
                      <a:pt x="526" y="8"/>
                      <a:pt x="519" y="16"/>
                    </a:cubicBezTo>
                    <a:cubicBezTo>
                      <a:pt x="344" y="210"/>
                      <a:pt x="344" y="210"/>
                      <a:pt x="344" y="210"/>
                    </a:cubicBezTo>
                    <a:cubicBezTo>
                      <a:pt x="336" y="219"/>
                      <a:pt x="334" y="224"/>
                      <a:pt x="334" y="229"/>
                    </a:cubicBezTo>
                    <a:cubicBezTo>
                      <a:pt x="334" y="234"/>
                      <a:pt x="336" y="239"/>
                      <a:pt x="344" y="248"/>
                    </a:cubicBezTo>
                    <a:cubicBezTo>
                      <a:pt x="519" y="442"/>
                      <a:pt x="519" y="442"/>
                      <a:pt x="519" y="442"/>
                    </a:cubicBezTo>
                    <a:cubicBezTo>
                      <a:pt x="526" y="450"/>
                      <a:pt x="535" y="458"/>
                      <a:pt x="545" y="458"/>
                    </a:cubicBezTo>
                    <a:cubicBezTo>
                      <a:pt x="559" y="458"/>
                      <a:pt x="580" y="448"/>
                      <a:pt x="580" y="438"/>
                    </a:cubicBezTo>
                    <a:cubicBezTo>
                      <a:pt x="580" y="433"/>
                      <a:pt x="576" y="428"/>
                      <a:pt x="570" y="421"/>
                    </a:cubicBezTo>
                    <a:cubicBezTo>
                      <a:pt x="411" y="245"/>
                      <a:pt x="411" y="245"/>
                      <a:pt x="411" y="245"/>
                    </a:cubicBezTo>
                    <a:cubicBezTo>
                      <a:pt x="403" y="236"/>
                      <a:pt x="399" y="232"/>
                      <a:pt x="399" y="229"/>
                    </a:cubicBezTo>
                    <a:cubicBezTo>
                      <a:pt x="399" y="226"/>
                      <a:pt x="403" y="222"/>
                      <a:pt x="411" y="213"/>
                    </a:cubicBezTo>
                    <a:moveTo>
                      <a:pt x="252" y="439"/>
                    </a:moveTo>
                    <a:cubicBezTo>
                      <a:pt x="252" y="449"/>
                      <a:pt x="261" y="454"/>
                      <a:pt x="281" y="454"/>
                    </a:cubicBezTo>
                    <a:cubicBezTo>
                      <a:pt x="300" y="454"/>
                      <a:pt x="309" y="449"/>
                      <a:pt x="309" y="439"/>
                    </a:cubicBezTo>
                    <a:cubicBezTo>
                      <a:pt x="309" y="19"/>
                      <a:pt x="309" y="19"/>
                      <a:pt x="309" y="19"/>
                    </a:cubicBezTo>
                    <a:cubicBezTo>
                      <a:pt x="309" y="9"/>
                      <a:pt x="300" y="4"/>
                      <a:pt x="281" y="4"/>
                    </a:cubicBezTo>
                    <a:cubicBezTo>
                      <a:pt x="261" y="4"/>
                      <a:pt x="252" y="9"/>
                      <a:pt x="252" y="19"/>
                    </a:cubicBezTo>
                    <a:lnTo>
                      <a:pt x="252" y="439"/>
                    </a:lnTo>
                    <a:close/>
                    <a:moveTo>
                      <a:pt x="0" y="439"/>
                    </a:moveTo>
                    <a:cubicBezTo>
                      <a:pt x="0" y="449"/>
                      <a:pt x="8" y="454"/>
                      <a:pt x="28" y="454"/>
                    </a:cubicBezTo>
                    <a:cubicBezTo>
                      <a:pt x="48" y="454"/>
                      <a:pt x="56" y="449"/>
                      <a:pt x="56" y="439"/>
                    </a:cubicBezTo>
                    <a:cubicBezTo>
                      <a:pt x="56" y="157"/>
                      <a:pt x="56" y="157"/>
                      <a:pt x="56" y="157"/>
                    </a:cubicBezTo>
                    <a:cubicBezTo>
                      <a:pt x="56" y="83"/>
                      <a:pt x="85" y="53"/>
                      <a:pt x="165" y="53"/>
                    </a:cubicBezTo>
                    <a:cubicBezTo>
                      <a:pt x="180" y="53"/>
                      <a:pt x="180" y="53"/>
                      <a:pt x="180" y="53"/>
                    </a:cubicBezTo>
                    <a:cubicBezTo>
                      <a:pt x="192" y="53"/>
                      <a:pt x="196" y="43"/>
                      <a:pt x="196" y="27"/>
                    </a:cubicBezTo>
                    <a:cubicBezTo>
                      <a:pt x="196" y="8"/>
                      <a:pt x="185" y="4"/>
                      <a:pt x="154" y="4"/>
                    </a:cubicBezTo>
                    <a:cubicBezTo>
                      <a:pt x="64" y="4"/>
                      <a:pt x="0" y="43"/>
                      <a:pt x="0" y="152"/>
                    </a:cubicBezTo>
                    <a:lnTo>
                      <a:pt x="0" y="43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22" name="Freeform 7">
                <a:extLst>
                  <a:ext uri="{FF2B5EF4-FFF2-40B4-BE49-F238E27FC236}">
                    <a16:creationId xmlns:a16="http://schemas.microsoft.com/office/drawing/2014/main" id="{2F32DCBD-8628-F245-85CD-97686A20ECFD}"/>
                  </a:ext>
                </a:extLst>
              </p:cNvPr>
              <p:cNvSpPr>
                <a:spLocks/>
              </p:cNvSpPr>
              <p:nvPr/>
            </p:nvSpPr>
            <p:spPr bwMode="gray">
              <a:xfrm>
                <a:off x="2880" y="1704"/>
                <a:ext cx="618" cy="916"/>
              </a:xfrm>
              <a:custGeom>
                <a:avLst/>
                <a:gdLst>
                  <a:gd name="T0" fmla="*/ 307 w 307"/>
                  <a:gd name="T1" fmla="*/ 405 h 455"/>
                  <a:gd name="T2" fmla="*/ 307 w 307"/>
                  <a:gd name="T3" fmla="*/ 244 h 455"/>
                  <a:gd name="T4" fmla="*/ 279 w 307"/>
                  <a:gd name="T5" fmla="*/ 229 h 455"/>
                  <a:gd name="T6" fmla="*/ 250 w 307"/>
                  <a:gd name="T7" fmla="*/ 244 h 455"/>
                  <a:gd name="T8" fmla="*/ 250 w 307"/>
                  <a:gd name="T9" fmla="*/ 378 h 455"/>
                  <a:gd name="T10" fmla="*/ 199 w 307"/>
                  <a:gd name="T11" fmla="*/ 408 h 455"/>
                  <a:gd name="T12" fmla="*/ 61 w 307"/>
                  <a:gd name="T13" fmla="*/ 231 h 455"/>
                  <a:gd name="T14" fmla="*/ 238 w 307"/>
                  <a:gd name="T15" fmla="*/ 49 h 455"/>
                  <a:gd name="T16" fmla="*/ 270 w 307"/>
                  <a:gd name="T17" fmla="*/ 49 h 455"/>
                  <a:gd name="T18" fmla="*/ 286 w 307"/>
                  <a:gd name="T19" fmla="*/ 23 h 455"/>
                  <a:gd name="T20" fmla="*/ 244 w 307"/>
                  <a:gd name="T21" fmla="*/ 0 h 455"/>
                  <a:gd name="T22" fmla="*/ 231 w 307"/>
                  <a:gd name="T23" fmla="*/ 0 h 455"/>
                  <a:gd name="T24" fmla="*/ 0 w 307"/>
                  <a:gd name="T25" fmla="*/ 232 h 455"/>
                  <a:gd name="T26" fmla="*/ 198 w 307"/>
                  <a:gd name="T27" fmla="*/ 455 h 455"/>
                  <a:gd name="T28" fmla="*/ 307 w 307"/>
                  <a:gd name="T29" fmla="*/ 405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7" h="455">
                    <a:moveTo>
                      <a:pt x="307" y="405"/>
                    </a:moveTo>
                    <a:cubicBezTo>
                      <a:pt x="307" y="244"/>
                      <a:pt x="307" y="244"/>
                      <a:pt x="307" y="244"/>
                    </a:cubicBezTo>
                    <a:cubicBezTo>
                      <a:pt x="307" y="234"/>
                      <a:pt x="298" y="229"/>
                      <a:pt x="279" y="229"/>
                    </a:cubicBezTo>
                    <a:cubicBezTo>
                      <a:pt x="259" y="229"/>
                      <a:pt x="250" y="234"/>
                      <a:pt x="250" y="244"/>
                    </a:cubicBezTo>
                    <a:cubicBezTo>
                      <a:pt x="250" y="378"/>
                      <a:pt x="250" y="378"/>
                      <a:pt x="250" y="378"/>
                    </a:cubicBezTo>
                    <a:cubicBezTo>
                      <a:pt x="250" y="399"/>
                      <a:pt x="241" y="408"/>
                      <a:pt x="199" y="408"/>
                    </a:cubicBezTo>
                    <a:cubicBezTo>
                      <a:pt x="114" y="408"/>
                      <a:pt x="61" y="342"/>
                      <a:pt x="61" y="231"/>
                    </a:cubicBezTo>
                    <a:cubicBezTo>
                      <a:pt x="61" y="115"/>
                      <a:pt x="126" y="49"/>
                      <a:pt x="238" y="49"/>
                    </a:cubicBezTo>
                    <a:cubicBezTo>
                      <a:pt x="270" y="49"/>
                      <a:pt x="270" y="49"/>
                      <a:pt x="270" y="49"/>
                    </a:cubicBezTo>
                    <a:cubicBezTo>
                      <a:pt x="282" y="49"/>
                      <a:pt x="286" y="39"/>
                      <a:pt x="286" y="23"/>
                    </a:cubicBezTo>
                    <a:cubicBezTo>
                      <a:pt x="286" y="4"/>
                      <a:pt x="275" y="0"/>
                      <a:pt x="244" y="0"/>
                    </a:cubicBezTo>
                    <a:cubicBezTo>
                      <a:pt x="231" y="0"/>
                      <a:pt x="231" y="0"/>
                      <a:pt x="231" y="0"/>
                    </a:cubicBezTo>
                    <a:cubicBezTo>
                      <a:pt x="101" y="0"/>
                      <a:pt x="0" y="71"/>
                      <a:pt x="0" y="232"/>
                    </a:cubicBezTo>
                    <a:cubicBezTo>
                      <a:pt x="0" y="386"/>
                      <a:pt x="88" y="455"/>
                      <a:pt x="198" y="455"/>
                    </a:cubicBezTo>
                    <a:cubicBezTo>
                      <a:pt x="286" y="455"/>
                      <a:pt x="307" y="430"/>
                      <a:pt x="307" y="40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23" name="Oval 8">
                <a:extLst>
                  <a:ext uri="{FF2B5EF4-FFF2-40B4-BE49-F238E27FC236}">
                    <a16:creationId xmlns:a16="http://schemas.microsoft.com/office/drawing/2014/main" id="{60D97C11-1A3B-5449-A48D-98A3E79B3810}"/>
                  </a:ext>
                </a:extLst>
              </p:cNvPr>
              <p:cNvSpPr>
                <a:spLocks noChangeArrowheads="1"/>
              </p:cNvSpPr>
              <p:nvPr/>
            </p:nvSpPr>
            <p:spPr bwMode="gray">
              <a:xfrm>
                <a:off x="3778" y="2099"/>
                <a:ext cx="122" cy="12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24" name="Freeform 9">
                <a:extLst>
                  <a:ext uri="{FF2B5EF4-FFF2-40B4-BE49-F238E27FC236}">
                    <a16:creationId xmlns:a16="http://schemas.microsoft.com/office/drawing/2014/main" id="{5856770D-B8F0-244E-A05D-AED190086F10}"/>
                  </a:ext>
                </a:extLst>
              </p:cNvPr>
              <p:cNvSpPr>
                <a:spLocks noEditPoints="1"/>
              </p:cNvSpPr>
              <p:nvPr/>
            </p:nvSpPr>
            <p:spPr bwMode="gray">
              <a:xfrm>
                <a:off x="3623" y="1696"/>
                <a:ext cx="1167" cy="922"/>
              </a:xfrm>
              <a:custGeom>
                <a:avLst/>
                <a:gdLst>
                  <a:gd name="T0" fmla="*/ 411 w 580"/>
                  <a:gd name="T1" fmla="*/ 213 h 458"/>
                  <a:gd name="T2" fmla="*/ 570 w 580"/>
                  <a:gd name="T3" fmla="*/ 37 h 458"/>
                  <a:gd name="T4" fmla="*/ 580 w 580"/>
                  <a:gd name="T5" fmla="*/ 20 h 458"/>
                  <a:gd name="T6" fmla="*/ 545 w 580"/>
                  <a:gd name="T7" fmla="*/ 0 h 458"/>
                  <a:gd name="T8" fmla="*/ 519 w 580"/>
                  <a:gd name="T9" fmla="*/ 16 h 458"/>
                  <a:gd name="T10" fmla="*/ 344 w 580"/>
                  <a:gd name="T11" fmla="*/ 210 h 458"/>
                  <a:gd name="T12" fmla="*/ 334 w 580"/>
                  <a:gd name="T13" fmla="*/ 229 h 458"/>
                  <a:gd name="T14" fmla="*/ 344 w 580"/>
                  <a:gd name="T15" fmla="*/ 248 h 458"/>
                  <a:gd name="T16" fmla="*/ 519 w 580"/>
                  <a:gd name="T17" fmla="*/ 442 h 458"/>
                  <a:gd name="T18" fmla="*/ 545 w 580"/>
                  <a:gd name="T19" fmla="*/ 458 h 458"/>
                  <a:gd name="T20" fmla="*/ 580 w 580"/>
                  <a:gd name="T21" fmla="*/ 438 h 458"/>
                  <a:gd name="T22" fmla="*/ 570 w 580"/>
                  <a:gd name="T23" fmla="*/ 421 h 458"/>
                  <a:gd name="T24" fmla="*/ 411 w 580"/>
                  <a:gd name="T25" fmla="*/ 245 h 458"/>
                  <a:gd name="T26" fmla="*/ 399 w 580"/>
                  <a:gd name="T27" fmla="*/ 229 h 458"/>
                  <a:gd name="T28" fmla="*/ 411 w 580"/>
                  <a:gd name="T29" fmla="*/ 213 h 458"/>
                  <a:gd name="T30" fmla="*/ 252 w 580"/>
                  <a:gd name="T31" fmla="*/ 439 h 458"/>
                  <a:gd name="T32" fmla="*/ 281 w 580"/>
                  <a:gd name="T33" fmla="*/ 454 h 458"/>
                  <a:gd name="T34" fmla="*/ 309 w 580"/>
                  <a:gd name="T35" fmla="*/ 439 h 458"/>
                  <a:gd name="T36" fmla="*/ 309 w 580"/>
                  <a:gd name="T37" fmla="*/ 19 h 458"/>
                  <a:gd name="T38" fmla="*/ 281 w 580"/>
                  <a:gd name="T39" fmla="*/ 4 h 458"/>
                  <a:gd name="T40" fmla="*/ 252 w 580"/>
                  <a:gd name="T41" fmla="*/ 19 h 458"/>
                  <a:gd name="T42" fmla="*/ 252 w 580"/>
                  <a:gd name="T43" fmla="*/ 439 h 458"/>
                  <a:gd name="T44" fmla="*/ 0 w 580"/>
                  <a:gd name="T45" fmla="*/ 439 h 458"/>
                  <a:gd name="T46" fmla="*/ 28 w 580"/>
                  <a:gd name="T47" fmla="*/ 454 h 458"/>
                  <a:gd name="T48" fmla="*/ 56 w 580"/>
                  <a:gd name="T49" fmla="*/ 439 h 458"/>
                  <a:gd name="T50" fmla="*/ 56 w 580"/>
                  <a:gd name="T51" fmla="*/ 157 h 458"/>
                  <a:gd name="T52" fmla="*/ 165 w 580"/>
                  <a:gd name="T53" fmla="*/ 53 h 458"/>
                  <a:gd name="T54" fmla="*/ 180 w 580"/>
                  <a:gd name="T55" fmla="*/ 53 h 458"/>
                  <a:gd name="T56" fmla="*/ 196 w 580"/>
                  <a:gd name="T57" fmla="*/ 27 h 458"/>
                  <a:gd name="T58" fmla="*/ 154 w 580"/>
                  <a:gd name="T59" fmla="*/ 4 h 458"/>
                  <a:gd name="T60" fmla="*/ 0 w 580"/>
                  <a:gd name="T61" fmla="*/ 152 h 458"/>
                  <a:gd name="T62" fmla="*/ 0 w 580"/>
                  <a:gd name="T63" fmla="*/ 439 h 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80" h="458">
                    <a:moveTo>
                      <a:pt x="411" y="213"/>
                    </a:moveTo>
                    <a:cubicBezTo>
                      <a:pt x="570" y="37"/>
                      <a:pt x="570" y="37"/>
                      <a:pt x="570" y="37"/>
                    </a:cubicBezTo>
                    <a:cubicBezTo>
                      <a:pt x="576" y="30"/>
                      <a:pt x="580" y="25"/>
                      <a:pt x="580" y="20"/>
                    </a:cubicBezTo>
                    <a:cubicBezTo>
                      <a:pt x="580" y="10"/>
                      <a:pt x="559" y="0"/>
                      <a:pt x="545" y="0"/>
                    </a:cubicBezTo>
                    <a:cubicBezTo>
                      <a:pt x="535" y="0"/>
                      <a:pt x="526" y="8"/>
                      <a:pt x="519" y="16"/>
                    </a:cubicBezTo>
                    <a:cubicBezTo>
                      <a:pt x="344" y="210"/>
                      <a:pt x="344" y="210"/>
                      <a:pt x="344" y="210"/>
                    </a:cubicBezTo>
                    <a:cubicBezTo>
                      <a:pt x="336" y="219"/>
                      <a:pt x="334" y="224"/>
                      <a:pt x="334" y="229"/>
                    </a:cubicBezTo>
                    <a:cubicBezTo>
                      <a:pt x="334" y="234"/>
                      <a:pt x="336" y="239"/>
                      <a:pt x="344" y="248"/>
                    </a:cubicBezTo>
                    <a:cubicBezTo>
                      <a:pt x="519" y="442"/>
                      <a:pt x="519" y="442"/>
                      <a:pt x="519" y="442"/>
                    </a:cubicBezTo>
                    <a:cubicBezTo>
                      <a:pt x="526" y="450"/>
                      <a:pt x="535" y="458"/>
                      <a:pt x="545" y="458"/>
                    </a:cubicBezTo>
                    <a:cubicBezTo>
                      <a:pt x="559" y="458"/>
                      <a:pt x="580" y="448"/>
                      <a:pt x="580" y="438"/>
                    </a:cubicBezTo>
                    <a:cubicBezTo>
                      <a:pt x="580" y="433"/>
                      <a:pt x="576" y="428"/>
                      <a:pt x="570" y="421"/>
                    </a:cubicBezTo>
                    <a:cubicBezTo>
                      <a:pt x="411" y="245"/>
                      <a:pt x="411" y="245"/>
                      <a:pt x="411" y="245"/>
                    </a:cubicBezTo>
                    <a:cubicBezTo>
                      <a:pt x="403" y="236"/>
                      <a:pt x="399" y="232"/>
                      <a:pt x="399" y="229"/>
                    </a:cubicBezTo>
                    <a:cubicBezTo>
                      <a:pt x="399" y="226"/>
                      <a:pt x="403" y="222"/>
                      <a:pt x="411" y="213"/>
                    </a:cubicBezTo>
                    <a:moveTo>
                      <a:pt x="252" y="439"/>
                    </a:moveTo>
                    <a:cubicBezTo>
                      <a:pt x="252" y="449"/>
                      <a:pt x="261" y="454"/>
                      <a:pt x="281" y="454"/>
                    </a:cubicBezTo>
                    <a:cubicBezTo>
                      <a:pt x="300" y="454"/>
                      <a:pt x="309" y="449"/>
                      <a:pt x="309" y="439"/>
                    </a:cubicBezTo>
                    <a:cubicBezTo>
                      <a:pt x="309" y="19"/>
                      <a:pt x="309" y="19"/>
                      <a:pt x="309" y="19"/>
                    </a:cubicBezTo>
                    <a:cubicBezTo>
                      <a:pt x="309" y="9"/>
                      <a:pt x="300" y="4"/>
                      <a:pt x="281" y="4"/>
                    </a:cubicBezTo>
                    <a:cubicBezTo>
                      <a:pt x="261" y="4"/>
                      <a:pt x="252" y="9"/>
                      <a:pt x="252" y="19"/>
                    </a:cubicBezTo>
                    <a:lnTo>
                      <a:pt x="252" y="439"/>
                    </a:lnTo>
                    <a:close/>
                    <a:moveTo>
                      <a:pt x="0" y="439"/>
                    </a:moveTo>
                    <a:cubicBezTo>
                      <a:pt x="0" y="449"/>
                      <a:pt x="8" y="454"/>
                      <a:pt x="28" y="454"/>
                    </a:cubicBezTo>
                    <a:cubicBezTo>
                      <a:pt x="48" y="454"/>
                      <a:pt x="56" y="449"/>
                      <a:pt x="56" y="439"/>
                    </a:cubicBezTo>
                    <a:cubicBezTo>
                      <a:pt x="56" y="157"/>
                      <a:pt x="56" y="157"/>
                      <a:pt x="56" y="157"/>
                    </a:cubicBezTo>
                    <a:cubicBezTo>
                      <a:pt x="56" y="83"/>
                      <a:pt x="85" y="53"/>
                      <a:pt x="165" y="53"/>
                    </a:cubicBezTo>
                    <a:cubicBezTo>
                      <a:pt x="180" y="53"/>
                      <a:pt x="180" y="53"/>
                      <a:pt x="180" y="53"/>
                    </a:cubicBezTo>
                    <a:cubicBezTo>
                      <a:pt x="192" y="53"/>
                      <a:pt x="196" y="43"/>
                      <a:pt x="196" y="27"/>
                    </a:cubicBezTo>
                    <a:cubicBezTo>
                      <a:pt x="196" y="8"/>
                      <a:pt x="185" y="4"/>
                      <a:pt x="154" y="4"/>
                    </a:cubicBezTo>
                    <a:cubicBezTo>
                      <a:pt x="64" y="4"/>
                      <a:pt x="0" y="43"/>
                      <a:pt x="0" y="152"/>
                    </a:cubicBezTo>
                    <a:lnTo>
                      <a:pt x="0" y="43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25" name="Freeform 10">
                <a:extLst>
                  <a:ext uri="{FF2B5EF4-FFF2-40B4-BE49-F238E27FC236}">
                    <a16:creationId xmlns:a16="http://schemas.microsoft.com/office/drawing/2014/main" id="{2B91B16B-BC11-E547-8FAC-B9B8D18EA449}"/>
                  </a:ext>
                </a:extLst>
              </p:cNvPr>
              <p:cNvSpPr>
                <a:spLocks/>
              </p:cNvSpPr>
              <p:nvPr/>
            </p:nvSpPr>
            <p:spPr bwMode="gray">
              <a:xfrm>
                <a:off x="2880" y="1704"/>
                <a:ext cx="618" cy="916"/>
              </a:xfrm>
              <a:custGeom>
                <a:avLst/>
                <a:gdLst>
                  <a:gd name="T0" fmla="*/ 307 w 307"/>
                  <a:gd name="T1" fmla="*/ 405 h 455"/>
                  <a:gd name="T2" fmla="*/ 307 w 307"/>
                  <a:gd name="T3" fmla="*/ 244 h 455"/>
                  <a:gd name="T4" fmla="*/ 279 w 307"/>
                  <a:gd name="T5" fmla="*/ 229 h 455"/>
                  <a:gd name="T6" fmla="*/ 250 w 307"/>
                  <a:gd name="T7" fmla="*/ 244 h 455"/>
                  <a:gd name="T8" fmla="*/ 250 w 307"/>
                  <a:gd name="T9" fmla="*/ 378 h 455"/>
                  <a:gd name="T10" fmla="*/ 199 w 307"/>
                  <a:gd name="T11" fmla="*/ 408 h 455"/>
                  <a:gd name="T12" fmla="*/ 61 w 307"/>
                  <a:gd name="T13" fmla="*/ 231 h 455"/>
                  <a:gd name="T14" fmla="*/ 238 w 307"/>
                  <a:gd name="T15" fmla="*/ 49 h 455"/>
                  <a:gd name="T16" fmla="*/ 270 w 307"/>
                  <a:gd name="T17" fmla="*/ 49 h 455"/>
                  <a:gd name="T18" fmla="*/ 286 w 307"/>
                  <a:gd name="T19" fmla="*/ 23 h 455"/>
                  <a:gd name="T20" fmla="*/ 244 w 307"/>
                  <a:gd name="T21" fmla="*/ 0 h 455"/>
                  <a:gd name="T22" fmla="*/ 231 w 307"/>
                  <a:gd name="T23" fmla="*/ 0 h 455"/>
                  <a:gd name="T24" fmla="*/ 0 w 307"/>
                  <a:gd name="T25" fmla="*/ 232 h 455"/>
                  <a:gd name="T26" fmla="*/ 198 w 307"/>
                  <a:gd name="T27" fmla="*/ 455 h 455"/>
                  <a:gd name="T28" fmla="*/ 307 w 307"/>
                  <a:gd name="T29" fmla="*/ 405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7" h="455">
                    <a:moveTo>
                      <a:pt x="307" y="405"/>
                    </a:moveTo>
                    <a:cubicBezTo>
                      <a:pt x="307" y="244"/>
                      <a:pt x="307" y="244"/>
                      <a:pt x="307" y="244"/>
                    </a:cubicBezTo>
                    <a:cubicBezTo>
                      <a:pt x="307" y="234"/>
                      <a:pt x="298" y="229"/>
                      <a:pt x="279" y="229"/>
                    </a:cubicBezTo>
                    <a:cubicBezTo>
                      <a:pt x="259" y="229"/>
                      <a:pt x="250" y="234"/>
                      <a:pt x="250" y="244"/>
                    </a:cubicBezTo>
                    <a:cubicBezTo>
                      <a:pt x="250" y="378"/>
                      <a:pt x="250" y="378"/>
                      <a:pt x="250" y="378"/>
                    </a:cubicBezTo>
                    <a:cubicBezTo>
                      <a:pt x="250" y="399"/>
                      <a:pt x="241" y="408"/>
                      <a:pt x="199" y="408"/>
                    </a:cubicBezTo>
                    <a:cubicBezTo>
                      <a:pt x="114" y="408"/>
                      <a:pt x="61" y="342"/>
                      <a:pt x="61" y="231"/>
                    </a:cubicBezTo>
                    <a:cubicBezTo>
                      <a:pt x="61" y="115"/>
                      <a:pt x="126" y="49"/>
                      <a:pt x="238" y="49"/>
                    </a:cubicBezTo>
                    <a:cubicBezTo>
                      <a:pt x="270" y="49"/>
                      <a:pt x="270" y="49"/>
                      <a:pt x="270" y="49"/>
                    </a:cubicBezTo>
                    <a:cubicBezTo>
                      <a:pt x="282" y="49"/>
                      <a:pt x="286" y="39"/>
                      <a:pt x="286" y="23"/>
                    </a:cubicBezTo>
                    <a:cubicBezTo>
                      <a:pt x="286" y="4"/>
                      <a:pt x="275" y="0"/>
                      <a:pt x="244" y="0"/>
                    </a:cubicBezTo>
                    <a:cubicBezTo>
                      <a:pt x="231" y="0"/>
                      <a:pt x="231" y="0"/>
                      <a:pt x="231" y="0"/>
                    </a:cubicBezTo>
                    <a:cubicBezTo>
                      <a:pt x="101" y="0"/>
                      <a:pt x="0" y="71"/>
                      <a:pt x="0" y="232"/>
                    </a:cubicBezTo>
                    <a:cubicBezTo>
                      <a:pt x="0" y="386"/>
                      <a:pt x="88" y="455"/>
                      <a:pt x="198" y="455"/>
                    </a:cubicBezTo>
                    <a:cubicBezTo>
                      <a:pt x="286" y="455"/>
                      <a:pt x="307" y="430"/>
                      <a:pt x="307" y="40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26" name="Oval 11">
                <a:extLst>
                  <a:ext uri="{FF2B5EF4-FFF2-40B4-BE49-F238E27FC236}">
                    <a16:creationId xmlns:a16="http://schemas.microsoft.com/office/drawing/2014/main" id="{14F8C3C8-4888-7646-B9B4-64EB46A1DA23}"/>
                  </a:ext>
                </a:extLst>
              </p:cNvPr>
              <p:cNvSpPr>
                <a:spLocks noChangeArrowheads="1"/>
              </p:cNvSpPr>
              <p:nvPr/>
            </p:nvSpPr>
            <p:spPr bwMode="gray">
              <a:xfrm>
                <a:off x="3778" y="2099"/>
                <a:ext cx="122" cy="12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27" name="Freeform 12">
                <a:extLst>
                  <a:ext uri="{FF2B5EF4-FFF2-40B4-BE49-F238E27FC236}">
                    <a16:creationId xmlns:a16="http://schemas.microsoft.com/office/drawing/2014/main" id="{D79D01D1-4E3E-F34B-97D7-2D387E68746E}"/>
                  </a:ext>
                </a:extLst>
              </p:cNvPr>
              <p:cNvSpPr>
                <a:spLocks/>
              </p:cNvSpPr>
              <p:nvPr/>
            </p:nvSpPr>
            <p:spPr bwMode="gray">
              <a:xfrm>
                <a:off x="4321" y="1029"/>
                <a:ext cx="648" cy="649"/>
              </a:xfrm>
              <a:custGeom>
                <a:avLst/>
                <a:gdLst>
                  <a:gd name="T0" fmla="*/ 0 w 648"/>
                  <a:gd name="T1" fmla="*/ 649 h 649"/>
                  <a:gd name="T2" fmla="*/ 2 w 648"/>
                  <a:gd name="T3" fmla="*/ 649 h 649"/>
                  <a:gd name="T4" fmla="*/ 648 w 648"/>
                  <a:gd name="T5" fmla="*/ 0 h 649"/>
                  <a:gd name="T6" fmla="*/ 423 w 648"/>
                  <a:gd name="T7" fmla="*/ 0 h 649"/>
                  <a:gd name="T8" fmla="*/ 0 w 648"/>
                  <a:gd name="T9" fmla="*/ 649 h 649"/>
                </a:gdLst>
                <a:ahLst/>
                <a:cxnLst>
                  <a:cxn ang="0">
                    <a:pos x="T0" y="T1"/>
                  </a:cxn>
                  <a:cxn ang="0">
                    <a:pos x="T2" y="T3"/>
                  </a:cxn>
                  <a:cxn ang="0">
                    <a:pos x="T4" y="T5"/>
                  </a:cxn>
                  <a:cxn ang="0">
                    <a:pos x="T6" y="T7"/>
                  </a:cxn>
                  <a:cxn ang="0">
                    <a:pos x="T8" y="T9"/>
                  </a:cxn>
                </a:cxnLst>
                <a:rect l="0" t="0" r="r" b="b"/>
                <a:pathLst>
                  <a:path w="648" h="649">
                    <a:moveTo>
                      <a:pt x="0" y="649"/>
                    </a:moveTo>
                    <a:lnTo>
                      <a:pt x="2" y="649"/>
                    </a:lnTo>
                    <a:lnTo>
                      <a:pt x="648" y="0"/>
                    </a:lnTo>
                    <a:lnTo>
                      <a:pt x="423" y="0"/>
                    </a:lnTo>
                    <a:lnTo>
                      <a:pt x="0" y="64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28" name="Freeform 13">
                <a:extLst>
                  <a:ext uri="{FF2B5EF4-FFF2-40B4-BE49-F238E27FC236}">
                    <a16:creationId xmlns:a16="http://schemas.microsoft.com/office/drawing/2014/main" id="{46549898-6C52-B147-A8F6-A73FDBE6163B}"/>
                  </a:ext>
                </a:extLst>
              </p:cNvPr>
              <p:cNvSpPr>
                <a:spLocks/>
              </p:cNvSpPr>
              <p:nvPr/>
            </p:nvSpPr>
            <p:spPr bwMode="gray">
              <a:xfrm>
                <a:off x="4321" y="1029"/>
                <a:ext cx="648" cy="649"/>
              </a:xfrm>
              <a:custGeom>
                <a:avLst/>
                <a:gdLst>
                  <a:gd name="T0" fmla="*/ 0 w 648"/>
                  <a:gd name="T1" fmla="*/ 649 h 649"/>
                  <a:gd name="T2" fmla="*/ 2 w 648"/>
                  <a:gd name="T3" fmla="*/ 649 h 649"/>
                  <a:gd name="T4" fmla="*/ 648 w 648"/>
                  <a:gd name="T5" fmla="*/ 0 h 649"/>
                  <a:gd name="T6" fmla="*/ 423 w 648"/>
                  <a:gd name="T7" fmla="*/ 0 h 649"/>
                  <a:gd name="T8" fmla="*/ 0 w 648"/>
                  <a:gd name="T9" fmla="*/ 649 h 649"/>
                </a:gdLst>
                <a:ahLst/>
                <a:cxnLst>
                  <a:cxn ang="0">
                    <a:pos x="T0" y="T1"/>
                  </a:cxn>
                  <a:cxn ang="0">
                    <a:pos x="T2" y="T3"/>
                  </a:cxn>
                  <a:cxn ang="0">
                    <a:pos x="T4" y="T5"/>
                  </a:cxn>
                  <a:cxn ang="0">
                    <a:pos x="T6" y="T7"/>
                  </a:cxn>
                  <a:cxn ang="0">
                    <a:pos x="T8" y="T9"/>
                  </a:cxn>
                </a:cxnLst>
                <a:rect l="0" t="0" r="r" b="b"/>
                <a:pathLst>
                  <a:path w="648" h="649">
                    <a:moveTo>
                      <a:pt x="0" y="649"/>
                    </a:moveTo>
                    <a:lnTo>
                      <a:pt x="2" y="649"/>
                    </a:lnTo>
                    <a:lnTo>
                      <a:pt x="648" y="0"/>
                    </a:lnTo>
                    <a:lnTo>
                      <a:pt x="423" y="0"/>
                    </a:lnTo>
                    <a:lnTo>
                      <a:pt x="0" y="64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grpSp>
      </p:grpSp>
      <p:sp>
        <p:nvSpPr>
          <p:cNvPr id="7" name="Date Placeholder 6"/>
          <p:cNvSpPr>
            <a:spLocks noGrp="1"/>
          </p:cNvSpPr>
          <p:nvPr>
            <p:ph type="dt" sz="half" idx="10"/>
          </p:nvPr>
        </p:nvSpPr>
        <p:spPr>
          <a:xfrm>
            <a:off x="0" y="0"/>
            <a:ext cx="0" cy="0"/>
          </a:xfrm>
          <a:prstGeom prst="rect">
            <a:avLst/>
          </a:prstGeom>
        </p:spPr>
        <p:txBody>
          <a:bodyPr/>
          <a:lstStyle>
            <a:lvl1pPr>
              <a:defRPr sz="100">
                <a:noFill/>
              </a:defRPr>
            </a:lvl1pPr>
          </a:lstStyle>
          <a:p>
            <a:endParaRPr lang="en-US"/>
          </a:p>
        </p:txBody>
      </p:sp>
      <p:sp>
        <p:nvSpPr>
          <p:cNvPr id="8" name="Footer Placeholder 7"/>
          <p:cNvSpPr>
            <a:spLocks noGrp="1"/>
          </p:cNvSpPr>
          <p:nvPr>
            <p:ph type="ftr" sz="quarter" idx="11"/>
          </p:nvPr>
        </p:nvSpPr>
        <p:spPr>
          <a:xfrm>
            <a:off x="0" y="0"/>
            <a:ext cx="0" cy="0"/>
          </a:xfrm>
          <a:prstGeom prst="rect">
            <a:avLst/>
          </a:prstGeom>
        </p:spPr>
        <p:txBody>
          <a:bodyPr/>
          <a:lstStyle>
            <a:lvl1pPr marL="0" indent="0">
              <a:buNone/>
              <a:defRPr sz="100">
                <a:noFill/>
              </a:defRPr>
            </a:lvl1pPr>
          </a:lstStyle>
          <a:p>
            <a:endParaRPr lang="en-US"/>
          </a:p>
        </p:txBody>
      </p:sp>
      <p:sp>
        <p:nvSpPr>
          <p:cNvPr id="9" name="Slide Number Placeholder 8"/>
          <p:cNvSpPr>
            <a:spLocks noGrp="1"/>
          </p:cNvSpPr>
          <p:nvPr>
            <p:ph type="sldNum" sz="quarter" idx="12"/>
          </p:nvPr>
        </p:nvSpPr>
        <p:spPr>
          <a:xfrm>
            <a:off x="0" y="0"/>
            <a:ext cx="0" cy="0"/>
          </a:xfrm>
          <a:prstGeom prst="rect">
            <a:avLst/>
          </a:prstGeom>
        </p:spPr>
        <p:txBody>
          <a:bodyPr/>
          <a:lstStyle>
            <a:lvl1pPr>
              <a:defRPr sz="100">
                <a:noFill/>
              </a:defRPr>
            </a:lvl1pPr>
          </a:lstStyle>
          <a:p>
            <a:fld id="{8E3B25F7-8D1F-44B5-B485-EE3C438CFD7B}" type="slidenum">
              <a:rPr lang="en-US" smtClean="0"/>
              <a:pPr/>
              <a:t>‹#›</a:t>
            </a:fld>
            <a:endParaRPr lang="en-US"/>
          </a:p>
        </p:txBody>
      </p:sp>
      <p:sp>
        <p:nvSpPr>
          <p:cNvPr id="2" name="Title 1"/>
          <p:cNvSpPr>
            <a:spLocks noGrp="1"/>
          </p:cNvSpPr>
          <p:nvPr>
            <p:ph type="ctrTitle" hasCustomPrompt="1"/>
          </p:nvPr>
        </p:nvSpPr>
        <p:spPr>
          <a:xfrm>
            <a:off x="4524589" y="1628775"/>
            <a:ext cx="5707662" cy="2236264"/>
          </a:xfrm>
        </p:spPr>
        <p:txBody>
          <a:bodyPr anchor="b"/>
          <a:lstStyle>
            <a:lvl1pPr algn="l">
              <a:defRPr sz="3600" baseline="0"/>
            </a:lvl1pPr>
          </a:lstStyle>
          <a:p>
            <a:r>
              <a:rPr lang="en-US"/>
              <a:t>Click to add a longer presentation title</a:t>
            </a:r>
          </a:p>
        </p:txBody>
      </p:sp>
      <p:sp>
        <p:nvSpPr>
          <p:cNvPr id="3" name="Subtitle 2"/>
          <p:cNvSpPr>
            <a:spLocks noGrp="1"/>
          </p:cNvSpPr>
          <p:nvPr>
            <p:ph type="subTitle" idx="1" hasCustomPrompt="1"/>
          </p:nvPr>
        </p:nvSpPr>
        <p:spPr>
          <a:xfrm>
            <a:off x="4524589" y="4094163"/>
            <a:ext cx="5707662" cy="1080000"/>
          </a:xfrm>
        </p:spPr>
        <p:txBody>
          <a:bodyPr/>
          <a:lstStyle>
            <a:lvl1pPr marL="0" indent="0" algn="l">
              <a:spcBef>
                <a:spcPts val="0"/>
              </a:spcBef>
              <a:buNone/>
              <a:defRPr sz="1800" b="1"/>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sp>
        <p:nvSpPr>
          <p:cNvPr id="31" name="Text Placeholder 30"/>
          <p:cNvSpPr>
            <a:spLocks noGrp="1"/>
          </p:cNvSpPr>
          <p:nvPr>
            <p:ph type="body" sz="quarter" idx="14" hasCustomPrompt="1"/>
          </p:nvPr>
        </p:nvSpPr>
        <p:spPr>
          <a:xfrm>
            <a:off x="417600" y="5393268"/>
            <a:ext cx="2494933" cy="296332"/>
          </a:xfrm>
        </p:spPr>
        <p:txBody>
          <a:bodyPr wrap="none"/>
          <a:lstStyle>
            <a:lvl1pPr marL="0" indent="0">
              <a:spcBef>
                <a:spcPts val="0"/>
              </a:spcBef>
              <a:buNone/>
              <a:defRPr sz="1200"/>
            </a:lvl1pPr>
            <a:lvl2pPr marL="0" indent="0">
              <a:buNone/>
              <a:defRPr sz="1200"/>
            </a:lvl2pPr>
            <a:lvl3pPr marL="0" indent="0">
              <a:buNone/>
              <a:defRPr sz="1200"/>
            </a:lvl3pPr>
            <a:lvl4pPr marL="0">
              <a:buNone/>
              <a:defRPr sz="1200"/>
            </a:lvl4pPr>
            <a:lvl5pPr marL="0" indent="0">
              <a:buNone/>
              <a:defRPr sz="1200"/>
            </a:lvl5pPr>
          </a:lstStyle>
          <a:p>
            <a:pPr lvl="0"/>
            <a:r>
              <a:rPr lang="en-US"/>
              <a:t>Name</a:t>
            </a:r>
          </a:p>
        </p:txBody>
      </p:sp>
      <p:sp>
        <p:nvSpPr>
          <p:cNvPr id="34" name="Text Placeholder 30"/>
          <p:cNvSpPr>
            <a:spLocks noGrp="1"/>
          </p:cNvSpPr>
          <p:nvPr>
            <p:ph type="body" sz="quarter" idx="15" hasCustomPrompt="1"/>
          </p:nvPr>
        </p:nvSpPr>
        <p:spPr>
          <a:xfrm>
            <a:off x="417600" y="5691446"/>
            <a:ext cx="2494933" cy="296332"/>
          </a:xfrm>
        </p:spPr>
        <p:txBody>
          <a:bodyPr wrap="none"/>
          <a:lstStyle>
            <a:lvl1pPr marL="0" indent="0">
              <a:spcBef>
                <a:spcPts val="0"/>
              </a:spcBef>
              <a:buNone/>
              <a:defRPr sz="1200"/>
            </a:lvl1pPr>
            <a:lvl2pPr marL="0" indent="0">
              <a:buNone/>
              <a:defRPr sz="1200"/>
            </a:lvl2pPr>
            <a:lvl3pPr marL="0" indent="0">
              <a:buNone/>
              <a:defRPr sz="1200"/>
            </a:lvl3pPr>
            <a:lvl4pPr marL="0">
              <a:buNone/>
              <a:defRPr sz="1200"/>
            </a:lvl4pPr>
            <a:lvl5pPr marL="0" indent="0">
              <a:buNone/>
              <a:defRPr sz="1200"/>
            </a:lvl5pPr>
          </a:lstStyle>
          <a:p>
            <a:pPr lvl="0"/>
            <a:r>
              <a:rPr lang="en-US"/>
              <a:t>Department</a:t>
            </a:r>
          </a:p>
        </p:txBody>
      </p:sp>
    </p:spTree>
    <p:extLst>
      <p:ext uri="{BB962C8B-B14F-4D97-AF65-F5344CB8AC3E}">
        <p14:creationId xmlns:p14="http://schemas.microsoft.com/office/powerpoint/2010/main" val="712746664"/>
      </p:ext>
    </p:extLst>
  </p:cSld>
  <p:clrMapOvr>
    <a:masterClrMapping/>
  </p:clrMapOvr>
</p:sldLayout>
</file>

<file path=ppt/slideLayouts/slideLayout418.xml><?xml version="1.0" encoding="utf-8"?>
<p:sldLayout xmlns:a="http://schemas.openxmlformats.org/drawingml/2006/main" xmlns:r="http://schemas.openxmlformats.org/officeDocument/2006/relationships" xmlns:p="http://schemas.openxmlformats.org/presentationml/2006/main" showMasterSp="0" preserve="1">
  <p:cSld name="Title with picture">
    <p:spTree>
      <p:nvGrpSpPr>
        <p:cNvPr id="1" name=""/>
        <p:cNvGrpSpPr/>
        <p:nvPr/>
      </p:nvGrpSpPr>
      <p:grpSpPr>
        <a:xfrm>
          <a:off x="0" y="0"/>
          <a:ext cx="0" cy="0"/>
          <a:chOff x="0" y="0"/>
          <a:chExt cx="0" cy="0"/>
        </a:xfrm>
      </p:grpSpPr>
      <p:sp>
        <p:nvSpPr>
          <p:cNvPr id="12" name="Picture Placeholder 11"/>
          <p:cNvSpPr>
            <a:spLocks noGrp="1"/>
          </p:cNvSpPr>
          <p:nvPr>
            <p:ph type="pic" sz="quarter" idx="13" hasCustomPrompt="1"/>
          </p:nvPr>
        </p:nvSpPr>
        <p:spPr>
          <a:xfrm>
            <a:off x="3376226" y="0"/>
            <a:ext cx="8815774" cy="6858000"/>
          </a:xfrm>
          <a:custGeom>
            <a:avLst/>
            <a:gdLst>
              <a:gd name="connsiteX0" fmla="*/ 331042 w 8815774"/>
              <a:gd name="connsiteY0" fmla="*/ 0 h 6858000"/>
              <a:gd name="connsiteX1" fmla="*/ 8815774 w 8815774"/>
              <a:gd name="connsiteY1" fmla="*/ 0 h 6858000"/>
              <a:gd name="connsiteX2" fmla="*/ 8815774 w 8815774"/>
              <a:gd name="connsiteY2" fmla="*/ 6858000 h 6858000"/>
              <a:gd name="connsiteX3" fmla="*/ 0 w 8815774"/>
              <a:gd name="connsiteY3" fmla="*/ 6858000 h 6858000"/>
              <a:gd name="connsiteX4" fmla="*/ 1580491 w 8815774"/>
              <a:gd name="connsiteY4" fmla="*/ 4163677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15774" h="6858000">
                <a:moveTo>
                  <a:pt x="331042" y="0"/>
                </a:moveTo>
                <a:lnTo>
                  <a:pt x="8815774" y="0"/>
                </a:lnTo>
                <a:lnTo>
                  <a:pt x="8815774" y="6858000"/>
                </a:lnTo>
                <a:lnTo>
                  <a:pt x="0" y="6858000"/>
                </a:lnTo>
                <a:lnTo>
                  <a:pt x="1580491" y="4163677"/>
                </a:lnTo>
                <a:close/>
              </a:path>
            </a:pathLst>
          </a:custGeom>
          <a:solidFill>
            <a:srgbClr val="D9DADB"/>
          </a:solidFill>
        </p:spPr>
        <p:txBody>
          <a:bodyPr wrap="square">
            <a:noAutofit/>
          </a:bodyPr>
          <a:lstStyle>
            <a:lvl1pPr marL="0" indent="0" algn="ctr">
              <a:buNone/>
              <a:defRPr/>
            </a:lvl1pPr>
          </a:lstStyle>
          <a:p>
            <a:r>
              <a:rPr lang="en-US"/>
              <a:t>Insert picture</a:t>
            </a:r>
          </a:p>
        </p:txBody>
      </p:sp>
      <p:grpSp>
        <p:nvGrpSpPr>
          <p:cNvPr id="14" name="logo">
            <a:extLst>
              <a:ext uri="{FF2B5EF4-FFF2-40B4-BE49-F238E27FC236}">
                <a16:creationId xmlns:a16="http://schemas.microsoft.com/office/drawing/2014/main" id="{18C26D95-70F8-8A4D-9F18-DCCB92522AF8}"/>
              </a:ext>
            </a:extLst>
          </p:cNvPr>
          <p:cNvGrpSpPr/>
          <p:nvPr/>
        </p:nvGrpSpPr>
        <p:grpSpPr bwMode="gray">
          <a:xfrm>
            <a:off x="417363" y="407485"/>
            <a:ext cx="1518585" cy="646507"/>
            <a:chOff x="334963" y="296652"/>
            <a:chExt cx="1268411" cy="540000"/>
          </a:xfrm>
        </p:grpSpPr>
        <p:sp>
          <p:nvSpPr>
            <p:cNvPr id="17" name="Freeform 6">
              <a:extLst>
                <a:ext uri="{FF2B5EF4-FFF2-40B4-BE49-F238E27FC236}">
                  <a16:creationId xmlns:a16="http://schemas.microsoft.com/office/drawing/2014/main" id="{08737AD0-E375-E445-97E6-CD2E2DF60620}"/>
                </a:ext>
              </a:extLst>
            </p:cNvPr>
            <p:cNvSpPr>
              <a:spLocks noEditPoints="1"/>
            </p:cNvSpPr>
            <p:nvPr/>
          </p:nvSpPr>
          <p:spPr bwMode="gray">
            <a:xfrm>
              <a:off x="982662" y="360462"/>
              <a:ext cx="620712" cy="431800"/>
            </a:xfrm>
            <a:custGeom>
              <a:avLst/>
              <a:gdLst>
                <a:gd name="T0" fmla="*/ 19 w 1809"/>
                <a:gd name="T1" fmla="*/ 97 h 1253"/>
                <a:gd name="T2" fmla="*/ 165 w 1809"/>
                <a:gd name="T3" fmla="*/ 41 h 1253"/>
                <a:gd name="T4" fmla="*/ 211 w 1809"/>
                <a:gd name="T5" fmla="*/ 224 h 1253"/>
                <a:gd name="T6" fmla="*/ 248 w 1809"/>
                <a:gd name="T7" fmla="*/ 155 h 1253"/>
                <a:gd name="T8" fmla="*/ 931 w 1809"/>
                <a:gd name="T9" fmla="*/ 995 h 1253"/>
                <a:gd name="T10" fmla="*/ 858 w 1809"/>
                <a:gd name="T11" fmla="*/ 1115 h 1253"/>
                <a:gd name="T12" fmla="*/ 749 w 1809"/>
                <a:gd name="T13" fmla="*/ 1117 h 1253"/>
                <a:gd name="T14" fmla="*/ 681 w 1809"/>
                <a:gd name="T15" fmla="*/ 1055 h 1253"/>
                <a:gd name="T16" fmla="*/ 800 w 1809"/>
                <a:gd name="T17" fmla="*/ 1054 h 1253"/>
                <a:gd name="T18" fmla="*/ 884 w 1809"/>
                <a:gd name="T19" fmla="*/ 1181 h 1253"/>
                <a:gd name="T20" fmla="*/ 118 w 1809"/>
                <a:gd name="T21" fmla="*/ 1086 h 1253"/>
                <a:gd name="T22" fmla="*/ 147 w 1809"/>
                <a:gd name="T23" fmla="*/ 1026 h 1253"/>
                <a:gd name="T24" fmla="*/ 102 w 1809"/>
                <a:gd name="T25" fmla="*/ 1026 h 1253"/>
                <a:gd name="T26" fmla="*/ 639 w 1809"/>
                <a:gd name="T27" fmla="*/ 84 h 1253"/>
                <a:gd name="T28" fmla="*/ 763 w 1809"/>
                <a:gd name="T29" fmla="*/ 145 h 1253"/>
                <a:gd name="T30" fmla="*/ 863 w 1809"/>
                <a:gd name="T31" fmla="*/ 221 h 1253"/>
                <a:gd name="T32" fmla="*/ 834 w 1809"/>
                <a:gd name="T33" fmla="*/ 208 h 1253"/>
                <a:gd name="T34" fmla="*/ 719 w 1809"/>
                <a:gd name="T35" fmla="*/ 182 h 1253"/>
                <a:gd name="T36" fmla="*/ 507 w 1809"/>
                <a:gd name="T37" fmla="*/ 711 h 1253"/>
                <a:gd name="T38" fmla="*/ 614 w 1809"/>
                <a:gd name="T39" fmla="*/ 706 h 1253"/>
                <a:gd name="T40" fmla="*/ 736 w 1809"/>
                <a:gd name="T41" fmla="*/ 730 h 1253"/>
                <a:gd name="T42" fmla="*/ 607 w 1809"/>
                <a:gd name="T43" fmla="*/ 539 h 1253"/>
                <a:gd name="T44" fmla="*/ 1505 w 1809"/>
                <a:gd name="T45" fmla="*/ 1136 h 1253"/>
                <a:gd name="T46" fmla="*/ 1613 w 1809"/>
                <a:gd name="T47" fmla="*/ 1002 h 1253"/>
                <a:gd name="T48" fmla="*/ 1472 w 1809"/>
                <a:gd name="T49" fmla="*/ 1164 h 1253"/>
                <a:gd name="T50" fmla="*/ 1525 w 1809"/>
                <a:gd name="T51" fmla="*/ 1142 h 1253"/>
                <a:gd name="T52" fmla="*/ 1556 w 1809"/>
                <a:gd name="T53" fmla="*/ 1172 h 1253"/>
                <a:gd name="T54" fmla="*/ 1387 w 1809"/>
                <a:gd name="T55" fmla="*/ 910 h 1253"/>
                <a:gd name="T56" fmla="*/ 1261 w 1809"/>
                <a:gd name="T57" fmla="*/ 1157 h 1253"/>
                <a:gd name="T58" fmla="*/ 1413 w 1809"/>
                <a:gd name="T59" fmla="*/ 934 h 1253"/>
                <a:gd name="T60" fmla="*/ 1378 w 1809"/>
                <a:gd name="T61" fmla="*/ 1052 h 1253"/>
                <a:gd name="T62" fmla="*/ 488 w 1809"/>
                <a:gd name="T63" fmla="*/ 85 h 1253"/>
                <a:gd name="T64" fmla="*/ 509 w 1809"/>
                <a:gd name="T65" fmla="*/ 112 h 1253"/>
                <a:gd name="T66" fmla="*/ 548 w 1809"/>
                <a:gd name="T67" fmla="*/ 1187 h 1253"/>
                <a:gd name="T68" fmla="*/ 472 w 1809"/>
                <a:gd name="T69" fmla="*/ 1122 h 1253"/>
                <a:gd name="T70" fmla="*/ 558 w 1809"/>
                <a:gd name="T71" fmla="*/ 1157 h 1253"/>
                <a:gd name="T72" fmla="*/ 287 w 1809"/>
                <a:gd name="T73" fmla="*/ 654 h 1253"/>
                <a:gd name="T74" fmla="*/ 416 w 1809"/>
                <a:gd name="T75" fmla="*/ 684 h 1253"/>
                <a:gd name="T76" fmla="*/ 1106 w 1809"/>
                <a:gd name="T77" fmla="*/ 147 h 1253"/>
                <a:gd name="T78" fmla="*/ 1229 w 1809"/>
                <a:gd name="T79" fmla="*/ 258 h 1253"/>
                <a:gd name="T80" fmla="*/ 1106 w 1809"/>
                <a:gd name="T81" fmla="*/ 96 h 1253"/>
                <a:gd name="T82" fmla="*/ 1219 w 1809"/>
                <a:gd name="T83" fmla="*/ 1077 h 1253"/>
                <a:gd name="T84" fmla="*/ 1214 w 1809"/>
                <a:gd name="T85" fmla="*/ 1157 h 1253"/>
                <a:gd name="T86" fmla="*/ 1150 w 1809"/>
                <a:gd name="T87" fmla="*/ 1092 h 1253"/>
                <a:gd name="T88" fmla="*/ 1139 w 1809"/>
                <a:gd name="T89" fmla="*/ 1070 h 1253"/>
                <a:gd name="T90" fmla="*/ 1659 w 1809"/>
                <a:gd name="T91" fmla="*/ 1031 h 1253"/>
                <a:gd name="T92" fmla="*/ 1714 w 1809"/>
                <a:gd name="T93" fmla="*/ 1155 h 1253"/>
                <a:gd name="T94" fmla="*/ 1760 w 1809"/>
                <a:gd name="T95" fmla="*/ 1030 h 1253"/>
                <a:gd name="T96" fmla="*/ 111 w 1809"/>
                <a:gd name="T97" fmla="*/ 569 h 1253"/>
                <a:gd name="T98" fmla="*/ 109 w 1809"/>
                <a:gd name="T99" fmla="*/ 460 h 1253"/>
                <a:gd name="T100" fmla="*/ 32 w 1809"/>
                <a:gd name="T101" fmla="*/ 704 h 1253"/>
                <a:gd name="T102" fmla="*/ 310 w 1809"/>
                <a:gd name="T103" fmla="*/ 1058 h 1253"/>
                <a:gd name="T104" fmla="*/ 431 w 1809"/>
                <a:gd name="T105" fmla="*/ 1044 h 1253"/>
                <a:gd name="T106" fmla="*/ 278 w 1809"/>
                <a:gd name="T107" fmla="*/ 1165 h 1253"/>
                <a:gd name="T108" fmla="*/ 261 w 1809"/>
                <a:gd name="T109" fmla="*/ 540 h 1253"/>
                <a:gd name="T110" fmla="*/ 150 w 1809"/>
                <a:gd name="T111" fmla="*/ 635 h 1253"/>
                <a:gd name="T112" fmla="*/ 994 w 1809"/>
                <a:gd name="T113" fmla="*/ 1185 h 1253"/>
                <a:gd name="T114" fmla="*/ 331 w 1809"/>
                <a:gd name="T115" fmla="*/ 176 h 1253"/>
                <a:gd name="T116" fmla="*/ 333 w 1809"/>
                <a:gd name="T117" fmla="*/ 109 h 1253"/>
                <a:gd name="T118" fmla="*/ 946 w 1809"/>
                <a:gd name="T119" fmla="*/ 234 h 1253"/>
                <a:gd name="T120" fmla="*/ 1022 w 1809"/>
                <a:gd name="T121" fmla="*/ 113 h 1253"/>
                <a:gd name="T122" fmla="*/ 949 w 1809"/>
                <a:gd name="T123" fmla="*/ 65 h 1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09" h="1253">
                  <a:moveTo>
                    <a:pt x="248" y="198"/>
                  </a:moveTo>
                  <a:cubicBezTo>
                    <a:pt x="248" y="211"/>
                    <a:pt x="248" y="224"/>
                    <a:pt x="249" y="237"/>
                  </a:cubicBezTo>
                  <a:cubicBezTo>
                    <a:pt x="249" y="245"/>
                    <a:pt x="246" y="249"/>
                    <a:pt x="240" y="253"/>
                  </a:cubicBezTo>
                  <a:cubicBezTo>
                    <a:pt x="231" y="260"/>
                    <a:pt x="220" y="264"/>
                    <a:pt x="209" y="268"/>
                  </a:cubicBezTo>
                  <a:cubicBezTo>
                    <a:pt x="179" y="279"/>
                    <a:pt x="148" y="280"/>
                    <a:pt x="118" y="275"/>
                  </a:cubicBezTo>
                  <a:cubicBezTo>
                    <a:pt x="86" y="269"/>
                    <a:pt x="58" y="252"/>
                    <a:pt x="39" y="224"/>
                  </a:cubicBezTo>
                  <a:cubicBezTo>
                    <a:pt x="24" y="203"/>
                    <a:pt x="18" y="180"/>
                    <a:pt x="15" y="155"/>
                  </a:cubicBezTo>
                  <a:cubicBezTo>
                    <a:pt x="11" y="135"/>
                    <a:pt x="15" y="115"/>
                    <a:pt x="19" y="97"/>
                  </a:cubicBezTo>
                  <a:cubicBezTo>
                    <a:pt x="26" y="68"/>
                    <a:pt x="42" y="44"/>
                    <a:pt x="68" y="27"/>
                  </a:cubicBezTo>
                  <a:cubicBezTo>
                    <a:pt x="87" y="14"/>
                    <a:pt x="109" y="6"/>
                    <a:pt x="133" y="5"/>
                  </a:cubicBezTo>
                  <a:cubicBezTo>
                    <a:pt x="149" y="4"/>
                    <a:pt x="165" y="5"/>
                    <a:pt x="181" y="6"/>
                  </a:cubicBezTo>
                  <a:cubicBezTo>
                    <a:pt x="204" y="8"/>
                    <a:pt x="225" y="20"/>
                    <a:pt x="243" y="35"/>
                  </a:cubicBezTo>
                  <a:cubicBezTo>
                    <a:pt x="246" y="37"/>
                    <a:pt x="246" y="40"/>
                    <a:pt x="244" y="43"/>
                  </a:cubicBezTo>
                  <a:cubicBezTo>
                    <a:pt x="242" y="47"/>
                    <a:pt x="239" y="52"/>
                    <a:pt x="236" y="55"/>
                  </a:cubicBezTo>
                  <a:cubicBezTo>
                    <a:pt x="226" y="65"/>
                    <a:pt x="224" y="65"/>
                    <a:pt x="206" y="54"/>
                  </a:cubicBezTo>
                  <a:cubicBezTo>
                    <a:pt x="193" y="46"/>
                    <a:pt x="180" y="40"/>
                    <a:pt x="165" y="41"/>
                  </a:cubicBezTo>
                  <a:cubicBezTo>
                    <a:pt x="151" y="41"/>
                    <a:pt x="137" y="39"/>
                    <a:pt x="124" y="42"/>
                  </a:cubicBezTo>
                  <a:cubicBezTo>
                    <a:pt x="104" y="46"/>
                    <a:pt x="87" y="57"/>
                    <a:pt x="75" y="74"/>
                  </a:cubicBezTo>
                  <a:cubicBezTo>
                    <a:pt x="56" y="99"/>
                    <a:pt x="51" y="129"/>
                    <a:pt x="55" y="159"/>
                  </a:cubicBezTo>
                  <a:cubicBezTo>
                    <a:pt x="60" y="189"/>
                    <a:pt x="73" y="214"/>
                    <a:pt x="98" y="230"/>
                  </a:cubicBezTo>
                  <a:cubicBezTo>
                    <a:pt x="109" y="237"/>
                    <a:pt x="121" y="242"/>
                    <a:pt x="135" y="241"/>
                  </a:cubicBezTo>
                  <a:cubicBezTo>
                    <a:pt x="146" y="241"/>
                    <a:pt x="158" y="241"/>
                    <a:pt x="169" y="241"/>
                  </a:cubicBezTo>
                  <a:cubicBezTo>
                    <a:pt x="182" y="242"/>
                    <a:pt x="193" y="235"/>
                    <a:pt x="205" y="232"/>
                  </a:cubicBezTo>
                  <a:cubicBezTo>
                    <a:pt x="210" y="231"/>
                    <a:pt x="211" y="227"/>
                    <a:pt x="211" y="224"/>
                  </a:cubicBezTo>
                  <a:cubicBezTo>
                    <a:pt x="211" y="210"/>
                    <a:pt x="211" y="196"/>
                    <a:pt x="211" y="183"/>
                  </a:cubicBezTo>
                  <a:cubicBezTo>
                    <a:pt x="211" y="177"/>
                    <a:pt x="207" y="175"/>
                    <a:pt x="202" y="175"/>
                  </a:cubicBezTo>
                  <a:cubicBezTo>
                    <a:pt x="193" y="175"/>
                    <a:pt x="184" y="175"/>
                    <a:pt x="175" y="175"/>
                  </a:cubicBezTo>
                  <a:cubicBezTo>
                    <a:pt x="171" y="175"/>
                    <a:pt x="168" y="174"/>
                    <a:pt x="166" y="171"/>
                  </a:cubicBezTo>
                  <a:cubicBezTo>
                    <a:pt x="163" y="163"/>
                    <a:pt x="164" y="154"/>
                    <a:pt x="166" y="146"/>
                  </a:cubicBezTo>
                  <a:cubicBezTo>
                    <a:pt x="167" y="142"/>
                    <a:pt x="171" y="142"/>
                    <a:pt x="175" y="142"/>
                  </a:cubicBezTo>
                  <a:cubicBezTo>
                    <a:pt x="196" y="142"/>
                    <a:pt x="217" y="142"/>
                    <a:pt x="238" y="142"/>
                  </a:cubicBezTo>
                  <a:cubicBezTo>
                    <a:pt x="247" y="142"/>
                    <a:pt x="248" y="148"/>
                    <a:pt x="248" y="155"/>
                  </a:cubicBezTo>
                  <a:cubicBezTo>
                    <a:pt x="249" y="169"/>
                    <a:pt x="248" y="183"/>
                    <a:pt x="248" y="198"/>
                  </a:cubicBezTo>
                  <a:close/>
                  <a:moveTo>
                    <a:pt x="884" y="1181"/>
                  </a:moveTo>
                  <a:cubicBezTo>
                    <a:pt x="889" y="1167"/>
                    <a:pt x="894" y="1152"/>
                    <a:pt x="898" y="1137"/>
                  </a:cubicBezTo>
                  <a:cubicBezTo>
                    <a:pt x="901" y="1127"/>
                    <a:pt x="905" y="1116"/>
                    <a:pt x="908" y="1106"/>
                  </a:cubicBezTo>
                  <a:cubicBezTo>
                    <a:pt x="911" y="1098"/>
                    <a:pt x="912" y="1089"/>
                    <a:pt x="916" y="1081"/>
                  </a:cubicBezTo>
                  <a:cubicBezTo>
                    <a:pt x="921" y="1072"/>
                    <a:pt x="923" y="1060"/>
                    <a:pt x="927" y="1050"/>
                  </a:cubicBezTo>
                  <a:cubicBezTo>
                    <a:pt x="932" y="1037"/>
                    <a:pt x="934" y="1023"/>
                    <a:pt x="940" y="1010"/>
                  </a:cubicBezTo>
                  <a:cubicBezTo>
                    <a:pt x="945" y="1001"/>
                    <a:pt x="941" y="995"/>
                    <a:pt x="931" y="995"/>
                  </a:cubicBezTo>
                  <a:cubicBezTo>
                    <a:pt x="927" y="995"/>
                    <a:pt x="922" y="995"/>
                    <a:pt x="918" y="995"/>
                  </a:cubicBezTo>
                  <a:cubicBezTo>
                    <a:pt x="913" y="995"/>
                    <a:pt x="908" y="997"/>
                    <a:pt x="907" y="1001"/>
                  </a:cubicBezTo>
                  <a:cubicBezTo>
                    <a:pt x="904" y="1008"/>
                    <a:pt x="900" y="1015"/>
                    <a:pt x="899" y="1023"/>
                  </a:cubicBezTo>
                  <a:cubicBezTo>
                    <a:pt x="897" y="1034"/>
                    <a:pt x="893" y="1045"/>
                    <a:pt x="889" y="1055"/>
                  </a:cubicBezTo>
                  <a:cubicBezTo>
                    <a:pt x="887" y="1064"/>
                    <a:pt x="885" y="1072"/>
                    <a:pt x="882" y="1080"/>
                  </a:cubicBezTo>
                  <a:cubicBezTo>
                    <a:pt x="878" y="1091"/>
                    <a:pt x="874" y="1103"/>
                    <a:pt x="871" y="1115"/>
                  </a:cubicBezTo>
                  <a:cubicBezTo>
                    <a:pt x="870" y="1118"/>
                    <a:pt x="871" y="1124"/>
                    <a:pt x="866" y="1124"/>
                  </a:cubicBezTo>
                  <a:cubicBezTo>
                    <a:pt x="861" y="1125"/>
                    <a:pt x="859" y="1120"/>
                    <a:pt x="858" y="1115"/>
                  </a:cubicBezTo>
                  <a:cubicBezTo>
                    <a:pt x="856" y="1110"/>
                    <a:pt x="856" y="1104"/>
                    <a:pt x="854" y="1099"/>
                  </a:cubicBezTo>
                  <a:cubicBezTo>
                    <a:pt x="848" y="1080"/>
                    <a:pt x="841" y="1062"/>
                    <a:pt x="835" y="1044"/>
                  </a:cubicBezTo>
                  <a:cubicBezTo>
                    <a:pt x="831" y="1030"/>
                    <a:pt x="828" y="1016"/>
                    <a:pt x="822" y="1003"/>
                  </a:cubicBezTo>
                  <a:cubicBezTo>
                    <a:pt x="819" y="997"/>
                    <a:pt x="814" y="994"/>
                    <a:pt x="808" y="994"/>
                  </a:cubicBezTo>
                  <a:cubicBezTo>
                    <a:pt x="799" y="993"/>
                    <a:pt x="791" y="993"/>
                    <a:pt x="787" y="1001"/>
                  </a:cubicBezTo>
                  <a:cubicBezTo>
                    <a:pt x="783" y="1008"/>
                    <a:pt x="780" y="1015"/>
                    <a:pt x="779" y="1022"/>
                  </a:cubicBezTo>
                  <a:cubicBezTo>
                    <a:pt x="778" y="1034"/>
                    <a:pt x="772" y="1044"/>
                    <a:pt x="769" y="1055"/>
                  </a:cubicBezTo>
                  <a:cubicBezTo>
                    <a:pt x="762" y="1076"/>
                    <a:pt x="754" y="1096"/>
                    <a:pt x="749" y="1117"/>
                  </a:cubicBezTo>
                  <a:cubicBezTo>
                    <a:pt x="748" y="1120"/>
                    <a:pt x="747" y="1124"/>
                    <a:pt x="742" y="1124"/>
                  </a:cubicBezTo>
                  <a:cubicBezTo>
                    <a:pt x="737" y="1124"/>
                    <a:pt x="737" y="1120"/>
                    <a:pt x="736" y="1116"/>
                  </a:cubicBezTo>
                  <a:cubicBezTo>
                    <a:pt x="734" y="1104"/>
                    <a:pt x="730" y="1092"/>
                    <a:pt x="726" y="1080"/>
                  </a:cubicBezTo>
                  <a:cubicBezTo>
                    <a:pt x="720" y="1061"/>
                    <a:pt x="714" y="1040"/>
                    <a:pt x="708" y="1020"/>
                  </a:cubicBezTo>
                  <a:cubicBezTo>
                    <a:pt x="703" y="1000"/>
                    <a:pt x="698" y="994"/>
                    <a:pt x="676" y="995"/>
                  </a:cubicBezTo>
                  <a:cubicBezTo>
                    <a:pt x="665" y="996"/>
                    <a:pt x="661" y="1001"/>
                    <a:pt x="667" y="1011"/>
                  </a:cubicBezTo>
                  <a:cubicBezTo>
                    <a:pt x="669" y="1016"/>
                    <a:pt x="670" y="1021"/>
                    <a:pt x="672" y="1025"/>
                  </a:cubicBezTo>
                  <a:cubicBezTo>
                    <a:pt x="675" y="1035"/>
                    <a:pt x="678" y="1046"/>
                    <a:pt x="681" y="1055"/>
                  </a:cubicBezTo>
                  <a:cubicBezTo>
                    <a:pt x="685" y="1068"/>
                    <a:pt x="689" y="1080"/>
                    <a:pt x="693" y="1092"/>
                  </a:cubicBezTo>
                  <a:cubicBezTo>
                    <a:pt x="697" y="1103"/>
                    <a:pt x="699" y="1113"/>
                    <a:pt x="703" y="1124"/>
                  </a:cubicBezTo>
                  <a:cubicBezTo>
                    <a:pt x="707" y="1136"/>
                    <a:pt x="711" y="1147"/>
                    <a:pt x="715" y="1160"/>
                  </a:cubicBezTo>
                  <a:cubicBezTo>
                    <a:pt x="717" y="1168"/>
                    <a:pt x="720" y="1176"/>
                    <a:pt x="724" y="1183"/>
                  </a:cubicBezTo>
                  <a:cubicBezTo>
                    <a:pt x="728" y="1189"/>
                    <a:pt x="752" y="1185"/>
                    <a:pt x="757" y="1180"/>
                  </a:cubicBezTo>
                  <a:cubicBezTo>
                    <a:pt x="764" y="1173"/>
                    <a:pt x="762" y="1163"/>
                    <a:pt x="766" y="1156"/>
                  </a:cubicBezTo>
                  <a:cubicBezTo>
                    <a:pt x="774" y="1140"/>
                    <a:pt x="778" y="1122"/>
                    <a:pt x="784" y="1105"/>
                  </a:cubicBezTo>
                  <a:cubicBezTo>
                    <a:pt x="789" y="1088"/>
                    <a:pt x="796" y="1072"/>
                    <a:pt x="800" y="1054"/>
                  </a:cubicBezTo>
                  <a:cubicBezTo>
                    <a:pt x="800" y="1053"/>
                    <a:pt x="801" y="1050"/>
                    <a:pt x="803" y="1050"/>
                  </a:cubicBezTo>
                  <a:cubicBezTo>
                    <a:pt x="806" y="1050"/>
                    <a:pt x="806" y="1052"/>
                    <a:pt x="807" y="1055"/>
                  </a:cubicBezTo>
                  <a:cubicBezTo>
                    <a:pt x="807" y="1060"/>
                    <a:pt x="810" y="1066"/>
                    <a:pt x="811" y="1071"/>
                  </a:cubicBezTo>
                  <a:cubicBezTo>
                    <a:pt x="814" y="1081"/>
                    <a:pt x="818" y="1090"/>
                    <a:pt x="821" y="1099"/>
                  </a:cubicBezTo>
                  <a:cubicBezTo>
                    <a:pt x="824" y="1110"/>
                    <a:pt x="827" y="1120"/>
                    <a:pt x="831" y="1131"/>
                  </a:cubicBezTo>
                  <a:cubicBezTo>
                    <a:pt x="834" y="1142"/>
                    <a:pt x="839" y="1153"/>
                    <a:pt x="842" y="1164"/>
                  </a:cubicBezTo>
                  <a:cubicBezTo>
                    <a:pt x="846" y="1179"/>
                    <a:pt x="850" y="1188"/>
                    <a:pt x="869" y="1185"/>
                  </a:cubicBezTo>
                  <a:cubicBezTo>
                    <a:pt x="873" y="1184"/>
                    <a:pt x="881" y="1189"/>
                    <a:pt x="884" y="1181"/>
                  </a:cubicBezTo>
                  <a:close/>
                  <a:moveTo>
                    <a:pt x="33" y="1051"/>
                  </a:moveTo>
                  <a:cubicBezTo>
                    <a:pt x="33" y="1087"/>
                    <a:pt x="33" y="1124"/>
                    <a:pt x="33" y="1160"/>
                  </a:cubicBezTo>
                  <a:cubicBezTo>
                    <a:pt x="33" y="1188"/>
                    <a:pt x="29" y="1184"/>
                    <a:pt x="58" y="1185"/>
                  </a:cubicBezTo>
                  <a:cubicBezTo>
                    <a:pt x="72" y="1185"/>
                    <a:pt x="73" y="1184"/>
                    <a:pt x="73" y="1170"/>
                  </a:cubicBezTo>
                  <a:cubicBezTo>
                    <a:pt x="73" y="1138"/>
                    <a:pt x="73" y="1107"/>
                    <a:pt x="73" y="1076"/>
                  </a:cubicBezTo>
                  <a:cubicBezTo>
                    <a:pt x="73" y="1071"/>
                    <a:pt x="72" y="1067"/>
                    <a:pt x="78" y="1065"/>
                  </a:cubicBezTo>
                  <a:cubicBezTo>
                    <a:pt x="91" y="1062"/>
                    <a:pt x="102" y="1067"/>
                    <a:pt x="110" y="1076"/>
                  </a:cubicBezTo>
                  <a:cubicBezTo>
                    <a:pt x="112" y="1080"/>
                    <a:pt x="115" y="1083"/>
                    <a:pt x="118" y="1086"/>
                  </a:cubicBezTo>
                  <a:cubicBezTo>
                    <a:pt x="132" y="1103"/>
                    <a:pt x="146" y="1119"/>
                    <a:pt x="161" y="1136"/>
                  </a:cubicBezTo>
                  <a:cubicBezTo>
                    <a:pt x="173" y="1150"/>
                    <a:pt x="186" y="1165"/>
                    <a:pt x="198" y="1179"/>
                  </a:cubicBezTo>
                  <a:cubicBezTo>
                    <a:pt x="207" y="1188"/>
                    <a:pt x="218" y="1184"/>
                    <a:pt x="228" y="1185"/>
                  </a:cubicBezTo>
                  <a:cubicBezTo>
                    <a:pt x="233" y="1185"/>
                    <a:pt x="241" y="1188"/>
                    <a:pt x="244" y="1182"/>
                  </a:cubicBezTo>
                  <a:cubicBezTo>
                    <a:pt x="246" y="1178"/>
                    <a:pt x="239" y="1173"/>
                    <a:pt x="235" y="1169"/>
                  </a:cubicBezTo>
                  <a:cubicBezTo>
                    <a:pt x="206" y="1133"/>
                    <a:pt x="176" y="1098"/>
                    <a:pt x="146" y="1062"/>
                  </a:cubicBezTo>
                  <a:cubicBezTo>
                    <a:pt x="141" y="1056"/>
                    <a:pt x="131" y="1052"/>
                    <a:pt x="132" y="1044"/>
                  </a:cubicBezTo>
                  <a:cubicBezTo>
                    <a:pt x="132" y="1036"/>
                    <a:pt x="142" y="1032"/>
                    <a:pt x="147" y="1026"/>
                  </a:cubicBezTo>
                  <a:cubicBezTo>
                    <a:pt x="164" y="1006"/>
                    <a:pt x="182" y="988"/>
                    <a:pt x="198" y="968"/>
                  </a:cubicBezTo>
                  <a:cubicBezTo>
                    <a:pt x="209" y="954"/>
                    <a:pt x="221" y="942"/>
                    <a:pt x="234" y="929"/>
                  </a:cubicBezTo>
                  <a:cubicBezTo>
                    <a:pt x="236" y="926"/>
                    <a:pt x="238" y="923"/>
                    <a:pt x="237" y="920"/>
                  </a:cubicBezTo>
                  <a:cubicBezTo>
                    <a:pt x="235" y="915"/>
                    <a:pt x="231" y="917"/>
                    <a:pt x="228" y="917"/>
                  </a:cubicBezTo>
                  <a:cubicBezTo>
                    <a:pt x="224" y="918"/>
                    <a:pt x="221" y="918"/>
                    <a:pt x="217" y="918"/>
                  </a:cubicBezTo>
                  <a:cubicBezTo>
                    <a:pt x="204" y="917"/>
                    <a:pt x="193" y="922"/>
                    <a:pt x="185" y="931"/>
                  </a:cubicBezTo>
                  <a:cubicBezTo>
                    <a:pt x="172" y="946"/>
                    <a:pt x="158" y="961"/>
                    <a:pt x="145" y="977"/>
                  </a:cubicBezTo>
                  <a:cubicBezTo>
                    <a:pt x="131" y="993"/>
                    <a:pt x="117" y="1010"/>
                    <a:pt x="102" y="1026"/>
                  </a:cubicBezTo>
                  <a:cubicBezTo>
                    <a:pt x="96" y="1032"/>
                    <a:pt x="87" y="1037"/>
                    <a:pt x="78" y="1034"/>
                  </a:cubicBezTo>
                  <a:cubicBezTo>
                    <a:pt x="70" y="1030"/>
                    <a:pt x="73" y="1021"/>
                    <a:pt x="73" y="1015"/>
                  </a:cubicBezTo>
                  <a:cubicBezTo>
                    <a:pt x="73" y="991"/>
                    <a:pt x="73" y="967"/>
                    <a:pt x="73" y="944"/>
                  </a:cubicBezTo>
                  <a:cubicBezTo>
                    <a:pt x="73" y="916"/>
                    <a:pt x="75" y="917"/>
                    <a:pt x="46" y="918"/>
                  </a:cubicBezTo>
                  <a:cubicBezTo>
                    <a:pt x="33" y="918"/>
                    <a:pt x="33" y="918"/>
                    <a:pt x="33" y="931"/>
                  </a:cubicBezTo>
                  <a:cubicBezTo>
                    <a:pt x="33" y="971"/>
                    <a:pt x="33" y="1011"/>
                    <a:pt x="33" y="1051"/>
                  </a:cubicBezTo>
                  <a:cubicBezTo>
                    <a:pt x="33" y="1051"/>
                    <a:pt x="33" y="1051"/>
                    <a:pt x="33" y="1051"/>
                  </a:cubicBezTo>
                  <a:close/>
                  <a:moveTo>
                    <a:pt x="639" y="84"/>
                  </a:moveTo>
                  <a:cubicBezTo>
                    <a:pt x="627" y="84"/>
                    <a:pt x="626" y="84"/>
                    <a:pt x="629" y="95"/>
                  </a:cubicBezTo>
                  <a:cubicBezTo>
                    <a:pt x="634" y="113"/>
                    <a:pt x="640" y="131"/>
                    <a:pt x="646" y="148"/>
                  </a:cubicBezTo>
                  <a:cubicBezTo>
                    <a:pt x="652" y="166"/>
                    <a:pt x="658" y="185"/>
                    <a:pt x="664" y="203"/>
                  </a:cubicBezTo>
                  <a:cubicBezTo>
                    <a:pt x="671" y="223"/>
                    <a:pt x="676" y="244"/>
                    <a:pt x="684" y="264"/>
                  </a:cubicBezTo>
                  <a:cubicBezTo>
                    <a:pt x="688" y="274"/>
                    <a:pt x="694" y="274"/>
                    <a:pt x="702" y="274"/>
                  </a:cubicBezTo>
                  <a:cubicBezTo>
                    <a:pt x="711" y="274"/>
                    <a:pt x="719" y="272"/>
                    <a:pt x="723" y="263"/>
                  </a:cubicBezTo>
                  <a:cubicBezTo>
                    <a:pt x="733" y="236"/>
                    <a:pt x="741" y="208"/>
                    <a:pt x="750" y="181"/>
                  </a:cubicBezTo>
                  <a:cubicBezTo>
                    <a:pt x="754" y="169"/>
                    <a:pt x="757" y="156"/>
                    <a:pt x="763" y="145"/>
                  </a:cubicBezTo>
                  <a:cubicBezTo>
                    <a:pt x="764" y="143"/>
                    <a:pt x="764" y="140"/>
                    <a:pt x="767" y="140"/>
                  </a:cubicBezTo>
                  <a:cubicBezTo>
                    <a:pt x="770" y="140"/>
                    <a:pt x="770" y="143"/>
                    <a:pt x="771" y="145"/>
                  </a:cubicBezTo>
                  <a:cubicBezTo>
                    <a:pt x="771" y="156"/>
                    <a:pt x="777" y="165"/>
                    <a:pt x="780" y="175"/>
                  </a:cubicBezTo>
                  <a:cubicBezTo>
                    <a:pt x="782" y="184"/>
                    <a:pt x="785" y="193"/>
                    <a:pt x="788" y="201"/>
                  </a:cubicBezTo>
                  <a:cubicBezTo>
                    <a:pt x="794" y="219"/>
                    <a:pt x="801" y="237"/>
                    <a:pt x="806" y="255"/>
                  </a:cubicBezTo>
                  <a:cubicBezTo>
                    <a:pt x="811" y="272"/>
                    <a:pt x="825" y="280"/>
                    <a:pt x="842" y="273"/>
                  </a:cubicBezTo>
                  <a:cubicBezTo>
                    <a:pt x="845" y="271"/>
                    <a:pt x="847" y="269"/>
                    <a:pt x="848" y="266"/>
                  </a:cubicBezTo>
                  <a:cubicBezTo>
                    <a:pt x="853" y="251"/>
                    <a:pt x="859" y="236"/>
                    <a:pt x="863" y="221"/>
                  </a:cubicBezTo>
                  <a:cubicBezTo>
                    <a:pt x="867" y="202"/>
                    <a:pt x="875" y="185"/>
                    <a:pt x="880" y="166"/>
                  </a:cubicBezTo>
                  <a:cubicBezTo>
                    <a:pt x="886" y="144"/>
                    <a:pt x="895" y="123"/>
                    <a:pt x="900" y="101"/>
                  </a:cubicBezTo>
                  <a:cubicBezTo>
                    <a:pt x="901" y="96"/>
                    <a:pt x="909" y="91"/>
                    <a:pt x="904" y="86"/>
                  </a:cubicBezTo>
                  <a:cubicBezTo>
                    <a:pt x="900" y="81"/>
                    <a:pt x="892" y="84"/>
                    <a:pt x="886" y="84"/>
                  </a:cubicBezTo>
                  <a:cubicBezTo>
                    <a:pt x="885" y="84"/>
                    <a:pt x="883" y="84"/>
                    <a:pt x="881" y="84"/>
                  </a:cubicBezTo>
                  <a:cubicBezTo>
                    <a:pt x="875" y="84"/>
                    <a:pt x="872" y="86"/>
                    <a:pt x="869" y="91"/>
                  </a:cubicBezTo>
                  <a:cubicBezTo>
                    <a:pt x="860" y="110"/>
                    <a:pt x="856" y="131"/>
                    <a:pt x="850" y="151"/>
                  </a:cubicBezTo>
                  <a:cubicBezTo>
                    <a:pt x="844" y="170"/>
                    <a:pt x="836" y="188"/>
                    <a:pt x="834" y="208"/>
                  </a:cubicBezTo>
                  <a:cubicBezTo>
                    <a:pt x="833" y="211"/>
                    <a:pt x="831" y="214"/>
                    <a:pt x="827" y="214"/>
                  </a:cubicBezTo>
                  <a:cubicBezTo>
                    <a:pt x="823" y="214"/>
                    <a:pt x="822" y="210"/>
                    <a:pt x="822" y="207"/>
                  </a:cubicBezTo>
                  <a:cubicBezTo>
                    <a:pt x="817" y="188"/>
                    <a:pt x="811" y="170"/>
                    <a:pt x="805" y="152"/>
                  </a:cubicBezTo>
                  <a:cubicBezTo>
                    <a:pt x="799" y="133"/>
                    <a:pt x="794" y="114"/>
                    <a:pt x="786" y="96"/>
                  </a:cubicBezTo>
                  <a:cubicBezTo>
                    <a:pt x="783" y="87"/>
                    <a:pt x="779" y="84"/>
                    <a:pt x="770" y="84"/>
                  </a:cubicBezTo>
                  <a:cubicBezTo>
                    <a:pt x="761" y="84"/>
                    <a:pt x="752" y="82"/>
                    <a:pt x="748" y="94"/>
                  </a:cubicBezTo>
                  <a:cubicBezTo>
                    <a:pt x="744" y="109"/>
                    <a:pt x="738" y="123"/>
                    <a:pt x="734" y="138"/>
                  </a:cubicBezTo>
                  <a:cubicBezTo>
                    <a:pt x="729" y="153"/>
                    <a:pt x="724" y="167"/>
                    <a:pt x="719" y="182"/>
                  </a:cubicBezTo>
                  <a:cubicBezTo>
                    <a:pt x="716" y="192"/>
                    <a:pt x="715" y="203"/>
                    <a:pt x="708" y="212"/>
                  </a:cubicBezTo>
                  <a:cubicBezTo>
                    <a:pt x="707" y="214"/>
                    <a:pt x="707" y="217"/>
                    <a:pt x="704" y="217"/>
                  </a:cubicBezTo>
                  <a:cubicBezTo>
                    <a:pt x="701" y="217"/>
                    <a:pt x="701" y="213"/>
                    <a:pt x="700" y="211"/>
                  </a:cubicBezTo>
                  <a:cubicBezTo>
                    <a:pt x="699" y="198"/>
                    <a:pt x="694" y="186"/>
                    <a:pt x="690" y="174"/>
                  </a:cubicBezTo>
                  <a:cubicBezTo>
                    <a:pt x="684" y="153"/>
                    <a:pt x="677" y="131"/>
                    <a:pt x="672" y="110"/>
                  </a:cubicBezTo>
                  <a:cubicBezTo>
                    <a:pt x="667" y="88"/>
                    <a:pt x="663" y="84"/>
                    <a:pt x="645" y="84"/>
                  </a:cubicBezTo>
                  <a:cubicBezTo>
                    <a:pt x="643" y="84"/>
                    <a:pt x="641" y="84"/>
                    <a:pt x="639" y="84"/>
                  </a:cubicBezTo>
                  <a:close/>
                  <a:moveTo>
                    <a:pt x="507" y="711"/>
                  </a:moveTo>
                  <a:cubicBezTo>
                    <a:pt x="507" y="730"/>
                    <a:pt x="507" y="730"/>
                    <a:pt x="526" y="730"/>
                  </a:cubicBezTo>
                  <a:cubicBezTo>
                    <a:pt x="539" y="730"/>
                    <a:pt x="541" y="729"/>
                    <a:pt x="541" y="715"/>
                  </a:cubicBezTo>
                  <a:cubicBezTo>
                    <a:pt x="541" y="677"/>
                    <a:pt x="541" y="638"/>
                    <a:pt x="540" y="600"/>
                  </a:cubicBezTo>
                  <a:cubicBezTo>
                    <a:pt x="540" y="593"/>
                    <a:pt x="543" y="587"/>
                    <a:pt x="548" y="582"/>
                  </a:cubicBezTo>
                  <a:cubicBezTo>
                    <a:pt x="553" y="576"/>
                    <a:pt x="559" y="573"/>
                    <a:pt x="564" y="569"/>
                  </a:cubicBezTo>
                  <a:cubicBezTo>
                    <a:pt x="574" y="564"/>
                    <a:pt x="594" y="566"/>
                    <a:pt x="602" y="574"/>
                  </a:cubicBezTo>
                  <a:cubicBezTo>
                    <a:pt x="611" y="582"/>
                    <a:pt x="614" y="592"/>
                    <a:pt x="614" y="604"/>
                  </a:cubicBezTo>
                  <a:cubicBezTo>
                    <a:pt x="614" y="638"/>
                    <a:pt x="614" y="672"/>
                    <a:pt x="614" y="706"/>
                  </a:cubicBezTo>
                  <a:cubicBezTo>
                    <a:pt x="614" y="730"/>
                    <a:pt x="614" y="730"/>
                    <a:pt x="638" y="730"/>
                  </a:cubicBezTo>
                  <a:cubicBezTo>
                    <a:pt x="650" y="730"/>
                    <a:pt x="650" y="730"/>
                    <a:pt x="650" y="717"/>
                  </a:cubicBezTo>
                  <a:cubicBezTo>
                    <a:pt x="650" y="684"/>
                    <a:pt x="650" y="650"/>
                    <a:pt x="650" y="617"/>
                  </a:cubicBezTo>
                  <a:cubicBezTo>
                    <a:pt x="650" y="606"/>
                    <a:pt x="651" y="597"/>
                    <a:pt x="657" y="586"/>
                  </a:cubicBezTo>
                  <a:cubicBezTo>
                    <a:pt x="667" y="565"/>
                    <a:pt x="703" y="560"/>
                    <a:pt x="716" y="579"/>
                  </a:cubicBezTo>
                  <a:cubicBezTo>
                    <a:pt x="723" y="588"/>
                    <a:pt x="724" y="598"/>
                    <a:pt x="724" y="609"/>
                  </a:cubicBezTo>
                  <a:cubicBezTo>
                    <a:pt x="724" y="645"/>
                    <a:pt x="724" y="682"/>
                    <a:pt x="724" y="718"/>
                  </a:cubicBezTo>
                  <a:cubicBezTo>
                    <a:pt x="724" y="727"/>
                    <a:pt x="727" y="731"/>
                    <a:pt x="736" y="730"/>
                  </a:cubicBezTo>
                  <a:cubicBezTo>
                    <a:pt x="738" y="730"/>
                    <a:pt x="741" y="730"/>
                    <a:pt x="743" y="730"/>
                  </a:cubicBezTo>
                  <a:cubicBezTo>
                    <a:pt x="758" y="730"/>
                    <a:pt x="759" y="729"/>
                    <a:pt x="759" y="715"/>
                  </a:cubicBezTo>
                  <a:cubicBezTo>
                    <a:pt x="759" y="677"/>
                    <a:pt x="758" y="639"/>
                    <a:pt x="759" y="601"/>
                  </a:cubicBezTo>
                  <a:cubicBezTo>
                    <a:pt x="759" y="571"/>
                    <a:pt x="742" y="540"/>
                    <a:pt x="704" y="538"/>
                  </a:cubicBezTo>
                  <a:cubicBezTo>
                    <a:pt x="681" y="536"/>
                    <a:pt x="661" y="542"/>
                    <a:pt x="646" y="560"/>
                  </a:cubicBezTo>
                  <a:cubicBezTo>
                    <a:pt x="638" y="569"/>
                    <a:pt x="638" y="569"/>
                    <a:pt x="631" y="559"/>
                  </a:cubicBezTo>
                  <a:cubicBezTo>
                    <a:pt x="630" y="558"/>
                    <a:pt x="630" y="557"/>
                    <a:pt x="629" y="556"/>
                  </a:cubicBezTo>
                  <a:cubicBezTo>
                    <a:pt x="623" y="548"/>
                    <a:pt x="616" y="541"/>
                    <a:pt x="607" y="539"/>
                  </a:cubicBezTo>
                  <a:cubicBezTo>
                    <a:pt x="584" y="534"/>
                    <a:pt x="563" y="539"/>
                    <a:pt x="545" y="555"/>
                  </a:cubicBezTo>
                  <a:cubicBezTo>
                    <a:pt x="540" y="559"/>
                    <a:pt x="537" y="561"/>
                    <a:pt x="537" y="552"/>
                  </a:cubicBezTo>
                  <a:cubicBezTo>
                    <a:pt x="536" y="543"/>
                    <a:pt x="526" y="538"/>
                    <a:pt x="515" y="539"/>
                  </a:cubicBezTo>
                  <a:cubicBezTo>
                    <a:pt x="506" y="540"/>
                    <a:pt x="507" y="546"/>
                    <a:pt x="507" y="552"/>
                  </a:cubicBezTo>
                  <a:cubicBezTo>
                    <a:pt x="507" y="580"/>
                    <a:pt x="507" y="607"/>
                    <a:pt x="507" y="634"/>
                  </a:cubicBezTo>
                  <a:cubicBezTo>
                    <a:pt x="507" y="660"/>
                    <a:pt x="507" y="685"/>
                    <a:pt x="507" y="711"/>
                  </a:cubicBezTo>
                  <a:close/>
                  <a:moveTo>
                    <a:pt x="1525" y="1142"/>
                  </a:moveTo>
                  <a:cubicBezTo>
                    <a:pt x="1517" y="1143"/>
                    <a:pt x="1511" y="1141"/>
                    <a:pt x="1505" y="1136"/>
                  </a:cubicBezTo>
                  <a:cubicBezTo>
                    <a:pt x="1501" y="1133"/>
                    <a:pt x="1495" y="1130"/>
                    <a:pt x="1498" y="1124"/>
                  </a:cubicBezTo>
                  <a:cubicBezTo>
                    <a:pt x="1500" y="1118"/>
                    <a:pt x="1504" y="1114"/>
                    <a:pt x="1512" y="1114"/>
                  </a:cubicBezTo>
                  <a:cubicBezTo>
                    <a:pt x="1521" y="1115"/>
                    <a:pt x="1530" y="1114"/>
                    <a:pt x="1538" y="1115"/>
                  </a:cubicBezTo>
                  <a:cubicBezTo>
                    <a:pt x="1573" y="1117"/>
                    <a:pt x="1610" y="1084"/>
                    <a:pt x="1602" y="1044"/>
                  </a:cubicBezTo>
                  <a:cubicBezTo>
                    <a:pt x="1600" y="1035"/>
                    <a:pt x="1599" y="1028"/>
                    <a:pt x="1611" y="1027"/>
                  </a:cubicBezTo>
                  <a:cubicBezTo>
                    <a:pt x="1614" y="1027"/>
                    <a:pt x="1617" y="1024"/>
                    <a:pt x="1619" y="1023"/>
                  </a:cubicBezTo>
                  <a:cubicBezTo>
                    <a:pt x="1626" y="1019"/>
                    <a:pt x="1624" y="1013"/>
                    <a:pt x="1623" y="1008"/>
                  </a:cubicBezTo>
                  <a:cubicBezTo>
                    <a:pt x="1623" y="1002"/>
                    <a:pt x="1618" y="1003"/>
                    <a:pt x="1613" y="1002"/>
                  </a:cubicBezTo>
                  <a:cubicBezTo>
                    <a:pt x="1598" y="1002"/>
                    <a:pt x="1582" y="1004"/>
                    <a:pt x="1567" y="1000"/>
                  </a:cubicBezTo>
                  <a:cubicBezTo>
                    <a:pt x="1560" y="999"/>
                    <a:pt x="1554" y="993"/>
                    <a:pt x="1546" y="993"/>
                  </a:cubicBezTo>
                  <a:cubicBezTo>
                    <a:pt x="1536" y="994"/>
                    <a:pt x="1525" y="992"/>
                    <a:pt x="1515" y="993"/>
                  </a:cubicBezTo>
                  <a:cubicBezTo>
                    <a:pt x="1490" y="997"/>
                    <a:pt x="1469" y="1010"/>
                    <a:pt x="1462" y="1034"/>
                  </a:cubicBezTo>
                  <a:cubicBezTo>
                    <a:pt x="1455" y="1056"/>
                    <a:pt x="1457" y="1079"/>
                    <a:pt x="1476" y="1096"/>
                  </a:cubicBezTo>
                  <a:cubicBezTo>
                    <a:pt x="1483" y="1103"/>
                    <a:pt x="1483" y="1107"/>
                    <a:pt x="1476" y="1113"/>
                  </a:cubicBezTo>
                  <a:cubicBezTo>
                    <a:pt x="1462" y="1126"/>
                    <a:pt x="1462" y="1142"/>
                    <a:pt x="1473" y="1157"/>
                  </a:cubicBezTo>
                  <a:cubicBezTo>
                    <a:pt x="1476" y="1160"/>
                    <a:pt x="1476" y="1162"/>
                    <a:pt x="1472" y="1164"/>
                  </a:cubicBezTo>
                  <a:cubicBezTo>
                    <a:pt x="1470" y="1166"/>
                    <a:pt x="1468" y="1168"/>
                    <a:pt x="1466" y="1170"/>
                  </a:cubicBezTo>
                  <a:cubicBezTo>
                    <a:pt x="1449" y="1183"/>
                    <a:pt x="1444" y="1201"/>
                    <a:pt x="1454" y="1218"/>
                  </a:cubicBezTo>
                  <a:cubicBezTo>
                    <a:pt x="1464" y="1235"/>
                    <a:pt x="1479" y="1246"/>
                    <a:pt x="1499" y="1249"/>
                  </a:cubicBezTo>
                  <a:cubicBezTo>
                    <a:pt x="1517" y="1252"/>
                    <a:pt x="1535" y="1253"/>
                    <a:pt x="1553" y="1250"/>
                  </a:cubicBezTo>
                  <a:cubicBezTo>
                    <a:pt x="1584" y="1245"/>
                    <a:pt x="1607" y="1232"/>
                    <a:pt x="1619" y="1200"/>
                  </a:cubicBezTo>
                  <a:cubicBezTo>
                    <a:pt x="1627" y="1180"/>
                    <a:pt x="1611" y="1155"/>
                    <a:pt x="1593" y="1148"/>
                  </a:cubicBezTo>
                  <a:cubicBezTo>
                    <a:pt x="1578" y="1142"/>
                    <a:pt x="1563" y="1143"/>
                    <a:pt x="1549" y="1142"/>
                  </a:cubicBezTo>
                  <a:cubicBezTo>
                    <a:pt x="1540" y="1142"/>
                    <a:pt x="1532" y="1142"/>
                    <a:pt x="1525" y="1142"/>
                  </a:cubicBezTo>
                  <a:close/>
                  <a:moveTo>
                    <a:pt x="1556" y="1172"/>
                  </a:moveTo>
                  <a:cubicBezTo>
                    <a:pt x="1566" y="1172"/>
                    <a:pt x="1576" y="1176"/>
                    <a:pt x="1583" y="1183"/>
                  </a:cubicBezTo>
                  <a:cubicBezTo>
                    <a:pt x="1589" y="1190"/>
                    <a:pt x="1589" y="1198"/>
                    <a:pt x="1583" y="1205"/>
                  </a:cubicBezTo>
                  <a:cubicBezTo>
                    <a:pt x="1575" y="1215"/>
                    <a:pt x="1565" y="1220"/>
                    <a:pt x="1553" y="1223"/>
                  </a:cubicBezTo>
                  <a:cubicBezTo>
                    <a:pt x="1534" y="1228"/>
                    <a:pt x="1516" y="1225"/>
                    <a:pt x="1499" y="1219"/>
                  </a:cubicBezTo>
                  <a:cubicBezTo>
                    <a:pt x="1486" y="1214"/>
                    <a:pt x="1479" y="1203"/>
                    <a:pt x="1482" y="1193"/>
                  </a:cubicBezTo>
                  <a:cubicBezTo>
                    <a:pt x="1485" y="1182"/>
                    <a:pt x="1496" y="1168"/>
                    <a:pt x="1514" y="1171"/>
                  </a:cubicBezTo>
                  <a:cubicBezTo>
                    <a:pt x="1526" y="1173"/>
                    <a:pt x="1541" y="1171"/>
                    <a:pt x="1556" y="1172"/>
                  </a:cubicBezTo>
                  <a:close/>
                  <a:moveTo>
                    <a:pt x="1531" y="1019"/>
                  </a:moveTo>
                  <a:cubicBezTo>
                    <a:pt x="1553" y="1017"/>
                    <a:pt x="1570" y="1033"/>
                    <a:pt x="1570" y="1052"/>
                  </a:cubicBezTo>
                  <a:cubicBezTo>
                    <a:pt x="1570" y="1075"/>
                    <a:pt x="1554" y="1093"/>
                    <a:pt x="1532" y="1091"/>
                  </a:cubicBezTo>
                  <a:cubicBezTo>
                    <a:pt x="1508" y="1089"/>
                    <a:pt x="1494" y="1082"/>
                    <a:pt x="1493" y="1053"/>
                  </a:cubicBezTo>
                  <a:cubicBezTo>
                    <a:pt x="1494" y="1029"/>
                    <a:pt x="1508" y="1020"/>
                    <a:pt x="1531" y="1019"/>
                  </a:cubicBezTo>
                  <a:close/>
                  <a:moveTo>
                    <a:pt x="1413" y="934"/>
                  </a:moveTo>
                  <a:cubicBezTo>
                    <a:pt x="1413" y="909"/>
                    <a:pt x="1413" y="909"/>
                    <a:pt x="1389" y="910"/>
                  </a:cubicBezTo>
                  <a:cubicBezTo>
                    <a:pt x="1388" y="910"/>
                    <a:pt x="1387" y="910"/>
                    <a:pt x="1387" y="910"/>
                  </a:cubicBezTo>
                  <a:cubicBezTo>
                    <a:pt x="1379" y="910"/>
                    <a:pt x="1376" y="915"/>
                    <a:pt x="1376" y="921"/>
                  </a:cubicBezTo>
                  <a:cubicBezTo>
                    <a:pt x="1376" y="939"/>
                    <a:pt x="1377" y="956"/>
                    <a:pt x="1377" y="974"/>
                  </a:cubicBezTo>
                  <a:cubicBezTo>
                    <a:pt x="1377" y="983"/>
                    <a:pt x="1377" y="991"/>
                    <a:pt x="1377" y="1000"/>
                  </a:cubicBezTo>
                  <a:cubicBezTo>
                    <a:pt x="1377" y="1005"/>
                    <a:pt x="1374" y="1009"/>
                    <a:pt x="1369" y="1005"/>
                  </a:cubicBezTo>
                  <a:cubicBezTo>
                    <a:pt x="1352" y="990"/>
                    <a:pt x="1332" y="993"/>
                    <a:pt x="1312" y="993"/>
                  </a:cubicBezTo>
                  <a:cubicBezTo>
                    <a:pt x="1303" y="994"/>
                    <a:pt x="1294" y="998"/>
                    <a:pt x="1287" y="1003"/>
                  </a:cubicBezTo>
                  <a:cubicBezTo>
                    <a:pt x="1265" y="1017"/>
                    <a:pt x="1252" y="1039"/>
                    <a:pt x="1248" y="1065"/>
                  </a:cubicBezTo>
                  <a:cubicBezTo>
                    <a:pt x="1244" y="1096"/>
                    <a:pt x="1244" y="1128"/>
                    <a:pt x="1261" y="1157"/>
                  </a:cubicBezTo>
                  <a:cubicBezTo>
                    <a:pt x="1270" y="1170"/>
                    <a:pt x="1281" y="1181"/>
                    <a:pt x="1296" y="1185"/>
                  </a:cubicBezTo>
                  <a:cubicBezTo>
                    <a:pt x="1323" y="1191"/>
                    <a:pt x="1349" y="1188"/>
                    <a:pt x="1370" y="1167"/>
                  </a:cubicBezTo>
                  <a:cubicBezTo>
                    <a:pt x="1372" y="1165"/>
                    <a:pt x="1375" y="1162"/>
                    <a:pt x="1379" y="1163"/>
                  </a:cubicBezTo>
                  <a:cubicBezTo>
                    <a:pt x="1382" y="1165"/>
                    <a:pt x="1381" y="1169"/>
                    <a:pt x="1381" y="1172"/>
                  </a:cubicBezTo>
                  <a:cubicBezTo>
                    <a:pt x="1383" y="1181"/>
                    <a:pt x="1390" y="1186"/>
                    <a:pt x="1403" y="1186"/>
                  </a:cubicBezTo>
                  <a:cubicBezTo>
                    <a:pt x="1413" y="1185"/>
                    <a:pt x="1413" y="1178"/>
                    <a:pt x="1413" y="1172"/>
                  </a:cubicBezTo>
                  <a:cubicBezTo>
                    <a:pt x="1413" y="1131"/>
                    <a:pt x="1413" y="1090"/>
                    <a:pt x="1413" y="1049"/>
                  </a:cubicBezTo>
                  <a:cubicBezTo>
                    <a:pt x="1413" y="1010"/>
                    <a:pt x="1413" y="972"/>
                    <a:pt x="1413" y="934"/>
                  </a:cubicBezTo>
                  <a:close/>
                  <a:moveTo>
                    <a:pt x="1378" y="1113"/>
                  </a:moveTo>
                  <a:cubicBezTo>
                    <a:pt x="1378" y="1136"/>
                    <a:pt x="1360" y="1155"/>
                    <a:pt x="1337" y="1157"/>
                  </a:cubicBezTo>
                  <a:cubicBezTo>
                    <a:pt x="1319" y="1159"/>
                    <a:pt x="1304" y="1154"/>
                    <a:pt x="1294" y="1139"/>
                  </a:cubicBezTo>
                  <a:cubicBezTo>
                    <a:pt x="1286" y="1128"/>
                    <a:pt x="1283" y="1116"/>
                    <a:pt x="1283" y="1102"/>
                  </a:cubicBezTo>
                  <a:cubicBezTo>
                    <a:pt x="1282" y="1085"/>
                    <a:pt x="1282" y="1067"/>
                    <a:pt x="1290" y="1051"/>
                  </a:cubicBezTo>
                  <a:cubicBezTo>
                    <a:pt x="1297" y="1036"/>
                    <a:pt x="1308" y="1024"/>
                    <a:pt x="1325" y="1022"/>
                  </a:cubicBezTo>
                  <a:cubicBezTo>
                    <a:pt x="1342" y="1020"/>
                    <a:pt x="1358" y="1021"/>
                    <a:pt x="1371" y="1035"/>
                  </a:cubicBezTo>
                  <a:cubicBezTo>
                    <a:pt x="1376" y="1041"/>
                    <a:pt x="1378" y="1046"/>
                    <a:pt x="1378" y="1052"/>
                  </a:cubicBezTo>
                  <a:cubicBezTo>
                    <a:pt x="1378" y="1064"/>
                    <a:pt x="1378" y="1075"/>
                    <a:pt x="1378" y="1086"/>
                  </a:cubicBezTo>
                  <a:cubicBezTo>
                    <a:pt x="1378" y="1086"/>
                    <a:pt x="1378" y="1086"/>
                    <a:pt x="1378" y="1086"/>
                  </a:cubicBezTo>
                  <a:cubicBezTo>
                    <a:pt x="1378" y="1095"/>
                    <a:pt x="1378" y="1104"/>
                    <a:pt x="1378" y="1113"/>
                  </a:cubicBezTo>
                  <a:close/>
                  <a:moveTo>
                    <a:pt x="578" y="259"/>
                  </a:moveTo>
                  <a:cubicBezTo>
                    <a:pt x="603" y="241"/>
                    <a:pt x="611" y="213"/>
                    <a:pt x="614" y="183"/>
                  </a:cubicBezTo>
                  <a:cubicBezTo>
                    <a:pt x="615" y="171"/>
                    <a:pt x="610" y="159"/>
                    <a:pt x="609" y="147"/>
                  </a:cubicBezTo>
                  <a:cubicBezTo>
                    <a:pt x="608" y="137"/>
                    <a:pt x="603" y="129"/>
                    <a:pt x="599" y="121"/>
                  </a:cubicBezTo>
                  <a:cubicBezTo>
                    <a:pt x="579" y="87"/>
                    <a:pt x="527" y="70"/>
                    <a:pt x="488" y="85"/>
                  </a:cubicBezTo>
                  <a:cubicBezTo>
                    <a:pt x="453" y="99"/>
                    <a:pt x="436" y="127"/>
                    <a:pt x="431" y="163"/>
                  </a:cubicBezTo>
                  <a:cubicBezTo>
                    <a:pt x="429" y="180"/>
                    <a:pt x="430" y="196"/>
                    <a:pt x="436" y="213"/>
                  </a:cubicBezTo>
                  <a:cubicBezTo>
                    <a:pt x="439" y="222"/>
                    <a:pt x="442" y="232"/>
                    <a:pt x="447" y="239"/>
                  </a:cubicBezTo>
                  <a:cubicBezTo>
                    <a:pt x="465" y="265"/>
                    <a:pt x="491" y="277"/>
                    <a:pt x="525" y="276"/>
                  </a:cubicBezTo>
                  <a:cubicBezTo>
                    <a:pt x="543" y="278"/>
                    <a:pt x="562" y="271"/>
                    <a:pt x="578" y="259"/>
                  </a:cubicBezTo>
                  <a:close/>
                  <a:moveTo>
                    <a:pt x="471" y="205"/>
                  </a:moveTo>
                  <a:cubicBezTo>
                    <a:pt x="466" y="185"/>
                    <a:pt x="468" y="167"/>
                    <a:pt x="472" y="147"/>
                  </a:cubicBezTo>
                  <a:cubicBezTo>
                    <a:pt x="477" y="130"/>
                    <a:pt x="493" y="116"/>
                    <a:pt x="509" y="112"/>
                  </a:cubicBezTo>
                  <a:cubicBezTo>
                    <a:pt x="525" y="108"/>
                    <a:pt x="539" y="110"/>
                    <a:pt x="553" y="119"/>
                  </a:cubicBezTo>
                  <a:cubicBezTo>
                    <a:pt x="563" y="125"/>
                    <a:pt x="568" y="135"/>
                    <a:pt x="571" y="146"/>
                  </a:cubicBezTo>
                  <a:cubicBezTo>
                    <a:pt x="577" y="167"/>
                    <a:pt x="578" y="189"/>
                    <a:pt x="571" y="211"/>
                  </a:cubicBezTo>
                  <a:cubicBezTo>
                    <a:pt x="565" y="231"/>
                    <a:pt x="549" y="249"/>
                    <a:pt x="521" y="247"/>
                  </a:cubicBezTo>
                  <a:cubicBezTo>
                    <a:pt x="496" y="247"/>
                    <a:pt x="478" y="230"/>
                    <a:pt x="471" y="205"/>
                  </a:cubicBezTo>
                  <a:close/>
                  <a:moveTo>
                    <a:pt x="472" y="1122"/>
                  </a:moveTo>
                  <a:cubicBezTo>
                    <a:pt x="475" y="1136"/>
                    <a:pt x="481" y="1148"/>
                    <a:pt x="491" y="1158"/>
                  </a:cubicBezTo>
                  <a:cubicBezTo>
                    <a:pt x="506" y="1176"/>
                    <a:pt x="524" y="1185"/>
                    <a:pt x="548" y="1187"/>
                  </a:cubicBezTo>
                  <a:cubicBezTo>
                    <a:pt x="568" y="1188"/>
                    <a:pt x="587" y="1187"/>
                    <a:pt x="605" y="1177"/>
                  </a:cubicBezTo>
                  <a:cubicBezTo>
                    <a:pt x="632" y="1162"/>
                    <a:pt x="644" y="1136"/>
                    <a:pt x="649" y="1107"/>
                  </a:cubicBezTo>
                  <a:cubicBezTo>
                    <a:pt x="652" y="1089"/>
                    <a:pt x="649" y="1072"/>
                    <a:pt x="644" y="1054"/>
                  </a:cubicBezTo>
                  <a:cubicBezTo>
                    <a:pt x="638" y="1034"/>
                    <a:pt x="627" y="1019"/>
                    <a:pt x="610" y="1007"/>
                  </a:cubicBezTo>
                  <a:cubicBezTo>
                    <a:pt x="589" y="992"/>
                    <a:pt x="566" y="991"/>
                    <a:pt x="541" y="994"/>
                  </a:cubicBezTo>
                  <a:cubicBezTo>
                    <a:pt x="526" y="995"/>
                    <a:pt x="512" y="1002"/>
                    <a:pt x="500" y="1012"/>
                  </a:cubicBezTo>
                  <a:cubicBezTo>
                    <a:pt x="476" y="1032"/>
                    <a:pt x="469" y="1060"/>
                    <a:pt x="466" y="1095"/>
                  </a:cubicBezTo>
                  <a:cubicBezTo>
                    <a:pt x="465" y="1101"/>
                    <a:pt x="470" y="1111"/>
                    <a:pt x="472" y="1122"/>
                  </a:cubicBezTo>
                  <a:close/>
                  <a:moveTo>
                    <a:pt x="508" y="1113"/>
                  </a:moveTo>
                  <a:cubicBezTo>
                    <a:pt x="505" y="1095"/>
                    <a:pt x="506" y="1078"/>
                    <a:pt x="508" y="1061"/>
                  </a:cubicBezTo>
                  <a:cubicBezTo>
                    <a:pt x="511" y="1042"/>
                    <a:pt x="538" y="1021"/>
                    <a:pt x="554" y="1022"/>
                  </a:cubicBezTo>
                  <a:cubicBezTo>
                    <a:pt x="570" y="1022"/>
                    <a:pt x="586" y="1024"/>
                    <a:pt x="596" y="1037"/>
                  </a:cubicBezTo>
                  <a:cubicBezTo>
                    <a:pt x="602" y="1044"/>
                    <a:pt x="607" y="1052"/>
                    <a:pt x="608" y="1061"/>
                  </a:cubicBezTo>
                  <a:cubicBezTo>
                    <a:pt x="608" y="1064"/>
                    <a:pt x="609" y="1067"/>
                    <a:pt x="610" y="1070"/>
                  </a:cubicBezTo>
                  <a:cubicBezTo>
                    <a:pt x="618" y="1089"/>
                    <a:pt x="612" y="1107"/>
                    <a:pt x="607" y="1125"/>
                  </a:cubicBezTo>
                  <a:cubicBezTo>
                    <a:pt x="601" y="1143"/>
                    <a:pt x="588" y="1160"/>
                    <a:pt x="558" y="1157"/>
                  </a:cubicBezTo>
                  <a:cubicBezTo>
                    <a:pt x="530" y="1157"/>
                    <a:pt x="512" y="1141"/>
                    <a:pt x="508" y="1113"/>
                  </a:cubicBezTo>
                  <a:close/>
                  <a:moveTo>
                    <a:pt x="430" y="716"/>
                  </a:moveTo>
                  <a:cubicBezTo>
                    <a:pt x="450" y="703"/>
                    <a:pt x="459" y="683"/>
                    <a:pt x="464" y="661"/>
                  </a:cubicBezTo>
                  <a:cubicBezTo>
                    <a:pt x="468" y="648"/>
                    <a:pt x="467" y="635"/>
                    <a:pt x="466" y="621"/>
                  </a:cubicBezTo>
                  <a:cubicBezTo>
                    <a:pt x="463" y="592"/>
                    <a:pt x="453" y="567"/>
                    <a:pt x="427" y="550"/>
                  </a:cubicBezTo>
                  <a:cubicBezTo>
                    <a:pt x="401" y="534"/>
                    <a:pt x="372" y="532"/>
                    <a:pt x="345" y="541"/>
                  </a:cubicBezTo>
                  <a:cubicBezTo>
                    <a:pt x="310" y="552"/>
                    <a:pt x="291" y="580"/>
                    <a:pt x="287" y="617"/>
                  </a:cubicBezTo>
                  <a:cubicBezTo>
                    <a:pt x="286" y="629"/>
                    <a:pt x="286" y="641"/>
                    <a:pt x="287" y="654"/>
                  </a:cubicBezTo>
                  <a:cubicBezTo>
                    <a:pt x="289" y="671"/>
                    <a:pt x="295" y="686"/>
                    <a:pt x="306" y="700"/>
                  </a:cubicBezTo>
                  <a:cubicBezTo>
                    <a:pt x="324" y="722"/>
                    <a:pt x="348" y="733"/>
                    <a:pt x="378" y="731"/>
                  </a:cubicBezTo>
                  <a:cubicBezTo>
                    <a:pt x="396" y="733"/>
                    <a:pt x="414" y="727"/>
                    <a:pt x="430" y="716"/>
                  </a:cubicBezTo>
                  <a:close/>
                  <a:moveTo>
                    <a:pt x="331" y="592"/>
                  </a:moveTo>
                  <a:cubicBezTo>
                    <a:pt x="339" y="580"/>
                    <a:pt x="349" y="569"/>
                    <a:pt x="365" y="567"/>
                  </a:cubicBezTo>
                  <a:cubicBezTo>
                    <a:pt x="387" y="564"/>
                    <a:pt x="406" y="568"/>
                    <a:pt x="419" y="588"/>
                  </a:cubicBezTo>
                  <a:cubicBezTo>
                    <a:pt x="423" y="595"/>
                    <a:pt x="426" y="603"/>
                    <a:pt x="427" y="610"/>
                  </a:cubicBezTo>
                  <a:cubicBezTo>
                    <a:pt x="433" y="635"/>
                    <a:pt x="431" y="661"/>
                    <a:pt x="416" y="684"/>
                  </a:cubicBezTo>
                  <a:cubicBezTo>
                    <a:pt x="403" y="706"/>
                    <a:pt x="362" y="708"/>
                    <a:pt x="345" y="692"/>
                  </a:cubicBezTo>
                  <a:cubicBezTo>
                    <a:pt x="329" y="678"/>
                    <a:pt x="323" y="661"/>
                    <a:pt x="323" y="631"/>
                  </a:cubicBezTo>
                  <a:cubicBezTo>
                    <a:pt x="323" y="619"/>
                    <a:pt x="323" y="605"/>
                    <a:pt x="331" y="592"/>
                  </a:cubicBezTo>
                  <a:close/>
                  <a:moveTo>
                    <a:pt x="1073" y="259"/>
                  </a:moveTo>
                  <a:cubicBezTo>
                    <a:pt x="1073" y="269"/>
                    <a:pt x="1075" y="272"/>
                    <a:pt x="1086" y="272"/>
                  </a:cubicBezTo>
                  <a:cubicBezTo>
                    <a:pt x="1088" y="272"/>
                    <a:pt x="1090" y="272"/>
                    <a:pt x="1092" y="272"/>
                  </a:cubicBezTo>
                  <a:cubicBezTo>
                    <a:pt x="1105" y="272"/>
                    <a:pt x="1106" y="271"/>
                    <a:pt x="1106" y="258"/>
                  </a:cubicBezTo>
                  <a:cubicBezTo>
                    <a:pt x="1106" y="221"/>
                    <a:pt x="1106" y="184"/>
                    <a:pt x="1106" y="147"/>
                  </a:cubicBezTo>
                  <a:cubicBezTo>
                    <a:pt x="1106" y="143"/>
                    <a:pt x="1106" y="140"/>
                    <a:pt x="1107" y="137"/>
                  </a:cubicBezTo>
                  <a:cubicBezTo>
                    <a:pt x="1117" y="117"/>
                    <a:pt x="1157" y="104"/>
                    <a:pt x="1177" y="114"/>
                  </a:cubicBezTo>
                  <a:cubicBezTo>
                    <a:pt x="1179" y="115"/>
                    <a:pt x="1180" y="117"/>
                    <a:pt x="1182" y="118"/>
                  </a:cubicBezTo>
                  <a:cubicBezTo>
                    <a:pt x="1194" y="131"/>
                    <a:pt x="1196" y="147"/>
                    <a:pt x="1196" y="163"/>
                  </a:cubicBezTo>
                  <a:cubicBezTo>
                    <a:pt x="1197" y="195"/>
                    <a:pt x="1196" y="226"/>
                    <a:pt x="1196" y="258"/>
                  </a:cubicBezTo>
                  <a:cubicBezTo>
                    <a:pt x="1196" y="271"/>
                    <a:pt x="1197" y="272"/>
                    <a:pt x="1210" y="272"/>
                  </a:cubicBezTo>
                  <a:cubicBezTo>
                    <a:pt x="1212" y="272"/>
                    <a:pt x="1213" y="272"/>
                    <a:pt x="1215" y="272"/>
                  </a:cubicBezTo>
                  <a:cubicBezTo>
                    <a:pt x="1227" y="272"/>
                    <a:pt x="1229" y="270"/>
                    <a:pt x="1229" y="258"/>
                  </a:cubicBezTo>
                  <a:cubicBezTo>
                    <a:pt x="1229" y="222"/>
                    <a:pt x="1229" y="187"/>
                    <a:pt x="1229" y="151"/>
                  </a:cubicBezTo>
                  <a:cubicBezTo>
                    <a:pt x="1229" y="142"/>
                    <a:pt x="1228" y="132"/>
                    <a:pt x="1225" y="123"/>
                  </a:cubicBezTo>
                  <a:cubicBezTo>
                    <a:pt x="1219" y="105"/>
                    <a:pt x="1208" y="91"/>
                    <a:pt x="1189" y="85"/>
                  </a:cubicBezTo>
                  <a:cubicBezTo>
                    <a:pt x="1173" y="80"/>
                    <a:pt x="1156" y="84"/>
                    <a:pt x="1139" y="84"/>
                  </a:cubicBezTo>
                  <a:cubicBezTo>
                    <a:pt x="1137" y="84"/>
                    <a:pt x="1136" y="86"/>
                    <a:pt x="1134" y="87"/>
                  </a:cubicBezTo>
                  <a:cubicBezTo>
                    <a:pt x="1128" y="91"/>
                    <a:pt x="1121" y="96"/>
                    <a:pt x="1115" y="100"/>
                  </a:cubicBezTo>
                  <a:cubicBezTo>
                    <a:pt x="1113" y="102"/>
                    <a:pt x="1111" y="105"/>
                    <a:pt x="1108" y="103"/>
                  </a:cubicBezTo>
                  <a:cubicBezTo>
                    <a:pt x="1105" y="102"/>
                    <a:pt x="1106" y="98"/>
                    <a:pt x="1106" y="96"/>
                  </a:cubicBezTo>
                  <a:cubicBezTo>
                    <a:pt x="1106" y="69"/>
                    <a:pt x="1106" y="43"/>
                    <a:pt x="1106" y="17"/>
                  </a:cubicBezTo>
                  <a:cubicBezTo>
                    <a:pt x="1106" y="0"/>
                    <a:pt x="1106" y="0"/>
                    <a:pt x="1089" y="0"/>
                  </a:cubicBezTo>
                  <a:cubicBezTo>
                    <a:pt x="1074" y="0"/>
                    <a:pt x="1073" y="1"/>
                    <a:pt x="1073" y="16"/>
                  </a:cubicBezTo>
                  <a:cubicBezTo>
                    <a:pt x="1073" y="56"/>
                    <a:pt x="1073" y="96"/>
                    <a:pt x="1073" y="136"/>
                  </a:cubicBezTo>
                  <a:cubicBezTo>
                    <a:pt x="1073" y="177"/>
                    <a:pt x="1073" y="218"/>
                    <a:pt x="1073" y="259"/>
                  </a:cubicBezTo>
                  <a:close/>
                  <a:moveTo>
                    <a:pt x="1150" y="1092"/>
                  </a:moveTo>
                  <a:cubicBezTo>
                    <a:pt x="1168" y="1092"/>
                    <a:pt x="1186" y="1092"/>
                    <a:pt x="1204" y="1092"/>
                  </a:cubicBezTo>
                  <a:cubicBezTo>
                    <a:pt x="1215" y="1092"/>
                    <a:pt x="1218" y="1087"/>
                    <a:pt x="1219" y="1077"/>
                  </a:cubicBezTo>
                  <a:cubicBezTo>
                    <a:pt x="1220" y="1062"/>
                    <a:pt x="1216" y="1049"/>
                    <a:pt x="1210" y="1036"/>
                  </a:cubicBezTo>
                  <a:cubicBezTo>
                    <a:pt x="1204" y="1020"/>
                    <a:pt x="1193" y="1008"/>
                    <a:pt x="1177" y="1001"/>
                  </a:cubicBezTo>
                  <a:cubicBezTo>
                    <a:pt x="1155" y="992"/>
                    <a:pt x="1133" y="991"/>
                    <a:pt x="1109" y="999"/>
                  </a:cubicBezTo>
                  <a:cubicBezTo>
                    <a:pt x="1079" y="1010"/>
                    <a:pt x="1062" y="1031"/>
                    <a:pt x="1056" y="1061"/>
                  </a:cubicBezTo>
                  <a:cubicBezTo>
                    <a:pt x="1051" y="1090"/>
                    <a:pt x="1052" y="1120"/>
                    <a:pt x="1069" y="1148"/>
                  </a:cubicBezTo>
                  <a:cubicBezTo>
                    <a:pt x="1081" y="1169"/>
                    <a:pt x="1100" y="1180"/>
                    <a:pt x="1122" y="1185"/>
                  </a:cubicBezTo>
                  <a:cubicBezTo>
                    <a:pt x="1149" y="1190"/>
                    <a:pt x="1176" y="1186"/>
                    <a:pt x="1200" y="1171"/>
                  </a:cubicBezTo>
                  <a:cubicBezTo>
                    <a:pt x="1206" y="1168"/>
                    <a:pt x="1213" y="1165"/>
                    <a:pt x="1214" y="1157"/>
                  </a:cubicBezTo>
                  <a:cubicBezTo>
                    <a:pt x="1215" y="1147"/>
                    <a:pt x="1202" y="1139"/>
                    <a:pt x="1193" y="1144"/>
                  </a:cubicBezTo>
                  <a:cubicBezTo>
                    <a:pt x="1187" y="1147"/>
                    <a:pt x="1180" y="1150"/>
                    <a:pt x="1174" y="1153"/>
                  </a:cubicBezTo>
                  <a:cubicBezTo>
                    <a:pt x="1158" y="1161"/>
                    <a:pt x="1140" y="1161"/>
                    <a:pt x="1124" y="1155"/>
                  </a:cubicBezTo>
                  <a:cubicBezTo>
                    <a:pt x="1112" y="1151"/>
                    <a:pt x="1102" y="1142"/>
                    <a:pt x="1096" y="1129"/>
                  </a:cubicBezTo>
                  <a:cubicBezTo>
                    <a:pt x="1092" y="1121"/>
                    <a:pt x="1091" y="1112"/>
                    <a:pt x="1089" y="1104"/>
                  </a:cubicBezTo>
                  <a:cubicBezTo>
                    <a:pt x="1087" y="1093"/>
                    <a:pt x="1087" y="1092"/>
                    <a:pt x="1099" y="1092"/>
                  </a:cubicBezTo>
                  <a:cubicBezTo>
                    <a:pt x="1116" y="1092"/>
                    <a:pt x="1133" y="1092"/>
                    <a:pt x="1150" y="1092"/>
                  </a:cubicBezTo>
                  <a:cubicBezTo>
                    <a:pt x="1150" y="1092"/>
                    <a:pt x="1150" y="1092"/>
                    <a:pt x="1150" y="1092"/>
                  </a:cubicBezTo>
                  <a:close/>
                  <a:moveTo>
                    <a:pt x="1099" y="1070"/>
                  </a:moveTo>
                  <a:cubicBezTo>
                    <a:pt x="1092" y="1071"/>
                    <a:pt x="1089" y="1067"/>
                    <a:pt x="1091" y="1060"/>
                  </a:cubicBezTo>
                  <a:cubicBezTo>
                    <a:pt x="1094" y="1045"/>
                    <a:pt x="1108" y="1023"/>
                    <a:pt x="1128" y="1022"/>
                  </a:cubicBezTo>
                  <a:cubicBezTo>
                    <a:pt x="1142" y="1021"/>
                    <a:pt x="1156" y="1018"/>
                    <a:pt x="1168" y="1029"/>
                  </a:cubicBezTo>
                  <a:cubicBezTo>
                    <a:pt x="1181" y="1038"/>
                    <a:pt x="1185" y="1051"/>
                    <a:pt x="1187" y="1066"/>
                  </a:cubicBezTo>
                  <a:cubicBezTo>
                    <a:pt x="1188" y="1071"/>
                    <a:pt x="1183" y="1070"/>
                    <a:pt x="1180" y="1070"/>
                  </a:cubicBezTo>
                  <a:cubicBezTo>
                    <a:pt x="1166" y="1070"/>
                    <a:pt x="1153" y="1070"/>
                    <a:pt x="1139" y="1070"/>
                  </a:cubicBezTo>
                  <a:cubicBezTo>
                    <a:pt x="1139" y="1070"/>
                    <a:pt x="1139" y="1070"/>
                    <a:pt x="1139" y="1070"/>
                  </a:cubicBezTo>
                  <a:cubicBezTo>
                    <a:pt x="1126" y="1070"/>
                    <a:pt x="1113" y="1070"/>
                    <a:pt x="1099" y="1070"/>
                  </a:cubicBezTo>
                  <a:close/>
                  <a:moveTo>
                    <a:pt x="1741" y="1092"/>
                  </a:moveTo>
                  <a:cubicBezTo>
                    <a:pt x="1759" y="1092"/>
                    <a:pt x="1776" y="1092"/>
                    <a:pt x="1793" y="1092"/>
                  </a:cubicBezTo>
                  <a:cubicBezTo>
                    <a:pt x="1806" y="1092"/>
                    <a:pt x="1808" y="1089"/>
                    <a:pt x="1808" y="1076"/>
                  </a:cubicBezTo>
                  <a:cubicBezTo>
                    <a:pt x="1809" y="1063"/>
                    <a:pt x="1807" y="1051"/>
                    <a:pt x="1802" y="1038"/>
                  </a:cubicBezTo>
                  <a:cubicBezTo>
                    <a:pt x="1794" y="1021"/>
                    <a:pt x="1782" y="1008"/>
                    <a:pt x="1764" y="1000"/>
                  </a:cubicBezTo>
                  <a:cubicBezTo>
                    <a:pt x="1742" y="991"/>
                    <a:pt x="1720" y="991"/>
                    <a:pt x="1698" y="1000"/>
                  </a:cubicBezTo>
                  <a:cubicBezTo>
                    <a:pt x="1681" y="1006"/>
                    <a:pt x="1668" y="1016"/>
                    <a:pt x="1659" y="1031"/>
                  </a:cubicBezTo>
                  <a:cubicBezTo>
                    <a:pt x="1646" y="1050"/>
                    <a:pt x="1643" y="1071"/>
                    <a:pt x="1644" y="1094"/>
                  </a:cubicBezTo>
                  <a:cubicBezTo>
                    <a:pt x="1644" y="1110"/>
                    <a:pt x="1647" y="1127"/>
                    <a:pt x="1655" y="1141"/>
                  </a:cubicBezTo>
                  <a:cubicBezTo>
                    <a:pt x="1669" y="1168"/>
                    <a:pt x="1691" y="1183"/>
                    <a:pt x="1722" y="1186"/>
                  </a:cubicBezTo>
                  <a:cubicBezTo>
                    <a:pt x="1750" y="1188"/>
                    <a:pt x="1775" y="1183"/>
                    <a:pt x="1798" y="1165"/>
                  </a:cubicBezTo>
                  <a:cubicBezTo>
                    <a:pt x="1803" y="1161"/>
                    <a:pt x="1806" y="1157"/>
                    <a:pt x="1802" y="1151"/>
                  </a:cubicBezTo>
                  <a:cubicBezTo>
                    <a:pt x="1798" y="1144"/>
                    <a:pt x="1791" y="1140"/>
                    <a:pt x="1783" y="1144"/>
                  </a:cubicBezTo>
                  <a:cubicBezTo>
                    <a:pt x="1778" y="1147"/>
                    <a:pt x="1771" y="1149"/>
                    <a:pt x="1766" y="1152"/>
                  </a:cubicBezTo>
                  <a:cubicBezTo>
                    <a:pt x="1749" y="1161"/>
                    <a:pt x="1730" y="1162"/>
                    <a:pt x="1714" y="1155"/>
                  </a:cubicBezTo>
                  <a:cubicBezTo>
                    <a:pt x="1692" y="1145"/>
                    <a:pt x="1680" y="1127"/>
                    <a:pt x="1679" y="1102"/>
                  </a:cubicBezTo>
                  <a:cubicBezTo>
                    <a:pt x="1678" y="1095"/>
                    <a:pt x="1681" y="1092"/>
                    <a:pt x="1689" y="1092"/>
                  </a:cubicBezTo>
                  <a:cubicBezTo>
                    <a:pt x="1706" y="1092"/>
                    <a:pt x="1724" y="1092"/>
                    <a:pt x="1741" y="1092"/>
                  </a:cubicBezTo>
                  <a:cubicBezTo>
                    <a:pt x="1741" y="1092"/>
                    <a:pt x="1741" y="1092"/>
                    <a:pt x="1741" y="1092"/>
                  </a:cubicBezTo>
                  <a:close/>
                  <a:moveTo>
                    <a:pt x="1690" y="1070"/>
                  </a:moveTo>
                  <a:cubicBezTo>
                    <a:pt x="1683" y="1071"/>
                    <a:pt x="1680" y="1068"/>
                    <a:pt x="1681" y="1062"/>
                  </a:cubicBezTo>
                  <a:cubicBezTo>
                    <a:pt x="1683" y="1048"/>
                    <a:pt x="1697" y="1024"/>
                    <a:pt x="1716" y="1022"/>
                  </a:cubicBezTo>
                  <a:cubicBezTo>
                    <a:pt x="1731" y="1020"/>
                    <a:pt x="1747" y="1018"/>
                    <a:pt x="1760" y="1030"/>
                  </a:cubicBezTo>
                  <a:cubicBezTo>
                    <a:pt x="1771" y="1038"/>
                    <a:pt x="1775" y="1050"/>
                    <a:pt x="1778" y="1062"/>
                  </a:cubicBezTo>
                  <a:cubicBezTo>
                    <a:pt x="1780" y="1068"/>
                    <a:pt x="1775" y="1070"/>
                    <a:pt x="1769" y="1070"/>
                  </a:cubicBezTo>
                  <a:cubicBezTo>
                    <a:pt x="1756" y="1070"/>
                    <a:pt x="1742" y="1070"/>
                    <a:pt x="1729" y="1070"/>
                  </a:cubicBezTo>
                  <a:cubicBezTo>
                    <a:pt x="1729" y="1070"/>
                    <a:pt x="1729" y="1070"/>
                    <a:pt x="1729" y="1070"/>
                  </a:cubicBezTo>
                  <a:cubicBezTo>
                    <a:pt x="1716" y="1070"/>
                    <a:pt x="1703" y="1070"/>
                    <a:pt x="1690" y="1070"/>
                  </a:cubicBezTo>
                  <a:close/>
                  <a:moveTo>
                    <a:pt x="68" y="581"/>
                  </a:moveTo>
                  <a:cubicBezTo>
                    <a:pt x="68" y="573"/>
                    <a:pt x="70" y="568"/>
                    <a:pt x="80" y="569"/>
                  </a:cubicBezTo>
                  <a:cubicBezTo>
                    <a:pt x="90" y="570"/>
                    <a:pt x="101" y="570"/>
                    <a:pt x="111" y="569"/>
                  </a:cubicBezTo>
                  <a:cubicBezTo>
                    <a:pt x="120" y="569"/>
                    <a:pt x="120" y="563"/>
                    <a:pt x="120" y="556"/>
                  </a:cubicBezTo>
                  <a:cubicBezTo>
                    <a:pt x="120" y="549"/>
                    <a:pt x="119" y="544"/>
                    <a:pt x="111" y="544"/>
                  </a:cubicBezTo>
                  <a:cubicBezTo>
                    <a:pt x="104" y="544"/>
                    <a:pt x="97" y="544"/>
                    <a:pt x="91" y="544"/>
                  </a:cubicBezTo>
                  <a:cubicBezTo>
                    <a:pt x="66" y="544"/>
                    <a:pt x="65" y="543"/>
                    <a:pt x="68" y="518"/>
                  </a:cubicBezTo>
                  <a:cubicBezTo>
                    <a:pt x="69" y="504"/>
                    <a:pt x="83" y="487"/>
                    <a:pt x="99" y="489"/>
                  </a:cubicBezTo>
                  <a:cubicBezTo>
                    <a:pt x="103" y="489"/>
                    <a:pt x="107" y="489"/>
                    <a:pt x="110" y="488"/>
                  </a:cubicBezTo>
                  <a:cubicBezTo>
                    <a:pt x="118" y="487"/>
                    <a:pt x="123" y="479"/>
                    <a:pt x="123" y="471"/>
                  </a:cubicBezTo>
                  <a:cubicBezTo>
                    <a:pt x="123" y="461"/>
                    <a:pt x="116" y="462"/>
                    <a:pt x="109" y="460"/>
                  </a:cubicBezTo>
                  <a:cubicBezTo>
                    <a:pt x="100" y="458"/>
                    <a:pt x="92" y="460"/>
                    <a:pt x="84" y="460"/>
                  </a:cubicBezTo>
                  <a:cubicBezTo>
                    <a:pt x="68" y="461"/>
                    <a:pt x="56" y="469"/>
                    <a:pt x="47" y="480"/>
                  </a:cubicBezTo>
                  <a:cubicBezTo>
                    <a:pt x="34" y="493"/>
                    <a:pt x="32" y="511"/>
                    <a:pt x="32" y="529"/>
                  </a:cubicBezTo>
                  <a:cubicBezTo>
                    <a:pt x="32" y="544"/>
                    <a:pt x="32" y="544"/>
                    <a:pt x="17" y="544"/>
                  </a:cubicBezTo>
                  <a:cubicBezTo>
                    <a:pt x="4" y="543"/>
                    <a:pt x="0" y="548"/>
                    <a:pt x="4" y="561"/>
                  </a:cubicBezTo>
                  <a:cubicBezTo>
                    <a:pt x="6" y="569"/>
                    <a:pt x="13" y="568"/>
                    <a:pt x="19" y="569"/>
                  </a:cubicBezTo>
                  <a:cubicBezTo>
                    <a:pt x="32" y="571"/>
                    <a:pt x="32" y="571"/>
                    <a:pt x="32" y="584"/>
                  </a:cubicBezTo>
                  <a:cubicBezTo>
                    <a:pt x="32" y="624"/>
                    <a:pt x="32" y="664"/>
                    <a:pt x="32" y="704"/>
                  </a:cubicBezTo>
                  <a:cubicBezTo>
                    <a:pt x="32" y="731"/>
                    <a:pt x="32" y="730"/>
                    <a:pt x="57" y="731"/>
                  </a:cubicBezTo>
                  <a:cubicBezTo>
                    <a:pt x="66" y="731"/>
                    <a:pt x="68" y="727"/>
                    <a:pt x="68" y="720"/>
                  </a:cubicBezTo>
                  <a:cubicBezTo>
                    <a:pt x="68" y="697"/>
                    <a:pt x="68" y="674"/>
                    <a:pt x="68" y="651"/>
                  </a:cubicBezTo>
                  <a:cubicBezTo>
                    <a:pt x="68" y="628"/>
                    <a:pt x="68" y="605"/>
                    <a:pt x="68" y="581"/>
                  </a:cubicBezTo>
                  <a:close/>
                  <a:moveTo>
                    <a:pt x="278" y="1165"/>
                  </a:moveTo>
                  <a:cubicBezTo>
                    <a:pt x="278" y="1183"/>
                    <a:pt x="278" y="1183"/>
                    <a:pt x="296" y="1184"/>
                  </a:cubicBezTo>
                  <a:cubicBezTo>
                    <a:pt x="310" y="1184"/>
                    <a:pt x="310" y="1184"/>
                    <a:pt x="310" y="1169"/>
                  </a:cubicBezTo>
                  <a:cubicBezTo>
                    <a:pt x="310" y="1132"/>
                    <a:pt x="310" y="1095"/>
                    <a:pt x="310" y="1058"/>
                  </a:cubicBezTo>
                  <a:cubicBezTo>
                    <a:pt x="310" y="1052"/>
                    <a:pt x="312" y="1047"/>
                    <a:pt x="316" y="1042"/>
                  </a:cubicBezTo>
                  <a:cubicBezTo>
                    <a:pt x="324" y="1033"/>
                    <a:pt x="334" y="1027"/>
                    <a:pt x="345" y="1024"/>
                  </a:cubicBezTo>
                  <a:cubicBezTo>
                    <a:pt x="357" y="1020"/>
                    <a:pt x="371" y="1018"/>
                    <a:pt x="383" y="1028"/>
                  </a:cubicBezTo>
                  <a:cubicBezTo>
                    <a:pt x="397" y="1039"/>
                    <a:pt x="401" y="1054"/>
                    <a:pt x="401" y="1071"/>
                  </a:cubicBezTo>
                  <a:cubicBezTo>
                    <a:pt x="401" y="1102"/>
                    <a:pt x="401" y="1132"/>
                    <a:pt x="401" y="1163"/>
                  </a:cubicBezTo>
                  <a:cubicBezTo>
                    <a:pt x="401" y="1183"/>
                    <a:pt x="401" y="1182"/>
                    <a:pt x="420" y="1184"/>
                  </a:cubicBezTo>
                  <a:cubicBezTo>
                    <a:pt x="429" y="1185"/>
                    <a:pt x="433" y="1181"/>
                    <a:pt x="433" y="1173"/>
                  </a:cubicBezTo>
                  <a:cubicBezTo>
                    <a:pt x="432" y="1130"/>
                    <a:pt x="435" y="1087"/>
                    <a:pt x="431" y="1044"/>
                  </a:cubicBezTo>
                  <a:cubicBezTo>
                    <a:pt x="427" y="1014"/>
                    <a:pt x="404" y="996"/>
                    <a:pt x="376" y="994"/>
                  </a:cubicBezTo>
                  <a:cubicBezTo>
                    <a:pt x="353" y="992"/>
                    <a:pt x="333" y="1000"/>
                    <a:pt x="317" y="1017"/>
                  </a:cubicBezTo>
                  <a:cubicBezTo>
                    <a:pt x="312" y="1021"/>
                    <a:pt x="311" y="1019"/>
                    <a:pt x="309" y="1015"/>
                  </a:cubicBezTo>
                  <a:cubicBezTo>
                    <a:pt x="309" y="1013"/>
                    <a:pt x="308" y="1011"/>
                    <a:pt x="308" y="1008"/>
                  </a:cubicBezTo>
                  <a:cubicBezTo>
                    <a:pt x="306" y="1001"/>
                    <a:pt x="298" y="997"/>
                    <a:pt x="287" y="998"/>
                  </a:cubicBezTo>
                  <a:cubicBezTo>
                    <a:pt x="279" y="999"/>
                    <a:pt x="278" y="1004"/>
                    <a:pt x="278" y="1011"/>
                  </a:cubicBezTo>
                  <a:cubicBezTo>
                    <a:pt x="278" y="1037"/>
                    <a:pt x="278" y="1064"/>
                    <a:pt x="278" y="1091"/>
                  </a:cubicBezTo>
                  <a:cubicBezTo>
                    <a:pt x="278" y="1115"/>
                    <a:pt x="278" y="1140"/>
                    <a:pt x="278" y="1165"/>
                  </a:cubicBezTo>
                  <a:close/>
                  <a:moveTo>
                    <a:pt x="150" y="705"/>
                  </a:moveTo>
                  <a:cubicBezTo>
                    <a:pt x="150" y="734"/>
                    <a:pt x="145" y="730"/>
                    <a:pt x="176" y="731"/>
                  </a:cubicBezTo>
                  <a:cubicBezTo>
                    <a:pt x="185" y="731"/>
                    <a:pt x="187" y="727"/>
                    <a:pt x="187" y="719"/>
                  </a:cubicBezTo>
                  <a:cubicBezTo>
                    <a:pt x="187" y="685"/>
                    <a:pt x="187" y="651"/>
                    <a:pt x="187" y="618"/>
                  </a:cubicBezTo>
                  <a:cubicBezTo>
                    <a:pt x="187" y="597"/>
                    <a:pt x="204" y="578"/>
                    <a:pt x="225" y="574"/>
                  </a:cubicBezTo>
                  <a:cubicBezTo>
                    <a:pt x="232" y="572"/>
                    <a:pt x="240" y="574"/>
                    <a:pt x="247" y="575"/>
                  </a:cubicBezTo>
                  <a:cubicBezTo>
                    <a:pt x="257" y="576"/>
                    <a:pt x="261" y="572"/>
                    <a:pt x="265" y="564"/>
                  </a:cubicBezTo>
                  <a:cubicBezTo>
                    <a:pt x="269" y="556"/>
                    <a:pt x="267" y="542"/>
                    <a:pt x="261" y="540"/>
                  </a:cubicBezTo>
                  <a:cubicBezTo>
                    <a:pt x="253" y="538"/>
                    <a:pt x="244" y="534"/>
                    <a:pt x="237" y="536"/>
                  </a:cubicBezTo>
                  <a:cubicBezTo>
                    <a:pt x="228" y="537"/>
                    <a:pt x="217" y="537"/>
                    <a:pt x="209" y="544"/>
                  </a:cubicBezTo>
                  <a:cubicBezTo>
                    <a:pt x="204" y="549"/>
                    <a:pt x="198" y="553"/>
                    <a:pt x="194" y="558"/>
                  </a:cubicBezTo>
                  <a:cubicBezTo>
                    <a:pt x="192" y="561"/>
                    <a:pt x="189" y="563"/>
                    <a:pt x="185" y="562"/>
                  </a:cubicBezTo>
                  <a:cubicBezTo>
                    <a:pt x="182" y="561"/>
                    <a:pt x="182" y="558"/>
                    <a:pt x="182" y="556"/>
                  </a:cubicBezTo>
                  <a:cubicBezTo>
                    <a:pt x="180" y="539"/>
                    <a:pt x="179" y="539"/>
                    <a:pt x="162" y="539"/>
                  </a:cubicBezTo>
                  <a:cubicBezTo>
                    <a:pt x="151" y="539"/>
                    <a:pt x="150" y="540"/>
                    <a:pt x="150" y="551"/>
                  </a:cubicBezTo>
                  <a:cubicBezTo>
                    <a:pt x="150" y="579"/>
                    <a:pt x="150" y="607"/>
                    <a:pt x="150" y="635"/>
                  </a:cubicBezTo>
                  <a:cubicBezTo>
                    <a:pt x="150" y="658"/>
                    <a:pt x="149" y="682"/>
                    <a:pt x="150" y="705"/>
                  </a:cubicBezTo>
                  <a:close/>
                  <a:moveTo>
                    <a:pt x="1011" y="1049"/>
                  </a:moveTo>
                  <a:cubicBezTo>
                    <a:pt x="1011" y="1008"/>
                    <a:pt x="1011" y="966"/>
                    <a:pt x="1011" y="924"/>
                  </a:cubicBezTo>
                  <a:cubicBezTo>
                    <a:pt x="1011" y="913"/>
                    <a:pt x="1008" y="910"/>
                    <a:pt x="997" y="910"/>
                  </a:cubicBezTo>
                  <a:cubicBezTo>
                    <a:pt x="995" y="910"/>
                    <a:pt x="992" y="910"/>
                    <a:pt x="990" y="910"/>
                  </a:cubicBezTo>
                  <a:cubicBezTo>
                    <a:pt x="976" y="910"/>
                    <a:pt x="975" y="911"/>
                    <a:pt x="975" y="926"/>
                  </a:cubicBezTo>
                  <a:cubicBezTo>
                    <a:pt x="975" y="1006"/>
                    <a:pt x="975" y="1085"/>
                    <a:pt x="975" y="1165"/>
                  </a:cubicBezTo>
                  <a:cubicBezTo>
                    <a:pt x="975" y="1185"/>
                    <a:pt x="975" y="1185"/>
                    <a:pt x="994" y="1185"/>
                  </a:cubicBezTo>
                  <a:cubicBezTo>
                    <a:pt x="1009" y="1185"/>
                    <a:pt x="1011" y="1184"/>
                    <a:pt x="1011" y="1169"/>
                  </a:cubicBezTo>
                  <a:cubicBezTo>
                    <a:pt x="1011" y="1129"/>
                    <a:pt x="1011" y="1089"/>
                    <a:pt x="1011" y="1049"/>
                  </a:cubicBezTo>
                  <a:cubicBezTo>
                    <a:pt x="1011" y="1049"/>
                    <a:pt x="1011" y="1049"/>
                    <a:pt x="1011" y="1049"/>
                  </a:cubicBezTo>
                  <a:close/>
                  <a:moveTo>
                    <a:pt x="296" y="176"/>
                  </a:moveTo>
                  <a:cubicBezTo>
                    <a:pt x="296" y="201"/>
                    <a:pt x="296" y="226"/>
                    <a:pt x="296" y="251"/>
                  </a:cubicBezTo>
                  <a:cubicBezTo>
                    <a:pt x="295" y="276"/>
                    <a:pt x="296" y="274"/>
                    <a:pt x="318" y="274"/>
                  </a:cubicBezTo>
                  <a:cubicBezTo>
                    <a:pt x="330" y="274"/>
                    <a:pt x="331" y="274"/>
                    <a:pt x="331" y="260"/>
                  </a:cubicBezTo>
                  <a:cubicBezTo>
                    <a:pt x="331" y="232"/>
                    <a:pt x="331" y="204"/>
                    <a:pt x="331" y="176"/>
                  </a:cubicBezTo>
                  <a:cubicBezTo>
                    <a:pt x="331" y="165"/>
                    <a:pt x="331" y="155"/>
                    <a:pt x="337" y="145"/>
                  </a:cubicBezTo>
                  <a:cubicBezTo>
                    <a:pt x="349" y="123"/>
                    <a:pt x="359" y="117"/>
                    <a:pt x="377" y="118"/>
                  </a:cubicBezTo>
                  <a:cubicBezTo>
                    <a:pt x="383" y="118"/>
                    <a:pt x="389" y="119"/>
                    <a:pt x="395" y="120"/>
                  </a:cubicBezTo>
                  <a:cubicBezTo>
                    <a:pt x="401" y="120"/>
                    <a:pt x="407" y="118"/>
                    <a:pt x="408" y="112"/>
                  </a:cubicBezTo>
                  <a:cubicBezTo>
                    <a:pt x="409" y="103"/>
                    <a:pt x="415" y="93"/>
                    <a:pt x="407" y="85"/>
                  </a:cubicBezTo>
                  <a:cubicBezTo>
                    <a:pt x="406" y="84"/>
                    <a:pt x="404" y="84"/>
                    <a:pt x="402" y="84"/>
                  </a:cubicBezTo>
                  <a:cubicBezTo>
                    <a:pt x="376" y="78"/>
                    <a:pt x="353" y="82"/>
                    <a:pt x="337" y="106"/>
                  </a:cubicBezTo>
                  <a:cubicBezTo>
                    <a:pt x="336" y="108"/>
                    <a:pt x="335" y="110"/>
                    <a:pt x="333" y="109"/>
                  </a:cubicBezTo>
                  <a:cubicBezTo>
                    <a:pt x="331" y="109"/>
                    <a:pt x="330" y="107"/>
                    <a:pt x="330" y="105"/>
                  </a:cubicBezTo>
                  <a:cubicBezTo>
                    <a:pt x="329" y="101"/>
                    <a:pt x="329" y="97"/>
                    <a:pt x="328" y="94"/>
                  </a:cubicBezTo>
                  <a:cubicBezTo>
                    <a:pt x="325" y="85"/>
                    <a:pt x="318" y="82"/>
                    <a:pt x="303" y="84"/>
                  </a:cubicBezTo>
                  <a:cubicBezTo>
                    <a:pt x="297" y="84"/>
                    <a:pt x="295" y="86"/>
                    <a:pt x="295" y="92"/>
                  </a:cubicBezTo>
                  <a:cubicBezTo>
                    <a:pt x="296" y="120"/>
                    <a:pt x="295" y="148"/>
                    <a:pt x="295" y="176"/>
                  </a:cubicBezTo>
                  <a:cubicBezTo>
                    <a:pt x="296" y="176"/>
                    <a:pt x="296" y="176"/>
                    <a:pt x="296" y="176"/>
                  </a:cubicBezTo>
                  <a:close/>
                  <a:moveTo>
                    <a:pt x="946" y="179"/>
                  </a:moveTo>
                  <a:cubicBezTo>
                    <a:pt x="946" y="197"/>
                    <a:pt x="946" y="215"/>
                    <a:pt x="946" y="234"/>
                  </a:cubicBezTo>
                  <a:cubicBezTo>
                    <a:pt x="946" y="248"/>
                    <a:pt x="951" y="260"/>
                    <a:pt x="963" y="268"/>
                  </a:cubicBezTo>
                  <a:cubicBezTo>
                    <a:pt x="982" y="280"/>
                    <a:pt x="1011" y="277"/>
                    <a:pt x="1029" y="264"/>
                  </a:cubicBezTo>
                  <a:cubicBezTo>
                    <a:pt x="1036" y="259"/>
                    <a:pt x="1036" y="254"/>
                    <a:pt x="1032" y="248"/>
                  </a:cubicBezTo>
                  <a:cubicBezTo>
                    <a:pt x="1026" y="239"/>
                    <a:pt x="1020" y="238"/>
                    <a:pt x="1013" y="242"/>
                  </a:cubicBezTo>
                  <a:cubicBezTo>
                    <a:pt x="996" y="252"/>
                    <a:pt x="978" y="243"/>
                    <a:pt x="978" y="223"/>
                  </a:cubicBezTo>
                  <a:cubicBezTo>
                    <a:pt x="978" y="190"/>
                    <a:pt x="978" y="157"/>
                    <a:pt x="978" y="123"/>
                  </a:cubicBezTo>
                  <a:cubicBezTo>
                    <a:pt x="978" y="116"/>
                    <a:pt x="981" y="113"/>
                    <a:pt x="988" y="113"/>
                  </a:cubicBezTo>
                  <a:cubicBezTo>
                    <a:pt x="999" y="114"/>
                    <a:pt x="1011" y="113"/>
                    <a:pt x="1022" y="113"/>
                  </a:cubicBezTo>
                  <a:cubicBezTo>
                    <a:pt x="1028" y="113"/>
                    <a:pt x="1033" y="112"/>
                    <a:pt x="1033" y="104"/>
                  </a:cubicBezTo>
                  <a:cubicBezTo>
                    <a:pt x="1033" y="96"/>
                    <a:pt x="1032" y="90"/>
                    <a:pt x="1022" y="90"/>
                  </a:cubicBezTo>
                  <a:cubicBezTo>
                    <a:pt x="1011" y="90"/>
                    <a:pt x="1001" y="90"/>
                    <a:pt x="990" y="90"/>
                  </a:cubicBezTo>
                  <a:cubicBezTo>
                    <a:pt x="981" y="91"/>
                    <a:pt x="977" y="88"/>
                    <a:pt x="978" y="78"/>
                  </a:cubicBezTo>
                  <a:cubicBezTo>
                    <a:pt x="978" y="64"/>
                    <a:pt x="978" y="49"/>
                    <a:pt x="978" y="35"/>
                  </a:cubicBezTo>
                  <a:cubicBezTo>
                    <a:pt x="978" y="30"/>
                    <a:pt x="978" y="25"/>
                    <a:pt x="971" y="24"/>
                  </a:cubicBezTo>
                  <a:cubicBezTo>
                    <a:pt x="964" y="24"/>
                    <a:pt x="956" y="24"/>
                    <a:pt x="955" y="32"/>
                  </a:cubicBezTo>
                  <a:cubicBezTo>
                    <a:pt x="952" y="43"/>
                    <a:pt x="949" y="54"/>
                    <a:pt x="949" y="65"/>
                  </a:cubicBezTo>
                  <a:cubicBezTo>
                    <a:pt x="948" y="88"/>
                    <a:pt x="947" y="88"/>
                    <a:pt x="924" y="91"/>
                  </a:cubicBezTo>
                  <a:cubicBezTo>
                    <a:pt x="919" y="92"/>
                    <a:pt x="914" y="92"/>
                    <a:pt x="914" y="99"/>
                  </a:cubicBezTo>
                  <a:cubicBezTo>
                    <a:pt x="915" y="107"/>
                    <a:pt x="917" y="113"/>
                    <a:pt x="926" y="113"/>
                  </a:cubicBezTo>
                  <a:cubicBezTo>
                    <a:pt x="929" y="114"/>
                    <a:pt x="932" y="113"/>
                    <a:pt x="935" y="113"/>
                  </a:cubicBezTo>
                  <a:cubicBezTo>
                    <a:pt x="943" y="113"/>
                    <a:pt x="946" y="116"/>
                    <a:pt x="946" y="124"/>
                  </a:cubicBezTo>
                  <a:cubicBezTo>
                    <a:pt x="946" y="142"/>
                    <a:pt x="946" y="161"/>
                    <a:pt x="946" y="179"/>
                  </a:cubicBezTo>
                  <a:cubicBezTo>
                    <a:pt x="946" y="179"/>
                    <a:pt x="946" y="179"/>
                    <a:pt x="946" y="179"/>
                  </a:cubicBezTo>
                  <a:close/>
                </a:path>
              </a:pathLst>
            </a:custGeom>
            <a:solidFill>
              <a:srgbClr val="4C505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grpSp>
          <p:nvGrpSpPr>
            <p:cNvPr id="18" name="Group 4">
              <a:extLst>
                <a:ext uri="{FF2B5EF4-FFF2-40B4-BE49-F238E27FC236}">
                  <a16:creationId xmlns:a16="http://schemas.microsoft.com/office/drawing/2014/main" id="{57BD2C4C-DC67-B843-B26C-309622FC75F7}"/>
                </a:ext>
              </a:extLst>
            </p:cNvPr>
            <p:cNvGrpSpPr>
              <a:grpSpLocks noChangeAspect="1"/>
            </p:cNvGrpSpPr>
            <p:nvPr/>
          </p:nvGrpSpPr>
          <p:grpSpPr bwMode="gray">
            <a:xfrm>
              <a:off x="334963" y="296652"/>
              <a:ext cx="538094" cy="540000"/>
              <a:chOff x="2711" y="1027"/>
              <a:chExt cx="2258" cy="2266"/>
            </a:xfrm>
          </p:grpSpPr>
          <p:sp>
            <p:nvSpPr>
              <p:cNvPr id="19" name="AutoShape 3">
                <a:extLst>
                  <a:ext uri="{FF2B5EF4-FFF2-40B4-BE49-F238E27FC236}">
                    <a16:creationId xmlns:a16="http://schemas.microsoft.com/office/drawing/2014/main" id="{FE1DC41B-291E-574C-9F2C-874E70A40758}"/>
                  </a:ext>
                </a:extLst>
              </p:cNvPr>
              <p:cNvSpPr>
                <a:spLocks noChangeAspect="1" noChangeArrowheads="1" noTextEdit="1"/>
              </p:cNvSpPr>
              <p:nvPr/>
            </p:nvSpPr>
            <p:spPr bwMode="gray">
              <a:xfrm>
                <a:off x="2711" y="1027"/>
                <a:ext cx="2258" cy="22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20" name="Freeform 5">
                <a:extLst>
                  <a:ext uri="{FF2B5EF4-FFF2-40B4-BE49-F238E27FC236}">
                    <a16:creationId xmlns:a16="http://schemas.microsoft.com/office/drawing/2014/main" id="{D4B633C8-F761-C54B-9BD2-EB59D49A2DBC}"/>
                  </a:ext>
                </a:extLst>
              </p:cNvPr>
              <p:cNvSpPr>
                <a:spLocks/>
              </p:cNvSpPr>
              <p:nvPr/>
            </p:nvSpPr>
            <p:spPr bwMode="gray">
              <a:xfrm>
                <a:off x="2709" y="1029"/>
                <a:ext cx="2260" cy="2262"/>
              </a:xfrm>
              <a:custGeom>
                <a:avLst/>
                <a:gdLst>
                  <a:gd name="T0" fmla="*/ 2260 w 2260"/>
                  <a:gd name="T1" fmla="*/ 0 h 2262"/>
                  <a:gd name="T2" fmla="*/ 1612 w 2260"/>
                  <a:gd name="T3" fmla="*/ 649 h 2262"/>
                  <a:gd name="T4" fmla="*/ 1612 w 2260"/>
                  <a:gd name="T5" fmla="*/ 649 h 2262"/>
                  <a:gd name="T6" fmla="*/ 2035 w 2260"/>
                  <a:gd name="T7" fmla="*/ 0 h 2262"/>
                  <a:gd name="T8" fmla="*/ 0 w 2260"/>
                  <a:gd name="T9" fmla="*/ 0 h 2262"/>
                  <a:gd name="T10" fmla="*/ 0 w 2260"/>
                  <a:gd name="T11" fmla="*/ 2262 h 2262"/>
                  <a:gd name="T12" fmla="*/ 2260 w 2260"/>
                  <a:gd name="T13" fmla="*/ 2262 h 2262"/>
                  <a:gd name="T14" fmla="*/ 2260 w 2260"/>
                  <a:gd name="T15" fmla="*/ 0 h 2262"/>
                  <a:gd name="T16" fmla="*/ 2260 w 2260"/>
                  <a:gd name="T17" fmla="*/ 0 h 2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0" h="2262">
                    <a:moveTo>
                      <a:pt x="2260" y="0"/>
                    </a:moveTo>
                    <a:lnTo>
                      <a:pt x="1612" y="649"/>
                    </a:lnTo>
                    <a:lnTo>
                      <a:pt x="1612" y="649"/>
                    </a:lnTo>
                    <a:lnTo>
                      <a:pt x="2035" y="0"/>
                    </a:lnTo>
                    <a:lnTo>
                      <a:pt x="0" y="0"/>
                    </a:lnTo>
                    <a:lnTo>
                      <a:pt x="0" y="2262"/>
                    </a:lnTo>
                    <a:lnTo>
                      <a:pt x="2260" y="2262"/>
                    </a:lnTo>
                    <a:lnTo>
                      <a:pt x="2260" y="0"/>
                    </a:lnTo>
                    <a:lnTo>
                      <a:pt x="2260" y="0"/>
                    </a:lnTo>
                    <a:close/>
                  </a:path>
                </a:pathLst>
              </a:custGeom>
              <a:solidFill>
                <a:srgbClr val="E55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21" name="Freeform 6">
                <a:extLst>
                  <a:ext uri="{FF2B5EF4-FFF2-40B4-BE49-F238E27FC236}">
                    <a16:creationId xmlns:a16="http://schemas.microsoft.com/office/drawing/2014/main" id="{B16BAAE4-1A41-C843-9754-490F7A1E1270}"/>
                  </a:ext>
                </a:extLst>
              </p:cNvPr>
              <p:cNvSpPr>
                <a:spLocks noEditPoints="1"/>
              </p:cNvSpPr>
              <p:nvPr/>
            </p:nvSpPr>
            <p:spPr bwMode="gray">
              <a:xfrm>
                <a:off x="3623" y="1696"/>
                <a:ext cx="1167" cy="922"/>
              </a:xfrm>
              <a:custGeom>
                <a:avLst/>
                <a:gdLst>
                  <a:gd name="T0" fmla="*/ 411 w 580"/>
                  <a:gd name="T1" fmla="*/ 213 h 458"/>
                  <a:gd name="T2" fmla="*/ 570 w 580"/>
                  <a:gd name="T3" fmla="*/ 37 h 458"/>
                  <a:gd name="T4" fmla="*/ 580 w 580"/>
                  <a:gd name="T5" fmla="*/ 20 h 458"/>
                  <a:gd name="T6" fmla="*/ 545 w 580"/>
                  <a:gd name="T7" fmla="*/ 0 h 458"/>
                  <a:gd name="T8" fmla="*/ 519 w 580"/>
                  <a:gd name="T9" fmla="*/ 16 h 458"/>
                  <a:gd name="T10" fmla="*/ 344 w 580"/>
                  <a:gd name="T11" fmla="*/ 210 h 458"/>
                  <a:gd name="T12" fmla="*/ 334 w 580"/>
                  <a:gd name="T13" fmla="*/ 229 h 458"/>
                  <a:gd name="T14" fmla="*/ 344 w 580"/>
                  <a:gd name="T15" fmla="*/ 248 h 458"/>
                  <a:gd name="T16" fmla="*/ 519 w 580"/>
                  <a:gd name="T17" fmla="*/ 442 h 458"/>
                  <a:gd name="T18" fmla="*/ 545 w 580"/>
                  <a:gd name="T19" fmla="*/ 458 h 458"/>
                  <a:gd name="T20" fmla="*/ 580 w 580"/>
                  <a:gd name="T21" fmla="*/ 438 h 458"/>
                  <a:gd name="T22" fmla="*/ 570 w 580"/>
                  <a:gd name="T23" fmla="*/ 421 h 458"/>
                  <a:gd name="T24" fmla="*/ 411 w 580"/>
                  <a:gd name="T25" fmla="*/ 245 h 458"/>
                  <a:gd name="T26" fmla="*/ 399 w 580"/>
                  <a:gd name="T27" fmla="*/ 229 h 458"/>
                  <a:gd name="T28" fmla="*/ 411 w 580"/>
                  <a:gd name="T29" fmla="*/ 213 h 458"/>
                  <a:gd name="T30" fmla="*/ 252 w 580"/>
                  <a:gd name="T31" fmla="*/ 439 h 458"/>
                  <a:gd name="T32" fmla="*/ 281 w 580"/>
                  <a:gd name="T33" fmla="*/ 454 h 458"/>
                  <a:gd name="T34" fmla="*/ 309 w 580"/>
                  <a:gd name="T35" fmla="*/ 439 h 458"/>
                  <a:gd name="T36" fmla="*/ 309 w 580"/>
                  <a:gd name="T37" fmla="*/ 19 h 458"/>
                  <a:gd name="T38" fmla="*/ 281 w 580"/>
                  <a:gd name="T39" fmla="*/ 4 h 458"/>
                  <a:gd name="T40" fmla="*/ 252 w 580"/>
                  <a:gd name="T41" fmla="*/ 19 h 458"/>
                  <a:gd name="T42" fmla="*/ 252 w 580"/>
                  <a:gd name="T43" fmla="*/ 439 h 458"/>
                  <a:gd name="T44" fmla="*/ 0 w 580"/>
                  <a:gd name="T45" fmla="*/ 439 h 458"/>
                  <a:gd name="T46" fmla="*/ 28 w 580"/>
                  <a:gd name="T47" fmla="*/ 454 h 458"/>
                  <a:gd name="T48" fmla="*/ 56 w 580"/>
                  <a:gd name="T49" fmla="*/ 439 h 458"/>
                  <a:gd name="T50" fmla="*/ 56 w 580"/>
                  <a:gd name="T51" fmla="*/ 157 h 458"/>
                  <a:gd name="T52" fmla="*/ 165 w 580"/>
                  <a:gd name="T53" fmla="*/ 53 h 458"/>
                  <a:gd name="T54" fmla="*/ 180 w 580"/>
                  <a:gd name="T55" fmla="*/ 53 h 458"/>
                  <a:gd name="T56" fmla="*/ 196 w 580"/>
                  <a:gd name="T57" fmla="*/ 27 h 458"/>
                  <a:gd name="T58" fmla="*/ 154 w 580"/>
                  <a:gd name="T59" fmla="*/ 4 h 458"/>
                  <a:gd name="T60" fmla="*/ 0 w 580"/>
                  <a:gd name="T61" fmla="*/ 152 h 458"/>
                  <a:gd name="T62" fmla="*/ 0 w 580"/>
                  <a:gd name="T63" fmla="*/ 439 h 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80" h="458">
                    <a:moveTo>
                      <a:pt x="411" y="213"/>
                    </a:moveTo>
                    <a:cubicBezTo>
                      <a:pt x="570" y="37"/>
                      <a:pt x="570" y="37"/>
                      <a:pt x="570" y="37"/>
                    </a:cubicBezTo>
                    <a:cubicBezTo>
                      <a:pt x="576" y="30"/>
                      <a:pt x="580" y="25"/>
                      <a:pt x="580" y="20"/>
                    </a:cubicBezTo>
                    <a:cubicBezTo>
                      <a:pt x="580" y="10"/>
                      <a:pt x="559" y="0"/>
                      <a:pt x="545" y="0"/>
                    </a:cubicBezTo>
                    <a:cubicBezTo>
                      <a:pt x="535" y="0"/>
                      <a:pt x="526" y="8"/>
                      <a:pt x="519" y="16"/>
                    </a:cubicBezTo>
                    <a:cubicBezTo>
                      <a:pt x="344" y="210"/>
                      <a:pt x="344" y="210"/>
                      <a:pt x="344" y="210"/>
                    </a:cubicBezTo>
                    <a:cubicBezTo>
                      <a:pt x="336" y="219"/>
                      <a:pt x="334" y="224"/>
                      <a:pt x="334" y="229"/>
                    </a:cubicBezTo>
                    <a:cubicBezTo>
                      <a:pt x="334" y="234"/>
                      <a:pt x="336" y="239"/>
                      <a:pt x="344" y="248"/>
                    </a:cubicBezTo>
                    <a:cubicBezTo>
                      <a:pt x="519" y="442"/>
                      <a:pt x="519" y="442"/>
                      <a:pt x="519" y="442"/>
                    </a:cubicBezTo>
                    <a:cubicBezTo>
                      <a:pt x="526" y="450"/>
                      <a:pt x="535" y="458"/>
                      <a:pt x="545" y="458"/>
                    </a:cubicBezTo>
                    <a:cubicBezTo>
                      <a:pt x="559" y="458"/>
                      <a:pt x="580" y="448"/>
                      <a:pt x="580" y="438"/>
                    </a:cubicBezTo>
                    <a:cubicBezTo>
                      <a:pt x="580" y="433"/>
                      <a:pt x="576" y="428"/>
                      <a:pt x="570" y="421"/>
                    </a:cubicBezTo>
                    <a:cubicBezTo>
                      <a:pt x="411" y="245"/>
                      <a:pt x="411" y="245"/>
                      <a:pt x="411" y="245"/>
                    </a:cubicBezTo>
                    <a:cubicBezTo>
                      <a:pt x="403" y="236"/>
                      <a:pt x="399" y="232"/>
                      <a:pt x="399" y="229"/>
                    </a:cubicBezTo>
                    <a:cubicBezTo>
                      <a:pt x="399" y="226"/>
                      <a:pt x="403" y="222"/>
                      <a:pt x="411" y="213"/>
                    </a:cubicBezTo>
                    <a:moveTo>
                      <a:pt x="252" y="439"/>
                    </a:moveTo>
                    <a:cubicBezTo>
                      <a:pt x="252" y="449"/>
                      <a:pt x="261" y="454"/>
                      <a:pt x="281" y="454"/>
                    </a:cubicBezTo>
                    <a:cubicBezTo>
                      <a:pt x="300" y="454"/>
                      <a:pt x="309" y="449"/>
                      <a:pt x="309" y="439"/>
                    </a:cubicBezTo>
                    <a:cubicBezTo>
                      <a:pt x="309" y="19"/>
                      <a:pt x="309" y="19"/>
                      <a:pt x="309" y="19"/>
                    </a:cubicBezTo>
                    <a:cubicBezTo>
                      <a:pt x="309" y="9"/>
                      <a:pt x="300" y="4"/>
                      <a:pt x="281" y="4"/>
                    </a:cubicBezTo>
                    <a:cubicBezTo>
                      <a:pt x="261" y="4"/>
                      <a:pt x="252" y="9"/>
                      <a:pt x="252" y="19"/>
                    </a:cubicBezTo>
                    <a:lnTo>
                      <a:pt x="252" y="439"/>
                    </a:lnTo>
                    <a:close/>
                    <a:moveTo>
                      <a:pt x="0" y="439"/>
                    </a:moveTo>
                    <a:cubicBezTo>
                      <a:pt x="0" y="449"/>
                      <a:pt x="8" y="454"/>
                      <a:pt x="28" y="454"/>
                    </a:cubicBezTo>
                    <a:cubicBezTo>
                      <a:pt x="48" y="454"/>
                      <a:pt x="56" y="449"/>
                      <a:pt x="56" y="439"/>
                    </a:cubicBezTo>
                    <a:cubicBezTo>
                      <a:pt x="56" y="157"/>
                      <a:pt x="56" y="157"/>
                      <a:pt x="56" y="157"/>
                    </a:cubicBezTo>
                    <a:cubicBezTo>
                      <a:pt x="56" y="83"/>
                      <a:pt x="85" y="53"/>
                      <a:pt x="165" y="53"/>
                    </a:cubicBezTo>
                    <a:cubicBezTo>
                      <a:pt x="180" y="53"/>
                      <a:pt x="180" y="53"/>
                      <a:pt x="180" y="53"/>
                    </a:cubicBezTo>
                    <a:cubicBezTo>
                      <a:pt x="192" y="53"/>
                      <a:pt x="196" y="43"/>
                      <a:pt x="196" y="27"/>
                    </a:cubicBezTo>
                    <a:cubicBezTo>
                      <a:pt x="196" y="8"/>
                      <a:pt x="185" y="4"/>
                      <a:pt x="154" y="4"/>
                    </a:cubicBezTo>
                    <a:cubicBezTo>
                      <a:pt x="64" y="4"/>
                      <a:pt x="0" y="43"/>
                      <a:pt x="0" y="152"/>
                    </a:cubicBezTo>
                    <a:lnTo>
                      <a:pt x="0" y="43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22" name="Freeform 7">
                <a:extLst>
                  <a:ext uri="{FF2B5EF4-FFF2-40B4-BE49-F238E27FC236}">
                    <a16:creationId xmlns:a16="http://schemas.microsoft.com/office/drawing/2014/main" id="{2F32DCBD-8628-F245-85CD-97686A20ECFD}"/>
                  </a:ext>
                </a:extLst>
              </p:cNvPr>
              <p:cNvSpPr>
                <a:spLocks/>
              </p:cNvSpPr>
              <p:nvPr/>
            </p:nvSpPr>
            <p:spPr bwMode="gray">
              <a:xfrm>
                <a:off x="2880" y="1704"/>
                <a:ext cx="618" cy="916"/>
              </a:xfrm>
              <a:custGeom>
                <a:avLst/>
                <a:gdLst>
                  <a:gd name="T0" fmla="*/ 307 w 307"/>
                  <a:gd name="T1" fmla="*/ 405 h 455"/>
                  <a:gd name="T2" fmla="*/ 307 w 307"/>
                  <a:gd name="T3" fmla="*/ 244 h 455"/>
                  <a:gd name="T4" fmla="*/ 279 w 307"/>
                  <a:gd name="T5" fmla="*/ 229 h 455"/>
                  <a:gd name="T6" fmla="*/ 250 w 307"/>
                  <a:gd name="T7" fmla="*/ 244 h 455"/>
                  <a:gd name="T8" fmla="*/ 250 w 307"/>
                  <a:gd name="T9" fmla="*/ 378 h 455"/>
                  <a:gd name="T10" fmla="*/ 199 w 307"/>
                  <a:gd name="T11" fmla="*/ 408 h 455"/>
                  <a:gd name="T12" fmla="*/ 61 w 307"/>
                  <a:gd name="T13" fmla="*/ 231 h 455"/>
                  <a:gd name="T14" fmla="*/ 238 w 307"/>
                  <a:gd name="T15" fmla="*/ 49 h 455"/>
                  <a:gd name="T16" fmla="*/ 270 w 307"/>
                  <a:gd name="T17" fmla="*/ 49 h 455"/>
                  <a:gd name="T18" fmla="*/ 286 w 307"/>
                  <a:gd name="T19" fmla="*/ 23 h 455"/>
                  <a:gd name="T20" fmla="*/ 244 w 307"/>
                  <a:gd name="T21" fmla="*/ 0 h 455"/>
                  <a:gd name="T22" fmla="*/ 231 w 307"/>
                  <a:gd name="T23" fmla="*/ 0 h 455"/>
                  <a:gd name="T24" fmla="*/ 0 w 307"/>
                  <a:gd name="T25" fmla="*/ 232 h 455"/>
                  <a:gd name="T26" fmla="*/ 198 w 307"/>
                  <a:gd name="T27" fmla="*/ 455 h 455"/>
                  <a:gd name="T28" fmla="*/ 307 w 307"/>
                  <a:gd name="T29" fmla="*/ 405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7" h="455">
                    <a:moveTo>
                      <a:pt x="307" y="405"/>
                    </a:moveTo>
                    <a:cubicBezTo>
                      <a:pt x="307" y="244"/>
                      <a:pt x="307" y="244"/>
                      <a:pt x="307" y="244"/>
                    </a:cubicBezTo>
                    <a:cubicBezTo>
                      <a:pt x="307" y="234"/>
                      <a:pt x="298" y="229"/>
                      <a:pt x="279" y="229"/>
                    </a:cubicBezTo>
                    <a:cubicBezTo>
                      <a:pt x="259" y="229"/>
                      <a:pt x="250" y="234"/>
                      <a:pt x="250" y="244"/>
                    </a:cubicBezTo>
                    <a:cubicBezTo>
                      <a:pt x="250" y="378"/>
                      <a:pt x="250" y="378"/>
                      <a:pt x="250" y="378"/>
                    </a:cubicBezTo>
                    <a:cubicBezTo>
                      <a:pt x="250" y="399"/>
                      <a:pt x="241" y="408"/>
                      <a:pt x="199" y="408"/>
                    </a:cubicBezTo>
                    <a:cubicBezTo>
                      <a:pt x="114" y="408"/>
                      <a:pt x="61" y="342"/>
                      <a:pt x="61" y="231"/>
                    </a:cubicBezTo>
                    <a:cubicBezTo>
                      <a:pt x="61" y="115"/>
                      <a:pt x="126" y="49"/>
                      <a:pt x="238" y="49"/>
                    </a:cubicBezTo>
                    <a:cubicBezTo>
                      <a:pt x="270" y="49"/>
                      <a:pt x="270" y="49"/>
                      <a:pt x="270" y="49"/>
                    </a:cubicBezTo>
                    <a:cubicBezTo>
                      <a:pt x="282" y="49"/>
                      <a:pt x="286" y="39"/>
                      <a:pt x="286" y="23"/>
                    </a:cubicBezTo>
                    <a:cubicBezTo>
                      <a:pt x="286" y="4"/>
                      <a:pt x="275" y="0"/>
                      <a:pt x="244" y="0"/>
                    </a:cubicBezTo>
                    <a:cubicBezTo>
                      <a:pt x="231" y="0"/>
                      <a:pt x="231" y="0"/>
                      <a:pt x="231" y="0"/>
                    </a:cubicBezTo>
                    <a:cubicBezTo>
                      <a:pt x="101" y="0"/>
                      <a:pt x="0" y="71"/>
                      <a:pt x="0" y="232"/>
                    </a:cubicBezTo>
                    <a:cubicBezTo>
                      <a:pt x="0" y="386"/>
                      <a:pt x="88" y="455"/>
                      <a:pt x="198" y="455"/>
                    </a:cubicBezTo>
                    <a:cubicBezTo>
                      <a:pt x="286" y="455"/>
                      <a:pt x="307" y="430"/>
                      <a:pt x="307" y="40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23" name="Oval 8">
                <a:extLst>
                  <a:ext uri="{FF2B5EF4-FFF2-40B4-BE49-F238E27FC236}">
                    <a16:creationId xmlns:a16="http://schemas.microsoft.com/office/drawing/2014/main" id="{60D97C11-1A3B-5449-A48D-98A3E79B3810}"/>
                  </a:ext>
                </a:extLst>
              </p:cNvPr>
              <p:cNvSpPr>
                <a:spLocks noChangeArrowheads="1"/>
              </p:cNvSpPr>
              <p:nvPr/>
            </p:nvSpPr>
            <p:spPr bwMode="gray">
              <a:xfrm>
                <a:off x="3778" y="2099"/>
                <a:ext cx="122" cy="12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24" name="Freeform 9">
                <a:extLst>
                  <a:ext uri="{FF2B5EF4-FFF2-40B4-BE49-F238E27FC236}">
                    <a16:creationId xmlns:a16="http://schemas.microsoft.com/office/drawing/2014/main" id="{5856770D-B8F0-244E-A05D-AED190086F10}"/>
                  </a:ext>
                </a:extLst>
              </p:cNvPr>
              <p:cNvSpPr>
                <a:spLocks noEditPoints="1"/>
              </p:cNvSpPr>
              <p:nvPr/>
            </p:nvSpPr>
            <p:spPr bwMode="gray">
              <a:xfrm>
                <a:off x="3623" y="1696"/>
                <a:ext cx="1167" cy="922"/>
              </a:xfrm>
              <a:custGeom>
                <a:avLst/>
                <a:gdLst>
                  <a:gd name="T0" fmla="*/ 411 w 580"/>
                  <a:gd name="T1" fmla="*/ 213 h 458"/>
                  <a:gd name="T2" fmla="*/ 570 w 580"/>
                  <a:gd name="T3" fmla="*/ 37 h 458"/>
                  <a:gd name="T4" fmla="*/ 580 w 580"/>
                  <a:gd name="T5" fmla="*/ 20 h 458"/>
                  <a:gd name="T6" fmla="*/ 545 w 580"/>
                  <a:gd name="T7" fmla="*/ 0 h 458"/>
                  <a:gd name="T8" fmla="*/ 519 w 580"/>
                  <a:gd name="T9" fmla="*/ 16 h 458"/>
                  <a:gd name="T10" fmla="*/ 344 w 580"/>
                  <a:gd name="T11" fmla="*/ 210 h 458"/>
                  <a:gd name="T12" fmla="*/ 334 w 580"/>
                  <a:gd name="T13" fmla="*/ 229 h 458"/>
                  <a:gd name="T14" fmla="*/ 344 w 580"/>
                  <a:gd name="T15" fmla="*/ 248 h 458"/>
                  <a:gd name="T16" fmla="*/ 519 w 580"/>
                  <a:gd name="T17" fmla="*/ 442 h 458"/>
                  <a:gd name="T18" fmla="*/ 545 w 580"/>
                  <a:gd name="T19" fmla="*/ 458 h 458"/>
                  <a:gd name="T20" fmla="*/ 580 w 580"/>
                  <a:gd name="T21" fmla="*/ 438 h 458"/>
                  <a:gd name="T22" fmla="*/ 570 w 580"/>
                  <a:gd name="T23" fmla="*/ 421 h 458"/>
                  <a:gd name="T24" fmla="*/ 411 w 580"/>
                  <a:gd name="T25" fmla="*/ 245 h 458"/>
                  <a:gd name="T26" fmla="*/ 399 w 580"/>
                  <a:gd name="T27" fmla="*/ 229 h 458"/>
                  <a:gd name="T28" fmla="*/ 411 w 580"/>
                  <a:gd name="T29" fmla="*/ 213 h 458"/>
                  <a:gd name="T30" fmla="*/ 252 w 580"/>
                  <a:gd name="T31" fmla="*/ 439 h 458"/>
                  <a:gd name="T32" fmla="*/ 281 w 580"/>
                  <a:gd name="T33" fmla="*/ 454 h 458"/>
                  <a:gd name="T34" fmla="*/ 309 w 580"/>
                  <a:gd name="T35" fmla="*/ 439 h 458"/>
                  <a:gd name="T36" fmla="*/ 309 w 580"/>
                  <a:gd name="T37" fmla="*/ 19 h 458"/>
                  <a:gd name="T38" fmla="*/ 281 w 580"/>
                  <a:gd name="T39" fmla="*/ 4 h 458"/>
                  <a:gd name="T40" fmla="*/ 252 w 580"/>
                  <a:gd name="T41" fmla="*/ 19 h 458"/>
                  <a:gd name="T42" fmla="*/ 252 w 580"/>
                  <a:gd name="T43" fmla="*/ 439 h 458"/>
                  <a:gd name="T44" fmla="*/ 0 w 580"/>
                  <a:gd name="T45" fmla="*/ 439 h 458"/>
                  <a:gd name="T46" fmla="*/ 28 w 580"/>
                  <a:gd name="T47" fmla="*/ 454 h 458"/>
                  <a:gd name="T48" fmla="*/ 56 w 580"/>
                  <a:gd name="T49" fmla="*/ 439 h 458"/>
                  <a:gd name="T50" fmla="*/ 56 w 580"/>
                  <a:gd name="T51" fmla="*/ 157 h 458"/>
                  <a:gd name="T52" fmla="*/ 165 w 580"/>
                  <a:gd name="T53" fmla="*/ 53 h 458"/>
                  <a:gd name="T54" fmla="*/ 180 w 580"/>
                  <a:gd name="T55" fmla="*/ 53 h 458"/>
                  <a:gd name="T56" fmla="*/ 196 w 580"/>
                  <a:gd name="T57" fmla="*/ 27 h 458"/>
                  <a:gd name="T58" fmla="*/ 154 w 580"/>
                  <a:gd name="T59" fmla="*/ 4 h 458"/>
                  <a:gd name="T60" fmla="*/ 0 w 580"/>
                  <a:gd name="T61" fmla="*/ 152 h 458"/>
                  <a:gd name="T62" fmla="*/ 0 w 580"/>
                  <a:gd name="T63" fmla="*/ 439 h 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80" h="458">
                    <a:moveTo>
                      <a:pt x="411" y="213"/>
                    </a:moveTo>
                    <a:cubicBezTo>
                      <a:pt x="570" y="37"/>
                      <a:pt x="570" y="37"/>
                      <a:pt x="570" y="37"/>
                    </a:cubicBezTo>
                    <a:cubicBezTo>
                      <a:pt x="576" y="30"/>
                      <a:pt x="580" y="25"/>
                      <a:pt x="580" y="20"/>
                    </a:cubicBezTo>
                    <a:cubicBezTo>
                      <a:pt x="580" y="10"/>
                      <a:pt x="559" y="0"/>
                      <a:pt x="545" y="0"/>
                    </a:cubicBezTo>
                    <a:cubicBezTo>
                      <a:pt x="535" y="0"/>
                      <a:pt x="526" y="8"/>
                      <a:pt x="519" y="16"/>
                    </a:cubicBezTo>
                    <a:cubicBezTo>
                      <a:pt x="344" y="210"/>
                      <a:pt x="344" y="210"/>
                      <a:pt x="344" y="210"/>
                    </a:cubicBezTo>
                    <a:cubicBezTo>
                      <a:pt x="336" y="219"/>
                      <a:pt x="334" y="224"/>
                      <a:pt x="334" y="229"/>
                    </a:cubicBezTo>
                    <a:cubicBezTo>
                      <a:pt x="334" y="234"/>
                      <a:pt x="336" y="239"/>
                      <a:pt x="344" y="248"/>
                    </a:cubicBezTo>
                    <a:cubicBezTo>
                      <a:pt x="519" y="442"/>
                      <a:pt x="519" y="442"/>
                      <a:pt x="519" y="442"/>
                    </a:cubicBezTo>
                    <a:cubicBezTo>
                      <a:pt x="526" y="450"/>
                      <a:pt x="535" y="458"/>
                      <a:pt x="545" y="458"/>
                    </a:cubicBezTo>
                    <a:cubicBezTo>
                      <a:pt x="559" y="458"/>
                      <a:pt x="580" y="448"/>
                      <a:pt x="580" y="438"/>
                    </a:cubicBezTo>
                    <a:cubicBezTo>
                      <a:pt x="580" y="433"/>
                      <a:pt x="576" y="428"/>
                      <a:pt x="570" y="421"/>
                    </a:cubicBezTo>
                    <a:cubicBezTo>
                      <a:pt x="411" y="245"/>
                      <a:pt x="411" y="245"/>
                      <a:pt x="411" y="245"/>
                    </a:cubicBezTo>
                    <a:cubicBezTo>
                      <a:pt x="403" y="236"/>
                      <a:pt x="399" y="232"/>
                      <a:pt x="399" y="229"/>
                    </a:cubicBezTo>
                    <a:cubicBezTo>
                      <a:pt x="399" y="226"/>
                      <a:pt x="403" y="222"/>
                      <a:pt x="411" y="213"/>
                    </a:cubicBezTo>
                    <a:moveTo>
                      <a:pt x="252" y="439"/>
                    </a:moveTo>
                    <a:cubicBezTo>
                      <a:pt x="252" y="449"/>
                      <a:pt x="261" y="454"/>
                      <a:pt x="281" y="454"/>
                    </a:cubicBezTo>
                    <a:cubicBezTo>
                      <a:pt x="300" y="454"/>
                      <a:pt x="309" y="449"/>
                      <a:pt x="309" y="439"/>
                    </a:cubicBezTo>
                    <a:cubicBezTo>
                      <a:pt x="309" y="19"/>
                      <a:pt x="309" y="19"/>
                      <a:pt x="309" y="19"/>
                    </a:cubicBezTo>
                    <a:cubicBezTo>
                      <a:pt x="309" y="9"/>
                      <a:pt x="300" y="4"/>
                      <a:pt x="281" y="4"/>
                    </a:cubicBezTo>
                    <a:cubicBezTo>
                      <a:pt x="261" y="4"/>
                      <a:pt x="252" y="9"/>
                      <a:pt x="252" y="19"/>
                    </a:cubicBezTo>
                    <a:lnTo>
                      <a:pt x="252" y="439"/>
                    </a:lnTo>
                    <a:close/>
                    <a:moveTo>
                      <a:pt x="0" y="439"/>
                    </a:moveTo>
                    <a:cubicBezTo>
                      <a:pt x="0" y="449"/>
                      <a:pt x="8" y="454"/>
                      <a:pt x="28" y="454"/>
                    </a:cubicBezTo>
                    <a:cubicBezTo>
                      <a:pt x="48" y="454"/>
                      <a:pt x="56" y="449"/>
                      <a:pt x="56" y="439"/>
                    </a:cubicBezTo>
                    <a:cubicBezTo>
                      <a:pt x="56" y="157"/>
                      <a:pt x="56" y="157"/>
                      <a:pt x="56" y="157"/>
                    </a:cubicBezTo>
                    <a:cubicBezTo>
                      <a:pt x="56" y="83"/>
                      <a:pt x="85" y="53"/>
                      <a:pt x="165" y="53"/>
                    </a:cubicBezTo>
                    <a:cubicBezTo>
                      <a:pt x="180" y="53"/>
                      <a:pt x="180" y="53"/>
                      <a:pt x="180" y="53"/>
                    </a:cubicBezTo>
                    <a:cubicBezTo>
                      <a:pt x="192" y="53"/>
                      <a:pt x="196" y="43"/>
                      <a:pt x="196" y="27"/>
                    </a:cubicBezTo>
                    <a:cubicBezTo>
                      <a:pt x="196" y="8"/>
                      <a:pt x="185" y="4"/>
                      <a:pt x="154" y="4"/>
                    </a:cubicBezTo>
                    <a:cubicBezTo>
                      <a:pt x="64" y="4"/>
                      <a:pt x="0" y="43"/>
                      <a:pt x="0" y="152"/>
                    </a:cubicBezTo>
                    <a:lnTo>
                      <a:pt x="0" y="43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25" name="Freeform 10">
                <a:extLst>
                  <a:ext uri="{FF2B5EF4-FFF2-40B4-BE49-F238E27FC236}">
                    <a16:creationId xmlns:a16="http://schemas.microsoft.com/office/drawing/2014/main" id="{2B91B16B-BC11-E547-8FAC-B9B8D18EA449}"/>
                  </a:ext>
                </a:extLst>
              </p:cNvPr>
              <p:cNvSpPr>
                <a:spLocks/>
              </p:cNvSpPr>
              <p:nvPr/>
            </p:nvSpPr>
            <p:spPr bwMode="gray">
              <a:xfrm>
                <a:off x="2880" y="1704"/>
                <a:ext cx="618" cy="916"/>
              </a:xfrm>
              <a:custGeom>
                <a:avLst/>
                <a:gdLst>
                  <a:gd name="T0" fmla="*/ 307 w 307"/>
                  <a:gd name="T1" fmla="*/ 405 h 455"/>
                  <a:gd name="T2" fmla="*/ 307 w 307"/>
                  <a:gd name="T3" fmla="*/ 244 h 455"/>
                  <a:gd name="T4" fmla="*/ 279 w 307"/>
                  <a:gd name="T5" fmla="*/ 229 h 455"/>
                  <a:gd name="T6" fmla="*/ 250 w 307"/>
                  <a:gd name="T7" fmla="*/ 244 h 455"/>
                  <a:gd name="T8" fmla="*/ 250 w 307"/>
                  <a:gd name="T9" fmla="*/ 378 h 455"/>
                  <a:gd name="T10" fmla="*/ 199 w 307"/>
                  <a:gd name="T11" fmla="*/ 408 h 455"/>
                  <a:gd name="T12" fmla="*/ 61 w 307"/>
                  <a:gd name="T13" fmla="*/ 231 h 455"/>
                  <a:gd name="T14" fmla="*/ 238 w 307"/>
                  <a:gd name="T15" fmla="*/ 49 h 455"/>
                  <a:gd name="T16" fmla="*/ 270 w 307"/>
                  <a:gd name="T17" fmla="*/ 49 h 455"/>
                  <a:gd name="T18" fmla="*/ 286 w 307"/>
                  <a:gd name="T19" fmla="*/ 23 h 455"/>
                  <a:gd name="T20" fmla="*/ 244 w 307"/>
                  <a:gd name="T21" fmla="*/ 0 h 455"/>
                  <a:gd name="T22" fmla="*/ 231 w 307"/>
                  <a:gd name="T23" fmla="*/ 0 h 455"/>
                  <a:gd name="T24" fmla="*/ 0 w 307"/>
                  <a:gd name="T25" fmla="*/ 232 h 455"/>
                  <a:gd name="T26" fmla="*/ 198 w 307"/>
                  <a:gd name="T27" fmla="*/ 455 h 455"/>
                  <a:gd name="T28" fmla="*/ 307 w 307"/>
                  <a:gd name="T29" fmla="*/ 405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7" h="455">
                    <a:moveTo>
                      <a:pt x="307" y="405"/>
                    </a:moveTo>
                    <a:cubicBezTo>
                      <a:pt x="307" y="244"/>
                      <a:pt x="307" y="244"/>
                      <a:pt x="307" y="244"/>
                    </a:cubicBezTo>
                    <a:cubicBezTo>
                      <a:pt x="307" y="234"/>
                      <a:pt x="298" y="229"/>
                      <a:pt x="279" y="229"/>
                    </a:cubicBezTo>
                    <a:cubicBezTo>
                      <a:pt x="259" y="229"/>
                      <a:pt x="250" y="234"/>
                      <a:pt x="250" y="244"/>
                    </a:cubicBezTo>
                    <a:cubicBezTo>
                      <a:pt x="250" y="378"/>
                      <a:pt x="250" y="378"/>
                      <a:pt x="250" y="378"/>
                    </a:cubicBezTo>
                    <a:cubicBezTo>
                      <a:pt x="250" y="399"/>
                      <a:pt x="241" y="408"/>
                      <a:pt x="199" y="408"/>
                    </a:cubicBezTo>
                    <a:cubicBezTo>
                      <a:pt x="114" y="408"/>
                      <a:pt x="61" y="342"/>
                      <a:pt x="61" y="231"/>
                    </a:cubicBezTo>
                    <a:cubicBezTo>
                      <a:pt x="61" y="115"/>
                      <a:pt x="126" y="49"/>
                      <a:pt x="238" y="49"/>
                    </a:cubicBezTo>
                    <a:cubicBezTo>
                      <a:pt x="270" y="49"/>
                      <a:pt x="270" y="49"/>
                      <a:pt x="270" y="49"/>
                    </a:cubicBezTo>
                    <a:cubicBezTo>
                      <a:pt x="282" y="49"/>
                      <a:pt x="286" y="39"/>
                      <a:pt x="286" y="23"/>
                    </a:cubicBezTo>
                    <a:cubicBezTo>
                      <a:pt x="286" y="4"/>
                      <a:pt x="275" y="0"/>
                      <a:pt x="244" y="0"/>
                    </a:cubicBezTo>
                    <a:cubicBezTo>
                      <a:pt x="231" y="0"/>
                      <a:pt x="231" y="0"/>
                      <a:pt x="231" y="0"/>
                    </a:cubicBezTo>
                    <a:cubicBezTo>
                      <a:pt x="101" y="0"/>
                      <a:pt x="0" y="71"/>
                      <a:pt x="0" y="232"/>
                    </a:cubicBezTo>
                    <a:cubicBezTo>
                      <a:pt x="0" y="386"/>
                      <a:pt x="88" y="455"/>
                      <a:pt x="198" y="455"/>
                    </a:cubicBezTo>
                    <a:cubicBezTo>
                      <a:pt x="286" y="455"/>
                      <a:pt x="307" y="430"/>
                      <a:pt x="307" y="40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26" name="Oval 11">
                <a:extLst>
                  <a:ext uri="{FF2B5EF4-FFF2-40B4-BE49-F238E27FC236}">
                    <a16:creationId xmlns:a16="http://schemas.microsoft.com/office/drawing/2014/main" id="{14F8C3C8-4888-7646-B9B4-64EB46A1DA23}"/>
                  </a:ext>
                </a:extLst>
              </p:cNvPr>
              <p:cNvSpPr>
                <a:spLocks noChangeArrowheads="1"/>
              </p:cNvSpPr>
              <p:nvPr/>
            </p:nvSpPr>
            <p:spPr bwMode="gray">
              <a:xfrm>
                <a:off x="3778" y="2099"/>
                <a:ext cx="122" cy="12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27" name="Freeform 12">
                <a:extLst>
                  <a:ext uri="{FF2B5EF4-FFF2-40B4-BE49-F238E27FC236}">
                    <a16:creationId xmlns:a16="http://schemas.microsoft.com/office/drawing/2014/main" id="{D79D01D1-4E3E-F34B-97D7-2D387E68746E}"/>
                  </a:ext>
                </a:extLst>
              </p:cNvPr>
              <p:cNvSpPr>
                <a:spLocks/>
              </p:cNvSpPr>
              <p:nvPr/>
            </p:nvSpPr>
            <p:spPr bwMode="gray">
              <a:xfrm>
                <a:off x="4321" y="1029"/>
                <a:ext cx="648" cy="649"/>
              </a:xfrm>
              <a:custGeom>
                <a:avLst/>
                <a:gdLst>
                  <a:gd name="T0" fmla="*/ 0 w 648"/>
                  <a:gd name="T1" fmla="*/ 649 h 649"/>
                  <a:gd name="T2" fmla="*/ 2 w 648"/>
                  <a:gd name="T3" fmla="*/ 649 h 649"/>
                  <a:gd name="T4" fmla="*/ 648 w 648"/>
                  <a:gd name="T5" fmla="*/ 0 h 649"/>
                  <a:gd name="T6" fmla="*/ 423 w 648"/>
                  <a:gd name="T7" fmla="*/ 0 h 649"/>
                  <a:gd name="T8" fmla="*/ 0 w 648"/>
                  <a:gd name="T9" fmla="*/ 649 h 649"/>
                </a:gdLst>
                <a:ahLst/>
                <a:cxnLst>
                  <a:cxn ang="0">
                    <a:pos x="T0" y="T1"/>
                  </a:cxn>
                  <a:cxn ang="0">
                    <a:pos x="T2" y="T3"/>
                  </a:cxn>
                  <a:cxn ang="0">
                    <a:pos x="T4" y="T5"/>
                  </a:cxn>
                  <a:cxn ang="0">
                    <a:pos x="T6" y="T7"/>
                  </a:cxn>
                  <a:cxn ang="0">
                    <a:pos x="T8" y="T9"/>
                  </a:cxn>
                </a:cxnLst>
                <a:rect l="0" t="0" r="r" b="b"/>
                <a:pathLst>
                  <a:path w="648" h="649">
                    <a:moveTo>
                      <a:pt x="0" y="649"/>
                    </a:moveTo>
                    <a:lnTo>
                      <a:pt x="2" y="649"/>
                    </a:lnTo>
                    <a:lnTo>
                      <a:pt x="648" y="0"/>
                    </a:lnTo>
                    <a:lnTo>
                      <a:pt x="423" y="0"/>
                    </a:lnTo>
                    <a:lnTo>
                      <a:pt x="0" y="64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28" name="Freeform 13">
                <a:extLst>
                  <a:ext uri="{FF2B5EF4-FFF2-40B4-BE49-F238E27FC236}">
                    <a16:creationId xmlns:a16="http://schemas.microsoft.com/office/drawing/2014/main" id="{46549898-6C52-B147-A8F6-A73FDBE6163B}"/>
                  </a:ext>
                </a:extLst>
              </p:cNvPr>
              <p:cNvSpPr>
                <a:spLocks/>
              </p:cNvSpPr>
              <p:nvPr/>
            </p:nvSpPr>
            <p:spPr bwMode="gray">
              <a:xfrm>
                <a:off x="4321" y="1029"/>
                <a:ext cx="648" cy="649"/>
              </a:xfrm>
              <a:custGeom>
                <a:avLst/>
                <a:gdLst>
                  <a:gd name="T0" fmla="*/ 0 w 648"/>
                  <a:gd name="T1" fmla="*/ 649 h 649"/>
                  <a:gd name="T2" fmla="*/ 2 w 648"/>
                  <a:gd name="T3" fmla="*/ 649 h 649"/>
                  <a:gd name="T4" fmla="*/ 648 w 648"/>
                  <a:gd name="T5" fmla="*/ 0 h 649"/>
                  <a:gd name="T6" fmla="*/ 423 w 648"/>
                  <a:gd name="T7" fmla="*/ 0 h 649"/>
                  <a:gd name="T8" fmla="*/ 0 w 648"/>
                  <a:gd name="T9" fmla="*/ 649 h 649"/>
                </a:gdLst>
                <a:ahLst/>
                <a:cxnLst>
                  <a:cxn ang="0">
                    <a:pos x="T0" y="T1"/>
                  </a:cxn>
                  <a:cxn ang="0">
                    <a:pos x="T2" y="T3"/>
                  </a:cxn>
                  <a:cxn ang="0">
                    <a:pos x="T4" y="T5"/>
                  </a:cxn>
                  <a:cxn ang="0">
                    <a:pos x="T6" y="T7"/>
                  </a:cxn>
                  <a:cxn ang="0">
                    <a:pos x="T8" y="T9"/>
                  </a:cxn>
                </a:cxnLst>
                <a:rect l="0" t="0" r="r" b="b"/>
                <a:pathLst>
                  <a:path w="648" h="649">
                    <a:moveTo>
                      <a:pt x="0" y="649"/>
                    </a:moveTo>
                    <a:lnTo>
                      <a:pt x="2" y="649"/>
                    </a:lnTo>
                    <a:lnTo>
                      <a:pt x="648" y="0"/>
                    </a:lnTo>
                    <a:lnTo>
                      <a:pt x="423" y="0"/>
                    </a:lnTo>
                    <a:lnTo>
                      <a:pt x="0" y="64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grpSp>
      </p:grpSp>
      <p:sp>
        <p:nvSpPr>
          <p:cNvPr id="7" name="Date Placeholder 6"/>
          <p:cNvSpPr>
            <a:spLocks noGrp="1"/>
          </p:cNvSpPr>
          <p:nvPr>
            <p:ph type="dt" sz="half" idx="10"/>
          </p:nvPr>
        </p:nvSpPr>
        <p:spPr>
          <a:xfrm>
            <a:off x="0" y="0"/>
            <a:ext cx="0" cy="0"/>
          </a:xfrm>
          <a:prstGeom prst="rect">
            <a:avLst/>
          </a:prstGeom>
        </p:spPr>
        <p:txBody>
          <a:bodyPr/>
          <a:lstStyle>
            <a:lvl1pPr>
              <a:defRPr sz="100">
                <a:noFill/>
              </a:defRPr>
            </a:lvl1pPr>
          </a:lstStyle>
          <a:p>
            <a:endParaRPr lang="en-US"/>
          </a:p>
        </p:txBody>
      </p:sp>
      <p:sp>
        <p:nvSpPr>
          <p:cNvPr id="8" name="Footer Placeholder 7"/>
          <p:cNvSpPr>
            <a:spLocks noGrp="1"/>
          </p:cNvSpPr>
          <p:nvPr>
            <p:ph type="ftr" sz="quarter" idx="11"/>
          </p:nvPr>
        </p:nvSpPr>
        <p:spPr>
          <a:xfrm>
            <a:off x="0" y="0"/>
            <a:ext cx="0" cy="0"/>
          </a:xfrm>
          <a:prstGeom prst="rect">
            <a:avLst/>
          </a:prstGeom>
        </p:spPr>
        <p:txBody>
          <a:bodyPr/>
          <a:lstStyle>
            <a:lvl1pPr marL="0" indent="0">
              <a:buNone/>
              <a:defRPr sz="100">
                <a:noFill/>
              </a:defRPr>
            </a:lvl1pPr>
          </a:lstStyle>
          <a:p>
            <a:endParaRPr lang="en-US"/>
          </a:p>
        </p:txBody>
      </p:sp>
      <p:sp>
        <p:nvSpPr>
          <p:cNvPr id="9" name="Slide Number Placeholder 8"/>
          <p:cNvSpPr>
            <a:spLocks noGrp="1"/>
          </p:cNvSpPr>
          <p:nvPr>
            <p:ph type="sldNum" sz="quarter" idx="12"/>
          </p:nvPr>
        </p:nvSpPr>
        <p:spPr>
          <a:xfrm>
            <a:off x="0" y="0"/>
            <a:ext cx="0" cy="0"/>
          </a:xfrm>
          <a:prstGeom prst="rect">
            <a:avLst/>
          </a:prstGeom>
        </p:spPr>
        <p:txBody>
          <a:bodyPr/>
          <a:lstStyle>
            <a:lvl1pPr>
              <a:defRPr sz="100">
                <a:noFill/>
              </a:defRPr>
            </a:lvl1pPr>
          </a:lstStyle>
          <a:p>
            <a:fld id="{8E3B25F7-8D1F-44B5-B485-EE3C438CFD7B}" type="slidenum">
              <a:rPr lang="en-US" smtClean="0"/>
              <a:pPr/>
              <a:t>‹#›</a:t>
            </a:fld>
            <a:endParaRPr lang="en-US"/>
          </a:p>
        </p:txBody>
      </p:sp>
      <p:sp>
        <p:nvSpPr>
          <p:cNvPr id="2" name="Title 1"/>
          <p:cNvSpPr>
            <a:spLocks noGrp="1"/>
          </p:cNvSpPr>
          <p:nvPr>
            <p:ph type="ctrTitle" hasCustomPrompt="1"/>
          </p:nvPr>
        </p:nvSpPr>
        <p:spPr>
          <a:xfrm>
            <a:off x="417600" y="1628775"/>
            <a:ext cx="3816000" cy="2236264"/>
          </a:xfrm>
        </p:spPr>
        <p:txBody>
          <a:bodyPr anchor="b"/>
          <a:lstStyle>
            <a:lvl1pPr algn="l">
              <a:defRPr sz="3600"/>
            </a:lvl1pPr>
          </a:lstStyle>
          <a:p>
            <a:r>
              <a:rPr lang="en-US"/>
              <a:t>Click to add presentation title</a:t>
            </a:r>
          </a:p>
        </p:txBody>
      </p:sp>
      <p:sp>
        <p:nvSpPr>
          <p:cNvPr id="3" name="Subtitle 2"/>
          <p:cNvSpPr>
            <a:spLocks noGrp="1"/>
          </p:cNvSpPr>
          <p:nvPr>
            <p:ph type="subTitle" idx="1" hasCustomPrompt="1"/>
          </p:nvPr>
        </p:nvSpPr>
        <p:spPr>
          <a:xfrm>
            <a:off x="417600" y="4094163"/>
            <a:ext cx="3816000" cy="1080000"/>
          </a:xfrm>
        </p:spPr>
        <p:txBody>
          <a:bodyPr/>
          <a:lstStyle>
            <a:lvl1pPr marL="0" indent="0" algn="l">
              <a:spcBef>
                <a:spcPts val="0"/>
              </a:spcBef>
              <a:buNone/>
              <a:defRPr sz="1800" b="1"/>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sp>
        <p:nvSpPr>
          <p:cNvPr id="31" name="Text Placeholder 30"/>
          <p:cNvSpPr>
            <a:spLocks noGrp="1"/>
          </p:cNvSpPr>
          <p:nvPr>
            <p:ph type="body" sz="quarter" idx="14" hasCustomPrompt="1"/>
          </p:nvPr>
        </p:nvSpPr>
        <p:spPr>
          <a:xfrm>
            <a:off x="417600" y="5393268"/>
            <a:ext cx="3816000" cy="296332"/>
          </a:xfrm>
        </p:spPr>
        <p:txBody>
          <a:bodyPr wrap="none"/>
          <a:lstStyle>
            <a:lvl1pPr marL="0" indent="0">
              <a:spcBef>
                <a:spcPts val="0"/>
              </a:spcBef>
              <a:buNone/>
              <a:defRPr sz="1200"/>
            </a:lvl1pPr>
            <a:lvl2pPr marL="0" indent="0">
              <a:buNone/>
              <a:defRPr sz="1200"/>
            </a:lvl2pPr>
            <a:lvl3pPr marL="0" indent="0">
              <a:buNone/>
              <a:defRPr sz="1200"/>
            </a:lvl3pPr>
            <a:lvl4pPr marL="0">
              <a:buNone/>
              <a:defRPr sz="1200"/>
            </a:lvl4pPr>
            <a:lvl5pPr marL="0" indent="0">
              <a:buNone/>
              <a:defRPr sz="1200"/>
            </a:lvl5pPr>
          </a:lstStyle>
          <a:p>
            <a:pPr lvl="0"/>
            <a:r>
              <a:rPr lang="en-US"/>
              <a:t>Name</a:t>
            </a:r>
          </a:p>
        </p:txBody>
      </p:sp>
      <p:sp>
        <p:nvSpPr>
          <p:cNvPr id="34" name="Text Placeholder 30"/>
          <p:cNvSpPr>
            <a:spLocks noGrp="1"/>
          </p:cNvSpPr>
          <p:nvPr>
            <p:ph type="body" sz="quarter" idx="15" hasCustomPrompt="1"/>
          </p:nvPr>
        </p:nvSpPr>
        <p:spPr>
          <a:xfrm>
            <a:off x="417600" y="5691446"/>
            <a:ext cx="3816000" cy="296332"/>
          </a:xfrm>
        </p:spPr>
        <p:txBody>
          <a:bodyPr wrap="none"/>
          <a:lstStyle>
            <a:lvl1pPr marL="0" indent="0">
              <a:spcBef>
                <a:spcPts val="0"/>
              </a:spcBef>
              <a:buNone/>
              <a:defRPr sz="1200"/>
            </a:lvl1pPr>
            <a:lvl2pPr marL="0" indent="0">
              <a:buNone/>
              <a:defRPr sz="1200"/>
            </a:lvl2pPr>
            <a:lvl3pPr marL="0" indent="0">
              <a:buNone/>
              <a:defRPr sz="1200"/>
            </a:lvl3pPr>
            <a:lvl4pPr marL="0">
              <a:buNone/>
              <a:defRPr sz="1200"/>
            </a:lvl4pPr>
            <a:lvl5pPr marL="0" indent="0">
              <a:buNone/>
              <a:defRPr sz="1200"/>
            </a:lvl5pPr>
          </a:lstStyle>
          <a:p>
            <a:pPr lvl="0"/>
            <a:r>
              <a:rPr lang="en-US"/>
              <a:t>Department</a:t>
            </a:r>
          </a:p>
        </p:txBody>
      </p:sp>
    </p:spTree>
    <p:extLst>
      <p:ext uri="{BB962C8B-B14F-4D97-AF65-F5344CB8AC3E}">
        <p14:creationId xmlns:p14="http://schemas.microsoft.com/office/powerpoint/2010/main" val="1682936076"/>
      </p:ext>
    </p:extLst>
  </p:cSld>
  <p:clrMapOvr>
    <a:masterClrMapping/>
  </p:clrMapOvr>
</p:sldLayout>
</file>

<file path=ppt/slideLayouts/slideLayout419.xml><?xml version="1.0" encoding="utf-8"?>
<p:sldLayout xmlns:a="http://schemas.openxmlformats.org/drawingml/2006/main" xmlns:r="http://schemas.openxmlformats.org/officeDocument/2006/relationships" xmlns:p="http://schemas.openxmlformats.org/presentationml/2006/main" preserve="1">
  <p:cSld name="Divider 1">
    <p:spTree>
      <p:nvGrpSpPr>
        <p:cNvPr id="1" name=""/>
        <p:cNvGrpSpPr/>
        <p:nvPr/>
      </p:nvGrpSpPr>
      <p:grpSpPr>
        <a:xfrm>
          <a:off x="0" y="0"/>
          <a:ext cx="0" cy="0"/>
          <a:chOff x="0" y="0"/>
          <a:chExt cx="0" cy="0"/>
        </a:xfrm>
      </p:grpSpPr>
      <p:sp>
        <p:nvSpPr>
          <p:cNvPr id="12" name="Picture Placeholder 11"/>
          <p:cNvSpPr>
            <a:spLocks noGrp="1"/>
          </p:cNvSpPr>
          <p:nvPr>
            <p:ph type="pic" sz="quarter" idx="17" hasCustomPrompt="1"/>
          </p:nvPr>
        </p:nvSpPr>
        <p:spPr>
          <a:xfrm>
            <a:off x="-1" y="0"/>
            <a:ext cx="8822478" cy="6858000"/>
          </a:xfrm>
          <a:custGeom>
            <a:avLst/>
            <a:gdLst>
              <a:gd name="connsiteX0" fmla="*/ 0 w 8822478"/>
              <a:gd name="connsiteY0" fmla="*/ 0 h 6858000"/>
              <a:gd name="connsiteX1" fmla="*/ 8477306 w 8822478"/>
              <a:gd name="connsiteY1" fmla="*/ 0 h 6858000"/>
              <a:gd name="connsiteX2" fmla="*/ 6998505 w 8822478"/>
              <a:gd name="connsiteY2" fmla="*/ 3834029 h 6858000"/>
              <a:gd name="connsiteX3" fmla="*/ 8822478 w 8822478"/>
              <a:gd name="connsiteY3" fmla="*/ 6858000 h 6858000"/>
              <a:gd name="connsiteX4" fmla="*/ 0 w 8822478"/>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22478" h="6858000">
                <a:moveTo>
                  <a:pt x="0" y="0"/>
                </a:moveTo>
                <a:lnTo>
                  <a:pt x="8477306" y="0"/>
                </a:lnTo>
                <a:lnTo>
                  <a:pt x="6998505" y="3834029"/>
                </a:lnTo>
                <a:lnTo>
                  <a:pt x="8822478" y="6858000"/>
                </a:lnTo>
                <a:lnTo>
                  <a:pt x="0" y="6858000"/>
                </a:lnTo>
                <a:close/>
              </a:path>
            </a:pathLst>
          </a:custGeom>
          <a:solidFill>
            <a:srgbClr val="D9DADB"/>
          </a:solidFill>
        </p:spPr>
        <p:txBody>
          <a:bodyPr wrap="square">
            <a:noAutofit/>
          </a:bodyPr>
          <a:lstStyle>
            <a:lvl1pPr marL="0" indent="0">
              <a:buNone/>
              <a:defRPr/>
            </a:lvl1pPr>
          </a:lstStyle>
          <a:p>
            <a:r>
              <a:rPr lang="en-US"/>
              <a:t>Insert picture</a:t>
            </a:r>
          </a:p>
        </p:txBody>
      </p:sp>
      <p:sp>
        <p:nvSpPr>
          <p:cNvPr id="21" name="Date Placeholder 20"/>
          <p:cNvSpPr>
            <a:spLocks noGrp="1"/>
          </p:cNvSpPr>
          <p:nvPr>
            <p:ph type="dt" sz="half" idx="14"/>
          </p:nvPr>
        </p:nvSpPr>
        <p:spPr/>
        <p:txBody>
          <a:bodyPr/>
          <a:lstStyle>
            <a:lvl1pPr>
              <a:defRPr>
                <a:solidFill>
                  <a:schemeClr val="bg1"/>
                </a:solidFill>
              </a:defRPr>
            </a:lvl1pPr>
          </a:lstStyle>
          <a:p>
            <a:endParaRPr lang="en-US"/>
          </a:p>
        </p:txBody>
      </p:sp>
      <p:sp>
        <p:nvSpPr>
          <p:cNvPr id="22" name="Footer Placeholder 21"/>
          <p:cNvSpPr>
            <a:spLocks noGrp="1"/>
          </p:cNvSpPr>
          <p:nvPr>
            <p:ph type="ftr" sz="quarter" idx="15"/>
          </p:nvPr>
        </p:nvSpPr>
        <p:spPr/>
        <p:txBody>
          <a:bodyPr/>
          <a:lstStyle>
            <a:lvl1pPr>
              <a:defRPr>
                <a:solidFill>
                  <a:schemeClr val="bg1"/>
                </a:solidFill>
              </a:defRPr>
            </a:lvl1pPr>
          </a:lstStyle>
          <a:p>
            <a:endParaRPr lang="en-US"/>
          </a:p>
        </p:txBody>
      </p:sp>
      <p:sp>
        <p:nvSpPr>
          <p:cNvPr id="23" name="Slide Number Placeholder 22"/>
          <p:cNvSpPr>
            <a:spLocks noGrp="1"/>
          </p:cNvSpPr>
          <p:nvPr>
            <p:ph type="sldNum" sz="quarter" idx="16"/>
          </p:nvPr>
        </p:nvSpPr>
        <p:spPr/>
        <p:txBody>
          <a:bodyPr/>
          <a:lstStyle>
            <a:lvl1pPr>
              <a:defRPr>
                <a:solidFill>
                  <a:schemeClr val="tx1"/>
                </a:solidFill>
              </a:defRPr>
            </a:lvl1pPr>
          </a:lstStyle>
          <a:p>
            <a:fld id="{5F3E29E4-0979-4FCA-B4C5-5FC6044C982A}" type="slidenum">
              <a:rPr lang="en-US" smtClean="0"/>
              <a:pPr/>
              <a:t>‹#›</a:t>
            </a:fld>
            <a:endParaRPr lang="en-US"/>
          </a:p>
        </p:txBody>
      </p:sp>
      <p:sp>
        <p:nvSpPr>
          <p:cNvPr id="2" name="Title 1"/>
          <p:cNvSpPr>
            <a:spLocks noGrp="1"/>
          </p:cNvSpPr>
          <p:nvPr>
            <p:ph type="title" hasCustomPrompt="1"/>
          </p:nvPr>
        </p:nvSpPr>
        <p:spPr>
          <a:xfrm>
            <a:off x="7737533" y="2908628"/>
            <a:ext cx="4082992" cy="2103640"/>
          </a:xfrm>
        </p:spPr>
        <p:txBody>
          <a:bodyPr/>
          <a:lstStyle>
            <a:lvl1pPr>
              <a:defRPr>
                <a:solidFill>
                  <a:schemeClr val="tx1"/>
                </a:solidFill>
              </a:defRPr>
            </a:lvl1pPr>
          </a:lstStyle>
          <a:p>
            <a:r>
              <a:rPr lang="en-US"/>
              <a:t>Click to add section title</a:t>
            </a:r>
          </a:p>
        </p:txBody>
      </p:sp>
    </p:spTree>
    <p:extLst>
      <p:ext uri="{BB962C8B-B14F-4D97-AF65-F5344CB8AC3E}">
        <p14:creationId xmlns:p14="http://schemas.microsoft.com/office/powerpoint/2010/main" val="3495770508"/>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End slide">
    <p:spTree>
      <p:nvGrpSpPr>
        <p:cNvPr id="1" name=""/>
        <p:cNvGrpSpPr/>
        <p:nvPr/>
      </p:nvGrpSpPr>
      <p:grpSpPr>
        <a:xfrm>
          <a:off x="0" y="0"/>
          <a:ext cx="0" cy="0"/>
          <a:chOff x="0" y="0"/>
          <a:chExt cx="0" cy="0"/>
        </a:xfrm>
      </p:grpSpPr>
      <p:pic>
        <p:nvPicPr>
          <p:cNvPr id="7" name="Picture 1"/>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bwMode="gray">
          <a:xfrm>
            <a:off x="0" y="0"/>
            <a:ext cx="12192000" cy="6858000"/>
          </a:xfrm>
          <a:prstGeom prst="rect">
            <a:avLst/>
          </a:prstGeom>
          <a:noFill/>
          <a:ln>
            <a:noFill/>
          </a:ln>
        </p:spPr>
      </p:pic>
      <p:sp>
        <p:nvSpPr>
          <p:cNvPr id="3" name="Title 2"/>
          <p:cNvSpPr>
            <a:spLocks noGrp="1"/>
          </p:cNvSpPr>
          <p:nvPr>
            <p:ph type="title" hasCustomPrompt="1"/>
          </p:nvPr>
        </p:nvSpPr>
        <p:spPr bwMode="gray">
          <a:xfrm>
            <a:off x="431214" y="1316567"/>
            <a:ext cx="11329573" cy="2592917"/>
          </a:xfrm>
        </p:spPr>
        <p:txBody>
          <a:bodyPr anchor="b"/>
          <a:lstStyle>
            <a:lvl1pPr>
              <a:defRPr sz="4800" cap="none" baseline="0">
                <a:solidFill>
                  <a:schemeClr val="bg1"/>
                </a:solidFill>
                <a:latin typeface="Arial" pitchFamily="34" charset="0"/>
              </a:defRPr>
            </a:lvl1pPr>
          </a:lstStyle>
          <a:p>
            <a:r>
              <a:rPr lang="en-US"/>
              <a:t>Thank you</a:t>
            </a:r>
          </a:p>
        </p:txBody>
      </p:sp>
      <p:sp>
        <p:nvSpPr>
          <p:cNvPr id="8" name="Text Placeholder 5"/>
          <p:cNvSpPr>
            <a:spLocks noGrp="1"/>
          </p:cNvSpPr>
          <p:nvPr>
            <p:ph type="body" sz="quarter" idx="10" hasCustomPrompt="1"/>
          </p:nvPr>
        </p:nvSpPr>
        <p:spPr bwMode="gray">
          <a:xfrm>
            <a:off x="431371" y="6309408"/>
            <a:ext cx="11329259" cy="288032"/>
          </a:xfrm>
        </p:spPr>
        <p:txBody>
          <a:bodyPr anchor="b"/>
          <a:lstStyle>
            <a:lvl1pPr marL="0" indent="0">
              <a:spcBef>
                <a:spcPts val="0"/>
              </a:spcBef>
              <a:spcAft>
                <a:spcPts val="0"/>
              </a:spcAft>
              <a:buFontTx/>
              <a:buNone/>
              <a:defRPr sz="1600" baseline="0">
                <a:solidFill>
                  <a:schemeClr val="bg1"/>
                </a:solidFill>
              </a:defRPr>
            </a:lvl1pPr>
            <a:lvl2pPr marL="0" indent="0">
              <a:spcBef>
                <a:spcPts val="0"/>
              </a:spcBef>
              <a:spcAft>
                <a:spcPts val="0"/>
              </a:spcAft>
              <a:buFontTx/>
              <a:buNone/>
              <a:defRPr sz="1600">
                <a:solidFill>
                  <a:schemeClr val="bg1"/>
                </a:solidFill>
              </a:defRPr>
            </a:lvl2pPr>
            <a:lvl3pPr marL="0" indent="0">
              <a:spcBef>
                <a:spcPts val="0"/>
              </a:spcBef>
              <a:spcAft>
                <a:spcPts val="0"/>
              </a:spcAft>
              <a:buFontTx/>
              <a:buNone/>
              <a:defRPr sz="1600">
                <a:solidFill>
                  <a:schemeClr val="bg1"/>
                </a:solidFill>
              </a:defRPr>
            </a:lvl3pPr>
            <a:lvl4pPr marL="0" indent="0">
              <a:spcBef>
                <a:spcPts val="0"/>
              </a:spcBef>
              <a:spcAft>
                <a:spcPts val="0"/>
              </a:spcAft>
              <a:buFontTx/>
              <a:buNone/>
              <a:defRPr sz="1600">
                <a:solidFill>
                  <a:schemeClr val="bg1"/>
                </a:solidFill>
              </a:defRPr>
            </a:lvl4pPr>
            <a:lvl5pPr marL="0" indent="0">
              <a:spcBef>
                <a:spcPts val="0"/>
              </a:spcBef>
              <a:spcAft>
                <a:spcPts val="0"/>
              </a:spcAft>
              <a:buFontTx/>
              <a:buNone/>
              <a:defRPr sz="1600">
                <a:solidFill>
                  <a:schemeClr val="bg1"/>
                </a:solidFill>
              </a:defRPr>
            </a:lvl5pPr>
            <a:lvl6pPr marL="0" indent="0">
              <a:spcBef>
                <a:spcPts val="0"/>
              </a:spcBef>
              <a:spcAft>
                <a:spcPts val="0"/>
              </a:spcAft>
              <a:buFontTx/>
              <a:buNone/>
              <a:defRPr sz="1600">
                <a:solidFill>
                  <a:schemeClr val="bg1"/>
                </a:solidFill>
              </a:defRPr>
            </a:lvl6pPr>
            <a:lvl7pPr marL="0" indent="0">
              <a:spcBef>
                <a:spcPts val="0"/>
              </a:spcBef>
              <a:spcAft>
                <a:spcPts val="0"/>
              </a:spcAft>
              <a:buFontTx/>
              <a:buNone/>
              <a:defRPr sz="1600">
                <a:solidFill>
                  <a:schemeClr val="bg1"/>
                </a:solidFill>
              </a:defRPr>
            </a:lvl7pPr>
            <a:lvl8pPr marL="0" indent="0">
              <a:spcBef>
                <a:spcPts val="0"/>
              </a:spcBef>
              <a:spcAft>
                <a:spcPts val="0"/>
              </a:spcAft>
              <a:buFontTx/>
              <a:buNone/>
              <a:defRPr sz="1600">
                <a:solidFill>
                  <a:schemeClr val="bg1"/>
                </a:solidFill>
              </a:defRPr>
            </a:lvl8pPr>
            <a:lvl9pPr marL="0" indent="0">
              <a:spcBef>
                <a:spcPts val="0"/>
              </a:spcBef>
              <a:spcAft>
                <a:spcPts val="0"/>
              </a:spcAft>
              <a:buFontTx/>
              <a:buNone/>
              <a:defRPr sz="1600">
                <a:solidFill>
                  <a:schemeClr val="bg1"/>
                </a:solidFill>
              </a:defRPr>
            </a:lvl9pPr>
          </a:lstStyle>
          <a:p>
            <a:pPr lvl="0"/>
            <a:r>
              <a:rPr lang="en-US" noProof="0"/>
              <a:t>Click to add additional text, e.g. author, location, date</a:t>
            </a:r>
          </a:p>
        </p:txBody>
      </p:sp>
    </p:spTree>
    <p:extLst>
      <p:ext uri="{BB962C8B-B14F-4D97-AF65-F5344CB8AC3E}">
        <p14:creationId xmlns:p14="http://schemas.microsoft.com/office/powerpoint/2010/main" val="1379724344"/>
      </p:ext>
    </p:extLst>
  </p:cSld>
  <p:clrMapOvr>
    <a:masterClrMapping/>
  </p:clrMapOvr>
</p:sldLayout>
</file>

<file path=ppt/slideLayouts/slideLayout420.xml><?xml version="1.0" encoding="utf-8"?>
<p:sldLayout xmlns:a="http://schemas.openxmlformats.org/drawingml/2006/main" xmlns:r="http://schemas.openxmlformats.org/officeDocument/2006/relationships" xmlns:p="http://schemas.openxmlformats.org/presentationml/2006/main" preserve="1">
  <p:cSld name="Divider 2">
    <p:spTree>
      <p:nvGrpSpPr>
        <p:cNvPr id="1" name=""/>
        <p:cNvGrpSpPr/>
        <p:nvPr/>
      </p:nvGrpSpPr>
      <p:grpSpPr>
        <a:xfrm>
          <a:off x="0" y="0"/>
          <a:ext cx="0" cy="0"/>
          <a:chOff x="0" y="0"/>
          <a:chExt cx="0" cy="0"/>
        </a:xfrm>
      </p:grpSpPr>
      <p:sp>
        <p:nvSpPr>
          <p:cNvPr id="4" name="shp2"/>
          <p:cNvSpPr/>
          <p:nvPr/>
        </p:nvSpPr>
        <p:spPr>
          <a:xfrm>
            <a:off x="0" y="0"/>
            <a:ext cx="121932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a:p>
        </p:txBody>
      </p:sp>
      <p:sp>
        <p:nvSpPr>
          <p:cNvPr id="21" name="Date Placeholder 20"/>
          <p:cNvSpPr>
            <a:spLocks noGrp="1"/>
          </p:cNvSpPr>
          <p:nvPr>
            <p:ph type="dt" sz="half" idx="14"/>
          </p:nvPr>
        </p:nvSpPr>
        <p:spPr bwMode="ltGray"/>
        <p:txBody>
          <a:bodyPr/>
          <a:lstStyle>
            <a:lvl1pPr>
              <a:defRPr>
                <a:solidFill>
                  <a:schemeClr val="bg1"/>
                </a:solidFill>
              </a:defRPr>
            </a:lvl1pPr>
          </a:lstStyle>
          <a:p>
            <a:endParaRPr lang="en-US"/>
          </a:p>
        </p:txBody>
      </p:sp>
      <p:sp>
        <p:nvSpPr>
          <p:cNvPr id="22" name="Footer Placeholder 21"/>
          <p:cNvSpPr>
            <a:spLocks noGrp="1"/>
          </p:cNvSpPr>
          <p:nvPr>
            <p:ph type="ftr" sz="quarter" idx="15"/>
          </p:nvPr>
        </p:nvSpPr>
        <p:spPr bwMode="ltGray"/>
        <p:txBody>
          <a:bodyPr/>
          <a:lstStyle>
            <a:lvl1pPr>
              <a:defRPr>
                <a:solidFill>
                  <a:schemeClr val="bg1"/>
                </a:solidFill>
              </a:defRPr>
            </a:lvl1pPr>
          </a:lstStyle>
          <a:p>
            <a:endParaRPr lang="en-US"/>
          </a:p>
        </p:txBody>
      </p:sp>
      <p:sp>
        <p:nvSpPr>
          <p:cNvPr id="23" name="Slide Number Placeholder 22"/>
          <p:cNvSpPr>
            <a:spLocks noGrp="1"/>
          </p:cNvSpPr>
          <p:nvPr>
            <p:ph type="sldNum" sz="quarter" idx="16"/>
          </p:nvPr>
        </p:nvSpPr>
        <p:spPr bwMode="ltGray"/>
        <p:txBody>
          <a:bodyPr/>
          <a:lstStyle>
            <a:lvl1pPr>
              <a:defRPr>
                <a:solidFill>
                  <a:schemeClr val="bg1"/>
                </a:solidFill>
              </a:defRPr>
            </a:lvl1pPr>
          </a:lstStyle>
          <a:p>
            <a:fld id="{5F3E29E4-0979-4FCA-B4C5-5FC6044C982A}" type="slidenum">
              <a:rPr lang="en-US" smtClean="0"/>
              <a:pPr/>
              <a:t>‹#›</a:t>
            </a:fld>
            <a:endParaRPr lang="en-US"/>
          </a:p>
        </p:txBody>
      </p:sp>
      <p:sp>
        <p:nvSpPr>
          <p:cNvPr id="8" name="copyright"/>
          <p:cNvSpPr txBox="1"/>
          <p:nvPr/>
        </p:nvSpPr>
        <p:spPr>
          <a:xfrm>
            <a:off x="10672209" y="6237288"/>
            <a:ext cx="500617" cy="358173"/>
          </a:xfrm>
          <a:prstGeom prst="rect">
            <a:avLst/>
          </a:prstGeom>
          <a:noFill/>
        </p:spPr>
        <p:txBody>
          <a:bodyPr wrap="none" lIns="0" tIns="0" rIns="0" bIns="0" rtlCol="0" anchor="b" anchorCtr="0">
            <a:noAutofit/>
          </a:bodyPr>
          <a:lstStyle/>
          <a:p>
            <a:pPr marL="0" indent="0" algn="r">
              <a:lnSpc>
                <a:spcPct val="125000"/>
              </a:lnSpc>
              <a:buClr>
                <a:schemeClr val="tx2"/>
              </a:buClr>
              <a:buFont typeface="Wingdings" panose="05000000000000000000" pitchFamily="2" charset="2"/>
              <a:buNone/>
            </a:pPr>
            <a:r>
              <a:rPr lang="en-US" sz="800">
                <a:solidFill>
                  <a:schemeClr val="bg1"/>
                </a:solidFill>
              </a:rPr>
              <a:t>© GfK</a:t>
            </a:r>
          </a:p>
        </p:txBody>
      </p:sp>
      <p:sp>
        <p:nvSpPr>
          <p:cNvPr id="2" name="Title 1"/>
          <p:cNvSpPr>
            <a:spLocks noGrp="1"/>
          </p:cNvSpPr>
          <p:nvPr>
            <p:ph type="title" hasCustomPrompt="1"/>
          </p:nvPr>
        </p:nvSpPr>
        <p:spPr bwMode="ltGray">
          <a:xfrm>
            <a:off x="1075062" y="1519552"/>
            <a:ext cx="10097763" cy="2273171"/>
          </a:xfrm>
        </p:spPr>
        <p:txBody>
          <a:bodyPr/>
          <a:lstStyle>
            <a:lvl1pPr>
              <a:defRPr>
                <a:solidFill>
                  <a:schemeClr val="bg1"/>
                </a:solidFill>
              </a:defRPr>
            </a:lvl1pPr>
          </a:lstStyle>
          <a:p>
            <a:r>
              <a:rPr lang="en-US"/>
              <a:t>Click to add section title</a:t>
            </a:r>
          </a:p>
        </p:txBody>
      </p:sp>
      <p:grpSp>
        <p:nvGrpSpPr>
          <p:cNvPr id="9" name="logo">
            <a:extLst>
              <a:ext uri="{FF2B5EF4-FFF2-40B4-BE49-F238E27FC236}">
                <a16:creationId xmlns:a16="http://schemas.microsoft.com/office/drawing/2014/main" id="{57BD2C4C-DC67-B843-B26C-309622FC75F7}"/>
              </a:ext>
            </a:extLst>
          </p:cNvPr>
          <p:cNvGrpSpPr>
            <a:grpSpLocks noChangeAspect="1"/>
          </p:cNvGrpSpPr>
          <p:nvPr/>
        </p:nvGrpSpPr>
        <p:grpSpPr bwMode="gray">
          <a:xfrm>
            <a:off x="11174018" y="401441"/>
            <a:ext cx="644225" cy="646507"/>
            <a:chOff x="2711" y="1027"/>
            <a:chExt cx="2258" cy="2266"/>
          </a:xfrm>
        </p:grpSpPr>
        <p:sp>
          <p:nvSpPr>
            <p:cNvPr id="11" name="AutoShape 3">
              <a:extLst>
                <a:ext uri="{FF2B5EF4-FFF2-40B4-BE49-F238E27FC236}">
                  <a16:creationId xmlns:a16="http://schemas.microsoft.com/office/drawing/2014/main" id="{FE1DC41B-291E-574C-9F2C-874E70A40758}"/>
                </a:ext>
              </a:extLst>
            </p:cNvPr>
            <p:cNvSpPr>
              <a:spLocks noChangeAspect="1" noChangeArrowheads="1" noTextEdit="1"/>
            </p:cNvSpPr>
            <p:nvPr/>
          </p:nvSpPr>
          <p:spPr bwMode="gray">
            <a:xfrm>
              <a:off x="2711" y="1027"/>
              <a:ext cx="2258" cy="22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12" name="Freeform 5">
              <a:extLst>
                <a:ext uri="{FF2B5EF4-FFF2-40B4-BE49-F238E27FC236}">
                  <a16:creationId xmlns:a16="http://schemas.microsoft.com/office/drawing/2014/main" id="{D4B633C8-F761-C54B-9BD2-EB59D49A2DBC}"/>
                </a:ext>
              </a:extLst>
            </p:cNvPr>
            <p:cNvSpPr>
              <a:spLocks/>
            </p:cNvSpPr>
            <p:nvPr/>
          </p:nvSpPr>
          <p:spPr bwMode="gray">
            <a:xfrm>
              <a:off x="2709" y="1029"/>
              <a:ext cx="2260" cy="2262"/>
            </a:xfrm>
            <a:custGeom>
              <a:avLst/>
              <a:gdLst>
                <a:gd name="T0" fmla="*/ 2260 w 2260"/>
                <a:gd name="T1" fmla="*/ 0 h 2262"/>
                <a:gd name="T2" fmla="*/ 1612 w 2260"/>
                <a:gd name="T3" fmla="*/ 649 h 2262"/>
                <a:gd name="T4" fmla="*/ 1612 w 2260"/>
                <a:gd name="T5" fmla="*/ 649 h 2262"/>
                <a:gd name="T6" fmla="*/ 2035 w 2260"/>
                <a:gd name="T7" fmla="*/ 0 h 2262"/>
                <a:gd name="T8" fmla="*/ 0 w 2260"/>
                <a:gd name="T9" fmla="*/ 0 h 2262"/>
                <a:gd name="T10" fmla="*/ 0 w 2260"/>
                <a:gd name="T11" fmla="*/ 2262 h 2262"/>
                <a:gd name="T12" fmla="*/ 2260 w 2260"/>
                <a:gd name="T13" fmla="*/ 2262 h 2262"/>
                <a:gd name="T14" fmla="*/ 2260 w 2260"/>
                <a:gd name="T15" fmla="*/ 0 h 2262"/>
                <a:gd name="T16" fmla="*/ 2260 w 2260"/>
                <a:gd name="T17" fmla="*/ 0 h 2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0" h="2262">
                  <a:moveTo>
                    <a:pt x="2260" y="0"/>
                  </a:moveTo>
                  <a:lnTo>
                    <a:pt x="1612" y="649"/>
                  </a:lnTo>
                  <a:lnTo>
                    <a:pt x="1612" y="649"/>
                  </a:lnTo>
                  <a:lnTo>
                    <a:pt x="2035" y="0"/>
                  </a:lnTo>
                  <a:lnTo>
                    <a:pt x="0" y="0"/>
                  </a:lnTo>
                  <a:lnTo>
                    <a:pt x="0" y="2262"/>
                  </a:lnTo>
                  <a:lnTo>
                    <a:pt x="2260" y="2262"/>
                  </a:lnTo>
                  <a:lnTo>
                    <a:pt x="2260" y="0"/>
                  </a:lnTo>
                  <a:lnTo>
                    <a:pt x="2260" y="0"/>
                  </a:lnTo>
                  <a:close/>
                </a:path>
              </a:pathLst>
            </a:custGeom>
            <a:solidFill>
              <a:srgbClr val="E55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13" name="Freeform 6">
              <a:extLst>
                <a:ext uri="{FF2B5EF4-FFF2-40B4-BE49-F238E27FC236}">
                  <a16:creationId xmlns:a16="http://schemas.microsoft.com/office/drawing/2014/main" id="{B16BAAE4-1A41-C843-9754-490F7A1E1270}"/>
                </a:ext>
              </a:extLst>
            </p:cNvPr>
            <p:cNvSpPr>
              <a:spLocks noEditPoints="1"/>
            </p:cNvSpPr>
            <p:nvPr/>
          </p:nvSpPr>
          <p:spPr bwMode="gray">
            <a:xfrm>
              <a:off x="3623" y="1696"/>
              <a:ext cx="1167" cy="922"/>
            </a:xfrm>
            <a:custGeom>
              <a:avLst/>
              <a:gdLst>
                <a:gd name="T0" fmla="*/ 411 w 580"/>
                <a:gd name="T1" fmla="*/ 213 h 458"/>
                <a:gd name="T2" fmla="*/ 570 w 580"/>
                <a:gd name="T3" fmla="*/ 37 h 458"/>
                <a:gd name="T4" fmla="*/ 580 w 580"/>
                <a:gd name="T5" fmla="*/ 20 h 458"/>
                <a:gd name="T6" fmla="*/ 545 w 580"/>
                <a:gd name="T7" fmla="*/ 0 h 458"/>
                <a:gd name="T8" fmla="*/ 519 w 580"/>
                <a:gd name="T9" fmla="*/ 16 h 458"/>
                <a:gd name="T10" fmla="*/ 344 w 580"/>
                <a:gd name="T11" fmla="*/ 210 h 458"/>
                <a:gd name="T12" fmla="*/ 334 w 580"/>
                <a:gd name="T13" fmla="*/ 229 h 458"/>
                <a:gd name="T14" fmla="*/ 344 w 580"/>
                <a:gd name="T15" fmla="*/ 248 h 458"/>
                <a:gd name="T16" fmla="*/ 519 w 580"/>
                <a:gd name="T17" fmla="*/ 442 h 458"/>
                <a:gd name="T18" fmla="*/ 545 w 580"/>
                <a:gd name="T19" fmla="*/ 458 h 458"/>
                <a:gd name="T20" fmla="*/ 580 w 580"/>
                <a:gd name="T21" fmla="*/ 438 h 458"/>
                <a:gd name="T22" fmla="*/ 570 w 580"/>
                <a:gd name="T23" fmla="*/ 421 h 458"/>
                <a:gd name="T24" fmla="*/ 411 w 580"/>
                <a:gd name="T25" fmla="*/ 245 h 458"/>
                <a:gd name="T26" fmla="*/ 399 w 580"/>
                <a:gd name="T27" fmla="*/ 229 h 458"/>
                <a:gd name="T28" fmla="*/ 411 w 580"/>
                <a:gd name="T29" fmla="*/ 213 h 458"/>
                <a:gd name="T30" fmla="*/ 252 w 580"/>
                <a:gd name="T31" fmla="*/ 439 h 458"/>
                <a:gd name="T32" fmla="*/ 281 w 580"/>
                <a:gd name="T33" fmla="*/ 454 h 458"/>
                <a:gd name="T34" fmla="*/ 309 w 580"/>
                <a:gd name="T35" fmla="*/ 439 h 458"/>
                <a:gd name="T36" fmla="*/ 309 w 580"/>
                <a:gd name="T37" fmla="*/ 19 h 458"/>
                <a:gd name="T38" fmla="*/ 281 w 580"/>
                <a:gd name="T39" fmla="*/ 4 h 458"/>
                <a:gd name="T40" fmla="*/ 252 w 580"/>
                <a:gd name="T41" fmla="*/ 19 h 458"/>
                <a:gd name="T42" fmla="*/ 252 w 580"/>
                <a:gd name="T43" fmla="*/ 439 h 458"/>
                <a:gd name="T44" fmla="*/ 0 w 580"/>
                <a:gd name="T45" fmla="*/ 439 h 458"/>
                <a:gd name="T46" fmla="*/ 28 w 580"/>
                <a:gd name="T47" fmla="*/ 454 h 458"/>
                <a:gd name="T48" fmla="*/ 56 w 580"/>
                <a:gd name="T49" fmla="*/ 439 h 458"/>
                <a:gd name="T50" fmla="*/ 56 w 580"/>
                <a:gd name="T51" fmla="*/ 157 h 458"/>
                <a:gd name="T52" fmla="*/ 165 w 580"/>
                <a:gd name="T53" fmla="*/ 53 h 458"/>
                <a:gd name="T54" fmla="*/ 180 w 580"/>
                <a:gd name="T55" fmla="*/ 53 h 458"/>
                <a:gd name="T56" fmla="*/ 196 w 580"/>
                <a:gd name="T57" fmla="*/ 27 h 458"/>
                <a:gd name="T58" fmla="*/ 154 w 580"/>
                <a:gd name="T59" fmla="*/ 4 h 458"/>
                <a:gd name="T60" fmla="*/ 0 w 580"/>
                <a:gd name="T61" fmla="*/ 152 h 458"/>
                <a:gd name="T62" fmla="*/ 0 w 580"/>
                <a:gd name="T63" fmla="*/ 439 h 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80" h="458">
                  <a:moveTo>
                    <a:pt x="411" y="213"/>
                  </a:moveTo>
                  <a:cubicBezTo>
                    <a:pt x="570" y="37"/>
                    <a:pt x="570" y="37"/>
                    <a:pt x="570" y="37"/>
                  </a:cubicBezTo>
                  <a:cubicBezTo>
                    <a:pt x="576" y="30"/>
                    <a:pt x="580" y="25"/>
                    <a:pt x="580" y="20"/>
                  </a:cubicBezTo>
                  <a:cubicBezTo>
                    <a:pt x="580" y="10"/>
                    <a:pt x="559" y="0"/>
                    <a:pt x="545" y="0"/>
                  </a:cubicBezTo>
                  <a:cubicBezTo>
                    <a:pt x="535" y="0"/>
                    <a:pt x="526" y="8"/>
                    <a:pt x="519" y="16"/>
                  </a:cubicBezTo>
                  <a:cubicBezTo>
                    <a:pt x="344" y="210"/>
                    <a:pt x="344" y="210"/>
                    <a:pt x="344" y="210"/>
                  </a:cubicBezTo>
                  <a:cubicBezTo>
                    <a:pt x="336" y="219"/>
                    <a:pt x="334" y="224"/>
                    <a:pt x="334" y="229"/>
                  </a:cubicBezTo>
                  <a:cubicBezTo>
                    <a:pt x="334" y="234"/>
                    <a:pt x="336" y="239"/>
                    <a:pt x="344" y="248"/>
                  </a:cubicBezTo>
                  <a:cubicBezTo>
                    <a:pt x="519" y="442"/>
                    <a:pt x="519" y="442"/>
                    <a:pt x="519" y="442"/>
                  </a:cubicBezTo>
                  <a:cubicBezTo>
                    <a:pt x="526" y="450"/>
                    <a:pt x="535" y="458"/>
                    <a:pt x="545" y="458"/>
                  </a:cubicBezTo>
                  <a:cubicBezTo>
                    <a:pt x="559" y="458"/>
                    <a:pt x="580" y="448"/>
                    <a:pt x="580" y="438"/>
                  </a:cubicBezTo>
                  <a:cubicBezTo>
                    <a:pt x="580" y="433"/>
                    <a:pt x="576" y="428"/>
                    <a:pt x="570" y="421"/>
                  </a:cubicBezTo>
                  <a:cubicBezTo>
                    <a:pt x="411" y="245"/>
                    <a:pt x="411" y="245"/>
                    <a:pt x="411" y="245"/>
                  </a:cubicBezTo>
                  <a:cubicBezTo>
                    <a:pt x="403" y="236"/>
                    <a:pt x="399" y="232"/>
                    <a:pt x="399" y="229"/>
                  </a:cubicBezTo>
                  <a:cubicBezTo>
                    <a:pt x="399" y="226"/>
                    <a:pt x="403" y="222"/>
                    <a:pt x="411" y="213"/>
                  </a:cubicBezTo>
                  <a:moveTo>
                    <a:pt x="252" y="439"/>
                  </a:moveTo>
                  <a:cubicBezTo>
                    <a:pt x="252" y="449"/>
                    <a:pt x="261" y="454"/>
                    <a:pt x="281" y="454"/>
                  </a:cubicBezTo>
                  <a:cubicBezTo>
                    <a:pt x="300" y="454"/>
                    <a:pt x="309" y="449"/>
                    <a:pt x="309" y="439"/>
                  </a:cubicBezTo>
                  <a:cubicBezTo>
                    <a:pt x="309" y="19"/>
                    <a:pt x="309" y="19"/>
                    <a:pt x="309" y="19"/>
                  </a:cubicBezTo>
                  <a:cubicBezTo>
                    <a:pt x="309" y="9"/>
                    <a:pt x="300" y="4"/>
                    <a:pt x="281" y="4"/>
                  </a:cubicBezTo>
                  <a:cubicBezTo>
                    <a:pt x="261" y="4"/>
                    <a:pt x="252" y="9"/>
                    <a:pt x="252" y="19"/>
                  </a:cubicBezTo>
                  <a:lnTo>
                    <a:pt x="252" y="439"/>
                  </a:lnTo>
                  <a:close/>
                  <a:moveTo>
                    <a:pt x="0" y="439"/>
                  </a:moveTo>
                  <a:cubicBezTo>
                    <a:pt x="0" y="449"/>
                    <a:pt x="8" y="454"/>
                    <a:pt x="28" y="454"/>
                  </a:cubicBezTo>
                  <a:cubicBezTo>
                    <a:pt x="48" y="454"/>
                    <a:pt x="56" y="449"/>
                    <a:pt x="56" y="439"/>
                  </a:cubicBezTo>
                  <a:cubicBezTo>
                    <a:pt x="56" y="157"/>
                    <a:pt x="56" y="157"/>
                    <a:pt x="56" y="157"/>
                  </a:cubicBezTo>
                  <a:cubicBezTo>
                    <a:pt x="56" y="83"/>
                    <a:pt x="85" y="53"/>
                    <a:pt x="165" y="53"/>
                  </a:cubicBezTo>
                  <a:cubicBezTo>
                    <a:pt x="180" y="53"/>
                    <a:pt x="180" y="53"/>
                    <a:pt x="180" y="53"/>
                  </a:cubicBezTo>
                  <a:cubicBezTo>
                    <a:pt x="192" y="53"/>
                    <a:pt x="196" y="43"/>
                    <a:pt x="196" y="27"/>
                  </a:cubicBezTo>
                  <a:cubicBezTo>
                    <a:pt x="196" y="8"/>
                    <a:pt x="185" y="4"/>
                    <a:pt x="154" y="4"/>
                  </a:cubicBezTo>
                  <a:cubicBezTo>
                    <a:pt x="64" y="4"/>
                    <a:pt x="0" y="43"/>
                    <a:pt x="0" y="152"/>
                  </a:cubicBezTo>
                  <a:lnTo>
                    <a:pt x="0" y="43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14" name="Freeform 7">
              <a:extLst>
                <a:ext uri="{FF2B5EF4-FFF2-40B4-BE49-F238E27FC236}">
                  <a16:creationId xmlns:a16="http://schemas.microsoft.com/office/drawing/2014/main" id="{2F32DCBD-8628-F245-85CD-97686A20ECFD}"/>
                </a:ext>
              </a:extLst>
            </p:cNvPr>
            <p:cNvSpPr>
              <a:spLocks/>
            </p:cNvSpPr>
            <p:nvPr/>
          </p:nvSpPr>
          <p:spPr bwMode="gray">
            <a:xfrm>
              <a:off x="2880" y="1704"/>
              <a:ext cx="618" cy="916"/>
            </a:xfrm>
            <a:custGeom>
              <a:avLst/>
              <a:gdLst>
                <a:gd name="T0" fmla="*/ 307 w 307"/>
                <a:gd name="T1" fmla="*/ 405 h 455"/>
                <a:gd name="T2" fmla="*/ 307 w 307"/>
                <a:gd name="T3" fmla="*/ 244 h 455"/>
                <a:gd name="T4" fmla="*/ 279 w 307"/>
                <a:gd name="T5" fmla="*/ 229 h 455"/>
                <a:gd name="T6" fmla="*/ 250 w 307"/>
                <a:gd name="T7" fmla="*/ 244 h 455"/>
                <a:gd name="T8" fmla="*/ 250 w 307"/>
                <a:gd name="T9" fmla="*/ 378 h 455"/>
                <a:gd name="T10" fmla="*/ 199 w 307"/>
                <a:gd name="T11" fmla="*/ 408 h 455"/>
                <a:gd name="T12" fmla="*/ 61 w 307"/>
                <a:gd name="T13" fmla="*/ 231 h 455"/>
                <a:gd name="T14" fmla="*/ 238 w 307"/>
                <a:gd name="T15" fmla="*/ 49 h 455"/>
                <a:gd name="T16" fmla="*/ 270 w 307"/>
                <a:gd name="T17" fmla="*/ 49 h 455"/>
                <a:gd name="T18" fmla="*/ 286 w 307"/>
                <a:gd name="T19" fmla="*/ 23 h 455"/>
                <a:gd name="T20" fmla="*/ 244 w 307"/>
                <a:gd name="T21" fmla="*/ 0 h 455"/>
                <a:gd name="T22" fmla="*/ 231 w 307"/>
                <a:gd name="T23" fmla="*/ 0 h 455"/>
                <a:gd name="T24" fmla="*/ 0 w 307"/>
                <a:gd name="T25" fmla="*/ 232 h 455"/>
                <a:gd name="T26" fmla="*/ 198 w 307"/>
                <a:gd name="T27" fmla="*/ 455 h 455"/>
                <a:gd name="T28" fmla="*/ 307 w 307"/>
                <a:gd name="T29" fmla="*/ 405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7" h="455">
                  <a:moveTo>
                    <a:pt x="307" y="405"/>
                  </a:moveTo>
                  <a:cubicBezTo>
                    <a:pt x="307" y="244"/>
                    <a:pt x="307" y="244"/>
                    <a:pt x="307" y="244"/>
                  </a:cubicBezTo>
                  <a:cubicBezTo>
                    <a:pt x="307" y="234"/>
                    <a:pt x="298" y="229"/>
                    <a:pt x="279" y="229"/>
                  </a:cubicBezTo>
                  <a:cubicBezTo>
                    <a:pt x="259" y="229"/>
                    <a:pt x="250" y="234"/>
                    <a:pt x="250" y="244"/>
                  </a:cubicBezTo>
                  <a:cubicBezTo>
                    <a:pt x="250" y="378"/>
                    <a:pt x="250" y="378"/>
                    <a:pt x="250" y="378"/>
                  </a:cubicBezTo>
                  <a:cubicBezTo>
                    <a:pt x="250" y="399"/>
                    <a:pt x="241" y="408"/>
                    <a:pt x="199" y="408"/>
                  </a:cubicBezTo>
                  <a:cubicBezTo>
                    <a:pt x="114" y="408"/>
                    <a:pt x="61" y="342"/>
                    <a:pt x="61" y="231"/>
                  </a:cubicBezTo>
                  <a:cubicBezTo>
                    <a:pt x="61" y="115"/>
                    <a:pt x="126" y="49"/>
                    <a:pt x="238" y="49"/>
                  </a:cubicBezTo>
                  <a:cubicBezTo>
                    <a:pt x="270" y="49"/>
                    <a:pt x="270" y="49"/>
                    <a:pt x="270" y="49"/>
                  </a:cubicBezTo>
                  <a:cubicBezTo>
                    <a:pt x="282" y="49"/>
                    <a:pt x="286" y="39"/>
                    <a:pt x="286" y="23"/>
                  </a:cubicBezTo>
                  <a:cubicBezTo>
                    <a:pt x="286" y="4"/>
                    <a:pt x="275" y="0"/>
                    <a:pt x="244" y="0"/>
                  </a:cubicBezTo>
                  <a:cubicBezTo>
                    <a:pt x="231" y="0"/>
                    <a:pt x="231" y="0"/>
                    <a:pt x="231" y="0"/>
                  </a:cubicBezTo>
                  <a:cubicBezTo>
                    <a:pt x="101" y="0"/>
                    <a:pt x="0" y="71"/>
                    <a:pt x="0" y="232"/>
                  </a:cubicBezTo>
                  <a:cubicBezTo>
                    <a:pt x="0" y="386"/>
                    <a:pt x="88" y="455"/>
                    <a:pt x="198" y="455"/>
                  </a:cubicBezTo>
                  <a:cubicBezTo>
                    <a:pt x="286" y="455"/>
                    <a:pt x="307" y="430"/>
                    <a:pt x="307" y="40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15" name="Oval 8">
              <a:extLst>
                <a:ext uri="{FF2B5EF4-FFF2-40B4-BE49-F238E27FC236}">
                  <a16:creationId xmlns:a16="http://schemas.microsoft.com/office/drawing/2014/main" id="{60D97C11-1A3B-5449-A48D-98A3E79B3810}"/>
                </a:ext>
              </a:extLst>
            </p:cNvPr>
            <p:cNvSpPr>
              <a:spLocks noChangeArrowheads="1"/>
            </p:cNvSpPr>
            <p:nvPr/>
          </p:nvSpPr>
          <p:spPr bwMode="gray">
            <a:xfrm>
              <a:off x="3778" y="2099"/>
              <a:ext cx="122" cy="12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16" name="Freeform 9">
              <a:extLst>
                <a:ext uri="{FF2B5EF4-FFF2-40B4-BE49-F238E27FC236}">
                  <a16:creationId xmlns:a16="http://schemas.microsoft.com/office/drawing/2014/main" id="{5856770D-B8F0-244E-A05D-AED190086F10}"/>
                </a:ext>
              </a:extLst>
            </p:cNvPr>
            <p:cNvSpPr>
              <a:spLocks noEditPoints="1"/>
            </p:cNvSpPr>
            <p:nvPr/>
          </p:nvSpPr>
          <p:spPr bwMode="gray">
            <a:xfrm>
              <a:off x="3623" y="1696"/>
              <a:ext cx="1167" cy="922"/>
            </a:xfrm>
            <a:custGeom>
              <a:avLst/>
              <a:gdLst>
                <a:gd name="T0" fmla="*/ 411 w 580"/>
                <a:gd name="T1" fmla="*/ 213 h 458"/>
                <a:gd name="T2" fmla="*/ 570 w 580"/>
                <a:gd name="T3" fmla="*/ 37 h 458"/>
                <a:gd name="T4" fmla="*/ 580 w 580"/>
                <a:gd name="T5" fmla="*/ 20 h 458"/>
                <a:gd name="T6" fmla="*/ 545 w 580"/>
                <a:gd name="T7" fmla="*/ 0 h 458"/>
                <a:gd name="T8" fmla="*/ 519 w 580"/>
                <a:gd name="T9" fmla="*/ 16 h 458"/>
                <a:gd name="T10" fmla="*/ 344 w 580"/>
                <a:gd name="T11" fmla="*/ 210 h 458"/>
                <a:gd name="T12" fmla="*/ 334 w 580"/>
                <a:gd name="T13" fmla="*/ 229 h 458"/>
                <a:gd name="T14" fmla="*/ 344 w 580"/>
                <a:gd name="T15" fmla="*/ 248 h 458"/>
                <a:gd name="T16" fmla="*/ 519 w 580"/>
                <a:gd name="T17" fmla="*/ 442 h 458"/>
                <a:gd name="T18" fmla="*/ 545 w 580"/>
                <a:gd name="T19" fmla="*/ 458 h 458"/>
                <a:gd name="T20" fmla="*/ 580 w 580"/>
                <a:gd name="T21" fmla="*/ 438 h 458"/>
                <a:gd name="T22" fmla="*/ 570 w 580"/>
                <a:gd name="T23" fmla="*/ 421 h 458"/>
                <a:gd name="T24" fmla="*/ 411 w 580"/>
                <a:gd name="T25" fmla="*/ 245 h 458"/>
                <a:gd name="T26" fmla="*/ 399 w 580"/>
                <a:gd name="T27" fmla="*/ 229 h 458"/>
                <a:gd name="T28" fmla="*/ 411 w 580"/>
                <a:gd name="T29" fmla="*/ 213 h 458"/>
                <a:gd name="T30" fmla="*/ 252 w 580"/>
                <a:gd name="T31" fmla="*/ 439 h 458"/>
                <a:gd name="T32" fmla="*/ 281 w 580"/>
                <a:gd name="T33" fmla="*/ 454 h 458"/>
                <a:gd name="T34" fmla="*/ 309 w 580"/>
                <a:gd name="T35" fmla="*/ 439 h 458"/>
                <a:gd name="T36" fmla="*/ 309 w 580"/>
                <a:gd name="T37" fmla="*/ 19 h 458"/>
                <a:gd name="T38" fmla="*/ 281 w 580"/>
                <a:gd name="T39" fmla="*/ 4 h 458"/>
                <a:gd name="T40" fmla="*/ 252 w 580"/>
                <a:gd name="T41" fmla="*/ 19 h 458"/>
                <a:gd name="T42" fmla="*/ 252 w 580"/>
                <a:gd name="T43" fmla="*/ 439 h 458"/>
                <a:gd name="T44" fmla="*/ 0 w 580"/>
                <a:gd name="T45" fmla="*/ 439 h 458"/>
                <a:gd name="T46" fmla="*/ 28 w 580"/>
                <a:gd name="T47" fmla="*/ 454 h 458"/>
                <a:gd name="T48" fmla="*/ 56 w 580"/>
                <a:gd name="T49" fmla="*/ 439 h 458"/>
                <a:gd name="T50" fmla="*/ 56 w 580"/>
                <a:gd name="T51" fmla="*/ 157 h 458"/>
                <a:gd name="T52" fmla="*/ 165 w 580"/>
                <a:gd name="T53" fmla="*/ 53 h 458"/>
                <a:gd name="T54" fmla="*/ 180 w 580"/>
                <a:gd name="T55" fmla="*/ 53 h 458"/>
                <a:gd name="T56" fmla="*/ 196 w 580"/>
                <a:gd name="T57" fmla="*/ 27 h 458"/>
                <a:gd name="T58" fmla="*/ 154 w 580"/>
                <a:gd name="T59" fmla="*/ 4 h 458"/>
                <a:gd name="T60" fmla="*/ 0 w 580"/>
                <a:gd name="T61" fmla="*/ 152 h 458"/>
                <a:gd name="T62" fmla="*/ 0 w 580"/>
                <a:gd name="T63" fmla="*/ 439 h 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80" h="458">
                  <a:moveTo>
                    <a:pt x="411" y="213"/>
                  </a:moveTo>
                  <a:cubicBezTo>
                    <a:pt x="570" y="37"/>
                    <a:pt x="570" y="37"/>
                    <a:pt x="570" y="37"/>
                  </a:cubicBezTo>
                  <a:cubicBezTo>
                    <a:pt x="576" y="30"/>
                    <a:pt x="580" y="25"/>
                    <a:pt x="580" y="20"/>
                  </a:cubicBezTo>
                  <a:cubicBezTo>
                    <a:pt x="580" y="10"/>
                    <a:pt x="559" y="0"/>
                    <a:pt x="545" y="0"/>
                  </a:cubicBezTo>
                  <a:cubicBezTo>
                    <a:pt x="535" y="0"/>
                    <a:pt x="526" y="8"/>
                    <a:pt x="519" y="16"/>
                  </a:cubicBezTo>
                  <a:cubicBezTo>
                    <a:pt x="344" y="210"/>
                    <a:pt x="344" y="210"/>
                    <a:pt x="344" y="210"/>
                  </a:cubicBezTo>
                  <a:cubicBezTo>
                    <a:pt x="336" y="219"/>
                    <a:pt x="334" y="224"/>
                    <a:pt x="334" y="229"/>
                  </a:cubicBezTo>
                  <a:cubicBezTo>
                    <a:pt x="334" y="234"/>
                    <a:pt x="336" y="239"/>
                    <a:pt x="344" y="248"/>
                  </a:cubicBezTo>
                  <a:cubicBezTo>
                    <a:pt x="519" y="442"/>
                    <a:pt x="519" y="442"/>
                    <a:pt x="519" y="442"/>
                  </a:cubicBezTo>
                  <a:cubicBezTo>
                    <a:pt x="526" y="450"/>
                    <a:pt x="535" y="458"/>
                    <a:pt x="545" y="458"/>
                  </a:cubicBezTo>
                  <a:cubicBezTo>
                    <a:pt x="559" y="458"/>
                    <a:pt x="580" y="448"/>
                    <a:pt x="580" y="438"/>
                  </a:cubicBezTo>
                  <a:cubicBezTo>
                    <a:pt x="580" y="433"/>
                    <a:pt x="576" y="428"/>
                    <a:pt x="570" y="421"/>
                  </a:cubicBezTo>
                  <a:cubicBezTo>
                    <a:pt x="411" y="245"/>
                    <a:pt x="411" y="245"/>
                    <a:pt x="411" y="245"/>
                  </a:cubicBezTo>
                  <a:cubicBezTo>
                    <a:pt x="403" y="236"/>
                    <a:pt x="399" y="232"/>
                    <a:pt x="399" y="229"/>
                  </a:cubicBezTo>
                  <a:cubicBezTo>
                    <a:pt x="399" y="226"/>
                    <a:pt x="403" y="222"/>
                    <a:pt x="411" y="213"/>
                  </a:cubicBezTo>
                  <a:moveTo>
                    <a:pt x="252" y="439"/>
                  </a:moveTo>
                  <a:cubicBezTo>
                    <a:pt x="252" y="449"/>
                    <a:pt x="261" y="454"/>
                    <a:pt x="281" y="454"/>
                  </a:cubicBezTo>
                  <a:cubicBezTo>
                    <a:pt x="300" y="454"/>
                    <a:pt x="309" y="449"/>
                    <a:pt x="309" y="439"/>
                  </a:cubicBezTo>
                  <a:cubicBezTo>
                    <a:pt x="309" y="19"/>
                    <a:pt x="309" y="19"/>
                    <a:pt x="309" y="19"/>
                  </a:cubicBezTo>
                  <a:cubicBezTo>
                    <a:pt x="309" y="9"/>
                    <a:pt x="300" y="4"/>
                    <a:pt x="281" y="4"/>
                  </a:cubicBezTo>
                  <a:cubicBezTo>
                    <a:pt x="261" y="4"/>
                    <a:pt x="252" y="9"/>
                    <a:pt x="252" y="19"/>
                  </a:cubicBezTo>
                  <a:lnTo>
                    <a:pt x="252" y="439"/>
                  </a:lnTo>
                  <a:close/>
                  <a:moveTo>
                    <a:pt x="0" y="439"/>
                  </a:moveTo>
                  <a:cubicBezTo>
                    <a:pt x="0" y="449"/>
                    <a:pt x="8" y="454"/>
                    <a:pt x="28" y="454"/>
                  </a:cubicBezTo>
                  <a:cubicBezTo>
                    <a:pt x="48" y="454"/>
                    <a:pt x="56" y="449"/>
                    <a:pt x="56" y="439"/>
                  </a:cubicBezTo>
                  <a:cubicBezTo>
                    <a:pt x="56" y="157"/>
                    <a:pt x="56" y="157"/>
                    <a:pt x="56" y="157"/>
                  </a:cubicBezTo>
                  <a:cubicBezTo>
                    <a:pt x="56" y="83"/>
                    <a:pt x="85" y="53"/>
                    <a:pt x="165" y="53"/>
                  </a:cubicBezTo>
                  <a:cubicBezTo>
                    <a:pt x="180" y="53"/>
                    <a:pt x="180" y="53"/>
                    <a:pt x="180" y="53"/>
                  </a:cubicBezTo>
                  <a:cubicBezTo>
                    <a:pt x="192" y="53"/>
                    <a:pt x="196" y="43"/>
                    <a:pt x="196" y="27"/>
                  </a:cubicBezTo>
                  <a:cubicBezTo>
                    <a:pt x="196" y="8"/>
                    <a:pt x="185" y="4"/>
                    <a:pt x="154" y="4"/>
                  </a:cubicBezTo>
                  <a:cubicBezTo>
                    <a:pt x="64" y="4"/>
                    <a:pt x="0" y="43"/>
                    <a:pt x="0" y="152"/>
                  </a:cubicBezTo>
                  <a:lnTo>
                    <a:pt x="0" y="43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17" name="Freeform 10">
              <a:extLst>
                <a:ext uri="{FF2B5EF4-FFF2-40B4-BE49-F238E27FC236}">
                  <a16:creationId xmlns:a16="http://schemas.microsoft.com/office/drawing/2014/main" id="{2B91B16B-BC11-E547-8FAC-B9B8D18EA449}"/>
                </a:ext>
              </a:extLst>
            </p:cNvPr>
            <p:cNvSpPr>
              <a:spLocks/>
            </p:cNvSpPr>
            <p:nvPr/>
          </p:nvSpPr>
          <p:spPr bwMode="gray">
            <a:xfrm>
              <a:off x="2880" y="1704"/>
              <a:ext cx="618" cy="916"/>
            </a:xfrm>
            <a:custGeom>
              <a:avLst/>
              <a:gdLst>
                <a:gd name="T0" fmla="*/ 307 w 307"/>
                <a:gd name="T1" fmla="*/ 405 h 455"/>
                <a:gd name="T2" fmla="*/ 307 w 307"/>
                <a:gd name="T3" fmla="*/ 244 h 455"/>
                <a:gd name="T4" fmla="*/ 279 w 307"/>
                <a:gd name="T5" fmla="*/ 229 h 455"/>
                <a:gd name="T6" fmla="*/ 250 w 307"/>
                <a:gd name="T7" fmla="*/ 244 h 455"/>
                <a:gd name="T8" fmla="*/ 250 w 307"/>
                <a:gd name="T9" fmla="*/ 378 h 455"/>
                <a:gd name="T10" fmla="*/ 199 w 307"/>
                <a:gd name="T11" fmla="*/ 408 h 455"/>
                <a:gd name="T12" fmla="*/ 61 w 307"/>
                <a:gd name="T13" fmla="*/ 231 h 455"/>
                <a:gd name="T14" fmla="*/ 238 w 307"/>
                <a:gd name="T15" fmla="*/ 49 h 455"/>
                <a:gd name="T16" fmla="*/ 270 w 307"/>
                <a:gd name="T17" fmla="*/ 49 h 455"/>
                <a:gd name="T18" fmla="*/ 286 w 307"/>
                <a:gd name="T19" fmla="*/ 23 h 455"/>
                <a:gd name="T20" fmla="*/ 244 w 307"/>
                <a:gd name="T21" fmla="*/ 0 h 455"/>
                <a:gd name="T22" fmla="*/ 231 w 307"/>
                <a:gd name="T23" fmla="*/ 0 h 455"/>
                <a:gd name="T24" fmla="*/ 0 w 307"/>
                <a:gd name="T25" fmla="*/ 232 h 455"/>
                <a:gd name="T26" fmla="*/ 198 w 307"/>
                <a:gd name="T27" fmla="*/ 455 h 455"/>
                <a:gd name="T28" fmla="*/ 307 w 307"/>
                <a:gd name="T29" fmla="*/ 405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7" h="455">
                  <a:moveTo>
                    <a:pt x="307" y="405"/>
                  </a:moveTo>
                  <a:cubicBezTo>
                    <a:pt x="307" y="244"/>
                    <a:pt x="307" y="244"/>
                    <a:pt x="307" y="244"/>
                  </a:cubicBezTo>
                  <a:cubicBezTo>
                    <a:pt x="307" y="234"/>
                    <a:pt x="298" y="229"/>
                    <a:pt x="279" y="229"/>
                  </a:cubicBezTo>
                  <a:cubicBezTo>
                    <a:pt x="259" y="229"/>
                    <a:pt x="250" y="234"/>
                    <a:pt x="250" y="244"/>
                  </a:cubicBezTo>
                  <a:cubicBezTo>
                    <a:pt x="250" y="378"/>
                    <a:pt x="250" y="378"/>
                    <a:pt x="250" y="378"/>
                  </a:cubicBezTo>
                  <a:cubicBezTo>
                    <a:pt x="250" y="399"/>
                    <a:pt x="241" y="408"/>
                    <a:pt x="199" y="408"/>
                  </a:cubicBezTo>
                  <a:cubicBezTo>
                    <a:pt x="114" y="408"/>
                    <a:pt x="61" y="342"/>
                    <a:pt x="61" y="231"/>
                  </a:cubicBezTo>
                  <a:cubicBezTo>
                    <a:pt x="61" y="115"/>
                    <a:pt x="126" y="49"/>
                    <a:pt x="238" y="49"/>
                  </a:cubicBezTo>
                  <a:cubicBezTo>
                    <a:pt x="270" y="49"/>
                    <a:pt x="270" y="49"/>
                    <a:pt x="270" y="49"/>
                  </a:cubicBezTo>
                  <a:cubicBezTo>
                    <a:pt x="282" y="49"/>
                    <a:pt x="286" y="39"/>
                    <a:pt x="286" y="23"/>
                  </a:cubicBezTo>
                  <a:cubicBezTo>
                    <a:pt x="286" y="4"/>
                    <a:pt x="275" y="0"/>
                    <a:pt x="244" y="0"/>
                  </a:cubicBezTo>
                  <a:cubicBezTo>
                    <a:pt x="231" y="0"/>
                    <a:pt x="231" y="0"/>
                    <a:pt x="231" y="0"/>
                  </a:cubicBezTo>
                  <a:cubicBezTo>
                    <a:pt x="101" y="0"/>
                    <a:pt x="0" y="71"/>
                    <a:pt x="0" y="232"/>
                  </a:cubicBezTo>
                  <a:cubicBezTo>
                    <a:pt x="0" y="386"/>
                    <a:pt x="88" y="455"/>
                    <a:pt x="198" y="455"/>
                  </a:cubicBezTo>
                  <a:cubicBezTo>
                    <a:pt x="286" y="455"/>
                    <a:pt x="307" y="430"/>
                    <a:pt x="307" y="40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18" name="Oval 11">
              <a:extLst>
                <a:ext uri="{FF2B5EF4-FFF2-40B4-BE49-F238E27FC236}">
                  <a16:creationId xmlns:a16="http://schemas.microsoft.com/office/drawing/2014/main" id="{14F8C3C8-4888-7646-B9B4-64EB46A1DA23}"/>
                </a:ext>
              </a:extLst>
            </p:cNvPr>
            <p:cNvSpPr>
              <a:spLocks noChangeArrowheads="1"/>
            </p:cNvSpPr>
            <p:nvPr/>
          </p:nvSpPr>
          <p:spPr bwMode="gray">
            <a:xfrm>
              <a:off x="3778" y="2099"/>
              <a:ext cx="122" cy="12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19" name="Freeform 12">
              <a:extLst>
                <a:ext uri="{FF2B5EF4-FFF2-40B4-BE49-F238E27FC236}">
                  <a16:creationId xmlns:a16="http://schemas.microsoft.com/office/drawing/2014/main" id="{D79D01D1-4E3E-F34B-97D7-2D387E68746E}"/>
                </a:ext>
              </a:extLst>
            </p:cNvPr>
            <p:cNvSpPr>
              <a:spLocks/>
            </p:cNvSpPr>
            <p:nvPr/>
          </p:nvSpPr>
          <p:spPr bwMode="gray">
            <a:xfrm>
              <a:off x="4321" y="1029"/>
              <a:ext cx="648" cy="649"/>
            </a:xfrm>
            <a:custGeom>
              <a:avLst/>
              <a:gdLst>
                <a:gd name="T0" fmla="*/ 0 w 648"/>
                <a:gd name="T1" fmla="*/ 649 h 649"/>
                <a:gd name="T2" fmla="*/ 2 w 648"/>
                <a:gd name="T3" fmla="*/ 649 h 649"/>
                <a:gd name="T4" fmla="*/ 648 w 648"/>
                <a:gd name="T5" fmla="*/ 0 h 649"/>
                <a:gd name="T6" fmla="*/ 423 w 648"/>
                <a:gd name="T7" fmla="*/ 0 h 649"/>
                <a:gd name="T8" fmla="*/ 0 w 648"/>
                <a:gd name="T9" fmla="*/ 649 h 649"/>
              </a:gdLst>
              <a:ahLst/>
              <a:cxnLst>
                <a:cxn ang="0">
                  <a:pos x="T0" y="T1"/>
                </a:cxn>
                <a:cxn ang="0">
                  <a:pos x="T2" y="T3"/>
                </a:cxn>
                <a:cxn ang="0">
                  <a:pos x="T4" y="T5"/>
                </a:cxn>
                <a:cxn ang="0">
                  <a:pos x="T6" y="T7"/>
                </a:cxn>
                <a:cxn ang="0">
                  <a:pos x="T8" y="T9"/>
                </a:cxn>
              </a:cxnLst>
              <a:rect l="0" t="0" r="r" b="b"/>
              <a:pathLst>
                <a:path w="648" h="649">
                  <a:moveTo>
                    <a:pt x="0" y="649"/>
                  </a:moveTo>
                  <a:lnTo>
                    <a:pt x="2" y="649"/>
                  </a:lnTo>
                  <a:lnTo>
                    <a:pt x="648" y="0"/>
                  </a:lnTo>
                  <a:lnTo>
                    <a:pt x="423" y="0"/>
                  </a:lnTo>
                  <a:lnTo>
                    <a:pt x="0" y="64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20" name="Freeform 13">
              <a:extLst>
                <a:ext uri="{FF2B5EF4-FFF2-40B4-BE49-F238E27FC236}">
                  <a16:creationId xmlns:a16="http://schemas.microsoft.com/office/drawing/2014/main" id="{46549898-6C52-B147-A8F6-A73FDBE6163B}"/>
                </a:ext>
              </a:extLst>
            </p:cNvPr>
            <p:cNvSpPr>
              <a:spLocks/>
            </p:cNvSpPr>
            <p:nvPr/>
          </p:nvSpPr>
          <p:spPr bwMode="gray">
            <a:xfrm>
              <a:off x="4321" y="1029"/>
              <a:ext cx="648" cy="649"/>
            </a:xfrm>
            <a:custGeom>
              <a:avLst/>
              <a:gdLst>
                <a:gd name="T0" fmla="*/ 0 w 648"/>
                <a:gd name="T1" fmla="*/ 649 h 649"/>
                <a:gd name="T2" fmla="*/ 2 w 648"/>
                <a:gd name="T3" fmla="*/ 649 h 649"/>
                <a:gd name="T4" fmla="*/ 648 w 648"/>
                <a:gd name="T5" fmla="*/ 0 h 649"/>
                <a:gd name="T6" fmla="*/ 423 w 648"/>
                <a:gd name="T7" fmla="*/ 0 h 649"/>
                <a:gd name="T8" fmla="*/ 0 w 648"/>
                <a:gd name="T9" fmla="*/ 649 h 649"/>
              </a:gdLst>
              <a:ahLst/>
              <a:cxnLst>
                <a:cxn ang="0">
                  <a:pos x="T0" y="T1"/>
                </a:cxn>
                <a:cxn ang="0">
                  <a:pos x="T2" y="T3"/>
                </a:cxn>
                <a:cxn ang="0">
                  <a:pos x="T4" y="T5"/>
                </a:cxn>
                <a:cxn ang="0">
                  <a:pos x="T6" y="T7"/>
                </a:cxn>
                <a:cxn ang="0">
                  <a:pos x="T8" y="T9"/>
                </a:cxn>
              </a:cxnLst>
              <a:rect l="0" t="0" r="r" b="b"/>
              <a:pathLst>
                <a:path w="648" h="649">
                  <a:moveTo>
                    <a:pt x="0" y="649"/>
                  </a:moveTo>
                  <a:lnTo>
                    <a:pt x="2" y="649"/>
                  </a:lnTo>
                  <a:lnTo>
                    <a:pt x="648" y="0"/>
                  </a:lnTo>
                  <a:lnTo>
                    <a:pt x="423" y="0"/>
                  </a:lnTo>
                  <a:lnTo>
                    <a:pt x="0" y="64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grpSp>
    </p:spTree>
    <p:extLst>
      <p:ext uri="{BB962C8B-B14F-4D97-AF65-F5344CB8AC3E}">
        <p14:creationId xmlns:p14="http://schemas.microsoft.com/office/powerpoint/2010/main" val="587381604"/>
      </p:ext>
    </p:extLst>
  </p:cSld>
  <p:clrMapOvr>
    <a:masterClrMapping/>
  </p:clrMapOvr>
</p:sldLayout>
</file>

<file path=ppt/slideLayouts/slideLayout421.xml><?xml version="1.0" encoding="utf-8"?>
<p:sldLayout xmlns:a="http://schemas.openxmlformats.org/drawingml/2006/main" xmlns:r="http://schemas.openxmlformats.org/officeDocument/2006/relationships" xmlns:p="http://schemas.openxmlformats.org/presentationml/2006/main" preserve="1">
  <p:cSld name="Headline only">
    <p:spTree>
      <p:nvGrpSpPr>
        <p:cNvPr id="1" name=""/>
        <p:cNvGrpSpPr/>
        <p:nvPr/>
      </p:nvGrpSpPr>
      <p:grpSpPr>
        <a:xfrm>
          <a:off x="0" y="0"/>
          <a:ext cx="0" cy="0"/>
          <a:chOff x="0" y="0"/>
          <a:chExt cx="0" cy="0"/>
        </a:xfrm>
      </p:grpSpPr>
      <p:sp>
        <p:nvSpPr>
          <p:cNvPr id="21" name="Date Placeholder 20"/>
          <p:cNvSpPr>
            <a:spLocks noGrp="1"/>
          </p:cNvSpPr>
          <p:nvPr>
            <p:ph type="dt" sz="half" idx="14"/>
          </p:nvPr>
        </p:nvSpPr>
        <p:spPr/>
        <p:txBody>
          <a:bodyPr/>
          <a:lstStyle/>
          <a:p>
            <a:endParaRPr lang="en-US"/>
          </a:p>
        </p:txBody>
      </p:sp>
      <p:sp>
        <p:nvSpPr>
          <p:cNvPr id="22" name="Footer Placeholder 21"/>
          <p:cNvSpPr>
            <a:spLocks noGrp="1"/>
          </p:cNvSpPr>
          <p:nvPr>
            <p:ph type="ftr" sz="quarter" idx="15"/>
          </p:nvPr>
        </p:nvSpPr>
        <p:spPr/>
        <p:txBody>
          <a:bodyPr/>
          <a:lstStyle/>
          <a:p>
            <a:endParaRPr lang="en-US"/>
          </a:p>
        </p:txBody>
      </p:sp>
      <p:sp>
        <p:nvSpPr>
          <p:cNvPr id="23" name="Slide Number Placeholder 22"/>
          <p:cNvSpPr>
            <a:spLocks noGrp="1"/>
          </p:cNvSpPr>
          <p:nvPr>
            <p:ph type="sldNum" sz="quarter" idx="16"/>
          </p:nvPr>
        </p:nvSpPr>
        <p:spPr/>
        <p:txBody>
          <a:bodyPr/>
          <a:lstStyle/>
          <a:p>
            <a:fld id="{5F3E29E4-0979-4FCA-B4C5-5FC6044C982A}" type="slidenum">
              <a:rPr lang="en-US" smtClean="0"/>
              <a:t>‹#›</a:t>
            </a:fld>
            <a:endParaRPr lang="en-US"/>
          </a:p>
        </p:txBody>
      </p:sp>
      <p:sp>
        <p:nvSpPr>
          <p:cNvPr id="2" name="Title 1"/>
          <p:cNvSpPr>
            <a:spLocks noGrp="1"/>
          </p:cNvSpPr>
          <p:nvPr>
            <p:ph type="title" hasCustomPrompt="1"/>
          </p:nvPr>
        </p:nvSpPr>
        <p:spPr/>
        <p:txBody>
          <a:bodyPr/>
          <a:lstStyle>
            <a:lvl1pPr>
              <a:defRPr/>
            </a:lvl1pPr>
          </a:lstStyle>
          <a:p>
            <a:r>
              <a:rPr lang="en-US"/>
              <a:t>Click to add slide title</a:t>
            </a:r>
          </a:p>
        </p:txBody>
      </p:sp>
      <p:sp>
        <p:nvSpPr>
          <p:cNvPr id="7" name="Subtitle 2"/>
          <p:cNvSpPr>
            <a:spLocks noGrp="1"/>
          </p:cNvSpPr>
          <p:nvPr>
            <p:ph type="subTitle" idx="13" hasCustomPrompt="1"/>
          </p:nvPr>
        </p:nvSpPr>
        <p:spPr>
          <a:xfrm>
            <a:off x="1075061" y="964671"/>
            <a:ext cx="7910158" cy="490042"/>
          </a:xfrm>
        </p:spPr>
        <p:txBody>
          <a:bodyPr wrap="none"/>
          <a:lstStyle>
            <a:lvl1pPr marL="0" indent="0" algn="l">
              <a:spcBef>
                <a:spcPts val="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sp>
        <p:nvSpPr>
          <p:cNvPr id="9" name="Text Placeholder 4"/>
          <p:cNvSpPr>
            <a:spLocks noGrp="1"/>
          </p:cNvSpPr>
          <p:nvPr>
            <p:ph type="body" sz="quarter" idx="17" hasCustomPrompt="1"/>
          </p:nvPr>
        </p:nvSpPr>
        <p:spPr>
          <a:xfrm>
            <a:off x="1075063" y="6307665"/>
            <a:ext cx="8162717" cy="133200"/>
          </a:xfrm>
        </p:spPr>
        <p:txBody>
          <a:bodyPr lIns="0" tIns="0" rIns="0" bIns="0" anchor="b" anchorCtr="0"/>
          <a:lstStyle>
            <a:lvl1pPr marL="0" indent="0" algn="l">
              <a:lnSpc>
                <a:spcPct val="100000"/>
              </a:lnSpc>
              <a:spcBef>
                <a:spcPts val="0"/>
              </a:spcBef>
              <a:buNone/>
              <a:defRPr sz="800" baseline="0"/>
            </a:lvl1pPr>
            <a:lvl2pPr marL="0" indent="0" algn="l">
              <a:lnSpc>
                <a:spcPct val="100000"/>
              </a:lnSpc>
              <a:spcBef>
                <a:spcPts val="0"/>
              </a:spcBef>
              <a:buNone/>
              <a:defRPr sz="800"/>
            </a:lvl2pPr>
            <a:lvl3pPr marL="0" indent="0" algn="l">
              <a:lnSpc>
                <a:spcPct val="100000"/>
              </a:lnSpc>
              <a:spcBef>
                <a:spcPts val="0"/>
              </a:spcBef>
              <a:buNone/>
              <a:defRPr sz="800"/>
            </a:lvl3pPr>
            <a:lvl4pPr marL="0" algn="l">
              <a:lnSpc>
                <a:spcPct val="100000"/>
              </a:lnSpc>
              <a:spcBef>
                <a:spcPts val="0"/>
              </a:spcBef>
              <a:buNone/>
              <a:defRPr sz="800"/>
            </a:lvl4pPr>
            <a:lvl5pPr marL="0" indent="0" algn="l">
              <a:lnSpc>
                <a:spcPct val="100000"/>
              </a:lnSpc>
              <a:spcBef>
                <a:spcPts val="0"/>
              </a:spcBef>
              <a:buNone/>
              <a:defRPr sz="800"/>
            </a:lvl5pPr>
          </a:lstStyle>
          <a:p>
            <a:pPr lvl="0"/>
            <a:r>
              <a:rPr lang="en-US"/>
              <a:t>Source line</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56709741"/>
      </p:ext>
    </p:extLst>
  </p:cSld>
  <p:clrMapOvr>
    <a:masterClrMapping/>
  </p:clrMapOvr>
</p:sldLayout>
</file>

<file path=ppt/slideLayouts/slideLayout422.xml><?xml version="1.0" encoding="utf-8"?>
<p:sldLayout xmlns:a="http://schemas.openxmlformats.org/drawingml/2006/main" xmlns:r="http://schemas.openxmlformats.org/officeDocument/2006/relationships" xmlns:p="http://schemas.openxmlformats.org/presentationml/2006/main" preserve="1">
  <p:cSld name="One content">
    <p:spTree>
      <p:nvGrpSpPr>
        <p:cNvPr id="1" name=""/>
        <p:cNvGrpSpPr/>
        <p:nvPr/>
      </p:nvGrpSpPr>
      <p:grpSpPr>
        <a:xfrm>
          <a:off x="0" y="0"/>
          <a:ext cx="0" cy="0"/>
          <a:chOff x="0" y="0"/>
          <a:chExt cx="0" cy="0"/>
        </a:xfrm>
      </p:grpSpPr>
      <p:sp>
        <p:nvSpPr>
          <p:cNvPr id="21" name="Date Placeholder 20"/>
          <p:cNvSpPr>
            <a:spLocks noGrp="1"/>
          </p:cNvSpPr>
          <p:nvPr>
            <p:ph type="dt" sz="half" idx="14"/>
          </p:nvPr>
        </p:nvSpPr>
        <p:spPr/>
        <p:txBody>
          <a:bodyPr/>
          <a:lstStyle/>
          <a:p>
            <a:endParaRPr lang="en-US"/>
          </a:p>
        </p:txBody>
      </p:sp>
      <p:sp>
        <p:nvSpPr>
          <p:cNvPr id="22" name="Footer Placeholder 21"/>
          <p:cNvSpPr>
            <a:spLocks noGrp="1"/>
          </p:cNvSpPr>
          <p:nvPr>
            <p:ph type="ftr" sz="quarter" idx="15"/>
          </p:nvPr>
        </p:nvSpPr>
        <p:spPr/>
        <p:txBody>
          <a:bodyPr/>
          <a:lstStyle/>
          <a:p>
            <a:endParaRPr lang="en-US"/>
          </a:p>
        </p:txBody>
      </p:sp>
      <p:sp>
        <p:nvSpPr>
          <p:cNvPr id="23" name="Slide Number Placeholder 22"/>
          <p:cNvSpPr>
            <a:spLocks noGrp="1"/>
          </p:cNvSpPr>
          <p:nvPr>
            <p:ph type="sldNum" sz="quarter" idx="16"/>
          </p:nvPr>
        </p:nvSpPr>
        <p:spPr/>
        <p:txBody>
          <a:bodyPr/>
          <a:lstStyle/>
          <a:p>
            <a:fld id="{5F3E29E4-0979-4FCA-B4C5-5FC6044C982A}" type="slidenum">
              <a:rPr lang="en-US" smtClean="0"/>
              <a:t>‹#›</a:t>
            </a:fld>
            <a:endParaRPr lang="en-US"/>
          </a:p>
        </p:txBody>
      </p:sp>
      <p:sp>
        <p:nvSpPr>
          <p:cNvPr id="2" name="Title 1"/>
          <p:cNvSpPr>
            <a:spLocks noGrp="1"/>
          </p:cNvSpPr>
          <p:nvPr>
            <p:ph type="title" hasCustomPrompt="1"/>
          </p:nvPr>
        </p:nvSpPr>
        <p:spPr/>
        <p:txBody>
          <a:bodyPr/>
          <a:lstStyle>
            <a:lvl1pPr>
              <a:defRPr/>
            </a:lvl1pPr>
          </a:lstStyle>
          <a:p>
            <a:r>
              <a:rPr lang="en-US"/>
              <a:t>Click to add slide title</a:t>
            </a:r>
          </a:p>
        </p:txBody>
      </p:sp>
      <p:sp>
        <p:nvSpPr>
          <p:cNvPr id="7" name="Subtitle 2"/>
          <p:cNvSpPr>
            <a:spLocks noGrp="1"/>
          </p:cNvSpPr>
          <p:nvPr>
            <p:ph type="subTitle" idx="13" hasCustomPrompt="1"/>
          </p:nvPr>
        </p:nvSpPr>
        <p:spPr>
          <a:xfrm>
            <a:off x="1075061" y="964671"/>
            <a:ext cx="7910158" cy="490042"/>
          </a:xfrm>
        </p:spPr>
        <p:txBody>
          <a:bodyPr wrap="none"/>
          <a:lstStyle>
            <a:lvl1pPr marL="0" indent="0" algn="l">
              <a:spcBef>
                <a:spcPts val="0"/>
              </a:spcBef>
              <a:buNone/>
              <a:defRPr sz="2400" baseline="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sp>
        <p:nvSpPr>
          <p:cNvPr id="3" name="Content Placeholder 2"/>
          <p:cNvSpPr>
            <a:spLocks noGrp="1"/>
          </p:cNvSpPr>
          <p:nvPr>
            <p:ph idx="1" hasCustomPrompt="1"/>
          </p:nvPr>
        </p:nvSpPr>
        <p:spPr/>
        <p:txBody>
          <a:bodyPr/>
          <a:lstStyle>
            <a:lvl1pPr>
              <a:defRPr baseline="0"/>
            </a:lvl1pPr>
          </a:lstStyle>
          <a:p>
            <a:pPr lvl="0"/>
            <a:r>
              <a:rPr lang="en-US"/>
              <a:t>Click to add text or content</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17" hasCustomPrompt="1"/>
          </p:nvPr>
        </p:nvSpPr>
        <p:spPr>
          <a:xfrm>
            <a:off x="1075063" y="6307665"/>
            <a:ext cx="8162717" cy="133200"/>
          </a:xfrm>
        </p:spPr>
        <p:txBody>
          <a:bodyPr lIns="0" tIns="0" rIns="0" bIns="0" anchor="b" anchorCtr="0"/>
          <a:lstStyle>
            <a:lvl1pPr marL="0" indent="0" algn="l">
              <a:lnSpc>
                <a:spcPct val="100000"/>
              </a:lnSpc>
              <a:spcBef>
                <a:spcPts val="0"/>
              </a:spcBef>
              <a:buNone/>
              <a:defRPr sz="800" baseline="0"/>
            </a:lvl1pPr>
            <a:lvl2pPr marL="0" indent="0" algn="l">
              <a:lnSpc>
                <a:spcPct val="100000"/>
              </a:lnSpc>
              <a:spcBef>
                <a:spcPts val="0"/>
              </a:spcBef>
              <a:buNone/>
              <a:defRPr sz="800"/>
            </a:lvl2pPr>
            <a:lvl3pPr marL="0" indent="0" algn="l">
              <a:lnSpc>
                <a:spcPct val="100000"/>
              </a:lnSpc>
              <a:spcBef>
                <a:spcPts val="0"/>
              </a:spcBef>
              <a:buNone/>
              <a:defRPr sz="800"/>
            </a:lvl3pPr>
            <a:lvl4pPr marL="0" algn="l">
              <a:lnSpc>
                <a:spcPct val="100000"/>
              </a:lnSpc>
              <a:spcBef>
                <a:spcPts val="0"/>
              </a:spcBef>
              <a:buNone/>
              <a:defRPr sz="800"/>
            </a:lvl4pPr>
            <a:lvl5pPr marL="0" indent="0" algn="l">
              <a:lnSpc>
                <a:spcPct val="100000"/>
              </a:lnSpc>
              <a:spcBef>
                <a:spcPts val="0"/>
              </a:spcBef>
              <a:buNone/>
              <a:defRPr sz="800"/>
            </a:lvl5pPr>
          </a:lstStyle>
          <a:p>
            <a:pPr lvl="0"/>
            <a:r>
              <a:rPr lang="en-US"/>
              <a:t>Source line</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24362046"/>
      </p:ext>
    </p:extLst>
  </p:cSld>
  <p:clrMapOvr>
    <a:masterClrMapping/>
  </p:clrMapOvr>
</p:sldLayout>
</file>

<file path=ppt/slideLayouts/slideLayout423.xml><?xml version="1.0" encoding="utf-8"?>
<p:sldLayout xmlns:a="http://schemas.openxmlformats.org/drawingml/2006/main" xmlns:r="http://schemas.openxmlformats.org/officeDocument/2006/relationships" xmlns:p="http://schemas.openxmlformats.org/presentationml/2006/main" preserve="1">
  <p:cSld name="Content and picture">
    <p:spTree>
      <p:nvGrpSpPr>
        <p:cNvPr id="1" name=""/>
        <p:cNvGrpSpPr/>
        <p:nvPr/>
      </p:nvGrpSpPr>
      <p:grpSpPr>
        <a:xfrm>
          <a:off x="0" y="0"/>
          <a:ext cx="0" cy="0"/>
          <a:chOff x="0" y="0"/>
          <a:chExt cx="0" cy="0"/>
        </a:xfrm>
      </p:grpSpPr>
      <p:sp>
        <p:nvSpPr>
          <p:cNvPr id="21" name="Date Placeholder 20"/>
          <p:cNvSpPr>
            <a:spLocks noGrp="1"/>
          </p:cNvSpPr>
          <p:nvPr>
            <p:ph type="dt" sz="half" idx="14"/>
          </p:nvPr>
        </p:nvSpPr>
        <p:spPr/>
        <p:txBody>
          <a:bodyPr/>
          <a:lstStyle/>
          <a:p>
            <a:endParaRPr lang="en-US"/>
          </a:p>
        </p:txBody>
      </p:sp>
      <p:sp>
        <p:nvSpPr>
          <p:cNvPr id="22" name="Footer Placeholder 21"/>
          <p:cNvSpPr>
            <a:spLocks noGrp="1"/>
          </p:cNvSpPr>
          <p:nvPr>
            <p:ph type="ftr" sz="quarter" idx="15"/>
          </p:nvPr>
        </p:nvSpPr>
        <p:spPr/>
        <p:txBody>
          <a:bodyPr/>
          <a:lstStyle/>
          <a:p>
            <a:endParaRPr lang="en-US"/>
          </a:p>
        </p:txBody>
      </p:sp>
      <p:sp>
        <p:nvSpPr>
          <p:cNvPr id="23" name="Slide Number Placeholder 22"/>
          <p:cNvSpPr>
            <a:spLocks noGrp="1"/>
          </p:cNvSpPr>
          <p:nvPr>
            <p:ph type="sldNum" sz="quarter" idx="16"/>
          </p:nvPr>
        </p:nvSpPr>
        <p:spPr/>
        <p:txBody>
          <a:bodyPr/>
          <a:lstStyle/>
          <a:p>
            <a:fld id="{5F3E29E4-0979-4FCA-B4C5-5FC6044C982A}" type="slidenum">
              <a:rPr lang="en-US" smtClean="0"/>
              <a:t>‹#›</a:t>
            </a:fld>
            <a:endParaRPr lang="en-US"/>
          </a:p>
        </p:txBody>
      </p:sp>
      <p:sp>
        <p:nvSpPr>
          <p:cNvPr id="2" name="Title 1"/>
          <p:cNvSpPr>
            <a:spLocks noGrp="1"/>
          </p:cNvSpPr>
          <p:nvPr>
            <p:ph type="title" hasCustomPrompt="1"/>
          </p:nvPr>
        </p:nvSpPr>
        <p:spPr/>
        <p:txBody>
          <a:bodyPr/>
          <a:lstStyle>
            <a:lvl1pPr>
              <a:defRPr/>
            </a:lvl1pPr>
          </a:lstStyle>
          <a:p>
            <a:r>
              <a:rPr lang="en-US"/>
              <a:t>Click to add slide title</a:t>
            </a:r>
          </a:p>
        </p:txBody>
      </p:sp>
      <p:sp>
        <p:nvSpPr>
          <p:cNvPr id="7" name="Subtitle 2"/>
          <p:cNvSpPr>
            <a:spLocks noGrp="1"/>
          </p:cNvSpPr>
          <p:nvPr>
            <p:ph type="subTitle" idx="13" hasCustomPrompt="1"/>
          </p:nvPr>
        </p:nvSpPr>
        <p:spPr>
          <a:xfrm>
            <a:off x="1075061" y="964671"/>
            <a:ext cx="7910158" cy="490042"/>
          </a:xfrm>
        </p:spPr>
        <p:txBody>
          <a:bodyPr wrap="none"/>
          <a:lstStyle>
            <a:lvl1pPr marL="0" indent="0" algn="l">
              <a:spcBef>
                <a:spcPts val="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sp>
        <p:nvSpPr>
          <p:cNvPr id="3" name="Content Placeholder 2"/>
          <p:cNvSpPr>
            <a:spLocks noGrp="1"/>
          </p:cNvSpPr>
          <p:nvPr>
            <p:ph idx="1" hasCustomPrompt="1"/>
          </p:nvPr>
        </p:nvSpPr>
        <p:spPr>
          <a:xfrm>
            <a:off x="1075062" y="1629618"/>
            <a:ext cx="5220000" cy="4139357"/>
          </a:xfrm>
        </p:spPr>
        <p:txBody>
          <a:bodyPr/>
          <a:lstStyle>
            <a:lvl1pPr>
              <a:defRPr/>
            </a:lvl1pPr>
          </a:lstStyle>
          <a:p>
            <a:pPr lvl="0"/>
            <a:r>
              <a:rPr lang="en-US"/>
              <a:t>Click to add text or content</a:t>
            </a:r>
          </a:p>
          <a:p>
            <a:pPr lvl="1"/>
            <a:r>
              <a:rPr lang="en-US"/>
              <a:t>Second level</a:t>
            </a:r>
          </a:p>
          <a:p>
            <a:pPr lvl="2"/>
            <a:r>
              <a:rPr lang="en-US"/>
              <a:t>Third level</a:t>
            </a:r>
          </a:p>
          <a:p>
            <a:pPr lvl="3"/>
            <a:r>
              <a:rPr lang="en-US"/>
              <a:t>Fourth level</a:t>
            </a:r>
          </a:p>
          <a:p>
            <a:pPr lvl="4"/>
            <a:r>
              <a:rPr lang="en-US"/>
              <a:t>Fifth level</a:t>
            </a:r>
          </a:p>
        </p:txBody>
      </p:sp>
      <p:sp>
        <p:nvSpPr>
          <p:cNvPr id="5" name="Picture Placeholder 4"/>
          <p:cNvSpPr>
            <a:spLocks noGrp="1"/>
          </p:cNvSpPr>
          <p:nvPr>
            <p:ph type="pic" sz="quarter" idx="17" hasCustomPrompt="1"/>
          </p:nvPr>
        </p:nvSpPr>
        <p:spPr>
          <a:xfrm>
            <a:off x="6600525" y="1637783"/>
            <a:ext cx="5220000" cy="4599506"/>
          </a:xfrm>
          <a:solidFill>
            <a:srgbClr val="D9DADB"/>
          </a:solidFill>
        </p:spPr>
        <p:txBody>
          <a:bodyPr/>
          <a:lstStyle>
            <a:lvl1pPr marL="0" indent="0">
              <a:buNone/>
              <a:defRPr/>
            </a:lvl1pPr>
          </a:lstStyle>
          <a:p>
            <a:r>
              <a:rPr lang="en-US"/>
              <a:t>Insert picture</a:t>
            </a:r>
          </a:p>
        </p:txBody>
      </p:sp>
      <p:sp>
        <p:nvSpPr>
          <p:cNvPr id="10" name="Text Placeholder 4"/>
          <p:cNvSpPr>
            <a:spLocks noGrp="1"/>
          </p:cNvSpPr>
          <p:nvPr>
            <p:ph type="body" sz="quarter" idx="18" hasCustomPrompt="1"/>
          </p:nvPr>
        </p:nvSpPr>
        <p:spPr>
          <a:xfrm>
            <a:off x="1075063" y="6307665"/>
            <a:ext cx="8162717" cy="133200"/>
          </a:xfrm>
        </p:spPr>
        <p:txBody>
          <a:bodyPr lIns="0" tIns="0" rIns="0" bIns="0" anchor="b" anchorCtr="0"/>
          <a:lstStyle>
            <a:lvl1pPr marL="0" indent="0" algn="l">
              <a:lnSpc>
                <a:spcPct val="100000"/>
              </a:lnSpc>
              <a:spcBef>
                <a:spcPts val="0"/>
              </a:spcBef>
              <a:buNone/>
              <a:defRPr sz="800" baseline="0"/>
            </a:lvl1pPr>
            <a:lvl2pPr marL="0" indent="0" algn="l">
              <a:lnSpc>
                <a:spcPct val="100000"/>
              </a:lnSpc>
              <a:spcBef>
                <a:spcPts val="0"/>
              </a:spcBef>
              <a:buNone/>
              <a:defRPr sz="800"/>
            </a:lvl2pPr>
            <a:lvl3pPr marL="0" indent="0" algn="l">
              <a:lnSpc>
                <a:spcPct val="100000"/>
              </a:lnSpc>
              <a:spcBef>
                <a:spcPts val="0"/>
              </a:spcBef>
              <a:buNone/>
              <a:defRPr sz="800"/>
            </a:lvl3pPr>
            <a:lvl4pPr marL="0" algn="l">
              <a:lnSpc>
                <a:spcPct val="100000"/>
              </a:lnSpc>
              <a:spcBef>
                <a:spcPts val="0"/>
              </a:spcBef>
              <a:buNone/>
              <a:defRPr sz="800"/>
            </a:lvl4pPr>
            <a:lvl5pPr marL="0" indent="0" algn="l">
              <a:lnSpc>
                <a:spcPct val="100000"/>
              </a:lnSpc>
              <a:spcBef>
                <a:spcPts val="0"/>
              </a:spcBef>
              <a:buNone/>
              <a:defRPr sz="800"/>
            </a:lvl5pPr>
          </a:lstStyle>
          <a:p>
            <a:pPr lvl="0"/>
            <a:r>
              <a:rPr lang="en-US"/>
              <a:t>Source line</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59895644"/>
      </p:ext>
    </p:extLst>
  </p:cSld>
  <p:clrMapOvr>
    <a:masterClrMapping/>
  </p:clrMapOvr>
</p:sldLayout>
</file>

<file path=ppt/slideLayouts/slideLayout424.xml><?xml version="1.0" encoding="utf-8"?>
<p:sldLayout xmlns:a="http://schemas.openxmlformats.org/drawingml/2006/main" xmlns:r="http://schemas.openxmlformats.org/officeDocument/2006/relationships" xmlns:p="http://schemas.openxmlformats.org/presentationml/2006/main" preserve="1">
  <p:cSld name="Content with full picture">
    <p:spTree>
      <p:nvGrpSpPr>
        <p:cNvPr id="1" name=""/>
        <p:cNvGrpSpPr/>
        <p:nvPr/>
      </p:nvGrpSpPr>
      <p:grpSpPr>
        <a:xfrm>
          <a:off x="0" y="0"/>
          <a:ext cx="0" cy="0"/>
          <a:chOff x="0" y="0"/>
          <a:chExt cx="0" cy="0"/>
        </a:xfrm>
      </p:grpSpPr>
      <p:sp>
        <p:nvSpPr>
          <p:cNvPr id="12" name="Picture Placeholder 11"/>
          <p:cNvSpPr>
            <a:spLocks noGrp="1"/>
          </p:cNvSpPr>
          <p:nvPr>
            <p:ph type="pic" sz="quarter" idx="17" hasCustomPrompt="1"/>
          </p:nvPr>
        </p:nvSpPr>
        <p:spPr>
          <a:xfrm>
            <a:off x="0" y="0"/>
            <a:ext cx="12193200" cy="6858000"/>
          </a:xfrm>
          <a:prstGeom prst="rect">
            <a:avLst/>
          </a:prstGeom>
          <a:solidFill>
            <a:srgbClr val="D9DADB"/>
          </a:solidFill>
        </p:spPr>
        <p:txBody>
          <a:bodyPr wrap="square">
            <a:noAutofit/>
          </a:bodyPr>
          <a:lstStyle>
            <a:lvl1pPr marL="0" indent="0">
              <a:buNone/>
              <a:defRPr/>
            </a:lvl1pPr>
          </a:lstStyle>
          <a:p>
            <a:r>
              <a:rPr lang="en-US"/>
              <a:t>Insert picture</a:t>
            </a:r>
          </a:p>
        </p:txBody>
      </p:sp>
      <p:sp>
        <p:nvSpPr>
          <p:cNvPr id="9" name="copyright"/>
          <p:cNvSpPr txBox="1"/>
          <p:nvPr/>
        </p:nvSpPr>
        <p:spPr>
          <a:xfrm>
            <a:off x="10672209" y="6237288"/>
            <a:ext cx="500617" cy="358173"/>
          </a:xfrm>
          <a:prstGeom prst="rect">
            <a:avLst/>
          </a:prstGeom>
          <a:noFill/>
        </p:spPr>
        <p:txBody>
          <a:bodyPr wrap="none" lIns="0" tIns="0" rIns="0" bIns="0" rtlCol="0" anchor="b" anchorCtr="0">
            <a:noAutofit/>
          </a:bodyPr>
          <a:lstStyle/>
          <a:p>
            <a:pPr marL="0" indent="0" algn="r">
              <a:lnSpc>
                <a:spcPct val="125000"/>
              </a:lnSpc>
              <a:buClr>
                <a:schemeClr val="tx2"/>
              </a:buClr>
              <a:buFont typeface="Wingdings" panose="05000000000000000000" pitchFamily="2" charset="2"/>
              <a:buNone/>
            </a:pPr>
            <a:r>
              <a:rPr lang="en-US" sz="800">
                <a:solidFill>
                  <a:schemeClr val="bg1"/>
                </a:solidFill>
              </a:rPr>
              <a:t>© GfK</a:t>
            </a:r>
          </a:p>
        </p:txBody>
      </p:sp>
      <p:sp>
        <p:nvSpPr>
          <p:cNvPr id="21" name="Date Placeholder 20"/>
          <p:cNvSpPr>
            <a:spLocks noGrp="1"/>
          </p:cNvSpPr>
          <p:nvPr>
            <p:ph type="dt" sz="half" idx="14"/>
          </p:nvPr>
        </p:nvSpPr>
        <p:spPr/>
        <p:txBody>
          <a:bodyPr/>
          <a:lstStyle>
            <a:lvl1pPr>
              <a:defRPr>
                <a:solidFill>
                  <a:schemeClr val="bg1"/>
                </a:solidFill>
              </a:defRPr>
            </a:lvl1pPr>
          </a:lstStyle>
          <a:p>
            <a:endParaRPr lang="en-US"/>
          </a:p>
        </p:txBody>
      </p:sp>
      <p:sp>
        <p:nvSpPr>
          <p:cNvPr id="22" name="Footer Placeholder 21"/>
          <p:cNvSpPr>
            <a:spLocks noGrp="1"/>
          </p:cNvSpPr>
          <p:nvPr>
            <p:ph type="ftr" sz="quarter" idx="15"/>
          </p:nvPr>
        </p:nvSpPr>
        <p:spPr/>
        <p:txBody>
          <a:bodyPr/>
          <a:lstStyle>
            <a:lvl1pPr>
              <a:defRPr>
                <a:solidFill>
                  <a:schemeClr val="bg1"/>
                </a:solidFill>
              </a:defRPr>
            </a:lvl1pPr>
          </a:lstStyle>
          <a:p>
            <a:endParaRPr lang="en-US"/>
          </a:p>
        </p:txBody>
      </p:sp>
      <p:sp>
        <p:nvSpPr>
          <p:cNvPr id="23" name="Slide Number Placeholder 22"/>
          <p:cNvSpPr>
            <a:spLocks noGrp="1"/>
          </p:cNvSpPr>
          <p:nvPr>
            <p:ph type="sldNum" sz="quarter" idx="16"/>
          </p:nvPr>
        </p:nvSpPr>
        <p:spPr/>
        <p:txBody>
          <a:bodyPr/>
          <a:lstStyle>
            <a:lvl1pPr>
              <a:defRPr>
                <a:solidFill>
                  <a:schemeClr val="bg1"/>
                </a:solidFill>
              </a:defRPr>
            </a:lvl1pPr>
          </a:lstStyle>
          <a:p>
            <a:fld id="{5F3E29E4-0979-4FCA-B4C5-5FC6044C982A}" type="slidenum">
              <a:rPr lang="en-US" smtClean="0"/>
              <a:pPr/>
              <a:t>‹#›</a:t>
            </a:fld>
            <a:endParaRPr lang="en-US"/>
          </a:p>
        </p:txBody>
      </p:sp>
      <p:sp>
        <p:nvSpPr>
          <p:cNvPr id="2" name="Title 1"/>
          <p:cNvSpPr>
            <a:spLocks noGrp="1"/>
          </p:cNvSpPr>
          <p:nvPr>
            <p:ph type="title" hasCustomPrompt="1"/>
          </p:nvPr>
        </p:nvSpPr>
        <p:spPr>
          <a:xfrm>
            <a:off x="6543675" y="1519552"/>
            <a:ext cx="4629150" cy="4249423"/>
          </a:xfrm>
        </p:spPr>
        <p:txBody>
          <a:bodyPr/>
          <a:lstStyle>
            <a:lvl1pPr>
              <a:defRPr>
                <a:solidFill>
                  <a:schemeClr val="bg1"/>
                </a:solidFill>
              </a:defRPr>
            </a:lvl1pPr>
          </a:lstStyle>
          <a:p>
            <a:r>
              <a:rPr lang="en-US"/>
              <a:t>Click to add text</a:t>
            </a:r>
          </a:p>
        </p:txBody>
      </p:sp>
      <p:sp>
        <p:nvSpPr>
          <p:cNvPr id="8" name="Text Placeholder 4"/>
          <p:cNvSpPr>
            <a:spLocks noGrp="1"/>
          </p:cNvSpPr>
          <p:nvPr>
            <p:ph type="body" sz="quarter" idx="18" hasCustomPrompt="1"/>
          </p:nvPr>
        </p:nvSpPr>
        <p:spPr>
          <a:xfrm>
            <a:off x="1075063" y="6307665"/>
            <a:ext cx="8162717" cy="133200"/>
          </a:xfrm>
        </p:spPr>
        <p:txBody>
          <a:bodyPr lIns="0" tIns="0" rIns="0" bIns="0" anchor="b" anchorCtr="0"/>
          <a:lstStyle>
            <a:lvl1pPr marL="0" indent="0" algn="l">
              <a:lnSpc>
                <a:spcPct val="100000"/>
              </a:lnSpc>
              <a:spcBef>
                <a:spcPts val="0"/>
              </a:spcBef>
              <a:buNone/>
              <a:defRPr sz="800" baseline="0">
                <a:solidFill>
                  <a:schemeClr val="bg1"/>
                </a:solidFill>
              </a:defRPr>
            </a:lvl1pPr>
            <a:lvl2pPr marL="0" indent="0" algn="l">
              <a:lnSpc>
                <a:spcPct val="100000"/>
              </a:lnSpc>
              <a:spcBef>
                <a:spcPts val="0"/>
              </a:spcBef>
              <a:buNone/>
              <a:defRPr sz="800">
                <a:solidFill>
                  <a:schemeClr val="bg1"/>
                </a:solidFill>
              </a:defRPr>
            </a:lvl2pPr>
            <a:lvl3pPr marL="0" indent="0" algn="l">
              <a:lnSpc>
                <a:spcPct val="100000"/>
              </a:lnSpc>
              <a:spcBef>
                <a:spcPts val="0"/>
              </a:spcBef>
              <a:buNone/>
              <a:defRPr sz="800">
                <a:solidFill>
                  <a:schemeClr val="bg1"/>
                </a:solidFill>
              </a:defRPr>
            </a:lvl3pPr>
            <a:lvl4pPr marL="0" algn="l">
              <a:lnSpc>
                <a:spcPct val="100000"/>
              </a:lnSpc>
              <a:spcBef>
                <a:spcPts val="0"/>
              </a:spcBef>
              <a:buNone/>
              <a:defRPr sz="800">
                <a:solidFill>
                  <a:schemeClr val="bg1"/>
                </a:solidFill>
              </a:defRPr>
            </a:lvl4pPr>
            <a:lvl5pPr marL="0" indent="0" algn="l">
              <a:lnSpc>
                <a:spcPct val="100000"/>
              </a:lnSpc>
              <a:spcBef>
                <a:spcPts val="0"/>
              </a:spcBef>
              <a:buNone/>
              <a:defRPr sz="800">
                <a:solidFill>
                  <a:schemeClr val="bg1"/>
                </a:solidFill>
              </a:defRPr>
            </a:lvl5pPr>
          </a:lstStyle>
          <a:p>
            <a:pPr lvl="0"/>
            <a:r>
              <a:rPr lang="en-US"/>
              <a:t>Source line</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28123217"/>
      </p:ext>
    </p:extLst>
  </p:cSld>
  <p:clrMapOvr>
    <a:masterClrMapping/>
  </p:clrMapOvr>
</p:sldLayout>
</file>

<file path=ppt/slideLayouts/slideLayout425.xml><?xml version="1.0" encoding="utf-8"?>
<p:sldLayout xmlns:a="http://schemas.openxmlformats.org/drawingml/2006/main" xmlns:r="http://schemas.openxmlformats.org/officeDocument/2006/relationships" xmlns:p="http://schemas.openxmlformats.org/presentationml/2006/main" preserve="1">
  <p:cSld name="Two pictures">
    <p:spTree>
      <p:nvGrpSpPr>
        <p:cNvPr id="1" name=""/>
        <p:cNvGrpSpPr/>
        <p:nvPr/>
      </p:nvGrpSpPr>
      <p:grpSpPr>
        <a:xfrm>
          <a:off x="0" y="0"/>
          <a:ext cx="0" cy="0"/>
          <a:chOff x="0" y="0"/>
          <a:chExt cx="0" cy="0"/>
        </a:xfrm>
      </p:grpSpPr>
      <p:sp>
        <p:nvSpPr>
          <p:cNvPr id="21" name="Date Placeholder 20"/>
          <p:cNvSpPr>
            <a:spLocks noGrp="1"/>
          </p:cNvSpPr>
          <p:nvPr>
            <p:ph type="dt" sz="half" idx="14"/>
          </p:nvPr>
        </p:nvSpPr>
        <p:spPr/>
        <p:txBody>
          <a:bodyPr/>
          <a:lstStyle/>
          <a:p>
            <a:endParaRPr lang="en-US"/>
          </a:p>
        </p:txBody>
      </p:sp>
      <p:sp>
        <p:nvSpPr>
          <p:cNvPr id="22" name="Footer Placeholder 21"/>
          <p:cNvSpPr>
            <a:spLocks noGrp="1"/>
          </p:cNvSpPr>
          <p:nvPr>
            <p:ph type="ftr" sz="quarter" idx="15"/>
          </p:nvPr>
        </p:nvSpPr>
        <p:spPr/>
        <p:txBody>
          <a:bodyPr/>
          <a:lstStyle/>
          <a:p>
            <a:endParaRPr lang="en-US"/>
          </a:p>
        </p:txBody>
      </p:sp>
      <p:sp>
        <p:nvSpPr>
          <p:cNvPr id="23" name="Slide Number Placeholder 22"/>
          <p:cNvSpPr>
            <a:spLocks noGrp="1"/>
          </p:cNvSpPr>
          <p:nvPr>
            <p:ph type="sldNum" sz="quarter" idx="16"/>
          </p:nvPr>
        </p:nvSpPr>
        <p:spPr/>
        <p:txBody>
          <a:bodyPr/>
          <a:lstStyle/>
          <a:p>
            <a:fld id="{5F3E29E4-0979-4FCA-B4C5-5FC6044C982A}" type="slidenum">
              <a:rPr lang="en-US" smtClean="0"/>
              <a:t>‹#›</a:t>
            </a:fld>
            <a:endParaRPr lang="en-US"/>
          </a:p>
        </p:txBody>
      </p:sp>
      <p:sp>
        <p:nvSpPr>
          <p:cNvPr id="2" name="Title 1"/>
          <p:cNvSpPr>
            <a:spLocks noGrp="1"/>
          </p:cNvSpPr>
          <p:nvPr>
            <p:ph type="title" hasCustomPrompt="1"/>
          </p:nvPr>
        </p:nvSpPr>
        <p:spPr/>
        <p:txBody>
          <a:bodyPr/>
          <a:lstStyle>
            <a:lvl1pPr>
              <a:defRPr/>
            </a:lvl1pPr>
          </a:lstStyle>
          <a:p>
            <a:r>
              <a:rPr lang="en-US"/>
              <a:t>Click to add slide title</a:t>
            </a:r>
          </a:p>
        </p:txBody>
      </p:sp>
      <p:sp>
        <p:nvSpPr>
          <p:cNvPr id="7" name="Subtitle 2"/>
          <p:cNvSpPr>
            <a:spLocks noGrp="1"/>
          </p:cNvSpPr>
          <p:nvPr>
            <p:ph type="subTitle" idx="13" hasCustomPrompt="1"/>
          </p:nvPr>
        </p:nvSpPr>
        <p:spPr>
          <a:xfrm>
            <a:off x="1075061" y="964671"/>
            <a:ext cx="7910158" cy="490042"/>
          </a:xfrm>
        </p:spPr>
        <p:txBody>
          <a:bodyPr wrap="none"/>
          <a:lstStyle>
            <a:lvl1pPr marL="0" indent="0" algn="l">
              <a:spcBef>
                <a:spcPts val="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sp>
        <p:nvSpPr>
          <p:cNvPr id="5" name="Picture Placeholder 4"/>
          <p:cNvSpPr>
            <a:spLocks noGrp="1"/>
          </p:cNvSpPr>
          <p:nvPr>
            <p:ph type="pic" sz="quarter" idx="17" hasCustomPrompt="1"/>
          </p:nvPr>
        </p:nvSpPr>
        <p:spPr>
          <a:xfrm>
            <a:off x="1075062" y="1637783"/>
            <a:ext cx="5220000" cy="4599506"/>
          </a:xfrm>
          <a:solidFill>
            <a:srgbClr val="D9DADB"/>
          </a:solidFill>
        </p:spPr>
        <p:txBody>
          <a:bodyPr/>
          <a:lstStyle>
            <a:lvl1pPr marL="0" indent="0">
              <a:buNone/>
              <a:defRPr/>
            </a:lvl1pPr>
          </a:lstStyle>
          <a:p>
            <a:r>
              <a:rPr lang="en-US"/>
              <a:t>Insert picture</a:t>
            </a:r>
          </a:p>
        </p:txBody>
      </p:sp>
      <p:sp>
        <p:nvSpPr>
          <p:cNvPr id="9" name="Picture Placeholder 4"/>
          <p:cNvSpPr>
            <a:spLocks noGrp="1"/>
          </p:cNvSpPr>
          <p:nvPr>
            <p:ph type="pic" sz="quarter" idx="18" hasCustomPrompt="1"/>
          </p:nvPr>
        </p:nvSpPr>
        <p:spPr>
          <a:xfrm>
            <a:off x="6600525" y="1637783"/>
            <a:ext cx="5220000" cy="4599506"/>
          </a:xfrm>
          <a:solidFill>
            <a:srgbClr val="D9DADB"/>
          </a:solidFill>
        </p:spPr>
        <p:txBody>
          <a:bodyPr/>
          <a:lstStyle>
            <a:lvl1pPr marL="0" indent="0">
              <a:buNone/>
              <a:defRPr/>
            </a:lvl1pPr>
          </a:lstStyle>
          <a:p>
            <a:r>
              <a:rPr lang="en-US"/>
              <a:t>Insert picture</a:t>
            </a:r>
          </a:p>
        </p:txBody>
      </p:sp>
      <p:sp>
        <p:nvSpPr>
          <p:cNvPr id="11" name="Text Placeholder 4"/>
          <p:cNvSpPr>
            <a:spLocks noGrp="1"/>
          </p:cNvSpPr>
          <p:nvPr>
            <p:ph type="body" sz="quarter" idx="19" hasCustomPrompt="1"/>
          </p:nvPr>
        </p:nvSpPr>
        <p:spPr>
          <a:xfrm>
            <a:off x="1075063" y="6307665"/>
            <a:ext cx="8162717" cy="133200"/>
          </a:xfrm>
        </p:spPr>
        <p:txBody>
          <a:bodyPr lIns="0" tIns="0" rIns="0" bIns="0" anchor="b" anchorCtr="0"/>
          <a:lstStyle>
            <a:lvl1pPr marL="0" indent="0" algn="l">
              <a:lnSpc>
                <a:spcPct val="100000"/>
              </a:lnSpc>
              <a:spcBef>
                <a:spcPts val="0"/>
              </a:spcBef>
              <a:buNone/>
              <a:defRPr sz="800" baseline="0"/>
            </a:lvl1pPr>
            <a:lvl2pPr marL="0" indent="0" algn="l">
              <a:lnSpc>
                <a:spcPct val="100000"/>
              </a:lnSpc>
              <a:spcBef>
                <a:spcPts val="0"/>
              </a:spcBef>
              <a:buNone/>
              <a:defRPr sz="800"/>
            </a:lvl2pPr>
            <a:lvl3pPr marL="0" indent="0" algn="l">
              <a:lnSpc>
                <a:spcPct val="100000"/>
              </a:lnSpc>
              <a:spcBef>
                <a:spcPts val="0"/>
              </a:spcBef>
              <a:buNone/>
              <a:defRPr sz="800"/>
            </a:lvl3pPr>
            <a:lvl4pPr marL="0" algn="l">
              <a:lnSpc>
                <a:spcPct val="100000"/>
              </a:lnSpc>
              <a:spcBef>
                <a:spcPts val="0"/>
              </a:spcBef>
              <a:buNone/>
              <a:defRPr sz="800"/>
            </a:lvl4pPr>
            <a:lvl5pPr marL="0" indent="0" algn="l">
              <a:lnSpc>
                <a:spcPct val="100000"/>
              </a:lnSpc>
              <a:spcBef>
                <a:spcPts val="0"/>
              </a:spcBef>
              <a:buNone/>
              <a:defRPr sz="800"/>
            </a:lvl5pPr>
          </a:lstStyle>
          <a:p>
            <a:pPr lvl="0"/>
            <a:r>
              <a:rPr lang="en-US"/>
              <a:t>Source line</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10434144"/>
      </p:ext>
    </p:extLst>
  </p:cSld>
  <p:clrMapOvr>
    <a:masterClrMapping/>
  </p:clrMapOvr>
</p:sldLayout>
</file>

<file path=ppt/slideLayouts/slideLayout426.xml><?xml version="1.0" encoding="utf-8"?>
<p:sldLayout xmlns:a="http://schemas.openxmlformats.org/drawingml/2006/main" xmlns:r="http://schemas.openxmlformats.org/officeDocument/2006/relationships" xmlns:p="http://schemas.openxmlformats.org/presentationml/2006/main" preserve="1">
  <p:cSld name="Two contents">
    <p:spTree>
      <p:nvGrpSpPr>
        <p:cNvPr id="1" name=""/>
        <p:cNvGrpSpPr/>
        <p:nvPr/>
      </p:nvGrpSpPr>
      <p:grpSpPr>
        <a:xfrm>
          <a:off x="0" y="0"/>
          <a:ext cx="0" cy="0"/>
          <a:chOff x="0" y="0"/>
          <a:chExt cx="0" cy="0"/>
        </a:xfrm>
      </p:grpSpPr>
      <p:sp>
        <p:nvSpPr>
          <p:cNvPr id="21" name="Date Placeholder 20"/>
          <p:cNvSpPr>
            <a:spLocks noGrp="1"/>
          </p:cNvSpPr>
          <p:nvPr>
            <p:ph type="dt" sz="half" idx="14"/>
          </p:nvPr>
        </p:nvSpPr>
        <p:spPr/>
        <p:txBody>
          <a:bodyPr/>
          <a:lstStyle/>
          <a:p>
            <a:endParaRPr lang="en-US"/>
          </a:p>
        </p:txBody>
      </p:sp>
      <p:sp>
        <p:nvSpPr>
          <p:cNvPr id="22" name="Footer Placeholder 21"/>
          <p:cNvSpPr>
            <a:spLocks noGrp="1"/>
          </p:cNvSpPr>
          <p:nvPr>
            <p:ph type="ftr" sz="quarter" idx="15"/>
          </p:nvPr>
        </p:nvSpPr>
        <p:spPr/>
        <p:txBody>
          <a:bodyPr/>
          <a:lstStyle/>
          <a:p>
            <a:endParaRPr lang="en-US"/>
          </a:p>
        </p:txBody>
      </p:sp>
      <p:sp>
        <p:nvSpPr>
          <p:cNvPr id="23" name="Slide Number Placeholder 22"/>
          <p:cNvSpPr>
            <a:spLocks noGrp="1"/>
          </p:cNvSpPr>
          <p:nvPr>
            <p:ph type="sldNum" sz="quarter" idx="16"/>
          </p:nvPr>
        </p:nvSpPr>
        <p:spPr/>
        <p:txBody>
          <a:bodyPr/>
          <a:lstStyle/>
          <a:p>
            <a:fld id="{5F3E29E4-0979-4FCA-B4C5-5FC6044C982A}" type="slidenum">
              <a:rPr lang="en-US" smtClean="0"/>
              <a:t>‹#›</a:t>
            </a:fld>
            <a:endParaRPr lang="en-US"/>
          </a:p>
        </p:txBody>
      </p:sp>
      <p:sp>
        <p:nvSpPr>
          <p:cNvPr id="2" name="Title 1"/>
          <p:cNvSpPr>
            <a:spLocks noGrp="1"/>
          </p:cNvSpPr>
          <p:nvPr>
            <p:ph type="title" hasCustomPrompt="1"/>
          </p:nvPr>
        </p:nvSpPr>
        <p:spPr/>
        <p:txBody>
          <a:bodyPr/>
          <a:lstStyle>
            <a:lvl1pPr>
              <a:defRPr/>
            </a:lvl1pPr>
          </a:lstStyle>
          <a:p>
            <a:r>
              <a:rPr lang="en-US"/>
              <a:t>Click to add slide title</a:t>
            </a:r>
          </a:p>
        </p:txBody>
      </p:sp>
      <p:sp>
        <p:nvSpPr>
          <p:cNvPr id="7" name="Subtitle 2"/>
          <p:cNvSpPr>
            <a:spLocks noGrp="1"/>
          </p:cNvSpPr>
          <p:nvPr>
            <p:ph type="subTitle" idx="13" hasCustomPrompt="1"/>
          </p:nvPr>
        </p:nvSpPr>
        <p:spPr>
          <a:xfrm>
            <a:off x="1075061" y="964671"/>
            <a:ext cx="7910158" cy="490042"/>
          </a:xfrm>
        </p:spPr>
        <p:txBody>
          <a:bodyPr wrap="none"/>
          <a:lstStyle>
            <a:lvl1pPr marL="0" indent="0" algn="l">
              <a:spcBef>
                <a:spcPts val="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sp>
        <p:nvSpPr>
          <p:cNvPr id="3" name="Content Placeholder 2"/>
          <p:cNvSpPr>
            <a:spLocks noGrp="1"/>
          </p:cNvSpPr>
          <p:nvPr>
            <p:ph idx="1" hasCustomPrompt="1"/>
          </p:nvPr>
        </p:nvSpPr>
        <p:spPr>
          <a:xfrm>
            <a:off x="1075062" y="1629618"/>
            <a:ext cx="5220000" cy="4139357"/>
          </a:xfrm>
        </p:spPr>
        <p:txBody>
          <a:bodyPr/>
          <a:lstStyle>
            <a:lvl1pPr>
              <a:defRPr/>
            </a:lvl1pPr>
          </a:lstStyle>
          <a:p>
            <a:pPr lvl="0"/>
            <a:r>
              <a:rPr lang="en-US"/>
              <a:t>Click to add text or content</a:t>
            </a:r>
          </a:p>
          <a:p>
            <a:pPr lvl="1"/>
            <a:r>
              <a:rPr lang="en-US"/>
              <a:t>Second level</a:t>
            </a:r>
          </a:p>
          <a:p>
            <a:pPr lvl="2"/>
            <a:r>
              <a:rPr lang="en-US"/>
              <a:t>Third level</a:t>
            </a:r>
          </a:p>
          <a:p>
            <a:pPr lvl="3"/>
            <a:r>
              <a:rPr lang="en-US"/>
              <a:t>Fourth level</a:t>
            </a:r>
          </a:p>
          <a:p>
            <a:pPr lvl="4"/>
            <a:r>
              <a:rPr lang="en-US"/>
              <a:t>Fifth level</a:t>
            </a:r>
          </a:p>
        </p:txBody>
      </p:sp>
      <p:sp>
        <p:nvSpPr>
          <p:cNvPr id="9" name="Content Placeholder 2"/>
          <p:cNvSpPr>
            <a:spLocks noGrp="1"/>
          </p:cNvSpPr>
          <p:nvPr>
            <p:ph idx="17" hasCustomPrompt="1"/>
          </p:nvPr>
        </p:nvSpPr>
        <p:spPr>
          <a:xfrm>
            <a:off x="6600525" y="1629618"/>
            <a:ext cx="5220000" cy="4139357"/>
          </a:xfrm>
        </p:spPr>
        <p:txBody>
          <a:bodyPr/>
          <a:lstStyle>
            <a:lvl1pPr>
              <a:defRPr/>
            </a:lvl1pPr>
          </a:lstStyle>
          <a:p>
            <a:pPr lvl="0"/>
            <a:r>
              <a:rPr lang="en-US"/>
              <a:t>Click to add text or content</a:t>
            </a:r>
          </a:p>
          <a:p>
            <a:pPr lvl="1"/>
            <a:r>
              <a:rPr lang="en-US"/>
              <a:t>Second level</a:t>
            </a:r>
          </a:p>
          <a:p>
            <a:pPr lvl="2"/>
            <a:r>
              <a:rPr lang="en-US"/>
              <a:t>Third level</a:t>
            </a:r>
          </a:p>
          <a:p>
            <a:pPr lvl="3"/>
            <a:r>
              <a:rPr lang="en-US"/>
              <a:t>Fourth level</a:t>
            </a:r>
          </a:p>
          <a:p>
            <a:pPr lvl="4"/>
            <a:r>
              <a:rPr lang="en-US"/>
              <a:t>Fifth level</a:t>
            </a:r>
          </a:p>
        </p:txBody>
      </p:sp>
      <p:sp>
        <p:nvSpPr>
          <p:cNvPr id="11" name="Text Placeholder 4"/>
          <p:cNvSpPr>
            <a:spLocks noGrp="1"/>
          </p:cNvSpPr>
          <p:nvPr>
            <p:ph type="body" sz="quarter" idx="18" hasCustomPrompt="1"/>
          </p:nvPr>
        </p:nvSpPr>
        <p:spPr>
          <a:xfrm>
            <a:off x="1075063" y="6307665"/>
            <a:ext cx="8162717" cy="133200"/>
          </a:xfrm>
        </p:spPr>
        <p:txBody>
          <a:bodyPr lIns="0" tIns="0" rIns="0" bIns="0" anchor="b" anchorCtr="0"/>
          <a:lstStyle>
            <a:lvl1pPr marL="0" indent="0" algn="l">
              <a:lnSpc>
                <a:spcPct val="100000"/>
              </a:lnSpc>
              <a:spcBef>
                <a:spcPts val="0"/>
              </a:spcBef>
              <a:buNone/>
              <a:defRPr sz="800" baseline="0"/>
            </a:lvl1pPr>
            <a:lvl2pPr marL="0" indent="0" algn="l">
              <a:lnSpc>
                <a:spcPct val="100000"/>
              </a:lnSpc>
              <a:spcBef>
                <a:spcPts val="0"/>
              </a:spcBef>
              <a:buNone/>
              <a:defRPr sz="800"/>
            </a:lvl2pPr>
            <a:lvl3pPr marL="0" indent="0" algn="l">
              <a:lnSpc>
                <a:spcPct val="100000"/>
              </a:lnSpc>
              <a:spcBef>
                <a:spcPts val="0"/>
              </a:spcBef>
              <a:buNone/>
              <a:defRPr sz="800"/>
            </a:lvl3pPr>
            <a:lvl4pPr marL="0" algn="l">
              <a:lnSpc>
                <a:spcPct val="100000"/>
              </a:lnSpc>
              <a:spcBef>
                <a:spcPts val="0"/>
              </a:spcBef>
              <a:buNone/>
              <a:defRPr sz="800"/>
            </a:lvl4pPr>
            <a:lvl5pPr marL="0" indent="0" algn="l">
              <a:lnSpc>
                <a:spcPct val="100000"/>
              </a:lnSpc>
              <a:spcBef>
                <a:spcPts val="0"/>
              </a:spcBef>
              <a:buNone/>
              <a:defRPr sz="800"/>
            </a:lvl5pPr>
          </a:lstStyle>
          <a:p>
            <a:pPr lvl="0"/>
            <a:r>
              <a:rPr lang="en-US"/>
              <a:t>Source line</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21060433"/>
      </p:ext>
    </p:extLst>
  </p:cSld>
  <p:clrMapOvr>
    <a:masterClrMapping/>
  </p:clrMapOvr>
</p:sldLayout>
</file>

<file path=ppt/slideLayouts/slideLayout427.xml><?xml version="1.0" encoding="utf-8"?>
<p:sldLayout xmlns:a="http://schemas.openxmlformats.org/drawingml/2006/main" xmlns:r="http://schemas.openxmlformats.org/officeDocument/2006/relationships" xmlns:p="http://schemas.openxmlformats.org/presentationml/2006/main" preserve="1">
  <p:cSld name="Three contents">
    <p:spTree>
      <p:nvGrpSpPr>
        <p:cNvPr id="1" name=""/>
        <p:cNvGrpSpPr/>
        <p:nvPr/>
      </p:nvGrpSpPr>
      <p:grpSpPr>
        <a:xfrm>
          <a:off x="0" y="0"/>
          <a:ext cx="0" cy="0"/>
          <a:chOff x="0" y="0"/>
          <a:chExt cx="0" cy="0"/>
        </a:xfrm>
      </p:grpSpPr>
      <p:sp>
        <p:nvSpPr>
          <p:cNvPr id="21" name="Date Placeholder 20"/>
          <p:cNvSpPr>
            <a:spLocks noGrp="1"/>
          </p:cNvSpPr>
          <p:nvPr>
            <p:ph type="dt" sz="half" idx="14"/>
          </p:nvPr>
        </p:nvSpPr>
        <p:spPr/>
        <p:txBody>
          <a:bodyPr/>
          <a:lstStyle/>
          <a:p>
            <a:endParaRPr lang="en-US"/>
          </a:p>
        </p:txBody>
      </p:sp>
      <p:sp>
        <p:nvSpPr>
          <p:cNvPr id="22" name="Footer Placeholder 21"/>
          <p:cNvSpPr>
            <a:spLocks noGrp="1"/>
          </p:cNvSpPr>
          <p:nvPr>
            <p:ph type="ftr" sz="quarter" idx="15"/>
          </p:nvPr>
        </p:nvSpPr>
        <p:spPr/>
        <p:txBody>
          <a:bodyPr/>
          <a:lstStyle/>
          <a:p>
            <a:endParaRPr lang="en-US"/>
          </a:p>
        </p:txBody>
      </p:sp>
      <p:sp>
        <p:nvSpPr>
          <p:cNvPr id="23" name="Slide Number Placeholder 22"/>
          <p:cNvSpPr>
            <a:spLocks noGrp="1"/>
          </p:cNvSpPr>
          <p:nvPr>
            <p:ph type="sldNum" sz="quarter" idx="16"/>
          </p:nvPr>
        </p:nvSpPr>
        <p:spPr/>
        <p:txBody>
          <a:bodyPr/>
          <a:lstStyle/>
          <a:p>
            <a:fld id="{5F3E29E4-0979-4FCA-B4C5-5FC6044C982A}" type="slidenum">
              <a:rPr lang="en-US" smtClean="0"/>
              <a:t>‹#›</a:t>
            </a:fld>
            <a:endParaRPr lang="en-US"/>
          </a:p>
        </p:txBody>
      </p:sp>
      <p:sp>
        <p:nvSpPr>
          <p:cNvPr id="2" name="Title 1"/>
          <p:cNvSpPr>
            <a:spLocks noGrp="1"/>
          </p:cNvSpPr>
          <p:nvPr>
            <p:ph type="title" hasCustomPrompt="1"/>
          </p:nvPr>
        </p:nvSpPr>
        <p:spPr/>
        <p:txBody>
          <a:bodyPr/>
          <a:lstStyle>
            <a:lvl1pPr>
              <a:defRPr/>
            </a:lvl1pPr>
          </a:lstStyle>
          <a:p>
            <a:r>
              <a:rPr lang="en-US"/>
              <a:t>Click to add slide title</a:t>
            </a:r>
          </a:p>
        </p:txBody>
      </p:sp>
      <p:sp>
        <p:nvSpPr>
          <p:cNvPr id="7" name="Subtitle 2"/>
          <p:cNvSpPr>
            <a:spLocks noGrp="1"/>
          </p:cNvSpPr>
          <p:nvPr>
            <p:ph type="subTitle" idx="13" hasCustomPrompt="1"/>
          </p:nvPr>
        </p:nvSpPr>
        <p:spPr>
          <a:xfrm>
            <a:off x="1075061" y="964671"/>
            <a:ext cx="7910158" cy="490042"/>
          </a:xfrm>
        </p:spPr>
        <p:txBody>
          <a:bodyPr wrap="none"/>
          <a:lstStyle>
            <a:lvl1pPr marL="0" indent="0" algn="l">
              <a:spcBef>
                <a:spcPts val="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sp>
        <p:nvSpPr>
          <p:cNvPr id="3" name="Content Placeholder 2"/>
          <p:cNvSpPr>
            <a:spLocks noGrp="1"/>
          </p:cNvSpPr>
          <p:nvPr>
            <p:ph idx="1" hasCustomPrompt="1"/>
          </p:nvPr>
        </p:nvSpPr>
        <p:spPr>
          <a:xfrm>
            <a:off x="1075061" y="1629618"/>
            <a:ext cx="3384000" cy="4139357"/>
          </a:xfrm>
        </p:spPr>
        <p:txBody>
          <a:bodyPr/>
          <a:lstStyle>
            <a:lvl1pPr>
              <a:defRPr/>
            </a:lvl1pPr>
          </a:lstStyle>
          <a:p>
            <a:pPr lvl="0"/>
            <a:r>
              <a:rPr lang="en-US"/>
              <a:t>Click to add text or content</a:t>
            </a:r>
          </a:p>
          <a:p>
            <a:pPr lvl="1"/>
            <a:r>
              <a:rPr lang="en-US"/>
              <a:t>Second level</a:t>
            </a:r>
          </a:p>
          <a:p>
            <a:pPr lvl="2"/>
            <a:r>
              <a:rPr lang="en-US"/>
              <a:t>Third level</a:t>
            </a:r>
          </a:p>
          <a:p>
            <a:pPr lvl="3"/>
            <a:r>
              <a:rPr lang="en-US"/>
              <a:t>Fourth level</a:t>
            </a:r>
          </a:p>
          <a:p>
            <a:pPr lvl="4"/>
            <a:r>
              <a:rPr lang="en-US"/>
              <a:t>Fifth level</a:t>
            </a:r>
          </a:p>
        </p:txBody>
      </p:sp>
      <p:sp>
        <p:nvSpPr>
          <p:cNvPr id="9" name="Content Placeholder 2"/>
          <p:cNvSpPr>
            <a:spLocks noGrp="1"/>
          </p:cNvSpPr>
          <p:nvPr>
            <p:ph idx="17" hasCustomPrompt="1"/>
          </p:nvPr>
        </p:nvSpPr>
        <p:spPr>
          <a:xfrm>
            <a:off x="4755793" y="1629618"/>
            <a:ext cx="3384000" cy="4139357"/>
          </a:xfrm>
        </p:spPr>
        <p:txBody>
          <a:bodyPr/>
          <a:lstStyle>
            <a:lvl1pPr>
              <a:defRPr/>
            </a:lvl1pPr>
          </a:lstStyle>
          <a:p>
            <a:pPr lvl="0"/>
            <a:r>
              <a:rPr lang="en-US"/>
              <a:t>Click to add text or content</a:t>
            </a:r>
          </a:p>
          <a:p>
            <a:pPr lvl="1"/>
            <a:r>
              <a:rPr lang="en-US"/>
              <a:t>Second level</a:t>
            </a:r>
          </a:p>
          <a:p>
            <a:pPr lvl="2"/>
            <a:r>
              <a:rPr lang="en-US"/>
              <a:t>Third level</a:t>
            </a:r>
          </a:p>
          <a:p>
            <a:pPr lvl="3"/>
            <a:r>
              <a:rPr lang="en-US"/>
              <a:t>Fourth level</a:t>
            </a:r>
          </a:p>
          <a:p>
            <a:pPr lvl="4"/>
            <a:r>
              <a:rPr lang="en-US"/>
              <a:t>Fifth level</a:t>
            </a:r>
          </a:p>
        </p:txBody>
      </p:sp>
      <p:sp>
        <p:nvSpPr>
          <p:cNvPr id="10" name="Content Placeholder 2"/>
          <p:cNvSpPr>
            <a:spLocks noGrp="1"/>
          </p:cNvSpPr>
          <p:nvPr>
            <p:ph idx="18" hasCustomPrompt="1"/>
          </p:nvPr>
        </p:nvSpPr>
        <p:spPr>
          <a:xfrm>
            <a:off x="8436525" y="1629618"/>
            <a:ext cx="3384000" cy="4139357"/>
          </a:xfrm>
        </p:spPr>
        <p:txBody>
          <a:bodyPr/>
          <a:lstStyle>
            <a:lvl1pPr>
              <a:defRPr/>
            </a:lvl1pPr>
          </a:lstStyle>
          <a:p>
            <a:pPr lvl="0"/>
            <a:r>
              <a:rPr lang="en-US"/>
              <a:t>Click to add text or content</a:t>
            </a:r>
          </a:p>
          <a:p>
            <a:pPr lvl="1"/>
            <a:r>
              <a:rPr lang="en-US"/>
              <a:t>Second level</a:t>
            </a:r>
          </a:p>
          <a:p>
            <a:pPr lvl="2"/>
            <a:r>
              <a:rPr lang="en-US"/>
              <a:t>Third level</a:t>
            </a:r>
          </a:p>
          <a:p>
            <a:pPr lvl="3"/>
            <a:r>
              <a:rPr lang="en-US"/>
              <a:t>Fourth level</a:t>
            </a:r>
          </a:p>
          <a:p>
            <a:pPr lvl="4"/>
            <a:r>
              <a:rPr lang="en-US"/>
              <a:t>Fifth level</a:t>
            </a:r>
          </a:p>
        </p:txBody>
      </p:sp>
      <p:sp>
        <p:nvSpPr>
          <p:cNvPr id="12" name="Text Placeholder 4"/>
          <p:cNvSpPr>
            <a:spLocks noGrp="1"/>
          </p:cNvSpPr>
          <p:nvPr>
            <p:ph type="body" sz="quarter" idx="19" hasCustomPrompt="1"/>
          </p:nvPr>
        </p:nvSpPr>
        <p:spPr>
          <a:xfrm>
            <a:off x="1075063" y="6307665"/>
            <a:ext cx="8162717" cy="133200"/>
          </a:xfrm>
        </p:spPr>
        <p:txBody>
          <a:bodyPr lIns="0" tIns="0" rIns="0" bIns="0" anchor="b" anchorCtr="0"/>
          <a:lstStyle>
            <a:lvl1pPr marL="0" indent="0" algn="l">
              <a:lnSpc>
                <a:spcPct val="100000"/>
              </a:lnSpc>
              <a:spcBef>
                <a:spcPts val="0"/>
              </a:spcBef>
              <a:buNone/>
              <a:defRPr sz="800" baseline="0"/>
            </a:lvl1pPr>
            <a:lvl2pPr marL="0" indent="0" algn="l">
              <a:lnSpc>
                <a:spcPct val="100000"/>
              </a:lnSpc>
              <a:spcBef>
                <a:spcPts val="0"/>
              </a:spcBef>
              <a:buNone/>
              <a:defRPr sz="800"/>
            </a:lvl2pPr>
            <a:lvl3pPr marL="0" indent="0" algn="l">
              <a:lnSpc>
                <a:spcPct val="100000"/>
              </a:lnSpc>
              <a:spcBef>
                <a:spcPts val="0"/>
              </a:spcBef>
              <a:buNone/>
              <a:defRPr sz="800"/>
            </a:lvl3pPr>
            <a:lvl4pPr marL="0" algn="l">
              <a:lnSpc>
                <a:spcPct val="100000"/>
              </a:lnSpc>
              <a:spcBef>
                <a:spcPts val="0"/>
              </a:spcBef>
              <a:buNone/>
              <a:defRPr sz="800"/>
            </a:lvl4pPr>
            <a:lvl5pPr marL="0" indent="0" algn="l">
              <a:lnSpc>
                <a:spcPct val="100000"/>
              </a:lnSpc>
              <a:spcBef>
                <a:spcPts val="0"/>
              </a:spcBef>
              <a:buNone/>
              <a:defRPr sz="800"/>
            </a:lvl5pPr>
          </a:lstStyle>
          <a:p>
            <a:pPr lvl="0"/>
            <a:r>
              <a:rPr lang="en-US"/>
              <a:t>Source line</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68248731"/>
      </p:ext>
    </p:extLst>
  </p:cSld>
  <p:clrMapOvr>
    <a:masterClrMapping/>
  </p:clrMapOvr>
</p:sldLayout>
</file>

<file path=ppt/slideLayouts/slideLayout428.xml><?xml version="1.0" encoding="utf-8"?>
<p:sldLayout xmlns:a="http://schemas.openxmlformats.org/drawingml/2006/main" xmlns:r="http://schemas.openxmlformats.org/officeDocument/2006/relationships" xmlns:p="http://schemas.openxmlformats.org/presentationml/2006/main" preserve="1">
  <p:cSld name="Four contents 1">
    <p:spTree>
      <p:nvGrpSpPr>
        <p:cNvPr id="1" name=""/>
        <p:cNvGrpSpPr/>
        <p:nvPr/>
      </p:nvGrpSpPr>
      <p:grpSpPr>
        <a:xfrm>
          <a:off x="0" y="0"/>
          <a:ext cx="0" cy="0"/>
          <a:chOff x="0" y="0"/>
          <a:chExt cx="0" cy="0"/>
        </a:xfrm>
      </p:grpSpPr>
      <p:sp>
        <p:nvSpPr>
          <p:cNvPr id="21" name="Date Placeholder 20"/>
          <p:cNvSpPr>
            <a:spLocks noGrp="1"/>
          </p:cNvSpPr>
          <p:nvPr>
            <p:ph type="dt" sz="half" idx="14"/>
          </p:nvPr>
        </p:nvSpPr>
        <p:spPr/>
        <p:txBody>
          <a:bodyPr/>
          <a:lstStyle/>
          <a:p>
            <a:endParaRPr lang="en-US"/>
          </a:p>
        </p:txBody>
      </p:sp>
      <p:sp>
        <p:nvSpPr>
          <p:cNvPr id="22" name="Footer Placeholder 21"/>
          <p:cNvSpPr>
            <a:spLocks noGrp="1"/>
          </p:cNvSpPr>
          <p:nvPr>
            <p:ph type="ftr" sz="quarter" idx="15"/>
          </p:nvPr>
        </p:nvSpPr>
        <p:spPr/>
        <p:txBody>
          <a:bodyPr/>
          <a:lstStyle/>
          <a:p>
            <a:endParaRPr lang="en-US"/>
          </a:p>
        </p:txBody>
      </p:sp>
      <p:sp>
        <p:nvSpPr>
          <p:cNvPr id="23" name="Slide Number Placeholder 22"/>
          <p:cNvSpPr>
            <a:spLocks noGrp="1"/>
          </p:cNvSpPr>
          <p:nvPr>
            <p:ph type="sldNum" sz="quarter" idx="16"/>
          </p:nvPr>
        </p:nvSpPr>
        <p:spPr/>
        <p:txBody>
          <a:bodyPr/>
          <a:lstStyle/>
          <a:p>
            <a:fld id="{5F3E29E4-0979-4FCA-B4C5-5FC6044C982A}" type="slidenum">
              <a:rPr lang="en-US" smtClean="0"/>
              <a:t>‹#›</a:t>
            </a:fld>
            <a:endParaRPr lang="en-US"/>
          </a:p>
        </p:txBody>
      </p:sp>
      <p:sp>
        <p:nvSpPr>
          <p:cNvPr id="2" name="Title 1"/>
          <p:cNvSpPr>
            <a:spLocks noGrp="1"/>
          </p:cNvSpPr>
          <p:nvPr>
            <p:ph type="title" hasCustomPrompt="1"/>
          </p:nvPr>
        </p:nvSpPr>
        <p:spPr/>
        <p:txBody>
          <a:bodyPr/>
          <a:lstStyle>
            <a:lvl1pPr>
              <a:defRPr/>
            </a:lvl1pPr>
          </a:lstStyle>
          <a:p>
            <a:r>
              <a:rPr lang="en-US"/>
              <a:t>Click to add slide title</a:t>
            </a:r>
          </a:p>
        </p:txBody>
      </p:sp>
      <p:sp>
        <p:nvSpPr>
          <p:cNvPr id="7" name="Subtitle 2"/>
          <p:cNvSpPr>
            <a:spLocks noGrp="1"/>
          </p:cNvSpPr>
          <p:nvPr>
            <p:ph type="subTitle" idx="13" hasCustomPrompt="1"/>
          </p:nvPr>
        </p:nvSpPr>
        <p:spPr>
          <a:xfrm>
            <a:off x="1075061" y="964671"/>
            <a:ext cx="7910158" cy="490042"/>
          </a:xfrm>
        </p:spPr>
        <p:txBody>
          <a:bodyPr wrap="none"/>
          <a:lstStyle>
            <a:lvl1pPr marL="0" indent="0" algn="l">
              <a:spcBef>
                <a:spcPts val="0"/>
              </a:spcBef>
              <a:buNone/>
              <a:defRPr sz="2400" baseline="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sp>
        <p:nvSpPr>
          <p:cNvPr id="3" name="Content Placeholder 2"/>
          <p:cNvSpPr>
            <a:spLocks noGrp="1"/>
          </p:cNvSpPr>
          <p:nvPr>
            <p:ph idx="1" hasCustomPrompt="1"/>
          </p:nvPr>
        </p:nvSpPr>
        <p:spPr>
          <a:xfrm>
            <a:off x="192088" y="1629618"/>
            <a:ext cx="2682000" cy="4139357"/>
          </a:xfrm>
        </p:spPr>
        <p:txBody>
          <a:bodyPr/>
          <a:lstStyle>
            <a:lvl1pPr>
              <a:defRPr/>
            </a:lvl1pPr>
          </a:lstStyle>
          <a:p>
            <a:pPr lvl="0"/>
            <a:r>
              <a:rPr lang="en-US"/>
              <a:t>Click to add text or content</a:t>
            </a:r>
          </a:p>
          <a:p>
            <a:pPr lvl="1"/>
            <a:r>
              <a:rPr lang="en-US"/>
              <a:t>Second level</a:t>
            </a:r>
          </a:p>
          <a:p>
            <a:pPr lvl="2"/>
            <a:r>
              <a:rPr lang="en-US"/>
              <a:t>Third level</a:t>
            </a:r>
          </a:p>
          <a:p>
            <a:pPr lvl="3"/>
            <a:r>
              <a:rPr lang="en-US"/>
              <a:t>Fourth level</a:t>
            </a:r>
          </a:p>
          <a:p>
            <a:pPr lvl="4"/>
            <a:r>
              <a:rPr lang="en-US"/>
              <a:t>Fifth level</a:t>
            </a:r>
          </a:p>
        </p:txBody>
      </p:sp>
      <p:sp>
        <p:nvSpPr>
          <p:cNvPr id="9" name="Content Placeholder 2"/>
          <p:cNvSpPr>
            <a:spLocks noGrp="1"/>
          </p:cNvSpPr>
          <p:nvPr>
            <p:ph idx="17" hasCustomPrompt="1"/>
          </p:nvPr>
        </p:nvSpPr>
        <p:spPr>
          <a:xfrm>
            <a:off x="3174234" y="1629618"/>
            <a:ext cx="2682000" cy="4139357"/>
          </a:xfrm>
        </p:spPr>
        <p:txBody>
          <a:bodyPr/>
          <a:lstStyle>
            <a:lvl1pPr>
              <a:defRPr/>
            </a:lvl1pPr>
          </a:lstStyle>
          <a:p>
            <a:pPr lvl="0"/>
            <a:r>
              <a:rPr lang="en-US"/>
              <a:t>Click to add text or content</a:t>
            </a:r>
          </a:p>
          <a:p>
            <a:pPr lvl="1"/>
            <a:r>
              <a:rPr lang="en-US"/>
              <a:t>Second level</a:t>
            </a:r>
          </a:p>
          <a:p>
            <a:pPr lvl="2"/>
            <a:r>
              <a:rPr lang="en-US"/>
              <a:t>Third level</a:t>
            </a:r>
          </a:p>
          <a:p>
            <a:pPr lvl="3"/>
            <a:r>
              <a:rPr lang="en-US"/>
              <a:t>Fourth level</a:t>
            </a:r>
          </a:p>
          <a:p>
            <a:pPr lvl="4"/>
            <a:r>
              <a:rPr lang="en-US"/>
              <a:t>Fifth level</a:t>
            </a:r>
          </a:p>
        </p:txBody>
      </p:sp>
      <p:sp>
        <p:nvSpPr>
          <p:cNvPr id="10" name="Content Placeholder 2"/>
          <p:cNvSpPr>
            <a:spLocks noGrp="1"/>
          </p:cNvSpPr>
          <p:nvPr>
            <p:ph idx="18" hasCustomPrompt="1"/>
          </p:nvPr>
        </p:nvSpPr>
        <p:spPr>
          <a:xfrm>
            <a:off x="6156380" y="1629618"/>
            <a:ext cx="2682000" cy="4139357"/>
          </a:xfrm>
        </p:spPr>
        <p:txBody>
          <a:bodyPr/>
          <a:lstStyle>
            <a:lvl1pPr>
              <a:defRPr/>
            </a:lvl1pPr>
          </a:lstStyle>
          <a:p>
            <a:pPr lvl="0"/>
            <a:r>
              <a:rPr lang="en-US"/>
              <a:t>Click to add text or content</a:t>
            </a:r>
          </a:p>
          <a:p>
            <a:pPr lvl="1"/>
            <a:r>
              <a:rPr lang="en-US"/>
              <a:t>Second level</a:t>
            </a:r>
          </a:p>
          <a:p>
            <a:pPr lvl="2"/>
            <a:r>
              <a:rPr lang="en-US"/>
              <a:t>Third level</a:t>
            </a:r>
          </a:p>
          <a:p>
            <a:pPr lvl="3"/>
            <a:r>
              <a:rPr lang="en-US"/>
              <a:t>Fourth level</a:t>
            </a:r>
          </a:p>
          <a:p>
            <a:pPr lvl="4"/>
            <a:r>
              <a:rPr lang="en-US"/>
              <a:t>Fifth level</a:t>
            </a:r>
          </a:p>
        </p:txBody>
      </p:sp>
      <p:sp>
        <p:nvSpPr>
          <p:cNvPr id="13" name="Content Placeholder 2"/>
          <p:cNvSpPr>
            <a:spLocks noGrp="1"/>
          </p:cNvSpPr>
          <p:nvPr>
            <p:ph idx="19" hasCustomPrompt="1"/>
          </p:nvPr>
        </p:nvSpPr>
        <p:spPr>
          <a:xfrm>
            <a:off x="9138525" y="1629618"/>
            <a:ext cx="2682000" cy="4139357"/>
          </a:xfrm>
        </p:spPr>
        <p:txBody>
          <a:bodyPr/>
          <a:lstStyle>
            <a:lvl1pPr>
              <a:defRPr/>
            </a:lvl1pPr>
          </a:lstStyle>
          <a:p>
            <a:pPr lvl="0"/>
            <a:r>
              <a:rPr lang="en-US"/>
              <a:t>Click to add text or content</a:t>
            </a:r>
          </a:p>
          <a:p>
            <a:pPr lvl="1"/>
            <a:r>
              <a:rPr lang="en-US"/>
              <a:t>Second level</a:t>
            </a:r>
          </a:p>
          <a:p>
            <a:pPr lvl="2"/>
            <a:r>
              <a:rPr lang="en-US"/>
              <a:t>Third level</a:t>
            </a:r>
          </a:p>
          <a:p>
            <a:pPr lvl="3"/>
            <a:r>
              <a:rPr lang="en-US"/>
              <a:t>Fourth level</a:t>
            </a:r>
          </a:p>
          <a:p>
            <a:pPr lvl="4"/>
            <a:r>
              <a:rPr lang="en-US"/>
              <a:t>Fifth level</a:t>
            </a:r>
          </a:p>
        </p:txBody>
      </p:sp>
      <p:sp>
        <p:nvSpPr>
          <p:cNvPr id="12" name="Text Placeholder 4"/>
          <p:cNvSpPr>
            <a:spLocks noGrp="1"/>
          </p:cNvSpPr>
          <p:nvPr>
            <p:ph type="body" sz="quarter" idx="20" hasCustomPrompt="1"/>
          </p:nvPr>
        </p:nvSpPr>
        <p:spPr>
          <a:xfrm>
            <a:off x="1075063" y="6307665"/>
            <a:ext cx="8162717" cy="133200"/>
          </a:xfrm>
        </p:spPr>
        <p:txBody>
          <a:bodyPr lIns="0" tIns="0" rIns="0" bIns="0" anchor="b" anchorCtr="0"/>
          <a:lstStyle>
            <a:lvl1pPr marL="0" indent="0" algn="l">
              <a:lnSpc>
                <a:spcPct val="100000"/>
              </a:lnSpc>
              <a:spcBef>
                <a:spcPts val="0"/>
              </a:spcBef>
              <a:buNone/>
              <a:defRPr sz="800" baseline="0"/>
            </a:lvl1pPr>
            <a:lvl2pPr marL="0" indent="0" algn="l">
              <a:lnSpc>
                <a:spcPct val="100000"/>
              </a:lnSpc>
              <a:spcBef>
                <a:spcPts val="0"/>
              </a:spcBef>
              <a:buNone/>
              <a:defRPr sz="800"/>
            </a:lvl2pPr>
            <a:lvl3pPr marL="0" indent="0" algn="l">
              <a:lnSpc>
                <a:spcPct val="100000"/>
              </a:lnSpc>
              <a:spcBef>
                <a:spcPts val="0"/>
              </a:spcBef>
              <a:buNone/>
              <a:defRPr sz="800"/>
            </a:lvl3pPr>
            <a:lvl4pPr marL="0" algn="l">
              <a:lnSpc>
                <a:spcPct val="100000"/>
              </a:lnSpc>
              <a:spcBef>
                <a:spcPts val="0"/>
              </a:spcBef>
              <a:buNone/>
              <a:defRPr sz="800"/>
            </a:lvl4pPr>
            <a:lvl5pPr marL="0" indent="0" algn="l">
              <a:lnSpc>
                <a:spcPct val="100000"/>
              </a:lnSpc>
              <a:spcBef>
                <a:spcPts val="0"/>
              </a:spcBef>
              <a:buNone/>
              <a:defRPr sz="800"/>
            </a:lvl5pPr>
          </a:lstStyle>
          <a:p>
            <a:pPr lvl="0"/>
            <a:r>
              <a:rPr lang="en-US"/>
              <a:t>Source line</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20033602"/>
      </p:ext>
    </p:extLst>
  </p:cSld>
  <p:clrMapOvr>
    <a:masterClrMapping/>
  </p:clrMapOvr>
</p:sldLayout>
</file>

<file path=ppt/slideLayouts/slideLayout429.xml><?xml version="1.0" encoding="utf-8"?>
<p:sldLayout xmlns:a="http://schemas.openxmlformats.org/drawingml/2006/main" xmlns:r="http://schemas.openxmlformats.org/officeDocument/2006/relationships" xmlns:p="http://schemas.openxmlformats.org/presentationml/2006/main" preserve="1">
  <p:cSld name="Four contents 2">
    <p:spTree>
      <p:nvGrpSpPr>
        <p:cNvPr id="1" name=""/>
        <p:cNvGrpSpPr/>
        <p:nvPr/>
      </p:nvGrpSpPr>
      <p:grpSpPr>
        <a:xfrm>
          <a:off x="0" y="0"/>
          <a:ext cx="0" cy="0"/>
          <a:chOff x="0" y="0"/>
          <a:chExt cx="0" cy="0"/>
        </a:xfrm>
      </p:grpSpPr>
      <p:sp>
        <p:nvSpPr>
          <p:cNvPr id="21" name="Date Placeholder 20"/>
          <p:cNvSpPr>
            <a:spLocks noGrp="1"/>
          </p:cNvSpPr>
          <p:nvPr>
            <p:ph type="dt" sz="half" idx="14"/>
          </p:nvPr>
        </p:nvSpPr>
        <p:spPr/>
        <p:txBody>
          <a:bodyPr/>
          <a:lstStyle/>
          <a:p>
            <a:endParaRPr lang="en-US"/>
          </a:p>
        </p:txBody>
      </p:sp>
      <p:sp>
        <p:nvSpPr>
          <p:cNvPr id="22" name="Footer Placeholder 21"/>
          <p:cNvSpPr>
            <a:spLocks noGrp="1"/>
          </p:cNvSpPr>
          <p:nvPr>
            <p:ph type="ftr" sz="quarter" idx="15"/>
          </p:nvPr>
        </p:nvSpPr>
        <p:spPr/>
        <p:txBody>
          <a:bodyPr/>
          <a:lstStyle/>
          <a:p>
            <a:endParaRPr lang="en-US"/>
          </a:p>
        </p:txBody>
      </p:sp>
      <p:sp>
        <p:nvSpPr>
          <p:cNvPr id="23" name="Slide Number Placeholder 22"/>
          <p:cNvSpPr>
            <a:spLocks noGrp="1"/>
          </p:cNvSpPr>
          <p:nvPr>
            <p:ph type="sldNum" sz="quarter" idx="16"/>
          </p:nvPr>
        </p:nvSpPr>
        <p:spPr/>
        <p:txBody>
          <a:bodyPr/>
          <a:lstStyle/>
          <a:p>
            <a:fld id="{5F3E29E4-0979-4FCA-B4C5-5FC6044C982A}" type="slidenum">
              <a:rPr lang="en-US" smtClean="0"/>
              <a:t>‹#›</a:t>
            </a:fld>
            <a:endParaRPr lang="en-US"/>
          </a:p>
        </p:txBody>
      </p:sp>
      <p:sp>
        <p:nvSpPr>
          <p:cNvPr id="2" name="Title 1"/>
          <p:cNvSpPr>
            <a:spLocks noGrp="1"/>
          </p:cNvSpPr>
          <p:nvPr>
            <p:ph type="title" hasCustomPrompt="1"/>
          </p:nvPr>
        </p:nvSpPr>
        <p:spPr/>
        <p:txBody>
          <a:bodyPr/>
          <a:lstStyle>
            <a:lvl1pPr>
              <a:defRPr/>
            </a:lvl1pPr>
          </a:lstStyle>
          <a:p>
            <a:r>
              <a:rPr lang="en-US"/>
              <a:t>Click to add slide title</a:t>
            </a:r>
          </a:p>
        </p:txBody>
      </p:sp>
      <p:sp>
        <p:nvSpPr>
          <p:cNvPr id="7" name="Subtitle 2"/>
          <p:cNvSpPr>
            <a:spLocks noGrp="1"/>
          </p:cNvSpPr>
          <p:nvPr>
            <p:ph type="subTitle" idx="13" hasCustomPrompt="1"/>
          </p:nvPr>
        </p:nvSpPr>
        <p:spPr>
          <a:xfrm>
            <a:off x="1075061" y="964671"/>
            <a:ext cx="7910158" cy="490042"/>
          </a:xfrm>
        </p:spPr>
        <p:txBody>
          <a:bodyPr wrap="none"/>
          <a:lstStyle>
            <a:lvl1pPr marL="0" indent="0" algn="l">
              <a:spcBef>
                <a:spcPts val="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sp>
        <p:nvSpPr>
          <p:cNvPr id="3" name="Content Placeholder 2"/>
          <p:cNvSpPr>
            <a:spLocks noGrp="1"/>
          </p:cNvSpPr>
          <p:nvPr>
            <p:ph idx="1" hasCustomPrompt="1"/>
          </p:nvPr>
        </p:nvSpPr>
        <p:spPr>
          <a:xfrm>
            <a:off x="192088" y="1629617"/>
            <a:ext cx="6102974" cy="2160000"/>
          </a:xfrm>
        </p:spPr>
        <p:txBody>
          <a:bodyPr/>
          <a:lstStyle>
            <a:lvl1pPr>
              <a:defRPr/>
            </a:lvl1pPr>
          </a:lstStyle>
          <a:p>
            <a:pPr lvl="0"/>
            <a:r>
              <a:rPr lang="en-US"/>
              <a:t>Click to add text or content</a:t>
            </a:r>
          </a:p>
          <a:p>
            <a:pPr lvl="1"/>
            <a:r>
              <a:rPr lang="en-US"/>
              <a:t>Second level</a:t>
            </a:r>
          </a:p>
          <a:p>
            <a:pPr lvl="2"/>
            <a:r>
              <a:rPr lang="en-US"/>
              <a:t>Third level</a:t>
            </a:r>
          </a:p>
          <a:p>
            <a:pPr lvl="3"/>
            <a:r>
              <a:rPr lang="en-US"/>
              <a:t>Fourth level</a:t>
            </a:r>
          </a:p>
          <a:p>
            <a:pPr lvl="4"/>
            <a:r>
              <a:rPr lang="en-US"/>
              <a:t>Fifth level</a:t>
            </a:r>
          </a:p>
        </p:txBody>
      </p:sp>
      <p:sp>
        <p:nvSpPr>
          <p:cNvPr id="9" name="Content Placeholder 2"/>
          <p:cNvSpPr>
            <a:spLocks noGrp="1"/>
          </p:cNvSpPr>
          <p:nvPr>
            <p:ph idx="17" hasCustomPrompt="1"/>
          </p:nvPr>
        </p:nvSpPr>
        <p:spPr>
          <a:xfrm>
            <a:off x="6600525" y="1629617"/>
            <a:ext cx="5234144" cy="2160000"/>
          </a:xfrm>
        </p:spPr>
        <p:txBody>
          <a:bodyPr/>
          <a:lstStyle>
            <a:lvl1pPr>
              <a:defRPr/>
            </a:lvl1pPr>
          </a:lstStyle>
          <a:p>
            <a:pPr lvl="0"/>
            <a:r>
              <a:rPr lang="en-US"/>
              <a:t>Click to add text or content</a:t>
            </a:r>
          </a:p>
          <a:p>
            <a:pPr lvl="1"/>
            <a:r>
              <a:rPr lang="en-US"/>
              <a:t>Second level</a:t>
            </a:r>
          </a:p>
          <a:p>
            <a:pPr lvl="2"/>
            <a:r>
              <a:rPr lang="en-US"/>
              <a:t>Third level</a:t>
            </a:r>
          </a:p>
          <a:p>
            <a:pPr lvl="3"/>
            <a:r>
              <a:rPr lang="en-US"/>
              <a:t>Fourth level</a:t>
            </a:r>
          </a:p>
          <a:p>
            <a:pPr lvl="4"/>
            <a:r>
              <a:rPr lang="en-US"/>
              <a:t>Fifth level</a:t>
            </a:r>
          </a:p>
        </p:txBody>
      </p:sp>
      <p:sp>
        <p:nvSpPr>
          <p:cNvPr id="10" name="Content Placeholder 2"/>
          <p:cNvSpPr>
            <a:spLocks noGrp="1"/>
          </p:cNvSpPr>
          <p:nvPr>
            <p:ph idx="18" hasCustomPrompt="1"/>
          </p:nvPr>
        </p:nvSpPr>
        <p:spPr>
          <a:xfrm>
            <a:off x="192088" y="4077289"/>
            <a:ext cx="6102974" cy="2160000"/>
          </a:xfrm>
        </p:spPr>
        <p:txBody>
          <a:bodyPr/>
          <a:lstStyle>
            <a:lvl1pPr>
              <a:defRPr/>
            </a:lvl1pPr>
          </a:lstStyle>
          <a:p>
            <a:pPr lvl="0"/>
            <a:r>
              <a:rPr lang="en-US"/>
              <a:t>Click to add text or content</a:t>
            </a:r>
          </a:p>
          <a:p>
            <a:pPr lvl="1"/>
            <a:r>
              <a:rPr lang="en-US"/>
              <a:t>Second level</a:t>
            </a:r>
          </a:p>
          <a:p>
            <a:pPr lvl="2"/>
            <a:r>
              <a:rPr lang="en-US"/>
              <a:t>Third level</a:t>
            </a:r>
          </a:p>
          <a:p>
            <a:pPr lvl="3"/>
            <a:r>
              <a:rPr lang="en-US"/>
              <a:t>Fourth level</a:t>
            </a:r>
          </a:p>
          <a:p>
            <a:pPr lvl="4"/>
            <a:r>
              <a:rPr lang="en-US"/>
              <a:t>Fifth level</a:t>
            </a:r>
          </a:p>
        </p:txBody>
      </p:sp>
      <p:sp>
        <p:nvSpPr>
          <p:cNvPr id="13" name="Content Placeholder 2"/>
          <p:cNvSpPr>
            <a:spLocks noGrp="1"/>
          </p:cNvSpPr>
          <p:nvPr>
            <p:ph idx="19" hasCustomPrompt="1"/>
          </p:nvPr>
        </p:nvSpPr>
        <p:spPr>
          <a:xfrm>
            <a:off x="6600525" y="4077289"/>
            <a:ext cx="5234144" cy="2160000"/>
          </a:xfrm>
        </p:spPr>
        <p:txBody>
          <a:bodyPr/>
          <a:lstStyle>
            <a:lvl1pPr>
              <a:defRPr/>
            </a:lvl1pPr>
          </a:lstStyle>
          <a:p>
            <a:pPr lvl="0"/>
            <a:r>
              <a:rPr lang="en-US"/>
              <a:t>Click to add text or content</a:t>
            </a:r>
          </a:p>
          <a:p>
            <a:pPr lvl="1"/>
            <a:r>
              <a:rPr lang="en-US"/>
              <a:t>Second level</a:t>
            </a:r>
          </a:p>
          <a:p>
            <a:pPr lvl="2"/>
            <a:r>
              <a:rPr lang="en-US"/>
              <a:t>Third level</a:t>
            </a:r>
          </a:p>
          <a:p>
            <a:pPr lvl="3"/>
            <a:r>
              <a:rPr lang="en-US"/>
              <a:t>Fourth level</a:t>
            </a:r>
          </a:p>
          <a:p>
            <a:pPr lvl="4"/>
            <a:r>
              <a:rPr lang="en-US"/>
              <a:t>Fifth level</a:t>
            </a:r>
          </a:p>
        </p:txBody>
      </p:sp>
      <p:sp>
        <p:nvSpPr>
          <p:cNvPr id="12" name="Text Placeholder 4"/>
          <p:cNvSpPr>
            <a:spLocks noGrp="1"/>
          </p:cNvSpPr>
          <p:nvPr>
            <p:ph type="body" sz="quarter" idx="20" hasCustomPrompt="1"/>
          </p:nvPr>
        </p:nvSpPr>
        <p:spPr>
          <a:xfrm>
            <a:off x="1075063" y="6307665"/>
            <a:ext cx="8162717" cy="133200"/>
          </a:xfrm>
        </p:spPr>
        <p:txBody>
          <a:bodyPr lIns="0" tIns="0" rIns="0" bIns="0" anchor="b" anchorCtr="0"/>
          <a:lstStyle>
            <a:lvl1pPr marL="0" indent="0" algn="l">
              <a:lnSpc>
                <a:spcPct val="100000"/>
              </a:lnSpc>
              <a:spcBef>
                <a:spcPts val="0"/>
              </a:spcBef>
              <a:buNone/>
              <a:defRPr sz="800" baseline="0"/>
            </a:lvl1pPr>
            <a:lvl2pPr marL="0" indent="0" algn="l">
              <a:lnSpc>
                <a:spcPct val="100000"/>
              </a:lnSpc>
              <a:spcBef>
                <a:spcPts val="0"/>
              </a:spcBef>
              <a:buNone/>
              <a:defRPr sz="800"/>
            </a:lvl2pPr>
            <a:lvl3pPr marL="0" indent="0" algn="l">
              <a:lnSpc>
                <a:spcPct val="100000"/>
              </a:lnSpc>
              <a:spcBef>
                <a:spcPts val="0"/>
              </a:spcBef>
              <a:buNone/>
              <a:defRPr sz="800"/>
            </a:lvl3pPr>
            <a:lvl4pPr marL="0" algn="l">
              <a:lnSpc>
                <a:spcPct val="100000"/>
              </a:lnSpc>
              <a:spcBef>
                <a:spcPts val="0"/>
              </a:spcBef>
              <a:buNone/>
              <a:defRPr sz="800"/>
            </a:lvl4pPr>
            <a:lvl5pPr marL="0" indent="0" algn="l">
              <a:lnSpc>
                <a:spcPct val="100000"/>
              </a:lnSpc>
              <a:spcBef>
                <a:spcPts val="0"/>
              </a:spcBef>
              <a:buNone/>
              <a:defRPr sz="800"/>
            </a:lvl5pPr>
          </a:lstStyle>
          <a:p>
            <a:pPr lvl="0"/>
            <a:r>
              <a:rPr lang="en-US"/>
              <a:t>Source line</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85925468"/>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1_Headline only">
    <p:spTree>
      <p:nvGrpSpPr>
        <p:cNvPr id="1" name=""/>
        <p:cNvGrpSpPr/>
        <p:nvPr/>
      </p:nvGrpSpPr>
      <p:grpSpPr>
        <a:xfrm>
          <a:off x="0" y="0"/>
          <a:ext cx="0" cy="0"/>
          <a:chOff x="0" y="0"/>
          <a:chExt cx="0" cy="0"/>
        </a:xfrm>
      </p:grpSpPr>
      <p:sp>
        <p:nvSpPr>
          <p:cNvPr id="4" name="Textplatzhalter 3"/>
          <p:cNvSpPr>
            <a:spLocks noGrp="1"/>
          </p:cNvSpPr>
          <p:nvPr>
            <p:ph type="body" sz="quarter" idx="11" hasCustomPrompt="1"/>
          </p:nvPr>
        </p:nvSpPr>
        <p:spPr bwMode="gray">
          <a:xfrm>
            <a:off x="431371" y="6404736"/>
            <a:ext cx="11328400" cy="192616"/>
          </a:xfrm>
        </p:spPr>
        <p:txBody>
          <a:bodyPr tIns="0" bIns="47999" anchor="b" anchorCtr="0">
            <a:noAutofit/>
          </a:bodyPr>
          <a:lstStyle>
            <a:lvl1pPr marL="0" marR="0" indent="0" algn="l" defTabSz="1219140" rtl="0" eaLnBrk="1" fontAlgn="auto" latinLnBrk="0" hangingPunct="1">
              <a:lnSpc>
                <a:spcPct val="100000"/>
              </a:lnSpc>
              <a:spcBef>
                <a:spcPts val="0"/>
              </a:spcBef>
              <a:spcAft>
                <a:spcPts val="0"/>
              </a:spcAft>
              <a:buClrTx/>
              <a:buSzTx/>
              <a:buFont typeface="Arial" pitchFamily="34" charset="0"/>
              <a:buNone/>
              <a:tabLst/>
              <a:defRPr lang="de-DE" sz="1100" kern="1200" baseline="0" noProof="0" smtClean="0">
                <a:solidFill>
                  <a:schemeClr val="bg2"/>
                </a:solidFill>
                <a:latin typeface="Arial" pitchFamily="34" charset="0"/>
                <a:ea typeface="+mn-ea"/>
                <a:cs typeface="Arial" pitchFamily="34" charset="0"/>
              </a:defRPr>
            </a:lvl1pPr>
            <a:lvl2pPr marL="0" indent="0">
              <a:lnSpc>
                <a:spcPct val="100000"/>
              </a:lnSpc>
              <a:spcBef>
                <a:spcPts val="0"/>
              </a:spcBef>
              <a:buFont typeface="Arial" panose="020B0604020202020204" pitchFamily="34" charset="0"/>
              <a:buNone/>
              <a:defRPr lang="de-DE" sz="1100" kern="1200" baseline="0" noProof="0" smtClean="0">
                <a:solidFill>
                  <a:schemeClr val="bg2"/>
                </a:solidFill>
                <a:latin typeface="Arial" pitchFamily="34" charset="0"/>
                <a:ea typeface="+mn-ea"/>
                <a:cs typeface="Arial" pitchFamily="34" charset="0"/>
              </a:defRPr>
            </a:lvl2pPr>
            <a:lvl3pPr marL="0" indent="0">
              <a:lnSpc>
                <a:spcPct val="100000"/>
              </a:lnSpc>
              <a:spcBef>
                <a:spcPts val="0"/>
              </a:spcBef>
              <a:buNone/>
              <a:defRPr lang="de-DE" sz="1100" kern="1200" baseline="0" noProof="0" smtClean="0">
                <a:solidFill>
                  <a:schemeClr val="bg2"/>
                </a:solidFill>
                <a:latin typeface="Arial" pitchFamily="34" charset="0"/>
                <a:ea typeface="+mn-ea"/>
                <a:cs typeface="Arial" pitchFamily="34" charset="0"/>
              </a:defRPr>
            </a:lvl3pPr>
            <a:lvl4pPr marL="0" indent="0">
              <a:lnSpc>
                <a:spcPct val="100000"/>
              </a:lnSpc>
              <a:spcBef>
                <a:spcPts val="0"/>
              </a:spcBef>
              <a:buNone/>
              <a:defRPr lang="de-DE" sz="1100" kern="1200" baseline="0" noProof="0" smtClean="0">
                <a:solidFill>
                  <a:schemeClr val="bg2"/>
                </a:solidFill>
                <a:latin typeface="Arial" pitchFamily="34" charset="0"/>
                <a:ea typeface="+mn-ea"/>
                <a:cs typeface="Arial" pitchFamily="34" charset="0"/>
              </a:defRPr>
            </a:lvl4pPr>
            <a:lvl5pPr marL="0" indent="0">
              <a:lnSpc>
                <a:spcPct val="100000"/>
              </a:lnSpc>
              <a:spcBef>
                <a:spcPts val="0"/>
              </a:spcBef>
              <a:buNone/>
              <a:defRPr lang="de-DE" sz="1100" kern="1200" baseline="0" noProof="0" smtClean="0">
                <a:solidFill>
                  <a:schemeClr val="bg2"/>
                </a:solidFill>
                <a:latin typeface="Arial" pitchFamily="34" charset="0"/>
                <a:ea typeface="+mn-ea"/>
                <a:cs typeface="Arial" pitchFamily="34" charset="0"/>
              </a:defRPr>
            </a:lvl5pPr>
            <a:lvl6pPr marL="0" indent="0">
              <a:lnSpc>
                <a:spcPct val="100000"/>
              </a:lnSpc>
              <a:spcBef>
                <a:spcPts val="0"/>
              </a:spcBef>
              <a:buNone/>
              <a:defRPr lang="de-DE" sz="1100" kern="1200" baseline="0" noProof="0" smtClean="0">
                <a:solidFill>
                  <a:schemeClr val="bg2"/>
                </a:solidFill>
                <a:latin typeface="Arial" pitchFamily="34" charset="0"/>
                <a:ea typeface="+mn-ea"/>
                <a:cs typeface="Arial" pitchFamily="34" charset="0"/>
              </a:defRPr>
            </a:lvl6pPr>
            <a:lvl7pPr marL="0" indent="0">
              <a:lnSpc>
                <a:spcPct val="100000"/>
              </a:lnSpc>
              <a:spcBef>
                <a:spcPts val="0"/>
              </a:spcBef>
              <a:buNone/>
              <a:defRPr lang="de-DE" sz="1100" kern="1200" baseline="0" noProof="0" dirty="0" smtClean="0">
                <a:solidFill>
                  <a:schemeClr val="bg2"/>
                </a:solidFill>
                <a:latin typeface="Arial" pitchFamily="34" charset="0"/>
                <a:ea typeface="+mn-ea"/>
                <a:cs typeface="Arial" pitchFamily="34" charset="0"/>
              </a:defRPr>
            </a:lvl7pPr>
            <a:lvl8pPr marL="0" indent="0">
              <a:lnSpc>
                <a:spcPct val="100000"/>
              </a:lnSpc>
              <a:spcBef>
                <a:spcPts val="0"/>
              </a:spcBef>
              <a:buNone/>
              <a:defRPr lang="de-DE" sz="1100" kern="1200" baseline="0" noProof="0" smtClean="0">
                <a:solidFill>
                  <a:schemeClr val="bg2"/>
                </a:solidFill>
                <a:latin typeface="Arial" pitchFamily="34" charset="0"/>
                <a:ea typeface="+mn-ea"/>
                <a:cs typeface="Arial" pitchFamily="34" charset="0"/>
              </a:defRPr>
            </a:lvl8pPr>
            <a:lvl9pPr marL="0" indent="0">
              <a:lnSpc>
                <a:spcPct val="100000"/>
              </a:lnSpc>
              <a:spcBef>
                <a:spcPts val="0"/>
              </a:spcBef>
              <a:buNone/>
              <a:defRPr lang="de-DE" sz="1100" kern="1200" baseline="0" noProof="0" smtClean="0">
                <a:solidFill>
                  <a:schemeClr val="bg2"/>
                </a:solidFill>
                <a:latin typeface="Arial" pitchFamily="34" charset="0"/>
                <a:ea typeface="+mn-ea"/>
                <a:cs typeface="Arial" pitchFamily="34" charset="0"/>
              </a:defRPr>
            </a:lvl9pPr>
          </a:lstStyle>
          <a:p>
            <a:pPr lvl="0"/>
            <a:r>
              <a:rPr lang="en-US"/>
              <a:t>Click to add source information</a:t>
            </a:r>
          </a:p>
        </p:txBody>
      </p:sp>
      <p:sp>
        <p:nvSpPr>
          <p:cNvPr id="5" name="Title 4"/>
          <p:cNvSpPr>
            <a:spLocks noGrp="1"/>
          </p:cNvSpPr>
          <p:nvPr>
            <p:ph type="title" hasCustomPrompt="1"/>
          </p:nvPr>
        </p:nvSpPr>
        <p:spPr/>
        <p:txBody>
          <a:bodyPr/>
          <a:lstStyle/>
          <a:p>
            <a:r>
              <a:rPr lang="en-US"/>
              <a:t>Click to add headline</a:t>
            </a:r>
          </a:p>
        </p:txBody>
      </p:sp>
    </p:spTree>
    <p:extLst>
      <p:ext uri="{BB962C8B-B14F-4D97-AF65-F5344CB8AC3E}">
        <p14:creationId xmlns:p14="http://schemas.microsoft.com/office/powerpoint/2010/main" val="1559728949"/>
      </p:ext>
    </p:extLst>
  </p:cSld>
  <p:clrMapOvr>
    <a:masterClrMapping/>
  </p:clrMapOvr>
</p:sldLayout>
</file>

<file path=ppt/slideLayouts/slideLayout430.xml><?xml version="1.0" encoding="utf-8"?>
<p:sldLayout xmlns:a="http://schemas.openxmlformats.org/drawingml/2006/main" xmlns:r="http://schemas.openxmlformats.org/officeDocument/2006/relationships" xmlns:p="http://schemas.openxmlformats.org/presentationml/2006/main" preserve="1">
  <p:cSld name="Large charts and tables">
    <p:spTree>
      <p:nvGrpSpPr>
        <p:cNvPr id="1" name=""/>
        <p:cNvGrpSpPr/>
        <p:nvPr/>
      </p:nvGrpSpPr>
      <p:grpSpPr>
        <a:xfrm>
          <a:off x="0" y="0"/>
          <a:ext cx="0" cy="0"/>
          <a:chOff x="0" y="0"/>
          <a:chExt cx="0" cy="0"/>
        </a:xfrm>
      </p:grpSpPr>
      <p:sp>
        <p:nvSpPr>
          <p:cNvPr id="21" name="Date Placeholder 20"/>
          <p:cNvSpPr>
            <a:spLocks noGrp="1"/>
          </p:cNvSpPr>
          <p:nvPr>
            <p:ph type="dt" sz="half" idx="14"/>
          </p:nvPr>
        </p:nvSpPr>
        <p:spPr/>
        <p:txBody>
          <a:bodyPr/>
          <a:lstStyle/>
          <a:p>
            <a:endParaRPr lang="en-US"/>
          </a:p>
        </p:txBody>
      </p:sp>
      <p:sp>
        <p:nvSpPr>
          <p:cNvPr id="22" name="Footer Placeholder 21"/>
          <p:cNvSpPr>
            <a:spLocks noGrp="1"/>
          </p:cNvSpPr>
          <p:nvPr>
            <p:ph type="ftr" sz="quarter" idx="15"/>
          </p:nvPr>
        </p:nvSpPr>
        <p:spPr/>
        <p:txBody>
          <a:bodyPr/>
          <a:lstStyle/>
          <a:p>
            <a:endParaRPr lang="en-US"/>
          </a:p>
        </p:txBody>
      </p:sp>
      <p:sp>
        <p:nvSpPr>
          <p:cNvPr id="23" name="Slide Number Placeholder 22"/>
          <p:cNvSpPr>
            <a:spLocks noGrp="1"/>
          </p:cNvSpPr>
          <p:nvPr>
            <p:ph type="sldNum" sz="quarter" idx="16"/>
          </p:nvPr>
        </p:nvSpPr>
        <p:spPr/>
        <p:txBody>
          <a:bodyPr/>
          <a:lstStyle/>
          <a:p>
            <a:fld id="{5F3E29E4-0979-4FCA-B4C5-5FC6044C982A}" type="slidenum">
              <a:rPr lang="en-US" smtClean="0"/>
              <a:t>‹#›</a:t>
            </a:fld>
            <a:endParaRPr lang="en-US"/>
          </a:p>
        </p:txBody>
      </p:sp>
      <p:sp>
        <p:nvSpPr>
          <p:cNvPr id="2" name="Title 1"/>
          <p:cNvSpPr>
            <a:spLocks noGrp="1"/>
          </p:cNvSpPr>
          <p:nvPr>
            <p:ph type="title" hasCustomPrompt="1"/>
          </p:nvPr>
        </p:nvSpPr>
        <p:spPr/>
        <p:txBody>
          <a:bodyPr/>
          <a:lstStyle>
            <a:lvl1pPr>
              <a:defRPr/>
            </a:lvl1pPr>
          </a:lstStyle>
          <a:p>
            <a:r>
              <a:rPr lang="en-US"/>
              <a:t>Click to add slide title</a:t>
            </a:r>
          </a:p>
        </p:txBody>
      </p:sp>
      <p:sp>
        <p:nvSpPr>
          <p:cNvPr id="7" name="Subtitle 2"/>
          <p:cNvSpPr>
            <a:spLocks noGrp="1"/>
          </p:cNvSpPr>
          <p:nvPr>
            <p:ph type="subTitle" idx="13" hasCustomPrompt="1"/>
          </p:nvPr>
        </p:nvSpPr>
        <p:spPr>
          <a:xfrm>
            <a:off x="1075061" y="964671"/>
            <a:ext cx="7910158" cy="490042"/>
          </a:xfrm>
        </p:spPr>
        <p:txBody>
          <a:bodyPr wrap="none"/>
          <a:lstStyle>
            <a:lvl1pPr marL="0" indent="0" algn="l">
              <a:spcBef>
                <a:spcPts val="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sp>
        <p:nvSpPr>
          <p:cNvPr id="3" name="Content Placeholder 2"/>
          <p:cNvSpPr>
            <a:spLocks noGrp="1"/>
          </p:cNvSpPr>
          <p:nvPr>
            <p:ph idx="1" hasCustomPrompt="1"/>
          </p:nvPr>
        </p:nvSpPr>
        <p:spPr>
          <a:xfrm>
            <a:off x="192088" y="1629617"/>
            <a:ext cx="11642581" cy="4599506"/>
          </a:xfrm>
        </p:spPr>
        <p:txBody>
          <a:bodyPr anchor="t"/>
          <a:lstStyle>
            <a:lvl1pPr marL="0" indent="0" algn="ctr">
              <a:spcBef>
                <a:spcPts val="1000"/>
              </a:spcBef>
              <a:buNone/>
              <a:defRPr sz="2800" baseline="0"/>
            </a:lvl1pPr>
            <a:lvl2pPr marL="0" indent="0">
              <a:spcBef>
                <a:spcPts val="1000"/>
              </a:spcBef>
              <a:buNone/>
              <a:defRPr sz="2800"/>
            </a:lvl2pPr>
            <a:lvl3pPr marL="0" indent="0">
              <a:spcBef>
                <a:spcPts val="1000"/>
              </a:spcBef>
              <a:buNone/>
              <a:defRPr sz="2800"/>
            </a:lvl3pPr>
            <a:lvl4pPr>
              <a:spcBef>
                <a:spcPts val="1000"/>
              </a:spcBef>
              <a:buNone/>
              <a:defRPr sz="2800"/>
            </a:lvl4pPr>
            <a:lvl5pPr marL="0" indent="0">
              <a:spcBef>
                <a:spcPts val="1000"/>
              </a:spcBef>
              <a:buNone/>
              <a:defRPr sz="2800"/>
            </a:lvl5pPr>
          </a:lstStyle>
          <a:p>
            <a:pPr lvl="0"/>
            <a:r>
              <a:rPr lang="en-US"/>
              <a:t>Use this layout for large charts and tables only. Please, do not use with text.</a:t>
            </a:r>
          </a:p>
          <a:p>
            <a:pPr lvl="1"/>
            <a:r>
              <a:rPr lang="en-US"/>
              <a:t>Second level</a:t>
            </a:r>
          </a:p>
          <a:p>
            <a:pPr lvl="2"/>
            <a:r>
              <a:rPr lang="en-US"/>
              <a:t>Third level</a:t>
            </a:r>
          </a:p>
          <a:p>
            <a:pPr lvl="3"/>
            <a:r>
              <a:rPr lang="en-US"/>
              <a:t>Fourth level</a:t>
            </a:r>
          </a:p>
          <a:p>
            <a:pPr lvl="4"/>
            <a:r>
              <a:rPr lang="en-US"/>
              <a:t>Fifth level</a:t>
            </a:r>
          </a:p>
        </p:txBody>
      </p:sp>
      <p:sp>
        <p:nvSpPr>
          <p:cNvPr id="9" name="Text Placeholder 4"/>
          <p:cNvSpPr>
            <a:spLocks noGrp="1"/>
          </p:cNvSpPr>
          <p:nvPr>
            <p:ph type="body" sz="quarter" idx="17" hasCustomPrompt="1"/>
          </p:nvPr>
        </p:nvSpPr>
        <p:spPr>
          <a:xfrm>
            <a:off x="1075063" y="6307665"/>
            <a:ext cx="8162717" cy="133200"/>
          </a:xfrm>
        </p:spPr>
        <p:txBody>
          <a:bodyPr lIns="0" tIns="0" rIns="0" bIns="0" anchor="b" anchorCtr="0"/>
          <a:lstStyle>
            <a:lvl1pPr marL="0" indent="0" algn="l">
              <a:lnSpc>
                <a:spcPct val="100000"/>
              </a:lnSpc>
              <a:spcBef>
                <a:spcPts val="0"/>
              </a:spcBef>
              <a:buNone/>
              <a:defRPr sz="800" baseline="0"/>
            </a:lvl1pPr>
            <a:lvl2pPr marL="0" indent="0" algn="l">
              <a:lnSpc>
                <a:spcPct val="100000"/>
              </a:lnSpc>
              <a:spcBef>
                <a:spcPts val="0"/>
              </a:spcBef>
              <a:buNone/>
              <a:defRPr sz="800"/>
            </a:lvl2pPr>
            <a:lvl3pPr marL="0" indent="0" algn="l">
              <a:lnSpc>
                <a:spcPct val="100000"/>
              </a:lnSpc>
              <a:spcBef>
                <a:spcPts val="0"/>
              </a:spcBef>
              <a:buNone/>
              <a:defRPr sz="800"/>
            </a:lvl3pPr>
            <a:lvl4pPr marL="0" algn="l">
              <a:lnSpc>
                <a:spcPct val="100000"/>
              </a:lnSpc>
              <a:spcBef>
                <a:spcPts val="0"/>
              </a:spcBef>
              <a:buNone/>
              <a:defRPr sz="800"/>
            </a:lvl4pPr>
            <a:lvl5pPr marL="0" indent="0" algn="l">
              <a:lnSpc>
                <a:spcPct val="100000"/>
              </a:lnSpc>
              <a:spcBef>
                <a:spcPts val="0"/>
              </a:spcBef>
              <a:buNone/>
              <a:defRPr sz="800"/>
            </a:lvl5pPr>
          </a:lstStyle>
          <a:p>
            <a:pPr lvl="0"/>
            <a:r>
              <a:rPr lang="en-US"/>
              <a:t>Source line</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8903390"/>
      </p:ext>
    </p:extLst>
  </p:cSld>
  <p:clrMapOvr>
    <a:masterClrMapping/>
  </p:clrMapOvr>
</p:sldLayout>
</file>

<file path=ppt/slideLayouts/slideLayout431.xml><?xml version="1.0" encoding="utf-8"?>
<p:sldLayout xmlns:a="http://schemas.openxmlformats.org/drawingml/2006/main" xmlns:r="http://schemas.openxmlformats.org/officeDocument/2006/relationships" xmlns:p="http://schemas.openxmlformats.org/presentationml/2006/main" preserve="1">
  <p:cSld name="Chart with description">
    <p:spTree>
      <p:nvGrpSpPr>
        <p:cNvPr id="1" name=""/>
        <p:cNvGrpSpPr/>
        <p:nvPr/>
      </p:nvGrpSpPr>
      <p:grpSpPr>
        <a:xfrm>
          <a:off x="0" y="0"/>
          <a:ext cx="0" cy="0"/>
          <a:chOff x="0" y="0"/>
          <a:chExt cx="0" cy="0"/>
        </a:xfrm>
      </p:grpSpPr>
      <p:sp>
        <p:nvSpPr>
          <p:cNvPr id="21" name="Date Placeholder 20"/>
          <p:cNvSpPr>
            <a:spLocks noGrp="1"/>
          </p:cNvSpPr>
          <p:nvPr>
            <p:ph type="dt" sz="half" idx="14"/>
          </p:nvPr>
        </p:nvSpPr>
        <p:spPr/>
        <p:txBody>
          <a:bodyPr/>
          <a:lstStyle/>
          <a:p>
            <a:endParaRPr lang="en-US"/>
          </a:p>
        </p:txBody>
      </p:sp>
      <p:sp>
        <p:nvSpPr>
          <p:cNvPr id="22" name="Footer Placeholder 21"/>
          <p:cNvSpPr>
            <a:spLocks noGrp="1"/>
          </p:cNvSpPr>
          <p:nvPr>
            <p:ph type="ftr" sz="quarter" idx="15"/>
          </p:nvPr>
        </p:nvSpPr>
        <p:spPr/>
        <p:txBody>
          <a:bodyPr/>
          <a:lstStyle/>
          <a:p>
            <a:endParaRPr lang="en-US"/>
          </a:p>
        </p:txBody>
      </p:sp>
      <p:sp>
        <p:nvSpPr>
          <p:cNvPr id="23" name="Slide Number Placeholder 22"/>
          <p:cNvSpPr>
            <a:spLocks noGrp="1"/>
          </p:cNvSpPr>
          <p:nvPr>
            <p:ph type="sldNum" sz="quarter" idx="16"/>
          </p:nvPr>
        </p:nvSpPr>
        <p:spPr/>
        <p:txBody>
          <a:bodyPr/>
          <a:lstStyle/>
          <a:p>
            <a:fld id="{5F3E29E4-0979-4FCA-B4C5-5FC6044C982A}" type="slidenum">
              <a:rPr lang="en-US" smtClean="0"/>
              <a:t>‹#›</a:t>
            </a:fld>
            <a:endParaRPr lang="en-US"/>
          </a:p>
        </p:txBody>
      </p:sp>
      <p:sp>
        <p:nvSpPr>
          <p:cNvPr id="2" name="Title 1"/>
          <p:cNvSpPr>
            <a:spLocks noGrp="1"/>
          </p:cNvSpPr>
          <p:nvPr>
            <p:ph type="title" hasCustomPrompt="1"/>
          </p:nvPr>
        </p:nvSpPr>
        <p:spPr/>
        <p:txBody>
          <a:bodyPr/>
          <a:lstStyle>
            <a:lvl1pPr>
              <a:defRPr/>
            </a:lvl1pPr>
          </a:lstStyle>
          <a:p>
            <a:r>
              <a:rPr lang="en-US"/>
              <a:t>Click to add slide title</a:t>
            </a:r>
          </a:p>
        </p:txBody>
      </p:sp>
      <p:sp>
        <p:nvSpPr>
          <p:cNvPr id="7" name="Subtitle 2"/>
          <p:cNvSpPr>
            <a:spLocks noGrp="1"/>
          </p:cNvSpPr>
          <p:nvPr>
            <p:ph type="subTitle" idx="13" hasCustomPrompt="1"/>
          </p:nvPr>
        </p:nvSpPr>
        <p:spPr>
          <a:xfrm>
            <a:off x="1075061" y="964671"/>
            <a:ext cx="7910158" cy="490042"/>
          </a:xfrm>
        </p:spPr>
        <p:txBody>
          <a:bodyPr wrap="none"/>
          <a:lstStyle>
            <a:lvl1pPr marL="0" indent="0" algn="l">
              <a:spcBef>
                <a:spcPts val="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sp>
        <p:nvSpPr>
          <p:cNvPr id="4" name="Chart Placeholder 3"/>
          <p:cNvSpPr>
            <a:spLocks noGrp="1"/>
          </p:cNvSpPr>
          <p:nvPr>
            <p:ph type="chart" sz="quarter" idx="17" hasCustomPrompt="1"/>
          </p:nvPr>
        </p:nvSpPr>
        <p:spPr>
          <a:xfrm>
            <a:off x="192088" y="1629617"/>
            <a:ext cx="5903913" cy="4599506"/>
          </a:xfrm>
        </p:spPr>
        <p:txBody>
          <a:bodyPr/>
          <a:lstStyle>
            <a:lvl1pPr>
              <a:defRPr/>
            </a:lvl1pPr>
          </a:lstStyle>
          <a:p>
            <a:r>
              <a:rPr lang="en-US"/>
              <a:t>Click to add chart</a:t>
            </a:r>
          </a:p>
        </p:txBody>
      </p:sp>
      <p:sp>
        <p:nvSpPr>
          <p:cNvPr id="6" name="Text Placeholder 5"/>
          <p:cNvSpPr>
            <a:spLocks noGrp="1"/>
          </p:cNvSpPr>
          <p:nvPr>
            <p:ph type="body" sz="quarter" idx="18" hasCustomPrompt="1"/>
          </p:nvPr>
        </p:nvSpPr>
        <p:spPr>
          <a:xfrm>
            <a:off x="6206067" y="3393019"/>
            <a:ext cx="5628602" cy="2023841"/>
          </a:xfrm>
          <a:solidFill>
            <a:srgbClr val="D9DADB"/>
          </a:solidFill>
        </p:spPr>
        <p:txBody>
          <a:bodyPr lIns="108000" tIns="108000" rIns="108000" bIns="108000"/>
          <a:lstStyle>
            <a:lvl1pPr>
              <a:defRPr sz="1600"/>
            </a:lvl1pPr>
            <a:lvl2pPr>
              <a:defRPr sz="1600"/>
            </a:lvl2pPr>
            <a:lvl3pPr>
              <a:defRPr sz="1600"/>
            </a:lvl3pPr>
            <a:lvl4pPr>
              <a:defRPr sz="1600"/>
            </a:lvl4pPr>
            <a:lvl5pPr>
              <a:defRPr sz="1600"/>
            </a:lvl5pPr>
          </a:lstStyle>
          <a:p>
            <a:pPr lvl="0"/>
            <a:r>
              <a:rPr lang="en-US"/>
              <a:t>Click to add text</a:t>
            </a:r>
          </a:p>
          <a:p>
            <a:pPr lvl="1"/>
            <a:r>
              <a:rPr lang="en-US"/>
              <a:t>Second level</a:t>
            </a:r>
          </a:p>
          <a:p>
            <a:pPr lvl="2"/>
            <a:r>
              <a:rPr lang="en-US"/>
              <a:t>Third level</a:t>
            </a:r>
          </a:p>
          <a:p>
            <a:pPr lvl="3"/>
            <a:r>
              <a:rPr lang="en-US"/>
              <a:t>Fourth level</a:t>
            </a:r>
          </a:p>
          <a:p>
            <a:pPr lvl="4"/>
            <a:r>
              <a:rPr lang="en-US"/>
              <a:t>Fifth level</a:t>
            </a:r>
          </a:p>
        </p:txBody>
      </p:sp>
      <p:sp>
        <p:nvSpPr>
          <p:cNvPr id="10" name="Text Placeholder 4"/>
          <p:cNvSpPr>
            <a:spLocks noGrp="1"/>
          </p:cNvSpPr>
          <p:nvPr>
            <p:ph type="body" sz="quarter" idx="19" hasCustomPrompt="1"/>
          </p:nvPr>
        </p:nvSpPr>
        <p:spPr>
          <a:xfrm>
            <a:off x="1075063" y="6307665"/>
            <a:ext cx="8162717" cy="133200"/>
          </a:xfrm>
        </p:spPr>
        <p:txBody>
          <a:bodyPr lIns="0" tIns="0" rIns="0" bIns="0" anchor="b" anchorCtr="0"/>
          <a:lstStyle>
            <a:lvl1pPr marL="0" indent="0" algn="l">
              <a:lnSpc>
                <a:spcPct val="100000"/>
              </a:lnSpc>
              <a:spcBef>
                <a:spcPts val="0"/>
              </a:spcBef>
              <a:buNone/>
              <a:defRPr sz="800" baseline="0"/>
            </a:lvl1pPr>
            <a:lvl2pPr marL="0" indent="0" algn="l">
              <a:lnSpc>
                <a:spcPct val="100000"/>
              </a:lnSpc>
              <a:spcBef>
                <a:spcPts val="0"/>
              </a:spcBef>
              <a:buNone/>
              <a:defRPr sz="800"/>
            </a:lvl2pPr>
            <a:lvl3pPr marL="0" indent="0" algn="l">
              <a:lnSpc>
                <a:spcPct val="100000"/>
              </a:lnSpc>
              <a:spcBef>
                <a:spcPts val="0"/>
              </a:spcBef>
              <a:buNone/>
              <a:defRPr sz="800"/>
            </a:lvl3pPr>
            <a:lvl4pPr marL="0" algn="l">
              <a:lnSpc>
                <a:spcPct val="100000"/>
              </a:lnSpc>
              <a:spcBef>
                <a:spcPts val="0"/>
              </a:spcBef>
              <a:buNone/>
              <a:defRPr sz="800"/>
            </a:lvl4pPr>
            <a:lvl5pPr marL="0" indent="0" algn="l">
              <a:lnSpc>
                <a:spcPct val="100000"/>
              </a:lnSpc>
              <a:spcBef>
                <a:spcPts val="0"/>
              </a:spcBef>
              <a:buNone/>
              <a:defRPr sz="800"/>
            </a:lvl5pPr>
          </a:lstStyle>
          <a:p>
            <a:pPr lvl="0"/>
            <a:r>
              <a:rPr lang="en-US"/>
              <a:t>Source line</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8895038"/>
      </p:ext>
    </p:extLst>
  </p:cSld>
  <p:clrMapOvr>
    <a:masterClrMapping/>
  </p:clrMapOvr>
</p:sldLayout>
</file>

<file path=ppt/slideLayouts/slideLayout432.xml><?xml version="1.0" encoding="utf-8"?>
<p:sldLayout xmlns:a="http://schemas.openxmlformats.org/drawingml/2006/main" xmlns:r="http://schemas.openxmlformats.org/officeDocument/2006/relationships" xmlns:p="http://schemas.openxmlformats.org/presentationml/2006/main" preserve="1">
  <p:cSld name="Notebook">
    <p:spTree>
      <p:nvGrpSpPr>
        <p:cNvPr id="1" name=""/>
        <p:cNvGrpSpPr/>
        <p:nvPr/>
      </p:nvGrpSpPr>
      <p:grpSpPr>
        <a:xfrm>
          <a:off x="0" y="0"/>
          <a:ext cx="0" cy="0"/>
          <a:chOff x="0" y="0"/>
          <a:chExt cx="0" cy="0"/>
        </a:xfrm>
      </p:grpSpPr>
      <p:pic>
        <p:nvPicPr>
          <p:cNvPr id="13" name="Notebook">
            <a:extLst>
              <a:ext uri="{FF2B5EF4-FFF2-40B4-BE49-F238E27FC236}">
                <a16:creationId xmlns:a16="http://schemas.microsoft.com/office/drawing/2014/main" id="{6DEE1461-64EC-7246-8FA6-71C6BF497627}"/>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3651351" y="1267197"/>
            <a:ext cx="8528460" cy="5161713"/>
          </a:xfrm>
          <a:prstGeom prst="rect">
            <a:avLst/>
          </a:prstGeom>
        </p:spPr>
      </p:pic>
      <p:sp>
        <p:nvSpPr>
          <p:cNvPr id="21" name="Date Placeholder 20"/>
          <p:cNvSpPr>
            <a:spLocks noGrp="1"/>
          </p:cNvSpPr>
          <p:nvPr>
            <p:ph type="dt" sz="half" idx="14"/>
          </p:nvPr>
        </p:nvSpPr>
        <p:spPr/>
        <p:txBody>
          <a:bodyPr/>
          <a:lstStyle/>
          <a:p>
            <a:endParaRPr lang="en-US"/>
          </a:p>
        </p:txBody>
      </p:sp>
      <p:sp>
        <p:nvSpPr>
          <p:cNvPr id="22" name="Footer Placeholder 21"/>
          <p:cNvSpPr>
            <a:spLocks noGrp="1"/>
          </p:cNvSpPr>
          <p:nvPr>
            <p:ph type="ftr" sz="quarter" idx="15"/>
          </p:nvPr>
        </p:nvSpPr>
        <p:spPr/>
        <p:txBody>
          <a:bodyPr/>
          <a:lstStyle/>
          <a:p>
            <a:endParaRPr lang="en-US"/>
          </a:p>
        </p:txBody>
      </p:sp>
      <p:sp>
        <p:nvSpPr>
          <p:cNvPr id="23" name="Slide Number Placeholder 22"/>
          <p:cNvSpPr>
            <a:spLocks noGrp="1"/>
          </p:cNvSpPr>
          <p:nvPr>
            <p:ph type="sldNum" sz="quarter" idx="16"/>
          </p:nvPr>
        </p:nvSpPr>
        <p:spPr/>
        <p:txBody>
          <a:bodyPr/>
          <a:lstStyle/>
          <a:p>
            <a:fld id="{5F3E29E4-0979-4FCA-B4C5-5FC6044C982A}" type="slidenum">
              <a:rPr lang="en-US" smtClean="0"/>
              <a:t>‹#›</a:t>
            </a:fld>
            <a:endParaRPr lang="en-US"/>
          </a:p>
        </p:txBody>
      </p:sp>
      <p:sp>
        <p:nvSpPr>
          <p:cNvPr id="2" name="Title 1"/>
          <p:cNvSpPr>
            <a:spLocks noGrp="1"/>
          </p:cNvSpPr>
          <p:nvPr>
            <p:ph type="title" hasCustomPrompt="1"/>
          </p:nvPr>
        </p:nvSpPr>
        <p:spPr/>
        <p:txBody>
          <a:bodyPr/>
          <a:lstStyle>
            <a:lvl1pPr>
              <a:defRPr/>
            </a:lvl1pPr>
          </a:lstStyle>
          <a:p>
            <a:r>
              <a:rPr lang="en-US"/>
              <a:t>Click to add slide title</a:t>
            </a:r>
          </a:p>
        </p:txBody>
      </p:sp>
      <p:sp>
        <p:nvSpPr>
          <p:cNvPr id="7" name="Subtitle 2"/>
          <p:cNvSpPr>
            <a:spLocks noGrp="1"/>
          </p:cNvSpPr>
          <p:nvPr>
            <p:ph type="subTitle" idx="13" hasCustomPrompt="1"/>
          </p:nvPr>
        </p:nvSpPr>
        <p:spPr>
          <a:xfrm>
            <a:off x="1075061" y="964671"/>
            <a:ext cx="7910158" cy="490042"/>
          </a:xfrm>
        </p:spPr>
        <p:txBody>
          <a:bodyPr wrap="none"/>
          <a:lstStyle>
            <a:lvl1pPr marL="0" indent="0" algn="l">
              <a:spcBef>
                <a:spcPts val="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sp>
        <p:nvSpPr>
          <p:cNvPr id="3" name="Content Placeholder 2"/>
          <p:cNvSpPr>
            <a:spLocks noGrp="1"/>
          </p:cNvSpPr>
          <p:nvPr>
            <p:ph idx="1" hasCustomPrompt="1"/>
          </p:nvPr>
        </p:nvSpPr>
        <p:spPr>
          <a:xfrm>
            <a:off x="1075062" y="1852623"/>
            <a:ext cx="3287388" cy="3658714"/>
          </a:xfrm>
        </p:spPr>
        <p:txBody>
          <a:bodyPr anchor="ctr"/>
          <a:lstStyle>
            <a:lvl1pPr>
              <a:defRPr sz="1600"/>
            </a:lvl1pPr>
            <a:lvl2pPr>
              <a:defRPr sz="1600"/>
            </a:lvl2pPr>
            <a:lvl3pPr>
              <a:defRPr sz="1600"/>
            </a:lvl3pPr>
            <a:lvl4pPr>
              <a:defRPr sz="1600"/>
            </a:lvl4pPr>
            <a:lvl5pPr>
              <a:defRPr sz="1600"/>
            </a:lvl5pPr>
          </a:lstStyle>
          <a:p>
            <a:pPr lvl="0"/>
            <a:r>
              <a:rPr lang="en-US"/>
              <a:t>Click to add text</a:t>
            </a:r>
          </a:p>
          <a:p>
            <a:pPr lvl="1"/>
            <a:r>
              <a:rPr lang="en-US"/>
              <a:t>Second level</a:t>
            </a:r>
          </a:p>
          <a:p>
            <a:pPr lvl="2"/>
            <a:r>
              <a:rPr lang="en-US"/>
              <a:t>Third level</a:t>
            </a:r>
          </a:p>
          <a:p>
            <a:pPr lvl="3"/>
            <a:r>
              <a:rPr lang="en-US"/>
              <a:t>Fourth level</a:t>
            </a:r>
          </a:p>
          <a:p>
            <a:pPr lvl="4"/>
            <a:r>
              <a:rPr lang="en-US"/>
              <a:t>Fifth level</a:t>
            </a:r>
          </a:p>
        </p:txBody>
      </p:sp>
      <p:sp>
        <p:nvSpPr>
          <p:cNvPr id="5" name="Picture Placeholder 4"/>
          <p:cNvSpPr>
            <a:spLocks noGrp="1"/>
          </p:cNvSpPr>
          <p:nvPr>
            <p:ph type="pic" sz="quarter" idx="17" hasCustomPrompt="1"/>
          </p:nvPr>
        </p:nvSpPr>
        <p:spPr>
          <a:xfrm>
            <a:off x="4904507" y="1821610"/>
            <a:ext cx="6001200" cy="3664800"/>
          </a:xfrm>
          <a:solidFill>
            <a:srgbClr val="D9DADB"/>
          </a:solidFill>
        </p:spPr>
        <p:txBody>
          <a:bodyPr/>
          <a:lstStyle>
            <a:lvl1pPr marL="0" indent="0">
              <a:buNone/>
              <a:defRPr/>
            </a:lvl1pPr>
          </a:lstStyle>
          <a:p>
            <a:r>
              <a:rPr lang="en-US"/>
              <a:t>Insert picture</a:t>
            </a:r>
          </a:p>
        </p:txBody>
      </p:sp>
      <p:sp>
        <p:nvSpPr>
          <p:cNvPr id="11" name="Text Placeholder 4"/>
          <p:cNvSpPr>
            <a:spLocks noGrp="1"/>
          </p:cNvSpPr>
          <p:nvPr>
            <p:ph type="body" sz="quarter" idx="18" hasCustomPrompt="1"/>
          </p:nvPr>
        </p:nvSpPr>
        <p:spPr>
          <a:xfrm>
            <a:off x="1075063" y="6307665"/>
            <a:ext cx="8162717" cy="133200"/>
          </a:xfrm>
        </p:spPr>
        <p:txBody>
          <a:bodyPr lIns="0" tIns="0" rIns="0" bIns="0" anchor="b" anchorCtr="0"/>
          <a:lstStyle>
            <a:lvl1pPr marL="0" indent="0" algn="l">
              <a:lnSpc>
                <a:spcPct val="100000"/>
              </a:lnSpc>
              <a:spcBef>
                <a:spcPts val="0"/>
              </a:spcBef>
              <a:buNone/>
              <a:defRPr sz="800" baseline="0"/>
            </a:lvl1pPr>
            <a:lvl2pPr marL="0" indent="0" algn="l">
              <a:lnSpc>
                <a:spcPct val="100000"/>
              </a:lnSpc>
              <a:spcBef>
                <a:spcPts val="0"/>
              </a:spcBef>
              <a:buNone/>
              <a:defRPr sz="800"/>
            </a:lvl2pPr>
            <a:lvl3pPr marL="0" indent="0" algn="l">
              <a:lnSpc>
                <a:spcPct val="100000"/>
              </a:lnSpc>
              <a:spcBef>
                <a:spcPts val="0"/>
              </a:spcBef>
              <a:buNone/>
              <a:defRPr sz="800"/>
            </a:lvl3pPr>
            <a:lvl4pPr marL="0" algn="l">
              <a:lnSpc>
                <a:spcPct val="100000"/>
              </a:lnSpc>
              <a:spcBef>
                <a:spcPts val="0"/>
              </a:spcBef>
              <a:buNone/>
              <a:defRPr sz="800"/>
            </a:lvl4pPr>
            <a:lvl5pPr marL="0" indent="0" algn="l">
              <a:lnSpc>
                <a:spcPct val="100000"/>
              </a:lnSpc>
              <a:spcBef>
                <a:spcPts val="0"/>
              </a:spcBef>
              <a:buNone/>
              <a:defRPr sz="800"/>
            </a:lvl5pPr>
          </a:lstStyle>
          <a:p>
            <a:pPr lvl="0"/>
            <a:r>
              <a:rPr lang="en-US"/>
              <a:t>Source line</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41254007"/>
      </p:ext>
    </p:extLst>
  </p:cSld>
  <p:clrMapOvr>
    <a:masterClrMapping/>
  </p:clrMapOvr>
</p:sldLayout>
</file>

<file path=ppt/slideLayouts/slideLayout433.xml><?xml version="1.0" encoding="utf-8"?>
<p:sldLayout xmlns:a="http://schemas.openxmlformats.org/drawingml/2006/main" xmlns:r="http://schemas.openxmlformats.org/officeDocument/2006/relationships" xmlns:p="http://schemas.openxmlformats.org/presentationml/2006/main" preserve="1">
  <p:cSld name="Tablet">
    <p:spTree>
      <p:nvGrpSpPr>
        <p:cNvPr id="1" name=""/>
        <p:cNvGrpSpPr/>
        <p:nvPr/>
      </p:nvGrpSpPr>
      <p:grpSpPr>
        <a:xfrm>
          <a:off x="0" y="0"/>
          <a:ext cx="0" cy="0"/>
          <a:chOff x="0" y="0"/>
          <a:chExt cx="0" cy="0"/>
        </a:xfrm>
      </p:grpSpPr>
      <p:pic>
        <p:nvPicPr>
          <p:cNvPr id="12" name="Grafik 3">
            <a:extLst>
              <a:ext uri="{FF2B5EF4-FFF2-40B4-BE49-F238E27FC236}">
                <a16:creationId xmlns:a16="http://schemas.microsoft.com/office/drawing/2014/main" id="{1D97A272-8DE5-144D-9076-0F435EC79171}"/>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4422451" y="1441279"/>
            <a:ext cx="6858000" cy="5323585"/>
          </a:xfrm>
          <a:prstGeom prst="rect">
            <a:avLst/>
          </a:prstGeom>
        </p:spPr>
      </p:pic>
      <p:sp>
        <p:nvSpPr>
          <p:cNvPr id="21" name="Date Placeholder 20"/>
          <p:cNvSpPr>
            <a:spLocks noGrp="1"/>
          </p:cNvSpPr>
          <p:nvPr>
            <p:ph type="dt" sz="half" idx="14"/>
          </p:nvPr>
        </p:nvSpPr>
        <p:spPr/>
        <p:txBody>
          <a:bodyPr/>
          <a:lstStyle/>
          <a:p>
            <a:endParaRPr lang="en-US"/>
          </a:p>
        </p:txBody>
      </p:sp>
      <p:sp>
        <p:nvSpPr>
          <p:cNvPr id="22" name="Footer Placeholder 21"/>
          <p:cNvSpPr>
            <a:spLocks noGrp="1"/>
          </p:cNvSpPr>
          <p:nvPr>
            <p:ph type="ftr" sz="quarter" idx="15"/>
          </p:nvPr>
        </p:nvSpPr>
        <p:spPr/>
        <p:txBody>
          <a:bodyPr/>
          <a:lstStyle/>
          <a:p>
            <a:endParaRPr lang="en-US"/>
          </a:p>
        </p:txBody>
      </p:sp>
      <p:sp>
        <p:nvSpPr>
          <p:cNvPr id="23" name="Slide Number Placeholder 22"/>
          <p:cNvSpPr>
            <a:spLocks noGrp="1"/>
          </p:cNvSpPr>
          <p:nvPr>
            <p:ph type="sldNum" sz="quarter" idx="16"/>
          </p:nvPr>
        </p:nvSpPr>
        <p:spPr/>
        <p:txBody>
          <a:bodyPr/>
          <a:lstStyle/>
          <a:p>
            <a:fld id="{5F3E29E4-0979-4FCA-B4C5-5FC6044C982A}" type="slidenum">
              <a:rPr lang="en-US" smtClean="0"/>
              <a:t>‹#›</a:t>
            </a:fld>
            <a:endParaRPr lang="en-US"/>
          </a:p>
        </p:txBody>
      </p:sp>
      <p:sp>
        <p:nvSpPr>
          <p:cNvPr id="2" name="Title 1"/>
          <p:cNvSpPr>
            <a:spLocks noGrp="1"/>
          </p:cNvSpPr>
          <p:nvPr>
            <p:ph type="title" hasCustomPrompt="1"/>
          </p:nvPr>
        </p:nvSpPr>
        <p:spPr/>
        <p:txBody>
          <a:bodyPr/>
          <a:lstStyle>
            <a:lvl1pPr>
              <a:defRPr/>
            </a:lvl1pPr>
          </a:lstStyle>
          <a:p>
            <a:r>
              <a:rPr lang="en-US"/>
              <a:t>Click to add slide title</a:t>
            </a:r>
          </a:p>
        </p:txBody>
      </p:sp>
      <p:sp>
        <p:nvSpPr>
          <p:cNvPr id="7" name="Subtitle 2"/>
          <p:cNvSpPr>
            <a:spLocks noGrp="1"/>
          </p:cNvSpPr>
          <p:nvPr>
            <p:ph type="subTitle" idx="13" hasCustomPrompt="1"/>
          </p:nvPr>
        </p:nvSpPr>
        <p:spPr>
          <a:xfrm>
            <a:off x="1075061" y="964671"/>
            <a:ext cx="7910158" cy="490042"/>
          </a:xfrm>
        </p:spPr>
        <p:txBody>
          <a:bodyPr wrap="none"/>
          <a:lstStyle>
            <a:lvl1pPr marL="0" indent="0" algn="l">
              <a:spcBef>
                <a:spcPts val="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sp>
        <p:nvSpPr>
          <p:cNvPr id="3" name="Content Placeholder 2"/>
          <p:cNvSpPr>
            <a:spLocks noGrp="1"/>
          </p:cNvSpPr>
          <p:nvPr>
            <p:ph idx="1" hasCustomPrompt="1"/>
          </p:nvPr>
        </p:nvSpPr>
        <p:spPr>
          <a:xfrm>
            <a:off x="1075062" y="1852623"/>
            <a:ext cx="3287388" cy="3658714"/>
          </a:xfrm>
        </p:spPr>
        <p:txBody>
          <a:bodyPr anchor="ctr"/>
          <a:lstStyle>
            <a:lvl1pPr>
              <a:defRPr sz="1600"/>
            </a:lvl1pPr>
            <a:lvl2pPr>
              <a:defRPr sz="1600"/>
            </a:lvl2pPr>
            <a:lvl3pPr>
              <a:defRPr sz="1600"/>
            </a:lvl3pPr>
            <a:lvl4pPr>
              <a:defRPr sz="1600"/>
            </a:lvl4pPr>
            <a:lvl5pPr>
              <a:defRPr sz="1600"/>
            </a:lvl5pPr>
          </a:lstStyle>
          <a:p>
            <a:pPr lvl="0"/>
            <a:r>
              <a:rPr lang="en-US"/>
              <a:t>Click to add text</a:t>
            </a:r>
          </a:p>
          <a:p>
            <a:pPr lvl="1"/>
            <a:r>
              <a:rPr lang="en-US"/>
              <a:t>Second level</a:t>
            </a:r>
          </a:p>
          <a:p>
            <a:pPr lvl="2"/>
            <a:r>
              <a:rPr lang="en-US"/>
              <a:t>Third level</a:t>
            </a:r>
          </a:p>
          <a:p>
            <a:pPr lvl="3"/>
            <a:r>
              <a:rPr lang="en-US"/>
              <a:t>Fourth level</a:t>
            </a:r>
          </a:p>
          <a:p>
            <a:pPr lvl="4"/>
            <a:r>
              <a:rPr lang="en-US"/>
              <a:t>Fifth level</a:t>
            </a:r>
          </a:p>
        </p:txBody>
      </p:sp>
      <p:sp>
        <p:nvSpPr>
          <p:cNvPr id="5" name="Picture Placeholder 4"/>
          <p:cNvSpPr>
            <a:spLocks noGrp="1"/>
          </p:cNvSpPr>
          <p:nvPr>
            <p:ph type="pic" sz="quarter" idx="17" hasCustomPrompt="1"/>
          </p:nvPr>
        </p:nvSpPr>
        <p:spPr>
          <a:xfrm>
            <a:off x="5135561" y="2010934"/>
            <a:ext cx="5491064" cy="3428280"/>
          </a:xfrm>
          <a:solidFill>
            <a:srgbClr val="D9DADB"/>
          </a:solidFill>
        </p:spPr>
        <p:txBody>
          <a:bodyPr/>
          <a:lstStyle>
            <a:lvl1pPr marL="0" indent="0">
              <a:buNone/>
              <a:defRPr/>
            </a:lvl1pPr>
          </a:lstStyle>
          <a:p>
            <a:r>
              <a:rPr lang="en-US"/>
              <a:t>Insert picture</a:t>
            </a:r>
          </a:p>
        </p:txBody>
      </p:sp>
      <p:sp>
        <p:nvSpPr>
          <p:cNvPr id="11" name="Text Placeholder 4"/>
          <p:cNvSpPr>
            <a:spLocks noGrp="1"/>
          </p:cNvSpPr>
          <p:nvPr>
            <p:ph type="body" sz="quarter" idx="18" hasCustomPrompt="1"/>
          </p:nvPr>
        </p:nvSpPr>
        <p:spPr>
          <a:xfrm>
            <a:off x="1075063" y="6307665"/>
            <a:ext cx="8162717" cy="133200"/>
          </a:xfrm>
        </p:spPr>
        <p:txBody>
          <a:bodyPr lIns="0" tIns="0" rIns="0" bIns="0" anchor="b" anchorCtr="0"/>
          <a:lstStyle>
            <a:lvl1pPr marL="0" indent="0" algn="l">
              <a:lnSpc>
                <a:spcPct val="100000"/>
              </a:lnSpc>
              <a:spcBef>
                <a:spcPts val="0"/>
              </a:spcBef>
              <a:buNone/>
              <a:defRPr sz="800" baseline="0"/>
            </a:lvl1pPr>
            <a:lvl2pPr marL="0" indent="0" algn="l">
              <a:lnSpc>
                <a:spcPct val="100000"/>
              </a:lnSpc>
              <a:spcBef>
                <a:spcPts val="0"/>
              </a:spcBef>
              <a:buNone/>
              <a:defRPr sz="800"/>
            </a:lvl2pPr>
            <a:lvl3pPr marL="0" indent="0" algn="l">
              <a:lnSpc>
                <a:spcPct val="100000"/>
              </a:lnSpc>
              <a:spcBef>
                <a:spcPts val="0"/>
              </a:spcBef>
              <a:buNone/>
              <a:defRPr sz="800"/>
            </a:lvl3pPr>
            <a:lvl4pPr marL="0" algn="l">
              <a:lnSpc>
                <a:spcPct val="100000"/>
              </a:lnSpc>
              <a:spcBef>
                <a:spcPts val="0"/>
              </a:spcBef>
              <a:buNone/>
              <a:defRPr sz="800"/>
            </a:lvl4pPr>
            <a:lvl5pPr marL="0" indent="0" algn="l">
              <a:lnSpc>
                <a:spcPct val="100000"/>
              </a:lnSpc>
              <a:spcBef>
                <a:spcPts val="0"/>
              </a:spcBef>
              <a:buNone/>
              <a:defRPr sz="800"/>
            </a:lvl5pPr>
          </a:lstStyle>
          <a:p>
            <a:pPr lvl="0"/>
            <a:r>
              <a:rPr lang="en-US"/>
              <a:t>Source line</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42170727"/>
      </p:ext>
    </p:extLst>
  </p:cSld>
  <p:clrMapOvr>
    <a:masterClrMapping/>
  </p:clrMapOvr>
</p:sldLayout>
</file>

<file path=ppt/slideLayouts/slideLayout434.xml><?xml version="1.0" encoding="utf-8"?>
<p:sldLayout xmlns:a="http://schemas.openxmlformats.org/drawingml/2006/main" xmlns:r="http://schemas.openxmlformats.org/officeDocument/2006/relationships" xmlns:p="http://schemas.openxmlformats.org/presentationml/2006/main" preserve="1">
  <p:cSld name="Smartphone">
    <p:spTree>
      <p:nvGrpSpPr>
        <p:cNvPr id="1" name=""/>
        <p:cNvGrpSpPr/>
        <p:nvPr/>
      </p:nvGrpSpPr>
      <p:grpSpPr>
        <a:xfrm>
          <a:off x="0" y="0"/>
          <a:ext cx="0" cy="0"/>
          <a:chOff x="0" y="0"/>
          <a:chExt cx="0" cy="0"/>
        </a:xfrm>
      </p:grpSpPr>
      <p:pic>
        <p:nvPicPr>
          <p:cNvPr id="10" name="Grafik 2">
            <a:extLst>
              <a:ext uri="{FF2B5EF4-FFF2-40B4-BE49-F238E27FC236}">
                <a16:creationId xmlns:a16="http://schemas.microsoft.com/office/drawing/2014/main" id="{6421FD8A-F5D4-E041-A727-98ABA693B1A7}"/>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5472449" y="1362516"/>
            <a:ext cx="4953000" cy="4865134"/>
          </a:xfrm>
          <a:prstGeom prst="rect">
            <a:avLst/>
          </a:prstGeom>
          <a:effectLst>
            <a:reflection blurRad="6350" stA="48000" endPos="6000" dir="5400000" sy="-100000" algn="bl" rotWithShape="0"/>
          </a:effectLst>
        </p:spPr>
      </p:pic>
      <p:sp>
        <p:nvSpPr>
          <p:cNvPr id="21" name="Date Placeholder 20"/>
          <p:cNvSpPr>
            <a:spLocks noGrp="1"/>
          </p:cNvSpPr>
          <p:nvPr>
            <p:ph type="dt" sz="half" idx="14"/>
          </p:nvPr>
        </p:nvSpPr>
        <p:spPr/>
        <p:txBody>
          <a:bodyPr/>
          <a:lstStyle/>
          <a:p>
            <a:endParaRPr lang="en-US"/>
          </a:p>
        </p:txBody>
      </p:sp>
      <p:sp>
        <p:nvSpPr>
          <p:cNvPr id="22" name="Footer Placeholder 21"/>
          <p:cNvSpPr>
            <a:spLocks noGrp="1"/>
          </p:cNvSpPr>
          <p:nvPr>
            <p:ph type="ftr" sz="quarter" idx="15"/>
          </p:nvPr>
        </p:nvSpPr>
        <p:spPr/>
        <p:txBody>
          <a:bodyPr/>
          <a:lstStyle/>
          <a:p>
            <a:endParaRPr lang="en-US"/>
          </a:p>
        </p:txBody>
      </p:sp>
      <p:sp>
        <p:nvSpPr>
          <p:cNvPr id="23" name="Slide Number Placeholder 22"/>
          <p:cNvSpPr>
            <a:spLocks noGrp="1"/>
          </p:cNvSpPr>
          <p:nvPr>
            <p:ph type="sldNum" sz="quarter" idx="16"/>
          </p:nvPr>
        </p:nvSpPr>
        <p:spPr/>
        <p:txBody>
          <a:bodyPr/>
          <a:lstStyle/>
          <a:p>
            <a:fld id="{5F3E29E4-0979-4FCA-B4C5-5FC6044C982A}" type="slidenum">
              <a:rPr lang="en-US" smtClean="0"/>
              <a:t>‹#›</a:t>
            </a:fld>
            <a:endParaRPr lang="en-US"/>
          </a:p>
        </p:txBody>
      </p:sp>
      <p:sp>
        <p:nvSpPr>
          <p:cNvPr id="2" name="Title 1"/>
          <p:cNvSpPr>
            <a:spLocks noGrp="1"/>
          </p:cNvSpPr>
          <p:nvPr>
            <p:ph type="title" hasCustomPrompt="1"/>
          </p:nvPr>
        </p:nvSpPr>
        <p:spPr/>
        <p:txBody>
          <a:bodyPr/>
          <a:lstStyle>
            <a:lvl1pPr>
              <a:defRPr/>
            </a:lvl1pPr>
          </a:lstStyle>
          <a:p>
            <a:r>
              <a:rPr lang="en-US"/>
              <a:t>Click to add slide title</a:t>
            </a:r>
          </a:p>
        </p:txBody>
      </p:sp>
      <p:sp>
        <p:nvSpPr>
          <p:cNvPr id="7" name="Subtitle 2"/>
          <p:cNvSpPr>
            <a:spLocks noGrp="1"/>
          </p:cNvSpPr>
          <p:nvPr>
            <p:ph type="subTitle" idx="13" hasCustomPrompt="1"/>
          </p:nvPr>
        </p:nvSpPr>
        <p:spPr>
          <a:xfrm>
            <a:off x="1075061" y="964671"/>
            <a:ext cx="7910158" cy="490042"/>
          </a:xfrm>
        </p:spPr>
        <p:txBody>
          <a:bodyPr wrap="none"/>
          <a:lstStyle>
            <a:lvl1pPr marL="0" indent="0" algn="l">
              <a:spcBef>
                <a:spcPts val="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sp>
        <p:nvSpPr>
          <p:cNvPr id="3" name="Content Placeholder 2"/>
          <p:cNvSpPr>
            <a:spLocks noGrp="1"/>
          </p:cNvSpPr>
          <p:nvPr>
            <p:ph idx="1" hasCustomPrompt="1"/>
          </p:nvPr>
        </p:nvSpPr>
        <p:spPr>
          <a:xfrm>
            <a:off x="1075061" y="1852623"/>
            <a:ext cx="5241071" cy="3658714"/>
          </a:xfrm>
        </p:spPr>
        <p:txBody>
          <a:bodyPr anchor="ctr"/>
          <a:lstStyle>
            <a:lvl1pPr>
              <a:defRPr sz="1600"/>
            </a:lvl1pPr>
            <a:lvl2pPr>
              <a:defRPr sz="1600"/>
            </a:lvl2pPr>
            <a:lvl3pPr>
              <a:defRPr sz="1600"/>
            </a:lvl3pPr>
            <a:lvl4pPr>
              <a:defRPr sz="1600"/>
            </a:lvl4pPr>
            <a:lvl5pPr>
              <a:defRPr sz="1600"/>
            </a:lvl5pPr>
          </a:lstStyle>
          <a:p>
            <a:pPr lvl="0"/>
            <a:r>
              <a:rPr lang="en-US"/>
              <a:t>Click to add text</a:t>
            </a:r>
          </a:p>
          <a:p>
            <a:pPr lvl="1"/>
            <a:r>
              <a:rPr lang="en-US"/>
              <a:t>Second level</a:t>
            </a:r>
          </a:p>
          <a:p>
            <a:pPr lvl="2"/>
            <a:r>
              <a:rPr lang="en-US"/>
              <a:t>Third level</a:t>
            </a:r>
          </a:p>
          <a:p>
            <a:pPr lvl="3"/>
            <a:r>
              <a:rPr lang="en-US"/>
              <a:t>Fourth level</a:t>
            </a:r>
          </a:p>
          <a:p>
            <a:pPr lvl="4"/>
            <a:r>
              <a:rPr lang="en-US"/>
              <a:t>Fifth level</a:t>
            </a:r>
          </a:p>
        </p:txBody>
      </p:sp>
      <p:sp>
        <p:nvSpPr>
          <p:cNvPr id="5" name="Picture Placeholder 4"/>
          <p:cNvSpPr>
            <a:spLocks noGrp="1"/>
          </p:cNvSpPr>
          <p:nvPr>
            <p:ph type="pic" sz="quarter" idx="17" hasCustomPrompt="1"/>
          </p:nvPr>
        </p:nvSpPr>
        <p:spPr>
          <a:xfrm>
            <a:off x="6923531" y="1784822"/>
            <a:ext cx="2006654" cy="4104000"/>
          </a:xfrm>
          <a:solidFill>
            <a:srgbClr val="D9DADB"/>
          </a:solidFill>
        </p:spPr>
        <p:txBody>
          <a:bodyPr/>
          <a:lstStyle>
            <a:lvl1pPr marL="0" indent="0">
              <a:buNone/>
              <a:defRPr/>
            </a:lvl1pPr>
          </a:lstStyle>
          <a:p>
            <a:r>
              <a:rPr lang="en-US"/>
              <a:t>Insert picture</a:t>
            </a:r>
          </a:p>
        </p:txBody>
      </p:sp>
      <p:sp>
        <p:nvSpPr>
          <p:cNvPr id="12" name="Text Placeholder 4"/>
          <p:cNvSpPr>
            <a:spLocks noGrp="1"/>
          </p:cNvSpPr>
          <p:nvPr>
            <p:ph type="body" sz="quarter" idx="18" hasCustomPrompt="1"/>
          </p:nvPr>
        </p:nvSpPr>
        <p:spPr>
          <a:xfrm>
            <a:off x="1075063" y="6307665"/>
            <a:ext cx="8162717" cy="133200"/>
          </a:xfrm>
        </p:spPr>
        <p:txBody>
          <a:bodyPr lIns="0" tIns="0" rIns="0" bIns="0" anchor="b" anchorCtr="0"/>
          <a:lstStyle>
            <a:lvl1pPr marL="0" indent="0" algn="l">
              <a:lnSpc>
                <a:spcPct val="100000"/>
              </a:lnSpc>
              <a:spcBef>
                <a:spcPts val="0"/>
              </a:spcBef>
              <a:buNone/>
              <a:defRPr sz="800" baseline="0"/>
            </a:lvl1pPr>
            <a:lvl2pPr marL="0" indent="0" algn="l">
              <a:lnSpc>
                <a:spcPct val="100000"/>
              </a:lnSpc>
              <a:spcBef>
                <a:spcPts val="0"/>
              </a:spcBef>
              <a:buNone/>
              <a:defRPr sz="800"/>
            </a:lvl2pPr>
            <a:lvl3pPr marL="0" indent="0" algn="l">
              <a:lnSpc>
                <a:spcPct val="100000"/>
              </a:lnSpc>
              <a:spcBef>
                <a:spcPts val="0"/>
              </a:spcBef>
              <a:buNone/>
              <a:defRPr sz="800"/>
            </a:lvl3pPr>
            <a:lvl4pPr marL="0" algn="l">
              <a:lnSpc>
                <a:spcPct val="100000"/>
              </a:lnSpc>
              <a:spcBef>
                <a:spcPts val="0"/>
              </a:spcBef>
              <a:buNone/>
              <a:defRPr sz="800"/>
            </a:lvl4pPr>
            <a:lvl5pPr marL="0" indent="0" algn="l">
              <a:lnSpc>
                <a:spcPct val="100000"/>
              </a:lnSpc>
              <a:spcBef>
                <a:spcPts val="0"/>
              </a:spcBef>
              <a:buNone/>
              <a:defRPr sz="800"/>
            </a:lvl5pPr>
          </a:lstStyle>
          <a:p>
            <a:pPr lvl="0"/>
            <a:r>
              <a:rPr lang="en-US"/>
              <a:t>Source line</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23827912"/>
      </p:ext>
    </p:extLst>
  </p:cSld>
  <p:clrMapOvr>
    <a:masterClrMapping/>
  </p:clrMapOvr>
</p:sldLayout>
</file>

<file path=ppt/slideLayouts/slideLayout435.xml><?xml version="1.0" encoding="utf-8"?>
<p:sldLayout xmlns:a="http://schemas.openxmlformats.org/drawingml/2006/main" xmlns:r="http://schemas.openxmlformats.org/officeDocument/2006/relationships" xmlns:p="http://schemas.openxmlformats.org/presentationml/2006/main" preserve="1">
  <p:cSld name="One contact">
    <p:spTree>
      <p:nvGrpSpPr>
        <p:cNvPr id="1" name=""/>
        <p:cNvGrpSpPr/>
        <p:nvPr/>
      </p:nvGrpSpPr>
      <p:grpSpPr>
        <a:xfrm>
          <a:off x="0" y="0"/>
          <a:ext cx="0" cy="0"/>
          <a:chOff x="0" y="0"/>
          <a:chExt cx="0" cy="0"/>
        </a:xfrm>
      </p:grpSpPr>
      <p:sp>
        <p:nvSpPr>
          <p:cNvPr id="4" name="Picture Placeholder 3"/>
          <p:cNvSpPr>
            <a:spLocks noGrp="1"/>
          </p:cNvSpPr>
          <p:nvPr>
            <p:ph type="pic" sz="quarter" idx="17" hasCustomPrompt="1"/>
          </p:nvPr>
        </p:nvSpPr>
        <p:spPr>
          <a:xfrm>
            <a:off x="1056217" y="1833656"/>
            <a:ext cx="3203503" cy="3935319"/>
          </a:xfrm>
          <a:solidFill>
            <a:srgbClr val="D9DADB"/>
          </a:solidFill>
        </p:spPr>
        <p:txBody>
          <a:bodyPr/>
          <a:lstStyle>
            <a:lvl1pPr marL="0" indent="0">
              <a:buNone/>
              <a:defRPr sz="1400"/>
            </a:lvl1pPr>
          </a:lstStyle>
          <a:p>
            <a:r>
              <a:rPr lang="en-US"/>
              <a:t>Insert picture</a:t>
            </a:r>
          </a:p>
        </p:txBody>
      </p:sp>
      <p:sp>
        <p:nvSpPr>
          <p:cNvPr id="21" name="Date Placeholder 20"/>
          <p:cNvSpPr>
            <a:spLocks noGrp="1"/>
          </p:cNvSpPr>
          <p:nvPr>
            <p:ph type="dt" sz="half" idx="14"/>
          </p:nvPr>
        </p:nvSpPr>
        <p:spPr/>
        <p:txBody>
          <a:bodyPr/>
          <a:lstStyle/>
          <a:p>
            <a:endParaRPr lang="en-US"/>
          </a:p>
        </p:txBody>
      </p:sp>
      <p:sp>
        <p:nvSpPr>
          <p:cNvPr id="22" name="Footer Placeholder 21"/>
          <p:cNvSpPr>
            <a:spLocks noGrp="1"/>
          </p:cNvSpPr>
          <p:nvPr>
            <p:ph type="ftr" sz="quarter" idx="15"/>
          </p:nvPr>
        </p:nvSpPr>
        <p:spPr/>
        <p:txBody>
          <a:bodyPr/>
          <a:lstStyle/>
          <a:p>
            <a:endParaRPr lang="en-US"/>
          </a:p>
        </p:txBody>
      </p:sp>
      <p:sp>
        <p:nvSpPr>
          <p:cNvPr id="23" name="Slide Number Placeholder 22"/>
          <p:cNvSpPr>
            <a:spLocks noGrp="1"/>
          </p:cNvSpPr>
          <p:nvPr>
            <p:ph type="sldNum" sz="quarter" idx="16"/>
          </p:nvPr>
        </p:nvSpPr>
        <p:spPr/>
        <p:txBody>
          <a:bodyPr/>
          <a:lstStyle/>
          <a:p>
            <a:fld id="{5F3E29E4-0979-4FCA-B4C5-5FC6044C982A}" type="slidenum">
              <a:rPr lang="en-US" smtClean="0"/>
              <a:t>‹#›</a:t>
            </a:fld>
            <a:endParaRPr lang="en-US"/>
          </a:p>
        </p:txBody>
      </p:sp>
      <p:sp>
        <p:nvSpPr>
          <p:cNvPr id="2" name="Title 1"/>
          <p:cNvSpPr>
            <a:spLocks noGrp="1"/>
          </p:cNvSpPr>
          <p:nvPr>
            <p:ph type="title" hasCustomPrompt="1"/>
          </p:nvPr>
        </p:nvSpPr>
        <p:spPr/>
        <p:txBody>
          <a:bodyPr/>
          <a:lstStyle>
            <a:lvl1pPr>
              <a:defRPr/>
            </a:lvl1pPr>
          </a:lstStyle>
          <a:p>
            <a:r>
              <a:rPr lang="en-US"/>
              <a:t>Click to add contact title</a:t>
            </a:r>
          </a:p>
        </p:txBody>
      </p:sp>
      <p:sp>
        <p:nvSpPr>
          <p:cNvPr id="7" name="Subtitle 2"/>
          <p:cNvSpPr>
            <a:spLocks noGrp="1"/>
          </p:cNvSpPr>
          <p:nvPr>
            <p:ph type="subTitle" idx="13" hasCustomPrompt="1"/>
          </p:nvPr>
        </p:nvSpPr>
        <p:spPr>
          <a:xfrm>
            <a:off x="1075061" y="964671"/>
            <a:ext cx="7910158" cy="490042"/>
          </a:xfrm>
        </p:spPr>
        <p:txBody>
          <a:bodyPr wrap="none"/>
          <a:lstStyle>
            <a:lvl1pPr marL="0" indent="0" algn="l">
              <a:spcBef>
                <a:spcPts val="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grpSp>
        <p:nvGrpSpPr>
          <p:cNvPr id="8" name="Gruppieren 80">
            <a:extLst>
              <a:ext uri="{FF2B5EF4-FFF2-40B4-BE49-F238E27FC236}">
                <a16:creationId xmlns:a16="http://schemas.microsoft.com/office/drawing/2014/main" id="{6B969E7B-9C39-4443-9B02-74C1E7C5CCAC}"/>
              </a:ext>
            </a:extLst>
          </p:cNvPr>
          <p:cNvGrpSpPr/>
          <p:nvPr/>
        </p:nvGrpSpPr>
        <p:grpSpPr>
          <a:xfrm>
            <a:off x="4451001" y="2884199"/>
            <a:ext cx="171180" cy="171180"/>
            <a:chOff x="3392092" y="1841122"/>
            <a:chExt cx="646508" cy="646508"/>
          </a:xfrm>
        </p:grpSpPr>
        <p:sp>
          <p:nvSpPr>
            <p:cNvPr id="9" name="Rechteck 14">
              <a:extLst>
                <a:ext uri="{FF2B5EF4-FFF2-40B4-BE49-F238E27FC236}">
                  <a16:creationId xmlns:a16="http://schemas.microsoft.com/office/drawing/2014/main" id="{D78F58EA-5525-8D43-8295-FEA52ECF6BFA}"/>
                </a:ext>
              </a:extLst>
            </p:cNvPr>
            <p:cNvSpPr>
              <a:spLocks noChangeAspect="1"/>
            </p:cNvSpPr>
            <p:nvPr/>
          </p:nvSpPr>
          <p:spPr bwMode="gray">
            <a:xfrm>
              <a:off x="3392092" y="1841122"/>
              <a:ext cx="646508" cy="646508"/>
            </a:xfrm>
            <a:prstGeom prst="rect">
              <a:avLst/>
            </a:prstGeom>
            <a:solidFill>
              <a:srgbClr val="E55A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pPr>
              <a:endParaRPr lang="en-US" sz="1000">
                <a:solidFill>
                  <a:schemeClr val="tx1"/>
                </a:solidFill>
                <a:latin typeface="Arial" pitchFamily="34" charset="0"/>
                <a:cs typeface="Arial" pitchFamily="34" charset="0"/>
              </a:endParaRPr>
            </a:p>
          </p:txBody>
        </p:sp>
        <p:sp>
          <p:nvSpPr>
            <p:cNvPr id="10" name="Freeform 67">
              <a:extLst>
                <a:ext uri="{FF2B5EF4-FFF2-40B4-BE49-F238E27FC236}">
                  <a16:creationId xmlns:a16="http://schemas.microsoft.com/office/drawing/2014/main" id="{D01A6292-2776-4945-B828-483D79DC4908}"/>
                </a:ext>
              </a:extLst>
            </p:cNvPr>
            <p:cNvSpPr>
              <a:spLocks noChangeAspect="1"/>
            </p:cNvSpPr>
            <p:nvPr/>
          </p:nvSpPr>
          <p:spPr bwMode="auto">
            <a:xfrm>
              <a:off x="3546638" y="1970424"/>
              <a:ext cx="337415" cy="387905"/>
            </a:xfrm>
            <a:custGeom>
              <a:avLst/>
              <a:gdLst>
                <a:gd name="T0" fmla="*/ 573 w 1624"/>
                <a:gd name="T1" fmla="*/ 1257 h 1867"/>
                <a:gd name="T2" fmla="*/ 662 w 1624"/>
                <a:gd name="T3" fmla="*/ 1288 h 1867"/>
                <a:gd name="T4" fmla="*/ 938 w 1624"/>
                <a:gd name="T5" fmla="*/ 1051 h 1867"/>
                <a:gd name="T6" fmla="*/ 1106 w 1624"/>
                <a:gd name="T7" fmla="*/ 731 h 1867"/>
                <a:gd name="T8" fmla="*/ 1059 w 1624"/>
                <a:gd name="T9" fmla="*/ 645 h 1867"/>
                <a:gd name="T10" fmla="*/ 1001 w 1624"/>
                <a:gd name="T11" fmla="*/ 613 h 1867"/>
                <a:gd name="T12" fmla="*/ 924 w 1624"/>
                <a:gd name="T13" fmla="*/ 432 h 1867"/>
                <a:gd name="T14" fmla="*/ 1114 w 1624"/>
                <a:gd name="T15" fmla="*/ 81 h 1867"/>
                <a:gd name="T16" fmla="*/ 1287 w 1624"/>
                <a:gd name="T17" fmla="*/ 35 h 1867"/>
                <a:gd name="T18" fmla="*/ 1350 w 1624"/>
                <a:gd name="T19" fmla="*/ 69 h 1867"/>
                <a:gd name="T20" fmla="*/ 1527 w 1624"/>
                <a:gd name="T21" fmla="*/ 235 h 1867"/>
                <a:gd name="T22" fmla="*/ 1583 w 1624"/>
                <a:gd name="T23" fmla="*/ 555 h 1867"/>
                <a:gd name="T24" fmla="*/ 1172 w 1624"/>
                <a:gd name="T25" fmla="*/ 1253 h 1867"/>
                <a:gd name="T26" fmla="*/ 586 w 1624"/>
                <a:gd name="T27" fmla="*/ 1803 h 1867"/>
                <a:gd name="T28" fmla="*/ 269 w 1624"/>
                <a:gd name="T29" fmla="*/ 1807 h 1867"/>
                <a:gd name="T30" fmla="*/ 33 w 1624"/>
                <a:gd name="T31" fmla="*/ 1602 h 1867"/>
                <a:gd name="T32" fmla="*/ 2 w 1624"/>
                <a:gd name="T33" fmla="*/ 1508 h 1867"/>
                <a:gd name="T34" fmla="*/ 45 w 1624"/>
                <a:gd name="T35" fmla="*/ 1421 h 1867"/>
                <a:gd name="T36" fmla="*/ 346 w 1624"/>
                <a:gd name="T37" fmla="*/ 1158 h 1867"/>
                <a:gd name="T38" fmla="*/ 448 w 1624"/>
                <a:gd name="T39" fmla="*/ 1145 h 1867"/>
                <a:gd name="T40" fmla="*/ 573 w 1624"/>
                <a:gd name="T41" fmla="*/ 1257 h 18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24" h="1867">
                  <a:moveTo>
                    <a:pt x="573" y="1257"/>
                  </a:moveTo>
                  <a:cubicBezTo>
                    <a:pt x="592" y="1282"/>
                    <a:pt x="630" y="1303"/>
                    <a:pt x="662" y="1288"/>
                  </a:cubicBezTo>
                  <a:cubicBezTo>
                    <a:pt x="753" y="1245"/>
                    <a:pt x="854" y="1156"/>
                    <a:pt x="938" y="1051"/>
                  </a:cubicBezTo>
                  <a:cubicBezTo>
                    <a:pt x="1020" y="948"/>
                    <a:pt x="1084" y="831"/>
                    <a:pt x="1106" y="731"/>
                  </a:cubicBezTo>
                  <a:cubicBezTo>
                    <a:pt x="1113" y="696"/>
                    <a:pt x="1089" y="661"/>
                    <a:pt x="1059" y="645"/>
                  </a:cubicBezTo>
                  <a:cubicBezTo>
                    <a:pt x="1001" y="613"/>
                    <a:pt x="1001" y="613"/>
                    <a:pt x="1001" y="613"/>
                  </a:cubicBezTo>
                  <a:cubicBezTo>
                    <a:pt x="942" y="580"/>
                    <a:pt x="888" y="499"/>
                    <a:pt x="924" y="432"/>
                  </a:cubicBezTo>
                  <a:cubicBezTo>
                    <a:pt x="1114" y="81"/>
                    <a:pt x="1114" y="81"/>
                    <a:pt x="1114" y="81"/>
                  </a:cubicBezTo>
                  <a:cubicBezTo>
                    <a:pt x="1150" y="16"/>
                    <a:pt x="1224" y="0"/>
                    <a:pt x="1287" y="35"/>
                  </a:cubicBezTo>
                  <a:cubicBezTo>
                    <a:pt x="1350" y="69"/>
                    <a:pt x="1350" y="69"/>
                    <a:pt x="1350" y="69"/>
                  </a:cubicBezTo>
                  <a:cubicBezTo>
                    <a:pt x="1415" y="105"/>
                    <a:pt x="1479" y="165"/>
                    <a:pt x="1527" y="235"/>
                  </a:cubicBezTo>
                  <a:cubicBezTo>
                    <a:pt x="1593" y="332"/>
                    <a:pt x="1624" y="442"/>
                    <a:pt x="1583" y="555"/>
                  </a:cubicBezTo>
                  <a:cubicBezTo>
                    <a:pt x="1500" y="781"/>
                    <a:pt x="1351" y="1030"/>
                    <a:pt x="1172" y="1253"/>
                  </a:cubicBezTo>
                  <a:cubicBezTo>
                    <a:pt x="994" y="1477"/>
                    <a:pt x="786" y="1676"/>
                    <a:pt x="586" y="1803"/>
                  </a:cubicBezTo>
                  <a:cubicBezTo>
                    <a:pt x="486" y="1867"/>
                    <a:pt x="375" y="1856"/>
                    <a:pt x="269" y="1807"/>
                  </a:cubicBezTo>
                  <a:cubicBezTo>
                    <a:pt x="157" y="1755"/>
                    <a:pt x="106" y="1695"/>
                    <a:pt x="33" y="1602"/>
                  </a:cubicBezTo>
                  <a:cubicBezTo>
                    <a:pt x="11" y="1573"/>
                    <a:pt x="0" y="1540"/>
                    <a:pt x="2" y="1508"/>
                  </a:cubicBezTo>
                  <a:cubicBezTo>
                    <a:pt x="4" y="1475"/>
                    <a:pt x="18" y="1444"/>
                    <a:pt x="45" y="1421"/>
                  </a:cubicBezTo>
                  <a:cubicBezTo>
                    <a:pt x="70" y="1399"/>
                    <a:pt x="346" y="1158"/>
                    <a:pt x="346" y="1158"/>
                  </a:cubicBezTo>
                  <a:cubicBezTo>
                    <a:pt x="376" y="1134"/>
                    <a:pt x="413" y="1133"/>
                    <a:pt x="448" y="1145"/>
                  </a:cubicBezTo>
                  <a:cubicBezTo>
                    <a:pt x="510" y="1166"/>
                    <a:pt x="536" y="1210"/>
                    <a:pt x="573" y="1257"/>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351"/>
            </a:p>
          </p:txBody>
        </p:sp>
      </p:grpSp>
      <p:grpSp>
        <p:nvGrpSpPr>
          <p:cNvPr id="11" name="Group 3">
            <a:extLst>
              <a:ext uri="{FF2B5EF4-FFF2-40B4-BE49-F238E27FC236}">
                <a16:creationId xmlns:a16="http://schemas.microsoft.com/office/drawing/2014/main" id="{DED6A25A-5DE2-1441-8BA2-C68D3B4F9209}"/>
              </a:ext>
            </a:extLst>
          </p:cNvPr>
          <p:cNvGrpSpPr>
            <a:grpSpLocks noChangeAspect="1"/>
          </p:cNvGrpSpPr>
          <p:nvPr>
            <p:custDataLst>
              <p:tags r:id="rId1"/>
            </p:custDataLst>
          </p:nvPr>
        </p:nvGrpSpPr>
        <p:grpSpPr>
          <a:xfrm>
            <a:off x="4451002" y="3169087"/>
            <a:ext cx="171180" cy="171180"/>
            <a:chOff x="328396" y="5313940"/>
            <a:chExt cx="720000" cy="720000"/>
          </a:xfrm>
        </p:grpSpPr>
        <p:sp>
          <p:nvSpPr>
            <p:cNvPr id="12" name="Rectangle 4">
              <a:extLst>
                <a:ext uri="{FF2B5EF4-FFF2-40B4-BE49-F238E27FC236}">
                  <a16:creationId xmlns:a16="http://schemas.microsoft.com/office/drawing/2014/main" id="{5F49E67F-D4FA-9D48-96BC-59AE946ECD15}"/>
                </a:ext>
              </a:extLst>
            </p:cNvPr>
            <p:cNvSpPr/>
            <p:nvPr/>
          </p:nvSpPr>
          <p:spPr bwMode="gray">
            <a:xfrm>
              <a:off x="328396" y="5313940"/>
              <a:ext cx="720000" cy="720000"/>
            </a:xfrm>
            <a:prstGeom prst="rect">
              <a:avLst/>
            </a:prstGeom>
            <a:solidFill>
              <a:srgbClr val="E55A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pPr>
              <a:endParaRPr lang="en-US" sz="1000">
                <a:solidFill>
                  <a:schemeClr val="tx1"/>
                </a:solidFill>
                <a:latin typeface="Arial" pitchFamily="34" charset="0"/>
                <a:cs typeface="Arial" pitchFamily="34" charset="0"/>
              </a:endParaRPr>
            </a:p>
          </p:txBody>
        </p:sp>
        <p:sp>
          <p:nvSpPr>
            <p:cNvPr id="13" name="Freeform 76">
              <a:extLst>
                <a:ext uri="{FF2B5EF4-FFF2-40B4-BE49-F238E27FC236}">
                  <a16:creationId xmlns:a16="http://schemas.microsoft.com/office/drawing/2014/main" id="{187E70E6-AF3F-2549-908E-DF4BA61040AA}"/>
                </a:ext>
              </a:extLst>
            </p:cNvPr>
            <p:cNvSpPr>
              <a:spLocks noChangeAspect="1" noEditPoints="1"/>
            </p:cNvSpPr>
            <p:nvPr/>
          </p:nvSpPr>
          <p:spPr bwMode="auto">
            <a:xfrm>
              <a:off x="456202" y="5509222"/>
              <a:ext cx="504000" cy="329436"/>
            </a:xfrm>
            <a:custGeom>
              <a:avLst/>
              <a:gdLst>
                <a:gd name="T0" fmla="*/ 0 w 2080"/>
                <a:gd name="T1" fmla="*/ 65 h 1360"/>
                <a:gd name="T2" fmla="*/ 0 w 2080"/>
                <a:gd name="T3" fmla="*/ 0 h 1360"/>
                <a:gd name="T4" fmla="*/ 2080 w 2080"/>
                <a:gd name="T5" fmla="*/ 0 h 1360"/>
                <a:gd name="T6" fmla="*/ 2080 w 2080"/>
                <a:gd name="T7" fmla="*/ 65 h 1360"/>
                <a:gd name="T8" fmla="*/ 1089 w 2080"/>
                <a:gd name="T9" fmla="*/ 862 h 1360"/>
                <a:gd name="T10" fmla="*/ 991 w 2080"/>
                <a:gd name="T11" fmla="*/ 862 h 1360"/>
                <a:gd name="T12" fmla="*/ 0 w 2080"/>
                <a:gd name="T13" fmla="*/ 65 h 1360"/>
                <a:gd name="T14" fmla="*/ 1139 w 2080"/>
                <a:gd name="T15" fmla="*/ 924 h 1360"/>
                <a:gd name="T16" fmla="*/ 1282 w 2080"/>
                <a:gd name="T17" fmla="*/ 810 h 1360"/>
                <a:gd name="T18" fmla="*/ 2076 w 2080"/>
                <a:gd name="T19" fmla="*/ 1360 h 1360"/>
                <a:gd name="T20" fmla="*/ 4 w 2080"/>
                <a:gd name="T21" fmla="*/ 1360 h 1360"/>
                <a:gd name="T22" fmla="*/ 798 w 2080"/>
                <a:gd name="T23" fmla="*/ 810 h 1360"/>
                <a:gd name="T24" fmla="*/ 941 w 2080"/>
                <a:gd name="T25" fmla="*/ 924 h 1360"/>
                <a:gd name="T26" fmla="*/ 1139 w 2080"/>
                <a:gd name="T27" fmla="*/ 924 h 1360"/>
                <a:gd name="T28" fmla="*/ 2 w 2080"/>
                <a:gd name="T29" fmla="*/ 137 h 1360"/>
                <a:gd name="T30" fmla="*/ 42 w 2080"/>
                <a:gd name="T31" fmla="*/ 201 h 1360"/>
                <a:gd name="T32" fmla="*/ 734 w 2080"/>
                <a:gd name="T33" fmla="*/ 758 h 1360"/>
                <a:gd name="T34" fmla="*/ 0 w 2080"/>
                <a:gd name="T35" fmla="*/ 1266 h 1360"/>
                <a:gd name="T36" fmla="*/ 0 w 2080"/>
                <a:gd name="T37" fmla="*/ 135 h 1360"/>
                <a:gd name="T38" fmla="*/ 2 w 2080"/>
                <a:gd name="T39" fmla="*/ 137 h 1360"/>
                <a:gd name="T40" fmla="*/ 2080 w 2080"/>
                <a:gd name="T41" fmla="*/ 136 h 1360"/>
                <a:gd name="T42" fmla="*/ 2080 w 2080"/>
                <a:gd name="T43" fmla="*/ 1265 h 1360"/>
                <a:gd name="T44" fmla="*/ 1346 w 2080"/>
                <a:gd name="T45" fmla="*/ 758 h 1360"/>
                <a:gd name="T46" fmla="*/ 2038 w 2080"/>
                <a:gd name="T47" fmla="*/ 201 h 1360"/>
                <a:gd name="T48" fmla="*/ 2080 w 2080"/>
                <a:gd name="T49" fmla="*/ 136 h 1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080" h="1360">
                  <a:moveTo>
                    <a:pt x="0" y="65"/>
                  </a:moveTo>
                  <a:cubicBezTo>
                    <a:pt x="0" y="0"/>
                    <a:pt x="0" y="0"/>
                    <a:pt x="0" y="0"/>
                  </a:cubicBezTo>
                  <a:cubicBezTo>
                    <a:pt x="2080" y="0"/>
                    <a:pt x="2080" y="0"/>
                    <a:pt x="2080" y="0"/>
                  </a:cubicBezTo>
                  <a:cubicBezTo>
                    <a:pt x="2080" y="65"/>
                    <a:pt x="2080" y="65"/>
                    <a:pt x="2080" y="65"/>
                  </a:cubicBezTo>
                  <a:cubicBezTo>
                    <a:pt x="1089" y="862"/>
                    <a:pt x="1089" y="862"/>
                    <a:pt x="1089" y="862"/>
                  </a:cubicBezTo>
                  <a:cubicBezTo>
                    <a:pt x="1060" y="886"/>
                    <a:pt x="1020" y="886"/>
                    <a:pt x="991" y="862"/>
                  </a:cubicBezTo>
                  <a:lnTo>
                    <a:pt x="0" y="65"/>
                  </a:lnTo>
                  <a:close/>
                  <a:moveTo>
                    <a:pt x="1139" y="924"/>
                  </a:moveTo>
                  <a:cubicBezTo>
                    <a:pt x="1282" y="810"/>
                    <a:pt x="1282" y="810"/>
                    <a:pt x="1282" y="810"/>
                  </a:cubicBezTo>
                  <a:cubicBezTo>
                    <a:pt x="2076" y="1360"/>
                    <a:pt x="2076" y="1360"/>
                    <a:pt x="2076" y="1360"/>
                  </a:cubicBezTo>
                  <a:cubicBezTo>
                    <a:pt x="4" y="1360"/>
                    <a:pt x="4" y="1360"/>
                    <a:pt x="4" y="1360"/>
                  </a:cubicBezTo>
                  <a:cubicBezTo>
                    <a:pt x="798" y="810"/>
                    <a:pt x="798" y="810"/>
                    <a:pt x="798" y="810"/>
                  </a:cubicBezTo>
                  <a:cubicBezTo>
                    <a:pt x="941" y="924"/>
                    <a:pt x="941" y="924"/>
                    <a:pt x="941" y="924"/>
                  </a:cubicBezTo>
                  <a:cubicBezTo>
                    <a:pt x="1000" y="972"/>
                    <a:pt x="1080" y="972"/>
                    <a:pt x="1139" y="924"/>
                  </a:cubicBezTo>
                  <a:close/>
                  <a:moveTo>
                    <a:pt x="2" y="137"/>
                  </a:moveTo>
                  <a:cubicBezTo>
                    <a:pt x="8" y="163"/>
                    <a:pt x="22" y="185"/>
                    <a:pt x="42" y="201"/>
                  </a:cubicBezTo>
                  <a:cubicBezTo>
                    <a:pt x="734" y="758"/>
                    <a:pt x="734" y="758"/>
                    <a:pt x="734" y="758"/>
                  </a:cubicBezTo>
                  <a:cubicBezTo>
                    <a:pt x="0" y="1266"/>
                    <a:pt x="0" y="1266"/>
                    <a:pt x="0" y="1266"/>
                  </a:cubicBezTo>
                  <a:cubicBezTo>
                    <a:pt x="0" y="135"/>
                    <a:pt x="0" y="135"/>
                    <a:pt x="0" y="135"/>
                  </a:cubicBezTo>
                  <a:lnTo>
                    <a:pt x="2" y="137"/>
                  </a:lnTo>
                  <a:close/>
                  <a:moveTo>
                    <a:pt x="2080" y="136"/>
                  </a:moveTo>
                  <a:cubicBezTo>
                    <a:pt x="2080" y="1265"/>
                    <a:pt x="2080" y="1265"/>
                    <a:pt x="2080" y="1265"/>
                  </a:cubicBezTo>
                  <a:cubicBezTo>
                    <a:pt x="1346" y="758"/>
                    <a:pt x="1346" y="758"/>
                    <a:pt x="1346" y="758"/>
                  </a:cubicBezTo>
                  <a:cubicBezTo>
                    <a:pt x="2038" y="201"/>
                    <a:pt x="2038" y="201"/>
                    <a:pt x="2038" y="201"/>
                  </a:cubicBezTo>
                  <a:cubicBezTo>
                    <a:pt x="2060" y="182"/>
                    <a:pt x="2072" y="162"/>
                    <a:pt x="2080" y="13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000"/>
            </a:p>
          </p:txBody>
        </p:sp>
      </p:grpSp>
      <p:cxnSp>
        <p:nvCxnSpPr>
          <p:cNvPr id="20" name="Straight Connector 19"/>
          <p:cNvCxnSpPr/>
          <p:nvPr/>
        </p:nvCxnSpPr>
        <p:spPr>
          <a:xfrm>
            <a:off x="4451001" y="3494093"/>
            <a:ext cx="2463190" cy="0"/>
          </a:xfrm>
          <a:prstGeom prst="line">
            <a:avLst/>
          </a:prstGeom>
          <a:ln w="6350">
            <a:solidFill>
              <a:schemeClr val="tx2"/>
            </a:solidFill>
            <a:prstDash val="dash"/>
          </a:ln>
        </p:spPr>
        <p:style>
          <a:lnRef idx="1">
            <a:schemeClr val="accent1"/>
          </a:lnRef>
          <a:fillRef idx="0">
            <a:schemeClr val="accent1"/>
          </a:fillRef>
          <a:effectRef idx="0">
            <a:schemeClr val="accent1"/>
          </a:effectRef>
          <a:fontRef idx="minor">
            <a:schemeClr val="tx1"/>
          </a:fontRef>
        </p:style>
      </p:cxnSp>
      <p:sp>
        <p:nvSpPr>
          <p:cNvPr id="6" name="Text Placeholder 5"/>
          <p:cNvSpPr>
            <a:spLocks noGrp="1"/>
          </p:cNvSpPr>
          <p:nvPr>
            <p:ph type="body" sz="quarter" idx="19" hasCustomPrompt="1"/>
          </p:nvPr>
        </p:nvSpPr>
        <p:spPr>
          <a:xfrm>
            <a:off x="4451001" y="1824401"/>
            <a:ext cx="2463190" cy="192360"/>
          </a:xfrm>
        </p:spPr>
        <p:txBody>
          <a:bodyPr lIns="0" tIns="0" rIns="0" bIns="0" anchor="ctr" anchorCtr="0"/>
          <a:lstStyle>
            <a:lvl1pPr marL="0" indent="0" algn="l">
              <a:lnSpc>
                <a:spcPct val="100000"/>
              </a:lnSpc>
              <a:buNone/>
              <a:defRPr sz="100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Country</a:t>
            </a:r>
          </a:p>
        </p:txBody>
      </p:sp>
      <p:sp>
        <p:nvSpPr>
          <p:cNvPr id="26" name="Text Placeholder 5"/>
          <p:cNvSpPr>
            <a:spLocks noGrp="1"/>
          </p:cNvSpPr>
          <p:nvPr>
            <p:ph type="body" sz="quarter" idx="20" hasCustomPrompt="1"/>
          </p:nvPr>
        </p:nvSpPr>
        <p:spPr>
          <a:xfrm>
            <a:off x="4451001" y="2036217"/>
            <a:ext cx="2463190" cy="266182"/>
          </a:xfrm>
        </p:spPr>
        <p:txBody>
          <a:bodyPr lIns="0" tIns="0" rIns="0" bIns="0" anchor="b" anchorCtr="0"/>
          <a:lstStyle>
            <a:lvl1pPr marL="0" indent="0" algn="l">
              <a:lnSpc>
                <a:spcPct val="100000"/>
              </a:lnSpc>
              <a:buNone/>
              <a:defRPr sz="1400" b="1" baseline="0">
                <a:solidFill>
                  <a:schemeClr val="tx2"/>
                </a:solidFill>
              </a:defRPr>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Name, Surname</a:t>
            </a:r>
          </a:p>
        </p:txBody>
      </p:sp>
      <p:sp>
        <p:nvSpPr>
          <p:cNvPr id="27" name="Text Placeholder 5"/>
          <p:cNvSpPr>
            <a:spLocks noGrp="1"/>
          </p:cNvSpPr>
          <p:nvPr>
            <p:ph type="body" sz="quarter" idx="21" hasCustomPrompt="1"/>
          </p:nvPr>
        </p:nvSpPr>
        <p:spPr>
          <a:xfrm>
            <a:off x="4451001" y="2332792"/>
            <a:ext cx="2463190"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Job Position</a:t>
            </a:r>
          </a:p>
        </p:txBody>
      </p:sp>
      <p:sp>
        <p:nvSpPr>
          <p:cNvPr id="28" name="Text Placeholder 5"/>
          <p:cNvSpPr>
            <a:spLocks noGrp="1"/>
          </p:cNvSpPr>
          <p:nvPr>
            <p:ph type="body" sz="quarter" idx="22" hasCustomPrompt="1"/>
          </p:nvPr>
        </p:nvSpPr>
        <p:spPr>
          <a:xfrm>
            <a:off x="4695884" y="2861468"/>
            <a:ext cx="2218307"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Phone number</a:t>
            </a:r>
          </a:p>
        </p:txBody>
      </p:sp>
      <p:sp>
        <p:nvSpPr>
          <p:cNvPr id="29" name="Text Placeholder 5"/>
          <p:cNvSpPr>
            <a:spLocks noGrp="1"/>
          </p:cNvSpPr>
          <p:nvPr>
            <p:ph type="body" sz="quarter" idx="23" hasCustomPrompt="1"/>
          </p:nvPr>
        </p:nvSpPr>
        <p:spPr>
          <a:xfrm>
            <a:off x="4695884" y="3144275"/>
            <a:ext cx="2218307"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Email address</a:t>
            </a:r>
          </a:p>
        </p:txBody>
      </p:sp>
      <p:sp>
        <p:nvSpPr>
          <p:cNvPr id="35" name="Text Placeholder 34"/>
          <p:cNvSpPr>
            <a:spLocks noGrp="1"/>
          </p:cNvSpPr>
          <p:nvPr>
            <p:ph type="body" sz="quarter" idx="24" hasCustomPrompt="1"/>
          </p:nvPr>
        </p:nvSpPr>
        <p:spPr>
          <a:xfrm>
            <a:off x="4492626" y="3681413"/>
            <a:ext cx="4492594" cy="2087562"/>
          </a:xfrm>
        </p:spPr>
        <p:txBody>
          <a:bodyPr/>
          <a:lstStyle>
            <a:lvl1pPr>
              <a:defRPr sz="1400" baseline="0"/>
            </a:lvl1pPr>
            <a:lvl2pPr>
              <a:defRPr sz="1400"/>
            </a:lvl2pPr>
            <a:lvl3pPr>
              <a:defRPr sz="1400"/>
            </a:lvl3pPr>
            <a:lvl4pPr>
              <a:defRPr sz="1400"/>
            </a:lvl4pPr>
            <a:lvl5pPr>
              <a:defRPr sz="1400"/>
            </a:lvl5pPr>
          </a:lstStyle>
          <a:p>
            <a:pPr lvl="0"/>
            <a:r>
              <a:rPr lang="en-US"/>
              <a:t>Additional information (if needed)</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51897608"/>
      </p:ext>
    </p:extLst>
  </p:cSld>
  <p:clrMapOvr>
    <a:masterClrMapping/>
  </p:clrMapOvr>
</p:sldLayout>
</file>

<file path=ppt/slideLayouts/slideLayout436.xml><?xml version="1.0" encoding="utf-8"?>
<p:sldLayout xmlns:a="http://schemas.openxmlformats.org/drawingml/2006/main" xmlns:r="http://schemas.openxmlformats.org/officeDocument/2006/relationships" xmlns:p="http://schemas.openxmlformats.org/presentationml/2006/main" preserve="1">
  <p:cSld name="Two contacts">
    <p:spTree>
      <p:nvGrpSpPr>
        <p:cNvPr id="1" name=""/>
        <p:cNvGrpSpPr/>
        <p:nvPr/>
      </p:nvGrpSpPr>
      <p:grpSpPr>
        <a:xfrm>
          <a:off x="0" y="0"/>
          <a:ext cx="0" cy="0"/>
          <a:chOff x="0" y="0"/>
          <a:chExt cx="0" cy="0"/>
        </a:xfrm>
      </p:grpSpPr>
      <p:sp>
        <p:nvSpPr>
          <p:cNvPr id="21" name="Date Placeholder 20"/>
          <p:cNvSpPr>
            <a:spLocks noGrp="1"/>
          </p:cNvSpPr>
          <p:nvPr>
            <p:ph type="dt" sz="half" idx="14"/>
          </p:nvPr>
        </p:nvSpPr>
        <p:spPr/>
        <p:txBody>
          <a:bodyPr/>
          <a:lstStyle/>
          <a:p>
            <a:endParaRPr lang="en-US"/>
          </a:p>
        </p:txBody>
      </p:sp>
      <p:sp>
        <p:nvSpPr>
          <p:cNvPr id="22" name="Footer Placeholder 21"/>
          <p:cNvSpPr>
            <a:spLocks noGrp="1"/>
          </p:cNvSpPr>
          <p:nvPr>
            <p:ph type="ftr" sz="quarter" idx="15"/>
          </p:nvPr>
        </p:nvSpPr>
        <p:spPr/>
        <p:txBody>
          <a:bodyPr/>
          <a:lstStyle/>
          <a:p>
            <a:endParaRPr lang="en-US"/>
          </a:p>
        </p:txBody>
      </p:sp>
      <p:sp>
        <p:nvSpPr>
          <p:cNvPr id="23" name="Slide Number Placeholder 22"/>
          <p:cNvSpPr>
            <a:spLocks noGrp="1"/>
          </p:cNvSpPr>
          <p:nvPr>
            <p:ph type="sldNum" sz="quarter" idx="16"/>
          </p:nvPr>
        </p:nvSpPr>
        <p:spPr/>
        <p:txBody>
          <a:bodyPr/>
          <a:lstStyle/>
          <a:p>
            <a:fld id="{5F3E29E4-0979-4FCA-B4C5-5FC6044C982A}" type="slidenum">
              <a:rPr lang="en-US" smtClean="0"/>
              <a:t>‹#›</a:t>
            </a:fld>
            <a:endParaRPr lang="en-US"/>
          </a:p>
        </p:txBody>
      </p:sp>
      <p:sp>
        <p:nvSpPr>
          <p:cNvPr id="2" name="Title 1"/>
          <p:cNvSpPr>
            <a:spLocks noGrp="1"/>
          </p:cNvSpPr>
          <p:nvPr>
            <p:ph type="title" hasCustomPrompt="1"/>
          </p:nvPr>
        </p:nvSpPr>
        <p:spPr/>
        <p:txBody>
          <a:bodyPr/>
          <a:lstStyle>
            <a:lvl1pPr>
              <a:defRPr/>
            </a:lvl1pPr>
          </a:lstStyle>
          <a:p>
            <a:r>
              <a:rPr lang="en-US"/>
              <a:t>Click to add contact title</a:t>
            </a:r>
          </a:p>
        </p:txBody>
      </p:sp>
      <p:sp>
        <p:nvSpPr>
          <p:cNvPr id="7" name="Subtitle 2"/>
          <p:cNvSpPr>
            <a:spLocks noGrp="1"/>
          </p:cNvSpPr>
          <p:nvPr>
            <p:ph type="subTitle" idx="13" hasCustomPrompt="1"/>
          </p:nvPr>
        </p:nvSpPr>
        <p:spPr>
          <a:xfrm>
            <a:off x="1075061" y="964671"/>
            <a:ext cx="7910158" cy="490042"/>
          </a:xfrm>
        </p:spPr>
        <p:txBody>
          <a:bodyPr wrap="none"/>
          <a:lstStyle>
            <a:lvl1pPr marL="0" indent="0" algn="l">
              <a:spcBef>
                <a:spcPts val="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grpSp>
        <p:nvGrpSpPr>
          <p:cNvPr id="8" name="Gruppieren 80">
            <a:extLst>
              <a:ext uri="{FF2B5EF4-FFF2-40B4-BE49-F238E27FC236}">
                <a16:creationId xmlns:a16="http://schemas.microsoft.com/office/drawing/2014/main" id="{6B969E7B-9C39-4443-9B02-74C1E7C5CCAC}"/>
              </a:ext>
            </a:extLst>
          </p:cNvPr>
          <p:cNvGrpSpPr/>
          <p:nvPr/>
        </p:nvGrpSpPr>
        <p:grpSpPr>
          <a:xfrm>
            <a:off x="3770065" y="2868319"/>
            <a:ext cx="171180" cy="171180"/>
            <a:chOff x="3392092" y="1841122"/>
            <a:chExt cx="646508" cy="646508"/>
          </a:xfrm>
        </p:grpSpPr>
        <p:sp>
          <p:nvSpPr>
            <p:cNvPr id="9" name="Rechteck 14">
              <a:extLst>
                <a:ext uri="{FF2B5EF4-FFF2-40B4-BE49-F238E27FC236}">
                  <a16:creationId xmlns:a16="http://schemas.microsoft.com/office/drawing/2014/main" id="{D78F58EA-5525-8D43-8295-FEA52ECF6BFA}"/>
                </a:ext>
              </a:extLst>
            </p:cNvPr>
            <p:cNvSpPr>
              <a:spLocks noChangeAspect="1"/>
            </p:cNvSpPr>
            <p:nvPr/>
          </p:nvSpPr>
          <p:spPr bwMode="gray">
            <a:xfrm>
              <a:off x="3392092" y="1841122"/>
              <a:ext cx="646508" cy="646508"/>
            </a:xfrm>
            <a:prstGeom prst="rect">
              <a:avLst/>
            </a:prstGeom>
            <a:solidFill>
              <a:srgbClr val="E55A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pPr>
              <a:endParaRPr lang="en-US" sz="1000">
                <a:solidFill>
                  <a:schemeClr val="tx1"/>
                </a:solidFill>
                <a:latin typeface="Arial" pitchFamily="34" charset="0"/>
                <a:cs typeface="Arial" pitchFamily="34" charset="0"/>
              </a:endParaRPr>
            </a:p>
          </p:txBody>
        </p:sp>
        <p:sp>
          <p:nvSpPr>
            <p:cNvPr id="10" name="Freeform 67">
              <a:extLst>
                <a:ext uri="{FF2B5EF4-FFF2-40B4-BE49-F238E27FC236}">
                  <a16:creationId xmlns:a16="http://schemas.microsoft.com/office/drawing/2014/main" id="{D01A6292-2776-4945-B828-483D79DC4908}"/>
                </a:ext>
              </a:extLst>
            </p:cNvPr>
            <p:cNvSpPr>
              <a:spLocks noChangeAspect="1"/>
            </p:cNvSpPr>
            <p:nvPr/>
          </p:nvSpPr>
          <p:spPr bwMode="auto">
            <a:xfrm>
              <a:off x="3546638" y="1970424"/>
              <a:ext cx="337415" cy="387905"/>
            </a:xfrm>
            <a:custGeom>
              <a:avLst/>
              <a:gdLst>
                <a:gd name="T0" fmla="*/ 573 w 1624"/>
                <a:gd name="T1" fmla="*/ 1257 h 1867"/>
                <a:gd name="T2" fmla="*/ 662 w 1624"/>
                <a:gd name="T3" fmla="*/ 1288 h 1867"/>
                <a:gd name="T4" fmla="*/ 938 w 1624"/>
                <a:gd name="T5" fmla="*/ 1051 h 1867"/>
                <a:gd name="T6" fmla="*/ 1106 w 1624"/>
                <a:gd name="T7" fmla="*/ 731 h 1867"/>
                <a:gd name="T8" fmla="*/ 1059 w 1624"/>
                <a:gd name="T9" fmla="*/ 645 h 1867"/>
                <a:gd name="T10" fmla="*/ 1001 w 1624"/>
                <a:gd name="T11" fmla="*/ 613 h 1867"/>
                <a:gd name="T12" fmla="*/ 924 w 1624"/>
                <a:gd name="T13" fmla="*/ 432 h 1867"/>
                <a:gd name="T14" fmla="*/ 1114 w 1624"/>
                <a:gd name="T15" fmla="*/ 81 h 1867"/>
                <a:gd name="T16" fmla="*/ 1287 w 1624"/>
                <a:gd name="T17" fmla="*/ 35 h 1867"/>
                <a:gd name="T18" fmla="*/ 1350 w 1624"/>
                <a:gd name="T19" fmla="*/ 69 h 1867"/>
                <a:gd name="T20" fmla="*/ 1527 w 1624"/>
                <a:gd name="T21" fmla="*/ 235 h 1867"/>
                <a:gd name="T22" fmla="*/ 1583 w 1624"/>
                <a:gd name="T23" fmla="*/ 555 h 1867"/>
                <a:gd name="T24" fmla="*/ 1172 w 1624"/>
                <a:gd name="T25" fmla="*/ 1253 h 1867"/>
                <a:gd name="T26" fmla="*/ 586 w 1624"/>
                <a:gd name="T27" fmla="*/ 1803 h 1867"/>
                <a:gd name="T28" fmla="*/ 269 w 1624"/>
                <a:gd name="T29" fmla="*/ 1807 h 1867"/>
                <a:gd name="T30" fmla="*/ 33 w 1624"/>
                <a:gd name="T31" fmla="*/ 1602 h 1867"/>
                <a:gd name="T32" fmla="*/ 2 w 1624"/>
                <a:gd name="T33" fmla="*/ 1508 h 1867"/>
                <a:gd name="T34" fmla="*/ 45 w 1624"/>
                <a:gd name="T35" fmla="*/ 1421 h 1867"/>
                <a:gd name="T36" fmla="*/ 346 w 1624"/>
                <a:gd name="T37" fmla="*/ 1158 h 1867"/>
                <a:gd name="T38" fmla="*/ 448 w 1624"/>
                <a:gd name="T39" fmla="*/ 1145 h 1867"/>
                <a:gd name="T40" fmla="*/ 573 w 1624"/>
                <a:gd name="T41" fmla="*/ 1257 h 18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24" h="1867">
                  <a:moveTo>
                    <a:pt x="573" y="1257"/>
                  </a:moveTo>
                  <a:cubicBezTo>
                    <a:pt x="592" y="1282"/>
                    <a:pt x="630" y="1303"/>
                    <a:pt x="662" y="1288"/>
                  </a:cubicBezTo>
                  <a:cubicBezTo>
                    <a:pt x="753" y="1245"/>
                    <a:pt x="854" y="1156"/>
                    <a:pt x="938" y="1051"/>
                  </a:cubicBezTo>
                  <a:cubicBezTo>
                    <a:pt x="1020" y="948"/>
                    <a:pt x="1084" y="831"/>
                    <a:pt x="1106" y="731"/>
                  </a:cubicBezTo>
                  <a:cubicBezTo>
                    <a:pt x="1113" y="696"/>
                    <a:pt x="1089" y="661"/>
                    <a:pt x="1059" y="645"/>
                  </a:cubicBezTo>
                  <a:cubicBezTo>
                    <a:pt x="1001" y="613"/>
                    <a:pt x="1001" y="613"/>
                    <a:pt x="1001" y="613"/>
                  </a:cubicBezTo>
                  <a:cubicBezTo>
                    <a:pt x="942" y="580"/>
                    <a:pt x="888" y="499"/>
                    <a:pt x="924" y="432"/>
                  </a:cubicBezTo>
                  <a:cubicBezTo>
                    <a:pt x="1114" y="81"/>
                    <a:pt x="1114" y="81"/>
                    <a:pt x="1114" y="81"/>
                  </a:cubicBezTo>
                  <a:cubicBezTo>
                    <a:pt x="1150" y="16"/>
                    <a:pt x="1224" y="0"/>
                    <a:pt x="1287" y="35"/>
                  </a:cubicBezTo>
                  <a:cubicBezTo>
                    <a:pt x="1350" y="69"/>
                    <a:pt x="1350" y="69"/>
                    <a:pt x="1350" y="69"/>
                  </a:cubicBezTo>
                  <a:cubicBezTo>
                    <a:pt x="1415" y="105"/>
                    <a:pt x="1479" y="165"/>
                    <a:pt x="1527" y="235"/>
                  </a:cubicBezTo>
                  <a:cubicBezTo>
                    <a:pt x="1593" y="332"/>
                    <a:pt x="1624" y="442"/>
                    <a:pt x="1583" y="555"/>
                  </a:cubicBezTo>
                  <a:cubicBezTo>
                    <a:pt x="1500" y="781"/>
                    <a:pt x="1351" y="1030"/>
                    <a:pt x="1172" y="1253"/>
                  </a:cubicBezTo>
                  <a:cubicBezTo>
                    <a:pt x="994" y="1477"/>
                    <a:pt x="786" y="1676"/>
                    <a:pt x="586" y="1803"/>
                  </a:cubicBezTo>
                  <a:cubicBezTo>
                    <a:pt x="486" y="1867"/>
                    <a:pt x="375" y="1856"/>
                    <a:pt x="269" y="1807"/>
                  </a:cubicBezTo>
                  <a:cubicBezTo>
                    <a:pt x="157" y="1755"/>
                    <a:pt x="106" y="1695"/>
                    <a:pt x="33" y="1602"/>
                  </a:cubicBezTo>
                  <a:cubicBezTo>
                    <a:pt x="11" y="1573"/>
                    <a:pt x="0" y="1540"/>
                    <a:pt x="2" y="1508"/>
                  </a:cubicBezTo>
                  <a:cubicBezTo>
                    <a:pt x="4" y="1475"/>
                    <a:pt x="18" y="1444"/>
                    <a:pt x="45" y="1421"/>
                  </a:cubicBezTo>
                  <a:cubicBezTo>
                    <a:pt x="70" y="1399"/>
                    <a:pt x="346" y="1158"/>
                    <a:pt x="346" y="1158"/>
                  </a:cubicBezTo>
                  <a:cubicBezTo>
                    <a:pt x="376" y="1134"/>
                    <a:pt x="413" y="1133"/>
                    <a:pt x="448" y="1145"/>
                  </a:cubicBezTo>
                  <a:cubicBezTo>
                    <a:pt x="510" y="1166"/>
                    <a:pt x="536" y="1210"/>
                    <a:pt x="573" y="1257"/>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351"/>
            </a:p>
          </p:txBody>
        </p:sp>
      </p:grpSp>
      <p:grpSp>
        <p:nvGrpSpPr>
          <p:cNvPr id="11" name="Group 3">
            <a:extLst>
              <a:ext uri="{FF2B5EF4-FFF2-40B4-BE49-F238E27FC236}">
                <a16:creationId xmlns:a16="http://schemas.microsoft.com/office/drawing/2014/main" id="{DED6A25A-5DE2-1441-8BA2-C68D3B4F9209}"/>
              </a:ext>
            </a:extLst>
          </p:cNvPr>
          <p:cNvGrpSpPr>
            <a:grpSpLocks noChangeAspect="1"/>
          </p:cNvGrpSpPr>
          <p:nvPr>
            <p:custDataLst>
              <p:tags r:id="rId1"/>
            </p:custDataLst>
          </p:nvPr>
        </p:nvGrpSpPr>
        <p:grpSpPr>
          <a:xfrm>
            <a:off x="3770066" y="3153207"/>
            <a:ext cx="171180" cy="171180"/>
            <a:chOff x="328396" y="5313940"/>
            <a:chExt cx="720000" cy="720000"/>
          </a:xfrm>
        </p:grpSpPr>
        <p:sp>
          <p:nvSpPr>
            <p:cNvPr id="12" name="Rectangle 4">
              <a:extLst>
                <a:ext uri="{FF2B5EF4-FFF2-40B4-BE49-F238E27FC236}">
                  <a16:creationId xmlns:a16="http://schemas.microsoft.com/office/drawing/2014/main" id="{5F49E67F-D4FA-9D48-96BC-59AE946ECD15}"/>
                </a:ext>
              </a:extLst>
            </p:cNvPr>
            <p:cNvSpPr/>
            <p:nvPr/>
          </p:nvSpPr>
          <p:spPr bwMode="gray">
            <a:xfrm>
              <a:off x="328396" y="5313940"/>
              <a:ext cx="720000" cy="720000"/>
            </a:xfrm>
            <a:prstGeom prst="rect">
              <a:avLst/>
            </a:prstGeom>
            <a:solidFill>
              <a:srgbClr val="E55A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pPr>
              <a:endParaRPr lang="en-US" sz="1000">
                <a:solidFill>
                  <a:schemeClr val="tx1"/>
                </a:solidFill>
                <a:latin typeface="Arial" pitchFamily="34" charset="0"/>
                <a:cs typeface="Arial" pitchFamily="34" charset="0"/>
              </a:endParaRPr>
            </a:p>
          </p:txBody>
        </p:sp>
        <p:sp>
          <p:nvSpPr>
            <p:cNvPr id="13" name="Freeform 76">
              <a:extLst>
                <a:ext uri="{FF2B5EF4-FFF2-40B4-BE49-F238E27FC236}">
                  <a16:creationId xmlns:a16="http://schemas.microsoft.com/office/drawing/2014/main" id="{187E70E6-AF3F-2549-908E-DF4BA61040AA}"/>
                </a:ext>
              </a:extLst>
            </p:cNvPr>
            <p:cNvSpPr>
              <a:spLocks noChangeAspect="1" noEditPoints="1"/>
            </p:cNvSpPr>
            <p:nvPr/>
          </p:nvSpPr>
          <p:spPr bwMode="auto">
            <a:xfrm>
              <a:off x="456202" y="5509222"/>
              <a:ext cx="504000" cy="329436"/>
            </a:xfrm>
            <a:custGeom>
              <a:avLst/>
              <a:gdLst>
                <a:gd name="T0" fmla="*/ 0 w 2080"/>
                <a:gd name="T1" fmla="*/ 65 h 1360"/>
                <a:gd name="T2" fmla="*/ 0 w 2080"/>
                <a:gd name="T3" fmla="*/ 0 h 1360"/>
                <a:gd name="T4" fmla="*/ 2080 w 2080"/>
                <a:gd name="T5" fmla="*/ 0 h 1360"/>
                <a:gd name="T6" fmla="*/ 2080 w 2080"/>
                <a:gd name="T7" fmla="*/ 65 h 1360"/>
                <a:gd name="T8" fmla="*/ 1089 w 2080"/>
                <a:gd name="T9" fmla="*/ 862 h 1360"/>
                <a:gd name="T10" fmla="*/ 991 w 2080"/>
                <a:gd name="T11" fmla="*/ 862 h 1360"/>
                <a:gd name="T12" fmla="*/ 0 w 2080"/>
                <a:gd name="T13" fmla="*/ 65 h 1360"/>
                <a:gd name="T14" fmla="*/ 1139 w 2080"/>
                <a:gd name="T15" fmla="*/ 924 h 1360"/>
                <a:gd name="T16" fmla="*/ 1282 w 2080"/>
                <a:gd name="T17" fmla="*/ 810 h 1360"/>
                <a:gd name="T18" fmla="*/ 2076 w 2080"/>
                <a:gd name="T19" fmla="*/ 1360 h 1360"/>
                <a:gd name="T20" fmla="*/ 4 w 2080"/>
                <a:gd name="T21" fmla="*/ 1360 h 1360"/>
                <a:gd name="T22" fmla="*/ 798 w 2080"/>
                <a:gd name="T23" fmla="*/ 810 h 1360"/>
                <a:gd name="T24" fmla="*/ 941 w 2080"/>
                <a:gd name="T25" fmla="*/ 924 h 1360"/>
                <a:gd name="T26" fmla="*/ 1139 w 2080"/>
                <a:gd name="T27" fmla="*/ 924 h 1360"/>
                <a:gd name="T28" fmla="*/ 2 w 2080"/>
                <a:gd name="T29" fmla="*/ 137 h 1360"/>
                <a:gd name="T30" fmla="*/ 42 w 2080"/>
                <a:gd name="T31" fmla="*/ 201 h 1360"/>
                <a:gd name="T32" fmla="*/ 734 w 2080"/>
                <a:gd name="T33" fmla="*/ 758 h 1360"/>
                <a:gd name="T34" fmla="*/ 0 w 2080"/>
                <a:gd name="T35" fmla="*/ 1266 h 1360"/>
                <a:gd name="T36" fmla="*/ 0 w 2080"/>
                <a:gd name="T37" fmla="*/ 135 h 1360"/>
                <a:gd name="T38" fmla="*/ 2 w 2080"/>
                <a:gd name="T39" fmla="*/ 137 h 1360"/>
                <a:gd name="T40" fmla="*/ 2080 w 2080"/>
                <a:gd name="T41" fmla="*/ 136 h 1360"/>
                <a:gd name="T42" fmla="*/ 2080 w 2080"/>
                <a:gd name="T43" fmla="*/ 1265 h 1360"/>
                <a:gd name="T44" fmla="*/ 1346 w 2080"/>
                <a:gd name="T45" fmla="*/ 758 h 1360"/>
                <a:gd name="T46" fmla="*/ 2038 w 2080"/>
                <a:gd name="T47" fmla="*/ 201 h 1360"/>
                <a:gd name="T48" fmla="*/ 2080 w 2080"/>
                <a:gd name="T49" fmla="*/ 136 h 1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080" h="1360">
                  <a:moveTo>
                    <a:pt x="0" y="65"/>
                  </a:moveTo>
                  <a:cubicBezTo>
                    <a:pt x="0" y="0"/>
                    <a:pt x="0" y="0"/>
                    <a:pt x="0" y="0"/>
                  </a:cubicBezTo>
                  <a:cubicBezTo>
                    <a:pt x="2080" y="0"/>
                    <a:pt x="2080" y="0"/>
                    <a:pt x="2080" y="0"/>
                  </a:cubicBezTo>
                  <a:cubicBezTo>
                    <a:pt x="2080" y="65"/>
                    <a:pt x="2080" y="65"/>
                    <a:pt x="2080" y="65"/>
                  </a:cubicBezTo>
                  <a:cubicBezTo>
                    <a:pt x="1089" y="862"/>
                    <a:pt x="1089" y="862"/>
                    <a:pt x="1089" y="862"/>
                  </a:cubicBezTo>
                  <a:cubicBezTo>
                    <a:pt x="1060" y="886"/>
                    <a:pt x="1020" y="886"/>
                    <a:pt x="991" y="862"/>
                  </a:cubicBezTo>
                  <a:lnTo>
                    <a:pt x="0" y="65"/>
                  </a:lnTo>
                  <a:close/>
                  <a:moveTo>
                    <a:pt x="1139" y="924"/>
                  </a:moveTo>
                  <a:cubicBezTo>
                    <a:pt x="1282" y="810"/>
                    <a:pt x="1282" y="810"/>
                    <a:pt x="1282" y="810"/>
                  </a:cubicBezTo>
                  <a:cubicBezTo>
                    <a:pt x="2076" y="1360"/>
                    <a:pt x="2076" y="1360"/>
                    <a:pt x="2076" y="1360"/>
                  </a:cubicBezTo>
                  <a:cubicBezTo>
                    <a:pt x="4" y="1360"/>
                    <a:pt x="4" y="1360"/>
                    <a:pt x="4" y="1360"/>
                  </a:cubicBezTo>
                  <a:cubicBezTo>
                    <a:pt x="798" y="810"/>
                    <a:pt x="798" y="810"/>
                    <a:pt x="798" y="810"/>
                  </a:cubicBezTo>
                  <a:cubicBezTo>
                    <a:pt x="941" y="924"/>
                    <a:pt x="941" y="924"/>
                    <a:pt x="941" y="924"/>
                  </a:cubicBezTo>
                  <a:cubicBezTo>
                    <a:pt x="1000" y="972"/>
                    <a:pt x="1080" y="972"/>
                    <a:pt x="1139" y="924"/>
                  </a:cubicBezTo>
                  <a:close/>
                  <a:moveTo>
                    <a:pt x="2" y="137"/>
                  </a:moveTo>
                  <a:cubicBezTo>
                    <a:pt x="8" y="163"/>
                    <a:pt x="22" y="185"/>
                    <a:pt x="42" y="201"/>
                  </a:cubicBezTo>
                  <a:cubicBezTo>
                    <a:pt x="734" y="758"/>
                    <a:pt x="734" y="758"/>
                    <a:pt x="734" y="758"/>
                  </a:cubicBezTo>
                  <a:cubicBezTo>
                    <a:pt x="0" y="1266"/>
                    <a:pt x="0" y="1266"/>
                    <a:pt x="0" y="1266"/>
                  </a:cubicBezTo>
                  <a:cubicBezTo>
                    <a:pt x="0" y="135"/>
                    <a:pt x="0" y="135"/>
                    <a:pt x="0" y="135"/>
                  </a:cubicBezTo>
                  <a:lnTo>
                    <a:pt x="2" y="137"/>
                  </a:lnTo>
                  <a:close/>
                  <a:moveTo>
                    <a:pt x="2080" y="136"/>
                  </a:moveTo>
                  <a:cubicBezTo>
                    <a:pt x="2080" y="1265"/>
                    <a:pt x="2080" y="1265"/>
                    <a:pt x="2080" y="1265"/>
                  </a:cubicBezTo>
                  <a:cubicBezTo>
                    <a:pt x="1346" y="758"/>
                    <a:pt x="1346" y="758"/>
                    <a:pt x="1346" y="758"/>
                  </a:cubicBezTo>
                  <a:cubicBezTo>
                    <a:pt x="2038" y="201"/>
                    <a:pt x="2038" y="201"/>
                    <a:pt x="2038" y="201"/>
                  </a:cubicBezTo>
                  <a:cubicBezTo>
                    <a:pt x="2060" y="182"/>
                    <a:pt x="2072" y="162"/>
                    <a:pt x="2080" y="13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000"/>
            </a:p>
          </p:txBody>
        </p:sp>
      </p:grpSp>
      <p:grpSp>
        <p:nvGrpSpPr>
          <p:cNvPr id="14" name="Gruppieren 2">
            <a:extLst>
              <a:ext uri="{FF2B5EF4-FFF2-40B4-BE49-F238E27FC236}">
                <a16:creationId xmlns:a16="http://schemas.microsoft.com/office/drawing/2014/main" id="{BE697CE9-EBDE-6B4A-BE70-582D92A8A831}"/>
              </a:ext>
            </a:extLst>
          </p:cNvPr>
          <p:cNvGrpSpPr/>
          <p:nvPr/>
        </p:nvGrpSpPr>
        <p:grpSpPr>
          <a:xfrm>
            <a:off x="8701917" y="2868319"/>
            <a:ext cx="171180" cy="171180"/>
            <a:chOff x="3392092" y="1841122"/>
            <a:chExt cx="646508" cy="646508"/>
          </a:xfrm>
        </p:grpSpPr>
        <p:sp>
          <p:nvSpPr>
            <p:cNvPr id="15" name="Rechteck 14">
              <a:extLst>
                <a:ext uri="{FF2B5EF4-FFF2-40B4-BE49-F238E27FC236}">
                  <a16:creationId xmlns:a16="http://schemas.microsoft.com/office/drawing/2014/main" id="{E142A731-19B7-C34D-9534-9E05108F895F}"/>
                </a:ext>
              </a:extLst>
            </p:cNvPr>
            <p:cNvSpPr>
              <a:spLocks noChangeAspect="1"/>
            </p:cNvSpPr>
            <p:nvPr/>
          </p:nvSpPr>
          <p:spPr bwMode="gray">
            <a:xfrm>
              <a:off x="3392092" y="1841122"/>
              <a:ext cx="646508" cy="646508"/>
            </a:xfrm>
            <a:prstGeom prst="rect">
              <a:avLst/>
            </a:prstGeom>
            <a:solidFill>
              <a:srgbClr val="E55A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pPr>
              <a:endParaRPr lang="en-US" sz="1000">
                <a:solidFill>
                  <a:schemeClr val="tx1"/>
                </a:solidFill>
                <a:latin typeface="Arial" pitchFamily="34" charset="0"/>
                <a:cs typeface="Arial" pitchFamily="34" charset="0"/>
              </a:endParaRPr>
            </a:p>
          </p:txBody>
        </p:sp>
        <p:sp>
          <p:nvSpPr>
            <p:cNvPr id="16" name="Freeform 15">
              <a:extLst>
                <a:ext uri="{FF2B5EF4-FFF2-40B4-BE49-F238E27FC236}">
                  <a16:creationId xmlns:a16="http://schemas.microsoft.com/office/drawing/2014/main" id="{F97E84AE-4AD9-4B44-9AA1-F797FC373809}"/>
                </a:ext>
              </a:extLst>
            </p:cNvPr>
            <p:cNvSpPr>
              <a:spLocks noChangeAspect="1"/>
            </p:cNvSpPr>
            <p:nvPr/>
          </p:nvSpPr>
          <p:spPr bwMode="auto">
            <a:xfrm>
              <a:off x="3546638" y="1970424"/>
              <a:ext cx="337415" cy="387905"/>
            </a:xfrm>
            <a:custGeom>
              <a:avLst/>
              <a:gdLst>
                <a:gd name="T0" fmla="*/ 573 w 1624"/>
                <a:gd name="T1" fmla="*/ 1257 h 1867"/>
                <a:gd name="T2" fmla="*/ 662 w 1624"/>
                <a:gd name="T3" fmla="*/ 1288 h 1867"/>
                <a:gd name="T4" fmla="*/ 938 w 1624"/>
                <a:gd name="T5" fmla="*/ 1051 h 1867"/>
                <a:gd name="T6" fmla="*/ 1106 w 1624"/>
                <a:gd name="T7" fmla="*/ 731 h 1867"/>
                <a:gd name="T8" fmla="*/ 1059 w 1624"/>
                <a:gd name="T9" fmla="*/ 645 h 1867"/>
                <a:gd name="T10" fmla="*/ 1001 w 1624"/>
                <a:gd name="T11" fmla="*/ 613 h 1867"/>
                <a:gd name="T12" fmla="*/ 924 w 1624"/>
                <a:gd name="T13" fmla="*/ 432 h 1867"/>
                <a:gd name="T14" fmla="*/ 1114 w 1624"/>
                <a:gd name="T15" fmla="*/ 81 h 1867"/>
                <a:gd name="T16" fmla="*/ 1287 w 1624"/>
                <a:gd name="T17" fmla="*/ 35 h 1867"/>
                <a:gd name="T18" fmla="*/ 1350 w 1624"/>
                <a:gd name="T19" fmla="*/ 69 h 1867"/>
                <a:gd name="T20" fmla="*/ 1527 w 1624"/>
                <a:gd name="T21" fmla="*/ 235 h 1867"/>
                <a:gd name="T22" fmla="*/ 1583 w 1624"/>
                <a:gd name="T23" fmla="*/ 555 h 1867"/>
                <a:gd name="T24" fmla="*/ 1172 w 1624"/>
                <a:gd name="T25" fmla="*/ 1253 h 1867"/>
                <a:gd name="T26" fmla="*/ 586 w 1624"/>
                <a:gd name="T27" fmla="*/ 1803 h 1867"/>
                <a:gd name="T28" fmla="*/ 269 w 1624"/>
                <a:gd name="T29" fmla="*/ 1807 h 1867"/>
                <a:gd name="T30" fmla="*/ 33 w 1624"/>
                <a:gd name="T31" fmla="*/ 1602 h 1867"/>
                <a:gd name="T32" fmla="*/ 2 w 1624"/>
                <a:gd name="T33" fmla="*/ 1508 h 1867"/>
                <a:gd name="T34" fmla="*/ 45 w 1624"/>
                <a:gd name="T35" fmla="*/ 1421 h 1867"/>
                <a:gd name="T36" fmla="*/ 346 w 1624"/>
                <a:gd name="T37" fmla="*/ 1158 h 1867"/>
                <a:gd name="T38" fmla="*/ 448 w 1624"/>
                <a:gd name="T39" fmla="*/ 1145 h 1867"/>
                <a:gd name="T40" fmla="*/ 573 w 1624"/>
                <a:gd name="T41" fmla="*/ 1257 h 18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24" h="1867">
                  <a:moveTo>
                    <a:pt x="573" y="1257"/>
                  </a:moveTo>
                  <a:cubicBezTo>
                    <a:pt x="592" y="1282"/>
                    <a:pt x="630" y="1303"/>
                    <a:pt x="662" y="1288"/>
                  </a:cubicBezTo>
                  <a:cubicBezTo>
                    <a:pt x="753" y="1245"/>
                    <a:pt x="854" y="1156"/>
                    <a:pt x="938" y="1051"/>
                  </a:cubicBezTo>
                  <a:cubicBezTo>
                    <a:pt x="1020" y="948"/>
                    <a:pt x="1084" y="831"/>
                    <a:pt x="1106" y="731"/>
                  </a:cubicBezTo>
                  <a:cubicBezTo>
                    <a:pt x="1113" y="696"/>
                    <a:pt x="1089" y="661"/>
                    <a:pt x="1059" y="645"/>
                  </a:cubicBezTo>
                  <a:cubicBezTo>
                    <a:pt x="1001" y="613"/>
                    <a:pt x="1001" y="613"/>
                    <a:pt x="1001" y="613"/>
                  </a:cubicBezTo>
                  <a:cubicBezTo>
                    <a:pt x="942" y="580"/>
                    <a:pt x="888" y="499"/>
                    <a:pt x="924" y="432"/>
                  </a:cubicBezTo>
                  <a:cubicBezTo>
                    <a:pt x="1114" y="81"/>
                    <a:pt x="1114" y="81"/>
                    <a:pt x="1114" y="81"/>
                  </a:cubicBezTo>
                  <a:cubicBezTo>
                    <a:pt x="1150" y="16"/>
                    <a:pt x="1224" y="0"/>
                    <a:pt x="1287" y="35"/>
                  </a:cubicBezTo>
                  <a:cubicBezTo>
                    <a:pt x="1350" y="69"/>
                    <a:pt x="1350" y="69"/>
                    <a:pt x="1350" y="69"/>
                  </a:cubicBezTo>
                  <a:cubicBezTo>
                    <a:pt x="1415" y="105"/>
                    <a:pt x="1479" y="165"/>
                    <a:pt x="1527" y="235"/>
                  </a:cubicBezTo>
                  <a:cubicBezTo>
                    <a:pt x="1593" y="332"/>
                    <a:pt x="1624" y="442"/>
                    <a:pt x="1583" y="555"/>
                  </a:cubicBezTo>
                  <a:cubicBezTo>
                    <a:pt x="1500" y="781"/>
                    <a:pt x="1351" y="1030"/>
                    <a:pt x="1172" y="1253"/>
                  </a:cubicBezTo>
                  <a:cubicBezTo>
                    <a:pt x="994" y="1477"/>
                    <a:pt x="786" y="1676"/>
                    <a:pt x="586" y="1803"/>
                  </a:cubicBezTo>
                  <a:cubicBezTo>
                    <a:pt x="486" y="1867"/>
                    <a:pt x="375" y="1856"/>
                    <a:pt x="269" y="1807"/>
                  </a:cubicBezTo>
                  <a:cubicBezTo>
                    <a:pt x="157" y="1755"/>
                    <a:pt x="106" y="1695"/>
                    <a:pt x="33" y="1602"/>
                  </a:cubicBezTo>
                  <a:cubicBezTo>
                    <a:pt x="11" y="1573"/>
                    <a:pt x="0" y="1540"/>
                    <a:pt x="2" y="1508"/>
                  </a:cubicBezTo>
                  <a:cubicBezTo>
                    <a:pt x="4" y="1475"/>
                    <a:pt x="18" y="1444"/>
                    <a:pt x="45" y="1421"/>
                  </a:cubicBezTo>
                  <a:cubicBezTo>
                    <a:pt x="70" y="1399"/>
                    <a:pt x="346" y="1158"/>
                    <a:pt x="346" y="1158"/>
                  </a:cubicBezTo>
                  <a:cubicBezTo>
                    <a:pt x="376" y="1134"/>
                    <a:pt x="413" y="1133"/>
                    <a:pt x="448" y="1145"/>
                  </a:cubicBezTo>
                  <a:cubicBezTo>
                    <a:pt x="510" y="1166"/>
                    <a:pt x="536" y="1210"/>
                    <a:pt x="573" y="1257"/>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351"/>
            </a:p>
          </p:txBody>
        </p:sp>
      </p:grpSp>
      <p:grpSp>
        <p:nvGrpSpPr>
          <p:cNvPr id="17" name="Group 3">
            <a:extLst>
              <a:ext uri="{FF2B5EF4-FFF2-40B4-BE49-F238E27FC236}">
                <a16:creationId xmlns:a16="http://schemas.microsoft.com/office/drawing/2014/main" id="{7104BADD-8CD1-6F4A-B894-869C3BDB3EEB}"/>
              </a:ext>
            </a:extLst>
          </p:cNvPr>
          <p:cNvGrpSpPr>
            <a:grpSpLocks noChangeAspect="1"/>
          </p:cNvGrpSpPr>
          <p:nvPr>
            <p:custDataLst>
              <p:tags r:id="rId2"/>
            </p:custDataLst>
          </p:nvPr>
        </p:nvGrpSpPr>
        <p:grpSpPr>
          <a:xfrm>
            <a:off x="8701918" y="3153207"/>
            <a:ext cx="171180" cy="171180"/>
            <a:chOff x="328396" y="5313940"/>
            <a:chExt cx="720000" cy="720000"/>
          </a:xfrm>
        </p:grpSpPr>
        <p:sp>
          <p:nvSpPr>
            <p:cNvPr id="18" name="Rectangle 4">
              <a:extLst>
                <a:ext uri="{FF2B5EF4-FFF2-40B4-BE49-F238E27FC236}">
                  <a16:creationId xmlns:a16="http://schemas.microsoft.com/office/drawing/2014/main" id="{74BE3D5F-1445-6E40-8B49-72E15568383B}"/>
                </a:ext>
              </a:extLst>
            </p:cNvPr>
            <p:cNvSpPr/>
            <p:nvPr/>
          </p:nvSpPr>
          <p:spPr bwMode="gray">
            <a:xfrm>
              <a:off x="328396" y="5313940"/>
              <a:ext cx="720000" cy="720000"/>
            </a:xfrm>
            <a:prstGeom prst="rect">
              <a:avLst/>
            </a:prstGeom>
            <a:solidFill>
              <a:srgbClr val="E55A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pPr>
              <a:endParaRPr lang="en-US" sz="1000">
                <a:solidFill>
                  <a:schemeClr val="tx1"/>
                </a:solidFill>
                <a:latin typeface="Arial" pitchFamily="34" charset="0"/>
                <a:cs typeface="Arial" pitchFamily="34" charset="0"/>
              </a:endParaRPr>
            </a:p>
          </p:txBody>
        </p:sp>
        <p:sp>
          <p:nvSpPr>
            <p:cNvPr id="19" name="Freeform 76">
              <a:extLst>
                <a:ext uri="{FF2B5EF4-FFF2-40B4-BE49-F238E27FC236}">
                  <a16:creationId xmlns:a16="http://schemas.microsoft.com/office/drawing/2014/main" id="{55DB3C95-7D0C-D141-901E-96D692794D2B}"/>
                </a:ext>
              </a:extLst>
            </p:cNvPr>
            <p:cNvSpPr>
              <a:spLocks noChangeAspect="1" noEditPoints="1"/>
            </p:cNvSpPr>
            <p:nvPr/>
          </p:nvSpPr>
          <p:spPr bwMode="auto">
            <a:xfrm>
              <a:off x="456202" y="5509222"/>
              <a:ext cx="504000" cy="329436"/>
            </a:xfrm>
            <a:custGeom>
              <a:avLst/>
              <a:gdLst>
                <a:gd name="T0" fmla="*/ 0 w 2080"/>
                <a:gd name="T1" fmla="*/ 65 h 1360"/>
                <a:gd name="T2" fmla="*/ 0 w 2080"/>
                <a:gd name="T3" fmla="*/ 0 h 1360"/>
                <a:gd name="T4" fmla="*/ 2080 w 2080"/>
                <a:gd name="T5" fmla="*/ 0 h 1360"/>
                <a:gd name="T6" fmla="*/ 2080 w 2080"/>
                <a:gd name="T7" fmla="*/ 65 h 1360"/>
                <a:gd name="T8" fmla="*/ 1089 w 2080"/>
                <a:gd name="T9" fmla="*/ 862 h 1360"/>
                <a:gd name="T10" fmla="*/ 991 w 2080"/>
                <a:gd name="T11" fmla="*/ 862 h 1360"/>
                <a:gd name="T12" fmla="*/ 0 w 2080"/>
                <a:gd name="T13" fmla="*/ 65 h 1360"/>
                <a:gd name="T14" fmla="*/ 1139 w 2080"/>
                <a:gd name="T15" fmla="*/ 924 h 1360"/>
                <a:gd name="T16" fmla="*/ 1282 w 2080"/>
                <a:gd name="T17" fmla="*/ 810 h 1360"/>
                <a:gd name="T18" fmla="*/ 2076 w 2080"/>
                <a:gd name="T19" fmla="*/ 1360 h 1360"/>
                <a:gd name="T20" fmla="*/ 4 w 2080"/>
                <a:gd name="T21" fmla="*/ 1360 h 1360"/>
                <a:gd name="T22" fmla="*/ 798 w 2080"/>
                <a:gd name="T23" fmla="*/ 810 h 1360"/>
                <a:gd name="T24" fmla="*/ 941 w 2080"/>
                <a:gd name="T25" fmla="*/ 924 h 1360"/>
                <a:gd name="T26" fmla="*/ 1139 w 2080"/>
                <a:gd name="T27" fmla="*/ 924 h 1360"/>
                <a:gd name="T28" fmla="*/ 2 w 2080"/>
                <a:gd name="T29" fmla="*/ 137 h 1360"/>
                <a:gd name="T30" fmla="*/ 42 w 2080"/>
                <a:gd name="T31" fmla="*/ 201 h 1360"/>
                <a:gd name="T32" fmla="*/ 734 w 2080"/>
                <a:gd name="T33" fmla="*/ 758 h 1360"/>
                <a:gd name="T34" fmla="*/ 0 w 2080"/>
                <a:gd name="T35" fmla="*/ 1266 h 1360"/>
                <a:gd name="T36" fmla="*/ 0 w 2080"/>
                <a:gd name="T37" fmla="*/ 135 h 1360"/>
                <a:gd name="T38" fmla="*/ 2 w 2080"/>
                <a:gd name="T39" fmla="*/ 137 h 1360"/>
                <a:gd name="T40" fmla="*/ 2080 w 2080"/>
                <a:gd name="T41" fmla="*/ 136 h 1360"/>
                <a:gd name="T42" fmla="*/ 2080 w 2080"/>
                <a:gd name="T43" fmla="*/ 1265 h 1360"/>
                <a:gd name="T44" fmla="*/ 1346 w 2080"/>
                <a:gd name="T45" fmla="*/ 758 h 1360"/>
                <a:gd name="T46" fmla="*/ 2038 w 2080"/>
                <a:gd name="T47" fmla="*/ 201 h 1360"/>
                <a:gd name="T48" fmla="*/ 2080 w 2080"/>
                <a:gd name="T49" fmla="*/ 136 h 1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080" h="1360">
                  <a:moveTo>
                    <a:pt x="0" y="65"/>
                  </a:moveTo>
                  <a:cubicBezTo>
                    <a:pt x="0" y="0"/>
                    <a:pt x="0" y="0"/>
                    <a:pt x="0" y="0"/>
                  </a:cubicBezTo>
                  <a:cubicBezTo>
                    <a:pt x="2080" y="0"/>
                    <a:pt x="2080" y="0"/>
                    <a:pt x="2080" y="0"/>
                  </a:cubicBezTo>
                  <a:cubicBezTo>
                    <a:pt x="2080" y="65"/>
                    <a:pt x="2080" y="65"/>
                    <a:pt x="2080" y="65"/>
                  </a:cubicBezTo>
                  <a:cubicBezTo>
                    <a:pt x="1089" y="862"/>
                    <a:pt x="1089" y="862"/>
                    <a:pt x="1089" y="862"/>
                  </a:cubicBezTo>
                  <a:cubicBezTo>
                    <a:pt x="1060" y="886"/>
                    <a:pt x="1020" y="886"/>
                    <a:pt x="991" y="862"/>
                  </a:cubicBezTo>
                  <a:lnTo>
                    <a:pt x="0" y="65"/>
                  </a:lnTo>
                  <a:close/>
                  <a:moveTo>
                    <a:pt x="1139" y="924"/>
                  </a:moveTo>
                  <a:cubicBezTo>
                    <a:pt x="1282" y="810"/>
                    <a:pt x="1282" y="810"/>
                    <a:pt x="1282" y="810"/>
                  </a:cubicBezTo>
                  <a:cubicBezTo>
                    <a:pt x="2076" y="1360"/>
                    <a:pt x="2076" y="1360"/>
                    <a:pt x="2076" y="1360"/>
                  </a:cubicBezTo>
                  <a:cubicBezTo>
                    <a:pt x="4" y="1360"/>
                    <a:pt x="4" y="1360"/>
                    <a:pt x="4" y="1360"/>
                  </a:cubicBezTo>
                  <a:cubicBezTo>
                    <a:pt x="798" y="810"/>
                    <a:pt x="798" y="810"/>
                    <a:pt x="798" y="810"/>
                  </a:cubicBezTo>
                  <a:cubicBezTo>
                    <a:pt x="941" y="924"/>
                    <a:pt x="941" y="924"/>
                    <a:pt x="941" y="924"/>
                  </a:cubicBezTo>
                  <a:cubicBezTo>
                    <a:pt x="1000" y="972"/>
                    <a:pt x="1080" y="972"/>
                    <a:pt x="1139" y="924"/>
                  </a:cubicBezTo>
                  <a:close/>
                  <a:moveTo>
                    <a:pt x="2" y="137"/>
                  </a:moveTo>
                  <a:cubicBezTo>
                    <a:pt x="8" y="163"/>
                    <a:pt x="22" y="185"/>
                    <a:pt x="42" y="201"/>
                  </a:cubicBezTo>
                  <a:cubicBezTo>
                    <a:pt x="734" y="758"/>
                    <a:pt x="734" y="758"/>
                    <a:pt x="734" y="758"/>
                  </a:cubicBezTo>
                  <a:cubicBezTo>
                    <a:pt x="0" y="1266"/>
                    <a:pt x="0" y="1266"/>
                    <a:pt x="0" y="1266"/>
                  </a:cubicBezTo>
                  <a:cubicBezTo>
                    <a:pt x="0" y="135"/>
                    <a:pt x="0" y="135"/>
                    <a:pt x="0" y="135"/>
                  </a:cubicBezTo>
                  <a:lnTo>
                    <a:pt x="2" y="137"/>
                  </a:lnTo>
                  <a:close/>
                  <a:moveTo>
                    <a:pt x="2080" y="136"/>
                  </a:moveTo>
                  <a:cubicBezTo>
                    <a:pt x="2080" y="1265"/>
                    <a:pt x="2080" y="1265"/>
                    <a:pt x="2080" y="1265"/>
                  </a:cubicBezTo>
                  <a:cubicBezTo>
                    <a:pt x="1346" y="758"/>
                    <a:pt x="1346" y="758"/>
                    <a:pt x="1346" y="758"/>
                  </a:cubicBezTo>
                  <a:cubicBezTo>
                    <a:pt x="2038" y="201"/>
                    <a:pt x="2038" y="201"/>
                    <a:pt x="2038" y="201"/>
                  </a:cubicBezTo>
                  <a:cubicBezTo>
                    <a:pt x="2060" y="182"/>
                    <a:pt x="2072" y="162"/>
                    <a:pt x="2080" y="13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000"/>
            </a:p>
          </p:txBody>
        </p:sp>
      </p:grpSp>
      <p:cxnSp>
        <p:nvCxnSpPr>
          <p:cNvPr id="20" name="Straight Connector 19"/>
          <p:cNvCxnSpPr/>
          <p:nvPr/>
        </p:nvCxnSpPr>
        <p:spPr>
          <a:xfrm>
            <a:off x="2371725" y="3478213"/>
            <a:ext cx="3888000" cy="0"/>
          </a:xfrm>
          <a:prstGeom prst="line">
            <a:avLst/>
          </a:prstGeom>
          <a:ln w="6350">
            <a:solidFill>
              <a:schemeClr val="tx2"/>
            </a:solidFill>
            <a:prstDash val="dash"/>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p:nvCxnSpPr>
        <p:spPr>
          <a:xfrm>
            <a:off x="7287766" y="3478213"/>
            <a:ext cx="3888000" cy="0"/>
          </a:xfrm>
          <a:prstGeom prst="line">
            <a:avLst/>
          </a:prstGeom>
          <a:ln w="6350">
            <a:solidFill>
              <a:schemeClr val="tx2"/>
            </a:solidFill>
            <a:prstDash val="dash"/>
          </a:ln>
        </p:spPr>
        <p:style>
          <a:lnRef idx="1">
            <a:schemeClr val="accent1"/>
          </a:lnRef>
          <a:fillRef idx="0">
            <a:schemeClr val="accent1"/>
          </a:fillRef>
          <a:effectRef idx="0">
            <a:schemeClr val="accent1"/>
          </a:effectRef>
          <a:fontRef idx="minor">
            <a:schemeClr val="tx1"/>
          </a:fontRef>
        </p:style>
      </p:cxnSp>
      <p:sp>
        <p:nvSpPr>
          <p:cNvPr id="4" name="Picture Placeholder 3"/>
          <p:cNvSpPr>
            <a:spLocks noGrp="1"/>
          </p:cNvSpPr>
          <p:nvPr>
            <p:ph type="pic" sz="quarter" idx="17" hasCustomPrompt="1"/>
          </p:nvPr>
        </p:nvSpPr>
        <p:spPr>
          <a:xfrm>
            <a:off x="2355914" y="1808984"/>
            <a:ext cx="1188677" cy="1547840"/>
          </a:xfrm>
          <a:solidFill>
            <a:srgbClr val="D9DADB"/>
          </a:solidFill>
        </p:spPr>
        <p:txBody>
          <a:bodyPr/>
          <a:lstStyle>
            <a:lvl1pPr marL="0" indent="0">
              <a:buNone/>
              <a:defRPr sz="1400"/>
            </a:lvl1pPr>
          </a:lstStyle>
          <a:p>
            <a:r>
              <a:rPr lang="en-US"/>
              <a:t>Insert picture</a:t>
            </a:r>
          </a:p>
        </p:txBody>
      </p:sp>
      <p:sp>
        <p:nvSpPr>
          <p:cNvPr id="25" name="Picture Placeholder 3"/>
          <p:cNvSpPr>
            <a:spLocks noGrp="1"/>
          </p:cNvSpPr>
          <p:nvPr>
            <p:ph type="pic" sz="quarter" idx="18" hasCustomPrompt="1"/>
          </p:nvPr>
        </p:nvSpPr>
        <p:spPr>
          <a:xfrm>
            <a:off x="7287766" y="1808984"/>
            <a:ext cx="1188677" cy="1547840"/>
          </a:xfrm>
          <a:solidFill>
            <a:srgbClr val="D9DADB"/>
          </a:solidFill>
        </p:spPr>
        <p:txBody>
          <a:bodyPr/>
          <a:lstStyle>
            <a:lvl1pPr marL="0" indent="0">
              <a:buNone/>
              <a:defRPr sz="1400"/>
            </a:lvl1pPr>
          </a:lstStyle>
          <a:p>
            <a:r>
              <a:rPr lang="en-US"/>
              <a:t>Insert picture</a:t>
            </a:r>
          </a:p>
        </p:txBody>
      </p:sp>
      <p:sp>
        <p:nvSpPr>
          <p:cNvPr id="6" name="Text Placeholder 5"/>
          <p:cNvSpPr>
            <a:spLocks noGrp="1"/>
          </p:cNvSpPr>
          <p:nvPr>
            <p:ph type="body" sz="quarter" idx="19" hasCustomPrompt="1"/>
          </p:nvPr>
        </p:nvSpPr>
        <p:spPr>
          <a:xfrm>
            <a:off x="3770065" y="1808521"/>
            <a:ext cx="2463190" cy="192360"/>
          </a:xfrm>
        </p:spPr>
        <p:txBody>
          <a:bodyPr lIns="0" tIns="0" rIns="0" bIns="0" anchor="ctr" anchorCtr="0"/>
          <a:lstStyle>
            <a:lvl1pPr marL="0" indent="0" algn="l">
              <a:lnSpc>
                <a:spcPct val="100000"/>
              </a:lnSpc>
              <a:buNone/>
              <a:defRPr sz="100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Country</a:t>
            </a:r>
          </a:p>
        </p:txBody>
      </p:sp>
      <p:sp>
        <p:nvSpPr>
          <p:cNvPr id="26" name="Text Placeholder 5"/>
          <p:cNvSpPr>
            <a:spLocks noGrp="1"/>
          </p:cNvSpPr>
          <p:nvPr>
            <p:ph type="body" sz="quarter" idx="20" hasCustomPrompt="1"/>
          </p:nvPr>
        </p:nvSpPr>
        <p:spPr>
          <a:xfrm>
            <a:off x="3770065" y="2020337"/>
            <a:ext cx="2463190" cy="266182"/>
          </a:xfrm>
        </p:spPr>
        <p:txBody>
          <a:bodyPr lIns="0" tIns="0" rIns="0" bIns="0" anchor="b" anchorCtr="0"/>
          <a:lstStyle>
            <a:lvl1pPr marL="0" indent="0" algn="l">
              <a:lnSpc>
                <a:spcPct val="100000"/>
              </a:lnSpc>
              <a:buNone/>
              <a:defRPr sz="1400" b="1" baseline="0">
                <a:solidFill>
                  <a:schemeClr val="tx2"/>
                </a:solidFill>
              </a:defRPr>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Name, Surname</a:t>
            </a:r>
          </a:p>
        </p:txBody>
      </p:sp>
      <p:sp>
        <p:nvSpPr>
          <p:cNvPr id="27" name="Text Placeholder 5"/>
          <p:cNvSpPr>
            <a:spLocks noGrp="1"/>
          </p:cNvSpPr>
          <p:nvPr>
            <p:ph type="body" sz="quarter" idx="21" hasCustomPrompt="1"/>
          </p:nvPr>
        </p:nvSpPr>
        <p:spPr>
          <a:xfrm>
            <a:off x="3770065" y="2316912"/>
            <a:ext cx="2463190"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Job Position</a:t>
            </a:r>
          </a:p>
        </p:txBody>
      </p:sp>
      <p:sp>
        <p:nvSpPr>
          <p:cNvPr id="28" name="Text Placeholder 5"/>
          <p:cNvSpPr>
            <a:spLocks noGrp="1"/>
          </p:cNvSpPr>
          <p:nvPr>
            <p:ph type="body" sz="quarter" idx="22" hasCustomPrompt="1"/>
          </p:nvPr>
        </p:nvSpPr>
        <p:spPr>
          <a:xfrm>
            <a:off x="4014948" y="2845588"/>
            <a:ext cx="2218307"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Phone number</a:t>
            </a:r>
          </a:p>
        </p:txBody>
      </p:sp>
      <p:sp>
        <p:nvSpPr>
          <p:cNvPr id="29" name="Text Placeholder 5"/>
          <p:cNvSpPr>
            <a:spLocks noGrp="1"/>
          </p:cNvSpPr>
          <p:nvPr>
            <p:ph type="body" sz="quarter" idx="23" hasCustomPrompt="1"/>
          </p:nvPr>
        </p:nvSpPr>
        <p:spPr>
          <a:xfrm>
            <a:off x="4014948" y="3128395"/>
            <a:ext cx="2218307"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Email address</a:t>
            </a:r>
          </a:p>
        </p:txBody>
      </p:sp>
      <p:sp>
        <p:nvSpPr>
          <p:cNvPr id="30" name="Text Placeholder 5"/>
          <p:cNvSpPr>
            <a:spLocks noGrp="1"/>
          </p:cNvSpPr>
          <p:nvPr>
            <p:ph type="body" sz="quarter" idx="24" hasCustomPrompt="1"/>
          </p:nvPr>
        </p:nvSpPr>
        <p:spPr>
          <a:xfrm>
            <a:off x="8701917" y="1808521"/>
            <a:ext cx="2463190" cy="192360"/>
          </a:xfrm>
        </p:spPr>
        <p:txBody>
          <a:bodyPr lIns="0" tIns="0" rIns="0" bIns="0" anchor="ctr" anchorCtr="0"/>
          <a:lstStyle>
            <a:lvl1pPr marL="0" indent="0" algn="l">
              <a:lnSpc>
                <a:spcPct val="100000"/>
              </a:lnSpc>
              <a:buNone/>
              <a:defRPr sz="100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Country</a:t>
            </a:r>
          </a:p>
        </p:txBody>
      </p:sp>
      <p:sp>
        <p:nvSpPr>
          <p:cNvPr id="31" name="Text Placeholder 5"/>
          <p:cNvSpPr>
            <a:spLocks noGrp="1"/>
          </p:cNvSpPr>
          <p:nvPr>
            <p:ph type="body" sz="quarter" idx="25" hasCustomPrompt="1"/>
          </p:nvPr>
        </p:nvSpPr>
        <p:spPr>
          <a:xfrm>
            <a:off x="8701917" y="2020337"/>
            <a:ext cx="2463190" cy="266182"/>
          </a:xfrm>
        </p:spPr>
        <p:txBody>
          <a:bodyPr lIns="0" tIns="0" rIns="0" bIns="0" anchor="b" anchorCtr="0"/>
          <a:lstStyle>
            <a:lvl1pPr marL="0" indent="0" algn="l">
              <a:lnSpc>
                <a:spcPct val="100000"/>
              </a:lnSpc>
              <a:buNone/>
              <a:defRPr sz="1400" b="1" baseline="0">
                <a:solidFill>
                  <a:schemeClr val="tx2"/>
                </a:solidFill>
              </a:defRPr>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Name, Surname</a:t>
            </a:r>
          </a:p>
        </p:txBody>
      </p:sp>
      <p:sp>
        <p:nvSpPr>
          <p:cNvPr id="32" name="Text Placeholder 5"/>
          <p:cNvSpPr>
            <a:spLocks noGrp="1"/>
          </p:cNvSpPr>
          <p:nvPr>
            <p:ph type="body" sz="quarter" idx="26" hasCustomPrompt="1"/>
          </p:nvPr>
        </p:nvSpPr>
        <p:spPr>
          <a:xfrm>
            <a:off x="8701917" y="2316912"/>
            <a:ext cx="2463190"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Job Position</a:t>
            </a:r>
          </a:p>
        </p:txBody>
      </p:sp>
      <p:sp>
        <p:nvSpPr>
          <p:cNvPr id="33" name="Text Placeholder 5"/>
          <p:cNvSpPr>
            <a:spLocks noGrp="1"/>
          </p:cNvSpPr>
          <p:nvPr>
            <p:ph type="body" sz="quarter" idx="27" hasCustomPrompt="1"/>
          </p:nvPr>
        </p:nvSpPr>
        <p:spPr>
          <a:xfrm>
            <a:off x="8946800" y="2845588"/>
            <a:ext cx="2218307"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Phone number</a:t>
            </a:r>
          </a:p>
        </p:txBody>
      </p:sp>
      <p:sp>
        <p:nvSpPr>
          <p:cNvPr id="34" name="Text Placeholder 5"/>
          <p:cNvSpPr>
            <a:spLocks noGrp="1"/>
          </p:cNvSpPr>
          <p:nvPr>
            <p:ph type="body" sz="quarter" idx="28" hasCustomPrompt="1"/>
          </p:nvPr>
        </p:nvSpPr>
        <p:spPr>
          <a:xfrm>
            <a:off x="8946800" y="3128395"/>
            <a:ext cx="2218307"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Email address</a:t>
            </a:r>
          </a:p>
        </p:txBody>
      </p:sp>
    </p:spTree>
    <p:extLst>
      <p:ext uri="{BB962C8B-B14F-4D97-AF65-F5344CB8AC3E}">
        <p14:creationId xmlns:p14="http://schemas.microsoft.com/office/powerpoint/2010/main" val="487309241"/>
      </p:ext>
    </p:extLst>
  </p:cSld>
  <p:clrMapOvr>
    <a:masterClrMapping/>
  </p:clrMapOvr>
</p:sldLayout>
</file>

<file path=ppt/slideLayouts/slideLayout437.xml><?xml version="1.0" encoding="utf-8"?>
<p:sldLayout xmlns:a="http://schemas.openxmlformats.org/drawingml/2006/main" xmlns:r="http://schemas.openxmlformats.org/officeDocument/2006/relationships" xmlns:p="http://schemas.openxmlformats.org/presentationml/2006/main" preserve="1">
  <p:cSld name="Three contacts">
    <p:spTree>
      <p:nvGrpSpPr>
        <p:cNvPr id="1" name=""/>
        <p:cNvGrpSpPr/>
        <p:nvPr/>
      </p:nvGrpSpPr>
      <p:grpSpPr>
        <a:xfrm>
          <a:off x="0" y="0"/>
          <a:ext cx="0" cy="0"/>
          <a:chOff x="0" y="0"/>
          <a:chExt cx="0" cy="0"/>
        </a:xfrm>
      </p:grpSpPr>
      <p:sp>
        <p:nvSpPr>
          <p:cNvPr id="21" name="Date Placeholder 20"/>
          <p:cNvSpPr>
            <a:spLocks noGrp="1"/>
          </p:cNvSpPr>
          <p:nvPr>
            <p:ph type="dt" sz="half" idx="14"/>
          </p:nvPr>
        </p:nvSpPr>
        <p:spPr/>
        <p:txBody>
          <a:bodyPr/>
          <a:lstStyle/>
          <a:p>
            <a:endParaRPr lang="en-US"/>
          </a:p>
        </p:txBody>
      </p:sp>
      <p:sp>
        <p:nvSpPr>
          <p:cNvPr id="22" name="Footer Placeholder 21"/>
          <p:cNvSpPr>
            <a:spLocks noGrp="1"/>
          </p:cNvSpPr>
          <p:nvPr>
            <p:ph type="ftr" sz="quarter" idx="15"/>
          </p:nvPr>
        </p:nvSpPr>
        <p:spPr/>
        <p:txBody>
          <a:bodyPr/>
          <a:lstStyle/>
          <a:p>
            <a:endParaRPr lang="en-US"/>
          </a:p>
        </p:txBody>
      </p:sp>
      <p:sp>
        <p:nvSpPr>
          <p:cNvPr id="23" name="Slide Number Placeholder 22"/>
          <p:cNvSpPr>
            <a:spLocks noGrp="1"/>
          </p:cNvSpPr>
          <p:nvPr>
            <p:ph type="sldNum" sz="quarter" idx="16"/>
          </p:nvPr>
        </p:nvSpPr>
        <p:spPr/>
        <p:txBody>
          <a:bodyPr/>
          <a:lstStyle/>
          <a:p>
            <a:fld id="{5F3E29E4-0979-4FCA-B4C5-5FC6044C982A}" type="slidenum">
              <a:rPr lang="en-US" smtClean="0"/>
              <a:t>‹#›</a:t>
            </a:fld>
            <a:endParaRPr lang="en-US"/>
          </a:p>
        </p:txBody>
      </p:sp>
      <p:sp>
        <p:nvSpPr>
          <p:cNvPr id="2" name="Title 1"/>
          <p:cNvSpPr>
            <a:spLocks noGrp="1"/>
          </p:cNvSpPr>
          <p:nvPr>
            <p:ph type="title" hasCustomPrompt="1"/>
          </p:nvPr>
        </p:nvSpPr>
        <p:spPr/>
        <p:txBody>
          <a:bodyPr/>
          <a:lstStyle>
            <a:lvl1pPr>
              <a:defRPr/>
            </a:lvl1pPr>
          </a:lstStyle>
          <a:p>
            <a:r>
              <a:rPr lang="en-US"/>
              <a:t>Click to add contact title</a:t>
            </a:r>
          </a:p>
        </p:txBody>
      </p:sp>
      <p:sp>
        <p:nvSpPr>
          <p:cNvPr id="7" name="Subtitle 2"/>
          <p:cNvSpPr>
            <a:spLocks noGrp="1"/>
          </p:cNvSpPr>
          <p:nvPr>
            <p:ph type="subTitle" idx="13" hasCustomPrompt="1"/>
          </p:nvPr>
        </p:nvSpPr>
        <p:spPr>
          <a:xfrm>
            <a:off x="1075061" y="964671"/>
            <a:ext cx="7910158" cy="490042"/>
          </a:xfrm>
        </p:spPr>
        <p:txBody>
          <a:bodyPr wrap="none"/>
          <a:lstStyle>
            <a:lvl1pPr marL="0" indent="0" algn="l">
              <a:spcBef>
                <a:spcPts val="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grpSp>
        <p:nvGrpSpPr>
          <p:cNvPr id="8" name="Gruppieren 80">
            <a:extLst>
              <a:ext uri="{FF2B5EF4-FFF2-40B4-BE49-F238E27FC236}">
                <a16:creationId xmlns:a16="http://schemas.microsoft.com/office/drawing/2014/main" id="{6B969E7B-9C39-4443-9B02-74C1E7C5CCAC}"/>
              </a:ext>
            </a:extLst>
          </p:cNvPr>
          <p:cNvGrpSpPr/>
          <p:nvPr/>
        </p:nvGrpSpPr>
        <p:grpSpPr>
          <a:xfrm>
            <a:off x="3770065" y="2868319"/>
            <a:ext cx="171180" cy="171180"/>
            <a:chOff x="3392092" y="1841122"/>
            <a:chExt cx="646508" cy="646508"/>
          </a:xfrm>
        </p:grpSpPr>
        <p:sp>
          <p:nvSpPr>
            <p:cNvPr id="9" name="Rechteck 14">
              <a:extLst>
                <a:ext uri="{FF2B5EF4-FFF2-40B4-BE49-F238E27FC236}">
                  <a16:creationId xmlns:a16="http://schemas.microsoft.com/office/drawing/2014/main" id="{D78F58EA-5525-8D43-8295-FEA52ECF6BFA}"/>
                </a:ext>
              </a:extLst>
            </p:cNvPr>
            <p:cNvSpPr>
              <a:spLocks noChangeAspect="1"/>
            </p:cNvSpPr>
            <p:nvPr/>
          </p:nvSpPr>
          <p:spPr bwMode="gray">
            <a:xfrm>
              <a:off x="3392092" y="1841122"/>
              <a:ext cx="646508" cy="646508"/>
            </a:xfrm>
            <a:prstGeom prst="rect">
              <a:avLst/>
            </a:prstGeom>
            <a:solidFill>
              <a:srgbClr val="E55A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pPr>
              <a:endParaRPr lang="en-US" sz="1000">
                <a:solidFill>
                  <a:schemeClr val="tx1"/>
                </a:solidFill>
                <a:latin typeface="Arial" pitchFamily="34" charset="0"/>
                <a:cs typeface="Arial" pitchFamily="34" charset="0"/>
              </a:endParaRPr>
            </a:p>
          </p:txBody>
        </p:sp>
        <p:sp>
          <p:nvSpPr>
            <p:cNvPr id="10" name="Freeform 67">
              <a:extLst>
                <a:ext uri="{FF2B5EF4-FFF2-40B4-BE49-F238E27FC236}">
                  <a16:creationId xmlns:a16="http://schemas.microsoft.com/office/drawing/2014/main" id="{D01A6292-2776-4945-B828-483D79DC4908}"/>
                </a:ext>
              </a:extLst>
            </p:cNvPr>
            <p:cNvSpPr>
              <a:spLocks noChangeAspect="1"/>
            </p:cNvSpPr>
            <p:nvPr/>
          </p:nvSpPr>
          <p:spPr bwMode="auto">
            <a:xfrm>
              <a:off x="3546638" y="1970424"/>
              <a:ext cx="337415" cy="387905"/>
            </a:xfrm>
            <a:custGeom>
              <a:avLst/>
              <a:gdLst>
                <a:gd name="T0" fmla="*/ 573 w 1624"/>
                <a:gd name="T1" fmla="*/ 1257 h 1867"/>
                <a:gd name="T2" fmla="*/ 662 w 1624"/>
                <a:gd name="T3" fmla="*/ 1288 h 1867"/>
                <a:gd name="T4" fmla="*/ 938 w 1624"/>
                <a:gd name="T5" fmla="*/ 1051 h 1867"/>
                <a:gd name="T6" fmla="*/ 1106 w 1624"/>
                <a:gd name="T7" fmla="*/ 731 h 1867"/>
                <a:gd name="T8" fmla="*/ 1059 w 1624"/>
                <a:gd name="T9" fmla="*/ 645 h 1867"/>
                <a:gd name="T10" fmla="*/ 1001 w 1624"/>
                <a:gd name="T11" fmla="*/ 613 h 1867"/>
                <a:gd name="T12" fmla="*/ 924 w 1624"/>
                <a:gd name="T13" fmla="*/ 432 h 1867"/>
                <a:gd name="T14" fmla="*/ 1114 w 1624"/>
                <a:gd name="T15" fmla="*/ 81 h 1867"/>
                <a:gd name="T16" fmla="*/ 1287 w 1624"/>
                <a:gd name="T17" fmla="*/ 35 h 1867"/>
                <a:gd name="T18" fmla="*/ 1350 w 1624"/>
                <a:gd name="T19" fmla="*/ 69 h 1867"/>
                <a:gd name="T20" fmla="*/ 1527 w 1624"/>
                <a:gd name="T21" fmla="*/ 235 h 1867"/>
                <a:gd name="T22" fmla="*/ 1583 w 1624"/>
                <a:gd name="T23" fmla="*/ 555 h 1867"/>
                <a:gd name="T24" fmla="*/ 1172 w 1624"/>
                <a:gd name="T25" fmla="*/ 1253 h 1867"/>
                <a:gd name="T26" fmla="*/ 586 w 1624"/>
                <a:gd name="T27" fmla="*/ 1803 h 1867"/>
                <a:gd name="T28" fmla="*/ 269 w 1624"/>
                <a:gd name="T29" fmla="*/ 1807 h 1867"/>
                <a:gd name="T30" fmla="*/ 33 w 1624"/>
                <a:gd name="T31" fmla="*/ 1602 h 1867"/>
                <a:gd name="T32" fmla="*/ 2 w 1624"/>
                <a:gd name="T33" fmla="*/ 1508 h 1867"/>
                <a:gd name="T34" fmla="*/ 45 w 1624"/>
                <a:gd name="T35" fmla="*/ 1421 h 1867"/>
                <a:gd name="T36" fmla="*/ 346 w 1624"/>
                <a:gd name="T37" fmla="*/ 1158 h 1867"/>
                <a:gd name="T38" fmla="*/ 448 w 1624"/>
                <a:gd name="T39" fmla="*/ 1145 h 1867"/>
                <a:gd name="T40" fmla="*/ 573 w 1624"/>
                <a:gd name="T41" fmla="*/ 1257 h 18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24" h="1867">
                  <a:moveTo>
                    <a:pt x="573" y="1257"/>
                  </a:moveTo>
                  <a:cubicBezTo>
                    <a:pt x="592" y="1282"/>
                    <a:pt x="630" y="1303"/>
                    <a:pt x="662" y="1288"/>
                  </a:cubicBezTo>
                  <a:cubicBezTo>
                    <a:pt x="753" y="1245"/>
                    <a:pt x="854" y="1156"/>
                    <a:pt x="938" y="1051"/>
                  </a:cubicBezTo>
                  <a:cubicBezTo>
                    <a:pt x="1020" y="948"/>
                    <a:pt x="1084" y="831"/>
                    <a:pt x="1106" y="731"/>
                  </a:cubicBezTo>
                  <a:cubicBezTo>
                    <a:pt x="1113" y="696"/>
                    <a:pt x="1089" y="661"/>
                    <a:pt x="1059" y="645"/>
                  </a:cubicBezTo>
                  <a:cubicBezTo>
                    <a:pt x="1001" y="613"/>
                    <a:pt x="1001" y="613"/>
                    <a:pt x="1001" y="613"/>
                  </a:cubicBezTo>
                  <a:cubicBezTo>
                    <a:pt x="942" y="580"/>
                    <a:pt x="888" y="499"/>
                    <a:pt x="924" y="432"/>
                  </a:cubicBezTo>
                  <a:cubicBezTo>
                    <a:pt x="1114" y="81"/>
                    <a:pt x="1114" y="81"/>
                    <a:pt x="1114" y="81"/>
                  </a:cubicBezTo>
                  <a:cubicBezTo>
                    <a:pt x="1150" y="16"/>
                    <a:pt x="1224" y="0"/>
                    <a:pt x="1287" y="35"/>
                  </a:cubicBezTo>
                  <a:cubicBezTo>
                    <a:pt x="1350" y="69"/>
                    <a:pt x="1350" y="69"/>
                    <a:pt x="1350" y="69"/>
                  </a:cubicBezTo>
                  <a:cubicBezTo>
                    <a:pt x="1415" y="105"/>
                    <a:pt x="1479" y="165"/>
                    <a:pt x="1527" y="235"/>
                  </a:cubicBezTo>
                  <a:cubicBezTo>
                    <a:pt x="1593" y="332"/>
                    <a:pt x="1624" y="442"/>
                    <a:pt x="1583" y="555"/>
                  </a:cubicBezTo>
                  <a:cubicBezTo>
                    <a:pt x="1500" y="781"/>
                    <a:pt x="1351" y="1030"/>
                    <a:pt x="1172" y="1253"/>
                  </a:cubicBezTo>
                  <a:cubicBezTo>
                    <a:pt x="994" y="1477"/>
                    <a:pt x="786" y="1676"/>
                    <a:pt x="586" y="1803"/>
                  </a:cubicBezTo>
                  <a:cubicBezTo>
                    <a:pt x="486" y="1867"/>
                    <a:pt x="375" y="1856"/>
                    <a:pt x="269" y="1807"/>
                  </a:cubicBezTo>
                  <a:cubicBezTo>
                    <a:pt x="157" y="1755"/>
                    <a:pt x="106" y="1695"/>
                    <a:pt x="33" y="1602"/>
                  </a:cubicBezTo>
                  <a:cubicBezTo>
                    <a:pt x="11" y="1573"/>
                    <a:pt x="0" y="1540"/>
                    <a:pt x="2" y="1508"/>
                  </a:cubicBezTo>
                  <a:cubicBezTo>
                    <a:pt x="4" y="1475"/>
                    <a:pt x="18" y="1444"/>
                    <a:pt x="45" y="1421"/>
                  </a:cubicBezTo>
                  <a:cubicBezTo>
                    <a:pt x="70" y="1399"/>
                    <a:pt x="346" y="1158"/>
                    <a:pt x="346" y="1158"/>
                  </a:cubicBezTo>
                  <a:cubicBezTo>
                    <a:pt x="376" y="1134"/>
                    <a:pt x="413" y="1133"/>
                    <a:pt x="448" y="1145"/>
                  </a:cubicBezTo>
                  <a:cubicBezTo>
                    <a:pt x="510" y="1166"/>
                    <a:pt x="536" y="1210"/>
                    <a:pt x="573" y="1257"/>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351"/>
            </a:p>
          </p:txBody>
        </p:sp>
      </p:grpSp>
      <p:grpSp>
        <p:nvGrpSpPr>
          <p:cNvPr id="11" name="Group 3">
            <a:extLst>
              <a:ext uri="{FF2B5EF4-FFF2-40B4-BE49-F238E27FC236}">
                <a16:creationId xmlns:a16="http://schemas.microsoft.com/office/drawing/2014/main" id="{DED6A25A-5DE2-1441-8BA2-C68D3B4F9209}"/>
              </a:ext>
            </a:extLst>
          </p:cNvPr>
          <p:cNvGrpSpPr>
            <a:grpSpLocks noChangeAspect="1"/>
          </p:cNvGrpSpPr>
          <p:nvPr>
            <p:custDataLst>
              <p:tags r:id="rId1"/>
            </p:custDataLst>
          </p:nvPr>
        </p:nvGrpSpPr>
        <p:grpSpPr>
          <a:xfrm>
            <a:off x="3770066" y="3153207"/>
            <a:ext cx="171180" cy="171180"/>
            <a:chOff x="328396" y="5313940"/>
            <a:chExt cx="720000" cy="720000"/>
          </a:xfrm>
        </p:grpSpPr>
        <p:sp>
          <p:nvSpPr>
            <p:cNvPr id="12" name="Rectangle 4">
              <a:extLst>
                <a:ext uri="{FF2B5EF4-FFF2-40B4-BE49-F238E27FC236}">
                  <a16:creationId xmlns:a16="http://schemas.microsoft.com/office/drawing/2014/main" id="{5F49E67F-D4FA-9D48-96BC-59AE946ECD15}"/>
                </a:ext>
              </a:extLst>
            </p:cNvPr>
            <p:cNvSpPr/>
            <p:nvPr/>
          </p:nvSpPr>
          <p:spPr bwMode="gray">
            <a:xfrm>
              <a:off x="328396" y="5313940"/>
              <a:ext cx="720000" cy="720000"/>
            </a:xfrm>
            <a:prstGeom prst="rect">
              <a:avLst/>
            </a:prstGeom>
            <a:solidFill>
              <a:srgbClr val="E55A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pPr>
              <a:endParaRPr lang="en-US" sz="1000">
                <a:solidFill>
                  <a:schemeClr val="tx1"/>
                </a:solidFill>
                <a:latin typeface="Arial" pitchFamily="34" charset="0"/>
                <a:cs typeface="Arial" pitchFamily="34" charset="0"/>
              </a:endParaRPr>
            </a:p>
          </p:txBody>
        </p:sp>
        <p:sp>
          <p:nvSpPr>
            <p:cNvPr id="13" name="Freeform 76">
              <a:extLst>
                <a:ext uri="{FF2B5EF4-FFF2-40B4-BE49-F238E27FC236}">
                  <a16:creationId xmlns:a16="http://schemas.microsoft.com/office/drawing/2014/main" id="{187E70E6-AF3F-2549-908E-DF4BA61040AA}"/>
                </a:ext>
              </a:extLst>
            </p:cNvPr>
            <p:cNvSpPr>
              <a:spLocks noChangeAspect="1" noEditPoints="1"/>
            </p:cNvSpPr>
            <p:nvPr/>
          </p:nvSpPr>
          <p:spPr bwMode="auto">
            <a:xfrm>
              <a:off x="456202" y="5509222"/>
              <a:ext cx="504000" cy="329436"/>
            </a:xfrm>
            <a:custGeom>
              <a:avLst/>
              <a:gdLst>
                <a:gd name="T0" fmla="*/ 0 w 2080"/>
                <a:gd name="T1" fmla="*/ 65 h 1360"/>
                <a:gd name="T2" fmla="*/ 0 w 2080"/>
                <a:gd name="T3" fmla="*/ 0 h 1360"/>
                <a:gd name="T4" fmla="*/ 2080 w 2080"/>
                <a:gd name="T5" fmla="*/ 0 h 1360"/>
                <a:gd name="T6" fmla="*/ 2080 w 2080"/>
                <a:gd name="T7" fmla="*/ 65 h 1360"/>
                <a:gd name="T8" fmla="*/ 1089 w 2080"/>
                <a:gd name="T9" fmla="*/ 862 h 1360"/>
                <a:gd name="T10" fmla="*/ 991 w 2080"/>
                <a:gd name="T11" fmla="*/ 862 h 1360"/>
                <a:gd name="T12" fmla="*/ 0 w 2080"/>
                <a:gd name="T13" fmla="*/ 65 h 1360"/>
                <a:gd name="T14" fmla="*/ 1139 w 2080"/>
                <a:gd name="T15" fmla="*/ 924 h 1360"/>
                <a:gd name="T16" fmla="*/ 1282 w 2080"/>
                <a:gd name="T17" fmla="*/ 810 h 1360"/>
                <a:gd name="T18" fmla="*/ 2076 w 2080"/>
                <a:gd name="T19" fmla="*/ 1360 h 1360"/>
                <a:gd name="T20" fmla="*/ 4 w 2080"/>
                <a:gd name="T21" fmla="*/ 1360 h 1360"/>
                <a:gd name="T22" fmla="*/ 798 w 2080"/>
                <a:gd name="T23" fmla="*/ 810 h 1360"/>
                <a:gd name="T24" fmla="*/ 941 w 2080"/>
                <a:gd name="T25" fmla="*/ 924 h 1360"/>
                <a:gd name="T26" fmla="*/ 1139 w 2080"/>
                <a:gd name="T27" fmla="*/ 924 h 1360"/>
                <a:gd name="T28" fmla="*/ 2 w 2080"/>
                <a:gd name="T29" fmla="*/ 137 h 1360"/>
                <a:gd name="T30" fmla="*/ 42 w 2080"/>
                <a:gd name="T31" fmla="*/ 201 h 1360"/>
                <a:gd name="T32" fmla="*/ 734 w 2080"/>
                <a:gd name="T33" fmla="*/ 758 h 1360"/>
                <a:gd name="T34" fmla="*/ 0 w 2080"/>
                <a:gd name="T35" fmla="*/ 1266 h 1360"/>
                <a:gd name="T36" fmla="*/ 0 w 2080"/>
                <a:gd name="T37" fmla="*/ 135 h 1360"/>
                <a:gd name="T38" fmla="*/ 2 w 2080"/>
                <a:gd name="T39" fmla="*/ 137 h 1360"/>
                <a:gd name="T40" fmla="*/ 2080 w 2080"/>
                <a:gd name="T41" fmla="*/ 136 h 1360"/>
                <a:gd name="T42" fmla="*/ 2080 w 2080"/>
                <a:gd name="T43" fmla="*/ 1265 h 1360"/>
                <a:gd name="T44" fmla="*/ 1346 w 2080"/>
                <a:gd name="T45" fmla="*/ 758 h 1360"/>
                <a:gd name="T46" fmla="*/ 2038 w 2080"/>
                <a:gd name="T47" fmla="*/ 201 h 1360"/>
                <a:gd name="T48" fmla="*/ 2080 w 2080"/>
                <a:gd name="T49" fmla="*/ 136 h 1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080" h="1360">
                  <a:moveTo>
                    <a:pt x="0" y="65"/>
                  </a:moveTo>
                  <a:cubicBezTo>
                    <a:pt x="0" y="0"/>
                    <a:pt x="0" y="0"/>
                    <a:pt x="0" y="0"/>
                  </a:cubicBezTo>
                  <a:cubicBezTo>
                    <a:pt x="2080" y="0"/>
                    <a:pt x="2080" y="0"/>
                    <a:pt x="2080" y="0"/>
                  </a:cubicBezTo>
                  <a:cubicBezTo>
                    <a:pt x="2080" y="65"/>
                    <a:pt x="2080" y="65"/>
                    <a:pt x="2080" y="65"/>
                  </a:cubicBezTo>
                  <a:cubicBezTo>
                    <a:pt x="1089" y="862"/>
                    <a:pt x="1089" y="862"/>
                    <a:pt x="1089" y="862"/>
                  </a:cubicBezTo>
                  <a:cubicBezTo>
                    <a:pt x="1060" y="886"/>
                    <a:pt x="1020" y="886"/>
                    <a:pt x="991" y="862"/>
                  </a:cubicBezTo>
                  <a:lnTo>
                    <a:pt x="0" y="65"/>
                  </a:lnTo>
                  <a:close/>
                  <a:moveTo>
                    <a:pt x="1139" y="924"/>
                  </a:moveTo>
                  <a:cubicBezTo>
                    <a:pt x="1282" y="810"/>
                    <a:pt x="1282" y="810"/>
                    <a:pt x="1282" y="810"/>
                  </a:cubicBezTo>
                  <a:cubicBezTo>
                    <a:pt x="2076" y="1360"/>
                    <a:pt x="2076" y="1360"/>
                    <a:pt x="2076" y="1360"/>
                  </a:cubicBezTo>
                  <a:cubicBezTo>
                    <a:pt x="4" y="1360"/>
                    <a:pt x="4" y="1360"/>
                    <a:pt x="4" y="1360"/>
                  </a:cubicBezTo>
                  <a:cubicBezTo>
                    <a:pt x="798" y="810"/>
                    <a:pt x="798" y="810"/>
                    <a:pt x="798" y="810"/>
                  </a:cubicBezTo>
                  <a:cubicBezTo>
                    <a:pt x="941" y="924"/>
                    <a:pt x="941" y="924"/>
                    <a:pt x="941" y="924"/>
                  </a:cubicBezTo>
                  <a:cubicBezTo>
                    <a:pt x="1000" y="972"/>
                    <a:pt x="1080" y="972"/>
                    <a:pt x="1139" y="924"/>
                  </a:cubicBezTo>
                  <a:close/>
                  <a:moveTo>
                    <a:pt x="2" y="137"/>
                  </a:moveTo>
                  <a:cubicBezTo>
                    <a:pt x="8" y="163"/>
                    <a:pt x="22" y="185"/>
                    <a:pt x="42" y="201"/>
                  </a:cubicBezTo>
                  <a:cubicBezTo>
                    <a:pt x="734" y="758"/>
                    <a:pt x="734" y="758"/>
                    <a:pt x="734" y="758"/>
                  </a:cubicBezTo>
                  <a:cubicBezTo>
                    <a:pt x="0" y="1266"/>
                    <a:pt x="0" y="1266"/>
                    <a:pt x="0" y="1266"/>
                  </a:cubicBezTo>
                  <a:cubicBezTo>
                    <a:pt x="0" y="135"/>
                    <a:pt x="0" y="135"/>
                    <a:pt x="0" y="135"/>
                  </a:cubicBezTo>
                  <a:lnTo>
                    <a:pt x="2" y="137"/>
                  </a:lnTo>
                  <a:close/>
                  <a:moveTo>
                    <a:pt x="2080" y="136"/>
                  </a:moveTo>
                  <a:cubicBezTo>
                    <a:pt x="2080" y="1265"/>
                    <a:pt x="2080" y="1265"/>
                    <a:pt x="2080" y="1265"/>
                  </a:cubicBezTo>
                  <a:cubicBezTo>
                    <a:pt x="1346" y="758"/>
                    <a:pt x="1346" y="758"/>
                    <a:pt x="1346" y="758"/>
                  </a:cubicBezTo>
                  <a:cubicBezTo>
                    <a:pt x="2038" y="201"/>
                    <a:pt x="2038" y="201"/>
                    <a:pt x="2038" y="201"/>
                  </a:cubicBezTo>
                  <a:cubicBezTo>
                    <a:pt x="2060" y="182"/>
                    <a:pt x="2072" y="162"/>
                    <a:pt x="2080" y="13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000"/>
            </a:p>
          </p:txBody>
        </p:sp>
      </p:grpSp>
      <p:grpSp>
        <p:nvGrpSpPr>
          <p:cNvPr id="14" name="Gruppieren 2">
            <a:extLst>
              <a:ext uri="{FF2B5EF4-FFF2-40B4-BE49-F238E27FC236}">
                <a16:creationId xmlns:a16="http://schemas.microsoft.com/office/drawing/2014/main" id="{BE697CE9-EBDE-6B4A-BE70-582D92A8A831}"/>
              </a:ext>
            </a:extLst>
          </p:cNvPr>
          <p:cNvGrpSpPr/>
          <p:nvPr/>
        </p:nvGrpSpPr>
        <p:grpSpPr>
          <a:xfrm>
            <a:off x="8701917" y="2868319"/>
            <a:ext cx="171180" cy="171180"/>
            <a:chOff x="3392092" y="1841122"/>
            <a:chExt cx="646508" cy="646508"/>
          </a:xfrm>
        </p:grpSpPr>
        <p:sp>
          <p:nvSpPr>
            <p:cNvPr id="15" name="Rechteck 14">
              <a:extLst>
                <a:ext uri="{FF2B5EF4-FFF2-40B4-BE49-F238E27FC236}">
                  <a16:creationId xmlns:a16="http://schemas.microsoft.com/office/drawing/2014/main" id="{E142A731-19B7-C34D-9534-9E05108F895F}"/>
                </a:ext>
              </a:extLst>
            </p:cNvPr>
            <p:cNvSpPr>
              <a:spLocks noChangeAspect="1"/>
            </p:cNvSpPr>
            <p:nvPr/>
          </p:nvSpPr>
          <p:spPr bwMode="gray">
            <a:xfrm>
              <a:off x="3392092" y="1841122"/>
              <a:ext cx="646508" cy="646508"/>
            </a:xfrm>
            <a:prstGeom prst="rect">
              <a:avLst/>
            </a:prstGeom>
            <a:solidFill>
              <a:srgbClr val="E55A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pPr>
              <a:endParaRPr lang="en-US" sz="1000">
                <a:solidFill>
                  <a:schemeClr val="tx1"/>
                </a:solidFill>
                <a:latin typeface="Arial" pitchFamily="34" charset="0"/>
                <a:cs typeface="Arial" pitchFamily="34" charset="0"/>
              </a:endParaRPr>
            </a:p>
          </p:txBody>
        </p:sp>
        <p:sp>
          <p:nvSpPr>
            <p:cNvPr id="16" name="Freeform 15">
              <a:extLst>
                <a:ext uri="{FF2B5EF4-FFF2-40B4-BE49-F238E27FC236}">
                  <a16:creationId xmlns:a16="http://schemas.microsoft.com/office/drawing/2014/main" id="{F97E84AE-4AD9-4B44-9AA1-F797FC373809}"/>
                </a:ext>
              </a:extLst>
            </p:cNvPr>
            <p:cNvSpPr>
              <a:spLocks noChangeAspect="1"/>
            </p:cNvSpPr>
            <p:nvPr/>
          </p:nvSpPr>
          <p:spPr bwMode="auto">
            <a:xfrm>
              <a:off x="3546638" y="1970424"/>
              <a:ext cx="337415" cy="387905"/>
            </a:xfrm>
            <a:custGeom>
              <a:avLst/>
              <a:gdLst>
                <a:gd name="T0" fmla="*/ 573 w 1624"/>
                <a:gd name="T1" fmla="*/ 1257 h 1867"/>
                <a:gd name="T2" fmla="*/ 662 w 1624"/>
                <a:gd name="T3" fmla="*/ 1288 h 1867"/>
                <a:gd name="T4" fmla="*/ 938 w 1624"/>
                <a:gd name="T5" fmla="*/ 1051 h 1867"/>
                <a:gd name="T6" fmla="*/ 1106 w 1624"/>
                <a:gd name="T7" fmla="*/ 731 h 1867"/>
                <a:gd name="T8" fmla="*/ 1059 w 1624"/>
                <a:gd name="T9" fmla="*/ 645 h 1867"/>
                <a:gd name="T10" fmla="*/ 1001 w 1624"/>
                <a:gd name="T11" fmla="*/ 613 h 1867"/>
                <a:gd name="T12" fmla="*/ 924 w 1624"/>
                <a:gd name="T13" fmla="*/ 432 h 1867"/>
                <a:gd name="T14" fmla="*/ 1114 w 1624"/>
                <a:gd name="T15" fmla="*/ 81 h 1867"/>
                <a:gd name="T16" fmla="*/ 1287 w 1624"/>
                <a:gd name="T17" fmla="*/ 35 h 1867"/>
                <a:gd name="T18" fmla="*/ 1350 w 1624"/>
                <a:gd name="T19" fmla="*/ 69 h 1867"/>
                <a:gd name="T20" fmla="*/ 1527 w 1624"/>
                <a:gd name="T21" fmla="*/ 235 h 1867"/>
                <a:gd name="T22" fmla="*/ 1583 w 1624"/>
                <a:gd name="T23" fmla="*/ 555 h 1867"/>
                <a:gd name="T24" fmla="*/ 1172 w 1624"/>
                <a:gd name="T25" fmla="*/ 1253 h 1867"/>
                <a:gd name="T26" fmla="*/ 586 w 1624"/>
                <a:gd name="T27" fmla="*/ 1803 h 1867"/>
                <a:gd name="T28" fmla="*/ 269 w 1624"/>
                <a:gd name="T29" fmla="*/ 1807 h 1867"/>
                <a:gd name="T30" fmla="*/ 33 w 1624"/>
                <a:gd name="T31" fmla="*/ 1602 h 1867"/>
                <a:gd name="T32" fmla="*/ 2 w 1624"/>
                <a:gd name="T33" fmla="*/ 1508 h 1867"/>
                <a:gd name="T34" fmla="*/ 45 w 1624"/>
                <a:gd name="T35" fmla="*/ 1421 h 1867"/>
                <a:gd name="T36" fmla="*/ 346 w 1624"/>
                <a:gd name="T37" fmla="*/ 1158 h 1867"/>
                <a:gd name="T38" fmla="*/ 448 w 1624"/>
                <a:gd name="T39" fmla="*/ 1145 h 1867"/>
                <a:gd name="T40" fmla="*/ 573 w 1624"/>
                <a:gd name="T41" fmla="*/ 1257 h 18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24" h="1867">
                  <a:moveTo>
                    <a:pt x="573" y="1257"/>
                  </a:moveTo>
                  <a:cubicBezTo>
                    <a:pt x="592" y="1282"/>
                    <a:pt x="630" y="1303"/>
                    <a:pt x="662" y="1288"/>
                  </a:cubicBezTo>
                  <a:cubicBezTo>
                    <a:pt x="753" y="1245"/>
                    <a:pt x="854" y="1156"/>
                    <a:pt x="938" y="1051"/>
                  </a:cubicBezTo>
                  <a:cubicBezTo>
                    <a:pt x="1020" y="948"/>
                    <a:pt x="1084" y="831"/>
                    <a:pt x="1106" y="731"/>
                  </a:cubicBezTo>
                  <a:cubicBezTo>
                    <a:pt x="1113" y="696"/>
                    <a:pt x="1089" y="661"/>
                    <a:pt x="1059" y="645"/>
                  </a:cubicBezTo>
                  <a:cubicBezTo>
                    <a:pt x="1001" y="613"/>
                    <a:pt x="1001" y="613"/>
                    <a:pt x="1001" y="613"/>
                  </a:cubicBezTo>
                  <a:cubicBezTo>
                    <a:pt x="942" y="580"/>
                    <a:pt x="888" y="499"/>
                    <a:pt x="924" y="432"/>
                  </a:cubicBezTo>
                  <a:cubicBezTo>
                    <a:pt x="1114" y="81"/>
                    <a:pt x="1114" y="81"/>
                    <a:pt x="1114" y="81"/>
                  </a:cubicBezTo>
                  <a:cubicBezTo>
                    <a:pt x="1150" y="16"/>
                    <a:pt x="1224" y="0"/>
                    <a:pt x="1287" y="35"/>
                  </a:cubicBezTo>
                  <a:cubicBezTo>
                    <a:pt x="1350" y="69"/>
                    <a:pt x="1350" y="69"/>
                    <a:pt x="1350" y="69"/>
                  </a:cubicBezTo>
                  <a:cubicBezTo>
                    <a:pt x="1415" y="105"/>
                    <a:pt x="1479" y="165"/>
                    <a:pt x="1527" y="235"/>
                  </a:cubicBezTo>
                  <a:cubicBezTo>
                    <a:pt x="1593" y="332"/>
                    <a:pt x="1624" y="442"/>
                    <a:pt x="1583" y="555"/>
                  </a:cubicBezTo>
                  <a:cubicBezTo>
                    <a:pt x="1500" y="781"/>
                    <a:pt x="1351" y="1030"/>
                    <a:pt x="1172" y="1253"/>
                  </a:cubicBezTo>
                  <a:cubicBezTo>
                    <a:pt x="994" y="1477"/>
                    <a:pt x="786" y="1676"/>
                    <a:pt x="586" y="1803"/>
                  </a:cubicBezTo>
                  <a:cubicBezTo>
                    <a:pt x="486" y="1867"/>
                    <a:pt x="375" y="1856"/>
                    <a:pt x="269" y="1807"/>
                  </a:cubicBezTo>
                  <a:cubicBezTo>
                    <a:pt x="157" y="1755"/>
                    <a:pt x="106" y="1695"/>
                    <a:pt x="33" y="1602"/>
                  </a:cubicBezTo>
                  <a:cubicBezTo>
                    <a:pt x="11" y="1573"/>
                    <a:pt x="0" y="1540"/>
                    <a:pt x="2" y="1508"/>
                  </a:cubicBezTo>
                  <a:cubicBezTo>
                    <a:pt x="4" y="1475"/>
                    <a:pt x="18" y="1444"/>
                    <a:pt x="45" y="1421"/>
                  </a:cubicBezTo>
                  <a:cubicBezTo>
                    <a:pt x="70" y="1399"/>
                    <a:pt x="346" y="1158"/>
                    <a:pt x="346" y="1158"/>
                  </a:cubicBezTo>
                  <a:cubicBezTo>
                    <a:pt x="376" y="1134"/>
                    <a:pt x="413" y="1133"/>
                    <a:pt x="448" y="1145"/>
                  </a:cubicBezTo>
                  <a:cubicBezTo>
                    <a:pt x="510" y="1166"/>
                    <a:pt x="536" y="1210"/>
                    <a:pt x="573" y="1257"/>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351"/>
            </a:p>
          </p:txBody>
        </p:sp>
      </p:grpSp>
      <p:grpSp>
        <p:nvGrpSpPr>
          <p:cNvPr id="17" name="Group 3">
            <a:extLst>
              <a:ext uri="{FF2B5EF4-FFF2-40B4-BE49-F238E27FC236}">
                <a16:creationId xmlns:a16="http://schemas.microsoft.com/office/drawing/2014/main" id="{7104BADD-8CD1-6F4A-B894-869C3BDB3EEB}"/>
              </a:ext>
            </a:extLst>
          </p:cNvPr>
          <p:cNvGrpSpPr>
            <a:grpSpLocks noChangeAspect="1"/>
          </p:cNvGrpSpPr>
          <p:nvPr>
            <p:custDataLst>
              <p:tags r:id="rId2"/>
            </p:custDataLst>
          </p:nvPr>
        </p:nvGrpSpPr>
        <p:grpSpPr>
          <a:xfrm>
            <a:off x="8701918" y="3153207"/>
            <a:ext cx="171180" cy="171180"/>
            <a:chOff x="328396" y="5313940"/>
            <a:chExt cx="720000" cy="720000"/>
          </a:xfrm>
        </p:grpSpPr>
        <p:sp>
          <p:nvSpPr>
            <p:cNvPr id="18" name="Rectangle 4">
              <a:extLst>
                <a:ext uri="{FF2B5EF4-FFF2-40B4-BE49-F238E27FC236}">
                  <a16:creationId xmlns:a16="http://schemas.microsoft.com/office/drawing/2014/main" id="{74BE3D5F-1445-6E40-8B49-72E15568383B}"/>
                </a:ext>
              </a:extLst>
            </p:cNvPr>
            <p:cNvSpPr/>
            <p:nvPr/>
          </p:nvSpPr>
          <p:spPr bwMode="gray">
            <a:xfrm>
              <a:off x="328396" y="5313940"/>
              <a:ext cx="720000" cy="720000"/>
            </a:xfrm>
            <a:prstGeom prst="rect">
              <a:avLst/>
            </a:prstGeom>
            <a:solidFill>
              <a:srgbClr val="E55A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pPr>
              <a:endParaRPr lang="en-US" sz="1000">
                <a:solidFill>
                  <a:schemeClr val="tx1"/>
                </a:solidFill>
                <a:latin typeface="Arial" pitchFamily="34" charset="0"/>
                <a:cs typeface="Arial" pitchFamily="34" charset="0"/>
              </a:endParaRPr>
            </a:p>
          </p:txBody>
        </p:sp>
        <p:sp>
          <p:nvSpPr>
            <p:cNvPr id="19" name="Freeform 76">
              <a:extLst>
                <a:ext uri="{FF2B5EF4-FFF2-40B4-BE49-F238E27FC236}">
                  <a16:creationId xmlns:a16="http://schemas.microsoft.com/office/drawing/2014/main" id="{55DB3C95-7D0C-D141-901E-96D692794D2B}"/>
                </a:ext>
              </a:extLst>
            </p:cNvPr>
            <p:cNvSpPr>
              <a:spLocks noChangeAspect="1" noEditPoints="1"/>
            </p:cNvSpPr>
            <p:nvPr/>
          </p:nvSpPr>
          <p:spPr bwMode="auto">
            <a:xfrm>
              <a:off x="456202" y="5509222"/>
              <a:ext cx="504000" cy="329436"/>
            </a:xfrm>
            <a:custGeom>
              <a:avLst/>
              <a:gdLst>
                <a:gd name="T0" fmla="*/ 0 w 2080"/>
                <a:gd name="T1" fmla="*/ 65 h 1360"/>
                <a:gd name="T2" fmla="*/ 0 w 2080"/>
                <a:gd name="T3" fmla="*/ 0 h 1360"/>
                <a:gd name="T4" fmla="*/ 2080 w 2080"/>
                <a:gd name="T5" fmla="*/ 0 h 1360"/>
                <a:gd name="T6" fmla="*/ 2080 w 2080"/>
                <a:gd name="T7" fmla="*/ 65 h 1360"/>
                <a:gd name="T8" fmla="*/ 1089 w 2080"/>
                <a:gd name="T9" fmla="*/ 862 h 1360"/>
                <a:gd name="T10" fmla="*/ 991 w 2080"/>
                <a:gd name="T11" fmla="*/ 862 h 1360"/>
                <a:gd name="T12" fmla="*/ 0 w 2080"/>
                <a:gd name="T13" fmla="*/ 65 h 1360"/>
                <a:gd name="T14" fmla="*/ 1139 w 2080"/>
                <a:gd name="T15" fmla="*/ 924 h 1360"/>
                <a:gd name="T16" fmla="*/ 1282 w 2080"/>
                <a:gd name="T17" fmla="*/ 810 h 1360"/>
                <a:gd name="T18" fmla="*/ 2076 w 2080"/>
                <a:gd name="T19" fmla="*/ 1360 h 1360"/>
                <a:gd name="T20" fmla="*/ 4 w 2080"/>
                <a:gd name="T21" fmla="*/ 1360 h 1360"/>
                <a:gd name="T22" fmla="*/ 798 w 2080"/>
                <a:gd name="T23" fmla="*/ 810 h 1360"/>
                <a:gd name="T24" fmla="*/ 941 w 2080"/>
                <a:gd name="T25" fmla="*/ 924 h 1360"/>
                <a:gd name="T26" fmla="*/ 1139 w 2080"/>
                <a:gd name="T27" fmla="*/ 924 h 1360"/>
                <a:gd name="T28" fmla="*/ 2 w 2080"/>
                <a:gd name="T29" fmla="*/ 137 h 1360"/>
                <a:gd name="T30" fmla="*/ 42 w 2080"/>
                <a:gd name="T31" fmla="*/ 201 h 1360"/>
                <a:gd name="T32" fmla="*/ 734 w 2080"/>
                <a:gd name="T33" fmla="*/ 758 h 1360"/>
                <a:gd name="T34" fmla="*/ 0 w 2080"/>
                <a:gd name="T35" fmla="*/ 1266 h 1360"/>
                <a:gd name="T36" fmla="*/ 0 w 2080"/>
                <a:gd name="T37" fmla="*/ 135 h 1360"/>
                <a:gd name="T38" fmla="*/ 2 w 2080"/>
                <a:gd name="T39" fmla="*/ 137 h 1360"/>
                <a:gd name="T40" fmla="*/ 2080 w 2080"/>
                <a:gd name="T41" fmla="*/ 136 h 1360"/>
                <a:gd name="T42" fmla="*/ 2080 w 2080"/>
                <a:gd name="T43" fmla="*/ 1265 h 1360"/>
                <a:gd name="T44" fmla="*/ 1346 w 2080"/>
                <a:gd name="T45" fmla="*/ 758 h 1360"/>
                <a:gd name="T46" fmla="*/ 2038 w 2080"/>
                <a:gd name="T47" fmla="*/ 201 h 1360"/>
                <a:gd name="T48" fmla="*/ 2080 w 2080"/>
                <a:gd name="T49" fmla="*/ 136 h 1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080" h="1360">
                  <a:moveTo>
                    <a:pt x="0" y="65"/>
                  </a:moveTo>
                  <a:cubicBezTo>
                    <a:pt x="0" y="0"/>
                    <a:pt x="0" y="0"/>
                    <a:pt x="0" y="0"/>
                  </a:cubicBezTo>
                  <a:cubicBezTo>
                    <a:pt x="2080" y="0"/>
                    <a:pt x="2080" y="0"/>
                    <a:pt x="2080" y="0"/>
                  </a:cubicBezTo>
                  <a:cubicBezTo>
                    <a:pt x="2080" y="65"/>
                    <a:pt x="2080" y="65"/>
                    <a:pt x="2080" y="65"/>
                  </a:cubicBezTo>
                  <a:cubicBezTo>
                    <a:pt x="1089" y="862"/>
                    <a:pt x="1089" y="862"/>
                    <a:pt x="1089" y="862"/>
                  </a:cubicBezTo>
                  <a:cubicBezTo>
                    <a:pt x="1060" y="886"/>
                    <a:pt x="1020" y="886"/>
                    <a:pt x="991" y="862"/>
                  </a:cubicBezTo>
                  <a:lnTo>
                    <a:pt x="0" y="65"/>
                  </a:lnTo>
                  <a:close/>
                  <a:moveTo>
                    <a:pt x="1139" y="924"/>
                  </a:moveTo>
                  <a:cubicBezTo>
                    <a:pt x="1282" y="810"/>
                    <a:pt x="1282" y="810"/>
                    <a:pt x="1282" y="810"/>
                  </a:cubicBezTo>
                  <a:cubicBezTo>
                    <a:pt x="2076" y="1360"/>
                    <a:pt x="2076" y="1360"/>
                    <a:pt x="2076" y="1360"/>
                  </a:cubicBezTo>
                  <a:cubicBezTo>
                    <a:pt x="4" y="1360"/>
                    <a:pt x="4" y="1360"/>
                    <a:pt x="4" y="1360"/>
                  </a:cubicBezTo>
                  <a:cubicBezTo>
                    <a:pt x="798" y="810"/>
                    <a:pt x="798" y="810"/>
                    <a:pt x="798" y="810"/>
                  </a:cubicBezTo>
                  <a:cubicBezTo>
                    <a:pt x="941" y="924"/>
                    <a:pt x="941" y="924"/>
                    <a:pt x="941" y="924"/>
                  </a:cubicBezTo>
                  <a:cubicBezTo>
                    <a:pt x="1000" y="972"/>
                    <a:pt x="1080" y="972"/>
                    <a:pt x="1139" y="924"/>
                  </a:cubicBezTo>
                  <a:close/>
                  <a:moveTo>
                    <a:pt x="2" y="137"/>
                  </a:moveTo>
                  <a:cubicBezTo>
                    <a:pt x="8" y="163"/>
                    <a:pt x="22" y="185"/>
                    <a:pt x="42" y="201"/>
                  </a:cubicBezTo>
                  <a:cubicBezTo>
                    <a:pt x="734" y="758"/>
                    <a:pt x="734" y="758"/>
                    <a:pt x="734" y="758"/>
                  </a:cubicBezTo>
                  <a:cubicBezTo>
                    <a:pt x="0" y="1266"/>
                    <a:pt x="0" y="1266"/>
                    <a:pt x="0" y="1266"/>
                  </a:cubicBezTo>
                  <a:cubicBezTo>
                    <a:pt x="0" y="135"/>
                    <a:pt x="0" y="135"/>
                    <a:pt x="0" y="135"/>
                  </a:cubicBezTo>
                  <a:lnTo>
                    <a:pt x="2" y="137"/>
                  </a:lnTo>
                  <a:close/>
                  <a:moveTo>
                    <a:pt x="2080" y="136"/>
                  </a:moveTo>
                  <a:cubicBezTo>
                    <a:pt x="2080" y="1265"/>
                    <a:pt x="2080" y="1265"/>
                    <a:pt x="2080" y="1265"/>
                  </a:cubicBezTo>
                  <a:cubicBezTo>
                    <a:pt x="1346" y="758"/>
                    <a:pt x="1346" y="758"/>
                    <a:pt x="1346" y="758"/>
                  </a:cubicBezTo>
                  <a:cubicBezTo>
                    <a:pt x="2038" y="201"/>
                    <a:pt x="2038" y="201"/>
                    <a:pt x="2038" y="201"/>
                  </a:cubicBezTo>
                  <a:cubicBezTo>
                    <a:pt x="2060" y="182"/>
                    <a:pt x="2072" y="162"/>
                    <a:pt x="2080" y="13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000"/>
            </a:p>
          </p:txBody>
        </p:sp>
      </p:grpSp>
      <p:cxnSp>
        <p:nvCxnSpPr>
          <p:cNvPr id="20" name="Straight Connector 19"/>
          <p:cNvCxnSpPr/>
          <p:nvPr/>
        </p:nvCxnSpPr>
        <p:spPr>
          <a:xfrm>
            <a:off x="2371725" y="3478213"/>
            <a:ext cx="3888000" cy="0"/>
          </a:xfrm>
          <a:prstGeom prst="line">
            <a:avLst/>
          </a:prstGeom>
          <a:ln w="6350">
            <a:solidFill>
              <a:schemeClr val="tx2"/>
            </a:solidFill>
            <a:prstDash val="dash"/>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p:nvCxnSpPr>
        <p:spPr>
          <a:xfrm>
            <a:off x="7287766" y="3478213"/>
            <a:ext cx="3888000" cy="0"/>
          </a:xfrm>
          <a:prstGeom prst="line">
            <a:avLst/>
          </a:prstGeom>
          <a:ln w="6350">
            <a:solidFill>
              <a:schemeClr val="tx2"/>
            </a:solidFill>
            <a:prstDash val="dash"/>
          </a:ln>
        </p:spPr>
        <p:style>
          <a:lnRef idx="1">
            <a:schemeClr val="accent1"/>
          </a:lnRef>
          <a:fillRef idx="0">
            <a:schemeClr val="accent1"/>
          </a:fillRef>
          <a:effectRef idx="0">
            <a:schemeClr val="accent1"/>
          </a:effectRef>
          <a:fontRef idx="minor">
            <a:schemeClr val="tx1"/>
          </a:fontRef>
        </p:style>
      </p:cxnSp>
      <p:sp>
        <p:nvSpPr>
          <p:cNvPr id="4" name="Picture Placeholder 3"/>
          <p:cNvSpPr>
            <a:spLocks noGrp="1"/>
          </p:cNvSpPr>
          <p:nvPr>
            <p:ph type="pic" sz="quarter" idx="17" hasCustomPrompt="1"/>
          </p:nvPr>
        </p:nvSpPr>
        <p:spPr>
          <a:xfrm>
            <a:off x="2355914" y="1808984"/>
            <a:ext cx="1188677" cy="1547840"/>
          </a:xfrm>
          <a:solidFill>
            <a:srgbClr val="D9DADB"/>
          </a:solidFill>
        </p:spPr>
        <p:txBody>
          <a:bodyPr/>
          <a:lstStyle>
            <a:lvl1pPr marL="0" indent="0">
              <a:buNone/>
              <a:defRPr sz="1400"/>
            </a:lvl1pPr>
          </a:lstStyle>
          <a:p>
            <a:r>
              <a:rPr lang="en-US"/>
              <a:t>Insert picture</a:t>
            </a:r>
          </a:p>
        </p:txBody>
      </p:sp>
      <p:sp>
        <p:nvSpPr>
          <p:cNvPr id="25" name="Picture Placeholder 3"/>
          <p:cNvSpPr>
            <a:spLocks noGrp="1"/>
          </p:cNvSpPr>
          <p:nvPr>
            <p:ph type="pic" sz="quarter" idx="18" hasCustomPrompt="1"/>
          </p:nvPr>
        </p:nvSpPr>
        <p:spPr>
          <a:xfrm>
            <a:off x="7287766" y="1808984"/>
            <a:ext cx="1188677" cy="1547840"/>
          </a:xfrm>
          <a:solidFill>
            <a:srgbClr val="D9DADB"/>
          </a:solidFill>
        </p:spPr>
        <p:txBody>
          <a:bodyPr/>
          <a:lstStyle>
            <a:lvl1pPr marL="0" indent="0">
              <a:buNone/>
              <a:defRPr sz="1400"/>
            </a:lvl1pPr>
          </a:lstStyle>
          <a:p>
            <a:r>
              <a:rPr lang="en-US"/>
              <a:t>Insert picture</a:t>
            </a:r>
          </a:p>
        </p:txBody>
      </p:sp>
      <p:sp>
        <p:nvSpPr>
          <p:cNvPr id="6" name="Text Placeholder 5"/>
          <p:cNvSpPr>
            <a:spLocks noGrp="1"/>
          </p:cNvSpPr>
          <p:nvPr>
            <p:ph type="body" sz="quarter" idx="19" hasCustomPrompt="1"/>
          </p:nvPr>
        </p:nvSpPr>
        <p:spPr>
          <a:xfrm>
            <a:off x="3770065" y="1808521"/>
            <a:ext cx="2463190" cy="192360"/>
          </a:xfrm>
        </p:spPr>
        <p:txBody>
          <a:bodyPr lIns="0" tIns="0" rIns="0" bIns="0" anchor="ctr" anchorCtr="0"/>
          <a:lstStyle>
            <a:lvl1pPr marL="0" indent="0" algn="l">
              <a:lnSpc>
                <a:spcPct val="100000"/>
              </a:lnSpc>
              <a:buNone/>
              <a:defRPr sz="100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Country</a:t>
            </a:r>
          </a:p>
        </p:txBody>
      </p:sp>
      <p:sp>
        <p:nvSpPr>
          <p:cNvPr id="26" name="Text Placeholder 5"/>
          <p:cNvSpPr>
            <a:spLocks noGrp="1"/>
          </p:cNvSpPr>
          <p:nvPr>
            <p:ph type="body" sz="quarter" idx="20" hasCustomPrompt="1"/>
          </p:nvPr>
        </p:nvSpPr>
        <p:spPr>
          <a:xfrm>
            <a:off x="3770065" y="2020337"/>
            <a:ext cx="2463190" cy="266182"/>
          </a:xfrm>
        </p:spPr>
        <p:txBody>
          <a:bodyPr lIns="0" tIns="0" rIns="0" bIns="0" anchor="b" anchorCtr="0"/>
          <a:lstStyle>
            <a:lvl1pPr marL="0" indent="0" algn="l">
              <a:lnSpc>
                <a:spcPct val="100000"/>
              </a:lnSpc>
              <a:buNone/>
              <a:defRPr sz="1400" b="1" baseline="0">
                <a:solidFill>
                  <a:schemeClr val="tx2"/>
                </a:solidFill>
              </a:defRPr>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Name, Surname</a:t>
            </a:r>
          </a:p>
        </p:txBody>
      </p:sp>
      <p:sp>
        <p:nvSpPr>
          <p:cNvPr id="27" name="Text Placeholder 5"/>
          <p:cNvSpPr>
            <a:spLocks noGrp="1"/>
          </p:cNvSpPr>
          <p:nvPr>
            <p:ph type="body" sz="quarter" idx="21" hasCustomPrompt="1"/>
          </p:nvPr>
        </p:nvSpPr>
        <p:spPr>
          <a:xfrm>
            <a:off x="3770065" y="2316912"/>
            <a:ext cx="2463190"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Job Position</a:t>
            </a:r>
          </a:p>
        </p:txBody>
      </p:sp>
      <p:sp>
        <p:nvSpPr>
          <p:cNvPr id="28" name="Text Placeholder 5"/>
          <p:cNvSpPr>
            <a:spLocks noGrp="1"/>
          </p:cNvSpPr>
          <p:nvPr>
            <p:ph type="body" sz="quarter" idx="22" hasCustomPrompt="1"/>
          </p:nvPr>
        </p:nvSpPr>
        <p:spPr>
          <a:xfrm>
            <a:off x="4014948" y="2845588"/>
            <a:ext cx="2218307"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Phone number</a:t>
            </a:r>
          </a:p>
        </p:txBody>
      </p:sp>
      <p:sp>
        <p:nvSpPr>
          <p:cNvPr id="29" name="Text Placeholder 5"/>
          <p:cNvSpPr>
            <a:spLocks noGrp="1"/>
          </p:cNvSpPr>
          <p:nvPr>
            <p:ph type="body" sz="quarter" idx="23" hasCustomPrompt="1"/>
          </p:nvPr>
        </p:nvSpPr>
        <p:spPr>
          <a:xfrm>
            <a:off x="4014948" y="3128395"/>
            <a:ext cx="2218307"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Email address</a:t>
            </a:r>
          </a:p>
        </p:txBody>
      </p:sp>
      <p:sp>
        <p:nvSpPr>
          <p:cNvPr id="30" name="Text Placeholder 5"/>
          <p:cNvSpPr>
            <a:spLocks noGrp="1"/>
          </p:cNvSpPr>
          <p:nvPr>
            <p:ph type="body" sz="quarter" idx="24" hasCustomPrompt="1"/>
          </p:nvPr>
        </p:nvSpPr>
        <p:spPr>
          <a:xfrm>
            <a:off x="8701917" y="1808521"/>
            <a:ext cx="2463190" cy="192360"/>
          </a:xfrm>
        </p:spPr>
        <p:txBody>
          <a:bodyPr lIns="0" tIns="0" rIns="0" bIns="0" anchor="ctr" anchorCtr="0"/>
          <a:lstStyle>
            <a:lvl1pPr marL="0" indent="0" algn="l">
              <a:lnSpc>
                <a:spcPct val="100000"/>
              </a:lnSpc>
              <a:buNone/>
              <a:defRPr sz="100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Country</a:t>
            </a:r>
          </a:p>
        </p:txBody>
      </p:sp>
      <p:sp>
        <p:nvSpPr>
          <p:cNvPr id="31" name="Text Placeholder 5"/>
          <p:cNvSpPr>
            <a:spLocks noGrp="1"/>
          </p:cNvSpPr>
          <p:nvPr>
            <p:ph type="body" sz="quarter" idx="25" hasCustomPrompt="1"/>
          </p:nvPr>
        </p:nvSpPr>
        <p:spPr>
          <a:xfrm>
            <a:off x="8701917" y="2020337"/>
            <a:ext cx="2463190" cy="266182"/>
          </a:xfrm>
        </p:spPr>
        <p:txBody>
          <a:bodyPr lIns="0" tIns="0" rIns="0" bIns="0" anchor="b" anchorCtr="0"/>
          <a:lstStyle>
            <a:lvl1pPr marL="0" indent="0" algn="l">
              <a:lnSpc>
                <a:spcPct val="100000"/>
              </a:lnSpc>
              <a:buNone/>
              <a:defRPr sz="1400" b="1" baseline="0">
                <a:solidFill>
                  <a:schemeClr val="tx2"/>
                </a:solidFill>
              </a:defRPr>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Name, Surname</a:t>
            </a:r>
          </a:p>
        </p:txBody>
      </p:sp>
      <p:sp>
        <p:nvSpPr>
          <p:cNvPr id="32" name="Text Placeholder 5"/>
          <p:cNvSpPr>
            <a:spLocks noGrp="1"/>
          </p:cNvSpPr>
          <p:nvPr>
            <p:ph type="body" sz="quarter" idx="26" hasCustomPrompt="1"/>
          </p:nvPr>
        </p:nvSpPr>
        <p:spPr>
          <a:xfrm>
            <a:off x="8701917" y="2316912"/>
            <a:ext cx="2463190"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Job Position</a:t>
            </a:r>
          </a:p>
        </p:txBody>
      </p:sp>
      <p:sp>
        <p:nvSpPr>
          <p:cNvPr id="33" name="Text Placeholder 5"/>
          <p:cNvSpPr>
            <a:spLocks noGrp="1"/>
          </p:cNvSpPr>
          <p:nvPr>
            <p:ph type="body" sz="quarter" idx="27" hasCustomPrompt="1"/>
          </p:nvPr>
        </p:nvSpPr>
        <p:spPr>
          <a:xfrm>
            <a:off x="8946800" y="2845588"/>
            <a:ext cx="2218307"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Phone number</a:t>
            </a:r>
          </a:p>
        </p:txBody>
      </p:sp>
      <p:sp>
        <p:nvSpPr>
          <p:cNvPr id="34" name="Text Placeholder 5"/>
          <p:cNvSpPr>
            <a:spLocks noGrp="1"/>
          </p:cNvSpPr>
          <p:nvPr>
            <p:ph type="body" sz="quarter" idx="28" hasCustomPrompt="1"/>
          </p:nvPr>
        </p:nvSpPr>
        <p:spPr>
          <a:xfrm>
            <a:off x="8946800" y="3128395"/>
            <a:ext cx="2218307"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Email address</a:t>
            </a:r>
          </a:p>
        </p:txBody>
      </p:sp>
      <p:grpSp>
        <p:nvGrpSpPr>
          <p:cNvPr id="35" name="Gruppieren 2">
            <a:extLst>
              <a:ext uri="{FF2B5EF4-FFF2-40B4-BE49-F238E27FC236}">
                <a16:creationId xmlns:a16="http://schemas.microsoft.com/office/drawing/2014/main" id="{BE697CE9-EBDE-6B4A-BE70-582D92A8A831}"/>
              </a:ext>
            </a:extLst>
          </p:cNvPr>
          <p:cNvGrpSpPr/>
          <p:nvPr/>
        </p:nvGrpSpPr>
        <p:grpSpPr>
          <a:xfrm>
            <a:off x="3770065" y="5045939"/>
            <a:ext cx="171180" cy="171180"/>
            <a:chOff x="3392092" y="1841122"/>
            <a:chExt cx="646508" cy="646508"/>
          </a:xfrm>
        </p:grpSpPr>
        <p:sp>
          <p:nvSpPr>
            <p:cNvPr id="36" name="Rechteck 14">
              <a:extLst>
                <a:ext uri="{FF2B5EF4-FFF2-40B4-BE49-F238E27FC236}">
                  <a16:creationId xmlns:a16="http://schemas.microsoft.com/office/drawing/2014/main" id="{E142A731-19B7-C34D-9534-9E05108F895F}"/>
                </a:ext>
              </a:extLst>
            </p:cNvPr>
            <p:cNvSpPr>
              <a:spLocks noChangeAspect="1"/>
            </p:cNvSpPr>
            <p:nvPr/>
          </p:nvSpPr>
          <p:spPr bwMode="gray">
            <a:xfrm>
              <a:off x="3392092" y="1841122"/>
              <a:ext cx="646508" cy="646508"/>
            </a:xfrm>
            <a:prstGeom prst="rect">
              <a:avLst/>
            </a:prstGeom>
            <a:solidFill>
              <a:srgbClr val="E55A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pPr>
              <a:endParaRPr lang="en-US" sz="1000">
                <a:solidFill>
                  <a:schemeClr val="tx1"/>
                </a:solidFill>
                <a:latin typeface="Arial" pitchFamily="34" charset="0"/>
                <a:cs typeface="Arial" pitchFamily="34" charset="0"/>
              </a:endParaRPr>
            </a:p>
          </p:txBody>
        </p:sp>
        <p:sp>
          <p:nvSpPr>
            <p:cNvPr id="37" name="Freeform 36">
              <a:extLst>
                <a:ext uri="{FF2B5EF4-FFF2-40B4-BE49-F238E27FC236}">
                  <a16:creationId xmlns:a16="http://schemas.microsoft.com/office/drawing/2014/main" id="{F97E84AE-4AD9-4B44-9AA1-F797FC373809}"/>
                </a:ext>
              </a:extLst>
            </p:cNvPr>
            <p:cNvSpPr>
              <a:spLocks noChangeAspect="1"/>
            </p:cNvSpPr>
            <p:nvPr/>
          </p:nvSpPr>
          <p:spPr bwMode="auto">
            <a:xfrm>
              <a:off x="3546638" y="1970424"/>
              <a:ext cx="337415" cy="387905"/>
            </a:xfrm>
            <a:custGeom>
              <a:avLst/>
              <a:gdLst>
                <a:gd name="T0" fmla="*/ 573 w 1624"/>
                <a:gd name="T1" fmla="*/ 1257 h 1867"/>
                <a:gd name="T2" fmla="*/ 662 w 1624"/>
                <a:gd name="T3" fmla="*/ 1288 h 1867"/>
                <a:gd name="T4" fmla="*/ 938 w 1624"/>
                <a:gd name="T5" fmla="*/ 1051 h 1867"/>
                <a:gd name="T6" fmla="*/ 1106 w 1624"/>
                <a:gd name="T7" fmla="*/ 731 h 1867"/>
                <a:gd name="T8" fmla="*/ 1059 w 1624"/>
                <a:gd name="T9" fmla="*/ 645 h 1867"/>
                <a:gd name="T10" fmla="*/ 1001 w 1624"/>
                <a:gd name="T11" fmla="*/ 613 h 1867"/>
                <a:gd name="T12" fmla="*/ 924 w 1624"/>
                <a:gd name="T13" fmla="*/ 432 h 1867"/>
                <a:gd name="T14" fmla="*/ 1114 w 1624"/>
                <a:gd name="T15" fmla="*/ 81 h 1867"/>
                <a:gd name="T16" fmla="*/ 1287 w 1624"/>
                <a:gd name="T17" fmla="*/ 35 h 1867"/>
                <a:gd name="T18" fmla="*/ 1350 w 1624"/>
                <a:gd name="T19" fmla="*/ 69 h 1867"/>
                <a:gd name="T20" fmla="*/ 1527 w 1624"/>
                <a:gd name="T21" fmla="*/ 235 h 1867"/>
                <a:gd name="T22" fmla="*/ 1583 w 1624"/>
                <a:gd name="T23" fmla="*/ 555 h 1867"/>
                <a:gd name="T24" fmla="*/ 1172 w 1624"/>
                <a:gd name="T25" fmla="*/ 1253 h 1867"/>
                <a:gd name="T26" fmla="*/ 586 w 1624"/>
                <a:gd name="T27" fmla="*/ 1803 h 1867"/>
                <a:gd name="T28" fmla="*/ 269 w 1624"/>
                <a:gd name="T29" fmla="*/ 1807 h 1867"/>
                <a:gd name="T30" fmla="*/ 33 w 1624"/>
                <a:gd name="T31" fmla="*/ 1602 h 1867"/>
                <a:gd name="T32" fmla="*/ 2 w 1624"/>
                <a:gd name="T33" fmla="*/ 1508 h 1867"/>
                <a:gd name="T34" fmla="*/ 45 w 1624"/>
                <a:gd name="T35" fmla="*/ 1421 h 1867"/>
                <a:gd name="T36" fmla="*/ 346 w 1624"/>
                <a:gd name="T37" fmla="*/ 1158 h 1867"/>
                <a:gd name="T38" fmla="*/ 448 w 1624"/>
                <a:gd name="T39" fmla="*/ 1145 h 1867"/>
                <a:gd name="T40" fmla="*/ 573 w 1624"/>
                <a:gd name="T41" fmla="*/ 1257 h 18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24" h="1867">
                  <a:moveTo>
                    <a:pt x="573" y="1257"/>
                  </a:moveTo>
                  <a:cubicBezTo>
                    <a:pt x="592" y="1282"/>
                    <a:pt x="630" y="1303"/>
                    <a:pt x="662" y="1288"/>
                  </a:cubicBezTo>
                  <a:cubicBezTo>
                    <a:pt x="753" y="1245"/>
                    <a:pt x="854" y="1156"/>
                    <a:pt x="938" y="1051"/>
                  </a:cubicBezTo>
                  <a:cubicBezTo>
                    <a:pt x="1020" y="948"/>
                    <a:pt x="1084" y="831"/>
                    <a:pt x="1106" y="731"/>
                  </a:cubicBezTo>
                  <a:cubicBezTo>
                    <a:pt x="1113" y="696"/>
                    <a:pt x="1089" y="661"/>
                    <a:pt x="1059" y="645"/>
                  </a:cubicBezTo>
                  <a:cubicBezTo>
                    <a:pt x="1001" y="613"/>
                    <a:pt x="1001" y="613"/>
                    <a:pt x="1001" y="613"/>
                  </a:cubicBezTo>
                  <a:cubicBezTo>
                    <a:pt x="942" y="580"/>
                    <a:pt x="888" y="499"/>
                    <a:pt x="924" y="432"/>
                  </a:cubicBezTo>
                  <a:cubicBezTo>
                    <a:pt x="1114" y="81"/>
                    <a:pt x="1114" y="81"/>
                    <a:pt x="1114" y="81"/>
                  </a:cubicBezTo>
                  <a:cubicBezTo>
                    <a:pt x="1150" y="16"/>
                    <a:pt x="1224" y="0"/>
                    <a:pt x="1287" y="35"/>
                  </a:cubicBezTo>
                  <a:cubicBezTo>
                    <a:pt x="1350" y="69"/>
                    <a:pt x="1350" y="69"/>
                    <a:pt x="1350" y="69"/>
                  </a:cubicBezTo>
                  <a:cubicBezTo>
                    <a:pt x="1415" y="105"/>
                    <a:pt x="1479" y="165"/>
                    <a:pt x="1527" y="235"/>
                  </a:cubicBezTo>
                  <a:cubicBezTo>
                    <a:pt x="1593" y="332"/>
                    <a:pt x="1624" y="442"/>
                    <a:pt x="1583" y="555"/>
                  </a:cubicBezTo>
                  <a:cubicBezTo>
                    <a:pt x="1500" y="781"/>
                    <a:pt x="1351" y="1030"/>
                    <a:pt x="1172" y="1253"/>
                  </a:cubicBezTo>
                  <a:cubicBezTo>
                    <a:pt x="994" y="1477"/>
                    <a:pt x="786" y="1676"/>
                    <a:pt x="586" y="1803"/>
                  </a:cubicBezTo>
                  <a:cubicBezTo>
                    <a:pt x="486" y="1867"/>
                    <a:pt x="375" y="1856"/>
                    <a:pt x="269" y="1807"/>
                  </a:cubicBezTo>
                  <a:cubicBezTo>
                    <a:pt x="157" y="1755"/>
                    <a:pt x="106" y="1695"/>
                    <a:pt x="33" y="1602"/>
                  </a:cubicBezTo>
                  <a:cubicBezTo>
                    <a:pt x="11" y="1573"/>
                    <a:pt x="0" y="1540"/>
                    <a:pt x="2" y="1508"/>
                  </a:cubicBezTo>
                  <a:cubicBezTo>
                    <a:pt x="4" y="1475"/>
                    <a:pt x="18" y="1444"/>
                    <a:pt x="45" y="1421"/>
                  </a:cubicBezTo>
                  <a:cubicBezTo>
                    <a:pt x="70" y="1399"/>
                    <a:pt x="346" y="1158"/>
                    <a:pt x="346" y="1158"/>
                  </a:cubicBezTo>
                  <a:cubicBezTo>
                    <a:pt x="376" y="1134"/>
                    <a:pt x="413" y="1133"/>
                    <a:pt x="448" y="1145"/>
                  </a:cubicBezTo>
                  <a:cubicBezTo>
                    <a:pt x="510" y="1166"/>
                    <a:pt x="536" y="1210"/>
                    <a:pt x="573" y="1257"/>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351"/>
            </a:p>
          </p:txBody>
        </p:sp>
      </p:grpSp>
      <p:grpSp>
        <p:nvGrpSpPr>
          <p:cNvPr id="38" name="Group 3">
            <a:extLst>
              <a:ext uri="{FF2B5EF4-FFF2-40B4-BE49-F238E27FC236}">
                <a16:creationId xmlns:a16="http://schemas.microsoft.com/office/drawing/2014/main" id="{7104BADD-8CD1-6F4A-B894-869C3BDB3EEB}"/>
              </a:ext>
            </a:extLst>
          </p:cNvPr>
          <p:cNvGrpSpPr>
            <a:grpSpLocks noChangeAspect="1"/>
          </p:cNvGrpSpPr>
          <p:nvPr>
            <p:custDataLst>
              <p:tags r:id="rId3"/>
            </p:custDataLst>
          </p:nvPr>
        </p:nvGrpSpPr>
        <p:grpSpPr>
          <a:xfrm>
            <a:off x="3770066" y="5330827"/>
            <a:ext cx="171180" cy="171180"/>
            <a:chOff x="328396" y="5313940"/>
            <a:chExt cx="720000" cy="720000"/>
          </a:xfrm>
        </p:grpSpPr>
        <p:sp>
          <p:nvSpPr>
            <p:cNvPr id="39" name="Rectangle 4">
              <a:extLst>
                <a:ext uri="{FF2B5EF4-FFF2-40B4-BE49-F238E27FC236}">
                  <a16:creationId xmlns:a16="http://schemas.microsoft.com/office/drawing/2014/main" id="{74BE3D5F-1445-6E40-8B49-72E15568383B}"/>
                </a:ext>
              </a:extLst>
            </p:cNvPr>
            <p:cNvSpPr/>
            <p:nvPr/>
          </p:nvSpPr>
          <p:spPr bwMode="gray">
            <a:xfrm>
              <a:off x="328396" y="5313940"/>
              <a:ext cx="720000" cy="720000"/>
            </a:xfrm>
            <a:prstGeom prst="rect">
              <a:avLst/>
            </a:prstGeom>
            <a:solidFill>
              <a:srgbClr val="E55A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pPr>
              <a:endParaRPr lang="en-US" sz="1000">
                <a:solidFill>
                  <a:schemeClr val="tx1"/>
                </a:solidFill>
                <a:latin typeface="Arial" pitchFamily="34" charset="0"/>
                <a:cs typeface="Arial" pitchFamily="34" charset="0"/>
              </a:endParaRPr>
            </a:p>
          </p:txBody>
        </p:sp>
        <p:sp>
          <p:nvSpPr>
            <p:cNvPr id="40" name="Freeform 76">
              <a:extLst>
                <a:ext uri="{FF2B5EF4-FFF2-40B4-BE49-F238E27FC236}">
                  <a16:creationId xmlns:a16="http://schemas.microsoft.com/office/drawing/2014/main" id="{55DB3C95-7D0C-D141-901E-96D692794D2B}"/>
                </a:ext>
              </a:extLst>
            </p:cNvPr>
            <p:cNvSpPr>
              <a:spLocks noChangeAspect="1" noEditPoints="1"/>
            </p:cNvSpPr>
            <p:nvPr/>
          </p:nvSpPr>
          <p:spPr bwMode="auto">
            <a:xfrm>
              <a:off x="456202" y="5509222"/>
              <a:ext cx="504000" cy="329436"/>
            </a:xfrm>
            <a:custGeom>
              <a:avLst/>
              <a:gdLst>
                <a:gd name="T0" fmla="*/ 0 w 2080"/>
                <a:gd name="T1" fmla="*/ 65 h 1360"/>
                <a:gd name="T2" fmla="*/ 0 w 2080"/>
                <a:gd name="T3" fmla="*/ 0 h 1360"/>
                <a:gd name="T4" fmla="*/ 2080 w 2080"/>
                <a:gd name="T5" fmla="*/ 0 h 1360"/>
                <a:gd name="T6" fmla="*/ 2080 w 2080"/>
                <a:gd name="T7" fmla="*/ 65 h 1360"/>
                <a:gd name="T8" fmla="*/ 1089 w 2080"/>
                <a:gd name="T9" fmla="*/ 862 h 1360"/>
                <a:gd name="T10" fmla="*/ 991 w 2080"/>
                <a:gd name="T11" fmla="*/ 862 h 1360"/>
                <a:gd name="T12" fmla="*/ 0 w 2080"/>
                <a:gd name="T13" fmla="*/ 65 h 1360"/>
                <a:gd name="T14" fmla="*/ 1139 w 2080"/>
                <a:gd name="T15" fmla="*/ 924 h 1360"/>
                <a:gd name="T16" fmla="*/ 1282 w 2080"/>
                <a:gd name="T17" fmla="*/ 810 h 1360"/>
                <a:gd name="T18" fmla="*/ 2076 w 2080"/>
                <a:gd name="T19" fmla="*/ 1360 h 1360"/>
                <a:gd name="T20" fmla="*/ 4 w 2080"/>
                <a:gd name="T21" fmla="*/ 1360 h 1360"/>
                <a:gd name="T22" fmla="*/ 798 w 2080"/>
                <a:gd name="T23" fmla="*/ 810 h 1360"/>
                <a:gd name="T24" fmla="*/ 941 w 2080"/>
                <a:gd name="T25" fmla="*/ 924 h 1360"/>
                <a:gd name="T26" fmla="*/ 1139 w 2080"/>
                <a:gd name="T27" fmla="*/ 924 h 1360"/>
                <a:gd name="T28" fmla="*/ 2 w 2080"/>
                <a:gd name="T29" fmla="*/ 137 h 1360"/>
                <a:gd name="T30" fmla="*/ 42 w 2080"/>
                <a:gd name="T31" fmla="*/ 201 h 1360"/>
                <a:gd name="T32" fmla="*/ 734 w 2080"/>
                <a:gd name="T33" fmla="*/ 758 h 1360"/>
                <a:gd name="T34" fmla="*/ 0 w 2080"/>
                <a:gd name="T35" fmla="*/ 1266 h 1360"/>
                <a:gd name="T36" fmla="*/ 0 w 2080"/>
                <a:gd name="T37" fmla="*/ 135 h 1360"/>
                <a:gd name="T38" fmla="*/ 2 w 2080"/>
                <a:gd name="T39" fmla="*/ 137 h 1360"/>
                <a:gd name="T40" fmla="*/ 2080 w 2080"/>
                <a:gd name="T41" fmla="*/ 136 h 1360"/>
                <a:gd name="T42" fmla="*/ 2080 w 2080"/>
                <a:gd name="T43" fmla="*/ 1265 h 1360"/>
                <a:gd name="T44" fmla="*/ 1346 w 2080"/>
                <a:gd name="T45" fmla="*/ 758 h 1360"/>
                <a:gd name="T46" fmla="*/ 2038 w 2080"/>
                <a:gd name="T47" fmla="*/ 201 h 1360"/>
                <a:gd name="T48" fmla="*/ 2080 w 2080"/>
                <a:gd name="T49" fmla="*/ 136 h 1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080" h="1360">
                  <a:moveTo>
                    <a:pt x="0" y="65"/>
                  </a:moveTo>
                  <a:cubicBezTo>
                    <a:pt x="0" y="0"/>
                    <a:pt x="0" y="0"/>
                    <a:pt x="0" y="0"/>
                  </a:cubicBezTo>
                  <a:cubicBezTo>
                    <a:pt x="2080" y="0"/>
                    <a:pt x="2080" y="0"/>
                    <a:pt x="2080" y="0"/>
                  </a:cubicBezTo>
                  <a:cubicBezTo>
                    <a:pt x="2080" y="65"/>
                    <a:pt x="2080" y="65"/>
                    <a:pt x="2080" y="65"/>
                  </a:cubicBezTo>
                  <a:cubicBezTo>
                    <a:pt x="1089" y="862"/>
                    <a:pt x="1089" y="862"/>
                    <a:pt x="1089" y="862"/>
                  </a:cubicBezTo>
                  <a:cubicBezTo>
                    <a:pt x="1060" y="886"/>
                    <a:pt x="1020" y="886"/>
                    <a:pt x="991" y="862"/>
                  </a:cubicBezTo>
                  <a:lnTo>
                    <a:pt x="0" y="65"/>
                  </a:lnTo>
                  <a:close/>
                  <a:moveTo>
                    <a:pt x="1139" y="924"/>
                  </a:moveTo>
                  <a:cubicBezTo>
                    <a:pt x="1282" y="810"/>
                    <a:pt x="1282" y="810"/>
                    <a:pt x="1282" y="810"/>
                  </a:cubicBezTo>
                  <a:cubicBezTo>
                    <a:pt x="2076" y="1360"/>
                    <a:pt x="2076" y="1360"/>
                    <a:pt x="2076" y="1360"/>
                  </a:cubicBezTo>
                  <a:cubicBezTo>
                    <a:pt x="4" y="1360"/>
                    <a:pt x="4" y="1360"/>
                    <a:pt x="4" y="1360"/>
                  </a:cubicBezTo>
                  <a:cubicBezTo>
                    <a:pt x="798" y="810"/>
                    <a:pt x="798" y="810"/>
                    <a:pt x="798" y="810"/>
                  </a:cubicBezTo>
                  <a:cubicBezTo>
                    <a:pt x="941" y="924"/>
                    <a:pt x="941" y="924"/>
                    <a:pt x="941" y="924"/>
                  </a:cubicBezTo>
                  <a:cubicBezTo>
                    <a:pt x="1000" y="972"/>
                    <a:pt x="1080" y="972"/>
                    <a:pt x="1139" y="924"/>
                  </a:cubicBezTo>
                  <a:close/>
                  <a:moveTo>
                    <a:pt x="2" y="137"/>
                  </a:moveTo>
                  <a:cubicBezTo>
                    <a:pt x="8" y="163"/>
                    <a:pt x="22" y="185"/>
                    <a:pt x="42" y="201"/>
                  </a:cubicBezTo>
                  <a:cubicBezTo>
                    <a:pt x="734" y="758"/>
                    <a:pt x="734" y="758"/>
                    <a:pt x="734" y="758"/>
                  </a:cubicBezTo>
                  <a:cubicBezTo>
                    <a:pt x="0" y="1266"/>
                    <a:pt x="0" y="1266"/>
                    <a:pt x="0" y="1266"/>
                  </a:cubicBezTo>
                  <a:cubicBezTo>
                    <a:pt x="0" y="135"/>
                    <a:pt x="0" y="135"/>
                    <a:pt x="0" y="135"/>
                  </a:cubicBezTo>
                  <a:lnTo>
                    <a:pt x="2" y="137"/>
                  </a:lnTo>
                  <a:close/>
                  <a:moveTo>
                    <a:pt x="2080" y="136"/>
                  </a:moveTo>
                  <a:cubicBezTo>
                    <a:pt x="2080" y="1265"/>
                    <a:pt x="2080" y="1265"/>
                    <a:pt x="2080" y="1265"/>
                  </a:cubicBezTo>
                  <a:cubicBezTo>
                    <a:pt x="1346" y="758"/>
                    <a:pt x="1346" y="758"/>
                    <a:pt x="1346" y="758"/>
                  </a:cubicBezTo>
                  <a:cubicBezTo>
                    <a:pt x="2038" y="201"/>
                    <a:pt x="2038" y="201"/>
                    <a:pt x="2038" y="201"/>
                  </a:cubicBezTo>
                  <a:cubicBezTo>
                    <a:pt x="2060" y="182"/>
                    <a:pt x="2072" y="162"/>
                    <a:pt x="2080" y="13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000"/>
            </a:p>
          </p:txBody>
        </p:sp>
      </p:grpSp>
      <p:cxnSp>
        <p:nvCxnSpPr>
          <p:cNvPr id="41" name="Straight Connector 40"/>
          <p:cNvCxnSpPr/>
          <p:nvPr/>
        </p:nvCxnSpPr>
        <p:spPr>
          <a:xfrm>
            <a:off x="2355914" y="5655833"/>
            <a:ext cx="3888000" cy="0"/>
          </a:xfrm>
          <a:prstGeom prst="line">
            <a:avLst/>
          </a:prstGeom>
          <a:ln w="6350">
            <a:solidFill>
              <a:schemeClr val="tx2"/>
            </a:solidFill>
            <a:prstDash val="dash"/>
          </a:ln>
        </p:spPr>
        <p:style>
          <a:lnRef idx="1">
            <a:schemeClr val="accent1"/>
          </a:lnRef>
          <a:fillRef idx="0">
            <a:schemeClr val="accent1"/>
          </a:fillRef>
          <a:effectRef idx="0">
            <a:schemeClr val="accent1"/>
          </a:effectRef>
          <a:fontRef idx="minor">
            <a:schemeClr val="tx1"/>
          </a:fontRef>
        </p:style>
      </p:cxnSp>
      <p:sp>
        <p:nvSpPr>
          <p:cNvPr id="42" name="Picture Placeholder 3"/>
          <p:cNvSpPr>
            <a:spLocks noGrp="1"/>
          </p:cNvSpPr>
          <p:nvPr>
            <p:ph type="pic" sz="quarter" idx="29" hasCustomPrompt="1"/>
          </p:nvPr>
        </p:nvSpPr>
        <p:spPr>
          <a:xfrm>
            <a:off x="2355914" y="3986604"/>
            <a:ext cx="1188677" cy="1547840"/>
          </a:xfrm>
          <a:solidFill>
            <a:srgbClr val="D9DADB"/>
          </a:solidFill>
        </p:spPr>
        <p:txBody>
          <a:bodyPr/>
          <a:lstStyle>
            <a:lvl1pPr marL="0" indent="0">
              <a:buNone/>
              <a:defRPr sz="1400"/>
            </a:lvl1pPr>
          </a:lstStyle>
          <a:p>
            <a:r>
              <a:rPr lang="en-US"/>
              <a:t>Insert picture</a:t>
            </a:r>
          </a:p>
        </p:txBody>
      </p:sp>
      <p:sp>
        <p:nvSpPr>
          <p:cNvPr id="43" name="Text Placeholder 5"/>
          <p:cNvSpPr>
            <a:spLocks noGrp="1"/>
          </p:cNvSpPr>
          <p:nvPr>
            <p:ph type="body" sz="quarter" idx="30" hasCustomPrompt="1"/>
          </p:nvPr>
        </p:nvSpPr>
        <p:spPr>
          <a:xfrm>
            <a:off x="3770065" y="3986141"/>
            <a:ext cx="2463190" cy="192360"/>
          </a:xfrm>
        </p:spPr>
        <p:txBody>
          <a:bodyPr lIns="0" tIns="0" rIns="0" bIns="0" anchor="ctr" anchorCtr="0"/>
          <a:lstStyle>
            <a:lvl1pPr marL="0" indent="0" algn="l">
              <a:lnSpc>
                <a:spcPct val="100000"/>
              </a:lnSpc>
              <a:buNone/>
              <a:defRPr sz="100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Country</a:t>
            </a:r>
          </a:p>
        </p:txBody>
      </p:sp>
      <p:sp>
        <p:nvSpPr>
          <p:cNvPr id="44" name="Text Placeholder 5"/>
          <p:cNvSpPr>
            <a:spLocks noGrp="1"/>
          </p:cNvSpPr>
          <p:nvPr>
            <p:ph type="body" sz="quarter" idx="31" hasCustomPrompt="1"/>
          </p:nvPr>
        </p:nvSpPr>
        <p:spPr>
          <a:xfrm>
            <a:off x="3770065" y="4197957"/>
            <a:ext cx="2463190" cy="266182"/>
          </a:xfrm>
        </p:spPr>
        <p:txBody>
          <a:bodyPr lIns="0" tIns="0" rIns="0" bIns="0" anchor="b" anchorCtr="0"/>
          <a:lstStyle>
            <a:lvl1pPr marL="0" indent="0" algn="l">
              <a:lnSpc>
                <a:spcPct val="100000"/>
              </a:lnSpc>
              <a:buNone/>
              <a:defRPr sz="1400" b="1" baseline="0">
                <a:solidFill>
                  <a:schemeClr val="tx2"/>
                </a:solidFill>
              </a:defRPr>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Name, Surname</a:t>
            </a:r>
          </a:p>
        </p:txBody>
      </p:sp>
      <p:sp>
        <p:nvSpPr>
          <p:cNvPr id="45" name="Text Placeholder 5"/>
          <p:cNvSpPr>
            <a:spLocks noGrp="1"/>
          </p:cNvSpPr>
          <p:nvPr>
            <p:ph type="body" sz="quarter" idx="32" hasCustomPrompt="1"/>
          </p:nvPr>
        </p:nvSpPr>
        <p:spPr>
          <a:xfrm>
            <a:off x="3770065" y="4494532"/>
            <a:ext cx="2463190"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Job Position</a:t>
            </a:r>
          </a:p>
        </p:txBody>
      </p:sp>
      <p:sp>
        <p:nvSpPr>
          <p:cNvPr id="46" name="Text Placeholder 5"/>
          <p:cNvSpPr>
            <a:spLocks noGrp="1"/>
          </p:cNvSpPr>
          <p:nvPr>
            <p:ph type="body" sz="quarter" idx="33" hasCustomPrompt="1"/>
          </p:nvPr>
        </p:nvSpPr>
        <p:spPr>
          <a:xfrm>
            <a:off x="4014948" y="5023208"/>
            <a:ext cx="2218307"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Phone number</a:t>
            </a:r>
          </a:p>
        </p:txBody>
      </p:sp>
      <p:sp>
        <p:nvSpPr>
          <p:cNvPr id="47" name="Text Placeholder 5"/>
          <p:cNvSpPr>
            <a:spLocks noGrp="1"/>
          </p:cNvSpPr>
          <p:nvPr>
            <p:ph type="body" sz="quarter" idx="34" hasCustomPrompt="1"/>
          </p:nvPr>
        </p:nvSpPr>
        <p:spPr>
          <a:xfrm>
            <a:off x="4014948" y="5306015"/>
            <a:ext cx="2218307"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Email address</a:t>
            </a:r>
          </a:p>
        </p:txBody>
      </p:sp>
    </p:spTree>
    <p:extLst>
      <p:ext uri="{BB962C8B-B14F-4D97-AF65-F5344CB8AC3E}">
        <p14:creationId xmlns:p14="http://schemas.microsoft.com/office/powerpoint/2010/main" val="1758691120"/>
      </p:ext>
    </p:extLst>
  </p:cSld>
  <p:clrMapOvr>
    <a:masterClrMapping/>
  </p:clrMapOvr>
</p:sldLayout>
</file>

<file path=ppt/slideLayouts/slideLayout438.xml><?xml version="1.0" encoding="utf-8"?>
<p:sldLayout xmlns:a="http://schemas.openxmlformats.org/drawingml/2006/main" xmlns:r="http://schemas.openxmlformats.org/officeDocument/2006/relationships" xmlns:p="http://schemas.openxmlformats.org/presentationml/2006/main" preserve="1">
  <p:cSld name="Four contacts">
    <p:spTree>
      <p:nvGrpSpPr>
        <p:cNvPr id="1" name=""/>
        <p:cNvGrpSpPr/>
        <p:nvPr/>
      </p:nvGrpSpPr>
      <p:grpSpPr>
        <a:xfrm>
          <a:off x="0" y="0"/>
          <a:ext cx="0" cy="0"/>
          <a:chOff x="0" y="0"/>
          <a:chExt cx="0" cy="0"/>
        </a:xfrm>
      </p:grpSpPr>
      <p:sp>
        <p:nvSpPr>
          <p:cNvPr id="21" name="Date Placeholder 20"/>
          <p:cNvSpPr>
            <a:spLocks noGrp="1"/>
          </p:cNvSpPr>
          <p:nvPr>
            <p:ph type="dt" sz="half" idx="14"/>
          </p:nvPr>
        </p:nvSpPr>
        <p:spPr/>
        <p:txBody>
          <a:bodyPr/>
          <a:lstStyle/>
          <a:p>
            <a:endParaRPr lang="en-US"/>
          </a:p>
        </p:txBody>
      </p:sp>
      <p:sp>
        <p:nvSpPr>
          <p:cNvPr id="22" name="Footer Placeholder 21"/>
          <p:cNvSpPr>
            <a:spLocks noGrp="1"/>
          </p:cNvSpPr>
          <p:nvPr>
            <p:ph type="ftr" sz="quarter" idx="15"/>
          </p:nvPr>
        </p:nvSpPr>
        <p:spPr/>
        <p:txBody>
          <a:bodyPr/>
          <a:lstStyle/>
          <a:p>
            <a:endParaRPr lang="en-US"/>
          </a:p>
        </p:txBody>
      </p:sp>
      <p:sp>
        <p:nvSpPr>
          <p:cNvPr id="23" name="Slide Number Placeholder 22"/>
          <p:cNvSpPr>
            <a:spLocks noGrp="1"/>
          </p:cNvSpPr>
          <p:nvPr>
            <p:ph type="sldNum" sz="quarter" idx="16"/>
          </p:nvPr>
        </p:nvSpPr>
        <p:spPr/>
        <p:txBody>
          <a:bodyPr/>
          <a:lstStyle/>
          <a:p>
            <a:fld id="{5F3E29E4-0979-4FCA-B4C5-5FC6044C982A}" type="slidenum">
              <a:rPr lang="en-US" smtClean="0"/>
              <a:t>‹#›</a:t>
            </a:fld>
            <a:endParaRPr lang="en-US"/>
          </a:p>
        </p:txBody>
      </p:sp>
      <p:sp>
        <p:nvSpPr>
          <p:cNvPr id="2" name="Title 1"/>
          <p:cNvSpPr>
            <a:spLocks noGrp="1"/>
          </p:cNvSpPr>
          <p:nvPr>
            <p:ph type="title" hasCustomPrompt="1"/>
          </p:nvPr>
        </p:nvSpPr>
        <p:spPr/>
        <p:txBody>
          <a:bodyPr/>
          <a:lstStyle>
            <a:lvl1pPr>
              <a:defRPr/>
            </a:lvl1pPr>
          </a:lstStyle>
          <a:p>
            <a:r>
              <a:rPr lang="en-US"/>
              <a:t>Click to add contact title</a:t>
            </a:r>
          </a:p>
        </p:txBody>
      </p:sp>
      <p:sp>
        <p:nvSpPr>
          <p:cNvPr id="7" name="Subtitle 2"/>
          <p:cNvSpPr>
            <a:spLocks noGrp="1"/>
          </p:cNvSpPr>
          <p:nvPr>
            <p:ph type="subTitle" idx="13" hasCustomPrompt="1"/>
          </p:nvPr>
        </p:nvSpPr>
        <p:spPr>
          <a:xfrm>
            <a:off x="1075061" y="964671"/>
            <a:ext cx="7910158" cy="490042"/>
          </a:xfrm>
        </p:spPr>
        <p:txBody>
          <a:bodyPr wrap="none"/>
          <a:lstStyle>
            <a:lvl1pPr marL="0" indent="0" algn="l">
              <a:spcBef>
                <a:spcPts val="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grpSp>
        <p:nvGrpSpPr>
          <p:cNvPr id="8" name="Gruppieren 80">
            <a:extLst>
              <a:ext uri="{FF2B5EF4-FFF2-40B4-BE49-F238E27FC236}">
                <a16:creationId xmlns:a16="http://schemas.microsoft.com/office/drawing/2014/main" id="{6B969E7B-9C39-4443-9B02-74C1E7C5CCAC}"/>
              </a:ext>
            </a:extLst>
          </p:cNvPr>
          <p:cNvGrpSpPr/>
          <p:nvPr/>
        </p:nvGrpSpPr>
        <p:grpSpPr>
          <a:xfrm>
            <a:off x="3770065" y="2868319"/>
            <a:ext cx="171180" cy="171180"/>
            <a:chOff x="3392092" y="1841122"/>
            <a:chExt cx="646508" cy="646508"/>
          </a:xfrm>
        </p:grpSpPr>
        <p:sp>
          <p:nvSpPr>
            <p:cNvPr id="9" name="Rechteck 14">
              <a:extLst>
                <a:ext uri="{FF2B5EF4-FFF2-40B4-BE49-F238E27FC236}">
                  <a16:creationId xmlns:a16="http://schemas.microsoft.com/office/drawing/2014/main" id="{D78F58EA-5525-8D43-8295-FEA52ECF6BFA}"/>
                </a:ext>
              </a:extLst>
            </p:cNvPr>
            <p:cNvSpPr>
              <a:spLocks noChangeAspect="1"/>
            </p:cNvSpPr>
            <p:nvPr/>
          </p:nvSpPr>
          <p:spPr bwMode="gray">
            <a:xfrm>
              <a:off x="3392092" y="1841122"/>
              <a:ext cx="646508" cy="646508"/>
            </a:xfrm>
            <a:prstGeom prst="rect">
              <a:avLst/>
            </a:prstGeom>
            <a:solidFill>
              <a:srgbClr val="E55A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pPr>
              <a:endParaRPr lang="en-US" sz="1000">
                <a:solidFill>
                  <a:schemeClr val="tx1"/>
                </a:solidFill>
                <a:latin typeface="Arial" pitchFamily="34" charset="0"/>
                <a:cs typeface="Arial" pitchFamily="34" charset="0"/>
              </a:endParaRPr>
            </a:p>
          </p:txBody>
        </p:sp>
        <p:sp>
          <p:nvSpPr>
            <p:cNvPr id="10" name="Freeform 67">
              <a:extLst>
                <a:ext uri="{FF2B5EF4-FFF2-40B4-BE49-F238E27FC236}">
                  <a16:creationId xmlns:a16="http://schemas.microsoft.com/office/drawing/2014/main" id="{D01A6292-2776-4945-B828-483D79DC4908}"/>
                </a:ext>
              </a:extLst>
            </p:cNvPr>
            <p:cNvSpPr>
              <a:spLocks noChangeAspect="1"/>
            </p:cNvSpPr>
            <p:nvPr/>
          </p:nvSpPr>
          <p:spPr bwMode="auto">
            <a:xfrm>
              <a:off x="3546638" y="1970424"/>
              <a:ext cx="337415" cy="387905"/>
            </a:xfrm>
            <a:custGeom>
              <a:avLst/>
              <a:gdLst>
                <a:gd name="T0" fmla="*/ 573 w 1624"/>
                <a:gd name="T1" fmla="*/ 1257 h 1867"/>
                <a:gd name="T2" fmla="*/ 662 w 1624"/>
                <a:gd name="T3" fmla="*/ 1288 h 1867"/>
                <a:gd name="T4" fmla="*/ 938 w 1624"/>
                <a:gd name="T5" fmla="*/ 1051 h 1867"/>
                <a:gd name="T6" fmla="*/ 1106 w 1624"/>
                <a:gd name="T7" fmla="*/ 731 h 1867"/>
                <a:gd name="T8" fmla="*/ 1059 w 1624"/>
                <a:gd name="T9" fmla="*/ 645 h 1867"/>
                <a:gd name="T10" fmla="*/ 1001 w 1624"/>
                <a:gd name="T11" fmla="*/ 613 h 1867"/>
                <a:gd name="T12" fmla="*/ 924 w 1624"/>
                <a:gd name="T13" fmla="*/ 432 h 1867"/>
                <a:gd name="T14" fmla="*/ 1114 w 1624"/>
                <a:gd name="T15" fmla="*/ 81 h 1867"/>
                <a:gd name="T16" fmla="*/ 1287 w 1624"/>
                <a:gd name="T17" fmla="*/ 35 h 1867"/>
                <a:gd name="T18" fmla="*/ 1350 w 1624"/>
                <a:gd name="T19" fmla="*/ 69 h 1867"/>
                <a:gd name="T20" fmla="*/ 1527 w 1624"/>
                <a:gd name="T21" fmla="*/ 235 h 1867"/>
                <a:gd name="T22" fmla="*/ 1583 w 1624"/>
                <a:gd name="T23" fmla="*/ 555 h 1867"/>
                <a:gd name="T24" fmla="*/ 1172 w 1624"/>
                <a:gd name="T25" fmla="*/ 1253 h 1867"/>
                <a:gd name="T26" fmla="*/ 586 w 1624"/>
                <a:gd name="T27" fmla="*/ 1803 h 1867"/>
                <a:gd name="T28" fmla="*/ 269 w 1624"/>
                <a:gd name="T29" fmla="*/ 1807 h 1867"/>
                <a:gd name="T30" fmla="*/ 33 w 1624"/>
                <a:gd name="T31" fmla="*/ 1602 h 1867"/>
                <a:gd name="T32" fmla="*/ 2 w 1624"/>
                <a:gd name="T33" fmla="*/ 1508 h 1867"/>
                <a:gd name="T34" fmla="*/ 45 w 1624"/>
                <a:gd name="T35" fmla="*/ 1421 h 1867"/>
                <a:gd name="T36" fmla="*/ 346 w 1624"/>
                <a:gd name="T37" fmla="*/ 1158 h 1867"/>
                <a:gd name="T38" fmla="*/ 448 w 1624"/>
                <a:gd name="T39" fmla="*/ 1145 h 1867"/>
                <a:gd name="T40" fmla="*/ 573 w 1624"/>
                <a:gd name="T41" fmla="*/ 1257 h 18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24" h="1867">
                  <a:moveTo>
                    <a:pt x="573" y="1257"/>
                  </a:moveTo>
                  <a:cubicBezTo>
                    <a:pt x="592" y="1282"/>
                    <a:pt x="630" y="1303"/>
                    <a:pt x="662" y="1288"/>
                  </a:cubicBezTo>
                  <a:cubicBezTo>
                    <a:pt x="753" y="1245"/>
                    <a:pt x="854" y="1156"/>
                    <a:pt x="938" y="1051"/>
                  </a:cubicBezTo>
                  <a:cubicBezTo>
                    <a:pt x="1020" y="948"/>
                    <a:pt x="1084" y="831"/>
                    <a:pt x="1106" y="731"/>
                  </a:cubicBezTo>
                  <a:cubicBezTo>
                    <a:pt x="1113" y="696"/>
                    <a:pt x="1089" y="661"/>
                    <a:pt x="1059" y="645"/>
                  </a:cubicBezTo>
                  <a:cubicBezTo>
                    <a:pt x="1001" y="613"/>
                    <a:pt x="1001" y="613"/>
                    <a:pt x="1001" y="613"/>
                  </a:cubicBezTo>
                  <a:cubicBezTo>
                    <a:pt x="942" y="580"/>
                    <a:pt x="888" y="499"/>
                    <a:pt x="924" y="432"/>
                  </a:cubicBezTo>
                  <a:cubicBezTo>
                    <a:pt x="1114" y="81"/>
                    <a:pt x="1114" y="81"/>
                    <a:pt x="1114" y="81"/>
                  </a:cubicBezTo>
                  <a:cubicBezTo>
                    <a:pt x="1150" y="16"/>
                    <a:pt x="1224" y="0"/>
                    <a:pt x="1287" y="35"/>
                  </a:cubicBezTo>
                  <a:cubicBezTo>
                    <a:pt x="1350" y="69"/>
                    <a:pt x="1350" y="69"/>
                    <a:pt x="1350" y="69"/>
                  </a:cubicBezTo>
                  <a:cubicBezTo>
                    <a:pt x="1415" y="105"/>
                    <a:pt x="1479" y="165"/>
                    <a:pt x="1527" y="235"/>
                  </a:cubicBezTo>
                  <a:cubicBezTo>
                    <a:pt x="1593" y="332"/>
                    <a:pt x="1624" y="442"/>
                    <a:pt x="1583" y="555"/>
                  </a:cubicBezTo>
                  <a:cubicBezTo>
                    <a:pt x="1500" y="781"/>
                    <a:pt x="1351" y="1030"/>
                    <a:pt x="1172" y="1253"/>
                  </a:cubicBezTo>
                  <a:cubicBezTo>
                    <a:pt x="994" y="1477"/>
                    <a:pt x="786" y="1676"/>
                    <a:pt x="586" y="1803"/>
                  </a:cubicBezTo>
                  <a:cubicBezTo>
                    <a:pt x="486" y="1867"/>
                    <a:pt x="375" y="1856"/>
                    <a:pt x="269" y="1807"/>
                  </a:cubicBezTo>
                  <a:cubicBezTo>
                    <a:pt x="157" y="1755"/>
                    <a:pt x="106" y="1695"/>
                    <a:pt x="33" y="1602"/>
                  </a:cubicBezTo>
                  <a:cubicBezTo>
                    <a:pt x="11" y="1573"/>
                    <a:pt x="0" y="1540"/>
                    <a:pt x="2" y="1508"/>
                  </a:cubicBezTo>
                  <a:cubicBezTo>
                    <a:pt x="4" y="1475"/>
                    <a:pt x="18" y="1444"/>
                    <a:pt x="45" y="1421"/>
                  </a:cubicBezTo>
                  <a:cubicBezTo>
                    <a:pt x="70" y="1399"/>
                    <a:pt x="346" y="1158"/>
                    <a:pt x="346" y="1158"/>
                  </a:cubicBezTo>
                  <a:cubicBezTo>
                    <a:pt x="376" y="1134"/>
                    <a:pt x="413" y="1133"/>
                    <a:pt x="448" y="1145"/>
                  </a:cubicBezTo>
                  <a:cubicBezTo>
                    <a:pt x="510" y="1166"/>
                    <a:pt x="536" y="1210"/>
                    <a:pt x="573" y="1257"/>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351"/>
            </a:p>
          </p:txBody>
        </p:sp>
      </p:grpSp>
      <p:grpSp>
        <p:nvGrpSpPr>
          <p:cNvPr id="11" name="Group 3">
            <a:extLst>
              <a:ext uri="{FF2B5EF4-FFF2-40B4-BE49-F238E27FC236}">
                <a16:creationId xmlns:a16="http://schemas.microsoft.com/office/drawing/2014/main" id="{DED6A25A-5DE2-1441-8BA2-C68D3B4F9209}"/>
              </a:ext>
            </a:extLst>
          </p:cNvPr>
          <p:cNvGrpSpPr>
            <a:grpSpLocks noChangeAspect="1"/>
          </p:cNvGrpSpPr>
          <p:nvPr>
            <p:custDataLst>
              <p:tags r:id="rId1"/>
            </p:custDataLst>
          </p:nvPr>
        </p:nvGrpSpPr>
        <p:grpSpPr>
          <a:xfrm>
            <a:off x="3770066" y="3153207"/>
            <a:ext cx="171180" cy="171180"/>
            <a:chOff x="328396" y="5313940"/>
            <a:chExt cx="720000" cy="720000"/>
          </a:xfrm>
        </p:grpSpPr>
        <p:sp>
          <p:nvSpPr>
            <p:cNvPr id="12" name="Rectangle 4">
              <a:extLst>
                <a:ext uri="{FF2B5EF4-FFF2-40B4-BE49-F238E27FC236}">
                  <a16:creationId xmlns:a16="http://schemas.microsoft.com/office/drawing/2014/main" id="{5F49E67F-D4FA-9D48-96BC-59AE946ECD15}"/>
                </a:ext>
              </a:extLst>
            </p:cNvPr>
            <p:cNvSpPr/>
            <p:nvPr/>
          </p:nvSpPr>
          <p:spPr bwMode="gray">
            <a:xfrm>
              <a:off x="328396" y="5313940"/>
              <a:ext cx="720000" cy="720000"/>
            </a:xfrm>
            <a:prstGeom prst="rect">
              <a:avLst/>
            </a:prstGeom>
            <a:solidFill>
              <a:srgbClr val="E55A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pPr>
              <a:endParaRPr lang="en-US" sz="1000">
                <a:solidFill>
                  <a:schemeClr val="tx1"/>
                </a:solidFill>
                <a:latin typeface="Arial" pitchFamily="34" charset="0"/>
                <a:cs typeface="Arial" pitchFamily="34" charset="0"/>
              </a:endParaRPr>
            </a:p>
          </p:txBody>
        </p:sp>
        <p:sp>
          <p:nvSpPr>
            <p:cNvPr id="13" name="Freeform 76">
              <a:extLst>
                <a:ext uri="{FF2B5EF4-FFF2-40B4-BE49-F238E27FC236}">
                  <a16:creationId xmlns:a16="http://schemas.microsoft.com/office/drawing/2014/main" id="{187E70E6-AF3F-2549-908E-DF4BA61040AA}"/>
                </a:ext>
              </a:extLst>
            </p:cNvPr>
            <p:cNvSpPr>
              <a:spLocks noChangeAspect="1" noEditPoints="1"/>
            </p:cNvSpPr>
            <p:nvPr/>
          </p:nvSpPr>
          <p:spPr bwMode="auto">
            <a:xfrm>
              <a:off x="456202" y="5509222"/>
              <a:ext cx="504000" cy="329436"/>
            </a:xfrm>
            <a:custGeom>
              <a:avLst/>
              <a:gdLst>
                <a:gd name="T0" fmla="*/ 0 w 2080"/>
                <a:gd name="T1" fmla="*/ 65 h 1360"/>
                <a:gd name="T2" fmla="*/ 0 w 2080"/>
                <a:gd name="T3" fmla="*/ 0 h 1360"/>
                <a:gd name="T4" fmla="*/ 2080 w 2080"/>
                <a:gd name="T5" fmla="*/ 0 h 1360"/>
                <a:gd name="T6" fmla="*/ 2080 w 2080"/>
                <a:gd name="T7" fmla="*/ 65 h 1360"/>
                <a:gd name="T8" fmla="*/ 1089 w 2080"/>
                <a:gd name="T9" fmla="*/ 862 h 1360"/>
                <a:gd name="T10" fmla="*/ 991 w 2080"/>
                <a:gd name="T11" fmla="*/ 862 h 1360"/>
                <a:gd name="T12" fmla="*/ 0 w 2080"/>
                <a:gd name="T13" fmla="*/ 65 h 1360"/>
                <a:gd name="T14" fmla="*/ 1139 w 2080"/>
                <a:gd name="T15" fmla="*/ 924 h 1360"/>
                <a:gd name="T16" fmla="*/ 1282 w 2080"/>
                <a:gd name="T17" fmla="*/ 810 h 1360"/>
                <a:gd name="T18" fmla="*/ 2076 w 2080"/>
                <a:gd name="T19" fmla="*/ 1360 h 1360"/>
                <a:gd name="T20" fmla="*/ 4 w 2080"/>
                <a:gd name="T21" fmla="*/ 1360 h 1360"/>
                <a:gd name="T22" fmla="*/ 798 w 2080"/>
                <a:gd name="T23" fmla="*/ 810 h 1360"/>
                <a:gd name="T24" fmla="*/ 941 w 2080"/>
                <a:gd name="T25" fmla="*/ 924 h 1360"/>
                <a:gd name="T26" fmla="*/ 1139 w 2080"/>
                <a:gd name="T27" fmla="*/ 924 h 1360"/>
                <a:gd name="T28" fmla="*/ 2 w 2080"/>
                <a:gd name="T29" fmla="*/ 137 h 1360"/>
                <a:gd name="T30" fmla="*/ 42 w 2080"/>
                <a:gd name="T31" fmla="*/ 201 h 1360"/>
                <a:gd name="T32" fmla="*/ 734 w 2080"/>
                <a:gd name="T33" fmla="*/ 758 h 1360"/>
                <a:gd name="T34" fmla="*/ 0 w 2080"/>
                <a:gd name="T35" fmla="*/ 1266 h 1360"/>
                <a:gd name="T36" fmla="*/ 0 w 2080"/>
                <a:gd name="T37" fmla="*/ 135 h 1360"/>
                <a:gd name="T38" fmla="*/ 2 w 2080"/>
                <a:gd name="T39" fmla="*/ 137 h 1360"/>
                <a:gd name="T40" fmla="*/ 2080 w 2080"/>
                <a:gd name="T41" fmla="*/ 136 h 1360"/>
                <a:gd name="T42" fmla="*/ 2080 w 2080"/>
                <a:gd name="T43" fmla="*/ 1265 h 1360"/>
                <a:gd name="T44" fmla="*/ 1346 w 2080"/>
                <a:gd name="T45" fmla="*/ 758 h 1360"/>
                <a:gd name="T46" fmla="*/ 2038 w 2080"/>
                <a:gd name="T47" fmla="*/ 201 h 1360"/>
                <a:gd name="T48" fmla="*/ 2080 w 2080"/>
                <a:gd name="T49" fmla="*/ 136 h 1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080" h="1360">
                  <a:moveTo>
                    <a:pt x="0" y="65"/>
                  </a:moveTo>
                  <a:cubicBezTo>
                    <a:pt x="0" y="0"/>
                    <a:pt x="0" y="0"/>
                    <a:pt x="0" y="0"/>
                  </a:cubicBezTo>
                  <a:cubicBezTo>
                    <a:pt x="2080" y="0"/>
                    <a:pt x="2080" y="0"/>
                    <a:pt x="2080" y="0"/>
                  </a:cubicBezTo>
                  <a:cubicBezTo>
                    <a:pt x="2080" y="65"/>
                    <a:pt x="2080" y="65"/>
                    <a:pt x="2080" y="65"/>
                  </a:cubicBezTo>
                  <a:cubicBezTo>
                    <a:pt x="1089" y="862"/>
                    <a:pt x="1089" y="862"/>
                    <a:pt x="1089" y="862"/>
                  </a:cubicBezTo>
                  <a:cubicBezTo>
                    <a:pt x="1060" y="886"/>
                    <a:pt x="1020" y="886"/>
                    <a:pt x="991" y="862"/>
                  </a:cubicBezTo>
                  <a:lnTo>
                    <a:pt x="0" y="65"/>
                  </a:lnTo>
                  <a:close/>
                  <a:moveTo>
                    <a:pt x="1139" y="924"/>
                  </a:moveTo>
                  <a:cubicBezTo>
                    <a:pt x="1282" y="810"/>
                    <a:pt x="1282" y="810"/>
                    <a:pt x="1282" y="810"/>
                  </a:cubicBezTo>
                  <a:cubicBezTo>
                    <a:pt x="2076" y="1360"/>
                    <a:pt x="2076" y="1360"/>
                    <a:pt x="2076" y="1360"/>
                  </a:cubicBezTo>
                  <a:cubicBezTo>
                    <a:pt x="4" y="1360"/>
                    <a:pt x="4" y="1360"/>
                    <a:pt x="4" y="1360"/>
                  </a:cubicBezTo>
                  <a:cubicBezTo>
                    <a:pt x="798" y="810"/>
                    <a:pt x="798" y="810"/>
                    <a:pt x="798" y="810"/>
                  </a:cubicBezTo>
                  <a:cubicBezTo>
                    <a:pt x="941" y="924"/>
                    <a:pt x="941" y="924"/>
                    <a:pt x="941" y="924"/>
                  </a:cubicBezTo>
                  <a:cubicBezTo>
                    <a:pt x="1000" y="972"/>
                    <a:pt x="1080" y="972"/>
                    <a:pt x="1139" y="924"/>
                  </a:cubicBezTo>
                  <a:close/>
                  <a:moveTo>
                    <a:pt x="2" y="137"/>
                  </a:moveTo>
                  <a:cubicBezTo>
                    <a:pt x="8" y="163"/>
                    <a:pt x="22" y="185"/>
                    <a:pt x="42" y="201"/>
                  </a:cubicBezTo>
                  <a:cubicBezTo>
                    <a:pt x="734" y="758"/>
                    <a:pt x="734" y="758"/>
                    <a:pt x="734" y="758"/>
                  </a:cubicBezTo>
                  <a:cubicBezTo>
                    <a:pt x="0" y="1266"/>
                    <a:pt x="0" y="1266"/>
                    <a:pt x="0" y="1266"/>
                  </a:cubicBezTo>
                  <a:cubicBezTo>
                    <a:pt x="0" y="135"/>
                    <a:pt x="0" y="135"/>
                    <a:pt x="0" y="135"/>
                  </a:cubicBezTo>
                  <a:lnTo>
                    <a:pt x="2" y="137"/>
                  </a:lnTo>
                  <a:close/>
                  <a:moveTo>
                    <a:pt x="2080" y="136"/>
                  </a:moveTo>
                  <a:cubicBezTo>
                    <a:pt x="2080" y="1265"/>
                    <a:pt x="2080" y="1265"/>
                    <a:pt x="2080" y="1265"/>
                  </a:cubicBezTo>
                  <a:cubicBezTo>
                    <a:pt x="1346" y="758"/>
                    <a:pt x="1346" y="758"/>
                    <a:pt x="1346" y="758"/>
                  </a:cubicBezTo>
                  <a:cubicBezTo>
                    <a:pt x="2038" y="201"/>
                    <a:pt x="2038" y="201"/>
                    <a:pt x="2038" y="201"/>
                  </a:cubicBezTo>
                  <a:cubicBezTo>
                    <a:pt x="2060" y="182"/>
                    <a:pt x="2072" y="162"/>
                    <a:pt x="2080" y="13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000"/>
            </a:p>
          </p:txBody>
        </p:sp>
      </p:grpSp>
      <p:grpSp>
        <p:nvGrpSpPr>
          <p:cNvPr id="14" name="Gruppieren 2">
            <a:extLst>
              <a:ext uri="{FF2B5EF4-FFF2-40B4-BE49-F238E27FC236}">
                <a16:creationId xmlns:a16="http://schemas.microsoft.com/office/drawing/2014/main" id="{BE697CE9-EBDE-6B4A-BE70-582D92A8A831}"/>
              </a:ext>
            </a:extLst>
          </p:cNvPr>
          <p:cNvGrpSpPr/>
          <p:nvPr/>
        </p:nvGrpSpPr>
        <p:grpSpPr>
          <a:xfrm>
            <a:off x="8701917" y="2868319"/>
            <a:ext cx="171180" cy="171180"/>
            <a:chOff x="3392092" y="1841122"/>
            <a:chExt cx="646508" cy="646508"/>
          </a:xfrm>
        </p:grpSpPr>
        <p:sp>
          <p:nvSpPr>
            <p:cNvPr id="15" name="Rechteck 14">
              <a:extLst>
                <a:ext uri="{FF2B5EF4-FFF2-40B4-BE49-F238E27FC236}">
                  <a16:creationId xmlns:a16="http://schemas.microsoft.com/office/drawing/2014/main" id="{E142A731-19B7-C34D-9534-9E05108F895F}"/>
                </a:ext>
              </a:extLst>
            </p:cNvPr>
            <p:cNvSpPr>
              <a:spLocks noChangeAspect="1"/>
            </p:cNvSpPr>
            <p:nvPr/>
          </p:nvSpPr>
          <p:spPr bwMode="gray">
            <a:xfrm>
              <a:off x="3392092" y="1841122"/>
              <a:ext cx="646508" cy="646508"/>
            </a:xfrm>
            <a:prstGeom prst="rect">
              <a:avLst/>
            </a:prstGeom>
            <a:solidFill>
              <a:srgbClr val="E55A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pPr>
              <a:endParaRPr lang="en-US" sz="1000">
                <a:solidFill>
                  <a:schemeClr val="tx1"/>
                </a:solidFill>
                <a:latin typeface="Arial" pitchFamily="34" charset="0"/>
                <a:cs typeface="Arial" pitchFamily="34" charset="0"/>
              </a:endParaRPr>
            </a:p>
          </p:txBody>
        </p:sp>
        <p:sp>
          <p:nvSpPr>
            <p:cNvPr id="16" name="Freeform 15">
              <a:extLst>
                <a:ext uri="{FF2B5EF4-FFF2-40B4-BE49-F238E27FC236}">
                  <a16:creationId xmlns:a16="http://schemas.microsoft.com/office/drawing/2014/main" id="{F97E84AE-4AD9-4B44-9AA1-F797FC373809}"/>
                </a:ext>
              </a:extLst>
            </p:cNvPr>
            <p:cNvSpPr>
              <a:spLocks noChangeAspect="1"/>
            </p:cNvSpPr>
            <p:nvPr/>
          </p:nvSpPr>
          <p:spPr bwMode="auto">
            <a:xfrm>
              <a:off x="3546638" y="1970424"/>
              <a:ext cx="337415" cy="387905"/>
            </a:xfrm>
            <a:custGeom>
              <a:avLst/>
              <a:gdLst>
                <a:gd name="T0" fmla="*/ 573 w 1624"/>
                <a:gd name="T1" fmla="*/ 1257 h 1867"/>
                <a:gd name="T2" fmla="*/ 662 w 1624"/>
                <a:gd name="T3" fmla="*/ 1288 h 1867"/>
                <a:gd name="T4" fmla="*/ 938 w 1624"/>
                <a:gd name="T5" fmla="*/ 1051 h 1867"/>
                <a:gd name="T6" fmla="*/ 1106 w 1624"/>
                <a:gd name="T7" fmla="*/ 731 h 1867"/>
                <a:gd name="T8" fmla="*/ 1059 w 1624"/>
                <a:gd name="T9" fmla="*/ 645 h 1867"/>
                <a:gd name="T10" fmla="*/ 1001 w 1624"/>
                <a:gd name="T11" fmla="*/ 613 h 1867"/>
                <a:gd name="T12" fmla="*/ 924 w 1624"/>
                <a:gd name="T13" fmla="*/ 432 h 1867"/>
                <a:gd name="T14" fmla="*/ 1114 w 1624"/>
                <a:gd name="T15" fmla="*/ 81 h 1867"/>
                <a:gd name="T16" fmla="*/ 1287 w 1624"/>
                <a:gd name="T17" fmla="*/ 35 h 1867"/>
                <a:gd name="T18" fmla="*/ 1350 w 1624"/>
                <a:gd name="T19" fmla="*/ 69 h 1867"/>
                <a:gd name="T20" fmla="*/ 1527 w 1624"/>
                <a:gd name="T21" fmla="*/ 235 h 1867"/>
                <a:gd name="T22" fmla="*/ 1583 w 1624"/>
                <a:gd name="T23" fmla="*/ 555 h 1867"/>
                <a:gd name="T24" fmla="*/ 1172 w 1624"/>
                <a:gd name="T25" fmla="*/ 1253 h 1867"/>
                <a:gd name="T26" fmla="*/ 586 w 1624"/>
                <a:gd name="T27" fmla="*/ 1803 h 1867"/>
                <a:gd name="T28" fmla="*/ 269 w 1624"/>
                <a:gd name="T29" fmla="*/ 1807 h 1867"/>
                <a:gd name="T30" fmla="*/ 33 w 1624"/>
                <a:gd name="T31" fmla="*/ 1602 h 1867"/>
                <a:gd name="T32" fmla="*/ 2 w 1624"/>
                <a:gd name="T33" fmla="*/ 1508 h 1867"/>
                <a:gd name="T34" fmla="*/ 45 w 1624"/>
                <a:gd name="T35" fmla="*/ 1421 h 1867"/>
                <a:gd name="T36" fmla="*/ 346 w 1624"/>
                <a:gd name="T37" fmla="*/ 1158 h 1867"/>
                <a:gd name="T38" fmla="*/ 448 w 1624"/>
                <a:gd name="T39" fmla="*/ 1145 h 1867"/>
                <a:gd name="T40" fmla="*/ 573 w 1624"/>
                <a:gd name="T41" fmla="*/ 1257 h 18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24" h="1867">
                  <a:moveTo>
                    <a:pt x="573" y="1257"/>
                  </a:moveTo>
                  <a:cubicBezTo>
                    <a:pt x="592" y="1282"/>
                    <a:pt x="630" y="1303"/>
                    <a:pt x="662" y="1288"/>
                  </a:cubicBezTo>
                  <a:cubicBezTo>
                    <a:pt x="753" y="1245"/>
                    <a:pt x="854" y="1156"/>
                    <a:pt x="938" y="1051"/>
                  </a:cubicBezTo>
                  <a:cubicBezTo>
                    <a:pt x="1020" y="948"/>
                    <a:pt x="1084" y="831"/>
                    <a:pt x="1106" y="731"/>
                  </a:cubicBezTo>
                  <a:cubicBezTo>
                    <a:pt x="1113" y="696"/>
                    <a:pt x="1089" y="661"/>
                    <a:pt x="1059" y="645"/>
                  </a:cubicBezTo>
                  <a:cubicBezTo>
                    <a:pt x="1001" y="613"/>
                    <a:pt x="1001" y="613"/>
                    <a:pt x="1001" y="613"/>
                  </a:cubicBezTo>
                  <a:cubicBezTo>
                    <a:pt x="942" y="580"/>
                    <a:pt x="888" y="499"/>
                    <a:pt x="924" y="432"/>
                  </a:cubicBezTo>
                  <a:cubicBezTo>
                    <a:pt x="1114" y="81"/>
                    <a:pt x="1114" y="81"/>
                    <a:pt x="1114" y="81"/>
                  </a:cubicBezTo>
                  <a:cubicBezTo>
                    <a:pt x="1150" y="16"/>
                    <a:pt x="1224" y="0"/>
                    <a:pt x="1287" y="35"/>
                  </a:cubicBezTo>
                  <a:cubicBezTo>
                    <a:pt x="1350" y="69"/>
                    <a:pt x="1350" y="69"/>
                    <a:pt x="1350" y="69"/>
                  </a:cubicBezTo>
                  <a:cubicBezTo>
                    <a:pt x="1415" y="105"/>
                    <a:pt x="1479" y="165"/>
                    <a:pt x="1527" y="235"/>
                  </a:cubicBezTo>
                  <a:cubicBezTo>
                    <a:pt x="1593" y="332"/>
                    <a:pt x="1624" y="442"/>
                    <a:pt x="1583" y="555"/>
                  </a:cubicBezTo>
                  <a:cubicBezTo>
                    <a:pt x="1500" y="781"/>
                    <a:pt x="1351" y="1030"/>
                    <a:pt x="1172" y="1253"/>
                  </a:cubicBezTo>
                  <a:cubicBezTo>
                    <a:pt x="994" y="1477"/>
                    <a:pt x="786" y="1676"/>
                    <a:pt x="586" y="1803"/>
                  </a:cubicBezTo>
                  <a:cubicBezTo>
                    <a:pt x="486" y="1867"/>
                    <a:pt x="375" y="1856"/>
                    <a:pt x="269" y="1807"/>
                  </a:cubicBezTo>
                  <a:cubicBezTo>
                    <a:pt x="157" y="1755"/>
                    <a:pt x="106" y="1695"/>
                    <a:pt x="33" y="1602"/>
                  </a:cubicBezTo>
                  <a:cubicBezTo>
                    <a:pt x="11" y="1573"/>
                    <a:pt x="0" y="1540"/>
                    <a:pt x="2" y="1508"/>
                  </a:cubicBezTo>
                  <a:cubicBezTo>
                    <a:pt x="4" y="1475"/>
                    <a:pt x="18" y="1444"/>
                    <a:pt x="45" y="1421"/>
                  </a:cubicBezTo>
                  <a:cubicBezTo>
                    <a:pt x="70" y="1399"/>
                    <a:pt x="346" y="1158"/>
                    <a:pt x="346" y="1158"/>
                  </a:cubicBezTo>
                  <a:cubicBezTo>
                    <a:pt x="376" y="1134"/>
                    <a:pt x="413" y="1133"/>
                    <a:pt x="448" y="1145"/>
                  </a:cubicBezTo>
                  <a:cubicBezTo>
                    <a:pt x="510" y="1166"/>
                    <a:pt x="536" y="1210"/>
                    <a:pt x="573" y="1257"/>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351"/>
            </a:p>
          </p:txBody>
        </p:sp>
      </p:grpSp>
      <p:grpSp>
        <p:nvGrpSpPr>
          <p:cNvPr id="17" name="Group 3">
            <a:extLst>
              <a:ext uri="{FF2B5EF4-FFF2-40B4-BE49-F238E27FC236}">
                <a16:creationId xmlns:a16="http://schemas.microsoft.com/office/drawing/2014/main" id="{7104BADD-8CD1-6F4A-B894-869C3BDB3EEB}"/>
              </a:ext>
            </a:extLst>
          </p:cNvPr>
          <p:cNvGrpSpPr>
            <a:grpSpLocks noChangeAspect="1"/>
          </p:cNvGrpSpPr>
          <p:nvPr>
            <p:custDataLst>
              <p:tags r:id="rId2"/>
            </p:custDataLst>
          </p:nvPr>
        </p:nvGrpSpPr>
        <p:grpSpPr>
          <a:xfrm>
            <a:off x="8701918" y="3153207"/>
            <a:ext cx="171180" cy="171180"/>
            <a:chOff x="328396" y="5313940"/>
            <a:chExt cx="720000" cy="720000"/>
          </a:xfrm>
        </p:grpSpPr>
        <p:sp>
          <p:nvSpPr>
            <p:cNvPr id="18" name="Rectangle 4">
              <a:extLst>
                <a:ext uri="{FF2B5EF4-FFF2-40B4-BE49-F238E27FC236}">
                  <a16:creationId xmlns:a16="http://schemas.microsoft.com/office/drawing/2014/main" id="{74BE3D5F-1445-6E40-8B49-72E15568383B}"/>
                </a:ext>
              </a:extLst>
            </p:cNvPr>
            <p:cNvSpPr/>
            <p:nvPr/>
          </p:nvSpPr>
          <p:spPr bwMode="gray">
            <a:xfrm>
              <a:off x="328396" y="5313940"/>
              <a:ext cx="720000" cy="720000"/>
            </a:xfrm>
            <a:prstGeom prst="rect">
              <a:avLst/>
            </a:prstGeom>
            <a:solidFill>
              <a:srgbClr val="E55A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pPr>
              <a:endParaRPr lang="en-US" sz="1000">
                <a:solidFill>
                  <a:schemeClr val="tx1"/>
                </a:solidFill>
                <a:latin typeface="Arial" pitchFamily="34" charset="0"/>
                <a:cs typeface="Arial" pitchFamily="34" charset="0"/>
              </a:endParaRPr>
            </a:p>
          </p:txBody>
        </p:sp>
        <p:sp>
          <p:nvSpPr>
            <p:cNvPr id="19" name="Freeform 76">
              <a:extLst>
                <a:ext uri="{FF2B5EF4-FFF2-40B4-BE49-F238E27FC236}">
                  <a16:creationId xmlns:a16="http://schemas.microsoft.com/office/drawing/2014/main" id="{55DB3C95-7D0C-D141-901E-96D692794D2B}"/>
                </a:ext>
              </a:extLst>
            </p:cNvPr>
            <p:cNvSpPr>
              <a:spLocks noChangeAspect="1" noEditPoints="1"/>
            </p:cNvSpPr>
            <p:nvPr/>
          </p:nvSpPr>
          <p:spPr bwMode="auto">
            <a:xfrm>
              <a:off x="456202" y="5509222"/>
              <a:ext cx="504000" cy="329436"/>
            </a:xfrm>
            <a:custGeom>
              <a:avLst/>
              <a:gdLst>
                <a:gd name="T0" fmla="*/ 0 w 2080"/>
                <a:gd name="T1" fmla="*/ 65 h 1360"/>
                <a:gd name="T2" fmla="*/ 0 w 2080"/>
                <a:gd name="T3" fmla="*/ 0 h 1360"/>
                <a:gd name="T4" fmla="*/ 2080 w 2080"/>
                <a:gd name="T5" fmla="*/ 0 h 1360"/>
                <a:gd name="T6" fmla="*/ 2080 w 2080"/>
                <a:gd name="T7" fmla="*/ 65 h 1360"/>
                <a:gd name="T8" fmla="*/ 1089 w 2080"/>
                <a:gd name="T9" fmla="*/ 862 h 1360"/>
                <a:gd name="T10" fmla="*/ 991 w 2080"/>
                <a:gd name="T11" fmla="*/ 862 h 1360"/>
                <a:gd name="T12" fmla="*/ 0 w 2080"/>
                <a:gd name="T13" fmla="*/ 65 h 1360"/>
                <a:gd name="T14" fmla="*/ 1139 w 2080"/>
                <a:gd name="T15" fmla="*/ 924 h 1360"/>
                <a:gd name="T16" fmla="*/ 1282 w 2080"/>
                <a:gd name="T17" fmla="*/ 810 h 1360"/>
                <a:gd name="T18" fmla="*/ 2076 w 2080"/>
                <a:gd name="T19" fmla="*/ 1360 h 1360"/>
                <a:gd name="T20" fmla="*/ 4 w 2080"/>
                <a:gd name="T21" fmla="*/ 1360 h 1360"/>
                <a:gd name="T22" fmla="*/ 798 w 2080"/>
                <a:gd name="T23" fmla="*/ 810 h 1360"/>
                <a:gd name="T24" fmla="*/ 941 w 2080"/>
                <a:gd name="T25" fmla="*/ 924 h 1360"/>
                <a:gd name="T26" fmla="*/ 1139 w 2080"/>
                <a:gd name="T27" fmla="*/ 924 h 1360"/>
                <a:gd name="T28" fmla="*/ 2 w 2080"/>
                <a:gd name="T29" fmla="*/ 137 h 1360"/>
                <a:gd name="T30" fmla="*/ 42 w 2080"/>
                <a:gd name="T31" fmla="*/ 201 h 1360"/>
                <a:gd name="T32" fmla="*/ 734 w 2080"/>
                <a:gd name="T33" fmla="*/ 758 h 1360"/>
                <a:gd name="T34" fmla="*/ 0 w 2080"/>
                <a:gd name="T35" fmla="*/ 1266 h 1360"/>
                <a:gd name="T36" fmla="*/ 0 w 2080"/>
                <a:gd name="T37" fmla="*/ 135 h 1360"/>
                <a:gd name="T38" fmla="*/ 2 w 2080"/>
                <a:gd name="T39" fmla="*/ 137 h 1360"/>
                <a:gd name="T40" fmla="*/ 2080 w 2080"/>
                <a:gd name="T41" fmla="*/ 136 h 1360"/>
                <a:gd name="T42" fmla="*/ 2080 w 2080"/>
                <a:gd name="T43" fmla="*/ 1265 h 1360"/>
                <a:gd name="T44" fmla="*/ 1346 w 2080"/>
                <a:gd name="T45" fmla="*/ 758 h 1360"/>
                <a:gd name="T46" fmla="*/ 2038 w 2080"/>
                <a:gd name="T47" fmla="*/ 201 h 1360"/>
                <a:gd name="T48" fmla="*/ 2080 w 2080"/>
                <a:gd name="T49" fmla="*/ 136 h 1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080" h="1360">
                  <a:moveTo>
                    <a:pt x="0" y="65"/>
                  </a:moveTo>
                  <a:cubicBezTo>
                    <a:pt x="0" y="0"/>
                    <a:pt x="0" y="0"/>
                    <a:pt x="0" y="0"/>
                  </a:cubicBezTo>
                  <a:cubicBezTo>
                    <a:pt x="2080" y="0"/>
                    <a:pt x="2080" y="0"/>
                    <a:pt x="2080" y="0"/>
                  </a:cubicBezTo>
                  <a:cubicBezTo>
                    <a:pt x="2080" y="65"/>
                    <a:pt x="2080" y="65"/>
                    <a:pt x="2080" y="65"/>
                  </a:cubicBezTo>
                  <a:cubicBezTo>
                    <a:pt x="1089" y="862"/>
                    <a:pt x="1089" y="862"/>
                    <a:pt x="1089" y="862"/>
                  </a:cubicBezTo>
                  <a:cubicBezTo>
                    <a:pt x="1060" y="886"/>
                    <a:pt x="1020" y="886"/>
                    <a:pt x="991" y="862"/>
                  </a:cubicBezTo>
                  <a:lnTo>
                    <a:pt x="0" y="65"/>
                  </a:lnTo>
                  <a:close/>
                  <a:moveTo>
                    <a:pt x="1139" y="924"/>
                  </a:moveTo>
                  <a:cubicBezTo>
                    <a:pt x="1282" y="810"/>
                    <a:pt x="1282" y="810"/>
                    <a:pt x="1282" y="810"/>
                  </a:cubicBezTo>
                  <a:cubicBezTo>
                    <a:pt x="2076" y="1360"/>
                    <a:pt x="2076" y="1360"/>
                    <a:pt x="2076" y="1360"/>
                  </a:cubicBezTo>
                  <a:cubicBezTo>
                    <a:pt x="4" y="1360"/>
                    <a:pt x="4" y="1360"/>
                    <a:pt x="4" y="1360"/>
                  </a:cubicBezTo>
                  <a:cubicBezTo>
                    <a:pt x="798" y="810"/>
                    <a:pt x="798" y="810"/>
                    <a:pt x="798" y="810"/>
                  </a:cubicBezTo>
                  <a:cubicBezTo>
                    <a:pt x="941" y="924"/>
                    <a:pt x="941" y="924"/>
                    <a:pt x="941" y="924"/>
                  </a:cubicBezTo>
                  <a:cubicBezTo>
                    <a:pt x="1000" y="972"/>
                    <a:pt x="1080" y="972"/>
                    <a:pt x="1139" y="924"/>
                  </a:cubicBezTo>
                  <a:close/>
                  <a:moveTo>
                    <a:pt x="2" y="137"/>
                  </a:moveTo>
                  <a:cubicBezTo>
                    <a:pt x="8" y="163"/>
                    <a:pt x="22" y="185"/>
                    <a:pt x="42" y="201"/>
                  </a:cubicBezTo>
                  <a:cubicBezTo>
                    <a:pt x="734" y="758"/>
                    <a:pt x="734" y="758"/>
                    <a:pt x="734" y="758"/>
                  </a:cubicBezTo>
                  <a:cubicBezTo>
                    <a:pt x="0" y="1266"/>
                    <a:pt x="0" y="1266"/>
                    <a:pt x="0" y="1266"/>
                  </a:cubicBezTo>
                  <a:cubicBezTo>
                    <a:pt x="0" y="135"/>
                    <a:pt x="0" y="135"/>
                    <a:pt x="0" y="135"/>
                  </a:cubicBezTo>
                  <a:lnTo>
                    <a:pt x="2" y="137"/>
                  </a:lnTo>
                  <a:close/>
                  <a:moveTo>
                    <a:pt x="2080" y="136"/>
                  </a:moveTo>
                  <a:cubicBezTo>
                    <a:pt x="2080" y="1265"/>
                    <a:pt x="2080" y="1265"/>
                    <a:pt x="2080" y="1265"/>
                  </a:cubicBezTo>
                  <a:cubicBezTo>
                    <a:pt x="1346" y="758"/>
                    <a:pt x="1346" y="758"/>
                    <a:pt x="1346" y="758"/>
                  </a:cubicBezTo>
                  <a:cubicBezTo>
                    <a:pt x="2038" y="201"/>
                    <a:pt x="2038" y="201"/>
                    <a:pt x="2038" y="201"/>
                  </a:cubicBezTo>
                  <a:cubicBezTo>
                    <a:pt x="2060" y="182"/>
                    <a:pt x="2072" y="162"/>
                    <a:pt x="2080" y="13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000"/>
            </a:p>
          </p:txBody>
        </p:sp>
      </p:grpSp>
      <p:cxnSp>
        <p:nvCxnSpPr>
          <p:cNvPr id="20" name="Straight Connector 19"/>
          <p:cNvCxnSpPr/>
          <p:nvPr/>
        </p:nvCxnSpPr>
        <p:spPr>
          <a:xfrm>
            <a:off x="2371725" y="3478213"/>
            <a:ext cx="3888000" cy="0"/>
          </a:xfrm>
          <a:prstGeom prst="line">
            <a:avLst/>
          </a:prstGeom>
          <a:ln w="6350">
            <a:solidFill>
              <a:schemeClr val="tx2"/>
            </a:solidFill>
            <a:prstDash val="dash"/>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p:nvCxnSpPr>
        <p:spPr>
          <a:xfrm>
            <a:off x="7287766" y="3478213"/>
            <a:ext cx="3888000" cy="0"/>
          </a:xfrm>
          <a:prstGeom prst="line">
            <a:avLst/>
          </a:prstGeom>
          <a:ln w="6350">
            <a:solidFill>
              <a:schemeClr val="tx2"/>
            </a:solidFill>
            <a:prstDash val="dash"/>
          </a:ln>
        </p:spPr>
        <p:style>
          <a:lnRef idx="1">
            <a:schemeClr val="accent1"/>
          </a:lnRef>
          <a:fillRef idx="0">
            <a:schemeClr val="accent1"/>
          </a:fillRef>
          <a:effectRef idx="0">
            <a:schemeClr val="accent1"/>
          </a:effectRef>
          <a:fontRef idx="minor">
            <a:schemeClr val="tx1"/>
          </a:fontRef>
        </p:style>
      </p:cxnSp>
      <p:sp>
        <p:nvSpPr>
          <p:cNvPr id="4" name="Picture Placeholder 3"/>
          <p:cNvSpPr>
            <a:spLocks noGrp="1"/>
          </p:cNvSpPr>
          <p:nvPr>
            <p:ph type="pic" sz="quarter" idx="17" hasCustomPrompt="1"/>
          </p:nvPr>
        </p:nvSpPr>
        <p:spPr>
          <a:xfrm>
            <a:off x="2355914" y="1808984"/>
            <a:ext cx="1188677" cy="1547840"/>
          </a:xfrm>
          <a:solidFill>
            <a:srgbClr val="D9DADB"/>
          </a:solidFill>
        </p:spPr>
        <p:txBody>
          <a:bodyPr/>
          <a:lstStyle>
            <a:lvl1pPr marL="0" indent="0">
              <a:buNone/>
              <a:defRPr sz="1400"/>
            </a:lvl1pPr>
          </a:lstStyle>
          <a:p>
            <a:r>
              <a:rPr lang="en-US"/>
              <a:t>Insert picture</a:t>
            </a:r>
          </a:p>
        </p:txBody>
      </p:sp>
      <p:sp>
        <p:nvSpPr>
          <p:cNvPr id="25" name="Picture Placeholder 3"/>
          <p:cNvSpPr>
            <a:spLocks noGrp="1"/>
          </p:cNvSpPr>
          <p:nvPr>
            <p:ph type="pic" sz="quarter" idx="18" hasCustomPrompt="1"/>
          </p:nvPr>
        </p:nvSpPr>
        <p:spPr>
          <a:xfrm>
            <a:off x="7287766" y="1808984"/>
            <a:ext cx="1188677" cy="1547840"/>
          </a:xfrm>
          <a:solidFill>
            <a:srgbClr val="D9DADB"/>
          </a:solidFill>
        </p:spPr>
        <p:txBody>
          <a:bodyPr/>
          <a:lstStyle>
            <a:lvl1pPr marL="0" indent="0">
              <a:buNone/>
              <a:defRPr sz="1400"/>
            </a:lvl1pPr>
          </a:lstStyle>
          <a:p>
            <a:r>
              <a:rPr lang="en-US"/>
              <a:t>Insert picture</a:t>
            </a:r>
          </a:p>
        </p:txBody>
      </p:sp>
      <p:sp>
        <p:nvSpPr>
          <p:cNvPr id="6" name="Text Placeholder 5"/>
          <p:cNvSpPr>
            <a:spLocks noGrp="1"/>
          </p:cNvSpPr>
          <p:nvPr>
            <p:ph type="body" sz="quarter" idx="19" hasCustomPrompt="1"/>
          </p:nvPr>
        </p:nvSpPr>
        <p:spPr>
          <a:xfrm>
            <a:off x="3770065" y="1808521"/>
            <a:ext cx="2463190" cy="192360"/>
          </a:xfrm>
        </p:spPr>
        <p:txBody>
          <a:bodyPr lIns="0" tIns="0" rIns="0" bIns="0" anchor="ctr" anchorCtr="0"/>
          <a:lstStyle>
            <a:lvl1pPr marL="0" indent="0" algn="l">
              <a:lnSpc>
                <a:spcPct val="100000"/>
              </a:lnSpc>
              <a:buNone/>
              <a:defRPr sz="100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Country</a:t>
            </a:r>
          </a:p>
        </p:txBody>
      </p:sp>
      <p:sp>
        <p:nvSpPr>
          <p:cNvPr id="26" name="Text Placeholder 5"/>
          <p:cNvSpPr>
            <a:spLocks noGrp="1"/>
          </p:cNvSpPr>
          <p:nvPr>
            <p:ph type="body" sz="quarter" idx="20" hasCustomPrompt="1"/>
          </p:nvPr>
        </p:nvSpPr>
        <p:spPr>
          <a:xfrm>
            <a:off x="3770065" y="2020337"/>
            <a:ext cx="2463190" cy="266182"/>
          </a:xfrm>
        </p:spPr>
        <p:txBody>
          <a:bodyPr lIns="0" tIns="0" rIns="0" bIns="0" anchor="b" anchorCtr="0"/>
          <a:lstStyle>
            <a:lvl1pPr marL="0" indent="0" algn="l">
              <a:lnSpc>
                <a:spcPct val="100000"/>
              </a:lnSpc>
              <a:buNone/>
              <a:defRPr sz="1400" b="1" baseline="0">
                <a:solidFill>
                  <a:schemeClr val="tx2"/>
                </a:solidFill>
              </a:defRPr>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Name, Surname</a:t>
            </a:r>
          </a:p>
        </p:txBody>
      </p:sp>
      <p:sp>
        <p:nvSpPr>
          <p:cNvPr id="27" name="Text Placeholder 5"/>
          <p:cNvSpPr>
            <a:spLocks noGrp="1"/>
          </p:cNvSpPr>
          <p:nvPr>
            <p:ph type="body" sz="quarter" idx="21" hasCustomPrompt="1"/>
          </p:nvPr>
        </p:nvSpPr>
        <p:spPr>
          <a:xfrm>
            <a:off x="3770065" y="2316912"/>
            <a:ext cx="2463190"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Job Position</a:t>
            </a:r>
          </a:p>
        </p:txBody>
      </p:sp>
      <p:sp>
        <p:nvSpPr>
          <p:cNvPr id="28" name="Text Placeholder 5"/>
          <p:cNvSpPr>
            <a:spLocks noGrp="1"/>
          </p:cNvSpPr>
          <p:nvPr>
            <p:ph type="body" sz="quarter" idx="22" hasCustomPrompt="1"/>
          </p:nvPr>
        </p:nvSpPr>
        <p:spPr>
          <a:xfrm>
            <a:off x="4014948" y="2845588"/>
            <a:ext cx="2218307"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Phone number</a:t>
            </a:r>
          </a:p>
        </p:txBody>
      </p:sp>
      <p:sp>
        <p:nvSpPr>
          <p:cNvPr id="29" name="Text Placeholder 5"/>
          <p:cNvSpPr>
            <a:spLocks noGrp="1"/>
          </p:cNvSpPr>
          <p:nvPr>
            <p:ph type="body" sz="quarter" idx="23" hasCustomPrompt="1"/>
          </p:nvPr>
        </p:nvSpPr>
        <p:spPr>
          <a:xfrm>
            <a:off x="4014948" y="3128395"/>
            <a:ext cx="2218307"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Email address</a:t>
            </a:r>
          </a:p>
        </p:txBody>
      </p:sp>
      <p:sp>
        <p:nvSpPr>
          <p:cNvPr id="30" name="Text Placeholder 5"/>
          <p:cNvSpPr>
            <a:spLocks noGrp="1"/>
          </p:cNvSpPr>
          <p:nvPr>
            <p:ph type="body" sz="quarter" idx="24" hasCustomPrompt="1"/>
          </p:nvPr>
        </p:nvSpPr>
        <p:spPr>
          <a:xfrm>
            <a:off x="8701917" y="1808521"/>
            <a:ext cx="2463190" cy="192360"/>
          </a:xfrm>
        </p:spPr>
        <p:txBody>
          <a:bodyPr lIns="0" tIns="0" rIns="0" bIns="0" anchor="ctr" anchorCtr="0"/>
          <a:lstStyle>
            <a:lvl1pPr marL="0" indent="0" algn="l">
              <a:lnSpc>
                <a:spcPct val="100000"/>
              </a:lnSpc>
              <a:buNone/>
              <a:defRPr sz="100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Country</a:t>
            </a:r>
          </a:p>
        </p:txBody>
      </p:sp>
      <p:sp>
        <p:nvSpPr>
          <p:cNvPr id="31" name="Text Placeholder 5"/>
          <p:cNvSpPr>
            <a:spLocks noGrp="1"/>
          </p:cNvSpPr>
          <p:nvPr>
            <p:ph type="body" sz="quarter" idx="25" hasCustomPrompt="1"/>
          </p:nvPr>
        </p:nvSpPr>
        <p:spPr>
          <a:xfrm>
            <a:off x="8701917" y="2020337"/>
            <a:ext cx="2463190" cy="266182"/>
          </a:xfrm>
        </p:spPr>
        <p:txBody>
          <a:bodyPr lIns="0" tIns="0" rIns="0" bIns="0" anchor="b" anchorCtr="0"/>
          <a:lstStyle>
            <a:lvl1pPr marL="0" indent="0" algn="l">
              <a:lnSpc>
                <a:spcPct val="100000"/>
              </a:lnSpc>
              <a:buNone/>
              <a:defRPr sz="1400" b="1" baseline="0">
                <a:solidFill>
                  <a:schemeClr val="tx2"/>
                </a:solidFill>
              </a:defRPr>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Name, Surname</a:t>
            </a:r>
          </a:p>
        </p:txBody>
      </p:sp>
      <p:sp>
        <p:nvSpPr>
          <p:cNvPr id="32" name="Text Placeholder 5"/>
          <p:cNvSpPr>
            <a:spLocks noGrp="1"/>
          </p:cNvSpPr>
          <p:nvPr>
            <p:ph type="body" sz="quarter" idx="26" hasCustomPrompt="1"/>
          </p:nvPr>
        </p:nvSpPr>
        <p:spPr>
          <a:xfrm>
            <a:off x="8701917" y="2316912"/>
            <a:ext cx="2463190"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Job Position</a:t>
            </a:r>
          </a:p>
        </p:txBody>
      </p:sp>
      <p:sp>
        <p:nvSpPr>
          <p:cNvPr id="33" name="Text Placeholder 5"/>
          <p:cNvSpPr>
            <a:spLocks noGrp="1"/>
          </p:cNvSpPr>
          <p:nvPr>
            <p:ph type="body" sz="quarter" idx="27" hasCustomPrompt="1"/>
          </p:nvPr>
        </p:nvSpPr>
        <p:spPr>
          <a:xfrm>
            <a:off x="8946800" y="2845588"/>
            <a:ext cx="2218307"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Phone number</a:t>
            </a:r>
          </a:p>
        </p:txBody>
      </p:sp>
      <p:sp>
        <p:nvSpPr>
          <p:cNvPr id="34" name="Text Placeholder 5"/>
          <p:cNvSpPr>
            <a:spLocks noGrp="1"/>
          </p:cNvSpPr>
          <p:nvPr>
            <p:ph type="body" sz="quarter" idx="28" hasCustomPrompt="1"/>
          </p:nvPr>
        </p:nvSpPr>
        <p:spPr>
          <a:xfrm>
            <a:off x="8946800" y="3128395"/>
            <a:ext cx="2218307"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Email address</a:t>
            </a:r>
          </a:p>
        </p:txBody>
      </p:sp>
      <p:grpSp>
        <p:nvGrpSpPr>
          <p:cNvPr id="35" name="Gruppieren 2">
            <a:extLst>
              <a:ext uri="{FF2B5EF4-FFF2-40B4-BE49-F238E27FC236}">
                <a16:creationId xmlns:a16="http://schemas.microsoft.com/office/drawing/2014/main" id="{BE697CE9-EBDE-6B4A-BE70-582D92A8A831}"/>
              </a:ext>
            </a:extLst>
          </p:cNvPr>
          <p:cNvGrpSpPr/>
          <p:nvPr/>
        </p:nvGrpSpPr>
        <p:grpSpPr>
          <a:xfrm>
            <a:off x="3770065" y="5045939"/>
            <a:ext cx="171180" cy="171180"/>
            <a:chOff x="3392092" y="1841122"/>
            <a:chExt cx="646508" cy="646508"/>
          </a:xfrm>
        </p:grpSpPr>
        <p:sp>
          <p:nvSpPr>
            <p:cNvPr id="36" name="Rechteck 14">
              <a:extLst>
                <a:ext uri="{FF2B5EF4-FFF2-40B4-BE49-F238E27FC236}">
                  <a16:creationId xmlns:a16="http://schemas.microsoft.com/office/drawing/2014/main" id="{E142A731-19B7-C34D-9534-9E05108F895F}"/>
                </a:ext>
              </a:extLst>
            </p:cNvPr>
            <p:cNvSpPr>
              <a:spLocks noChangeAspect="1"/>
            </p:cNvSpPr>
            <p:nvPr/>
          </p:nvSpPr>
          <p:spPr bwMode="gray">
            <a:xfrm>
              <a:off x="3392092" y="1841122"/>
              <a:ext cx="646508" cy="646508"/>
            </a:xfrm>
            <a:prstGeom prst="rect">
              <a:avLst/>
            </a:prstGeom>
            <a:solidFill>
              <a:srgbClr val="E55A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pPr>
              <a:endParaRPr lang="en-US" sz="1000">
                <a:solidFill>
                  <a:schemeClr val="tx1"/>
                </a:solidFill>
                <a:latin typeface="Arial" pitchFamily="34" charset="0"/>
                <a:cs typeface="Arial" pitchFamily="34" charset="0"/>
              </a:endParaRPr>
            </a:p>
          </p:txBody>
        </p:sp>
        <p:sp>
          <p:nvSpPr>
            <p:cNvPr id="37" name="Freeform 36">
              <a:extLst>
                <a:ext uri="{FF2B5EF4-FFF2-40B4-BE49-F238E27FC236}">
                  <a16:creationId xmlns:a16="http://schemas.microsoft.com/office/drawing/2014/main" id="{F97E84AE-4AD9-4B44-9AA1-F797FC373809}"/>
                </a:ext>
              </a:extLst>
            </p:cNvPr>
            <p:cNvSpPr>
              <a:spLocks noChangeAspect="1"/>
            </p:cNvSpPr>
            <p:nvPr/>
          </p:nvSpPr>
          <p:spPr bwMode="auto">
            <a:xfrm>
              <a:off x="3546638" y="1970424"/>
              <a:ext cx="337415" cy="387905"/>
            </a:xfrm>
            <a:custGeom>
              <a:avLst/>
              <a:gdLst>
                <a:gd name="T0" fmla="*/ 573 w 1624"/>
                <a:gd name="T1" fmla="*/ 1257 h 1867"/>
                <a:gd name="T2" fmla="*/ 662 w 1624"/>
                <a:gd name="T3" fmla="*/ 1288 h 1867"/>
                <a:gd name="T4" fmla="*/ 938 w 1624"/>
                <a:gd name="T5" fmla="*/ 1051 h 1867"/>
                <a:gd name="T6" fmla="*/ 1106 w 1624"/>
                <a:gd name="T7" fmla="*/ 731 h 1867"/>
                <a:gd name="T8" fmla="*/ 1059 w 1624"/>
                <a:gd name="T9" fmla="*/ 645 h 1867"/>
                <a:gd name="T10" fmla="*/ 1001 w 1624"/>
                <a:gd name="T11" fmla="*/ 613 h 1867"/>
                <a:gd name="T12" fmla="*/ 924 w 1624"/>
                <a:gd name="T13" fmla="*/ 432 h 1867"/>
                <a:gd name="T14" fmla="*/ 1114 w 1624"/>
                <a:gd name="T15" fmla="*/ 81 h 1867"/>
                <a:gd name="T16" fmla="*/ 1287 w 1624"/>
                <a:gd name="T17" fmla="*/ 35 h 1867"/>
                <a:gd name="T18" fmla="*/ 1350 w 1624"/>
                <a:gd name="T19" fmla="*/ 69 h 1867"/>
                <a:gd name="T20" fmla="*/ 1527 w 1624"/>
                <a:gd name="T21" fmla="*/ 235 h 1867"/>
                <a:gd name="T22" fmla="*/ 1583 w 1624"/>
                <a:gd name="T23" fmla="*/ 555 h 1867"/>
                <a:gd name="T24" fmla="*/ 1172 w 1624"/>
                <a:gd name="T25" fmla="*/ 1253 h 1867"/>
                <a:gd name="T26" fmla="*/ 586 w 1624"/>
                <a:gd name="T27" fmla="*/ 1803 h 1867"/>
                <a:gd name="T28" fmla="*/ 269 w 1624"/>
                <a:gd name="T29" fmla="*/ 1807 h 1867"/>
                <a:gd name="T30" fmla="*/ 33 w 1624"/>
                <a:gd name="T31" fmla="*/ 1602 h 1867"/>
                <a:gd name="T32" fmla="*/ 2 w 1624"/>
                <a:gd name="T33" fmla="*/ 1508 h 1867"/>
                <a:gd name="T34" fmla="*/ 45 w 1624"/>
                <a:gd name="T35" fmla="*/ 1421 h 1867"/>
                <a:gd name="T36" fmla="*/ 346 w 1624"/>
                <a:gd name="T37" fmla="*/ 1158 h 1867"/>
                <a:gd name="T38" fmla="*/ 448 w 1624"/>
                <a:gd name="T39" fmla="*/ 1145 h 1867"/>
                <a:gd name="T40" fmla="*/ 573 w 1624"/>
                <a:gd name="T41" fmla="*/ 1257 h 18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24" h="1867">
                  <a:moveTo>
                    <a:pt x="573" y="1257"/>
                  </a:moveTo>
                  <a:cubicBezTo>
                    <a:pt x="592" y="1282"/>
                    <a:pt x="630" y="1303"/>
                    <a:pt x="662" y="1288"/>
                  </a:cubicBezTo>
                  <a:cubicBezTo>
                    <a:pt x="753" y="1245"/>
                    <a:pt x="854" y="1156"/>
                    <a:pt x="938" y="1051"/>
                  </a:cubicBezTo>
                  <a:cubicBezTo>
                    <a:pt x="1020" y="948"/>
                    <a:pt x="1084" y="831"/>
                    <a:pt x="1106" y="731"/>
                  </a:cubicBezTo>
                  <a:cubicBezTo>
                    <a:pt x="1113" y="696"/>
                    <a:pt x="1089" y="661"/>
                    <a:pt x="1059" y="645"/>
                  </a:cubicBezTo>
                  <a:cubicBezTo>
                    <a:pt x="1001" y="613"/>
                    <a:pt x="1001" y="613"/>
                    <a:pt x="1001" y="613"/>
                  </a:cubicBezTo>
                  <a:cubicBezTo>
                    <a:pt x="942" y="580"/>
                    <a:pt x="888" y="499"/>
                    <a:pt x="924" y="432"/>
                  </a:cubicBezTo>
                  <a:cubicBezTo>
                    <a:pt x="1114" y="81"/>
                    <a:pt x="1114" y="81"/>
                    <a:pt x="1114" y="81"/>
                  </a:cubicBezTo>
                  <a:cubicBezTo>
                    <a:pt x="1150" y="16"/>
                    <a:pt x="1224" y="0"/>
                    <a:pt x="1287" y="35"/>
                  </a:cubicBezTo>
                  <a:cubicBezTo>
                    <a:pt x="1350" y="69"/>
                    <a:pt x="1350" y="69"/>
                    <a:pt x="1350" y="69"/>
                  </a:cubicBezTo>
                  <a:cubicBezTo>
                    <a:pt x="1415" y="105"/>
                    <a:pt x="1479" y="165"/>
                    <a:pt x="1527" y="235"/>
                  </a:cubicBezTo>
                  <a:cubicBezTo>
                    <a:pt x="1593" y="332"/>
                    <a:pt x="1624" y="442"/>
                    <a:pt x="1583" y="555"/>
                  </a:cubicBezTo>
                  <a:cubicBezTo>
                    <a:pt x="1500" y="781"/>
                    <a:pt x="1351" y="1030"/>
                    <a:pt x="1172" y="1253"/>
                  </a:cubicBezTo>
                  <a:cubicBezTo>
                    <a:pt x="994" y="1477"/>
                    <a:pt x="786" y="1676"/>
                    <a:pt x="586" y="1803"/>
                  </a:cubicBezTo>
                  <a:cubicBezTo>
                    <a:pt x="486" y="1867"/>
                    <a:pt x="375" y="1856"/>
                    <a:pt x="269" y="1807"/>
                  </a:cubicBezTo>
                  <a:cubicBezTo>
                    <a:pt x="157" y="1755"/>
                    <a:pt x="106" y="1695"/>
                    <a:pt x="33" y="1602"/>
                  </a:cubicBezTo>
                  <a:cubicBezTo>
                    <a:pt x="11" y="1573"/>
                    <a:pt x="0" y="1540"/>
                    <a:pt x="2" y="1508"/>
                  </a:cubicBezTo>
                  <a:cubicBezTo>
                    <a:pt x="4" y="1475"/>
                    <a:pt x="18" y="1444"/>
                    <a:pt x="45" y="1421"/>
                  </a:cubicBezTo>
                  <a:cubicBezTo>
                    <a:pt x="70" y="1399"/>
                    <a:pt x="346" y="1158"/>
                    <a:pt x="346" y="1158"/>
                  </a:cubicBezTo>
                  <a:cubicBezTo>
                    <a:pt x="376" y="1134"/>
                    <a:pt x="413" y="1133"/>
                    <a:pt x="448" y="1145"/>
                  </a:cubicBezTo>
                  <a:cubicBezTo>
                    <a:pt x="510" y="1166"/>
                    <a:pt x="536" y="1210"/>
                    <a:pt x="573" y="1257"/>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351"/>
            </a:p>
          </p:txBody>
        </p:sp>
      </p:grpSp>
      <p:grpSp>
        <p:nvGrpSpPr>
          <p:cNvPr id="38" name="Group 3">
            <a:extLst>
              <a:ext uri="{FF2B5EF4-FFF2-40B4-BE49-F238E27FC236}">
                <a16:creationId xmlns:a16="http://schemas.microsoft.com/office/drawing/2014/main" id="{7104BADD-8CD1-6F4A-B894-869C3BDB3EEB}"/>
              </a:ext>
            </a:extLst>
          </p:cNvPr>
          <p:cNvGrpSpPr>
            <a:grpSpLocks noChangeAspect="1"/>
          </p:cNvGrpSpPr>
          <p:nvPr>
            <p:custDataLst>
              <p:tags r:id="rId3"/>
            </p:custDataLst>
          </p:nvPr>
        </p:nvGrpSpPr>
        <p:grpSpPr>
          <a:xfrm>
            <a:off x="3770066" y="5330827"/>
            <a:ext cx="171180" cy="171180"/>
            <a:chOff x="328396" y="5313940"/>
            <a:chExt cx="720000" cy="720000"/>
          </a:xfrm>
        </p:grpSpPr>
        <p:sp>
          <p:nvSpPr>
            <p:cNvPr id="39" name="Rectangle 4">
              <a:extLst>
                <a:ext uri="{FF2B5EF4-FFF2-40B4-BE49-F238E27FC236}">
                  <a16:creationId xmlns:a16="http://schemas.microsoft.com/office/drawing/2014/main" id="{74BE3D5F-1445-6E40-8B49-72E15568383B}"/>
                </a:ext>
              </a:extLst>
            </p:cNvPr>
            <p:cNvSpPr/>
            <p:nvPr/>
          </p:nvSpPr>
          <p:spPr bwMode="gray">
            <a:xfrm>
              <a:off x="328396" y="5313940"/>
              <a:ext cx="720000" cy="720000"/>
            </a:xfrm>
            <a:prstGeom prst="rect">
              <a:avLst/>
            </a:prstGeom>
            <a:solidFill>
              <a:srgbClr val="E55A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pPr>
              <a:endParaRPr lang="en-US" sz="1000">
                <a:solidFill>
                  <a:schemeClr val="tx1"/>
                </a:solidFill>
                <a:latin typeface="Arial" pitchFamily="34" charset="0"/>
                <a:cs typeface="Arial" pitchFamily="34" charset="0"/>
              </a:endParaRPr>
            </a:p>
          </p:txBody>
        </p:sp>
        <p:sp>
          <p:nvSpPr>
            <p:cNvPr id="40" name="Freeform 76">
              <a:extLst>
                <a:ext uri="{FF2B5EF4-FFF2-40B4-BE49-F238E27FC236}">
                  <a16:creationId xmlns:a16="http://schemas.microsoft.com/office/drawing/2014/main" id="{55DB3C95-7D0C-D141-901E-96D692794D2B}"/>
                </a:ext>
              </a:extLst>
            </p:cNvPr>
            <p:cNvSpPr>
              <a:spLocks noChangeAspect="1" noEditPoints="1"/>
            </p:cNvSpPr>
            <p:nvPr/>
          </p:nvSpPr>
          <p:spPr bwMode="auto">
            <a:xfrm>
              <a:off x="456202" y="5509222"/>
              <a:ext cx="504000" cy="329436"/>
            </a:xfrm>
            <a:custGeom>
              <a:avLst/>
              <a:gdLst>
                <a:gd name="T0" fmla="*/ 0 w 2080"/>
                <a:gd name="T1" fmla="*/ 65 h 1360"/>
                <a:gd name="T2" fmla="*/ 0 w 2080"/>
                <a:gd name="T3" fmla="*/ 0 h 1360"/>
                <a:gd name="T4" fmla="*/ 2080 w 2080"/>
                <a:gd name="T5" fmla="*/ 0 h 1360"/>
                <a:gd name="T6" fmla="*/ 2080 w 2080"/>
                <a:gd name="T7" fmla="*/ 65 h 1360"/>
                <a:gd name="T8" fmla="*/ 1089 w 2080"/>
                <a:gd name="T9" fmla="*/ 862 h 1360"/>
                <a:gd name="T10" fmla="*/ 991 w 2080"/>
                <a:gd name="T11" fmla="*/ 862 h 1360"/>
                <a:gd name="T12" fmla="*/ 0 w 2080"/>
                <a:gd name="T13" fmla="*/ 65 h 1360"/>
                <a:gd name="T14" fmla="*/ 1139 w 2080"/>
                <a:gd name="T15" fmla="*/ 924 h 1360"/>
                <a:gd name="T16" fmla="*/ 1282 w 2080"/>
                <a:gd name="T17" fmla="*/ 810 h 1360"/>
                <a:gd name="T18" fmla="*/ 2076 w 2080"/>
                <a:gd name="T19" fmla="*/ 1360 h 1360"/>
                <a:gd name="T20" fmla="*/ 4 w 2080"/>
                <a:gd name="T21" fmla="*/ 1360 h 1360"/>
                <a:gd name="T22" fmla="*/ 798 w 2080"/>
                <a:gd name="T23" fmla="*/ 810 h 1360"/>
                <a:gd name="T24" fmla="*/ 941 w 2080"/>
                <a:gd name="T25" fmla="*/ 924 h 1360"/>
                <a:gd name="T26" fmla="*/ 1139 w 2080"/>
                <a:gd name="T27" fmla="*/ 924 h 1360"/>
                <a:gd name="T28" fmla="*/ 2 w 2080"/>
                <a:gd name="T29" fmla="*/ 137 h 1360"/>
                <a:gd name="T30" fmla="*/ 42 w 2080"/>
                <a:gd name="T31" fmla="*/ 201 h 1360"/>
                <a:gd name="T32" fmla="*/ 734 w 2080"/>
                <a:gd name="T33" fmla="*/ 758 h 1360"/>
                <a:gd name="T34" fmla="*/ 0 w 2080"/>
                <a:gd name="T35" fmla="*/ 1266 h 1360"/>
                <a:gd name="T36" fmla="*/ 0 w 2080"/>
                <a:gd name="T37" fmla="*/ 135 h 1360"/>
                <a:gd name="T38" fmla="*/ 2 w 2080"/>
                <a:gd name="T39" fmla="*/ 137 h 1360"/>
                <a:gd name="T40" fmla="*/ 2080 w 2080"/>
                <a:gd name="T41" fmla="*/ 136 h 1360"/>
                <a:gd name="T42" fmla="*/ 2080 w 2080"/>
                <a:gd name="T43" fmla="*/ 1265 h 1360"/>
                <a:gd name="T44" fmla="*/ 1346 w 2080"/>
                <a:gd name="T45" fmla="*/ 758 h 1360"/>
                <a:gd name="T46" fmla="*/ 2038 w 2080"/>
                <a:gd name="T47" fmla="*/ 201 h 1360"/>
                <a:gd name="T48" fmla="*/ 2080 w 2080"/>
                <a:gd name="T49" fmla="*/ 136 h 1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080" h="1360">
                  <a:moveTo>
                    <a:pt x="0" y="65"/>
                  </a:moveTo>
                  <a:cubicBezTo>
                    <a:pt x="0" y="0"/>
                    <a:pt x="0" y="0"/>
                    <a:pt x="0" y="0"/>
                  </a:cubicBezTo>
                  <a:cubicBezTo>
                    <a:pt x="2080" y="0"/>
                    <a:pt x="2080" y="0"/>
                    <a:pt x="2080" y="0"/>
                  </a:cubicBezTo>
                  <a:cubicBezTo>
                    <a:pt x="2080" y="65"/>
                    <a:pt x="2080" y="65"/>
                    <a:pt x="2080" y="65"/>
                  </a:cubicBezTo>
                  <a:cubicBezTo>
                    <a:pt x="1089" y="862"/>
                    <a:pt x="1089" y="862"/>
                    <a:pt x="1089" y="862"/>
                  </a:cubicBezTo>
                  <a:cubicBezTo>
                    <a:pt x="1060" y="886"/>
                    <a:pt x="1020" y="886"/>
                    <a:pt x="991" y="862"/>
                  </a:cubicBezTo>
                  <a:lnTo>
                    <a:pt x="0" y="65"/>
                  </a:lnTo>
                  <a:close/>
                  <a:moveTo>
                    <a:pt x="1139" y="924"/>
                  </a:moveTo>
                  <a:cubicBezTo>
                    <a:pt x="1282" y="810"/>
                    <a:pt x="1282" y="810"/>
                    <a:pt x="1282" y="810"/>
                  </a:cubicBezTo>
                  <a:cubicBezTo>
                    <a:pt x="2076" y="1360"/>
                    <a:pt x="2076" y="1360"/>
                    <a:pt x="2076" y="1360"/>
                  </a:cubicBezTo>
                  <a:cubicBezTo>
                    <a:pt x="4" y="1360"/>
                    <a:pt x="4" y="1360"/>
                    <a:pt x="4" y="1360"/>
                  </a:cubicBezTo>
                  <a:cubicBezTo>
                    <a:pt x="798" y="810"/>
                    <a:pt x="798" y="810"/>
                    <a:pt x="798" y="810"/>
                  </a:cubicBezTo>
                  <a:cubicBezTo>
                    <a:pt x="941" y="924"/>
                    <a:pt x="941" y="924"/>
                    <a:pt x="941" y="924"/>
                  </a:cubicBezTo>
                  <a:cubicBezTo>
                    <a:pt x="1000" y="972"/>
                    <a:pt x="1080" y="972"/>
                    <a:pt x="1139" y="924"/>
                  </a:cubicBezTo>
                  <a:close/>
                  <a:moveTo>
                    <a:pt x="2" y="137"/>
                  </a:moveTo>
                  <a:cubicBezTo>
                    <a:pt x="8" y="163"/>
                    <a:pt x="22" y="185"/>
                    <a:pt x="42" y="201"/>
                  </a:cubicBezTo>
                  <a:cubicBezTo>
                    <a:pt x="734" y="758"/>
                    <a:pt x="734" y="758"/>
                    <a:pt x="734" y="758"/>
                  </a:cubicBezTo>
                  <a:cubicBezTo>
                    <a:pt x="0" y="1266"/>
                    <a:pt x="0" y="1266"/>
                    <a:pt x="0" y="1266"/>
                  </a:cubicBezTo>
                  <a:cubicBezTo>
                    <a:pt x="0" y="135"/>
                    <a:pt x="0" y="135"/>
                    <a:pt x="0" y="135"/>
                  </a:cubicBezTo>
                  <a:lnTo>
                    <a:pt x="2" y="137"/>
                  </a:lnTo>
                  <a:close/>
                  <a:moveTo>
                    <a:pt x="2080" y="136"/>
                  </a:moveTo>
                  <a:cubicBezTo>
                    <a:pt x="2080" y="1265"/>
                    <a:pt x="2080" y="1265"/>
                    <a:pt x="2080" y="1265"/>
                  </a:cubicBezTo>
                  <a:cubicBezTo>
                    <a:pt x="1346" y="758"/>
                    <a:pt x="1346" y="758"/>
                    <a:pt x="1346" y="758"/>
                  </a:cubicBezTo>
                  <a:cubicBezTo>
                    <a:pt x="2038" y="201"/>
                    <a:pt x="2038" y="201"/>
                    <a:pt x="2038" y="201"/>
                  </a:cubicBezTo>
                  <a:cubicBezTo>
                    <a:pt x="2060" y="182"/>
                    <a:pt x="2072" y="162"/>
                    <a:pt x="2080" y="13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000"/>
            </a:p>
          </p:txBody>
        </p:sp>
      </p:grpSp>
      <p:cxnSp>
        <p:nvCxnSpPr>
          <p:cNvPr id="41" name="Straight Connector 40"/>
          <p:cNvCxnSpPr/>
          <p:nvPr/>
        </p:nvCxnSpPr>
        <p:spPr>
          <a:xfrm>
            <a:off x="2355914" y="5655833"/>
            <a:ext cx="3888000" cy="0"/>
          </a:xfrm>
          <a:prstGeom prst="line">
            <a:avLst/>
          </a:prstGeom>
          <a:ln w="6350">
            <a:solidFill>
              <a:schemeClr val="tx2"/>
            </a:solidFill>
            <a:prstDash val="dash"/>
          </a:ln>
        </p:spPr>
        <p:style>
          <a:lnRef idx="1">
            <a:schemeClr val="accent1"/>
          </a:lnRef>
          <a:fillRef idx="0">
            <a:schemeClr val="accent1"/>
          </a:fillRef>
          <a:effectRef idx="0">
            <a:schemeClr val="accent1"/>
          </a:effectRef>
          <a:fontRef idx="minor">
            <a:schemeClr val="tx1"/>
          </a:fontRef>
        </p:style>
      </p:cxnSp>
      <p:sp>
        <p:nvSpPr>
          <p:cNvPr id="42" name="Picture Placeholder 3"/>
          <p:cNvSpPr>
            <a:spLocks noGrp="1"/>
          </p:cNvSpPr>
          <p:nvPr>
            <p:ph type="pic" sz="quarter" idx="29" hasCustomPrompt="1"/>
          </p:nvPr>
        </p:nvSpPr>
        <p:spPr>
          <a:xfrm>
            <a:off x="2355914" y="3986604"/>
            <a:ext cx="1188677" cy="1547840"/>
          </a:xfrm>
          <a:solidFill>
            <a:srgbClr val="D9DADB"/>
          </a:solidFill>
        </p:spPr>
        <p:txBody>
          <a:bodyPr/>
          <a:lstStyle>
            <a:lvl1pPr marL="0" indent="0">
              <a:buNone/>
              <a:defRPr sz="1400"/>
            </a:lvl1pPr>
          </a:lstStyle>
          <a:p>
            <a:r>
              <a:rPr lang="en-US"/>
              <a:t>Insert picture</a:t>
            </a:r>
          </a:p>
        </p:txBody>
      </p:sp>
      <p:sp>
        <p:nvSpPr>
          <p:cNvPr id="43" name="Text Placeholder 5"/>
          <p:cNvSpPr>
            <a:spLocks noGrp="1"/>
          </p:cNvSpPr>
          <p:nvPr>
            <p:ph type="body" sz="quarter" idx="30" hasCustomPrompt="1"/>
          </p:nvPr>
        </p:nvSpPr>
        <p:spPr>
          <a:xfrm>
            <a:off x="3770065" y="3986141"/>
            <a:ext cx="2463190" cy="192360"/>
          </a:xfrm>
        </p:spPr>
        <p:txBody>
          <a:bodyPr lIns="0" tIns="0" rIns="0" bIns="0" anchor="ctr" anchorCtr="0"/>
          <a:lstStyle>
            <a:lvl1pPr marL="0" indent="0" algn="l">
              <a:lnSpc>
                <a:spcPct val="100000"/>
              </a:lnSpc>
              <a:buNone/>
              <a:defRPr sz="100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Country</a:t>
            </a:r>
          </a:p>
        </p:txBody>
      </p:sp>
      <p:sp>
        <p:nvSpPr>
          <p:cNvPr id="44" name="Text Placeholder 5"/>
          <p:cNvSpPr>
            <a:spLocks noGrp="1"/>
          </p:cNvSpPr>
          <p:nvPr>
            <p:ph type="body" sz="quarter" idx="31" hasCustomPrompt="1"/>
          </p:nvPr>
        </p:nvSpPr>
        <p:spPr>
          <a:xfrm>
            <a:off x="3770065" y="4197957"/>
            <a:ext cx="2463190" cy="266182"/>
          </a:xfrm>
        </p:spPr>
        <p:txBody>
          <a:bodyPr lIns="0" tIns="0" rIns="0" bIns="0" anchor="b" anchorCtr="0"/>
          <a:lstStyle>
            <a:lvl1pPr marL="0" indent="0" algn="l">
              <a:lnSpc>
                <a:spcPct val="100000"/>
              </a:lnSpc>
              <a:buNone/>
              <a:defRPr sz="1400" b="1" baseline="0">
                <a:solidFill>
                  <a:schemeClr val="tx2"/>
                </a:solidFill>
              </a:defRPr>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Name, Surname</a:t>
            </a:r>
          </a:p>
        </p:txBody>
      </p:sp>
      <p:sp>
        <p:nvSpPr>
          <p:cNvPr id="45" name="Text Placeholder 5"/>
          <p:cNvSpPr>
            <a:spLocks noGrp="1"/>
          </p:cNvSpPr>
          <p:nvPr>
            <p:ph type="body" sz="quarter" idx="32" hasCustomPrompt="1"/>
          </p:nvPr>
        </p:nvSpPr>
        <p:spPr>
          <a:xfrm>
            <a:off x="3770065" y="4494532"/>
            <a:ext cx="2463190"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Job Position</a:t>
            </a:r>
          </a:p>
        </p:txBody>
      </p:sp>
      <p:sp>
        <p:nvSpPr>
          <p:cNvPr id="46" name="Text Placeholder 5"/>
          <p:cNvSpPr>
            <a:spLocks noGrp="1"/>
          </p:cNvSpPr>
          <p:nvPr>
            <p:ph type="body" sz="quarter" idx="33" hasCustomPrompt="1"/>
          </p:nvPr>
        </p:nvSpPr>
        <p:spPr>
          <a:xfrm>
            <a:off x="4014948" y="5023208"/>
            <a:ext cx="2218307"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Phone number</a:t>
            </a:r>
          </a:p>
        </p:txBody>
      </p:sp>
      <p:sp>
        <p:nvSpPr>
          <p:cNvPr id="47" name="Text Placeholder 5"/>
          <p:cNvSpPr>
            <a:spLocks noGrp="1"/>
          </p:cNvSpPr>
          <p:nvPr>
            <p:ph type="body" sz="quarter" idx="34" hasCustomPrompt="1"/>
          </p:nvPr>
        </p:nvSpPr>
        <p:spPr>
          <a:xfrm>
            <a:off x="4014948" y="5306015"/>
            <a:ext cx="2218307"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Email address</a:t>
            </a:r>
          </a:p>
        </p:txBody>
      </p:sp>
      <p:grpSp>
        <p:nvGrpSpPr>
          <p:cNvPr id="48" name="Gruppieren 2">
            <a:extLst>
              <a:ext uri="{FF2B5EF4-FFF2-40B4-BE49-F238E27FC236}">
                <a16:creationId xmlns:a16="http://schemas.microsoft.com/office/drawing/2014/main" id="{BE697CE9-EBDE-6B4A-BE70-582D92A8A831}"/>
              </a:ext>
            </a:extLst>
          </p:cNvPr>
          <p:cNvGrpSpPr/>
          <p:nvPr/>
        </p:nvGrpSpPr>
        <p:grpSpPr>
          <a:xfrm>
            <a:off x="8701917" y="5043528"/>
            <a:ext cx="171180" cy="171180"/>
            <a:chOff x="3392092" y="1841122"/>
            <a:chExt cx="646508" cy="646508"/>
          </a:xfrm>
        </p:grpSpPr>
        <p:sp>
          <p:nvSpPr>
            <p:cNvPr id="49" name="Rechteck 14">
              <a:extLst>
                <a:ext uri="{FF2B5EF4-FFF2-40B4-BE49-F238E27FC236}">
                  <a16:creationId xmlns:a16="http://schemas.microsoft.com/office/drawing/2014/main" id="{E142A731-19B7-C34D-9534-9E05108F895F}"/>
                </a:ext>
              </a:extLst>
            </p:cNvPr>
            <p:cNvSpPr>
              <a:spLocks noChangeAspect="1"/>
            </p:cNvSpPr>
            <p:nvPr/>
          </p:nvSpPr>
          <p:spPr bwMode="gray">
            <a:xfrm>
              <a:off x="3392092" y="1841122"/>
              <a:ext cx="646508" cy="646508"/>
            </a:xfrm>
            <a:prstGeom prst="rect">
              <a:avLst/>
            </a:prstGeom>
            <a:solidFill>
              <a:srgbClr val="E55A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pPr>
              <a:endParaRPr lang="en-US" sz="1000">
                <a:solidFill>
                  <a:schemeClr val="tx1"/>
                </a:solidFill>
                <a:latin typeface="Arial" pitchFamily="34" charset="0"/>
                <a:cs typeface="Arial" pitchFamily="34" charset="0"/>
              </a:endParaRPr>
            </a:p>
          </p:txBody>
        </p:sp>
        <p:sp>
          <p:nvSpPr>
            <p:cNvPr id="50" name="Freeform 49">
              <a:extLst>
                <a:ext uri="{FF2B5EF4-FFF2-40B4-BE49-F238E27FC236}">
                  <a16:creationId xmlns:a16="http://schemas.microsoft.com/office/drawing/2014/main" id="{F97E84AE-4AD9-4B44-9AA1-F797FC373809}"/>
                </a:ext>
              </a:extLst>
            </p:cNvPr>
            <p:cNvSpPr>
              <a:spLocks noChangeAspect="1"/>
            </p:cNvSpPr>
            <p:nvPr/>
          </p:nvSpPr>
          <p:spPr bwMode="auto">
            <a:xfrm>
              <a:off x="3546638" y="1970424"/>
              <a:ext cx="337415" cy="387905"/>
            </a:xfrm>
            <a:custGeom>
              <a:avLst/>
              <a:gdLst>
                <a:gd name="T0" fmla="*/ 573 w 1624"/>
                <a:gd name="T1" fmla="*/ 1257 h 1867"/>
                <a:gd name="T2" fmla="*/ 662 w 1624"/>
                <a:gd name="T3" fmla="*/ 1288 h 1867"/>
                <a:gd name="T4" fmla="*/ 938 w 1624"/>
                <a:gd name="T5" fmla="*/ 1051 h 1867"/>
                <a:gd name="T6" fmla="*/ 1106 w 1624"/>
                <a:gd name="T7" fmla="*/ 731 h 1867"/>
                <a:gd name="T8" fmla="*/ 1059 w 1624"/>
                <a:gd name="T9" fmla="*/ 645 h 1867"/>
                <a:gd name="T10" fmla="*/ 1001 w 1624"/>
                <a:gd name="T11" fmla="*/ 613 h 1867"/>
                <a:gd name="T12" fmla="*/ 924 w 1624"/>
                <a:gd name="T13" fmla="*/ 432 h 1867"/>
                <a:gd name="T14" fmla="*/ 1114 w 1624"/>
                <a:gd name="T15" fmla="*/ 81 h 1867"/>
                <a:gd name="T16" fmla="*/ 1287 w 1624"/>
                <a:gd name="T17" fmla="*/ 35 h 1867"/>
                <a:gd name="T18" fmla="*/ 1350 w 1624"/>
                <a:gd name="T19" fmla="*/ 69 h 1867"/>
                <a:gd name="T20" fmla="*/ 1527 w 1624"/>
                <a:gd name="T21" fmla="*/ 235 h 1867"/>
                <a:gd name="T22" fmla="*/ 1583 w 1624"/>
                <a:gd name="T23" fmla="*/ 555 h 1867"/>
                <a:gd name="T24" fmla="*/ 1172 w 1624"/>
                <a:gd name="T25" fmla="*/ 1253 h 1867"/>
                <a:gd name="T26" fmla="*/ 586 w 1624"/>
                <a:gd name="T27" fmla="*/ 1803 h 1867"/>
                <a:gd name="T28" fmla="*/ 269 w 1624"/>
                <a:gd name="T29" fmla="*/ 1807 h 1867"/>
                <a:gd name="T30" fmla="*/ 33 w 1624"/>
                <a:gd name="T31" fmla="*/ 1602 h 1867"/>
                <a:gd name="T32" fmla="*/ 2 w 1624"/>
                <a:gd name="T33" fmla="*/ 1508 h 1867"/>
                <a:gd name="T34" fmla="*/ 45 w 1624"/>
                <a:gd name="T35" fmla="*/ 1421 h 1867"/>
                <a:gd name="T36" fmla="*/ 346 w 1624"/>
                <a:gd name="T37" fmla="*/ 1158 h 1867"/>
                <a:gd name="T38" fmla="*/ 448 w 1624"/>
                <a:gd name="T39" fmla="*/ 1145 h 1867"/>
                <a:gd name="T40" fmla="*/ 573 w 1624"/>
                <a:gd name="T41" fmla="*/ 1257 h 18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24" h="1867">
                  <a:moveTo>
                    <a:pt x="573" y="1257"/>
                  </a:moveTo>
                  <a:cubicBezTo>
                    <a:pt x="592" y="1282"/>
                    <a:pt x="630" y="1303"/>
                    <a:pt x="662" y="1288"/>
                  </a:cubicBezTo>
                  <a:cubicBezTo>
                    <a:pt x="753" y="1245"/>
                    <a:pt x="854" y="1156"/>
                    <a:pt x="938" y="1051"/>
                  </a:cubicBezTo>
                  <a:cubicBezTo>
                    <a:pt x="1020" y="948"/>
                    <a:pt x="1084" y="831"/>
                    <a:pt x="1106" y="731"/>
                  </a:cubicBezTo>
                  <a:cubicBezTo>
                    <a:pt x="1113" y="696"/>
                    <a:pt x="1089" y="661"/>
                    <a:pt x="1059" y="645"/>
                  </a:cubicBezTo>
                  <a:cubicBezTo>
                    <a:pt x="1001" y="613"/>
                    <a:pt x="1001" y="613"/>
                    <a:pt x="1001" y="613"/>
                  </a:cubicBezTo>
                  <a:cubicBezTo>
                    <a:pt x="942" y="580"/>
                    <a:pt x="888" y="499"/>
                    <a:pt x="924" y="432"/>
                  </a:cubicBezTo>
                  <a:cubicBezTo>
                    <a:pt x="1114" y="81"/>
                    <a:pt x="1114" y="81"/>
                    <a:pt x="1114" y="81"/>
                  </a:cubicBezTo>
                  <a:cubicBezTo>
                    <a:pt x="1150" y="16"/>
                    <a:pt x="1224" y="0"/>
                    <a:pt x="1287" y="35"/>
                  </a:cubicBezTo>
                  <a:cubicBezTo>
                    <a:pt x="1350" y="69"/>
                    <a:pt x="1350" y="69"/>
                    <a:pt x="1350" y="69"/>
                  </a:cubicBezTo>
                  <a:cubicBezTo>
                    <a:pt x="1415" y="105"/>
                    <a:pt x="1479" y="165"/>
                    <a:pt x="1527" y="235"/>
                  </a:cubicBezTo>
                  <a:cubicBezTo>
                    <a:pt x="1593" y="332"/>
                    <a:pt x="1624" y="442"/>
                    <a:pt x="1583" y="555"/>
                  </a:cubicBezTo>
                  <a:cubicBezTo>
                    <a:pt x="1500" y="781"/>
                    <a:pt x="1351" y="1030"/>
                    <a:pt x="1172" y="1253"/>
                  </a:cubicBezTo>
                  <a:cubicBezTo>
                    <a:pt x="994" y="1477"/>
                    <a:pt x="786" y="1676"/>
                    <a:pt x="586" y="1803"/>
                  </a:cubicBezTo>
                  <a:cubicBezTo>
                    <a:pt x="486" y="1867"/>
                    <a:pt x="375" y="1856"/>
                    <a:pt x="269" y="1807"/>
                  </a:cubicBezTo>
                  <a:cubicBezTo>
                    <a:pt x="157" y="1755"/>
                    <a:pt x="106" y="1695"/>
                    <a:pt x="33" y="1602"/>
                  </a:cubicBezTo>
                  <a:cubicBezTo>
                    <a:pt x="11" y="1573"/>
                    <a:pt x="0" y="1540"/>
                    <a:pt x="2" y="1508"/>
                  </a:cubicBezTo>
                  <a:cubicBezTo>
                    <a:pt x="4" y="1475"/>
                    <a:pt x="18" y="1444"/>
                    <a:pt x="45" y="1421"/>
                  </a:cubicBezTo>
                  <a:cubicBezTo>
                    <a:pt x="70" y="1399"/>
                    <a:pt x="346" y="1158"/>
                    <a:pt x="346" y="1158"/>
                  </a:cubicBezTo>
                  <a:cubicBezTo>
                    <a:pt x="376" y="1134"/>
                    <a:pt x="413" y="1133"/>
                    <a:pt x="448" y="1145"/>
                  </a:cubicBezTo>
                  <a:cubicBezTo>
                    <a:pt x="510" y="1166"/>
                    <a:pt x="536" y="1210"/>
                    <a:pt x="573" y="1257"/>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351"/>
            </a:p>
          </p:txBody>
        </p:sp>
      </p:grpSp>
      <p:grpSp>
        <p:nvGrpSpPr>
          <p:cNvPr id="51" name="Group 3">
            <a:extLst>
              <a:ext uri="{FF2B5EF4-FFF2-40B4-BE49-F238E27FC236}">
                <a16:creationId xmlns:a16="http://schemas.microsoft.com/office/drawing/2014/main" id="{7104BADD-8CD1-6F4A-B894-869C3BDB3EEB}"/>
              </a:ext>
            </a:extLst>
          </p:cNvPr>
          <p:cNvGrpSpPr>
            <a:grpSpLocks noChangeAspect="1"/>
          </p:cNvGrpSpPr>
          <p:nvPr>
            <p:custDataLst>
              <p:tags r:id="rId4"/>
            </p:custDataLst>
          </p:nvPr>
        </p:nvGrpSpPr>
        <p:grpSpPr>
          <a:xfrm>
            <a:off x="8701918" y="5328416"/>
            <a:ext cx="171180" cy="171180"/>
            <a:chOff x="328396" y="5313940"/>
            <a:chExt cx="720000" cy="720000"/>
          </a:xfrm>
        </p:grpSpPr>
        <p:sp>
          <p:nvSpPr>
            <p:cNvPr id="52" name="Rectangle 4">
              <a:extLst>
                <a:ext uri="{FF2B5EF4-FFF2-40B4-BE49-F238E27FC236}">
                  <a16:creationId xmlns:a16="http://schemas.microsoft.com/office/drawing/2014/main" id="{74BE3D5F-1445-6E40-8B49-72E15568383B}"/>
                </a:ext>
              </a:extLst>
            </p:cNvPr>
            <p:cNvSpPr/>
            <p:nvPr/>
          </p:nvSpPr>
          <p:spPr bwMode="gray">
            <a:xfrm>
              <a:off x="328396" y="5313940"/>
              <a:ext cx="720000" cy="720000"/>
            </a:xfrm>
            <a:prstGeom prst="rect">
              <a:avLst/>
            </a:prstGeom>
            <a:solidFill>
              <a:srgbClr val="E55A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pPr>
              <a:endParaRPr lang="en-US" sz="1000">
                <a:solidFill>
                  <a:schemeClr val="tx1"/>
                </a:solidFill>
                <a:latin typeface="Arial" pitchFamily="34" charset="0"/>
                <a:cs typeface="Arial" pitchFamily="34" charset="0"/>
              </a:endParaRPr>
            </a:p>
          </p:txBody>
        </p:sp>
        <p:sp>
          <p:nvSpPr>
            <p:cNvPr id="53" name="Freeform 76">
              <a:extLst>
                <a:ext uri="{FF2B5EF4-FFF2-40B4-BE49-F238E27FC236}">
                  <a16:creationId xmlns:a16="http://schemas.microsoft.com/office/drawing/2014/main" id="{55DB3C95-7D0C-D141-901E-96D692794D2B}"/>
                </a:ext>
              </a:extLst>
            </p:cNvPr>
            <p:cNvSpPr>
              <a:spLocks noChangeAspect="1" noEditPoints="1"/>
            </p:cNvSpPr>
            <p:nvPr/>
          </p:nvSpPr>
          <p:spPr bwMode="auto">
            <a:xfrm>
              <a:off x="456202" y="5509222"/>
              <a:ext cx="504000" cy="329436"/>
            </a:xfrm>
            <a:custGeom>
              <a:avLst/>
              <a:gdLst>
                <a:gd name="T0" fmla="*/ 0 w 2080"/>
                <a:gd name="T1" fmla="*/ 65 h 1360"/>
                <a:gd name="T2" fmla="*/ 0 w 2080"/>
                <a:gd name="T3" fmla="*/ 0 h 1360"/>
                <a:gd name="T4" fmla="*/ 2080 w 2080"/>
                <a:gd name="T5" fmla="*/ 0 h 1360"/>
                <a:gd name="T6" fmla="*/ 2080 w 2080"/>
                <a:gd name="T7" fmla="*/ 65 h 1360"/>
                <a:gd name="T8" fmla="*/ 1089 w 2080"/>
                <a:gd name="T9" fmla="*/ 862 h 1360"/>
                <a:gd name="T10" fmla="*/ 991 w 2080"/>
                <a:gd name="T11" fmla="*/ 862 h 1360"/>
                <a:gd name="T12" fmla="*/ 0 w 2080"/>
                <a:gd name="T13" fmla="*/ 65 h 1360"/>
                <a:gd name="T14" fmla="*/ 1139 w 2080"/>
                <a:gd name="T15" fmla="*/ 924 h 1360"/>
                <a:gd name="T16" fmla="*/ 1282 w 2080"/>
                <a:gd name="T17" fmla="*/ 810 h 1360"/>
                <a:gd name="T18" fmla="*/ 2076 w 2080"/>
                <a:gd name="T19" fmla="*/ 1360 h 1360"/>
                <a:gd name="T20" fmla="*/ 4 w 2080"/>
                <a:gd name="T21" fmla="*/ 1360 h 1360"/>
                <a:gd name="T22" fmla="*/ 798 w 2080"/>
                <a:gd name="T23" fmla="*/ 810 h 1360"/>
                <a:gd name="T24" fmla="*/ 941 w 2080"/>
                <a:gd name="T25" fmla="*/ 924 h 1360"/>
                <a:gd name="T26" fmla="*/ 1139 w 2080"/>
                <a:gd name="T27" fmla="*/ 924 h 1360"/>
                <a:gd name="T28" fmla="*/ 2 w 2080"/>
                <a:gd name="T29" fmla="*/ 137 h 1360"/>
                <a:gd name="T30" fmla="*/ 42 w 2080"/>
                <a:gd name="T31" fmla="*/ 201 h 1360"/>
                <a:gd name="T32" fmla="*/ 734 w 2080"/>
                <a:gd name="T33" fmla="*/ 758 h 1360"/>
                <a:gd name="T34" fmla="*/ 0 w 2080"/>
                <a:gd name="T35" fmla="*/ 1266 h 1360"/>
                <a:gd name="T36" fmla="*/ 0 w 2080"/>
                <a:gd name="T37" fmla="*/ 135 h 1360"/>
                <a:gd name="T38" fmla="*/ 2 w 2080"/>
                <a:gd name="T39" fmla="*/ 137 h 1360"/>
                <a:gd name="T40" fmla="*/ 2080 w 2080"/>
                <a:gd name="T41" fmla="*/ 136 h 1360"/>
                <a:gd name="T42" fmla="*/ 2080 w 2080"/>
                <a:gd name="T43" fmla="*/ 1265 h 1360"/>
                <a:gd name="T44" fmla="*/ 1346 w 2080"/>
                <a:gd name="T45" fmla="*/ 758 h 1360"/>
                <a:gd name="T46" fmla="*/ 2038 w 2080"/>
                <a:gd name="T47" fmla="*/ 201 h 1360"/>
                <a:gd name="T48" fmla="*/ 2080 w 2080"/>
                <a:gd name="T49" fmla="*/ 136 h 1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080" h="1360">
                  <a:moveTo>
                    <a:pt x="0" y="65"/>
                  </a:moveTo>
                  <a:cubicBezTo>
                    <a:pt x="0" y="0"/>
                    <a:pt x="0" y="0"/>
                    <a:pt x="0" y="0"/>
                  </a:cubicBezTo>
                  <a:cubicBezTo>
                    <a:pt x="2080" y="0"/>
                    <a:pt x="2080" y="0"/>
                    <a:pt x="2080" y="0"/>
                  </a:cubicBezTo>
                  <a:cubicBezTo>
                    <a:pt x="2080" y="65"/>
                    <a:pt x="2080" y="65"/>
                    <a:pt x="2080" y="65"/>
                  </a:cubicBezTo>
                  <a:cubicBezTo>
                    <a:pt x="1089" y="862"/>
                    <a:pt x="1089" y="862"/>
                    <a:pt x="1089" y="862"/>
                  </a:cubicBezTo>
                  <a:cubicBezTo>
                    <a:pt x="1060" y="886"/>
                    <a:pt x="1020" y="886"/>
                    <a:pt x="991" y="862"/>
                  </a:cubicBezTo>
                  <a:lnTo>
                    <a:pt x="0" y="65"/>
                  </a:lnTo>
                  <a:close/>
                  <a:moveTo>
                    <a:pt x="1139" y="924"/>
                  </a:moveTo>
                  <a:cubicBezTo>
                    <a:pt x="1282" y="810"/>
                    <a:pt x="1282" y="810"/>
                    <a:pt x="1282" y="810"/>
                  </a:cubicBezTo>
                  <a:cubicBezTo>
                    <a:pt x="2076" y="1360"/>
                    <a:pt x="2076" y="1360"/>
                    <a:pt x="2076" y="1360"/>
                  </a:cubicBezTo>
                  <a:cubicBezTo>
                    <a:pt x="4" y="1360"/>
                    <a:pt x="4" y="1360"/>
                    <a:pt x="4" y="1360"/>
                  </a:cubicBezTo>
                  <a:cubicBezTo>
                    <a:pt x="798" y="810"/>
                    <a:pt x="798" y="810"/>
                    <a:pt x="798" y="810"/>
                  </a:cubicBezTo>
                  <a:cubicBezTo>
                    <a:pt x="941" y="924"/>
                    <a:pt x="941" y="924"/>
                    <a:pt x="941" y="924"/>
                  </a:cubicBezTo>
                  <a:cubicBezTo>
                    <a:pt x="1000" y="972"/>
                    <a:pt x="1080" y="972"/>
                    <a:pt x="1139" y="924"/>
                  </a:cubicBezTo>
                  <a:close/>
                  <a:moveTo>
                    <a:pt x="2" y="137"/>
                  </a:moveTo>
                  <a:cubicBezTo>
                    <a:pt x="8" y="163"/>
                    <a:pt x="22" y="185"/>
                    <a:pt x="42" y="201"/>
                  </a:cubicBezTo>
                  <a:cubicBezTo>
                    <a:pt x="734" y="758"/>
                    <a:pt x="734" y="758"/>
                    <a:pt x="734" y="758"/>
                  </a:cubicBezTo>
                  <a:cubicBezTo>
                    <a:pt x="0" y="1266"/>
                    <a:pt x="0" y="1266"/>
                    <a:pt x="0" y="1266"/>
                  </a:cubicBezTo>
                  <a:cubicBezTo>
                    <a:pt x="0" y="135"/>
                    <a:pt x="0" y="135"/>
                    <a:pt x="0" y="135"/>
                  </a:cubicBezTo>
                  <a:lnTo>
                    <a:pt x="2" y="137"/>
                  </a:lnTo>
                  <a:close/>
                  <a:moveTo>
                    <a:pt x="2080" y="136"/>
                  </a:moveTo>
                  <a:cubicBezTo>
                    <a:pt x="2080" y="1265"/>
                    <a:pt x="2080" y="1265"/>
                    <a:pt x="2080" y="1265"/>
                  </a:cubicBezTo>
                  <a:cubicBezTo>
                    <a:pt x="1346" y="758"/>
                    <a:pt x="1346" y="758"/>
                    <a:pt x="1346" y="758"/>
                  </a:cubicBezTo>
                  <a:cubicBezTo>
                    <a:pt x="2038" y="201"/>
                    <a:pt x="2038" y="201"/>
                    <a:pt x="2038" y="201"/>
                  </a:cubicBezTo>
                  <a:cubicBezTo>
                    <a:pt x="2060" y="182"/>
                    <a:pt x="2072" y="162"/>
                    <a:pt x="2080" y="13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000"/>
            </a:p>
          </p:txBody>
        </p:sp>
      </p:grpSp>
      <p:cxnSp>
        <p:nvCxnSpPr>
          <p:cNvPr id="54" name="Straight Connector 53"/>
          <p:cNvCxnSpPr/>
          <p:nvPr/>
        </p:nvCxnSpPr>
        <p:spPr>
          <a:xfrm>
            <a:off x="7287766" y="5653422"/>
            <a:ext cx="3888000" cy="0"/>
          </a:xfrm>
          <a:prstGeom prst="line">
            <a:avLst/>
          </a:prstGeom>
          <a:ln w="6350">
            <a:solidFill>
              <a:schemeClr val="tx2"/>
            </a:solidFill>
            <a:prstDash val="dash"/>
          </a:ln>
        </p:spPr>
        <p:style>
          <a:lnRef idx="1">
            <a:schemeClr val="accent1"/>
          </a:lnRef>
          <a:fillRef idx="0">
            <a:schemeClr val="accent1"/>
          </a:fillRef>
          <a:effectRef idx="0">
            <a:schemeClr val="accent1"/>
          </a:effectRef>
          <a:fontRef idx="minor">
            <a:schemeClr val="tx1"/>
          </a:fontRef>
        </p:style>
      </p:cxnSp>
      <p:sp>
        <p:nvSpPr>
          <p:cNvPr id="55" name="Picture Placeholder 3"/>
          <p:cNvSpPr>
            <a:spLocks noGrp="1"/>
          </p:cNvSpPr>
          <p:nvPr>
            <p:ph type="pic" sz="quarter" idx="35" hasCustomPrompt="1"/>
          </p:nvPr>
        </p:nvSpPr>
        <p:spPr>
          <a:xfrm>
            <a:off x="7287766" y="3984193"/>
            <a:ext cx="1188677" cy="1547840"/>
          </a:xfrm>
          <a:solidFill>
            <a:srgbClr val="D9DADB"/>
          </a:solidFill>
        </p:spPr>
        <p:txBody>
          <a:bodyPr/>
          <a:lstStyle>
            <a:lvl1pPr marL="0" indent="0">
              <a:buNone/>
              <a:defRPr sz="1400"/>
            </a:lvl1pPr>
          </a:lstStyle>
          <a:p>
            <a:r>
              <a:rPr lang="en-US"/>
              <a:t>Insert picture</a:t>
            </a:r>
          </a:p>
        </p:txBody>
      </p:sp>
      <p:sp>
        <p:nvSpPr>
          <p:cNvPr id="56" name="Text Placeholder 5"/>
          <p:cNvSpPr>
            <a:spLocks noGrp="1"/>
          </p:cNvSpPr>
          <p:nvPr>
            <p:ph type="body" sz="quarter" idx="36" hasCustomPrompt="1"/>
          </p:nvPr>
        </p:nvSpPr>
        <p:spPr>
          <a:xfrm>
            <a:off x="8701917" y="3983730"/>
            <a:ext cx="2463190" cy="192360"/>
          </a:xfrm>
        </p:spPr>
        <p:txBody>
          <a:bodyPr lIns="0" tIns="0" rIns="0" bIns="0" anchor="ctr" anchorCtr="0"/>
          <a:lstStyle>
            <a:lvl1pPr marL="0" indent="0" algn="l">
              <a:lnSpc>
                <a:spcPct val="100000"/>
              </a:lnSpc>
              <a:buNone/>
              <a:defRPr sz="100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Country</a:t>
            </a:r>
          </a:p>
        </p:txBody>
      </p:sp>
      <p:sp>
        <p:nvSpPr>
          <p:cNvPr id="57" name="Text Placeholder 5"/>
          <p:cNvSpPr>
            <a:spLocks noGrp="1"/>
          </p:cNvSpPr>
          <p:nvPr>
            <p:ph type="body" sz="quarter" idx="37" hasCustomPrompt="1"/>
          </p:nvPr>
        </p:nvSpPr>
        <p:spPr>
          <a:xfrm>
            <a:off x="8701917" y="4195546"/>
            <a:ext cx="2463190" cy="266182"/>
          </a:xfrm>
        </p:spPr>
        <p:txBody>
          <a:bodyPr lIns="0" tIns="0" rIns="0" bIns="0" anchor="b" anchorCtr="0"/>
          <a:lstStyle>
            <a:lvl1pPr marL="0" indent="0" algn="l">
              <a:lnSpc>
                <a:spcPct val="100000"/>
              </a:lnSpc>
              <a:buNone/>
              <a:defRPr sz="1400" b="1" baseline="0">
                <a:solidFill>
                  <a:schemeClr val="tx2"/>
                </a:solidFill>
              </a:defRPr>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Name, Surname</a:t>
            </a:r>
          </a:p>
        </p:txBody>
      </p:sp>
      <p:sp>
        <p:nvSpPr>
          <p:cNvPr id="58" name="Text Placeholder 5"/>
          <p:cNvSpPr>
            <a:spLocks noGrp="1"/>
          </p:cNvSpPr>
          <p:nvPr>
            <p:ph type="body" sz="quarter" idx="38" hasCustomPrompt="1"/>
          </p:nvPr>
        </p:nvSpPr>
        <p:spPr>
          <a:xfrm>
            <a:off x="8701917" y="4492121"/>
            <a:ext cx="2463190"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Job Position</a:t>
            </a:r>
          </a:p>
        </p:txBody>
      </p:sp>
      <p:sp>
        <p:nvSpPr>
          <p:cNvPr id="59" name="Text Placeholder 5"/>
          <p:cNvSpPr>
            <a:spLocks noGrp="1"/>
          </p:cNvSpPr>
          <p:nvPr>
            <p:ph type="body" sz="quarter" idx="39" hasCustomPrompt="1"/>
          </p:nvPr>
        </p:nvSpPr>
        <p:spPr>
          <a:xfrm>
            <a:off x="8946800" y="5020797"/>
            <a:ext cx="2218307"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Phone number</a:t>
            </a:r>
          </a:p>
        </p:txBody>
      </p:sp>
      <p:sp>
        <p:nvSpPr>
          <p:cNvPr id="60" name="Text Placeholder 5"/>
          <p:cNvSpPr>
            <a:spLocks noGrp="1"/>
          </p:cNvSpPr>
          <p:nvPr>
            <p:ph type="body" sz="quarter" idx="40" hasCustomPrompt="1"/>
          </p:nvPr>
        </p:nvSpPr>
        <p:spPr>
          <a:xfrm>
            <a:off x="8946800" y="5303604"/>
            <a:ext cx="2218307"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Email address</a:t>
            </a:r>
          </a:p>
        </p:txBody>
      </p:sp>
    </p:spTree>
    <p:extLst>
      <p:ext uri="{BB962C8B-B14F-4D97-AF65-F5344CB8AC3E}">
        <p14:creationId xmlns:p14="http://schemas.microsoft.com/office/powerpoint/2010/main" val="2715073522"/>
      </p:ext>
    </p:extLst>
  </p:cSld>
  <p:clrMapOvr>
    <a:masterClrMapping/>
  </p:clrMapOvr>
</p:sldLayout>
</file>

<file path=ppt/slideLayouts/slideLayout439.xml><?xml version="1.0" encoding="utf-8"?>
<p:sldLayout xmlns:a="http://schemas.openxmlformats.org/drawingml/2006/main" xmlns:r="http://schemas.openxmlformats.org/officeDocument/2006/relationships" xmlns:p="http://schemas.openxmlformats.org/presentationml/2006/main" showMasterSp="0" preserve="1">
  <p:cSld name="End slide">
    <p:spTree>
      <p:nvGrpSpPr>
        <p:cNvPr id="1" name=""/>
        <p:cNvGrpSpPr/>
        <p:nvPr/>
      </p:nvGrpSpPr>
      <p:grpSpPr>
        <a:xfrm>
          <a:off x="0" y="0"/>
          <a:ext cx="0" cy="0"/>
          <a:chOff x="0" y="0"/>
          <a:chExt cx="0" cy="0"/>
        </a:xfrm>
      </p:grpSpPr>
      <p:pic>
        <p:nvPicPr>
          <p:cNvPr id="30" name="picture">
            <a:extLst>
              <a:ext uri="{FF2B5EF4-FFF2-40B4-BE49-F238E27FC236}">
                <a16:creationId xmlns:a16="http://schemas.microsoft.com/office/drawing/2014/main" id="{8BF907F5-A9CD-2740-AF54-6BACB62334AE}"/>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2620212" y="-8808"/>
            <a:ext cx="9697299" cy="6866807"/>
          </a:xfrm>
          <a:prstGeom prst="rect">
            <a:avLst/>
          </a:prstGeom>
        </p:spPr>
      </p:pic>
      <p:sp>
        <p:nvSpPr>
          <p:cNvPr id="29" name="shpPicture"/>
          <p:cNvSpPr/>
          <p:nvPr/>
        </p:nvSpPr>
        <p:spPr>
          <a:xfrm>
            <a:off x="0" y="0"/>
            <a:ext cx="4347306" cy="6858000"/>
          </a:xfrm>
          <a:custGeom>
            <a:avLst/>
            <a:gdLst>
              <a:gd name="connsiteX0" fmla="*/ 0 w 4347306"/>
              <a:gd name="connsiteY0" fmla="*/ 0 h 6858000"/>
              <a:gd name="connsiteX1" fmla="*/ 3252806 w 4347306"/>
              <a:gd name="connsiteY1" fmla="*/ 0 h 6858000"/>
              <a:gd name="connsiteX2" fmla="*/ 4347306 w 4347306"/>
              <a:gd name="connsiteY2" fmla="*/ 4140909 h 6858000"/>
              <a:gd name="connsiteX3" fmla="*/ 2943442 w 4347306"/>
              <a:gd name="connsiteY3" fmla="*/ 6858000 h 6858000"/>
              <a:gd name="connsiteX4" fmla="*/ 0 w 4347306"/>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47306" h="6858000">
                <a:moveTo>
                  <a:pt x="0" y="0"/>
                </a:moveTo>
                <a:lnTo>
                  <a:pt x="3252806" y="0"/>
                </a:lnTo>
                <a:lnTo>
                  <a:pt x="4347306" y="4140909"/>
                </a:lnTo>
                <a:lnTo>
                  <a:pt x="2943442"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US" sz="1600"/>
          </a:p>
        </p:txBody>
      </p:sp>
      <p:grpSp>
        <p:nvGrpSpPr>
          <p:cNvPr id="14" name="logo">
            <a:extLst>
              <a:ext uri="{FF2B5EF4-FFF2-40B4-BE49-F238E27FC236}">
                <a16:creationId xmlns:a16="http://schemas.microsoft.com/office/drawing/2014/main" id="{18C26D95-70F8-8A4D-9F18-DCCB92522AF8}"/>
              </a:ext>
            </a:extLst>
          </p:cNvPr>
          <p:cNvGrpSpPr/>
          <p:nvPr/>
        </p:nvGrpSpPr>
        <p:grpSpPr bwMode="gray">
          <a:xfrm>
            <a:off x="417363" y="407485"/>
            <a:ext cx="1518585" cy="646507"/>
            <a:chOff x="334963" y="296652"/>
            <a:chExt cx="1268411" cy="540000"/>
          </a:xfrm>
        </p:grpSpPr>
        <p:sp>
          <p:nvSpPr>
            <p:cNvPr id="17" name="Freeform 6">
              <a:extLst>
                <a:ext uri="{FF2B5EF4-FFF2-40B4-BE49-F238E27FC236}">
                  <a16:creationId xmlns:a16="http://schemas.microsoft.com/office/drawing/2014/main" id="{08737AD0-E375-E445-97E6-CD2E2DF60620}"/>
                </a:ext>
              </a:extLst>
            </p:cNvPr>
            <p:cNvSpPr>
              <a:spLocks noEditPoints="1"/>
            </p:cNvSpPr>
            <p:nvPr/>
          </p:nvSpPr>
          <p:spPr bwMode="gray">
            <a:xfrm>
              <a:off x="982662" y="360462"/>
              <a:ext cx="620712" cy="431800"/>
            </a:xfrm>
            <a:custGeom>
              <a:avLst/>
              <a:gdLst>
                <a:gd name="T0" fmla="*/ 19 w 1809"/>
                <a:gd name="T1" fmla="*/ 97 h 1253"/>
                <a:gd name="T2" fmla="*/ 165 w 1809"/>
                <a:gd name="T3" fmla="*/ 41 h 1253"/>
                <a:gd name="T4" fmla="*/ 211 w 1809"/>
                <a:gd name="T5" fmla="*/ 224 h 1253"/>
                <a:gd name="T6" fmla="*/ 248 w 1809"/>
                <a:gd name="T7" fmla="*/ 155 h 1253"/>
                <a:gd name="T8" fmla="*/ 931 w 1809"/>
                <a:gd name="T9" fmla="*/ 995 h 1253"/>
                <a:gd name="T10" fmla="*/ 858 w 1809"/>
                <a:gd name="T11" fmla="*/ 1115 h 1253"/>
                <a:gd name="T12" fmla="*/ 749 w 1809"/>
                <a:gd name="T13" fmla="*/ 1117 h 1253"/>
                <a:gd name="T14" fmla="*/ 681 w 1809"/>
                <a:gd name="T15" fmla="*/ 1055 h 1253"/>
                <a:gd name="T16" fmla="*/ 800 w 1809"/>
                <a:gd name="T17" fmla="*/ 1054 h 1253"/>
                <a:gd name="T18" fmla="*/ 884 w 1809"/>
                <a:gd name="T19" fmla="*/ 1181 h 1253"/>
                <a:gd name="T20" fmla="*/ 118 w 1809"/>
                <a:gd name="T21" fmla="*/ 1086 h 1253"/>
                <a:gd name="T22" fmla="*/ 147 w 1809"/>
                <a:gd name="T23" fmla="*/ 1026 h 1253"/>
                <a:gd name="T24" fmla="*/ 102 w 1809"/>
                <a:gd name="T25" fmla="*/ 1026 h 1253"/>
                <a:gd name="T26" fmla="*/ 639 w 1809"/>
                <a:gd name="T27" fmla="*/ 84 h 1253"/>
                <a:gd name="T28" fmla="*/ 763 w 1809"/>
                <a:gd name="T29" fmla="*/ 145 h 1253"/>
                <a:gd name="T30" fmla="*/ 863 w 1809"/>
                <a:gd name="T31" fmla="*/ 221 h 1253"/>
                <a:gd name="T32" fmla="*/ 834 w 1809"/>
                <a:gd name="T33" fmla="*/ 208 h 1253"/>
                <a:gd name="T34" fmla="*/ 719 w 1809"/>
                <a:gd name="T35" fmla="*/ 182 h 1253"/>
                <a:gd name="T36" fmla="*/ 507 w 1809"/>
                <a:gd name="T37" fmla="*/ 711 h 1253"/>
                <a:gd name="T38" fmla="*/ 614 w 1809"/>
                <a:gd name="T39" fmla="*/ 706 h 1253"/>
                <a:gd name="T40" fmla="*/ 736 w 1809"/>
                <a:gd name="T41" fmla="*/ 730 h 1253"/>
                <a:gd name="T42" fmla="*/ 607 w 1809"/>
                <a:gd name="T43" fmla="*/ 539 h 1253"/>
                <a:gd name="T44" fmla="*/ 1505 w 1809"/>
                <a:gd name="T45" fmla="*/ 1136 h 1253"/>
                <a:gd name="T46" fmla="*/ 1613 w 1809"/>
                <a:gd name="T47" fmla="*/ 1002 h 1253"/>
                <a:gd name="T48" fmla="*/ 1472 w 1809"/>
                <a:gd name="T49" fmla="*/ 1164 h 1253"/>
                <a:gd name="T50" fmla="*/ 1525 w 1809"/>
                <a:gd name="T51" fmla="*/ 1142 h 1253"/>
                <a:gd name="T52" fmla="*/ 1556 w 1809"/>
                <a:gd name="T53" fmla="*/ 1172 h 1253"/>
                <a:gd name="T54" fmla="*/ 1387 w 1809"/>
                <a:gd name="T55" fmla="*/ 910 h 1253"/>
                <a:gd name="T56" fmla="*/ 1261 w 1809"/>
                <a:gd name="T57" fmla="*/ 1157 h 1253"/>
                <a:gd name="T58" fmla="*/ 1413 w 1809"/>
                <a:gd name="T59" fmla="*/ 934 h 1253"/>
                <a:gd name="T60" fmla="*/ 1378 w 1809"/>
                <a:gd name="T61" fmla="*/ 1052 h 1253"/>
                <a:gd name="T62" fmla="*/ 488 w 1809"/>
                <a:gd name="T63" fmla="*/ 85 h 1253"/>
                <a:gd name="T64" fmla="*/ 509 w 1809"/>
                <a:gd name="T65" fmla="*/ 112 h 1253"/>
                <a:gd name="T66" fmla="*/ 548 w 1809"/>
                <a:gd name="T67" fmla="*/ 1187 h 1253"/>
                <a:gd name="T68" fmla="*/ 472 w 1809"/>
                <a:gd name="T69" fmla="*/ 1122 h 1253"/>
                <a:gd name="T70" fmla="*/ 558 w 1809"/>
                <a:gd name="T71" fmla="*/ 1157 h 1253"/>
                <a:gd name="T72" fmla="*/ 287 w 1809"/>
                <a:gd name="T73" fmla="*/ 654 h 1253"/>
                <a:gd name="T74" fmla="*/ 416 w 1809"/>
                <a:gd name="T75" fmla="*/ 684 h 1253"/>
                <a:gd name="T76" fmla="*/ 1106 w 1809"/>
                <a:gd name="T77" fmla="*/ 147 h 1253"/>
                <a:gd name="T78" fmla="*/ 1229 w 1809"/>
                <a:gd name="T79" fmla="*/ 258 h 1253"/>
                <a:gd name="T80" fmla="*/ 1106 w 1809"/>
                <a:gd name="T81" fmla="*/ 96 h 1253"/>
                <a:gd name="T82" fmla="*/ 1219 w 1809"/>
                <a:gd name="T83" fmla="*/ 1077 h 1253"/>
                <a:gd name="T84" fmla="*/ 1214 w 1809"/>
                <a:gd name="T85" fmla="*/ 1157 h 1253"/>
                <a:gd name="T86" fmla="*/ 1150 w 1809"/>
                <a:gd name="T87" fmla="*/ 1092 h 1253"/>
                <a:gd name="T88" fmla="*/ 1139 w 1809"/>
                <a:gd name="T89" fmla="*/ 1070 h 1253"/>
                <a:gd name="T90" fmla="*/ 1659 w 1809"/>
                <a:gd name="T91" fmla="*/ 1031 h 1253"/>
                <a:gd name="T92" fmla="*/ 1714 w 1809"/>
                <a:gd name="T93" fmla="*/ 1155 h 1253"/>
                <a:gd name="T94" fmla="*/ 1760 w 1809"/>
                <a:gd name="T95" fmla="*/ 1030 h 1253"/>
                <a:gd name="T96" fmla="*/ 111 w 1809"/>
                <a:gd name="T97" fmla="*/ 569 h 1253"/>
                <a:gd name="T98" fmla="*/ 109 w 1809"/>
                <a:gd name="T99" fmla="*/ 460 h 1253"/>
                <a:gd name="T100" fmla="*/ 32 w 1809"/>
                <a:gd name="T101" fmla="*/ 704 h 1253"/>
                <a:gd name="T102" fmla="*/ 310 w 1809"/>
                <a:gd name="T103" fmla="*/ 1058 h 1253"/>
                <a:gd name="T104" fmla="*/ 431 w 1809"/>
                <a:gd name="T105" fmla="*/ 1044 h 1253"/>
                <a:gd name="T106" fmla="*/ 278 w 1809"/>
                <a:gd name="T107" fmla="*/ 1165 h 1253"/>
                <a:gd name="T108" fmla="*/ 261 w 1809"/>
                <a:gd name="T109" fmla="*/ 540 h 1253"/>
                <a:gd name="T110" fmla="*/ 150 w 1809"/>
                <a:gd name="T111" fmla="*/ 635 h 1253"/>
                <a:gd name="T112" fmla="*/ 994 w 1809"/>
                <a:gd name="T113" fmla="*/ 1185 h 1253"/>
                <a:gd name="T114" fmla="*/ 331 w 1809"/>
                <a:gd name="T115" fmla="*/ 176 h 1253"/>
                <a:gd name="T116" fmla="*/ 333 w 1809"/>
                <a:gd name="T117" fmla="*/ 109 h 1253"/>
                <a:gd name="T118" fmla="*/ 946 w 1809"/>
                <a:gd name="T119" fmla="*/ 234 h 1253"/>
                <a:gd name="T120" fmla="*/ 1022 w 1809"/>
                <a:gd name="T121" fmla="*/ 113 h 1253"/>
                <a:gd name="T122" fmla="*/ 949 w 1809"/>
                <a:gd name="T123" fmla="*/ 65 h 1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09" h="1253">
                  <a:moveTo>
                    <a:pt x="248" y="198"/>
                  </a:moveTo>
                  <a:cubicBezTo>
                    <a:pt x="248" y="211"/>
                    <a:pt x="248" y="224"/>
                    <a:pt x="249" y="237"/>
                  </a:cubicBezTo>
                  <a:cubicBezTo>
                    <a:pt x="249" y="245"/>
                    <a:pt x="246" y="249"/>
                    <a:pt x="240" y="253"/>
                  </a:cubicBezTo>
                  <a:cubicBezTo>
                    <a:pt x="231" y="260"/>
                    <a:pt x="220" y="264"/>
                    <a:pt x="209" y="268"/>
                  </a:cubicBezTo>
                  <a:cubicBezTo>
                    <a:pt x="179" y="279"/>
                    <a:pt x="148" y="280"/>
                    <a:pt x="118" y="275"/>
                  </a:cubicBezTo>
                  <a:cubicBezTo>
                    <a:pt x="86" y="269"/>
                    <a:pt x="58" y="252"/>
                    <a:pt x="39" y="224"/>
                  </a:cubicBezTo>
                  <a:cubicBezTo>
                    <a:pt x="24" y="203"/>
                    <a:pt x="18" y="180"/>
                    <a:pt x="15" y="155"/>
                  </a:cubicBezTo>
                  <a:cubicBezTo>
                    <a:pt x="11" y="135"/>
                    <a:pt x="15" y="115"/>
                    <a:pt x="19" y="97"/>
                  </a:cubicBezTo>
                  <a:cubicBezTo>
                    <a:pt x="26" y="68"/>
                    <a:pt x="42" y="44"/>
                    <a:pt x="68" y="27"/>
                  </a:cubicBezTo>
                  <a:cubicBezTo>
                    <a:pt x="87" y="14"/>
                    <a:pt x="109" y="6"/>
                    <a:pt x="133" y="5"/>
                  </a:cubicBezTo>
                  <a:cubicBezTo>
                    <a:pt x="149" y="4"/>
                    <a:pt x="165" y="5"/>
                    <a:pt x="181" y="6"/>
                  </a:cubicBezTo>
                  <a:cubicBezTo>
                    <a:pt x="204" y="8"/>
                    <a:pt x="225" y="20"/>
                    <a:pt x="243" y="35"/>
                  </a:cubicBezTo>
                  <a:cubicBezTo>
                    <a:pt x="246" y="37"/>
                    <a:pt x="246" y="40"/>
                    <a:pt x="244" y="43"/>
                  </a:cubicBezTo>
                  <a:cubicBezTo>
                    <a:pt x="242" y="47"/>
                    <a:pt x="239" y="52"/>
                    <a:pt x="236" y="55"/>
                  </a:cubicBezTo>
                  <a:cubicBezTo>
                    <a:pt x="226" y="65"/>
                    <a:pt x="224" y="65"/>
                    <a:pt x="206" y="54"/>
                  </a:cubicBezTo>
                  <a:cubicBezTo>
                    <a:pt x="193" y="46"/>
                    <a:pt x="180" y="40"/>
                    <a:pt x="165" y="41"/>
                  </a:cubicBezTo>
                  <a:cubicBezTo>
                    <a:pt x="151" y="41"/>
                    <a:pt x="137" y="39"/>
                    <a:pt x="124" y="42"/>
                  </a:cubicBezTo>
                  <a:cubicBezTo>
                    <a:pt x="104" y="46"/>
                    <a:pt x="87" y="57"/>
                    <a:pt x="75" y="74"/>
                  </a:cubicBezTo>
                  <a:cubicBezTo>
                    <a:pt x="56" y="99"/>
                    <a:pt x="51" y="129"/>
                    <a:pt x="55" y="159"/>
                  </a:cubicBezTo>
                  <a:cubicBezTo>
                    <a:pt x="60" y="189"/>
                    <a:pt x="73" y="214"/>
                    <a:pt x="98" y="230"/>
                  </a:cubicBezTo>
                  <a:cubicBezTo>
                    <a:pt x="109" y="237"/>
                    <a:pt x="121" y="242"/>
                    <a:pt x="135" y="241"/>
                  </a:cubicBezTo>
                  <a:cubicBezTo>
                    <a:pt x="146" y="241"/>
                    <a:pt x="158" y="241"/>
                    <a:pt x="169" y="241"/>
                  </a:cubicBezTo>
                  <a:cubicBezTo>
                    <a:pt x="182" y="242"/>
                    <a:pt x="193" y="235"/>
                    <a:pt x="205" y="232"/>
                  </a:cubicBezTo>
                  <a:cubicBezTo>
                    <a:pt x="210" y="231"/>
                    <a:pt x="211" y="227"/>
                    <a:pt x="211" y="224"/>
                  </a:cubicBezTo>
                  <a:cubicBezTo>
                    <a:pt x="211" y="210"/>
                    <a:pt x="211" y="196"/>
                    <a:pt x="211" y="183"/>
                  </a:cubicBezTo>
                  <a:cubicBezTo>
                    <a:pt x="211" y="177"/>
                    <a:pt x="207" y="175"/>
                    <a:pt x="202" y="175"/>
                  </a:cubicBezTo>
                  <a:cubicBezTo>
                    <a:pt x="193" y="175"/>
                    <a:pt x="184" y="175"/>
                    <a:pt x="175" y="175"/>
                  </a:cubicBezTo>
                  <a:cubicBezTo>
                    <a:pt x="171" y="175"/>
                    <a:pt x="168" y="174"/>
                    <a:pt x="166" y="171"/>
                  </a:cubicBezTo>
                  <a:cubicBezTo>
                    <a:pt x="163" y="163"/>
                    <a:pt x="164" y="154"/>
                    <a:pt x="166" y="146"/>
                  </a:cubicBezTo>
                  <a:cubicBezTo>
                    <a:pt x="167" y="142"/>
                    <a:pt x="171" y="142"/>
                    <a:pt x="175" y="142"/>
                  </a:cubicBezTo>
                  <a:cubicBezTo>
                    <a:pt x="196" y="142"/>
                    <a:pt x="217" y="142"/>
                    <a:pt x="238" y="142"/>
                  </a:cubicBezTo>
                  <a:cubicBezTo>
                    <a:pt x="247" y="142"/>
                    <a:pt x="248" y="148"/>
                    <a:pt x="248" y="155"/>
                  </a:cubicBezTo>
                  <a:cubicBezTo>
                    <a:pt x="249" y="169"/>
                    <a:pt x="248" y="183"/>
                    <a:pt x="248" y="198"/>
                  </a:cubicBezTo>
                  <a:close/>
                  <a:moveTo>
                    <a:pt x="884" y="1181"/>
                  </a:moveTo>
                  <a:cubicBezTo>
                    <a:pt x="889" y="1167"/>
                    <a:pt x="894" y="1152"/>
                    <a:pt x="898" y="1137"/>
                  </a:cubicBezTo>
                  <a:cubicBezTo>
                    <a:pt x="901" y="1127"/>
                    <a:pt x="905" y="1116"/>
                    <a:pt x="908" y="1106"/>
                  </a:cubicBezTo>
                  <a:cubicBezTo>
                    <a:pt x="911" y="1098"/>
                    <a:pt x="912" y="1089"/>
                    <a:pt x="916" y="1081"/>
                  </a:cubicBezTo>
                  <a:cubicBezTo>
                    <a:pt x="921" y="1072"/>
                    <a:pt x="923" y="1060"/>
                    <a:pt x="927" y="1050"/>
                  </a:cubicBezTo>
                  <a:cubicBezTo>
                    <a:pt x="932" y="1037"/>
                    <a:pt x="934" y="1023"/>
                    <a:pt x="940" y="1010"/>
                  </a:cubicBezTo>
                  <a:cubicBezTo>
                    <a:pt x="945" y="1001"/>
                    <a:pt x="941" y="995"/>
                    <a:pt x="931" y="995"/>
                  </a:cubicBezTo>
                  <a:cubicBezTo>
                    <a:pt x="927" y="995"/>
                    <a:pt x="922" y="995"/>
                    <a:pt x="918" y="995"/>
                  </a:cubicBezTo>
                  <a:cubicBezTo>
                    <a:pt x="913" y="995"/>
                    <a:pt x="908" y="997"/>
                    <a:pt x="907" y="1001"/>
                  </a:cubicBezTo>
                  <a:cubicBezTo>
                    <a:pt x="904" y="1008"/>
                    <a:pt x="900" y="1015"/>
                    <a:pt x="899" y="1023"/>
                  </a:cubicBezTo>
                  <a:cubicBezTo>
                    <a:pt x="897" y="1034"/>
                    <a:pt x="893" y="1045"/>
                    <a:pt x="889" y="1055"/>
                  </a:cubicBezTo>
                  <a:cubicBezTo>
                    <a:pt x="887" y="1064"/>
                    <a:pt x="885" y="1072"/>
                    <a:pt x="882" y="1080"/>
                  </a:cubicBezTo>
                  <a:cubicBezTo>
                    <a:pt x="878" y="1091"/>
                    <a:pt x="874" y="1103"/>
                    <a:pt x="871" y="1115"/>
                  </a:cubicBezTo>
                  <a:cubicBezTo>
                    <a:pt x="870" y="1118"/>
                    <a:pt x="871" y="1124"/>
                    <a:pt x="866" y="1124"/>
                  </a:cubicBezTo>
                  <a:cubicBezTo>
                    <a:pt x="861" y="1125"/>
                    <a:pt x="859" y="1120"/>
                    <a:pt x="858" y="1115"/>
                  </a:cubicBezTo>
                  <a:cubicBezTo>
                    <a:pt x="856" y="1110"/>
                    <a:pt x="856" y="1104"/>
                    <a:pt x="854" y="1099"/>
                  </a:cubicBezTo>
                  <a:cubicBezTo>
                    <a:pt x="848" y="1080"/>
                    <a:pt x="841" y="1062"/>
                    <a:pt x="835" y="1044"/>
                  </a:cubicBezTo>
                  <a:cubicBezTo>
                    <a:pt x="831" y="1030"/>
                    <a:pt x="828" y="1016"/>
                    <a:pt x="822" y="1003"/>
                  </a:cubicBezTo>
                  <a:cubicBezTo>
                    <a:pt x="819" y="997"/>
                    <a:pt x="814" y="994"/>
                    <a:pt x="808" y="994"/>
                  </a:cubicBezTo>
                  <a:cubicBezTo>
                    <a:pt x="799" y="993"/>
                    <a:pt x="791" y="993"/>
                    <a:pt x="787" y="1001"/>
                  </a:cubicBezTo>
                  <a:cubicBezTo>
                    <a:pt x="783" y="1008"/>
                    <a:pt x="780" y="1015"/>
                    <a:pt x="779" y="1022"/>
                  </a:cubicBezTo>
                  <a:cubicBezTo>
                    <a:pt x="778" y="1034"/>
                    <a:pt x="772" y="1044"/>
                    <a:pt x="769" y="1055"/>
                  </a:cubicBezTo>
                  <a:cubicBezTo>
                    <a:pt x="762" y="1076"/>
                    <a:pt x="754" y="1096"/>
                    <a:pt x="749" y="1117"/>
                  </a:cubicBezTo>
                  <a:cubicBezTo>
                    <a:pt x="748" y="1120"/>
                    <a:pt x="747" y="1124"/>
                    <a:pt x="742" y="1124"/>
                  </a:cubicBezTo>
                  <a:cubicBezTo>
                    <a:pt x="737" y="1124"/>
                    <a:pt x="737" y="1120"/>
                    <a:pt x="736" y="1116"/>
                  </a:cubicBezTo>
                  <a:cubicBezTo>
                    <a:pt x="734" y="1104"/>
                    <a:pt x="730" y="1092"/>
                    <a:pt x="726" y="1080"/>
                  </a:cubicBezTo>
                  <a:cubicBezTo>
                    <a:pt x="720" y="1061"/>
                    <a:pt x="714" y="1040"/>
                    <a:pt x="708" y="1020"/>
                  </a:cubicBezTo>
                  <a:cubicBezTo>
                    <a:pt x="703" y="1000"/>
                    <a:pt x="698" y="994"/>
                    <a:pt x="676" y="995"/>
                  </a:cubicBezTo>
                  <a:cubicBezTo>
                    <a:pt x="665" y="996"/>
                    <a:pt x="661" y="1001"/>
                    <a:pt x="667" y="1011"/>
                  </a:cubicBezTo>
                  <a:cubicBezTo>
                    <a:pt x="669" y="1016"/>
                    <a:pt x="670" y="1021"/>
                    <a:pt x="672" y="1025"/>
                  </a:cubicBezTo>
                  <a:cubicBezTo>
                    <a:pt x="675" y="1035"/>
                    <a:pt x="678" y="1046"/>
                    <a:pt x="681" y="1055"/>
                  </a:cubicBezTo>
                  <a:cubicBezTo>
                    <a:pt x="685" y="1068"/>
                    <a:pt x="689" y="1080"/>
                    <a:pt x="693" y="1092"/>
                  </a:cubicBezTo>
                  <a:cubicBezTo>
                    <a:pt x="697" y="1103"/>
                    <a:pt x="699" y="1113"/>
                    <a:pt x="703" y="1124"/>
                  </a:cubicBezTo>
                  <a:cubicBezTo>
                    <a:pt x="707" y="1136"/>
                    <a:pt x="711" y="1147"/>
                    <a:pt x="715" y="1160"/>
                  </a:cubicBezTo>
                  <a:cubicBezTo>
                    <a:pt x="717" y="1168"/>
                    <a:pt x="720" y="1176"/>
                    <a:pt x="724" y="1183"/>
                  </a:cubicBezTo>
                  <a:cubicBezTo>
                    <a:pt x="728" y="1189"/>
                    <a:pt x="752" y="1185"/>
                    <a:pt x="757" y="1180"/>
                  </a:cubicBezTo>
                  <a:cubicBezTo>
                    <a:pt x="764" y="1173"/>
                    <a:pt x="762" y="1163"/>
                    <a:pt x="766" y="1156"/>
                  </a:cubicBezTo>
                  <a:cubicBezTo>
                    <a:pt x="774" y="1140"/>
                    <a:pt x="778" y="1122"/>
                    <a:pt x="784" y="1105"/>
                  </a:cubicBezTo>
                  <a:cubicBezTo>
                    <a:pt x="789" y="1088"/>
                    <a:pt x="796" y="1072"/>
                    <a:pt x="800" y="1054"/>
                  </a:cubicBezTo>
                  <a:cubicBezTo>
                    <a:pt x="800" y="1053"/>
                    <a:pt x="801" y="1050"/>
                    <a:pt x="803" y="1050"/>
                  </a:cubicBezTo>
                  <a:cubicBezTo>
                    <a:pt x="806" y="1050"/>
                    <a:pt x="806" y="1052"/>
                    <a:pt x="807" y="1055"/>
                  </a:cubicBezTo>
                  <a:cubicBezTo>
                    <a:pt x="807" y="1060"/>
                    <a:pt x="810" y="1066"/>
                    <a:pt x="811" y="1071"/>
                  </a:cubicBezTo>
                  <a:cubicBezTo>
                    <a:pt x="814" y="1081"/>
                    <a:pt x="818" y="1090"/>
                    <a:pt x="821" y="1099"/>
                  </a:cubicBezTo>
                  <a:cubicBezTo>
                    <a:pt x="824" y="1110"/>
                    <a:pt x="827" y="1120"/>
                    <a:pt x="831" y="1131"/>
                  </a:cubicBezTo>
                  <a:cubicBezTo>
                    <a:pt x="834" y="1142"/>
                    <a:pt x="839" y="1153"/>
                    <a:pt x="842" y="1164"/>
                  </a:cubicBezTo>
                  <a:cubicBezTo>
                    <a:pt x="846" y="1179"/>
                    <a:pt x="850" y="1188"/>
                    <a:pt x="869" y="1185"/>
                  </a:cubicBezTo>
                  <a:cubicBezTo>
                    <a:pt x="873" y="1184"/>
                    <a:pt x="881" y="1189"/>
                    <a:pt x="884" y="1181"/>
                  </a:cubicBezTo>
                  <a:close/>
                  <a:moveTo>
                    <a:pt x="33" y="1051"/>
                  </a:moveTo>
                  <a:cubicBezTo>
                    <a:pt x="33" y="1087"/>
                    <a:pt x="33" y="1124"/>
                    <a:pt x="33" y="1160"/>
                  </a:cubicBezTo>
                  <a:cubicBezTo>
                    <a:pt x="33" y="1188"/>
                    <a:pt x="29" y="1184"/>
                    <a:pt x="58" y="1185"/>
                  </a:cubicBezTo>
                  <a:cubicBezTo>
                    <a:pt x="72" y="1185"/>
                    <a:pt x="73" y="1184"/>
                    <a:pt x="73" y="1170"/>
                  </a:cubicBezTo>
                  <a:cubicBezTo>
                    <a:pt x="73" y="1138"/>
                    <a:pt x="73" y="1107"/>
                    <a:pt x="73" y="1076"/>
                  </a:cubicBezTo>
                  <a:cubicBezTo>
                    <a:pt x="73" y="1071"/>
                    <a:pt x="72" y="1067"/>
                    <a:pt x="78" y="1065"/>
                  </a:cubicBezTo>
                  <a:cubicBezTo>
                    <a:pt x="91" y="1062"/>
                    <a:pt x="102" y="1067"/>
                    <a:pt x="110" y="1076"/>
                  </a:cubicBezTo>
                  <a:cubicBezTo>
                    <a:pt x="112" y="1080"/>
                    <a:pt x="115" y="1083"/>
                    <a:pt x="118" y="1086"/>
                  </a:cubicBezTo>
                  <a:cubicBezTo>
                    <a:pt x="132" y="1103"/>
                    <a:pt x="146" y="1119"/>
                    <a:pt x="161" y="1136"/>
                  </a:cubicBezTo>
                  <a:cubicBezTo>
                    <a:pt x="173" y="1150"/>
                    <a:pt x="186" y="1165"/>
                    <a:pt x="198" y="1179"/>
                  </a:cubicBezTo>
                  <a:cubicBezTo>
                    <a:pt x="207" y="1188"/>
                    <a:pt x="218" y="1184"/>
                    <a:pt x="228" y="1185"/>
                  </a:cubicBezTo>
                  <a:cubicBezTo>
                    <a:pt x="233" y="1185"/>
                    <a:pt x="241" y="1188"/>
                    <a:pt x="244" y="1182"/>
                  </a:cubicBezTo>
                  <a:cubicBezTo>
                    <a:pt x="246" y="1178"/>
                    <a:pt x="239" y="1173"/>
                    <a:pt x="235" y="1169"/>
                  </a:cubicBezTo>
                  <a:cubicBezTo>
                    <a:pt x="206" y="1133"/>
                    <a:pt x="176" y="1098"/>
                    <a:pt x="146" y="1062"/>
                  </a:cubicBezTo>
                  <a:cubicBezTo>
                    <a:pt x="141" y="1056"/>
                    <a:pt x="131" y="1052"/>
                    <a:pt x="132" y="1044"/>
                  </a:cubicBezTo>
                  <a:cubicBezTo>
                    <a:pt x="132" y="1036"/>
                    <a:pt x="142" y="1032"/>
                    <a:pt x="147" y="1026"/>
                  </a:cubicBezTo>
                  <a:cubicBezTo>
                    <a:pt x="164" y="1006"/>
                    <a:pt x="182" y="988"/>
                    <a:pt x="198" y="968"/>
                  </a:cubicBezTo>
                  <a:cubicBezTo>
                    <a:pt x="209" y="954"/>
                    <a:pt x="221" y="942"/>
                    <a:pt x="234" y="929"/>
                  </a:cubicBezTo>
                  <a:cubicBezTo>
                    <a:pt x="236" y="926"/>
                    <a:pt x="238" y="923"/>
                    <a:pt x="237" y="920"/>
                  </a:cubicBezTo>
                  <a:cubicBezTo>
                    <a:pt x="235" y="915"/>
                    <a:pt x="231" y="917"/>
                    <a:pt x="228" y="917"/>
                  </a:cubicBezTo>
                  <a:cubicBezTo>
                    <a:pt x="224" y="918"/>
                    <a:pt x="221" y="918"/>
                    <a:pt x="217" y="918"/>
                  </a:cubicBezTo>
                  <a:cubicBezTo>
                    <a:pt x="204" y="917"/>
                    <a:pt x="193" y="922"/>
                    <a:pt x="185" y="931"/>
                  </a:cubicBezTo>
                  <a:cubicBezTo>
                    <a:pt x="172" y="946"/>
                    <a:pt x="158" y="961"/>
                    <a:pt x="145" y="977"/>
                  </a:cubicBezTo>
                  <a:cubicBezTo>
                    <a:pt x="131" y="993"/>
                    <a:pt x="117" y="1010"/>
                    <a:pt x="102" y="1026"/>
                  </a:cubicBezTo>
                  <a:cubicBezTo>
                    <a:pt x="96" y="1032"/>
                    <a:pt x="87" y="1037"/>
                    <a:pt x="78" y="1034"/>
                  </a:cubicBezTo>
                  <a:cubicBezTo>
                    <a:pt x="70" y="1030"/>
                    <a:pt x="73" y="1021"/>
                    <a:pt x="73" y="1015"/>
                  </a:cubicBezTo>
                  <a:cubicBezTo>
                    <a:pt x="73" y="991"/>
                    <a:pt x="73" y="967"/>
                    <a:pt x="73" y="944"/>
                  </a:cubicBezTo>
                  <a:cubicBezTo>
                    <a:pt x="73" y="916"/>
                    <a:pt x="75" y="917"/>
                    <a:pt x="46" y="918"/>
                  </a:cubicBezTo>
                  <a:cubicBezTo>
                    <a:pt x="33" y="918"/>
                    <a:pt x="33" y="918"/>
                    <a:pt x="33" y="931"/>
                  </a:cubicBezTo>
                  <a:cubicBezTo>
                    <a:pt x="33" y="971"/>
                    <a:pt x="33" y="1011"/>
                    <a:pt x="33" y="1051"/>
                  </a:cubicBezTo>
                  <a:cubicBezTo>
                    <a:pt x="33" y="1051"/>
                    <a:pt x="33" y="1051"/>
                    <a:pt x="33" y="1051"/>
                  </a:cubicBezTo>
                  <a:close/>
                  <a:moveTo>
                    <a:pt x="639" y="84"/>
                  </a:moveTo>
                  <a:cubicBezTo>
                    <a:pt x="627" y="84"/>
                    <a:pt x="626" y="84"/>
                    <a:pt x="629" y="95"/>
                  </a:cubicBezTo>
                  <a:cubicBezTo>
                    <a:pt x="634" y="113"/>
                    <a:pt x="640" y="131"/>
                    <a:pt x="646" y="148"/>
                  </a:cubicBezTo>
                  <a:cubicBezTo>
                    <a:pt x="652" y="166"/>
                    <a:pt x="658" y="185"/>
                    <a:pt x="664" y="203"/>
                  </a:cubicBezTo>
                  <a:cubicBezTo>
                    <a:pt x="671" y="223"/>
                    <a:pt x="676" y="244"/>
                    <a:pt x="684" y="264"/>
                  </a:cubicBezTo>
                  <a:cubicBezTo>
                    <a:pt x="688" y="274"/>
                    <a:pt x="694" y="274"/>
                    <a:pt x="702" y="274"/>
                  </a:cubicBezTo>
                  <a:cubicBezTo>
                    <a:pt x="711" y="274"/>
                    <a:pt x="719" y="272"/>
                    <a:pt x="723" y="263"/>
                  </a:cubicBezTo>
                  <a:cubicBezTo>
                    <a:pt x="733" y="236"/>
                    <a:pt x="741" y="208"/>
                    <a:pt x="750" y="181"/>
                  </a:cubicBezTo>
                  <a:cubicBezTo>
                    <a:pt x="754" y="169"/>
                    <a:pt x="757" y="156"/>
                    <a:pt x="763" y="145"/>
                  </a:cubicBezTo>
                  <a:cubicBezTo>
                    <a:pt x="764" y="143"/>
                    <a:pt x="764" y="140"/>
                    <a:pt x="767" y="140"/>
                  </a:cubicBezTo>
                  <a:cubicBezTo>
                    <a:pt x="770" y="140"/>
                    <a:pt x="770" y="143"/>
                    <a:pt x="771" y="145"/>
                  </a:cubicBezTo>
                  <a:cubicBezTo>
                    <a:pt x="771" y="156"/>
                    <a:pt x="777" y="165"/>
                    <a:pt x="780" y="175"/>
                  </a:cubicBezTo>
                  <a:cubicBezTo>
                    <a:pt x="782" y="184"/>
                    <a:pt x="785" y="193"/>
                    <a:pt x="788" y="201"/>
                  </a:cubicBezTo>
                  <a:cubicBezTo>
                    <a:pt x="794" y="219"/>
                    <a:pt x="801" y="237"/>
                    <a:pt x="806" y="255"/>
                  </a:cubicBezTo>
                  <a:cubicBezTo>
                    <a:pt x="811" y="272"/>
                    <a:pt x="825" y="280"/>
                    <a:pt x="842" y="273"/>
                  </a:cubicBezTo>
                  <a:cubicBezTo>
                    <a:pt x="845" y="271"/>
                    <a:pt x="847" y="269"/>
                    <a:pt x="848" y="266"/>
                  </a:cubicBezTo>
                  <a:cubicBezTo>
                    <a:pt x="853" y="251"/>
                    <a:pt x="859" y="236"/>
                    <a:pt x="863" y="221"/>
                  </a:cubicBezTo>
                  <a:cubicBezTo>
                    <a:pt x="867" y="202"/>
                    <a:pt x="875" y="185"/>
                    <a:pt x="880" y="166"/>
                  </a:cubicBezTo>
                  <a:cubicBezTo>
                    <a:pt x="886" y="144"/>
                    <a:pt x="895" y="123"/>
                    <a:pt x="900" y="101"/>
                  </a:cubicBezTo>
                  <a:cubicBezTo>
                    <a:pt x="901" y="96"/>
                    <a:pt x="909" y="91"/>
                    <a:pt x="904" y="86"/>
                  </a:cubicBezTo>
                  <a:cubicBezTo>
                    <a:pt x="900" y="81"/>
                    <a:pt x="892" y="84"/>
                    <a:pt x="886" y="84"/>
                  </a:cubicBezTo>
                  <a:cubicBezTo>
                    <a:pt x="885" y="84"/>
                    <a:pt x="883" y="84"/>
                    <a:pt x="881" y="84"/>
                  </a:cubicBezTo>
                  <a:cubicBezTo>
                    <a:pt x="875" y="84"/>
                    <a:pt x="872" y="86"/>
                    <a:pt x="869" y="91"/>
                  </a:cubicBezTo>
                  <a:cubicBezTo>
                    <a:pt x="860" y="110"/>
                    <a:pt x="856" y="131"/>
                    <a:pt x="850" y="151"/>
                  </a:cubicBezTo>
                  <a:cubicBezTo>
                    <a:pt x="844" y="170"/>
                    <a:pt x="836" y="188"/>
                    <a:pt x="834" y="208"/>
                  </a:cubicBezTo>
                  <a:cubicBezTo>
                    <a:pt x="833" y="211"/>
                    <a:pt x="831" y="214"/>
                    <a:pt x="827" y="214"/>
                  </a:cubicBezTo>
                  <a:cubicBezTo>
                    <a:pt x="823" y="214"/>
                    <a:pt x="822" y="210"/>
                    <a:pt x="822" y="207"/>
                  </a:cubicBezTo>
                  <a:cubicBezTo>
                    <a:pt x="817" y="188"/>
                    <a:pt x="811" y="170"/>
                    <a:pt x="805" y="152"/>
                  </a:cubicBezTo>
                  <a:cubicBezTo>
                    <a:pt x="799" y="133"/>
                    <a:pt x="794" y="114"/>
                    <a:pt x="786" y="96"/>
                  </a:cubicBezTo>
                  <a:cubicBezTo>
                    <a:pt x="783" y="87"/>
                    <a:pt x="779" y="84"/>
                    <a:pt x="770" y="84"/>
                  </a:cubicBezTo>
                  <a:cubicBezTo>
                    <a:pt x="761" y="84"/>
                    <a:pt x="752" y="82"/>
                    <a:pt x="748" y="94"/>
                  </a:cubicBezTo>
                  <a:cubicBezTo>
                    <a:pt x="744" y="109"/>
                    <a:pt x="738" y="123"/>
                    <a:pt x="734" y="138"/>
                  </a:cubicBezTo>
                  <a:cubicBezTo>
                    <a:pt x="729" y="153"/>
                    <a:pt x="724" y="167"/>
                    <a:pt x="719" y="182"/>
                  </a:cubicBezTo>
                  <a:cubicBezTo>
                    <a:pt x="716" y="192"/>
                    <a:pt x="715" y="203"/>
                    <a:pt x="708" y="212"/>
                  </a:cubicBezTo>
                  <a:cubicBezTo>
                    <a:pt x="707" y="214"/>
                    <a:pt x="707" y="217"/>
                    <a:pt x="704" y="217"/>
                  </a:cubicBezTo>
                  <a:cubicBezTo>
                    <a:pt x="701" y="217"/>
                    <a:pt x="701" y="213"/>
                    <a:pt x="700" y="211"/>
                  </a:cubicBezTo>
                  <a:cubicBezTo>
                    <a:pt x="699" y="198"/>
                    <a:pt x="694" y="186"/>
                    <a:pt x="690" y="174"/>
                  </a:cubicBezTo>
                  <a:cubicBezTo>
                    <a:pt x="684" y="153"/>
                    <a:pt x="677" y="131"/>
                    <a:pt x="672" y="110"/>
                  </a:cubicBezTo>
                  <a:cubicBezTo>
                    <a:pt x="667" y="88"/>
                    <a:pt x="663" y="84"/>
                    <a:pt x="645" y="84"/>
                  </a:cubicBezTo>
                  <a:cubicBezTo>
                    <a:pt x="643" y="84"/>
                    <a:pt x="641" y="84"/>
                    <a:pt x="639" y="84"/>
                  </a:cubicBezTo>
                  <a:close/>
                  <a:moveTo>
                    <a:pt x="507" y="711"/>
                  </a:moveTo>
                  <a:cubicBezTo>
                    <a:pt x="507" y="730"/>
                    <a:pt x="507" y="730"/>
                    <a:pt x="526" y="730"/>
                  </a:cubicBezTo>
                  <a:cubicBezTo>
                    <a:pt x="539" y="730"/>
                    <a:pt x="541" y="729"/>
                    <a:pt x="541" y="715"/>
                  </a:cubicBezTo>
                  <a:cubicBezTo>
                    <a:pt x="541" y="677"/>
                    <a:pt x="541" y="638"/>
                    <a:pt x="540" y="600"/>
                  </a:cubicBezTo>
                  <a:cubicBezTo>
                    <a:pt x="540" y="593"/>
                    <a:pt x="543" y="587"/>
                    <a:pt x="548" y="582"/>
                  </a:cubicBezTo>
                  <a:cubicBezTo>
                    <a:pt x="553" y="576"/>
                    <a:pt x="559" y="573"/>
                    <a:pt x="564" y="569"/>
                  </a:cubicBezTo>
                  <a:cubicBezTo>
                    <a:pt x="574" y="564"/>
                    <a:pt x="594" y="566"/>
                    <a:pt x="602" y="574"/>
                  </a:cubicBezTo>
                  <a:cubicBezTo>
                    <a:pt x="611" y="582"/>
                    <a:pt x="614" y="592"/>
                    <a:pt x="614" y="604"/>
                  </a:cubicBezTo>
                  <a:cubicBezTo>
                    <a:pt x="614" y="638"/>
                    <a:pt x="614" y="672"/>
                    <a:pt x="614" y="706"/>
                  </a:cubicBezTo>
                  <a:cubicBezTo>
                    <a:pt x="614" y="730"/>
                    <a:pt x="614" y="730"/>
                    <a:pt x="638" y="730"/>
                  </a:cubicBezTo>
                  <a:cubicBezTo>
                    <a:pt x="650" y="730"/>
                    <a:pt x="650" y="730"/>
                    <a:pt x="650" y="717"/>
                  </a:cubicBezTo>
                  <a:cubicBezTo>
                    <a:pt x="650" y="684"/>
                    <a:pt x="650" y="650"/>
                    <a:pt x="650" y="617"/>
                  </a:cubicBezTo>
                  <a:cubicBezTo>
                    <a:pt x="650" y="606"/>
                    <a:pt x="651" y="597"/>
                    <a:pt x="657" y="586"/>
                  </a:cubicBezTo>
                  <a:cubicBezTo>
                    <a:pt x="667" y="565"/>
                    <a:pt x="703" y="560"/>
                    <a:pt x="716" y="579"/>
                  </a:cubicBezTo>
                  <a:cubicBezTo>
                    <a:pt x="723" y="588"/>
                    <a:pt x="724" y="598"/>
                    <a:pt x="724" y="609"/>
                  </a:cubicBezTo>
                  <a:cubicBezTo>
                    <a:pt x="724" y="645"/>
                    <a:pt x="724" y="682"/>
                    <a:pt x="724" y="718"/>
                  </a:cubicBezTo>
                  <a:cubicBezTo>
                    <a:pt x="724" y="727"/>
                    <a:pt x="727" y="731"/>
                    <a:pt x="736" y="730"/>
                  </a:cubicBezTo>
                  <a:cubicBezTo>
                    <a:pt x="738" y="730"/>
                    <a:pt x="741" y="730"/>
                    <a:pt x="743" y="730"/>
                  </a:cubicBezTo>
                  <a:cubicBezTo>
                    <a:pt x="758" y="730"/>
                    <a:pt x="759" y="729"/>
                    <a:pt x="759" y="715"/>
                  </a:cubicBezTo>
                  <a:cubicBezTo>
                    <a:pt x="759" y="677"/>
                    <a:pt x="758" y="639"/>
                    <a:pt x="759" y="601"/>
                  </a:cubicBezTo>
                  <a:cubicBezTo>
                    <a:pt x="759" y="571"/>
                    <a:pt x="742" y="540"/>
                    <a:pt x="704" y="538"/>
                  </a:cubicBezTo>
                  <a:cubicBezTo>
                    <a:pt x="681" y="536"/>
                    <a:pt x="661" y="542"/>
                    <a:pt x="646" y="560"/>
                  </a:cubicBezTo>
                  <a:cubicBezTo>
                    <a:pt x="638" y="569"/>
                    <a:pt x="638" y="569"/>
                    <a:pt x="631" y="559"/>
                  </a:cubicBezTo>
                  <a:cubicBezTo>
                    <a:pt x="630" y="558"/>
                    <a:pt x="630" y="557"/>
                    <a:pt x="629" y="556"/>
                  </a:cubicBezTo>
                  <a:cubicBezTo>
                    <a:pt x="623" y="548"/>
                    <a:pt x="616" y="541"/>
                    <a:pt x="607" y="539"/>
                  </a:cubicBezTo>
                  <a:cubicBezTo>
                    <a:pt x="584" y="534"/>
                    <a:pt x="563" y="539"/>
                    <a:pt x="545" y="555"/>
                  </a:cubicBezTo>
                  <a:cubicBezTo>
                    <a:pt x="540" y="559"/>
                    <a:pt x="537" y="561"/>
                    <a:pt x="537" y="552"/>
                  </a:cubicBezTo>
                  <a:cubicBezTo>
                    <a:pt x="536" y="543"/>
                    <a:pt x="526" y="538"/>
                    <a:pt x="515" y="539"/>
                  </a:cubicBezTo>
                  <a:cubicBezTo>
                    <a:pt x="506" y="540"/>
                    <a:pt x="507" y="546"/>
                    <a:pt x="507" y="552"/>
                  </a:cubicBezTo>
                  <a:cubicBezTo>
                    <a:pt x="507" y="580"/>
                    <a:pt x="507" y="607"/>
                    <a:pt x="507" y="634"/>
                  </a:cubicBezTo>
                  <a:cubicBezTo>
                    <a:pt x="507" y="660"/>
                    <a:pt x="507" y="685"/>
                    <a:pt x="507" y="711"/>
                  </a:cubicBezTo>
                  <a:close/>
                  <a:moveTo>
                    <a:pt x="1525" y="1142"/>
                  </a:moveTo>
                  <a:cubicBezTo>
                    <a:pt x="1517" y="1143"/>
                    <a:pt x="1511" y="1141"/>
                    <a:pt x="1505" y="1136"/>
                  </a:cubicBezTo>
                  <a:cubicBezTo>
                    <a:pt x="1501" y="1133"/>
                    <a:pt x="1495" y="1130"/>
                    <a:pt x="1498" y="1124"/>
                  </a:cubicBezTo>
                  <a:cubicBezTo>
                    <a:pt x="1500" y="1118"/>
                    <a:pt x="1504" y="1114"/>
                    <a:pt x="1512" y="1114"/>
                  </a:cubicBezTo>
                  <a:cubicBezTo>
                    <a:pt x="1521" y="1115"/>
                    <a:pt x="1530" y="1114"/>
                    <a:pt x="1538" y="1115"/>
                  </a:cubicBezTo>
                  <a:cubicBezTo>
                    <a:pt x="1573" y="1117"/>
                    <a:pt x="1610" y="1084"/>
                    <a:pt x="1602" y="1044"/>
                  </a:cubicBezTo>
                  <a:cubicBezTo>
                    <a:pt x="1600" y="1035"/>
                    <a:pt x="1599" y="1028"/>
                    <a:pt x="1611" y="1027"/>
                  </a:cubicBezTo>
                  <a:cubicBezTo>
                    <a:pt x="1614" y="1027"/>
                    <a:pt x="1617" y="1024"/>
                    <a:pt x="1619" y="1023"/>
                  </a:cubicBezTo>
                  <a:cubicBezTo>
                    <a:pt x="1626" y="1019"/>
                    <a:pt x="1624" y="1013"/>
                    <a:pt x="1623" y="1008"/>
                  </a:cubicBezTo>
                  <a:cubicBezTo>
                    <a:pt x="1623" y="1002"/>
                    <a:pt x="1618" y="1003"/>
                    <a:pt x="1613" y="1002"/>
                  </a:cubicBezTo>
                  <a:cubicBezTo>
                    <a:pt x="1598" y="1002"/>
                    <a:pt x="1582" y="1004"/>
                    <a:pt x="1567" y="1000"/>
                  </a:cubicBezTo>
                  <a:cubicBezTo>
                    <a:pt x="1560" y="999"/>
                    <a:pt x="1554" y="993"/>
                    <a:pt x="1546" y="993"/>
                  </a:cubicBezTo>
                  <a:cubicBezTo>
                    <a:pt x="1536" y="994"/>
                    <a:pt x="1525" y="992"/>
                    <a:pt x="1515" y="993"/>
                  </a:cubicBezTo>
                  <a:cubicBezTo>
                    <a:pt x="1490" y="997"/>
                    <a:pt x="1469" y="1010"/>
                    <a:pt x="1462" y="1034"/>
                  </a:cubicBezTo>
                  <a:cubicBezTo>
                    <a:pt x="1455" y="1056"/>
                    <a:pt x="1457" y="1079"/>
                    <a:pt x="1476" y="1096"/>
                  </a:cubicBezTo>
                  <a:cubicBezTo>
                    <a:pt x="1483" y="1103"/>
                    <a:pt x="1483" y="1107"/>
                    <a:pt x="1476" y="1113"/>
                  </a:cubicBezTo>
                  <a:cubicBezTo>
                    <a:pt x="1462" y="1126"/>
                    <a:pt x="1462" y="1142"/>
                    <a:pt x="1473" y="1157"/>
                  </a:cubicBezTo>
                  <a:cubicBezTo>
                    <a:pt x="1476" y="1160"/>
                    <a:pt x="1476" y="1162"/>
                    <a:pt x="1472" y="1164"/>
                  </a:cubicBezTo>
                  <a:cubicBezTo>
                    <a:pt x="1470" y="1166"/>
                    <a:pt x="1468" y="1168"/>
                    <a:pt x="1466" y="1170"/>
                  </a:cubicBezTo>
                  <a:cubicBezTo>
                    <a:pt x="1449" y="1183"/>
                    <a:pt x="1444" y="1201"/>
                    <a:pt x="1454" y="1218"/>
                  </a:cubicBezTo>
                  <a:cubicBezTo>
                    <a:pt x="1464" y="1235"/>
                    <a:pt x="1479" y="1246"/>
                    <a:pt x="1499" y="1249"/>
                  </a:cubicBezTo>
                  <a:cubicBezTo>
                    <a:pt x="1517" y="1252"/>
                    <a:pt x="1535" y="1253"/>
                    <a:pt x="1553" y="1250"/>
                  </a:cubicBezTo>
                  <a:cubicBezTo>
                    <a:pt x="1584" y="1245"/>
                    <a:pt x="1607" y="1232"/>
                    <a:pt x="1619" y="1200"/>
                  </a:cubicBezTo>
                  <a:cubicBezTo>
                    <a:pt x="1627" y="1180"/>
                    <a:pt x="1611" y="1155"/>
                    <a:pt x="1593" y="1148"/>
                  </a:cubicBezTo>
                  <a:cubicBezTo>
                    <a:pt x="1578" y="1142"/>
                    <a:pt x="1563" y="1143"/>
                    <a:pt x="1549" y="1142"/>
                  </a:cubicBezTo>
                  <a:cubicBezTo>
                    <a:pt x="1540" y="1142"/>
                    <a:pt x="1532" y="1142"/>
                    <a:pt x="1525" y="1142"/>
                  </a:cubicBezTo>
                  <a:close/>
                  <a:moveTo>
                    <a:pt x="1556" y="1172"/>
                  </a:moveTo>
                  <a:cubicBezTo>
                    <a:pt x="1566" y="1172"/>
                    <a:pt x="1576" y="1176"/>
                    <a:pt x="1583" y="1183"/>
                  </a:cubicBezTo>
                  <a:cubicBezTo>
                    <a:pt x="1589" y="1190"/>
                    <a:pt x="1589" y="1198"/>
                    <a:pt x="1583" y="1205"/>
                  </a:cubicBezTo>
                  <a:cubicBezTo>
                    <a:pt x="1575" y="1215"/>
                    <a:pt x="1565" y="1220"/>
                    <a:pt x="1553" y="1223"/>
                  </a:cubicBezTo>
                  <a:cubicBezTo>
                    <a:pt x="1534" y="1228"/>
                    <a:pt x="1516" y="1225"/>
                    <a:pt x="1499" y="1219"/>
                  </a:cubicBezTo>
                  <a:cubicBezTo>
                    <a:pt x="1486" y="1214"/>
                    <a:pt x="1479" y="1203"/>
                    <a:pt x="1482" y="1193"/>
                  </a:cubicBezTo>
                  <a:cubicBezTo>
                    <a:pt x="1485" y="1182"/>
                    <a:pt x="1496" y="1168"/>
                    <a:pt x="1514" y="1171"/>
                  </a:cubicBezTo>
                  <a:cubicBezTo>
                    <a:pt x="1526" y="1173"/>
                    <a:pt x="1541" y="1171"/>
                    <a:pt x="1556" y="1172"/>
                  </a:cubicBezTo>
                  <a:close/>
                  <a:moveTo>
                    <a:pt x="1531" y="1019"/>
                  </a:moveTo>
                  <a:cubicBezTo>
                    <a:pt x="1553" y="1017"/>
                    <a:pt x="1570" y="1033"/>
                    <a:pt x="1570" y="1052"/>
                  </a:cubicBezTo>
                  <a:cubicBezTo>
                    <a:pt x="1570" y="1075"/>
                    <a:pt x="1554" y="1093"/>
                    <a:pt x="1532" y="1091"/>
                  </a:cubicBezTo>
                  <a:cubicBezTo>
                    <a:pt x="1508" y="1089"/>
                    <a:pt x="1494" y="1082"/>
                    <a:pt x="1493" y="1053"/>
                  </a:cubicBezTo>
                  <a:cubicBezTo>
                    <a:pt x="1494" y="1029"/>
                    <a:pt x="1508" y="1020"/>
                    <a:pt x="1531" y="1019"/>
                  </a:cubicBezTo>
                  <a:close/>
                  <a:moveTo>
                    <a:pt x="1413" y="934"/>
                  </a:moveTo>
                  <a:cubicBezTo>
                    <a:pt x="1413" y="909"/>
                    <a:pt x="1413" y="909"/>
                    <a:pt x="1389" y="910"/>
                  </a:cubicBezTo>
                  <a:cubicBezTo>
                    <a:pt x="1388" y="910"/>
                    <a:pt x="1387" y="910"/>
                    <a:pt x="1387" y="910"/>
                  </a:cubicBezTo>
                  <a:cubicBezTo>
                    <a:pt x="1379" y="910"/>
                    <a:pt x="1376" y="915"/>
                    <a:pt x="1376" y="921"/>
                  </a:cubicBezTo>
                  <a:cubicBezTo>
                    <a:pt x="1376" y="939"/>
                    <a:pt x="1377" y="956"/>
                    <a:pt x="1377" y="974"/>
                  </a:cubicBezTo>
                  <a:cubicBezTo>
                    <a:pt x="1377" y="983"/>
                    <a:pt x="1377" y="991"/>
                    <a:pt x="1377" y="1000"/>
                  </a:cubicBezTo>
                  <a:cubicBezTo>
                    <a:pt x="1377" y="1005"/>
                    <a:pt x="1374" y="1009"/>
                    <a:pt x="1369" y="1005"/>
                  </a:cubicBezTo>
                  <a:cubicBezTo>
                    <a:pt x="1352" y="990"/>
                    <a:pt x="1332" y="993"/>
                    <a:pt x="1312" y="993"/>
                  </a:cubicBezTo>
                  <a:cubicBezTo>
                    <a:pt x="1303" y="994"/>
                    <a:pt x="1294" y="998"/>
                    <a:pt x="1287" y="1003"/>
                  </a:cubicBezTo>
                  <a:cubicBezTo>
                    <a:pt x="1265" y="1017"/>
                    <a:pt x="1252" y="1039"/>
                    <a:pt x="1248" y="1065"/>
                  </a:cubicBezTo>
                  <a:cubicBezTo>
                    <a:pt x="1244" y="1096"/>
                    <a:pt x="1244" y="1128"/>
                    <a:pt x="1261" y="1157"/>
                  </a:cubicBezTo>
                  <a:cubicBezTo>
                    <a:pt x="1270" y="1170"/>
                    <a:pt x="1281" y="1181"/>
                    <a:pt x="1296" y="1185"/>
                  </a:cubicBezTo>
                  <a:cubicBezTo>
                    <a:pt x="1323" y="1191"/>
                    <a:pt x="1349" y="1188"/>
                    <a:pt x="1370" y="1167"/>
                  </a:cubicBezTo>
                  <a:cubicBezTo>
                    <a:pt x="1372" y="1165"/>
                    <a:pt x="1375" y="1162"/>
                    <a:pt x="1379" y="1163"/>
                  </a:cubicBezTo>
                  <a:cubicBezTo>
                    <a:pt x="1382" y="1165"/>
                    <a:pt x="1381" y="1169"/>
                    <a:pt x="1381" y="1172"/>
                  </a:cubicBezTo>
                  <a:cubicBezTo>
                    <a:pt x="1383" y="1181"/>
                    <a:pt x="1390" y="1186"/>
                    <a:pt x="1403" y="1186"/>
                  </a:cubicBezTo>
                  <a:cubicBezTo>
                    <a:pt x="1413" y="1185"/>
                    <a:pt x="1413" y="1178"/>
                    <a:pt x="1413" y="1172"/>
                  </a:cubicBezTo>
                  <a:cubicBezTo>
                    <a:pt x="1413" y="1131"/>
                    <a:pt x="1413" y="1090"/>
                    <a:pt x="1413" y="1049"/>
                  </a:cubicBezTo>
                  <a:cubicBezTo>
                    <a:pt x="1413" y="1010"/>
                    <a:pt x="1413" y="972"/>
                    <a:pt x="1413" y="934"/>
                  </a:cubicBezTo>
                  <a:close/>
                  <a:moveTo>
                    <a:pt x="1378" y="1113"/>
                  </a:moveTo>
                  <a:cubicBezTo>
                    <a:pt x="1378" y="1136"/>
                    <a:pt x="1360" y="1155"/>
                    <a:pt x="1337" y="1157"/>
                  </a:cubicBezTo>
                  <a:cubicBezTo>
                    <a:pt x="1319" y="1159"/>
                    <a:pt x="1304" y="1154"/>
                    <a:pt x="1294" y="1139"/>
                  </a:cubicBezTo>
                  <a:cubicBezTo>
                    <a:pt x="1286" y="1128"/>
                    <a:pt x="1283" y="1116"/>
                    <a:pt x="1283" y="1102"/>
                  </a:cubicBezTo>
                  <a:cubicBezTo>
                    <a:pt x="1282" y="1085"/>
                    <a:pt x="1282" y="1067"/>
                    <a:pt x="1290" y="1051"/>
                  </a:cubicBezTo>
                  <a:cubicBezTo>
                    <a:pt x="1297" y="1036"/>
                    <a:pt x="1308" y="1024"/>
                    <a:pt x="1325" y="1022"/>
                  </a:cubicBezTo>
                  <a:cubicBezTo>
                    <a:pt x="1342" y="1020"/>
                    <a:pt x="1358" y="1021"/>
                    <a:pt x="1371" y="1035"/>
                  </a:cubicBezTo>
                  <a:cubicBezTo>
                    <a:pt x="1376" y="1041"/>
                    <a:pt x="1378" y="1046"/>
                    <a:pt x="1378" y="1052"/>
                  </a:cubicBezTo>
                  <a:cubicBezTo>
                    <a:pt x="1378" y="1064"/>
                    <a:pt x="1378" y="1075"/>
                    <a:pt x="1378" y="1086"/>
                  </a:cubicBezTo>
                  <a:cubicBezTo>
                    <a:pt x="1378" y="1086"/>
                    <a:pt x="1378" y="1086"/>
                    <a:pt x="1378" y="1086"/>
                  </a:cubicBezTo>
                  <a:cubicBezTo>
                    <a:pt x="1378" y="1095"/>
                    <a:pt x="1378" y="1104"/>
                    <a:pt x="1378" y="1113"/>
                  </a:cubicBezTo>
                  <a:close/>
                  <a:moveTo>
                    <a:pt x="578" y="259"/>
                  </a:moveTo>
                  <a:cubicBezTo>
                    <a:pt x="603" y="241"/>
                    <a:pt x="611" y="213"/>
                    <a:pt x="614" y="183"/>
                  </a:cubicBezTo>
                  <a:cubicBezTo>
                    <a:pt x="615" y="171"/>
                    <a:pt x="610" y="159"/>
                    <a:pt x="609" y="147"/>
                  </a:cubicBezTo>
                  <a:cubicBezTo>
                    <a:pt x="608" y="137"/>
                    <a:pt x="603" y="129"/>
                    <a:pt x="599" y="121"/>
                  </a:cubicBezTo>
                  <a:cubicBezTo>
                    <a:pt x="579" y="87"/>
                    <a:pt x="527" y="70"/>
                    <a:pt x="488" y="85"/>
                  </a:cubicBezTo>
                  <a:cubicBezTo>
                    <a:pt x="453" y="99"/>
                    <a:pt x="436" y="127"/>
                    <a:pt x="431" y="163"/>
                  </a:cubicBezTo>
                  <a:cubicBezTo>
                    <a:pt x="429" y="180"/>
                    <a:pt x="430" y="196"/>
                    <a:pt x="436" y="213"/>
                  </a:cubicBezTo>
                  <a:cubicBezTo>
                    <a:pt x="439" y="222"/>
                    <a:pt x="442" y="232"/>
                    <a:pt x="447" y="239"/>
                  </a:cubicBezTo>
                  <a:cubicBezTo>
                    <a:pt x="465" y="265"/>
                    <a:pt x="491" y="277"/>
                    <a:pt x="525" y="276"/>
                  </a:cubicBezTo>
                  <a:cubicBezTo>
                    <a:pt x="543" y="278"/>
                    <a:pt x="562" y="271"/>
                    <a:pt x="578" y="259"/>
                  </a:cubicBezTo>
                  <a:close/>
                  <a:moveTo>
                    <a:pt x="471" y="205"/>
                  </a:moveTo>
                  <a:cubicBezTo>
                    <a:pt x="466" y="185"/>
                    <a:pt x="468" y="167"/>
                    <a:pt x="472" y="147"/>
                  </a:cubicBezTo>
                  <a:cubicBezTo>
                    <a:pt x="477" y="130"/>
                    <a:pt x="493" y="116"/>
                    <a:pt x="509" y="112"/>
                  </a:cubicBezTo>
                  <a:cubicBezTo>
                    <a:pt x="525" y="108"/>
                    <a:pt x="539" y="110"/>
                    <a:pt x="553" y="119"/>
                  </a:cubicBezTo>
                  <a:cubicBezTo>
                    <a:pt x="563" y="125"/>
                    <a:pt x="568" y="135"/>
                    <a:pt x="571" y="146"/>
                  </a:cubicBezTo>
                  <a:cubicBezTo>
                    <a:pt x="577" y="167"/>
                    <a:pt x="578" y="189"/>
                    <a:pt x="571" y="211"/>
                  </a:cubicBezTo>
                  <a:cubicBezTo>
                    <a:pt x="565" y="231"/>
                    <a:pt x="549" y="249"/>
                    <a:pt x="521" y="247"/>
                  </a:cubicBezTo>
                  <a:cubicBezTo>
                    <a:pt x="496" y="247"/>
                    <a:pt x="478" y="230"/>
                    <a:pt x="471" y="205"/>
                  </a:cubicBezTo>
                  <a:close/>
                  <a:moveTo>
                    <a:pt x="472" y="1122"/>
                  </a:moveTo>
                  <a:cubicBezTo>
                    <a:pt x="475" y="1136"/>
                    <a:pt x="481" y="1148"/>
                    <a:pt x="491" y="1158"/>
                  </a:cubicBezTo>
                  <a:cubicBezTo>
                    <a:pt x="506" y="1176"/>
                    <a:pt x="524" y="1185"/>
                    <a:pt x="548" y="1187"/>
                  </a:cubicBezTo>
                  <a:cubicBezTo>
                    <a:pt x="568" y="1188"/>
                    <a:pt x="587" y="1187"/>
                    <a:pt x="605" y="1177"/>
                  </a:cubicBezTo>
                  <a:cubicBezTo>
                    <a:pt x="632" y="1162"/>
                    <a:pt x="644" y="1136"/>
                    <a:pt x="649" y="1107"/>
                  </a:cubicBezTo>
                  <a:cubicBezTo>
                    <a:pt x="652" y="1089"/>
                    <a:pt x="649" y="1072"/>
                    <a:pt x="644" y="1054"/>
                  </a:cubicBezTo>
                  <a:cubicBezTo>
                    <a:pt x="638" y="1034"/>
                    <a:pt x="627" y="1019"/>
                    <a:pt x="610" y="1007"/>
                  </a:cubicBezTo>
                  <a:cubicBezTo>
                    <a:pt x="589" y="992"/>
                    <a:pt x="566" y="991"/>
                    <a:pt x="541" y="994"/>
                  </a:cubicBezTo>
                  <a:cubicBezTo>
                    <a:pt x="526" y="995"/>
                    <a:pt x="512" y="1002"/>
                    <a:pt x="500" y="1012"/>
                  </a:cubicBezTo>
                  <a:cubicBezTo>
                    <a:pt x="476" y="1032"/>
                    <a:pt x="469" y="1060"/>
                    <a:pt x="466" y="1095"/>
                  </a:cubicBezTo>
                  <a:cubicBezTo>
                    <a:pt x="465" y="1101"/>
                    <a:pt x="470" y="1111"/>
                    <a:pt x="472" y="1122"/>
                  </a:cubicBezTo>
                  <a:close/>
                  <a:moveTo>
                    <a:pt x="508" y="1113"/>
                  </a:moveTo>
                  <a:cubicBezTo>
                    <a:pt x="505" y="1095"/>
                    <a:pt x="506" y="1078"/>
                    <a:pt x="508" y="1061"/>
                  </a:cubicBezTo>
                  <a:cubicBezTo>
                    <a:pt x="511" y="1042"/>
                    <a:pt x="538" y="1021"/>
                    <a:pt x="554" y="1022"/>
                  </a:cubicBezTo>
                  <a:cubicBezTo>
                    <a:pt x="570" y="1022"/>
                    <a:pt x="586" y="1024"/>
                    <a:pt x="596" y="1037"/>
                  </a:cubicBezTo>
                  <a:cubicBezTo>
                    <a:pt x="602" y="1044"/>
                    <a:pt x="607" y="1052"/>
                    <a:pt x="608" y="1061"/>
                  </a:cubicBezTo>
                  <a:cubicBezTo>
                    <a:pt x="608" y="1064"/>
                    <a:pt x="609" y="1067"/>
                    <a:pt x="610" y="1070"/>
                  </a:cubicBezTo>
                  <a:cubicBezTo>
                    <a:pt x="618" y="1089"/>
                    <a:pt x="612" y="1107"/>
                    <a:pt x="607" y="1125"/>
                  </a:cubicBezTo>
                  <a:cubicBezTo>
                    <a:pt x="601" y="1143"/>
                    <a:pt x="588" y="1160"/>
                    <a:pt x="558" y="1157"/>
                  </a:cubicBezTo>
                  <a:cubicBezTo>
                    <a:pt x="530" y="1157"/>
                    <a:pt x="512" y="1141"/>
                    <a:pt x="508" y="1113"/>
                  </a:cubicBezTo>
                  <a:close/>
                  <a:moveTo>
                    <a:pt x="430" y="716"/>
                  </a:moveTo>
                  <a:cubicBezTo>
                    <a:pt x="450" y="703"/>
                    <a:pt x="459" y="683"/>
                    <a:pt x="464" y="661"/>
                  </a:cubicBezTo>
                  <a:cubicBezTo>
                    <a:pt x="468" y="648"/>
                    <a:pt x="467" y="635"/>
                    <a:pt x="466" y="621"/>
                  </a:cubicBezTo>
                  <a:cubicBezTo>
                    <a:pt x="463" y="592"/>
                    <a:pt x="453" y="567"/>
                    <a:pt x="427" y="550"/>
                  </a:cubicBezTo>
                  <a:cubicBezTo>
                    <a:pt x="401" y="534"/>
                    <a:pt x="372" y="532"/>
                    <a:pt x="345" y="541"/>
                  </a:cubicBezTo>
                  <a:cubicBezTo>
                    <a:pt x="310" y="552"/>
                    <a:pt x="291" y="580"/>
                    <a:pt x="287" y="617"/>
                  </a:cubicBezTo>
                  <a:cubicBezTo>
                    <a:pt x="286" y="629"/>
                    <a:pt x="286" y="641"/>
                    <a:pt x="287" y="654"/>
                  </a:cubicBezTo>
                  <a:cubicBezTo>
                    <a:pt x="289" y="671"/>
                    <a:pt x="295" y="686"/>
                    <a:pt x="306" y="700"/>
                  </a:cubicBezTo>
                  <a:cubicBezTo>
                    <a:pt x="324" y="722"/>
                    <a:pt x="348" y="733"/>
                    <a:pt x="378" y="731"/>
                  </a:cubicBezTo>
                  <a:cubicBezTo>
                    <a:pt x="396" y="733"/>
                    <a:pt x="414" y="727"/>
                    <a:pt x="430" y="716"/>
                  </a:cubicBezTo>
                  <a:close/>
                  <a:moveTo>
                    <a:pt x="331" y="592"/>
                  </a:moveTo>
                  <a:cubicBezTo>
                    <a:pt x="339" y="580"/>
                    <a:pt x="349" y="569"/>
                    <a:pt x="365" y="567"/>
                  </a:cubicBezTo>
                  <a:cubicBezTo>
                    <a:pt x="387" y="564"/>
                    <a:pt x="406" y="568"/>
                    <a:pt x="419" y="588"/>
                  </a:cubicBezTo>
                  <a:cubicBezTo>
                    <a:pt x="423" y="595"/>
                    <a:pt x="426" y="603"/>
                    <a:pt x="427" y="610"/>
                  </a:cubicBezTo>
                  <a:cubicBezTo>
                    <a:pt x="433" y="635"/>
                    <a:pt x="431" y="661"/>
                    <a:pt x="416" y="684"/>
                  </a:cubicBezTo>
                  <a:cubicBezTo>
                    <a:pt x="403" y="706"/>
                    <a:pt x="362" y="708"/>
                    <a:pt x="345" y="692"/>
                  </a:cubicBezTo>
                  <a:cubicBezTo>
                    <a:pt x="329" y="678"/>
                    <a:pt x="323" y="661"/>
                    <a:pt x="323" y="631"/>
                  </a:cubicBezTo>
                  <a:cubicBezTo>
                    <a:pt x="323" y="619"/>
                    <a:pt x="323" y="605"/>
                    <a:pt x="331" y="592"/>
                  </a:cubicBezTo>
                  <a:close/>
                  <a:moveTo>
                    <a:pt x="1073" y="259"/>
                  </a:moveTo>
                  <a:cubicBezTo>
                    <a:pt x="1073" y="269"/>
                    <a:pt x="1075" y="272"/>
                    <a:pt x="1086" y="272"/>
                  </a:cubicBezTo>
                  <a:cubicBezTo>
                    <a:pt x="1088" y="272"/>
                    <a:pt x="1090" y="272"/>
                    <a:pt x="1092" y="272"/>
                  </a:cubicBezTo>
                  <a:cubicBezTo>
                    <a:pt x="1105" y="272"/>
                    <a:pt x="1106" y="271"/>
                    <a:pt x="1106" y="258"/>
                  </a:cubicBezTo>
                  <a:cubicBezTo>
                    <a:pt x="1106" y="221"/>
                    <a:pt x="1106" y="184"/>
                    <a:pt x="1106" y="147"/>
                  </a:cubicBezTo>
                  <a:cubicBezTo>
                    <a:pt x="1106" y="143"/>
                    <a:pt x="1106" y="140"/>
                    <a:pt x="1107" y="137"/>
                  </a:cubicBezTo>
                  <a:cubicBezTo>
                    <a:pt x="1117" y="117"/>
                    <a:pt x="1157" y="104"/>
                    <a:pt x="1177" y="114"/>
                  </a:cubicBezTo>
                  <a:cubicBezTo>
                    <a:pt x="1179" y="115"/>
                    <a:pt x="1180" y="117"/>
                    <a:pt x="1182" y="118"/>
                  </a:cubicBezTo>
                  <a:cubicBezTo>
                    <a:pt x="1194" y="131"/>
                    <a:pt x="1196" y="147"/>
                    <a:pt x="1196" y="163"/>
                  </a:cubicBezTo>
                  <a:cubicBezTo>
                    <a:pt x="1197" y="195"/>
                    <a:pt x="1196" y="226"/>
                    <a:pt x="1196" y="258"/>
                  </a:cubicBezTo>
                  <a:cubicBezTo>
                    <a:pt x="1196" y="271"/>
                    <a:pt x="1197" y="272"/>
                    <a:pt x="1210" y="272"/>
                  </a:cubicBezTo>
                  <a:cubicBezTo>
                    <a:pt x="1212" y="272"/>
                    <a:pt x="1213" y="272"/>
                    <a:pt x="1215" y="272"/>
                  </a:cubicBezTo>
                  <a:cubicBezTo>
                    <a:pt x="1227" y="272"/>
                    <a:pt x="1229" y="270"/>
                    <a:pt x="1229" y="258"/>
                  </a:cubicBezTo>
                  <a:cubicBezTo>
                    <a:pt x="1229" y="222"/>
                    <a:pt x="1229" y="187"/>
                    <a:pt x="1229" y="151"/>
                  </a:cubicBezTo>
                  <a:cubicBezTo>
                    <a:pt x="1229" y="142"/>
                    <a:pt x="1228" y="132"/>
                    <a:pt x="1225" y="123"/>
                  </a:cubicBezTo>
                  <a:cubicBezTo>
                    <a:pt x="1219" y="105"/>
                    <a:pt x="1208" y="91"/>
                    <a:pt x="1189" y="85"/>
                  </a:cubicBezTo>
                  <a:cubicBezTo>
                    <a:pt x="1173" y="80"/>
                    <a:pt x="1156" y="84"/>
                    <a:pt x="1139" y="84"/>
                  </a:cubicBezTo>
                  <a:cubicBezTo>
                    <a:pt x="1137" y="84"/>
                    <a:pt x="1136" y="86"/>
                    <a:pt x="1134" y="87"/>
                  </a:cubicBezTo>
                  <a:cubicBezTo>
                    <a:pt x="1128" y="91"/>
                    <a:pt x="1121" y="96"/>
                    <a:pt x="1115" y="100"/>
                  </a:cubicBezTo>
                  <a:cubicBezTo>
                    <a:pt x="1113" y="102"/>
                    <a:pt x="1111" y="105"/>
                    <a:pt x="1108" y="103"/>
                  </a:cubicBezTo>
                  <a:cubicBezTo>
                    <a:pt x="1105" y="102"/>
                    <a:pt x="1106" y="98"/>
                    <a:pt x="1106" y="96"/>
                  </a:cubicBezTo>
                  <a:cubicBezTo>
                    <a:pt x="1106" y="69"/>
                    <a:pt x="1106" y="43"/>
                    <a:pt x="1106" y="17"/>
                  </a:cubicBezTo>
                  <a:cubicBezTo>
                    <a:pt x="1106" y="0"/>
                    <a:pt x="1106" y="0"/>
                    <a:pt x="1089" y="0"/>
                  </a:cubicBezTo>
                  <a:cubicBezTo>
                    <a:pt x="1074" y="0"/>
                    <a:pt x="1073" y="1"/>
                    <a:pt x="1073" y="16"/>
                  </a:cubicBezTo>
                  <a:cubicBezTo>
                    <a:pt x="1073" y="56"/>
                    <a:pt x="1073" y="96"/>
                    <a:pt x="1073" y="136"/>
                  </a:cubicBezTo>
                  <a:cubicBezTo>
                    <a:pt x="1073" y="177"/>
                    <a:pt x="1073" y="218"/>
                    <a:pt x="1073" y="259"/>
                  </a:cubicBezTo>
                  <a:close/>
                  <a:moveTo>
                    <a:pt x="1150" y="1092"/>
                  </a:moveTo>
                  <a:cubicBezTo>
                    <a:pt x="1168" y="1092"/>
                    <a:pt x="1186" y="1092"/>
                    <a:pt x="1204" y="1092"/>
                  </a:cubicBezTo>
                  <a:cubicBezTo>
                    <a:pt x="1215" y="1092"/>
                    <a:pt x="1218" y="1087"/>
                    <a:pt x="1219" y="1077"/>
                  </a:cubicBezTo>
                  <a:cubicBezTo>
                    <a:pt x="1220" y="1062"/>
                    <a:pt x="1216" y="1049"/>
                    <a:pt x="1210" y="1036"/>
                  </a:cubicBezTo>
                  <a:cubicBezTo>
                    <a:pt x="1204" y="1020"/>
                    <a:pt x="1193" y="1008"/>
                    <a:pt x="1177" y="1001"/>
                  </a:cubicBezTo>
                  <a:cubicBezTo>
                    <a:pt x="1155" y="992"/>
                    <a:pt x="1133" y="991"/>
                    <a:pt x="1109" y="999"/>
                  </a:cubicBezTo>
                  <a:cubicBezTo>
                    <a:pt x="1079" y="1010"/>
                    <a:pt x="1062" y="1031"/>
                    <a:pt x="1056" y="1061"/>
                  </a:cubicBezTo>
                  <a:cubicBezTo>
                    <a:pt x="1051" y="1090"/>
                    <a:pt x="1052" y="1120"/>
                    <a:pt x="1069" y="1148"/>
                  </a:cubicBezTo>
                  <a:cubicBezTo>
                    <a:pt x="1081" y="1169"/>
                    <a:pt x="1100" y="1180"/>
                    <a:pt x="1122" y="1185"/>
                  </a:cubicBezTo>
                  <a:cubicBezTo>
                    <a:pt x="1149" y="1190"/>
                    <a:pt x="1176" y="1186"/>
                    <a:pt x="1200" y="1171"/>
                  </a:cubicBezTo>
                  <a:cubicBezTo>
                    <a:pt x="1206" y="1168"/>
                    <a:pt x="1213" y="1165"/>
                    <a:pt x="1214" y="1157"/>
                  </a:cubicBezTo>
                  <a:cubicBezTo>
                    <a:pt x="1215" y="1147"/>
                    <a:pt x="1202" y="1139"/>
                    <a:pt x="1193" y="1144"/>
                  </a:cubicBezTo>
                  <a:cubicBezTo>
                    <a:pt x="1187" y="1147"/>
                    <a:pt x="1180" y="1150"/>
                    <a:pt x="1174" y="1153"/>
                  </a:cubicBezTo>
                  <a:cubicBezTo>
                    <a:pt x="1158" y="1161"/>
                    <a:pt x="1140" y="1161"/>
                    <a:pt x="1124" y="1155"/>
                  </a:cubicBezTo>
                  <a:cubicBezTo>
                    <a:pt x="1112" y="1151"/>
                    <a:pt x="1102" y="1142"/>
                    <a:pt x="1096" y="1129"/>
                  </a:cubicBezTo>
                  <a:cubicBezTo>
                    <a:pt x="1092" y="1121"/>
                    <a:pt x="1091" y="1112"/>
                    <a:pt x="1089" y="1104"/>
                  </a:cubicBezTo>
                  <a:cubicBezTo>
                    <a:pt x="1087" y="1093"/>
                    <a:pt x="1087" y="1092"/>
                    <a:pt x="1099" y="1092"/>
                  </a:cubicBezTo>
                  <a:cubicBezTo>
                    <a:pt x="1116" y="1092"/>
                    <a:pt x="1133" y="1092"/>
                    <a:pt x="1150" y="1092"/>
                  </a:cubicBezTo>
                  <a:cubicBezTo>
                    <a:pt x="1150" y="1092"/>
                    <a:pt x="1150" y="1092"/>
                    <a:pt x="1150" y="1092"/>
                  </a:cubicBezTo>
                  <a:close/>
                  <a:moveTo>
                    <a:pt x="1099" y="1070"/>
                  </a:moveTo>
                  <a:cubicBezTo>
                    <a:pt x="1092" y="1071"/>
                    <a:pt x="1089" y="1067"/>
                    <a:pt x="1091" y="1060"/>
                  </a:cubicBezTo>
                  <a:cubicBezTo>
                    <a:pt x="1094" y="1045"/>
                    <a:pt x="1108" y="1023"/>
                    <a:pt x="1128" y="1022"/>
                  </a:cubicBezTo>
                  <a:cubicBezTo>
                    <a:pt x="1142" y="1021"/>
                    <a:pt x="1156" y="1018"/>
                    <a:pt x="1168" y="1029"/>
                  </a:cubicBezTo>
                  <a:cubicBezTo>
                    <a:pt x="1181" y="1038"/>
                    <a:pt x="1185" y="1051"/>
                    <a:pt x="1187" y="1066"/>
                  </a:cubicBezTo>
                  <a:cubicBezTo>
                    <a:pt x="1188" y="1071"/>
                    <a:pt x="1183" y="1070"/>
                    <a:pt x="1180" y="1070"/>
                  </a:cubicBezTo>
                  <a:cubicBezTo>
                    <a:pt x="1166" y="1070"/>
                    <a:pt x="1153" y="1070"/>
                    <a:pt x="1139" y="1070"/>
                  </a:cubicBezTo>
                  <a:cubicBezTo>
                    <a:pt x="1139" y="1070"/>
                    <a:pt x="1139" y="1070"/>
                    <a:pt x="1139" y="1070"/>
                  </a:cubicBezTo>
                  <a:cubicBezTo>
                    <a:pt x="1126" y="1070"/>
                    <a:pt x="1113" y="1070"/>
                    <a:pt x="1099" y="1070"/>
                  </a:cubicBezTo>
                  <a:close/>
                  <a:moveTo>
                    <a:pt x="1741" y="1092"/>
                  </a:moveTo>
                  <a:cubicBezTo>
                    <a:pt x="1759" y="1092"/>
                    <a:pt x="1776" y="1092"/>
                    <a:pt x="1793" y="1092"/>
                  </a:cubicBezTo>
                  <a:cubicBezTo>
                    <a:pt x="1806" y="1092"/>
                    <a:pt x="1808" y="1089"/>
                    <a:pt x="1808" y="1076"/>
                  </a:cubicBezTo>
                  <a:cubicBezTo>
                    <a:pt x="1809" y="1063"/>
                    <a:pt x="1807" y="1051"/>
                    <a:pt x="1802" y="1038"/>
                  </a:cubicBezTo>
                  <a:cubicBezTo>
                    <a:pt x="1794" y="1021"/>
                    <a:pt x="1782" y="1008"/>
                    <a:pt x="1764" y="1000"/>
                  </a:cubicBezTo>
                  <a:cubicBezTo>
                    <a:pt x="1742" y="991"/>
                    <a:pt x="1720" y="991"/>
                    <a:pt x="1698" y="1000"/>
                  </a:cubicBezTo>
                  <a:cubicBezTo>
                    <a:pt x="1681" y="1006"/>
                    <a:pt x="1668" y="1016"/>
                    <a:pt x="1659" y="1031"/>
                  </a:cubicBezTo>
                  <a:cubicBezTo>
                    <a:pt x="1646" y="1050"/>
                    <a:pt x="1643" y="1071"/>
                    <a:pt x="1644" y="1094"/>
                  </a:cubicBezTo>
                  <a:cubicBezTo>
                    <a:pt x="1644" y="1110"/>
                    <a:pt x="1647" y="1127"/>
                    <a:pt x="1655" y="1141"/>
                  </a:cubicBezTo>
                  <a:cubicBezTo>
                    <a:pt x="1669" y="1168"/>
                    <a:pt x="1691" y="1183"/>
                    <a:pt x="1722" y="1186"/>
                  </a:cubicBezTo>
                  <a:cubicBezTo>
                    <a:pt x="1750" y="1188"/>
                    <a:pt x="1775" y="1183"/>
                    <a:pt x="1798" y="1165"/>
                  </a:cubicBezTo>
                  <a:cubicBezTo>
                    <a:pt x="1803" y="1161"/>
                    <a:pt x="1806" y="1157"/>
                    <a:pt x="1802" y="1151"/>
                  </a:cubicBezTo>
                  <a:cubicBezTo>
                    <a:pt x="1798" y="1144"/>
                    <a:pt x="1791" y="1140"/>
                    <a:pt x="1783" y="1144"/>
                  </a:cubicBezTo>
                  <a:cubicBezTo>
                    <a:pt x="1778" y="1147"/>
                    <a:pt x="1771" y="1149"/>
                    <a:pt x="1766" y="1152"/>
                  </a:cubicBezTo>
                  <a:cubicBezTo>
                    <a:pt x="1749" y="1161"/>
                    <a:pt x="1730" y="1162"/>
                    <a:pt x="1714" y="1155"/>
                  </a:cubicBezTo>
                  <a:cubicBezTo>
                    <a:pt x="1692" y="1145"/>
                    <a:pt x="1680" y="1127"/>
                    <a:pt x="1679" y="1102"/>
                  </a:cubicBezTo>
                  <a:cubicBezTo>
                    <a:pt x="1678" y="1095"/>
                    <a:pt x="1681" y="1092"/>
                    <a:pt x="1689" y="1092"/>
                  </a:cubicBezTo>
                  <a:cubicBezTo>
                    <a:pt x="1706" y="1092"/>
                    <a:pt x="1724" y="1092"/>
                    <a:pt x="1741" y="1092"/>
                  </a:cubicBezTo>
                  <a:cubicBezTo>
                    <a:pt x="1741" y="1092"/>
                    <a:pt x="1741" y="1092"/>
                    <a:pt x="1741" y="1092"/>
                  </a:cubicBezTo>
                  <a:close/>
                  <a:moveTo>
                    <a:pt x="1690" y="1070"/>
                  </a:moveTo>
                  <a:cubicBezTo>
                    <a:pt x="1683" y="1071"/>
                    <a:pt x="1680" y="1068"/>
                    <a:pt x="1681" y="1062"/>
                  </a:cubicBezTo>
                  <a:cubicBezTo>
                    <a:pt x="1683" y="1048"/>
                    <a:pt x="1697" y="1024"/>
                    <a:pt x="1716" y="1022"/>
                  </a:cubicBezTo>
                  <a:cubicBezTo>
                    <a:pt x="1731" y="1020"/>
                    <a:pt x="1747" y="1018"/>
                    <a:pt x="1760" y="1030"/>
                  </a:cubicBezTo>
                  <a:cubicBezTo>
                    <a:pt x="1771" y="1038"/>
                    <a:pt x="1775" y="1050"/>
                    <a:pt x="1778" y="1062"/>
                  </a:cubicBezTo>
                  <a:cubicBezTo>
                    <a:pt x="1780" y="1068"/>
                    <a:pt x="1775" y="1070"/>
                    <a:pt x="1769" y="1070"/>
                  </a:cubicBezTo>
                  <a:cubicBezTo>
                    <a:pt x="1756" y="1070"/>
                    <a:pt x="1742" y="1070"/>
                    <a:pt x="1729" y="1070"/>
                  </a:cubicBezTo>
                  <a:cubicBezTo>
                    <a:pt x="1729" y="1070"/>
                    <a:pt x="1729" y="1070"/>
                    <a:pt x="1729" y="1070"/>
                  </a:cubicBezTo>
                  <a:cubicBezTo>
                    <a:pt x="1716" y="1070"/>
                    <a:pt x="1703" y="1070"/>
                    <a:pt x="1690" y="1070"/>
                  </a:cubicBezTo>
                  <a:close/>
                  <a:moveTo>
                    <a:pt x="68" y="581"/>
                  </a:moveTo>
                  <a:cubicBezTo>
                    <a:pt x="68" y="573"/>
                    <a:pt x="70" y="568"/>
                    <a:pt x="80" y="569"/>
                  </a:cubicBezTo>
                  <a:cubicBezTo>
                    <a:pt x="90" y="570"/>
                    <a:pt x="101" y="570"/>
                    <a:pt x="111" y="569"/>
                  </a:cubicBezTo>
                  <a:cubicBezTo>
                    <a:pt x="120" y="569"/>
                    <a:pt x="120" y="563"/>
                    <a:pt x="120" y="556"/>
                  </a:cubicBezTo>
                  <a:cubicBezTo>
                    <a:pt x="120" y="549"/>
                    <a:pt x="119" y="544"/>
                    <a:pt x="111" y="544"/>
                  </a:cubicBezTo>
                  <a:cubicBezTo>
                    <a:pt x="104" y="544"/>
                    <a:pt x="97" y="544"/>
                    <a:pt x="91" y="544"/>
                  </a:cubicBezTo>
                  <a:cubicBezTo>
                    <a:pt x="66" y="544"/>
                    <a:pt x="65" y="543"/>
                    <a:pt x="68" y="518"/>
                  </a:cubicBezTo>
                  <a:cubicBezTo>
                    <a:pt x="69" y="504"/>
                    <a:pt x="83" y="487"/>
                    <a:pt x="99" y="489"/>
                  </a:cubicBezTo>
                  <a:cubicBezTo>
                    <a:pt x="103" y="489"/>
                    <a:pt x="107" y="489"/>
                    <a:pt x="110" y="488"/>
                  </a:cubicBezTo>
                  <a:cubicBezTo>
                    <a:pt x="118" y="487"/>
                    <a:pt x="123" y="479"/>
                    <a:pt x="123" y="471"/>
                  </a:cubicBezTo>
                  <a:cubicBezTo>
                    <a:pt x="123" y="461"/>
                    <a:pt x="116" y="462"/>
                    <a:pt x="109" y="460"/>
                  </a:cubicBezTo>
                  <a:cubicBezTo>
                    <a:pt x="100" y="458"/>
                    <a:pt x="92" y="460"/>
                    <a:pt x="84" y="460"/>
                  </a:cubicBezTo>
                  <a:cubicBezTo>
                    <a:pt x="68" y="461"/>
                    <a:pt x="56" y="469"/>
                    <a:pt x="47" y="480"/>
                  </a:cubicBezTo>
                  <a:cubicBezTo>
                    <a:pt x="34" y="493"/>
                    <a:pt x="32" y="511"/>
                    <a:pt x="32" y="529"/>
                  </a:cubicBezTo>
                  <a:cubicBezTo>
                    <a:pt x="32" y="544"/>
                    <a:pt x="32" y="544"/>
                    <a:pt x="17" y="544"/>
                  </a:cubicBezTo>
                  <a:cubicBezTo>
                    <a:pt x="4" y="543"/>
                    <a:pt x="0" y="548"/>
                    <a:pt x="4" y="561"/>
                  </a:cubicBezTo>
                  <a:cubicBezTo>
                    <a:pt x="6" y="569"/>
                    <a:pt x="13" y="568"/>
                    <a:pt x="19" y="569"/>
                  </a:cubicBezTo>
                  <a:cubicBezTo>
                    <a:pt x="32" y="571"/>
                    <a:pt x="32" y="571"/>
                    <a:pt x="32" y="584"/>
                  </a:cubicBezTo>
                  <a:cubicBezTo>
                    <a:pt x="32" y="624"/>
                    <a:pt x="32" y="664"/>
                    <a:pt x="32" y="704"/>
                  </a:cubicBezTo>
                  <a:cubicBezTo>
                    <a:pt x="32" y="731"/>
                    <a:pt x="32" y="730"/>
                    <a:pt x="57" y="731"/>
                  </a:cubicBezTo>
                  <a:cubicBezTo>
                    <a:pt x="66" y="731"/>
                    <a:pt x="68" y="727"/>
                    <a:pt x="68" y="720"/>
                  </a:cubicBezTo>
                  <a:cubicBezTo>
                    <a:pt x="68" y="697"/>
                    <a:pt x="68" y="674"/>
                    <a:pt x="68" y="651"/>
                  </a:cubicBezTo>
                  <a:cubicBezTo>
                    <a:pt x="68" y="628"/>
                    <a:pt x="68" y="605"/>
                    <a:pt x="68" y="581"/>
                  </a:cubicBezTo>
                  <a:close/>
                  <a:moveTo>
                    <a:pt x="278" y="1165"/>
                  </a:moveTo>
                  <a:cubicBezTo>
                    <a:pt x="278" y="1183"/>
                    <a:pt x="278" y="1183"/>
                    <a:pt x="296" y="1184"/>
                  </a:cubicBezTo>
                  <a:cubicBezTo>
                    <a:pt x="310" y="1184"/>
                    <a:pt x="310" y="1184"/>
                    <a:pt x="310" y="1169"/>
                  </a:cubicBezTo>
                  <a:cubicBezTo>
                    <a:pt x="310" y="1132"/>
                    <a:pt x="310" y="1095"/>
                    <a:pt x="310" y="1058"/>
                  </a:cubicBezTo>
                  <a:cubicBezTo>
                    <a:pt x="310" y="1052"/>
                    <a:pt x="312" y="1047"/>
                    <a:pt x="316" y="1042"/>
                  </a:cubicBezTo>
                  <a:cubicBezTo>
                    <a:pt x="324" y="1033"/>
                    <a:pt x="334" y="1027"/>
                    <a:pt x="345" y="1024"/>
                  </a:cubicBezTo>
                  <a:cubicBezTo>
                    <a:pt x="357" y="1020"/>
                    <a:pt x="371" y="1018"/>
                    <a:pt x="383" y="1028"/>
                  </a:cubicBezTo>
                  <a:cubicBezTo>
                    <a:pt x="397" y="1039"/>
                    <a:pt x="401" y="1054"/>
                    <a:pt x="401" y="1071"/>
                  </a:cubicBezTo>
                  <a:cubicBezTo>
                    <a:pt x="401" y="1102"/>
                    <a:pt x="401" y="1132"/>
                    <a:pt x="401" y="1163"/>
                  </a:cubicBezTo>
                  <a:cubicBezTo>
                    <a:pt x="401" y="1183"/>
                    <a:pt x="401" y="1182"/>
                    <a:pt x="420" y="1184"/>
                  </a:cubicBezTo>
                  <a:cubicBezTo>
                    <a:pt x="429" y="1185"/>
                    <a:pt x="433" y="1181"/>
                    <a:pt x="433" y="1173"/>
                  </a:cubicBezTo>
                  <a:cubicBezTo>
                    <a:pt x="432" y="1130"/>
                    <a:pt x="435" y="1087"/>
                    <a:pt x="431" y="1044"/>
                  </a:cubicBezTo>
                  <a:cubicBezTo>
                    <a:pt x="427" y="1014"/>
                    <a:pt x="404" y="996"/>
                    <a:pt x="376" y="994"/>
                  </a:cubicBezTo>
                  <a:cubicBezTo>
                    <a:pt x="353" y="992"/>
                    <a:pt x="333" y="1000"/>
                    <a:pt x="317" y="1017"/>
                  </a:cubicBezTo>
                  <a:cubicBezTo>
                    <a:pt x="312" y="1021"/>
                    <a:pt x="311" y="1019"/>
                    <a:pt x="309" y="1015"/>
                  </a:cubicBezTo>
                  <a:cubicBezTo>
                    <a:pt x="309" y="1013"/>
                    <a:pt x="308" y="1011"/>
                    <a:pt x="308" y="1008"/>
                  </a:cubicBezTo>
                  <a:cubicBezTo>
                    <a:pt x="306" y="1001"/>
                    <a:pt x="298" y="997"/>
                    <a:pt x="287" y="998"/>
                  </a:cubicBezTo>
                  <a:cubicBezTo>
                    <a:pt x="279" y="999"/>
                    <a:pt x="278" y="1004"/>
                    <a:pt x="278" y="1011"/>
                  </a:cubicBezTo>
                  <a:cubicBezTo>
                    <a:pt x="278" y="1037"/>
                    <a:pt x="278" y="1064"/>
                    <a:pt x="278" y="1091"/>
                  </a:cubicBezTo>
                  <a:cubicBezTo>
                    <a:pt x="278" y="1115"/>
                    <a:pt x="278" y="1140"/>
                    <a:pt x="278" y="1165"/>
                  </a:cubicBezTo>
                  <a:close/>
                  <a:moveTo>
                    <a:pt x="150" y="705"/>
                  </a:moveTo>
                  <a:cubicBezTo>
                    <a:pt x="150" y="734"/>
                    <a:pt x="145" y="730"/>
                    <a:pt x="176" y="731"/>
                  </a:cubicBezTo>
                  <a:cubicBezTo>
                    <a:pt x="185" y="731"/>
                    <a:pt x="187" y="727"/>
                    <a:pt x="187" y="719"/>
                  </a:cubicBezTo>
                  <a:cubicBezTo>
                    <a:pt x="187" y="685"/>
                    <a:pt x="187" y="651"/>
                    <a:pt x="187" y="618"/>
                  </a:cubicBezTo>
                  <a:cubicBezTo>
                    <a:pt x="187" y="597"/>
                    <a:pt x="204" y="578"/>
                    <a:pt x="225" y="574"/>
                  </a:cubicBezTo>
                  <a:cubicBezTo>
                    <a:pt x="232" y="572"/>
                    <a:pt x="240" y="574"/>
                    <a:pt x="247" y="575"/>
                  </a:cubicBezTo>
                  <a:cubicBezTo>
                    <a:pt x="257" y="576"/>
                    <a:pt x="261" y="572"/>
                    <a:pt x="265" y="564"/>
                  </a:cubicBezTo>
                  <a:cubicBezTo>
                    <a:pt x="269" y="556"/>
                    <a:pt x="267" y="542"/>
                    <a:pt x="261" y="540"/>
                  </a:cubicBezTo>
                  <a:cubicBezTo>
                    <a:pt x="253" y="538"/>
                    <a:pt x="244" y="534"/>
                    <a:pt x="237" y="536"/>
                  </a:cubicBezTo>
                  <a:cubicBezTo>
                    <a:pt x="228" y="537"/>
                    <a:pt x="217" y="537"/>
                    <a:pt x="209" y="544"/>
                  </a:cubicBezTo>
                  <a:cubicBezTo>
                    <a:pt x="204" y="549"/>
                    <a:pt x="198" y="553"/>
                    <a:pt x="194" y="558"/>
                  </a:cubicBezTo>
                  <a:cubicBezTo>
                    <a:pt x="192" y="561"/>
                    <a:pt x="189" y="563"/>
                    <a:pt x="185" y="562"/>
                  </a:cubicBezTo>
                  <a:cubicBezTo>
                    <a:pt x="182" y="561"/>
                    <a:pt x="182" y="558"/>
                    <a:pt x="182" y="556"/>
                  </a:cubicBezTo>
                  <a:cubicBezTo>
                    <a:pt x="180" y="539"/>
                    <a:pt x="179" y="539"/>
                    <a:pt x="162" y="539"/>
                  </a:cubicBezTo>
                  <a:cubicBezTo>
                    <a:pt x="151" y="539"/>
                    <a:pt x="150" y="540"/>
                    <a:pt x="150" y="551"/>
                  </a:cubicBezTo>
                  <a:cubicBezTo>
                    <a:pt x="150" y="579"/>
                    <a:pt x="150" y="607"/>
                    <a:pt x="150" y="635"/>
                  </a:cubicBezTo>
                  <a:cubicBezTo>
                    <a:pt x="150" y="658"/>
                    <a:pt x="149" y="682"/>
                    <a:pt x="150" y="705"/>
                  </a:cubicBezTo>
                  <a:close/>
                  <a:moveTo>
                    <a:pt x="1011" y="1049"/>
                  </a:moveTo>
                  <a:cubicBezTo>
                    <a:pt x="1011" y="1008"/>
                    <a:pt x="1011" y="966"/>
                    <a:pt x="1011" y="924"/>
                  </a:cubicBezTo>
                  <a:cubicBezTo>
                    <a:pt x="1011" y="913"/>
                    <a:pt x="1008" y="910"/>
                    <a:pt x="997" y="910"/>
                  </a:cubicBezTo>
                  <a:cubicBezTo>
                    <a:pt x="995" y="910"/>
                    <a:pt x="992" y="910"/>
                    <a:pt x="990" y="910"/>
                  </a:cubicBezTo>
                  <a:cubicBezTo>
                    <a:pt x="976" y="910"/>
                    <a:pt x="975" y="911"/>
                    <a:pt x="975" y="926"/>
                  </a:cubicBezTo>
                  <a:cubicBezTo>
                    <a:pt x="975" y="1006"/>
                    <a:pt x="975" y="1085"/>
                    <a:pt x="975" y="1165"/>
                  </a:cubicBezTo>
                  <a:cubicBezTo>
                    <a:pt x="975" y="1185"/>
                    <a:pt x="975" y="1185"/>
                    <a:pt x="994" y="1185"/>
                  </a:cubicBezTo>
                  <a:cubicBezTo>
                    <a:pt x="1009" y="1185"/>
                    <a:pt x="1011" y="1184"/>
                    <a:pt x="1011" y="1169"/>
                  </a:cubicBezTo>
                  <a:cubicBezTo>
                    <a:pt x="1011" y="1129"/>
                    <a:pt x="1011" y="1089"/>
                    <a:pt x="1011" y="1049"/>
                  </a:cubicBezTo>
                  <a:cubicBezTo>
                    <a:pt x="1011" y="1049"/>
                    <a:pt x="1011" y="1049"/>
                    <a:pt x="1011" y="1049"/>
                  </a:cubicBezTo>
                  <a:close/>
                  <a:moveTo>
                    <a:pt x="296" y="176"/>
                  </a:moveTo>
                  <a:cubicBezTo>
                    <a:pt x="296" y="201"/>
                    <a:pt x="296" y="226"/>
                    <a:pt x="296" y="251"/>
                  </a:cubicBezTo>
                  <a:cubicBezTo>
                    <a:pt x="295" y="276"/>
                    <a:pt x="296" y="274"/>
                    <a:pt x="318" y="274"/>
                  </a:cubicBezTo>
                  <a:cubicBezTo>
                    <a:pt x="330" y="274"/>
                    <a:pt x="331" y="274"/>
                    <a:pt x="331" y="260"/>
                  </a:cubicBezTo>
                  <a:cubicBezTo>
                    <a:pt x="331" y="232"/>
                    <a:pt x="331" y="204"/>
                    <a:pt x="331" y="176"/>
                  </a:cubicBezTo>
                  <a:cubicBezTo>
                    <a:pt x="331" y="165"/>
                    <a:pt x="331" y="155"/>
                    <a:pt x="337" y="145"/>
                  </a:cubicBezTo>
                  <a:cubicBezTo>
                    <a:pt x="349" y="123"/>
                    <a:pt x="359" y="117"/>
                    <a:pt x="377" y="118"/>
                  </a:cubicBezTo>
                  <a:cubicBezTo>
                    <a:pt x="383" y="118"/>
                    <a:pt x="389" y="119"/>
                    <a:pt x="395" y="120"/>
                  </a:cubicBezTo>
                  <a:cubicBezTo>
                    <a:pt x="401" y="120"/>
                    <a:pt x="407" y="118"/>
                    <a:pt x="408" y="112"/>
                  </a:cubicBezTo>
                  <a:cubicBezTo>
                    <a:pt x="409" y="103"/>
                    <a:pt x="415" y="93"/>
                    <a:pt x="407" y="85"/>
                  </a:cubicBezTo>
                  <a:cubicBezTo>
                    <a:pt x="406" y="84"/>
                    <a:pt x="404" y="84"/>
                    <a:pt x="402" y="84"/>
                  </a:cubicBezTo>
                  <a:cubicBezTo>
                    <a:pt x="376" y="78"/>
                    <a:pt x="353" y="82"/>
                    <a:pt x="337" y="106"/>
                  </a:cubicBezTo>
                  <a:cubicBezTo>
                    <a:pt x="336" y="108"/>
                    <a:pt x="335" y="110"/>
                    <a:pt x="333" y="109"/>
                  </a:cubicBezTo>
                  <a:cubicBezTo>
                    <a:pt x="331" y="109"/>
                    <a:pt x="330" y="107"/>
                    <a:pt x="330" y="105"/>
                  </a:cubicBezTo>
                  <a:cubicBezTo>
                    <a:pt x="329" y="101"/>
                    <a:pt x="329" y="97"/>
                    <a:pt x="328" y="94"/>
                  </a:cubicBezTo>
                  <a:cubicBezTo>
                    <a:pt x="325" y="85"/>
                    <a:pt x="318" y="82"/>
                    <a:pt x="303" y="84"/>
                  </a:cubicBezTo>
                  <a:cubicBezTo>
                    <a:pt x="297" y="84"/>
                    <a:pt x="295" y="86"/>
                    <a:pt x="295" y="92"/>
                  </a:cubicBezTo>
                  <a:cubicBezTo>
                    <a:pt x="296" y="120"/>
                    <a:pt x="295" y="148"/>
                    <a:pt x="295" y="176"/>
                  </a:cubicBezTo>
                  <a:cubicBezTo>
                    <a:pt x="296" y="176"/>
                    <a:pt x="296" y="176"/>
                    <a:pt x="296" y="176"/>
                  </a:cubicBezTo>
                  <a:close/>
                  <a:moveTo>
                    <a:pt x="946" y="179"/>
                  </a:moveTo>
                  <a:cubicBezTo>
                    <a:pt x="946" y="197"/>
                    <a:pt x="946" y="215"/>
                    <a:pt x="946" y="234"/>
                  </a:cubicBezTo>
                  <a:cubicBezTo>
                    <a:pt x="946" y="248"/>
                    <a:pt x="951" y="260"/>
                    <a:pt x="963" y="268"/>
                  </a:cubicBezTo>
                  <a:cubicBezTo>
                    <a:pt x="982" y="280"/>
                    <a:pt x="1011" y="277"/>
                    <a:pt x="1029" y="264"/>
                  </a:cubicBezTo>
                  <a:cubicBezTo>
                    <a:pt x="1036" y="259"/>
                    <a:pt x="1036" y="254"/>
                    <a:pt x="1032" y="248"/>
                  </a:cubicBezTo>
                  <a:cubicBezTo>
                    <a:pt x="1026" y="239"/>
                    <a:pt x="1020" y="238"/>
                    <a:pt x="1013" y="242"/>
                  </a:cubicBezTo>
                  <a:cubicBezTo>
                    <a:pt x="996" y="252"/>
                    <a:pt x="978" y="243"/>
                    <a:pt x="978" y="223"/>
                  </a:cubicBezTo>
                  <a:cubicBezTo>
                    <a:pt x="978" y="190"/>
                    <a:pt x="978" y="157"/>
                    <a:pt x="978" y="123"/>
                  </a:cubicBezTo>
                  <a:cubicBezTo>
                    <a:pt x="978" y="116"/>
                    <a:pt x="981" y="113"/>
                    <a:pt x="988" y="113"/>
                  </a:cubicBezTo>
                  <a:cubicBezTo>
                    <a:pt x="999" y="114"/>
                    <a:pt x="1011" y="113"/>
                    <a:pt x="1022" y="113"/>
                  </a:cubicBezTo>
                  <a:cubicBezTo>
                    <a:pt x="1028" y="113"/>
                    <a:pt x="1033" y="112"/>
                    <a:pt x="1033" y="104"/>
                  </a:cubicBezTo>
                  <a:cubicBezTo>
                    <a:pt x="1033" y="96"/>
                    <a:pt x="1032" y="90"/>
                    <a:pt x="1022" y="90"/>
                  </a:cubicBezTo>
                  <a:cubicBezTo>
                    <a:pt x="1011" y="90"/>
                    <a:pt x="1001" y="90"/>
                    <a:pt x="990" y="90"/>
                  </a:cubicBezTo>
                  <a:cubicBezTo>
                    <a:pt x="981" y="91"/>
                    <a:pt x="977" y="88"/>
                    <a:pt x="978" y="78"/>
                  </a:cubicBezTo>
                  <a:cubicBezTo>
                    <a:pt x="978" y="64"/>
                    <a:pt x="978" y="49"/>
                    <a:pt x="978" y="35"/>
                  </a:cubicBezTo>
                  <a:cubicBezTo>
                    <a:pt x="978" y="30"/>
                    <a:pt x="978" y="25"/>
                    <a:pt x="971" y="24"/>
                  </a:cubicBezTo>
                  <a:cubicBezTo>
                    <a:pt x="964" y="24"/>
                    <a:pt x="956" y="24"/>
                    <a:pt x="955" y="32"/>
                  </a:cubicBezTo>
                  <a:cubicBezTo>
                    <a:pt x="952" y="43"/>
                    <a:pt x="949" y="54"/>
                    <a:pt x="949" y="65"/>
                  </a:cubicBezTo>
                  <a:cubicBezTo>
                    <a:pt x="948" y="88"/>
                    <a:pt x="947" y="88"/>
                    <a:pt x="924" y="91"/>
                  </a:cubicBezTo>
                  <a:cubicBezTo>
                    <a:pt x="919" y="92"/>
                    <a:pt x="914" y="92"/>
                    <a:pt x="914" y="99"/>
                  </a:cubicBezTo>
                  <a:cubicBezTo>
                    <a:pt x="915" y="107"/>
                    <a:pt x="917" y="113"/>
                    <a:pt x="926" y="113"/>
                  </a:cubicBezTo>
                  <a:cubicBezTo>
                    <a:pt x="929" y="114"/>
                    <a:pt x="932" y="113"/>
                    <a:pt x="935" y="113"/>
                  </a:cubicBezTo>
                  <a:cubicBezTo>
                    <a:pt x="943" y="113"/>
                    <a:pt x="946" y="116"/>
                    <a:pt x="946" y="124"/>
                  </a:cubicBezTo>
                  <a:cubicBezTo>
                    <a:pt x="946" y="142"/>
                    <a:pt x="946" y="161"/>
                    <a:pt x="946" y="179"/>
                  </a:cubicBezTo>
                  <a:cubicBezTo>
                    <a:pt x="946" y="179"/>
                    <a:pt x="946" y="179"/>
                    <a:pt x="946" y="179"/>
                  </a:cubicBezTo>
                  <a:close/>
                </a:path>
              </a:pathLst>
            </a:custGeom>
            <a:solidFill>
              <a:srgbClr val="4C505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grpSp>
          <p:nvGrpSpPr>
            <p:cNvPr id="18" name="Group 4">
              <a:extLst>
                <a:ext uri="{FF2B5EF4-FFF2-40B4-BE49-F238E27FC236}">
                  <a16:creationId xmlns:a16="http://schemas.microsoft.com/office/drawing/2014/main" id="{57BD2C4C-DC67-B843-B26C-309622FC75F7}"/>
                </a:ext>
              </a:extLst>
            </p:cNvPr>
            <p:cNvGrpSpPr>
              <a:grpSpLocks noChangeAspect="1"/>
            </p:cNvGrpSpPr>
            <p:nvPr/>
          </p:nvGrpSpPr>
          <p:grpSpPr bwMode="gray">
            <a:xfrm>
              <a:off x="334963" y="296652"/>
              <a:ext cx="538094" cy="540000"/>
              <a:chOff x="2711" y="1027"/>
              <a:chExt cx="2258" cy="2266"/>
            </a:xfrm>
          </p:grpSpPr>
          <p:sp>
            <p:nvSpPr>
              <p:cNvPr id="19" name="AutoShape 3">
                <a:extLst>
                  <a:ext uri="{FF2B5EF4-FFF2-40B4-BE49-F238E27FC236}">
                    <a16:creationId xmlns:a16="http://schemas.microsoft.com/office/drawing/2014/main" id="{FE1DC41B-291E-574C-9F2C-874E70A40758}"/>
                  </a:ext>
                </a:extLst>
              </p:cNvPr>
              <p:cNvSpPr>
                <a:spLocks noChangeAspect="1" noChangeArrowheads="1" noTextEdit="1"/>
              </p:cNvSpPr>
              <p:nvPr/>
            </p:nvSpPr>
            <p:spPr bwMode="gray">
              <a:xfrm>
                <a:off x="2711" y="1027"/>
                <a:ext cx="2258" cy="22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20" name="Freeform 5">
                <a:extLst>
                  <a:ext uri="{FF2B5EF4-FFF2-40B4-BE49-F238E27FC236}">
                    <a16:creationId xmlns:a16="http://schemas.microsoft.com/office/drawing/2014/main" id="{D4B633C8-F761-C54B-9BD2-EB59D49A2DBC}"/>
                  </a:ext>
                </a:extLst>
              </p:cNvPr>
              <p:cNvSpPr>
                <a:spLocks/>
              </p:cNvSpPr>
              <p:nvPr/>
            </p:nvSpPr>
            <p:spPr bwMode="gray">
              <a:xfrm>
                <a:off x="2709" y="1029"/>
                <a:ext cx="2260" cy="2262"/>
              </a:xfrm>
              <a:custGeom>
                <a:avLst/>
                <a:gdLst>
                  <a:gd name="T0" fmla="*/ 2260 w 2260"/>
                  <a:gd name="T1" fmla="*/ 0 h 2262"/>
                  <a:gd name="T2" fmla="*/ 1612 w 2260"/>
                  <a:gd name="T3" fmla="*/ 649 h 2262"/>
                  <a:gd name="T4" fmla="*/ 1612 w 2260"/>
                  <a:gd name="T5" fmla="*/ 649 h 2262"/>
                  <a:gd name="T6" fmla="*/ 2035 w 2260"/>
                  <a:gd name="T7" fmla="*/ 0 h 2262"/>
                  <a:gd name="T8" fmla="*/ 0 w 2260"/>
                  <a:gd name="T9" fmla="*/ 0 h 2262"/>
                  <a:gd name="T10" fmla="*/ 0 w 2260"/>
                  <a:gd name="T11" fmla="*/ 2262 h 2262"/>
                  <a:gd name="T12" fmla="*/ 2260 w 2260"/>
                  <a:gd name="T13" fmla="*/ 2262 h 2262"/>
                  <a:gd name="T14" fmla="*/ 2260 w 2260"/>
                  <a:gd name="T15" fmla="*/ 0 h 2262"/>
                  <a:gd name="T16" fmla="*/ 2260 w 2260"/>
                  <a:gd name="T17" fmla="*/ 0 h 2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0" h="2262">
                    <a:moveTo>
                      <a:pt x="2260" y="0"/>
                    </a:moveTo>
                    <a:lnTo>
                      <a:pt x="1612" y="649"/>
                    </a:lnTo>
                    <a:lnTo>
                      <a:pt x="1612" y="649"/>
                    </a:lnTo>
                    <a:lnTo>
                      <a:pt x="2035" y="0"/>
                    </a:lnTo>
                    <a:lnTo>
                      <a:pt x="0" y="0"/>
                    </a:lnTo>
                    <a:lnTo>
                      <a:pt x="0" y="2262"/>
                    </a:lnTo>
                    <a:lnTo>
                      <a:pt x="2260" y="2262"/>
                    </a:lnTo>
                    <a:lnTo>
                      <a:pt x="2260" y="0"/>
                    </a:lnTo>
                    <a:lnTo>
                      <a:pt x="2260" y="0"/>
                    </a:lnTo>
                    <a:close/>
                  </a:path>
                </a:pathLst>
              </a:custGeom>
              <a:solidFill>
                <a:srgbClr val="E55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21" name="Freeform 6">
                <a:extLst>
                  <a:ext uri="{FF2B5EF4-FFF2-40B4-BE49-F238E27FC236}">
                    <a16:creationId xmlns:a16="http://schemas.microsoft.com/office/drawing/2014/main" id="{B16BAAE4-1A41-C843-9754-490F7A1E1270}"/>
                  </a:ext>
                </a:extLst>
              </p:cNvPr>
              <p:cNvSpPr>
                <a:spLocks noEditPoints="1"/>
              </p:cNvSpPr>
              <p:nvPr/>
            </p:nvSpPr>
            <p:spPr bwMode="gray">
              <a:xfrm>
                <a:off x="3623" y="1696"/>
                <a:ext cx="1167" cy="922"/>
              </a:xfrm>
              <a:custGeom>
                <a:avLst/>
                <a:gdLst>
                  <a:gd name="T0" fmla="*/ 411 w 580"/>
                  <a:gd name="T1" fmla="*/ 213 h 458"/>
                  <a:gd name="T2" fmla="*/ 570 w 580"/>
                  <a:gd name="T3" fmla="*/ 37 h 458"/>
                  <a:gd name="T4" fmla="*/ 580 w 580"/>
                  <a:gd name="T5" fmla="*/ 20 h 458"/>
                  <a:gd name="T6" fmla="*/ 545 w 580"/>
                  <a:gd name="T7" fmla="*/ 0 h 458"/>
                  <a:gd name="T8" fmla="*/ 519 w 580"/>
                  <a:gd name="T9" fmla="*/ 16 h 458"/>
                  <a:gd name="T10" fmla="*/ 344 w 580"/>
                  <a:gd name="T11" fmla="*/ 210 h 458"/>
                  <a:gd name="T12" fmla="*/ 334 w 580"/>
                  <a:gd name="T13" fmla="*/ 229 h 458"/>
                  <a:gd name="T14" fmla="*/ 344 w 580"/>
                  <a:gd name="T15" fmla="*/ 248 h 458"/>
                  <a:gd name="T16" fmla="*/ 519 w 580"/>
                  <a:gd name="T17" fmla="*/ 442 h 458"/>
                  <a:gd name="T18" fmla="*/ 545 w 580"/>
                  <a:gd name="T19" fmla="*/ 458 h 458"/>
                  <a:gd name="T20" fmla="*/ 580 w 580"/>
                  <a:gd name="T21" fmla="*/ 438 h 458"/>
                  <a:gd name="T22" fmla="*/ 570 w 580"/>
                  <a:gd name="T23" fmla="*/ 421 h 458"/>
                  <a:gd name="T24" fmla="*/ 411 w 580"/>
                  <a:gd name="T25" fmla="*/ 245 h 458"/>
                  <a:gd name="T26" fmla="*/ 399 w 580"/>
                  <a:gd name="T27" fmla="*/ 229 h 458"/>
                  <a:gd name="T28" fmla="*/ 411 w 580"/>
                  <a:gd name="T29" fmla="*/ 213 h 458"/>
                  <a:gd name="T30" fmla="*/ 252 w 580"/>
                  <a:gd name="T31" fmla="*/ 439 h 458"/>
                  <a:gd name="T32" fmla="*/ 281 w 580"/>
                  <a:gd name="T33" fmla="*/ 454 h 458"/>
                  <a:gd name="T34" fmla="*/ 309 w 580"/>
                  <a:gd name="T35" fmla="*/ 439 h 458"/>
                  <a:gd name="T36" fmla="*/ 309 w 580"/>
                  <a:gd name="T37" fmla="*/ 19 h 458"/>
                  <a:gd name="T38" fmla="*/ 281 w 580"/>
                  <a:gd name="T39" fmla="*/ 4 h 458"/>
                  <a:gd name="T40" fmla="*/ 252 w 580"/>
                  <a:gd name="T41" fmla="*/ 19 h 458"/>
                  <a:gd name="T42" fmla="*/ 252 w 580"/>
                  <a:gd name="T43" fmla="*/ 439 h 458"/>
                  <a:gd name="T44" fmla="*/ 0 w 580"/>
                  <a:gd name="T45" fmla="*/ 439 h 458"/>
                  <a:gd name="T46" fmla="*/ 28 w 580"/>
                  <a:gd name="T47" fmla="*/ 454 h 458"/>
                  <a:gd name="T48" fmla="*/ 56 w 580"/>
                  <a:gd name="T49" fmla="*/ 439 h 458"/>
                  <a:gd name="T50" fmla="*/ 56 w 580"/>
                  <a:gd name="T51" fmla="*/ 157 h 458"/>
                  <a:gd name="T52" fmla="*/ 165 w 580"/>
                  <a:gd name="T53" fmla="*/ 53 h 458"/>
                  <a:gd name="T54" fmla="*/ 180 w 580"/>
                  <a:gd name="T55" fmla="*/ 53 h 458"/>
                  <a:gd name="T56" fmla="*/ 196 w 580"/>
                  <a:gd name="T57" fmla="*/ 27 h 458"/>
                  <a:gd name="T58" fmla="*/ 154 w 580"/>
                  <a:gd name="T59" fmla="*/ 4 h 458"/>
                  <a:gd name="T60" fmla="*/ 0 w 580"/>
                  <a:gd name="T61" fmla="*/ 152 h 458"/>
                  <a:gd name="T62" fmla="*/ 0 w 580"/>
                  <a:gd name="T63" fmla="*/ 439 h 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80" h="458">
                    <a:moveTo>
                      <a:pt x="411" y="213"/>
                    </a:moveTo>
                    <a:cubicBezTo>
                      <a:pt x="570" y="37"/>
                      <a:pt x="570" y="37"/>
                      <a:pt x="570" y="37"/>
                    </a:cubicBezTo>
                    <a:cubicBezTo>
                      <a:pt x="576" y="30"/>
                      <a:pt x="580" y="25"/>
                      <a:pt x="580" y="20"/>
                    </a:cubicBezTo>
                    <a:cubicBezTo>
                      <a:pt x="580" y="10"/>
                      <a:pt x="559" y="0"/>
                      <a:pt x="545" y="0"/>
                    </a:cubicBezTo>
                    <a:cubicBezTo>
                      <a:pt x="535" y="0"/>
                      <a:pt x="526" y="8"/>
                      <a:pt x="519" y="16"/>
                    </a:cubicBezTo>
                    <a:cubicBezTo>
                      <a:pt x="344" y="210"/>
                      <a:pt x="344" y="210"/>
                      <a:pt x="344" y="210"/>
                    </a:cubicBezTo>
                    <a:cubicBezTo>
                      <a:pt x="336" y="219"/>
                      <a:pt x="334" y="224"/>
                      <a:pt x="334" y="229"/>
                    </a:cubicBezTo>
                    <a:cubicBezTo>
                      <a:pt x="334" y="234"/>
                      <a:pt x="336" y="239"/>
                      <a:pt x="344" y="248"/>
                    </a:cubicBezTo>
                    <a:cubicBezTo>
                      <a:pt x="519" y="442"/>
                      <a:pt x="519" y="442"/>
                      <a:pt x="519" y="442"/>
                    </a:cubicBezTo>
                    <a:cubicBezTo>
                      <a:pt x="526" y="450"/>
                      <a:pt x="535" y="458"/>
                      <a:pt x="545" y="458"/>
                    </a:cubicBezTo>
                    <a:cubicBezTo>
                      <a:pt x="559" y="458"/>
                      <a:pt x="580" y="448"/>
                      <a:pt x="580" y="438"/>
                    </a:cubicBezTo>
                    <a:cubicBezTo>
                      <a:pt x="580" y="433"/>
                      <a:pt x="576" y="428"/>
                      <a:pt x="570" y="421"/>
                    </a:cubicBezTo>
                    <a:cubicBezTo>
                      <a:pt x="411" y="245"/>
                      <a:pt x="411" y="245"/>
                      <a:pt x="411" y="245"/>
                    </a:cubicBezTo>
                    <a:cubicBezTo>
                      <a:pt x="403" y="236"/>
                      <a:pt x="399" y="232"/>
                      <a:pt x="399" y="229"/>
                    </a:cubicBezTo>
                    <a:cubicBezTo>
                      <a:pt x="399" y="226"/>
                      <a:pt x="403" y="222"/>
                      <a:pt x="411" y="213"/>
                    </a:cubicBezTo>
                    <a:moveTo>
                      <a:pt x="252" y="439"/>
                    </a:moveTo>
                    <a:cubicBezTo>
                      <a:pt x="252" y="449"/>
                      <a:pt x="261" y="454"/>
                      <a:pt x="281" y="454"/>
                    </a:cubicBezTo>
                    <a:cubicBezTo>
                      <a:pt x="300" y="454"/>
                      <a:pt x="309" y="449"/>
                      <a:pt x="309" y="439"/>
                    </a:cubicBezTo>
                    <a:cubicBezTo>
                      <a:pt x="309" y="19"/>
                      <a:pt x="309" y="19"/>
                      <a:pt x="309" y="19"/>
                    </a:cubicBezTo>
                    <a:cubicBezTo>
                      <a:pt x="309" y="9"/>
                      <a:pt x="300" y="4"/>
                      <a:pt x="281" y="4"/>
                    </a:cubicBezTo>
                    <a:cubicBezTo>
                      <a:pt x="261" y="4"/>
                      <a:pt x="252" y="9"/>
                      <a:pt x="252" y="19"/>
                    </a:cubicBezTo>
                    <a:lnTo>
                      <a:pt x="252" y="439"/>
                    </a:lnTo>
                    <a:close/>
                    <a:moveTo>
                      <a:pt x="0" y="439"/>
                    </a:moveTo>
                    <a:cubicBezTo>
                      <a:pt x="0" y="449"/>
                      <a:pt x="8" y="454"/>
                      <a:pt x="28" y="454"/>
                    </a:cubicBezTo>
                    <a:cubicBezTo>
                      <a:pt x="48" y="454"/>
                      <a:pt x="56" y="449"/>
                      <a:pt x="56" y="439"/>
                    </a:cubicBezTo>
                    <a:cubicBezTo>
                      <a:pt x="56" y="157"/>
                      <a:pt x="56" y="157"/>
                      <a:pt x="56" y="157"/>
                    </a:cubicBezTo>
                    <a:cubicBezTo>
                      <a:pt x="56" y="83"/>
                      <a:pt x="85" y="53"/>
                      <a:pt x="165" y="53"/>
                    </a:cubicBezTo>
                    <a:cubicBezTo>
                      <a:pt x="180" y="53"/>
                      <a:pt x="180" y="53"/>
                      <a:pt x="180" y="53"/>
                    </a:cubicBezTo>
                    <a:cubicBezTo>
                      <a:pt x="192" y="53"/>
                      <a:pt x="196" y="43"/>
                      <a:pt x="196" y="27"/>
                    </a:cubicBezTo>
                    <a:cubicBezTo>
                      <a:pt x="196" y="8"/>
                      <a:pt x="185" y="4"/>
                      <a:pt x="154" y="4"/>
                    </a:cubicBezTo>
                    <a:cubicBezTo>
                      <a:pt x="64" y="4"/>
                      <a:pt x="0" y="43"/>
                      <a:pt x="0" y="152"/>
                    </a:cubicBezTo>
                    <a:lnTo>
                      <a:pt x="0" y="43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22" name="Freeform 7">
                <a:extLst>
                  <a:ext uri="{FF2B5EF4-FFF2-40B4-BE49-F238E27FC236}">
                    <a16:creationId xmlns:a16="http://schemas.microsoft.com/office/drawing/2014/main" id="{2F32DCBD-8628-F245-85CD-97686A20ECFD}"/>
                  </a:ext>
                </a:extLst>
              </p:cNvPr>
              <p:cNvSpPr>
                <a:spLocks/>
              </p:cNvSpPr>
              <p:nvPr/>
            </p:nvSpPr>
            <p:spPr bwMode="gray">
              <a:xfrm>
                <a:off x="2880" y="1704"/>
                <a:ext cx="618" cy="916"/>
              </a:xfrm>
              <a:custGeom>
                <a:avLst/>
                <a:gdLst>
                  <a:gd name="T0" fmla="*/ 307 w 307"/>
                  <a:gd name="T1" fmla="*/ 405 h 455"/>
                  <a:gd name="T2" fmla="*/ 307 w 307"/>
                  <a:gd name="T3" fmla="*/ 244 h 455"/>
                  <a:gd name="T4" fmla="*/ 279 w 307"/>
                  <a:gd name="T5" fmla="*/ 229 h 455"/>
                  <a:gd name="T6" fmla="*/ 250 w 307"/>
                  <a:gd name="T7" fmla="*/ 244 h 455"/>
                  <a:gd name="T8" fmla="*/ 250 w 307"/>
                  <a:gd name="T9" fmla="*/ 378 h 455"/>
                  <a:gd name="T10" fmla="*/ 199 w 307"/>
                  <a:gd name="T11" fmla="*/ 408 h 455"/>
                  <a:gd name="T12" fmla="*/ 61 w 307"/>
                  <a:gd name="T13" fmla="*/ 231 h 455"/>
                  <a:gd name="T14" fmla="*/ 238 w 307"/>
                  <a:gd name="T15" fmla="*/ 49 h 455"/>
                  <a:gd name="T16" fmla="*/ 270 w 307"/>
                  <a:gd name="T17" fmla="*/ 49 h 455"/>
                  <a:gd name="T18" fmla="*/ 286 w 307"/>
                  <a:gd name="T19" fmla="*/ 23 h 455"/>
                  <a:gd name="T20" fmla="*/ 244 w 307"/>
                  <a:gd name="T21" fmla="*/ 0 h 455"/>
                  <a:gd name="T22" fmla="*/ 231 w 307"/>
                  <a:gd name="T23" fmla="*/ 0 h 455"/>
                  <a:gd name="T24" fmla="*/ 0 w 307"/>
                  <a:gd name="T25" fmla="*/ 232 h 455"/>
                  <a:gd name="T26" fmla="*/ 198 w 307"/>
                  <a:gd name="T27" fmla="*/ 455 h 455"/>
                  <a:gd name="T28" fmla="*/ 307 w 307"/>
                  <a:gd name="T29" fmla="*/ 405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7" h="455">
                    <a:moveTo>
                      <a:pt x="307" y="405"/>
                    </a:moveTo>
                    <a:cubicBezTo>
                      <a:pt x="307" y="244"/>
                      <a:pt x="307" y="244"/>
                      <a:pt x="307" y="244"/>
                    </a:cubicBezTo>
                    <a:cubicBezTo>
                      <a:pt x="307" y="234"/>
                      <a:pt x="298" y="229"/>
                      <a:pt x="279" y="229"/>
                    </a:cubicBezTo>
                    <a:cubicBezTo>
                      <a:pt x="259" y="229"/>
                      <a:pt x="250" y="234"/>
                      <a:pt x="250" y="244"/>
                    </a:cubicBezTo>
                    <a:cubicBezTo>
                      <a:pt x="250" y="378"/>
                      <a:pt x="250" y="378"/>
                      <a:pt x="250" y="378"/>
                    </a:cubicBezTo>
                    <a:cubicBezTo>
                      <a:pt x="250" y="399"/>
                      <a:pt x="241" y="408"/>
                      <a:pt x="199" y="408"/>
                    </a:cubicBezTo>
                    <a:cubicBezTo>
                      <a:pt x="114" y="408"/>
                      <a:pt x="61" y="342"/>
                      <a:pt x="61" y="231"/>
                    </a:cubicBezTo>
                    <a:cubicBezTo>
                      <a:pt x="61" y="115"/>
                      <a:pt x="126" y="49"/>
                      <a:pt x="238" y="49"/>
                    </a:cubicBezTo>
                    <a:cubicBezTo>
                      <a:pt x="270" y="49"/>
                      <a:pt x="270" y="49"/>
                      <a:pt x="270" y="49"/>
                    </a:cubicBezTo>
                    <a:cubicBezTo>
                      <a:pt x="282" y="49"/>
                      <a:pt x="286" y="39"/>
                      <a:pt x="286" y="23"/>
                    </a:cubicBezTo>
                    <a:cubicBezTo>
                      <a:pt x="286" y="4"/>
                      <a:pt x="275" y="0"/>
                      <a:pt x="244" y="0"/>
                    </a:cubicBezTo>
                    <a:cubicBezTo>
                      <a:pt x="231" y="0"/>
                      <a:pt x="231" y="0"/>
                      <a:pt x="231" y="0"/>
                    </a:cubicBezTo>
                    <a:cubicBezTo>
                      <a:pt x="101" y="0"/>
                      <a:pt x="0" y="71"/>
                      <a:pt x="0" y="232"/>
                    </a:cubicBezTo>
                    <a:cubicBezTo>
                      <a:pt x="0" y="386"/>
                      <a:pt x="88" y="455"/>
                      <a:pt x="198" y="455"/>
                    </a:cubicBezTo>
                    <a:cubicBezTo>
                      <a:pt x="286" y="455"/>
                      <a:pt x="307" y="430"/>
                      <a:pt x="307" y="40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23" name="Oval 8">
                <a:extLst>
                  <a:ext uri="{FF2B5EF4-FFF2-40B4-BE49-F238E27FC236}">
                    <a16:creationId xmlns:a16="http://schemas.microsoft.com/office/drawing/2014/main" id="{60D97C11-1A3B-5449-A48D-98A3E79B3810}"/>
                  </a:ext>
                </a:extLst>
              </p:cNvPr>
              <p:cNvSpPr>
                <a:spLocks noChangeArrowheads="1"/>
              </p:cNvSpPr>
              <p:nvPr/>
            </p:nvSpPr>
            <p:spPr bwMode="gray">
              <a:xfrm>
                <a:off x="3778" y="2099"/>
                <a:ext cx="122" cy="12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24" name="Freeform 9">
                <a:extLst>
                  <a:ext uri="{FF2B5EF4-FFF2-40B4-BE49-F238E27FC236}">
                    <a16:creationId xmlns:a16="http://schemas.microsoft.com/office/drawing/2014/main" id="{5856770D-B8F0-244E-A05D-AED190086F10}"/>
                  </a:ext>
                </a:extLst>
              </p:cNvPr>
              <p:cNvSpPr>
                <a:spLocks noEditPoints="1"/>
              </p:cNvSpPr>
              <p:nvPr/>
            </p:nvSpPr>
            <p:spPr bwMode="gray">
              <a:xfrm>
                <a:off x="3623" y="1696"/>
                <a:ext cx="1167" cy="922"/>
              </a:xfrm>
              <a:custGeom>
                <a:avLst/>
                <a:gdLst>
                  <a:gd name="T0" fmla="*/ 411 w 580"/>
                  <a:gd name="T1" fmla="*/ 213 h 458"/>
                  <a:gd name="T2" fmla="*/ 570 w 580"/>
                  <a:gd name="T3" fmla="*/ 37 h 458"/>
                  <a:gd name="T4" fmla="*/ 580 w 580"/>
                  <a:gd name="T5" fmla="*/ 20 h 458"/>
                  <a:gd name="T6" fmla="*/ 545 w 580"/>
                  <a:gd name="T7" fmla="*/ 0 h 458"/>
                  <a:gd name="T8" fmla="*/ 519 w 580"/>
                  <a:gd name="T9" fmla="*/ 16 h 458"/>
                  <a:gd name="T10" fmla="*/ 344 w 580"/>
                  <a:gd name="T11" fmla="*/ 210 h 458"/>
                  <a:gd name="T12" fmla="*/ 334 w 580"/>
                  <a:gd name="T13" fmla="*/ 229 h 458"/>
                  <a:gd name="T14" fmla="*/ 344 w 580"/>
                  <a:gd name="T15" fmla="*/ 248 h 458"/>
                  <a:gd name="T16" fmla="*/ 519 w 580"/>
                  <a:gd name="T17" fmla="*/ 442 h 458"/>
                  <a:gd name="T18" fmla="*/ 545 w 580"/>
                  <a:gd name="T19" fmla="*/ 458 h 458"/>
                  <a:gd name="T20" fmla="*/ 580 w 580"/>
                  <a:gd name="T21" fmla="*/ 438 h 458"/>
                  <a:gd name="T22" fmla="*/ 570 w 580"/>
                  <a:gd name="T23" fmla="*/ 421 h 458"/>
                  <a:gd name="T24" fmla="*/ 411 w 580"/>
                  <a:gd name="T25" fmla="*/ 245 h 458"/>
                  <a:gd name="T26" fmla="*/ 399 w 580"/>
                  <a:gd name="T27" fmla="*/ 229 h 458"/>
                  <a:gd name="T28" fmla="*/ 411 w 580"/>
                  <a:gd name="T29" fmla="*/ 213 h 458"/>
                  <a:gd name="T30" fmla="*/ 252 w 580"/>
                  <a:gd name="T31" fmla="*/ 439 h 458"/>
                  <a:gd name="T32" fmla="*/ 281 w 580"/>
                  <a:gd name="T33" fmla="*/ 454 h 458"/>
                  <a:gd name="T34" fmla="*/ 309 w 580"/>
                  <a:gd name="T35" fmla="*/ 439 h 458"/>
                  <a:gd name="T36" fmla="*/ 309 w 580"/>
                  <a:gd name="T37" fmla="*/ 19 h 458"/>
                  <a:gd name="T38" fmla="*/ 281 w 580"/>
                  <a:gd name="T39" fmla="*/ 4 h 458"/>
                  <a:gd name="T40" fmla="*/ 252 w 580"/>
                  <a:gd name="T41" fmla="*/ 19 h 458"/>
                  <a:gd name="T42" fmla="*/ 252 w 580"/>
                  <a:gd name="T43" fmla="*/ 439 h 458"/>
                  <a:gd name="T44" fmla="*/ 0 w 580"/>
                  <a:gd name="T45" fmla="*/ 439 h 458"/>
                  <a:gd name="T46" fmla="*/ 28 w 580"/>
                  <a:gd name="T47" fmla="*/ 454 h 458"/>
                  <a:gd name="T48" fmla="*/ 56 w 580"/>
                  <a:gd name="T49" fmla="*/ 439 h 458"/>
                  <a:gd name="T50" fmla="*/ 56 w 580"/>
                  <a:gd name="T51" fmla="*/ 157 h 458"/>
                  <a:gd name="T52" fmla="*/ 165 w 580"/>
                  <a:gd name="T53" fmla="*/ 53 h 458"/>
                  <a:gd name="T54" fmla="*/ 180 w 580"/>
                  <a:gd name="T55" fmla="*/ 53 h 458"/>
                  <a:gd name="T56" fmla="*/ 196 w 580"/>
                  <a:gd name="T57" fmla="*/ 27 h 458"/>
                  <a:gd name="T58" fmla="*/ 154 w 580"/>
                  <a:gd name="T59" fmla="*/ 4 h 458"/>
                  <a:gd name="T60" fmla="*/ 0 w 580"/>
                  <a:gd name="T61" fmla="*/ 152 h 458"/>
                  <a:gd name="T62" fmla="*/ 0 w 580"/>
                  <a:gd name="T63" fmla="*/ 439 h 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80" h="458">
                    <a:moveTo>
                      <a:pt x="411" y="213"/>
                    </a:moveTo>
                    <a:cubicBezTo>
                      <a:pt x="570" y="37"/>
                      <a:pt x="570" y="37"/>
                      <a:pt x="570" y="37"/>
                    </a:cubicBezTo>
                    <a:cubicBezTo>
                      <a:pt x="576" y="30"/>
                      <a:pt x="580" y="25"/>
                      <a:pt x="580" y="20"/>
                    </a:cubicBezTo>
                    <a:cubicBezTo>
                      <a:pt x="580" y="10"/>
                      <a:pt x="559" y="0"/>
                      <a:pt x="545" y="0"/>
                    </a:cubicBezTo>
                    <a:cubicBezTo>
                      <a:pt x="535" y="0"/>
                      <a:pt x="526" y="8"/>
                      <a:pt x="519" y="16"/>
                    </a:cubicBezTo>
                    <a:cubicBezTo>
                      <a:pt x="344" y="210"/>
                      <a:pt x="344" y="210"/>
                      <a:pt x="344" y="210"/>
                    </a:cubicBezTo>
                    <a:cubicBezTo>
                      <a:pt x="336" y="219"/>
                      <a:pt x="334" y="224"/>
                      <a:pt x="334" y="229"/>
                    </a:cubicBezTo>
                    <a:cubicBezTo>
                      <a:pt x="334" y="234"/>
                      <a:pt x="336" y="239"/>
                      <a:pt x="344" y="248"/>
                    </a:cubicBezTo>
                    <a:cubicBezTo>
                      <a:pt x="519" y="442"/>
                      <a:pt x="519" y="442"/>
                      <a:pt x="519" y="442"/>
                    </a:cubicBezTo>
                    <a:cubicBezTo>
                      <a:pt x="526" y="450"/>
                      <a:pt x="535" y="458"/>
                      <a:pt x="545" y="458"/>
                    </a:cubicBezTo>
                    <a:cubicBezTo>
                      <a:pt x="559" y="458"/>
                      <a:pt x="580" y="448"/>
                      <a:pt x="580" y="438"/>
                    </a:cubicBezTo>
                    <a:cubicBezTo>
                      <a:pt x="580" y="433"/>
                      <a:pt x="576" y="428"/>
                      <a:pt x="570" y="421"/>
                    </a:cubicBezTo>
                    <a:cubicBezTo>
                      <a:pt x="411" y="245"/>
                      <a:pt x="411" y="245"/>
                      <a:pt x="411" y="245"/>
                    </a:cubicBezTo>
                    <a:cubicBezTo>
                      <a:pt x="403" y="236"/>
                      <a:pt x="399" y="232"/>
                      <a:pt x="399" y="229"/>
                    </a:cubicBezTo>
                    <a:cubicBezTo>
                      <a:pt x="399" y="226"/>
                      <a:pt x="403" y="222"/>
                      <a:pt x="411" y="213"/>
                    </a:cubicBezTo>
                    <a:moveTo>
                      <a:pt x="252" y="439"/>
                    </a:moveTo>
                    <a:cubicBezTo>
                      <a:pt x="252" y="449"/>
                      <a:pt x="261" y="454"/>
                      <a:pt x="281" y="454"/>
                    </a:cubicBezTo>
                    <a:cubicBezTo>
                      <a:pt x="300" y="454"/>
                      <a:pt x="309" y="449"/>
                      <a:pt x="309" y="439"/>
                    </a:cubicBezTo>
                    <a:cubicBezTo>
                      <a:pt x="309" y="19"/>
                      <a:pt x="309" y="19"/>
                      <a:pt x="309" y="19"/>
                    </a:cubicBezTo>
                    <a:cubicBezTo>
                      <a:pt x="309" y="9"/>
                      <a:pt x="300" y="4"/>
                      <a:pt x="281" y="4"/>
                    </a:cubicBezTo>
                    <a:cubicBezTo>
                      <a:pt x="261" y="4"/>
                      <a:pt x="252" y="9"/>
                      <a:pt x="252" y="19"/>
                    </a:cubicBezTo>
                    <a:lnTo>
                      <a:pt x="252" y="439"/>
                    </a:lnTo>
                    <a:close/>
                    <a:moveTo>
                      <a:pt x="0" y="439"/>
                    </a:moveTo>
                    <a:cubicBezTo>
                      <a:pt x="0" y="449"/>
                      <a:pt x="8" y="454"/>
                      <a:pt x="28" y="454"/>
                    </a:cubicBezTo>
                    <a:cubicBezTo>
                      <a:pt x="48" y="454"/>
                      <a:pt x="56" y="449"/>
                      <a:pt x="56" y="439"/>
                    </a:cubicBezTo>
                    <a:cubicBezTo>
                      <a:pt x="56" y="157"/>
                      <a:pt x="56" y="157"/>
                      <a:pt x="56" y="157"/>
                    </a:cubicBezTo>
                    <a:cubicBezTo>
                      <a:pt x="56" y="83"/>
                      <a:pt x="85" y="53"/>
                      <a:pt x="165" y="53"/>
                    </a:cubicBezTo>
                    <a:cubicBezTo>
                      <a:pt x="180" y="53"/>
                      <a:pt x="180" y="53"/>
                      <a:pt x="180" y="53"/>
                    </a:cubicBezTo>
                    <a:cubicBezTo>
                      <a:pt x="192" y="53"/>
                      <a:pt x="196" y="43"/>
                      <a:pt x="196" y="27"/>
                    </a:cubicBezTo>
                    <a:cubicBezTo>
                      <a:pt x="196" y="8"/>
                      <a:pt x="185" y="4"/>
                      <a:pt x="154" y="4"/>
                    </a:cubicBezTo>
                    <a:cubicBezTo>
                      <a:pt x="64" y="4"/>
                      <a:pt x="0" y="43"/>
                      <a:pt x="0" y="152"/>
                    </a:cubicBezTo>
                    <a:lnTo>
                      <a:pt x="0" y="43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25" name="Freeform 10">
                <a:extLst>
                  <a:ext uri="{FF2B5EF4-FFF2-40B4-BE49-F238E27FC236}">
                    <a16:creationId xmlns:a16="http://schemas.microsoft.com/office/drawing/2014/main" id="{2B91B16B-BC11-E547-8FAC-B9B8D18EA449}"/>
                  </a:ext>
                </a:extLst>
              </p:cNvPr>
              <p:cNvSpPr>
                <a:spLocks/>
              </p:cNvSpPr>
              <p:nvPr/>
            </p:nvSpPr>
            <p:spPr bwMode="gray">
              <a:xfrm>
                <a:off x="2880" y="1704"/>
                <a:ext cx="618" cy="916"/>
              </a:xfrm>
              <a:custGeom>
                <a:avLst/>
                <a:gdLst>
                  <a:gd name="T0" fmla="*/ 307 w 307"/>
                  <a:gd name="T1" fmla="*/ 405 h 455"/>
                  <a:gd name="T2" fmla="*/ 307 w 307"/>
                  <a:gd name="T3" fmla="*/ 244 h 455"/>
                  <a:gd name="T4" fmla="*/ 279 w 307"/>
                  <a:gd name="T5" fmla="*/ 229 h 455"/>
                  <a:gd name="T6" fmla="*/ 250 w 307"/>
                  <a:gd name="T7" fmla="*/ 244 h 455"/>
                  <a:gd name="T8" fmla="*/ 250 w 307"/>
                  <a:gd name="T9" fmla="*/ 378 h 455"/>
                  <a:gd name="T10" fmla="*/ 199 w 307"/>
                  <a:gd name="T11" fmla="*/ 408 h 455"/>
                  <a:gd name="T12" fmla="*/ 61 w 307"/>
                  <a:gd name="T13" fmla="*/ 231 h 455"/>
                  <a:gd name="T14" fmla="*/ 238 w 307"/>
                  <a:gd name="T15" fmla="*/ 49 h 455"/>
                  <a:gd name="T16" fmla="*/ 270 w 307"/>
                  <a:gd name="T17" fmla="*/ 49 h 455"/>
                  <a:gd name="T18" fmla="*/ 286 w 307"/>
                  <a:gd name="T19" fmla="*/ 23 h 455"/>
                  <a:gd name="T20" fmla="*/ 244 w 307"/>
                  <a:gd name="T21" fmla="*/ 0 h 455"/>
                  <a:gd name="T22" fmla="*/ 231 w 307"/>
                  <a:gd name="T23" fmla="*/ 0 h 455"/>
                  <a:gd name="T24" fmla="*/ 0 w 307"/>
                  <a:gd name="T25" fmla="*/ 232 h 455"/>
                  <a:gd name="T26" fmla="*/ 198 w 307"/>
                  <a:gd name="T27" fmla="*/ 455 h 455"/>
                  <a:gd name="T28" fmla="*/ 307 w 307"/>
                  <a:gd name="T29" fmla="*/ 405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7" h="455">
                    <a:moveTo>
                      <a:pt x="307" y="405"/>
                    </a:moveTo>
                    <a:cubicBezTo>
                      <a:pt x="307" y="244"/>
                      <a:pt x="307" y="244"/>
                      <a:pt x="307" y="244"/>
                    </a:cubicBezTo>
                    <a:cubicBezTo>
                      <a:pt x="307" y="234"/>
                      <a:pt x="298" y="229"/>
                      <a:pt x="279" y="229"/>
                    </a:cubicBezTo>
                    <a:cubicBezTo>
                      <a:pt x="259" y="229"/>
                      <a:pt x="250" y="234"/>
                      <a:pt x="250" y="244"/>
                    </a:cubicBezTo>
                    <a:cubicBezTo>
                      <a:pt x="250" y="378"/>
                      <a:pt x="250" y="378"/>
                      <a:pt x="250" y="378"/>
                    </a:cubicBezTo>
                    <a:cubicBezTo>
                      <a:pt x="250" y="399"/>
                      <a:pt x="241" y="408"/>
                      <a:pt x="199" y="408"/>
                    </a:cubicBezTo>
                    <a:cubicBezTo>
                      <a:pt x="114" y="408"/>
                      <a:pt x="61" y="342"/>
                      <a:pt x="61" y="231"/>
                    </a:cubicBezTo>
                    <a:cubicBezTo>
                      <a:pt x="61" y="115"/>
                      <a:pt x="126" y="49"/>
                      <a:pt x="238" y="49"/>
                    </a:cubicBezTo>
                    <a:cubicBezTo>
                      <a:pt x="270" y="49"/>
                      <a:pt x="270" y="49"/>
                      <a:pt x="270" y="49"/>
                    </a:cubicBezTo>
                    <a:cubicBezTo>
                      <a:pt x="282" y="49"/>
                      <a:pt x="286" y="39"/>
                      <a:pt x="286" y="23"/>
                    </a:cubicBezTo>
                    <a:cubicBezTo>
                      <a:pt x="286" y="4"/>
                      <a:pt x="275" y="0"/>
                      <a:pt x="244" y="0"/>
                    </a:cubicBezTo>
                    <a:cubicBezTo>
                      <a:pt x="231" y="0"/>
                      <a:pt x="231" y="0"/>
                      <a:pt x="231" y="0"/>
                    </a:cubicBezTo>
                    <a:cubicBezTo>
                      <a:pt x="101" y="0"/>
                      <a:pt x="0" y="71"/>
                      <a:pt x="0" y="232"/>
                    </a:cubicBezTo>
                    <a:cubicBezTo>
                      <a:pt x="0" y="386"/>
                      <a:pt x="88" y="455"/>
                      <a:pt x="198" y="455"/>
                    </a:cubicBezTo>
                    <a:cubicBezTo>
                      <a:pt x="286" y="455"/>
                      <a:pt x="307" y="430"/>
                      <a:pt x="307" y="40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26" name="Oval 11">
                <a:extLst>
                  <a:ext uri="{FF2B5EF4-FFF2-40B4-BE49-F238E27FC236}">
                    <a16:creationId xmlns:a16="http://schemas.microsoft.com/office/drawing/2014/main" id="{14F8C3C8-4888-7646-B9B4-64EB46A1DA23}"/>
                  </a:ext>
                </a:extLst>
              </p:cNvPr>
              <p:cNvSpPr>
                <a:spLocks noChangeArrowheads="1"/>
              </p:cNvSpPr>
              <p:nvPr/>
            </p:nvSpPr>
            <p:spPr bwMode="gray">
              <a:xfrm>
                <a:off x="3778" y="2099"/>
                <a:ext cx="122" cy="12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27" name="Freeform 12">
                <a:extLst>
                  <a:ext uri="{FF2B5EF4-FFF2-40B4-BE49-F238E27FC236}">
                    <a16:creationId xmlns:a16="http://schemas.microsoft.com/office/drawing/2014/main" id="{D79D01D1-4E3E-F34B-97D7-2D387E68746E}"/>
                  </a:ext>
                </a:extLst>
              </p:cNvPr>
              <p:cNvSpPr>
                <a:spLocks/>
              </p:cNvSpPr>
              <p:nvPr/>
            </p:nvSpPr>
            <p:spPr bwMode="gray">
              <a:xfrm>
                <a:off x="4321" y="1029"/>
                <a:ext cx="648" cy="649"/>
              </a:xfrm>
              <a:custGeom>
                <a:avLst/>
                <a:gdLst>
                  <a:gd name="T0" fmla="*/ 0 w 648"/>
                  <a:gd name="T1" fmla="*/ 649 h 649"/>
                  <a:gd name="T2" fmla="*/ 2 w 648"/>
                  <a:gd name="T3" fmla="*/ 649 h 649"/>
                  <a:gd name="T4" fmla="*/ 648 w 648"/>
                  <a:gd name="T5" fmla="*/ 0 h 649"/>
                  <a:gd name="T6" fmla="*/ 423 w 648"/>
                  <a:gd name="T7" fmla="*/ 0 h 649"/>
                  <a:gd name="T8" fmla="*/ 0 w 648"/>
                  <a:gd name="T9" fmla="*/ 649 h 649"/>
                </a:gdLst>
                <a:ahLst/>
                <a:cxnLst>
                  <a:cxn ang="0">
                    <a:pos x="T0" y="T1"/>
                  </a:cxn>
                  <a:cxn ang="0">
                    <a:pos x="T2" y="T3"/>
                  </a:cxn>
                  <a:cxn ang="0">
                    <a:pos x="T4" y="T5"/>
                  </a:cxn>
                  <a:cxn ang="0">
                    <a:pos x="T6" y="T7"/>
                  </a:cxn>
                  <a:cxn ang="0">
                    <a:pos x="T8" y="T9"/>
                  </a:cxn>
                </a:cxnLst>
                <a:rect l="0" t="0" r="r" b="b"/>
                <a:pathLst>
                  <a:path w="648" h="649">
                    <a:moveTo>
                      <a:pt x="0" y="649"/>
                    </a:moveTo>
                    <a:lnTo>
                      <a:pt x="2" y="649"/>
                    </a:lnTo>
                    <a:lnTo>
                      <a:pt x="648" y="0"/>
                    </a:lnTo>
                    <a:lnTo>
                      <a:pt x="423" y="0"/>
                    </a:lnTo>
                    <a:lnTo>
                      <a:pt x="0" y="64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28" name="Freeform 13">
                <a:extLst>
                  <a:ext uri="{FF2B5EF4-FFF2-40B4-BE49-F238E27FC236}">
                    <a16:creationId xmlns:a16="http://schemas.microsoft.com/office/drawing/2014/main" id="{46549898-6C52-B147-A8F6-A73FDBE6163B}"/>
                  </a:ext>
                </a:extLst>
              </p:cNvPr>
              <p:cNvSpPr>
                <a:spLocks/>
              </p:cNvSpPr>
              <p:nvPr/>
            </p:nvSpPr>
            <p:spPr bwMode="gray">
              <a:xfrm>
                <a:off x="4321" y="1029"/>
                <a:ext cx="648" cy="649"/>
              </a:xfrm>
              <a:custGeom>
                <a:avLst/>
                <a:gdLst>
                  <a:gd name="T0" fmla="*/ 0 w 648"/>
                  <a:gd name="T1" fmla="*/ 649 h 649"/>
                  <a:gd name="T2" fmla="*/ 2 w 648"/>
                  <a:gd name="T3" fmla="*/ 649 h 649"/>
                  <a:gd name="T4" fmla="*/ 648 w 648"/>
                  <a:gd name="T5" fmla="*/ 0 h 649"/>
                  <a:gd name="T6" fmla="*/ 423 w 648"/>
                  <a:gd name="T7" fmla="*/ 0 h 649"/>
                  <a:gd name="T8" fmla="*/ 0 w 648"/>
                  <a:gd name="T9" fmla="*/ 649 h 649"/>
                </a:gdLst>
                <a:ahLst/>
                <a:cxnLst>
                  <a:cxn ang="0">
                    <a:pos x="T0" y="T1"/>
                  </a:cxn>
                  <a:cxn ang="0">
                    <a:pos x="T2" y="T3"/>
                  </a:cxn>
                  <a:cxn ang="0">
                    <a:pos x="T4" y="T5"/>
                  </a:cxn>
                  <a:cxn ang="0">
                    <a:pos x="T6" y="T7"/>
                  </a:cxn>
                  <a:cxn ang="0">
                    <a:pos x="T8" y="T9"/>
                  </a:cxn>
                </a:cxnLst>
                <a:rect l="0" t="0" r="r" b="b"/>
                <a:pathLst>
                  <a:path w="648" h="649">
                    <a:moveTo>
                      <a:pt x="0" y="649"/>
                    </a:moveTo>
                    <a:lnTo>
                      <a:pt x="2" y="649"/>
                    </a:lnTo>
                    <a:lnTo>
                      <a:pt x="648" y="0"/>
                    </a:lnTo>
                    <a:lnTo>
                      <a:pt x="423" y="0"/>
                    </a:lnTo>
                    <a:lnTo>
                      <a:pt x="0" y="64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grpSp>
      </p:grpSp>
      <p:sp>
        <p:nvSpPr>
          <p:cNvPr id="7" name="Date Placeholder 6"/>
          <p:cNvSpPr>
            <a:spLocks noGrp="1"/>
          </p:cNvSpPr>
          <p:nvPr>
            <p:ph type="dt" sz="half" idx="10"/>
          </p:nvPr>
        </p:nvSpPr>
        <p:spPr>
          <a:xfrm>
            <a:off x="0" y="0"/>
            <a:ext cx="0" cy="0"/>
          </a:xfrm>
          <a:prstGeom prst="rect">
            <a:avLst/>
          </a:prstGeom>
        </p:spPr>
        <p:txBody>
          <a:bodyPr/>
          <a:lstStyle>
            <a:lvl1pPr>
              <a:defRPr sz="100">
                <a:noFill/>
              </a:defRPr>
            </a:lvl1pPr>
          </a:lstStyle>
          <a:p>
            <a:endParaRPr lang="en-US"/>
          </a:p>
        </p:txBody>
      </p:sp>
      <p:sp>
        <p:nvSpPr>
          <p:cNvPr id="8" name="Footer Placeholder 7"/>
          <p:cNvSpPr>
            <a:spLocks noGrp="1"/>
          </p:cNvSpPr>
          <p:nvPr>
            <p:ph type="ftr" sz="quarter" idx="11"/>
          </p:nvPr>
        </p:nvSpPr>
        <p:spPr>
          <a:xfrm>
            <a:off x="0" y="0"/>
            <a:ext cx="0" cy="0"/>
          </a:xfrm>
          <a:prstGeom prst="rect">
            <a:avLst/>
          </a:prstGeom>
        </p:spPr>
        <p:txBody>
          <a:bodyPr/>
          <a:lstStyle>
            <a:lvl1pPr marL="0" indent="0">
              <a:buNone/>
              <a:defRPr sz="100">
                <a:noFill/>
              </a:defRPr>
            </a:lvl1pPr>
          </a:lstStyle>
          <a:p>
            <a:endParaRPr lang="en-US"/>
          </a:p>
        </p:txBody>
      </p:sp>
      <p:sp>
        <p:nvSpPr>
          <p:cNvPr id="9" name="Slide Number Placeholder 8"/>
          <p:cNvSpPr>
            <a:spLocks noGrp="1"/>
          </p:cNvSpPr>
          <p:nvPr>
            <p:ph type="sldNum" sz="quarter" idx="12"/>
          </p:nvPr>
        </p:nvSpPr>
        <p:spPr>
          <a:xfrm>
            <a:off x="0" y="0"/>
            <a:ext cx="0" cy="0"/>
          </a:xfrm>
          <a:prstGeom prst="rect">
            <a:avLst/>
          </a:prstGeom>
        </p:spPr>
        <p:txBody>
          <a:bodyPr/>
          <a:lstStyle>
            <a:lvl1pPr>
              <a:defRPr sz="100">
                <a:noFill/>
              </a:defRPr>
            </a:lvl1pPr>
          </a:lstStyle>
          <a:p>
            <a:fld id="{8E3B25F7-8D1F-44B5-B485-EE3C438CFD7B}" type="slidenum">
              <a:rPr lang="en-US" smtClean="0"/>
              <a:pPr/>
              <a:t>‹#›</a:t>
            </a:fld>
            <a:endParaRPr lang="en-US"/>
          </a:p>
        </p:txBody>
      </p:sp>
      <p:sp>
        <p:nvSpPr>
          <p:cNvPr id="2" name="Title 1"/>
          <p:cNvSpPr>
            <a:spLocks noGrp="1"/>
          </p:cNvSpPr>
          <p:nvPr>
            <p:ph type="ctrTitle" hasCustomPrompt="1"/>
          </p:nvPr>
        </p:nvSpPr>
        <p:spPr>
          <a:xfrm>
            <a:off x="4777671" y="2019727"/>
            <a:ext cx="3816000" cy="2236264"/>
          </a:xfrm>
        </p:spPr>
        <p:txBody>
          <a:bodyPr anchor="b"/>
          <a:lstStyle>
            <a:lvl1pPr algn="l">
              <a:defRPr sz="3600"/>
            </a:lvl1pPr>
          </a:lstStyle>
          <a:p>
            <a:r>
              <a:rPr lang="en-US"/>
              <a:t>Click to add thank you</a:t>
            </a:r>
          </a:p>
        </p:txBody>
      </p:sp>
    </p:spTree>
    <p:extLst>
      <p:ext uri="{BB962C8B-B14F-4D97-AF65-F5344CB8AC3E}">
        <p14:creationId xmlns:p14="http://schemas.microsoft.com/office/powerpoint/2010/main" val="4111952897"/>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1_Headline_content">
    <p:spTree>
      <p:nvGrpSpPr>
        <p:cNvPr id="1" name=""/>
        <p:cNvGrpSpPr/>
        <p:nvPr/>
      </p:nvGrpSpPr>
      <p:grpSpPr>
        <a:xfrm>
          <a:off x="0" y="0"/>
          <a:ext cx="0" cy="0"/>
          <a:chOff x="0" y="0"/>
          <a:chExt cx="0" cy="0"/>
        </a:xfrm>
      </p:grpSpPr>
      <p:sp>
        <p:nvSpPr>
          <p:cNvPr id="3" name="Textplatzhalter 2"/>
          <p:cNvSpPr>
            <a:spLocks noGrp="1"/>
          </p:cNvSpPr>
          <p:nvPr>
            <p:ph type="body" sz="quarter" idx="10" hasCustomPrompt="1"/>
          </p:nvPr>
        </p:nvSpPr>
        <p:spPr bwMode="gray">
          <a:xfrm>
            <a:off x="431213" y="1220755"/>
            <a:ext cx="11328987" cy="384340"/>
          </a:xfrm>
        </p:spPr>
        <p:txBody>
          <a:bodyPr>
            <a:noAutofit/>
          </a:bodyPr>
          <a:lstStyle>
            <a:lvl1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1pPr>
            <a:lvl2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2pPr>
            <a:lvl3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3pPr>
            <a:lvl4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4pPr>
            <a:lvl5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5pPr>
            <a:lvl6pPr marL="0" indent="0">
              <a:lnSpc>
                <a:spcPct val="100000"/>
              </a:lnSpc>
              <a:spcBef>
                <a:spcPts val="800"/>
              </a:spcBef>
              <a:buNone/>
              <a:defRPr lang="en-GB" sz="2400" kern="1200" noProof="0" smtClean="0">
                <a:solidFill>
                  <a:schemeClr val="tx2"/>
                </a:solidFill>
                <a:latin typeface="Arial" pitchFamily="34" charset="0"/>
                <a:ea typeface="+mn-ea"/>
                <a:cs typeface="Arial" pitchFamily="34" charset="0"/>
              </a:defRPr>
            </a:lvl6pPr>
            <a:lvl7pPr marL="0" indent="0">
              <a:lnSpc>
                <a:spcPct val="100000"/>
              </a:lnSpc>
              <a:spcBef>
                <a:spcPts val="800"/>
              </a:spcBef>
              <a:buNone/>
              <a:defRPr lang="en-GB" sz="2400" kern="1200" noProof="0" smtClean="0">
                <a:solidFill>
                  <a:schemeClr val="tx2"/>
                </a:solidFill>
                <a:latin typeface="Arial" pitchFamily="34" charset="0"/>
                <a:ea typeface="+mn-ea"/>
                <a:cs typeface="Arial" pitchFamily="34" charset="0"/>
              </a:defRPr>
            </a:lvl7pPr>
            <a:lvl8pPr marL="0" indent="0">
              <a:lnSpc>
                <a:spcPct val="100000"/>
              </a:lnSpc>
              <a:spcBef>
                <a:spcPts val="800"/>
              </a:spcBef>
              <a:buNone/>
              <a:defRPr lang="en-GB" sz="2400" kern="1200" noProof="0" smtClean="0">
                <a:solidFill>
                  <a:schemeClr val="tx2"/>
                </a:solidFill>
                <a:latin typeface="Arial" pitchFamily="34" charset="0"/>
                <a:ea typeface="+mn-ea"/>
                <a:cs typeface="Arial" pitchFamily="34" charset="0"/>
              </a:defRPr>
            </a:lvl8pPr>
            <a:lvl9pPr marL="0" indent="0">
              <a:lnSpc>
                <a:spcPct val="100000"/>
              </a:lnSpc>
              <a:spcBef>
                <a:spcPts val="800"/>
              </a:spcBef>
              <a:buNone/>
              <a:defRPr lang="de-DE" sz="2400" kern="1200" noProof="0" smtClean="0">
                <a:solidFill>
                  <a:schemeClr val="tx2"/>
                </a:solidFill>
                <a:latin typeface="Arial" pitchFamily="34" charset="0"/>
                <a:ea typeface="+mn-ea"/>
                <a:cs typeface="Arial" pitchFamily="34" charset="0"/>
              </a:defRPr>
            </a:lvl9pPr>
          </a:lstStyle>
          <a:p>
            <a:pPr lvl="0"/>
            <a:r>
              <a:rPr lang="en-US"/>
              <a:t>Click to add </a:t>
            </a:r>
            <a:r>
              <a:rPr lang="en-US" err="1"/>
              <a:t>subheadline</a:t>
            </a:r>
            <a:endParaRPr lang="en-US"/>
          </a:p>
        </p:txBody>
      </p:sp>
      <p:sp>
        <p:nvSpPr>
          <p:cNvPr id="5" name="Title 4"/>
          <p:cNvSpPr>
            <a:spLocks noGrp="1"/>
          </p:cNvSpPr>
          <p:nvPr>
            <p:ph type="title" hasCustomPrompt="1"/>
          </p:nvPr>
        </p:nvSpPr>
        <p:spPr/>
        <p:txBody>
          <a:bodyPr/>
          <a:lstStyle/>
          <a:p>
            <a:r>
              <a:rPr lang="en-US"/>
              <a:t>Click to add headline</a:t>
            </a:r>
          </a:p>
        </p:txBody>
      </p:sp>
      <p:sp>
        <p:nvSpPr>
          <p:cNvPr id="4" name="Textplatzhalter 3">
            <a:extLst>
              <a:ext uri="{FF2B5EF4-FFF2-40B4-BE49-F238E27FC236}">
                <a16:creationId xmlns:a16="http://schemas.microsoft.com/office/drawing/2014/main" id="{1C70183A-DDE2-48CE-A7A9-DA528C310A81}"/>
              </a:ext>
            </a:extLst>
          </p:cNvPr>
          <p:cNvSpPr>
            <a:spLocks noGrp="1"/>
          </p:cNvSpPr>
          <p:nvPr>
            <p:ph type="body" sz="quarter" idx="11"/>
          </p:nvPr>
        </p:nvSpPr>
        <p:spPr>
          <a:xfrm>
            <a:off x="431214" y="1892787"/>
            <a:ext cx="11329573" cy="3456480"/>
          </a:xfrm>
        </p:spPr>
        <p:txBody>
          <a:bodyPr tIns="0"/>
          <a:lstStyle>
            <a:lvl1pPr>
              <a:defRPr sz="1867"/>
            </a:lvl1pPr>
            <a:lvl2pPr>
              <a:defRPr sz="1867"/>
            </a:lvl2pPr>
            <a:lvl3pPr>
              <a:defRPr sz="1867"/>
            </a:lvl3pPr>
            <a:lvl4pPr>
              <a:defRPr sz="1867"/>
            </a:lvl4pPr>
            <a:lvl5pPr>
              <a:defRPr sz="1867"/>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7" name="Rechteck 6">
            <a:extLst>
              <a:ext uri="{FF2B5EF4-FFF2-40B4-BE49-F238E27FC236}">
                <a16:creationId xmlns:a16="http://schemas.microsoft.com/office/drawing/2014/main" id="{E209F8BB-D9C2-4098-94E3-F576E62732D8}"/>
              </a:ext>
            </a:extLst>
          </p:cNvPr>
          <p:cNvSpPr/>
          <p:nvPr userDrawn="1"/>
        </p:nvSpPr>
        <p:spPr bwMode="gray">
          <a:xfrm>
            <a:off x="10033000" y="6597440"/>
            <a:ext cx="1727787" cy="192000"/>
          </a:xfrm>
          <a:prstGeom prst="rect">
            <a:avLst/>
          </a:prstGeom>
          <a:noFill/>
          <a:ln w="9525">
            <a:noFill/>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lvl="0" algn="r"/>
            <a:fld id="{FCBC2E87-33EB-478A-988F-F7C865AFDA8A}" type="slidenum">
              <a:rPr lang="en-US" sz="1067" smtClean="0">
                <a:solidFill>
                  <a:schemeClr val="bg2"/>
                </a:solidFill>
                <a:latin typeface="Arial" pitchFamily="34" charset="0"/>
              </a:rPr>
              <a:t>‹#›</a:t>
            </a:fld>
            <a:endParaRPr lang="en-US" sz="1067">
              <a:solidFill>
                <a:schemeClr val="bg2"/>
              </a:solidFill>
              <a:latin typeface="Arial" pitchFamily="34" charset="0"/>
            </a:endParaRPr>
          </a:p>
        </p:txBody>
      </p:sp>
      <p:sp>
        <p:nvSpPr>
          <p:cNvPr id="8" name="Rechteck 7">
            <a:extLst>
              <a:ext uri="{FF2B5EF4-FFF2-40B4-BE49-F238E27FC236}">
                <a16:creationId xmlns:a16="http://schemas.microsoft.com/office/drawing/2014/main" id="{D963D377-F0BB-4A20-AA6A-67C6DDC46C7F}"/>
              </a:ext>
            </a:extLst>
          </p:cNvPr>
          <p:cNvSpPr/>
          <p:nvPr userDrawn="1"/>
        </p:nvSpPr>
        <p:spPr bwMode="gray">
          <a:xfrm>
            <a:off x="9072413" y="0"/>
            <a:ext cx="1632227" cy="112468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indent="0" algn="ctr">
              <a:spcBef>
                <a:spcPts val="400"/>
              </a:spcBef>
              <a:buFont typeface="Courier New" pitchFamily="49" charset="0"/>
              <a:buNone/>
            </a:pPr>
            <a:endParaRPr lang="de-DE" sz="2133">
              <a:solidFill>
                <a:schemeClr val="tx1"/>
              </a:solidFill>
              <a:latin typeface="Arial" pitchFamily="34" charset="0"/>
              <a:cs typeface="Arial" pitchFamily="34" charset="0"/>
            </a:endParaRPr>
          </a:p>
        </p:txBody>
      </p:sp>
    </p:spTree>
    <p:extLst>
      <p:ext uri="{BB962C8B-B14F-4D97-AF65-F5344CB8AC3E}">
        <p14:creationId xmlns:p14="http://schemas.microsoft.com/office/powerpoint/2010/main" val="2941988267"/>
      </p:ext>
    </p:extLst>
  </p:cSld>
  <p:clrMapOvr>
    <a:masterClrMapping/>
  </p:clrMapOvr>
</p:sldLayout>
</file>

<file path=ppt/slideLayouts/slideLayout440.xml><?xml version="1.0" encoding="utf-8"?>
<p:sldLayout xmlns:a="http://schemas.openxmlformats.org/drawingml/2006/main" xmlns:r="http://schemas.openxmlformats.org/officeDocument/2006/relationships" xmlns:p="http://schemas.openxmlformats.org/presentationml/2006/main">
  <p:cSld name="2_Headline only">
    <p:spTree>
      <p:nvGrpSpPr>
        <p:cNvPr id="1" name=""/>
        <p:cNvGrpSpPr/>
        <p:nvPr/>
      </p:nvGrpSpPr>
      <p:grpSpPr>
        <a:xfrm>
          <a:off x="0" y="0"/>
          <a:ext cx="0" cy="0"/>
          <a:chOff x="0" y="0"/>
          <a:chExt cx="0" cy="0"/>
        </a:xfrm>
      </p:grpSpPr>
      <p:sp>
        <p:nvSpPr>
          <p:cNvPr id="21" name="Date Placeholder 20"/>
          <p:cNvSpPr>
            <a:spLocks noGrp="1"/>
          </p:cNvSpPr>
          <p:nvPr>
            <p:ph type="dt" sz="half" idx="14"/>
          </p:nvPr>
        </p:nvSpPr>
        <p:spPr>
          <a:xfrm>
            <a:off x="192089" y="6237288"/>
            <a:ext cx="863600" cy="358173"/>
          </a:xfrm>
          <a:prstGeom prst="rect">
            <a:avLst/>
          </a:prstGeom>
        </p:spPr>
        <p:txBody>
          <a:bodyPr/>
          <a:lstStyle/>
          <a:p>
            <a:fld id="{7DCAAD07-09FD-49C1-9253-3DC58F499B21}" type="datetime5">
              <a:rPr lang="en-US" smtClean="0"/>
              <a:t>26-Jun-20</a:t>
            </a:fld>
            <a:endParaRPr lang="en-US"/>
          </a:p>
        </p:txBody>
      </p:sp>
      <p:sp>
        <p:nvSpPr>
          <p:cNvPr id="22" name="Footer Placeholder 21"/>
          <p:cNvSpPr>
            <a:spLocks noGrp="1"/>
          </p:cNvSpPr>
          <p:nvPr>
            <p:ph type="ftr" sz="quarter" idx="15"/>
          </p:nvPr>
        </p:nvSpPr>
        <p:spPr>
          <a:xfrm>
            <a:off x="1177999" y="6237288"/>
            <a:ext cx="8162717" cy="358173"/>
          </a:xfrm>
          <a:prstGeom prst="rect">
            <a:avLst/>
          </a:prstGeom>
        </p:spPr>
        <p:txBody>
          <a:bodyPr/>
          <a:lstStyle/>
          <a:p>
            <a:r>
              <a:rPr lang="en-US"/>
              <a:t>Portfolio </a:t>
            </a:r>
            <a:r>
              <a:rPr lang="en-US" err="1"/>
              <a:t>Multiclient</a:t>
            </a:r>
            <a:r>
              <a:rPr lang="en-US"/>
              <a:t> 2019</a:t>
            </a:r>
          </a:p>
        </p:txBody>
      </p:sp>
      <p:sp>
        <p:nvSpPr>
          <p:cNvPr id="23" name="Slide Number Placeholder 22"/>
          <p:cNvSpPr>
            <a:spLocks noGrp="1"/>
          </p:cNvSpPr>
          <p:nvPr>
            <p:ph type="sldNum" sz="quarter" idx="16"/>
          </p:nvPr>
        </p:nvSpPr>
        <p:spPr/>
        <p:txBody>
          <a:bodyPr/>
          <a:lstStyle/>
          <a:p>
            <a:fld id="{5F3E29E4-0979-4FCA-B4C5-5FC6044C982A}" type="slidenum">
              <a:rPr lang="en-US" smtClean="0"/>
              <a:t>‹#›</a:t>
            </a:fld>
            <a:endParaRPr lang="en-US"/>
          </a:p>
        </p:txBody>
      </p:sp>
      <p:sp>
        <p:nvSpPr>
          <p:cNvPr id="2" name="Title 1"/>
          <p:cNvSpPr>
            <a:spLocks noGrp="1"/>
          </p:cNvSpPr>
          <p:nvPr>
            <p:ph type="title" hasCustomPrompt="1"/>
          </p:nvPr>
        </p:nvSpPr>
        <p:spPr/>
        <p:txBody>
          <a:bodyPr/>
          <a:lstStyle>
            <a:lvl1pPr>
              <a:defRPr/>
            </a:lvl1pPr>
          </a:lstStyle>
          <a:p>
            <a:r>
              <a:rPr lang="en-US"/>
              <a:t>Click to add slide title</a:t>
            </a:r>
          </a:p>
        </p:txBody>
      </p:sp>
      <p:sp>
        <p:nvSpPr>
          <p:cNvPr id="7" name="Subtitle 2"/>
          <p:cNvSpPr>
            <a:spLocks noGrp="1"/>
          </p:cNvSpPr>
          <p:nvPr>
            <p:ph type="subTitle" idx="13" hasCustomPrompt="1"/>
          </p:nvPr>
        </p:nvSpPr>
        <p:spPr>
          <a:xfrm>
            <a:off x="1075061" y="964671"/>
            <a:ext cx="7910158" cy="490042"/>
          </a:xfrm>
        </p:spPr>
        <p:txBody>
          <a:bodyPr wrap="none"/>
          <a:lstStyle>
            <a:lvl1pPr marL="0" indent="0" algn="l">
              <a:spcBef>
                <a:spcPts val="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spTree>
    <p:extLst>
      <p:ext uri="{BB962C8B-B14F-4D97-AF65-F5344CB8AC3E}">
        <p14:creationId xmlns:p14="http://schemas.microsoft.com/office/powerpoint/2010/main" val="4044552383"/>
      </p:ext>
    </p:extLst>
  </p:cSld>
  <p:clrMapOvr>
    <a:masterClrMapping/>
  </p:clrMapOvr>
</p:sldLayout>
</file>

<file path=ppt/slideLayouts/slideLayout441.xml><?xml version="1.0" encoding="utf-8"?>
<p:sldLayout xmlns:a="http://schemas.openxmlformats.org/drawingml/2006/main" xmlns:r="http://schemas.openxmlformats.org/officeDocument/2006/relationships" xmlns:p="http://schemas.openxmlformats.org/presentationml/2006/main">
  <p:cSld name="1_Two contents">
    <p:spTree>
      <p:nvGrpSpPr>
        <p:cNvPr id="1" name=""/>
        <p:cNvGrpSpPr/>
        <p:nvPr/>
      </p:nvGrpSpPr>
      <p:grpSpPr>
        <a:xfrm>
          <a:off x="0" y="0"/>
          <a:ext cx="0" cy="0"/>
          <a:chOff x="0" y="0"/>
          <a:chExt cx="0" cy="0"/>
        </a:xfrm>
      </p:grpSpPr>
      <p:sp>
        <p:nvSpPr>
          <p:cNvPr id="21" name="Date Placeholder 20"/>
          <p:cNvSpPr>
            <a:spLocks noGrp="1"/>
          </p:cNvSpPr>
          <p:nvPr>
            <p:ph type="dt" sz="half" idx="14"/>
          </p:nvPr>
        </p:nvSpPr>
        <p:spPr/>
        <p:txBody>
          <a:bodyPr/>
          <a:lstStyle/>
          <a:p>
            <a:fld id="{9D45F382-CD09-4611-8552-1549F9F12240}" type="datetime5">
              <a:rPr lang="en-US" smtClean="0"/>
              <a:t>26-Jun-20</a:t>
            </a:fld>
            <a:endParaRPr lang="en-US"/>
          </a:p>
        </p:txBody>
      </p:sp>
      <p:sp>
        <p:nvSpPr>
          <p:cNvPr id="22" name="Footer Placeholder 21"/>
          <p:cNvSpPr>
            <a:spLocks noGrp="1"/>
          </p:cNvSpPr>
          <p:nvPr>
            <p:ph type="ftr" sz="quarter" idx="15"/>
          </p:nvPr>
        </p:nvSpPr>
        <p:spPr/>
        <p:txBody>
          <a:bodyPr/>
          <a:lstStyle/>
          <a:p>
            <a:r>
              <a:rPr lang="en-US"/>
              <a:t>Title of presentation (Insert / Header &amp; Footer / Apply to All)</a:t>
            </a:r>
          </a:p>
        </p:txBody>
      </p:sp>
      <p:sp>
        <p:nvSpPr>
          <p:cNvPr id="23" name="Slide Number Placeholder 22"/>
          <p:cNvSpPr>
            <a:spLocks noGrp="1"/>
          </p:cNvSpPr>
          <p:nvPr>
            <p:ph type="sldNum" sz="quarter" idx="16"/>
          </p:nvPr>
        </p:nvSpPr>
        <p:spPr/>
        <p:txBody>
          <a:bodyPr/>
          <a:lstStyle/>
          <a:p>
            <a:fld id="{5F3E29E4-0979-4FCA-B4C5-5FC6044C982A}" type="slidenum">
              <a:rPr lang="en-US" smtClean="0"/>
              <a:t>‹#›</a:t>
            </a:fld>
            <a:endParaRPr lang="en-US"/>
          </a:p>
        </p:txBody>
      </p:sp>
      <p:sp>
        <p:nvSpPr>
          <p:cNvPr id="2" name="Title 1"/>
          <p:cNvSpPr>
            <a:spLocks noGrp="1"/>
          </p:cNvSpPr>
          <p:nvPr>
            <p:ph type="title" hasCustomPrompt="1"/>
          </p:nvPr>
        </p:nvSpPr>
        <p:spPr/>
        <p:txBody>
          <a:bodyPr/>
          <a:lstStyle>
            <a:lvl1pPr>
              <a:defRPr/>
            </a:lvl1pPr>
          </a:lstStyle>
          <a:p>
            <a:r>
              <a:rPr lang="en-US"/>
              <a:t>Click to add slide title</a:t>
            </a:r>
          </a:p>
        </p:txBody>
      </p:sp>
      <p:sp>
        <p:nvSpPr>
          <p:cNvPr id="7" name="Subtitle 2"/>
          <p:cNvSpPr>
            <a:spLocks noGrp="1"/>
          </p:cNvSpPr>
          <p:nvPr>
            <p:ph type="subTitle" idx="13" hasCustomPrompt="1"/>
          </p:nvPr>
        </p:nvSpPr>
        <p:spPr>
          <a:xfrm>
            <a:off x="1075061" y="964671"/>
            <a:ext cx="7910158" cy="490042"/>
          </a:xfrm>
        </p:spPr>
        <p:txBody>
          <a:bodyPr wrap="none"/>
          <a:lstStyle>
            <a:lvl1pPr marL="0" indent="0" algn="l">
              <a:spcBef>
                <a:spcPts val="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sp>
        <p:nvSpPr>
          <p:cNvPr id="3" name="Content Placeholder 2"/>
          <p:cNvSpPr>
            <a:spLocks noGrp="1"/>
          </p:cNvSpPr>
          <p:nvPr>
            <p:ph idx="1" hasCustomPrompt="1"/>
          </p:nvPr>
        </p:nvSpPr>
        <p:spPr>
          <a:xfrm>
            <a:off x="1075062" y="1629618"/>
            <a:ext cx="5220000" cy="4139357"/>
          </a:xfrm>
        </p:spPr>
        <p:txBody>
          <a:bodyPr/>
          <a:lstStyle>
            <a:lvl1pPr>
              <a:defRPr/>
            </a:lvl1pPr>
          </a:lstStyle>
          <a:p>
            <a:pPr lvl="0"/>
            <a:r>
              <a:rPr lang="en-US"/>
              <a:t>Click to add text or content</a:t>
            </a:r>
          </a:p>
          <a:p>
            <a:pPr lvl="1"/>
            <a:r>
              <a:rPr lang="en-US"/>
              <a:t>Second level</a:t>
            </a:r>
          </a:p>
          <a:p>
            <a:pPr lvl="2"/>
            <a:r>
              <a:rPr lang="en-US"/>
              <a:t>Third level</a:t>
            </a:r>
          </a:p>
          <a:p>
            <a:pPr lvl="3"/>
            <a:r>
              <a:rPr lang="en-US"/>
              <a:t>Fourth level</a:t>
            </a:r>
          </a:p>
          <a:p>
            <a:pPr lvl="4"/>
            <a:r>
              <a:rPr lang="en-US"/>
              <a:t>Fifth level</a:t>
            </a:r>
          </a:p>
        </p:txBody>
      </p:sp>
      <p:sp>
        <p:nvSpPr>
          <p:cNvPr id="9" name="Content Placeholder 2"/>
          <p:cNvSpPr>
            <a:spLocks noGrp="1"/>
          </p:cNvSpPr>
          <p:nvPr>
            <p:ph idx="17" hasCustomPrompt="1"/>
          </p:nvPr>
        </p:nvSpPr>
        <p:spPr>
          <a:xfrm>
            <a:off x="6600525" y="1629618"/>
            <a:ext cx="5220000" cy="4139357"/>
          </a:xfrm>
        </p:spPr>
        <p:txBody>
          <a:bodyPr/>
          <a:lstStyle>
            <a:lvl1pPr>
              <a:defRPr/>
            </a:lvl1pPr>
          </a:lstStyle>
          <a:p>
            <a:pPr lvl="0"/>
            <a:r>
              <a:rPr lang="en-US"/>
              <a:t>Click to add text or conten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97163967"/>
      </p:ext>
    </p:extLst>
  </p:cSld>
  <p:clrMapOvr>
    <a:masterClrMapping/>
  </p:clrMapOvr>
</p:sldLayout>
</file>

<file path=ppt/slideLayouts/slideLayout442.xml><?xml version="1.0" encoding="utf-8"?>
<p:sldLayout xmlns:a="http://schemas.openxmlformats.org/drawingml/2006/main" xmlns:r="http://schemas.openxmlformats.org/officeDocument/2006/relationships" xmlns:p="http://schemas.openxmlformats.org/presentationml/2006/main">
  <p:cSld name="1_One content">
    <p:spTree>
      <p:nvGrpSpPr>
        <p:cNvPr id="1" name=""/>
        <p:cNvGrpSpPr/>
        <p:nvPr/>
      </p:nvGrpSpPr>
      <p:grpSpPr>
        <a:xfrm>
          <a:off x="0" y="0"/>
          <a:ext cx="0" cy="0"/>
          <a:chOff x="0" y="0"/>
          <a:chExt cx="0" cy="0"/>
        </a:xfrm>
      </p:grpSpPr>
      <p:sp>
        <p:nvSpPr>
          <p:cNvPr id="21" name="Date Placeholder 20"/>
          <p:cNvSpPr>
            <a:spLocks noGrp="1"/>
          </p:cNvSpPr>
          <p:nvPr>
            <p:ph type="dt" sz="half" idx="14"/>
          </p:nvPr>
        </p:nvSpPr>
        <p:spPr/>
        <p:txBody>
          <a:bodyPr/>
          <a:lstStyle/>
          <a:p>
            <a:fld id="{4CC19292-71B2-4BF0-8023-C669B9188137}" type="datetime5">
              <a:rPr lang="en-US" smtClean="0"/>
              <a:t>26-Jun-20</a:t>
            </a:fld>
            <a:endParaRPr lang="en-US"/>
          </a:p>
        </p:txBody>
      </p:sp>
      <p:sp>
        <p:nvSpPr>
          <p:cNvPr id="22" name="Footer Placeholder 21"/>
          <p:cNvSpPr>
            <a:spLocks noGrp="1"/>
          </p:cNvSpPr>
          <p:nvPr>
            <p:ph type="ftr" sz="quarter" idx="15"/>
          </p:nvPr>
        </p:nvSpPr>
        <p:spPr/>
        <p:txBody>
          <a:bodyPr/>
          <a:lstStyle/>
          <a:p>
            <a:r>
              <a:rPr lang="en-US"/>
              <a:t>Syndicated Surveys  Portfolio 2019</a:t>
            </a:r>
          </a:p>
        </p:txBody>
      </p:sp>
      <p:sp>
        <p:nvSpPr>
          <p:cNvPr id="23" name="Slide Number Placeholder 22"/>
          <p:cNvSpPr>
            <a:spLocks noGrp="1"/>
          </p:cNvSpPr>
          <p:nvPr>
            <p:ph type="sldNum" sz="quarter" idx="16"/>
          </p:nvPr>
        </p:nvSpPr>
        <p:spPr/>
        <p:txBody>
          <a:bodyPr/>
          <a:lstStyle/>
          <a:p>
            <a:fld id="{5F3E29E4-0979-4FCA-B4C5-5FC6044C982A}" type="slidenum">
              <a:rPr lang="en-US" smtClean="0"/>
              <a:t>‹#›</a:t>
            </a:fld>
            <a:endParaRPr lang="en-US"/>
          </a:p>
        </p:txBody>
      </p:sp>
      <p:sp>
        <p:nvSpPr>
          <p:cNvPr id="2" name="Title 1"/>
          <p:cNvSpPr>
            <a:spLocks noGrp="1"/>
          </p:cNvSpPr>
          <p:nvPr>
            <p:ph type="title" hasCustomPrompt="1"/>
          </p:nvPr>
        </p:nvSpPr>
        <p:spPr/>
        <p:txBody>
          <a:bodyPr/>
          <a:lstStyle>
            <a:lvl1pPr>
              <a:defRPr/>
            </a:lvl1pPr>
          </a:lstStyle>
          <a:p>
            <a:r>
              <a:rPr lang="en-US"/>
              <a:t>Click to add slide title</a:t>
            </a:r>
          </a:p>
        </p:txBody>
      </p:sp>
      <p:sp>
        <p:nvSpPr>
          <p:cNvPr id="7" name="Subtitle 2"/>
          <p:cNvSpPr>
            <a:spLocks noGrp="1"/>
          </p:cNvSpPr>
          <p:nvPr>
            <p:ph type="subTitle" idx="13" hasCustomPrompt="1"/>
          </p:nvPr>
        </p:nvSpPr>
        <p:spPr>
          <a:xfrm>
            <a:off x="1075061" y="964671"/>
            <a:ext cx="7910158" cy="490042"/>
          </a:xfrm>
        </p:spPr>
        <p:txBody>
          <a:bodyPr wrap="none"/>
          <a:lstStyle>
            <a:lvl1pPr marL="0" indent="0" algn="l">
              <a:spcBef>
                <a:spcPts val="0"/>
              </a:spcBef>
              <a:buNone/>
              <a:defRPr sz="2400" baseline="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sp>
        <p:nvSpPr>
          <p:cNvPr id="3" name="Content Placeholder 2"/>
          <p:cNvSpPr>
            <a:spLocks noGrp="1"/>
          </p:cNvSpPr>
          <p:nvPr>
            <p:ph idx="1" hasCustomPrompt="1"/>
          </p:nvPr>
        </p:nvSpPr>
        <p:spPr/>
        <p:txBody>
          <a:bodyPr/>
          <a:lstStyle>
            <a:lvl1pPr>
              <a:defRPr baseline="0"/>
            </a:lvl1pPr>
          </a:lstStyle>
          <a:p>
            <a:pPr lvl="0"/>
            <a:r>
              <a:rPr lang="en-US"/>
              <a:t>Click to add text or conten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11664675"/>
      </p:ext>
    </p:extLst>
  </p:cSld>
  <p:clrMapOvr>
    <a:masterClrMapping/>
  </p:clrMapOvr>
</p:sldLayout>
</file>

<file path=ppt/slideLayouts/slideLayout443.xml><?xml version="1.0" encoding="utf-8"?>
<p:sldLayout xmlns:a="http://schemas.openxmlformats.org/drawingml/2006/main" xmlns:r="http://schemas.openxmlformats.org/officeDocument/2006/relationships" xmlns:p="http://schemas.openxmlformats.org/presentationml/2006/main" userDrawn="1">
  <p:cSld name="1_Headline only">
    <p:spTree>
      <p:nvGrpSpPr>
        <p:cNvPr id="1" name=""/>
        <p:cNvGrpSpPr/>
        <p:nvPr/>
      </p:nvGrpSpPr>
      <p:grpSpPr>
        <a:xfrm>
          <a:off x="0" y="0"/>
          <a:ext cx="0" cy="0"/>
          <a:chOff x="0" y="0"/>
          <a:chExt cx="0" cy="0"/>
        </a:xfrm>
      </p:grpSpPr>
      <p:sp>
        <p:nvSpPr>
          <p:cNvPr id="3" name="Textplatzhalter 2"/>
          <p:cNvSpPr>
            <a:spLocks noGrp="1"/>
          </p:cNvSpPr>
          <p:nvPr>
            <p:ph type="body" sz="quarter" idx="10" hasCustomPrompt="1"/>
          </p:nvPr>
        </p:nvSpPr>
        <p:spPr bwMode="gray">
          <a:xfrm>
            <a:off x="431213" y="1220755"/>
            <a:ext cx="11328987" cy="384340"/>
          </a:xfrm>
        </p:spPr>
        <p:txBody>
          <a:bodyPr>
            <a:noAutofit/>
          </a:bodyPr>
          <a:lstStyle>
            <a:lvl1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1pPr>
            <a:lvl2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2pPr>
            <a:lvl3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3pPr>
            <a:lvl4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4pPr>
            <a:lvl5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5pPr>
            <a:lvl6pPr marL="0" indent="0">
              <a:lnSpc>
                <a:spcPct val="100000"/>
              </a:lnSpc>
              <a:spcBef>
                <a:spcPts val="800"/>
              </a:spcBef>
              <a:buNone/>
              <a:defRPr lang="en-GB" sz="2400" kern="1200" noProof="0" smtClean="0">
                <a:solidFill>
                  <a:schemeClr val="tx2"/>
                </a:solidFill>
                <a:latin typeface="Arial" pitchFamily="34" charset="0"/>
                <a:ea typeface="+mn-ea"/>
                <a:cs typeface="Arial" pitchFamily="34" charset="0"/>
              </a:defRPr>
            </a:lvl6pPr>
            <a:lvl7pPr marL="0" indent="0">
              <a:lnSpc>
                <a:spcPct val="100000"/>
              </a:lnSpc>
              <a:spcBef>
                <a:spcPts val="800"/>
              </a:spcBef>
              <a:buNone/>
              <a:defRPr lang="en-GB" sz="2400" kern="1200" noProof="0" smtClean="0">
                <a:solidFill>
                  <a:schemeClr val="tx2"/>
                </a:solidFill>
                <a:latin typeface="Arial" pitchFamily="34" charset="0"/>
                <a:ea typeface="+mn-ea"/>
                <a:cs typeface="Arial" pitchFamily="34" charset="0"/>
              </a:defRPr>
            </a:lvl7pPr>
            <a:lvl8pPr marL="0" indent="0">
              <a:lnSpc>
                <a:spcPct val="100000"/>
              </a:lnSpc>
              <a:spcBef>
                <a:spcPts val="800"/>
              </a:spcBef>
              <a:buNone/>
              <a:defRPr lang="en-GB" sz="2400" kern="1200" noProof="0" smtClean="0">
                <a:solidFill>
                  <a:schemeClr val="tx2"/>
                </a:solidFill>
                <a:latin typeface="Arial" pitchFamily="34" charset="0"/>
                <a:ea typeface="+mn-ea"/>
                <a:cs typeface="Arial" pitchFamily="34" charset="0"/>
              </a:defRPr>
            </a:lvl8pPr>
            <a:lvl9pPr marL="0" indent="0">
              <a:lnSpc>
                <a:spcPct val="100000"/>
              </a:lnSpc>
              <a:spcBef>
                <a:spcPts val="800"/>
              </a:spcBef>
              <a:buNone/>
              <a:defRPr lang="de-DE" sz="2400" kern="1200" noProof="0" smtClean="0">
                <a:solidFill>
                  <a:schemeClr val="tx2"/>
                </a:solidFill>
                <a:latin typeface="Arial" pitchFamily="34" charset="0"/>
                <a:ea typeface="+mn-ea"/>
                <a:cs typeface="Arial" pitchFamily="34" charset="0"/>
              </a:defRPr>
            </a:lvl9pPr>
          </a:lstStyle>
          <a:p>
            <a:pPr lvl="0"/>
            <a:r>
              <a:rPr lang="en-US"/>
              <a:t>Click to add </a:t>
            </a:r>
            <a:r>
              <a:rPr lang="en-US" err="1"/>
              <a:t>subheadline</a:t>
            </a:r>
            <a:endParaRPr lang="en-US"/>
          </a:p>
        </p:txBody>
      </p:sp>
      <p:sp>
        <p:nvSpPr>
          <p:cNvPr id="4" name="Textplatzhalter 3"/>
          <p:cNvSpPr>
            <a:spLocks noGrp="1"/>
          </p:cNvSpPr>
          <p:nvPr>
            <p:ph type="body" sz="quarter" idx="11" hasCustomPrompt="1"/>
          </p:nvPr>
        </p:nvSpPr>
        <p:spPr bwMode="gray">
          <a:xfrm>
            <a:off x="431371" y="6404736"/>
            <a:ext cx="11328400" cy="192616"/>
          </a:xfrm>
        </p:spPr>
        <p:txBody>
          <a:bodyPr tIns="0" bIns="36000" anchor="b" anchorCtr="0">
            <a:noAutofit/>
          </a:bodyPr>
          <a:lstStyle>
            <a:lvl1pPr marL="0" marR="0" indent="0" algn="l" defTabSz="1219170" rtl="0" eaLnBrk="1" fontAlgn="auto" latinLnBrk="0" hangingPunct="1">
              <a:lnSpc>
                <a:spcPct val="100000"/>
              </a:lnSpc>
              <a:spcBef>
                <a:spcPts val="0"/>
              </a:spcBef>
              <a:spcAft>
                <a:spcPts val="0"/>
              </a:spcAft>
              <a:buClrTx/>
              <a:buSzTx/>
              <a:buFont typeface="Arial" pitchFamily="34" charset="0"/>
              <a:buNone/>
              <a:tabLst/>
              <a:defRPr lang="de-DE" sz="1067" kern="1200" baseline="0" noProof="0" smtClean="0">
                <a:solidFill>
                  <a:schemeClr val="bg2"/>
                </a:solidFill>
                <a:latin typeface="Arial" pitchFamily="34" charset="0"/>
                <a:ea typeface="+mn-ea"/>
                <a:cs typeface="Arial" pitchFamily="34" charset="0"/>
              </a:defRPr>
            </a:lvl1pPr>
            <a:lvl2pPr marL="0" indent="0">
              <a:lnSpc>
                <a:spcPct val="100000"/>
              </a:lnSpc>
              <a:spcBef>
                <a:spcPts val="0"/>
              </a:spcBef>
              <a:buFont typeface="Arial" panose="020B0604020202020204" pitchFamily="34" charset="0"/>
              <a:buNone/>
              <a:defRPr lang="de-DE" sz="1067" kern="1200" baseline="0" noProof="0" smtClean="0">
                <a:solidFill>
                  <a:schemeClr val="bg2"/>
                </a:solidFill>
                <a:latin typeface="Arial" pitchFamily="34" charset="0"/>
                <a:ea typeface="+mn-ea"/>
                <a:cs typeface="Arial" pitchFamily="34" charset="0"/>
              </a:defRPr>
            </a:lvl2pPr>
            <a:lvl3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3pPr>
            <a:lvl4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4pPr>
            <a:lvl5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5pPr>
            <a:lvl6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6pPr>
            <a:lvl7pPr marL="0" indent="0">
              <a:lnSpc>
                <a:spcPct val="100000"/>
              </a:lnSpc>
              <a:spcBef>
                <a:spcPts val="0"/>
              </a:spcBef>
              <a:buNone/>
              <a:defRPr lang="de-DE" sz="1067" kern="1200" baseline="0" noProof="0" dirty="0" smtClean="0">
                <a:solidFill>
                  <a:schemeClr val="bg2"/>
                </a:solidFill>
                <a:latin typeface="Arial" pitchFamily="34" charset="0"/>
                <a:ea typeface="+mn-ea"/>
                <a:cs typeface="Arial" pitchFamily="34" charset="0"/>
              </a:defRPr>
            </a:lvl7pPr>
            <a:lvl8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8pPr>
            <a:lvl9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9pPr>
          </a:lstStyle>
          <a:p>
            <a:pPr lvl="0"/>
            <a:r>
              <a:rPr lang="en-US"/>
              <a:t>Click to add source information</a:t>
            </a:r>
          </a:p>
        </p:txBody>
      </p:sp>
      <p:sp>
        <p:nvSpPr>
          <p:cNvPr id="5" name="Title 4"/>
          <p:cNvSpPr>
            <a:spLocks noGrp="1"/>
          </p:cNvSpPr>
          <p:nvPr>
            <p:ph type="title" hasCustomPrompt="1"/>
          </p:nvPr>
        </p:nvSpPr>
        <p:spPr/>
        <p:txBody>
          <a:bodyPr/>
          <a:lstStyle/>
          <a:p>
            <a:r>
              <a:rPr lang="en-US"/>
              <a:t>Click to add headline</a:t>
            </a:r>
          </a:p>
        </p:txBody>
      </p:sp>
    </p:spTree>
    <p:extLst>
      <p:ext uri="{BB962C8B-B14F-4D97-AF65-F5344CB8AC3E}">
        <p14:creationId xmlns:p14="http://schemas.microsoft.com/office/powerpoint/2010/main" val="2110917730"/>
      </p:ext>
    </p:extLst>
  </p:cSld>
  <p:clrMapOvr>
    <a:masterClrMapping/>
  </p:clrMapOvr>
</p:sldLayout>
</file>

<file path=ppt/slideLayouts/slideLayout444.xml><?xml version="1.0" encoding="utf-8"?>
<p:sldLayout xmlns:a="http://schemas.openxmlformats.org/drawingml/2006/main" xmlns:r="http://schemas.openxmlformats.org/officeDocument/2006/relationships" xmlns:p="http://schemas.openxmlformats.org/presentationml/2006/main" showMasterSp="0" preserve="1">
  <p:cSld name="Title 1">
    <p:spTree>
      <p:nvGrpSpPr>
        <p:cNvPr id="1" name=""/>
        <p:cNvGrpSpPr/>
        <p:nvPr/>
      </p:nvGrpSpPr>
      <p:grpSpPr>
        <a:xfrm>
          <a:off x="0" y="0"/>
          <a:ext cx="0" cy="0"/>
          <a:chOff x="0" y="0"/>
          <a:chExt cx="0" cy="0"/>
        </a:xfrm>
      </p:grpSpPr>
      <p:pic>
        <p:nvPicPr>
          <p:cNvPr id="32" name="picture">
            <a:extLst>
              <a:ext uri="{FF2B5EF4-FFF2-40B4-BE49-F238E27FC236}">
                <a16:creationId xmlns:a16="http://schemas.microsoft.com/office/drawing/2014/main" id="{4F153214-AFE7-D540-937D-96E89FDAD54B}"/>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2620212" y="-8808"/>
            <a:ext cx="9697299" cy="6866807"/>
          </a:xfrm>
          <a:prstGeom prst="rect">
            <a:avLst/>
          </a:prstGeom>
        </p:spPr>
      </p:pic>
      <p:sp>
        <p:nvSpPr>
          <p:cNvPr id="29" name="shpPicture"/>
          <p:cNvSpPr/>
          <p:nvPr/>
        </p:nvSpPr>
        <p:spPr>
          <a:xfrm>
            <a:off x="0" y="0"/>
            <a:ext cx="4956718" cy="6858000"/>
          </a:xfrm>
          <a:custGeom>
            <a:avLst/>
            <a:gdLst>
              <a:gd name="connsiteX0" fmla="*/ 0 w 4956718"/>
              <a:gd name="connsiteY0" fmla="*/ 0 h 6858000"/>
              <a:gd name="connsiteX1" fmla="*/ 3707268 w 4956718"/>
              <a:gd name="connsiteY1" fmla="*/ 0 h 6858000"/>
              <a:gd name="connsiteX2" fmla="*/ 4956718 w 4956718"/>
              <a:gd name="connsiteY2" fmla="*/ 4163677 h 6858000"/>
              <a:gd name="connsiteX3" fmla="*/ 3376226 w 4956718"/>
              <a:gd name="connsiteY3" fmla="*/ 6858000 h 6858000"/>
              <a:gd name="connsiteX4" fmla="*/ 0 w 4956718"/>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56718" h="6858000">
                <a:moveTo>
                  <a:pt x="0" y="0"/>
                </a:moveTo>
                <a:lnTo>
                  <a:pt x="3707268" y="0"/>
                </a:lnTo>
                <a:lnTo>
                  <a:pt x="4956718" y="4163677"/>
                </a:lnTo>
                <a:lnTo>
                  <a:pt x="3376226"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125000"/>
              </a:lnSpc>
            </a:pPr>
            <a:endParaRPr lang="en-US" sz="1600"/>
          </a:p>
        </p:txBody>
      </p:sp>
      <p:grpSp>
        <p:nvGrpSpPr>
          <p:cNvPr id="14" name="logo">
            <a:extLst>
              <a:ext uri="{FF2B5EF4-FFF2-40B4-BE49-F238E27FC236}">
                <a16:creationId xmlns:a16="http://schemas.microsoft.com/office/drawing/2014/main" id="{18C26D95-70F8-8A4D-9F18-DCCB92522AF8}"/>
              </a:ext>
            </a:extLst>
          </p:cNvPr>
          <p:cNvGrpSpPr/>
          <p:nvPr/>
        </p:nvGrpSpPr>
        <p:grpSpPr bwMode="gray">
          <a:xfrm>
            <a:off x="417363" y="407485"/>
            <a:ext cx="1518585" cy="646507"/>
            <a:chOff x="334963" y="296652"/>
            <a:chExt cx="1268411" cy="540000"/>
          </a:xfrm>
        </p:grpSpPr>
        <p:sp>
          <p:nvSpPr>
            <p:cNvPr id="17" name="Freeform 6">
              <a:extLst>
                <a:ext uri="{FF2B5EF4-FFF2-40B4-BE49-F238E27FC236}">
                  <a16:creationId xmlns:a16="http://schemas.microsoft.com/office/drawing/2014/main" id="{08737AD0-E375-E445-97E6-CD2E2DF60620}"/>
                </a:ext>
              </a:extLst>
            </p:cNvPr>
            <p:cNvSpPr>
              <a:spLocks noEditPoints="1"/>
            </p:cNvSpPr>
            <p:nvPr/>
          </p:nvSpPr>
          <p:spPr bwMode="gray">
            <a:xfrm>
              <a:off x="982662" y="360462"/>
              <a:ext cx="620712" cy="431800"/>
            </a:xfrm>
            <a:custGeom>
              <a:avLst/>
              <a:gdLst>
                <a:gd name="T0" fmla="*/ 19 w 1809"/>
                <a:gd name="T1" fmla="*/ 97 h 1253"/>
                <a:gd name="T2" fmla="*/ 165 w 1809"/>
                <a:gd name="T3" fmla="*/ 41 h 1253"/>
                <a:gd name="T4" fmla="*/ 211 w 1809"/>
                <a:gd name="T5" fmla="*/ 224 h 1253"/>
                <a:gd name="T6" fmla="*/ 248 w 1809"/>
                <a:gd name="T7" fmla="*/ 155 h 1253"/>
                <a:gd name="T8" fmla="*/ 931 w 1809"/>
                <a:gd name="T9" fmla="*/ 995 h 1253"/>
                <a:gd name="T10" fmla="*/ 858 w 1809"/>
                <a:gd name="T11" fmla="*/ 1115 h 1253"/>
                <a:gd name="T12" fmla="*/ 749 w 1809"/>
                <a:gd name="T13" fmla="*/ 1117 h 1253"/>
                <a:gd name="T14" fmla="*/ 681 w 1809"/>
                <a:gd name="T15" fmla="*/ 1055 h 1253"/>
                <a:gd name="T16" fmla="*/ 800 w 1809"/>
                <a:gd name="T17" fmla="*/ 1054 h 1253"/>
                <a:gd name="T18" fmla="*/ 884 w 1809"/>
                <a:gd name="T19" fmla="*/ 1181 h 1253"/>
                <a:gd name="T20" fmla="*/ 118 w 1809"/>
                <a:gd name="T21" fmla="*/ 1086 h 1253"/>
                <a:gd name="T22" fmla="*/ 147 w 1809"/>
                <a:gd name="T23" fmla="*/ 1026 h 1253"/>
                <a:gd name="T24" fmla="*/ 102 w 1809"/>
                <a:gd name="T25" fmla="*/ 1026 h 1253"/>
                <a:gd name="T26" fmla="*/ 639 w 1809"/>
                <a:gd name="T27" fmla="*/ 84 h 1253"/>
                <a:gd name="T28" fmla="*/ 763 w 1809"/>
                <a:gd name="T29" fmla="*/ 145 h 1253"/>
                <a:gd name="T30" fmla="*/ 863 w 1809"/>
                <a:gd name="T31" fmla="*/ 221 h 1253"/>
                <a:gd name="T32" fmla="*/ 834 w 1809"/>
                <a:gd name="T33" fmla="*/ 208 h 1253"/>
                <a:gd name="T34" fmla="*/ 719 w 1809"/>
                <a:gd name="T35" fmla="*/ 182 h 1253"/>
                <a:gd name="T36" fmla="*/ 507 w 1809"/>
                <a:gd name="T37" fmla="*/ 711 h 1253"/>
                <a:gd name="T38" fmla="*/ 614 w 1809"/>
                <a:gd name="T39" fmla="*/ 706 h 1253"/>
                <a:gd name="T40" fmla="*/ 736 w 1809"/>
                <a:gd name="T41" fmla="*/ 730 h 1253"/>
                <a:gd name="T42" fmla="*/ 607 w 1809"/>
                <a:gd name="T43" fmla="*/ 539 h 1253"/>
                <a:gd name="T44" fmla="*/ 1505 w 1809"/>
                <a:gd name="T45" fmla="*/ 1136 h 1253"/>
                <a:gd name="T46" fmla="*/ 1613 w 1809"/>
                <a:gd name="T47" fmla="*/ 1002 h 1253"/>
                <a:gd name="T48" fmla="*/ 1472 w 1809"/>
                <a:gd name="T49" fmla="*/ 1164 h 1253"/>
                <a:gd name="T50" fmla="*/ 1525 w 1809"/>
                <a:gd name="T51" fmla="*/ 1142 h 1253"/>
                <a:gd name="T52" fmla="*/ 1556 w 1809"/>
                <a:gd name="T53" fmla="*/ 1172 h 1253"/>
                <a:gd name="T54" fmla="*/ 1387 w 1809"/>
                <a:gd name="T55" fmla="*/ 910 h 1253"/>
                <a:gd name="T56" fmla="*/ 1261 w 1809"/>
                <a:gd name="T57" fmla="*/ 1157 h 1253"/>
                <a:gd name="T58" fmla="*/ 1413 w 1809"/>
                <a:gd name="T59" fmla="*/ 934 h 1253"/>
                <a:gd name="T60" fmla="*/ 1378 w 1809"/>
                <a:gd name="T61" fmla="*/ 1052 h 1253"/>
                <a:gd name="T62" fmla="*/ 488 w 1809"/>
                <a:gd name="T63" fmla="*/ 85 h 1253"/>
                <a:gd name="T64" fmla="*/ 509 w 1809"/>
                <a:gd name="T65" fmla="*/ 112 h 1253"/>
                <a:gd name="T66" fmla="*/ 548 w 1809"/>
                <a:gd name="T67" fmla="*/ 1187 h 1253"/>
                <a:gd name="T68" fmla="*/ 472 w 1809"/>
                <a:gd name="T69" fmla="*/ 1122 h 1253"/>
                <a:gd name="T70" fmla="*/ 558 w 1809"/>
                <a:gd name="T71" fmla="*/ 1157 h 1253"/>
                <a:gd name="T72" fmla="*/ 287 w 1809"/>
                <a:gd name="T73" fmla="*/ 654 h 1253"/>
                <a:gd name="T74" fmla="*/ 416 w 1809"/>
                <a:gd name="T75" fmla="*/ 684 h 1253"/>
                <a:gd name="T76" fmla="*/ 1106 w 1809"/>
                <a:gd name="T77" fmla="*/ 147 h 1253"/>
                <a:gd name="T78" fmla="*/ 1229 w 1809"/>
                <a:gd name="T79" fmla="*/ 258 h 1253"/>
                <a:gd name="T80" fmla="*/ 1106 w 1809"/>
                <a:gd name="T81" fmla="*/ 96 h 1253"/>
                <a:gd name="T82" fmla="*/ 1219 w 1809"/>
                <a:gd name="T83" fmla="*/ 1077 h 1253"/>
                <a:gd name="T84" fmla="*/ 1214 w 1809"/>
                <a:gd name="T85" fmla="*/ 1157 h 1253"/>
                <a:gd name="T86" fmla="*/ 1150 w 1809"/>
                <a:gd name="T87" fmla="*/ 1092 h 1253"/>
                <a:gd name="T88" fmla="*/ 1139 w 1809"/>
                <a:gd name="T89" fmla="*/ 1070 h 1253"/>
                <a:gd name="T90" fmla="*/ 1659 w 1809"/>
                <a:gd name="T91" fmla="*/ 1031 h 1253"/>
                <a:gd name="T92" fmla="*/ 1714 w 1809"/>
                <a:gd name="T93" fmla="*/ 1155 h 1253"/>
                <a:gd name="T94" fmla="*/ 1760 w 1809"/>
                <a:gd name="T95" fmla="*/ 1030 h 1253"/>
                <a:gd name="T96" fmla="*/ 111 w 1809"/>
                <a:gd name="T97" fmla="*/ 569 h 1253"/>
                <a:gd name="T98" fmla="*/ 109 w 1809"/>
                <a:gd name="T99" fmla="*/ 460 h 1253"/>
                <a:gd name="T100" fmla="*/ 32 w 1809"/>
                <a:gd name="T101" fmla="*/ 704 h 1253"/>
                <a:gd name="T102" fmla="*/ 310 w 1809"/>
                <a:gd name="T103" fmla="*/ 1058 h 1253"/>
                <a:gd name="T104" fmla="*/ 431 w 1809"/>
                <a:gd name="T105" fmla="*/ 1044 h 1253"/>
                <a:gd name="T106" fmla="*/ 278 w 1809"/>
                <a:gd name="T107" fmla="*/ 1165 h 1253"/>
                <a:gd name="T108" fmla="*/ 261 w 1809"/>
                <a:gd name="T109" fmla="*/ 540 h 1253"/>
                <a:gd name="T110" fmla="*/ 150 w 1809"/>
                <a:gd name="T111" fmla="*/ 635 h 1253"/>
                <a:gd name="T112" fmla="*/ 994 w 1809"/>
                <a:gd name="T113" fmla="*/ 1185 h 1253"/>
                <a:gd name="T114" fmla="*/ 331 w 1809"/>
                <a:gd name="T115" fmla="*/ 176 h 1253"/>
                <a:gd name="T116" fmla="*/ 333 w 1809"/>
                <a:gd name="T117" fmla="*/ 109 h 1253"/>
                <a:gd name="T118" fmla="*/ 946 w 1809"/>
                <a:gd name="T119" fmla="*/ 234 h 1253"/>
                <a:gd name="T120" fmla="*/ 1022 w 1809"/>
                <a:gd name="T121" fmla="*/ 113 h 1253"/>
                <a:gd name="T122" fmla="*/ 949 w 1809"/>
                <a:gd name="T123" fmla="*/ 65 h 1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09" h="1253">
                  <a:moveTo>
                    <a:pt x="248" y="198"/>
                  </a:moveTo>
                  <a:cubicBezTo>
                    <a:pt x="248" y="211"/>
                    <a:pt x="248" y="224"/>
                    <a:pt x="249" y="237"/>
                  </a:cubicBezTo>
                  <a:cubicBezTo>
                    <a:pt x="249" y="245"/>
                    <a:pt x="246" y="249"/>
                    <a:pt x="240" y="253"/>
                  </a:cubicBezTo>
                  <a:cubicBezTo>
                    <a:pt x="231" y="260"/>
                    <a:pt x="220" y="264"/>
                    <a:pt x="209" y="268"/>
                  </a:cubicBezTo>
                  <a:cubicBezTo>
                    <a:pt x="179" y="279"/>
                    <a:pt x="148" y="280"/>
                    <a:pt x="118" y="275"/>
                  </a:cubicBezTo>
                  <a:cubicBezTo>
                    <a:pt x="86" y="269"/>
                    <a:pt x="58" y="252"/>
                    <a:pt x="39" y="224"/>
                  </a:cubicBezTo>
                  <a:cubicBezTo>
                    <a:pt x="24" y="203"/>
                    <a:pt x="18" y="180"/>
                    <a:pt x="15" y="155"/>
                  </a:cubicBezTo>
                  <a:cubicBezTo>
                    <a:pt x="11" y="135"/>
                    <a:pt x="15" y="115"/>
                    <a:pt x="19" y="97"/>
                  </a:cubicBezTo>
                  <a:cubicBezTo>
                    <a:pt x="26" y="68"/>
                    <a:pt x="42" y="44"/>
                    <a:pt x="68" y="27"/>
                  </a:cubicBezTo>
                  <a:cubicBezTo>
                    <a:pt x="87" y="14"/>
                    <a:pt x="109" y="6"/>
                    <a:pt x="133" y="5"/>
                  </a:cubicBezTo>
                  <a:cubicBezTo>
                    <a:pt x="149" y="4"/>
                    <a:pt x="165" y="5"/>
                    <a:pt x="181" y="6"/>
                  </a:cubicBezTo>
                  <a:cubicBezTo>
                    <a:pt x="204" y="8"/>
                    <a:pt x="225" y="20"/>
                    <a:pt x="243" y="35"/>
                  </a:cubicBezTo>
                  <a:cubicBezTo>
                    <a:pt x="246" y="37"/>
                    <a:pt x="246" y="40"/>
                    <a:pt x="244" y="43"/>
                  </a:cubicBezTo>
                  <a:cubicBezTo>
                    <a:pt x="242" y="47"/>
                    <a:pt x="239" y="52"/>
                    <a:pt x="236" y="55"/>
                  </a:cubicBezTo>
                  <a:cubicBezTo>
                    <a:pt x="226" y="65"/>
                    <a:pt x="224" y="65"/>
                    <a:pt x="206" y="54"/>
                  </a:cubicBezTo>
                  <a:cubicBezTo>
                    <a:pt x="193" y="46"/>
                    <a:pt x="180" y="40"/>
                    <a:pt x="165" y="41"/>
                  </a:cubicBezTo>
                  <a:cubicBezTo>
                    <a:pt x="151" y="41"/>
                    <a:pt x="137" y="39"/>
                    <a:pt x="124" y="42"/>
                  </a:cubicBezTo>
                  <a:cubicBezTo>
                    <a:pt x="104" y="46"/>
                    <a:pt x="87" y="57"/>
                    <a:pt x="75" y="74"/>
                  </a:cubicBezTo>
                  <a:cubicBezTo>
                    <a:pt x="56" y="99"/>
                    <a:pt x="51" y="129"/>
                    <a:pt x="55" y="159"/>
                  </a:cubicBezTo>
                  <a:cubicBezTo>
                    <a:pt x="60" y="189"/>
                    <a:pt x="73" y="214"/>
                    <a:pt x="98" y="230"/>
                  </a:cubicBezTo>
                  <a:cubicBezTo>
                    <a:pt x="109" y="237"/>
                    <a:pt x="121" y="242"/>
                    <a:pt x="135" y="241"/>
                  </a:cubicBezTo>
                  <a:cubicBezTo>
                    <a:pt x="146" y="241"/>
                    <a:pt x="158" y="241"/>
                    <a:pt x="169" y="241"/>
                  </a:cubicBezTo>
                  <a:cubicBezTo>
                    <a:pt x="182" y="242"/>
                    <a:pt x="193" y="235"/>
                    <a:pt x="205" y="232"/>
                  </a:cubicBezTo>
                  <a:cubicBezTo>
                    <a:pt x="210" y="231"/>
                    <a:pt x="211" y="227"/>
                    <a:pt x="211" y="224"/>
                  </a:cubicBezTo>
                  <a:cubicBezTo>
                    <a:pt x="211" y="210"/>
                    <a:pt x="211" y="196"/>
                    <a:pt x="211" y="183"/>
                  </a:cubicBezTo>
                  <a:cubicBezTo>
                    <a:pt x="211" y="177"/>
                    <a:pt x="207" y="175"/>
                    <a:pt x="202" y="175"/>
                  </a:cubicBezTo>
                  <a:cubicBezTo>
                    <a:pt x="193" y="175"/>
                    <a:pt x="184" y="175"/>
                    <a:pt x="175" y="175"/>
                  </a:cubicBezTo>
                  <a:cubicBezTo>
                    <a:pt x="171" y="175"/>
                    <a:pt x="168" y="174"/>
                    <a:pt x="166" y="171"/>
                  </a:cubicBezTo>
                  <a:cubicBezTo>
                    <a:pt x="163" y="163"/>
                    <a:pt x="164" y="154"/>
                    <a:pt x="166" y="146"/>
                  </a:cubicBezTo>
                  <a:cubicBezTo>
                    <a:pt x="167" y="142"/>
                    <a:pt x="171" y="142"/>
                    <a:pt x="175" y="142"/>
                  </a:cubicBezTo>
                  <a:cubicBezTo>
                    <a:pt x="196" y="142"/>
                    <a:pt x="217" y="142"/>
                    <a:pt x="238" y="142"/>
                  </a:cubicBezTo>
                  <a:cubicBezTo>
                    <a:pt x="247" y="142"/>
                    <a:pt x="248" y="148"/>
                    <a:pt x="248" y="155"/>
                  </a:cubicBezTo>
                  <a:cubicBezTo>
                    <a:pt x="249" y="169"/>
                    <a:pt x="248" y="183"/>
                    <a:pt x="248" y="198"/>
                  </a:cubicBezTo>
                  <a:close/>
                  <a:moveTo>
                    <a:pt x="884" y="1181"/>
                  </a:moveTo>
                  <a:cubicBezTo>
                    <a:pt x="889" y="1167"/>
                    <a:pt x="894" y="1152"/>
                    <a:pt x="898" y="1137"/>
                  </a:cubicBezTo>
                  <a:cubicBezTo>
                    <a:pt x="901" y="1127"/>
                    <a:pt x="905" y="1116"/>
                    <a:pt x="908" y="1106"/>
                  </a:cubicBezTo>
                  <a:cubicBezTo>
                    <a:pt x="911" y="1098"/>
                    <a:pt x="912" y="1089"/>
                    <a:pt x="916" y="1081"/>
                  </a:cubicBezTo>
                  <a:cubicBezTo>
                    <a:pt x="921" y="1072"/>
                    <a:pt x="923" y="1060"/>
                    <a:pt x="927" y="1050"/>
                  </a:cubicBezTo>
                  <a:cubicBezTo>
                    <a:pt x="932" y="1037"/>
                    <a:pt x="934" y="1023"/>
                    <a:pt x="940" y="1010"/>
                  </a:cubicBezTo>
                  <a:cubicBezTo>
                    <a:pt x="945" y="1001"/>
                    <a:pt x="941" y="995"/>
                    <a:pt x="931" y="995"/>
                  </a:cubicBezTo>
                  <a:cubicBezTo>
                    <a:pt x="927" y="995"/>
                    <a:pt x="922" y="995"/>
                    <a:pt x="918" y="995"/>
                  </a:cubicBezTo>
                  <a:cubicBezTo>
                    <a:pt x="913" y="995"/>
                    <a:pt x="908" y="997"/>
                    <a:pt x="907" y="1001"/>
                  </a:cubicBezTo>
                  <a:cubicBezTo>
                    <a:pt x="904" y="1008"/>
                    <a:pt x="900" y="1015"/>
                    <a:pt x="899" y="1023"/>
                  </a:cubicBezTo>
                  <a:cubicBezTo>
                    <a:pt x="897" y="1034"/>
                    <a:pt x="893" y="1045"/>
                    <a:pt x="889" y="1055"/>
                  </a:cubicBezTo>
                  <a:cubicBezTo>
                    <a:pt x="887" y="1064"/>
                    <a:pt x="885" y="1072"/>
                    <a:pt x="882" y="1080"/>
                  </a:cubicBezTo>
                  <a:cubicBezTo>
                    <a:pt x="878" y="1091"/>
                    <a:pt x="874" y="1103"/>
                    <a:pt x="871" y="1115"/>
                  </a:cubicBezTo>
                  <a:cubicBezTo>
                    <a:pt x="870" y="1118"/>
                    <a:pt x="871" y="1124"/>
                    <a:pt x="866" y="1124"/>
                  </a:cubicBezTo>
                  <a:cubicBezTo>
                    <a:pt x="861" y="1125"/>
                    <a:pt x="859" y="1120"/>
                    <a:pt x="858" y="1115"/>
                  </a:cubicBezTo>
                  <a:cubicBezTo>
                    <a:pt x="856" y="1110"/>
                    <a:pt x="856" y="1104"/>
                    <a:pt x="854" y="1099"/>
                  </a:cubicBezTo>
                  <a:cubicBezTo>
                    <a:pt x="848" y="1080"/>
                    <a:pt x="841" y="1062"/>
                    <a:pt x="835" y="1044"/>
                  </a:cubicBezTo>
                  <a:cubicBezTo>
                    <a:pt x="831" y="1030"/>
                    <a:pt x="828" y="1016"/>
                    <a:pt x="822" y="1003"/>
                  </a:cubicBezTo>
                  <a:cubicBezTo>
                    <a:pt x="819" y="997"/>
                    <a:pt x="814" y="994"/>
                    <a:pt x="808" y="994"/>
                  </a:cubicBezTo>
                  <a:cubicBezTo>
                    <a:pt x="799" y="993"/>
                    <a:pt x="791" y="993"/>
                    <a:pt x="787" y="1001"/>
                  </a:cubicBezTo>
                  <a:cubicBezTo>
                    <a:pt x="783" y="1008"/>
                    <a:pt x="780" y="1015"/>
                    <a:pt x="779" y="1022"/>
                  </a:cubicBezTo>
                  <a:cubicBezTo>
                    <a:pt x="778" y="1034"/>
                    <a:pt x="772" y="1044"/>
                    <a:pt x="769" y="1055"/>
                  </a:cubicBezTo>
                  <a:cubicBezTo>
                    <a:pt x="762" y="1076"/>
                    <a:pt x="754" y="1096"/>
                    <a:pt x="749" y="1117"/>
                  </a:cubicBezTo>
                  <a:cubicBezTo>
                    <a:pt x="748" y="1120"/>
                    <a:pt x="747" y="1124"/>
                    <a:pt x="742" y="1124"/>
                  </a:cubicBezTo>
                  <a:cubicBezTo>
                    <a:pt x="737" y="1124"/>
                    <a:pt x="737" y="1120"/>
                    <a:pt x="736" y="1116"/>
                  </a:cubicBezTo>
                  <a:cubicBezTo>
                    <a:pt x="734" y="1104"/>
                    <a:pt x="730" y="1092"/>
                    <a:pt x="726" y="1080"/>
                  </a:cubicBezTo>
                  <a:cubicBezTo>
                    <a:pt x="720" y="1061"/>
                    <a:pt x="714" y="1040"/>
                    <a:pt x="708" y="1020"/>
                  </a:cubicBezTo>
                  <a:cubicBezTo>
                    <a:pt x="703" y="1000"/>
                    <a:pt x="698" y="994"/>
                    <a:pt x="676" y="995"/>
                  </a:cubicBezTo>
                  <a:cubicBezTo>
                    <a:pt x="665" y="996"/>
                    <a:pt x="661" y="1001"/>
                    <a:pt x="667" y="1011"/>
                  </a:cubicBezTo>
                  <a:cubicBezTo>
                    <a:pt x="669" y="1016"/>
                    <a:pt x="670" y="1021"/>
                    <a:pt x="672" y="1025"/>
                  </a:cubicBezTo>
                  <a:cubicBezTo>
                    <a:pt x="675" y="1035"/>
                    <a:pt x="678" y="1046"/>
                    <a:pt x="681" y="1055"/>
                  </a:cubicBezTo>
                  <a:cubicBezTo>
                    <a:pt x="685" y="1068"/>
                    <a:pt x="689" y="1080"/>
                    <a:pt x="693" y="1092"/>
                  </a:cubicBezTo>
                  <a:cubicBezTo>
                    <a:pt x="697" y="1103"/>
                    <a:pt x="699" y="1113"/>
                    <a:pt x="703" y="1124"/>
                  </a:cubicBezTo>
                  <a:cubicBezTo>
                    <a:pt x="707" y="1136"/>
                    <a:pt x="711" y="1147"/>
                    <a:pt x="715" y="1160"/>
                  </a:cubicBezTo>
                  <a:cubicBezTo>
                    <a:pt x="717" y="1168"/>
                    <a:pt x="720" y="1176"/>
                    <a:pt x="724" y="1183"/>
                  </a:cubicBezTo>
                  <a:cubicBezTo>
                    <a:pt x="728" y="1189"/>
                    <a:pt x="752" y="1185"/>
                    <a:pt x="757" y="1180"/>
                  </a:cubicBezTo>
                  <a:cubicBezTo>
                    <a:pt x="764" y="1173"/>
                    <a:pt x="762" y="1163"/>
                    <a:pt x="766" y="1156"/>
                  </a:cubicBezTo>
                  <a:cubicBezTo>
                    <a:pt x="774" y="1140"/>
                    <a:pt x="778" y="1122"/>
                    <a:pt x="784" y="1105"/>
                  </a:cubicBezTo>
                  <a:cubicBezTo>
                    <a:pt x="789" y="1088"/>
                    <a:pt x="796" y="1072"/>
                    <a:pt x="800" y="1054"/>
                  </a:cubicBezTo>
                  <a:cubicBezTo>
                    <a:pt x="800" y="1053"/>
                    <a:pt x="801" y="1050"/>
                    <a:pt x="803" y="1050"/>
                  </a:cubicBezTo>
                  <a:cubicBezTo>
                    <a:pt x="806" y="1050"/>
                    <a:pt x="806" y="1052"/>
                    <a:pt x="807" y="1055"/>
                  </a:cubicBezTo>
                  <a:cubicBezTo>
                    <a:pt x="807" y="1060"/>
                    <a:pt x="810" y="1066"/>
                    <a:pt x="811" y="1071"/>
                  </a:cubicBezTo>
                  <a:cubicBezTo>
                    <a:pt x="814" y="1081"/>
                    <a:pt x="818" y="1090"/>
                    <a:pt x="821" y="1099"/>
                  </a:cubicBezTo>
                  <a:cubicBezTo>
                    <a:pt x="824" y="1110"/>
                    <a:pt x="827" y="1120"/>
                    <a:pt x="831" y="1131"/>
                  </a:cubicBezTo>
                  <a:cubicBezTo>
                    <a:pt x="834" y="1142"/>
                    <a:pt x="839" y="1153"/>
                    <a:pt x="842" y="1164"/>
                  </a:cubicBezTo>
                  <a:cubicBezTo>
                    <a:pt x="846" y="1179"/>
                    <a:pt x="850" y="1188"/>
                    <a:pt x="869" y="1185"/>
                  </a:cubicBezTo>
                  <a:cubicBezTo>
                    <a:pt x="873" y="1184"/>
                    <a:pt x="881" y="1189"/>
                    <a:pt x="884" y="1181"/>
                  </a:cubicBezTo>
                  <a:close/>
                  <a:moveTo>
                    <a:pt x="33" y="1051"/>
                  </a:moveTo>
                  <a:cubicBezTo>
                    <a:pt x="33" y="1087"/>
                    <a:pt x="33" y="1124"/>
                    <a:pt x="33" y="1160"/>
                  </a:cubicBezTo>
                  <a:cubicBezTo>
                    <a:pt x="33" y="1188"/>
                    <a:pt x="29" y="1184"/>
                    <a:pt x="58" y="1185"/>
                  </a:cubicBezTo>
                  <a:cubicBezTo>
                    <a:pt x="72" y="1185"/>
                    <a:pt x="73" y="1184"/>
                    <a:pt x="73" y="1170"/>
                  </a:cubicBezTo>
                  <a:cubicBezTo>
                    <a:pt x="73" y="1138"/>
                    <a:pt x="73" y="1107"/>
                    <a:pt x="73" y="1076"/>
                  </a:cubicBezTo>
                  <a:cubicBezTo>
                    <a:pt x="73" y="1071"/>
                    <a:pt x="72" y="1067"/>
                    <a:pt x="78" y="1065"/>
                  </a:cubicBezTo>
                  <a:cubicBezTo>
                    <a:pt x="91" y="1062"/>
                    <a:pt x="102" y="1067"/>
                    <a:pt x="110" y="1076"/>
                  </a:cubicBezTo>
                  <a:cubicBezTo>
                    <a:pt x="112" y="1080"/>
                    <a:pt x="115" y="1083"/>
                    <a:pt x="118" y="1086"/>
                  </a:cubicBezTo>
                  <a:cubicBezTo>
                    <a:pt x="132" y="1103"/>
                    <a:pt x="146" y="1119"/>
                    <a:pt x="161" y="1136"/>
                  </a:cubicBezTo>
                  <a:cubicBezTo>
                    <a:pt x="173" y="1150"/>
                    <a:pt x="186" y="1165"/>
                    <a:pt x="198" y="1179"/>
                  </a:cubicBezTo>
                  <a:cubicBezTo>
                    <a:pt x="207" y="1188"/>
                    <a:pt x="218" y="1184"/>
                    <a:pt x="228" y="1185"/>
                  </a:cubicBezTo>
                  <a:cubicBezTo>
                    <a:pt x="233" y="1185"/>
                    <a:pt x="241" y="1188"/>
                    <a:pt x="244" y="1182"/>
                  </a:cubicBezTo>
                  <a:cubicBezTo>
                    <a:pt x="246" y="1178"/>
                    <a:pt x="239" y="1173"/>
                    <a:pt x="235" y="1169"/>
                  </a:cubicBezTo>
                  <a:cubicBezTo>
                    <a:pt x="206" y="1133"/>
                    <a:pt x="176" y="1098"/>
                    <a:pt x="146" y="1062"/>
                  </a:cubicBezTo>
                  <a:cubicBezTo>
                    <a:pt x="141" y="1056"/>
                    <a:pt x="131" y="1052"/>
                    <a:pt x="132" y="1044"/>
                  </a:cubicBezTo>
                  <a:cubicBezTo>
                    <a:pt x="132" y="1036"/>
                    <a:pt x="142" y="1032"/>
                    <a:pt x="147" y="1026"/>
                  </a:cubicBezTo>
                  <a:cubicBezTo>
                    <a:pt x="164" y="1006"/>
                    <a:pt x="182" y="988"/>
                    <a:pt x="198" y="968"/>
                  </a:cubicBezTo>
                  <a:cubicBezTo>
                    <a:pt x="209" y="954"/>
                    <a:pt x="221" y="942"/>
                    <a:pt x="234" y="929"/>
                  </a:cubicBezTo>
                  <a:cubicBezTo>
                    <a:pt x="236" y="926"/>
                    <a:pt x="238" y="923"/>
                    <a:pt x="237" y="920"/>
                  </a:cubicBezTo>
                  <a:cubicBezTo>
                    <a:pt x="235" y="915"/>
                    <a:pt x="231" y="917"/>
                    <a:pt x="228" y="917"/>
                  </a:cubicBezTo>
                  <a:cubicBezTo>
                    <a:pt x="224" y="918"/>
                    <a:pt x="221" y="918"/>
                    <a:pt x="217" y="918"/>
                  </a:cubicBezTo>
                  <a:cubicBezTo>
                    <a:pt x="204" y="917"/>
                    <a:pt x="193" y="922"/>
                    <a:pt x="185" y="931"/>
                  </a:cubicBezTo>
                  <a:cubicBezTo>
                    <a:pt x="172" y="946"/>
                    <a:pt x="158" y="961"/>
                    <a:pt x="145" y="977"/>
                  </a:cubicBezTo>
                  <a:cubicBezTo>
                    <a:pt x="131" y="993"/>
                    <a:pt x="117" y="1010"/>
                    <a:pt x="102" y="1026"/>
                  </a:cubicBezTo>
                  <a:cubicBezTo>
                    <a:pt x="96" y="1032"/>
                    <a:pt x="87" y="1037"/>
                    <a:pt x="78" y="1034"/>
                  </a:cubicBezTo>
                  <a:cubicBezTo>
                    <a:pt x="70" y="1030"/>
                    <a:pt x="73" y="1021"/>
                    <a:pt x="73" y="1015"/>
                  </a:cubicBezTo>
                  <a:cubicBezTo>
                    <a:pt x="73" y="991"/>
                    <a:pt x="73" y="967"/>
                    <a:pt x="73" y="944"/>
                  </a:cubicBezTo>
                  <a:cubicBezTo>
                    <a:pt x="73" y="916"/>
                    <a:pt x="75" y="917"/>
                    <a:pt x="46" y="918"/>
                  </a:cubicBezTo>
                  <a:cubicBezTo>
                    <a:pt x="33" y="918"/>
                    <a:pt x="33" y="918"/>
                    <a:pt x="33" y="931"/>
                  </a:cubicBezTo>
                  <a:cubicBezTo>
                    <a:pt x="33" y="971"/>
                    <a:pt x="33" y="1011"/>
                    <a:pt x="33" y="1051"/>
                  </a:cubicBezTo>
                  <a:cubicBezTo>
                    <a:pt x="33" y="1051"/>
                    <a:pt x="33" y="1051"/>
                    <a:pt x="33" y="1051"/>
                  </a:cubicBezTo>
                  <a:close/>
                  <a:moveTo>
                    <a:pt x="639" y="84"/>
                  </a:moveTo>
                  <a:cubicBezTo>
                    <a:pt x="627" y="84"/>
                    <a:pt x="626" y="84"/>
                    <a:pt x="629" y="95"/>
                  </a:cubicBezTo>
                  <a:cubicBezTo>
                    <a:pt x="634" y="113"/>
                    <a:pt x="640" y="131"/>
                    <a:pt x="646" y="148"/>
                  </a:cubicBezTo>
                  <a:cubicBezTo>
                    <a:pt x="652" y="166"/>
                    <a:pt x="658" y="185"/>
                    <a:pt x="664" y="203"/>
                  </a:cubicBezTo>
                  <a:cubicBezTo>
                    <a:pt x="671" y="223"/>
                    <a:pt x="676" y="244"/>
                    <a:pt x="684" y="264"/>
                  </a:cubicBezTo>
                  <a:cubicBezTo>
                    <a:pt x="688" y="274"/>
                    <a:pt x="694" y="274"/>
                    <a:pt x="702" y="274"/>
                  </a:cubicBezTo>
                  <a:cubicBezTo>
                    <a:pt x="711" y="274"/>
                    <a:pt x="719" y="272"/>
                    <a:pt x="723" y="263"/>
                  </a:cubicBezTo>
                  <a:cubicBezTo>
                    <a:pt x="733" y="236"/>
                    <a:pt x="741" y="208"/>
                    <a:pt x="750" y="181"/>
                  </a:cubicBezTo>
                  <a:cubicBezTo>
                    <a:pt x="754" y="169"/>
                    <a:pt x="757" y="156"/>
                    <a:pt x="763" y="145"/>
                  </a:cubicBezTo>
                  <a:cubicBezTo>
                    <a:pt x="764" y="143"/>
                    <a:pt x="764" y="140"/>
                    <a:pt x="767" y="140"/>
                  </a:cubicBezTo>
                  <a:cubicBezTo>
                    <a:pt x="770" y="140"/>
                    <a:pt x="770" y="143"/>
                    <a:pt x="771" y="145"/>
                  </a:cubicBezTo>
                  <a:cubicBezTo>
                    <a:pt x="771" y="156"/>
                    <a:pt x="777" y="165"/>
                    <a:pt x="780" y="175"/>
                  </a:cubicBezTo>
                  <a:cubicBezTo>
                    <a:pt x="782" y="184"/>
                    <a:pt x="785" y="193"/>
                    <a:pt x="788" y="201"/>
                  </a:cubicBezTo>
                  <a:cubicBezTo>
                    <a:pt x="794" y="219"/>
                    <a:pt x="801" y="237"/>
                    <a:pt x="806" y="255"/>
                  </a:cubicBezTo>
                  <a:cubicBezTo>
                    <a:pt x="811" y="272"/>
                    <a:pt x="825" y="280"/>
                    <a:pt x="842" y="273"/>
                  </a:cubicBezTo>
                  <a:cubicBezTo>
                    <a:pt x="845" y="271"/>
                    <a:pt x="847" y="269"/>
                    <a:pt x="848" y="266"/>
                  </a:cubicBezTo>
                  <a:cubicBezTo>
                    <a:pt x="853" y="251"/>
                    <a:pt x="859" y="236"/>
                    <a:pt x="863" y="221"/>
                  </a:cubicBezTo>
                  <a:cubicBezTo>
                    <a:pt x="867" y="202"/>
                    <a:pt x="875" y="185"/>
                    <a:pt x="880" y="166"/>
                  </a:cubicBezTo>
                  <a:cubicBezTo>
                    <a:pt x="886" y="144"/>
                    <a:pt x="895" y="123"/>
                    <a:pt x="900" y="101"/>
                  </a:cubicBezTo>
                  <a:cubicBezTo>
                    <a:pt x="901" y="96"/>
                    <a:pt x="909" y="91"/>
                    <a:pt x="904" y="86"/>
                  </a:cubicBezTo>
                  <a:cubicBezTo>
                    <a:pt x="900" y="81"/>
                    <a:pt x="892" y="84"/>
                    <a:pt x="886" y="84"/>
                  </a:cubicBezTo>
                  <a:cubicBezTo>
                    <a:pt x="885" y="84"/>
                    <a:pt x="883" y="84"/>
                    <a:pt x="881" y="84"/>
                  </a:cubicBezTo>
                  <a:cubicBezTo>
                    <a:pt x="875" y="84"/>
                    <a:pt x="872" y="86"/>
                    <a:pt x="869" y="91"/>
                  </a:cubicBezTo>
                  <a:cubicBezTo>
                    <a:pt x="860" y="110"/>
                    <a:pt x="856" y="131"/>
                    <a:pt x="850" y="151"/>
                  </a:cubicBezTo>
                  <a:cubicBezTo>
                    <a:pt x="844" y="170"/>
                    <a:pt x="836" y="188"/>
                    <a:pt x="834" y="208"/>
                  </a:cubicBezTo>
                  <a:cubicBezTo>
                    <a:pt x="833" y="211"/>
                    <a:pt x="831" y="214"/>
                    <a:pt x="827" y="214"/>
                  </a:cubicBezTo>
                  <a:cubicBezTo>
                    <a:pt x="823" y="214"/>
                    <a:pt x="822" y="210"/>
                    <a:pt x="822" y="207"/>
                  </a:cubicBezTo>
                  <a:cubicBezTo>
                    <a:pt x="817" y="188"/>
                    <a:pt x="811" y="170"/>
                    <a:pt x="805" y="152"/>
                  </a:cubicBezTo>
                  <a:cubicBezTo>
                    <a:pt x="799" y="133"/>
                    <a:pt x="794" y="114"/>
                    <a:pt x="786" y="96"/>
                  </a:cubicBezTo>
                  <a:cubicBezTo>
                    <a:pt x="783" y="87"/>
                    <a:pt x="779" y="84"/>
                    <a:pt x="770" y="84"/>
                  </a:cubicBezTo>
                  <a:cubicBezTo>
                    <a:pt x="761" y="84"/>
                    <a:pt x="752" y="82"/>
                    <a:pt x="748" y="94"/>
                  </a:cubicBezTo>
                  <a:cubicBezTo>
                    <a:pt x="744" y="109"/>
                    <a:pt x="738" y="123"/>
                    <a:pt x="734" y="138"/>
                  </a:cubicBezTo>
                  <a:cubicBezTo>
                    <a:pt x="729" y="153"/>
                    <a:pt x="724" y="167"/>
                    <a:pt x="719" y="182"/>
                  </a:cubicBezTo>
                  <a:cubicBezTo>
                    <a:pt x="716" y="192"/>
                    <a:pt x="715" y="203"/>
                    <a:pt x="708" y="212"/>
                  </a:cubicBezTo>
                  <a:cubicBezTo>
                    <a:pt x="707" y="214"/>
                    <a:pt x="707" y="217"/>
                    <a:pt x="704" y="217"/>
                  </a:cubicBezTo>
                  <a:cubicBezTo>
                    <a:pt x="701" y="217"/>
                    <a:pt x="701" y="213"/>
                    <a:pt x="700" y="211"/>
                  </a:cubicBezTo>
                  <a:cubicBezTo>
                    <a:pt x="699" y="198"/>
                    <a:pt x="694" y="186"/>
                    <a:pt x="690" y="174"/>
                  </a:cubicBezTo>
                  <a:cubicBezTo>
                    <a:pt x="684" y="153"/>
                    <a:pt x="677" y="131"/>
                    <a:pt x="672" y="110"/>
                  </a:cubicBezTo>
                  <a:cubicBezTo>
                    <a:pt x="667" y="88"/>
                    <a:pt x="663" y="84"/>
                    <a:pt x="645" y="84"/>
                  </a:cubicBezTo>
                  <a:cubicBezTo>
                    <a:pt x="643" y="84"/>
                    <a:pt x="641" y="84"/>
                    <a:pt x="639" y="84"/>
                  </a:cubicBezTo>
                  <a:close/>
                  <a:moveTo>
                    <a:pt x="507" y="711"/>
                  </a:moveTo>
                  <a:cubicBezTo>
                    <a:pt x="507" y="730"/>
                    <a:pt x="507" y="730"/>
                    <a:pt x="526" y="730"/>
                  </a:cubicBezTo>
                  <a:cubicBezTo>
                    <a:pt x="539" y="730"/>
                    <a:pt x="541" y="729"/>
                    <a:pt x="541" y="715"/>
                  </a:cubicBezTo>
                  <a:cubicBezTo>
                    <a:pt x="541" y="677"/>
                    <a:pt x="541" y="638"/>
                    <a:pt x="540" y="600"/>
                  </a:cubicBezTo>
                  <a:cubicBezTo>
                    <a:pt x="540" y="593"/>
                    <a:pt x="543" y="587"/>
                    <a:pt x="548" y="582"/>
                  </a:cubicBezTo>
                  <a:cubicBezTo>
                    <a:pt x="553" y="576"/>
                    <a:pt x="559" y="573"/>
                    <a:pt x="564" y="569"/>
                  </a:cubicBezTo>
                  <a:cubicBezTo>
                    <a:pt x="574" y="564"/>
                    <a:pt x="594" y="566"/>
                    <a:pt x="602" y="574"/>
                  </a:cubicBezTo>
                  <a:cubicBezTo>
                    <a:pt x="611" y="582"/>
                    <a:pt x="614" y="592"/>
                    <a:pt x="614" y="604"/>
                  </a:cubicBezTo>
                  <a:cubicBezTo>
                    <a:pt x="614" y="638"/>
                    <a:pt x="614" y="672"/>
                    <a:pt x="614" y="706"/>
                  </a:cubicBezTo>
                  <a:cubicBezTo>
                    <a:pt x="614" y="730"/>
                    <a:pt x="614" y="730"/>
                    <a:pt x="638" y="730"/>
                  </a:cubicBezTo>
                  <a:cubicBezTo>
                    <a:pt x="650" y="730"/>
                    <a:pt x="650" y="730"/>
                    <a:pt x="650" y="717"/>
                  </a:cubicBezTo>
                  <a:cubicBezTo>
                    <a:pt x="650" y="684"/>
                    <a:pt x="650" y="650"/>
                    <a:pt x="650" y="617"/>
                  </a:cubicBezTo>
                  <a:cubicBezTo>
                    <a:pt x="650" y="606"/>
                    <a:pt x="651" y="597"/>
                    <a:pt x="657" y="586"/>
                  </a:cubicBezTo>
                  <a:cubicBezTo>
                    <a:pt x="667" y="565"/>
                    <a:pt x="703" y="560"/>
                    <a:pt x="716" y="579"/>
                  </a:cubicBezTo>
                  <a:cubicBezTo>
                    <a:pt x="723" y="588"/>
                    <a:pt x="724" y="598"/>
                    <a:pt x="724" y="609"/>
                  </a:cubicBezTo>
                  <a:cubicBezTo>
                    <a:pt x="724" y="645"/>
                    <a:pt x="724" y="682"/>
                    <a:pt x="724" y="718"/>
                  </a:cubicBezTo>
                  <a:cubicBezTo>
                    <a:pt x="724" y="727"/>
                    <a:pt x="727" y="731"/>
                    <a:pt x="736" y="730"/>
                  </a:cubicBezTo>
                  <a:cubicBezTo>
                    <a:pt x="738" y="730"/>
                    <a:pt x="741" y="730"/>
                    <a:pt x="743" y="730"/>
                  </a:cubicBezTo>
                  <a:cubicBezTo>
                    <a:pt x="758" y="730"/>
                    <a:pt x="759" y="729"/>
                    <a:pt x="759" y="715"/>
                  </a:cubicBezTo>
                  <a:cubicBezTo>
                    <a:pt x="759" y="677"/>
                    <a:pt x="758" y="639"/>
                    <a:pt x="759" y="601"/>
                  </a:cubicBezTo>
                  <a:cubicBezTo>
                    <a:pt x="759" y="571"/>
                    <a:pt x="742" y="540"/>
                    <a:pt x="704" y="538"/>
                  </a:cubicBezTo>
                  <a:cubicBezTo>
                    <a:pt x="681" y="536"/>
                    <a:pt x="661" y="542"/>
                    <a:pt x="646" y="560"/>
                  </a:cubicBezTo>
                  <a:cubicBezTo>
                    <a:pt x="638" y="569"/>
                    <a:pt x="638" y="569"/>
                    <a:pt x="631" y="559"/>
                  </a:cubicBezTo>
                  <a:cubicBezTo>
                    <a:pt x="630" y="558"/>
                    <a:pt x="630" y="557"/>
                    <a:pt x="629" y="556"/>
                  </a:cubicBezTo>
                  <a:cubicBezTo>
                    <a:pt x="623" y="548"/>
                    <a:pt x="616" y="541"/>
                    <a:pt x="607" y="539"/>
                  </a:cubicBezTo>
                  <a:cubicBezTo>
                    <a:pt x="584" y="534"/>
                    <a:pt x="563" y="539"/>
                    <a:pt x="545" y="555"/>
                  </a:cubicBezTo>
                  <a:cubicBezTo>
                    <a:pt x="540" y="559"/>
                    <a:pt x="537" y="561"/>
                    <a:pt x="537" y="552"/>
                  </a:cubicBezTo>
                  <a:cubicBezTo>
                    <a:pt x="536" y="543"/>
                    <a:pt x="526" y="538"/>
                    <a:pt x="515" y="539"/>
                  </a:cubicBezTo>
                  <a:cubicBezTo>
                    <a:pt x="506" y="540"/>
                    <a:pt x="507" y="546"/>
                    <a:pt x="507" y="552"/>
                  </a:cubicBezTo>
                  <a:cubicBezTo>
                    <a:pt x="507" y="580"/>
                    <a:pt x="507" y="607"/>
                    <a:pt x="507" y="634"/>
                  </a:cubicBezTo>
                  <a:cubicBezTo>
                    <a:pt x="507" y="660"/>
                    <a:pt x="507" y="685"/>
                    <a:pt x="507" y="711"/>
                  </a:cubicBezTo>
                  <a:close/>
                  <a:moveTo>
                    <a:pt x="1525" y="1142"/>
                  </a:moveTo>
                  <a:cubicBezTo>
                    <a:pt x="1517" y="1143"/>
                    <a:pt x="1511" y="1141"/>
                    <a:pt x="1505" y="1136"/>
                  </a:cubicBezTo>
                  <a:cubicBezTo>
                    <a:pt x="1501" y="1133"/>
                    <a:pt x="1495" y="1130"/>
                    <a:pt x="1498" y="1124"/>
                  </a:cubicBezTo>
                  <a:cubicBezTo>
                    <a:pt x="1500" y="1118"/>
                    <a:pt x="1504" y="1114"/>
                    <a:pt x="1512" y="1114"/>
                  </a:cubicBezTo>
                  <a:cubicBezTo>
                    <a:pt x="1521" y="1115"/>
                    <a:pt x="1530" y="1114"/>
                    <a:pt x="1538" y="1115"/>
                  </a:cubicBezTo>
                  <a:cubicBezTo>
                    <a:pt x="1573" y="1117"/>
                    <a:pt x="1610" y="1084"/>
                    <a:pt x="1602" y="1044"/>
                  </a:cubicBezTo>
                  <a:cubicBezTo>
                    <a:pt x="1600" y="1035"/>
                    <a:pt x="1599" y="1028"/>
                    <a:pt x="1611" y="1027"/>
                  </a:cubicBezTo>
                  <a:cubicBezTo>
                    <a:pt x="1614" y="1027"/>
                    <a:pt x="1617" y="1024"/>
                    <a:pt x="1619" y="1023"/>
                  </a:cubicBezTo>
                  <a:cubicBezTo>
                    <a:pt x="1626" y="1019"/>
                    <a:pt x="1624" y="1013"/>
                    <a:pt x="1623" y="1008"/>
                  </a:cubicBezTo>
                  <a:cubicBezTo>
                    <a:pt x="1623" y="1002"/>
                    <a:pt x="1618" y="1003"/>
                    <a:pt x="1613" y="1002"/>
                  </a:cubicBezTo>
                  <a:cubicBezTo>
                    <a:pt x="1598" y="1002"/>
                    <a:pt x="1582" y="1004"/>
                    <a:pt x="1567" y="1000"/>
                  </a:cubicBezTo>
                  <a:cubicBezTo>
                    <a:pt x="1560" y="999"/>
                    <a:pt x="1554" y="993"/>
                    <a:pt x="1546" y="993"/>
                  </a:cubicBezTo>
                  <a:cubicBezTo>
                    <a:pt x="1536" y="994"/>
                    <a:pt x="1525" y="992"/>
                    <a:pt x="1515" y="993"/>
                  </a:cubicBezTo>
                  <a:cubicBezTo>
                    <a:pt x="1490" y="997"/>
                    <a:pt x="1469" y="1010"/>
                    <a:pt x="1462" y="1034"/>
                  </a:cubicBezTo>
                  <a:cubicBezTo>
                    <a:pt x="1455" y="1056"/>
                    <a:pt x="1457" y="1079"/>
                    <a:pt x="1476" y="1096"/>
                  </a:cubicBezTo>
                  <a:cubicBezTo>
                    <a:pt x="1483" y="1103"/>
                    <a:pt x="1483" y="1107"/>
                    <a:pt x="1476" y="1113"/>
                  </a:cubicBezTo>
                  <a:cubicBezTo>
                    <a:pt x="1462" y="1126"/>
                    <a:pt x="1462" y="1142"/>
                    <a:pt x="1473" y="1157"/>
                  </a:cubicBezTo>
                  <a:cubicBezTo>
                    <a:pt x="1476" y="1160"/>
                    <a:pt x="1476" y="1162"/>
                    <a:pt x="1472" y="1164"/>
                  </a:cubicBezTo>
                  <a:cubicBezTo>
                    <a:pt x="1470" y="1166"/>
                    <a:pt x="1468" y="1168"/>
                    <a:pt x="1466" y="1170"/>
                  </a:cubicBezTo>
                  <a:cubicBezTo>
                    <a:pt x="1449" y="1183"/>
                    <a:pt x="1444" y="1201"/>
                    <a:pt x="1454" y="1218"/>
                  </a:cubicBezTo>
                  <a:cubicBezTo>
                    <a:pt x="1464" y="1235"/>
                    <a:pt x="1479" y="1246"/>
                    <a:pt x="1499" y="1249"/>
                  </a:cubicBezTo>
                  <a:cubicBezTo>
                    <a:pt x="1517" y="1252"/>
                    <a:pt x="1535" y="1253"/>
                    <a:pt x="1553" y="1250"/>
                  </a:cubicBezTo>
                  <a:cubicBezTo>
                    <a:pt x="1584" y="1245"/>
                    <a:pt x="1607" y="1232"/>
                    <a:pt x="1619" y="1200"/>
                  </a:cubicBezTo>
                  <a:cubicBezTo>
                    <a:pt x="1627" y="1180"/>
                    <a:pt x="1611" y="1155"/>
                    <a:pt x="1593" y="1148"/>
                  </a:cubicBezTo>
                  <a:cubicBezTo>
                    <a:pt x="1578" y="1142"/>
                    <a:pt x="1563" y="1143"/>
                    <a:pt x="1549" y="1142"/>
                  </a:cubicBezTo>
                  <a:cubicBezTo>
                    <a:pt x="1540" y="1142"/>
                    <a:pt x="1532" y="1142"/>
                    <a:pt x="1525" y="1142"/>
                  </a:cubicBezTo>
                  <a:close/>
                  <a:moveTo>
                    <a:pt x="1556" y="1172"/>
                  </a:moveTo>
                  <a:cubicBezTo>
                    <a:pt x="1566" y="1172"/>
                    <a:pt x="1576" y="1176"/>
                    <a:pt x="1583" y="1183"/>
                  </a:cubicBezTo>
                  <a:cubicBezTo>
                    <a:pt x="1589" y="1190"/>
                    <a:pt x="1589" y="1198"/>
                    <a:pt x="1583" y="1205"/>
                  </a:cubicBezTo>
                  <a:cubicBezTo>
                    <a:pt x="1575" y="1215"/>
                    <a:pt x="1565" y="1220"/>
                    <a:pt x="1553" y="1223"/>
                  </a:cubicBezTo>
                  <a:cubicBezTo>
                    <a:pt x="1534" y="1228"/>
                    <a:pt x="1516" y="1225"/>
                    <a:pt x="1499" y="1219"/>
                  </a:cubicBezTo>
                  <a:cubicBezTo>
                    <a:pt x="1486" y="1214"/>
                    <a:pt x="1479" y="1203"/>
                    <a:pt x="1482" y="1193"/>
                  </a:cubicBezTo>
                  <a:cubicBezTo>
                    <a:pt x="1485" y="1182"/>
                    <a:pt x="1496" y="1168"/>
                    <a:pt x="1514" y="1171"/>
                  </a:cubicBezTo>
                  <a:cubicBezTo>
                    <a:pt x="1526" y="1173"/>
                    <a:pt x="1541" y="1171"/>
                    <a:pt x="1556" y="1172"/>
                  </a:cubicBezTo>
                  <a:close/>
                  <a:moveTo>
                    <a:pt x="1531" y="1019"/>
                  </a:moveTo>
                  <a:cubicBezTo>
                    <a:pt x="1553" y="1017"/>
                    <a:pt x="1570" y="1033"/>
                    <a:pt x="1570" y="1052"/>
                  </a:cubicBezTo>
                  <a:cubicBezTo>
                    <a:pt x="1570" y="1075"/>
                    <a:pt x="1554" y="1093"/>
                    <a:pt x="1532" y="1091"/>
                  </a:cubicBezTo>
                  <a:cubicBezTo>
                    <a:pt x="1508" y="1089"/>
                    <a:pt x="1494" y="1082"/>
                    <a:pt x="1493" y="1053"/>
                  </a:cubicBezTo>
                  <a:cubicBezTo>
                    <a:pt x="1494" y="1029"/>
                    <a:pt x="1508" y="1020"/>
                    <a:pt x="1531" y="1019"/>
                  </a:cubicBezTo>
                  <a:close/>
                  <a:moveTo>
                    <a:pt x="1413" y="934"/>
                  </a:moveTo>
                  <a:cubicBezTo>
                    <a:pt x="1413" y="909"/>
                    <a:pt x="1413" y="909"/>
                    <a:pt x="1389" y="910"/>
                  </a:cubicBezTo>
                  <a:cubicBezTo>
                    <a:pt x="1388" y="910"/>
                    <a:pt x="1387" y="910"/>
                    <a:pt x="1387" y="910"/>
                  </a:cubicBezTo>
                  <a:cubicBezTo>
                    <a:pt x="1379" y="910"/>
                    <a:pt x="1376" y="915"/>
                    <a:pt x="1376" y="921"/>
                  </a:cubicBezTo>
                  <a:cubicBezTo>
                    <a:pt x="1376" y="939"/>
                    <a:pt x="1377" y="956"/>
                    <a:pt x="1377" y="974"/>
                  </a:cubicBezTo>
                  <a:cubicBezTo>
                    <a:pt x="1377" y="983"/>
                    <a:pt x="1377" y="991"/>
                    <a:pt x="1377" y="1000"/>
                  </a:cubicBezTo>
                  <a:cubicBezTo>
                    <a:pt x="1377" y="1005"/>
                    <a:pt x="1374" y="1009"/>
                    <a:pt x="1369" y="1005"/>
                  </a:cubicBezTo>
                  <a:cubicBezTo>
                    <a:pt x="1352" y="990"/>
                    <a:pt x="1332" y="993"/>
                    <a:pt x="1312" y="993"/>
                  </a:cubicBezTo>
                  <a:cubicBezTo>
                    <a:pt x="1303" y="994"/>
                    <a:pt x="1294" y="998"/>
                    <a:pt x="1287" y="1003"/>
                  </a:cubicBezTo>
                  <a:cubicBezTo>
                    <a:pt x="1265" y="1017"/>
                    <a:pt x="1252" y="1039"/>
                    <a:pt x="1248" y="1065"/>
                  </a:cubicBezTo>
                  <a:cubicBezTo>
                    <a:pt x="1244" y="1096"/>
                    <a:pt x="1244" y="1128"/>
                    <a:pt x="1261" y="1157"/>
                  </a:cubicBezTo>
                  <a:cubicBezTo>
                    <a:pt x="1270" y="1170"/>
                    <a:pt x="1281" y="1181"/>
                    <a:pt x="1296" y="1185"/>
                  </a:cubicBezTo>
                  <a:cubicBezTo>
                    <a:pt x="1323" y="1191"/>
                    <a:pt x="1349" y="1188"/>
                    <a:pt x="1370" y="1167"/>
                  </a:cubicBezTo>
                  <a:cubicBezTo>
                    <a:pt x="1372" y="1165"/>
                    <a:pt x="1375" y="1162"/>
                    <a:pt x="1379" y="1163"/>
                  </a:cubicBezTo>
                  <a:cubicBezTo>
                    <a:pt x="1382" y="1165"/>
                    <a:pt x="1381" y="1169"/>
                    <a:pt x="1381" y="1172"/>
                  </a:cubicBezTo>
                  <a:cubicBezTo>
                    <a:pt x="1383" y="1181"/>
                    <a:pt x="1390" y="1186"/>
                    <a:pt x="1403" y="1186"/>
                  </a:cubicBezTo>
                  <a:cubicBezTo>
                    <a:pt x="1413" y="1185"/>
                    <a:pt x="1413" y="1178"/>
                    <a:pt x="1413" y="1172"/>
                  </a:cubicBezTo>
                  <a:cubicBezTo>
                    <a:pt x="1413" y="1131"/>
                    <a:pt x="1413" y="1090"/>
                    <a:pt x="1413" y="1049"/>
                  </a:cubicBezTo>
                  <a:cubicBezTo>
                    <a:pt x="1413" y="1010"/>
                    <a:pt x="1413" y="972"/>
                    <a:pt x="1413" y="934"/>
                  </a:cubicBezTo>
                  <a:close/>
                  <a:moveTo>
                    <a:pt x="1378" y="1113"/>
                  </a:moveTo>
                  <a:cubicBezTo>
                    <a:pt x="1378" y="1136"/>
                    <a:pt x="1360" y="1155"/>
                    <a:pt x="1337" y="1157"/>
                  </a:cubicBezTo>
                  <a:cubicBezTo>
                    <a:pt x="1319" y="1159"/>
                    <a:pt x="1304" y="1154"/>
                    <a:pt x="1294" y="1139"/>
                  </a:cubicBezTo>
                  <a:cubicBezTo>
                    <a:pt x="1286" y="1128"/>
                    <a:pt x="1283" y="1116"/>
                    <a:pt x="1283" y="1102"/>
                  </a:cubicBezTo>
                  <a:cubicBezTo>
                    <a:pt x="1282" y="1085"/>
                    <a:pt x="1282" y="1067"/>
                    <a:pt x="1290" y="1051"/>
                  </a:cubicBezTo>
                  <a:cubicBezTo>
                    <a:pt x="1297" y="1036"/>
                    <a:pt x="1308" y="1024"/>
                    <a:pt x="1325" y="1022"/>
                  </a:cubicBezTo>
                  <a:cubicBezTo>
                    <a:pt x="1342" y="1020"/>
                    <a:pt x="1358" y="1021"/>
                    <a:pt x="1371" y="1035"/>
                  </a:cubicBezTo>
                  <a:cubicBezTo>
                    <a:pt x="1376" y="1041"/>
                    <a:pt x="1378" y="1046"/>
                    <a:pt x="1378" y="1052"/>
                  </a:cubicBezTo>
                  <a:cubicBezTo>
                    <a:pt x="1378" y="1064"/>
                    <a:pt x="1378" y="1075"/>
                    <a:pt x="1378" y="1086"/>
                  </a:cubicBezTo>
                  <a:cubicBezTo>
                    <a:pt x="1378" y="1086"/>
                    <a:pt x="1378" y="1086"/>
                    <a:pt x="1378" y="1086"/>
                  </a:cubicBezTo>
                  <a:cubicBezTo>
                    <a:pt x="1378" y="1095"/>
                    <a:pt x="1378" y="1104"/>
                    <a:pt x="1378" y="1113"/>
                  </a:cubicBezTo>
                  <a:close/>
                  <a:moveTo>
                    <a:pt x="578" y="259"/>
                  </a:moveTo>
                  <a:cubicBezTo>
                    <a:pt x="603" y="241"/>
                    <a:pt x="611" y="213"/>
                    <a:pt x="614" y="183"/>
                  </a:cubicBezTo>
                  <a:cubicBezTo>
                    <a:pt x="615" y="171"/>
                    <a:pt x="610" y="159"/>
                    <a:pt x="609" y="147"/>
                  </a:cubicBezTo>
                  <a:cubicBezTo>
                    <a:pt x="608" y="137"/>
                    <a:pt x="603" y="129"/>
                    <a:pt x="599" y="121"/>
                  </a:cubicBezTo>
                  <a:cubicBezTo>
                    <a:pt x="579" y="87"/>
                    <a:pt x="527" y="70"/>
                    <a:pt x="488" y="85"/>
                  </a:cubicBezTo>
                  <a:cubicBezTo>
                    <a:pt x="453" y="99"/>
                    <a:pt x="436" y="127"/>
                    <a:pt x="431" y="163"/>
                  </a:cubicBezTo>
                  <a:cubicBezTo>
                    <a:pt x="429" y="180"/>
                    <a:pt x="430" y="196"/>
                    <a:pt x="436" y="213"/>
                  </a:cubicBezTo>
                  <a:cubicBezTo>
                    <a:pt x="439" y="222"/>
                    <a:pt x="442" y="232"/>
                    <a:pt x="447" y="239"/>
                  </a:cubicBezTo>
                  <a:cubicBezTo>
                    <a:pt x="465" y="265"/>
                    <a:pt x="491" y="277"/>
                    <a:pt x="525" y="276"/>
                  </a:cubicBezTo>
                  <a:cubicBezTo>
                    <a:pt x="543" y="278"/>
                    <a:pt x="562" y="271"/>
                    <a:pt x="578" y="259"/>
                  </a:cubicBezTo>
                  <a:close/>
                  <a:moveTo>
                    <a:pt x="471" y="205"/>
                  </a:moveTo>
                  <a:cubicBezTo>
                    <a:pt x="466" y="185"/>
                    <a:pt x="468" y="167"/>
                    <a:pt x="472" y="147"/>
                  </a:cubicBezTo>
                  <a:cubicBezTo>
                    <a:pt x="477" y="130"/>
                    <a:pt x="493" y="116"/>
                    <a:pt x="509" y="112"/>
                  </a:cubicBezTo>
                  <a:cubicBezTo>
                    <a:pt x="525" y="108"/>
                    <a:pt x="539" y="110"/>
                    <a:pt x="553" y="119"/>
                  </a:cubicBezTo>
                  <a:cubicBezTo>
                    <a:pt x="563" y="125"/>
                    <a:pt x="568" y="135"/>
                    <a:pt x="571" y="146"/>
                  </a:cubicBezTo>
                  <a:cubicBezTo>
                    <a:pt x="577" y="167"/>
                    <a:pt x="578" y="189"/>
                    <a:pt x="571" y="211"/>
                  </a:cubicBezTo>
                  <a:cubicBezTo>
                    <a:pt x="565" y="231"/>
                    <a:pt x="549" y="249"/>
                    <a:pt x="521" y="247"/>
                  </a:cubicBezTo>
                  <a:cubicBezTo>
                    <a:pt x="496" y="247"/>
                    <a:pt x="478" y="230"/>
                    <a:pt x="471" y="205"/>
                  </a:cubicBezTo>
                  <a:close/>
                  <a:moveTo>
                    <a:pt x="472" y="1122"/>
                  </a:moveTo>
                  <a:cubicBezTo>
                    <a:pt x="475" y="1136"/>
                    <a:pt x="481" y="1148"/>
                    <a:pt x="491" y="1158"/>
                  </a:cubicBezTo>
                  <a:cubicBezTo>
                    <a:pt x="506" y="1176"/>
                    <a:pt x="524" y="1185"/>
                    <a:pt x="548" y="1187"/>
                  </a:cubicBezTo>
                  <a:cubicBezTo>
                    <a:pt x="568" y="1188"/>
                    <a:pt x="587" y="1187"/>
                    <a:pt x="605" y="1177"/>
                  </a:cubicBezTo>
                  <a:cubicBezTo>
                    <a:pt x="632" y="1162"/>
                    <a:pt x="644" y="1136"/>
                    <a:pt x="649" y="1107"/>
                  </a:cubicBezTo>
                  <a:cubicBezTo>
                    <a:pt x="652" y="1089"/>
                    <a:pt x="649" y="1072"/>
                    <a:pt x="644" y="1054"/>
                  </a:cubicBezTo>
                  <a:cubicBezTo>
                    <a:pt x="638" y="1034"/>
                    <a:pt x="627" y="1019"/>
                    <a:pt x="610" y="1007"/>
                  </a:cubicBezTo>
                  <a:cubicBezTo>
                    <a:pt x="589" y="992"/>
                    <a:pt x="566" y="991"/>
                    <a:pt x="541" y="994"/>
                  </a:cubicBezTo>
                  <a:cubicBezTo>
                    <a:pt x="526" y="995"/>
                    <a:pt x="512" y="1002"/>
                    <a:pt x="500" y="1012"/>
                  </a:cubicBezTo>
                  <a:cubicBezTo>
                    <a:pt x="476" y="1032"/>
                    <a:pt x="469" y="1060"/>
                    <a:pt x="466" y="1095"/>
                  </a:cubicBezTo>
                  <a:cubicBezTo>
                    <a:pt x="465" y="1101"/>
                    <a:pt x="470" y="1111"/>
                    <a:pt x="472" y="1122"/>
                  </a:cubicBezTo>
                  <a:close/>
                  <a:moveTo>
                    <a:pt x="508" y="1113"/>
                  </a:moveTo>
                  <a:cubicBezTo>
                    <a:pt x="505" y="1095"/>
                    <a:pt x="506" y="1078"/>
                    <a:pt x="508" y="1061"/>
                  </a:cubicBezTo>
                  <a:cubicBezTo>
                    <a:pt x="511" y="1042"/>
                    <a:pt x="538" y="1021"/>
                    <a:pt x="554" y="1022"/>
                  </a:cubicBezTo>
                  <a:cubicBezTo>
                    <a:pt x="570" y="1022"/>
                    <a:pt x="586" y="1024"/>
                    <a:pt x="596" y="1037"/>
                  </a:cubicBezTo>
                  <a:cubicBezTo>
                    <a:pt x="602" y="1044"/>
                    <a:pt x="607" y="1052"/>
                    <a:pt x="608" y="1061"/>
                  </a:cubicBezTo>
                  <a:cubicBezTo>
                    <a:pt x="608" y="1064"/>
                    <a:pt x="609" y="1067"/>
                    <a:pt x="610" y="1070"/>
                  </a:cubicBezTo>
                  <a:cubicBezTo>
                    <a:pt x="618" y="1089"/>
                    <a:pt x="612" y="1107"/>
                    <a:pt x="607" y="1125"/>
                  </a:cubicBezTo>
                  <a:cubicBezTo>
                    <a:pt x="601" y="1143"/>
                    <a:pt x="588" y="1160"/>
                    <a:pt x="558" y="1157"/>
                  </a:cubicBezTo>
                  <a:cubicBezTo>
                    <a:pt x="530" y="1157"/>
                    <a:pt x="512" y="1141"/>
                    <a:pt x="508" y="1113"/>
                  </a:cubicBezTo>
                  <a:close/>
                  <a:moveTo>
                    <a:pt x="430" y="716"/>
                  </a:moveTo>
                  <a:cubicBezTo>
                    <a:pt x="450" y="703"/>
                    <a:pt x="459" y="683"/>
                    <a:pt x="464" y="661"/>
                  </a:cubicBezTo>
                  <a:cubicBezTo>
                    <a:pt x="468" y="648"/>
                    <a:pt x="467" y="635"/>
                    <a:pt x="466" y="621"/>
                  </a:cubicBezTo>
                  <a:cubicBezTo>
                    <a:pt x="463" y="592"/>
                    <a:pt x="453" y="567"/>
                    <a:pt x="427" y="550"/>
                  </a:cubicBezTo>
                  <a:cubicBezTo>
                    <a:pt x="401" y="534"/>
                    <a:pt x="372" y="532"/>
                    <a:pt x="345" y="541"/>
                  </a:cubicBezTo>
                  <a:cubicBezTo>
                    <a:pt x="310" y="552"/>
                    <a:pt x="291" y="580"/>
                    <a:pt x="287" y="617"/>
                  </a:cubicBezTo>
                  <a:cubicBezTo>
                    <a:pt x="286" y="629"/>
                    <a:pt x="286" y="641"/>
                    <a:pt x="287" y="654"/>
                  </a:cubicBezTo>
                  <a:cubicBezTo>
                    <a:pt x="289" y="671"/>
                    <a:pt x="295" y="686"/>
                    <a:pt x="306" y="700"/>
                  </a:cubicBezTo>
                  <a:cubicBezTo>
                    <a:pt x="324" y="722"/>
                    <a:pt x="348" y="733"/>
                    <a:pt x="378" y="731"/>
                  </a:cubicBezTo>
                  <a:cubicBezTo>
                    <a:pt x="396" y="733"/>
                    <a:pt x="414" y="727"/>
                    <a:pt x="430" y="716"/>
                  </a:cubicBezTo>
                  <a:close/>
                  <a:moveTo>
                    <a:pt x="331" y="592"/>
                  </a:moveTo>
                  <a:cubicBezTo>
                    <a:pt x="339" y="580"/>
                    <a:pt x="349" y="569"/>
                    <a:pt x="365" y="567"/>
                  </a:cubicBezTo>
                  <a:cubicBezTo>
                    <a:pt x="387" y="564"/>
                    <a:pt x="406" y="568"/>
                    <a:pt x="419" y="588"/>
                  </a:cubicBezTo>
                  <a:cubicBezTo>
                    <a:pt x="423" y="595"/>
                    <a:pt x="426" y="603"/>
                    <a:pt x="427" y="610"/>
                  </a:cubicBezTo>
                  <a:cubicBezTo>
                    <a:pt x="433" y="635"/>
                    <a:pt x="431" y="661"/>
                    <a:pt x="416" y="684"/>
                  </a:cubicBezTo>
                  <a:cubicBezTo>
                    <a:pt x="403" y="706"/>
                    <a:pt x="362" y="708"/>
                    <a:pt x="345" y="692"/>
                  </a:cubicBezTo>
                  <a:cubicBezTo>
                    <a:pt x="329" y="678"/>
                    <a:pt x="323" y="661"/>
                    <a:pt x="323" y="631"/>
                  </a:cubicBezTo>
                  <a:cubicBezTo>
                    <a:pt x="323" y="619"/>
                    <a:pt x="323" y="605"/>
                    <a:pt x="331" y="592"/>
                  </a:cubicBezTo>
                  <a:close/>
                  <a:moveTo>
                    <a:pt x="1073" y="259"/>
                  </a:moveTo>
                  <a:cubicBezTo>
                    <a:pt x="1073" y="269"/>
                    <a:pt x="1075" y="272"/>
                    <a:pt x="1086" y="272"/>
                  </a:cubicBezTo>
                  <a:cubicBezTo>
                    <a:pt x="1088" y="272"/>
                    <a:pt x="1090" y="272"/>
                    <a:pt x="1092" y="272"/>
                  </a:cubicBezTo>
                  <a:cubicBezTo>
                    <a:pt x="1105" y="272"/>
                    <a:pt x="1106" y="271"/>
                    <a:pt x="1106" y="258"/>
                  </a:cubicBezTo>
                  <a:cubicBezTo>
                    <a:pt x="1106" y="221"/>
                    <a:pt x="1106" y="184"/>
                    <a:pt x="1106" y="147"/>
                  </a:cubicBezTo>
                  <a:cubicBezTo>
                    <a:pt x="1106" y="143"/>
                    <a:pt x="1106" y="140"/>
                    <a:pt x="1107" y="137"/>
                  </a:cubicBezTo>
                  <a:cubicBezTo>
                    <a:pt x="1117" y="117"/>
                    <a:pt x="1157" y="104"/>
                    <a:pt x="1177" y="114"/>
                  </a:cubicBezTo>
                  <a:cubicBezTo>
                    <a:pt x="1179" y="115"/>
                    <a:pt x="1180" y="117"/>
                    <a:pt x="1182" y="118"/>
                  </a:cubicBezTo>
                  <a:cubicBezTo>
                    <a:pt x="1194" y="131"/>
                    <a:pt x="1196" y="147"/>
                    <a:pt x="1196" y="163"/>
                  </a:cubicBezTo>
                  <a:cubicBezTo>
                    <a:pt x="1197" y="195"/>
                    <a:pt x="1196" y="226"/>
                    <a:pt x="1196" y="258"/>
                  </a:cubicBezTo>
                  <a:cubicBezTo>
                    <a:pt x="1196" y="271"/>
                    <a:pt x="1197" y="272"/>
                    <a:pt x="1210" y="272"/>
                  </a:cubicBezTo>
                  <a:cubicBezTo>
                    <a:pt x="1212" y="272"/>
                    <a:pt x="1213" y="272"/>
                    <a:pt x="1215" y="272"/>
                  </a:cubicBezTo>
                  <a:cubicBezTo>
                    <a:pt x="1227" y="272"/>
                    <a:pt x="1229" y="270"/>
                    <a:pt x="1229" y="258"/>
                  </a:cubicBezTo>
                  <a:cubicBezTo>
                    <a:pt x="1229" y="222"/>
                    <a:pt x="1229" y="187"/>
                    <a:pt x="1229" y="151"/>
                  </a:cubicBezTo>
                  <a:cubicBezTo>
                    <a:pt x="1229" y="142"/>
                    <a:pt x="1228" y="132"/>
                    <a:pt x="1225" y="123"/>
                  </a:cubicBezTo>
                  <a:cubicBezTo>
                    <a:pt x="1219" y="105"/>
                    <a:pt x="1208" y="91"/>
                    <a:pt x="1189" y="85"/>
                  </a:cubicBezTo>
                  <a:cubicBezTo>
                    <a:pt x="1173" y="80"/>
                    <a:pt x="1156" y="84"/>
                    <a:pt x="1139" y="84"/>
                  </a:cubicBezTo>
                  <a:cubicBezTo>
                    <a:pt x="1137" y="84"/>
                    <a:pt x="1136" y="86"/>
                    <a:pt x="1134" y="87"/>
                  </a:cubicBezTo>
                  <a:cubicBezTo>
                    <a:pt x="1128" y="91"/>
                    <a:pt x="1121" y="96"/>
                    <a:pt x="1115" y="100"/>
                  </a:cubicBezTo>
                  <a:cubicBezTo>
                    <a:pt x="1113" y="102"/>
                    <a:pt x="1111" y="105"/>
                    <a:pt x="1108" y="103"/>
                  </a:cubicBezTo>
                  <a:cubicBezTo>
                    <a:pt x="1105" y="102"/>
                    <a:pt x="1106" y="98"/>
                    <a:pt x="1106" y="96"/>
                  </a:cubicBezTo>
                  <a:cubicBezTo>
                    <a:pt x="1106" y="69"/>
                    <a:pt x="1106" y="43"/>
                    <a:pt x="1106" y="17"/>
                  </a:cubicBezTo>
                  <a:cubicBezTo>
                    <a:pt x="1106" y="0"/>
                    <a:pt x="1106" y="0"/>
                    <a:pt x="1089" y="0"/>
                  </a:cubicBezTo>
                  <a:cubicBezTo>
                    <a:pt x="1074" y="0"/>
                    <a:pt x="1073" y="1"/>
                    <a:pt x="1073" y="16"/>
                  </a:cubicBezTo>
                  <a:cubicBezTo>
                    <a:pt x="1073" y="56"/>
                    <a:pt x="1073" y="96"/>
                    <a:pt x="1073" y="136"/>
                  </a:cubicBezTo>
                  <a:cubicBezTo>
                    <a:pt x="1073" y="177"/>
                    <a:pt x="1073" y="218"/>
                    <a:pt x="1073" y="259"/>
                  </a:cubicBezTo>
                  <a:close/>
                  <a:moveTo>
                    <a:pt x="1150" y="1092"/>
                  </a:moveTo>
                  <a:cubicBezTo>
                    <a:pt x="1168" y="1092"/>
                    <a:pt x="1186" y="1092"/>
                    <a:pt x="1204" y="1092"/>
                  </a:cubicBezTo>
                  <a:cubicBezTo>
                    <a:pt x="1215" y="1092"/>
                    <a:pt x="1218" y="1087"/>
                    <a:pt x="1219" y="1077"/>
                  </a:cubicBezTo>
                  <a:cubicBezTo>
                    <a:pt x="1220" y="1062"/>
                    <a:pt x="1216" y="1049"/>
                    <a:pt x="1210" y="1036"/>
                  </a:cubicBezTo>
                  <a:cubicBezTo>
                    <a:pt x="1204" y="1020"/>
                    <a:pt x="1193" y="1008"/>
                    <a:pt x="1177" y="1001"/>
                  </a:cubicBezTo>
                  <a:cubicBezTo>
                    <a:pt x="1155" y="992"/>
                    <a:pt x="1133" y="991"/>
                    <a:pt x="1109" y="999"/>
                  </a:cubicBezTo>
                  <a:cubicBezTo>
                    <a:pt x="1079" y="1010"/>
                    <a:pt x="1062" y="1031"/>
                    <a:pt x="1056" y="1061"/>
                  </a:cubicBezTo>
                  <a:cubicBezTo>
                    <a:pt x="1051" y="1090"/>
                    <a:pt x="1052" y="1120"/>
                    <a:pt x="1069" y="1148"/>
                  </a:cubicBezTo>
                  <a:cubicBezTo>
                    <a:pt x="1081" y="1169"/>
                    <a:pt x="1100" y="1180"/>
                    <a:pt x="1122" y="1185"/>
                  </a:cubicBezTo>
                  <a:cubicBezTo>
                    <a:pt x="1149" y="1190"/>
                    <a:pt x="1176" y="1186"/>
                    <a:pt x="1200" y="1171"/>
                  </a:cubicBezTo>
                  <a:cubicBezTo>
                    <a:pt x="1206" y="1168"/>
                    <a:pt x="1213" y="1165"/>
                    <a:pt x="1214" y="1157"/>
                  </a:cubicBezTo>
                  <a:cubicBezTo>
                    <a:pt x="1215" y="1147"/>
                    <a:pt x="1202" y="1139"/>
                    <a:pt x="1193" y="1144"/>
                  </a:cubicBezTo>
                  <a:cubicBezTo>
                    <a:pt x="1187" y="1147"/>
                    <a:pt x="1180" y="1150"/>
                    <a:pt x="1174" y="1153"/>
                  </a:cubicBezTo>
                  <a:cubicBezTo>
                    <a:pt x="1158" y="1161"/>
                    <a:pt x="1140" y="1161"/>
                    <a:pt x="1124" y="1155"/>
                  </a:cubicBezTo>
                  <a:cubicBezTo>
                    <a:pt x="1112" y="1151"/>
                    <a:pt x="1102" y="1142"/>
                    <a:pt x="1096" y="1129"/>
                  </a:cubicBezTo>
                  <a:cubicBezTo>
                    <a:pt x="1092" y="1121"/>
                    <a:pt x="1091" y="1112"/>
                    <a:pt x="1089" y="1104"/>
                  </a:cubicBezTo>
                  <a:cubicBezTo>
                    <a:pt x="1087" y="1093"/>
                    <a:pt x="1087" y="1092"/>
                    <a:pt x="1099" y="1092"/>
                  </a:cubicBezTo>
                  <a:cubicBezTo>
                    <a:pt x="1116" y="1092"/>
                    <a:pt x="1133" y="1092"/>
                    <a:pt x="1150" y="1092"/>
                  </a:cubicBezTo>
                  <a:cubicBezTo>
                    <a:pt x="1150" y="1092"/>
                    <a:pt x="1150" y="1092"/>
                    <a:pt x="1150" y="1092"/>
                  </a:cubicBezTo>
                  <a:close/>
                  <a:moveTo>
                    <a:pt x="1099" y="1070"/>
                  </a:moveTo>
                  <a:cubicBezTo>
                    <a:pt x="1092" y="1071"/>
                    <a:pt x="1089" y="1067"/>
                    <a:pt x="1091" y="1060"/>
                  </a:cubicBezTo>
                  <a:cubicBezTo>
                    <a:pt x="1094" y="1045"/>
                    <a:pt x="1108" y="1023"/>
                    <a:pt x="1128" y="1022"/>
                  </a:cubicBezTo>
                  <a:cubicBezTo>
                    <a:pt x="1142" y="1021"/>
                    <a:pt x="1156" y="1018"/>
                    <a:pt x="1168" y="1029"/>
                  </a:cubicBezTo>
                  <a:cubicBezTo>
                    <a:pt x="1181" y="1038"/>
                    <a:pt x="1185" y="1051"/>
                    <a:pt x="1187" y="1066"/>
                  </a:cubicBezTo>
                  <a:cubicBezTo>
                    <a:pt x="1188" y="1071"/>
                    <a:pt x="1183" y="1070"/>
                    <a:pt x="1180" y="1070"/>
                  </a:cubicBezTo>
                  <a:cubicBezTo>
                    <a:pt x="1166" y="1070"/>
                    <a:pt x="1153" y="1070"/>
                    <a:pt x="1139" y="1070"/>
                  </a:cubicBezTo>
                  <a:cubicBezTo>
                    <a:pt x="1139" y="1070"/>
                    <a:pt x="1139" y="1070"/>
                    <a:pt x="1139" y="1070"/>
                  </a:cubicBezTo>
                  <a:cubicBezTo>
                    <a:pt x="1126" y="1070"/>
                    <a:pt x="1113" y="1070"/>
                    <a:pt x="1099" y="1070"/>
                  </a:cubicBezTo>
                  <a:close/>
                  <a:moveTo>
                    <a:pt x="1741" y="1092"/>
                  </a:moveTo>
                  <a:cubicBezTo>
                    <a:pt x="1759" y="1092"/>
                    <a:pt x="1776" y="1092"/>
                    <a:pt x="1793" y="1092"/>
                  </a:cubicBezTo>
                  <a:cubicBezTo>
                    <a:pt x="1806" y="1092"/>
                    <a:pt x="1808" y="1089"/>
                    <a:pt x="1808" y="1076"/>
                  </a:cubicBezTo>
                  <a:cubicBezTo>
                    <a:pt x="1809" y="1063"/>
                    <a:pt x="1807" y="1051"/>
                    <a:pt x="1802" y="1038"/>
                  </a:cubicBezTo>
                  <a:cubicBezTo>
                    <a:pt x="1794" y="1021"/>
                    <a:pt x="1782" y="1008"/>
                    <a:pt x="1764" y="1000"/>
                  </a:cubicBezTo>
                  <a:cubicBezTo>
                    <a:pt x="1742" y="991"/>
                    <a:pt x="1720" y="991"/>
                    <a:pt x="1698" y="1000"/>
                  </a:cubicBezTo>
                  <a:cubicBezTo>
                    <a:pt x="1681" y="1006"/>
                    <a:pt x="1668" y="1016"/>
                    <a:pt x="1659" y="1031"/>
                  </a:cubicBezTo>
                  <a:cubicBezTo>
                    <a:pt x="1646" y="1050"/>
                    <a:pt x="1643" y="1071"/>
                    <a:pt x="1644" y="1094"/>
                  </a:cubicBezTo>
                  <a:cubicBezTo>
                    <a:pt x="1644" y="1110"/>
                    <a:pt x="1647" y="1127"/>
                    <a:pt x="1655" y="1141"/>
                  </a:cubicBezTo>
                  <a:cubicBezTo>
                    <a:pt x="1669" y="1168"/>
                    <a:pt x="1691" y="1183"/>
                    <a:pt x="1722" y="1186"/>
                  </a:cubicBezTo>
                  <a:cubicBezTo>
                    <a:pt x="1750" y="1188"/>
                    <a:pt x="1775" y="1183"/>
                    <a:pt x="1798" y="1165"/>
                  </a:cubicBezTo>
                  <a:cubicBezTo>
                    <a:pt x="1803" y="1161"/>
                    <a:pt x="1806" y="1157"/>
                    <a:pt x="1802" y="1151"/>
                  </a:cubicBezTo>
                  <a:cubicBezTo>
                    <a:pt x="1798" y="1144"/>
                    <a:pt x="1791" y="1140"/>
                    <a:pt x="1783" y="1144"/>
                  </a:cubicBezTo>
                  <a:cubicBezTo>
                    <a:pt x="1778" y="1147"/>
                    <a:pt x="1771" y="1149"/>
                    <a:pt x="1766" y="1152"/>
                  </a:cubicBezTo>
                  <a:cubicBezTo>
                    <a:pt x="1749" y="1161"/>
                    <a:pt x="1730" y="1162"/>
                    <a:pt x="1714" y="1155"/>
                  </a:cubicBezTo>
                  <a:cubicBezTo>
                    <a:pt x="1692" y="1145"/>
                    <a:pt x="1680" y="1127"/>
                    <a:pt x="1679" y="1102"/>
                  </a:cubicBezTo>
                  <a:cubicBezTo>
                    <a:pt x="1678" y="1095"/>
                    <a:pt x="1681" y="1092"/>
                    <a:pt x="1689" y="1092"/>
                  </a:cubicBezTo>
                  <a:cubicBezTo>
                    <a:pt x="1706" y="1092"/>
                    <a:pt x="1724" y="1092"/>
                    <a:pt x="1741" y="1092"/>
                  </a:cubicBezTo>
                  <a:cubicBezTo>
                    <a:pt x="1741" y="1092"/>
                    <a:pt x="1741" y="1092"/>
                    <a:pt x="1741" y="1092"/>
                  </a:cubicBezTo>
                  <a:close/>
                  <a:moveTo>
                    <a:pt x="1690" y="1070"/>
                  </a:moveTo>
                  <a:cubicBezTo>
                    <a:pt x="1683" y="1071"/>
                    <a:pt x="1680" y="1068"/>
                    <a:pt x="1681" y="1062"/>
                  </a:cubicBezTo>
                  <a:cubicBezTo>
                    <a:pt x="1683" y="1048"/>
                    <a:pt x="1697" y="1024"/>
                    <a:pt x="1716" y="1022"/>
                  </a:cubicBezTo>
                  <a:cubicBezTo>
                    <a:pt x="1731" y="1020"/>
                    <a:pt x="1747" y="1018"/>
                    <a:pt x="1760" y="1030"/>
                  </a:cubicBezTo>
                  <a:cubicBezTo>
                    <a:pt x="1771" y="1038"/>
                    <a:pt x="1775" y="1050"/>
                    <a:pt x="1778" y="1062"/>
                  </a:cubicBezTo>
                  <a:cubicBezTo>
                    <a:pt x="1780" y="1068"/>
                    <a:pt x="1775" y="1070"/>
                    <a:pt x="1769" y="1070"/>
                  </a:cubicBezTo>
                  <a:cubicBezTo>
                    <a:pt x="1756" y="1070"/>
                    <a:pt x="1742" y="1070"/>
                    <a:pt x="1729" y="1070"/>
                  </a:cubicBezTo>
                  <a:cubicBezTo>
                    <a:pt x="1729" y="1070"/>
                    <a:pt x="1729" y="1070"/>
                    <a:pt x="1729" y="1070"/>
                  </a:cubicBezTo>
                  <a:cubicBezTo>
                    <a:pt x="1716" y="1070"/>
                    <a:pt x="1703" y="1070"/>
                    <a:pt x="1690" y="1070"/>
                  </a:cubicBezTo>
                  <a:close/>
                  <a:moveTo>
                    <a:pt x="68" y="581"/>
                  </a:moveTo>
                  <a:cubicBezTo>
                    <a:pt x="68" y="573"/>
                    <a:pt x="70" y="568"/>
                    <a:pt x="80" y="569"/>
                  </a:cubicBezTo>
                  <a:cubicBezTo>
                    <a:pt x="90" y="570"/>
                    <a:pt x="101" y="570"/>
                    <a:pt x="111" y="569"/>
                  </a:cubicBezTo>
                  <a:cubicBezTo>
                    <a:pt x="120" y="569"/>
                    <a:pt x="120" y="563"/>
                    <a:pt x="120" y="556"/>
                  </a:cubicBezTo>
                  <a:cubicBezTo>
                    <a:pt x="120" y="549"/>
                    <a:pt x="119" y="544"/>
                    <a:pt x="111" y="544"/>
                  </a:cubicBezTo>
                  <a:cubicBezTo>
                    <a:pt x="104" y="544"/>
                    <a:pt x="97" y="544"/>
                    <a:pt x="91" y="544"/>
                  </a:cubicBezTo>
                  <a:cubicBezTo>
                    <a:pt x="66" y="544"/>
                    <a:pt x="65" y="543"/>
                    <a:pt x="68" y="518"/>
                  </a:cubicBezTo>
                  <a:cubicBezTo>
                    <a:pt x="69" y="504"/>
                    <a:pt x="83" y="487"/>
                    <a:pt x="99" y="489"/>
                  </a:cubicBezTo>
                  <a:cubicBezTo>
                    <a:pt x="103" y="489"/>
                    <a:pt x="107" y="489"/>
                    <a:pt x="110" y="488"/>
                  </a:cubicBezTo>
                  <a:cubicBezTo>
                    <a:pt x="118" y="487"/>
                    <a:pt x="123" y="479"/>
                    <a:pt x="123" y="471"/>
                  </a:cubicBezTo>
                  <a:cubicBezTo>
                    <a:pt x="123" y="461"/>
                    <a:pt x="116" y="462"/>
                    <a:pt x="109" y="460"/>
                  </a:cubicBezTo>
                  <a:cubicBezTo>
                    <a:pt x="100" y="458"/>
                    <a:pt x="92" y="460"/>
                    <a:pt x="84" y="460"/>
                  </a:cubicBezTo>
                  <a:cubicBezTo>
                    <a:pt x="68" y="461"/>
                    <a:pt x="56" y="469"/>
                    <a:pt x="47" y="480"/>
                  </a:cubicBezTo>
                  <a:cubicBezTo>
                    <a:pt x="34" y="493"/>
                    <a:pt x="32" y="511"/>
                    <a:pt x="32" y="529"/>
                  </a:cubicBezTo>
                  <a:cubicBezTo>
                    <a:pt x="32" y="544"/>
                    <a:pt x="32" y="544"/>
                    <a:pt x="17" y="544"/>
                  </a:cubicBezTo>
                  <a:cubicBezTo>
                    <a:pt x="4" y="543"/>
                    <a:pt x="0" y="548"/>
                    <a:pt x="4" y="561"/>
                  </a:cubicBezTo>
                  <a:cubicBezTo>
                    <a:pt x="6" y="569"/>
                    <a:pt x="13" y="568"/>
                    <a:pt x="19" y="569"/>
                  </a:cubicBezTo>
                  <a:cubicBezTo>
                    <a:pt x="32" y="571"/>
                    <a:pt x="32" y="571"/>
                    <a:pt x="32" y="584"/>
                  </a:cubicBezTo>
                  <a:cubicBezTo>
                    <a:pt x="32" y="624"/>
                    <a:pt x="32" y="664"/>
                    <a:pt x="32" y="704"/>
                  </a:cubicBezTo>
                  <a:cubicBezTo>
                    <a:pt x="32" y="731"/>
                    <a:pt x="32" y="730"/>
                    <a:pt x="57" y="731"/>
                  </a:cubicBezTo>
                  <a:cubicBezTo>
                    <a:pt x="66" y="731"/>
                    <a:pt x="68" y="727"/>
                    <a:pt x="68" y="720"/>
                  </a:cubicBezTo>
                  <a:cubicBezTo>
                    <a:pt x="68" y="697"/>
                    <a:pt x="68" y="674"/>
                    <a:pt x="68" y="651"/>
                  </a:cubicBezTo>
                  <a:cubicBezTo>
                    <a:pt x="68" y="628"/>
                    <a:pt x="68" y="605"/>
                    <a:pt x="68" y="581"/>
                  </a:cubicBezTo>
                  <a:close/>
                  <a:moveTo>
                    <a:pt x="278" y="1165"/>
                  </a:moveTo>
                  <a:cubicBezTo>
                    <a:pt x="278" y="1183"/>
                    <a:pt x="278" y="1183"/>
                    <a:pt x="296" y="1184"/>
                  </a:cubicBezTo>
                  <a:cubicBezTo>
                    <a:pt x="310" y="1184"/>
                    <a:pt x="310" y="1184"/>
                    <a:pt x="310" y="1169"/>
                  </a:cubicBezTo>
                  <a:cubicBezTo>
                    <a:pt x="310" y="1132"/>
                    <a:pt x="310" y="1095"/>
                    <a:pt x="310" y="1058"/>
                  </a:cubicBezTo>
                  <a:cubicBezTo>
                    <a:pt x="310" y="1052"/>
                    <a:pt x="312" y="1047"/>
                    <a:pt x="316" y="1042"/>
                  </a:cubicBezTo>
                  <a:cubicBezTo>
                    <a:pt x="324" y="1033"/>
                    <a:pt x="334" y="1027"/>
                    <a:pt x="345" y="1024"/>
                  </a:cubicBezTo>
                  <a:cubicBezTo>
                    <a:pt x="357" y="1020"/>
                    <a:pt x="371" y="1018"/>
                    <a:pt x="383" y="1028"/>
                  </a:cubicBezTo>
                  <a:cubicBezTo>
                    <a:pt x="397" y="1039"/>
                    <a:pt x="401" y="1054"/>
                    <a:pt x="401" y="1071"/>
                  </a:cubicBezTo>
                  <a:cubicBezTo>
                    <a:pt x="401" y="1102"/>
                    <a:pt x="401" y="1132"/>
                    <a:pt x="401" y="1163"/>
                  </a:cubicBezTo>
                  <a:cubicBezTo>
                    <a:pt x="401" y="1183"/>
                    <a:pt x="401" y="1182"/>
                    <a:pt x="420" y="1184"/>
                  </a:cubicBezTo>
                  <a:cubicBezTo>
                    <a:pt x="429" y="1185"/>
                    <a:pt x="433" y="1181"/>
                    <a:pt x="433" y="1173"/>
                  </a:cubicBezTo>
                  <a:cubicBezTo>
                    <a:pt x="432" y="1130"/>
                    <a:pt x="435" y="1087"/>
                    <a:pt x="431" y="1044"/>
                  </a:cubicBezTo>
                  <a:cubicBezTo>
                    <a:pt x="427" y="1014"/>
                    <a:pt x="404" y="996"/>
                    <a:pt x="376" y="994"/>
                  </a:cubicBezTo>
                  <a:cubicBezTo>
                    <a:pt x="353" y="992"/>
                    <a:pt x="333" y="1000"/>
                    <a:pt x="317" y="1017"/>
                  </a:cubicBezTo>
                  <a:cubicBezTo>
                    <a:pt x="312" y="1021"/>
                    <a:pt x="311" y="1019"/>
                    <a:pt x="309" y="1015"/>
                  </a:cubicBezTo>
                  <a:cubicBezTo>
                    <a:pt x="309" y="1013"/>
                    <a:pt x="308" y="1011"/>
                    <a:pt x="308" y="1008"/>
                  </a:cubicBezTo>
                  <a:cubicBezTo>
                    <a:pt x="306" y="1001"/>
                    <a:pt x="298" y="997"/>
                    <a:pt x="287" y="998"/>
                  </a:cubicBezTo>
                  <a:cubicBezTo>
                    <a:pt x="279" y="999"/>
                    <a:pt x="278" y="1004"/>
                    <a:pt x="278" y="1011"/>
                  </a:cubicBezTo>
                  <a:cubicBezTo>
                    <a:pt x="278" y="1037"/>
                    <a:pt x="278" y="1064"/>
                    <a:pt x="278" y="1091"/>
                  </a:cubicBezTo>
                  <a:cubicBezTo>
                    <a:pt x="278" y="1115"/>
                    <a:pt x="278" y="1140"/>
                    <a:pt x="278" y="1165"/>
                  </a:cubicBezTo>
                  <a:close/>
                  <a:moveTo>
                    <a:pt x="150" y="705"/>
                  </a:moveTo>
                  <a:cubicBezTo>
                    <a:pt x="150" y="734"/>
                    <a:pt x="145" y="730"/>
                    <a:pt x="176" y="731"/>
                  </a:cubicBezTo>
                  <a:cubicBezTo>
                    <a:pt x="185" y="731"/>
                    <a:pt x="187" y="727"/>
                    <a:pt x="187" y="719"/>
                  </a:cubicBezTo>
                  <a:cubicBezTo>
                    <a:pt x="187" y="685"/>
                    <a:pt x="187" y="651"/>
                    <a:pt x="187" y="618"/>
                  </a:cubicBezTo>
                  <a:cubicBezTo>
                    <a:pt x="187" y="597"/>
                    <a:pt x="204" y="578"/>
                    <a:pt x="225" y="574"/>
                  </a:cubicBezTo>
                  <a:cubicBezTo>
                    <a:pt x="232" y="572"/>
                    <a:pt x="240" y="574"/>
                    <a:pt x="247" y="575"/>
                  </a:cubicBezTo>
                  <a:cubicBezTo>
                    <a:pt x="257" y="576"/>
                    <a:pt x="261" y="572"/>
                    <a:pt x="265" y="564"/>
                  </a:cubicBezTo>
                  <a:cubicBezTo>
                    <a:pt x="269" y="556"/>
                    <a:pt x="267" y="542"/>
                    <a:pt x="261" y="540"/>
                  </a:cubicBezTo>
                  <a:cubicBezTo>
                    <a:pt x="253" y="538"/>
                    <a:pt x="244" y="534"/>
                    <a:pt x="237" y="536"/>
                  </a:cubicBezTo>
                  <a:cubicBezTo>
                    <a:pt x="228" y="537"/>
                    <a:pt x="217" y="537"/>
                    <a:pt x="209" y="544"/>
                  </a:cubicBezTo>
                  <a:cubicBezTo>
                    <a:pt x="204" y="549"/>
                    <a:pt x="198" y="553"/>
                    <a:pt x="194" y="558"/>
                  </a:cubicBezTo>
                  <a:cubicBezTo>
                    <a:pt x="192" y="561"/>
                    <a:pt x="189" y="563"/>
                    <a:pt x="185" y="562"/>
                  </a:cubicBezTo>
                  <a:cubicBezTo>
                    <a:pt x="182" y="561"/>
                    <a:pt x="182" y="558"/>
                    <a:pt x="182" y="556"/>
                  </a:cubicBezTo>
                  <a:cubicBezTo>
                    <a:pt x="180" y="539"/>
                    <a:pt x="179" y="539"/>
                    <a:pt x="162" y="539"/>
                  </a:cubicBezTo>
                  <a:cubicBezTo>
                    <a:pt x="151" y="539"/>
                    <a:pt x="150" y="540"/>
                    <a:pt x="150" y="551"/>
                  </a:cubicBezTo>
                  <a:cubicBezTo>
                    <a:pt x="150" y="579"/>
                    <a:pt x="150" y="607"/>
                    <a:pt x="150" y="635"/>
                  </a:cubicBezTo>
                  <a:cubicBezTo>
                    <a:pt x="150" y="658"/>
                    <a:pt x="149" y="682"/>
                    <a:pt x="150" y="705"/>
                  </a:cubicBezTo>
                  <a:close/>
                  <a:moveTo>
                    <a:pt x="1011" y="1049"/>
                  </a:moveTo>
                  <a:cubicBezTo>
                    <a:pt x="1011" y="1008"/>
                    <a:pt x="1011" y="966"/>
                    <a:pt x="1011" y="924"/>
                  </a:cubicBezTo>
                  <a:cubicBezTo>
                    <a:pt x="1011" y="913"/>
                    <a:pt x="1008" y="910"/>
                    <a:pt x="997" y="910"/>
                  </a:cubicBezTo>
                  <a:cubicBezTo>
                    <a:pt x="995" y="910"/>
                    <a:pt x="992" y="910"/>
                    <a:pt x="990" y="910"/>
                  </a:cubicBezTo>
                  <a:cubicBezTo>
                    <a:pt x="976" y="910"/>
                    <a:pt x="975" y="911"/>
                    <a:pt x="975" y="926"/>
                  </a:cubicBezTo>
                  <a:cubicBezTo>
                    <a:pt x="975" y="1006"/>
                    <a:pt x="975" y="1085"/>
                    <a:pt x="975" y="1165"/>
                  </a:cubicBezTo>
                  <a:cubicBezTo>
                    <a:pt x="975" y="1185"/>
                    <a:pt x="975" y="1185"/>
                    <a:pt x="994" y="1185"/>
                  </a:cubicBezTo>
                  <a:cubicBezTo>
                    <a:pt x="1009" y="1185"/>
                    <a:pt x="1011" y="1184"/>
                    <a:pt x="1011" y="1169"/>
                  </a:cubicBezTo>
                  <a:cubicBezTo>
                    <a:pt x="1011" y="1129"/>
                    <a:pt x="1011" y="1089"/>
                    <a:pt x="1011" y="1049"/>
                  </a:cubicBezTo>
                  <a:cubicBezTo>
                    <a:pt x="1011" y="1049"/>
                    <a:pt x="1011" y="1049"/>
                    <a:pt x="1011" y="1049"/>
                  </a:cubicBezTo>
                  <a:close/>
                  <a:moveTo>
                    <a:pt x="296" y="176"/>
                  </a:moveTo>
                  <a:cubicBezTo>
                    <a:pt x="296" y="201"/>
                    <a:pt x="296" y="226"/>
                    <a:pt x="296" y="251"/>
                  </a:cubicBezTo>
                  <a:cubicBezTo>
                    <a:pt x="295" y="276"/>
                    <a:pt x="296" y="274"/>
                    <a:pt x="318" y="274"/>
                  </a:cubicBezTo>
                  <a:cubicBezTo>
                    <a:pt x="330" y="274"/>
                    <a:pt x="331" y="274"/>
                    <a:pt x="331" y="260"/>
                  </a:cubicBezTo>
                  <a:cubicBezTo>
                    <a:pt x="331" y="232"/>
                    <a:pt x="331" y="204"/>
                    <a:pt x="331" y="176"/>
                  </a:cubicBezTo>
                  <a:cubicBezTo>
                    <a:pt x="331" y="165"/>
                    <a:pt x="331" y="155"/>
                    <a:pt x="337" y="145"/>
                  </a:cubicBezTo>
                  <a:cubicBezTo>
                    <a:pt x="349" y="123"/>
                    <a:pt x="359" y="117"/>
                    <a:pt x="377" y="118"/>
                  </a:cubicBezTo>
                  <a:cubicBezTo>
                    <a:pt x="383" y="118"/>
                    <a:pt x="389" y="119"/>
                    <a:pt x="395" y="120"/>
                  </a:cubicBezTo>
                  <a:cubicBezTo>
                    <a:pt x="401" y="120"/>
                    <a:pt x="407" y="118"/>
                    <a:pt x="408" y="112"/>
                  </a:cubicBezTo>
                  <a:cubicBezTo>
                    <a:pt x="409" y="103"/>
                    <a:pt x="415" y="93"/>
                    <a:pt x="407" y="85"/>
                  </a:cubicBezTo>
                  <a:cubicBezTo>
                    <a:pt x="406" y="84"/>
                    <a:pt x="404" y="84"/>
                    <a:pt x="402" y="84"/>
                  </a:cubicBezTo>
                  <a:cubicBezTo>
                    <a:pt x="376" y="78"/>
                    <a:pt x="353" y="82"/>
                    <a:pt x="337" y="106"/>
                  </a:cubicBezTo>
                  <a:cubicBezTo>
                    <a:pt x="336" y="108"/>
                    <a:pt x="335" y="110"/>
                    <a:pt x="333" y="109"/>
                  </a:cubicBezTo>
                  <a:cubicBezTo>
                    <a:pt x="331" y="109"/>
                    <a:pt x="330" y="107"/>
                    <a:pt x="330" y="105"/>
                  </a:cubicBezTo>
                  <a:cubicBezTo>
                    <a:pt x="329" y="101"/>
                    <a:pt x="329" y="97"/>
                    <a:pt x="328" y="94"/>
                  </a:cubicBezTo>
                  <a:cubicBezTo>
                    <a:pt x="325" y="85"/>
                    <a:pt x="318" y="82"/>
                    <a:pt x="303" y="84"/>
                  </a:cubicBezTo>
                  <a:cubicBezTo>
                    <a:pt x="297" y="84"/>
                    <a:pt x="295" y="86"/>
                    <a:pt x="295" y="92"/>
                  </a:cubicBezTo>
                  <a:cubicBezTo>
                    <a:pt x="296" y="120"/>
                    <a:pt x="295" y="148"/>
                    <a:pt x="295" y="176"/>
                  </a:cubicBezTo>
                  <a:cubicBezTo>
                    <a:pt x="296" y="176"/>
                    <a:pt x="296" y="176"/>
                    <a:pt x="296" y="176"/>
                  </a:cubicBezTo>
                  <a:close/>
                  <a:moveTo>
                    <a:pt x="946" y="179"/>
                  </a:moveTo>
                  <a:cubicBezTo>
                    <a:pt x="946" y="197"/>
                    <a:pt x="946" y="215"/>
                    <a:pt x="946" y="234"/>
                  </a:cubicBezTo>
                  <a:cubicBezTo>
                    <a:pt x="946" y="248"/>
                    <a:pt x="951" y="260"/>
                    <a:pt x="963" y="268"/>
                  </a:cubicBezTo>
                  <a:cubicBezTo>
                    <a:pt x="982" y="280"/>
                    <a:pt x="1011" y="277"/>
                    <a:pt x="1029" y="264"/>
                  </a:cubicBezTo>
                  <a:cubicBezTo>
                    <a:pt x="1036" y="259"/>
                    <a:pt x="1036" y="254"/>
                    <a:pt x="1032" y="248"/>
                  </a:cubicBezTo>
                  <a:cubicBezTo>
                    <a:pt x="1026" y="239"/>
                    <a:pt x="1020" y="238"/>
                    <a:pt x="1013" y="242"/>
                  </a:cubicBezTo>
                  <a:cubicBezTo>
                    <a:pt x="996" y="252"/>
                    <a:pt x="978" y="243"/>
                    <a:pt x="978" y="223"/>
                  </a:cubicBezTo>
                  <a:cubicBezTo>
                    <a:pt x="978" y="190"/>
                    <a:pt x="978" y="157"/>
                    <a:pt x="978" y="123"/>
                  </a:cubicBezTo>
                  <a:cubicBezTo>
                    <a:pt x="978" y="116"/>
                    <a:pt x="981" y="113"/>
                    <a:pt x="988" y="113"/>
                  </a:cubicBezTo>
                  <a:cubicBezTo>
                    <a:pt x="999" y="114"/>
                    <a:pt x="1011" y="113"/>
                    <a:pt x="1022" y="113"/>
                  </a:cubicBezTo>
                  <a:cubicBezTo>
                    <a:pt x="1028" y="113"/>
                    <a:pt x="1033" y="112"/>
                    <a:pt x="1033" y="104"/>
                  </a:cubicBezTo>
                  <a:cubicBezTo>
                    <a:pt x="1033" y="96"/>
                    <a:pt x="1032" y="90"/>
                    <a:pt x="1022" y="90"/>
                  </a:cubicBezTo>
                  <a:cubicBezTo>
                    <a:pt x="1011" y="90"/>
                    <a:pt x="1001" y="90"/>
                    <a:pt x="990" y="90"/>
                  </a:cubicBezTo>
                  <a:cubicBezTo>
                    <a:pt x="981" y="91"/>
                    <a:pt x="977" y="88"/>
                    <a:pt x="978" y="78"/>
                  </a:cubicBezTo>
                  <a:cubicBezTo>
                    <a:pt x="978" y="64"/>
                    <a:pt x="978" y="49"/>
                    <a:pt x="978" y="35"/>
                  </a:cubicBezTo>
                  <a:cubicBezTo>
                    <a:pt x="978" y="30"/>
                    <a:pt x="978" y="25"/>
                    <a:pt x="971" y="24"/>
                  </a:cubicBezTo>
                  <a:cubicBezTo>
                    <a:pt x="964" y="24"/>
                    <a:pt x="956" y="24"/>
                    <a:pt x="955" y="32"/>
                  </a:cubicBezTo>
                  <a:cubicBezTo>
                    <a:pt x="952" y="43"/>
                    <a:pt x="949" y="54"/>
                    <a:pt x="949" y="65"/>
                  </a:cubicBezTo>
                  <a:cubicBezTo>
                    <a:pt x="948" y="88"/>
                    <a:pt x="947" y="88"/>
                    <a:pt x="924" y="91"/>
                  </a:cubicBezTo>
                  <a:cubicBezTo>
                    <a:pt x="919" y="92"/>
                    <a:pt x="914" y="92"/>
                    <a:pt x="914" y="99"/>
                  </a:cubicBezTo>
                  <a:cubicBezTo>
                    <a:pt x="915" y="107"/>
                    <a:pt x="917" y="113"/>
                    <a:pt x="926" y="113"/>
                  </a:cubicBezTo>
                  <a:cubicBezTo>
                    <a:pt x="929" y="114"/>
                    <a:pt x="932" y="113"/>
                    <a:pt x="935" y="113"/>
                  </a:cubicBezTo>
                  <a:cubicBezTo>
                    <a:pt x="943" y="113"/>
                    <a:pt x="946" y="116"/>
                    <a:pt x="946" y="124"/>
                  </a:cubicBezTo>
                  <a:cubicBezTo>
                    <a:pt x="946" y="142"/>
                    <a:pt x="946" y="161"/>
                    <a:pt x="946" y="179"/>
                  </a:cubicBezTo>
                  <a:cubicBezTo>
                    <a:pt x="946" y="179"/>
                    <a:pt x="946" y="179"/>
                    <a:pt x="946" y="179"/>
                  </a:cubicBezTo>
                  <a:close/>
                </a:path>
              </a:pathLst>
            </a:custGeom>
            <a:solidFill>
              <a:srgbClr val="4C505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grpSp>
          <p:nvGrpSpPr>
            <p:cNvPr id="18" name="Group 4">
              <a:extLst>
                <a:ext uri="{FF2B5EF4-FFF2-40B4-BE49-F238E27FC236}">
                  <a16:creationId xmlns:a16="http://schemas.microsoft.com/office/drawing/2014/main" id="{57BD2C4C-DC67-B843-B26C-309622FC75F7}"/>
                </a:ext>
              </a:extLst>
            </p:cNvPr>
            <p:cNvGrpSpPr>
              <a:grpSpLocks noChangeAspect="1"/>
            </p:cNvGrpSpPr>
            <p:nvPr/>
          </p:nvGrpSpPr>
          <p:grpSpPr bwMode="gray">
            <a:xfrm>
              <a:off x="334963" y="296652"/>
              <a:ext cx="538094" cy="540000"/>
              <a:chOff x="2711" y="1027"/>
              <a:chExt cx="2258" cy="2266"/>
            </a:xfrm>
          </p:grpSpPr>
          <p:sp>
            <p:nvSpPr>
              <p:cNvPr id="19" name="AutoShape 3">
                <a:extLst>
                  <a:ext uri="{FF2B5EF4-FFF2-40B4-BE49-F238E27FC236}">
                    <a16:creationId xmlns:a16="http://schemas.microsoft.com/office/drawing/2014/main" id="{FE1DC41B-291E-574C-9F2C-874E70A40758}"/>
                  </a:ext>
                </a:extLst>
              </p:cNvPr>
              <p:cNvSpPr>
                <a:spLocks noChangeAspect="1" noChangeArrowheads="1" noTextEdit="1"/>
              </p:cNvSpPr>
              <p:nvPr/>
            </p:nvSpPr>
            <p:spPr bwMode="gray">
              <a:xfrm>
                <a:off x="2711" y="1027"/>
                <a:ext cx="2258" cy="22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20" name="Freeform 5">
                <a:extLst>
                  <a:ext uri="{FF2B5EF4-FFF2-40B4-BE49-F238E27FC236}">
                    <a16:creationId xmlns:a16="http://schemas.microsoft.com/office/drawing/2014/main" id="{D4B633C8-F761-C54B-9BD2-EB59D49A2DBC}"/>
                  </a:ext>
                </a:extLst>
              </p:cNvPr>
              <p:cNvSpPr>
                <a:spLocks/>
              </p:cNvSpPr>
              <p:nvPr/>
            </p:nvSpPr>
            <p:spPr bwMode="gray">
              <a:xfrm>
                <a:off x="2709" y="1029"/>
                <a:ext cx="2260" cy="2262"/>
              </a:xfrm>
              <a:custGeom>
                <a:avLst/>
                <a:gdLst>
                  <a:gd name="T0" fmla="*/ 2260 w 2260"/>
                  <a:gd name="T1" fmla="*/ 0 h 2262"/>
                  <a:gd name="T2" fmla="*/ 1612 w 2260"/>
                  <a:gd name="T3" fmla="*/ 649 h 2262"/>
                  <a:gd name="T4" fmla="*/ 1612 w 2260"/>
                  <a:gd name="T5" fmla="*/ 649 h 2262"/>
                  <a:gd name="T6" fmla="*/ 2035 w 2260"/>
                  <a:gd name="T7" fmla="*/ 0 h 2262"/>
                  <a:gd name="T8" fmla="*/ 0 w 2260"/>
                  <a:gd name="T9" fmla="*/ 0 h 2262"/>
                  <a:gd name="T10" fmla="*/ 0 w 2260"/>
                  <a:gd name="T11" fmla="*/ 2262 h 2262"/>
                  <a:gd name="T12" fmla="*/ 2260 w 2260"/>
                  <a:gd name="T13" fmla="*/ 2262 h 2262"/>
                  <a:gd name="T14" fmla="*/ 2260 w 2260"/>
                  <a:gd name="T15" fmla="*/ 0 h 2262"/>
                  <a:gd name="T16" fmla="*/ 2260 w 2260"/>
                  <a:gd name="T17" fmla="*/ 0 h 2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0" h="2262">
                    <a:moveTo>
                      <a:pt x="2260" y="0"/>
                    </a:moveTo>
                    <a:lnTo>
                      <a:pt x="1612" y="649"/>
                    </a:lnTo>
                    <a:lnTo>
                      <a:pt x="1612" y="649"/>
                    </a:lnTo>
                    <a:lnTo>
                      <a:pt x="2035" y="0"/>
                    </a:lnTo>
                    <a:lnTo>
                      <a:pt x="0" y="0"/>
                    </a:lnTo>
                    <a:lnTo>
                      <a:pt x="0" y="2262"/>
                    </a:lnTo>
                    <a:lnTo>
                      <a:pt x="2260" y="2262"/>
                    </a:lnTo>
                    <a:lnTo>
                      <a:pt x="2260" y="0"/>
                    </a:lnTo>
                    <a:lnTo>
                      <a:pt x="2260" y="0"/>
                    </a:lnTo>
                    <a:close/>
                  </a:path>
                </a:pathLst>
              </a:custGeom>
              <a:solidFill>
                <a:srgbClr val="E55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21" name="Freeform 6">
                <a:extLst>
                  <a:ext uri="{FF2B5EF4-FFF2-40B4-BE49-F238E27FC236}">
                    <a16:creationId xmlns:a16="http://schemas.microsoft.com/office/drawing/2014/main" id="{B16BAAE4-1A41-C843-9754-490F7A1E1270}"/>
                  </a:ext>
                </a:extLst>
              </p:cNvPr>
              <p:cNvSpPr>
                <a:spLocks noEditPoints="1"/>
              </p:cNvSpPr>
              <p:nvPr/>
            </p:nvSpPr>
            <p:spPr bwMode="gray">
              <a:xfrm>
                <a:off x="3623" y="1696"/>
                <a:ext cx="1167" cy="922"/>
              </a:xfrm>
              <a:custGeom>
                <a:avLst/>
                <a:gdLst>
                  <a:gd name="T0" fmla="*/ 411 w 580"/>
                  <a:gd name="T1" fmla="*/ 213 h 458"/>
                  <a:gd name="T2" fmla="*/ 570 w 580"/>
                  <a:gd name="T3" fmla="*/ 37 h 458"/>
                  <a:gd name="T4" fmla="*/ 580 w 580"/>
                  <a:gd name="T5" fmla="*/ 20 h 458"/>
                  <a:gd name="T6" fmla="*/ 545 w 580"/>
                  <a:gd name="T7" fmla="*/ 0 h 458"/>
                  <a:gd name="T8" fmla="*/ 519 w 580"/>
                  <a:gd name="T9" fmla="*/ 16 h 458"/>
                  <a:gd name="T10" fmla="*/ 344 w 580"/>
                  <a:gd name="T11" fmla="*/ 210 h 458"/>
                  <a:gd name="T12" fmla="*/ 334 w 580"/>
                  <a:gd name="T13" fmla="*/ 229 h 458"/>
                  <a:gd name="T14" fmla="*/ 344 w 580"/>
                  <a:gd name="T15" fmla="*/ 248 h 458"/>
                  <a:gd name="T16" fmla="*/ 519 w 580"/>
                  <a:gd name="T17" fmla="*/ 442 h 458"/>
                  <a:gd name="T18" fmla="*/ 545 w 580"/>
                  <a:gd name="T19" fmla="*/ 458 h 458"/>
                  <a:gd name="T20" fmla="*/ 580 w 580"/>
                  <a:gd name="T21" fmla="*/ 438 h 458"/>
                  <a:gd name="T22" fmla="*/ 570 w 580"/>
                  <a:gd name="T23" fmla="*/ 421 h 458"/>
                  <a:gd name="T24" fmla="*/ 411 w 580"/>
                  <a:gd name="T25" fmla="*/ 245 h 458"/>
                  <a:gd name="T26" fmla="*/ 399 w 580"/>
                  <a:gd name="T27" fmla="*/ 229 h 458"/>
                  <a:gd name="T28" fmla="*/ 411 w 580"/>
                  <a:gd name="T29" fmla="*/ 213 h 458"/>
                  <a:gd name="T30" fmla="*/ 252 w 580"/>
                  <a:gd name="T31" fmla="*/ 439 h 458"/>
                  <a:gd name="T32" fmla="*/ 281 w 580"/>
                  <a:gd name="T33" fmla="*/ 454 h 458"/>
                  <a:gd name="T34" fmla="*/ 309 w 580"/>
                  <a:gd name="T35" fmla="*/ 439 h 458"/>
                  <a:gd name="T36" fmla="*/ 309 w 580"/>
                  <a:gd name="T37" fmla="*/ 19 h 458"/>
                  <a:gd name="T38" fmla="*/ 281 w 580"/>
                  <a:gd name="T39" fmla="*/ 4 h 458"/>
                  <a:gd name="T40" fmla="*/ 252 w 580"/>
                  <a:gd name="T41" fmla="*/ 19 h 458"/>
                  <a:gd name="T42" fmla="*/ 252 w 580"/>
                  <a:gd name="T43" fmla="*/ 439 h 458"/>
                  <a:gd name="T44" fmla="*/ 0 w 580"/>
                  <a:gd name="T45" fmla="*/ 439 h 458"/>
                  <a:gd name="T46" fmla="*/ 28 w 580"/>
                  <a:gd name="T47" fmla="*/ 454 h 458"/>
                  <a:gd name="T48" fmla="*/ 56 w 580"/>
                  <a:gd name="T49" fmla="*/ 439 h 458"/>
                  <a:gd name="T50" fmla="*/ 56 w 580"/>
                  <a:gd name="T51" fmla="*/ 157 h 458"/>
                  <a:gd name="T52" fmla="*/ 165 w 580"/>
                  <a:gd name="T53" fmla="*/ 53 h 458"/>
                  <a:gd name="T54" fmla="*/ 180 w 580"/>
                  <a:gd name="T55" fmla="*/ 53 h 458"/>
                  <a:gd name="T56" fmla="*/ 196 w 580"/>
                  <a:gd name="T57" fmla="*/ 27 h 458"/>
                  <a:gd name="T58" fmla="*/ 154 w 580"/>
                  <a:gd name="T59" fmla="*/ 4 h 458"/>
                  <a:gd name="T60" fmla="*/ 0 w 580"/>
                  <a:gd name="T61" fmla="*/ 152 h 458"/>
                  <a:gd name="T62" fmla="*/ 0 w 580"/>
                  <a:gd name="T63" fmla="*/ 439 h 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80" h="458">
                    <a:moveTo>
                      <a:pt x="411" y="213"/>
                    </a:moveTo>
                    <a:cubicBezTo>
                      <a:pt x="570" y="37"/>
                      <a:pt x="570" y="37"/>
                      <a:pt x="570" y="37"/>
                    </a:cubicBezTo>
                    <a:cubicBezTo>
                      <a:pt x="576" y="30"/>
                      <a:pt x="580" y="25"/>
                      <a:pt x="580" y="20"/>
                    </a:cubicBezTo>
                    <a:cubicBezTo>
                      <a:pt x="580" y="10"/>
                      <a:pt x="559" y="0"/>
                      <a:pt x="545" y="0"/>
                    </a:cubicBezTo>
                    <a:cubicBezTo>
                      <a:pt x="535" y="0"/>
                      <a:pt x="526" y="8"/>
                      <a:pt x="519" y="16"/>
                    </a:cubicBezTo>
                    <a:cubicBezTo>
                      <a:pt x="344" y="210"/>
                      <a:pt x="344" y="210"/>
                      <a:pt x="344" y="210"/>
                    </a:cubicBezTo>
                    <a:cubicBezTo>
                      <a:pt x="336" y="219"/>
                      <a:pt x="334" y="224"/>
                      <a:pt x="334" y="229"/>
                    </a:cubicBezTo>
                    <a:cubicBezTo>
                      <a:pt x="334" y="234"/>
                      <a:pt x="336" y="239"/>
                      <a:pt x="344" y="248"/>
                    </a:cubicBezTo>
                    <a:cubicBezTo>
                      <a:pt x="519" y="442"/>
                      <a:pt x="519" y="442"/>
                      <a:pt x="519" y="442"/>
                    </a:cubicBezTo>
                    <a:cubicBezTo>
                      <a:pt x="526" y="450"/>
                      <a:pt x="535" y="458"/>
                      <a:pt x="545" y="458"/>
                    </a:cubicBezTo>
                    <a:cubicBezTo>
                      <a:pt x="559" y="458"/>
                      <a:pt x="580" y="448"/>
                      <a:pt x="580" y="438"/>
                    </a:cubicBezTo>
                    <a:cubicBezTo>
                      <a:pt x="580" y="433"/>
                      <a:pt x="576" y="428"/>
                      <a:pt x="570" y="421"/>
                    </a:cubicBezTo>
                    <a:cubicBezTo>
                      <a:pt x="411" y="245"/>
                      <a:pt x="411" y="245"/>
                      <a:pt x="411" y="245"/>
                    </a:cubicBezTo>
                    <a:cubicBezTo>
                      <a:pt x="403" y="236"/>
                      <a:pt x="399" y="232"/>
                      <a:pt x="399" y="229"/>
                    </a:cubicBezTo>
                    <a:cubicBezTo>
                      <a:pt x="399" y="226"/>
                      <a:pt x="403" y="222"/>
                      <a:pt x="411" y="213"/>
                    </a:cubicBezTo>
                    <a:moveTo>
                      <a:pt x="252" y="439"/>
                    </a:moveTo>
                    <a:cubicBezTo>
                      <a:pt x="252" y="449"/>
                      <a:pt x="261" y="454"/>
                      <a:pt x="281" y="454"/>
                    </a:cubicBezTo>
                    <a:cubicBezTo>
                      <a:pt x="300" y="454"/>
                      <a:pt x="309" y="449"/>
                      <a:pt x="309" y="439"/>
                    </a:cubicBezTo>
                    <a:cubicBezTo>
                      <a:pt x="309" y="19"/>
                      <a:pt x="309" y="19"/>
                      <a:pt x="309" y="19"/>
                    </a:cubicBezTo>
                    <a:cubicBezTo>
                      <a:pt x="309" y="9"/>
                      <a:pt x="300" y="4"/>
                      <a:pt x="281" y="4"/>
                    </a:cubicBezTo>
                    <a:cubicBezTo>
                      <a:pt x="261" y="4"/>
                      <a:pt x="252" y="9"/>
                      <a:pt x="252" y="19"/>
                    </a:cubicBezTo>
                    <a:lnTo>
                      <a:pt x="252" y="439"/>
                    </a:lnTo>
                    <a:close/>
                    <a:moveTo>
                      <a:pt x="0" y="439"/>
                    </a:moveTo>
                    <a:cubicBezTo>
                      <a:pt x="0" y="449"/>
                      <a:pt x="8" y="454"/>
                      <a:pt x="28" y="454"/>
                    </a:cubicBezTo>
                    <a:cubicBezTo>
                      <a:pt x="48" y="454"/>
                      <a:pt x="56" y="449"/>
                      <a:pt x="56" y="439"/>
                    </a:cubicBezTo>
                    <a:cubicBezTo>
                      <a:pt x="56" y="157"/>
                      <a:pt x="56" y="157"/>
                      <a:pt x="56" y="157"/>
                    </a:cubicBezTo>
                    <a:cubicBezTo>
                      <a:pt x="56" y="83"/>
                      <a:pt x="85" y="53"/>
                      <a:pt x="165" y="53"/>
                    </a:cubicBezTo>
                    <a:cubicBezTo>
                      <a:pt x="180" y="53"/>
                      <a:pt x="180" y="53"/>
                      <a:pt x="180" y="53"/>
                    </a:cubicBezTo>
                    <a:cubicBezTo>
                      <a:pt x="192" y="53"/>
                      <a:pt x="196" y="43"/>
                      <a:pt x="196" y="27"/>
                    </a:cubicBezTo>
                    <a:cubicBezTo>
                      <a:pt x="196" y="8"/>
                      <a:pt x="185" y="4"/>
                      <a:pt x="154" y="4"/>
                    </a:cubicBezTo>
                    <a:cubicBezTo>
                      <a:pt x="64" y="4"/>
                      <a:pt x="0" y="43"/>
                      <a:pt x="0" y="152"/>
                    </a:cubicBezTo>
                    <a:lnTo>
                      <a:pt x="0" y="43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22" name="Freeform 7">
                <a:extLst>
                  <a:ext uri="{FF2B5EF4-FFF2-40B4-BE49-F238E27FC236}">
                    <a16:creationId xmlns:a16="http://schemas.microsoft.com/office/drawing/2014/main" id="{2F32DCBD-8628-F245-85CD-97686A20ECFD}"/>
                  </a:ext>
                </a:extLst>
              </p:cNvPr>
              <p:cNvSpPr>
                <a:spLocks/>
              </p:cNvSpPr>
              <p:nvPr/>
            </p:nvSpPr>
            <p:spPr bwMode="gray">
              <a:xfrm>
                <a:off x="2880" y="1704"/>
                <a:ext cx="618" cy="916"/>
              </a:xfrm>
              <a:custGeom>
                <a:avLst/>
                <a:gdLst>
                  <a:gd name="T0" fmla="*/ 307 w 307"/>
                  <a:gd name="T1" fmla="*/ 405 h 455"/>
                  <a:gd name="T2" fmla="*/ 307 w 307"/>
                  <a:gd name="T3" fmla="*/ 244 h 455"/>
                  <a:gd name="T4" fmla="*/ 279 w 307"/>
                  <a:gd name="T5" fmla="*/ 229 h 455"/>
                  <a:gd name="T6" fmla="*/ 250 w 307"/>
                  <a:gd name="T7" fmla="*/ 244 h 455"/>
                  <a:gd name="T8" fmla="*/ 250 w 307"/>
                  <a:gd name="T9" fmla="*/ 378 h 455"/>
                  <a:gd name="T10" fmla="*/ 199 w 307"/>
                  <a:gd name="T11" fmla="*/ 408 h 455"/>
                  <a:gd name="T12" fmla="*/ 61 w 307"/>
                  <a:gd name="T13" fmla="*/ 231 h 455"/>
                  <a:gd name="T14" fmla="*/ 238 w 307"/>
                  <a:gd name="T15" fmla="*/ 49 h 455"/>
                  <a:gd name="T16" fmla="*/ 270 w 307"/>
                  <a:gd name="T17" fmla="*/ 49 h 455"/>
                  <a:gd name="T18" fmla="*/ 286 w 307"/>
                  <a:gd name="T19" fmla="*/ 23 h 455"/>
                  <a:gd name="T20" fmla="*/ 244 w 307"/>
                  <a:gd name="T21" fmla="*/ 0 h 455"/>
                  <a:gd name="T22" fmla="*/ 231 w 307"/>
                  <a:gd name="T23" fmla="*/ 0 h 455"/>
                  <a:gd name="T24" fmla="*/ 0 w 307"/>
                  <a:gd name="T25" fmla="*/ 232 h 455"/>
                  <a:gd name="T26" fmla="*/ 198 w 307"/>
                  <a:gd name="T27" fmla="*/ 455 h 455"/>
                  <a:gd name="T28" fmla="*/ 307 w 307"/>
                  <a:gd name="T29" fmla="*/ 405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7" h="455">
                    <a:moveTo>
                      <a:pt x="307" y="405"/>
                    </a:moveTo>
                    <a:cubicBezTo>
                      <a:pt x="307" y="244"/>
                      <a:pt x="307" y="244"/>
                      <a:pt x="307" y="244"/>
                    </a:cubicBezTo>
                    <a:cubicBezTo>
                      <a:pt x="307" y="234"/>
                      <a:pt x="298" y="229"/>
                      <a:pt x="279" y="229"/>
                    </a:cubicBezTo>
                    <a:cubicBezTo>
                      <a:pt x="259" y="229"/>
                      <a:pt x="250" y="234"/>
                      <a:pt x="250" y="244"/>
                    </a:cubicBezTo>
                    <a:cubicBezTo>
                      <a:pt x="250" y="378"/>
                      <a:pt x="250" y="378"/>
                      <a:pt x="250" y="378"/>
                    </a:cubicBezTo>
                    <a:cubicBezTo>
                      <a:pt x="250" y="399"/>
                      <a:pt x="241" y="408"/>
                      <a:pt x="199" y="408"/>
                    </a:cubicBezTo>
                    <a:cubicBezTo>
                      <a:pt x="114" y="408"/>
                      <a:pt x="61" y="342"/>
                      <a:pt x="61" y="231"/>
                    </a:cubicBezTo>
                    <a:cubicBezTo>
                      <a:pt x="61" y="115"/>
                      <a:pt x="126" y="49"/>
                      <a:pt x="238" y="49"/>
                    </a:cubicBezTo>
                    <a:cubicBezTo>
                      <a:pt x="270" y="49"/>
                      <a:pt x="270" y="49"/>
                      <a:pt x="270" y="49"/>
                    </a:cubicBezTo>
                    <a:cubicBezTo>
                      <a:pt x="282" y="49"/>
                      <a:pt x="286" y="39"/>
                      <a:pt x="286" y="23"/>
                    </a:cubicBezTo>
                    <a:cubicBezTo>
                      <a:pt x="286" y="4"/>
                      <a:pt x="275" y="0"/>
                      <a:pt x="244" y="0"/>
                    </a:cubicBezTo>
                    <a:cubicBezTo>
                      <a:pt x="231" y="0"/>
                      <a:pt x="231" y="0"/>
                      <a:pt x="231" y="0"/>
                    </a:cubicBezTo>
                    <a:cubicBezTo>
                      <a:pt x="101" y="0"/>
                      <a:pt x="0" y="71"/>
                      <a:pt x="0" y="232"/>
                    </a:cubicBezTo>
                    <a:cubicBezTo>
                      <a:pt x="0" y="386"/>
                      <a:pt x="88" y="455"/>
                      <a:pt x="198" y="455"/>
                    </a:cubicBezTo>
                    <a:cubicBezTo>
                      <a:pt x="286" y="455"/>
                      <a:pt x="307" y="430"/>
                      <a:pt x="307" y="40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23" name="Oval 8">
                <a:extLst>
                  <a:ext uri="{FF2B5EF4-FFF2-40B4-BE49-F238E27FC236}">
                    <a16:creationId xmlns:a16="http://schemas.microsoft.com/office/drawing/2014/main" id="{60D97C11-1A3B-5449-A48D-98A3E79B3810}"/>
                  </a:ext>
                </a:extLst>
              </p:cNvPr>
              <p:cNvSpPr>
                <a:spLocks noChangeArrowheads="1"/>
              </p:cNvSpPr>
              <p:nvPr/>
            </p:nvSpPr>
            <p:spPr bwMode="gray">
              <a:xfrm>
                <a:off x="3778" y="2099"/>
                <a:ext cx="122" cy="12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24" name="Freeform 9">
                <a:extLst>
                  <a:ext uri="{FF2B5EF4-FFF2-40B4-BE49-F238E27FC236}">
                    <a16:creationId xmlns:a16="http://schemas.microsoft.com/office/drawing/2014/main" id="{5856770D-B8F0-244E-A05D-AED190086F10}"/>
                  </a:ext>
                </a:extLst>
              </p:cNvPr>
              <p:cNvSpPr>
                <a:spLocks noEditPoints="1"/>
              </p:cNvSpPr>
              <p:nvPr/>
            </p:nvSpPr>
            <p:spPr bwMode="gray">
              <a:xfrm>
                <a:off x="3623" y="1696"/>
                <a:ext cx="1167" cy="922"/>
              </a:xfrm>
              <a:custGeom>
                <a:avLst/>
                <a:gdLst>
                  <a:gd name="T0" fmla="*/ 411 w 580"/>
                  <a:gd name="T1" fmla="*/ 213 h 458"/>
                  <a:gd name="T2" fmla="*/ 570 w 580"/>
                  <a:gd name="T3" fmla="*/ 37 h 458"/>
                  <a:gd name="T4" fmla="*/ 580 w 580"/>
                  <a:gd name="T5" fmla="*/ 20 h 458"/>
                  <a:gd name="T6" fmla="*/ 545 w 580"/>
                  <a:gd name="T7" fmla="*/ 0 h 458"/>
                  <a:gd name="T8" fmla="*/ 519 w 580"/>
                  <a:gd name="T9" fmla="*/ 16 h 458"/>
                  <a:gd name="T10" fmla="*/ 344 w 580"/>
                  <a:gd name="T11" fmla="*/ 210 h 458"/>
                  <a:gd name="T12" fmla="*/ 334 w 580"/>
                  <a:gd name="T13" fmla="*/ 229 h 458"/>
                  <a:gd name="T14" fmla="*/ 344 w 580"/>
                  <a:gd name="T15" fmla="*/ 248 h 458"/>
                  <a:gd name="T16" fmla="*/ 519 w 580"/>
                  <a:gd name="T17" fmla="*/ 442 h 458"/>
                  <a:gd name="T18" fmla="*/ 545 w 580"/>
                  <a:gd name="T19" fmla="*/ 458 h 458"/>
                  <a:gd name="T20" fmla="*/ 580 w 580"/>
                  <a:gd name="T21" fmla="*/ 438 h 458"/>
                  <a:gd name="T22" fmla="*/ 570 w 580"/>
                  <a:gd name="T23" fmla="*/ 421 h 458"/>
                  <a:gd name="T24" fmla="*/ 411 w 580"/>
                  <a:gd name="T25" fmla="*/ 245 h 458"/>
                  <a:gd name="T26" fmla="*/ 399 w 580"/>
                  <a:gd name="T27" fmla="*/ 229 h 458"/>
                  <a:gd name="T28" fmla="*/ 411 w 580"/>
                  <a:gd name="T29" fmla="*/ 213 h 458"/>
                  <a:gd name="T30" fmla="*/ 252 w 580"/>
                  <a:gd name="T31" fmla="*/ 439 h 458"/>
                  <a:gd name="T32" fmla="*/ 281 w 580"/>
                  <a:gd name="T33" fmla="*/ 454 h 458"/>
                  <a:gd name="T34" fmla="*/ 309 w 580"/>
                  <a:gd name="T35" fmla="*/ 439 h 458"/>
                  <a:gd name="T36" fmla="*/ 309 w 580"/>
                  <a:gd name="T37" fmla="*/ 19 h 458"/>
                  <a:gd name="T38" fmla="*/ 281 w 580"/>
                  <a:gd name="T39" fmla="*/ 4 h 458"/>
                  <a:gd name="T40" fmla="*/ 252 w 580"/>
                  <a:gd name="T41" fmla="*/ 19 h 458"/>
                  <a:gd name="T42" fmla="*/ 252 w 580"/>
                  <a:gd name="T43" fmla="*/ 439 h 458"/>
                  <a:gd name="T44" fmla="*/ 0 w 580"/>
                  <a:gd name="T45" fmla="*/ 439 h 458"/>
                  <a:gd name="T46" fmla="*/ 28 w 580"/>
                  <a:gd name="T47" fmla="*/ 454 h 458"/>
                  <a:gd name="T48" fmla="*/ 56 w 580"/>
                  <a:gd name="T49" fmla="*/ 439 h 458"/>
                  <a:gd name="T50" fmla="*/ 56 w 580"/>
                  <a:gd name="T51" fmla="*/ 157 h 458"/>
                  <a:gd name="T52" fmla="*/ 165 w 580"/>
                  <a:gd name="T53" fmla="*/ 53 h 458"/>
                  <a:gd name="T54" fmla="*/ 180 w 580"/>
                  <a:gd name="T55" fmla="*/ 53 h 458"/>
                  <a:gd name="T56" fmla="*/ 196 w 580"/>
                  <a:gd name="T57" fmla="*/ 27 h 458"/>
                  <a:gd name="T58" fmla="*/ 154 w 580"/>
                  <a:gd name="T59" fmla="*/ 4 h 458"/>
                  <a:gd name="T60" fmla="*/ 0 w 580"/>
                  <a:gd name="T61" fmla="*/ 152 h 458"/>
                  <a:gd name="T62" fmla="*/ 0 w 580"/>
                  <a:gd name="T63" fmla="*/ 439 h 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80" h="458">
                    <a:moveTo>
                      <a:pt x="411" y="213"/>
                    </a:moveTo>
                    <a:cubicBezTo>
                      <a:pt x="570" y="37"/>
                      <a:pt x="570" y="37"/>
                      <a:pt x="570" y="37"/>
                    </a:cubicBezTo>
                    <a:cubicBezTo>
                      <a:pt x="576" y="30"/>
                      <a:pt x="580" y="25"/>
                      <a:pt x="580" y="20"/>
                    </a:cubicBezTo>
                    <a:cubicBezTo>
                      <a:pt x="580" y="10"/>
                      <a:pt x="559" y="0"/>
                      <a:pt x="545" y="0"/>
                    </a:cubicBezTo>
                    <a:cubicBezTo>
                      <a:pt x="535" y="0"/>
                      <a:pt x="526" y="8"/>
                      <a:pt x="519" y="16"/>
                    </a:cubicBezTo>
                    <a:cubicBezTo>
                      <a:pt x="344" y="210"/>
                      <a:pt x="344" y="210"/>
                      <a:pt x="344" y="210"/>
                    </a:cubicBezTo>
                    <a:cubicBezTo>
                      <a:pt x="336" y="219"/>
                      <a:pt x="334" y="224"/>
                      <a:pt x="334" y="229"/>
                    </a:cubicBezTo>
                    <a:cubicBezTo>
                      <a:pt x="334" y="234"/>
                      <a:pt x="336" y="239"/>
                      <a:pt x="344" y="248"/>
                    </a:cubicBezTo>
                    <a:cubicBezTo>
                      <a:pt x="519" y="442"/>
                      <a:pt x="519" y="442"/>
                      <a:pt x="519" y="442"/>
                    </a:cubicBezTo>
                    <a:cubicBezTo>
                      <a:pt x="526" y="450"/>
                      <a:pt x="535" y="458"/>
                      <a:pt x="545" y="458"/>
                    </a:cubicBezTo>
                    <a:cubicBezTo>
                      <a:pt x="559" y="458"/>
                      <a:pt x="580" y="448"/>
                      <a:pt x="580" y="438"/>
                    </a:cubicBezTo>
                    <a:cubicBezTo>
                      <a:pt x="580" y="433"/>
                      <a:pt x="576" y="428"/>
                      <a:pt x="570" y="421"/>
                    </a:cubicBezTo>
                    <a:cubicBezTo>
                      <a:pt x="411" y="245"/>
                      <a:pt x="411" y="245"/>
                      <a:pt x="411" y="245"/>
                    </a:cubicBezTo>
                    <a:cubicBezTo>
                      <a:pt x="403" y="236"/>
                      <a:pt x="399" y="232"/>
                      <a:pt x="399" y="229"/>
                    </a:cubicBezTo>
                    <a:cubicBezTo>
                      <a:pt x="399" y="226"/>
                      <a:pt x="403" y="222"/>
                      <a:pt x="411" y="213"/>
                    </a:cubicBezTo>
                    <a:moveTo>
                      <a:pt x="252" y="439"/>
                    </a:moveTo>
                    <a:cubicBezTo>
                      <a:pt x="252" y="449"/>
                      <a:pt x="261" y="454"/>
                      <a:pt x="281" y="454"/>
                    </a:cubicBezTo>
                    <a:cubicBezTo>
                      <a:pt x="300" y="454"/>
                      <a:pt x="309" y="449"/>
                      <a:pt x="309" y="439"/>
                    </a:cubicBezTo>
                    <a:cubicBezTo>
                      <a:pt x="309" y="19"/>
                      <a:pt x="309" y="19"/>
                      <a:pt x="309" y="19"/>
                    </a:cubicBezTo>
                    <a:cubicBezTo>
                      <a:pt x="309" y="9"/>
                      <a:pt x="300" y="4"/>
                      <a:pt x="281" y="4"/>
                    </a:cubicBezTo>
                    <a:cubicBezTo>
                      <a:pt x="261" y="4"/>
                      <a:pt x="252" y="9"/>
                      <a:pt x="252" y="19"/>
                    </a:cubicBezTo>
                    <a:lnTo>
                      <a:pt x="252" y="439"/>
                    </a:lnTo>
                    <a:close/>
                    <a:moveTo>
                      <a:pt x="0" y="439"/>
                    </a:moveTo>
                    <a:cubicBezTo>
                      <a:pt x="0" y="449"/>
                      <a:pt x="8" y="454"/>
                      <a:pt x="28" y="454"/>
                    </a:cubicBezTo>
                    <a:cubicBezTo>
                      <a:pt x="48" y="454"/>
                      <a:pt x="56" y="449"/>
                      <a:pt x="56" y="439"/>
                    </a:cubicBezTo>
                    <a:cubicBezTo>
                      <a:pt x="56" y="157"/>
                      <a:pt x="56" y="157"/>
                      <a:pt x="56" y="157"/>
                    </a:cubicBezTo>
                    <a:cubicBezTo>
                      <a:pt x="56" y="83"/>
                      <a:pt x="85" y="53"/>
                      <a:pt x="165" y="53"/>
                    </a:cubicBezTo>
                    <a:cubicBezTo>
                      <a:pt x="180" y="53"/>
                      <a:pt x="180" y="53"/>
                      <a:pt x="180" y="53"/>
                    </a:cubicBezTo>
                    <a:cubicBezTo>
                      <a:pt x="192" y="53"/>
                      <a:pt x="196" y="43"/>
                      <a:pt x="196" y="27"/>
                    </a:cubicBezTo>
                    <a:cubicBezTo>
                      <a:pt x="196" y="8"/>
                      <a:pt x="185" y="4"/>
                      <a:pt x="154" y="4"/>
                    </a:cubicBezTo>
                    <a:cubicBezTo>
                      <a:pt x="64" y="4"/>
                      <a:pt x="0" y="43"/>
                      <a:pt x="0" y="152"/>
                    </a:cubicBezTo>
                    <a:lnTo>
                      <a:pt x="0" y="43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25" name="Freeform 10">
                <a:extLst>
                  <a:ext uri="{FF2B5EF4-FFF2-40B4-BE49-F238E27FC236}">
                    <a16:creationId xmlns:a16="http://schemas.microsoft.com/office/drawing/2014/main" id="{2B91B16B-BC11-E547-8FAC-B9B8D18EA449}"/>
                  </a:ext>
                </a:extLst>
              </p:cNvPr>
              <p:cNvSpPr>
                <a:spLocks/>
              </p:cNvSpPr>
              <p:nvPr/>
            </p:nvSpPr>
            <p:spPr bwMode="gray">
              <a:xfrm>
                <a:off x="2880" y="1704"/>
                <a:ext cx="618" cy="916"/>
              </a:xfrm>
              <a:custGeom>
                <a:avLst/>
                <a:gdLst>
                  <a:gd name="T0" fmla="*/ 307 w 307"/>
                  <a:gd name="T1" fmla="*/ 405 h 455"/>
                  <a:gd name="T2" fmla="*/ 307 w 307"/>
                  <a:gd name="T3" fmla="*/ 244 h 455"/>
                  <a:gd name="T4" fmla="*/ 279 w 307"/>
                  <a:gd name="T5" fmla="*/ 229 h 455"/>
                  <a:gd name="T6" fmla="*/ 250 w 307"/>
                  <a:gd name="T7" fmla="*/ 244 h 455"/>
                  <a:gd name="T8" fmla="*/ 250 w 307"/>
                  <a:gd name="T9" fmla="*/ 378 h 455"/>
                  <a:gd name="T10" fmla="*/ 199 w 307"/>
                  <a:gd name="T11" fmla="*/ 408 h 455"/>
                  <a:gd name="T12" fmla="*/ 61 w 307"/>
                  <a:gd name="T13" fmla="*/ 231 h 455"/>
                  <a:gd name="T14" fmla="*/ 238 w 307"/>
                  <a:gd name="T15" fmla="*/ 49 h 455"/>
                  <a:gd name="T16" fmla="*/ 270 w 307"/>
                  <a:gd name="T17" fmla="*/ 49 h 455"/>
                  <a:gd name="T18" fmla="*/ 286 w 307"/>
                  <a:gd name="T19" fmla="*/ 23 h 455"/>
                  <a:gd name="T20" fmla="*/ 244 w 307"/>
                  <a:gd name="T21" fmla="*/ 0 h 455"/>
                  <a:gd name="T22" fmla="*/ 231 w 307"/>
                  <a:gd name="T23" fmla="*/ 0 h 455"/>
                  <a:gd name="T24" fmla="*/ 0 w 307"/>
                  <a:gd name="T25" fmla="*/ 232 h 455"/>
                  <a:gd name="T26" fmla="*/ 198 w 307"/>
                  <a:gd name="T27" fmla="*/ 455 h 455"/>
                  <a:gd name="T28" fmla="*/ 307 w 307"/>
                  <a:gd name="T29" fmla="*/ 405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7" h="455">
                    <a:moveTo>
                      <a:pt x="307" y="405"/>
                    </a:moveTo>
                    <a:cubicBezTo>
                      <a:pt x="307" y="244"/>
                      <a:pt x="307" y="244"/>
                      <a:pt x="307" y="244"/>
                    </a:cubicBezTo>
                    <a:cubicBezTo>
                      <a:pt x="307" y="234"/>
                      <a:pt x="298" y="229"/>
                      <a:pt x="279" y="229"/>
                    </a:cubicBezTo>
                    <a:cubicBezTo>
                      <a:pt x="259" y="229"/>
                      <a:pt x="250" y="234"/>
                      <a:pt x="250" y="244"/>
                    </a:cubicBezTo>
                    <a:cubicBezTo>
                      <a:pt x="250" y="378"/>
                      <a:pt x="250" y="378"/>
                      <a:pt x="250" y="378"/>
                    </a:cubicBezTo>
                    <a:cubicBezTo>
                      <a:pt x="250" y="399"/>
                      <a:pt x="241" y="408"/>
                      <a:pt x="199" y="408"/>
                    </a:cubicBezTo>
                    <a:cubicBezTo>
                      <a:pt x="114" y="408"/>
                      <a:pt x="61" y="342"/>
                      <a:pt x="61" y="231"/>
                    </a:cubicBezTo>
                    <a:cubicBezTo>
                      <a:pt x="61" y="115"/>
                      <a:pt x="126" y="49"/>
                      <a:pt x="238" y="49"/>
                    </a:cubicBezTo>
                    <a:cubicBezTo>
                      <a:pt x="270" y="49"/>
                      <a:pt x="270" y="49"/>
                      <a:pt x="270" y="49"/>
                    </a:cubicBezTo>
                    <a:cubicBezTo>
                      <a:pt x="282" y="49"/>
                      <a:pt x="286" y="39"/>
                      <a:pt x="286" y="23"/>
                    </a:cubicBezTo>
                    <a:cubicBezTo>
                      <a:pt x="286" y="4"/>
                      <a:pt x="275" y="0"/>
                      <a:pt x="244" y="0"/>
                    </a:cubicBezTo>
                    <a:cubicBezTo>
                      <a:pt x="231" y="0"/>
                      <a:pt x="231" y="0"/>
                      <a:pt x="231" y="0"/>
                    </a:cubicBezTo>
                    <a:cubicBezTo>
                      <a:pt x="101" y="0"/>
                      <a:pt x="0" y="71"/>
                      <a:pt x="0" y="232"/>
                    </a:cubicBezTo>
                    <a:cubicBezTo>
                      <a:pt x="0" y="386"/>
                      <a:pt x="88" y="455"/>
                      <a:pt x="198" y="455"/>
                    </a:cubicBezTo>
                    <a:cubicBezTo>
                      <a:pt x="286" y="455"/>
                      <a:pt x="307" y="430"/>
                      <a:pt x="307" y="40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26" name="Oval 11">
                <a:extLst>
                  <a:ext uri="{FF2B5EF4-FFF2-40B4-BE49-F238E27FC236}">
                    <a16:creationId xmlns:a16="http://schemas.microsoft.com/office/drawing/2014/main" id="{14F8C3C8-4888-7646-B9B4-64EB46A1DA23}"/>
                  </a:ext>
                </a:extLst>
              </p:cNvPr>
              <p:cNvSpPr>
                <a:spLocks noChangeArrowheads="1"/>
              </p:cNvSpPr>
              <p:nvPr/>
            </p:nvSpPr>
            <p:spPr bwMode="gray">
              <a:xfrm>
                <a:off x="3778" y="2099"/>
                <a:ext cx="122" cy="12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27" name="Freeform 12">
                <a:extLst>
                  <a:ext uri="{FF2B5EF4-FFF2-40B4-BE49-F238E27FC236}">
                    <a16:creationId xmlns:a16="http://schemas.microsoft.com/office/drawing/2014/main" id="{D79D01D1-4E3E-F34B-97D7-2D387E68746E}"/>
                  </a:ext>
                </a:extLst>
              </p:cNvPr>
              <p:cNvSpPr>
                <a:spLocks/>
              </p:cNvSpPr>
              <p:nvPr/>
            </p:nvSpPr>
            <p:spPr bwMode="gray">
              <a:xfrm>
                <a:off x="4321" y="1029"/>
                <a:ext cx="648" cy="649"/>
              </a:xfrm>
              <a:custGeom>
                <a:avLst/>
                <a:gdLst>
                  <a:gd name="T0" fmla="*/ 0 w 648"/>
                  <a:gd name="T1" fmla="*/ 649 h 649"/>
                  <a:gd name="T2" fmla="*/ 2 w 648"/>
                  <a:gd name="T3" fmla="*/ 649 h 649"/>
                  <a:gd name="T4" fmla="*/ 648 w 648"/>
                  <a:gd name="T5" fmla="*/ 0 h 649"/>
                  <a:gd name="T6" fmla="*/ 423 w 648"/>
                  <a:gd name="T7" fmla="*/ 0 h 649"/>
                  <a:gd name="T8" fmla="*/ 0 w 648"/>
                  <a:gd name="T9" fmla="*/ 649 h 649"/>
                </a:gdLst>
                <a:ahLst/>
                <a:cxnLst>
                  <a:cxn ang="0">
                    <a:pos x="T0" y="T1"/>
                  </a:cxn>
                  <a:cxn ang="0">
                    <a:pos x="T2" y="T3"/>
                  </a:cxn>
                  <a:cxn ang="0">
                    <a:pos x="T4" y="T5"/>
                  </a:cxn>
                  <a:cxn ang="0">
                    <a:pos x="T6" y="T7"/>
                  </a:cxn>
                  <a:cxn ang="0">
                    <a:pos x="T8" y="T9"/>
                  </a:cxn>
                </a:cxnLst>
                <a:rect l="0" t="0" r="r" b="b"/>
                <a:pathLst>
                  <a:path w="648" h="649">
                    <a:moveTo>
                      <a:pt x="0" y="649"/>
                    </a:moveTo>
                    <a:lnTo>
                      <a:pt x="2" y="649"/>
                    </a:lnTo>
                    <a:lnTo>
                      <a:pt x="648" y="0"/>
                    </a:lnTo>
                    <a:lnTo>
                      <a:pt x="423" y="0"/>
                    </a:lnTo>
                    <a:lnTo>
                      <a:pt x="0" y="64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28" name="Freeform 13">
                <a:extLst>
                  <a:ext uri="{FF2B5EF4-FFF2-40B4-BE49-F238E27FC236}">
                    <a16:creationId xmlns:a16="http://schemas.microsoft.com/office/drawing/2014/main" id="{46549898-6C52-B147-A8F6-A73FDBE6163B}"/>
                  </a:ext>
                </a:extLst>
              </p:cNvPr>
              <p:cNvSpPr>
                <a:spLocks/>
              </p:cNvSpPr>
              <p:nvPr/>
            </p:nvSpPr>
            <p:spPr bwMode="gray">
              <a:xfrm>
                <a:off x="4321" y="1029"/>
                <a:ext cx="648" cy="649"/>
              </a:xfrm>
              <a:custGeom>
                <a:avLst/>
                <a:gdLst>
                  <a:gd name="T0" fmla="*/ 0 w 648"/>
                  <a:gd name="T1" fmla="*/ 649 h 649"/>
                  <a:gd name="T2" fmla="*/ 2 w 648"/>
                  <a:gd name="T3" fmla="*/ 649 h 649"/>
                  <a:gd name="T4" fmla="*/ 648 w 648"/>
                  <a:gd name="T5" fmla="*/ 0 h 649"/>
                  <a:gd name="T6" fmla="*/ 423 w 648"/>
                  <a:gd name="T7" fmla="*/ 0 h 649"/>
                  <a:gd name="T8" fmla="*/ 0 w 648"/>
                  <a:gd name="T9" fmla="*/ 649 h 649"/>
                </a:gdLst>
                <a:ahLst/>
                <a:cxnLst>
                  <a:cxn ang="0">
                    <a:pos x="T0" y="T1"/>
                  </a:cxn>
                  <a:cxn ang="0">
                    <a:pos x="T2" y="T3"/>
                  </a:cxn>
                  <a:cxn ang="0">
                    <a:pos x="T4" y="T5"/>
                  </a:cxn>
                  <a:cxn ang="0">
                    <a:pos x="T6" y="T7"/>
                  </a:cxn>
                  <a:cxn ang="0">
                    <a:pos x="T8" y="T9"/>
                  </a:cxn>
                </a:cxnLst>
                <a:rect l="0" t="0" r="r" b="b"/>
                <a:pathLst>
                  <a:path w="648" h="649">
                    <a:moveTo>
                      <a:pt x="0" y="649"/>
                    </a:moveTo>
                    <a:lnTo>
                      <a:pt x="2" y="649"/>
                    </a:lnTo>
                    <a:lnTo>
                      <a:pt x="648" y="0"/>
                    </a:lnTo>
                    <a:lnTo>
                      <a:pt x="423" y="0"/>
                    </a:lnTo>
                    <a:lnTo>
                      <a:pt x="0" y="64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grpSp>
      </p:grpSp>
      <p:sp>
        <p:nvSpPr>
          <p:cNvPr id="7" name="Date Placeholder 6"/>
          <p:cNvSpPr>
            <a:spLocks noGrp="1"/>
          </p:cNvSpPr>
          <p:nvPr>
            <p:ph type="dt" sz="half" idx="10"/>
          </p:nvPr>
        </p:nvSpPr>
        <p:spPr>
          <a:xfrm>
            <a:off x="0" y="0"/>
            <a:ext cx="0" cy="0"/>
          </a:xfrm>
          <a:prstGeom prst="rect">
            <a:avLst/>
          </a:prstGeom>
        </p:spPr>
        <p:txBody>
          <a:bodyPr/>
          <a:lstStyle>
            <a:lvl1pPr>
              <a:defRPr sz="100">
                <a:noFill/>
              </a:defRPr>
            </a:lvl1pPr>
          </a:lstStyle>
          <a:p>
            <a:endParaRPr lang="en-US"/>
          </a:p>
        </p:txBody>
      </p:sp>
      <p:sp>
        <p:nvSpPr>
          <p:cNvPr id="8" name="Footer Placeholder 7"/>
          <p:cNvSpPr>
            <a:spLocks noGrp="1"/>
          </p:cNvSpPr>
          <p:nvPr>
            <p:ph type="ftr" sz="quarter" idx="11"/>
          </p:nvPr>
        </p:nvSpPr>
        <p:spPr>
          <a:xfrm>
            <a:off x="0" y="0"/>
            <a:ext cx="0" cy="0"/>
          </a:xfrm>
          <a:prstGeom prst="rect">
            <a:avLst/>
          </a:prstGeom>
        </p:spPr>
        <p:txBody>
          <a:bodyPr/>
          <a:lstStyle>
            <a:lvl1pPr marL="0" indent="0">
              <a:buNone/>
              <a:defRPr sz="100">
                <a:noFill/>
              </a:defRPr>
            </a:lvl1pPr>
          </a:lstStyle>
          <a:p>
            <a:endParaRPr lang="en-US"/>
          </a:p>
        </p:txBody>
      </p:sp>
      <p:sp>
        <p:nvSpPr>
          <p:cNvPr id="9" name="Slide Number Placeholder 8"/>
          <p:cNvSpPr>
            <a:spLocks noGrp="1"/>
          </p:cNvSpPr>
          <p:nvPr>
            <p:ph type="sldNum" sz="quarter" idx="12"/>
          </p:nvPr>
        </p:nvSpPr>
        <p:spPr>
          <a:xfrm>
            <a:off x="0" y="0"/>
            <a:ext cx="0" cy="0"/>
          </a:xfrm>
          <a:prstGeom prst="rect">
            <a:avLst/>
          </a:prstGeom>
        </p:spPr>
        <p:txBody>
          <a:bodyPr/>
          <a:lstStyle>
            <a:lvl1pPr>
              <a:defRPr sz="100">
                <a:noFill/>
              </a:defRPr>
            </a:lvl1pPr>
          </a:lstStyle>
          <a:p>
            <a:fld id="{8E3B25F7-8D1F-44B5-B485-EE3C438CFD7B}" type="slidenum">
              <a:rPr lang="en-US" smtClean="0"/>
              <a:pPr/>
              <a:t>‹#›</a:t>
            </a:fld>
            <a:endParaRPr lang="en-US"/>
          </a:p>
        </p:txBody>
      </p:sp>
      <p:sp>
        <p:nvSpPr>
          <p:cNvPr id="2" name="Title 1"/>
          <p:cNvSpPr>
            <a:spLocks noGrp="1"/>
          </p:cNvSpPr>
          <p:nvPr>
            <p:ph type="ctrTitle" hasCustomPrompt="1"/>
          </p:nvPr>
        </p:nvSpPr>
        <p:spPr>
          <a:xfrm>
            <a:off x="417600" y="1628775"/>
            <a:ext cx="3816000" cy="2236264"/>
          </a:xfrm>
        </p:spPr>
        <p:txBody>
          <a:bodyPr anchor="b"/>
          <a:lstStyle>
            <a:lvl1pPr algn="l">
              <a:defRPr sz="3600" baseline="0"/>
            </a:lvl1pPr>
          </a:lstStyle>
          <a:p>
            <a:r>
              <a:rPr lang="en-US"/>
              <a:t>Click to add presentation title</a:t>
            </a:r>
          </a:p>
        </p:txBody>
      </p:sp>
      <p:sp>
        <p:nvSpPr>
          <p:cNvPr id="3" name="Subtitle 2"/>
          <p:cNvSpPr>
            <a:spLocks noGrp="1"/>
          </p:cNvSpPr>
          <p:nvPr>
            <p:ph type="subTitle" idx="1" hasCustomPrompt="1"/>
          </p:nvPr>
        </p:nvSpPr>
        <p:spPr>
          <a:xfrm>
            <a:off x="417600" y="4094163"/>
            <a:ext cx="3816000" cy="1080000"/>
          </a:xfrm>
        </p:spPr>
        <p:txBody>
          <a:bodyPr/>
          <a:lstStyle>
            <a:lvl1pPr marL="0" indent="0" algn="l">
              <a:spcBef>
                <a:spcPts val="0"/>
              </a:spcBef>
              <a:buNone/>
              <a:defRPr sz="1800" b="1"/>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sp>
        <p:nvSpPr>
          <p:cNvPr id="31" name="Text Placeholder 30"/>
          <p:cNvSpPr>
            <a:spLocks noGrp="1"/>
          </p:cNvSpPr>
          <p:nvPr>
            <p:ph type="body" sz="quarter" idx="14" hasCustomPrompt="1"/>
          </p:nvPr>
        </p:nvSpPr>
        <p:spPr>
          <a:xfrm>
            <a:off x="417600" y="5393268"/>
            <a:ext cx="3816000" cy="296332"/>
          </a:xfrm>
        </p:spPr>
        <p:txBody>
          <a:bodyPr wrap="none"/>
          <a:lstStyle>
            <a:lvl1pPr marL="0" indent="0">
              <a:spcBef>
                <a:spcPts val="0"/>
              </a:spcBef>
              <a:buNone/>
              <a:defRPr sz="1200"/>
            </a:lvl1pPr>
            <a:lvl2pPr marL="0" indent="0">
              <a:buNone/>
              <a:defRPr sz="1200"/>
            </a:lvl2pPr>
            <a:lvl3pPr marL="0" indent="0">
              <a:buNone/>
              <a:defRPr sz="1200"/>
            </a:lvl3pPr>
            <a:lvl4pPr marL="0">
              <a:buNone/>
              <a:defRPr sz="1200"/>
            </a:lvl4pPr>
            <a:lvl5pPr marL="0" indent="0">
              <a:buNone/>
              <a:defRPr sz="1200"/>
            </a:lvl5pPr>
          </a:lstStyle>
          <a:p>
            <a:pPr lvl="0"/>
            <a:r>
              <a:rPr lang="en-US"/>
              <a:t>Name</a:t>
            </a:r>
          </a:p>
        </p:txBody>
      </p:sp>
      <p:sp>
        <p:nvSpPr>
          <p:cNvPr id="34" name="Text Placeholder 30"/>
          <p:cNvSpPr>
            <a:spLocks noGrp="1"/>
          </p:cNvSpPr>
          <p:nvPr>
            <p:ph type="body" sz="quarter" idx="15" hasCustomPrompt="1"/>
          </p:nvPr>
        </p:nvSpPr>
        <p:spPr>
          <a:xfrm>
            <a:off x="417600" y="5691446"/>
            <a:ext cx="3816000" cy="296332"/>
          </a:xfrm>
        </p:spPr>
        <p:txBody>
          <a:bodyPr wrap="none"/>
          <a:lstStyle>
            <a:lvl1pPr marL="0" indent="0">
              <a:spcBef>
                <a:spcPts val="0"/>
              </a:spcBef>
              <a:buNone/>
              <a:defRPr sz="1200"/>
            </a:lvl1pPr>
            <a:lvl2pPr marL="0" indent="0">
              <a:buNone/>
              <a:defRPr sz="1200"/>
            </a:lvl2pPr>
            <a:lvl3pPr marL="0" indent="0">
              <a:buNone/>
              <a:defRPr sz="1200"/>
            </a:lvl3pPr>
            <a:lvl4pPr marL="0">
              <a:buNone/>
              <a:defRPr sz="1200"/>
            </a:lvl4pPr>
            <a:lvl5pPr marL="0" indent="0">
              <a:buNone/>
              <a:defRPr sz="1200"/>
            </a:lvl5pPr>
          </a:lstStyle>
          <a:p>
            <a:pPr lvl="0"/>
            <a:r>
              <a:rPr lang="en-US"/>
              <a:t>Department</a:t>
            </a:r>
          </a:p>
        </p:txBody>
      </p:sp>
    </p:spTree>
    <p:extLst>
      <p:ext uri="{BB962C8B-B14F-4D97-AF65-F5344CB8AC3E}">
        <p14:creationId xmlns:p14="http://schemas.microsoft.com/office/powerpoint/2010/main" val="1138129022"/>
      </p:ext>
    </p:extLst>
  </p:cSld>
  <p:clrMapOvr>
    <a:masterClrMapping/>
  </p:clrMapOvr>
</p:sldLayout>
</file>

<file path=ppt/slideLayouts/slideLayout445.xml><?xml version="1.0" encoding="utf-8"?>
<p:sldLayout xmlns:a="http://schemas.openxmlformats.org/drawingml/2006/main" xmlns:r="http://schemas.openxmlformats.org/officeDocument/2006/relationships" xmlns:p="http://schemas.openxmlformats.org/presentationml/2006/main" showMasterSp="0" preserve="1">
  <p:cSld name="Title 2">
    <p:spTree>
      <p:nvGrpSpPr>
        <p:cNvPr id="1" name=""/>
        <p:cNvGrpSpPr/>
        <p:nvPr/>
      </p:nvGrpSpPr>
      <p:grpSpPr>
        <a:xfrm>
          <a:off x="0" y="0"/>
          <a:ext cx="0" cy="0"/>
          <a:chOff x="0" y="0"/>
          <a:chExt cx="0" cy="0"/>
        </a:xfrm>
      </p:grpSpPr>
      <p:pic>
        <p:nvPicPr>
          <p:cNvPr id="29" name="picture">
            <a:extLst>
              <a:ext uri="{FF2B5EF4-FFF2-40B4-BE49-F238E27FC236}">
                <a16:creationId xmlns:a16="http://schemas.microsoft.com/office/drawing/2014/main" id="{8BF907F5-A9CD-2740-AF54-6BACB62334AE}"/>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2620212" y="-8808"/>
            <a:ext cx="9697299" cy="6866807"/>
          </a:xfrm>
          <a:prstGeom prst="rect">
            <a:avLst/>
          </a:prstGeom>
        </p:spPr>
      </p:pic>
      <p:sp>
        <p:nvSpPr>
          <p:cNvPr id="32" name="shpPicture"/>
          <p:cNvSpPr/>
          <p:nvPr/>
        </p:nvSpPr>
        <p:spPr>
          <a:xfrm>
            <a:off x="1" y="0"/>
            <a:ext cx="4112145" cy="6858000"/>
          </a:xfrm>
          <a:custGeom>
            <a:avLst/>
            <a:gdLst>
              <a:gd name="connsiteX0" fmla="*/ 0 w 4112145"/>
              <a:gd name="connsiteY0" fmla="*/ 0 h 6858000"/>
              <a:gd name="connsiteX1" fmla="*/ 2588964 w 4112145"/>
              <a:gd name="connsiteY1" fmla="*/ 0 h 6858000"/>
              <a:gd name="connsiteX2" fmla="*/ 4112145 w 4112145"/>
              <a:gd name="connsiteY2" fmla="*/ 3083531 h 6858000"/>
              <a:gd name="connsiteX3" fmla="*/ 2697661 w 4112145"/>
              <a:gd name="connsiteY3" fmla="*/ 6858000 h 6858000"/>
              <a:gd name="connsiteX4" fmla="*/ 0 w 4112145"/>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12145" h="6858000">
                <a:moveTo>
                  <a:pt x="0" y="0"/>
                </a:moveTo>
                <a:lnTo>
                  <a:pt x="2588964" y="0"/>
                </a:lnTo>
                <a:lnTo>
                  <a:pt x="4112145" y="3083531"/>
                </a:lnTo>
                <a:lnTo>
                  <a:pt x="2697661"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US" sz="1600"/>
          </a:p>
        </p:txBody>
      </p:sp>
      <p:grpSp>
        <p:nvGrpSpPr>
          <p:cNvPr id="14" name="logo">
            <a:extLst>
              <a:ext uri="{FF2B5EF4-FFF2-40B4-BE49-F238E27FC236}">
                <a16:creationId xmlns:a16="http://schemas.microsoft.com/office/drawing/2014/main" id="{18C26D95-70F8-8A4D-9F18-DCCB92522AF8}"/>
              </a:ext>
            </a:extLst>
          </p:cNvPr>
          <p:cNvGrpSpPr/>
          <p:nvPr/>
        </p:nvGrpSpPr>
        <p:grpSpPr bwMode="gray">
          <a:xfrm>
            <a:off x="417363" y="407485"/>
            <a:ext cx="1518585" cy="646507"/>
            <a:chOff x="334963" y="296652"/>
            <a:chExt cx="1268411" cy="540000"/>
          </a:xfrm>
        </p:grpSpPr>
        <p:sp>
          <p:nvSpPr>
            <p:cNvPr id="17" name="Freeform 6">
              <a:extLst>
                <a:ext uri="{FF2B5EF4-FFF2-40B4-BE49-F238E27FC236}">
                  <a16:creationId xmlns:a16="http://schemas.microsoft.com/office/drawing/2014/main" id="{08737AD0-E375-E445-97E6-CD2E2DF60620}"/>
                </a:ext>
              </a:extLst>
            </p:cNvPr>
            <p:cNvSpPr>
              <a:spLocks noEditPoints="1"/>
            </p:cNvSpPr>
            <p:nvPr/>
          </p:nvSpPr>
          <p:spPr bwMode="gray">
            <a:xfrm>
              <a:off x="982662" y="360462"/>
              <a:ext cx="620712" cy="431800"/>
            </a:xfrm>
            <a:custGeom>
              <a:avLst/>
              <a:gdLst>
                <a:gd name="T0" fmla="*/ 19 w 1809"/>
                <a:gd name="T1" fmla="*/ 97 h 1253"/>
                <a:gd name="T2" fmla="*/ 165 w 1809"/>
                <a:gd name="T3" fmla="*/ 41 h 1253"/>
                <a:gd name="T4" fmla="*/ 211 w 1809"/>
                <a:gd name="T5" fmla="*/ 224 h 1253"/>
                <a:gd name="T6" fmla="*/ 248 w 1809"/>
                <a:gd name="T7" fmla="*/ 155 h 1253"/>
                <a:gd name="T8" fmla="*/ 931 w 1809"/>
                <a:gd name="T9" fmla="*/ 995 h 1253"/>
                <a:gd name="T10" fmla="*/ 858 w 1809"/>
                <a:gd name="T11" fmla="*/ 1115 h 1253"/>
                <a:gd name="T12" fmla="*/ 749 w 1809"/>
                <a:gd name="T13" fmla="*/ 1117 h 1253"/>
                <a:gd name="T14" fmla="*/ 681 w 1809"/>
                <a:gd name="T15" fmla="*/ 1055 h 1253"/>
                <a:gd name="T16" fmla="*/ 800 w 1809"/>
                <a:gd name="T17" fmla="*/ 1054 h 1253"/>
                <a:gd name="T18" fmla="*/ 884 w 1809"/>
                <a:gd name="T19" fmla="*/ 1181 h 1253"/>
                <a:gd name="T20" fmla="*/ 118 w 1809"/>
                <a:gd name="T21" fmla="*/ 1086 h 1253"/>
                <a:gd name="T22" fmla="*/ 147 w 1809"/>
                <a:gd name="T23" fmla="*/ 1026 h 1253"/>
                <a:gd name="T24" fmla="*/ 102 w 1809"/>
                <a:gd name="T25" fmla="*/ 1026 h 1253"/>
                <a:gd name="T26" fmla="*/ 639 w 1809"/>
                <a:gd name="T27" fmla="*/ 84 h 1253"/>
                <a:gd name="T28" fmla="*/ 763 w 1809"/>
                <a:gd name="T29" fmla="*/ 145 h 1253"/>
                <a:gd name="T30" fmla="*/ 863 w 1809"/>
                <a:gd name="T31" fmla="*/ 221 h 1253"/>
                <a:gd name="T32" fmla="*/ 834 w 1809"/>
                <a:gd name="T33" fmla="*/ 208 h 1253"/>
                <a:gd name="T34" fmla="*/ 719 w 1809"/>
                <a:gd name="T35" fmla="*/ 182 h 1253"/>
                <a:gd name="T36" fmla="*/ 507 w 1809"/>
                <a:gd name="T37" fmla="*/ 711 h 1253"/>
                <a:gd name="T38" fmla="*/ 614 w 1809"/>
                <a:gd name="T39" fmla="*/ 706 h 1253"/>
                <a:gd name="T40" fmla="*/ 736 w 1809"/>
                <a:gd name="T41" fmla="*/ 730 h 1253"/>
                <a:gd name="T42" fmla="*/ 607 w 1809"/>
                <a:gd name="T43" fmla="*/ 539 h 1253"/>
                <a:gd name="T44" fmla="*/ 1505 w 1809"/>
                <a:gd name="T45" fmla="*/ 1136 h 1253"/>
                <a:gd name="T46" fmla="*/ 1613 w 1809"/>
                <a:gd name="T47" fmla="*/ 1002 h 1253"/>
                <a:gd name="T48" fmla="*/ 1472 w 1809"/>
                <a:gd name="T49" fmla="*/ 1164 h 1253"/>
                <a:gd name="T50" fmla="*/ 1525 w 1809"/>
                <a:gd name="T51" fmla="*/ 1142 h 1253"/>
                <a:gd name="T52" fmla="*/ 1556 w 1809"/>
                <a:gd name="T53" fmla="*/ 1172 h 1253"/>
                <a:gd name="T54" fmla="*/ 1387 w 1809"/>
                <a:gd name="T55" fmla="*/ 910 h 1253"/>
                <a:gd name="T56" fmla="*/ 1261 w 1809"/>
                <a:gd name="T57" fmla="*/ 1157 h 1253"/>
                <a:gd name="T58" fmla="*/ 1413 w 1809"/>
                <a:gd name="T59" fmla="*/ 934 h 1253"/>
                <a:gd name="T60" fmla="*/ 1378 w 1809"/>
                <a:gd name="T61" fmla="*/ 1052 h 1253"/>
                <a:gd name="T62" fmla="*/ 488 w 1809"/>
                <a:gd name="T63" fmla="*/ 85 h 1253"/>
                <a:gd name="T64" fmla="*/ 509 w 1809"/>
                <a:gd name="T65" fmla="*/ 112 h 1253"/>
                <a:gd name="T66" fmla="*/ 548 w 1809"/>
                <a:gd name="T67" fmla="*/ 1187 h 1253"/>
                <a:gd name="T68" fmla="*/ 472 w 1809"/>
                <a:gd name="T69" fmla="*/ 1122 h 1253"/>
                <a:gd name="T70" fmla="*/ 558 w 1809"/>
                <a:gd name="T71" fmla="*/ 1157 h 1253"/>
                <a:gd name="T72" fmla="*/ 287 w 1809"/>
                <a:gd name="T73" fmla="*/ 654 h 1253"/>
                <a:gd name="T74" fmla="*/ 416 w 1809"/>
                <a:gd name="T75" fmla="*/ 684 h 1253"/>
                <a:gd name="T76" fmla="*/ 1106 w 1809"/>
                <a:gd name="T77" fmla="*/ 147 h 1253"/>
                <a:gd name="T78" fmla="*/ 1229 w 1809"/>
                <a:gd name="T79" fmla="*/ 258 h 1253"/>
                <a:gd name="T80" fmla="*/ 1106 w 1809"/>
                <a:gd name="T81" fmla="*/ 96 h 1253"/>
                <a:gd name="T82" fmla="*/ 1219 w 1809"/>
                <a:gd name="T83" fmla="*/ 1077 h 1253"/>
                <a:gd name="T84" fmla="*/ 1214 w 1809"/>
                <a:gd name="T85" fmla="*/ 1157 h 1253"/>
                <a:gd name="T86" fmla="*/ 1150 w 1809"/>
                <a:gd name="T87" fmla="*/ 1092 h 1253"/>
                <a:gd name="T88" fmla="*/ 1139 w 1809"/>
                <a:gd name="T89" fmla="*/ 1070 h 1253"/>
                <a:gd name="T90" fmla="*/ 1659 w 1809"/>
                <a:gd name="T91" fmla="*/ 1031 h 1253"/>
                <a:gd name="T92" fmla="*/ 1714 w 1809"/>
                <a:gd name="T93" fmla="*/ 1155 h 1253"/>
                <a:gd name="T94" fmla="*/ 1760 w 1809"/>
                <a:gd name="T95" fmla="*/ 1030 h 1253"/>
                <a:gd name="T96" fmla="*/ 111 w 1809"/>
                <a:gd name="T97" fmla="*/ 569 h 1253"/>
                <a:gd name="T98" fmla="*/ 109 w 1809"/>
                <a:gd name="T99" fmla="*/ 460 h 1253"/>
                <a:gd name="T100" fmla="*/ 32 w 1809"/>
                <a:gd name="T101" fmla="*/ 704 h 1253"/>
                <a:gd name="T102" fmla="*/ 310 w 1809"/>
                <a:gd name="T103" fmla="*/ 1058 h 1253"/>
                <a:gd name="T104" fmla="*/ 431 w 1809"/>
                <a:gd name="T105" fmla="*/ 1044 h 1253"/>
                <a:gd name="T106" fmla="*/ 278 w 1809"/>
                <a:gd name="T107" fmla="*/ 1165 h 1253"/>
                <a:gd name="T108" fmla="*/ 261 w 1809"/>
                <a:gd name="T109" fmla="*/ 540 h 1253"/>
                <a:gd name="T110" fmla="*/ 150 w 1809"/>
                <a:gd name="T111" fmla="*/ 635 h 1253"/>
                <a:gd name="T112" fmla="*/ 994 w 1809"/>
                <a:gd name="T113" fmla="*/ 1185 h 1253"/>
                <a:gd name="T114" fmla="*/ 331 w 1809"/>
                <a:gd name="T115" fmla="*/ 176 h 1253"/>
                <a:gd name="T116" fmla="*/ 333 w 1809"/>
                <a:gd name="T117" fmla="*/ 109 h 1253"/>
                <a:gd name="T118" fmla="*/ 946 w 1809"/>
                <a:gd name="T119" fmla="*/ 234 h 1253"/>
                <a:gd name="T120" fmla="*/ 1022 w 1809"/>
                <a:gd name="T121" fmla="*/ 113 h 1253"/>
                <a:gd name="T122" fmla="*/ 949 w 1809"/>
                <a:gd name="T123" fmla="*/ 65 h 1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09" h="1253">
                  <a:moveTo>
                    <a:pt x="248" y="198"/>
                  </a:moveTo>
                  <a:cubicBezTo>
                    <a:pt x="248" y="211"/>
                    <a:pt x="248" y="224"/>
                    <a:pt x="249" y="237"/>
                  </a:cubicBezTo>
                  <a:cubicBezTo>
                    <a:pt x="249" y="245"/>
                    <a:pt x="246" y="249"/>
                    <a:pt x="240" y="253"/>
                  </a:cubicBezTo>
                  <a:cubicBezTo>
                    <a:pt x="231" y="260"/>
                    <a:pt x="220" y="264"/>
                    <a:pt x="209" y="268"/>
                  </a:cubicBezTo>
                  <a:cubicBezTo>
                    <a:pt x="179" y="279"/>
                    <a:pt x="148" y="280"/>
                    <a:pt x="118" y="275"/>
                  </a:cubicBezTo>
                  <a:cubicBezTo>
                    <a:pt x="86" y="269"/>
                    <a:pt x="58" y="252"/>
                    <a:pt x="39" y="224"/>
                  </a:cubicBezTo>
                  <a:cubicBezTo>
                    <a:pt x="24" y="203"/>
                    <a:pt x="18" y="180"/>
                    <a:pt x="15" y="155"/>
                  </a:cubicBezTo>
                  <a:cubicBezTo>
                    <a:pt x="11" y="135"/>
                    <a:pt x="15" y="115"/>
                    <a:pt x="19" y="97"/>
                  </a:cubicBezTo>
                  <a:cubicBezTo>
                    <a:pt x="26" y="68"/>
                    <a:pt x="42" y="44"/>
                    <a:pt x="68" y="27"/>
                  </a:cubicBezTo>
                  <a:cubicBezTo>
                    <a:pt x="87" y="14"/>
                    <a:pt x="109" y="6"/>
                    <a:pt x="133" y="5"/>
                  </a:cubicBezTo>
                  <a:cubicBezTo>
                    <a:pt x="149" y="4"/>
                    <a:pt x="165" y="5"/>
                    <a:pt x="181" y="6"/>
                  </a:cubicBezTo>
                  <a:cubicBezTo>
                    <a:pt x="204" y="8"/>
                    <a:pt x="225" y="20"/>
                    <a:pt x="243" y="35"/>
                  </a:cubicBezTo>
                  <a:cubicBezTo>
                    <a:pt x="246" y="37"/>
                    <a:pt x="246" y="40"/>
                    <a:pt x="244" y="43"/>
                  </a:cubicBezTo>
                  <a:cubicBezTo>
                    <a:pt x="242" y="47"/>
                    <a:pt x="239" y="52"/>
                    <a:pt x="236" y="55"/>
                  </a:cubicBezTo>
                  <a:cubicBezTo>
                    <a:pt x="226" y="65"/>
                    <a:pt x="224" y="65"/>
                    <a:pt x="206" y="54"/>
                  </a:cubicBezTo>
                  <a:cubicBezTo>
                    <a:pt x="193" y="46"/>
                    <a:pt x="180" y="40"/>
                    <a:pt x="165" y="41"/>
                  </a:cubicBezTo>
                  <a:cubicBezTo>
                    <a:pt x="151" y="41"/>
                    <a:pt x="137" y="39"/>
                    <a:pt x="124" y="42"/>
                  </a:cubicBezTo>
                  <a:cubicBezTo>
                    <a:pt x="104" y="46"/>
                    <a:pt x="87" y="57"/>
                    <a:pt x="75" y="74"/>
                  </a:cubicBezTo>
                  <a:cubicBezTo>
                    <a:pt x="56" y="99"/>
                    <a:pt x="51" y="129"/>
                    <a:pt x="55" y="159"/>
                  </a:cubicBezTo>
                  <a:cubicBezTo>
                    <a:pt x="60" y="189"/>
                    <a:pt x="73" y="214"/>
                    <a:pt x="98" y="230"/>
                  </a:cubicBezTo>
                  <a:cubicBezTo>
                    <a:pt x="109" y="237"/>
                    <a:pt x="121" y="242"/>
                    <a:pt x="135" y="241"/>
                  </a:cubicBezTo>
                  <a:cubicBezTo>
                    <a:pt x="146" y="241"/>
                    <a:pt x="158" y="241"/>
                    <a:pt x="169" y="241"/>
                  </a:cubicBezTo>
                  <a:cubicBezTo>
                    <a:pt x="182" y="242"/>
                    <a:pt x="193" y="235"/>
                    <a:pt x="205" y="232"/>
                  </a:cubicBezTo>
                  <a:cubicBezTo>
                    <a:pt x="210" y="231"/>
                    <a:pt x="211" y="227"/>
                    <a:pt x="211" y="224"/>
                  </a:cubicBezTo>
                  <a:cubicBezTo>
                    <a:pt x="211" y="210"/>
                    <a:pt x="211" y="196"/>
                    <a:pt x="211" y="183"/>
                  </a:cubicBezTo>
                  <a:cubicBezTo>
                    <a:pt x="211" y="177"/>
                    <a:pt x="207" y="175"/>
                    <a:pt x="202" y="175"/>
                  </a:cubicBezTo>
                  <a:cubicBezTo>
                    <a:pt x="193" y="175"/>
                    <a:pt x="184" y="175"/>
                    <a:pt x="175" y="175"/>
                  </a:cubicBezTo>
                  <a:cubicBezTo>
                    <a:pt x="171" y="175"/>
                    <a:pt x="168" y="174"/>
                    <a:pt x="166" y="171"/>
                  </a:cubicBezTo>
                  <a:cubicBezTo>
                    <a:pt x="163" y="163"/>
                    <a:pt x="164" y="154"/>
                    <a:pt x="166" y="146"/>
                  </a:cubicBezTo>
                  <a:cubicBezTo>
                    <a:pt x="167" y="142"/>
                    <a:pt x="171" y="142"/>
                    <a:pt x="175" y="142"/>
                  </a:cubicBezTo>
                  <a:cubicBezTo>
                    <a:pt x="196" y="142"/>
                    <a:pt x="217" y="142"/>
                    <a:pt x="238" y="142"/>
                  </a:cubicBezTo>
                  <a:cubicBezTo>
                    <a:pt x="247" y="142"/>
                    <a:pt x="248" y="148"/>
                    <a:pt x="248" y="155"/>
                  </a:cubicBezTo>
                  <a:cubicBezTo>
                    <a:pt x="249" y="169"/>
                    <a:pt x="248" y="183"/>
                    <a:pt x="248" y="198"/>
                  </a:cubicBezTo>
                  <a:close/>
                  <a:moveTo>
                    <a:pt x="884" y="1181"/>
                  </a:moveTo>
                  <a:cubicBezTo>
                    <a:pt x="889" y="1167"/>
                    <a:pt x="894" y="1152"/>
                    <a:pt x="898" y="1137"/>
                  </a:cubicBezTo>
                  <a:cubicBezTo>
                    <a:pt x="901" y="1127"/>
                    <a:pt x="905" y="1116"/>
                    <a:pt x="908" y="1106"/>
                  </a:cubicBezTo>
                  <a:cubicBezTo>
                    <a:pt x="911" y="1098"/>
                    <a:pt x="912" y="1089"/>
                    <a:pt x="916" y="1081"/>
                  </a:cubicBezTo>
                  <a:cubicBezTo>
                    <a:pt x="921" y="1072"/>
                    <a:pt x="923" y="1060"/>
                    <a:pt x="927" y="1050"/>
                  </a:cubicBezTo>
                  <a:cubicBezTo>
                    <a:pt x="932" y="1037"/>
                    <a:pt x="934" y="1023"/>
                    <a:pt x="940" y="1010"/>
                  </a:cubicBezTo>
                  <a:cubicBezTo>
                    <a:pt x="945" y="1001"/>
                    <a:pt x="941" y="995"/>
                    <a:pt x="931" y="995"/>
                  </a:cubicBezTo>
                  <a:cubicBezTo>
                    <a:pt x="927" y="995"/>
                    <a:pt x="922" y="995"/>
                    <a:pt x="918" y="995"/>
                  </a:cubicBezTo>
                  <a:cubicBezTo>
                    <a:pt x="913" y="995"/>
                    <a:pt x="908" y="997"/>
                    <a:pt x="907" y="1001"/>
                  </a:cubicBezTo>
                  <a:cubicBezTo>
                    <a:pt x="904" y="1008"/>
                    <a:pt x="900" y="1015"/>
                    <a:pt x="899" y="1023"/>
                  </a:cubicBezTo>
                  <a:cubicBezTo>
                    <a:pt x="897" y="1034"/>
                    <a:pt x="893" y="1045"/>
                    <a:pt x="889" y="1055"/>
                  </a:cubicBezTo>
                  <a:cubicBezTo>
                    <a:pt x="887" y="1064"/>
                    <a:pt x="885" y="1072"/>
                    <a:pt x="882" y="1080"/>
                  </a:cubicBezTo>
                  <a:cubicBezTo>
                    <a:pt x="878" y="1091"/>
                    <a:pt x="874" y="1103"/>
                    <a:pt x="871" y="1115"/>
                  </a:cubicBezTo>
                  <a:cubicBezTo>
                    <a:pt x="870" y="1118"/>
                    <a:pt x="871" y="1124"/>
                    <a:pt x="866" y="1124"/>
                  </a:cubicBezTo>
                  <a:cubicBezTo>
                    <a:pt x="861" y="1125"/>
                    <a:pt x="859" y="1120"/>
                    <a:pt x="858" y="1115"/>
                  </a:cubicBezTo>
                  <a:cubicBezTo>
                    <a:pt x="856" y="1110"/>
                    <a:pt x="856" y="1104"/>
                    <a:pt x="854" y="1099"/>
                  </a:cubicBezTo>
                  <a:cubicBezTo>
                    <a:pt x="848" y="1080"/>
                    <a:pt x="841" y="1062"/>
                    <a:pt x="835" y="1044"/>
                  </a:cubicBezTo>
                  <a:cubicBezTo>
                    <a:pt x="831" y="1030"/>
                    <a:pt x="828" y="1016"/>
                    <a:pt x="822" y="1003"/>
                  </a:cubicBezTo>
                  <a:cubicBezTo>
                    <a:pt x="819" y="997"/>
                    <a:pt x="814" y="994"/>
                    <a:pt x="808" y="994"/>
                  </a:cubicBezTo>
                  <a:cubicBezTo>
                    <a:pt x="799" y="993"/>
                    <a:pt x="791" y="993"/>
                    <a:pt x="787" y="1001"/>
                  </a:cubicBezTo>
                  <a:cubicBezTo>
                    <a:pt x="783" y="1008"/>
                    <a:pt x="780" y="1015"/>
                    <a:pt x="779" y="1022"/>
                  </a:cubicBezTo>
                  <a:cubicBezTo>
                    <a:pt x="778" y="1034"/>
                    <a:pt x="772" y="1044"/>
                    <a:pt x="769" y="1055"/>
                  </a:cubicBezTo>
                  <a:cubicBezTo>
                    <a:pt x="762" y="1076"/>
                    <a:pt x="754" y="1096"/>
                    <a:pt x="749" y="1117"/>
                  </a:cubicBezTo>
                  <a:cubicBezTo>
                    <a:pt x="748" y="1120"/>
                    <a:pt x="747" y="1124"/>
                    <a:pt x="742" y="1124"/>
                  </a:cubicBezTo>
                  <a:cubicBezTo>
                    <a:pt x="737" y="1124"/>
                    <a:pt x="737" y="1120"/>
                    <a:pt x="736" y="1116"/>
                  </a:cubicBezTo>
                  <a:cubicBezTo>
                    <a:pt x="734" y="1104"/>
                    <a:pt x="730" y="1092"/>
                    <a:pt x="726" y="1080"/>
                  </a:cubicBezTo>
                  <a:cubicBezTo>
                    <a:pt x="720" y="1061"/>
                    <a:pt x="714" y="1040"/>
                    <a:pt x="708" y="1020"/>
                  </a:cubicBezTo>
                  <a:cubicBezTo>
                    <a:pt x="703" y="1000"/>
                    <a:pt x="698" y="994"/>
                    <a:pt x="676" y="995"/>
                  </a:cubicBezTo>
                  <a:cubicBezTo>
                    <a:pt x="665" y="996"/>
                    <a:pt x="661" y="1001"/>
                    <a:pt x="667" y="1011"/>
                  </a:cubicBezTo>
                  <a:cubicBezTo>
                    <a:pt x="669" y="1016"/>
                    <a:pt x="670" y="1021"/>
                    <a:pt x="672" y="1025"/>
                  </a:cubicBezTo>
                  <a:cubicBezTo>
                    <a:pt x="675" y="1035"/>
                    <a:pt x="678" y="1046"/>
                    <a:pt x="681" y="1055"/>
                  </a:cubicBezTo>
                  <a:cubicBezTo>
                    <a:pt x="685" y="1068"/>
                    <a:pt x="689" y="1080"/>
                    <a:pt x="693" y="1092"/>
                  </a:cubicBezTo>
                  <a:cubicBezTo>
                    <a:pt x="697" y="1103"/>
                    <a:pt x="699" y="1113"/>
                    <a:pt x="703" y="1124"/>
                  </a:cubicBezTo>
                  <a:cubicBezTo>
                    <a:pt x="707" y="1136"/>
                    <a:pt x="711" y="1147"/>
                    <a:pt x="715" y="1160"/>
                  </a:cubicBezTo>
                  <a:cubicBezTo>
                    <a:pt x="717" y="1168"/>
                    <a:pt x="720" y="1176"/>
                    <a:pt x="724" y="1183"/>
                  </a:cubicBezTo>
                  <a:cubicBezTo>
                    <a:pt x="728" y="1189"/>
                    <a:pt x="752" y="1185"/>
                    <a:pt x="757" y="1180"/>
                  </a:cubicBezTo>
                  <a:cubicBezTo>
                    <a:pt x="764" y="1173"/>
                    <a:pt x="762" y="1163"/>
                    <a:pt x="766" y="1156"/>
                  </a:cubicBezTo>
                  <a:cubicBezTo>
                    <a:pt x="774" y="1140"/>
                    <a:pt x="778" y="1122"/>
                    <a:pt x="784" y="1105"/>
                  </a:cubicBezTo>
                  <a:cubicBezTo>
                    <a:pt x="789" y="1088"/>
                    <a:pt x="796" y="1072"/>
                    <a:pt x="800" y="1054"/>
                  </a:cubicBezTo>
                  <a:cubicBezTo>
                    <a:pt x="800" y="1053"/>
                    <a:pt x="801" y="1050"/>
                    <a:pt x="803" y="1050"/>
                  </a:cubicBezTo>
                  <a:cubicBezTo>
                    <a:pt x="806" y="1050"/>
                    <a:pt x="806" y="1052"/>
                    <a:pt x="807" y="1055"/>
                  </a:cubicBezTo>
                  <a:cubicBezTo>
                    <a:pt x="807" y="1060"/>
                    <a:pt x="810" y="1066"/>
                    <a:pt x="811" y="1071"/>
                  </a:cubicBezTo>
                  <a:cubicBezTo>
                    <a:pt x="814" y="1081"/>
                    <a:pt x="818" y="1090"/>
                    <a:pt x="821" y="1099"/>
                  </a:cubicBezTo>
                  <a:cubicBezTo>
                    <a:pt x="824" y="1110"/>
                    <a:pt x="827" y="1120"/>
                    <a:pt x="831" y="1131"/>
                  </a:cubicBezTo>
                  <a:cubicBezTo>
                    <a:pt x="834" y="1142"/>
                    <a:pt x="839" y="1153"/>
                    <a:pt x="842" y="1164"/>
                  </a:cubicBezTo>
                  <a:cubicBezTo>
                    <a:pt x="846" y="1179"/>
                    <a:pt x="850" y="1188"/>
                    <a:pt x="869" y="1185"/>
                  </a:cubicBezTo>
                  <a:cubicBezTo>
                    <a:pt x="873" y="1184"/>
                    <a:pt x="881" y="1189"/>
                    <a:pt x="884" y="1181"/>
                  </a:cubicBezTo>
                  <a:close/>
                  <a:moveTo>
                    <a:pt x="33" y="1051"/>
                  </a:moveTo>
                  <a:cubicBezTo>
                    <a:pt x="33" y="1087"/>
                    <a:pt x="33" y="1124"/>
                    <a:pt x="33" y="1160"/>
                  </a:cubicBezTo>
                  <a:cubicBezTo>
                    <a:pt x="33" y="1188"/>
                    <a:pt x="29" y="1184"/>
                    <a:pt x="58" y="1185"/>
                  </a:cubicBezTo>
                  <a:cubicBezTo>
                    <a:pt x="72" y="1185"/>
                    <a:pt x="73" y="1184"/>
                    <a:pt x="73" y="1170"/>
                  </a:cubicBezTo>
                  <a:cubicBezTo>
                    <a:pt x="73" y="1138"/>
                    <a:pt x="73" y="1107"/>
                    <a:pt x="73" y="1076"/>
                  </a:cubicBezTo>
                  <a:cubicBezTo>
                    <a:pt x="73" y="1071"/>
                    <a:pt x="72" y="1067"/>
                    <a:pt x="78" y="1065"/>
                  </a:cubicBezTo>
                  <a:cubicBezTo>
                    <a:pt x="91" y="1062"/>
                    <a:pt x="102" y="1067"/>
                    <a:pt x="110" y="1076"/>
                  </a:cubicBezTo>
                  <a:cubicBezTo>
                    <a:pt x="112" y="1080"/>
                    <a:pt x="115" y="1083"/>
                    <a:pt x="118" y="1086"/>
                  </a:cubicBezTo>
                  <a:cubicBezTo>
                    <a:pt x="132" y="1103"/>
                    <a:pt x="146" y="1119"/>
                    <a:pt x="161" y="1136"/>
                  </a:cubicBezTo>
                  <a:cubicBezTo>
                    <a:pt x="173" y="1150"/>
                    <a:pt x="186" y="1165"/>
                    <a:pt x="198" y="1179"/>
                  </a:cubicBezTo>
                  <a:cubicBezTo>
                    <a:pt x="207" y="1188"/>
                    <a:pt x="218" y="1184"/>
                    <a:pt x="228" y="1185"/>
                  </a:cubicBezTo>
                  <a:cubicBezTo>
                    <a:pt x="233" y="1185"/>
                    <a:pt x="241" y="1188"/>
                    <a:pt x="244" y="1182"/>
                  </a:cubicBezTo>
                  <a:cubicBezTo>
                    <a:pt x="246" y="1178"/>
                    <a:pt x="239" y="1173"/>
                    <a:pt x="235" y="1169"/>
                  </a:cubicBezTo>
                  <a:cubicBezTo>
                    <a:pt x="206" y="1133"/>
                    <a:pt x="176" y="1098"/>
                    <a:pt x="146" y="1062"/>
                  </a:cubicBezTo>
                  <a:cubicBezTo>
                    <a:pt x="141" y="1056"/>
                    <a:pt x="131" y="1052"/>
                    <a:pt x="132" y="1044"/>
                  </a:cubicBezTo>
                  <a:cubicBezTo>
                    <a:pt x="132" y="1036"/>
                    <a:pt x="142" y="1032"/>
                    <a:pt x="147" y="1026"/>
                  </a:cubicBezTo>
                  <a:cubicBezTo>
                    <a:pt x="164" y="1006"/>
                    <a:pt x="182" y="988"/>
                    <a:pt x="198" y="968"/>
                  </a:cubicBezTo>
                  <a:cubicBezTo>
                    <a:pt x="209" y="954"/>
                    <a:pt x="221" y="942"/>
                    <a:pt x="234" y="929"/>
                  </a:cubicBezTo>
                  <a:cubicBezTo>
                    <a:pt x="236" y="926"/>
                    <a:pt x="238" y="923"/>
                    <a:pt x="237" y="920"/>
                  </a:cubicBezTo>
                  <a:cubicBezTo>
                    <a:pt x="235" y="915"/>
                    <a:pt x="231" y="917"/>
                    <a:pt x="228" y="917"/>
                  </a:cubicBezTo>
                  <a:cubicBezTo>
                    <a:pt x="224" y="918"/>
                    <a:pt x="221" y="918"/>
                    <a:pt x="217" y="918"/>
                  </a:cubicBezTo>
                  <a:cubicBezTo>
                    <a:pt x="204" y="917"/>
                    <a:pt x="193" y="922"/>
                    <a:pt x="185" y="931"/>
                  </a:cubicBezTo>
                  <a:cubicBezTo>
                    <a:pt x="172" y="946"/>
                    <a:pt x="158" y="961"/>
                    <a:pt x="145" y="977"/>
                  </a:cubicBezTo>
                  <a:cubicBezTo>
                    <a:pt x="131" y="993"/>
                    <a:pt x="117" y="1010"/>
                    <a:pt x="102" y="1026"/>
                  </a:cubicBezTo>
                  <a:cubicBezTo>
                    <a:pt x="96" y="1032"/>
                    <a:pt x="87" y="1037"/>
                    <a:pt x="78" y="1034"/>
                  </a:cubicBezTo>
                  <a:cubicBezTo>
                    <a:pt x="70" y="1030"/>
                    <a:pt x="73" y="1021"/>
                    <a:pt x="73" y="1015"/>
                  </a:cubicBezTo>
                  <a:cubicBezTo>
                    <a:pt x="73" y="991"/>
                    <a:pt x="73" y="967"/>
                    <a:pt x="73" y="944"/>
                  </a:cubicBezTo>
                  <a:cubicBezTo>
                    <a:pt x="73" y="916"/>
                    <a:pt x="75" y="917"/>
                    <a:pt x="46" y="918"/>
                  </a:cubicBezTo>
                  <a:cubicBezTo>
                    <a:pt x="33" y="918"/>
                    <a:pt x="33" y="918"/>
                    <a:pt x="33" y="931"/>
                  </a:cubicBezTo>
                  <a:cubicBezTo>
                    <a:pt x="33" y="971"/>
                    <a:pt x="33" y="1011"/>
                    <a:pt x="33" y="1051"/>
                  </a:cubicBezTo>
                  <a:cubicBezTo>
                    <a:pt x="33" y="1051"/>
                    <a:pt x="33" y="1051"/>
                    <a:pt x="33" y="1051"/>
                  </a:cubicBezTo>
                  <a:close/>
                  <a:moveTo>
                    <a:pt x="639" y="84"/>
                  </a:moveTo>
                  <a:cubicBezTo>
                    <a:pt x="627" y="84"/>
                    <a:pt x="626" y="84"/>
                    <a:pt x="629" y="95"/>
                  </a:cubicBezTo>
                  <a:cubicBezTo>
                    <a:pt x="634" y="113"/>
                    <a:pt x="640" y="131"/>
                    <a:pt x="646" y="148"/>
                  </a:cubicBezTo>
                  <a:cubicBezTo>
                    <a:pt x="652" y="166"/>
                    <a:pt x="658" y="185"/>
                    <a:pt x="664" y="203"/>
                  </a:cubicBezTo>
                  <a:cubicBezTo>
                    <a:pt x="671" y="223"/>
                    <a:pt x="676" y="244"/>
                    <a:pt x="684" y="264"/>
                  </a:cubicBezTo>
                  <a:cubicBezTo>
                    <a:pt x="688" y="274"/>
                    <a:pt x="694" y="274"/>
                    <a:pt x="702" y="274"/>
                  </a:cubicBezTo>
                  <a:cubicBezTo>
                    <a:pt x="711" y="274"/>
                    <a:pt x="719" y="272"/>
                    <a:pt x="723" y="263"/>
                  </a:cubicBezTo>
                  <a:cubicBezTo>
                    <a:pt x="733" y="236"/>
                    <a:pt x="741" y="208"/>
                    <a:pt x="750" y="181"/>
                  </a:cubicBezTo>
                  <a:cubicBezTo>
                    <a:pt x="754" y="169"/>
                    <a:pt x="757" y="156"/>
                    <a:pt x="763" y="145"/>
                  </a:cubicBezTo>
                  <a:cubicBezTo>
                    <a:pt x="764" y="143"/>
                    <a:pt x="764" y="140"/>
                    <a:pt x="767" y="140"/>
                  </a:cubicBezTo>
                  <a:cubicBezTo>
                    <a:pt x="770" y="140"/>
                    <a:pt x="770" y="143"/>
                    <a:pt x="771" y="145"/>
                  </a:cubicBezTo>
                  <a:cubicBezTo>
                    <a:pt x="771" y="156"/>
                    <a:pt x="777" y="165"/>
                    <a:pt x="780" y="175"/>
                  </a:cubicBezTo>
                  <a:cubicBezTo>
                    <a:pt x="782" y="184"/>
                    <a:pt x="785" y="193"/>
                    <a:pt x="788" y="201"/>
                  </a:cubicBezTo>
                  <a:cubicBezTo>
                    <a:pt x="794" y="219"/>
                    <a:pt x="801" y="237"/>
                    <a:pt x="806" y="255"/>
                  </a:cubicBezTo>
                  <a:cubicBezTo>
                    <a:pt x="811" y="272"/>
                    <a:pt x="825" y="280"/>
                    <a:pt x="842" y="273"/>
                  </a:cubicBezTo>
                  <a:cubicBezTo>
                    <a:pt x="845" y="271"/>
                    <a:pt x="847" y="269"/>
                    <a:pt x="848" y="266"/>
                  </a:cubicBezTo>
                  <a:cubicBezTo>
                    <a:pt x="853" y="251"/>
                    <a:pt x="859" y="236"/>
                    <a:pt x="863" y="221"/>
                  </a:cubicBezTo>
                  <a:cubicBezTo>
                    <a:pt x="867" y="202"/>
                    <a:pt x="875" y="185"/>
                    <a:pt x="880" y="166"/>
                  </a:cubicBezTo>
                  <a:cubicBezTo>
                    <a:pt x="886" y="144"/>
                    <a:pt x="895" y="123"/>
                    <a:pt x="900" y="101"/>
                  </a:cubicBezTo>
                  <a:cubicBezTo>
                    <a:pt x="901" y="96"/>
                    <a:pt x="909" y="91"/>
                    <a:pt x="904" y="86"/>
                  </a:cubicBezTo>
                  <a:cubicBezTo>
                    <a:pt x="900" y="81"/>
                    <a:pt x="892" y="84"/>
                    <a:pt x="886" y="84"/>
                  </a:cubicBezTo>
                  <a:cubicBezTo>
                    <a:pt x="885" y="84"/>
                    <a:pt x="883" y="84"/>
                    <a:pt x="881" y="84"/>
                  </a:cubicBezTo>
                  <a:cubicBezTo>
                    <a:pt x="875" y="84"/>
                    <a:pt x="872" y="86"/>
                    <a:pt x="869" y="91"/>
                  </a:cubicBezTo>
                  <a:cubicBezTo>
                    <a:pt x="860" y="110"/>
                    <a:pt x="856" y="131"/>
                    <a:pt x="850" y="151"/>
                  </a:cubicBezTo>
                  <a:cubicBezTo>
                    <a:pt x="844" y="170"/>
                    <a:pt x="836" y="188"/>
                    <a:pt x="834" y="208"/>
                  </a:cubicBezTo>
                  <a:cubicBezTo>
                    <a:pt x="833" y="211"/>
                    <a:pt x="831" y="214"/>
                    <a:pt x="827" y="214"/>
                  </a:cubicBezTo>
                  <a:cubicBezTo>
                    <a:pt x="823" y="214"/>
                    <a:pt x="822" y="210"/>
                    <a:pt x="822" y="207"/>
                  </a:cubicBezTo>
                  <a:cubicBezTo>
                    <a:pt x="817" y="188"/>
                    <a:pt x="811" y="170"/>
                    <a:pt x="805" y="152"/>
                  </a:cubicBezTo>
                  <a:cubicBezTo>
                    <a:pt x="799" y="133"/>
                    <a:pt x="794" y="114"/>
                    <a:pt x="786" y="96"/>
                  </a:cubicBezTo>
                  <a:cubicBezTo>
                    <a:pt x="783" y="87"/>
                    <a:pt x="779" y="84"/>
                    <a:pt x="770" y="84"/>
                  </a:cubicBezTo>
                  <a:cubicBezTo>
                    <a:pt x="761" y="84"/>
                    <a:pt x="752" y="82"/>
                    <a:pt x="748" y="94"/>
                  </a:cubicBezTo>
                  <a:cubicBezTo>
                    <a:pt x="744" y="109"/>
                    <a:pt x="738" y="123"/>
                    <a:pt x="734" y="138"/>
                  </a:cubicBezTo>
                  <a:cubicBezTo>
                    <a:pt x="729" y="153"/>
                    <a:pt x="724" y="167"/>
                    <a:pt x="719" y="182"/>
                  </a:cubicBezTo>
                  <a:cubicBezTo>
                    <a:pt x="716" y="192"/>
                    <a:pt x="715" y="203"/>
                    <a:pt x="708" y="212"/>
                  </a:cubicBezTo>
                  <a:cubicBezTo>
                    <a:pt x="707" y="214"/>
                    <a:pt x="707" y="217"/>
                    <a:pt x="704" y="217"/>
                  </a:cubicBezTo>
                  <a:cubicBezTo>
                    <a:pt x="701" y="217"/>
                    <a:pt x="701" y="213"/>
                    <a:pt x="700" y="211"/>
                  </a:cubicBezTo>
                  <a:cubicBezTo>
                    <a:pt x="699" y="198"/>
                    <a:pt x="694" y="186"/>
                    <a:pt x="690" y="174"/>
                  </a:cubicBezTo>
                  <a:cubicBezTo>
                    <a:pt x="684" y="153"/>
                    <a:pt x="677" y="131"/>
                    <a:pt x="672" y="110"/>
                  </a:cubicBezTo>
                  <a:cubicBezTo>
                    <a:pt x="667" y="88"/>
                    <a:pt x="663" y="84"/>
                    <a:pt x="645" y="84"/>
                  </a:cubicBezTo>
                  <a:cubicBezTo>
                    <a:pt x="643" y="84"/>
                    <a:pt x="641" y="84"/>
                    <a:pt x="639" y="84"/>
                  </a:cubicBezTo>
                  <a:close/>
                  <a:moveTo>
                    <a:pt x="507" y="711"/>
                  </a:moveTo>
                  <a:cubicBezTo>
                    <a:pt x="507" y="730"/>
                    <a:pt x="507" y="730"/>
                    <a:pt x="526" y="730"/>
                  </a:cubicBezTo>
                  <a:cubicBezTo>
                    <a:pt x="539" y="730"/>
                    <a:pt x="541" y="729"/>
                    <a:pt x="541" y="715"/>
                  </a:cubicBezTo>
                  <a:cubicBezTo>
                    <a:pt x="541" y="677"/>
                    <a:pt x="541" y="638"/>
                    <a:pt x="540" y="600"/>
                  </a:cubicBezTo>
                  <a:cubicBezTo>
                    <a:pt x="540" y="593"/>
                    <a:pt x="543" y="587"/>
                    <a:pt x="548" y="582"/>
                  </a:cubicBezTo>
                  <a:cubicBezTo>
                    <a:pt x="553" y="576"/>
                    <a:pt x="559" y="573"/>
                    <a:pt x="564" y="569"/>
                  </a:cubicBezTo>
                  <a:cubicBezTo>
                    <a:pt x="574" y="564"/>
                    <a:pt x="594" y="566"/>
                    <a:pt x="602" y="574"/>
                  </a:cubicBezTo>
                  <a:cubicBezTo>
                    <a:pt x="611" y="582"/>
                    <a:pt x="614" y="592"/>
                    <a:pt x="614" y="604"/>
                  </a:cubicBezTo>
                  <a:cubicBezTo>
                    <a:pt x="614" y="638"/>
                    <a:pt x="614" y="672"/>
                    <a:pt x="614" y="706"/>
                  </a:cubicBezTo>
                  <a:cubicBezTo>
                    <a:pt x="614" y="730"/>
                    <a:pt x="614" y="730"/>
                    <a:pt x="638" y="730"/>
                  </a:cubicBezTo>
                  <a:cubicBezTo>
                    <a:pt x="650" y="730"/>
                    <a:pt x="650" y="730"/>
                    <a:pt x="650" y="717"/>
                  </a:cubicBezTo>
                  <a:cubicBezTo>
                    <a:pt x="650" y="684"/>
                    <a:pt x="650" y="650"/>
                    <a:pt x="650" y="617"/>
                  </a:cubicBezTo>
                  <a:cubicBezTo>
                    <a:pt x="650" y="606"/>
                    <a:pt x="651" y="597"/>
                    <a:pt x="657" y="586"/>
                  </a:cubicBezTo>
                  <a:cubicBezTo>
                    <a:pt x="667" y="565"/>
                    <a:pt x="703" y="560"/>
                    <a:pt x="716" y="579"/>
                  </a:cubicBezTo>
                  <a:cubicBezTo>
                    <a:pt x="723" y="588"/>
                    <a:pt x="724" y="598"/>
                    <a:pt x="724" y="609"/>
                  </a:cubicBezTo>
                  <a:cubicBezTo>
                    <a:pt x="724" y="645"/>
                    <a:pt x="724" y="682"/>
                    <a:pt x="724" y="718"/>
                  </a:cubicBezTo>
                  <a:cubicBezTo>
                    <a:pt x="724" y="727"/>
                    <a:pt x="727" y="731"/>
                    <a:pt x="736" y="730"/>
                  </a:cubicBezTo>
                  <a:cubicBezTo>
                    <a:pt x="738" y="730"/>
                    <a:pt x="741" y="730"/>
                    <a:pt x="743" y="730"/>
                  </a:cubicBezTo>
                  <a:cubicBezTo>
                    <a:pt x="758" y="730"/>
                    <a:pt x="759" y="729"/>
                    <a:pt x="759" y="715"/>
                  </a:cubicBezTo>
                  <a:cubicBezTo>
                    <a:pt x="759" y="677"/>
                    <a:pt x="758" y="639"/>
                    <a:pt x="759" y="601"/>
                  </a:cubicBezTo>
                  <a:cubicBezTo>
                    <a:pt x="759" y="571"/>
                    <a:pt x="742" y="540"/>
                    <a:pt x="704" y="538"/>
                  </a:cubicBezTo>
                  <a:cubicBezTo>
                    <a:pt x="681" y="536"/>
                    <a:pt x="661" y="542"/>
                    <a:pt x="646" y="560"/>
                  </a:cubicBezTo>
                  <a:cubicBezTo>
                    <a:pt x="638" y="569"/>
                    <a:pt x="638" y="569"/>
                    <a:pt x="631" y="559"/>
                  </a:cubicBezTo>
                  <a:cubicBezTo>
                    <a:pt x="630" y="558"/>
                    <a:pt x="630" y="557"/>
                    <a:pt x="629" y="556"/>
                  </a:cubicBezTo>
                  <a:cubicBezTo>
                    <a:pt x="623" y="548"/>
                    <a:pt x="616" y="541"/>
                    <a:pt x="607" y="539"/>
                  </a:cubicBezTo>
                  <a:cubicBezTo>
                    <a:pt x="584" y="534"/>
                    <a:pt x="563" y="539"/>
                    <a:pt x="545" y="555"/>
                  </a:cubicBezTo>
                  <a:cubicBezTo>
                    <a:pt x="540" y="559"/>
                    <a:pt x="537" y="561"/>
                    <a:pt x="537" y="552"/>
                  </a:cubicBezTo>
                  <a:cubicBezTo>
                    <a:pt x="536" y="543"/>
                    <a:pt x="526" y="538"/>
                    <a:pt x="515" y="539"/>
                  </a:cubicBezTo>
                  <a:cubicBezTo>
                    <a:pt x="506" y="540"/>
                    <a:pt x="507" y="546"/>
                    <a:pt x="507" y="552"/>
                  </a:cubicBezTo>
                  <a:cubicBezTo>
                    <a:pt x="507" y="580"/>
                    <a:pt x="507" y="607"/>
                    <a:pt x="507" y="634"/>
                  </a:cubicBezTo>
                  <a:cubicBezTo>
                    <a:pt x="507" y="660"/>
                    <a:pt x="507" y="685"/>
                    <a:pt x="507" y="711"/>
                  </a:cubicBezTo>
                  <a:close/>
                  <a:moveTo>
                    <a:pt x="1525" y="1142"/>
                  </a:moveTo>
                  <a:cubicBezTo>
                    <a:pt x="1517" y="1143"/>
                    <a:pt x="1511" y="1141"/>
                    <a:pt x="1505" y="1136"/>
                  </a:cubicBezTo>
                  <a:cubicBezTo>
                    <a:pt x="1501" y="1133"/>
                    <a:pt x="1495" y="1130"/>
                    <a:pt x="1498" y="1124"/>
                  </a:cubicBezTo>
                  <a:cubicBezTo>
                    <a:pt x="1500" y="1118"/>
                    <a:pt x="1504" y="1114"/>
                    <a:pt x="1512" y="1114"/>
                  </a:cubicBezTo>
                  <a:cubicBezTo>
                    <a:pt x="1521" y="1115"/>
                    <a:pt x="1530" y="1114"/>
                    <a:pt x="1538" y="1115"/>
                  </a:cubicBezTo>
                  <a:cubicBezTo>
                    <a:pt x="1573" y="1117"/>
                    <a:pt x="1610" y="1084"/>
                    <a:pt x="1602" y="1044"/>
                  </a:cubicBezTo>
                  <a:cubicBezTo>
                    <a:pt x="1600" y="1035"/>
                    <a:pt x="1599" y="1028"/>
                    <a:pt x="1611" y="1027"/>
                  </a:cubicBezTo>
                  <a:cubicBezTo>
                    <a:pt x="1614" y="1027"/>
                    <a:pt x="1617" y="1024"/>
                    <a:pt x="1619" y="1023"/>
                  </a:cubicBezTo>
                  <a:cubicBezTo>
                    <a:pt x="1626" y="1019"/>
                    <a:pt x="1624" y="1013"/>
                    <a:pt x="1623" y="1008"/>
                  </a:cubicBezTo>
                  <a:cubicBezTo>
                    <a:pt x="1623" y="1002"/>
                    <a:pt x="1618" y="1003"/>
                    <a:pt x="1613" y="1002"/>
                  </a:cubicBezTo>
                  <a:cubicBezTo>
                    <a:pt x="1598" y="1002"/>
                    <a:pt x="1582" y="1004"/>
                    <a:pt x="1567" y="1000"/>
                  </a:cubicBezTo>
                  <a:cubicBezTo>
                    <a:pt x="1560" y="999"/>
                    <a:pt x="1554" y="993"/>
                    <a:pt x="1546" y="993"/>
                  </a:cubicBezTo>
                  <a:cubicBezTo>
                    <a:pt x="1536" y="994"/>
                    <a:pt x="1525" y="992"/>
                    <a:pt x="1515" y="993"/>
                  </a:cubicBezTo>
                  <a:cubicBezTo>
                    <a:pt x="1490" y="997"/>
                    <a:pt x="1469" y="1010"/>
                    <a:pt x="1462" y="1034"/>
                  </a:cubicBezTo>
                  <a:cubicBezTo>
                    <a:pt x="1455" y="1056"/>
                    <a:pt x="1457" y="1079"/>
                    <a:pt x="1476" y="1096"/>
                  </a:cubicBezTo>
                  <a:cubicBezTo>
                    <a:pt x="1483" y="1103"/>
                    <a:pt x="1483" y="1107"/>
                    <a:pt x="1476" y="1113"/>
                  </a:cubicBezTo>
                  <a:cubicBezTo>
                    <a:pt x="1462" y="1126"/>
                    <a:pt x="1462" y="1142"/>
                    <a:pt x="1473" y="1157"/>
                  </a:cubicBezTo>
                  <a:cubicBezTo>
                    <a:pt x="1476" y="1160"/>
                    <a:pt x="1476" y="1162"/>
                    <a:pt x="1472" y="1164"/>
                  </a:cubicBezTo>
                  <a:cubicBezTo>
                    <a:pt x="1470" y="1166"/>
                    <a:pt x="1468" y="1168"/>
                    <a:pt x="1466" y="1170"/>
                  </a:cubicBezTo>
                  <a:cubicBezTo>
                    <a:pt x="1449" y="1183"/>
                    <a:pt x="1444" y="1201"/>
                    <a:pt x="1454" y="1218"/>
                  </a:cubicBezTo>
                  <a:cubicBezTo>
                    <a:pt x="1464" y="1235"/>
                    <a:pt x="1479" y="1246"/>
                    <a:pt x="1499" y="1249"/>
                  </a:cubicBezTo>
                  <a:cubicBezTo>
                    <a:pt x="1517" y="1252"/>
                    <a:pt x="1535" y="1253"/>
                    <a:pt x="1553" y="1250"/>
                  </a:cubicBezTo>
                  <a:cubicBezTo>
                    <a:pt x="1584" y="1245"/>
                    <a:pt x="1607" y="1232"/>
                    <a:pt x="1619" y="1200"/>
                  </a:cubicBezTo>
                  <a:cubicBezTo>
                    <a:pt x="1627" y="1180"/>
                    <a:pt x="1611" y="1155"/>
                    <a:pt x="1593" y="1148"/>
                  </a:cubicBezTo>
                  <a:cubicBezTo>
                    <a:pt x="1578" y="1142"/>
                    <a:pt x="1563" y="1143"/>
                    <a:pt x="1549" y="1142"/>
                  </a:cubicBezTo>
                  <a:cubicBezTo>
                    <a:pt x="1540" y="1142"/>
                    <a:pt x="1532" y="1142"/>
                    <a:pt x="1525" y="1142"/>
                  </a:cubicBezTo>
                  <a:close/>
                  <a:moveTo>
                    <a:pt x="1556" y="1172"/>
                  </a:moveTo>
                  <a:cubicBezTo>
                    <a:pt x="1566" y="1172"/>
                    <a:pt x="1576" y="1176"/>
                    <a:pt x="1583" y="1183"/>
                  </a:cubicBezTo>
                  <a:cubicBezTo>
                    <a:pt x="1589" y="1190"/>
                    <a:pt x="1589" y="1198"/>
                    <a:pt x="1583" y="1205"/>
                  </a:cubicBezTo>
                  <a:cubicBezTo>
                    <a:pt x="1575" y="1215"/>
                    <a:pt x="1565" y="1220"/>
                    <a:pt x="1553" y="1223"/>
                  </a:cubicBezTo>
                  <a:cubicBezTo>
                    <a:pt x="1534" y="1228"/>
                    <a:pt x="1516" y="1225"/>
                    <a:pt x="1499" y="1219"/>
                  </a:cubicBezTo>
                  <a:cubicBezTo>
                    <a:pt x="1486" y="1214"/>
                    <a:pt x="1479" y="1203"/>
                    <a:pt x="1482" y="1193"/>
                  </a:cubicBezTo>
                  <a:cubicBezTo>
                    <a:pt x="1485" y="1182"/>
                    <a:pt x="1496" y="1168"/>
                    <a:pt x="1514" y="1171"/>
                  </a:cubicBezTo>
                  <a:cubicBezTo>
                    <a:pt x="1526" y="1173"/>
                    <a:pt x="1541" y="1171"/>
                    <a:pt x="1556" y="1172"/>
                  </a:cubicBezTo>
                  <a:close/>
                  <a:moveTo>
                    <a:pt x="1531" y="1019"/>
                  </a:moveTo>
                  <a:cubicBezTo>
                    <a:pt x="1553" y="1017"/>
                    <a:pt x="1570" y="1033"/>
                    <a:pt x="1570" y="1052"/>
                  </a:cubicBezTo>
                  <a:cubicBezTo>
                    <a:pt x="1570" y="1075"/>
                    <a:pt x="1554" y="1093"/>
                    <a:pt x="1532" y="1091"/>
                  </a:cubicBezTo>
                  <a:cubicBezTo>
                    <a:pt x="1508" y="1089"/>
                    <a:pt x="1494" y="1082"/>
                    <a:pt x="1493" y="1053"/>
                  </a:cubicBezTo>
                  <a:cubicBezTo>
                    <a:pt x="1494" y="1029"/>
                    <a:pt x="1508" y="1020"/>
                    <a:pt x="1531" y="1019"/>
                  </a:cubicBezTo>
                  <a:close/>
                  <a:moveTo>
                    <a:pt x="1413" y="934"/>
                  </a:moveTo>
                  <a:cubicBezTo>
                    <a:pt x="1413" y="909"/>
                    <a:pt x="1413" y="909"/>
                    <a:pt x="1389" y="910"/>
                  </a:cubicBezTo>
                  <a:cubicBezTo>
                    <a:pt x="1388" y="910"/>
                    <a:pt x="1387" y="910"/>
                    <a:pt x="1387" y="910"/>
                  </a:cubicBezTo>
                  <a:cubicBezTo>
                    <a:pt x="1379" y="910"/>
                    <a:pt x="1376" y="915"/>
                    <a:pt x="1376" y="921"/>
                  </a:cubicBezTo>
                  <a:cubicBezTo>
                    <a:pt x="1376" y="939"/>
                    <a:pt x="1377" y="956"/>
                    <a:pt x="1377" y="974"/>
                  </a:cubicBezTo>
                  <a:cubicBezTo>
                    <a:pt x="1377" y="983"/>
                    <a:pt x="1377" y="991"/>
                    <a:pt x="1377" y="1000"/>
                  </a:cubicBezTo>
                  <a:cubicBezTo>
                    <a:pt x="1377" y="1005"/>
                    <a:pt x="1374" y="1009"/>
                    <a:pt x="1369" y="1005"/>
                  </a:cubicBezTo>
                  <a:cubicBezTo>
                    <a:pt x="1352" y="990"/>
                    <a:pt x="1332" y="993"/>
                    <a:pt x="1312" y="993"/>
                  </a:cubicBezTo>
                  <a:cubicBezTo>
                    <a:pt x="1303" y="994"/>
                    <a:pt x="1294" y="998"/>
                    <a:pt x="1287" y="1003"/>
                  </a:cubicBezTo>
                  <a:cubicBezTo>
                    <a:pt x="1265" y="1017"/>
                    <a:pt x="1252" y="1039"/>
                    <a:pt x="1248" y="1065"/>
                  </a:cubicBezTo>
                  <a:cubicBezTo>
                    <a:pt x="1244" y="1096"/>
                    <a:pt x="1244" y="1128"/>
                    <a:pt x="1261" y="1157"/>
                  </a:cubicBezTo>
                  <a:cubicBezTo>
                    <a:pt x="1270" y="1170"/>
                    <a:pt x="1281" y="1181"/>
                    <a:pt x="1296" y="1185"/>
                  </a:cubicBezTo>
                  <a:cubicBezTo>
                    <a:pt x="1323" y="1191"/>
                    <a:pt x="1349" y="1188"/>
                    <a:pt x="1370" y="1167"/>
                  </a:cubicBezTo>
                  <a:cubicBezTo>
                    <a:pt x="1372" y="1165"/>
                    <a:pt x="1375" y="1162"/>
                    <a:pt x="1379" y="1163"/>
                  </a:cubicBezTo>
                  <a:cubicBezTo>
                    <a:pt x="1382" y="1165"/>
                    <a:pt x="1381" y="1169"/>
                    <a:pt x="1381" y="1172"/>
                  </a:cubicBezTo>
                  <a:cubicBezTo>
                    <a:pt x="1383" y="1181"/>
                    <a:pt x="1390" y="1186"/>
                    <a:pt x="1403" y="1186"/>
                  </a:cubicBezTo>
                  <a:cubicBezTo>
                    <a:pt x="1413" y="1185"/>
                    <a:pt x="1413" y="1178"/>
                    <a:pt x="1413" y="1172"/>
                  </a:cubicBezTo>
                  <a:cubicBezTo>
                    <a:pt x="1413" y="1131"/>
                    <a:pt x="1413" y="1090"/>
                    <a:pt x="1413" y="1049"/>
                  </a:cubicBezTo>
                  <a:cubicBezTo>
                    <a:pt x="1413" y="1010"/>
                    <a:pt x="1413" y="972"/>
                    <a:pt x="1413" y="934"/>
                  </a:cubicBezTo>
                  <a:close/>
                  <a:moveTo>
                    <a:pt x="1378" y="1113"/>
                  </a:moveTo>
                  <a:cubicBezTo>
                    <a:pt x="1378" y="1136"/>
                    <a:pt x="1360" y="1155"/>
                    <a:pt x="1337" y="1157"/>
                  </a:cubicBezTo>
                  <a:cubicBezTo>
                    <a:pt x="1319" y="1159"/>
                    <a:pt x="1304" y="1154"/>
                    <a:pt x="1294" y="1139"/>
                  </a:cubicBezTo>
                  <a:cubicBezTo>
                    <a:pt x="1286" y="1128"/>
                    <a:pt x="1283" y="1116"/>
                    <a:pt x="1283" y="1102"/>
                  </a:cubicBezTo>
                  <a:cubicBezTo>
                    <a:pt x="1282" y="1085"/>
                    <a:pt x="1282" y="1067"/>
                    <a:pt x="1290" y="1051"/>
                  </a:cubicBezTo>
                  <a:cubicBezTo>
                    <a:pt x="1297" y="1036"/>
                    <a:pt x="1308" y="1024"/>
                    <a:pt x="1325" y="1022"/>
                  </a:cubicBezTo>
                  <a:cubicBezTo>
                    <a:pt x="1342" y="1020"/>
                    <a:pt x="1358" y="1021"/>
                    <a:pt x="1371" y="1035"/>
                  </a:cubicBezTo>
                  <a:cubicBezTo>
                    <a:pt x="1376" y="1041"/>
                    <a:pt x="1378" y="1046"/>
                    <a:pt x="1378" y="1052"/>
                  </a:cubicBezTo>
                  <a:cubicBezTo>
                    <a:pt x="1378" y="1064"/>
                    <a:pt x="1378" y="1075"/>
                    <a:pt x="1378" y="1086"/>
                  </a:cubicBezTo>
                  <a:cubicBezTo>
                    <a:pt x="1378" y="1086"/>
                    <a:pt x="1378" y="1086"/>
                    <a:pt x="1378" y="1086"/>
                  </a:cubicBezTo>
                  <a:cubicBezTo>
                    <a:pt x="1378" y="1095"/>
                    <a:pt x="1378" y="1104"/>
                    <a:pt x="1378" y="1113"/>
                  </a:cubicBezTo>
                  <a:close/>
                  <a:moveTo>
                    <a:pt x="578" y="259"/>
                  </a:moveTo>
                  <a:cubicBezTo>
                    <a:pt x="603" y="241"/>
                    <a:pt x="611" y="213"/>
                    <a:pt x="614" y="183"/>
                  </a:cubicBezTo>
                  <a:cubicBezTo>
                    <a:pt x="615" y="171"/>
                    <a:pt x="610" y="159"/>
                    <a:pt x="609" y="147"/>
                  </a:cubicBezTo>
                  <a:cubicBezTo>
                    <a:pt x="608" y="137"/>
                    <a:pt x="603" y="129"/>
                    <a:pt x="599" y="121"/>
                  </a:cubicBezTo>
                  <a:cubicBezTo>
                    <a:pt x="579" y="87"/>
                    <a:pt x="527" y="70"/>
                    <a:pt x="488" y="85"/>
                  </a:cubicBezTo>
                  <a:cubicBezTo>
                    <a:pt x="453" y="99"/>
                    <a:pt x="436" y="127"/>
                    <a:pt x="431" y="163"/>
                  </a:cubicBezTo>
                  <a:cubicBezTo>
                    <a:pt x="429" y="180"/>
                    <a:pt x="430" y="196"/>
                    <a:pt x="436" y="213"/>
                  </a:cubicBezTo>
                  <a:cubicBezTo>
                    <a:pt x="439" y="222"/>
                    <a:pt x="442" y="232"/>
                    <a:pt x="447" y="239"/>
                  </a:cubicBezTo>
                  <a:cubicBezTo>
                    <a:pt x="465" y="265"/>
                    <a:pt x="491" y="277"/>
                    <a:pt x="525" y="276"/>
                  </a:cubicBezTo>
                  <a:cubicBezTo>
                    <a:pt x="543" y="278"/>
                    <a:pt x="562" y="271"/>
                    <a:pt x="578" y="259"/>
                  </a:cubicBezTo>
                  <a:close/>
                  <a:moveTo>
                    <a:pt x="471" y="205"/>
                  </a:moveTo>
                  <a:cubicBezTo>
                    <a:pt x="466" y="185"/>
                    <a:pt x="468" y="167"/>
                    <a:pt x="472" y="147"/>
                  </a:cubicBezTo>
                  <a:cubicBezTo>
                    <a:pt x="477" y="130"/>
                    <a:pt x="493" y="116"/>
                    <a:pt x="509" y="112"/>
                  </a:cubicBezTo>
                  <a:cubicBezTo>
                    <a:pt x="525" y="108"/>
                    <a:pt x="539" y="110"/>
                    <a:pt x="553" y="119"/>
                  </a:cubicBezTo>
                  <a:cubicBezTo>
                    <a:pt x="563" y="125"/>
                    <a:pt x="568" y="135"/>
                    <a:pt x="571" y="146"/>
                  </a:cubicBezTo>
                  <a:cubicBezTo>
                    <a:pt x="577" y="167"/>
                    <a:pt x="578" y="189"/>
                    <a:pt x="571" y="211"/>
                  </a:cubicBezTo>
                  <a:cubicBezTo>
                    <a:pt x="565" y="231"/>
                    <a:pt x="549" y="249"/>
                    <a:pt x="521" y="247"/>
                  </a:cubicBezTo>
                  <a:cubicBezTo>
                    <a:pt x="496" y="247"/>
                    <a:pt x="478" y="230"/>
                    <a:pt x="471" y="205"/>
                  </a:cubicBezTo>
                  <a:close/>
                  <a:moveTo>
                    <a:pt x="472" y="1122"/>
                  </a:moveTo>
                  <a:cubicBezTo>
                    <a:pt x="475" y="1136"/>
                    <a:pt x="481" y="1148"/>
                    <a:pt x="491" y="1158"/>
                  </a:cubicBezTo>
                  <a:cubicBezTo>
                    <a:pt x="506" y="1176"/>
                    <a:pt x="524" y="1185"/>
                    <a:pt x="548" y="1187"/>
                  </a:cubicBezTo>
                  <a:cubicBezTo>
                    <a:pt x="568" y="1188"/>
                    <a:pt x="587" y="1187"/>
                    <a:pt x="605" y="1177"/>
                  </a:cubicBezTo>
                  <a:cubicBezTo>
                    <a:pt x="632" y="1162"/>
                    <a:pt x="644" y="1136"/>
                    <a:pt x="649" y="1107"/>
                  </a:cubicBezTo>
                  <a:cubicBezTo>
                    <a:pt x="652" y="1089"/>
                    <a:pt x="649" y="1072"/>
                    <a:pt x="644" y="1054"/>
                  </a:cubicBezTo>
                  <a:cubicBezTo>
                    <a:pt x="638" y="1034"/>
                    <a:pt x="627" y="1019"/>
                    <a:pt x="610" y="1007"/>
                  </a:cubicBezTo>
                  <a:cubicBezTo>
                    <a:pt x="589" y="992"/>
                    <a:pt x="566" y="991"/>
                    <a:pt x="541" y="994"/>
                  </a:cubicBezTo>
                  <a:cubicBezTo>
                    <a:pt x="526" y="995"/>
                    <a:pt x="512" y="1002"/>
                    <a:pt x="500" y="1012"/>
                  </a:cubicBezTo>
                  <a:cubicBezTo>
                    <a:pt x="476" y="1032"/>
                    <a:pt x="469" y="1060"/>
                    <a:pt x="466" y="1095"/>
                  </a:cubicBezTo>
                  <a:cubicBezTo>
                    <a:pt x="465" y="1101"/>
                    <a:pt x="470" y="1111"/>
                    <a:pt x="472" y="1122"/>
                  </a:cubicBezTo>
                  <a:close/>
                  <a:moveTo>
                    <a:pt x="508" y="1113"/>
                  </a:moveTo>
                  <a:cubicBezTo>
                    <a:pt x="505" y="1095"/>
                    <a:pt x="506" y="1078"/>
                    <a:pt x="508" y="1061"/>
                  </a:cubicBezTo>
                  <a:cubicBezTo>
                    <a:pt x="511" y="1042"/>
                    <a:pt x="538" y="1021"/>
                    <a:pt x="554" y="1022"/>
                  </a:cubicBezTo>
                  <a:cubicBezTo>
                    <a:pt x="570" y="1022"/>
                    <a:pt x="586" y="1024"/>
                    <a:pt x="596" y="1037"/>
                  </a:cubicBezTo>
                  <a:cubicBezTo>
                    <a:pt x="602" y="1044"/>
                    <a:pt x="607" y="1052"/>
                    <a:pt x="608" y="1061"/>
                  </a:cubicBezTo>
                  <a:cubicBezTo>
                    <a:pt x="608" y="1064"/>
                    <a:pt x="609" y="1067"/>
                    <a:pt x="610" y="1070"/>
                  </a:cubicBezTo>
                  <a:cubicBezTo>
                    <a:pt x="618" y="1089"/>
                    <a:pt x="612" y="1107"/>
                    <a:pt x="607" y="1125"/>
                  </a:cubicBezTo>
                  <a:cubicBezTo>
                    <a:pt x="601" y="1143"/>
                    <a:pt x="588" y="1160"/>
                    <a:pt x="558" y="1157"/>
                  </a:cubicBezTo>
                  <a:cubicBezTo>
                    <a:pt x="530" y="1157"/>
                    <a:pt x="512" y="1141"/>
                    <a:pt x="508" y="1113"/>
                  </a:cubicBezTo>
                  <a:close/>
                  <a:moveTo>
                    <a:pt x="430" y="716"/>
                  </a:moveTo>
                  <a:cubicBezTo>
                    <a:pt x="450" y="703"/>
                    <a:pt x="459" y="683"/>
                    <a:pt x="464" y="661"/>
                  </a:cubicBezTo>
                  <a:cubicBezTo>
                    <a:pt x="468" y="648"/>
                    <a:pt x="467" y="635"/>
                    <a:pt x="466" y="621"/>
                  </a:cubicBezTo>
                  <a:cubicBezTo>
                    <a:pt x="463" y="592"/>
                    <a:pt x="453" y="567"/>
                    <a:pt x="427" y="550"/>
                  </a:cubicBezTo>
                  <a:cubicBezTo>
                    <a:pt x="401" y="534"/>
                    <a:pt x="372" y="532"/>
                    <a:pt x="345" y="541"/>
                  </a:cubicBezTo>
                  <a:cubicBezTo>
                    <a:pt x="310" y="552"/>
                    <a:pt x="291" y="580"/>
                    <a:pt x="287" y="617"/>
                  </a:cubicBezTo>
                  <a:cubicBezTo>
                    <a:pt x="286" y="629"/>
                    <a:pt x="286" y="641"/>
                    <a:pt x="287" y="654"/>
                  </a:cubicBezTo>
                  <a:cubicBezTo>
                    <a:pt x="289" y="671"/>
                    <a:pt x="295" y="686"/>
                    <a:pt x="306" y="700"/>
                  </a:cubicBezTo>
                  <a:cubicBezTo>
                    <a:pt x="324" y="722"/>
                    <a:pt x="348" y="733"/>
                    <a:pt x="378" y="731"/>
                  </a:cubicBezTo>
                  <a:cubicBezTo>
                    <a:pt x="396" y="733"/>
                    <a:pt x="414" y="727"/>
                    <a:pt x="430" y="716"/>
                  </a:cubicBezTo>
                  <a:close/>
                  <a:moveTo>
                    <a:pt x="331" y="592"/>
                  </a:moveTo>
                  <a:cubicBezTo>
                    <a:pt x="339" y="580"/>
                    <a:pt x="349" y="569"/>
                    <a:pt x="365" y="567"/>
                  </a:cubicBezTo>
                  <a:cubicBezTo>
                    <a:pt x="387" y="564"/>
                    <a:pt x="406" y="568"/>
                    <a:pt x="419" y="588"/>
                  </a:cubicBezTo>
                  <a:cubicBezTo>
                    <a:pt x="423" y="595"/>
                    <a:pt x="426" y="603"/>
                    <a:pt x="427" y="610"/>
                  </a:cubicBezTo>
                  <a:cubicBezTo>
                    <a:pt x="433" y="635"/>
                    <a:pt x="431" y="661"/>
                    <a:pt x="416" y="684"/>
                  </a:cubicBezTo>
                  <a:cubicBezTo>
                    <a:pt x="403" y="706"/>
                    <a:pt x="362" y="708"/>
                    <a:pt x="345" y="692"/>
                  </a:cubicBezTo>
                  <a:cubicBezTo>
                    <a:pt x="329" y="678"/>
                    <a:pt x="323" y="661"/>
                    <a:pt x="323" y="631"/>
                  </a:cubicBezTo>
                  <a:cubicBezTo>
                    <a:pt x="323" y="619"/>
                    <a:pt x="323" y="605"/>
                    <a:pt x="331" y="592"/>
                  </a:cubicBezTo>
                  <a:close/>
                  <a:moveTo>
                    <a:pt x="1073" y="259"/>
                  </a:moveTo>
                  <a:cubicBezTo>
                    <a:pt x="1073" y="269"/>
                    <a:pt x="1075" y="272"/>
                    <a:pt x="1086" y="272"/>
                  </a:cubicBezTo>
                  <a:cubicBezTo>
                    <a:pt x="1088" y="272"/>
                    <a:pt x="1090" y="272"/>
                    <a:pt x="1092" y="272"/>
                  </a:cubicBezTo>
                  <a:cubicBezTo>
                    <a:pt x="1105" y="272"/>
                    <a:pt x="1106" y="271"/>
                    <a:pt x="1106" y="258"/>
                  </a:cubicBezTo>
                  <a:cubicBezTo>
                    <a:pt x="1106" y="221"/>
                    <a:pt x="1106" y="184"/>
                    <a:pt x="1106" y="147"/>
                  </a:cubicBezTo>
                  <a:cubicBezTo>
                    <a:pt x="1106" y="143"/>
                    <a:pt x="1106" y="140"/>
                    <a:pt x="1107" y="137"/>
                  </a:cubicBezTo>
                  <a:cubicBezTo>
                    <a:pt x="1117" y="117"/>
                    <a:pt x="1157" y="104"/>
                    <a:pt x="1177" y="114"/>
                  </a:cubicBezTo>
                  <a:cubicBezTo>
                    <a:pt x="1179" y="115"/>
                    <a:pt x="1180" y="117"/>
                    <a:pt x="1182" y="118"/>
                  </a:cubicBezTo>
                  <a:cubicBezTo>
                    <a:pt x="1194" y="131"/>
                    <a:pt x="1196" y="147"/>
                    <a:pt x="1196" y="163"/>
                  </a:cubicBezTo>
                  <a:cubicBezTo>
                    <a:pt x="1197" y="195"/>
                    <a:pt x="1196" y="226"/>
                    <a:pt x="1196" y="258"/>
                  </a:cubicBezTo>
                  <a:cubicBezTo>
                    <a:pt x="1196" y="271"/>
                    <a:pt x="1197" y="272"/>
                    <a:pt x="1210" y="272"/>
                  </a:cubicBezTo>
                  <a:cubicBezTo>
                    <a:pt x="1212" y="272"/>
                    <a:pt x="1213" y="272"/>
                    <a:pt x="1215" y="272"/>
                  </a:cubicBezTo>
                  <a:cubicBezTo>
                    <a:pt x="1227" y="272"/>
                    <a:pt x="1229" y="270"/>
                    <a:pt x="1229" y="258"/>
                  </a:cubicBezTo>
                  <a:cubicBezTo>
                    <a:pt x="1229" y="222"/>
                    <a:pt x="1229" y="187"/>
                    <a:pt x="1229" y="151"/>
                  </a:cubicBezTo>
                  <a:cubicBezTo>
                    <a:pt x="1229" y="142"/>
                    <a:pt x="1228" y="132"/>
                    <a:pt x="1225" y="123"/>
                  </a:cubicBezTo>
                  <a:cubicBezTo>
                    <a:pt x="1219" y="105"/>
                    <a:pt x="1208" y="91"/>
                    <a:pt x="1189" y="85"/>
                  </a:cubicBezTo>
                  <a:cubicBezTo>
                    <a:pt x="1173" y="80"/>
                    <a:pt x="1156" y="84"/>
                    <a:pt x="1139" y="84"/>
                  </a:cubicBezTo>
                  <a:cubicBezTo>
                    <a:pt x="1137" y="84"/>
                    <a:pt x="1136" y="86"/>
                    <a:pt x="1134" y="87"/>
                  </a:cubicBezTo>
                  <a:cubicBezTo>
                    <a:pt x="1128" y="91"/>
                    <a:pt x="1121" y="96"/>
                    <a:pt x="1115" y="100"/>
                  </a:cubicBezTo>
                  <a:cubicBezTo>
                    <a:pt x="1113" y="102"/>
                    <a:pt x="1111" y="105"/>
                    <a:pt x="1108" y="103"/>
                  </a:cubicBezTo>
                  <a:cubicBezTo>
                    <a:pt x="1105" y="102"/>
                    <a:pt x="1106" y="98"/>
                    <a:pt x="1106" y="96"/>
                  </a:cubicBezTo>
                  <a:cubicBezTo>
                    <a:pt x="1106" y="69"/>
                    <a:pt x="1106" y="43"/>
                    <a:pt x="1106" y="17"/>
                  </a:cubicBezTo>
                  <a:cubicBezTo>
                    <a:pt x="1106" y="0"/>
                    <a:pt x="1106" y="0"/>
                    <a:pt x="1089" y="0"/>
                  </a:cubicBezTo>
                  <a:cubicBezTo>
                    <a:pt x="1074" y="0"/>
                    <a:pt x="1073" y="1"/>
                    <a:pt x="1073" y="16"/>
                  </a:cubicBezTo>
                  <a:cubicBezTo>
                    <a:pt x="1073" y="56"/>
                    <a:pt x="1073" y="96"/>
                    <a:pt x="1073" y="136"/>
                  </a:cubicBezTo>
                  <a:cubicBezTo>
                    <a:pt x="1073" y="177"/>
                    <a:pt x="1073" y="218"/>
                    <a:pt x="1073" y="259"/>
                  </a:cubicBezTo>
                  <a:close/>
                  <a:moveTo>
                    <a:pt x="1150" y="1092"/>
                  </a:moveTo>
                  <a:cubicBezTo>
                    <a:pt x="1168" y="1092"/>
                    <a:pt x="1186" y="1092"/>
                    <a:pt x="1204" y="1092"/>
                  </a:cubicBezTo>
                  <a:cubicBezTo>
                    <a:pt x="1215" y="1092"/>
                    <a:pt x="1218" y="1087"/>
                    <a:pt x="1219" y="1077"/>
                  </a:cubicBezTo>
                  <a:cubicBezTo>
                    <a:pt x="1220" y="1062"/>
                    <a:pt x="1216" y="1049"/>
                    <a:pt x="1210" y="1036"/>
                  </a:cubicBezTo>
                  <a:cubicBezTo>
                    <a:pt x="1204" y="1020"/>
                    <a:pt x="1193" y="1008"/>
                    <a:pt x="1177" y="1001"/>
                  </a:cubicBezTo>
                  <a:cubicBezTo>
                    <a:pt x="1155" y="992"/>
                    <a:pt x="1133" y="991"/>
                    <a:pt x="1109" y="999"/>
                  </a:cubicBezTo>
                  <a:cubicBezTo>
                    <a:pt x="1079" y="1010"/>
                    <a:pt x="1062" y="1031"/>
                    <a:pt x="1056" y="1061"/>
                  </a:cubicBezTo>
                  <a:cubicBezTo>
                    <a:pt x="1051" y="1090"/>
                    <a:pt x="1052" y="1120"/>
                    <a:pt x="1069" y="1148"/>
                  </a:cubicBezTo>
                  <a:cubicBezTo>
                    <a:pt x="1081" y="1169"/>
                    <a:pt x="1100" y="1180"/>
                    <a:pt x="1122" y="1185"/>
                  </a:cubicBezTo>
                  <a:cubicBezTo>
                    <a:pt x="1149" y="1190"/>
                    <a:pt x="1176" y="1186"/>
                    <a:pt x="1200" y="1171"/>
                  </a:cubicBezTo>
                  <a:cubicBezTo>
                    <a:pt x="1206" y="1168"/>
                    <a:pt x="1213" y="1165"/>
                    <a:pt x="1214" y="1157"/>
                  </a:cubicBezTo>
                  <a:cubicBezTo>
                    <a:pt x="1215" y="1147"/>
                    <a:pt x="1202" y="1139"/>
                    <a:pt x="1193" y="1144"/>
                  </a:cubicBezTo>
                  <a:cubicBezTo>
                    <a:pt x="1187" y="1147"/>
                    <a:pt x="1180" y="1150"/>
                    <a:pt x="1174" y="1153"/>
                  </a:cubicBezTo>
                  <a:cubicBezTo>
                    <a:pt x="1158" y="1161"/>
                    <a:pt x="1140" y="1161"/>
                    <a:pt x="1124" y="1155"/>
                  </a:cubicBezTo>
                  <a:cubicBezTo>
                    <a:pt x="1112" y="1151"/>
                    <a:pt x="1102" y="1142"/>
                    <a:pt x="1096" y="1129"/>
                  </a:cubicBezTo>
                  <a:cubicBezTo>
                    <a:pt x="1092" y="1121"/>
                    <a:pt x="1091" y="1112"/>
                    <a:pt x="1089" y="1104"/>
                  </a:cubicBezTo>
                  <a:cubicBezTo>
                    <a:pt x="1087" y="1093"/>
                    <a:pt x="1087" y="1092"/>
                    <a:pt x="1099" y="1092"/>
                  </a:cubicBezTo>
                  <a:cubicBezTo>
                    <a:pt x="1116" y="1092"/>
                    <a:pt x="1133" y="1092"/>
                    <a:pt x="1150" y="1092"/>
                  </a:cubicBezTo>
                  <a:cubicBezTo>
                    <a:pt x="1150" y="1092"/>
                    <a:pt x="1150" y="1092"/>
                    <a:pt x="1150" y="1092"/>
                  </a:cubicBezTo>
                  <a:close/>
                  <a:moveTo>
                    <a:pt x="1099" y="1070"/>
                  </a:moveTo>
                  <a:cubicBezTo>
                    <a:pt x="1092" y="1071"/>
                    <a:pt x="1089" y="1067"/>
                    <a:pt x="1091" y="1060"/>
                  </a:cubicBezTo>
                  <a:cubicBezTo>
                    <a:pt x="1094" y="1045"/>
                    <a:pt x="1108" y="1023"/>
                    <a:pt x="1128" y="1022"/>
                  </a:cubicBezTo>
                  <a:cubicBezTo>
                    <a:pt x="1142" y="1021"/>
                    <a:pt x="1156" y="1018"/>
                    <a:pt x="1168" y="1029"/>
                  </a:cubicBezTo>
                  <a:cubicBezTo>
                    <a:pt x="1181" y="1038"/>
                    <a:pt x="1185" y="1051"/>
                    <a:pt x="1187" y="1066"/>
                  </a:cubicBezTo>
                  <a:cubicBezTo>
                    <a:pt x="1188" y="1071"/>
                    <a:pt x="1183" y="1070"/>
                    <a:pt x="1180" y="1070"/>
                  </a:cubicBezTo>
                  <a:cubicBezTo>
                    <a:pt x="1166" y="1070"/>
                    <a:pt x="1153" y="1070"/>
                    <a:pt x="1139" y="1070"/>
                  </a:cubicBezTo>
                  <a:cubicBezTo>
                    <a:pt x="1139" y="1070"/>
                    <a:pt x="1139" y="1070"/>
                    <a:pt x="1139" y="1070"/>
                  </a:cubicBezTo>
                  <a:cubicBezTo>
                    <a:pt x="1126" y="1070"/>
                    <a:pt x="1113" y="1070"/>
                    <a:pt x="1099" y="1070"/>
                  </a:cubicBezTo>
                  <a:close/>
                  <a:moveTo>
                    <a:pt x="1741" y="1092"/>
                  </a:moveTo>
                  <a:cubicBezTo>
                    <a:pt x="1759" y="1092"/>
                    <a:pt x="1776" y="1092"/>
                    <a:pt x="1793" y="1092"/>
                  </a:cubicBezTo>
                  <a:cubicBezTo>
                    <a:pt x="1806" y="1092"/>
                    <a:pt x="1808" y="1089"/>
                    <a:pt x="1808" y="1076"/>
                  </a:cubicBezTo>
                  <a:cubicBezTo>
                    <a:pt x="1809" y="1063"/>
                    <a:pt x="1807" y="1051"/>
                    <a:pt x="1802" y="1038"/>
                  </a:cubicBezTo>
                  <a:cubicBezTo>
                    <a:pt x="1794" y="1021"/>
                    <a:pt x="1782" y="1008"/>
                    <a:pt x="1764" y="1000"/>
                  </a:cubicBezTo>
                  <a:cubicBezTo>
                    <a:pt x="1742" y="991"/>
                    <a:pt x="1720" y="991"/>
                    <a:pt x="1698" y="1000"/>
                  </a:cubicBezTo>
                  <a:cubicBezTo>
                    <a:pt x="1681" y="1006"/>
                    <a:pt x="1668" y="1016"/>
                    <a:pt x="1659" y="1031"/>
                  </a:cubicBezTo>
                  <a:cubicBezTo>
                    <a:pt x="1646" y="1050"/>
                    <a:pt x="1643" y="1071"/>
                    <a:pt x="1644" y="1094"/>
                  </a:cubicBezTo>
                  <a:cubicBezTo>
                    <a:pt x="1644" y="1110"/>
                    <a:pt x="1647" y="1127"/>
                    <a:pt x="1655" y="1141"/>
                  </a:cubicBezTo>
                  <a:cubicBezTo>
                    <a:pt x="1669" y="1168"/>
                    <a:pt x="1691" y="1183"/>
                    <a:pt x="1722" y="1186"/>
                  </a:cubicBezTo>
                  <a:cubicBezTo>
                    <a:pt x="1750" y="1188"/>
                    <a:pt x="1775" y="1183"/>
                    <a:pt x="1798" y="1165"/>
                  </a:cubicBezTo>
                  <a:cubicBezTo>
                    <a:pt x="1803" y="1161"/>
                    <a:pt x="1806" y="1157"/>
                    <a:pt x="1802" y="1151"/>
                  </a:cubicBezTo>
                  <a:cubicBezTo>
                    <a:pt x="1798" y="1144"/>
                    <a:pt x="1791" y="1140"/>
                    <a:pt x="1783" y="1144"/>
                  </a:cubicBezTo>
                  <a:cubicBezTo>
                    <a:pt x="1778" y="1147"/>
                    <a:pt x="1771" y="1149"/>
                    <a:pt x="1766" y="1152"/>
                  </a:cubicBezTo>
                  <a:cubicBezTo>
                    <a:pt x="1749" y="1161"/>
                    <a:pt x="1730" y="1162"/>
                    <a:pt x="1714" y="1155"/>
                  </a:cubicBezTo>
                  <a:cubicBezTo>
                    <a:pt x="1692" y="1145"/>
                    <a:pt x="1680" y="1127"/>
                    <a:pt x="1679" y="1102"/>
                  </a:cubicBezTo>
                  <a:cubicBezTo>
                    <a:pt x="1678" y="1095"/>
                    <a:pt x="1681" y="1092"/>
                    <a:pt x="1689" y="1092"/>
                  </a:cubicBezTo>
                  <a:cubicBezTo>
                    <a:pt x="1706" y="1092"/>
                    <a:pt x="1724" y="1092"/>
                    <a:pt x="1741" y="1092"/>
                  </a:cubicBezTo>
                  <a:cubicBezTo>
                    <a:pt x="1741" y="1092"/>
                    <a:pt x="1741" y="1092"/>
                    <a:pt x="1741" y="1092"/>
                  </a:cubicBezTo>
                  <a:close/>
                  <a:moveTo>
                    <a:pt x="1690" y="1070"/>
                  </a:moveTo>
                  <a:cubicBezTo>
                    <a:pt x="1683" y="1071"/>
                    <a:pt x="1680" y="1068"/>
                    <a:pt x="1681" y="1062"/>
                  </a:cubicBezTo>
                  <a:cubicBezTo>
                    <a:pt x="1683" y="1048"/>
                    <a:pt x="1697" y="1024"/>
                    <a:pt x="1716" y="1022"/>
                  </a:cubicBezTo>
                  <a:cubicBezTo>
                    <a:pt x="1731" y="1020"/>
                    <a:pt x="1747" y="1018"/>
                    <a:pt x="1760" y="1030"/>
                  </a:cubicBezTo>
                  <a:cubicBezTo>
                    <a:pt x="1771" y="1038"/>
                    <a:pt x="1775" y="1050"/>
                    <a:pt x="1778" y="1062"/>
                  </a:cubicBezTo>
                  <a:cubicBezTo>
                    <a:pt x="1780" y="1068"/>
                    <a:pt x="1775" y="1070"/>
                    <a:pt x="1769" y="1070"/>
                  </a:cubicBezTo>
                  <a:cubicBezTo>
                    <a:pt x="1756" y="1070"/>
                    <a:pt x="1742" y="1070"/>
                    <a:pt x="1729" y="1070"/>
                  </a:cubicBezTo>
                  <a:cubicBezTo>
                    <a:pt x="1729" y="1070"/>
                    <a:pt x="1729" y="1070"/>
                    <a:pt x="1729" y="1070"/>
                  </a:cubicBezTo>
                  <a:cubicBezTo>
                    <a:pt x="1716" y="1070"/>
                    <a:pt x="1703" y="1070"/>
                    <a:pt x="1690" y="1070"/>
                  </a:cubicBezTo>
                  <a:close/>
                  <a:moveTo>
                    <a:pt x="68" y="581"/>
                  </a:moveTo>
                  <a:cubicBezTo>
                    <a:pt x="68" y="573"/>
                    <a:pt x="70" y="568"/>
                    <a:pt x="80" y="569"/>
                  </a:cubicBezTo>
                  <a:cubicBezTo>
                    <a:pt x="90" y="570"/>
                    <a:pt x="101" y="570"/>
                    <a:pt x="111" y="569"/>
                  </a:cubicBezTo>
                  <a:cubicBezTo>
                    <a:pt x="120" y="569"/>
                    <a:pt x="120" y="563"/>
                    <a:pt x="120" y="556"/>
                  </a:cubicBezTo>
                  <a:cubicBezTo>
                    <a:pt x="120" y="549"/>
                    <a:pt x="119" y="544"/>
                    <a:pt x="111" y="544"/>
                  </a:cubicBezTo>
                  <a:cubicBezTo>
                    <a:pt x="104" y="544"/>
                    <a:pt x="97" y="544"/>
                    <a:pt x="91" y="544"/>
                  </a:cubicBezTo>
                  <a:cubicBezTo>
                    <a:pt x="66" y="544"/>
                    <a:pt x="65" y="543"/>
                    <a:pt x="68" y="518"/>
                  </a:cubicBezTo>
                  <a:cubicBezTo>
                    <a:pt x="69" y="504"/>
                    <a:pt x="83" y="487"/>
                    <a:pt x="99" y="489"/>
                  </a:cubicBezTo>
                  <a:cubicBezTo>
                    <a:pt x="103" y="489"/>
                    <a:pt x="107" y="489"/>
                    <a:pt x="110" y="488"/>
                  </a:cubicBezTo>
                  <a:cubicBezTo>
                    <a:pt x="118" y="487"/>
                    <a:pt x="123" y="479"/>
                    <a:pt x="123" y="471"/>
                  </a:cubicBezTo>
                  <a:cubicBezTo>
                    <a:pt x="123" y="461"/>
                    <a:pt x="116" y="462"/>
                    <a:pt x="109" y="460"/>
                  </a:cubicBezTo>
                  <a:cubicBezTo>
                    <a:pt x="100" y="458"/>
                    <a:pt x="92" y="460"/>
                    <a:pt x="84" y="460"/>
                  </a:cubicBezTo>
                  <a:cubicBezTo>
                    <a:pt x="68" y="461"/>
                    <a:pt x="56" y="469"/>
                    <a:pt x="47" y="480"/>
                  </a:cubicBezTo>
                  <a:cubicBezTo>
                    <a:pt x="34" y="493"/>
                    <a:pt x="32" y="511"/>
                    <a:pt x="32" y="529"/>
                  </a:cubicBezTo>
                  <a:cubicBezTo>
                    <a:pt x="32" y="544"/>
                    <a:pt x="32" y="544"/>
                    <a:pt x="17" y="544"/>
                  </a:cubicBezTo>
                  <a:cubicBezTo>
                    <a:pt x="4" y="543"/>
                    <a:pt x="0" y="548"/>
                    <a:pt x="4" y="561"/>
                  </a:cubicBezTo>
                  <a:cubicBezTo>
                    <a:pt x="6" y="569"/>
                    <a:pt x="13" y="568"/>
                    <a:pt x="19" y="569"/>
                  </a:cubicBezTo>
                  <a:cubicBezTo>
                    <a:pt x="32" y="571"/>
                    <a:pt x="32" y="571"/>
                    <a:pt x="32" y="584"/>
                  </a:cubicBezTo>
                  <a:cubicBezTo>
                    <a:pt x="32" y="624"/>
                    <a:pt x="32" y="664"/>
                    <a:pt x="32" y="704"/>
                  </a:cubicBezTo>
                  <a:cubicBezTo>
                    <a:pt x="32" y="731"/>
                    <a:pt x="32" y="730"/>
                    <a:pt x="57" y="731"/>
                  </a:cubicBezTo>
                  <a:cubicBezTo>
                    <a:pt x="66" y="731"/>
                    <a:pt x="68" y="727"/>
                    <a:pt x="68" y="720"/>
                  </a:cubicBezTo>
                  <a:cubicBezTo>
                    <a:pt x="68" y="697"/>
                    <a:pt x="68" y="674"/>
                    <a:pt x="68" y="651"/>
                  </a:cubicBezTo>
                  <a:cubicBezTo>
                    <a:pt x="68" y="628"/>
                    <a:pt x="68" y="605"/>
                    <a:pt x="68" y="581"/>
                  </a:cubicBezTo>
                  <a:close/>
                  <a:moveTo>
                    <a:pt x="278" y="1165"/>
                  </a:moveTo>
                  <a:cubicBezTo>
                    <a:pt x="278" y="1183"/>
                    <a:pt x="278" y="1183"/>
                    <a:pt x="296" y="1184"/>
                  </a:cubicBezTo>
                  <a:cubicBezTo>
                    <a:pt x="310" y="1184"/>
                    <a:pt x="310" y="1184"/>
                    <a:pt x="310" y="1169"/>
                  </a:cubicBezTo>
                  <a:cubicBezTo>
                    <a:pt x="310" y="1132"/>
                    <a:pt x="310" y="1095"/>
                    <a:pt x="310" y="1058"/>
                  </a:cubicBezTo>
                  <a:cubicBezTo>
                    <a:pt x="310" y="1052"/>
                    <a:pt x="312" y="1047"/>
                    <a:pt x="316" y="1042"/>
                  </a:cubicBezTo>
                  <a:cubicBezTo>
                    <a:pt x="324" y="1033"/>
                    <a:pt x="334" y="1027"/>
                    <a:pt x="345" y="1024"/>
                  </a:cubicBezTo>
                  <a:cubicBezTo>
                    <a:pt x="357" y="1020"/>
                    <a:pt x="371" y="1018"/>
                    <a:pt x="383" y="1028"/>
                  </a:cubicBezTo>
                  <a:cubicBezTo>
                    <a:pt x="397" y="1039"/>
                    <a:pt x="401" y="1054"/>
                    <a:pt x="401" y="1071"/>
                  </a:cubicBezTo>
                  <a:cubicBezTo>
                    <a:pt x="401" y="1102"/>
                    <a:pt x="401" y="1132"/>
                    <a:pt x="401" y="1163"/>
                  </a:cubicBezTo>
                  <a:cubicBezTo>
                    <a:pt x="401" y="1183"/>
                    <a:pt x="401" y="1182"/>
                    <a:pt x="420" y="1184"/>
                  </a:cubicBezTo>
                  <a:cubicBezTo>
                    <a:pt x="429" y="1185"/>
                    <a:pt x="433" y="1181"/>
                    <a:pt x="433" y="1173"/>
                  </a:cubicBezTo>
                  <a:cubicBezTo>
                    <a:pt x="432" y="1130"/>
                    <a:pt x="435" y="1087"/>
                    <a:pt x="431" y="1044"/>
                  </a:cubicBezTo>
                  <a:cubicBezTo>
                    <a:pt x="427" y="1014"/>
                    <a:pt x="404" y="996"/>
                    <a:pt x="376" y="994"/>
                  </a:cubicBezTo>
                  <a:cubicBezTo>
                    <a:pt x="353" y="992"/>
                    <a:pt x="333" y="1000"/>
                    <a:pt x="317" y="1017"/>
                  </a:cubicBezTo>
                  <a:cubicBezTo>
                    <a:pt x="312" y="1021"/>
                    <a:pt x="311" y="1019"/>
                    <a:pt x="309" y="1015"/>
                  </a:cubicBezTo>
                  <a:cubicBezTo>
                    <a:pt x="309" y="1013"/>
                    <a:pt x="308" y="1011"/>
                    <a:pt x="308" y="1008"/>
                  </a:cubicBezTo>
                  <a:cubicBezTo>
                    <a:pt x="306" y="1001"/>
                    <a:pt x="298" y="997"/>
                    <a:pt x="287" y="998"/>
                  </a:cubicBezTo>
                  <a:cubicBezTo>
                    <a:pt x="279" y="999"/>
                    <a:pt x="278" y="1004"/>
                    <a:pt x="278" y="1011"/>
                  </a:cubicBezTo>
                  <a:cubicBezTo>
                    <a:pt x="278" y="1037"/>
                    <a:pt x="278" y="1064"/>
                    <a:pt x="278" y="1091"/>
                  </a:cubicBezTo>
                  <a:cubicBezTo>
                    <a:pt x="278" y="1115"/>
                    <a:pt x="278" y="1140"/>
                    <a:pt x="278" y="1165"/>
                  </a:cubicBezTo>
                  <a:close/>
                  <a:moveTo>
                    <a:pt x="150" y="705"/>
                  </a:moveTo>
                  <a:cubicBezTo>
                    <a:pt x="150" y="734"/>
                    <a:pt x="145" y="730"/>
                    <a:pt x="176" y="731"/>
                  </a:cubicBezTo>
                  <a:cubicBezTo>
                    <a:pt x="185" y="731"/>
                    <a:pt x="187" y="727"/>
                    <a:pt x="187" y="719"/>
                  </a:cubicBezTo>
                  <a:cubicBezTo>
                    <a:pt x="187" y="685"/>
                    <a:pt x="187" y="651"/>
                    <a:pt x="187" y="618"/>
                  </a:cubicBezTo>
                  <a:cubicBezTo>
                    <a:pt x="187" y="597"/>
                    <a:pt x="204" y="578"/>
                    <a:pt x="225" y="574"/>
                  </a:cubicBezTo>
                  <a:cubicBezTo>
                    <a:pt x="232" y="572"/>
                    <a:pt x="240" y="574"/>
                    <a:pt x="247" y="575"/>
                  </a:cubicBezTo>
                  <a:cubicBezTo>
                    <a:pt x="257" y="576"/>
                    <a:pt x="261" y="572"/>
                    <a:pt x="265" y="564"/>
                  </a:cubicBezTo>
                  <a:cubicBezTo>
                    <a:pt x="269" y="556"/>
                    <a:pt x="267" y="542"/>
                    <a:pt x="261" y="540"/>
                  </a:cubicBezTo>
                  <a:cubicBezTo>
                    <a:pt x="253" y="538"/>
                    <a:pt x="244" y="534"/>
                    <a:pt x="237" y="536"/>
                  </a:cubicBezTo>
                  <a:cubicBezTo>
                    <a:pt x="228" y="537"/>
                    <a:pt x="217" y="537"/>
                    <a:pt x="209" y="544"/>
                  </a:cubicBezTo>
                  <a:cubicBezTo>
                    <a:pt x="204" y="549"/>
                    <a:pt x="198" y="553"/>
                    <a:pt x="194" y="558"/>
                  </a:cubicBezTo>
                  <a:cubicBezTo>
                    <a:pt x="192" y="561"/>
                    <a:pt x="189" y="563"/>
                    <a:pt x="185" y="562"/>
                  </a:cubicBezTo>
                  <a:cubicBezTo>
                    <a:pt x="182" y="561"/>
                    <a:pt x="182" y="558"/>
                    <a:pt x="182" y="556"/>
                  </a:cubicBezTo>
                  <a:cubicBezTo>
                    <a:pt x="180" y="539"/>
                    <a:pt x="179" y="539"/>
                    <a:pt x="162" y="539"/>
                  </a:cubicBezTo>
                  <a:cubicBezTo>
                    <a:pt x="151" y="539"/>
                    <a:pt x="150" y="540"/>
                    <a:pt x="150" y="551"/>
                  </a:cubicBezTo>
                  <a:cubicBezTo>
                    <a:pt x="150" y="579"/>
                    <a:pt x="150" y="607"/>
                    <a:pt x="150" y="635"/>
                  </a:cubicBezTo>
                  <a:cubicBezTo>
                    <a:pt x="150" y="658"/>
                    <a:pt x="149" y="682"/>
                    <a:pt x="150" y="705"/>
                  </a:cubicBezTo>
                  <a:close/>
                  <a:moveTo>
                    <a:pt x="1011" y="1049"/>
                  </a:moveTo>
                  <a:cubicBezTo>
                    <a:pt x="1011" y="1008"/>
                    <a:pt x="1011" y="966"/>
                    <a:pt x="1011" y="924"/>
                  </a:cubicBezTo>
                  <a:cubicBezTo>
                    <a:pt x="1011" y="913"/>
                    <a:pt x="1008" y="910"/>
                    <a:pt x="997" y="910"/>
                  </a:cubicBezTo>
                  <a:cubicBezTo>
                    <a:pt x="995" y="910"/>
                    <a:pt x="992" y="910"/>
                    <a:pt x="990" y="910"/>
                  </a:cubicBezTo>
                  <a:cubicBezTo>
                    <a:pt x="976" y="910"/>
                    <a:pt x="975" y="911"/>
                    <a:pt x="975" y="926"/>
                  </a:cubicBezTo>
                  <a:cubicBezTo>
                    <a:pt x="975" y="1006"/>
                    <a:pt x="975" y="1085"/>
                    <a:pt x="975" y="1165"/>
                  </a:cubicBezTo>
                  <a:cubicBezTo>
                    <a:pt x="975" y="1185"/>
                    <a:pt x="975" y="1185"/>
                    <a:pt x="994" y="1185"/>
                  </a:cubicBezTo>
                  <a:cubicBezTo>
                    <a:pt x="1009" y="1185"/>
                    <a:pt x="1011" y="1184"/>
                    <a:pt x="1011" y="1169"/>
                  </a:cubicBezTo>
                  <a:cubicBezTo>
                    <a:pt x="1011" y="1129"/>
                    <a:pt x="1011" y="1089"/>
                    <a:pt x="1011" y="1049"/>
                  </a:cubicBezTo>
                  <a:cubicBezTo>
                    <a:pt x="1011" y="1049"/>
                    <a:pt x="1011" y="1049"/>
                    <a:pt x="1011" y="1049"/>
                  </a:cubicBezTo>
                  <a:close/>
                  <a:moveTo>
                    <a:pt x="296" y="176"/>
                  </a:moveTo>
                  <a:cubicBezTo>
                    <a:pt x="296" y="201"/>
                    <a:pt x="296" y="226"/>
                    <a:pt x="296" y="251"/>
                  </a:cubicBezTo>
                  <a:cubicBezTo>
                    <a:pt x="295" y="276"/>
                    <a:pt x="296" y="274"/>
                    <a:pt x="318" y="274"/>
                  </a:cubicBezTo>
                  <a:cubicBezTo>
                    <a:pt x="330" y="274"/>
                    <a:pt x="331" y="274"/>
                    <a:pt x="331" y="260"/>
                  </a:cubicBezTo>
                  <a:cubicBezTo>
                    <a:pt x="331" y="232"/>
                    <a:pt x="331" y="204"/>
                    <a:pt x="331" y="176"/>
                  </a:cubicBezTo>
                  <a:cubicBezTo>
                    <a:pt x="331" y="165"/>
                    <a:pt x="331" y="155"/>
                    <a:pt x="337" y="145"/>
                  </a:cubicBezTo>
                  <a:cubicBezTo>
                    <a:pt x="349" y="123"/>
                    <a:pt x="359" y="117"/>
                    <a:pt x="377" y="118"/>
                  </a:cubicBezTo>
                  <a:cubicBezTo>
                    <a:pt x="383" y="118"/>
                    <a:pt x="389" y="119"/>
                    <a:pt x="395" y="120"/>
                  </a:cubicBezTo>
                  <a:cubicBezTo>
                    <a:pt x="401" y="120"/>
                    <a:pt x="407" y="118"/>
                    <a:pt x="408" y="112"/>
                  </a:cubicBezTo>
                  <a:cubicBezTo>
                    <a:pt x="409" y="103"/>
                    <a:pt x="415" y="93"/>
                    <a:pt x="407" y="85"/>
                  </a:cubicBezTo>
                  <a:cubicBezTo>
                    <a:pt x="406" y="84"/>
                    <a:pt x="404" y="84"/>
                    <a:pt x="402" y="84"/>
                  </a:cubicBezTo>
                  <a:cubicBezTo>
                    <a:pt x="376" y="78"/>
                    <a:pt x="353" y="82"/>
                    <a:pt x="337" y="106"/>
                  </a:cubicBezTo>
                  <a:cubicBezTo>
                    <a:pt x="336" y="108"/>
                    <a:pt x="335" y="110"/>
                    <a:pt x="333" y="109"/>
                  </a:cubicBezTo>
                  <a:cubicBezTo>
                    <a:pt x="331" y="109"/>
                    <a:pt x="330" y="107"/>
                    <a:pt x="330" y="105"/>
                  </a:cubicBezTo>
                  <a:cubicBezTo>
                    <a:pt x="329" y="101"/>
                    <a:pt x="329" y="97"/>
                    <a:pt x="328" y="94"/>
                  </a:cubicBezTo>
                  <a:cubicBezTo>
                    <a:pt x="325" y="85"/>
                    <a:pt x="318" y="82"/>
                    <a:pt x="303" y="84"/>
                  </a:cubicBezTo>
                  <a:cubicBezTo>
                    <a:pt x="297" y="84"/>
                    <a:pt x="295" y="86"/>
                    <a:pt x="295" y="92"/>
                  </a:cubicBezTo>
                  <a:cubicBezTo>
                    <a:pt x="296" y="120"/>
                    <a:pt x="295" y="148"/>
                    <a:pt x="295" y="176"/>
                  </a:cubicBezTo>
                  <a:cubicBezTo>
                    <a:pt x="296" y="176"/>
                    <a:pt x="296" y="176"/>
                    <a:pt x="296" y="176"/>
                  </a:cubicBezTo>
                  <a:close/>
                  <a:moveTo>
                    <a:pt x="946" y="179"/>
                  </a:moveTo>
                  <a:cubicBezTo>
                    <a:pt x="946" y="197"/>
                    <a:pt x="946" y="215"/>
                    <a:pt x="946" y="234"/>
                  </a:cubicBezTo>
                  <a:cubicBezTo>
                    <a:pt x="946" y="248"/>
                    <a:pt x="951" y="260"/>
                    <a:pt x="963" y="268"/>
                  </a:cubicBezTo>
                  <a:cubicBezTo>
                    <a:pt x="982" y="280"/>
                    <a:pt x="1011" y="277"/>
                    <a:pt x="1029" y="264"/>
                  </a:cubicBezTo>
                  <a:cubicBezTo>
                    <a:pt x="1036" y="259"/>
                    <a:pt x="1036" y="254"/>
                    <a:pt x="1032" y="248"/>
                  </a:cubicBezTo>
                  <a:cubicBezTo>
                    <a:pt x="1026" y="239"/>
                    <a:pt x="1020" y="238"/>
                    <a:pt x="1013" y="242"/>
                  </a:cubicBezTo>
                  <a:cubicBezTo>
                    <a:pt x="996" y="252"/>
                    <a:pt x="978" y="243"/>
                    <a:pt x="978" y="223"/>
                  </a:cubicBezTo>
                  <a:cubicBezTo>
                    <a:pt x="978" y="190"/>
                    <a:pt x="978" y="157"/>
                    <a:pt x="978" y="123"/>
                  </a:cubicBezTo>
                  <a:cubicBezTo>
                    <a:pt x="978" y="116"/>
                    <a:pt x="981" y="113"/>
                    <a:pt x="988" y="113"/>
                  </a:cubicBezTo>
                  <a:cubicBezTo>
                    <a:pt x="999" y="114"/>
                    <a:pt x="1011" y="113"/>
                    <a:pt x="1022" y="113"/>
                  </a:cubicBezTo>
                  <a:cubicBezTo>
                    <a:pt x="1028" y="113"/>
                    <a:pt x="1033" y="112"/>
                    <a:pt x="1033" y="104"/>
                  </a:cubicBezTo>
                  <a:cubicBezTo>
                    <a:pt x="1033" y="96"/>
                    <a:pt x="1032" y="90"/>
                    <a:pt x="1022" y="90"/>
                  </a:cubicBezTo>
                  <a:cubicBezTo>
                    <a:pt x="1011" y="90"/>
                    <a:pt x="1001" y="90"/>
                    <a:pt x="990" y="90"/>
                  </a:cubicBezTo>
                  <a:cubicBezTo>
                    <a:pt x="981" y="91"/>
                    <a:pt x="977" y="88"/>
                    <a:pt x="978" y="78"/>
                  </a:cubicBezTo>
                  <a:cubicBezTo>
                    <a:pt x="978" y="64"/>
                    <a:pt x="978" y="49"/>
                    <a:pt x="978" y="35"/>
                  </a:cubicBezTo>
                  <a:cubicBezTo>
                    <a:pt x="978" y="30"/>
                    <a:pt x="978" y="25"/>
                    <a:pt x="971" y="24"/>
                  </a:cubicBezTo>
                  <a:cubicBezTo>
                    <a:pt x="964" y="24"/>
                    <a:pt x="956" y="24"/>
                    <a:pt x="955" y="32"/>
                  </a:cubicBezTo>
                  <a:cubicBezTo>
                    <a:pt x="952" y="43"/>
                    <a:pt x="949" y="54"/>
                    <a:pt x="949" y="65"/>
                  </a:cubicBezTo>
                  <a:cubicBezTo>
                    <a:pt x="948" y="88"/>
                    <a:pt x="947" y="88"/>
                    <a:pt x="924" y="91"/>
                  </a:cubicBezTo>
                  <a:cubicBezTo>
                    <a:pt x="919" y="92"/>
                    <a:pt x="914" y="92"/>
                    <a:pt x="914" y="99"/>
                  </a:cubicBezTo>
                  <a:cubicBezTo>
                    <a:pt x="915" y="107"/>
                    <a:pt x="917" y="113"/>
                    <a:pt x="926" y="113"/>
                  </a:cubicBezTo>
                  <a:cubicBezTo>
                    <a:pt x="929" y="114"/>
                    <a:pt x="932" y="113"/>
                    <a:pt x="935" y="113"/>
                  </a:cubicBezTo>
                  <a:cubicBezTo>
                    <a:pt x="943" y="113"/>
                    <a:pt x="946" y="116"/>
                    <a:pt x="946" y="124"/>
                  </a:cubicBezTo>
                  <a:cubicBezTo>
                    <a:pt x="946" y="142"/>
                    <a:pt x="946" y="161"/>
                    <a:pt x="946" y="179"/>
                  </a:cubicBezTo>
                  <a:cubicBezTo>
                    <a:pt x="946" y="179"/>
                    <a:pt x="946" y="179"/>
                    <a:pt x="946" y="179"/>
                  </a:cubicBezTo>
                  <a:close/>
                </a:path>
              </a:pathLst>
            </a:custGeom>
            <a:solidFill>
              <a:srgbClr val="4C505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grpSp>
          <p:nvGrpSpPr>
            <p:cNvPr id="18" name="Group 4">
              <a:extLst>
                <a:ext uri="{FF2B5EF4-FFF2-40B4-BE49-F238E27FC236}">
                  <a16:creationId xmlns:a16="http://schemas.microsoft.com/office/drawing/2014/main" id="{57BD2C4C-DC67-B843-B26C-309622FC75F7}"/>
                </a:ext>
              </a:extLst>
            </p:cNvPr>
            <p:cNvGrpSpPr>
              <a:grpSpLocks noChangeAspect="1"/>
            </p:cNvGrpSpPr>
            <p:nvPr/>
          </p:nvGrpSpPr>
          <p:grpSpPr bwMode="gray">
            <a:xfrm>
              <a:off x="334963" y="296652"/>
              <a:ext cx="538094" cy="540000"/>
              <a:chOff x="2711" y="1027"/>
              <a:chExt cx="2258" cy="2266"/>
            </a:xfrm>
          </p:grpSpPr>
          <p:sp>
            <p:nvSpPr>
              <p:cNvPr id="19" name="AutoShape 3">
                <a:extLst>
                  <a:ext uri="{FF2B5EF4-FFF2-40B4-BE49-F238E27FC236}">
                    <a16:creationId xmlns:a16="http://schemas.microsoft.com/office/drawing/2014/main" id="{FE1DC41B-291E-574C-9F2C-874E70A40758}"/>
                  </a:ext>
                </a:extLst>
              </p:cNvPr>
              <p:cNvSpPr>
                <a:spLocks noChangeAspect="1" noChangeArrowheads="1" noTextEdit="1"/>
              </p:cNvSpPr>
              <p:nvPr/>
            </p:nvSpPr>
            <p:spPr bwMode="gray">
              <a:xfrm>
                <a:off x="2711" y="1027"/>
                <a:ext cx="2258" cy="22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20" name="Freeform 5">
                <a:extLst>
                  <a:ext uri="{FF2B5EF4-FFF2-40B4-BE49-F238E27FC236}">
                    <a16:creationId xmlns:a16="http://schemas.microsoft.com/office/drawing/2014/main" id="{D4B633C8-F761-C54B-9BD2-EB59D49A2DBC}"/>
                  </a:ext>
                </a:extLst>
              </p:cNvPr>
              <p:cNvSpPr>
                <a:spLocks/>
              </p:cNvSpPr>
              <p:nvPr/>
            </p:nvSpPr>
            <p:spPr bwMode="gray">
              <a:xfrm>
                <a:off x="2709" y="1029"/>
                <a:ext cx="2260" cy="2262"/>
              </a:xfrm>
              <a:custGeom>
                <a:avLst/>
                <a:gdLst>
                  <a:gd name="T0" fmla="*/ 2260 w 2260"/>
                  <a:gd name="T1" fmla="*/ 0 h 2262"/>
                  <a:gd name="T2" fmla="*/ 1612 w 2260"/>
                  <a:gd name="T3" fmla="*/ 649 h 2262"/>
                  <a:gd name="T4" fmla="*/ 1612 w 2260"/>
                  <a:gd name="T5" fmla="*/ 649 h 2262"/>
                  <a:gd name="T6" fmla="*/ 2035 w 2260"/>
                  <a:gd name="T7" fmla="*/ 0 h 2262"/>
                  <a:gd name="T8" fmla="*/ 0 w 2260"/>
                  <a:gd name="T9" fmla="*/ 0 h 2262"/>
                  <a:gd name="T10" fmla="*/ 0 w 2260"/>
                  <a:gd name="T11" fmla="*/ 2262 h 2262"/>
                  <a:gd name="T12" fmla="*/ 2260 w 2260"/>
                  <a:gd name="T13" fmla="*/ 2262 h 2262"/>
                  <a:gd name="T14" fmla="*/ 2260 w 2260"/>
                  <a:gd name="T15" fmla="*/ 0 h 2262"/>
                  <a:gd name="T16" fmla="*/ 2260 w 2260"/>
                  <a:gd name="T17" fmla="*/ 0 h 2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0" h="2262">
                    <a:moveTo>
                      <a:pt x="2260" y="0"/>
                    </a:moveTo>
                    <a:lnTo>
                      <a:pt x="1612" y="649"/>
                    </a:lnTo>
                    <a:lnTo>
                      <a:pt x="1612" y="649"/>
                    </a:lnTo>
                    <a:lnTo>
                      <a:pt x="2035" y="0"/>
                    </a:lnTo>
                    <a:lnTo>
                      <a:pt x="0" y="0"/>
                    </a:lnTo>
                    <a:lnTo>
                      <a:pt x="0" y="2262"/>
                    </a:lnTo>
                    <a:lnTo>
                      <a:pt x="2260" y="2262"/>
                    </a:lnTo>
                    <a:lnTo>
                      <a:pt x="2260" y="0"/>
                    </a:lnTo>
                    <a:lnTo>
                      <a:pt x="2260" y="0"/>
                    </a:lnTo>
                    <a:close/>
                  </a:path>
                </a:pathLst>
              </a:custGeom>
              <a:solidFill>
                <a:srgbClr val="E55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21" name="Freeform 6">
                <a:extLst>
                  <a:ext uri="{FF2B5EF4-FFF2-40B4-BE49-F238E27FC236}">
                    <a16:creationId xmlns:a16="http://schemas.microsoft.com/office/drawing/2014/main" id="{B16BAAE4-1A41-C843-9754-490F7A1E1270}"/>
                  </a:ext>
                </a:extLst>
              </p:cNvPr>
              <p:cNvSpPr>
                <a:spLocks noEditPoints="1"/>
              </p:cNvSpPr>
              <p:nvPr/>
            </p:nvSpPr>
            <p:spPr bwMode="gray">
              <a:xfrm>
                <a:off x="3623" y="1696"/>
                <a:ext cx="1167" cy="922"/>
              </a:xfrm>
              <a:custGeom>
                <a:avLst/>
                <a:gdLst>
                  <a:gd name="T0" fmla="*/ 411 w 580"/>
                  <a:gd name="T1" fmla="*/ 213 h 458"/>
                  <a:gd name="T2" fmla="*/ 570 w 580"/>
                  <a:gd name="T3" fmla="*/ 37 h 458"/>
                  <a:gd name="T4" fmla="*/ 580 w 580"/>
                  <a:gd name="T5" fmla="*/ 20 h 458"/>
                  <a:gd name="T6" fmla="*/ 545 w 580"/>
                  <a:gd name="T7" fmla="*/ 0 h 458"/>
                  <a:gd name="T8" fmla="*/ 519 w 580"/>
                  <a:gd name="T9" fmla="*/ 16 h 458"/>
                  <a:gd name="T10" fmla="*/ 344 w 580"/>
                  <a:gd name="T11" fmla="*/ 210 h 458"/>
                  <a:gd name="T12" fmla="*/ 334 w 580"/>
                  <a:gd name="T13" fmla="*/ 229 h 458"/>
                  <a:gd name="T14" fmla="*/ 344 w 580"/>
                  <a:gd name="T15" fmla="*/ 248 h 458"/>
                  <a:gd name="T16" fmla="*/ 519 w 580"/>
                  <a:gd name="T17" fmla="*/ 442 h 458"/>
                  <a:gd name="T18" fmla="*/ 545 w 580"/>
                  <a:gd name="T19" fmla="*/ 458 h 458"/>
                  <a:gd name="T20" fmla="*/ 580 w 580"/>
                  <a:gd name="T21" fmla="*/ 438 h 458"/>
                  <a:gd name="T22" fmla="*/ 570 w 580"/>
                  <a:gd name="T23" fmla="*/ 421 h 458"/>
                  <a:gd name="T24" fmla="*/ 411 w 580"/>
                  <a:gd name="T25" fmla="*/ 245 h 458"/>
                  <a:gd name="T26" fmla="*/ 399 w 580"/>
                  <a:gd name="T27" fmla="*/ 229 h 458"/>
                  <a:gd name="T28" fmla="*/ 411 w 580"/>
                  <a:gd name="T29" fmla="*/ 213 h 458"/>
                  <a:gd name="T30" fmla="*/ 252 w 580"/>
                  <a:gd name="T31" fmla="*/ 439 h 458"/>
                  <a:gd name="T32" fmla="*/ 281 w 580"/>
                  <a:gd name="T33" fmla="*/ 454 h 458"/>
                  <a:gd name="T34" fmla="*/ 309 w 580"/>
                  <a:gd name="T35" fmla="*/ 439 h 458"/>
                  <a:gd name="T36" fmla="*/ 309 w 580"/>
                  <a:gd name="T37" fmla="*/ 19 h 458"/>
                  <a:gd name="T38" fmla="*/ 281 w 580"/>
                  <a:gd name="T39" fmla="*/ 4 h 458"/>
                  <a:gd name="T40" fmla="*/ 252 w 580"/>
                  <a:gd name="T41" fmla="*/ 19 h 458"/>
                  <a:gd name="T42" fmla="*/ 252 w 580"/>
                  <a:gd name="T43" fmla="*/ 439 h 458"/>
                  <a:gd name="T44" fmla="*/ 0 w 580"/>
                  <a:gd name="T45" fmla="*/ 439 h 458"/>
                  <a:gd name="T46" fmla="*/ 28 w 580"/>
                  <a:gd name="T47" fmla="*/ 454 h 458"/>
                  <a:gd name="T48" fmla="*/ 56 w 580"/>
                  <a:gd name="T49" fmla="*/ 439 h 458"/>
                  <a:gd name="T50" fmla="*/ 56 w 580"/>
                  <a:gd name="T51" fmla="*/ 157 h 458"/>
                  <a:gd name="T52" fmla="*/ 165 w 580"/>
                  <a:gd name="T53" fmla="*/ 53 h 458"/>
                  <a:gd name="T54" fmla="*/ 180 w 580"/>
                  <a:gd name="T55" fmla="*/ 53 h 458"/>
                  <a:gd name="T56" fmla="*/ 196 w 580"/>
                  <a:gd name="T57" fmla="*/ 27 h 458"/>
                  <a:gd name="T58" fmla="*/ 154 w 580"/>
                  <a:gd name="T59" fmla="*/ 4 h 458"/>
                  <a:gd name="T60" fmla="*/ 0 w 580"/>
                  <a:gd name="T61" fmla="*/ 152 h 458"/>
                  <a:gd name="T62" fmla="*/ 0 w 580"/>
                  <a:gd name="T63" fmla="*/ 439 h 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80" h="458">
                    <a:moveTo>
                      <a:pt x="411" y="213"/>
                    </a:moveTo>
                    <a:cubicBezTo>
                      <a:pt x="570" y="37"/>
                      <a:pt x="570" y="37"/>
                      <a:pt x="570" y="37"/>
                    </a:cubicBezTo>
                    <a:cubicBezTo>
                      <a:pt x="576" y="30"/>
                      <a:pt x="580" y="25"/>
                      <a:pt x="580" y="20"/>
                    </a:cubicBezTo>
                    <a:cubicBezTo>
                      <a:pt x="580" y="10"/>
                      <a:pt x="559" y="0"/>
                      <a:pt x="545" y="0"/>
                    </a:cubicBezTo>
                    <a:cubicBezTo>
                      <a:pt x="535" y="0"/>
                      <a:pt x="526" y="8"/>
                      <a:pt x="519" y="16"/>
                    </a:cubicBezTo>
                    <a:cubicBezTo>
                      <a:pt x="344" y="210"/>
                      <a:pt x="344" y="210"/>
                      <a:pt x="344" y="210"/>
                    </a:cubicBezTo>
                    <a:cubicBezTo>
                      <a:pt x="336" y="219"/>
                      <a:pt x="334" y="224"/>
                      <a:pt x="334" y="229"/>
                    </a:cubicBezTo>
                    <a:cubicBezTo>
                      <a:pt x="334" y="234"/>
                      <a:pt x="336" y="239"/>
                      <a:pt x="344" y="248"/>
                    </a:cubicBezTo>
                    <a:cubicBezTo>
                      <a:pt x="519" y="442"/>
                      <a:pt x="519" y="442"/>
                      <a:pt x="519" y="442"/>
                    </a:cubicBezTo>
                    <a:cubicBezTo>
                      <a:pt x="526" y="450"/>
                      <a:pt x="535" y="458"/>
                      <a:pt x="545" y="458"/>
                    </a:cubicBezTo>
                    <a:cubicBezTo>
                      <a:pt x="559" y="458"/>
                      <a:pt x="580" y="448"/>
                      <a:pt x="580" y="438"/>
                    </a:cubicBezTo>
                    <a:cubicBezTo>
                      <a:pt x="580" y="433"/>
                      <a:pt x="576" y="428"/>
                      <a:pt x="570" y="421"/>
                    </a:cubicBezTo>
                    <a:cubicBezTo>
                      <a:pt x="411" y="245"/>
                      <a:pt x="411" y="245"/>
                      <a:pt x="411" y="245"/>
                    </a:cubicBezTo>
                    <a:cubicBezTo>
                      <a:pt x="403" y="236"/>
                      <a:pt x="399" y="232"/>
                      <a:pt x="399" y="229"/>
                    </a:cubicBezTo>
                    <a:cubicBezTo>
                      <a:pt x="399" y="226"/>
                      <a:pt x="403" y="222"/>
                      <a:pt x="411" y="213"/>
                    </a:cubicBezTo>
                    <a:moveTo>
                      <a:pt x="252" y="439"/>
                    </a:moveTo>
                    <a:cubicBezTo>
                      <a:pt x="252" y="449"/>
                      <a:pt x="261" y="454"/>
                      <a:pt x="281" y="454"/>
                    </a:cubicBezTo>
                    <a:cubicBezTo>
                      <a:pt x="300" y="454"/>
                      <a:pt x="309" y="449"/>
                      <a:pt x="309" y="439"/>
                    </a:cubicBezTo>
                    <a:cubicBezTo>
                      <a:pt x="309" y="19"/>
                      <a:pt x="309" y="19"/>
                      <a:pt x="309" y="19"/>
                    </a:cubicBezTo>
                    <a:cubicBezTo>
                      <a:pt x="309" y="9"/>
                      <a:pt x="300" y="4"/>
                      <a:pt x="281" y="4"/>
                    </a:cubicBezTo>
                    <a:cubicBezTo>
                      <a:pt x="261" y="4"/>
                      <a:pt x="252" y="9"/>
                      <a:pt x="252" y="19"/>
                    </a:cubicBezTo>
                    <a:lnTo>
                      <a:pt x="252" y="439"/>
                    </a:lnTo>
                    <a:close/>
                    <a:moveTo>
                      <a:pt x="0" y="439"/>
                    </a:moveTo>
                    <a:cubicBezTo>
                      <a:pt x="0" y="449"/>
                      <a:pt x="8" y="454"/>
                      <a:pt x="28" y="454"/>
                    </a:cubicBezTo>
                    <a:cubicBezTo>
                      <a:pt x="48" y="454"/>
                      <a:pt x="56" y="449"/>
                      <a:pt x="56" y="439"/>
                    </a:cubicBezTo>
                    <a:cubicBezTo>
                      <a:pt x="56" y="157"/>
                      <a:pt x="56" y="157"/>
                      <a:pt x="56" y="157"/>
                    </a:cubicBezTo>
                    <a:cubicBezTo>
                      <a:pt x="56" y="83"/>
                      <a:pt x="85" y="53"/>
                      <a:pt x="165" y="53"/>
                    </a:cubicBezTo>
                    <a:cubicBezTo>
                      <a:pt x="180" y="53"/>
                      <a:pt x="180" y="53"/>
                      <a:pt x="180" y="53"/>
                    </a:cubicBezTo>
                    <a:cubicBezTo>
                      <a:pt x="192" y="53"/>
                      <a:pt x="196" y="43"/>
                      <a:pt x="196" y="27"/>
                    </a:cubicBezTo>
                    <a:cubicBezTo>
                      <a:pt x="196" y="8"/>
                      <a:pt x="185" y="4"/>
                      <a:pt x="154" y="4"/>
                    </a:cubicBezTo>
                    <a:cubicBezTo>
                      <a:pt x="64" y="4"/>
                      <a:pt x="0" y="43"/>
                      <a:pt x="0" y="152"/>
                    </a:cubicBezTo>
                    <a:lnTo>
                      <a:pt x="0" y="43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22" name="Freeform 7">
                <a:extLst>
                  <a:ext uri="{FF2B5EF4-FFF2-40B4-BE49-F238E27FC236}">
                    <a16:creationId xmlns:a16="http://schemas.microsoft.com/office/drawing/2014/main" id="{2F32DCBD-8628-F245-85CD-97686A20ECFD}"/>
                  </a:ext>
                </a:extLst>
              </p:cNvPr>
              <p:cNvSpPr>
                <a:spLocks/>
              </p:cNvSpPr>
              <p:nvPr/>
            </p:nvSpPr>
            <p:spPr bwMode="gray">
              <a:xfrm>
                <a:off x="2880" y="1704"/>
                <a:ext cx="618" cy="916"/>
              </a:xfrm>
              <a:custGeom>
                <a:avLst/>
                <a:gdLst>
                  <a:gd name="T0" fmla="*/ 307 w 307"/>
                  <a:gd name="T1" fmla="*/ 405 h 455"/>
                  <a:gd name="T2" fmla="*/ 307 w 307"/>
                  <a:gd name="T3" fmla="*/ 244 h 455"/>
                  <a:gd name="T4" fmla="*/ 279 w 307"/>
                  <a:gd name="T5" fmla="*/ 229 h 455"/>
                  <a:gd name="T6" fmla="*/ 250 w 307"/>
                  <a:gd name="T7" fmla="*/ 244 h 455"/>
                  <a:gd name="T8" fmla="*/ 250 w 307"/>
                  <a:gd name="T9" fmla="*/ 378 h 455"/>
                  <a:gd name="T10" fmla="*/ 199 w 307"/>
                  <a:gd name="T11" fmla="*/ 408 h 455"/>
                  <a:gd name="T12" fmla="*/ 61 w 307"/>
                  <a:gd name="T13" fmla="*/ 231 h 455"/>
                  <a:gd name="T14" fmla="*/ 238 w 307"/>
                  <a:gd name="T15" fmla="*/ 49 h 455"/>
                  <a:gd name="T16" fmla="*/ 270 w 307"/>
                  <a:gd name="T17" fmla="*/ 49 h 455"/>
                  <a:gd name="T18" fmla="*/ 286 w 307"/>
                  <a:gd name="T19" fmla="*/ 23 h 455"/>
                  <a:gd name="T20" fmla="*/ 244 w 307"/>
                  <a:gd name="T21" fmla="*/ 0 h 455"/>
                  <a:gd name="T22" fmla="*/ 231 w 307"/>
                  <a:gd name="T23" fmla="*/ 0 h 455"/>
                  <a:gd name="T24" fmla="*/ 0 w 307"/>
                  <a:gd name="T25" fmla="*/ 232 h 455"/>
                  <a:gd name="T26" fmla="*/ 198 w 307"/>
                  <a:gd name="T27" fmla="*/ 455 h 455"/>
                  <a:gd name="T28" fmla="*/ 307 w 307"/>
                  <a:gd name="T29" fmla="*/ 405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7" h="455">
                    <a:moveTo>
                      <a:pt x="307" y="405"/>
                    </a:moveTo>
                    <a:cubicBezTo>
                      <a:pt x="307" y="244"/>
                      <a:pt x="307" y="244"/>
                      <a:pt x="307" y="244"/>
                    </a:cubicBezTo>
                    <a:cubicBezTo>
                      <a:pt x="307" y="234"/>
                      <a:pt x="298" y="229"/>
                      <a:pt x="279" y="229"/>
                    </a:cubicBezTo>
                    <a:cubicBezTo>
                      <a:pt x="259" y="229"/>
                      <a:pt x="250" y="234"/>
                      <a:pt x="250" y="244"/>
                    </a:cubicBezTo>
                    <a:cubicBezTo>
                      <a:pt x="250" y="378"/>
                      <a:pt x="250" y="378"/>
                      <a:pt x="250" y="378"/>
                    </a:cubicBezTo>
                    <a:cubicBezTo>
                      <a:pt x="250" y="399"/>
                      <a:pt x="241" y="408"/>
                      <a:pt x="199" y="408"/>
                    </a:cubicBezTo>
                    <a:cubicBezTo>
                      <a:pt x="114" y="408"/>
                      <a:pt x="61" y="342"/>
                      <a:pt x="61" y="231"/>
                    </a:cubicBezTo>
                    <a:cubicBezTo>
                      <a:pt x="61" y="115"/>
                      <a:pt x="126" y="49"/>
                      <a:pt x="238" y="49"/>
                    </a:cubicBezTo>
                    <a:cubicBezTo>
                      <a:pt x="270" y="49"/>
                      <a:pt x="270" y="49"/>
                      <a:pt x="270" y="49"/>
                    </a:cubicBezTo>
                    <a:cubicBezTo>
                      <a:pt x="282" y="49"/>
                      <a:pt x="286" y="39"/>
                      <a:pt x="286" y="23"/>
                    </a:cubicBezTo>
                    <a:cubicBezTo>
                      <a:pt x="286" y="4"/>
                      <a:pt x="275" y="0"/>
                      <a:pt x="244" y="0"/>
                    </a:cubicBezTo>
                    <a:cubicBezTo>
                      <a:pt x="231" y="0"/>
                      <a:pt x="231" y="0"/>
                      <a:pt x="231" y="0"/>
                    </a:cubicBezTo>
                    <a:cubicBezTo>
                      <a:pt x="101" y="0"/>
                      <a:pt x="0" y="71"/>
                      <a:pt x="0" y="232"/>
                    </a:cubicBezTo>
                    <a:cubicBezTo>
                      <a:pt x="0" y="386"/>
                      <a:pt x="88" y="455"/>
                      <a:pt x="198" y="455"/>
                    </a:cubicBezTo>
                    <a:cubicBezTo>
                      <a:pt x="286" y="455"/>
                      <a:pt x="307" y="430"/>
                      <a:pt x="307" y="40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23" name="Oval 8">
                <a:extLst>
                  <a:ext uri="{FF2B5EF4-FFF2-40B4-BE49-F238E27FC236}">
                    <a16:creationId xmlns:a16="http://schemas.microsoft.com/office/drawing/2014/main" id="{60D97C11-1A3B-5449-A48D-98A3E79B3810}"/>
                  </a:ext>
                </a:extLst>
              </p:cNvPr>
              <p:cNvSpPr>
                <a:spLocks noChangeArrowheads="1"/>
              </p:cNvSpPr>
              <p:nvPr/>
            </p:nvSpPr>
            <p:spPr bwMode="gray">
              <a:xfrm>
                <a:off x="3778" y="2099"/>
                <a:ext cx="122" cy="12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24" name="Freeform 9">
                <a:extLst>
                  <a:ext uri="{FF2B5EF4-FFF2-40B4-BE49-F238E27FC236}">
                    <a16:creationId xmlns:a16="http://schemas.microsoft.com/office/drawing/2014/main" id="{5856770D-B8F0-244E-A05D-AED190086F10}"/>
                  </a:ext>
                </a:extLst>
              </p:cNvPr>
              <p:cNvSpPr>
                <a:spLocks noEditPoints="1"/>
              </p:cNvSpPr>
              <p:nvPr/>
            </p:nvSpPr>
            <p:spPr bwMode="gray">
              <a:xfrm>
                <a:off x="3623" y="1696"/>
                <a:ext cx="1167" cy="922"/>
              </a:xfrm>
              <a:custGeom>
                <a:avLst/>
                <a:gdLst>
                  <a:gd name="T0" fmla="*/ 411 w 580"/>
                  <a:gd name="T1" fmla="*/ 213 h 458"/>
                  <a:gd name="T2" fmla="*/ 570 w 580"/>
                  <a:gd name="T3" fmla="*/ 37 h 458"/>
                  <a:gd name="T4" fmla="*/ 580 w 580"/>
                  <a:gd name="T5" fmla="*/ 20 h 458"/>
                  <a:gd name="T6" fmla="*/ 545 w 580"/>
                  <a:gd name="T7" fmla="*/ 0 h 458"/>
                  <a:gd name="T8" fmla="*/ 519 w 580"/>
                  <a:gd name="T9" fmla="*/ 16 h 458"/>
                  <a:gd name="T10" fmla="*/ 344 w 580"/>
                  <a:gd name="T11" fmla="*/ 210 h 458"/>
                  <a:gd name="T12" fmla="*/ 334 w 580"/>
                  <a:gd name="T13" fmla="*/ 229 h 458"/>
                  <a:gd name="T14" fmla="*/ 344 w 580"/>
                  <a:gd name="T15" fmla="*/ 248 h 458"/>
                  <a:gd name="T16" fmla="*/ 519 w 580"/>
                  <a:gd name="T17" fmla="*/ 442 h 458"/>
                  <a:gd name="T18" fmla="*/ 545 w 580"/>
                  <a:gd name="T19" fmla="*/ 458 h 458"/>
                  <a:gd name="T20" fmla="*/ 580 w 580"/>
                  <a:gd name="T21" fmla="*/ 438 h 458"/>
                  <a:gd name="T22" fmla="*/ 570 w 580"/>
                  <a:gd name="T23" fmla="*/ 421 h 458"/>
                  <a:gd name="T24" fmla="*/ 411 w 580"/>
                  <a:gd name="T25" fmla="*/ 245 h 458"/>
                  <a:gd name="T26" fmla="*/ 399 w 580"/>
                  <a:gd name="T27" fmla="*/ 229 h 458"/>
                  <a:gd name="T28" fmla="*/ 411 w 580"/>
                  <a:gd name="T29" fmla="*/ 213 h 458"/>
                  <a:gd name="T30" fmla="*/ 252 w 580"/>
                  <a:gd name="T31" fmla="*/ 439 h 458"/>
                  <a:gd name="T32" fmla="*/ 281 w 580"/>
                  <a:gd name="T33" fmla="*/ 454 h 458"/>
                  <a:gd name="T34" fmla="*/ 309 w 580"/>
                  <a:gd name="T35" fmla="*/ 439 h 458"/>
                  <a:gd name="T36" fmla="*/ 309 w 580"/>
                  <a:gd name="T37" fmla="*/ 19 h 458"/>
                  <a:gd name="T38" fmla="*/ 281 w 580"/>
                  <a:gd name="T39" fmla="*/ 4 h 458"/>
                  <a:gd name="T40" fmla="*/ 252 w 580"/>
                  <a:gd name="T41" fmla="*/ 19 h 458"/>
                  <a:gd name="T42" fmla="*/ 252 w 580"/>
                  <a:gd name="T43" fmla="*/ 439 h 458"/>
                  <a:gd name="T44" fmla="*/ 0 w 580"/>
                  <a:gd name="T45" fmla="*/ 439 h 458"/>
                  <a:gd name="T46" fmla="*/ 28 w 580"/>
                  <a:gd name="T47" fmla="*/ 454 h 458"/>
                  <a:gd name="T48" fmla="*/ 56 w 580"/>
                  <a:gd name="T49" fmla="*/ 439 h 458"/>
                  <a:gd name="T50" fmla="*/ 56 w 580"/>
                  <a:gd name="T51" fmla="*/ 157 h 458"/>
                  <a:gd name="T52" fmla="*/ 165 w 580"/>
                  <a:gd name="T53" fmla="*/ 53 h 458"/>
                  <a:gd name="T54" fmla="*/ 180 w 580"/>
                  <a:gd name="T55" fmla="*/ 53 h 458"/>
                  <a:gd name="T56" fmla="*/ 196 w 580"/>
                  <a:gd name="T57" fmla="*/ 27 h 458"/>
                  <a:gd name="T58" fmla="*/ 154 w 580"/>
                  <a:gd name="T59" fmla="*/ 4 h 458"/>
                  <a:gd name="T60" fmla="*/ 0 w 580"/>
                  <a:gd name="T61" fmla="*/ 152 h 458"/>
                  <a:gd name="T62" fmla="*/ 0 w 580"/>
                  <a:gd name="T63" fmla="*/ 439 h 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80" h="458">
                    <a:moveTo>
                      <a:pt x="411" y="213"/>
                    </a:moveTo>
                    <a:cubicBezTo>
                      <a:pt x="570" y="37"/>
                      <a:pt x="570" y="37"/>
                      <a:pt x="570" y="37"/>
                    </a:cubicBezTo>
                    <a:cubicBezTo>
                      <a:pt x="576" y="30"/>
                      <a:pt x="580" y="25"/>
                      <a:pt x="580" y="20"/>
                    </a:cubicBezTo>
                    <a:cubicBezTo>
                      <a:pt x="580" y="10"/>
                      <a:pt x="559" y="0"/>
                      <a:pt x="545" y="0"/>
                    </a:cubicBezTo>
                    <a:cubicBezTo>
                      <a:pt x="535" y="0"/>
                      <a:pt x="526" y="8"/>
                      <a:pt x="519" y="16"/>
                    </a:cubicBezTo>
                    <a:cubicBezTo>
                      <a:pt x="344" y="210"/>
                      <a:pt x="344" y="210"/>
                      <a:pt x="344" y="210"/>
                    </a:cubicBezTo>
                    <a:cubicBezTo>
                      <a:pt x="336" y="219"/>
                      <a:pt x="334" y="224"/>
                      <a:pt x="334" y="229"/>
                    </a:cubicBezTo>
                    <a:cubicBezTo>
                      <a:pt x="334" y="234"/>
                      <a:pt x="336" y="239"/>
                      <a:pt x="344" y="248"/>
                    </a:cubicBezTo>
                    <a:cubicBezTo>
                      <a:pt x="519" y="442"/>
                      <a:pt x="519" y="442"/>
                      <a:pt x="519" y="442"/>
                    </a:cubicBezTo>
                    <a:cubicBezTo>
                      <a:pt x="526" y="450"/>
                      <a:pt x="535" y="458"/>
                      <a:pt x="545" y="458"/>
                    </a:cubicBezTo>
                    <a:cubicBezTo>
                      <a:pt x="559" y="458"/>
                      <a:pt x="580" y="448"/>
                      <a:pt x="580" y="438"/>
                    </a:cubicBezTo>
                    <a:cubicBezTo>
                      <a:pt x="580" y="433"/>
                      <a:pt x="576" y="428"/>
                      <a:pt x="570" y="421"/>
                    </a:cubicBezTo>
                    <a:cubicBezTo>
                      <a:pt x="411" y="245"/>
                      <a:pt x="411" y="245"/>
                      <a:pt x="411" y="245"/>
                    </a:cubicBezTo>
                    <a:cubicBezTo>
                      <a:pt x="403" y="236"/>
                      <a:pt x="399" y="232"/>
                      <a:pt x="399" y="229"/>
                    </a:cubicBezTo>
                    <a:cubicBezTo>
                      <a:pt x="399" y="226"/>
                      <a:pt x="403" y="222"/>
                      <a:pt x="411" y="213"/>
                    </a:cubicBezTo>
                    <a:moveTo>
                      <a:pt x="252" y="439"/>
                    </a:moveTo>
                    <a:cubicBezTo>
                      <a:pt x="252" y="449"/>
                      <a:pt x="261" y="454"/>
                      <a:pt x="281" y="454"/>
                    </a:cubicBezTo>
                    <a:cubicBezTo>
                      <a:pt x="300" y="454"/>
                      <a:pt x="309" y="449"/>
                      <a:pt x="309" y="439"/>
                    </a:cubicBezTo>
                    <a:cubicBezTo>
                      <a:pt x="309" y="19"/>
                      <a:pt x="309" y="19"/>
                      <a:pt x="309" y="19"/>
                    </a:cubicBezTo>
                    <a:cubicBezTo>
                      <a:pt x="309" y="9"/>
                      <a:pt x="300" y="4"/>
                      <a:pt x="281" y="4"/>
                    </a:cubicBezTo>
                    <a:cubicBezTo>
                      <a:pt x="261" y="4"/>
                      <a:pt x="252" y="9"/>
                      <a:pt x="252" y="19"/>
                    </a:cubicBezTo>
                    <a:lnTo>
                      <a:pt x="252" y="439"/>
                    </a:lnTo>
                    <a:close/>
                    <a:moveTo>
                      <a:pt x="0" y="439"/>
                    </a:moveTo>
                    <a:cubicBezTo>
                      <a:pt x="0" y="449"/>
                      <a:pt x="8" y="454"/>
                      <a:pt x="28" y="454"/>
                    </a:cubicBezTo>
                    <a:cubicBezTo>
                      <a:pt x="48" y="454"/>
                      <a:pt x="56" y="449"/>
                      <a:pt x="56" y="439"/>
                    </a:cubicBezTo>
                    <a:cubicBezTo>
                      <a:pt x="56" y="157"/>
                      <a:pt x="56" y="157"/>
                      <a:pt x="56" y="157"/>
                    </a:cubicBezTo>
                    <a:cubicBezTo>
                      <a:pt x="56" y="83"/>
                      <a:pt x="85" y="53"/>
                      <a:pt x="165" y="53"/>
                    </a:cubicBezTo>
                    <a:cubicBezTo>
                      <a:pt x="180" y="53"/>
                      <a:pt x="180" y="53"/>
                      <a:pt x="180" y="53"/>
                    </a:cubicBezTo>
                    <a:cubicBezTo>
                      <a:pt x="192" y="53"/>
                      <a:pt x="196" y="43"/>
                      <a:pt x="196" y="27"/>
                    </a:cubicBezTo>
                    <a:cubicBezTo>
                      <a:pt x="196" y="8"/>
                      <a:pt x="185" y="4"/>
                      <a:pt x="154" y="4"/>
                    </a:cubicBezTo>
                    <a:cubicBezTo>
                      <a:pt x="64" y="4"/>
                      <a:pt x="0" y="43"/>
                      <a:pt x="0" y="152"/>
                    </a:cubicBezTo>
                    <a:lnTo>
                      <a:pt x="0" y="43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25" name="Freeform 10">
                <a:extLst>
                  <a:ext uri="{FF2B5EF4-FFF2-40B4-BE49-F238E27FC236}">
                    <a16:creationId xmlns:a16="http://schemas.microsoft.com/office/drawing/2014/main" id="{2B91B16B-BC11-E547-8FAC-B9B8D18EA449}"/>
                  </a:ext>
                </a:extLst>
              </p:cNvPr>
              <p:cNvSpPr>
                <a:spLocks/>
              </p:cNvSpPr>
              <p:nvPr/>
            </p:nvSpPr>
            <p:spPr bwMode="gray">
              <a:xfrm>
                <a:off x="2880" y="1704"/>
                <a:ext cx="618" cy="916"/>
              </a:xfrm>
              <a:custGeom>
                <a:avLst/>
                <a:gdLst>
                  <a:gd name="T0" fmla="*/ 307 w 307"/>
                  <a:gd name="T1" fmla="*/ 405 h 455"/>
                  <a:gd name="T2" fmla="*/ 307 w 307"/>
                  <a:gd name="T3" fmla="*/ 244 h 455"/>
                  <a:gd name="T4" fmla="*/ 279 w 307"/>
                  <a:gd name="T5" fmla="*/ 229 h 455"/>
                  <a:gd name="T6" fmla="*/ 250 w 307"/>
                  <a:gd name="T7" fmla="*/ 244 h 455"/>
                  <a:gd name="T8" fmla="*/ 250 w 307"/>
                  <a:gd name="T9" fmla="*/ 378 h 455"/>
                  <a:gd name="T10" fmla="*/ 199 w 307"/>
                  <a:gd name="T11" fmla="*/ 408 h 455"/>
                  <a:gd name="T12" fmla="*/ 61 w 307"/>
                  <a:gd name="T13" fmla="*/ 231 h 455"/>
                  <a:gd name="T14" fmla="*/ 238 w 307"/>
                  <a:gd name="T15" fmla="*/ 49 h 455"/>
                  <a:gd name="T16" fmla="*/ 270 w 307"/>
                  <a:gd name="T17" fmla="*/ 49 h 455"/>
                  <a:gd name="T18" fmla="*/ 286 w 307"/>
                  <a:gd name="T19" fmla="*/ 23 h 455"/>
                  <a:gd name="T20" fmla="*/ 244 w 307"/>
                  <a:gd name="T21" fmla="*/ 0 h 455"/>
                  <a:gd name="T22" fmla="*/ 231 w 307"/>
                  <a:gd name="T23" fmla="*/ 0 h 455"/>
                  <a:gd name="T24" fmla="*/ 0 w 307"/>
                  <a:gd name="T25" fmla="*/ 232 h 455"/>
                  <a:gd name="T26" fmla="*/ 198 w 307"/>
                  <a:gd name="T27" fmla="*/ 455 h 455"/>
                  <a:gd name="T28" fmla="*/ 307 w 307"/>
                  <a:gd name="T29" fmla="*/ 405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7" h="455">
                    <a:moveTo>
                      <a:pt x="307" y="405"/>
                    </a:moveTo>
                    <a:cubicBezTo>
                      <a:pt x="307" y="244"/>
                      <a:pt x="307" y="244"/>
                      <a:pt x="307" y="244"/>
                    </a:cubicBezTo>
                    <a:cubicBezTo>
                      <a:pt x="307" y="234"/>
                      <a:pt x="298" y="229"/>
                      <a:pt x="279" y="229"/>
                    </a:cubicBezTo>
                    <a:cubicBezTo>
                      <a:pt x="259" y="229"/>
                      <a:pt x="250" y="234"/>
                      <a:pt x="250" y="244"/>
                    </a:cubicBezTo>
                    <a:cubicBezTo>
                      <a:pt x="250" y="378"/>
                      <a:pt x="250" y="378"/>
                      <a:pt x="250" y="378"/>
                    </a:cubicBezTo>
                    <a:cubicBezTo>
                      <a:pt x="250" y="399"/>
                      <a:pt x="241" y="408"/>
                      <a:pt x="199" y="408"/>
                    </a:cubicBezTo>
                    <a:cubicBezTo>
                      <a:pt x="114" y="408"/>
                      <a:pt x="61" y="342"/>
                      <a:pt x="61" y="231"/>
                    </a:cubicBezTo>
                    <a:cubicBezTo>
                      <a:pt x="61" y="115"/>
                      <a:pt x="126" y="49"/>
                      <a:pt x="238" y="49"/>
                    </a:cubicBezTo>
                    <a:cubicBezTo>
                      <a:pt x="270" y="49"/>
                      <a:pt x="270" y="49"/>
                      <a:pt x="270" y="49"/>
                    </a:cubicBezTo>
                    <a:cubicBezTo>
                      <a:pt x="282" y="49"/>
                      <a:pt x="286" y="39"/>
                      <a:pt x="286" y="23"/>
                    </a:cubicBezTo>
                    <a:cubicBezTo>
                      <a:pt x="286" y="4"/>
                      <a:pt x="275" y="0"/>
                      <a:pt x="244" y="0"/>
                    </a:cubicBezTo>
                    <a:cubicBezTo>
                      <a:pt x="231" y="0"/>
                      <a:pt x="231" y="0"/>
                      <a:pt x="231" y="0"/>
                    </a:cubicBezTo>
                    <a:cubicBezTo>
                      <a:pt x="101" y="0"/>
                      <a:pt x="0" y="71"/>
                      <a:pt x="0" y="232"/>
                    </a:cubicBezTo>
                    <a:cubicBezTo>
                      <a:pt x="0" y="386"/>
                      <a:pt x="88" y="455"/>
                      <a:pt x="198" y="455"/>
                    </a:cubicBezTo>
                    <a:cubicBezTo>
                      <a:pt x="286" y="455"/>
                      <a:pt x="307" y="430"/>
                      <a:pt x="307" y="40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26" name="Oval 11">
                <a:extLst>
                  <a:ext uri="{FF2B5EF4-FFF2-40B4-BE49-F238E27FC236}">
                    <a16:creationId xmlns:a16="http://schemas.microsoft.com/office/drawing/2014/main" id="{14F8C3C8-4888-7646-B9B4-64EB46A1DA23}"/>
                  </a:ext>
                </a:extLst>
              </p:cNvPr>
              <p:cNvSpPr>
                <a:spLocks noChangeArrowheads="1"/>
              </p:cNvSpPr>
              <p:nvPr/>
            </p:nvSpPr>
            <p:spPr bwMode="gray">
              <a:xfrm>
                <a:off x="3778" y="2099"/>
                <a:ext cx="122" cy="12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27" name="Freeform 12">
                <a:extLst>
                  <a:ext uri="{FF2B5EF4-FFF2-40B4-BE49-F238E27FC236}">
                    <a16:creationId xmlns:a16="http://schemas.microsoft.com/office/drawing/2014/main" id="{D79D01D1-4E3E-F34B-97D7-2D387E68746E}"/>
                  </a:ext>
                </a:extLst>
              </p:cNvPr>
              <p:cNvSpPr>
                <a:spLocks/>
              </p:cNvSpPr>
              <p:nvPr/>
            </p:nvSpPr>
            <p:spPr bwMode="gray">
              <a:xfrm>
                <a:off x="4321" y="1029"/>
                <a:ext cx="648" cy="649"/>
              </a:xfrm>
              <a:custGeom>
                <a:avLst/>
                <a:gdLst>
                  <a:gd name="T0" fmla="*/ 0 w 648"/>
                  <a:gd name="T1" fmla="*/ 649 h 649"/>
                  <a:gd name="T2" fmla="*/ 2 w 648"/>
                  <a:gd name="T3" fmla="*/ 649 h 649"/>
                  <a:gd name="T4" fmla="*/ 648 w 648"/>
                  <a:gd name="T5" fmla="*/ 0 h 649"/>
                  <a:gd name="T6" fmla="*/ 423 w 648"/>
                  <a:gd name="T7" fmla="*/ 0 h 649"/>
                  <a:gd name="T8" fmla="*/ 0 w 648"/>
                  <a:gd name="T9" fmla="*/ 649 h 649"/>
                </a:gdLst>
                <a:ahLst/>
                <a:cxnLst>
                  <a:cxn ang="0">
                    <a:pos x="T0" y="T1"/>
                  </a:cxn>
                  <a:cxn ang="0">
                    <a:pos x="T2" y="T3"/>
                  </a:cxn>
                  <a:cxn ang="0">
                    <a:pos x="T4" y="T5"/>
                  </a:cxn>
                  <a:cxn ang="0">
                    <a:pos x="T6" y="T7"/>
                  </a:cxn>
                  <a:cxn ang="0">
                    <a:pos x="T8" y="T9"/>
                  </a:cxn>
                </a:cxnLst>
                <a:rect l="0" t="0" r="r" b="b"/>
                <a:pathLst>
                  <a:path w="648" h="649">
                    <a:moveTo>
                      <a:pt x="0" y="649"/>
                    </a:moveTo>
                    <a:lnTo>
                      <a:pt x="2" y="649"/>
                    </a:lnTo>
                    <a:lnTo>
                      <a:pt x="648" y="0"/>
                    </a:lnTo>
                    <a:lnTo>
                      <a:pt x="423" y="0"/>
                    </a:lnTo>
                    <a:lnTo>
                      <a:pt x="0" y="64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28" name="Freeform 13">
                <a:extLst>
                  <a:ext uri="{FF2B5EF4-FFF2-40B4-BE49-F238E27FC236}">
                    <a16:creationId xmlns:a16="http://schemas.microsoft.com/office/drawing/2014/main" id="{46549898-6C52-B147-A8F6-A73FDBE6163B}"/>
                  </a:ext>
                </a:extLst>
              </p:cNvPr>
              <p:cNvSpPr>
                <a:spLocks/>
              </p:cNvSpPr>
              <p:nvPr/>
            </p:nvSpPr>
            <p:spPr bwMode="gray">
              <a:xfrm>
                <a:off x="4321" y="1029"/>
                <a:ext cx="648" cy="649"/>
              </a:xfrm>
              <a:custGeom>
                <a:avLst/>
                <a:gdLst>
                  <a:gd name="T0" fmla="*/ 0 w 648"/>
                  <a:gd name="T1" fmla="*/ 649 h 649"/>
                  <a:gd name="T2" fmla="*/ 2 w 648"/>
                  <a:gd name="T3" fmla="*/ 649 h 649"/>
                  <a:gd name="T4" fmla="*/ 648 w 648"/>
                  <a:gd name="T5" fmla="*/ 0 h 649"/>
                  <a:gd name="T6" fmla="*/ 423 w 648"/>
                  <a:gd name="T7" fmla="*/ 0 h 649"/>
                  <a:gd name="T8" fmla="*/ 0 w 648"/>
                  <a:gd name="T9" fmla="*/ 649 h 649"/>
                </a:gdLst>
                <a:ahLst/>
                <a:cxnLst>
                  <a:cxn ang="0">
                    <a:pos x="T0" y="T1"/>
                  </a:cxn>
                  <a:cxn ang="0">
                    <a:pos x="T2" y="T3"/>
                  </a:cxn>
                  <a:cxn ang="0">
                    <a:pos x="T4" y="T5"/>
                  </a:cxn>
                  <a:cxn ang="0">
                    <a:pos x="T6" y="T7"/>
                  </a:cxn>
                  <a:cxn ang="0">
                    <a:pos x="T8" y="T9"/>
                  </a:cxn>
                </a:cxnLst>
                <a:rect l="0" t="0" r="r" b="b"/>
                <a:pathLst>
                  <a:path w="648" h="649">
                    <a:moveTo>
                      <a:pt x="0" y="649"/>
                    </a:moveTo>
                    <a:lnTo>
                      <a:pt x="2" y="649"/>
                    </a:lnTo>
                    <a:lnTo>
                      <a:pt x="648" y="0"/>
                    </a:lnTo>
                    <a:lnTo>
                      <a:pt x="423" y="0"/>
                    </a:lnTo>
                    <a:lnTo>
                      <a:pt x="0" y="64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grpSp>
      </p:grpSp>
      <p:sp>
        <p:nvSpPr>
          <p:cNvPr id="7" name="Date Placeholder 6"/>
          <p:cNvSpPr>
            <a:spLocks noGrp="1"/>
          </p:cNvSpPr>
          <p:nvPr>
            <p:ph type="dt" sz="half" idx="10"/>
          </p:nvPr>
        </p:nvSpPr>
        <p:spPr>
          <a:xfrm>
            <a:off x="0" y="0"/>
            <a:ext cx="0" cy="0"/>
          </a:xfrm>
          <a:prstGeom prst="rect">
            <a:avLst/>
          </a:prstGeom>
        </p:spPr>
        <p:txBody>
          <a:bodyPr/>
          <a:lstStyle>
            <a:lvl1pPr>
              <a:defRPr sz="100">
                <a:noFill/>
              </a:defRPr>
            </a:lvl1pPr>
          </a:lstStyle>
          <a:p>
            <a:endParaRPr lang="en-US"/>
          </a:p>
        </p:txBody>
      </p:sp>
      <p:sp>
        <p:nvSpPr>
          <p:cNvPr id="8" name="Footer Placeholder 7"/>
          <p:cNvSpPr>
            <a:spLocks noGrp="1"/>
          </p:cNvSpPr>
          <p:nvPr>
            <p:ph type="ftr" sz="quarter" idx="11"/>
          </p:nvPr>
        </p:nvSpPr>
        <p:spPr>
          <a:xfrm>
            <a:off x="0" y="0"/>
            <a:ext cx="0" cy="0"/>
          </a:xfrm>
          <a:prstGeom prst="rect">
            <a:avLst/>
          </a:prstGeom>
        </p:spPr>
        <p:txBody>
          <a:bodyPr/>
          <a:lstStyle>
            <a:lvl1pPr marL="0" indent="0">
              <a:buNone/>
              <a:defRPr sz="100">
                <a:noFill/>
              </a:defRPr>
            </a:lvl1pPr>
          </a:lstStyle>
          <a:p>
            <a:endParaRPr lang="en-US"/>
          </a:p>
        </p:txBody>
      </p:sp>
      <p:sp>
        <p:nvSpPr>
          <p:cNvPr id="9" name="Slide Number Placeholder 8"/>
          <p:cNvSpPr>
            <a:spLocks noGrp="1"/>
          </p:cNvSpPr>
          <p:nvPr>
            <p:ph type="sldNum" sz="quarter" idx="12"/>
          </p:nvPr>
        </p:nvSpPr>
        <p:spPr>
          <a:xfrm>
            <a:off x="0" y="0"/>
            <a:ext cx="0" cy="0"/>
          </a:xfrm>
          <a:prstGeom prst="rect">
            <a:avLst/>
          </a:prstGeom>
        </p:spPr>
        <p:txBody>
          <a:bodyPr/>
          <a:lstStyle>
            <a:lvl1pPr>
              <a:defRPr sz="100">
                <a:noFill/>
              </a:defRPr>
            </a:lvl1pPr>
          </a:lstStyle>
          <a:p>
            <a:fld id="{8E3B25F7-8D1F-44B5-B485-EE3C438CFD7B}" type="slidenum">
              <a:rPr lang="en-US" smtClean="0"/>
              <a:pPr/>
              <a:t>‹#›</a:t>
            </a:fld>
            <a:endParaRPr lang="en-US"/>
          </a:p>
        </p:txBody>
      </p:sp>
      <p:sp>
        <p:nvSpPr>
          <p:cNvPr id="2" name="Title 1"/>
          <p:cNvSpPr>
            <a:spLocks noGrp="1"/>
          </p:cNvSpPr>
          <p:nvPr>
            <p:ph type="ctrTitle" hasCustomPrompt="1"/>
          </p:nvPr>
        </p:nvSpPr>
        <p:spPr>
          <a:xfrm>
            <a:off x="4524589" y="1628775"/>
            <a:ext cx="5707662" cy="2236264"/>
          </a:xfrm>
        </p:spPr>
        <p:txBody>
          <a:bodyPr anchor="b"/>
          <a:lstStyle>
            <a:lvl1pPr algn="l">
              <a:defRPr sz="3600" baseline="0"/>
            </a:lvl1pPr>
          </a:lstStyle>
          <a:p>
            <a:r>
              <a:rPr lang="en-US"/>
              <a:t>Click to add a longer presentation title</a:t>
            </a:r>
          </a:p>
        </p:txBody>
      </p:sp>
      <p:sp>
        <p:nvSpPr>
          <p:cNvPr id="3" name="Subtitle 2"/>
          <p:cNvSpPr>
            <a:spLocks noGrp="1"/>
          </p:cNvSpPr>
          <p:nvPr>
            <p:ph type="subTitle" idx="1" hasCustomPrompt="1"/>
          </p:nvPr>
        </p:nvSpPr>
        <p:spPr>
          <a:xfrm>
            <a:off x="4524589" y="4094163"/>
            <a:ext cx="5707662" cy="1080000"/>
          </a:xfrm>
        </p:spPr>
        <p:txBody>
          <a:bodyPr/>
          <a:lstStyle>
            <a:lvl1pPr marL="0" indent="0" algn="l">
              <a:spcBef>
                <a:spcPts val="0"/>
              </a:spcBef>
              <a:buNone/>
              <a:defRPr sz="1800" b="1"/>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sp>
        <p:nvSpPr>
          <p:cNvPr id="31" name="Text Placeholder 30"/>
          <p:cNvSpPr>
            <a:spLocks noGrp="1"/>
          </p:cNvSpPr>
          <p:nvPr>
            <p:ph type="body" sz="quarter" idx="14" hasCustomPrompt="1"/>
          </p:nvPr>
        </p:nvSpPr>
        <p:spPr>
          <a:xfrm>
            <a:off x="417600" y="5393268"/>
            <a:ext cx="2494933" cy="296332"/>
          </a:xfrm>
        </p:spPr>
        <p:txBody>
          <a:bodyPr wrap="none"/>
          <a:lstStyle>
            <a:lvl1pPr marL="0" indent="0">
              <a:spcBef>
                <a:spcPts val="0"/>
              </a:spcBef>
              <a:buNone/>
              <a:defRPr sz="1200"/>
            </a:lvl1pPr>
            <a:lvl2pPr marL="0" indent="0">
              <a:buNone/>
              <a:defRPr sz="1200"/>
            </a:lvl2pPr>
            <a:lvl3pPr marL="0" indent="0">
              <a:buNone/>
              <a:defRPr sz="1200"/>
            </a:lvl3pPr>
            <a:lvl4pPr marL="0">
              <a:buNone/>
              <a:defRPr sz="1200"/>
            </a:lvl4pPr>
            <a:lvl5pPr marL="0" indent="0">
              <a:buNone/>
              <a:defRPr sz="1200"/>
            </a:lvl5pPr>
          </a:lstStyle>
          <a:p>
            <a:pPr lvl="0"/>
            <a:r>
              <a:rPr lang="en-US"/>
              <a:t>Name</a:t>
            </a:r>
          </a:p>
        </p:txBody>
      </p:sp>
      <p:sp>
        <p:nvSpPr>
          <p:cNvPr id="34" name="Text Placeholder 30"/>
          <p:cNvSpPr>
            <a:spLocks noGrp="1"/>
          </p:cNvSpPr>
          <p:nvPr>
            <p:ph type="body" sz="quarter" idx="15" hasCustomPrompt="1"/>
          </p:nvPr>
        </p:nvSpPr>
        <p:spPr>
          <a:xfrm>
            <a:off x="417600" y="5691446"/>
            <a:ext cx="2494933" cy="296332"/>
          </a:xfrm>
        </p:spPr>
        <p:txBody>
          <a:bodyPr wrap="none"/>
          <a:lstStyle>
            <a:lvl1pPr marL="0" indent="0">
              <a:spcBef>
                <a:spcPts val="0"/>
              </a:spcBef>
              <a:buNone/>
              <a:defRPr sz="1200"/>
            </a:lvl1pPr>
            <a:lvl2pPr marL="0" indent="0">
              <a:buNone/>
              <a:defRPr sz="1200"/>
            </a:lvl2pPr>
            <a:lvl3pPr marL="0" indent="0">
              <a:buNone/>
              <a:defRPr sz="1200"/>
            </a:lvl3pPr>
            <a:lvl4pPr marL="0">
              <a:buNone/>
              <a:defRPr sz="1200"/>
            </a:lvl4pPr>
            <a:lvl5pPr marL="0" indent="0">
              <a:buNone/>
              <a:defRPr sz="1200"/>
            </a:lvl5pPr>
          </a:lstStyle>
          <a:p>
            <a:pPr lvl="0"/>
            <a:r>
              <a:rPr lang="en-US"/>
              <a:t>Department</a:t>
            </a:r>
          </a:p>
        </p:txBody>
      </p:sp>
    </p:spTree>
    <p:extLst>
      <p:ext uri="{BB962C8B-B14F-4D97-AF65-F5344CB8AC3E}">
        <p14:creationId xmlns:p14="http://schemas.microsoft.com/office/powerpoint/2010/main" val="3802618231"/>
      </p:ext>
    </p:extLst>
  </p:cSld>
  <p:clrMapOvr>
    <a:masterClrMapping/>
  </p:clrMapOvr>
</p:sldLayout>
</file>

<file path=ppt/slideLayouts/slideLayout446.xml><?xml version="1.0" encoding="utf-8"?>
<p:sldLayout xmlns:a="http://schemas.openxmlformats.org/drawingml/2006/main" xmlns:r="http://schemas.openxmlformats.org/officeDocument/2006/relationships" xmlns:p="http://schemas.openxmlformats.org/presentationml/2006/main" showMasterSp="0" preserve="1">
  <p:cSld name="Title with picture">
    <p:spTree>
      <p:nvGrpSpPr>
        <p:cNvPr id="1" name=""/>
        <p:cNvGrpSpPr/>
        <p:nvPr/>
      </p:nvGrpSpPr>
      <p:grpSpPr>
        <a:xfrm>
          <a:off x="0" y="0"/>
          <a:ext cx="0" cy="0"/>
          <a:chOff x="0" y="0"/>
          <a:chExt cx="0" cy="0"/>
        </a:xfrm>
      </p:grpSpPr>
      <p:sp>
        <p:nvSpPr>
          <p:cNvPr id="12" name="Picture Placeholder 11"/>
          <p:cNvSpPr>
            <a:spLocks noGrp="1"/>
          </p:cNvSpPr>
          <p:nvPr>
            <p:ph type="pic" sz="quarter" idx="13" hasCustomPrompt="1"/>
          </p:nvPr>
        </p:nvSpPr>
        <p:spPr>
          <a:xfrm>
            <a:off x="3376226" y="0"/>
            <a:ext cx="8815774" cy="6858000"/>
          </a:xfrm>
          <a:custGeom>
            <a:avLst/>
            <a:gdLst>
              <a:gd name="connsiteX0" fmla="*/ 331042 w 8815774"/>
              <a:gd name="connsiteY0" fmla="*/ 0 h 6858000"/>
              <a:gd name="connsiteX1" fmla="*/ 8815774 w 8815774"/>
              <a:gd name="connsiteY1" fmla="*/ 0 h 6858000"/>
              <a:gd name="connsiteX2" fmla="*/ 8815774 w 8815774"/>
              <a:gd name="connsiteY2" fmla="*/ 6858000 h 6858000"/>
              <a:gd name="connsiteX3" fmla="*/ 0 w 8815774"/>
              <a:gd name="connsiteY3" fmla="*/ 6858000 h 6858000"/>
              <a:gd name="connsiteX4" fmla="*/ 1580491 w 8815774"/>
              <a:gd name="connsiteY4" fmla="*/ 4163677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15774" h="6858000">
                <a:moveTo>
                  <a:pt x="331042" y="0"/>
                </a:moveTo>
                <a:lnTo>
                  <a:pt x="8815774" y="0"/>
                </a:lnTo>
                <a:lnTo>
                  <a:pt x="8815774" y="6858000"/>
                </a:lnTo>
                <a:lnTo>
                  <a:pt x="0" y="6858000"/>
                </a:lnTo>
                <a:lnTo>
                  <a:pt x="1580491" y="4163677"/>
                </a:lnTo>
                <a:close/>
              </a:path>
            </a:pathLst>
          </a:custGeom>
          <a:solidFill>
            <a:srgbClr val="D9DADB"/>
          </a:solidFill>
        </p:spPr>
        <p:txBody>
          <a:bodyPr wrap="square">
            <a:noAutofit/>
          </a:bodyPr>
          <a:lstStyle>
            <a:lvl1pPr marL="0" indent="0" algn="ctr">
              <a:buNone/>
              <a:defRPr/>
            </a:lvl1pPr>
          </a:lstStyle>
          <a:p>
            <a:r>
              <a:rPr lang="en-US"/>
              <a:t>Insert picture</a:t>
            </a:r>
          </a:p>
        </p:txBody>
      </p:sp>
      <p:grpSp>
        <p:nvGrpSpPr>
          <p:cNvPr id="14" name="logo">
            <a:extLst>
              <a:ext uri="{FF2B5EF4-FFF2-40B4-BE49-F238E27FC236}">
                <a16:creationId xmlns:a16="http://schemas.microsoft.com/office/drawing/2014/main" id="{18C26D95-70F8-8A4D-9F18-DCCB92522AF8}"/>
              </a:ext>
            </a:extLst>
          </p:cNvPr>
          <p:cNvGrpSpPr/>
          <p:nvPr/>
        </p:nvGrpSpPr>
        <p:grpSpPr bwMode="gray">
          <a:xfrm>
            <a:off x="417363" y="407485"/>
            <a:ext cx="1518585" cy="646507"/>
            <a:chOff x="334963" y="296652"/>
            <a:chExt cx="1268411" cy="540000"/>
          </a:xfrm>
        </p:grpSpPr>
        <p:sp>
          <p:nvSpPr>
            <p:cNvPr id="17" name="Freeform 6">
              <a:extLst>
                <a:ext uri="{FF2B5EF4-FFF2-40B4-BE49-F238E27FC236}">
                  <a16:creationId xmlns:a16="http://schemas.microsoft.com/office/drawing/2014/main" id="{08737AD0-E375-E445-97E6-CD2E2DF60620}"/>
                </a:ext>
              </a:extLst>
            </p:cNvPr>
            <p:cNvSpPr>
              <a:spLocks noEditPoints="1"/>
            </p:cNvSpPr>
            <p:nvPr/>
          </p:nvSpPr>
          <p:spPr bwMode="gray">
            <a:xfrm>
              <a:off x="982662" y="360462"/>
              <a:ext cx="620712" cy="431800"/>
            </a:xfrm>
            <a:custGeom>
              <a:avLst/>
              <a:gdLst>
                <a:gd name="T0" fmla="*/ 19 w 1809"/>
                <a:gd name="T1" fmla="*/ 97 h 1253"/>
                <a:gd name="T2" fmla="*/ 165 w 1809"/>
                <a:gd name="T3" fmla="*/ 41 h 1253"/>
                <a:gd name="T4" fmla="*/ 211 w 1809"/>
                <a:gd name="T5" fmla="*/ 224 h 1253"/>
                <a:gd name="T6" fmla="*/ 248 w 1809"/>
                <a:gd name="T7" fmla="*/ 155 h 1253"/>
                <a:gd name="T8" fmla="*/ 931 w 1809"/>
                <a:gd name="T9" fmla="*/ 995 h 1253"/>
                <a:gd name="T10" fmla="*/ 858 w 1809"/>
                <a:gd name="T11" fmla="*/ 1115 h 1253"/>
                <a:gd name="T12" fmla="*/ 749 w 1809"/>
                <a:gd name="T13" fmla="*/ 1117 h 1253"/>
                <a:gd name="T14" fmla="*/ 681 w 1809"/>
                <a:gd name="T15" fmla="*/ 1055 h 1253"/>
                <a:gd name="T16" fmla="*/ 800 w 1809"/>
                <a:gd name="T17" fmla="*/ 1054 h 1253"/>
                <a:gd name="T18" fmla="*/ 884 w 1809"/>
                <a:gd name="T19" fmla="*/ 1181 h 1253"/>
                <a:gd name="T20" fmla="*/ 118 w 1809"/>
                <a:gd name="T21" fmla="*/ 1086 h 1253"/>
                <a:gd name="T22" fmla="*/ 147 w 1809"/>
                <a:gd name="T23" fmla="*/ 1026 h 1253"/>
                <a:gd name="T24" fmla="*/ 102 w 1809"/>
                <a:gd name="T25" fmla="*/ 1026 h 1253"/>
                <a:gd name="T26" fmla="*/ 639 w 1809"/>
                <a:gd name="T27" fmla="*/ 84 h 1253"/>
                <a:gd name="T28" fmla="*/ 763 w 1809"/>
                <a:gd name="T29" fmla="*/ 145 h 1253"/>
                <a:gd name="T30" fmla="*/ 863 w 1809"/>
                <a:gd name="T31" fmla="*/ 221 h 1253"/>
                <a:gd name="T32" fmla="*/ 834 w 1809"/>
                <a:gd name="T33" fmla="*/ 208 h 1253"/>
                <a:gd name="T34" fmla="*/ 719 w 1809"/>
                <a:gd name="T35" fmla="*/ 182 h 1253"/>
                <a:gd name="T36" fmla="*/ 507 w 1809"/>
                <a:gd name="T37" fmla="*/ 711 h 1253"/>
                <a:gd name="T38" fmla="*/ 614 w 1809"/>
                <a:gd name="T39" fmla="*/ 706 h 1253"/>
                <a:gd name="T40" fmla="*/ 736 w 1809"/>
                <a:gd name="T41" fmla="*/ 730 h 1253"/>
                <a:gd name="T42" fmla="*/ 607 w 1809"/>
                <a:gd name="T43" fmla="*/ 539 h 1253"/>
                <a:gd name="T44" fmla="*/ 1505 w 1809"/>
                <a:gd name="T45" fmla="*/ 1136 h 1253"/>
                <a:gd name="T46" fmla="*/ 1613 w 1809"/>
                <a:gd name="T47" fmla="*/ 1002 h 1253"/>
                <a:gd name="T48" fmla="*/ 1472 w 1809"/>
                <a:gd name="T49" fmla="*/ 1164 h 1253"/>
                <a:gd name="T50" fmla="*/ 1525 w 1809"/>
                <a:gd name="T51" fmla="*/ 1142 h 1253"/>
                <a:gd name="T52" fmla="*/ 1556 w 1809"/>
                <a:gd name="T53" fmla="*/ 1172 h 1253"/>
                <a:gd name="T54" fmla="*/ 1387 w 1809"/>
                <a:gd name="T55" fmla="*/ 910 h 1253"/>
                <a:gd name="T56" fmla="*/ 1261 w 1809"/>
                <a:gd name="T57" fmla="*/ 1157 h 1253"/>
                <a:gd name="T58" fmla="*/ 1413 w 1809"/>
                <a:gd name="T59" fmla="*/ 934 h 1253"/>
                <a:gd name="T60" fmla="*/ 1378 w 1809"/>
                <a:gd name="T61" fmla="*/ 1052 h 1253"/>
                <a:gd name="T62" fmla="*/ 488 w 1809"/>
                <a:gd name="T63" fmla="*/ 85 h 1253"/>
                <a:gd name="T64" fmla="*/ 509 w 1809"/>
                <a:gd name="T65" fmla="*/ 112 h 1253"/>
                <a:gd name="T66" fmla="*/ 548 w 1809"/>
                <a:gd name="T67" fmla="*/ 1187 h 1253"/>
                <a:gd name="T68" fmla="*/ 472 w 1809"/>
                <a:gd name="T69" fmla="*/ 1122 h 1253"/>
                <a:gd name="T70" fmla="*/ 558 w 1809"/>
                <a:gd name="T71" fmla="*/ 1157 h 1253"/>
                <a:gd name="T72" fmla="*/ 287 w 1809"/>
                <a:gd name="T73" fmla="*/ 654 h 1253"/>
                <a:gd name="T74" fmla="*/ 416 w 1809"/>
                <a:gd name="T75" fmla="*/ 684 h 1253"/>
                <a:gd name="T76" fmla="*/ 1106 w 1809"/>
                <a:gd name="T77" fmla="*/ 147 h 1253"/>
                <a:gd name="T78" fmla="*/ 1229 w 1809"/>
                <a:gd name="T79" fmla="*/ 258 h 1253"/>
                <a:gd name="T80" fmla="*/ 1106 w 1809"/>
                <a:gd name="T81" fmla="*/ 96 h 1253"/>
                <a:gd name="T82" fmla="*/ 1219 w 1809"/>
                <a:gd name="T83" fmla="*/ 1077 h 1253"/>
                <a:gd name="T84" fmla="*/ 1214 w 1809"/>
                <a:gd name="T85" fmla="*/ 1157 h 1253"/>
                <a:gd name="T86" fmla="*/ 1150 w 1809"/>
                <a:gd name="T87" fmla="*/ 1092 h 1253"/>
                <a:gd name="T88" fmla="*/ 1139 w 1809"/>
                <a:gd name="T89" fmla="*/ 1070 h 1253"/>
                <a:gd name="T90" fmla="*/ 1659 w 1809"/>
                <a:gd name="T91" fmla="*/ 1031 h 1253"/>
                <a:gd name="T92" fmla="*/ 1714 w 1809"/>
                <a:gd name="T93" fmla="*/ 1155 h 1253"/>
                <a:gd name="T94" fmla="*/ 1760 w 1809"/>
                <a:gd name="T95" fmla="*/ 1030 h 1253"/>
                <a:gd name="T96" fmla="*/ 111 w 1809"/>
                <a:gd name="T97" fmla="*/ 569 h 1253"/>
                <a:gd name="T98" fmla="*/ 109 w 1809"/>
                <a:gd name="T99" fmla="*/ 460 h 1253"/>
                <a:gd name="T100" fmla="*/ 32 w 1809"/>
                <a:gd name="T101" fmla="*/ 704 h 1253"/>
                <a:gd name="T102" fmla="*/ 310 w 1809"/>
                <a:gd name="T103" fmla="*/ 1058 h 1253"/>
                <a:gd name="T104" fmla="*/ 431 w 1809"/>
                <a:gd name="T105" fmla="*/ 1044 h 1253"/>
                <a:gd name="T106" fmla="*/ 278 w 1809"/>
                <a:gd name="T107" fmla="*/ 1165 h 1253"/>
                <a:gd name="T108" fmla="*/ 261 w 1809"/>
                <a:gd name="T109" fmla="*/ 540 h 1253"/>
                <a:gd name="T110" fmla="*/ 150 w 1809"/>
                <a:gd name="T111" fmla="*/ 635 h 1253"/>
                <a:gd name="T112" fmla="*/ 994 w 1809"/>
                <a:gd name="T113" fmla="*/ 1185 h 1253"/>
                <a:gd name="T114" fmla="*/ 331 w 1809"/>
                <a:gd name="T115" fmla="*/ 176 h 1253"/>
                <a:gd name="T116" fmla="*/ 333 w 1809"/>
                <a:gd name="T117" fmla="*/ 109 h 1253"/>
                <a:gd name="T118" fmla="*/ 946 w 1809"/>
                <a:gd name="T119" fmla="*/ 234 h 1253"/>
                <a:gd name="T120" fmla="*/ 1022 w 1809"/>
                <a:gd name="T121" fmla="*/ 113 h 1253"/>
                <a:gd name="T122" fmla="*/ 949 w 1809"/>
                <a:gd name="T123" fmla="*/ 65 h 1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09" h="1253">
                  <a:moveTo>
                    <a:pt x="248" y="198"/>
                  </a:moveTo>
                  <a:cubicBezTo>
                    <a:pt x="248" y="211"/>
                    <a:pt x="248" y="224"/>
                    <a:pt x="249" y="237"/>
                  </a:cubicBezTo>
                  <a:cubicBezTo>
                    <a:pt x="249" y="245"/>
                    <a:pt x="246" y="249"/>
                    <a:pt x="240" y="253"/>
                  </a:cubicBezTo>
                  <a:cubicBezTo>
                    <a:pt x="231" y="260"/>
                    <a:pt x="220" y="264"/>
                    <a:pt x="209" y="268"/>
                  </a:cubicBezTo>
                  <a:cubicBezTo>
                    <a:pt x="179" y="279"/>
                    <a:pt x="148" y="280"/>
                    <a:pt x="118" y="275"/>
                  </a:cubicBezTo>
                  <a:cubicBezTo>
                    <a:pt x="86" y="269"/>
                    <a:pt x="58" y="252"/>
                    <a:pt x="39" y="224"/>
                  </a:cubicBezTo>
                  <a:cubicBezTo>
                    <a:pt x="24" y="203"/>
                    <a:pt x="18" y="180"/>
                    <a:pt x="15" y="155"/>
                  </a:cubicBezTo>
                  <a:cubicBezTo>
                    <a:pt x="11" y="135"/>
                    <a:pt x="15" y="115"/>
                    <a:pt x="19" y="97"/>
                  </a:cubicBezTo>
                  <a:cubicBezTo>
                    <a:pt x="26" y="68"/>
                    <a:pt x="42" y="44"/>
                    <a:pt x="68" y="27"/>
                  </a:cubicBezTo>
                  <a:cubicBezTo>
                    <a:pt x="87" y="14"/>
                    <a:pt x="109" y="6"/>
                    <a:pt x="133" y="5"/>
                  </a:cubicBezTo>
                  <a:cubicBezTo>
                    <a:pt x="149" y="4"/>
                    <a:pt x="165" y="5"/>
                    <a:pt x="181" y="6"/>
                  </a:cubicBezTo>
                  <a:cubicBezTo>
                    <a:pt x="204" y="8"/>
                    <a:pt x="225" y="20"/>
                    <a:pt x="243" y="35"/>
                  </a:cubicBezTo>
                  <a:cubicBezTo>
                    <a:pt x="246" y="37"/>
                    <a:pt x="246" y="40"/>
                    <a:pt x="244" y="43"/>
                  </a:cubicBezTo>
                  <a:cubicBezTo>
                    <a:pt x="242" y="47"/>
                    <a:pt x="239" y="52"/>
                    <a:pt x="236" y="55"/>
                  </a:cubicBezTo>
                  <a:cubicBezTo>
                    <a:pt x="226" y="65"/>
                    <a:pt x="224" y="65"/>
                    <a:pt x="206" y="54"/>
                  </a:cubicBezTo>
                  <a:cubicBezTo>
                    <a:pt x="193" y="46"/>
                    <a:pt x="180" y="40"/>
                    <a:pt x="165" y="41"/>
                  </a:cubicBezTo>
                  <a:cubicBezTo>
                    <a:pt x="151" y="41"/>
                    <a:pt x="137" y="39"/>
                    <a:pt x="124" y="42"/>
                  </a:cubicBezTo>
                  <a:cubicBezTo>
                    <a:pt x="104" y="46"/>
                    <a:pt x="87" y="57"/>
                    <a:pt x="75" y="74"/>
                  </a:cubicBezTo>
                  <a:cubicBezTo>
                    <a:pt x="56" y="99"/>
                    <a:pt x="51" y="129"/>
                    <a:pt x="55" y="159"/>
                  </a:cubicBezTo>
                  <a:cubicBezTo>
                    <a:pt x="60" y="189"/>
                    <a:pt x="73" y="214"/>
                    <a:pt x="98" y="230"/>
                  </a:cubicBezTo>
                  <a:cubicBezTo>
                    <a:pt x="109" y="237"/>
                    <a:pt x="121" y="242"/>
                    <a:pt x="135" y="241"/>
                  </a:cubicBezTo>
                  <a:cubicBezTo>
                    <a:pt x="146" y="241"/>
                    <a:pt x="158" y="241"/>
                    <a:pt x="169" y="241"/>
                  </a:cubicBezTo>
                  <a:cubicBezTo>
                    <a:pt x="182" y="242"/>
                    <a:pt x="193" y="235"/>
                    <a:pt x="205" y="232"/>
                  </a:cubicBezTo>
                  <a:cubicBezTo>
                    <a:pt x="210" y="231"/>
                    <a:pt x="211" y="227"/>
                    <a:pt x="211" y="224"/>
                  </a:cubicBezTo>
                  <a:cubicBezTo>
                    <a:pt x="211" y="210"/>
                    <a:pt x="211" y="196"/>
                    <a:pt x="211" y="183"/>
                  </a:cubicBezTo>
                  <a:cubicBezTo>
                    <a:pt x="211" y="177"/>
                    <a:pt x="207" y="175"/>
                    <a:pt x="202" y="175"/>
                  </a:cubicBezTo>
                  <a:cubicBezTo>
                    <a:pt x="193" y="175"/>
                    <a:pt x="184" y="175"/>
                    <a:pt x="175" y="175"/>
                  </a:cubicBezTo>
                  <a:cubicBezTo>
                    <a:pt x="171" y="175"/>
                    <a:pt x="168" y="174"/>
                    <a:pt x="166" y="171"/>
                  </a:cubicBezTo>
                  <a:cubicBezTo>
                    <a:pt x="163" y="163"/>
                    <a:pt x="164" y="154"/>
                    <a:pt x="166" y="146"/>
                  </a:cubicBezTo>
                  <a:cubicBezTo>
                    <a:pt x="167" y="142"/>
                    <a:pt x="171" y="142"/>
                    <a:pt x="175" y="142"/>
                  </a:cubicBezTo>
                  <a:cubicBezTo>
                    <a:pt x="196" y="142"/>
                    <a:pt x="217" y="142"/>
                    <a:pt x="238" y="142"/>
                  </a:cubicBezTo>
                  <a:cubicBezTo>
                    <a:pt x="247" y="142"/>
                    <a:pt x="248" y="148"/>
                    <a:pt x="248" y="155"/>
                  </a:cubicBezTo>
                  <a:cubicBezTo>
                    <a:pt x="249" y="169"/>
                    <a:pt x="248" y="183"/>
                    <a:pt x="248" y="198"/>
                  </a:cubicBezTo>
                  <a:close/>
                  <a:moveTo>
                    <a:pt x="884" y="1181"/>
                  </a:moveTo>
                  <a:cubicBezTo>
                    <a:pt x="889" y="1167"/>
                    <a:pt x="894" y="1152"/>
                    <a:pt x="898" y="1137"/>
                  </a:cubicBezTo>
                  <a:cubicBezTo>
                    <a:pt x="901" y="1127"/>
                    <a:pt x="905" y="1116"/>
                    <a:pt x="908" y="1106"/>
                  </a:cubicBezTo>
                  <a:cubicBezTo>
                    <a:pt x="911" y="1098"/>
                    <a:pt x="912" y="1089"/>
                    <a:pt x="916" y="1081"/>
                  </a:cubicBezTo>
                  <a:cubicBezTo>
                    <a:pt x="921" y="1072"/>
                    <a:pt x="923" y="1060"/>
                    <a:pt x="927" y="1050"/>
                  </a:cubicBezTo>
                  <a:cubicBezTo>
                    <a:pt x="932" y="1037"/>
                    <a:pt x="934" y="1023"/>
                    <a:pt x="940" y="1010"/>
                  </a:cubicBezTo>
                  <a:cubicBezTo>
                    <a:pt x="945" y="1001"/>
                    <a:pt x="941" y="995"/>
                    <a:pt x="931" y="995"/>
                  </a:cubicBezTo>
                  <a:cubicBezTo>
                    <a:pt x="927" y="995"/>
                    <a:pt x="922" y="995"/>
                    <a:pt x="918" y="995"/>
                  </a:cubicBezTo>
                  <a:cubicBezTo>
                    <a:pt x="913" y="995"/>
                    <a:pt x="908" y="997"/>
                    <a:pt x="907" y="1001"/>
                  </a:cubicBezTo>
                  <a:cubicBezTo>
                    <a:pt x="904" y="1008"/>
                    <a:pt x="900" y="1015"/>
                    <a:pt x="899" y="1023"/>
                  </a:cubicBezTo>
                  <a:cubicBezTo>
                    <a:pt x="897" y="1034"/>
                    <a:pt x="893" y="1045"/>
                    <a:pt x="889" y="1055"/>
                  </a:cubicBezTo>
                  <a:cubicBezTo>
                    <a:pt x="887" y="1064"/>
                    <a:pt x="885" y="1072"/>
                    <a:pt x="882" y="1080"/>
                  </a:cubicBezTo>
                  <a:cubicBezTo>
                    <a:pt x="878" y="1091"/>
                    <a:pt x="874" y="1103"/>
                    <a:pt x="871" y="1115"/>
                  </a:cubicBezTo>
                  <a:cubicBezTo>
                    <a:pt x="870" y="1118"/>
                    <a:pt x="871" y="1124"/>
                    <a:pt x="866" y="1124"/>
                  </a:cubicBezTo>
                  <a:cubicBezTo>
                    <a:pt x="861" y="1125"/>
                    <a:pt x="859" y="1120"/>
                    <a:pt x="858" y="1115"/>
                  </a:cubicBezTo>
                  <a:cubicBezTo>
                    <a:pt x="856" y="1110"/>
                    <a:pt x="856" y="1104"/>
                    <a:pt x="854" y="1099"/>
                  </a:cubicBezTo>
                  <a:cubicBezTo>
                    <a:pt x="848" y="1080"/>
                    <a:pt x="841" y="1062"/>
                    <a:pt x="835" y="1044"/>
                  </a:cubicBezTo>
                  <a:cubicBezTo>
                    <a:pt x="831" y="1030"/>
                    <a:pt x="828" y="1016"/>
                    <a:pt x="822" y="1003"/>
                  </a:cubicBezTo>
                  <a:cubicBezTo>
                    <a:pt x="819" y="997"/>
                    <a:pt x="814" y="994"/>
                    <a:pt x="808" y="994"/>
                  </a:cubicBezTo>
                  <a:cubicBezTo>
                    <a:pt x="799" y="993"/>
                    <a:pt x="791" y="993"/>
                    <a:pt x="787" y="1001"/>
                  </a:cubicBezTo>
                  <a:cubicBezTo>
                    <a:pt x="783" y="1008"/>
                    <a:pt x="780" y="1015"/>
                    <a:pt x="779" y="1022"/>
                  </a:cubicBezTo>
                  <a:cubicBezTo>
                    <a:pt x="778" y="1034"/>
                    <a:pt x="772" y="1044"/>
                    <a:pt x="769" y="1055"/>
                  </a:cubicBezTo>
                  <a:cubicBezTo>
                    <a:pt x="762" y="1076"/>
                    <a:pt x="754" y="1096"/>
                    <a:pt x="749" y="1117"/>
                  </a:cubicBezTo>
                  <a:cubicBezTo>
                    <a:pt x="748" y="1120"/>
                    <a:pt x="747" y="1124"/>
                    <a:pt x="742" y="1124"/>
                  </a:cubicBezTo>
                  <a:cubicBezTo>
                    <a:pt x="737" y="1124"/>
                    <a:pt x="737" y="1120"/>
                    <a:pt x="736" y="1116"/>
                  </a:cubicBezTo>
                  <a:cubicBezTo>
                    <a:pt x="734" y="1104"/>
                    <a:pt x="730" y="1092"/>
                    <a:pt x="726" y="1080"/>
                  </a:cubicBezTo>
                  <a:cubicBezTo>
                    <a:pt x="720" y="1061"/>
                    <a:pt x="714" y="1040"/>
                    <a:pt x="708" y="1020"/>
                  </a:cubicBezTo>
                  <a:cubicBezTo>
                    <a:pt x="703" y="1000"/>
                    <a:pt x="698" y="994"/>
                    <a:pt x="676" y="995"/>
                  </a:cubicBezTo>
                  <a:cubicBezTo>
                    <a:pt x="665" y="996"/>
                    <a:pt x="661" y="1001"/>
                    <a:pt x="667" y="1011"/>
                  </a:cubicBezTo>
                  <a:cubicBezTo>
                    <a:pt x="669" y="1016"/>
                    <a:pt x="670" y="1021"/>
                    <a:pt x="672" y="1025"/>
                  </a:cubicBezTo>
                  <a:cubicBezTo>
                    <a:pt x="675" y="1035"/>
                    <a:pt x="678" y="1046"/>
                    <a:pt x="681" y="1055"/>
                  </a:cubicBezTo>
                  <a:cubicBezTo>
                    <a:pt x="685" y="1068"/>
                    <a:pt x="689" y="1080"/>
                    <a:pt x="693" y="1092"/>
                  </a:cubicBezTo>
                  <a:cubicBezTo>
                    <a:pt x="697" y="1103"/>
                    <a:pt x="699" y="1113"/>
                    <a:pt x="703" y="1124"/>
                  </a:cubicBezTo>
                  <a:cubicBezTo>
                    <a:pt x="707" y="1136"/>
                    <a:pt x="711" y="1147"/>
                    <a:pt x="715" y="1160"/>
                  </a:cubicBezTo>
                  <a:cubicBezTo>
                    <a:pt x="717" y="1168"/>
                    <a:pt x="720" y="1176"/>
                    <a:pt x="724" y="1183"/>
                  </a:cubicBezTo>
                  <a:cubicBezTo>
                    <a:pt x="728" y="1189"/>
                    <a:pt x="752" y="1185"/>
                    <a:pt x="757" y="1180"/>
                  </a:cubicBezTo>
                  <a:cubicBezTo>
                    <a:pt x="764" y="1173"/>
                    <a:pt x="762" y="1163"/>
                    <a:pt x="766" y="1156"/>
                  </a:cubicBezTo>
                  <a:cubicBezTo>
                    <a:pt x="774" y="1140"/>
                    <a:pt x="778" y="1122"/>
                    <a:pt x="784" y="1105"/>
                  </a:cubicBezTo>
                  <a:cubicBezTo>
                    <a:pt x="789" y="1088"/>
                    <a:pt x="796" y="1072"/>
                    <a:pt x="800" y="1054"/>
                  </a:cubicBezTo>
                  <a:cubicBezTo>
                    <a:pt x="800" y="1053"/>
                    <a:pt x="801" y="1050"/>
                    <a:pt x="803" y="1050"/>
                  </a:cubicBezTo>
                  <a:cubicBezTo>
                    <a:pt x="806" y="1050"/>
                    <a:pt x="806" y="1052"/>
                    <a:pt x="807" y="1055"/>
                  </a:cubicBezTo>
                  <a:cubicBezTo>
                    <a:pt x="807" y="1060"/>
                    <a:pt x="810" y="1066"/>
                    <a:pt x="811" y="1071"/>
                  </a:cubicBezTo>
                  <a:cubicBezTo>
                    <a:pt x="814" y="1081"/>
                    <a:pt x="818" y="1090"/>
                    <a:pt x="821" y="1099"/>
                  </a:cubicBezTo>
                  <a:cubicBezTo>
                    <a:pt x="824" y="1110"/>
                    <a:pt x="827" y="1120"/>
                    <a:pt x="831" y="1131"/>
                  </a:cubicBezTo>
                  <a:cubicBezTo>
                    <a:pt x="834" y="1142"/>
                    <a:pt x="839" y="1153"/>
                    <a:pt x="842" y="1164"/>
                  </a:cubicBezTo>
                  <a:cubicBezTo>
                    <a:pt x="846" y="1179"/>
                    <a:pt x="850" y="1188"/>
                    <a:pt x="869" y="1185"/>
                  </a:cubicBezTo>
                  <a:cubicBezTo>
                    <a:pt x="873" y="1184"/>
                    <a:pt x="881" y="1189"/>
                    <a:pt x="884" y="1181"/>
                  </a:cubicBezTo>
                  <a:close/>
                  <a:moveTo>
                    <a:pt x="33" y="1051"/>
                  </a:moveTo>
                  <a:cubicBezTo>
                    <a:pt x="33" y="1087"/>
                    <a:pt x="33" y="1124"/>
                    <a:pt x="33" y="1160"/>
                  </a:cubicBezTo>
                  <a:cubicBezTo>
                    <a:pt x="33" y="1188"/>
                    <a:pt x="29" y="1184"/>
                    <a:pt x="58" y="1185"/>
                  </a:cubicBezTo>
                  <a:cubicBezTo>
                    <a:pt x="72" y="1185"/>
                    <a:pt x="73" y="1184"/>
                    <a:pt x="73" y="1170"/>
                  </a:cubicBezTo>
                  <a:cubicBezTo>
                    <a:pt x="73" y="1138"/>
                    <a:pt x="73" y="1107"/>
                    <a:pt x="73" y="1076"/>
                  </a:cubicBezTo>
                  <a:cubicBezTo>
                    <a:pt x="73" y="1071"/>
                    <a:pt x="72" y="1067"/>
                    <a:pt x="78" y="1065"/>
                  </a:cubicBezTo>
                  <a:cubicBezTo>
                    <a:pt x="91" y="1062"/>
                    <a:pt x="102" y="1067"/>
                    <a:pt x="110" y="1076"/>
                  </a:cubicBezTo>
                  <a:cubicBezTo>
                    <a:pt x="112" y="1080"/>
                    <a:pt x="115" y="1083"/>
                    <a:pt x="118" y="1086"/>
                  </a:cubicBezTo>
                  <a:cubicBezTo>
                    <a:pt x="132" y="1103"/>
                    <a:pt x="146" y="1119"/>
                    <a:pt x="161" y="1136"/>
                  </a:cubicBezTo>
                  <a:cubicBezTo>
                    <a:pt x="173" y="1150"/>
                    <a:pt x="186" y="1165"/>
                    <a:pt x="198" y="1179"/>
                  </a:cubicBezTo>
                  <a:cubicBezTo>
                    <a:pt x="207" y="1188"/>
                    <a:pt x="218" y="1184"/>
                    <a:pt x="228" y="1185"/>
                  </a:cubicBezTo>
                  <a:cubicBezTo>
                    <a:pt x="233" y="1185"/>
                    <a:pt x="241" y="1188"/>
                    <a:pt x="244" y="1182"/>
                  </a:cubicBezTo>
                  <a:cubicBezTo>
                    <a:pt x="246" y="1178"/>
                    <a:pt x="239" y="1173"/>
                    <a:pt x="235" y="1169"/>
                  </a:cubicBezTo>
                  <a:cubicBezTo>
                    <a:pt x="206" y="1133"/>
                    <a:pt x="176" y="1098"/>
                    <a:pt x="146" y="1062"/>
                  </a:cubicBezTo>
                  <a:cubicBezTo>
                    <a:pt x="141" y="1056"/>
                    <a:pt x="131" y="1052"/>
                    <a:pt x="132" y="1044"/>
                  </a:cubicBezTo>
                  <a:cubicBezTo>
                    <a:pt x="132" y="1036"/>
                    <a:pt x="142" y="1032"/>
                    <a:pt x="147" y="1026"/>
                  </a:cubicBezTo>
                  <a:cubicBezTo>
                    <a:pt x="164" y="1006"/>
                    <a:pt x="182" y="988"/>
                    <a:pt x="198" y="968"/>
                  </a:cubicBezTo>
                  <a:cubicBezTo>
                    <a:pt x="209" y="954"/>
                    <a:pt x="221" y="942"/>
                    <a:pt x="234" y="929"/>
                  </a:cubicBezTo>
                  <a:cubicBezTo>
                    <a:pt x="236" y="926"/>
                    <a:pt x="238" y="923"/>
                    <a:pt x="237" y="920"/>
                  </a:cubicBezTo>
                  <a:cubicBezTo>
                    <a:pt x="235" y="915"/>
                    <a:pt x="231" y="917"/>
                    <a:pt x="228" y="917"/>
                  </a:cubicBezTo>
                  <a:cubicBezTo>
                    <a:pt x="224" y="918"/>
                    <a:pt x="221" y="918"/>
                    <a:pt x="217" y="918"/>
                  </a:cubicBezTo>
                  <a:cubicBezTo>
                    <a:pt x="204" y="917"/>
                    <a:pt x="193" y="922"/>
                    <a:pt x="185" y="931"/>
                  </a:cubicBezTo>
                  <a:cubicBezTo>
                    <a:pt x="172" y="946"/>
                    <a:pt x="158" y="961"/>
                    <a:pt x="145" y="977"/>
                  </a:cubicBezTo>
                  <a:cubicBezTo>
                    <a:pt x="131" y="993"/>
                    <a:pt x="117" y="1010"/>
                    <a:pt x="102" y="1026"/>
                  </a:cubicBezTo>
                  <a:cubicBezTo>
                    <a:pt x="96" y="1032"/>
                    <a:pt x="87" y="1037"/>
                    <a:pt x="78" y="1034"/>
                  </a:cubicBezTo>
                  <a:cubicBezTo>
                    <a:pt x="70" y="1030"/>
                    <a:pt x="73" y="1021"/>
                    <a:pt x="73" y="1015"/>
                  </a:cubicBezTo>
                  <a:cubicBezTo>
                    <a:pt x="73" y="991"/>
                    <a:pt x="73" y="967"/>
                    <a:pt x="73" y="944"/>
                  </a:cubicBezTo>
                  <a:cubicBezTo>
                    <a:pt x="73" y="916"/>
                    <a:pt x="75" y="917"/>
                    <a:pt x="46" y="918"/>
                  </a:cubicBezTo>
                  <a:cubicBezTo>
                    <a:pt x="33" y="918"/>
                    <a:pt x="33" y="918"/>
                    <a:pt x="33" y="931"/>
                  </a:cubicBezTo>
                  <a:cubicBezTo>
                    <a:pt x="33" y="971"/>
                    <a:pt x="33" y="1011"/>
                    <a:pt x="33" y="1051"/>
                  </a:cubicBezTo>
                  <a:cubicBezTo>
                    <a:pt x="33" y="1051"/>
                    <a:pt x="33" y="1051"/>
                    <a:pt x="33" y="1051"/>
                  </a:cubicBezTo>
                  <a:close/>
                  <a:moveTo>
                    <a:pt x="639" y="84"/>
                  </a:moveTo>
                  <a:cubicBezTo>
                    <a:pt x="627" y="84"/>
                    <a:pt x="626" y="84"/>
                    <a:pt x="629" y="95"/>
                  </a:cubicBezTo>
                  <a:cubicBezTo>
                    <a:pt x="634" y="113"/>
                    <a:pt x="640" y="131"/>
                    <a:pt x="646" y="148"/>
                  </a:cubicBezTo>
                  <a:cubicBezTo>
                    <a:pt x="652" y="166"/>
                    <a:pt x="658" y="185"/>
                    <a:pt x="664" y="203"/>
                  </a:cubicBezTo>
                  <a:cubicBezTo>
                    <a:pt x="671" y="223"/>
                    <a:pt x="676" y="244"/>
                    <a:pt x="684" y="264"/>
                  </a:cubicBezTo>
                  <a:cubicBezTo>
                    <a:pt x="688" y="274"/>
                    <a:pt x="694" y="274"/>
                    <a:pt x="702" y="274"/>
                  </a:cubicBezTo>
                  <a:cubicBezTo>
                    <a:pt x="711" y="274"/>
                    <a:pt x="719" y="272"/>
                    <a:pt x="723" y="263"/>
                  </a:cubicBezTo>
                  <a:cubicBezTo>
                    <a:pt x="733" y="236"/>
                    <a:pt x="741" y="208"/>
                    <a:pt x="750" y="181"/>
                  </a:cubicBezTo>
                  <a:cubicBezTo>
                    <a:pt x="754" y="169"/>
                    <a:pt x="757" y="156"/>
                    <a:pt x="763" y="145"/>
                  </a:cubicBezTo>
                  <a:cubicBezTo>
                    <a:pt x="764" y="143"/>
                    <a:pt x="764" y="140"/>
                    <a:pt x="767" y="140"/>
                  </a:cubicBezTo>
                  <a:cubicBezTo>
                    <a:pt x="770" y="140"/>
                    <a:pt x="770" y="143"/>
                    <a:pt x="771" y="145"/>
                  </a:cubicBezTo>
                  <a:cubicBezTo>
                    <a:pt x="771" y="156"/>
                    <a:pt x="777" y="165"/>
                    <a:pt x="780" y="175"/>
                  </a:cubicBezTo>
                  <a:cubicBezTo>
                    <a:pt x="782" y="184"/>
                    <a:pt x="785" y="193"/>
                    <a:pt x="788" y="201"/>
                  </a:cubicBezTo>
                  <a:cubicBezTo>
                    <a:pt x="794" y="219"/>
                    <a:pt x="801" y="237"/>
                    <a:pt x="806" y="255"/>
                  </a:cubicBezTo>
                  <a:cubicBezTo>
                    <a:pt x="811" y="272"/>
                    <a:pt x="825" y="280"/>
                    <a:pt x="842" y="273"/>
                  </a:cubicBezTo>
                  <a:cubicBezTo>
                    <a:pt x="845" y="271"/>
                    <a:pt x="847" y="269"/>
                    <a:pt x="848" y="266"/>
                  </a:cubicBezTo>
                  <a:cubicBezTo>
                    <a:pt x="853" y="251"/>
                    <a:pt x="859" y="236"/>
                    <a:pt x="863" y="221"/>
                  </a:cubicBezTo>
                  <a:cubicBezTo>
                    <a:pt x="867" y="202"/>
                    <a:pt x="875" y="185"/>
                    <a:pt x="880" y="166"/>
                  </a:cubicBezTo>
                  <a:cubicBezTo>
                    <a:pt x="886" y="144"/>
                    <a:pt x="895" y="123"/>
                    <a:pt x="900" y="101"/>
                  </a:cubicBezTo>
                  <a:cubicBezTo>
                    <a:pt x="901" y="96"/>
                    <a:pt x="909" y="91"/>
                    <a:pt x="904" y="86"/>
                  </a:cubicBezTo>
                  <a:cubicBezTo>
                    <a:pt x="900" y="81"/>
                    <a:pt x="892" y="84"/>
                    <a:pt x="886" y="84"/>
                  </a:cubicBezTo>
                  <a:cubicBezTo>
                    <a:pt x="885" y="84"/>
                    <a:pt x="883" y="84"/>
                    <a:pt x="881" y="84"/>
                  </a:cubicBezTo>
                  <a:cubicBezTo>
                    <a:pt x="875" y="84"/>
                    <a:pt x="872" y="86"/>
                    <a:pt x="869" y="91"/>
                  </a:cubicBezTo>
                  <a:cubicBezTo>
                    <a:pt x="860" y="110"/>
                    <a:pt x="856" y="131"/>
                    <a:pt x="850" y="151"/>
                  </a:cubicBezTo>
                  <a:cubicBezTo>
                    <a:pt x="844" y="170"/>
                    <a:pt x="836" y="188"/>
                    <a:pt x="834" y="208"/>
                  </a:cubicBezTo>
                  <a:cubicBezTo>
                    <a:pt x="833" y="211"/>
                    <a:pt x="831" y="214"/>
                    <a:pt x="827" y="214"/>
                  </a:cubicBezTo>
                  <a:cubicBezTo>
                    <a:pt x="823" y="214"/>
                    <a:pt x="822" y="210"/>
                    <a:pt x="822" y="207"/>
                  </a:cubicBezTo>
                  <a:cubicBezTo>
                    <a:pt x="817" y="188"/>
                    <a:pt x="811" y="170"/>
                    <a:pt x="805" y="152"/>
                  </a:cubicBezTo>
                  <a:cubicBezTo>
                    <a:pt x="799" y="133"/>
                    <a:pt x="794" y="114"/>
                    <a:pt x="786" y="96"/>
                  </a:cubicBezTo>
                  <a:cubicBezTo>
                    <a:pt x="783" y="87"/>
                    <a:pt x="779" y="84"/>
                    <a:pt x="770" y="84"/>
                  </a:cubicBezTo>
                  <a:cubicBezTo>
                    <a:pt x="761" y="84"/>
                    <a:pt x="752" y="82"/>
                    <a:pt x="748" y="94"/>
                  </a:cubicBezTo>
                  <a:cubicBezTo>
                    <a:pt x="744" y="109"/>
                    <a:pt x="738" y="123"/>
                    <a:pt x="734" y="138"/>
                  </a:cubicBezTo>
                  <a:cubicBezTo>
                    <a:pt x="729" y="153"/>
                    <a:pt x="724" y="167"/>
                    <a:pt x="719" y="182"/>
                  </a:cubicBezTo>
                  <a:cubicBezTo>
                    <a:pt x="716" y="192"/>
                    <a:pt x="715" y="203"/>
                    <a:pt x="708" y="212"/>
                  </a:cubicBezTo>
                  <a:cubicBezTo>
                    <a:pt x="707" y="214"/>
                    <a:pt x="707" y="217"/>
                    <a:pt x="704" y="217"/>
                  </a:cubicBezTo>
                  <a:cubicBezTo>
                    <a:pt x="701" y="217"/>
                    <a:pt x="701" y="213"/>
                    <a:pt x="700" y="211"/>
                  </a:cubicBezTo>
                  <a:cubicBezTo>
                    <a:pt x="699" y="198"/>
                    <a:pt x="694" y="186"/>
                    <a:pt x="690" y="174"/>
                  </a:cubicBezTo>
                  <a:cubicBezTo>
                    <a:pt x="684" y="153"/>
                    <a:pt x="677" y="131"/>
                    <a:pt x="672" y="110"/>
                  </a:cubicBezTo>
                  <a:cubicBezTo>
                    <a:pt x="667" y="88"/>
                    <a:pt x="663" y="84"/>
                    <a:pt x="645" y="84"/>
                  </a:cubicBezTo>
                  <a:cubicBezTo>
                    <a:pt x="643" y="84"/>
                    <a:pt x="641" y="84"/>
                    <a:pt x="639" y="84"/>
                  </a:cubicBezTo>
                  <a:close/>
                  <a:moveTo>
                    <a:pt x="507" y="711"/>
                  </a:moveTo>
                  <a:cubicBezTo>
                    <a:pt x="507" y="730"/>
                    <a:pt x="507" y="730"/>
                    <a:pt x="526" y="730"/>
                  </a:cubicBezTo>
                  <a:cubicBezTo>
                    <a:pt x="539" y="730"/>
                    <a:pt x="541" y="729"/>
                    <a:pt x="541" y="715"/>
                  </a:cubicBezTo>
                  <a:cubicBezTo>
                    <a:pt x="541" y="677"/>
                    <a:pt x="541" y="638"/>
                    <a:pt x="540" y="600"/>
                  </a:cubicBezTo>
                  <a:cubicBezTo>
                    <a:pt x="540" y="593"/>
                    <a:pt x="543" y="587"/>
                    <a:pt x="548" y="582"/>
                  </a:cubicBezTo>
                  <a:cubicBezTo>
                    <a:pt x="553" y="576"/>
                    <a:pt x="559" y="573"/>
                    <a:pt x="564" y="569"/>
                  </a:cubicBezTo>
                  <a:cubicBezTo>
                    <a:pt x="574" y="564"/>
                    <a:pt x="594" y="566"/>
                    <a:pt x="602" y="574"/>
                  </a:cubicBezTo>
                  <a:cubicBezTo>
                    <a:pt x="611" y="582"/>
                    <a:pt x="614" y="592"/>
                    <a:pt x="614" y="604"/>
                  </a:cubicBezTo>
                  <a:cubicBezTo>
                    <a:pt x="614" y="638"/>
                    <a:pt x="614" y="672"/>
                    <a:pt x="614" y="706"/>
                  </a:cubicBezTo>
                  <a:cubicBezTo>
                    <a:pt x="614" y="730"/>
                    <a:pt x="614" y="730"/>
                    <a:pt x="638" y="730"/>
                  </a:cubicBezTo>
                  <a:cubicBezTo>
                    <a:pt x="650" y="730"/>
                    <a:pt x="650" y="730"/>
                    <a:pt x="650" y="717"/>
                  </a:cubicBezTo>
                  <a:cubicBezTo>
                    <a:pt x="650" y="684"/>
                    <a:pt x="650" y="650"/>
                    <a:pt x="650" y="617"/>
                  </a:cubicBezTo>
                  <a:cubicBezTo>
                    <a:pt x="650" y="606"/>
                    <a:pt x="651" y="597"/>
                    <a:pt x="657" y="586"/>
                  </a:cubicBezTo>
                  <a:cubicBezTo>
                    <a:pt x="667" y="565"/>
                    <a:pt x="703" y="560"/>
                    <a:pt x="716" y="579"/>
                  </a:cubicBezTo>
                  <a:cubicBezTo>
                    <a:pt x="723" y="588"/>
                    <a:pt x="724" y="598"/>
                    <a:pt x="724" y="609"/>
                  </a:cubicBezTo>
                  <a:cubicBezTo>
                    <a:pt x="724" y="645"/>
                    <a:pt x="724" y="682"/>
                    <a:pt x="724" y="718"/>
                  </a:cubicBezTo>
                  <a:cubicBezTo>
                    <a:pt x="724" y="727"/>
                    <a:pt x="727" y="731"/>
                    <a:pt x="736" y="730"/>
                  </a:cubicBezTo>
                  <a:cubicBezTo>
                    <a:pt x="738" y="730"/>
                    <a:pt x="741" y="730"/>
                    <a:pt x="743" y="730"/>
                  </a:cubicBezTo>
                  <a:cubicBezTo>
                    <a:pt x="758" y="730"/>
                    <a:pt x="759" y="729"/>
                    <a:pt x="759" y="715"/>
                  </a:cubicBezTo>
                  <a:cubicBezTo>
                    <a:pt x="759" y="677"/>
                    <a:pt x="758" y="639"/>
                    <a:pt x="759" y="601"/>
                  </a:cubicBezTo>
                  <a:cubicBezTo>
                    <a:pt x="759" y="571"/>
                    <a:pt x="742" y="540"/>
                    <a:pt x="704" y="538"/>
                  </a:cubicBezTo>
                  <a:cubicBezTo>
                    <a:pt x="681" y="536"/>
                    <a:pt x="661" y="542"/>
                    <a:pt x="646" y="560"/>
                  </a:cubicBezTo>
                  <a:cubicBezTo>
                    <a:pt x="638" y="569"/>
                    <a:pt x="638" y="569"/>
                    <a:pt x="631" y="559"/>
                  </a:cubicBezTo>
                  <a:cubicBezTo>
                    <a:pt x="630" y="558"/>
                    <a:pt x="630" y="557"/>
                    <a:pt x="629" y="556"/>
                  </a:cubicBezTo>
                  <a:cubicBezTo>
                    <a:pt x="623" y="548"/>
                    <a:pt x="616" y="541"/>
                    <a:pt x="607" y="539"/>
                  </a:cubicBezTo>
                  <a:cubicBezTo>
                    <a:pt x="584" y="534"/>
                    <a:pt x="563" y="539"/>
                    <a:pt x="545" y="555"/>
                  </a:cubicBezTo>
                  <a:cubicBezTo>
                    <a:pt x="540" y="559"/>
                    <a:pt x="537" y="561"/>
                    <a:pt x="537" y="552"/>
                  </a:cubicBezTo>
                  <a:cubicBezTo>
                    <a:pt x="536" y="543"/>
                    <a:pt x="526" y="538"/>
                    <a:pt x="515" y="539"/>
                  </a:cubicBezTo>
                  <a:cubicBezTo>
                    <a:pt x="506" y="540"/>
                    <a:pt x="507" y="546"/>
                    <a:pt x="507" y="552"/>
                  </a:cubicBezTo>
                  <a:cubicBezTo>
                    <a:pt x="507" y="580"/>
                    <a:pt x="507" y="607"/>
                    <a:pt x="507" y="634"/>
                  </a:cubicBezTo>
                  <a:cubicBezTo>
                    <a:pt x="507" y="660"/>
                    <a:pt x="507" y="685"/>
                    <a:pt x="507" y="711"/>
                  </a:cubicBezTo>
                  <a:close/>
                  <a:moveTo>
                    <a:pt x="1525" y="1142"/>
                  </a:moveTo>
                  <a:cubicBezTo>
                    <a:pt x="1517" y="1143"/>
                    <a:pt x="1511" y="1141"/>
                    <a:pt x="1505" y="1136"/>
                  </a:cubicBezTo>
                  <a:cubicBezTo>
                    <a:pt x="1501" y="1133"/>
                    <a:pt x="1495" y="1130"/>
                    <a:pt x="1498" y="1124"/>
                  </a:cubicBezTo>
                  <a:cubicBezTo>
                    <a:pt x="1500" y="1118"/>
                    <a:pt x="1504" y="1114"/>
                    <a:pt x="1512" y="1114"/>
                  </a:cubicBezTo>
                  <a:cubicBezTo>
                    <a:pt x="1521" y="1115"/>
                    <a:pt x="1530" y="1114"/>
                    <a:pt x="1538" y="1115"/>
                  </a:cubicBezTo>
                  <a:cubicBezTo>
                    <a:pt x="1573" y="1117"/>
                    <a:pt x="1610" y="1084"/>
                    <a:pt x="1602" y="1044"/>
                  </a:cubicBezTo>
                  <a:cubicBezTo>
                    <a:pt x="1600" y="1035"/>
                    <a:pt x="1599" y="1028"/>
                    <a:pt x="1611" y="1027"/>
                  </a:cubicBezTo>
                  <a:cubicBezTo>
                    <a:pt x="1614" y="1027"/>
                    <a:pt x="1617" y="1024"/>
                    <a:pt x="1619" y="1023"/>
                  </a:cubicBezTo>
                  <a:cubicBezTo>
                    <a:pt x="1626" y="1019"/>
                    <a:pt x="1624" y="1013"/>
                    <a:pt x="1623" y="1008"/>
                  </a:cubicBezTo>
                  <a:cubicBezTo>
                    <a:pt x="1623" y="1002"/>
                    <a:pt x="1618" y="1003"/>
                    <a:pt x="1613" y="1002"/>
                  </a:cubicBezTo>
                  <a:cubicBezTo>
                    <a:pt x="1598" y="1002"/>
                    <a:pt x="1582" y="1004"/>
                    <a:pt x="1567" y="1000"/>
                  </a:cubicBezTo>
                  <a:cubicBezTo>
                    <a:pt x="1560" y="999"/>
                    <a:pt x="1554" y="993"/>
                    <a:pt x="1546" y="993"/>
                  </a:cubicBezTo>
                  <a:cubicBezTo>
                    <a:pt x="1536" y="994"/>
                    <a:pt x="1525" y="992"/>
                    <a:pt x="1515" y="993"/>
                  </a:cubicBezTo>
                  <a:cubicBezTo>
                    <a:pt x="1490" y="997"/>
                    <a:pt x="1469" y="1010"/>
                    <a:pt x="1462" y="1034"/>
                  </a:cubicBezTo>
                  <a:cubicBezTo>
                    <a:pt x="1455" y="1056"/>
                    <a:pt x="1457" y="1079"/>
                    <a:pt x="1476" y="1096"/>
                  </a:cubicBezTo>
                  <a:cubicBezTo>
                    <a:pt x="1483" y="1103"/>
                    <a:pt x="1483" y="1107"/>
                    <a:pt x="1476" y="1113"/>
                  </a:cubicBezTo>
                  <a:cubicBezTo>
                    <a:pt x="1462" y="1126"/>
                    <a:pt x="1462" y="1142"/>
                    <a:pt x="1473" y="1157"/>
                  </a:cubicBezTo>
                  <a:cubicBezTo>
                    <a:pt x="1476" y="1160"/>
                    <a:pt x="1476" y="1162"/>
                    <a:pt x="1472" y="1164"/>
                  </a:cubicBezTo>
                  <a:cubicBezTo>
                    <a:pt x="1470" y="1166"/>
                    <a:pt x="1468" y="1168"/>
                    <a:pt x="1466" y="1170"/>
                  </a:cubicBezTo>
                  <a:cubicBezTo>
                    <a:pt x="1449" y="1183"/>
                    <a:pt x="1444" y="1201"/>
                    <a:pt x="1454" y="1218"/>
                  </a:cubicBezTo>
                  <a:cubicBezTo>
                    <a:pt x="1464" y="1235"/>
                    <a:pt x="1479" y="1246"/>
                    <a:pt x="1499" y="1249"/>
                  </a:cubicBezTo>
                  <a:cubicBezTo>
                    <a:pt x="1517" y="1252"/>
                    <a:pt x="1535" y="1253"/>
                    <a:pt x="1553" y="1250"/>
                  </a:cubicBezTo>
                  <a:cubicBezTo>
                    <a:pt x="1584" y="1245"/>
                    <a:pt x="1607" y="1232"/>
                    <a:pt x="1619" y="1200"/>
                  </a:cubicBezTo>
                  <a:cubicBezTo>
                    <a:pt x="1627" y="1180"/>
                    <a:pt x="1611" y="1155"/>
                    <a:pt x="1593" y="1148"/>
                  </a:cubicBezTo>
                  <a:cubicBezTo>
                    <a:pt x="1578" y="1142"/>
                    <a:pt x="1563" y="1143"/>
                    <a:pt x="1549" y="1142"/>
                  </a:cubicBezTo>
                  <a:cubicBezTo>
                    <a:pt x="1540" y="1142"/>
                    <a:pt x="1532" y="1142"/>
                    <a:pt x="1525" y="1142"/>
                  </a:cubicBezTo>
                  <a:close/>
                  <a:moveTo>
                    <a:pt x="1556" y="1172"/>
                  </a:moveTo>
                  <a:cubicBezTo>
                    <a:pt x="1566" y="1172"/>
                    <a:pt x="1576" y="1176"/>
                    <a:pt x="1583" y="1183"/>
                  </a:cubicBezTo>
                  <a:cubicBezTo>
                    <a:pt x="1589" y="1190"/>
                    <a:pt x="1589" y="1198"/>
                    <a:pt x="1583" y="1205"/>
                  </a:cubicBezTo>
                  <a:cubicBezTo>
                    <a:pt x="1575" y="1215"/>
                    <a:pt x="1565" y="1220"/>
                    <a:pt x="1553" y="1223"/>
                  </a:cubicBezTo>
                  <a:cubicBezTo>
                    <a:pt x="1534" y="1228"/>
                    <a:pt x="1516" y="1225"/>
                    <a:pt x="1499" y="1219"/>
                  </a:cubicBezTo>
                  <a:cubicBezTo>
                    <a:pt x="1486" y="1214"/>
                    <a:pt x="1479" y="1203"/>
                    <a:pt x="1482" y="1193"/>
                  </a:cubicBezTo>
                  <a:cubicBezTo>
                    <a:pt x="1485" y="1182"/>
                    <a:pt x="1496" y="1168"/>
                    <a:pt x="1514" y="1171"/>
                  </a:cubicBezTo>
                  <a:cubicBezTo>
                    <a:pt x="1526" y="1173"/>
                    <a:pt x="1541" y="1171"/>
                    <a:pt x="1556" y="1172"/>
                  </a:cubicBezTo>
                  <a:close/>
                  <a:moveTo>
                    <a:pt x="1531" y="1019"/>
                  </a:moveTo>
                  <a:cubicBezTo>
                    <a:pt x="1553" y="1017"/>
                    <a:pt x="1570" y="1033"/>
                    <a:pt x="1570" y="1052"/>
                  </a:cubicBezTo>
                  <a:cubicBezTo>
                    <a:pt x="1570" y="1075"/>
                    <a:pt x="1554" y="1093"/>
                    <a:pt x="1532" y="1091"/>
                  </a:cubicBezTo>
                  <a:cubicBezTo>
                    <a:pt x="1508" y="1089"/>
                    <a:pt x="1494" y="1082"/>
                    <a:pt x="1493" y="1053"/>
                  </a:cubicBezTo>
                  <a:cubicBezTo>
                    <a:pt x="1494" y="1029"/>
                    <a:pt x="1508" y="1020"/>
                    <a:pt x="1531" y="1019"/>
                  </a:cubicBezTo>
                  <a:close/>
                  <a:moveTo>
                    <a:pt x="1413" y="934"/>
                  </a:moveTo>
                  <a:cubicBezTo>
                    <a:pt x="1413" y="909"/>
                    <a:pt x="1413" y="909"/>
                    <a:pt x="1389" y="910"/>
                  </a:cubicBezTo>
                  <a:cubicBezTo>
                    <a:pt x="1388" y="910"/>
                    <a:pt x="1387" y="910"/>
                    <a:pt x="1387" y="910"/>
                  </a:cubicBezTo>
                  <a:cubicBezTo>
                    <a:pt x="1379" y="910"/>
                    <a:pt x="1376" y="915"/>
                    <a:pt x="1376" y="921"/>
                  </a:cubicBezTo>
                  <a:cubicBezTo>
                    <a:pt x="1376" y="939"/>
                    <a:pt x="1377" y="956"/>
                    <a:pt x="1377" y="974"/>
                  </a:cubicBezTo>
                  <a:cubicBezTo>
                    <a:pt x="1377" y="983"/>
                    <a:pt x="1377" y="991"/>
                    <a:pt x="1377" y="1000"/>
                  </a:cubicBezTo>
                  <a:cubicBezTo>
                    <a:pt x="1377" y="1005"/>
                    <a:pt x="1374" y="1009"/>
                    <a:pt x="1369" y="1005"/>
                  </a:cubicBezTo>
                  <a:cubicBezTo>
                    <a:pt x="1352" y="990"/>
                    <a:pt x="1332" y="993"/>
                    <a:pt x="1312" y="993"/>
                  </a:cubicBezTo>
                  <a:cubicBezTo>
                    <a:pt x="1303" y="994"/>
                    <a:pt x="1294" y="998"/>
                    <a:pt x="1287" y="1003"/>
                  </a:cubicBezTo>
                  <a:cubicBezTo>
                    <a:pt x="1265" y="1017"/>
                    <a:pt x="1252" y="1039"/>
                    <a:pt x="1248" y="1065"/>
                  </a:cubicBezTo>
                  <a:cubicBezTo>
                    <a:pt x="1244" y="1096"/>
                    <a:pt x="1244" y="1128"/>
                    <a:pt x="1261" y="1157"/>
                  </a:cubicBezTo>
                  <a:cubicBezTo>
                    <a:pt x="1270" y="1170"/>
                    <a:pt x="1281" y="1181"/>
                    <a:pt x="1296" y="1185"/>
                  </a:cubicBezTo>
                  <a:cubicBezTo>
                    <a:pt x="1323" y="1191"/>
                    <a:pt x="1349" y="1188"/>
                    <a:pt x="1370" y="1167"/>
                  </a:cubicBezTo>
                  <a:cubicBezTo>
                    <a:pt x="1372" y="1165"/>
                    <a:pt x="1375" y="1162"/>
                    <a:pt x="1379" y="1163"/>
                  </a:cubicBezTo>
                  <a:cubicBezTo>
                    <a:pt x="1382" y="1165"/>
                    <a:pt x="1381" y="1169"/>
                    <a:pt x="1381" y="1172"/>
                  </a:cubicBezTo>
                  <a:cubicBezTo>
                    <a:pt x="1383" y="1181"/>
                    <a:pt x="1390" y="1186"/>
                    <a:pt x="1403" y="1186"/>
                  </a:cubicBezTo>
                  <a:cubicBezTo>
                    <a:pt x="1413" y="1185"/>
                    <a:pt x="1413" y="1178"/>
                    <a:pt x="1413" y="1172"/>
                  </a:cubicBezTo>
                  <a:cubicBezTo>
                    <a:pt x="1413" y="1131"/>
                    <a:pt x="1413" y="1090"/>
                    <a:pt x="1413" y="1049"/>
                  </a:cubicBezTo>
                  <a:cubicBezTo>
                    <a:pt x="1413" y="1010"/>
                    <a:pt x="1413" y="972"/>
                    <a:pt x="1413" y="934"/>
                  </a:cubicBezTo>
                  <a:close/>
                  <a:moveTo>
                    <a:pt x="1378" y="1113"/>
                  </a:moveTo>
                  <a:cubicBezTo>
                    <a:pt x="1378" y="1136"/>
                    <a:pt x="1360" y="1155"/>
                    <a:pt x="1337" y="1157"/>
                  </a:cubicBezTo>
                  <a:cubicBezTo>
                    <a:pt x="1319" y="1159"/>
                    <a:pt x="1304" y="1154"/>
                    <a:pt x="1294" y="1139"/>
                  </a:cubicBezTo>
                  <a:cubicBezTo>
                    <a:pt x="1286" y="1128"/>
                    <a:pt x="1283" y="1116"/>
                    <a:pt x="1283" y="1102"/>
                  </a:cubicBezTo>
                  <a:cubicBezTo>
                    <a:pt x="1282" y="1085"/>
                    <a:pt x="1282" y="1067"/>
                    <a:pt x="1290" y="1051"/>
                  </a:cubicBezTo>
                  <a:cubicBezTo>
                    <a:pt x="1297" y="1036"/>
                    <a:pt x="1308" y="1024"/>
                    <a:pt x="1325" y="1022"/>
                  </a:cubicBezTo>
                  <a:cubicBezTo>
                    <a:pt x="1342" y="1020"/>
                    <a:pt x="1358" y="1021"/>
                    <a:pt x="1371" y="1035"/>
                  </a:cubicBezTo>
                  <a:cubicBezTo>
                    <a:pt x="1376" y="1041"/>
                    <a:pt x="1378" y="1046"/>
                    <a:pt x="1378" y="1052"/>
                  </a:cubicBezTo>
                  <a:cubicBezTo>
                    <a:pt x="1378" y="1064"/>
                    <a:pt x="1378" y="1075"/>
                    <a:pt x="1378" y="1086"/>
                  </a:cubicBezTo>
                  <a:cubicBezTo>
                    <a:pt x="1378" y="1086"/>
                    <a:pt x="1378" y="1086"/>
                    <a:pt x="1378" y="1086"/>
                  </a:cubicBezTo>
                  <a:cubicBezTo>
                    <a:pt x="1378" y="1095"/>
                    <a:pt x="1378" y="1104"/>
                    <a:pt x="1378" y="1113"/>
                  </a:cubicBezTo>
                  <a:close/>
                  <a:moveTo>
                    <a:pt x="578" y="259"/>
                  </a:moveTo>
                  <a:cubicBezTo>
                    <a:pt x="603" y="241"/>
                    <a:pt x="611" y="213"/>
                    <a:pt x="614" y="183"/>
                  </a:cubicBezTo>
                  <a:cubicBezTo>
                    <a:pt x="615" y="171"/>
                    <a:pt x="610" y="159"/>
                    <a:pt x="609" y="147"/>
                  </a:cubicBezTo>
                  <a:cubicBezTo>
                    <a:pt x="608" y="137"/>
                    <a:pt x="603" y="129"/>
                    <a:pt x="599" y="121"/>
                  </a:cubicBezTo>
                  <a:cubicBezTo>
                    <a:pt x="579" y="87"/>
                    <a:pt x="527" y="70"/>
                    <a:pt x="488" y="85"/>
                  </a:cubicBezTo>
                  <a:cubicBezTo>
                    <a:pt x="453" y="99"/>
                    <a:pt x="436" y="127"/>
                    <a:pt x="431" y="163"/>
                  </a:cubicBezTo>
                  <a:cubicBezTo>
                    <a:pt x="429" y="180"/>
                    <a:pt x="430" y="196"/>
                    <a:pt x="436" y="213"/>
                  </a:cubicBezTo>
                  <a:cubicBezTo>
                    <a:pt x="439" y="222"/>
                    <a:pt x="442" y="232"/>
                    <a:pt x="447" y="239"/>
                  </a:cubicBezTo>
                  <a:cubicBezTo>
                    <a:pt x="465" y="265"/>
                    <a:pt x="491" y="277"/>
                    <a:pt x="525" y="276"/>
                  </a:cubicBezTo>
                  <a:cubicBezTo>
                    <a:pt x="543" y="278"/>
                    <a:pt x="562" y="271"/>
                    <a:pt x="578" y="259"/>
                  </a:cubicBezTo>
                  <a:close/>
                  <a:moveTo>
                    <a:pt x="471" y="205"/>
                  </a:moveTo>
                  <a:cubicBezTo>
                    <a:pt x="466" y="185"/>
                    <a:pt x="468" y="167"/>
                    <a:pt x="472" y="147"/>
                  </a:cubicBezTo>
                  <a:cubicBezTo>
                    <a:pt x="477" y="130"/>
                    <a:pt x="493" y="116"/>
                    <a:pt x="509" y="112"/>
                  </a:cubicBezTo>
                  <a:cubicBezTo>
                    <a:pt x="525" y="108"/>
                    <a:pt x="539" y="110"/>
                    <a:pt x="553" y="119"/>
                  </a:cubicBezTo>
                  <a:cubicBezTo>
                    <a:pt x="563" y="125"/>
                    <a:pt x="568" y="135"/>
                    <a:pt x="571" y="146"/>
                  </a:cubicBezTo>
                  <a:cubicBezTo>
                    <a:pt x="577" y="167"/>
                    <a:pt x="578" y="189"/>
                    <a:pt x="571" y="211"/>
                  </a:cubicBezTo>
                  <a:cubicBezTo>
                    <a:pt x="565" y="231"/>
                    <a:pt x="549" y="249"/>
                    <a:pt x="521" y="247"/>
                  </a:cubicBezTo>
                  <a:cubicBezTo>
                    <a:pt x="496" y="247"/>
                    <a:pt x="478" y="230"/>
                    <a:pt x="471" y="205"/>
                  </a:cubicBezTo>
                  <a:close/>
                  <a:moveTo>
                    <a:pt x="472" y="1122"/>
                  </a:moveTo>
                  <a:cubicBezTo>
                    <a:pt x="475" y="1136"/>
                    <a:pt x="481" y="1148"/>
                    <a:pt x="491" y="1158"/>
                  </a:cubicBezTo>
                  <a:cubicBezTo>
                    <a:pt x="506" y="1176"/>
                    <a:pt x="524" y="1185"/>
                    <a:pt x="548" y="1187"/>
                  </a:cubicBezTo>
                  <a:cubicBezTo>
                    <a:pt x="568" y="1188"/>
                    <a:pt x="587" y="1187"/>
                    <a:pt x="605" y="1177"/>
                  </a:cubicBezTo>
                  <a:cubicBezTo>
                    <a:pt x="632" y="1162"/>
                    <a:pt x="644" y="1136"/>
                    <a:pt x="649" y="1107"/>
                  </a:cubicBezTo>
                  <a:cubicBezTo>
                    <a:pt x="652" y="1089"/>
                    <a:pt x="649" y="1072"/>
                    <a:pt x="644" y="1054"/>
                  </a:cubicBezTo>
                  <a:cubicBezTo>
                    <a:pt x="638" y="1034"/>
                    <a:pt x="627" y="1019"/>
                    <a:pt x="610" y="1007"/>
                  </a:cubicBezTo>
                  <a:cubicBezTo>
                    <a:pt x="589" y="992"/>
                    <a:pt x="566" y="991"/>
                    <a:pt x="541" y="994"/>
                  </a:cubicBezTo>
                  <a:cubicBezTo>
                    <a:pt x="526" y="995"/>
                    <a:pt x="512" y="1002"/>
                    <a:pt x="500" y="1012"/>
                  </a:cubicBezTo>
                  <a:cubicBezTo>
                    <a:pt x="476" y="1032"/>
                    <a:pt x="469" y="1060"/>
                    <a:pt x="466" y="1095"/>
                  </a:cubicBezTo>
                  <a:cubicBezTo>
                    <a:pt x="465" y="1101"/>
                    <a:pt x="470" y="1111"/>
                    <a:pt x="472" y="1122"/>
                  </a:cubicBezTo>
                  <a:close/>
                  <a:moveTo>
                    <a:pt x="508" y="1113"/>
                  </a:moveTo>
                  <a:cubicBezTo>
                    <a:pt x="505" y="1095"/>
                    <a:pt x="506" y="1078"/>
                    <a:pt x="508" y="1061"/>
                  </a:cubicBezTo>
                  <a:cubicBezTo>
                    <a:pt x="511" y="1042"/>
                    <a:pt x="538" y="1021"/>
                    <a:pt x="554" y="1022"/>
                  </a:cubicBezTo>
                  <a:cubicBezTo>
                    <a:pt x="570" y="1022"/>
                    <a:pt x="586" y="1024"/>
                    <a:pt x="596" y="1037"/>
                  </a:cubicBezTo>
                  <a:cubicBezTo>
                    <a:pt x="602" y="1044"/>
                    <a:pt x="607" y="1052"/>
                    <a:pt x="608" y="1061"/>
                  </a:cubicBezTo>
                  <a:cubicBezTo>
                    <a:pt x="608" y="1064"/>
                    <a:pt x="609" y="1067"/>
                    <a:pt x="610" y="1070"/>
                  </a:cubicBezTo>
                  <a:cubicBezTo>
                    <a:pt x="618" y="1089"/>
                    <a:pt x="612" y="1107"/>
                    <a:pt x="607" y="1125"/>
                  </a:cubicBezTo>
                  <a:cubicBezTo>
                    <a:pt x="601" y="1143"/>
                    <a:pt x="588" y="1160"/>
                    <a:pt x="558" y="1157"/>
                  </a:cubicBezTo>
                  <a:cubicBezTo>
                    <a:pt x="530" y="1157"/>
                    <a:pt x="512" y="1141"/>
                    <a:pt x="508" y="1113"/>
                  </a:cubicBezTo>
                  <a:close/>
                  <a:moveTo>
                    <a:pt x="430" y="716"/>
                  </a:moveTo>
                  <a:cubicBezTo>
                    <a:pt x="450" y="703"/>
                    <a:pt x="459" y="683"/>
                    <a:pt x="464" y="661"/>
                  </a:cubicBezTo>
                  <a:cubicBezTo>
                    <a:pt x="468" y="648"/>
                    <a:pt x="467" y="635"/>
                    <a:pt x="466" y="621"/>
                  </a:cubicBezTo>
                  <a:cubicBezTo>
                    <a:pt x="463" y="592"/>
                    <a:pt x="453" y="567"/>
                    <a:pt x="427" y="550"/>
                  </a:cubicBezTo>
                  <a:cubicBezTo>
                    <a:pt x="401" y="534"/>
                    <a:pt x="372" y="532"/>
                    <a:pt x="345" y="541"/>
                  </a:cubicBezTo>
                  <a:cubicBezTo>
                    <a:pt x="310" y="552"/>
                    <a:pt x="291" y="580"/>
                    <a:pt x="287" y="617"/>
                  </a:cubicBezTo>
                  <a:cubicBezTo>
                    <a:pt x="286" y="629"/>
                    <a:pt x="286" y="641"/>
                    <a:pt x="287" y="654"/>
                  </a:cubicBezTo>
                  <a:cubicBezTo>
                    <a:pt x="289" y="671"/>
                    <a:pt x="295" y="686"/>
                    <a:pt x="306" y="700"/>
                  </a:cubicBezTo>
                  <a:cubicBezTo>
                    <a:pt x="324" y="722"/>
                    <a:pt x="348" y="733"/>
                    <a:pt x="378" y="731"/>
                  </a:cubicBezTo>
                  <a:cubicBezTo>
                    <a:pt x="396" y="733"/>
                    <a:pt x="414" y="727"/>
                    <a:pt x="430" y="716"/>
                  </a:cubicBezTo>
                  <a:close/>
                  <a:moveTo>
                    <a:pt x="331" y="592"/>
                  </a:moveTo>
                  <a:cubicBezTo>
                    <a:pt x="339" y="580"/>
                    <a:pt x="349" y="569"/>
                    <a:pt x="365" y="567"/>
                  </a:cubicBezTo>
                  <a:cubicBezTo>
                    <a:pt x="387" y="564"/>
                    <a:pt x="406" y="568"/>
                    <a:pt x="419" y="588"/>
                  </a:cubicBezTo>
                  <a:cubicBezTo>
                    <a:pt x="423" y="595"/>
                    <a:pt x="426" y="603"/>
                    <a:pt x="427" y="610"/>
                  </a:cubicBezTo>
                  <a:cubicBezTo>
                    <a:pt x="433" y="635"/>
                    <a:pt x="431" y="661"/>
                    <a:pt x="416" y="684"/>
                  </a:cubicBezTo>
                  <a:cubicBezTo>
                    <a:pt x="403" y="706"/>
                    <a:pt x="362" y="708"/>
                    <a:pt x="345" y="692"/>
                  </a:cubicBezTo>
                  <a:cubicBezTo>
                    <a:pt x="329" y="678"/>
                    <a:pt x="323" y="661"/>
                    <a:pt x="323" y="631"/>
                  </a:cubicBezTo>
                  <a:cubicBezTo>
                    <a:pt x="323" y="619"/>
                    <a:pt x="323" y="605"/>
                    <a:pt x="331" y="592"/>
                  </a:cubicBezTo>
                  <a:close/>
                  <a:moveTo>
                    <a:pt x="1073" y="259"/>
                  </a:moveTo>
                  <a:cubicBezTo>
                    <a:pt x="1073" y="269"/>
                    <a:pt x="1075" y="272"/>
                    <a:pt x="1086" y="272"/>
                  </a:cubicBezTo>
                  <a:cubicBezTo>
                    <a:pt x="1088" y="272"/>
                    <a:pt x="1090" y="272"/>
                    <a:pt x="1092" y="272"/>
                  </a:cubicBezTo>
                  <a:cubicBezTo>
                    <a:pt x="1105" y="272"/>
                    <a:pt x="1106" y="271"/>
                    <a:pt x="1106" y="258"/>
                  </a:cubicBezTo>
                  <a:cubicBezTo>
                    <a:pt x="1106" y="221"/>
                    <a:pt x="1106" y="184"/>
                    <a:pt x="1106" y="147"/>
                  </a:cubicBezTo>
                  <a:cubicBezTo>
                    <a:pt x="1106" y="143"/>
                    <a:pt x="1106" y="140"/>
                    <a:pt x="1107" y="137"/>
                  </a:cubicBezTo>
                  <a:cubicBezTo>
                    <a:pt x="1117" y="117"/>
                    <a:pt x="1157" y="104"/>
                    <a:pt x="1177" y="114"/>
                  </a:cubicBezTo>
                  <a:cubicBezTo>
                    <a:pt x="1179" y="115"/>
                    <a:pt x="1180" y="117"/>
                    <a:pt x="1182" y="118"/>
                  </a:cubicBezTo>
                  <a:cubicBezTo>
                    <a:pt x="1194" y="131"/>
                    <a:pt x="1196" y="147"/>
                    <a:pt x="1196" y="163"/>
                  </a:cubicBezTo>
                  <a:cubicBezTo>
                    <a:pt x="1197" y="195"/>
                    <a:pt x="1196" y="226"/>
                    <a:pt x="1196" y="258"/>
                  </a:cubicBezTo>
                  <a:cubicBezTo>
                    <a:pt x="1196" y="271"/>
                    <a:pt x="1197" y="272"/>
                    <a:pt x="1210" y="272"/>
                  </a:cubicBezTo>
                  <a:cubicBezTo>
                    <a:pt x="1212" y="272"/>
                    <a:pt x="1213" y="272"/>
                    <a:pt x="1215" y="272"/>
                  </a:cubicBezTo>
                  <a:cubicBezTo>
                    <a:pt x="1227" y="272"/>
                    <a:pt x="1229" y="270"/>
                    <a:pt x="1229" y="258"/>
                  </a:cubicBezTo>
                  <a:cubicBezTo>
                    <a:pt x="1229" y="222"/>
                    <a:pt x="1229" y="187"/>
                    <a:pt x="1229" y="151"/>
                  </a:cubicBezTo>
                  <a:cubicBezTo>
                    <a:pt x="1229" y="142"/>
                    <a:pt x="1228" y="132"/>
                    <a:pt x="1225" y="123"/>
                  </a:cubicBezTo>
                  <a:cubicBezTo>
                    <a:pt x="1219" y="105"/>
                    <a:pt x="1208" y="91"/>
                    <a:pt x="1189" y="85"/>
                  </a:cubicBezTo>
                  <a:cubicBezTo>
                    <a:pt x="1173" y="80"/>
                    <a:pt x="1156" y="84"/>
                    <a:pt x="1139" y="84"/>
                  </a:cubicBezTo>
                  <a:cubicBezTo>
                    <a:pt x="1137" y="84"/>
                    <a:pt x="1136" y="86"/>
                    <a:pt x="1134" y="87"/>
                  </a:cubicBezTo>
                  <a:cubicBezTo>
                    <a:pt x="1128" y="91"/>
                    <a:pt x="1121" y="96"/>
                    <a:pt x="1115" y="100"/>
                  </a:cubicBezTo>
                  <a:cubicBezTo>
                    <a:pt x="1113" y="102"/>
                    <a:pt x="1111" y="105"/>
                    <a:pt x="1108" y="103"/>
                  </a:cubicBezTo>
                  <a:cubicBezTo>
                    <a:pt x="1105" y="102"/>
                    <a:pt x="1106" y="98"/>
                    <a:pt x="1106" y="96"/>
                  </a:cubicBezTo>
                  <a:cubicBezTo>
                    <a:pt x="1106" y="69"/>
                    <a:pt x="1106" y="43"/>
                    <a:pt x="1106" y="17"/>
                  </a:cubicBezTo>
                  <a:cubicBezTo>
                    <a:pt x="1106" y="0"/>
                    <a:pt x="1106" y="0"/>
                    <a:pt x="1089" y="0"/>
                  </a:cubicBezTo>
                  <a:cubicBezTo>
                    <a:pt x="1074" y="0"/>
                    <a:pt x="1073" y="1"/>
                    <a:pt x="1073" y="16"/>
                  </a:cubicBezTo>
                  <a:cubicBezTo>
                    <a:pt x="1073" y="56"/>
                    <a:pt x="1073" y="96"/>
                    <a:pt x="1073" y="136"/>
                  </a:cubicBezTo>
                  <a:cubicBezTo>
                    <a:pt x="1073" y="177"/>
                    <a:pt x="1073" y="218"/>
                    <a:pt x="1073" y="259"/>
                  </a:cubicBezTo>
                  <a:close/>
                  <a:moveTo>
                    <a:pt x="1150" y="1092"/>
                  </a:moveTo>
                  <a:cubicBezTo>
                    <a:pt x="1168" y="1092"/>
                    <a:pt x="1186" y="1092"/>
                    <a:pt x="1204" y="1092"/>
                  </a:cubicBezTo>
                  <a:cubicBezTo>
                    <a:pt x="1215" y="1092"/>
                    <a:pt x="1218" y="1087"/>
                    <a:pt x="1219" y="1077"/>
                  </a:cubicBezTo>
                  <a:cubicBezTo>
                    <a:pt x="1220" y="1062"/>
                    <a:pt x="1216" y="1049"/>
                    <a:pt x="1210" y="1036"/>
                  </a:cubicBezTo>
                  <a:cubicBezTo>
                    <a:pt x="1204" y="1020"/>
                    <a:pt x="1193" y="1008"/>
                    <a:pt x="1177" y="1001"/>
                  </a:cubicBezTo>
                  <a:cubicBezTo>
                    <a:pt x="1155" y="992"/>
                    <a:pt x="1133" y="991"/>
                    <a:pt x="1109" y="999"/>
                  </a:cubicBezTo>
                  <a:cubicBezTo>
                    <a:pt x="1079" y="1010"/>
                    <a:pt x="1062" y="1031"/>
                    <a:pt x="1056" y="1061"/>
                  </a:cubicBezTo>
                  <a:cubicBezTo>
                    <a:pt x="1051" y="1090"/>
                    <a:pt x="1052" y="1120"/>
                    <a:pt x="1069" y="1148"/>
                  </a:cubicBezTo>
                  <a:cubicBezTo>
                    <a:pt x="1081" y="1169"/>
                    <a:pt x="1100" y="1180"/>
                    <a:pt x="1122" y="1185"/>
                  </a:cubicBezTo>
                  <a:cubicBezTo>
                    <a:pt x="1149" y="1190"/>
                    <a:pt x="1176" y="1186"/>
                    <a:pt x="1200" y="1171"/>
                  </a:cubicBezTo>
                  <a:cubicBezTo>
                    <a:pt x="1206" y="1168"/>
                    <a:pt x="1213" y="1165"/>
                    <a:pt x="1214" y="1157"/>
                  </a:cubicBezTo>
                  <a:cubicBezTo>
                    <a:pt x="1215" y="1147"/>
                    <a:pt x="1202" y="1139"/>
                    <a:pt x="1193" y="1144"/>
                  </a:cubicBezTo>
                  <a:cubicBezTo>
                    <a:pt x="1187" y="1147"/>
                    <a:pt x="1180" y="1150"/>
                    <a:pt x="1174" y="1153"/>
                  </a:cubicBezTo>
                  <a:cubicBezTo>
                    <a:pt x="1158" y="1161"/>
                    <a:pt x="1140" y="1161"/>
                    <a:pt x="1124" y="1155"/>
                  </a:cubicBezTo>
                  <a:cubicBezTo>
                    <a:pt x="1112" y="1151"/>
                    <a:pt x="1102" y="1142"/>
                    <a:pt x="1096" y="1129"/>
                  </a:cubicBezTo>
                  <a:cubicBezTo>
                    <a:pt x="1092" y="1121"/>
                    <a:pt x="1091" y="1112"/>
                    <a:pt x="1089" y="1104"/>
                  </a:cubicBezTo>
                  <a:cubicBezTo>
                    <a:pt x="1087" y="1093"/>
                    <a:pt x="1087" y="1092"/>
                    <a:pt x="1099" y="1092"/>
                  </a:cubicBezTo>
                  <a:cubicBezTo>
                    <a:pt x="1116" y="1092"/>
                    <a:pt x="1133" y="1092"/>
                    <a:pt x="1150" y="1092"/>
                  </a:cubicBezTo>
                  <a:cubicBezTo>
                    <a:pt x="1150" y="1092"/>
                    <a:pt x="1150" y="1092"/>
                    <a:pt x="1150" y="1092"/>
                  </a:cubicBezTo>
                  <a:close/>
                  <a:moveTo>
                    <a:pt x="1099" y="1070"/>
                  </a:moveTo>
                  <a:cubicBezTo>
                    <a:pt x="1092" y="1071"/>
                    <a:pt x="1089" y="1067"/>
                    <a:pt x="1091" y="1060"/>
                  </a:cubicBezTo>
                  <a:cubicBezTo>
                    <a:pt x="1094" y="1045"/>
                    <a:pt x="1108" y="1023"/>
                    <a:pt x="1128" y="1022"/>
                  </a:cubicBezTo>
                  <a:cubicBezTo>
                    <a:pt x="1142" y="1021"/>
                    <a:pt x="1156" y="1018"/>
                    <a:pt x="1168" y="1029"/>
                  </a:cubicBezTo>
                  <a:cubicBezTo>
                    <a:pt x="1181" y="1038"/>
                    <a:pt x="1185" y="1051"/>
                    <a:pt x="1187" y="1066"/>
                  </a:cubicBezTo>
                  <a:cubicBezTo>
                    <a:pt x="1188" y="1071"/>
                    <a:pt x="1183" y="1070"/>
                    <a:pt x="1180" y="1070"/>
                  </a:cubicBezTo>
                  <a:cubicBezTo>
                    <a:pt x="1166" y="1070"/>
                    <a:pt x="1153" y="1070"/>
                    <a:pt x="1139" y="1070"/>
                  </a:cubicBezTo>
                  <a:cubicBezTo>
                    <a:pt x="1139" y="1070"/>
                    <a:pt x="1139" y="1070"/>
                    <a:pt x="1139" y="1070"/>
                  </a:cubicBezTo>
                  <a:cubicBezTo>
                    <a:pt x="1126" y="1070"/>
                    <a:pt x="1113" y="1070"/>
                    <a:pt x="1099" y="1070"/>
                  </a:cubicBezTo>
                  <a:close/>
                  <a:moveTo>
                    <a:pt x="1741" y="1092"/>
                  </a:moveTo>
                  <a:cubicBezTo>
                    <a:pt x="1759" y="1092"/>
                    <a:pt x="1776" y="1092"/>
                    <a:pt x="1793" y="1092"/>
                  </a:cubicBezTo>
                  <a:cubicBezTo>
                    <a:pt x="1806" y="1092"/>
                    <a:pt x="1808" y="1089"/>
                    <a:pt x="1808" y="1076"/>
                  </a:cubicBezTo>
                  <a:cubicBezTo>
                    <a:pt x="1809" y="1063"/>
                    <a:pt x="1807" y="1051"/>
                    <a:pt x="1802" y="1038"/>
                  </a:cubicBezTo>
                  <a:cubicBezTo>
                    <a:pt x="1794" y="1021"/>
                    <a:pt x="1782" y="1008"/>
                    <a:pt x="1764" y="1000"/>
                  </a:cubicBezTo>
                  <a:cubicBezTo>
                    <a:pt x="1742" y="991"/>
                    <a:pt x="1720" y="991"/>
                    <a:pt x="1698" y="1000"/>
                  </a:cubicBezTo>
                  <a:cubicBezTo>
                    <a:pt x="1681" y="1006"/>
                    <a:pt x="1668" y="1016"/>
                    <a:pt x="1659" y="1031"/>
                  </a:cubicBezTo>
                  <a:cubicBezTo>
                    <a:pt x="1646" y="1050"/>
                    <a:pt x="1643" y="1071"/>
                    <a:pt x="1644" y="1094"/>
                  </a:cubicBezTo>
                  <a:cubicBezTo>
                    <a:pt x="1644" y="1110"/>
                    <a:pt x="1647" y="1127"/>
                    <a:pt x="1655" y="1141"/>
                  </a:cubicBezTo>
                  <a:cubicBezTo>
                    <a:pt x="1669" y="1168"/>
                    <a:pt x="1691" y="1183"/>
                    <a:pt x="1722" y="1186"/>
                  </a:cubicBezTo>
                  <a:cubicBezTo>
                    <a:pt x="1750" y="1188"/>
                    <a:pt x="1775" y="1183"/>
                    <a:pt x="1798" y="1165"/>
                  </a:cubicBezTo>
                  <a:cubicBezTo>
                    <a:pt x="1803" y="1161"/>
                    <a:pt x="1806" y="1157"/>
                    <a:pt x="1802" y="1151"/>
                  </a:cubicBezTo>
                  <a:cubicBezTo>
                    <a:pt x="1798" y="1144"/>
                    <a:pt x="1791" y="1140"/>
                    <a:pt x="1783" y="1144"/>
                  </a:cubicBezTo>
                  <a:cubicBezTo>
                    <a:pt x="1778" y="1147"/>
                    <a:pt x="1771" y="1149"/>
                    <a:pt x="1766" y="1152"/>
                  </a:cubicBezTo>
                  <a:cubicBezTo>
                    <a:pt x="1749" y="1161"/>
                    <a:pt x="1730" y="1162"/>
                    <a:pt x="1714" y="1155"/>
                  </a:cubicBezTo>
                  <a:cubicBezTo>
                    <a:pt x="1692" y="1145"/>
                    <a:pt x="1680" y="1127"/>
                    <a:pt x="1679" y="1102"/>
                  </a:cubicBezTo>
                  <a:cubicBezTo>
                    <a:pt x="1678" y="1095"/>
                    <a:pt x="1681" y="1092"/>
                    <a:pt x="1689" y="1092"/>
                  </a:cubicBezTo>
                  <a:cubicBezTo>
                    <a:pt x="1706" y="1092"/>
                    <a:pt x="1724" y="1092"/>
                    <a:pt x="1741" y="1092"/>
                  </a:cubicBezTo>
                  <a:cubicBezTo>
                    <a:pt x="1741" y="1092"/>
                    <a:pt x="1741" y="1092"/>
                    <a:pt x="1741" y="1092"/>
                  </a:cubicBezTo>
                  <a:close/>
                  <a:moveTo>
                    <a:pt x="1690" y="1070"/>
                  </a:moveTo>
                  <a:cubicBezTo>
                    <a:pt x="1683" y="1071"/>
                    <a:pt x="1680" y="1068"/>
                    <a:pt x="1681" y="1062"/>
                  </a:cubicBezTo>
                  <a:cubicBezTo>
                    <a:pt x="1683" y="1048"/>
                    <a:pt x="1697" y="1024"/>
                    <a:pt x="1716" y="1022"/>
                  </a:cubicBezTo>
                  <a:cubicBezTo>
                    <a:pt x="1731" y="1020"/>
                    <a:pt x="1747" y="1018"/>
                    <a:pt x="1760" y="1030"/>
                  </a:cubicBezTo>
                  <a:cubicBezTo>
                    <a:pt x="1771" y="1038"/>
                    <a:pt x="1775" y="1050"/>
                    <a:pt x="1778" y="1062"/>
                  </a:cubicBezTo>
                  <a:cubicBezTo>
                    <a:pt x="1780" y="1068"/>
                    <a:pt x="1775" y="1070"/>
                    <a:pt x="1769" y="1070"/>
                  </a:cubicBezTo>
                  <a:cubicBezTo>
                    <a:pt x="1756" y="1070"/>
                    <a:pt x="1742" y="1070"/>
                    <a:pt x="1729" y="1070"/>
                  </a:cubicBezTo>
                  <a:cubicBezTo>
                    <a:pt x="1729" y="1070"/>
                    <a:pt x="1729" y="1070"/>
                    <a:pt x="1729" y="1070"/>
                  </a:cubicBezTo>
                  <a:cubicBezTo>
                    <a:pt x="1716" y="1070"/>
                    <a:pt x="1703" y="1070"/>
                    <a:pt x="1690" y="1070"/>
                  </a:cubicBezTo>
                  <a:close/>
                  <a:moveTo>
                    <a:pt x="68" y="581"/>
                  </a:moveTo>
                  <a:cubicBezTo>
                    <a:pt x="68" y="573"/>
                    <a:pt x="70" y="568"/>
                    <a:pt x="80" y="569"/>
                  </a:cubicBezTo>
                  <a:cubicBezTo>
                    <a:pt x="90" y="570"/>
                    <a:pt x="101" y="570"/>
                    <a:pt x="111" y="569"/>
                  </a:cubicBezTo>
                  <a:cubicBezTo>
                    <a:pt x="120" y="569"/>
                    <a:pt x="120" y="563"/>
                    <a:pt x="120" y="556"/>
                  </a:cubicBezTo>
                  <a:cubicBezTo>
                    <a:pt x="120" y="549"/>
                    <a:pt x="119" y="544"/>
                    <a:pt x="111" y="544"/>
                  </a:cubicBezTo>
                  <a:cubicBezTo>
                    <a:pt x="104" y="544"/>
                    <a:pt x="97" y="544"/>
                    <a:pt x="91" y="544"/>
                  </a:cubicBezTo>
                  <a:cubicBezTo>
                    <a:pt x="66" y="544"/>
                    <a:pt x="65" y="543"/>
                    <a:pt x="68" y="518"/>
                  </a:cubicBezTo>
                  <a:cubicBezTo>
                    <a:pt x="69" y="504"/>
                    <a:pt x="83" y="487"/>
                    <a:pt x="99" y="489"/>
                  </a:cubicBezTo>
                  <a:cubicBezTo>
                    <a:pt x="103" y="489"/>
                    <a:pt x="107" y="489"/>
                    <a:pt x="110" y="488"/>
                  </a:cubicBezTo>
                  <a:cubicBezTo>
                    <a:pt x="118" y="487"/>
                    <a:pt x="123" y="479"/>
                    <a:pt x="123" y="471"/>
                  </a:cubicBezTo>
                  <a:cubicBezTo>
                    <a:pt x="123" y="461"/>
                    <a:pt x="116" y="462"/>
                    <a:pt x="109" y="460"/>
                  </a:cubicBezTo>
                  <a:cubicBezTo>
                    <a:pt x="100" y="458"/>
                    <a:pt x="92" y="460"/>
                    <a:pt x="84" y="460"/>
                  </a:cubicBezTo>
                  <a:cubicBezTo>
                    <a:pt x="68" y="461"/>
                    <a:pt x="56" y="469"/>
                    <a:pt x="47" y="480"/>
                  </a:cubicBezTo>
                  <a:cubicBezTo>
                    <a:pt x="34" y="493"/>
                    <a:pt x="32" y="511"/>
                    <a:pt x="32" y="529"/>
                  </a:cubicBezTo>
                  <a:cubicBezTo>
                    <a:pt x="32" y="544"/>
                    <a:pt x="32" y="544"/>
                    <a:pt x="17" y="544"/>
                  </a:cubicBezTo>
                  <a:cubicBezTo>
                    <a:pt x="4" y="543"/>
                    <a:pt x="0" y="548"/>
                    <a:pt x="4" y="561"/>
                  </a:cubicBezTo>
                  <a:cubicBezTo>
                    <a:pt x="6" y="569"/>
                    <a:pt x="13" y="568"/>
                    <a:pt x="19" y="569"/>
                  </a:cubicBezTo>
                  <a:cubicBezTo>
                    <a:pt x="32" y="571"/>
                    <a:pt x="32" y="571"/>
                    <a:pt x="32" y="584"/>
                  </a:cubicBezTo>
                  <a:cubicBezTo>
                    <a:pt x="32" y="624"/>
                    <a:pt x="32" y="664"/>
                    <a:pt x="32" y="704"/>
                  </a:cubicBezTo>
                  <a:cubicBezTo>
                    <a:pt x="32" y="731"/>
                    <a:pt x="32" y="730"/>
                    <a:pt x="57" y="731"/>
                  </a:cubicBezTo>
                  <a:cubicBezTo>
                    <a:pt x="66" y="731"/>
                    <a:pt x="68" y="727"/>
                    <a:pt x="68" y="720"/>
                  </a:cubicBezTo>
                  <a:cubicBezTo>
                    <a:pt x="68" y="697"/>
                    <a:pt x="68" y="674"/>
                    <a:pt x="68" y="651"/>
                  </a:cubicBezTo>
                  <a:cubicBezTo>
                    <a:pt x="68" y="628"/>
                    <a:pt x="68" y="605"/>
                    <a:pt x="68" y="581"/>
                  </a:cubicBezTo>
                  <a:close/>
                  <a:moveTo>
                    <a:pt x="278" y="1165"/>
                  </a:moveTo>
                  <a:cubicBezTo>
                    <a:pt x="278" y="1183"/>
                    <a:pt x="278" y="1183"/>
                    <a:pt x="296" y="1184"/>
                  </a:cubicBezTo>
                  <a:cubicBezTo>
                    <a:pt x="310" y="1184"/>
                    <a:pt x="310" y="1184"/>
                    <a:pt x="310" y="1169"/>
                  </a:cubicBezTo>
                  <a:cubicBezTo>
                    <a:pt x="310" y="1132"/>
                    <a:pt x="310" y="1095"/>
                    <a:pt x="310" y="1058"/>
                  </a:cubicBezTo>
                  <a:cubicBezTo>
                    <a:pt x="310" y="1052"/>
                    <a:pt x="312" y="1047"/>
                    <a:pt x="316" y="1042"/>
                  </a:cubicBezTo>
                  <a:cubicBezTo>
                    <a:pt x="324" y="1033"/>
                    <a:pt x="334" y="1027"/>
                    <a:pt x="345" y="1024"/>
                  </a:cubicBezTo>
                  <a:cubicBezTo>
                    <a:pt x="357" y="1020"/>
                    <a:pt x="371" y="1018"/>
                    <a:pt x="383" y="1028"/>
                  </a:cubicBezTo>
                  <a:cubicBezTo>
                    <a:pt x="397" y="1039"/>
                    <a:pt x="401" y="1054"/>
                    <a:pt x="401" y="1071"/>
                  </a:cubicBezTo>
                  <a:cubicBezTo>
                    <a:pt x="401" y="1102"/>
                    <a:pt x="401" y="1132"/>
                    <a:pt x="401" y="1163"/>
                  </a:cubicBezTo>
                  <a:cubicBezTo>
                    <a:pt x="401" y="1183"/>
                    <a:pt x="401" y="1182"/>
                    <a:pt x="420" y="1184"/>
                  </a:cubicBezTo>
                  <a:cubicBezTo>
                    <a:pt x="429" y="1185"/>
                    <a:pt x="433" y="1181"/>
                    <a:pt x="433" y="1173"/>
                  </a:cubicBezTo>
                  <a:cubicBezTo>
                    <a:pt x="432" y="1130"/>
                    <a:pt x="435" y="1087"/>
                    <a:pt x="431" y="1044"/>
                  </a:cubicBezTo>
                  <a:cubicBezTo>
                    <a:pt x="427" y="1014"/>
                    <a:pt x="404" y="996"/>
                    <a:pt x="376" y="994"/>
                  </a:cubicBezTo>
                  <a:cubicBezTo>
                    <a:pt x="353" y="992"/>
                    <a:pt x="333" y="1000"/>
                    <a:pt x="317" y="1017"/>
                  </a:cubicBezTo>
                  <a:cubicBezTo>
                    <a:pt x="312" y="1021"/>
                    <a:pt x="311" y="1019"/>
                    <a:pt x="309" y="1015"/>
                  </a:cubicBezTo>
                  <a:cubicBezTo>
                    <a:pt x="309" y="1013"/>
                    <a:pt x="308" y="1011"/>
                    <a:pt x="308" y="1008"/>
                  </a:cubicBezTo>
                  <a:cubicBezTo>
                    <a:pt x="306" y="1001"/>
                    <a:pt x="298" y="997"/>
                    <a:pt x="287" y="998"/>
                  </a:cubicBezTo>
                  <a:cubicBezTo>
                    <a:pt x="279" y="999"/>
                    <a:pt x="278" y="1004"/>
                    <a:pt x="278" y="1011"/>
                  </a:cubicBezTo>
                  <a:cubicBezTo>
                    <a:pt x="278" y="1037"/>
                    <a:pt x="278" y="1064"/>
                    <a:pt x="278" y="1091"/>
                  </a:cubicBezTo>
                  <a:cubicBezTo>
                    <a:pt x="278" y="1115"/>
                    <a:pt x="278" y="1140"/>
                    <a:pt x="278" y="1165"/>
                  </a:cubicBezTo>
                  <a:close/>
                  <a:moveTo>
                    <a:pt x="150" y="705"/>
                  </a:moveTo>
                  <a:cubicBezTo>
                    <a:pt x="150" y="734"/>
                    <a:pt x="145" y="730"/>
                    <a:pt x="176" y="731"/>
                  </a:cubicBezTo>
                  <a:cubicBezTo>
                    <a:pt x="185" y="731"/>
                    <a:pt x="187" y="727"/>
                    <a:pt x="187" y="719"/>
                  </a:cubicBezTo>
                  <a:cubicBezTo>
                    <a:pt x="187" y="685"/>
                    <a:pt x="187" y="651"/>
                    <a:pt x="187" y="618"/>
                  </a:cubicBezTo>
                  <a:cubicBezTo>
                    <a:pt x="187" y="597"/>
                    <a:pt x="204" y="578"/>
                    <a:pt x="225" y="574"/>
                  </a:cubicBezTo>
                  <a:cubicBezTo>
                    <a:pt x="232" y="572"/>
                    <a:pt x="240" y="574"/>
                    <a:pt x="247" y="575"/>
                  </a:cubicBezTo>
                  <a:cubicBezTo>
                    <a:pt x="257" y="576"/>
                    <a:pt x="261" y="572"/>
                    <a:pt x="265" y="564"/>
                  </a:cubicBezTo>
                  <a:cubicBezTo>
                    <a:pt x="269" y="556"/>
                    <a:pt x="267" y="542"/>
                    <a:pt x="261" y="540"/>
                  </a:cubicBezTo>
                  <a:cubicBezTo>
                    <a:pt x="253" y="538"/>
                    <a:pt x="244" y="534"/>
                    <a:pt x="237" y="536"/>
                  </a:cubicBezTo>
                  <a:cubicBezTo>
                    <a:pt x="228" y="537"/>
                    <a:pt x="217" y="537"/>
                    <a:pt x="209" y="544"/>
                  </a:cubicBezTo>
                  <a:cubicBezTo>
                    <a:pt x="204" y="549"/>
                    <a:pt x="198" y="553"/>
                    <a:pt x="194" y="558"/>
                  </a:cubicBezTo>
                  <a:cubicBezTo>
                    <a:pt x="192" y="561"/>
                    <a:pt x="189" y="563"/>
                    <a:pt x="185" y="562"/>
                  </a:cubicBezTo>
                  <a:cubicBezTo>
                    <a:pt x="182" y="561"/>
                    <a:pt x="182" y="558"/>
                    <a:pt x="182" y="556"/>
                  </a:cubicBezTo>
                  <a:cubicBezTo>
                    <a:pt x="180" y="539"/>
                    <a:pt x="179" y="539"/>
                    <a:pt x="162" y="539"/>
                  </a:cubicBezTo>
                  <a:cubicBezTo>
                    <a:pt x="151" y="539"/>
                    <a:pt x="150" y="540"/>
                    <a:pt x="150" y="551"/>
                  </a:cubicBezTo>
                  <a:cubicBezTo>
                    <a:pt x="150" y="579"/>
                    <a:pt x="150" y="607"/>
                    <a:pt x="150" y="635"/>
                  </a:cubicBezTo>
                  <a:cubicBezTo>
                    <a:pt x="150" y="658"/>
                    <a:pt x="149" y="682"/>
                    <a:pt x="150" y="705"/>
                  </a:cubicBezTo>
                  <a:close/>
                  <a:moveTo>
                    <a:pt x="1011" y="1049"/>
                  </a:moveTo>
                  <a:cubicBezTo>
                    <a:pt x="1011" y="1008"/>
                    <a:pt x="1011" y="966"/>
                    <a:pt x="1011" y="924"/>
                  </a:cubicBezTo>
                  <a:cubicBezTo>
                    <a:pt x="1011" y="913"/>
                    <a:pt x="1008" y="910"/>
                    <a:pt x="997" y="910"/>
                  </a:cubicBezTo>
                  <a:cubicBezTo>
                    <a:pt x="995" y="910"/>
                    <a:pt x="992" y="910"/>
                    <a:pt x="990" y="910"/>
                  </a:cubicBezTo>
                  <a:cubicBezTo>
                    <a:pt x="976" y="910"/>
                    <a:pt x="975" y="911"/>
                    <a:pt x="975" y="926"/>
                  </a:cubicBezTo>
                  <a:cubicBezTo>
                    <a:pt x="975" y="1006"/>
                    <a:pt x="975" y="1085"/>
                    <a:pt x="975" y="1165"/>
                  </a:cubicBezTo>
                  <a:cubicBezTo>
                    <a:pt x="975" y="1185"/>
                    <a:pt x="975" y="1185"/>
                    <a:pt x="994" y="1185"/>
                  </a:cubicBezTo>
                  <a:cubicBezTo>
                    <a:pt x="1009" y="1185"/>
                    <a:pt x="1011" y="1184"/>
                    <a:pt x="1011" y="1169"/>
                  </a:cubicBezTo>
                  <a:cubicBezTo>
                    <a:pt x="1011" y="1129"/>
                    <a:pt x="1011" y="1089"/>
                    <a:pt x="1011" y="1049"/>
                  </a:cubicBezTo>
                  <a:cubicBezTo>
                    <a:pt x="1011" y="1049"/>
                    <a:pt x="1011" y="1049"/>
                    <a:pt x="1011" y="1049"/>
                  </a:cubicBezTo>
                  <a:close/>
                  <a:moveTo>
                    <a:pt x="296" y="176"/>
                  </a:moveTo>
                  <a:cubicBezTo>
                    <a:pt x="296" y="201"/>
                    <a:pt x="296" y="226"/>
                    <a:pt x="296" y="251"/>
                  </a:cubicBezTo>
                  <a:cubicBezTo>
                    <a:pt x="295" y="276"/>
                    <a:pt x="296" y="274"/>
                    <a:pt x="318" y="274"/>
                  </a:cubicBezTo>
                  <a:cubicBezTo>
                    <a:pt x="330" y="274"/>
                    <a:pt x="331" y="274"/>
                    <a:pt x="331" y="260"/>
                  </a:cubicBezTo>
                  <a:cubicBezTo>
                    <a:pt x="331" y="232"/>
                    <a:pt x="331" y="204"/>
                    <a:pt x="331" y="176"/>
                  </a:cubicBezTo>
                  <a:cubicBezTo>
                    <a:pt x="331" y="165"/>
                    <a:pt x="331" y="155"/>
                    <a:pt x="337" y="145"/>
                  </a:cubicBezTo>
                  <a:cubicBezTo>
                    <a:pt x="349" y="123"/>
                    <a:pt x="359" y="117"/>
                    <a:pt x="377" y="118"/>
                  </a:cubicBezTo>
                  <a:cubicBezTo>
                    <a:pt x="383" y="118"/>
                    <a:pt x="389" y="119"/>
                    <a:pt x="395" y="120"/>
                  </a:cubicBezTo>
                  <a:cubicBezTo>
                    <a:pt x="401" y="120"/>
                    <a:pt x="407" y="118"/>
                    <a:pt x="408" y="112"/>
                  </a:cubicBezTo>
                  <a:cubicBezTo>
                    <a:pt x="409" y="103"/>
                    <a:pt x="415" y="93"/>
                    <a:pt x="407" y="85"/>
                  </a:cubicBezTo>
                  <a:cubicBezTo>
                    <a:pt x="406" y="84"/>
                    <a:pt x="404" y="84"/>
                    <a:pt x="402" y="84"/>
                  </a:cubicBezTo>
                  <a:cubicBezTo>
                    <a:pt x="376" y="78"/>
                    <a:pt x="353" y="82"/>
                    <a:pt x="337" y="106"/>
                  </a:cubicBezTo>
                  <a:cubicBezTo>
                    <a:pt x="336" y="108"/>
                    <a:pt x="335" y="110"/>
                    <a:pt x="333" y="109"/>
                  </a:cubicBezTo>
                  <a:cubicBezTo>
                    <a:pt x="331" y="109"/>
                    <a:pt x="330" y="107"/>
                    <a:pt x="330" y="105"/>
                  </a:cubicBezTo>
                  <a:cubicBezTo>
                    <a:pt x="329" y="101"/>
                    <a:pt x="329" y="97"/>
                    <a:pt x="328" y="94"/>
                  </a:cubicBezTo>
                  <a:cubicBezTo>
                    <a:pt x="325" y="85"/>
                    <a:pt x="318" y="82"/>
                    <a:pt x="303" y="84"/>
                  </a:cubicBezTo>
                  <a:cubicBezTo>
                    <a:pt x="297" y="84"/>
                    <a:pt x="295" y="86"/>
                    <a:pt x="295" y="92"/>
                  </a:cubicBezTo>
                  <a:cubicBezTo>
                    <a:pt x="296" y="120"/>
                    <a:pt x="295" y="148"/>
                    <a:pt x="295" y="176"/>
                  </a:cubicBezTo>
                  <a:cubicBezTo>
                    <a:pt x="296" y="176"/>
                    <a:pt x="296" y="176"/>
                    <a:pt x="296" y="176"/>
                  </a:cubicBezTo>
                  <a:close/>
                  <a:moveTo>
                    <a:pt x="946" y="179"/>
                  </a:moveTo>
                  <a:cubicBezTo>
                    <a:pt x="946" y="197"/>
                    <a:pt x="946" y="215"/>
                    <a:pt x="946" y="234"/>
                  </a:cubicBezTo>
                  <a:cubicBezTo>
                    <a:pt x="946" y="248"/>
                    <a:pt x="951" y="260"/>
                    <a:pt x="963" y="268"/>
                  </a:cubicBezTo>
                  <a:cubicBezTo>
                    <a:pt x="982" y="280"/>
                    <a:pt x="1011" y="277"/>
                    <a:pt x="1029" y="264"/>
                  </a:cubicBezTo>
                  <a:cubicBezTo>
                    <a:pt x="1036" y="259"/>
                    <a:pt x="1036" y="254"/>
                    <a:pt x="1032" y="248"/>
                  </a:cubicBezTo>
                  <a:cubicBezTo>
                    <a:pt x="1026" y="239"/>
                    <a:pt x="1020" y="238"/>
                    <a:pt x="1013" y="242"/>
                  </a:cubicBezTo>
                  <a:cubicBezTo>
                    <a:pt x="996" y="252"/>
                    <a:pt x="978" y="243"/>
                    <a:pt x="978" y="223"/>
                  </a:cubicBezTo>
                  <a:cubicBezTo>
                    <a:pt x="978" y="190"/>
                    <a:pt x="978" y="157"/>
                    <a:pt x="978" y="123"/>
                  </a:cubicBezTo>
                  <a:cubicBezTo>
                    <a:pt x="978" y="116"/>
                    <a:pt x="981" y="113"/>
                    <a:pt x="988" y="113"/>
                  </a:cubicBezTo>
                  <a:cubicBezTo>
                    <a:pt x="999" y="114"/>
                    <a:pt x="1011" y="113"/>
                    <a:pt x="1022" y="113"/>
                  </a:cubicBezTo>
                  <a:cubicBezTo>
                    <a:pt x="1028" y="113"/>
                    <a:pt x="1033" y="112"/>
                    <a:pt x="1033" y="104"/>
                  </a:cubicBezTo>
                  <a:cubicBezTo>
                    <a:pt x="1033" y="96"/>
                    <a:pt x="1032" y="90"/>
                    <a:pt x="1022" y="90"/>
                  </a:cubicBezTo>
                  <a:cubicBezTo>
                    <a:pt x="1011" y="90"/>
                    <a:pt x="1001" y="90"/>
                    <a:pt x="990" y="90"/>
                  </a:cubicBezTo>
                  <a:cubicBezTo>
                    <a:pt x="981" y="91"/>
                    <a:pt x="977" y="88"/>
                    <a:pt x="978" y="78"/>
                  </a:cubicBezTo>
                  <a:cubicBezTo>
                    <a:pt x="978" y="64"/>
                    <a:pt x="978" y="49"/>
                    <a:pt x="978" y="35"/>
                  </a:cubicBezTo>
                  <a:cubicBezTo>
                    <a:pt x="978" y="30"/>
                    <a:pt x="978" y="25"/>
                    <a:pt x="971" y="24"/>
                  </a:cubicBezTo>
                  <a:cubicBezTo>
                    <a:pt x="964" y="24"/>
                    <a:pt x="956" y="24"/>
                    <a:pt x="955" y="32"/>
                  </a:cubicBezTo>
                  <a:cubicBezTo>
                    <a:pt x="952" y="43"/>
                    <a:pt x="949" y="54"/>
                    <a:pt x="949" y="65"/>
                  </a:cubicBezTo>
                  <a:cubicBezTo>
                    <a:pt x="948" y="88"/>
                    <a:pt x="947" y="88"/>
                    <a:pt x="924" y="91"/>
                  </a:cubicBezTo>
                  <a:cubicBezTo>
                    <a:pt x="919" y="92"/>
                    <a:pt x="914" y="92"/>
                    <a:pt x="914" y="99"/>
                  </a:cubicBezTo>
                  <a:cubicBezTo>
                    <a:pt x="915" y="107"/>
                    <a:pt x="917" y="113"/>
                    <a:pt x="926" y="113"/>
                  </a:cubicBezTo>
                  <a:cubicBezTo>
                    <a:pt x="929" y="114"/>
                    <a:pt x="932" y="113"/>
                    <a:pt x="935" y="113"/>
                  </a:cubicBezTo>
                  <a:cubicBezTo>
                    <a:pt x="943" y="113"/>
                    <a:pt x="946" y="116"/>
                    <a:pt x="946" y="124"/>
                  </a:cubicBezTo>
                  <a:cubicBezTo>
                    <a:pt x="946" y="142"/>
                    <a:pt x="946" y="161"/>
                    <a:pt x="946" y="179"/>
                  </a:cubicBezTo>
                  <a:cubicBezTo>
                    <a:pt x="946" y="179"/>
                    <a:pt x="946" y="179"/>
                    <a:pt x="946" y="179"/>
                  </a:cubicBezTo>
                  <a:close/>
                </a:path>
              </a:pathLst>
            </a:custGeom>
            <a:solidFill>
              <a:srgbClr val="4C505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grpSp>
          <p:nvGrpSpPr>
            <p:cNvPr id="18" name="Group 4">
              <a:extLst>
                <a:ext uri="{FF2B5EF4-FFF2-40B4-BE49-F238E27FC236}">
                  <a16:creationId xmlns:a16="http://schemas.microsoft.com/office/drawing/2014/main" id="{57BD2C4C-DC67-B843-B26C-309622FC75F7}"/>
                </a:ext>
              </a:extLst>
            </p:cNvPr>
            <p:cNvGrpSpPr>
              <a:grpSpLocks noChangeAspect="1"/>
            </p:cNvGrpSpPr>
            <p:nvPr/>
          </p:nvGrpSpPr>
          <p:grpSpPr bwMode="gray">
            <a:xfrm>
              <a:off x="334963" y="296652"/>
              <a:ext cx="538094" cy="540000"/>
              <a:chOff x="2711" y="1027"/>
              <a:chExt cx="2258" cy="2266"/>
            </a:xfrm>
          </p:grpSpPr>
          <p:sp>
            <p:nvSpPr>
              <p:cNvPr id="19" name="AutoShape 3">
                <a:extLst>
                  <a:ext uri="{FF2B5EF4-FFF2-40B4-BE49-F238E27FC236}">
                    <a16:creationId xmlns:a16="http://schemas.microsoft.com/office/drawing/2014/main" id="{FE1DC41B-291E-574C-9F2C-874E70A40758}"/>
                  </a:ext>
                </a:extLst>
              </p:cNvPr>
              <p:cNvSpPr>
                <a:spLocks noChangeAspect="1" noChangeArrowheads="1" noTextEdit="1"/>
              </p:cNvSpPr>
              <p:nvPr/>
            </p:nvSpPr>
            <p:spPr bwMode="gray">
              <a:xfrm>
                <a:off x="2711" y="1027"/>
                <a:ext cx="2258" cy="22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20" name="Freeform 5">
                <a:extLst>
                  <a:ext uri="{FF2B5EF4-FFF2-40B4-BE49-F238E27FC236}">
                    <a16:creationId xmlns:a16="http://schemas.microsoft.com/office/drawing/2014/main" id="{D4B633C8-F761-C54B-9BD2-EB59D49A2DBC}"/>
                  </a:ext>
                </a:extLst>
              </p:cNvPr>
              <p:cNvSpPr>
                <a:spLocks/>
              </p:cNvSpPr>
              <p:nvPr/>
            </p:nvSpPr>
            <p:spPr bwMode="gray">
              <a:xfrm>
                <a:off x="2709" y="1029"/>
                <a:ext cx="2260" cy="2262"/>
              </a:xfrm>
              <a:custGeom>
                <a:avLst/>
                <a:gdLst>
                  <a:gd name="T0" fmla="*/ 2260 w 2260"/>
                  <a:gd name="T1" fmla="*/ 0 h 2262"/>
                  <a:gd name="T2" fmla="*/ 1612 w 2260"/>
                  <a:gd name="T3" fmla="*/ 649 h 2262"/>
                  <a:gd name="T4" fmla="*/ 1612 w 2260"/>
                  <a:gd name="T5" fmla="*/ 649 h 2262"/>
                  <a:gd name="T6" fmla="*/ 2035 w 2260"/>
                  <a:gd name="T7" fmla="*/ 0 h 2262"/>
                  <a:gd name="T8" fmla="*/ 0 w 2260"/>
                  <a:gd name="T9" fmla="*/ 0 h 2262"/>
                  <a:gd name="T10" fmla="*/ 0 w 2260"/>
                  <a:gd name="T11" fmla="*/ 2262 h 2262"/>
                  <a:gd name="T12" fmla="*/ 2260 w 2260"/>
                  <a:gd name="T13" fmla="*/ 2262 h 2262"/>
                  <a:gd name="T14" fmla="*/ 2260 w 2260"/>
                  <a:gd name="T15" fmla="*/ 0 h 2262"/>
                  <a:gd name="T16" fmla="*/ 2260 w 2260"/>
                  <a:gd name="T17" fmla="*/ 0 h 2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0" h="2262">
                    <a:moveTo>
                      <a:pt x="2260" y="0"/>
                    </a:moveTo>
                    <a:lnTo>
                      <a:pt x="1612" y="649"/>
                    </a:lnTo>
                    <a:lnTo>
                      <a:pt x="1612" y="649"/>
                    </a:lnTo>
                    <a:lnTo>
                      <a:pt x="2035" y="0"/>
                    </a:lnTo>
                    <a:lnTo>
                      <a:pt x="0" y="0"/>
                    </a:lnTo>
                    <a:lnTo>
                      <a:pt x="0" y="2262"/>
                    </a:lnTo>
                    <a:lnTo>
                      <a:pt x="2260" y="2262"/>
                    </a:lnTo>
                    <a:lnTo>
                      <a:pt x="2260" y="0"/>
                    </a:lnTo>
                    <a:lnTo>
                      <a:pt x="2260" y="0"/>
                    </a:lnTo>
                    <a:close/>
                  </a:path>
                </a:pathLst>
              </a:custGeom>
              <a:solidFill>
                <a:srgbClr val="E55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21" name="Freeform 6">
                <a:extLst>
                  <a:ext uri="{FF2B5EF4-FFF2-40B4-BE49-F238E27FC236}">
                    <a16:creationId xmlns:a16="http://schemas.microsoft.com/office/drawing/2014/main" id="{B16BAAE4-1A41-C843-9754-490F7A1E1270}"/>
                  </a:ext>
                </a:extLst>
              </p:cNvPr>
              <p:cNvSpPr>
                <a:spLocks noEditPoints="1"/>
              </p:cNvSpPr>
              <p:nvPr/>
            </p:nvSpPr>
            <p:spPr bwMode="gray">
              <a:xfrm>
                <a:off x="3623" y="1696"/>
                <a:ext cx="1167" cy="922"/>
              </a:xfrm>
              <a:custGeom>
                <a:avLst/>
                <a:gdLst>
                  <a:gd name="T0" fmla="*/ 411 w 580"/>
                  <a:gd name="T1" fmla="*/ 213 h 458"/>
                  <a:gd name="T2" fmla="*/ 570 w 580"/>
                  <a:gd name="T3" fmla="*/ 37 h 458"/>
                  <a:gd name="T4" fmla="*/ 580 w 580"/>
                  <a:gd name="T5" fmla="*/ 20 h 458"/>
                  <a:gd name="T6" fmla="*/ 545 w 580"/>
                  <a:gd name="T7" fmla="*/ 0 h 458"/>
                  <a:gd name="T8" fmla="*/ 519 w 580"/>
                  <a:gd name="T9" fmla="*/ 16 h 458"/>
                  <a:gd name="T10" fmla="*/ 344 w 580"/>
                  <a:gd name="T11" fmla="*/ 210 h 458"/>
                  <a:gd name="T12" fmla="*/ 334 w 580"/>
                  <a:gd name="T13" fmla="*/ 229 h 458"/>
                  <a:gd name="T14" fmla="*/ 344 w 580"/>
                  <a:gd name="T15" fmla="*/ 248 h 458"/>
                  <a:gd name="T16" fmla="*/ 519 w 580"/>
                  <a:gd name="T17" fmla="*/ 442 h 458"/>
                  <a:gd name="T18" fmla="*/ 545 w 580"/>
                  <a:gd name="T19" fmla="*/ 458 h 458"/>
                  <a:gd name="T20" fmla="*/ 580 w 580"/>
                  <a:gd name="T21" fmla="*/ 438 h 458"/>
                  <a:gd name="T22" fmla="*/ 570 w 580"/>
                  <a:gd name="T23" fmla="*/ 421 h 458"/>
                  <a:gd name="T24" fmla="*/ 411 w 580"/>
                  <a:gd name="T25" fmla="*/ 245 h 458"/>
                  <a:gd name="T26" fmla="*/ 399 w 580"/>
                  <a:gd name="T27" fmla="*/ 229 h 458"/>
                  <a:gd name="T28" fmla="*/ 411 w 580"/>
                  <a:gd name="T29" fmla="*/ 213 h 458"/>
                  <a:gd name="T30" fmla="*/ 252 w 580"/>
                  <a:gd name="T31" fmla="*/ 439 h 458"/>
                  <a:gd name="T32" fmla="*/ 281 w 580"/>
                  <a:gd name="T33" fmla="*/ 454 h 458"/>
                  <a:gd name="T34" fmla="*/ 309 w 580"/>
                  <a:gd name="T35" fmla="*/ 439 h 458"/>
                  <a:gd name="T36" fmla="*/ 309 w 580"/>
                  <a:gd name="T37" fmla="*/ 19 h 458"/>
                  <a:gd name="T38" fmla="*/ 281 w 580"/>
                  <a:gd name="T39" fmla="*/ 4 h 458"/>
                  <a:gd name="T40" fmla="*/ 252 w 580"/>
                  <a:gd name="T41" fmla="*/ 19 h 458"/>
                  <a:gd name="T42" fmla="*/ 252 w 580"/>
                  <a:gd name="T43" fmla="*/ 439 h 458"/>
                  <a:gd name="T44" fmla="*/ 0 w 580"/>
                  <a:gd name="T45" fmla="*/ 439 h 458"/>
                  <a:gd name="T46" fmla="*/ 28 w 580"/>
                  <a:gd name="T47" fmla="*/ 454 h 458"/>
                  <a:gd name="T48" fmla="*/ 56 w 580"/>
                  <a:gd name="T49" fmla="*/ 439 h 458"/>
                  <a:gd name="T50" fmla="*/ 56 w 580"/>
                  <a:gd name="T51" fmla="*/ 157 h 458"/>
                  <a:gd name="T52" fmla="*/ 165 w 580"/>
                  <a:gd name="T53" fmla="*/ 53 h 458"/>
                  <a:gd name="T54" fmla="*/ 180 w 580"/>
                  <a:gd name="T55" fmla="*/ 53 h 458"/>
                  <a:gd name="T56" fmla="*/ 196 w 580"/>
                  <a:gd name="T57" fmla="*/ 27 h 458"/>
                  <a:gd name="T58" fmla="*/ 154 w 580"/>
                  <a:gd name="T59" fmla="*/ 4 h 458"/>
                  <a:gd name="T60" fmla="*/ 0 w 580"/>
                  <a:gd name="T61" fmla="*/ 152 h 458"/>
                  <a:gd name="T62" fmla="*/ 0 w 580"/>
                  <a:gd name="T63" fmla="*/ 439 h 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80" h="458">
                    <a:moveTo>
                      <a:pt x="411" y="213"/>
                    </a:moveTo>
                    <a:cubicBezTo>
                      <a:pt x="570" y="37"/>
                      <a:pt x="570" y="37"/>
                      <a:pt x="570" y="37"/>
                    </a:cubicBezTo>
                    <a:cubicBezTo>
                      <a:pt x="576" y="30"/>
                      <a:pt x="580" y="25"/>
                      <a:pt x="580" y="20"/>
                    </a:cubicBezTo>
                    <a:cubicBezTo>
                      <a:pt x="580" y="10"/>
                      <a:pt x="559" y="0"/>
                      <a:pt x="545" y="0"/>
                    </a:cubicBezTo>
                    <a:cubicBezTo>
                      <a:pt x="535" y="0"/>
                      <a:pt x="526" y="8"/>
                      <a:pt x="519" y="16"/>
                    </a:cubicBezTo>
                    <a:cubicBezTo>
                      <a:pt x="344" y="210"/>
                      <a:pt x="344" y="210"/>
                      <a:pt x="344" y="210"/>
                    </a:cubicBezTo>
                    <a:cubicBezTo>
                      <a:pt x="336" y="219"/>
                      <a:pt x="334" y="224"/>
                      <a:pt x="334" y="229"/>
                    </a:cubicBezTo>
                    <a:cubicBezTo>
                      <a:pt x="334" y="234"/>
                      <a:pt x="336" y="239"/>
                      <a:pt x="344" y="248"/>
                    </a:cubicBezTo>
                    <a:cubicBezTo>
                      <a:pt x="519" y="442"/>
                      <a:pt x="519" y="442"/>
                      <a:pt x="519" y="442"/>
                    </a:cubicBezTo>
                    <a:cubicBezTo>
                      <a:pt x="526" y="450"/>
                      <a:pt x="535" y="458"/>
                      <a:pt x="545" y="458"/>
                    </a:cubicBezTo>
                    <a:cubicBezTo>
                      <a:pt x="559" y="458"/>
                      <a:pt x="580" y="448"/>
                      <a:pt x="580" y="438"/>
                    </a:cubicBezTo>
                    <a:cubicBezTo>
                      <a:pt x="580" y="433"/>
                      <a:pt x="576" y="428"/>
                      <a:pt x="570" y="421"/>
                    </a:cubicBezTo>
                    <a:cubicBezTo>
                      <a:pt x="411" y="245"/>
                      <a:pt x="411" y="245"/>
                      <a:pt x="411" y="245"/>
                    </a:cubicBezTo>
                    <a:cubicBezTo>
                      <a:pt x="403" y="236"/>
                      <a:pt x="399" y="232"/>
                      <a:pt x="399" y="229"/>
                    </a:cubicBezTo>
                    <a:cubicBezTo>
                      <a:pt x="399" y="226"/>
                      <a:pt x="403" y="222"/>
                      <a:pt x="411" y="213"/>
                    </a:cubicBezTo>
                    <a:moveTo>
                      <a:pt x="252" y="439"/>
                    </a:moveTo>
                    <a:cubicBezTo>
                      <a:pt x="252" y="449"/>
                      <a:pt x="261" y="454"/>
                      <a:pt x="281" y="454"/>
                    </a:cubicBezTo>
                    <a:cubicBezTo>
                      <a:pt x="300" y="454"/>
                      <a:pt x="309" y="449"/>
                      <a:pt x="309" y="439"/>
                    </a:cubicBezTo>
                    <a:cubicBezTo>
                      <a:pt x="309" y="19"/>
                      <a:pt x="309" y="19"/>
                      <a:pt x="309" y="19"/>
                    </a:cubicBezTo>
                    <a:cubicBezTo>
                      <a:pt x="309" y="9"/>
                      <a:pt x="300" y="4"/>
                      <a:pt x="281" y="4"/>
                    </a:cubicBezTo>
                    <a:cubicBezTo>
                      <a:pt x="261" y="4"/>
                      <a:pt x="252" y="9"/>
                      <a:pt x="252" y="19"/>
                    </a:cubicBezTo>
                    <a:lnTo>
                      <a:pt x="252" y="439"/>
                    </a:lnTo>
                    <a:close/>
                    <a:moveTo>
                      <a:pt x="0" y="439"/>
                    </a:moveTo>
                    <a:cubicBezTo>
                      <a:pt x="0" y="449"/>
                      <a:pt x="8" y="454"/>
                      <a:pt x="28" y="454"/>
                    </a:cubicBezTo>
                    <a:cubicBezTo>
                      <a:pt x="48" y="454"/>
                      <a:pt x="56" y="449"/>
                      <a:pt x="56" y="439"/>
                    </a:cubicBezTo>
                    <a:cubicBezTo>
                      <a:pt x="56" y="157"/>
                      <a:pt x="56" y="157"/>
                      <a:pt x="56" y="157"/>
                    </a:cubicBezTo>
                    <a:cubicBezTo>
                      <a:pt x="56" y="83"/>
                      <a:pt x="85" y="53"/>
                      <a:pt x="165" y="53"/>
                    </a:cubicBezTo>
                    <a:cubicBezTo>
                      <a:pt x="180" y="53"/>
                      <a:pt x="180" y="53"/>
                      <a:pt x="180" y="53"/>
                    </a:cubicBezTo>
                    <a:cubicBezTo>
                      <a:pt x="192" y="53"/>
                      <a:pt x="196" y="43"/>
                      <a:pt x="196" y="27"/>
                    </a:cubicBezTo>
                    <a:cubicBezTo>
                      <a:pt x="196" y="8"/>
                      <a:pt x="185" y="4"/>
                      <a:pt x="154" y="4"/>
                    </a:cubicBezTo>
                    <a:cubicBezTo>
                      <a:pt x="64" y="4"/>
                      <a:pt x="0" y="43"/>
                      <a:pt x="0" y="152"/>
                    </a:cubicBezTo>
                    <a:lnTo>
                      <a:pt x="0" y="43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22" name="Freeform 7">
                <a:extLst>
                  <a:ext uri="{FF2B5EF4-FFF2-40B4-BE49-F238E27FC236}">
                    <a16:creationId xmlns:a16="http://schemas.microsoft.com/office/drawing/2014/main" id="{2F32DCBD-8628-F245-85CD-97686A20ECFD}"/>
                  </a:ext>
                </a:extLst>
              </p:cNvPr>
              <p:cNvSpPr>
                <a:spLocks/>
              </p:cNvSpPr>
              <p:nvPr/>
            </p:nvSpPr>
            <p:spPr bwMode="gray">
              <a:xfrm>
                <a:off x="2880" y="1704"/>
                <a:ext cx="618" cy="916"/>
              </a:xfrm>
              <a:custGeom>
                <a:avLst/>
                <a:gdLst>
                  <a:gd name="T0" fmla="*/ 307 w 307"/>
                  <a:gd name="T1" fmla="*/ 405 h 455"/>
                  <a:gd name="T2" fmla="*/ 307 w 307"/>
                  <a:gd name="T3" fmla="*/ 244 h 455"/>
                  <a:gd name="T4" fmla="*/ 279 w 307"/>
                  <a:gd name="T5" fmla="*/ 229 h 455"/>
                  <a:gd name="T6" fmla="*/ 250 w 307"/>
                  <a:gd name="T7" fmla="*/ 244 h 455"/>
                  <a:gd name="T8" fmla="*/ 250 w 307"/>
                  <a:gd name="T9" fmla="*/ 378 h 455"/>
                  <a:gd name="T10" fmla="*/ 199 w 307"/>
                  <a:gd name="T11" fmla="*/ 408 h 455"/>
                  <a:gd name="T12" fmla="*/ 61 w 307"/>
                  <a:gd name="T13" fmla="*/ 231 h 455"/>
                  <a:gd name="T14" fmla="*/ 238 w 307"/>
                  <a:gd name="T15" fmla="*/ 49 h 455"/>
                  <a:gd name="T16" fmla="*/ 270 w 307"/>
                  <a:gd name="T17" fmla="*/ 49 h 455"/>
                  <a:gd name="T18" fmla="*/ 286 w 307"/>
                  <a:gd name="T19" fmla="*/ 23 h 455"/>
                  <a:gd name="T20" fmla="*/ 244 w 307"/>
                  <a:gd name="T21" fmla="*/ 0 h 455"/>
                  <a:gd name="T22" fmla="*/ 231 w 307"/>
                  <a:gd name="T23" fmla="*/ 0 h 455"/>
                  <a:gd name="T24" fmla="*/ 0 w 307"/>
                  <a:gd name="T25" fmla="*/ 232 h 455"/>
                  <a:gd name="T26" fmla="*/ 198 w 307"/>
                  <a:gd name="T27" fmla="*/ 455 h 455"/>
                  <a:gd name="T28" fmla="*/ 307 w 307"/>
                  <a:gd name="T29" fmla="*/ 405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7" h="455">
                    <a:moveTo>
                      <a:pt x="307" y="405"/>
                    </a:moveTo>
                    <a:cubicBezTo>
                      <a:pt x="307" y="244"/>
                      <a:pt x="307" y="244"/>
                      <a:pt x="307" y="244"/>
                    </a:cubicBezTo>
                    <a:cubicBezTo>
                      <a:pt x="307" y="234"/>
                      <a:pt x="298" y="229"/>
                      <a:pt x="279" y="229"/>
                    </a:cubicBezTo>
                    <a:cubicBezTo>
                      <a:pt x="259" y="229"/>
                      <a:pt x="250" y="234"/>
                      <a:pt x="250" y="244"/>
                    </a:cubicBezTo>
                    <a:cubicBezTo>
                      <a:pt x="250" y="378"/>
                      <a:pt x="250" y="378"/>
                      <a:pt x="250" y="378"/>
                    </a:cubicBezTo>
                    <a:cubicBezTo>
                      <a:pt x="250" y="399"/>
                      <a:pt x="241" y="408"/>
                      <a:pt x="199" y="408"/>
                    </a:cubicBezTo>
                    <a:cubicBezTo>
                      <a:pt x="114" y="408"/>
                      <a:pt x="61" y="342"/>
                      <a:pt x="61" y="231"/>
                    </a:cubicBezTo>
                    <a:cubicBezTo>
                      <a:pt x="61" y="115"/>
                      <a:pt x="126" y="49"/>
                      <a:pt x="238" y="49"/>
                    </a:cubicBezTo>
                    <a:cubicBezTo>
                      <a:pt x="270" y="49"/>
                      <a:pt x="270" y="49"/>
                      <a:pt x="270" y="49"/>
                    </a:cubicBezTo>
                    <a:cubicBezTo>
                      <a:pt x="282" y="49"/>
                      <a:pt x="286" y="39"/>
                      <a:pt x="286" y="23"/>
                    </a:cubicBezTo>
                    <a:cubicBezTo>
                      <a:pt x="286" y="4"/>
                      <a:pt x="275" y="0"/>
                      <a:pt x="244" y="0"/>
                    </a:cubicBezTo>
                    <a:cubicBezTo>
                      <a:pt x="231" y="0"/>
                      <a:pt x="231" y="0"/>
                      <a:pt x="231" y="0"/>
                    </a:cubicBezTo>
                    <a:cubicBezTo>
                      <a:pt x="101" y="0"/>
                      <a:pt x="0" y="71"/>
                      <a:pt x="0" y="232"/>
                    </a:cubicBezTo>
                    <a:cubicBezTo>
                      <a:pt x="0" y="386"/>
                      <a:pt x="88" y="455"/>
                      <a:pt x="198" y="455"/>
                    </a:cubicBezTo>
                    <a:cubicBezTo>
                      <a:pt x="286" y="455"/>
                      <a:pt x="307" y="430"/>
                      <a:pt x="307" y="40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23" name="Oval 8">
                <a:extLst>
                  <a:ext uri="{FF2B5EF4-FFF2-40B4-BE49-F238E27FC236}">
                    <a16:creationId xmlns:a16="http://schemas.microsoft.com/office/drawing/2014/main" id="{60D97C11-1A3B-5449-A48D-98A3E79B3810}"/>
                  </a:ext>
                </a:extLst>
              </p:cNvPr>
              <p:cNvSpPr>
                <a:spLocks noChangeArrowheads="1"/>
              </p:cNvSpPr>
              <p:nvPr/>
            </p:nvSpPr>
            <p:spPr bwMode="gray">
              <a:xfrm>
                <a:off x="3778" y="2099"/>
                <a:ext cx="122" cy="12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24" name="Freeform 9">
                <a:extLst>
                  <a:ext uri="{FF2B5EF4-FFF2-40B4-BE49-F238E27FC236}">
                    <a16:creationId xmlns:a16="http://schemas.microsoft.com/office/drawing/2014/main" id="{5856770D-B8F0-244E-A05D-AED190086F10}"/>
                  </a:ext>
                </a:extLst>
              </p:cNvPr>
              <p:cNvSpPr>
                <a:spLocks noEditPoints="1"/>
              </p:cNvSpPr>
              <p:nvPr/>
            </p:nvSpPr>
            <p:spPr bwMode="gray">
              <a:xfrm>
                <a:off x="3623" y="1696"/>
                <a:ext cx="1167" cy="922"/>
              </a:xfrm>
              <a:custGeom>
                <a:avLst/>
                <a:gdLst>
                  <a:gd name="T0" fmla="*/ 411 w 580"/>
                  <a:gd name="T1" fmla="*/ 213 h 458"/>
                  <a:gd name="T2" fmla="*/ 570 w 580"/>
                  <a:gd name="T3" fmla="*/ 37 h 458"/>
                  <a:gd name="T4" fmla="*/ 580 w 580"/>
                  <a:gd name="T5" fmla="*/ 20 h 458"/>
                  <a:gd name="T6" fmla="*/ 545 w 580"/>
                  <a:gd name="T7" fmla="*/ 0 h 458"/>
                  <a:gd name="T8" fmla="*/ 519 w 580"/>
                  <a:gd name="T9" fmla="*/ 16 h 458"/>
                  <a:gd name="T10" fmla="*/ 344 w 580"/>
                  <a:gd name="T11" fmla="*/ 210 h 458"/>
                  <a:gd name="T12" fmla="*/ 334 w 580"/>
                  <a:gd name="T13" fmla="*/ 229 h 458"/>
                  <a:gd name="T14" fmla="*/ 344 w 580"/>
                  <a:gd name="T15" fmla="*/ 248 h 458"/>
                  <a:gd name="T16" fmla="*/ 519 w 580"/>
                  <a:gd name="T17" fmla="*/ 442 h 458"/>
                  <a:gd name="T18" fmla="*/ 545 w 580"/>
                  <a:gd name="T19" fmla="*/ 458 h 458"/>
                  <a:gd name="T20" fmla="*/ 580 w 580"/>
                  <a:gd name="T21" fmla="*/ 438 h 458"/>
                  <a:gd name="T22" fmla="*/ 570 w 580"/>
                  <a:gd name="T23" fmla="*/ 421 h 458"/>
                  <a:gd name="T24" fmla="*/ 411 w 580"/>
                  <a:gd name="T25" fmla="*/ 245 h 458"/>
                  <a:gd name="T26" fmla="*/ 399 w 580"/>
                  <a:gd name="T27" fmla="*/ 229 h 458"/>
                  <a:gd name="T28" fmla="*/ 411 w 580"/>
                  <a:gd name="T29" fmla="*/ 213 h 458"/>
                  <a:gd name="T30" fmla="*/ 252 w 580"/>
                  <a:gd name="T31" fmla="*/ 439 h 458"/>
                  <a:gd name="T32" fmla="*/ 281 w 580"/>
                  <a:gd name="T33" fmla="*/ 454 h 458"/>
                  <a:gd name="T34" fmla="*/ 309 w 580"/>
                  <a:gd name="T35" fmla="*/ 439 h 458"/>
                  <a:gd name="T36" fmla="*/ 309 w 580"/>
                  <a:gd name="T37" fmla="*/ 19 h 458"/>
                  <a:gd name="T38" fmla="*/ 281 w 580"/>
                  <a:gd name="T39" fmla="*/ 4 h 458"/>
                  <a:gd name="T40" fmla="*/ 252 w 580"/>
                  <a:gd name="T41" fmla="*/ 19 h 458"/>
                  <a:gd name="T42" fmla="*/ 252 w 580"/>
                  <a:gd name="T43" fmla="*/ 439 h 458"/>
                  <a:gd name="T44" fmla="*/ 0 w 580"/>
                  <a:gd name="T45" fmla="*/ 439 h 458"/>
                  <a:gd name="T46" fmla="*/ 28 w 580"/>
                  <a:gd name="T47" fmla="*/ 454 h 458"/>
                  <a:gd name="T48" fmla="*/ 56 w 580"/>
                  <a:gd name="T49" fmla="*/ 439 h 458"/>
                  <a:gd name="T50" fmla="*/ 56 w 580"/>
                  <a:gd name="T51" fmla="*/ 157 h 458"/>
                  <a:gd name="T52" fmla="*/ 165 w 580"/>
                  <a:gd name="T53" fmla="*/ 53 h 458"/>
                  <a:gd name="T54" fmla="*/ 180 w 580"/>
                  <a:gd name="T55" fmla="*/ 53 h 458"/>
                  <a:gd name="T56" fmla="*/ 196 w 580"/>
                  <a:gd name="T57" fmla="*/ 27 h 458"/>
                  <a:gd name="T58" fmla="*/ 154 w 580"/>
                  <a:gd name="T59" fmla="*/ 4 h 458"/>
                  <a:gd name="T60" fmla="*/ 0 w 580"/>
                  <a:gd name="T61" fmla="*/ 152 h 458"/>
                  <a:gd name="T62" fmla="*/ 0 w 580"/>
                  <a:gd name="T63" fmla="*/ 439 h 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80" h="458">
                    <a:moveTo>
                      <a:pt x="411" y="213"/>
                    </a:moveTo>
                    <a:cubicBezTo>
                      <a:pt x="570" y="37"/>
                      <a:pt x="570" y="37"/>
                      <a:pt x="570" y="37"/>
                    </a:cubicBezTo>
                    <a:cubicBezTo>
                      <a:pt x="576" y="30"/>
                      <a:pt x="580" y="25"/>
                      <a:pt x="580" y="20"/>
                    </a:cubicBezTo>
                    <a:cubicBezTo>
                      <a:pt x="580" y="10"/>
                      <a:pt x="559" y="0"/>
                      <a:pt x="545" y="0"/>
                    </a:cubicBezTo>
                    <a:cubicBezTo>
                      <a:pt x="535" y="0"/>
                      <a:pt x="526" y="8"/>
                      <a:pt x="519" y="16"/>
                    </a:cubicBezTo>
                    <a:cubicBezTo>
                      <a:pt x="344" y="210"/>
                      <a:pt x="344" y="210"/>
                      <a:pt x="344" y="210"/>
                    </a:cubicBezTo>
                    <a:cubicBezTo>
                      <a:pt x="336" y="219"/>
                      <a:pt x="334" y="224"/>
                      <a:pt x="334" y="229"/>
                    </a:cubicBezTo>
                    <a:cubicBezTo>
                      <a:pt x="334" y="234"/>
                      <a:pt x="336" y="239"/>
                      <a:pt x="344" y="248"/>
                    </a:cubicBezTo>
                    <a:cubicBezTo>
                      <a:pt x="519" y="442"/>
                      <a:pt x="519" y="442"/>
                      <a:pt x="519" y="442"/>
                    </a:cubicBezTo>
                    <a:cubicBezTo>
                      <a:pt x="526" y="450"/>
                      <a:pt x="535" y="458"/>
                      <a:pt x="545" y="458"/>
                    </a:cubicBezTo>
                    <a:cubicBezTo>
                      <a:pt x="559" y="458"/>
                      <a:pt x="580" y="448"/>
                      <a:pt x="580" y="438"/>
                    </a:cubicBezTo>
                    <a:cubicBezTo>
                      <a:pt x="580" y="433"/>
                      <a:pt x="576" y="428"/>
                      <a:pt x="570" y="421"/>
                    </a:cubicBezTo>
                    <a:cubicBezTo>
                      <a:pt x="411" y="245"/>
                      <a:pt x="411" y="245"/>
                      <a:pt x="411" y="245"/>
                    </a:cubicBezTo>
                    <a:cubicBezTo>
                      <a:pt x="403" y="236"/>
                      <a:pt x="399" y="232"/>
                      <a:pt x="399" y="229"/>
                    </a:cubicBezTo>
                    <a:cubicBezTo>
                      <a:pt x="399" y="226"/>
                      <a:pt x="403" y="222"/>
                      <a:pt x="411" y="213"/>
                    </a:cubicBezTo>
                    <a:moveTo>
                      <a:pt x="252" y="439"/>
                    </a:moveTo>
                    <a:cubicBezTo>
                      <a:pt x="252" y="449"/>
                      <a:pt x="261" y="454"/>
                      <a:pt x="281" y="454"/>
                    </a:cubicBezTo>
                    <a:cubicBezTo>
                      <a:pt x="300" y="454"/>
                      <a:pt x="309" y="449"/>
                      <a:pt x="309" y="439"/>
                    </a:cubicBezTo>
                    <a:cubicBezTo>
                      <a:pt x="309" y="19"/>
                      <a:pt x="309" y="19"/>
                      <a:pt x="309" y="19"/>
                    </a:cubicBezTo>
                    <a:cubicBezTo>
                      <a:pt x="309" y="9"/>
                      <a:pt x="300" y="4"/>
                      <a:pt x="281" y="4"/>
                    </a:cubicBezTo>
                    <a:cubicBezTo>
                      <a:pt x="261" y="4"/>
                      <a:pt x="252" y="9"/>
                      <a:pt x="252" y="19"/>
                    </a:cubicBezTo>
                    <a:lnTo>
                      <a:pt x="252" y="439"/>
                    </a:lnTo>
                    <a:close/>
                    <a:moveTo>
                      <a:pt x="0" y="439"/>
                    </a:moveTo>
                    <a:cubicBezTo>
                      <a:pt x="0" y="449"/>
                      <a:pt x="8" y="454"/>
                      <a:pt x="28" y="454"/>
                    </a:cubicBezTo>
                    <a:cubicBezTo>
                      <a:pt x="48" y="454"/>
                      <a:pt x="56" y="449"/>
                      <a:pt x="56" y="439"/>
                    </a:cubicBezTo>
                    <a:cubicBezTo>
                      <a:pt x="56" y="157"/>
                      <a:pt x="56" y="157"/>
                      <a:pt x="56" y="157"/>
                    </a:cubicBezTo>
                    <a:cubicBezTo>
                      <a:pt x="56" y="83"/>
                      <a:pt x="85" y="53"/>
                      <a:pt x="165" y="53"/>
                    </a:cubicBezTo>
                    <a:cubicBezTo>
                      <a:pt x="180" y="53"/>
                      <a:pt x="180" y="53"/>
                      <a:pt x="180" y="53"/>
                    </a:cubicBezTo>
                    <a:cubicBezTo>
                      <a:pt x="192" y="53"/>
                      <a:pt x="196" y="43"/>
                      <a:pt x="196" y="27"/>
                    </a:cubicBezTo>
                    <a:cubicBezTo>
                      <a:pt x="196" y="8"/>
                      <a:pt x="185" y="4"/>
                      <a:pt x="154" y="4"/>
                    </a:cubicBezTo>
                    <a:cubicBezTo>
                      <a:pt x="64" y="4"/>
                      <a:pt x="0" y="43"/>
                      <a:pt x="0" y="152"/>
                    </a:cubicBezTo>
                    <a:lnTo>
                      <a:pt x="0" y="43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25" name="Freeform 10">
                <a:extLst>
                  <a:ext uri="{FF2B5EF4-FFF2-40B4-BE49-F238E27FC236}">
                    <a16:creationId xmlns:a16="http://schemas.microsoft.com/office/drawing/2014/main" id="{2B91B16B-BC11-E547-8FAC-B9B8D18EA449}"/>
                  </a:ext>
                </a:extLst>
              </p:cNvPr>
              <p:cNvSpPr>
                <a:spLocks/>
              </p:cNvSpPr>
              <p:nvPr/>
            </p:nvSpPr>
            <p:spPr bwMode="gray">
              <a:xfrm>
                <a:off x="2880" y="1704"/>
                <a:ext cx="618" cy="916"/>
              </a:xfrm>
              <a:custGeom>
                <a:avLst/>
                <a:gdLst>
                  <a:gd name="T0" fmla="*/ 307 w 307"/>
                  <a:gd name="T1" fmla="*/ 405 h 455"/>
                  <a:gd name="T2" fmla="*/ 307 w 307"/>
                  <a:gd name="T3" fmla="*/ 244 h 455"/>
                  <a:gd name="T4" fmla="*/ 279 w 307"/>
                  <a:gd name="T5" fmla="*/ 229 h 455"/>
                  <a:gd name="T6" fmla="*/ 250 w 307"/>
                  <a:gd name="T7" fmla="*/ 244 h 455"/>
                  <a:gd name="T8" fmla="*/ 250 w 307"/>
                  <a:gd name="T9" fmla="*/ 378 h 455"/>
                  <a:gd name="T10" fmla="*/ 199 w 307"/>
                  <a:gd name="T11" fmla="*/ 408 h 455"/>
                  <a:gd name="T12" fmla="*/ 61 w 307"/>
                  <a:gd name="T13" fmla="*/ 231 h 455"/>
                  <a:gd name="T14" fmla="*/ 238 w 307"/>
                  <a:gd name="T15" fmla="*/ 49 h 455"/>
                  <a:gd name="T16" fmla="*/ 270 w 307"/>
                  <a:gd name="T17" fmla="*/ 49 h 455"/>
                  <a:gd name="T18" fmla="*/ 286 w 307"/>
                  <a:gd name="T19" fmla="*/ 23 h 455"/>
                  <a:gd name="T20" fmla="*/ 244 w 307"/>
                  <a:gd name="T21" fmla="*/ 0 h 455"/>
                  <a:gd name="T22" fmla="*/ 231 w 307"/>
                  <a:gd name="T23" fmla="*/ 0 h 455"/>
                  <a:gd name="T24" fmla="*/ 0 w 307"/>
                  <a:gd name="T25" fmla="*/ 232 h 455"/>
                  <a:gd name="T26" fmla="*/ 198 w 307"/>
                  <a:gd name="T27" fmla="*/ 455 h 455"/>
                  <a:gd name="T28" fmla="*/ 307 w 307"/>
                  <a:gd name="T29" fmla="*/ 405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7" h="455">
                    <a:moveTo>
                      <a:pt x="307" y="405"/>
                    </a:moveTo>
                    <a:cubicBezTo>
                      <a:pt x="307" y="244"/>
                      <a:pt x="307" y="244"/>
                      <a:pt x="307" y="244"/>
                    </a:cubicBezTo>
                    <a:cubicBezTo>
                      <a:pt x="307" y="234"/>
                      <a:pt x="298" y="229"/>
                      <a:pt x="279" y="229"/>
                    </a:cubicBezTo>
                    <a:cubicBezTo>
                      <a:pt x="259" y="229"/>
                      <a:pt x="250" y="234"/>
                      <a:pt x="250" y="244"/>
                    </a:cubicBezTo>
                    <a:cubicBezTo>
                      <a:pt x="250" y="378"/>
                      <a:pt x="250" y="378"/>
                      <a:pt x="250" y="378"/>
                    </a:cubicBezTo>
                    <a:cubicBezTo>
                      <a:pt x="250" y="399"/>
                      <a:pt x="241" y="408"/>
                      <a:pt x="199" y="408"/>
                    </a:cubicBezTo>
                    <a:cubicBezTo>
                      <a:pt x="114" y="408"/>
                      <a:pt x="61" y="342"/>
                      <a:pt x="61" y="231"/>
                    </a:cubicBezTo>
                    <a:cubicBezTo>
                      <a:pt x="61" y="115"/>
                      <a:pt x="126" y="49"/>
                      <a:pt x="238" y="49"/>
                    </a:cubicBezTo>
                    <a:cubicBezTo>
                      <a:pt x="270" y="49"/>
                      <a:pt x="270" y="49"/>
                      <a:pt x="270" y="49"/>
                    </a:cubicBezTo>
                    <a:cubicBezTo>
                      <a:pt x="282" y="49"/>
                      <a:pt x="286" y="39"/>
                      <a:pt x="286" y="23"/>
                    </a:cubicBezTo>
                    <a:cubicBezTo>
                      <a:pt x="286" y="4"/>
                      <a:pt x="275" y="0"/>
                      <a:pt x="244" y="0"/>
                    </a:cubicBezTo>
                    <a:cubicBezTo>
                      <a:pt x="231" y="0"/>
                      <a:pt x="231" y="0"/>
                      <a:pt x="231" y="0"/>
                    </a:cubicBezTo>
                    <a:cubicBezTo>
                      <a:pt x="101" y="0"/>
                      <a:pt x="0" y="71"/>
                      <a:pt x="0" y="232"/>
                    </a:cubicBezTo>
                    <a:cubicBezTo>
                      <a:pt x="0" y="386"/>
                      <a:pt x="88" y="455"/>
                      <a:pt x="198" y="455"/>
                    </a:cubicBezTo>
                    <a:cubicBezTo>
                      <a:pt x="286" y="455"/>
                      <a:pt x="307" y="430"/>
                      <a:pt x="307" y="40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26" name="Oval 11">
                <a:extLst>
                  <a:ext uri="{FF2B5EF4-FFF2-40B4-BE49-F238E27FC236}">
                    <a16:creationId xmlns:a16="http://schemas.microsoft.com/office/drawing/2014/main" id="{14F8C3C8-4888-7646-B9B4-64EB46A1DA23}"/>
                  </a:ext>
                </a:extLst>
              </p:cNvPr>
              <p:cNvSpPr>
                <a:spLocks noChangeArrowheads="1"/>
              </p:cNvSpPr>
              <p:nvPr/>
            </p:nvSpPr>
            <p:spPr bwMode="gray">
              <a:xfrm>
                <a:off x="3778" y="2099"/>
                <a:ext cx="122" cy="12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27" name="Freeform 12">
                <a:extLst>
                  <a:ext uri="{FF2B5EF4-FFF2-40B4-BE49-F238E27FC236}">
                    <a16:creationId xmlns:a16="http://schemas.microsoft.com/office/drawing/2014/main" id="{D79D01D1-4E3E-F34B-97D7-2D387E68746E}"/>
                  </a:ext>
                </a:extLst>
              </p:cNvPr>
              <p:cNvSpPr>
                <a:spLocks/>
              </p:cNvSpPr>
              <p:nvPr/>
            </p:nvSpPr>
            <p:spPr bwMode="gray">
              <a:xfrm>
                <a:off x="4321" y="1029"/>
                <a:ext cx="648" cy="649"/>
              </a:xfrm>
              <a:custGeom>
                <a:avLst/>
                <a:gdLst>
                  <a:gd name="T0" fmla="*/ 0 w 648"/>
                  <a:gd name="T1" fmla="*/ 649 h 649"/>
                  <a:gd name="T2" fmla="*/ 2 w 648"/>
                  <a:gd name="T3" fmla="*/ 649 h 649"/>
                  <a:gd name="T4" fmla="*/ 648 w 648"/>
                  <a:gd name="T5" fmla="*/ 0 h 649"/>
                  <a:gd name="T6" fmla="*/ 423 w 648"/>
                  <a:gd name="T7" fmla="*/ 0 h 649"/>
                  <a:gd name="T8" fmla="*/ 0 w 648"/>
                  <a:gd name="T9" fmla="*/ 649 h 649"/>
                </a:gdLst>
                <a:ahLst/>
                <a:cxnLst>
                  <a:cxn ang="0">
                    <a:pos x="T0" y="T1"/>
                  </a:cxn>
                  <a:cxn ang="0">
                    <a:pos x="T2" y="T3"/>
                  </a:cxn>
                  <a:cxn ang="0">
                    <a:pos x="T4" y="T5"/>
                  </a:cxn>
                  <a:cxn ang="0">
                    <a:pos x="T6" y="T7"/>
                  </a:cxn>
                  <a:cxn ang="0">
                    <a:pos x="T8" y="T9"/>
                  </a:cxn>
                </a:cxnLst>
                <a:rect l="0" t="0" r="r" b="b"/>
                <a:pathLst>
                  <a:path w="648" h="649">
                    <a:moveTo>
                      <a:pt x="0" y="649"/>
                    </a:moveTo>
                    <a:lnTo>
                      <a:pt x="2" y="649"/>
                    </a:lnTo>
                    <a:lnTo>
                      <a:pt x="648" y="0"/>
                    </a:lnTo>
                    <a:lnTo>
                      <a:pt x="423" y="0"/>
                    </a:lnTo>
                    <a:lnTo>
                      <a:pt x="0" y="64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28" name="Freeform 13">
                <a:extLst>
                  <a:ext uri="{FF2B5EF4-FFF2-40B4-BE49-F238E27FC236}">
                    <a16:creationId xmlns:a16="http://schemas.microsoft.com/office/drawing/2014/main" id="{46549898-6C52-B147-A8F6-A73FDBE6163B}"/>
                  </a:ext>
                </a:extLst>
              </p:cNvPr>
              <p:cNvSpPr>
                <a:spLocks/>
              </p:cNvSpPr>
              <p:nvPr/>
            </p:nvSpPr>
            <p:spPr bwMode="gray">
              <a:xfrm>
                <a:off x="4321" y="1029"/>
                <a:ext cx="648" cy="649"/>
              </a:xfrm>
              <a:custGeom>
                <a:avLst/>
                <a:gdLst>
                  <a:gd name="T0" fmla="*/ 0 w 648"/>
                  <a:gd name="T1" fmla="*/ 649 h 649"/>
                  <a:gd name="T2" fmla="*/ 2 w 648"/>
                  <a:gd name="T3" fmla="*/ 649 h 649"/>
                  <a:gd name="T4" fmla="*/ 648 w 648"/>
                  <a:gd name="T5" fmla="*/ 0 h 649"/>
                  <a:gd name="T6" fmla="*/ 423 w 648"/>
                  <a:gd name="T7" fmla="*/ 0 h 649"/>
                  <a:gd name="T8" fmla="*/ 0 w 648"/>
                  <a:gd name="T9" fmla="*/ 649 h 649"/>
                </a:gdLst>
                <a:ahLst/>
                <a:cxnLst>
                  <a:cxn ang="0">
                    <a:pos x="T0" y="T1"/>
                  </a:cxn>
                  <a:cxn ang="0">
                    <a:pos x="T2" y="T3"/>
                  </a:cxn>
                  <a:cxn ang="0">
                    <a:pos x="T4" y="T5"/>
                  </a:cxn>
                  <a:cxn ang="0">
                    <a:pos x="T6" y="T7"/>
                  </a:cxn>
                  <a:cxn ang="0">
                    <a:pos x="T8" y="T9"/>
                  </a:cxn>
                </a:cxnLst>
                <a:rect l="0" t="0" r="r" b="b"/>
                <a:pathLst>
                  <a:path w="648" h="649">
                    <a:moveTo>
                      <a:pt x="0" y="649"/>
                    </a:moveTo>
                    <a:lnTo>
                      <a:pt x="2" y="649"/>
                    </a:lnTo>
                    <a:lnTo>
                      <a:pt x="648" y="0"/>
                    </a:lnTo>
                    <a:lnTo>
                      <a:pt x="423" y="0"/>
                    </a:lnTo>
                    <a:lnTo>
                      <a:pt x="0" y="64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grpSp>
      </p:grpSp>
      <p:sp>
        <p:nvSpPr>
          <p:cNvPr id="7" name="Date Placeholder 6"/>
          <p:cNvSpPr>
            <a:spLocks noGrp="1"/>
          </p:cNvSpPr>
          <p:nvPr>
            <p:ph type="dt" sz="half" idx="10"/>
          </p:nvPr>
        </p:nvSpPr>
        <p:spPr>
          <a:xfrm>
            <a:off x="0" y="0"/>
            <a:ext cx="0" cy="0"/>
          </a:xfrm>
          <a:prstGeom prst="rect">
            <a:avLst/>
          </a:prstGeom>
        </p:spPr>
        <p:txBody>
          <a:bodyPr/>
          <a:lstStyle>
            <a:lvl1pPr>
              <a:defRPr sz="100">
                <a:noFill/>
              </a:defRPr>
            </a:lvl1pPr>
          </a:lstStyle>
          <a:p>
            <a:endParaRPr lang="en-US"/>
          </a:p>
        </p:txBody>
      </p:sp>
      <p:sp>
        <p:nvSpPr>
          <p:cNvPr id="8" name="Footer Placeholder 7"/>
          <p:cNvSpPr>
            <a:spLocks noGrp="1"/>
          </p:cNvSpPr>
          <p:nvPr>
            <p:ph type="ftr" sz="quarter" idx="11"/>
          </p:nvPr>
        </p:nvSpPr>
        <p:spPr>
          <a:xfrm>
            <a:off x="0" y="0"/>
            <a:ext cx="0" cy="0"/>
          </a:xfrm>
          <a:prstGeom prst="rect">
            <a:avLst/>
          </a:prstGeom>
        </p:spPr>
        <p:txBody>
          <a:bodyPr/>
          <a:lstStyle>
            <a:lvl1pPr marL="0" indent="0">
              <a:buNone/>
              <a:defRPr sz="100">
                <a:noFill/>
              </a:defRPr>
            </a:lvl1pPr>
          </a:lstStyle>
          <a:p>
            <a:endParaRPr lang="en-US"/>
          </a:p>
        </p:txBody>
      </p:sp>
      <p:sp>
        <p:nvSpPr>
          <p:cNvPr id="9" name="Slide Number Placeholder 8"/>
          <p:cNvSpPr>
            <a:spLocks noGrp="1"/>
          </p:cNvSpPr>
          <p:nvPr>
            <p:ph type="sldNum" sz="quarter" idx="12"/>
          </p:nvPr>
        </p:nvSpPr>
        <p:spPr>
          <a:xfrm>
            <a:off x="0" y="0"/>
            <a:ext cx="0" cy="0"/>
          </a:xfrm>
          <a:prstGeom prst="rect">
            <a:avLst/>
          </a:prstGeom>
        </p:spPr>
        <p:txBody>
          <a:bodyPr/>
          <a:lstStyle>
            <a:lvl1pPr>
              <a:defRPr sz="100">
                <a:noFill/>
              </a:defRPr>
            </a:lvl1pPr>
          </a:lstStyle>
          <a:p>
            <a:fld id="{8E3B25F7-8D1F-44B5-B485-EE3C438CFD7B}" type="slidenum">
              <a:rPr lang="en-US" smtClean="0"/>
              <a:pPr/>
              <a:t>‹#›</a:t>
            </a:fld>
            <a:endParaRPr lang="en-US"/>
          </a:p>
        </p:txBody>
      </p:sp>
      <p:sp>
        <p:nvSpPr>
          <p:cNvPr id="2" name="Title 1"/>
          <p:cNvSpPr>
            <a:spLocks noGrp="1"/>
          </p:cNvSpPr>
          <p:nvPr>
            <p:ph type="ctrTitle" hasCustomPrompt="1"/>
          </p:nvPr>
        </p:nvSpPr>
        <p:spPr>
          <a:xfrm>
            <a:off x="417600" y="1628775"/>
            <a:ext cx="3816000" cy="2236264"/>
          </a:xfrm>
        </p:spPr>
        <p:txBody>
          <a:bodyPr anchor="b"/>
          <a:lstStyle>
            <a:lvl1pPr algn="l">
              <a:defRPr sz="3600"/>
            </a:lvl1pPr>
          </a:lstStyle>
          <a:p>
            <a:r>
              <a:rPr lang="en-US"/>
              <a:t>Click to add presentation title</a:t>
            </a:r>
          </a:p>
        </p:txBody>
      </p:sp>
      <p:sp>
        <p:nvSpPr>
          <p:cNvPr id="3" name="Subtitle 2"/>
          <p:cNvSpPr>
            <a:spLocks noGrp="1"/>
          </p:cNvSpPr>
          <p:nvPr>
            <p:ph type="subTitle" idx="1" hasCustomPrompt="1"/>
          </p:nvPr>
        </p:nvSpPr>
        <p:spPr>
          <a:xfrm>
            <a:off x="417600" y="4094163"/>
            <a:ext cx="3816000" cy="1080000"/>
          </a:xfrm>
        </p:spPr>
        <p:txBody>
          <a:bodyPr/>
          <a:lstStyle>
            <a:lvl1pPr marL="0" indent="0" algn="l">
              <a:spcBef>
                <a:spcPts val="0"/>
              </a:spcBef>
              <a:buNone/>
              <a:defRPr sz="1800" b="1"/>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sp>
        <p:nvSpPr>
          <p:cNvPr id="31" name="Text Placeholder 30"/>
          <p:cNvSpPr>
            <a:spLocks noGrp="1"/>
          </p:cNvSpPr>
          <p:nvPr>
            <p:ph type="body" sz="quarter" idx="14" hasCustomPrompt="1"/>
          </p:nvPr>
        </p:nvSpPr>
        <p:spPr>
          <a:xfrm>
            <a:off x="417600" y="5393268"/>
            <a:ext cx="3816000" cy="296332"/>
          </a:xfrm>
        </p:spPr>
        <p:txBody>
          <a:bodyPr wrap="none"/>
          <a:lstStyle>
            <a:lvl1pPr marL="0" indent="0">
              <a:spcBef>
                <a:spcPts val="0"/>
              </a:spcBef>
              <a:buNone/>
              <a:defRPr sz="1200"/>
            </a:lvl1pPr>
            <a:lvl2pPr marL="0" indent="0">
              <a:buNone/>
              <a:defRPr sz="1200"/>
            </a:lvl2pPr>
            <a:lvl3pPr marL="0" indent="0">
              <a:buNone/>
              <a:defRPr sz="1200"/>
            </a:lvl3pPr>
            <a:lvl4pPr marL="0">
              <a:buNone/>
              <a:defRPr sz="1200"/>
            </a:lvl4pPr>
            <a:lvl5pPr marL="0" indent="0">
              <a:buNone/>
              <a:defRPr sz="1200"/>
            </a:lvl5pPr>
          </a:lstStyle>
          <a:p>
            <a:pPr lvl="0"/>
            <a:r>
              <a:rPr lang="en-US"/>
              <a:t>Name</a:t>
            </a:r>
          </a:p>
        </p:txBody>
      </p:sp>
      <p:sp>
        <p:nvSpPr>
          <p:cNvPr id="34" name="Text Placeholder 30"/>
          <p:cNvSpPr>
            <a:spLocks noGrp="1"/>
          </p:cNvSpPr>
          <p:nvPr>
            <p:ph type="body" sz="quarter" idx="15" hasCustomPrompt="1"/>
          </p:nvPr>
        </p:nvSpPr>
        <p:spPr>
          <a:xfrm>
            <a:off x="417600" y="5691446"/>
            <a:ext cx="3816000" cy="296332"/>
          </a:xfrm>
        </p:spPr>
        <p:txBody>
          <a:bodyPr wrap="none"/>
          <a:lstStyle>
            <a:lvl1pPr marL="0" indent="0">
              <a:spcBef>
                <a:spcPts val="0"/>
              </a:spcBef>
              <a:buNone/>
              <a:defRPr sz="1200"/>
            </a:lvl1pPr>
            <a:lvl2pPr marL="0" indent="0">
              <a:buNone/>
              <a:defRPr sz="1200"/>
            </a:lvl2pPr>
            <a:lvl3pPr marL="0" indent="0">
              <a:buNone/>
              <a:defRPr sz="1200"/>
            </a:lvl3pPr>
            <a:lvl4pPr marL="0">
              <a:buNone/>
              <a:defRPr sz="1200"/>
            </a:lvl4pPr>
            <a:lvl5pPr marL="0" indent="0">
              <a:buNone/>
              <a:defRPr sz="1200"/>
            </a:lvl5pPr>
          </a:lstStyle>
          <a:p>
            <a:pPr lvl="0"/>
            <a:r>
              <a:rPr lang="en-US"/>
              <a:t>Department</a:t>
            </a:r>
          </a:p>
        </p:txBody>
      </p:sp>
    </p:spTree>
    <p:extLst>
      <p:ext uri="{BB962C8B-B14F-4D97-AF65-F5344CB8AC3E}">
        <p14:creationId xmlns:p14="http://schemas.microsoft.com/office/powerpoint/2010/main" val="4120058163"/>
      </p:ext>
    </p:extLst>
  </p:cSld>
  <p:clrMapOvr>
    <a:masterClrMapping/>
  </p:clrMapOvr>
</p:sldLayout>
</file>

<file path=ppt/slideLayouts/slideLayout447.xml><?xml version="1.0" encoding="utf-8"?>
<p:sldLayout xmlns:a="http://schemas.openxmlformats.org/drawingml/2006/main" xmlns:r="http://schemas.openxmlformats.org/officeDocument/2006/relationships" xmlns:p="http://schemas.openxmlformats.org/presentationml/2006/main" preserve="1">
  <p:cSld name="Divider 1">
    <p:spTree>
      <p:nvGrpSpPr>
        <p:cNvPr id="1" name=""/>
        <p:cNvGrpSpPr/>
        <p:nvPr/>
      </p:nvGrpSpPr>
      <p:grpSpPr>
        <a:xfrm>
          <a:off x="0" y="0"/>
          <a:ext cx="0" cy="0"/>
          <a:chOff x="0" y="0"/>
          <a:chExt cx="0" cy="0"/>
        </a:xfrm>
      </p:grpSpPr>
      <p:sp>
        <p:nvSpPr>
          <p:cNvPr id="12" name="Picture Placeholder 11"/>
          <p:cNvSpPr>
            <a:spLocks noGrp="1"/>
          </p:cNvSpPr>
          <p:nvPr>
            <p:ph type="pic" sz="quarter" idx="17" hasCustomPrompt="1"/>
          </p:nvPr>
        </p:nvSpPr>
        <p:spPr>
          <a:xfrm>
            <a:off x="-1" y="0"/>
            <a:ext cx="8822478" cy="6858000"/>
          </a:xfrm>
          <a:custGeom>
            <a:avLst/>
            <a:gdLst>
              <a:gd name="connsiteX0" fmla="*/ 0 w 8822478"/>
              <a:gd name="connsiteY0" fmla="*/ 0 h 6858000"/>
              <a:gd name="connsiteX1" fmla="*/ 8477306 w 8822478"/>
              <a:gd name="connsiteY1" fmla="*/ 0 h 6858000"/>
              <a:gd name="connsiteX2" fmla="*/ 6998505 w 8822478"/>
              <a:gd name="connsiteY2" fmla="*/ 3834029 h 6858000"/>
              <a:gd name="connsiteX3" fmla="*/ 8822478 w 8822478"/>
              <a:gd name="connsiteY3" fmla="*/ 6858000 h 6858000"/>
              <a:gd name="connsiteX4" fmla="*/ 0 w 8822478"/>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22478" h="6858000">
                <a:moveTo>
                  <a:pt x="0" y="0"/>
                </a:moveTo>
                <a:lnTo>
                  <a:pt x="8477306" y="0"/>
                </a:lnTo>
                <a:lnTo>
                  <a:pt x="6998505" y="3834029"/>
                </a:lnTo>
                <a:lnTo>
                  <a:pt x="8822478" y="6858000"/>
                </a:lnTo>
                <a:lnTo>
                  <a:pt x="0" y="6858000"/>
                </a:lnTo>
                <a:close/>
              </a:path>
            </a:pathLst>
          </a:custGeom>
          <a:solidFill>
            <a:srgbClr val="D9DADB"/>
          </a:solidFill>
        </p:spPr>
        <p:txBody>
          <a:bodyPr wrap="square">
            <a:noAutofit/>
          </a:bodyPr>
          <a:lstStyle>
            <a:lvl1pPr marL="0" indent="0">
              <a:buNone/>
              <a:defRPr/>
            </a:lvl1pPr>
          </a:lstStyle>
          <a:p>
            <a:r>
              <a:rPr lang="en-US"/>
              <a:t>Insert picture</a:t>
            </a:r>
          </a:p>
        </p:txBody>
      </p:sp>
      <p:sp>
        <p:nvSpPr>
          <p:cNvPr id="21" name="Date Placeholder 20"/>
          <p:cNvSpPr>
            <a:spLocks noGrp="1"/>
          </p:cNvSpPr>
          <p:nvPr>
            <p:ph type="dt" sz="half" idx="14"/>
          </p:nvPr>
        </p:nvSpPr>
        <p:spPr/>
        <p:txBody>
          <a:bodyPr/>
          <a:lstStyle>
            <a:lvl1pPr>
              <a:defRPr>
                <a:solidFill>
                  <a:schemeClr val="bg1"/>
                </a:solidFill>
              </a:defRPr>
            </a:lvl1pPr>
          </a:lstStyle>
          <a:p>
            <a:endParaRPr lang="en-US"/>
          </a:p>
        </p:txBody>
      </p:sp>
      <p:sp>
        <p:nvSpPr>
          <p:cNvPr id="22" name="Footer Placeholder 21"/>
          <p:cNvSpPr>
            <a:spLocks noGrp="1"/>
          </p:cNvSpPr>
          <p:nvPr>
            <p:ph type="ftr" sz="quarter" idx="15"/>
          </p:nvPr>
        </p:nvSpPr>
        <p:spPr/>
        <p:txBody>
          <a:bodyPr/>
          <a:lstStyle>
            <a:lvl1pPr>
              <a:defRPr>
                <a:solidFill>
                  <a:schemeClr val="bg1"/>
                </a:solidFill>
              </a:defRPr>
            </a:lvl1pPr>
          </a:lstStyle>
          <a:p>
            <a:endParaRPr lang="en-US"/>
          </a:p>
        </p:txBody>
      </p:sp>
      <p:sp>
        <p:nvSpPr>
          <p:cNvPr id="23" name="Slide Number Placeholder 22"/>
          <p:cNvSpPr>
            <a:spLocks noGrp="1"/>
          </p:cNvSpPr>
          <p:nvPr>
            <p:ph type="sldNum" sz="quarter" idx="16"/>
          </p:nvPr>
        </p:nvSpPr>
        <p:spPr/>
        <p:txBody>
          <a:bodyPr/>
          <a:lstStyle>
            <a:lvl1pPr>
              <a:defRPr>
                <a:solidFill>
                  <a:schemeClr val="tx1"/>
                </a:solidFill>
              </a:defRPr>
            </a:lvl1pPr>
          </a:lstStyle>
          <a:p>
            <a:fld id="{5F3E29E4-0979-4FCA-B4C5-5FC6044C982A}" type="slidenum">
              <a:rPr lang="en-US" smtClean="0"/>
              <a:pPr/>
              <a:t>‹#›</a:t>
            </a:fld>
            <a:endParaRPr lang="en-US"/>
          </a:p>
        </p:txBody>
      </p:sp>
      <p:sp>
        <p:nvSpPr>
          <p:cNvPr id="2" name="Title 1"/>
          <p:cNvSpPr>
            <a:spLocks noGrp="1"/>
          </p:cNvSpPr>
          <p:nvPr>
            <p:ph type="title" hasCustomPrompt="1"/>
          </p:nvPr>
        </p:nvSpPr>
        <p:spPr>
          <a:xfrm>
            <a:off x="7737533" y="2908628"/>
            <a:ext cx="4082992" cy="2103640"/>
          </a:xfrm>
        </p:spPr>
        <p:txBody>
          <a:bodyPr/>
          <a:lstStyle>
            <a:lvl1pPr>
              <a:defRPr>
                <a:solidFill>
                  <a:schemeClr val="tx1"/>
                </a:solidFill>
              </a:defRPr>
            </a:lvl1pPr>
          </a:lstStyle>
          <a:p>
            <a:r>
              <a:rPr lang="en-US"/>
              <a:t>Click to add section title</a:t>
            </a:r>
          </a:p>
        </p:txBody>
      </p:sp>
    </p:spTree>
    <p:extLst>
      <p:ext uri="{BB962C8B-B14F-4D97-AF65-F5344CB8AC3E}">
        <p14:creationId xmlns:p14="http://schemas.microsoft.com/office/powerpoint/2010/main" val="922854834"/>
      </p:ext>
    </p:extLst>
  </p:cSld>
  <p:clrMapOvr>
    <a:masterClrMapping/>
  </p:clrMapOvr>
</p:sldLayout>
</file>

<file path=ppt/slideLayouts/slideLayout448.xml><?xml version="1.0" encoding="utf-8"?>
<p:sldLayout xmlns:a="http://schemas.openxmlformats.org/drawingml/2006/main" xmlns:r="http://schemas.openxmlformats.org/officeDocument/2006/relationships" xmlns:p="http://schemas.openxmlformats.org/presentationml/2006/main" preserve="1">
  <p:cSld name="Divider 2">
    <p:spTree>
      <p:nvGrpSpPr>
        <p:cNvPr id="1" name=""/>
        <p:cNvGrpSpPr/>
        <p:nvPr/>
      </p:nvGrpSpPr>
      <p:grpSpPr>
        <a:xfrm>
          <a:off x="0" y="0"/>
          <a:ext cx="0" cy="0"/>
          <a:chOff x="0" y="0"/>
          <a:chExt cx="0" cy="0"/>
        </a:xfrm>
      </p:grpSpPr>
      <p:sp>
        <p:nvSpPr>
          <p:cNvPr id="4" name="shp2"/>
          <p:cNvSpPr/>
          <p:nvPr/>
        </p:nvSpPr>
        <p:spPr>
          <a:xfrm>
            <a:off x="0" y="0"/>
            <a:ext cx="121932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a:p>
        </p:txBody>
      </p:sp>
      <p:sp>
        <p:nvSpPr>
          <p:cNvPr id="21" name="Date Placeholder 20"/>
          <p:cNvSpPr>
            <a:spLocks noGrp="1"/>
          </p:cNvSpPr>
          <p:nvPr>
            <p:ph type="dt" sz="half" idx="14"/>
          </p:nvPr>
        </p:nvSpPr>
        <p:spPr bwMode="ltGray"/>
        <p:txBody>
          <a:bodyPr/>
          <a:lstStyle>
            <a:lvl1pPr>
              <a:defRPr>
                <a:solidFill>
                  <a:schemeClr val="bg1"/>
                </a:solidFill>
              </a:defRPr>
            </a:lvl1pPr>
          </a:lstStyle>
          <a:p>
            <a:endParaRPr lang="en-US"/>
          </a:p>
        </p:txBody>
      </p:sp>
      <p:sp>
        <p:nvSpPr>
          <p:cNvPr id="22" name="Footer Placeholder 21"/>
          <p:cNvSpPr>
            <a:spLocks noGrp="1"/>
          </p:cNvSpPr>
          <p:nvPr>
            <p:ph type="ftr" sz="quarter" idx="15"/>
          </p:nvPr>
        </p:nvSpPr>
        <p:spPr bwMode="ltGray"/>
        <p:txBody>
          <a:bodyPr/>
          <a:lstStyle>
            <a:lvl1pPr>
              <a:defRPr>
                <a:solidFill>
                  <a:schemeClr val="bg1"/>
                </a:solidFill>
              </a:defRPr>
            </a:lvl1pPr>
          </a:lstStyle>
          <a:p>
            <a:endParaRPr lang="en-US"/>
          </a:p>
        </p:txBody>
      </p:sp>
      <p:sp>
        <p:nvSpPr>
          <p:cNvPr id="23" name="Slide Number Placeholder 22"/>
          <p:cNvSpPr>
            <a:spLocks noGrp="1"/>
          </p:cNvSpPr>
          <p:nvPr>
            <p:ph type="sldNum" sz="quarter" idx="16"/>
          </p:nvPr>
        </p:nvSpPr>
        <p:spPr bwMode="ltGray"/>
        <p:txBody>
          <a:bodyPr/>
          <a:lstStyle>
            <a:lvl1pPr>
              <a:defRPr>
                <a:solidFill>
                  <a:schemeClr val="bg1"/>
                </a:solidFill>
              </a:defRPr>
            </a:lvl1pPr>
          </a:lstStyle>
          <a:p>
            <a:fld id="{5F3E29E4-0979-4FCA-B4C5-5FC6044C982A}" type="slidenum">
              <a:rPr lang="en-US" smtClean="0"/>
              <a:pPr/>
              <a:t>‹#›</a:t>
            </a:fld>
            <a:endParaRPr lang="en-US"/>
          </a:p>
        </p:txBody>
      </p:sp>
      <p:sp>
        <p:nvSpPr>
          <p:cNvPr id="8" name="copyright"/>
          <p:cNvSpPr txBox="1"/>
          <p:nvPr/>
        </p:nvSpPr>
        <p:spPr>
          <a:xfrm>
            <a:off x="10672209" y="6237288"/>
            <a:ext cx="500617" cy="358173"/>
          </a:xfrm>
          <a:prstGeom prst="rect">
            <a:avLst/>
          </a:prstGeom>
          <a:noFill/>
        </p:spPr>
        <p:txBody>
          <a:bodyPr wrap="none" lIns="0" tIns="0" rIns="0" bIns="0" rtlCol="0" anchor="b" anchorCtr="0">
            <a:noAutofit/>
          </a:bodyPr>
          <a:lstStyle/>
          <a:p>
            <a:pPr marL="0" indent="0" algn="r">
              <a:lnSpc>
                <a:spcPct val="125000"/>
              </a:lnSpc>
              <a:buClr>
                <a:schemeClr val="tx2"/>
              </a:buClr>
              <a:buFont typeface="Wingdings" panose="05000000000000000000" pitchFamily="2" charset="2"/>
              <a:buNone/>
            </a:pPr>
            <a:r>
              <a:rPr lang="en-US" sz="800">
                <a:solidFill>
                  <a:schemeClr val="bg1"/>
                </a:solidFill>
              </a:rPr>
              <a:t>© GfK</a:t>
            </a:r>
          </a:p>
        </p:txBody>
      </p:sp>
      <p:sp>
        <p:nvSpPr>
          <p:cNvPr id="2" name="Title 1"/>
          <p:cNvSpPr>
            <a:spLocks noGrp="1"/>
          </p:cNvSpPr>
          <p:nvPr>
            <p:ph type="title" hasCustomPrompt="1"/>
          </p:nvPr>
        </p:nvSpPr>
        <p:spPr bwMode="ltGray">
          <a:xfrm>
            <a:off x="1075062" y="1519552"/>
            <a:ext cx="10097763" cy="2273171"/>
          </a:xfrm>
        </p:spPr>
        <p:txBody>
          <a:bodyPr/>
          <a:lstStyle>
            <a:lvl1pPr>
              <a:defRPr>
                <a:solidFill>
                  <a:schemeClr val="bg1"/>
                </a:solidFill>
              </a:defRPr>
            </a:lvl1pPr>
          </a:lstStyle>
          <a:p>
            <a:r>
              <a:rPr lang="en-US"/>
              <a:t>Click to add section title</a:t>
            </a:r>
          </a:p>
        </p:txBody>
      </p:sp>
      <p:grpSp>
        <p:nvGrpSpPr>
          <p:cNvPr id="9" name="logo">
            <a:extLst>
              <a:ext uri="{FF2B5EF4-FFF2-40B4-BE49-F238E27FC236}">
                <a16:creationId xmlns:a16="http://schemas.microsoft.com/office/drawing/2014/main" id="{57BD2C4C-DC67-B843-B26C-309622FC75F7}"/>
              </a:ext>
            </a:extLst>
          </p:cNvPr>
          <p:cNvGrpSpPr>
            <a:grpSpLocks noChangeAspect="1"/>
          </p:cNvGrpSpPr>
          <p:nvPr/>
        </p:nvGrpSpPr>
        <p:grpSpPr bwMode="gray">
          <a:xfrm>
            <a:off x="11174018" y="401441"/>
            <a:ext cx="644225" cy="646507"/>
            <a:chOff x="2711" y="1027"/>
            <a:chExt cx="2258" cy="2266"/>
          </a:xfrm>
        </p:grpSpPr>
        <p:sp>
          <p:nvSpPr>
            <p:cNvPr id="11" name="AutoShape 3">
              <a:extLst>
                <a:ext uri="{FF2B5EF4-FFF2-40B4-BE49-F238E27FC236}">
                  <a16:creationId xmlns:a16="http://schemas.microsoft.com/office/drawing/2014/main" id="{FE1DC41B-291E-574C-9F2C-874E70A40758}"/>
                </a:ext>
              </a:extLst>
            </p:cNvPr>
            <p:cNvSpPr>
              <a:spLocks noChangeAspect="1" noChangeArrowheads="1" noTextEdit="1"/>
            </p:cNvSpPr>
            <p:nvPr/>
          </p:nvSpPr>
          <p:spPr bwMode="gray">
            <a:xfrm>
              <a:off x="2711" y="1027"/>
              <a:ext cx="2258" cy="22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12" name="Freeform 5">
              <a:extLst>
                <a:ext uri="{FF2B5EF4-FFF2-40B4-BE49-F238E27FC236}">
                  <a16:creationId xmlns:a16="http://schemas.microsoft.com/office/drawing/2014/main" id="{D4B633C8-F761-C54B-9BD2-EB59D49A2DBC}"/>
                </a:ext>
              </a:extLst>
            </p:cNvPr>
            <p:cNvSpPr>
              <a:spLocks/>
            </p:cNvSpPr>
            <p:nvPr/>
          </p:nvSpPr>
          <p:spPr bwMode="gray">
            <a:xfrm>
              <a:off x="2709" y="1029"/>
              <a:ext cx="2260" cy="2262"/>
            </a:xfrm>
            <a:custGeom>
              <a:avLst/>
              <a:gdLst>
                <a:gd name="T0" fmla="*/ 2260 w 2260"/>
                <a:gd name="T1" fmla="*/ 0 h 2262"/>
                <a:gd name="T2" fmla="*/ 1612 w 2260"/>
                <a:gd name="T3" fmla="*/ 649 h 2262"/>
                <a:gd name="T4" fmla="*/ 1612 w 2260"/>
                <a:gd name="T5" fmla="*/ 649 h 2262"/>
                <a:gd name="T6" fmla="*/ 2035 w 2260"/>
                <a:gd name="T7" fmla="*/ 0 h 2262"/>
                <a:gd name="T8" fmla="*/ 0 w 2260"/>
                <a:gd name="T9" fmla="*/ 0 h 2262"/>
                <a:gd name="T10" fmla="*/ 0 w 2260"/>
                <a:gd name="T11" fmla="*/ 2262 h 2262"/>
                <a:gd name="T12" fmla="*/ 2260 w 2260"/>
                <a:gd name="T13" fmla="*/ 2262 h 2262"/>
                <a:gd name="T14" fmla="*/ 2260 w 2260"/>
                <a:gd name="T15" fmla="*/ 0 h 2262"/>
                <a:gd name="T16" fmla="*/ 2260 w 2260"/>
                <a:gd name="T17" fmla="*/ 0 h 2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0" h="2262">
                  <a:moveTo>
                    <a:pt x="2260" y="0"/>
                  </a:moveTo>
                  <a:lnTo>
                    <a:pt x="1612" y="649"/>
                  </a:lnTo>
                  <a:lnTo>
                    <a:pt x="1612" y="649"/>
                  </a:lnTo>
                  <a:lnTo>
                    <a:pt x="2035" y="0"/>
                  </a:lnTo>
                  <a:lnTo>
                    <a:pt x="0" y="0"/>
                  </a:lnTo>
                  <a:lnTo>
                    <a:pt x="0" y="2262"/>
                  </a:lnTo>
                  <a:lnTo>
                    <a:pt x="2260" y="2262"/>
                  </a:lnTo>
                  <a:lnTo>
                    <a:pt x="2260" y="0"/>
                  </a:lnTo>
                  <a:lnTo>
                    <a:pt x="2260" y="0"/>
                  </a:lnTo>
                  <a:close/>
                </a:path>
              </a:pathLst>
            </a:custGeom>
            <a:solidFill>
              <a:srgbClr val="E55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13" name="Freeform 6">
              <a:extLst>
                <a:ext uri="{FF2B5EF4-FFF2-40B4-BE49-F238E27FC236}">
                  <a16:creationId xmlns:a16="http://schemas.microsoft.com/office/drawing/2014/main" id="{B16BAAE4-1A41-C843-9754-490F7A1E1270}"/>
                </a:ext>
              </a:extLst>
            </p:cNvPr>
            <p:cNvSpPr>
              <a:spLocks noEditPoints="1"/>
            </p:cNvSpPr>
            <p:nvPr/>
          </p:nvSpPr>
          <p:spPr bwMode="gray">
            <a:xfrm>
              <a:off x="3623" y="1696"/>
              <a:ext cx="1167" cy="922"/>
            </a:xfrm>
            <a:custGeom>
              <a:avLst/>
              <a:gdLst>
                <a:gd name="T0" fmla="*/ 411 w 580"/>
                <a:gd name="T1" fmla="*/ 213 h 458"/>
                <a:gd name="T2" fmla="*/ 570 w 580"/>
                <a:gd name="T3" fmla="*/ 37 h 458"/>
                <a:gd name="T4" fmla="*/ 580 w 580"/>
                <a:gd name="T5" fmla="*/ 20 h 458"/>
                <a:gd name="T6" fmla="*/ 545 w 580"/>
                <a:gd name="T7" fmla="*/ 0 h 458"/>
                <a:gd name="T8" fmla="*/ 519 w 580"/>
                <a:gd name="T9" fmla="*/ 16 h 458"/>
                <a:gd name="T10" fmla="*/ 344 w 580"/>
                <a:gd name="T11" fmla="*/ 210 h 458"/>
                <a:gd name="T12" fmla="*/ 334 w 580"/>
                <a:gd name="T13" fmla="*/ 229 h 458"/>
                <a:gd name="T14" fmla="*/ 344 w 580"/>
                <a:gd name="T15" fmla="*/ 248 h 458"/>
                <a:gd name="T16" fmla="*/ 519 w 580"/>
                <a:gd name="T17" fmla="*/ 442 h 458"/>
                <a:gd name="T18" fmla="*/ 545 w 580"/>
                <a:gd name="T19" fmla="*/ 458 h 458"/>
                <a:gd name="T20" fmla="*/ 580 w 580"/>
                <a:gd name="T21" fmla="*/ 438 h 458"/>
                <a:gd name="T22" fmla="*/ 570 w 580"/>
                <a:gd name="T23" fmla="*/ 421 h 458"/>
                <a:gd name="T24" fmla="*/ 411 w 580"/>
                <a:gd name="T25" fmla="*/ 245 h 458"/>
                <a:gd name="T26" fmla="*/ 399 w 580"/>
                <a:gd name="T27" fmla="*/ 229 h 458"/>
                <a:gd name="T28" fmla="*/ 411 w 580"/>
                <a:gd name="T29" fmla="*/ 213 h 458"/>
                <a:gd name="T30" fmla="*/ 252 w 580"/>
                <a:gd name="T31" fmla="*/ 439 h 458"/>
                <a:gd name="T32" fmla="*/ 281 w 580"/>
                <a:gd name="T33" fmla="*/ 454 h 458"/>
                <a:gd name="T34" fmla="*/ 309 w 580"/>
                <a:gd name="T35" fmla="*/ 439 h 458"/>
                <a:gd name="T36" fmla="*/ 309 w 580"/>
                <a:gd name="T37" fmla="*/ 19 h 458"/>
                <a:gd name="T38" fmla="*/ 281 w 580"/>
                <a:gd name="T39" fmla="*/ 4 h 458"/>
                <a:gd name="T40" fmla="*/ 252 w 580"/>
                <a:gd name="T41" fmla="*/ 19 h 458"/>
                <a:gd name="T42" fmla="*/ 252 w 580"/>
                <a:gd name="T43" fmla="*/ 439 h 458"/>
                <a:gd name="T44" fmla="*/ 0 w 580"/>
                <a:gd name="T45" fmla="*/ 439 h 458"/>
                <a:gd name="T46" fmla="*/ 28 w 580"/>
                <a:gd name="T47" fmla="*/ 454 h 458"/>
                <a:gd name="T48" fmla="*/ 56 w 580"/>
                <a:gd name="T49" fmla="*/ 439 h 458"/>
                <a:gd name="T50" fmla="*/ 56 w 580"/>
                <a:gd name="T51" fmla="*/ 157 h 458"/>
                <a:gd name="T52" fmla="*/ 165 w 580"/>
                <a:gd name="T53" fmla="*/ 53 h 458"/>
                <a:gd name="T54" fmla="*/ 180 w 580"/>
                <a:gd name="T55" fmla="*/ 53 h 458"/>
                <a:gd name="T56" fmla="*/ 196 w 580"/>
                <a:gd name="T57" fmla="*/ 27 h 458"/>
                <a:gd name="T58" fmla="*/ 154 w 580"/>
                <a:gd name="T59" fmla="*/ 4 h 458"/>
                <a:gd name="T60" fmla="*/ 0 w 580"/>
                <a:gd name="T61" fmla="*/ 152 h 458"/>
                <a:gd name="T62" fmla="*/ 0 w 580"/>
                <a:gd name="T63" fmla="*/ 439 h 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80" h="458">
                  <a:moveTo>
                    <a:pt x="411" y="213"/>
                  </a:moveTo>
                  <a:cubicBezTo>
                    <a:pt x="570" y="37"/>
                    <a:pt x="570" y="37"/>
                    <a:pt x="570" y="37"/>
                  </a:cubicBezTo>
                  <a:cubicBezTo>
                    <a:pt x="576" y="30"/>
                    <a:pt x="580" y="25"/>
                    <a:pt x="580" y="20"/>
                  </a:cubicBezTo>
                  <a:cubicBezTo>
                    <a:pt x="580" y="10"/>
                    <a:pt x="559" y="0"/>
                    <a:pt x="545" y="0"/>
                  </a:cubicBezTo>
                  <a:cubicBezTo>
                    <a:pt x="535" y="0"/>
                    <a:pt x="526" y="8"/>
                    <a:pt x="519" y="16"/>
                  </a:cubicBezTo>
                  <a:cubicBezTo>
                    <a:pt x="344" y="210"/>
                    <a:pt x="344" y="210"/>
                    <a:pt x="344" y="210"/>
                  </a:cubicBezTo>
                  <a:cubicBezTo>
                    <a:pt x="336" y="219"/>
                    <a:pt x="334" y="224"/>
                    <a:pt x="334" y="229"/>
                  </a:cubicBezTo>
                  <a:cubicBezTo>
                    <a:pt x="334" y="234"/>
                    <a:pt x="336" y="239"/>
                    <a:pt x="344" y="248"/>
                  </a:cubicBezTo>
                  <a:cubicBezTo>
                    <a:pt x="519" y="442"/>
                    <a:pt x="519" y="442"/>
                    <a:pt x="519" y="442"/>
                  </a:cubicBezTo>
                  <a:cubicBezTo>
                    <a:pt x="526" y="450"/>
                    <a:pt x="535" y="458"/>
                    <a:pt x="545" y="458"/>
                  </a:cubicBezTo>
                  <a:cubicBezTo>
                    <a:pt x="559" y="458"/>
                    <a:pt x="580" y="448"/>
                    <a:pt x="580" y="438"/>
                  </a:cubicBezTo>
                  <a:cubicBezTo>
                    <a:pt x="580" y="433"/>
                    <a:pt x="576" y="428"/>
                    <a:pt x="570" y="421"/>
                  </a:cubicBezTo>
                  <a:cubicBezTo>
                    <a:pt x="411" y="245"/>
                    <a:pt x="411" y="245"/>
                    <a:pt x="411" y="245"/>
                  </a:cubicBezTo>
                  <a:cubicBezTo>
                    <a:pt x="403" y="236"/>
                    <a:pt x="399" y="232"/>
                    <a:pt x="399" y="229"/>
                  </a:cubicBezTo>
                  <a:cubicBezTo>
                    <a:pt x="399" y="226"/>
                    <a:pt x="403" y="222"/>
                    <a:pt x="411" y="213"/>
                  </a:cubicBezTo>
                  <a:moveTo>
                    <a:pt x="252" y="439"/>
                  </a:moveTo>
                  <a:cubicBezTo>
                    <a:pt x="252" y="449"/>
                    <a:pt x="261" y="454"/>
                    <a:pt x="281" y="454"/>
                  </a:cubicBezTo>
                  <a:cubicBezTo>
                    <a:pt x="300" y="454"/>
                    <a:pt x="309" y="449"/>
                    <a:pt x="309" y="439"/>
                  </a:cubicBezTo>
                  <a:cubicBezTo>
                    <a:pt x="309" y="19"/>
                    <a:pt x="309" y="19"/>
                    <a:pt x="309" y="19"/>
                  </a:cubicBezTo>
                  <a:cubicBezTo>
                    <a:pt x="309" y="9"/>
                    <a:pt x="300" y="4"/>
                    <a:pt x="281" y="4"/>
                  </a:cubicBezTo>
                  <a:cubicBezTo>
                    <a:pt x="261" y="4"/>
                    <a:pt x="252" y="9"/>
                    <a:pt x="252" y="19"/>
                  </a:cubicBezTo>
                  <a:lnTo>
                    <a:pt x="252" y="439"/>
                  </a:lnTo>
                  <a:close/>
                  <a:moveTo>
                    <a:pt x="0" y="439"/>
                  </a:moveTo>
                  <a:cubicBezTo>
                    <a:pt x="0" y="449"/>
                    <a:pt x="8" y="454"/>
                    <a:pt x="28" y="454"/>
                  </a:cubicBezTo>
                  <a:cubicBezTo>
                    <a:pt x="48" y="454"/>
                    <a:pt x="56" y="449"/>
                    <a:pt x="56" y="439"/>
                  </a:cubicBezTo>
                  <a:cubicBezTo>
                    <a:pt x="56" y="157"/>
                    <a:pt x="56" y="157"/>
                    <a:pt x="56" y="157"/>
                  </a:cubicBezTo>
                  <a:cubicBezTo>
                    <a:pt x="56" y="83"/>
                    <a:pt x="85" y="53"/>
                    <a:pt x="165" y="53"/>
                  </a:cubicBezTo>
                  <a:cubicBezTo>
                    <a:pt x="180" y="53"/>
                    <a:pt x="180" y="53"/>
                    <a:pt x="180" y="53"/>
                  </a:cubicBezTo>
                  <a:cubicBezTo>
                    <a:pt x="192" y="53"/>
                    <a:pt x="196" y="43"/>
                    <a:pt x="196" y="27"/>
                  </a:cubicBezTo>
                  <a:cubicBezTo>
                    <a:pt x="196" y="8"/>
                    <a:pt x="185" y="4"/>
                    <a:pt x="154" y="4"/>
                  </a:cubicBezTo>
                  <a:cubicBezTo>
                    <a:pt x="64" y="4"/>
                    <a:pt x="0" y="43"/>
                    <a:pt x="0" y="152"/>
                  </a:cubicBezTo>
                  <a:lnTo>
                    <a:pt x="0" y="43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14" name="Freeform 7">
              <a:extLst>
                <a:ext uri="{FF2B5EF4-FFF2-40B4-BE49-F238E27FC236}">
                  <a16:creationId xmlns:a16="http://schemas.microsoft.com/office/drawing/2014/main" id="{2F32DCBD-8628-F245-85CD-97686A20ECFD}"/>
                </a:ext>
              </a:extLst>
            </p:cNvPr>
            <p:cNvSpPr>
              <a:spLocks/>
            </p:cNvSpPr>
            <p:nvPr/>
          </p:nvSpPr>
          <p:spPr bwMode="gray">
            <a:xfrm>
              <a:off x="2880" y="1704"/>
              <a:ext cx="618" cy="916"/>
            </a:xfrm>
            <a:custGeom>
              <a:avLst/>
              <a:gdLst>
                <a:gd name="T0" fmla="*/ 307 w 307"/>
                <a:gd name="T1" fmla="*/ 405 h 455"/>
                <a:gd name="T2" fmla="*/ 307 w 307"/>
                <a:gd name="T3" fmla="*/ 244 h 455"/>
                <a:gd name="T4" fmla="*/ 279 w 307"/>
                <a:gd name="T5" fmla="*/ 229 h 455"/>
                <a:gd name="T6" fmla="*/ 250 w 307"/>
                <a:gd name="T7" fmla="*/ 244 h 455"/>
                <a:gd name="T8" fmla="*/ 250 w 307"/>
                <a:gd name="T9" fmla="*/ 378 h 455"/>
                <a:gd name="T10" fmla="*/ 199 w 307"/>
                <a:gd name="T11" fmla="*/ 408 h 455"/>
                <a:gd name="T12" fmla="*/ 61 w 307"/>
                <a:gd name="T13" fmla="*/ 231 h 455"/>
                <a:gd name="T14" fmla="*/ 238 w 307"/>
                <a:gd name="T15" fmla="*/ 49 h 455"/>
                <a:gd name="T16" fmla="*/ 270 w 307"/>
                <a:gd name="T17" fmla="*/ 49 h 455"/>
                <a:gd name="T18" fmla="*/ 286 w 307"/>
                <a:gd name="T19" fmla="*/ 23 h 455"/>
                <a:gd name="T20" fmla="*/ 244 w 307"/>
                <a:gd name="T21" fmla="*/ 0 h 455"/>
                <a:gd name="T22" fmla="*/ 231 w 307"/>
                <a:gd name="T23" fmla="*/ 0 h 455"/>
                <a:gd name="T24" fmla="*/ 0 w 307"/>
                <a:gd name="T25" fmla="*/ 232 h 455"/>
                <a:gd name="T26" fmla="*/ 198 w 307"/>
                <a:gd name="T27" fmla="*/ 455 h 455"/>
                <a:gd name="T28" fmla="*/ 307 w 307"/>
                <a:gd name="T29" fmla="*/ 405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7" h="455">
                  <a:moveTo>
                    <a:pt x="307" y="405"/>
                  </a:moveTo>
                  <a:cubicBezTo>
                    <a:pt x="307" y="244"/>
                    <a:pt x="307" y="244"/>
                    <a:pt x="307" y="244"/>
                  </a:cubicBezTo>
                  <a:cubicBezTo>
                    <a:pt x="307" y="234"/>
                    <a:pt x="298" y="229"/>
                    <a:pt x="279" y="229"/>
                  </a:cubicBezTo>
                  <a:cubicBezTo>
                    <a:pt x="259" y="229"/>
                    <a:pt x="250" y="234"/>
                    <a:pt x="250" y="244"/>
                  </a:cubicBezTo>
                  <a:cubicBezTo>
                    <a:pt x="250" y="378"/>
                    <a:pt x="250" y="378"/>
                    <a:pt x="250" y="378"/>
                  </a:cubicBezTo>
                  <a:cubicBezTo>
                    <a:pt x="250" y="399"/>
                    <a:pt x="241" y="408"/>
                    <a:pt x="199" y="408"/>
                  </a:cubicBezTo>
                  <a:cubicBezTo>
                    <a:pt x="114" y="408"/>
                    <a:pt x="61" y="342"/>
                    <a:pt x="61" y="231"/>
                  </a:cubicBezTo>
                  <a:cubicBezTo>
                    <a:pt x="61" y="115"/>
                    <a:pt x="126" y="49"/>
                    <a:pt x="238" y="49"/>
                  </a:cubicBezTo>
                  <a:cubicBezTo>
                    <a:pt x="270" y="49"/>
                    <a:pt x="270" y="49"/>
                    <a:pt x="270" y="49"/>
                  </a:cubicBezTo>
                  <a:cubicBezTo>
                    <a:pt x="282" y="49"/>
                    <a:pt x="286" y="39"/>
                    <a:pt x="286" y="23"/>
                  </a:cubicBezTo>
                  <a:cubicBezTo>
                    <a:pt x="286" y="4"/>
                    <a:pt x="275" y="0"/>
                    <a:pt x="244" y="0"/>
                  </a:cubicBezTo>
                  <a:cubicBezTo>
                    <a:pt x="231" y="0"/>
                    <a:pt x="231" y="0"/>
                    <a:pt x="231" y="0"/>
                  </a:cubicBezTo>
                  <a:cubicBezTo>
                    <a:pt x="101" y="0"/>
                    <a:pt x="0" y="71"/>
                    <a:pt x="0" y="232"/>
                  </a:cubicBezTo>
                  <a:cubicBezTo>
                    <a:pt x="0" y="386"/>
                    <a:pt x="88" y="455"/>
                    <a:pt x="198" y="455"/>
                  </a:cubicBezTo>
                  <a:cubicBezTo>
                    <a:pt x="286" y="455"/>
                    <a:pt x="307" y="430"/>
                    <a:pt x="307" y="40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15" name="Oval 8">
              <a:extLst>
                <a:ext uri="{FF2B5EF4-FFF2-40B4-BE49-F238E27FC236}">
                  <a16:creationId xmlns:a16="http://schemas.microsoft.com/office/drawing/2014/main" id="{60D97C11-1A3B-5449-A48D-98A3E79B3810}"/>
                </a:ext>
              </a:extLst>
            </p:cNvPr>
            <p:cNvSpPr>
              <a:spLocks noChangeArrowheads="1"/>
            </p:cNvSpPr>
            <p:nvPr/>
          </p:nvSpPr>
          <p:spPr bwMode="gray">
            <a:xfrm>
              <a:off x="3778" y="2099"/>
              <a:ext cx="122" cy="12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16" name="Freeform 9">
              <a:extLst>
                <a:ext uri="{FF2B5EF4-FFF2-40B4-BE49-F238E27FC236}">
                  <a16:creationId xmlns:a16="http://schemas.microsoft.com/office/drawing/2014/main" id="{5856770D-B8F0-244E-A05D-AED190086F10}"/>
                </a:ext>
              </a:extLst>
            </p:cNvPr>
            <p:cNvSpPr>
              <a:spLocks noEditPoints="1"/>
            </p:cNvSpPr>
            <p:nvPr/>
          </p:nvSpPr>
          <p:spPr bwMode="gray">
            <a:xfrm>
              <a:off x="3623" y="1696"/>
              <a:ext cx="1167" cy="922"/>
            </a:xfrm>
            <a:custGeom>
              <a:avLst/>
              <a:gdLst>
                <a:gd name="T0" fmla="*/ 411 w 580"/>
                <a:gd name="T1" fmla="*/ 213 h 458"/>
                <a:gd name="T2" fmla="*/ 570 w 580"/>
                <a:gd name="T3" fmla="*/ 37 h 458"/>
                <a:gd name="T4" fmla="*/ 580 w 580"/>
                <a:gd name="T5" fmla="*/ 20 h 458"/>
                <a:gd name="T6" fmla="*/ 545 w 580"/>
                <a:gd name="T7" fmla="*/ 0 h 458"/>
                <a:gd name="T8" fmla="*/ 519 w 580"/>
                <a:gd name="T9" fmla="*/ 16 h 458"/>
                <a:gd name="T10" fmla="*/ 344 w 580"/>
                <a:gd name="T11" fmla="*/ 210 h 458"/>
                <a:gd name="T12" fmla="*/ 334 w 580"/>
                <a:gd name="T13" fmla="*/ 229 h 458"/>
                <a:gd name="T14" fmla="*/ 344 w 580"/>
                <a:gd name="T15" fmla="*/ 248 h 458"/>
                <a:gd name="T16" fmla="*/ 519 w 580"/>
                <a:gd name="T17" fmla="*/ 442 h 458"/>
                <a:gd name="T18" fmla="*/ 545 w 580"/>
                <a:gd name="T19" fmla="*/ 458 h 458"/>
                <a:gd name="T20" fmla="*/ 580 w 580"/>
                <a:gd name="T21" fmla="*/ 438 h 458"/>
                <a:gd name="T22" fmla="*/ 570 w 580"/>
                <a:gd name="T23" fmla="*/ 421 h 458"/>
                <a:gd name="T24" fmla="*/ 411 w 580"/>
                <a:gd name="T25" fmla="*/ 245 h 458"/>
                <a:gd name="T26" fmla="*/ 399 w 580"/>
                <a:gd name="T27" fmla="*/ 229 h 458"/>
                <a:gd name="T28" fmla="*/ 411 w 580"/>
                <a:gd name="T29" fmla="*/ 213 h 458"/>
                <a:gd name="T30" fmla="*/ 252 w 580"/>
                <a:gd name="T31" fmla="*/ 439 h 458"/>
                <a:gd name="T32" fmla="*/ 281 w 580"/>
                <a:gd name="T33" fmla="*/ 454 h 458"/>
                <a:gd name="T34" fmla="*/ 309 w 580"/>
                <a:gd name="T35" fmla="*/ 439 h 458"/>
                <a:gd name="T36" fmla="*/ 309 w 580"/>
                <a:gd name="T37" fmla="*/ 19 h 458"/>
                <a:gd name="T38" fmla="*/ 281 w 580"/>
                <a:gd name="T39" fmla="*/ 4 h 458"/>
                <a:gd name="T40" fmla="*/ 252 w 580"/>
                <a:gd name="T41" fmla="*/ 19 h 458"/>
                <a:gd name="T42" fmla="*/ 252 w 580"/>
                <a:gd name="T43" fmla="*/ 439 h 458"/>
                <a:gd name="T44" fmla="*/ 0 w 580"/>
                <a:gd name="T45" fmla="*/ 439 h 458"/>
                <a:gd name="T46" fmla="*/ 28 w 580"/>
                <a:gd name="T47" fmla="*/ 454 h 458"/>
                <a:gd name="T48" fmla="*/ 56 w 580"/>
                <a:gd name="T49" fmla="*/ 439 h 458"/>
                <a:gd name="T50" fmla="*/ 56 w 580"/>
                <a:gd name="T51" fmla="*/ 157 h 458"/>
                <a:gd name="T52" fmla="*/ 165 w 580"/>
                <a:gd name="T53" fmla="*/ 53 h 458"/>
                <a:gd name="T54" fmla="*/ 180 w 580"/>
                <a:gd name="T55" fmla="*/ 53 h 458"/>
                <a:gd name="T56" fmla="*/ 196 w 580"/>
                <a:gd name="T57" fmla="*/ 27 h 458"/>
                <a:gd name="T58" fmla="*/ 154 w 580"/>
                <a:gd name="T59" fmla="*/ 4 h 458"/>
                <a:gd name="T60" fmla="*/ 0 w 580"/>
                <a:gd name="T61" fmla="*/ 152 h 458"/>
                <a:gd name="T62" fmla="*/ 0 w 580"/>
                <a:gd name="T63" fmla="*/ 439 h 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80" h="458">
                  <a:moveTo>
                    <a:pt x="411" y="213"/>
                  </a:moveTo>
                  <a:cubicBezTo>
                    <a:pt x="570" y="37"/>
                    <a:pt x="570" y="37"/>
                    <a:pt x="570" y="37"/>
                  </a:cubicBezTo>
                  <a:cubicBezTo>
                    <a:pt x="576" y="30"/>
                    <a:pt x="580" y="25"/>
                    <a:pt x="580" y="20"/>
                  </a:cubicBezTo>
                  <a:cubicBezTo>
                    <a:pt x="580" y="10"/>
                    <a:pt x="559" y="0"/>
                    <a:pt x="545" y="0"/>
                  </a:cubicBezTo>
                  <a:cubicBezTo>
                    <a:pt x="535" y="0"/>
                    <a:pt x="526" y="8"/>
                    <a:pt x="519" y="16"/>
                  </a:cubicBezTo>
                  <a:cubicBezTo>
                    <a:pt x="344" y="210"/>
                    <a:pt x="344" y="210"/>
                    <a:pt x="344" y="210"/>
                  </a:cubicBezTo>
                  <a:cubicBezTo>
                    <a:pt x="336" y="219"/>
                    <a:pt x="334" y="224"/>
                    <a:pt x="334" y="229"/>
                  </a:cubicBezTo>
                  <a:cubicBezTo>
                    <a:pt x="334" y="234"/>
                    <a:pt x="336" y="239"/>
                    <a:pt x="344" y="248"/>
                  </a:cubicBezTo>
                  <a:cubicBezTo>
                    <a:pt x="519" y="442"/>
                    <a:pt x="519" y="442"/>
                    <a:pt x="519" y="442"/>
                  </a:cubicBezTo>
                  <a:cubicBezTo>
                    <a:pt x="526" y="450"/>
                    <a:pt x="535" y="458"/>
                    <a:pt x="545" y="458"/>
                  </a:cubicBezTo>
                  <a:cubicBezTo>
                    <a:pt x="559" y="458"/>
                    <a:pt x="580" y="448"/>
                    <a:pt x="580" y="438"/>
                  </a:cubicBezTo>
                  <a:cubicBezTo>
                    <a:pt x="580" y="433"/>
                    <a:pt x="576" y="428"/>
                    <a:pt x="570" y="421"/>
                  </a:cubicBezTo>
                  <a:cubicBezTo>
                    <a:pt x="411" y="245"/>
                    <a:pt x="411" y="245"/>
                    <a:pt x="411" y="245"/>
                  </a:cubicBezTo>
                  <a:cubicBezTo>
                    <a:pt x="403" y="236"/>
                    <a:pt x="399" y="232"/>
                    <a:pt x="399" y="229"/>
                  </a:cubicBezTo>
                  <a:cubicBezTo>
                    <a:pt x="399" y="226"/>
                    <a:pt x="403" y="222"/>
                    <a:pt x="411" y="213"/>
                  </a:cubicBezTo>
                  <a:moveTo>
                    <a:pt x="252" y="439"/>
                  </a:moveTo>
                  <a:cubicBezTo>
                    <a:pt x="252" y="449"/>
                    <a:pt x="261" y="454"/>
                    <a:pt x="281" y="454"/>
                  </a:cubicBezTo>
                  <a:cubicBezTo>
                    <a:pt x="300" y="454"/>
                    <a:pt x="309" y="449"/>
                    <a:pt x="309" y="439"/>
                  </a:cubicBezTo>
                  <a:cubicBezTo>
                    <a:pt x="309" y="19"/>
                    <a:pt x="309" y="19"/>
                    <a:pt x="309" y="19"/>
                  </a:cubicBezTo>
                  <a:cubicBezTo>
                    <a:pt x="309" y="9"/>
                    <a:pt x="300" y="4"/>
                    <a:pt x="281" y="4"/>
                  </a:cubicBezTo>
                  <a:cubicBezTo>
                    <a:pt x="261" y="4"/>
                    <a:pt x="252" y="9"/>
                    <a:pt x="252" y="19"/>
                  </a:cubicBezTo>
                  <a:lnTo>
                    <a:pt x="252" y="439"/>
                  </a:lnTo>
                  <a:close/>
                  <a:moveTo>
                    <a:pt x="0" y="439"/>
                  </a:moveTo>
                  <a:cubicBezTo>
                    <a:pt x="0" y="449"/>
                    <a:pt x="8" y="454"/>
                    <a:pt x="28" y="454"/>
                  </a:cubicBezTo>
                  <a:cubicBezTo>
                    <a:pt x="48" y="454"/>
                    <a:pt x="56" y="449"/>
                    <a:pt x="56" y="439"/>
                  </a:cubicBezTo>
                  <a:cubicBezTo>
                    <a:pt x="56" y="157"/>
                    <a:pt x="56" y="157"/>
                    <a:pt x="56" y="157"/>
                  </a:cubicBezTo>
                  <a:cubicBezTo>
                    <a:pt x="56" y="83"/>
                    <a:pt x="85" y="53"/>
                    <a:pt x="165" y="53"/>
                  </a:cubicBezTo>
                  <a:cubicBezTo>
                    <a:pt x="180" y="53"/>
                    <a:pt x="180" y="53"/>
                    <a:pt x="180" y="53"/>
                  </a:cubicBezTo>
                  <a:cubicBezTo>
                    <a:pt x="192" y="53"/>
                    <a:pt x="196" y="43"/>
                    <a:pt x="196" y="27"/>
                  </a:cubicBezTo>
                  <a:cubicBezTo>
                    <a:pt x="196" y="8"/>
                    <a:pt x="185" y="4"/>
                    <a:pt x="154" y="4"/>
                  </a:cubicBezTo>
                  <a:cubicBezTo>
                    <a:pt x="64" y="4"/>
                    <a:pt x="0" y="43"/>
                    <a:pt x="0" y="152"/>
                  </a:cubicBezTo>
                  <a:lnTo>
                    <a:pt x="0" y="43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17" name="Freeform 10">
              <a:extLst>
                <a:ext uri="{FF2B5EF4-FFF2-40B4-BE49-F238E27FC236}">
                  <a16:creationId xmlns:a16="http://schemas.microsoft.com/office/drawing/2014/main" id="{2B91B16B-BC11-E547-8FAC-B9B8D18EA449}"/>
                </a:ext>
              </a:extLst>
            </p:cNvPr>
            <p:cNvSpPr>
              <a:spLocks/>
            </p:cNvSpPr>
            <p:nvPr/>
          </p:nvSpPr>
          <p:spPr bwMode="gray">
            <a:xfrm>
              <a:off x="2880" y="1704"/>
              <a:ext cx="618" cy="916"/>
            </a:xfrm>
            <a:custGeom>
              <a:avLst/>
              <a:gdLst>
                <a:gd name="T0" fmla="*/ 307 w 307"/>
                <a:gd name="T1" fmla="*/ 405 h 455"/>
                <a:gd name="T2" fmla="*/ 307 w 307"/>
                <a:gd name="T3" fmla="*/ 244 h 455"/>
                <a:gd name="T4" fmla="*/ 279 w 307"/>
                <a:gd name="T5" fmla="*/ 229 h 455"/>
                <a:gd name="T6" fmla="*/ 250 w 307"/>
                <a:gd name="T7" fmla="*/ 244 h 455"/>
                <a:gd name="T8" fmla="*/ 250 w 307"/>
                <a:gd name="T9" fmla="*/ 378 h 455"/>
                <a:gd name="T10" fmla="*/ 199 w 307"/>
                <a:gd name="T11" fmla="*/ 408 h 455"/>
                <a:gd name="T12" fmla="*/ 61 w 307"/>
                <a:gd name="T13" fmla="*/ 231 h 455"/>
                <a:gd name="T14" fmla="*/ 238 w 307"/>
                <a:gd name="T15" fmla="*/ 49 h 455"/>
                <a:gd name="T16" fmla="*/ 270 w 307"/>
                <a:gd name="T17" fmla="*/ 49 h 455"/>
                <a:gd name="T18" fmla="*/ 286 w 307"/>
                <a:gd name="T19" fmla="*/ 23 h 455"/>
                <a:gd name="T20" fmla="*/ 244 w 307"/>
                <a:gd name="T21" fmla="*/ 0 h 455"/>
                <a:gd name="T22" fmla="*/ 231 w 307"/>
                <a:gd name="T23" fmla="*/ 0 h 455"/>
                <a:gd name="T24" fmla="*/ 0 w 307"/>
                <a:gd name="T25" fmla="*/ 232 h 455"/>
                <a:gd name="T26" fmla="*/ 198 w 307"/>
                <a:gd name="T27" fmla="*/ 455 h 455"/>
                <a:gd name="T28" fmla="*/ 307 w 307"/>
                <a:gd name="T29" fmla="*/ 405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7" h="455">
                  <a:moveTo>
                    <a:pt x="307" y="405"/>
                  </a:moveTo>
                  <a:cubicBezTo>
                    <a:pt x="307" y="244"/>
                    <a:pt x="307" y="244"/>
                    <a:pt x="307" y="244"/>
                  </a:cubicBezTo>
                  <a:cubicBezTo>
                    <a:pt x="307" y="234"/>
                    <a:pt x="298" y="229"/>
                    <a:pt x="279" y="229"/>
                  </a:cubicBezTo>
                  <a:cubicBezTo>
                    <a:pt x="259" y="229"/>
                    <a:pt x="250" y="234"/>
                    <a:pt x="250" y="244"/>
                  </a:cubicBezTo>
                  <a:cubicBezTo>
                    <a:pt x="250" y="378"/>
                    <a:pt x="250" y="378"/>
                    <a:pt x="250" y="378"/>
                  </a:cubicBezTo>
                  <a:cubicBezTo>
                    <a:pt x="250" y="399"/>
                    <a:pt x="241" y="408"/>
                    <a:pt x="199" y="408"/>
                  </a:cubicBezTo>
                  <a:cubicBezTo>
                    <a:pt x="114" y="408"/>
                    <a:pt x="61" y="342"/>
                    <a:pt x="61" y="231"/>
                  </a:cubicBezTo>
                  <a:cubicBezTo>
                    <a:pt x="61" y="115"/>
                    <a:pt x="126" y="49"/>
                    <a:pt x="238" y="49"/>
                  </a:cubicBezTo>
                  <a:cubicBezTo>
                    <a:pt x="270" y="49"/>
                    <a:pt x="270" y="49"/>
                    <a:pt x="270" y="49"/>
                  </a:cubicBezTo>
                  <a:cubicBezTo>
                    <a:pt x="282" y="49"/>
                    <a:pt x="286" y="39"/>
                    <a:pt x="286" y="23"/>
                  </a:cubicBezTo>
                  <a:cubicBezTo>
                    <a:pt x="286" y="4"/>
                    <a:pt x="275" y="0"/>
                    <a:pt x="244" y="0"/>
                  </a:cubicBezTo>
                  <a:cubicBezTo>
                    <a:pt x="231" y="0"/>
                    <a:pt x="231" y="0"/>
                    <a:pt x="231" y="0"/>
                  </a:cubicBezTo>
                  <a:cubicBezTo>
                    <a:pt x="101" y="0"/>
                    <a:pt x="0" y="71"/>
                    <a:pt x="0" y="232"/>
                  </a:cubicBezTo>
                  <a:cubicBezTo>
                    <a:pt x="0" y="386"/>
                    <a:pt x="88" y="455"/>
                    <a:pt x="198" y="455"/>
                  </a:cubicBezTo>
                  <a:cubicBezTo>
                    <a:pt x="286" y="455"/>
                    <a:pt x="307" y="430"/>
                    <a:pt x="307" y="40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18" name="Oval 11">
              <a:extLst>
                <a:ext uri="{FF2B5EF4-FFF2-40B4-BE49-F238E27FC236}">
                  <a16:creationId xmlns:a16="http://schemas.microsoft.com/office/drawing/2014/main" id="{14F8C3C8-4888-7646-B9B4-64EB46A1DA23}"/>
                </a:ext>
              </a:extLst>
            </p:cNvPr>
            <p:cNvSpPr>
              <a:spLocks noChangeArrowheads="1"/>
            </p:cNvSpPr>
            <p:nvPr/>
          </p:nvSpPr>
          <p:spPr bwMode="gray">
            <a:xfrm>
              <a:off x="3778" y="2099"/>
              <a:ext cx="122" cy="12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19" name="Freeform 12">
              <a:extLst>
                <a:ext uri="{FF2B5EF4-FFF2-40B4-BE49-F238E27FC236}">
                  <a16:creationId xmlns:a16="http://schemas.microsoft.com/office/drawing/2014/main" id="{D79D01D1-4E3E-F34B-97D7-2D387E68746E}"/>
                </a:ext>
              </a:extLst>
            </p:cNvPr>
            <p:cNvSpPr>
              <a:spLocks/>
            </p:cNvSpPr>
            <p:nvPr/>
          </p:nvSpPr>
          <p:spPr bwMode="gray">
            <a:xfrm>
              <a:off x="4321" y="1029"/>
              <a:ext cx="648" cy="649"/>
            </a:xfrm>
            <a:custGeom>
              <a:avLst/>
              <a:gdLst>
                <a:gd name="T0" fmla="*/ 0 w 648"/>
                <a:gd name="T1" fmla="*/ 649 h 649"/>
                <a:gd name="T2" fmla="*/ 2 w 648"/>
                <a:gd name="T3" fmla="*/ 649 h 649"/>
                <a:gd name="T4" fmla="*/ 648 w 648"/>
                <a:gd name="T5" fmla="*/ 0 h 649"/>
                <a:gd name="T6" fmla="*/ 423 w 648"/>
                <a:gd name="T7" fmla="*/ 0 h 649"/>
                <a:gd name="T8" fmla="*/ 0 w 648"/>
                <a:gd name="T9" fmla="*/ 649 h 649"/>
              </a:gdLst>
              <a:ahLst/>
              <a:cxnLst>
                <a:cxn ang="0">
                  <a:pos x="T0" y="T1"/>
                </a:cxn>
                <a:cxn ang="0">
                  <a:pos x="T2" y="T3"/>
                </a:cxn>
                <a:cxn ang="0">
                  <a:pos x="T4" y="T5"/>
                </a:cxn>
                <a:cxn ang="0">
                  <a:pos x="T6" y="T7"/>
                </a:cxn>
                <a:cxn ang="0">
                  <a:pos x="T8" y="T9"/>
                </a:cxn>
              </a:cxnLst>
              <a:rect l="0" t="0" r="r" b="b"/>
              <a:pathLst>
                <a:path w="648" h="649">
                  <a:moveTo>
                    <a:pt x="0" y="649"/>
                  </a:moveTo>
                  <a:lnTo>
                    <a:pt x="2" y="649"/>
                  </a:lnTo>
                  <a:lnTo>
                    <a:pt x="648" y="0"/>
                  </a:lnTo>
                  <a:lnTo>
                    <a:pt x="423" y="0"/>
                  </a:lnTo>
                  <a:lnTo>
                    <a:pt x="0" y="64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20" name="Freeform 13">
              <a:extLst>
                <a:ext uri="{FF2B5EF4-FFF2-40B4-BE49-F238E27FC236}">
                  <a16:creationId xmlns:a16="http://schemas.microsoft.com/office/drawing/2014/main" id="{46549898-6C52-B147-A8F6-A73FDBE6163B}"/>
                </a:ext>
              </a:extLst>
            </p:cNvPr>
            <p:cNvSpPr>
              <a:spLocks/>
            </p:cNvSpPr>
            <p:nvPr/>
          </p:nvSpPr>
          <p:spPr bwMode="gray">
            <a:xfrm>
              <a:off x="4321" y="1029"/>
              <a:ext cx="648" cy="649"/>
            </a:xfrm>
            <a:custGeom>
              <a:avLst/>
              <a:gdLst>
                <a:gd name="T0" fmla="*/ 0 w 648"/>
                <a:gd name="T1" fmla="*/ 649 h 649"/>
                <a:gd name="T2" fmla="*/ 2 w 648"/>
                <a:gd name="T3" fmla="*/ 649 h 649"/>
                <a:gd name="T4" fmla="*/ 648 w 648"/>
                <a:gd name="T5" fmla="*/ 0 h 649"/>
                <a:gd name="T6" fmla="*/ 423 w 648"/>
                <a:gd name="T7" fmla="*/ 0 h 649"/>
                <a:gd name="T8" fmla="*/ 0 w 648"/>
                <a:gd name="T9" fmla="*/ 649 h 649"/>
              </a:gdLst>
              <a:ahLst/>
              <a:cxnLst>
                <a:cxn ang="0">
                  <a:pos x="T0" y="T1"/>
                </a:cxn>
                <a:cxn ang="0">
                  <a:pos x="T2" y="T3"/>
                </a:cxn>
                <a:cxn ang="0">
                  <a:pos x="T4" y="T5"/>
                </a:cxn>
                <a:cxn ang="0">
                  <a:pos x="T6" y="T7"/>
                </a:cxn>
                <a:cxn ang="0">
                  <a:pos x="T8" y="T9"/>
                </a:cxn>
              </a:cxnLst>
              <a:rect l="0" t="0" r="r" b="b"/>
              <a:pathLst>
                <a:path w="648" h="649">
                  <a:moveTo>
                    <a:pt x="0" y="649"/>
                  </a:moveTo>
                  <a:lnTo>
                    <a:pt x="2" y="649"/>
                  </a:lnTo>
                  <a:lnTo>
                    <a:pt x="648" y="0"/>
                  </a:lnTo>
                  <a:lnTo>
                    <a:pt x="423" y="0"/>
                  </a:lnTo>
                  <a:lnTo>
                    <a:pt x="0" y="64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grpSp>
    </p:spTree>
    <p:extLst>
      <p:ext uri="{BB962C8B-B14F-4D97-AF65-F5344CB8AC3E}">
        <p14:creationId xmlns:p14="http://schemas.microsoft.com/office/powerpoint/2010/main" val="1130522354"/>
      </p:ext>
    </p:extLst>
  </p:cSld>
  <p:clrMapOvr>
    <a:masterClrMapping/>
  </p:clrMapOvr>
</p:sldLayout>
</file>

<file path=ppt/slideLayouts/slideLayout449.xml><?xml version="1.0" encoding="utf-8"?>
<p:sldLayout xmlns:a="http://schemas.openxmlformats.org/drawingml/2006/main" xmlns:r="http://schemas.openxmlformats.org/officeDocument/2006/relationships" xmlns:p="http://schemas.openxmlformats.org/presentationml/2006/main" preserve="1">
  <p:cSld name="Headline only">
    <p:spTree>
      <p:nvGrpSpPr>
        <p:cNvPr id="1" name=""/>
        <p:cNvGrpSpPr/>
        <p:nvPr/>
      </p:nvGrpSpPr>
      <p:grpSpPr>
        <a:xfrm>
          <a:off x="0" y="0"/>
          <a:ext cx="0" cy="0"/>
          <a:chOff x="0" y="0"/>
          <a:chExt cx="0" cy="0"/>
        </a:xfrm>
      </p:grpSpPr>
      <p:sp>
        <p:nvSpPr>
          <p:cNvPr id="21" name="Date Placeholder 20"/>
          <p:cNvSpPr>
            <a:spLocks noGrp="1"/>
          </p:cNvSpPr>
          <p:nvPr>
            <p:ph type="dt" sz="half" idx="14"/>
          </p:nvPr>
        </p:nvSpPr>
        <p:spPr/>
        <p:txBody>
          <a:bodyPr/>
          <a:lstStyle/>
          <a:p>
            <a:endParaRPr lang="en-US"/>
          </a:p>
        </p:txBody>
      </p:sp>
      <p:sp>
        <p:nvSpPr>
          <p:cNvPr id="22" name="Footer Placeholder 21"/>
          <p:cNvSpPr>
            <a:spLocks noGrp="1"/>
          </p:cNvSpPr>
          <p:nvPr>
            <p:ph type="ftr" sz="quarter" idx="15"/>
          </p:nvPr>
        </p:nvSpPr>
        <p:spPr/>
        <p:txBody>
          <a:bodyPr/>
          <a:lstStyle/>
          <a:p>
            <a:endParaRPr lang="en-US"/>
          </a:p>
        </p:txBody>
      </p:sp>
      <p:sp>
        <p:nvSpPr>
          <p:cNvPr id="23" name="Slide Number Placeholder 22"/>
          <p:cNvSpPr>
            <a:spLocks noGrp="1"/>
          </p:cNvSpPr>
          <p:nvPr>
            <p:ph type="sldNum" sz="quarter" idx="16"/>
          </p:nvPr>
        </p:nvSpPr>
        <p:spPr/>
        <p:txBody>
          <a:bodyPr/>
          <a:lstStyle/>
          <a:p>
            <a:fld id="{5F3E29E4-0979-4FCA-B4C5-5FC6044C982A}" type="slidenum">
              <a:rPr lang="en-US" smtClean="0"/>
              <a:t>‹#›</a:t>
            </a:fld>
            <a:endParaRPr lang="en-US"/>
          </a:p>
        </p:txBody>
      </p:sp>
      <p:sp>
        <p:nvSpPr>
          <p:cNvPr id="2" name="Title 1"/>
          <p:cNvSpPr>
            <a:spLocks noGrp="1"/>
          </p:cNvSpPr>
          <p:nvPr>
            <p:ph type="title" hasCustomPrompt="1"/>
          </p:nvPr>
        </p:nvSpPr>
        <p:spPr/>
        <p:txBody>
          <a:bodyPr/>
          <a:lstStyle>
            <a:lvl1pPr>
              <a:defRPr/>
            </a:lvl1pPr>
          </a:lstStyle>
          <a:p>
            <a:r>
              <a:rPr lang="en-US"/>
              <a:t>Click to add slide title</a:t>
            </a:r>
          </a:p>
        </p:txBody>
      </p:sp>
      <p:sp>
        <p:nvSpPr>
          <p:cNvPr id="7" name="Subtitle 2"/>
          <p:cNvSpPr>
            <a:spLocks noGrp="1"/>
          </p:cNvSpPr>
          <p:nvPr>
            <p:ph type="subTitle" idx="13" hasCustomPrompt="1"/>
          </p:nvPr>
        </p:nvSpPr>
        <p:spPr>
          <a:xfrm>
            <a:off x="1075061" y="964671"/>
            <a:ext cx="7910158" cy="490042"/>
          </a:xfrm>
        </p:spPr>
        <p:txBody>
          <a:bodyPr wrap="none"/>
          <a:lstStyle>
            <a:lvl1pPr marL="0" indent="0" algn="l">
              <a:spcBef>
                <a:spcPts val="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sp>
        <p:nvSpPr>
          <p:cNvPr id="9" name="Text Placeholder 4"/>
          <p:cNvSpPr>
            <a:spLocks noGrp="1"/>
          </p:cNvSpPr>
          <p:nvPr>
            <p:ph type="body" sz="quarter" idx="17" hasCustomPrompt="1"/>
          </p:nvPr>
        </p:nvSpPr>
        <p:spPr>
          <a:xfrm>
            <a:off x="1075063" y="6307665"/>
            <a:ext cx="8162717" cy="133200"/>
          </a:xfrm>
        </p:spPr>
        <p:txBody>
          <a:bodyPr lIns="0" tIns="0" rIns="0" bIns="0" anchor="b" anchorCtr="0"/>
          <a:lstStyle>
            <a:lvl1pPr marL="0" indent="0" algn="l">
              <a:lnSpc>
                <a:spcPct val="100000"/>
              </a:lnSpc>
              <a:spcBef>
                <a:spcPts val="0"/>
              </a:spcBef>
              <a:buNone/>
              <a:defRPr sz="800" baseline="0"/>
            </a:lvl1pPr>
            <a:lvl2pPr marL="0" indent="0" algn="l">
              <a:lnSpc>
                <a:spcPct val="100000"/>
              </a:lnSpc>
              <a:spcBef>
                <a:spcPts val="0"/>
              </a:spcBef>
              <a:buNone/>
              <a:defRPr sz="800"/>
            </a:lvl2pPr>
            <a:lvl3pPr marL="0" indent="0" algn="l">
              <a:lnSpc>
                <a:spcPct val="100000"/>
              </a:lnSpc>
              <a:spcBef>
                <a:spcPts val="0"/>
              </a:spcBef>
              <a:buNone/>
              <a:defRPr sz="800"/>
            </a:lvl3pPr>
            <a:lvl4pPr marL="0" algn="l">
              <a:lnSpc>
                <a:spcPct val="100000"/>
              </a:lnSpc>
              <a:spcBef>
                <a:spcPts val="0"/>
              </a:spcBef>
              <a:buNone/>
              <a:defRPr sz="800"/>
            </a:lvl4pPr>
            <a:lvl5pPr marL="0" indent="0" algn="l">
              <a:lnSpc>
                <a:spcPct val="100000"/>
              </a:lnSpc>
              <a:spcBef>
                <a:spcPts val="0"/>
              </a:spcBef>
              <a:buNone/>
              <a:defRPr sz="800"/>
            </a:lvl5pPr>
          </a:lstStyle>
          <a:p>
            <a:pPr lvl="0"/>
            <a:r>
              <a:rPr lang="en-US"/>
              <a:t>Source line</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76091498"/>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Titel_black">
    <p:spTree>
      <p:nvGrpSpPr>
        <p:cNvPr id="1" name=""/>
        <p:cNvGrpSpPr/>
        <p:nvPr/>
      </p:nvGrpSpPr>
      <p:grpSpPr>
        <a:xfrm>
          <a:off x="0" y="0"/>
          <a:ext cx="0" cy="0"/>
          <a:chOff x="0" y="0"/>
          <a:chExt cx="0" cy="0"/>
        </a:xfrm>
      </p:grpSpPr>
      <p:pic>
        <p:nvPicPr>
          <p:cNvPr id="5" name="Grafik 4">
            <a:extLst>
              <a:ext uri="{FF2B5EF4-FFF2-40B4-BE49-F238E27FC236}">
                <a16:creationId xmlns:a16="http://schemas.microsoft.com/office/drawing/2014/main" id="{23D33890-587F-441A-83B7-39E8C3B2997E}"/>
              </a:ext>
            </a:extLst>
          </p:cNvPr>
          <p:cNvPicPr>
            <a:picLocks noChangeAspect="1"/>
          </p:cNvPicPr>
          <p:nvPr userDrawn="1"/>
        </p:nvPicPr>
        <p:blipFill>
          <a:blip r:embed="rId5"/>
          <a:stretch>
            <a:fillRect/>
          </a:stretch>
        </p:blipFill>
        <p:spPr>
          <a:xfrm>
            <a:off x="0" y="0"/>
            <a:ext cx="12192000" cy="6858000"/>
          </a:xfrm>
          <a:prstGeom prst="rect">
            <a:avLst/>
          </a:prstGeom>
        </p:spPr>
      </p:pic>
      <p:pic>
        <p:nvPicPr>
          <p:cNvPr id="9" name="Grafik 75">
            <a:extLst>
              <a:ext uri="{FF2B5EF4-FFF2-40B4-BE49-F238E27FC236}">
                <a16:creationId xmlns:a16="http://schemas.microsoft.com/office/drawing/2014/main" id="{8283F4F8-79AC-483D-BCAA-D9CBD0082054}"/>
              </a:ext>
            </a:extLst>
          </p:cNvPr>
          <p:cNvPicPr>
            <a:picLocks noChangeAspect="1"/>
          </p:cNvPicPr>
          <p:nvPr userDrawn="1">
            <p:custDataLst>
              <p:tags r:id="rId1"/>
            </p:custDataLst>
          </p:nvPr>
        </p:nvPicPr>
        <p:blipFill>
          <a:blip r:embed="rId6" cstate="print">
            <a:extLst>
              <a:ext uri="{28A0092B-C50C-407E-A947-70E740481C1C}">
                <a14:useLocalDpi xmlns:a14="http://schemas.microsoft.com/office/drawing/2010/main"/>
              </a:ext>
            </a:extLst>
          </a:blip>
          <a:stretch>
            <a:fillRect/>
          </a:stretch>
        </p:blipFill>
        <p:spPr bwMode="gray">
          <a:xfrm>
            <a:off x="10992254" y="260560"/>
            <a:ext cx="770129" cy="768000"/>
          </a:xfrm>
          <a:prstGeom prst="rect">
            <a:avLst/>
          </a:prstGeom>
        </p:spPr>
      </p:pic>
      <p:sp>
        <p:nvSpPr>
          <p:cNvPr id="16" name="Freihandform: Form 15">
            <a:extLst>
              <a:ext uri="{FF2B5EF4-FFF2-40B4-BE49-F238E27FC236}">
                <a16:creationId xmlns:a16="http://schemas.microsoft.com/office/drawing/2014/main" id="{2E7F8B2E-E64C-44E5-8996-B56DF6CF7A06}"/>
              </a:ext>
            </a:extLst>
          </p:cNvPr>
          <p:cNvSpPr>
            <a:spLocks/>
          </p:cNvSpPr>
          <p:nvPr userDrawn="1">
            <p:custDataLst>
              <p:tags r:id="rId2"/>
            </p:custDataLst>
          </p:nvPr>
        </p:nvSpPr>
        <p:spPr bwMode="gray">
          <a:xfrm flipH="1">
            <a:off x="143175" y="0"/>
            <a:ext cx="4159815" cy="1118227"/>
          </a:xfrm>
          <a:custGeom>
            <a:avLst/>
            <a:gdLst>
              <a:gd name="connsiteX0" fmla="*/ 592435 w 3119861"/>
              <a:gd name="connsiteY0" fmla="*/ 0 h 838670"/>
              <a:gd name="connsiteX1" fmla="*/ 0 w 3119861"/>
              <a:gd name="connsiteY1" fmla="*/ 0 h 838670"/>
              <a:gd name="connsiteX2" fmla="*/ 710185 w 3119861"/>
              <a:gd name="connsiteY2" fmla="*/ 160873 h 838670"/>
              <a:gd name="connsiteX3" fmla="*/ 3119861 w 3119861"/>
              <a:gd name="connsiteY3" fmla="*/ 838670 h 838670"/>
              <a:gd name="connsiteX4" fmla="*/ 643233 w 3119861"/>
              <a:gd name="connsiteY4" fmla="*/ 13272 h 8386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19861" h="838670">
                <a:moveTo>
                  <a:pt x="592435" y="0"/>
                </a:moveTo>
                <a:lnTo>
                  <a:pt x="0" y="0"/>
                </a:lnTo>
                <a:lnTo>
                  <a:pt x="710185" y="160873"/>
                </a:lnTo>
                <a:cubicBezTo>
                  <a:pt x="1471887" y="343574"/>
                  <a:pt x="2275112" y="566993"/>
                  <a:pt x="3119861" y="838670"/>
                </a:cubicBezTo>
                <a:cubicBezTo>
                  <a:pt x="3119861" y="838670"/>
                  <a:pt x="2156329" y="429962"/>
                  <a:pt x="643233" y="13272"/>
                </a:cubicBezTo>
                <a:close/>
              </a:path>
            </a:pathLst>
          </a:custGeom>
          <a:solidFill>
            <a:schemeClr val="bg1">
              <a:alpha val="50000"/>
            </a:schemeClr>
          </a:solidFill>
          <a:ln>
            <a:noFill/>
          </a:ln>
        </p:spPr>
        <p:txBody>
          <a:bodyPr vert="horz" wrap="square" lIns="121920" tIns="60960" rIns="121920" bIns="60960" numCol="1" anchor="t" anchorCtr="0" compatLnSpc="1">
            <a:prstTxWarp prst="textNoShape">
              <a:avLst/>
            </a:prstTxWarp>
            <a:noAutofit/>
          </a:bodyPr>
          <a:lstStyle/>
          <a:p>
            <a:endParaRPr lang="de-DE" sz="2400"/>
          </a:p>
        </p:txBody>
      </p:sp>
      <p:sp>
        <p:nvSpPr>
          <p:cNvPr id="12" name="Freihandform: Form 11">
            <a:extLst>
              <a:ext uri="{FF2B5EF4-FFF2-40B4-BE49-F238E27FC236}">
                <a16:creationId xmlns:a16="http://schemas.microsoft.com/office/drawing/2014/main" id="{AD115730-E7BF-4F82-A6DB-419A8A707B47}"/>
              </a:ext>
            </a:extLst>
          </p:cNvPr>
          <p:cNvSpPr>
            <a:spLocks/>
          </p:cNvSpPr>
          <p:nvPr userDrawn="1">
            <p:custDataLst>
              <p:tags r:id="rId3"/>
            </p:custDataLst>
          </p:nvPr>
        </p:nvSpPr>
        <p:spPr bwMode="gray">
          <a:xfrm flipH="1">
            <a:off x="0" y="5071536"/>
            <a:ext cx="8568411" cy="1786464"/>
          </a:xfrm>
          <a:custGeom>
            <a:avLst/>
            <a:gdLst>
              <a:gd name="connsiteX0" fmla="*/ 6426308 w 6426308"/>
              <a:gd name="connsiteY0" fmla="*/ 0 h 1339848"/>
              <a:gd name="connsiteX1" fmla="*/ 6137924 w 6426308"/>
              <a:gd name="connsiteY1" fmla="*/ 82759 h 1339848"/>
              <a:gd name="connsiteX2" fmla="*/ 0 w 6426308"/>
              <a:gd name="connsiteY2" fmla="*/ 1339848 h 1339848"/>
              <a:gd name="connsiteX3" fmla="*/ 2375056 w 6426308"/>
              <a:gd name="connsiteY3" fmla="*/ 1339848 h 1339848"/>
              <a:gd name="connsiteX4" fmla="*/ 5737115 w 6426308"/>
              <a:gd name="connsiteY4" fmla="*/ 675603 h 1339848"/>
              <a:gd name="connsiteX5" fmla="*/ 6426308 w 6426308"/>
              <a:gd name="connsiteY5" fmla="*/ 504340 h 1339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426308" h="1339848">
                <a:moveTo>
                  <a:pt x="6426308" y="0"/>
                </a:moveTo>
                <a:lnTo>
                  <a:pt x="6137924" y="82759"/>
                </a:lnTo>
                <a:cubicBezTo>
                  <a:pt x="4358139" y="573163"/>
                  <a:pt x="2317019" y="1012801"/>
                  <a:pt x="0" y="1339848"/>
                </a:cubicBezTo>
                <a:lnTo>
                  <a:pt x="2375056" y="1339848"/>
                </a:lnTo>
                <a:cubicBezTo>
                  <a:pt x="3455439" y="1168580"/>
                  <a:pt x="4584651" y="951237"/>
                  <a:pt x="5737115" y="675603"/>
                </a:cubicBezTo>
                <a:lnTo>
                  <a:pt x="6426308" y="504340"/>
                </a:lnTo>
                <a:close/>
              </a:path>
            </a:pathLst>
          </a:custGeom>
          <a:solidFill>
            <a:schemeClr val="tx2">
              <a:alpha val="50000"/>
            </a:schemeClr>
          </a:solidFill>
          <a:ln>
            <a:noFill/>
          </a:ln>
        </p:spPr>
        <p:txBody>
          <a:bodyPr vert="horz" wrap="square" lIns="121920" tIns="60960" rIns="121920" bIns="60960" numCol="1" anchor="t" anchorCtr="0" compatLnSpc="1">
            <a:prstTxWarp prst="textNoShape">
              <a:avLst/>
            </a:prstTxWarp>
            <a:noAutofit/>
          </a:bodyPr>
          <a:lstStyle/>
          <a:p>
            <a:endParaRPr lang="de-DE" sz="2400"/>
          </a:p>
        </p:txBody>
      </p:sp>
      <p:sp>
        <p:nvSpPr>
          <p:cNvPr id="2" name="Titel 1">
            <a:extLst>
              <a:ext uri="{FF2B5EF4-FFF2-40B4-BE49-F238E27FC236}">
                <a16:creationId xmlns:a16="http://schemas.microsoft.com/office/drawing/2014/main" id="{B0D4BF4A-E536-4AD3-AC30-4FB56F360358}"/>
              </a:ext>
            </a:extLst>
          </p:cNvPr>
          <p:cNvSpPr>
            <a:spLocks noGrp="1"/>
          </p:cNvSpPr>
          <p:nvPr>
            <p:ph type="title" hasCustomPrompt="1"/>
          </p:nvPr>
        </p:nvSpPr>
        <p:spPr>
          <a:xfrm>
            <a:off x="1295333" y="2036933"/>
            <a:ext cx="4320000" cy="912000"/>
          </a:xfr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lvl1pPr algn="r">
              <a:spcBef>
                <a:spcPts val="400"/>
              </a:spcBef>
              <a:defRPr lang="de-DE" sz="7600" b="1" dirty="0">
                <a:solidFill>
                  <a:schemeClr val="tx2"/>
                </a:solidFill>
                <a:ea typeface="+mn-ea"/>
                <a:cs typeface="Arial" pitchFamily="34" charset="0"/>
              </a:defRPr>
            </a:lvl1pPr>
          </a:lstStyle>
          <a:p>
            <a:pPr>
              <a:spcBef>
                <a:spcPts val="300"/>
              </a:spcBef>
            </a:pPr>
            <a:r>
              <a:rPr lang="de-DE" sz="7600" b="1">
                <a:solidFill>
                  <a:schemeClr val="tx2"/>
                </a:solidFill>
                <a:latin typeface="Arial" pitchFamily="34" charset="0"/>
                <a:cs typeface="Arial" pitchFamily="34" charset="0"/>
              </a:rPr>
              <a:t>#</a:t>
            </a:r>
            <a:r>
              <a:rPr lang="de-DE" sz="7600" b="1" err="1">
                <a:solidFill>
                  <a:schemeClr val="tx2"/>
                </a:solidFill>
                <a:latin typeface="Arial" pitchFamily="34" charset="0"/>
                <a:cs typeface="Arial" pitchFamily="34" charset="0"/>
              </a:rPr>
              <a:t>bAhead</a:t>
            </a:r>
            <a:r>
              <a:rPr lang="de-DE" sz="7600" b="1">
                <a:solidFill>
                  <a:schemeClr val="tx2"/>
                </a:solidFill>
                <a:latin typeface="Arial" pitchFamily="34" charset="0"/>
                <a:cs typeface="Arial" pitchFamily="34" charset="0"/>
              </a:rPr>
              <a:t>!</a:t>
            </a:r>
            <a:endParaRPr lang="en-US" sz="7600" b="1">
              <a:solidFill>
                <a:schemeClr val="bg1"/>
              </a:solidFill>
              <a:latin typeface="Arial" pitchFamily="34" charset="0"/>
              <a:cs typeface="Arial" pitchFamily="34" charset="0"/>
            </a:endParaRPr>
          </a:p>
        </p:txBody>
      </p:sp>
      <p:sp>
        <p:nvSpPr>
          <p:cNvPr id="17" name="Textplatzhalter 5">
            <a:extLst>
              <a:ext uri="{FF2B5EF4-FFF2-40B4-BE49-F238E27FC236}">
                <a16:creationId xmlns:a16="http://schemas.microsoft.com/office/drawing/2014/main" id="{74A3AA6F-345A-4C28-BB14-17699B435352}"/>
              </a:ext>
            </a:extLst>
          </p:cNvPr>
          <p:cNvSpPr>
            <a:spLocks noGrp="1"/>
          </p:cNvSpPr>
          <p:nvPr>
            <p:ph type="body" sz="quarter" idx="10" hasCustomPrompt="1"/>
          </p:nvPr>
        </p:nvSpPr>
        <p:spPr>
          <a:xfrm>
            <a:off x="1295335" y="3044947"/>
            <a:ext cx="4320000" cy="672000"/>
          </a:xfr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lvl1pPr>
              <a:spcBef>
                <a:spcPts val="400"/>
              </a:spcBef>
              <a:defRPr lang="de-DE" sz="2400" dirty="0" smtClean="0">
                <a:solidFill>
                  <a:schemeClr val="bg1"/>
                </a:solidFill>
              </a:defRPr>
            </a:lvl1pPr>
            <a:lvl2pPr>
              <a:defRPr lang="de-DE" sz="2400" dirty="0" smtClean="0">
                <a:solidFill>
                  <a:schemeClr val="lt1"/>
                </a:solidFill>
                <a:latin typeface="+mn-lt"/>
                <a:cs typeface="+mn-cs"/>
              </a:defRPr>
            </a:lvl2pPr>
            <a:lvl3pPr>
              <a:defRPr lang="de-DE" sz="2400" dirty="0" smtClean="0">
                <a:solidFill>
                  <a:schemeClr val="lt1"/>
                </a:solidFill>
                <a:latin typeface="+mn-lt"/>
                <a:cs typeface="+mn-cs"/>
              </a:defRPr>
            </a:lvl3pPr>
            <a:lvl4pPr>
              <a:defRPr lang="de-DE" sz="2400" dirty="0" smtClean="0">
                <a:solidFill>
                  <a:schemeClr val="lt1"/>
                </a:solidFill>
                <a:latin typeface="+mn-lt"/>
                <a:cs typeface="+mn-cs"/>
              </a:defRPr>
            </a:lvl4pPr>
            <a:lvl5pPr>
              <a:defRPr lang="de-DE" sz="2400" dirty="0">
                <a:solidFill>
                  <a:schemeClr val="lt1"/>
                </a:solidFill>
                <a:latin typeface="+mn-lt"/>
                <a:cs typeface="+mn-cs"/>
              </a:defRPr>
            </a:lvl5pPr>
          </a:lstStyle>
          <a:p>
            <a:pPr>
              <a:spcBef>
                <a:spcPts val="300"/>
              </a:spcBef>
            </a:pPr>
            <a:r>
              <a:rPr lang="en-US">
                <a:solidFill>
                  <a:schemeClr val="bg1"/>
                </a:solidFill>
                <a:latin typeface="Arial" pitchFamily="34" charset="0"/>
                <a:cs typeface="Arial" pitchFamily="34" charset="0"/>
              </a:rPr>
              <a:t>Integrated Insights – </a:t>
            </a:r>
            <a:br>
              <a:rPr lang="en-US">
                <a:solidFill>
                  <a:schemeClr val="bg1"/>
                </a:solidFill>
                <a:latin typeface="Arial" pitchFamily="34" charset="0"/>
                <a:cs typeface="Arial" pitchFamily="34" charset="0"/>
              </a:rPr>
            </a:br>
            <a:r>
              <a:rPr lang="en-US">
                <a:solidFill>
                  <a:schemeClr val="bg1"/>
                </a:solidFill>
                <a:latin typeface="Arial" pitchFamily="34" charset="0"/>
                <a:cs typeface="Arial" pitchFamily="34" charset="0"/>
              </a:rPr>
              <a:t>with tech-enabled data analytics</a:t>
            </a:r>
          </a:p>
        </p:txBody>
      </p:sp>
    </p:spTree>
    <p:extLst>
      <p:ext uri="{BB962C8B-B14F-4D97-AF65-F5344CB8AC3E}">
        <p14:creationId xmlns:p14="http://schemas.microsoft.com/office/powerpoint/2010/main" val="3691949447"/>
      </p:ext>
    </p:extLst>
  </p:cSld>
  <p:clrMapOvr>
    <a:masterClrMapping/>
  </p:clrMapOvr>
</p:sldLayout>
</file>

<file path=ppt/slideLayouts/slideLayout450.xml><?xml version="1.0" encoding="utf-8"?>
<p:sldLayout xmlns:a="http://schemas.openxmlformats.org/drawingml/2006/main" xmlns:r="http://schemas.openxmlformats.org/officeDocument/2006/relationships" xmlns:p="http://schemas.openxmlformats.org/presentationml/2006/main" preserve="1">
  <p:cSld name="One content">
    <p:spTree>
      <p:nvGrpSpPr>
        <p:cNvPr id="1" name=""/>
        <p:cNvGrpSpPr/>
        <p:nvPr/>
      </p:nvGrpSpPr>
      <p:grpSpPr>
        <a:xfrm>
          <a:off x="0" y="0"/>
          <a:ext cx="0" cy="0"/>
          <a:chOff x="0" y="0"/>
          <a:chExt cx="0" cy="0"/>
        </a:xfrm>
      </p:grpSpPr>
      <p:sp>
        <p:nvSpPr>
          <p:cNvPr id="21" name="Date Placeholder 20"/>
          <p:cNvSpPr>
            <a:spLocks noGrp="1"/>
          </p:cNvSpPr>
          <p:nvPr>
            <p:ph type="dt" sz="half" idx="14"/>
          </p:nvPr>
        </p:nvSpPr>
        <p:spPr/>
        <p:txBody>
          <a:bodyPr/>
          <a:lstStyle/>
          <a:p>
            <a:endParaRPr lang="en-US"/>
          </a:p>
        </p:txBody>
      </p:sp>
      <p:sp>
        <p:nvSpPr>
          <p:cNvPr id="22" name="Footer Placeholder 21"/>
          <p:cNvSpPr>
            <a:spLocks noGrp="1"/>
          </p:cNvSpPr>
          <p:nvPr>
            <p:ph type="ftr" sz="quarter" idx="15"/>
          </p:nvPr>
        </p:nvSpPr>
        <p:spPr/>
        <p:txBody>
          <a:bodyPr/>
          <a:lstStyle/>
          <a:p>
            <a:endParaRPr lang="en-US"/>
          </a:p>
        </p:txBody>
      </p:sp>
      <p:sp>
        <p:nvSpPr>
          <p:cNvPr id="23" name="Slide Number Placeholder 22"/>
          <p:cNvSpPr>
            <a:spLocks noGrp="1"/>
          </p:cNvSpPr>
          <p:nvPr>
            <p:ph type="sldNum" sz="quarter" idx="16"/>
          </p:nvPr>
        </p:nvSpPr>
        <p:spPr/>
        <p:txBody>
          <a:bodyPr/>
          <a:lstStyle/>
          <a:p>
            <a:fld id="{5F3E29E4-0979-4FCA-B4C5-5FC6044C982A}" type="slidenum">
              <a:rPr lang="en-US" smtClean="0"/>
              <a:t>‹#›</a:t>
            </a:fld>
            <a:endParaRPr lang="en-US"/>
          </a:p>
        </p:txBody>
      </p:sp>
      <p:sp>
        <p:nvSpPr>
          <p:cNvPr id="2" name="Title 1"/>
          <p:cNvSpPr>
            <a:spLocks noGrp="1"/>
          </p:cNvSpPr>
          <p:nvPr>
            <p:ph type="title" hasCustomPrompt="1"/>
          </p:nvPr>
        </p:nvSpPr>
        <p:spPr/>
        <p:txBody>
          <a:bodyPr/>
          <a:lstStyle>
            <a:lvl1pPr>
              <a:defRPr/>
            </a:lvl1pPr>
          </a:lstStyle>
          <a:p>
            <a:r>
              <a:rPr lang="en-US"/>
              <a:t>Click to add slide title</a:t>
            </a:r>
          </a:p>
        </p:txBody>
      </p:sp>
      <p:sp>
        <p:nvSpPr>
          <p:cNvPr id="7" name="Subtitle 2"/>
          <p:cNvSpPr>
            <a:spLocks noGrp="1"/>
          </p:cNvSpPr>
          <p:nvPr>
            <p:ph type="subTitle" idx="13" hasCustomPrompt="1"/>
          </p:nvPr>
        </p:nvSpPr>
        <p:spPr>
          <a:xfrm>
            <a:off x="1075061" y="964671"/>
            <a:ext cx="7910158" cy="490042"/>
          </a:xfrm>
        </p:spPr>
        <p:txBody>
          <a:bodyPr wrap="none"/>
          <a:lstStyle>
            <a:lvl1pPr marL="0" indent="0" algn="l">
              <a:spcBef>
                <a:spcPts val="0"/>
              </a:spcBef>
              <a:buNone/>
              <a:defRPr sz="2400" baseline="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sp>
        <p:nvSpPr>
          <p:cNvPr id="3" name="Content Placeholder 2"/>
          <p:cNvSpPr>
            <a:spLocks noGrp="1"/>
          </p:cNvSpPr>
          <p:nvPr>
            <p:ph idx="1" hasCustomPrompt="1"/>
          </p:nvPr>
        </p:nvSpPr>
        <p:spPr/>
        <p:txBody>
          <a:bodyPr/>
          <a:lstStyle>
            <a:lvl1pPr>
              <a:defRPr baseline="0"/>
            </a:lvl1pPr>
          </a:lstStyle>
          <a:p>
            <a:pPr lvl="0"/>
            <a:r>
              <a:rPr lang="en-US"/>
              <a:t>Click to add text or content</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17" hasCustomPrompt="1"/>
          </p:nvPr>
        </p:nvSpPr>
        <p:spPr>
          <a:xfrm>
            <a:off x="1075063" y="6307665"/>
            <a:ext cx="8162717" cy="133200"/>
          </a:xfrm>
        </p:spPr>
        <p:txBody>
          <a:bodyPr lIns="0" tIns="0" rIns="0" bIns="0" anchor="b" anchorCtr="0"/>
          <a:lstStyle>
            <a:lvl1pPr marL="0" indent="0" algn="l">
              <a:lnSpc>
                <a:spcPct val="100000"/>
              </a:lnSpc>
              <a:spcBef>
                <a:spcPts val="0"/>
              </a:spcBef>
              <a:buNone/>
              <a:defRPr sz="800" baseline="0"/>
            </a:lvl1pPr>
            <a:lvl2pPr marL="0" indent="0" algn="l">
              <a:lnSpc>
                <a:spcPct val="100000"/>
              </a:lnSpc>
              <a:spcBef>
                <a:spcPts val="0"/>
              </a:spcBef>
              <a:buNone/>
              <a:defRPr sz="800"/>
            </a:lvl2pPr>
            <a:lvl3pPr marL="0" indent="0" algn="l">
              <a:lnSpc>
                <a:spcPct val="100000"/>
              </a:lnSpc>
              <a:spcBef>
                <a:spcPts val="0"/>
              </a:spcBef>
              <a:buNone/>
              <a:defRPr sz="800"/>
            </a:lvl3pPr>
            <a:lvl4pPr marL="0" algn="l">
              <a:lnSpc>
                <a:spcPct val="100000"/>
              </a:lnSpc>
              <a:spcBef>
                <a:spcPts val="0"/>
              </a:spcBef>
              <a:buNone/>
              <a:defRPr sz="800"/>
            </a:lvl4pPr>
            <a:lvl5pPr marL="0" indent="0" algn="l">
              <a:lnSpc>
                <a:spcPct val="100000"/>
              </a:lnSpc>
              <a:spcBef>
                <a:spcPts val="0"/>
              </a:spcBef>
              <a:buNone/>
              <a:defRPr sz="800"/>
            </a:lvl5pPr>
          </a:lstStyle>
          <a:p>
            <a:pPr lvl="0"/>
            <a:r>
              <a:rPr lang="en-US"/>
              <a:t>Source line</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02598649"/>
      </p:ext>
    </p:extLst>
  </p:cSld>
  <p:clrMapOvr>
    <a:masterClrMapping/>
  </p:clrMapOvr>
</p:sldLayout>
</file>

<file path=ppt/slideLayouts/slideLayout451.xml><?xml version="1.0" encoding="utf-8"?>
<p:sldLayout xmlns:a="http://schemas.openxmlformats.org/drawingml/2006/main" xmlns:r="http://schemas.openxmlformats.org/officeDocument/2006/relationships" xmlns:p="http://schemas.openxmlformats.org/presentationml/2006/main" preserve="1">
  <p:cSld name="Content and picture">
    <p:spTree>
      <p:nvGrpSpPr>
        <p:cNvPr id="1" name=""/>
        <p:cNvGrpSpPr/>
        <p:nvPr/>
      </p:nvGrpSpPr>
      <p:grpSpPr>
        <a:xfrm>
          <a:off x="0" y="0"/>
          <a:ext cx="0" cy="0"/>
          <a:chOff x="0" y="0"/>
          <a:chExt cx="0" cy="0"/>
        </a:xfrm>
      </p:grpSpPr>
      <p:sp>
        <p:nvSpPr>
          <p:cNvPr id="21" name="Date Placeholder 20"/>
          <p:cNvSpPr>
            <a:spLocks noGrp="1"/>
          </p:cNvSpPr>
          <p:nvPr>
            <p:ph type="dt" sz="half" idx="14"/>
          </p:nvPr>
        </p:nvSpPr>
        <p:spPr/>
        <p:txBody>
          <a:bodyPr/>
          <a:lstStyle/>
          <a:p>
            <a:endParaRPr lang="en-US"/>
          </a:p>
        </p:txBody>
      </p:sp>
      <p:sp>
        <p:nvSpPr>
          <p:cNvPr id="22" name="Footer Placeholder 21"/>
          <p:cNvSpPr>
            <a:spLocks noGrp="1"/>
          </p:cNvSpPr>
          <p:nvPr>
            <p:ph type="ftr" sz="quarter" idx="15"/>
          </p:nvPr>
        </p:nvSpPr>
        <p:spPr/>
        <p:txBody>
          <a:bodyPr/>
          <a:lstStyle/>
          <a:p>
            <a:endParaRPr lang="en-US"/>
          </a:p>
        </p:txBody>
      </p:sp>
      <p:sp>
        <p:nvSpPr>
          <p:cNvPr id="23" name="Slide Number Placeholder 22"/>
          <p:cNvSpPr>
            <a:spLocks noGrp="1"/>
          </p:cNvSpPr>
          <p:nvPr>
            <p:ph type="sldNum" sz="quarter" idx="16"/>
          </p:nvPr>
        </p:nvSpPr>
        <p:spPr/>
        <p:txBody>
          <a:bodyPr/>
          <a:lstStyle/>
          <a:p>
            <a:fld id="{5F3E29E4-0979-4FCA-B4C5-5FC6044C982A}" type="slidenum">
              <a:rPr lang="en-US" smtClean="0"/>
              <a:t>‹#›</a:t>
            </a:fld>
            <a:endParaRPr lang="en-US"/>
          </a:p>
        </p:txBody>
      </p:sp>
      <p:sp>
        <p:nvSpPr>
          <p:cNvPr id="2" name="Title 1"/>
          <p:cNvSpPr>
            <a:spLocks noGrp="1"/>
          </p:cNvSpPr>
          <p:nvPr>
            <p:ph type="title" hasCustomPrompt="1"/>
          </p:nvPr>
        </p:nvSpPr>
        <p:spPr/>
        <p:txBody>
          <a:bodyPr/>
          <a:lstStyle>
            <a:lvl1pPr>
              <a:defRPr/>
            </a:lvl1pPr>
          </a:lstStyle>
          <a:p>
            <a:r>
              <a:rPr lang="en-US"/>
              <a:t>Click to add slide title</a:t>
            </a:r>
          </a:p>
        </p:txBody>
      </p:sp>
      <p:sp>
        <p:nvSpPr>
          <p:cNvPr id="7" name="Subtitle 2"/>
          <p:cNvSpPr>
            <a:spLocks noGrp="1"/>
          </p:cNvSpPr>
          <p:nvPr>
            <p:ph type="subTitle" idx="13" hasCustomPrompt="1"/>
          </p:nvPr>
        </p:nvSpPr>
        <p:spPr>
          <a:xfrm>
            <a:off x="1075061" y="964671"/>
            <a:ext cx="7910158" cy="490042"/>
          </a:xfrm>
        </p:spPr>
        <p:txBody>
          <a:bodyPr wrap="none"/>
          <a:lstStyle>
            <a:lvl1pPr marL="0" indent="0" algn="l">
              <a:spcBef>
                <a:spcPts val="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sp>
        <p:nvSpPr>
          <p:cNvPr id="3" name="Content Placeholder 2"/>
          <p:cNvSpPr>
            <a:spLocks noGrp="1"/>
          </p:cNvSpPr>
          <p:nvPr>
            <p:ph idx="1" hasCustomPrompt="1"/>
          </p:nvPr>
        </p:nvSpPr>
        <p:spPr>
          <a:xfrm>
            <a:off x="1075062" y="1629618"/>
            <a:ext cx="5220000" cy="4139357"/>
          </a:xfrm>
        </p:spPr>
        <p:txBody>
          <a:bodyPr/>
          <a:lstStyle>
            <a:lvl1pPr>
              <a:defRPr/>
            </a:lvl1pPr>
          </a:lstStyle>
          <a:p>
            <a:pPr lvl="0"/>
            <a:r>
              <a:rPr lang="en-US"/>
              <a:t>Click to add text or content</a:t>
            </a:r>
          </a:p>
          <a:p>
            <a:pPr lvl="1"/>
            <a:r>
              <a:rPr lang="en-US"/>
              <a:t>Second level</a:t>
            </a:r>
          </a:p>
          <a:p>
            <a:pPr lvl="2"/>
            <a:r>
              <a:rPr lang="en-US"/>
              <a:t>Third level</a:t>
            </a:r>
          </a:p>
          <a:p>
            <a:pPr lvl="3"/>
            <a:r>
              <a:rPr lang="en-US"/>
              <a:t>Fourth level</a:t>
            </a:r>
          </a:p>
          <a:p>
            <a:pPr lvl="4"/>
            <a:r>
              <a:rPr lang="en-US"/>
              <a:t>Fifth level</a:t>
            </a:r>
          </a:p>
        </p:txBody>
      </p:sp>
      <p:sp>
        <p:nvSpPr>
          <p:cNvPr id="5" name="Picture Placeholder 4"/>
          <p:cNvSpPr>
            <a:spLocks noGrp="1"/>
          </p:cNvSpPr>
          <p:nvPr>
            <p:ph type="pic" sz="quarter" idx="17" hasCustomPrompt="1"/>
          </p:nvPr>
        </p:nvSpPr>
        <p:spPr>
          <a:xfrm>
            <a:off x="6600525" y="1637783"/>
            <a:ext cx="5220000" cy="4599506"/>
          </a:xfrm>
          <a:solidFill>
            <a:srgbClr val="D9DADB"/>
          </a:solidFill>
        </p:spPr>
        <p:txBody>
          <a:bodyPr/>
          <a:lstStyle>
            <a:lvl1pPr marL="0" indent="0">
              <a:buNone/>
              <a:defRPr/>
            </a:lvl1pPr>
          </a:lstStyle>
          <a:p>
            <a:r>
              <a:rPr lang="en-US"/>
              <a:t>Insert picture</a:t>
            </a:r>
          </a:p>
        </p:txBody>
      </p:sp>
      <p:sp>
        <p:nvSpPr>
          <p:cNvPr id="10" name="Text Placeholder 4"/>
          <p:cNvSpPr>
            <a:spLocks noGrp="1"/>
          </p:cNvSpPr>
          <p:nvPr>
            <p:ph type="body" sz="quarter" idx="18" hasCustomPrompt="1"/>
          </p:nvPr>
        </p:nvSpPr>
        <p:spPr>
          <a:xfrm>
            <a:off x="1075063" y="6307665"/>
            <a:ext cx="8162717" cy="133200"/>
          </a:xfrm>
        </p:spPr>
        <p:txBody>
          <a:bodyPr lIns="0" tIns="0" rIns="0" bIns="0" anchor="b" anchorCtr="0"/>
          <a:lstStyle>
            <a:lvl1pPr marL="0" indent="0" algn="l">
              <a:lnSpc>
                <a:spcPct val="100000"/>
              </a:lnSpc>
              <a:spcBef>
                <a:spcPts val="0"/>
              </a:spcBef>
              <a:buNone/>
              <a:defRPr sz="800" baseline="0"/>
            </a:lvl1pPr>
            <a:lvl2pPr marL="0" indent="0" algn="l">
              <a:lnSpc>
                <a:spcPct val="100000"/>
              </a:lnSpc>
              <a:spcBef>
                <a:spcPts val="0"/>
              </a:spcBef>
              <a:buNone/>
              <a:defRPr sz="800"/>
            </a:lvl2pPr>
            <a:lvl3pPr marL="0" indent="0" algn="l">
              <a:lnSpc>
                <a:spcPct val="100000"/>
              </a:lnSpc>
              <a:spcBef>
                <a:spcPts val="0"/>
              </a:spcBef>
              <a:buNone/>
              <a:defRPr sz="800"/>
            </a:lvl3pPr>
            <a:lvl4pPr marL="0" algn="l">
              <a:lnSpc>
                <a:spcPct val="100000"/>
              </a:lnSpc>
              <a:spcBef>
                <a:spcPts val="0"/>
              </a:spcBef>
              <a:buNone/>
              <a:defRPr sz="800"/>
            </a:lvl4pPr>
            <a:lvl5pPr marL="0" indent="0" algn="l">
              <a:lnSpc>
                <a:spcPct val="100000"/>
              </a:lnSpc>
              <a:spcBef>
                <a:spcPts val="0"/>
              </a:spcBef>
              <a:buNone/>
              <a:defRPr sz="800"/>
            </a:lvl5pPr>
          </a:lstStyle>
          <a:p>
            <a:pPr lvl="0"/>
            <a:r>
              <a:rPr lang="en-US"/>
              <a:t>Source line</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36409122"/>
      </p:ext>
    </p:extLst>
  </p:cSld>
  <p:clrMapOvr>
    <a:masterClrMapping/>
  </p:clrMapOvr>
</p:sldLayout>
</file>

<file path=ppt/slideLayouts/slideLayout452.xml><?xml version="1.0" encoding="utf-8"?>
<p:sldLayout xmlns:a="http://schemas.openxmlformats.org/drawingml/2006/main" xmlns:r="http://schemas.openxmlformats.org/officeDocument/2006/relationships" xmlns:p="http://schemas.openxmlformats.org/presentationml/2006/main" preserve="1">
  <p:cSld name="Content with full picture">
    <p:spTree>
      <p:nvGrpSpPr>
        <p:cNvPr id="1" name=""/>
        <p:cNvGrpSpPr/>
        <p:nvPr/>
      </p:nvGrpSpPr>
      <p:grpSpPr>
        <a:xfrm>
          <a:off x="0" y="0"/>
          <a:ext cx="0" cy="0"/>
          <a:chOff x="0" y="0"/>
          <a:chExt cx="0" cy="0"/>
        </a:xfrm>
      </p:grpSpPr>
      <p:sp>
        <p:nvSpPr>
          <p:cNvPr id="12" name="Picture Placeholder 11"/>
          <p:cNvSpPr>
            <a:spLocks noGrp="1"/>
          </p:cNvSpPr>
          <p:nvPr>
            <p:ph type="pic" sz="quarter" idx="17" hasCustomPrompt="1"/>
          </p:nvPr>
        </p:nvSpPr>
        <p:spPr>
          <a:xfrm>
            <a:off x="0" y="0"/>
            <a:ext cx="12193200" cy="6858000"/>
          </a:xfrm>
          <a:prstGeom prst="rect">
            <a:avLst/>
          </a:prstGeom>
          <a:solidFill>
            <a:srgbClr val="D9DADB"/>
          </a:solidFill>
        </p:spPr>
        <p:txBody>
          <a:bodyPr wrap="square">
            <a:noAutofit/>
          </a:bodyPr>
          <a:lstStyle>
            <a:lvl1pPr marL="0" indent="0">
              <a:buNone/>
              <a:defRPr/>
            </a:lvl1pPr>
          </a:lstStyle>
          <a:p>
            <a:r>
              <a:rPr lang="en-US"/>
              <a:t>Insert picture</a:t>
            </a:r>
          </a:p>
        </p:txBody>
      </p:sp>
      <p:sp>
        <p:nvSpPr>
          <p:cNvPr id="9" name="copyright"/>
          <p:cNvSpPr txBox="1"/>
          <p:nvPr/>
        </p:nvSpPr>
        <p:spPr>
          <a:xfrm>
            <a:off x="10672209" y="6237288"/>
            <a:ext cx="500617" cy="358173"/>
          </a:xfrm>
          <a:prstGeom prst="rect">
            <a:avLst/>
          </a:prstGeom>
          <a:noFill/>
        </p:spPr>
        <p:txBody>
          <a:bodyPr wrap="none" lIns="0" tIns="0" rIns="0" bIns="0" rtlCol="0" anchor="b" anchorCtr="0">
            <a:noAutofit/>
          </a:bodyPr>
          <a:lstStyle/>
          <a:p>
            <a:pPr marL="0" indent="0" algn="r">
              <a:lnSpc>
                <a:spcPct val="125000"/>
              </a:lnSpc>
              <a:buClr>
                <a:schemeClr val="tx2"/>
              </a:buClr>
              <a:buFont typeface="Wingdings" panose="05000000000000000000" pitchFamily="2" charset="2"/>
              <a:buNone/>
            </a:pPr>
            <a:r>
              <a:rPr lang="en-US" sz="800">
                <a:solidFill>
                  <a:schemeClr val="bg1"/>
                </a:solidFill>
              </a:rPr>
              <a:t>© GfK</a:t>
            </a:r>
          </a:p>
        </p:txBody>
      </p:sp>
      <p:sp>
        <p:nvSpPr>
          <p:cNvPr id="21" name="Date Placeholder 20"/>
          <p:cNvSpPr>
            <a:spLocks noGrp="1"/>
          </p:cNvSpPr>
          <p:nvPr>
            <p:ph type="dt" sz="half" idx="14"/>
          </p:nvPr>
        </p:nvSpPr>
        <p:spPr/>
        <p:txBody>
          <a:bodyPr/>
          <a:lstStyle>
            <a:lvl1pPr>
              <a:defRPr>
                <a:solidFill>
                  <a:schemeClr val="bg1"/>
                </a:solidFill>
              </a:defRPr>
            </a:lvl1pPr>
          </a:lstStyle>
          <a:p>
            <a:endParaRPr lang="en-US"/>
          </a:p>
        </p:txBody>
      </p:sp>
      <p:sp>
        <p:nvSpPr>
          <p:cNvPr id="22" name="Footer Placeholder 21"/>
          <p:cNvSpPr>
            <a:spLocks noGrp="1"/>
          </p:cNvSpPr>
          <p:nvPr>
            <p:ph type="ftr" sz="quarter" idx="15"/>
          </p:nvPr>
        </p:nvSpPr>
        <p:spPr/>
        <p:txBody>
          <a:bodyPr/>
          <a:lstStyle>
            <a:lvl1pPr>
              <a:defRPr>
                <a:solidFill>
                  <a:schemeClr val="bg1"/>
                </a:solidFill>
              </a:defRPr>
            </a:lvl1pPr>
          </a:lstStyle>
          <a:p>
            <a:endParaRPr lang="en-US"/>
          </a:p>
        </p:txBody>
      </p:sp>
      <p:sp>
        <p:nvSpPr>
          <p:cNvPr id="23" name="Slide Number Placeholder 22"/>
          <p:cNvSpPr>
            <a:spLocks noGrp="1"/>
          </p:cNvSpPr>
          <p:nvPr>
            <p:ph type="sldNum" sz="quarter" idx="16"/>
          </p:nvPr>
        </p:nvSpPr>
        <p:spPr/>
        <p:txBody>
          <a:bodyPr/>
          <a:lstStyle>
            <a:lvl1pPr>
              <a:defRPr>
                <a:solidFill>
                  <a:schemeClr val="bg1"/>
                </a:solidFill>
              </a:defRPr>
            </a:lvl1pPr>
          </a:lstStyle>
          <a:p>
            <a:fld id="{5F3E29E4-0979-4FCA-B4C5-5FC6044C982A}" type="slidenum">
              <a:rPr lang="en-US" smtClean="0"/>
              <a:pPr/>
              <a:t>‹#›</a:t>
            </a:fld>
            <a:endParaRPr lang="en-US"/>
          </a:p>
        </p:txBody>
      </p:sp>
      <p:sp>
        <p:nvSpPr>
          <p:cNvPr id="2" name="Title 1"/>
          <p:cNvSpPr>
            <a:spLocks noGrp="1"/>
          </p:cNvSpPr>
          <p:nvPr>
            <p:ph type="title" hasCustomPrompt="1"/>
          </p:nvPr>
        </p:nvSpPr>
        <p:spPr>
          <a:xfrm>
            <a:off x="6543675" y="1519552"/>
            <a:ext cx="4629150" cy="4249423"/>
          </a:xfrm>
        </p:spPr>
        <p:txBody>
          <a:bodyPr/>
          <a:lstStyle>
            <a:lvl1pPr>
              <a:defRPr>
                <a:solidFill>
                  <a:schemeClr val="bg1"/>
                </a:solidFill>
              </a:defRPr>
            </a:lvl1pPr>
          </a:lstStyle>
          <a:p>
            <a:r>
              <a:rPr lang="en-US"/>
              <a:t>Click to add text</a:t>
            </a:r>
          </a:p>
        </p:txBody>
      </p:sp>
      <p:sp>
        <p:nvSpPr>
          <p:cNvPr id="8" name="Text Placeholder 4"/>
          <p:cNvSpPr>
            <a:spLocks noGrp="1"/>
          </p:cNvSpPr>
          <p:nvPr>
            <p:ph type="body" sz="quarter" idx="18" hasCustomPrompt="1"/>
          </p:nvPr>
        </p:nvSpPr>
        <p:spPr>
          <a:xfrm>
            <a:off x="1075063" y="6307665"/>
            <a:ext cx="8162717" cy="133200"/>
          </a:xfrm>
        </p:spPr>
        <p:txBody>
          <a:bodyPr lIns="0" tIns="0" rIns="0" bIns="0" anchor="b" anchorCtr="0"/>
          <a:lstStyle>
            <a:lvl1pPr marL="0" indent="0" algn="l">
              <a:lnSpc>
                <a:spcPct val="100000"/>
              </a:lnSpc>
              <a:spcBef>
                <a:spcPts val="0"/>
              </a:spcBef>
              <a:buNone/>
              <a:defRPr sz="800" baseline="0">
                <a:solidFill>
                  <a:schemeClr val="bg1"/>
                </a:solidFill>
              </a:defRPr>
            </a:lvl1pPr>
            <a:lvl2pPr marL="0" indent="0" algn="l">
              <a:lnSpc>
                <a:spcPct val="100000"/>
              </a:lnSpc>
              <a:spcBef>
                <a:spcPts val="0"/>
              </a:spcBef>
              <a:buNone/>
              <a:defRPr sz="800">
                <a:solidFill>
                  <a:schemeClr val="bg1"/>
                </a:solidFill>
              </a:defRPr>
            </a:lvl2pPr>
            <a:lvl3pPr marL="0" indent="0" algn="l">
              <a:lnSpc>
                <a:spcPct val="100000"/>
              </a:lnSpc>
              <a:spcBef>
                <a:spcPts val="0"/>
              </a:spcBef>
              <a:buNone/>
              <a:defRPr sz="800">
                <a:solidFill>
                  <a:schemeClr val="bg1"/>
                </a:solidFill>
              </a:defRPr>
            </a:lvl3pPr>
            <a:lvl4pPr marL="0" algn="l">
              <a:lnSpc>
                <a:spcPct val="100000"/>
              </a:lnSpc>
              <a:spcBef>
                <a:spcPts val="0"/>
              </a:spcBef>
              <a:buNone/>
              <a:defRPr sz="800">
                <a:solidFill>
                  <a:schemeClr val="bg1"/>
                </a:solidFill>
              </a:defRPr>
            </a:lvl4pPr>
            <a:lvl5pPr marL="0" indent="0" algn="l">
              <a:lnSpc>
                <a:spcPct val="100000"/>
              </a:lnSpc>
              <a:spcBef>
                <a:spcPts val="0"/>
              </a:spcBef>
              <a:buNone/>
              <a:defRPr sz="800">
                <a:solidFill>
                  <a:schemeClr val="bg1"/>
                </a:solidFill>
              </a:defRPr>
            </a:lvl5pPr>
          </a:lstStyle>
          <a:p>
            <a:pPr lvl="0"/>
            <a:r>
              <a:rPr lang="en-US"/>
              <a:t>Source line</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3372829"/>
      </p:ext>
    </p:extLst>
  </p:cSld>
  <p:clrMapOvr>
    <a:masterClrMapping/>
  </p:clrMapOvr>
</p:sldLayout>
</file>

<file path=ppt/slideLayouts/slideLayout453.xml><?xml version="1.0" encoding="utf-8"?>
<p:sldLayout xmlns:a="http://schemas.openxmlformats.org/drawingml/2006/main" xmlns:r="http://schemas.openxmlformats.org/officeDocument/2006/relationships" xmlns:p="http://schemas.openxmlformats.org/presentationml/2006/main" preserve="1">
  <p:cSld name="Two pictures">
    <p:spTree>
      <p:nvGrpSpPr>
        <p:cNvPr id="1" name=""/>
        <p:cNvGrpSpPr/>
        <p:nvPr/>
      </p:nvGrpSpPr>
      <p:grpSpPr>
        <a:xfrm>
          <a:off x="0" y="0"/>
          <a:ext cx="0" cy="0"/>
          <a:chOff x="0" y="0"/>
          <a:chExt cx="0" cy="0"/>
        </a:xfrm>
      </p:grpSpPr>
      <p:sp>
        <p:nvSpPr>
          <p:cNvPr id="21" name="Date Placeholder 20"/>
          <p:cNvSpPr>
            <a:spLocks noGrp="1"/>
          </p:cNvSpPr>
          <p:nvPr>
            <p:ph type="dt" sz="half" idx="14"/>
          </p:nvPr>
        </p:nvSpPr>
        <p:spPr/>
        <p:txBody>
          <a:bodyPr/>
          <a:lstStyle/>
          <a:p>
            <a:endParaRPr lang="en-US"/>
          </a:p>
        </p:txBody>
      </p:sp>
      <p:sp>
        <p:nvSpPr>
          <p:cNvPr id="22" name="Footer Placeholder 21"/>
          <p:cNvSpPr>
            <a:spLocks noGrp="1"/>
          </p:cNvSpPr>
          <p:nvPr>
            <p:ph type="ftr" sz="quarter" idx="15"/>
          </p:nvPr>
        </p:nvSpPr>
        <p:spPr/>
        <p:txBody>
          <a:bodyPr/>
          <a:lstStyle/>
          <a:p>
            <a:endParaRPr lang="en-US"/>
          </a:p>
        </p:txBody>
      </p:sp>
      <p:sp>
        <p:nvSpPr>
          <p:cNvPr id="23" name="Slide Number Placeholder 22"/>
          <p:cNvSpPr>
            <a:spLocks noGrp="1"/>
          </p:cNvSpPr>
          <p:nvPr>
            <p:ph type="sldNum" sz="quarter" idx="16"/>
          </p:nvPr>
        </p:nvSpPr>
        <p:spPr/>
        <p:txBody>
          <a:bodyPr/>
          <a:lstStyle/>
          <a:p>
            <a:fld id="{5F3E29E4-0979-4FCA-B4C5-5FC6044C982A}" type="slidenum">
              <a:rPr lang="en-US" smtClean="0"/>
              <a:t>‹#›</a:t>
            </a:fld>
            <a:endParaRPr lang="en-US"/>
          </a:p>
        </p:txBody>
      </p:sp>
      <p:sp>
        <p:nvSpPr>
          <p:cNvPr id="2" name="Title 1"/>
          <p:cNvSpPr>
            <a:spLocks noGrp="1"/>
          </p:cNvSpPr>
          <p:nvPr>
            <p:ph type="title" hasCustomPrompt="1"/>
          </p:nvPr>
        </p:nvSpPr>
        <p:spPr/>
        <p:txBody>
          <a:bodyPr/>
          <a:lstStyle>
            <a:lvl1pPr>
              <a:defRPr/>
            </a:lvl1pPr>
          </a:lstStyle>
          <a:p>
            <a:r>
              <a:rPr lang="en-US"/>
              <a:t>Click to add slide title</a:t>
            </a:r>
          </a:p>
        </p:txBody>
      </p:sp>
      <p:sp>
        <p:nvSpPr>
          <p:cNvPr id="7" name="Subtitle 2"/>
          <p:cNvSpPr>
            <a:spLocks noGrp="1"/>
          </p:cNvSpPr>
          <p:nvPr>
            <p:ph type="subTitle" idx="13" hasCustomPrompt="1"/>
          </p:nvPr>
        </p:nvSpPr>
        <p:spPr>
          <a:xfrm>
            <a:off x="1075061" y="964671"/>
            <a:ext cx="7910158" cy="490042"/>
          </a:xfrm>
        </p:spPr>
        <p:txBody>
          <a:bodyPr wrap="none"/>
          <a:lstStyle>
            <a:lvl1pPr marL="0" indent="0" algn="l">
              <a:spcBef>
                <a:spcPts val="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sp>
        <p:nvSpPr>
          <p:cNvPr id="5" name="Picture Placeholder 4"/>
          <p:cNvSpPr>
            <a:spLocks noGrp="1"/>
          </p:cNvSpPr>
          <p:nvPr>
            <p:ph type="pic" sz="quarter" idx="17" hasCustomPrompt="1"/>
          </p:nvPr>
        </p:nvSpPr>
        <p:spPr>
          <a:xfrm>
            <a:off x="1075062" y="1637783"/>
            <a:ext cx="5220000" cy="4599506"/>
          </a:xfrm>
          <a:solidFill>
            <a:srgbClr val="D9DADB"/>
          </a:solidFill>
        </p:spPr>
        <p:txBody>
          <a:bodyPr/>
          <a:lstStyle>
            <a:lvl1pPr marL="0" indent="0">
              <a:buNone/>
              <a:defRPr/>
            </a:lvl1pPr>
          </a:lstStyle>
          <a:p>
            <a:r>
              <a:rPr lang="en-US"/>
              <a:t>Insert picture</a:t>
            </a:r>
          </a:p>
        </p:txBody>
      </p:sp>
      <p:sp>
        <p:nvSpPr>
          <p:cNvPr id="9" name="Picture Placeholder 4"/>
          <p:cNvSpPr>
            <a:spLocks noGrp="1"/>
          </p:cNvSpPr>
          <p:nvPr>
            <p:ph type="pic" sz="quarter" idx="18" hasCustomPrompt="1"/>
          </p:nvPr>
        </p:nvSpPr>
        <p:spPr>
          <a:xfrm>
            <a:off x="6600525" y="1637783"/>
            <a:ext cx="5220000" cy="4599506"/>
          </a:xfrm>
          <a:solidFill>
            <a:srgbClr val="D9DADB"/>
          </a:solidFill>
        </p:spPr>
        <p:txBody>
          <a:bodyPr/>
          <a:lstStyle>
            <a:lvl1pPr marL="0" indent="0">
              <a:buNone/>
              <a:defRPr/>
            </a:lvl1pPr>
          </a:lstStyle>
          <a:p>
            <a:r>
              <a:rPr lang="en-US"/>
              <a:t>Insert picture</a:t>
            </a:r>
          </a:p>
        </p:txBody>
      </p:sp>
      <p:sp>
        <p:nvSpPr>
          <p:cNvPr id="11" name="Text Placeholder 4"/>
          <p:cNvSpPr>
            <a:spLocks noGrp="1"/>
          </p:cNvSpPr>
          <p:nvPr>
            <p:ph type="body" sz="quarter" idx="19" hasCustomPrompt="1"/>
          </p:nvPr>
        </p:nvSpPr>
        <p:spPr>
          <a:xfrm>
            <a:off x="1075063" y="6307665"/>
            <a:ext cx="8162717" cy="133200"/>
          </a:xfrm>
        </p:spPr>
        <p:txBody>
          <a:bodyPr lIns="0" tIns="0" rIns="0" bIns="0" anchor="b" anchorCtr="0"/>
          <a:lstStyle>
            <a:lvl1pPr marL="0" indent="0" algn="l">
              <a:lnSpc>
                <a:spcPct val="100000"/>
              </a:lnSpc>
              <a:spcBef>
                <a:spcPts val="0"/>
              </a:spcBef>
              <a:buNone/>
              <a:defRPr sz="800" baseline="0"/>
            </a:lvl1pPr>
            <a:lvl2pPr marL="0" indent="0" algn="l">
              <a:lnSpc>
                <a:spcPct val="100000"/>
              </a:lnSpc>
              <a:spcBef>
                <a:spcPts val="0"/>
              </a:spcBef>
              <a:buNone/>
              <a:defRPr sz="800"/>
            </a:lvl2pPr>
            <a:lvl3pPr marL="0" indent="0" algn="l">
              <a:lnSpc>
                <a:spcPct val="100000"/>
              </a:lnSpc>
              <a:spcBef>
                <a:spcPts val="0"/>
              </a:spcBef>
              <a:buNone/>
              <a:defRPr sz="800"/>
            </a:lvl3pPr>
            <a:lvl4pPr marL="0" algn="l">
              <a:lnSpc>
                <a:spcPct val="100000"/>
              </a:lnSpc>
              <a:spcBef>
                <a:spcPts val="0"/>
              </a:spcBef>
              <a:buNone/>
              <a:defRPr sz="800"/>
            </a:lvl4pPr>
            <a:lvl5pPr marL="0" indent="0" algn="l">
              <a:lnSpc>
                <a:spcPct val="100000"/>
              </a:lnSpc>
              <a:spcBef>
                <a:spcPts val="0"/>
              </a:spcBef>
              <a:buNone/>
              <a:defRPr sz="800"/>
            </a:lvl5pPr>
          </a:lstStyle>
          <a:p>
            <a:pPr lvl="0"/>
            <a:r>
              <a:rPr lang="en-US"/>
              <a:t>Source line</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92077382"/>
      </p:ext>
    </p:extLst>
  </p:cSld>
  <p:clrMapOvr>
    <a:masterClrMapping/>
  </p:clrMapOvr>
</p:sldLayout>
</file>

<file path=ppt/slideLayouts/slideLayout454.xml><?xml version="1.0" encoding="utf-8"?>
<p:sldLayout xmlns:a="http://schemas.openxmlformats.org/drawingml/2006/main" xmlns:r="http://schemas.openxmlformats.org/officeDocument/2006/relationships" xmlns:p="http://schemas.openxmlformats.org/presentationml/2006/main" preserve="1">
  <p:cSld name="Two contents">
    <p:spTree>
      <p:nvGrpSpPr>
        <p:cNvPr id="1" name=""/>
        <p:cNvGrpSpPr/>
        <p:nvPr/>
      </p:nvGrpSpPr>
      <p:grpSpPr>
        <a:xfrm>
          <a:off x="0" y="0"/>
          <a:ext cx="0" cy="0"/>
          <a:chOff x="0" y="0"/>
          <a:chExt cx="0" cy="0"/>
        </a:xfrm>
      </p:grpSpPr>
      <p:sp>
        <p:nvSpPr>
          <p:cNvPr id="21" name="Date Placeholder 20"/>
          <p:cNvSpPr>
            <a:spLocks noGrp="1"/>
          </p:cNvSpPr>
          <p:nvPr>
            <p:ph type="dt" sz="half" idx="14"/>
          </p:nvPr>
        </p:nvSpPr>
        <p:spPr/>
        <p:txBody>
          <a:bodyPr/>
          <a:lstStyle/>
          <a:p>
            <a:endParaRPr lang="en-US"/>
          </a:p>
        </p:txBody>
      </p:sp>
      <p:sp>
        <p:nvSpPr>
          <p:cNvPr id="22" name="Footer Placeholder 21"/>
          <p:cNvSpPr>
            <a:spLocks noGrp="1"/>
          </p:cNvSpPr>
          <p:nvPr>
            <p:ph type="ftr" sz="quarter" idx="15"/>
          </p:nvPr>
        </p:nvSpPr>
        <p:spPr/>
        <p:txBody>
          <a:bodyPr/>
          <a:lstStyle/>
          <a:p>
            <a:endParaRPr lang="en-US"/>
          </a:p>
        </p:txBody>
      </p:sp>
      <p:sp>
        <p:nvSpPr>
          <p:cNvPr id="23" name="Slide Number Placeholder 22"/>
          <p:cNvSpPr>
            <a:spLocks noGrp="1"/>
          </p:cNvSpPr>
          <p:nvPr>
            <p:ph type="sldNum" sz="quarter" idx="16"/>
          </p:nvPr>
        </p:nvSpPr>
        <p:spPr/>
        <p:txBody>
          <a:bodyPr/>
          <a:lstStyle/>
          <a:p>
            <a:fld id="{5F3E29E4-0979-4FCA-B4C5-5FC6044C982A}" type="slidenum">
              <a:rPr lang="en-US" smtClean="0"/>
              <a:t>‹#›</a:t>
            </a:fld>
            <a:endParaRPr lang="en-US"/>
          </a:p>
        </p:txBody>
      </p:sp>
      <p:sp>
        <p:nvSpPr>
          <p:cNvPr id="2" name="Title 1"/>
          <p:cNvSpPr>
            <a:spLocks noGrp="1"/>
          </p:cNvSpPr>
          <p:nvPr>
            <p:ph type="title" hasCustomPrompt="1"/>
          </p:nvPr>
        </p:nvSpPr>
        <p:spPr/>
        <p:txBody>
          <a:bodyPr/>
          <a:lstStyle>
            <a:lvl1pPr>
              <a:defRPr/>
            </a:lvl1pPr>
          </a:lstStyle>
          <a:p>
            <a:r>
              <a:rPr lang="en-US"/>
              <a:t>Click to add slide title</a:t>
            </a:r>
          </a:p>
        </p:txBody>
      </p:sp>
      <p:sp>
        <p:nvSpPr>
          <p:cNvPr id="7" name="Subtitle 2"/>
          <p:cNvSpPr>
            <a:spLocks noGrp="1"/>
          </p:cNvSpPr>
          <p:nvPr>
            <p:ph type="subTitle" idx="13" hasCustomPrompt="1"/>
          </p:nvPr>
        </p:nvSpPr>
        <p:spPr>
          <a:xfrm>
            <a:off x="1075061" y="964671"/>
            <a:ext cx="7910158" cy="490042"/>
          </a:xfrm>
        </p:spPr>
        <p:txBody>
          <a:bodyPr wrap="none"/>
          <a:lstStyle>
            <a:lvl1pPr marL="0" indent="0" algn="l">
              <a:spcBef>
                <a:spcPts val="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sp>
        <p:nvSpPr>
          <p:cNvPr id="3" name="Content Placeholder 2"/>
          <p:cNvSpPr>
            <a:spLocks noGrp="1"/>
          </p:cNvSpPr>
          <p:nvPr>
            <p:ph idx="1" hasCustomPrompt="1"/>
          </p:nvPr>
        </p:nvSpPr>
        <p:spPr>
          <a:xfrm>
            <a:off x="1075062" y="1629618"/>
            <a:ext cx="5220000" cy="4139357"/>
          </a:xfrm>
        </p:spPr>
        <p:txBody>
          <a:bodyPr/>
          <a:lstStyle>
            <a:lvl1pPr>
              <a:defRPr/>
            </a:lvl1pPr>
          </a:lstStyle>
          <a:p>
            <a:pPr lvl="0"/>
            <a:r>
              <a:rPr lang="en-US"/>
              <a:t>Click to add text or content</a:t>
            </a:r>
          </a:p>
          <a:p>
            <a:pPr lvl="1"/>
            <a:r>
              <a:rPr lang="en-US"/>
              <a:t>Second level</a:t>
            </a:r>
          </a:p>
          <a:p>
            <a:pPr lvl="2"/>
            <a:r>
              <a:rPr lang="en-US"/>
              <a:t>Third level</a:t>
            </a:r>
          </a:p>
          <a:p>
            <a:pPr lvl="3"/>
            <a:r>
              <a:rPr lang="en-US"/>
              <a:t>Fourth level</a:t>
            </a:r>
          </a:p>
          <a:p>
            <a:pPr lvl="4"/>
            <a:r>
              <a:rPr lang="en-US"/>
              <a:t>Fifth level</a:t>
            </a:r>
          </a:p>
        </p:txBody>
      </p:sp>
      <p:sp>
        <p:nvSpPr>
          <p:cNvPr id="9" name="Content Placeholder 2"/>
          <p:cNvSpPr>
            <a:spLocks noGrp="1"/>
          </p:cNvSpPr>
          <p:nvPr>
            <p:ph idx="17" hasCustomPrompt="1"/>
          </p:nvPr>
        </p:nvSpPr>
        <p:spPr>
          <a:xfrm>
            <a:off x="6600525" y="1629618"/>
            <a:ext cx="5220000" cy="4139357"/>
          </a:xfrm>
        </p:spPr>
        <p:txBody>
          <a:bodyPr/>
          <a:lstStyle>
            <a:lvl1pPr>
              <a:defRPr/>
            </a:lvl1pPr>
          </a:lstStyle>
          <a:p>
            <a:pPr lvl="0"/>
            <a:r>
              <a:rPr lang="en-US"/>
              <a:t>Click to add text or content</a:t>
            </a:r>
          </a:p>
          <a:p>
            <a:pPr lvl="1"/>
            <a:r>
              <a:rPr lang="en-US"/>
              <a:t>Second level</a:t>
            </a:r>
          </a:p>
          <a:p>
            <a:pPr lvl="2"/>
            <a:r>
              <a:rPr lang="en-US"/>
              <a:t>Third level</a:t>
            </a:r>
          </a:p>
          <a:p>
            <a:pPr lvl="3"/>
            <a:r>
              <a:rPr lang="en-US"/>
              <a:t>Fourth level</a:t>
            </a:r>
          </a:p>
          <a:p>
            <a:pPr lvl="4"/>
            <a:r>
              <a:rPr lang="en-US"/>
              <a:t>Fifth level</a:t>
            </a:r>
          </a:p>
        </p:txBody>
      </p:sp>
      <p:sp>
        <p:nvSpPr>
          <p:cNvPr id="11" name="Text Placeholder 4"/>
          <p:cNvSpPr>
            <a:spLocks noGrp="1"/>
          </p:cNvSpPr>
          <p:nvPr>
            <p:ph type="body" sz="quarter" idx="18" hasCustomPrompt="1"/>
          </p:nvPr>
        </p:nvSpPr>
        <p:spPr>
          <a:xfrm>
            <a:off x="1075063" y="6307665"/>
            <a:ext cx="8162717" cy="133200"/>
          </a:xfrm>
        </p:spPr>
        <p:txBody>
          <a:bodyPr lIns="0" tIns="0" rIns="0" bIns="0" anchor="b" anchorCtr="0"/>
          <a:lstStyle>
            <a:lvl1pPr marL="0" indent="0" algn="l">
              <a:lnSpc>
                <a:spcPct val="100000"/>
              </a:lnSpc>
              <a:spcBef>
                <a:spcPts val="0"/>
              </a:spcBef>
              <a:buNone/>
              <a:defRPr sz="800" baseline="0"/>
            </a:lvl1pPr>
            <a:lvl2pPr marL="0" indent="0" algn="l">
              <a:lnSpc>
                <a:spcPct val="100000"/>
              </a:lnSpc>
              <a:spcBef>
                <a:spcPts val="0"/>
              </a:spcBef>
              <a:buNone/>
              <a:defRPr sz="800"/>
            </a:lvl2pPr>
            <a:lvl3pPr marL="0" indent="0" algn="l">
              <a:lnSpc>
                <a:spcPct val="100000"/>
              </a:lnSpc>
              <a:spcBef>
                <a:spcPts val="0"/>
              </a:spcBef>
              <a:buNone/>
              <a:defRPr sz="800"/>
            </a:lvl3pPr>
            <a:lvl4pPr marL="0" algn="l">
              <a:lnSpc>
                <a:spcPct val="100000"/>
              </a:lnSpc>
              <a:spcBef>
                <a:spcPts val="0"/>
              </a:spcBef>
              <a:buNone/>
              <a:defRPr sz="800"/>
            </a:lvl4pPr>
            <a:lvl5pPr marL="0" indent="0" algn="l">
              <a:lnSpc>
                <a:spcPct val="100000"/>
              </a:lnSpc>
              <a:spcBef>
                <a:spcPts val="0"/>
              </a:spcBef>
              <a:buNone/>
              <a:defRPr sz="800"/>
            </a:lvl5pPr>
          </a:lstStyle>
          <a:p>
            <a:pPr lvl="0"/>
            <a:r>
              <a:rPr lang="en-US"/>
              <a:t>Source line</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27654289"/>
      </p:ext>
    </p:extLst>
  </p:cSld>
  <p:clrMapOvr>
    <a:masterClrMapping/>
  </p:clrMapOvr>
</p:sldLayout>
</file>

<file path=ppt/slideLayouts/slideLayout455.xml><?xml version="1.0" encoding="utf-8"?>
<p:sldLayout xmlns:a="http://schemas.openxmlformats.org/drawingml/2006/main" xmlns:r="http://schemas.openxmlformats.org/officeDocument/2006/relationships" xmlns:p="http://schemas.openxmlformats.org/presentationml/2006/main" preserve="1">
  <p:cSld name="Three contents">
    <p:spTree>
      <p:nvGrpSpPr>
        <p:cNvPr id="1" name=""/>
        <p:cNvGrpSpPr/>
        <p:nvPr/>
      </p:nvGrpSpPr>
      <p:grpSpPr>
        <a:xfrm>
          <a:off x="0" y="0"/>
          <a:ext cx="0" cy="0"/>
          <a:chOff x="0" y="0"/>
          <a:chExt cx="0" cy="0"/>
        </a:xfrm>
      </p:grpSpPr>
      <p:sp>
        <p:nvSpPr>
          <p:cNvPr id="21" name="Date Placeholder 20"/>
          <p:cNvSpPr>
            <a:spLocks noGrp="1"/>
          </p:cNvSpPr>
          <p:nvPr>
            <p:ph type="dt" sz="half" idx="14"/>
          </p:nvPr>
        </p:nvSpPr>
        <p:spPr/>
        <p:txBody>
          <a:bodyPr/>
          <a:lstStyle/>
          <a:p>
            <a:endParaRPr lang="en-US"/>
          </a:p>
        </p:txBody>
      </p:sp>
      <p:sp>
        <p:nvSpPr>
          <p:cNvPr id="22" name="Footer Placeholder 21"/>
          <p:cNvSpPr>
            <a:spLocks noGrp="1"/>
          </p:cNvSpPr>
          <p:nvPr>
            <p:ph type="ftr" sz="quarter" idx="15"/>
          </p:nvPr>
        </p:nvSpPr>
        <p:spPr/>
        <p:txBody>
          <a:bodyPr/>
          <a:lstStyle/>
          <a:p>
            <a:endParaRPr lang="en-US"/>
          </a:p>
        </p:txBody>
      </p:sp>
      <p:sp>
        <p:nvSpPr>
          <p:cNvPr id="23" name="Slide Number Placeholder 22"/>
          <p:cNvSpPr>
            <a:spLocks noGrp="1"/>
          </p:cNvSpPr>
          <p:nvPr>
            <p:ph type="sldNum" sz="quarter" idx="16"/>
          </p:nvPr>
        </p:nvSpPr>
        <p:spPr/>
        <p:txBody>
          <a:bodyPr/>
          <a:lstStyle/>
          <a:p>
            <a:fld id="{5F3E29E4-0979-4FCA-B4C5-5FC6044C982A}" type="slidenum">
              <a:rPr lang="en-US" smtClean="0"/>
              <a:t>‹#›</a:t>
            </a:fld>
            <a:endParaRPr lang="en-US"/>
          </a:p>
        </p:txBody>
      </p:sp>
      <p:sp>
        <p:nvSpPr>
          <p:cNvPr id="2" name="Title 1"/>
          <p:cNvSpPr>
            <a:spLocks noGrp="1"/>
          </p:cNvSpPr>
          <p:nvPr>
            <p:ph type="title" hasCustomPrompt="1"/>
          </p:nvPr>
        </p:nvSpPr>
        <p:spPr/>
        <p:txBody>
          <a:bodyPr/>
          <a:lstStyle>
            <a:lvl1pPr>
              <a:defRPr/>
            </a:lvl1pPr>
          </a:lstStyle>
          <a:p>
            <a:r>
              <a:rPr lang="en-US"/>
              <a:t>Click to add slide title</a:t>
            </a:r>
          </a:p>
        </p:txBody>
      </p:sp>
      <p:sp>
        <p:nvSpPr>
          <p:cNvPr id="7" name="Subtitle 2"/>
          <p:cNvSpPr>
            <a:spLocks noGrp="1"/>
          </p:cNvSpPr>
          <p:nvPr>
            <p:ph type="subTitle" idx="13" hasCustomPrompt="1"/>
          </p:nvPr>
        </p:nvSpPr>
        <p:spPr>
          <a:xfrm>
            <a:off x="1075061" y="964671"/>
            <a:ext cx="7910158" cy="490042"/>
          </a:xfrm>
        </p:spPr>
        <p:txBody>
          <a:bodyPr wrap="none"/>
          <a:lstStyle>
            <a:lvl1pPr marL="0" indent="0" algn="l">
              <a:spcBef>
                <a:spcPts val="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sp>
        <p:nvSpPr>
          <p:cNvPr id="3" name="Content Placeholder 2"/>
          <p:cNvSpPr>
            <a:spLocks noGrp="1"/>
          </p:cNvSpPr>
          <p:nvPr>
            <p:ph idx="1" hasCustomPrompt="1"/>
          </p:nvPr>
        </p:nvSpPr>
        <p:spPr>
          <a:xfrm>
            <a:off x="1075061" y="1629618"/>
            <a:ext cx="3384000" cy="4139357"/>
          </a:xfrm>
        </p:spPr>
        <p:txBody>
          <a:bodyPr/>
          <a:lstStyle>
            <a:lvl1pPr>
              <a:defRPr/>
            </a:lvl1pPr>
          </a:lstStyle>
          <a:p>
            <a:pPr lvl="0"/>
            <a:r>
              <a:rPr lang="en-US"/>
              <a:t>Click to add text or content</a:t>
            </a:r>
          </a:p>
          <a:p>
            <a:pPr lvl="1"/>
            <a:r>
              <a:rPr lang="en-US"/>
              <a:t>Second level</a:t>
            </a:r>
          </a:p>
          <a:p>
            <a:pPr lvl="2"/>
            <a:r>
              <a:rPr lang="en-US"/>
              <a:t>Third level</a:t>
            </a:r>
          </a:p>
          <a:p>
            <a:pPr lvl="3"/>
            <a:r>
              <a:rPr lang="en-US"/>
              <a:t>Fourth level</a:t>
            </a:r>
          </a:p>
          <a:p>
            <a:pPr lvl="4"/>
            <a:r>
              <a:rPr lang="en-US"/>
              <a:t>Fifth level</a:t>
            </a:r>
          </a:p>
        </p:txBody>
      </p:sp>
      <p:sp>
        <p:nvSpPr>
          <p:cNvPr id="9" name="Content Placeholder 2"/>
          <p:cNvSpPr>
            <a:spLocks noGrp="1"/>
          </p:cNvSpPr>
          <p:nvPr>
            <p:ph idx="17" hasCustomPrompt="1"/>
          </p:nvPr>
        </p:nvSpPr>
        <p:spPr>
          <a:xfrm>
            <a:off x="4755793" y="1629618"/>
            <a:ext cx="3384000" cy="4139357"/>
          </a:xfrm>
        </p:spPr>
        <p:txBody>
          <a:bodyPr/>
          <a:lstStyle>
            <a:lvl1pPr>
              <a:defRPr/>
            </a:lvl1pPr>
          </a:lstStyle>
          <a:p>
            <a:pPr lvl="0"/>
            <a:r>
              <a:rPr lang="en-US"/>
              <a:t>Click to add text or content</a:t>
            </a:r>
          </a:p>
          <a:p>
            <a:pPr lvl="1"/>
            <a:r>
              <a:rPr lang="en-US"/>
              <a:t>Second level</a:t>
            </a:r>
          </a:p>
          <a:p>
            <a:pPr lvl="2"/>
            <a:r>
              <a:rPr lang="en-US"/>
              <a:t>Third level</a:t>
            </a:r>
          </a:p>
          <a:p>
            <a:pPr lvl="3"/>
            <a:r>
              <a:rPr lang="en-US"/>
              <a:t>Fourth level</a:t>
            </a:r>
          </a:p>
          <a:p>
            <a:pPr lvl="4"/>
            <a:r>
              <a:rPr lang="en-US"/>
              <a:t>Fifth level</a:t>
            </a:r>
          </a:p>
        </p:txBody>
      </p:sp>
      <p:sp>
        <p:nvSpPr>
          <p:cNvPr id="10" name="Content Placeholder 2"/>
          <p:cNvSpPr>
            <a:spLocks noGrp="1"/>
          </p:cNvSpPr>
          <p:nvPr>
            <p:ph idx="18" hasCustomPrompt="1"/>
          </p:nvPr>
        </p:nvSpPr>
        <p:spPr>
          <a:xfrm>
            <a:off x="8436525" y="1629618"/>
            <a:ext cx="3384000" cy="4139357"/>
          </a:xfrm>
        </p:spPr>
        <p:txBody>
          <a:bodyPr/>
          <a:lstStyle>
            <a:lvl1pPr>
              <a:defRPr/>
            </a:lvl1pPr>
          </a:lstStyle>
          <a:p>
            <a:pPr lvl="0"/>
            <a:r>
              <a:rPr lang="en-US"/>
              <a:t>Click to add text or content</a:t>
            </a:r>
          </a:p>
          <a:p>
            <a:pPr lvl="1"/>
            <a:r>
              <a:rPr lang="en-US"/>
              <a:t>Second level</a:t>
            </a:r>
          </a:p>
          <a:p>
            <a:pPr lvl="2"/>
            <a:r>
              <a:rPr lang="en-US"/>
              <a:t>Third level</a:t>
            </a:r>
          </a:p>
          <a:p>
            <a:pPr lvl="3"/>
            <a:r>
              <a:rPr lang="en-US"/>
              <a:t>Fourth level</a:t>
            </a:r>
          </a:p>
          <a:p>
            <a:pPr lvl="4"/>
            <a:r>
              <a:rPr lang="en-US"/>
              <a:t>Fifth level</a:t>
            </a:r>
          </a:p>
        </p:txBody>
      </p:sp>
      <p:sp>
        <p:nvSpPr>
          <p:cNvPr id="12" name="Text Placeholder 4"/>
          <p:cNvSpPr>
            <a:spLocks noGrp="1"/>
          </p:cNvSpPr>
          <p:nvPr>
            <p:ph type="body" sz="quarter" idx="19" hasCustomPrompt="1"/>
          </p:nvPr>
        </p:nvSpPr>
        <p:spPr>
          <a:xfrm>
            <a:off x="1075063" y="6307665"/>
            <a:ext cx="8162717" cy="133200"/>
          </a:xfrm>
        </p:spPr>
        <p:txBody>
          <a:bodyPr lIns="0" tIns="0" rIns="0" bIns="0" anchor="b" anchorCtr="0"/>
          <a:lstStyle>
            <a:lvl1pPr marL="0" indent="0" algn="l">
              <a:lnSpc>
                <a:spcPct val="100000"/>
              </a:lnSpc>
              <a:spcBef>
                <a:spcPts val="0"/>
              </a:spcBef>
              <a:buNone/>
              <a:defRPr sz="800" baseline="0"/>
            </a:lvl1pPr>
            <a:lvl2pPr marL="0" indent="0" algn="l">
              <a:lnSpc>
                <a:spcPct val="100000"/>
              </a:lnSpc>
              <a:spcBef>
                <a:spcPts val="0"/>
              </a:spcBef>
              <a:buNone/>
              <a:defRPr sz="800"/>
            </a:lvl2pPr>
            <a:lvl3pPr marL="0" indent="0" algn="l">
              <a:lnSpc>
                <a:spcPct val="100000"/>
              </a:lnSpc>
              <a:spcBef>
                <a:spcPts val="0"/>
              </a:spcBef>
              <a:buNone/>
              <a:defRPr sz="800"/>
            </a:lvl3pPr>
            <a:lvl4pPr marL="0" algn="l">
              <a:lnSpc>
                <a:spcPct val="100000"/>
              </a:lnSpc>
              <a:spcBef>
                <a:spcPts val="0"/>
              </a:spcBef>
              <a:buNone/>
              <a:defRPr sz="800"/>
            </a:lvl4pPr>
            <a:lvl5pPr marL="0" indent="0" algn="l">
              <a:lnSpc>
                <a:spcPct val="100000"/>
              </a:lnSpc>
              <a:spcBef>
                <a:spcPts val="0"/>
              </a:spcBef>
              <a:buNone/>
              <a:defRPr sz="800"/>
            </a:lvl5pPr>
          </a:lstStyle>
          <a:p>
            <a:pPr lvl="0"/>
            <a:r>
              <a:rPr lang="en-US"/>
              <a:t>Source line</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76693742"/>
      </p:ext>
    </p:extLst>
  </p:cSld>
  <p:clrMapOvr>
    <a:masterClrMapping/>
  </p:clrMapOvr>
</p:sldLayout>
</file>

<file path=ppt/slideLayouts/slideLayout456.xml><?xml version="1.0" encoding="utf-8"?>
<p:sldLayout xmlns:a="http://schemas.openxmlformats.org/drawingml/2006/main" xmlns:r="http://schemas.openxmlformats.org/officeDocument/2006/relationships" xmlns:p="http://schemas.openxmlformats.org/presentationml/2006/main" preserve="1">
  <p:cSld name="Four contents 1">
    <p:spTree>
      <p:nvGrpSpPr>
        <p:cNvPr id="1" name=""/>
        <p:cNvGrpSpPr/>
        <p:nvPr/>
      </p:nvGrpSpPr>
      <p:grpSpPr>
        <a:xfrm>
          <a:off x="0" y="0"/>
          <a:ext cx="0" cy="0"/>
          <a:chOff x="0" y="0"/>
          <a:chExt cx="0" cy="0"/>
        </a:xfrm>
      </p:grpSpPr>
      <p:sp>
        <p:nvSpPr>
          <p:cNvPr id="21" name="Date Placeholder 20"/>
          <p:cNvSpPr>
            <a:spLocks noGrp="1"/>
          </p:cNvSpPr>
          <p:nvPr>
            <p:ph type="dt" sz="half" idx="14"/>
          </p:nvPr>
        </p:nvSpPr>
        <p:spPr/>
        <p:txBody>
          <a:bodyPr/>
          <a:lstStyle/>
          <a:p>
            <a:endParaRPr lang="en-US"/>
          </a:p>
        </p:txBody>
      </p:sp>
      <p:sp>
        <p:nvSpPr>
          <p:cNvPr id="22" name="Footer Placeholder 21"/>
          <p:cNvSpPr>
            <a:spLocks noGrp="1"/>
          </p:cNvSpPr>
          <p:nvPr>
            <p:ph type="ftr" sz="quarter" idx="15"/>
          </p:nvPr>
        </p:nvSpPr>
        <p:spPr/>
        <p:txBody>
          <a:bodyPr/>
          <a:lstStyle/>
          <a:p>
            <a:endParaRPr lang="en-US"/>
          </a:p>
        </p:txBody>
      </p:sp>
      <p:sp>
        <p:nvSpPr>
          <p:cNvPr id="23" name="Slide Number Placeholder 22"/>
          <p:cNvSpPr>
            <a:spLocks noGrp="1"/>
          </p:cNvSpPr>
          <p:nvPr>
            <p:ph type="sldNum" sz="quarter" idx="16"/>
          </p:nvPr>
        </p:nvSpPr>
        <p:spPr/>
        <p:txBody>
          <a:bodyPr/>
          <a:lstStyle/>
          <a:p>
            <a:fld id="{5F3E29E4-0979-4FCA-B4C5-5FC6044C982A}" type="slidenum">
              <a:rPr lang="en-US" smtClean="0"/>
              <a:t>‹#›</a:t>
            </a:fld>
            <a:endParaRPr lang="en-US"/>
          </a:p>
        </p:txBody>
      </p:sp>
      <p:sp>
        <p:nvSpPr>
          <p:cNvPr id="2" name="Title 1"/>
          <p:cNvSpPr>
            <a:spLocks noGrp="1"/>
          </p:cNvSpPr>
          <p:nvPr>
            <p:ph type="title" hasCustomPrompt="1"/>
          </p:nvPr>
        </p:nvSpPr>
        <p:spPr/>
        <p:txBody>
          <a:bodyPr/>
          <a:lstStyle>
            <a:lvl1pPr>
              <a:defRPr/>
            </a:lvl1pPr>
          </a:lstStyle>
          <a:p>
            <a:r>
              <a:rPr lang="en-US"/>
              <a:t>Click to add slide title</a:t>
            </a:r>
          </a:p>
        </p:txBody>
      </p:sp>
      <p:sp>
        <p:nvSpPr>
          <p:cNvPr id="7" name="Subtitle 2"/>
          <p:cNvSpPr>
            <a:spLocks noGrp="1"/>
          </p:cNvSpPr>
          <p:nvPr>
            <p:ph type="subTitle" idx="13" hasCustomPrompt="1"/>
          </p:nvPr>
        </p:nvSpPr>
        <p:spPr>
          <a:xfrm>
            <a:off x="1075061" y="964671"/>
            <a:ext cx="7910158" cy="490042"/>
          </a:xfrm>
        </p:spPr>
        <p:txBody>
          <a:bodyPr wrap="none"/>
          <a:lstStyle>
            <a:lvl1pPr marL="0" indent="0" algn="l">
              <a:spcBef>
                <a:spcPts val="0"/>
              </a:spcBef>
              <a:buNone/>
              <a:defRPr sz="2400" baseline="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sp>
        <p:nvSpPr>
          <p:cNvPr id="3" name="Content Placeholder 2"/>
          <p:cNvSpPr>
            <a:spLocks noGrp="1"/>
          </p:cNvSpPr>
          <p:nvPr>
            <p:ph idx="1" hasCustomPrompt="1"/>
          </p:nvPr>
        </p:nvSpPr>
        <p:spPr>
          <a:xfrm>
            <a:off x="192088" y="1629618"/>
            <a:ext cx="2682000" cy="4139357"/>
          </a:xfrm>
        </p:spPr>
        <p:txBody>
          <a:bodyPr/>
          <a:lstStyle>
            <a:lvl1pPr>
              <a:defRPr/>
            </a:lvl1pPr>
          </a:lstStyle>
          <a:p>
            <a:pPr lvl="0"/>
            <a:r>
              <a:rPr lang="en-US"/>
              <a:t>Click to add text or content</a:t>
            </a:r>
          </a:p>
          <a:p>
            <a:pPr lvl="1"/>
            <a:r>
              <a:rPr lang="en-US"/>
              <a:t>Second level</a:t>
            </a:r>
          </a:p>
          <a:p>
            <a:pPr lvl="2"/>
            <a:r>
              <a:rPr lang="en-US"/>
              <a:t>Third level</a:t>
            </a:r>
          </a:p>
          <a:p>
            <a:pPr lvl="3"/>
            <a:r>
              <a:rPr lang="en-US"/>
              <a:t>Fourth level</a:t>
            </a:r>
          </a:p>
          <a:p>
            <a:pPr lvl="4"/>
            <a:r>
              <a:rPr lang="en-US"/>
              <a:t>Fifth level</a:t>
            </a:r>
          </a:p>
        </p:txBody>
      </p:sp>
      <p:sp>
        <p:nvSpPr>
          <p:cNvPr id="9" name="Content Placeholder 2"/>
          <p:cNvSpPr>
            <a:spLocks noGrp="1"/>
          </p:cNvSpPr>
          <p:nvPr>
            <p:ph idx="17" hasCustomPrompt="1"/>
          </p:nvPr>
        </p:nvSpPr>
        <p:spPr>
          <a:xfrm>
            <a:off x="3174234" y="1629618"/>
            <a:ext cx="2682000" cy="4139357"/>
          </a:xfrm>
        </p:spPr>
        <p:txBody>
          <a:bodyPr/>
          <a:lstStyle>
            <a:lvl1pPr>
              <a:defRPr/>
            </a:lvl1pPr>
          </a:lstStyle>
          <a:p>
            <a:pPr lvl="0"/>
            <a:r>
              <a:rPr lang="en-US"/>
              <a:t>Click to add text or content</a:t>
            </a:r>
          </a:p>
          <a:p>
            <a:pPr lvl="1"/>
            <a:r>
              <a:rPr lang="en-US"/>
              <a:t>Second level</a:t>
            </a:r>
          </a:p>
          <a:p>
            <a:pPr lvl="2"/>
            <a:r>
              <a:rPr lang="en-US"/>
              <a:t>Third level</a:t>
            </a:r>
          </a:p>
          <a:p>
            <a:pPr lvl="3"/>
            <a:r>
              <a:rPr lang="en-US"/>
              <a:t>Fourth level</a:t>
            </a:r>
          </a:p>
          <a:p>
            <a:pPr lvl="4"/>
            <a:r>
              <a:rPr lang="en-US"/>
              <a:t>Fifth level</a:t>
            </a:r>
          </a:p>
        </p:txBody>
      </p:sp>
      <p:sp>
        <p:nvSpPr>
          <p:cNvPr id="10" name="Content Placeholder 2"/>
          <p:cNvSpPr>
            <a:spLocks noGrp="1"/>
          </p:cNvSpPr>
          <p:nvPr>
            <p:ph idx="18" hasCustomPrompt="1"/>
          </p:nvPr>
        </p:nvSpPr>
        <p:spPr>
          <a:xfrm>
            <a:off x="6156380" y="1629618"/>
            <a:ext cx="2682000" cy="4139357"/>
          </a:xfrm>
        </p:spPr>
        <p:txBody>
          <a:bodyPr/>
          <a:lstStyle>
            <a:lvl1pPr>
              <a:defRPr/>
            </a:lvl1pPr>
          </a:lstStyle>
          <a:p>
            <a:pPr lvl="0"/>
            <a:r>
              <a:rPr lang="en-US"/>
              <a:t>Click to add text or content</a:t>
            </a:r>
          </a:p>
          <a:p>
            <a:pPr lvl="1"/>
            <a:r>
              <a:rPr lang="en-US"/>
              <a:t>Second level</a:t>
            </a:r>
          </a:p>
          <a:p>
            <a:pPr lvl="2"/>
            <a:r>
              <a:rPr lang="en-US"/>
              <a:t>Third level</a:t>
            </a:r>
          </a:p>
          <a:p>
            <a:pPr lvl="3"/>
            <a:r>
              <a:rPr lang="en-US"/>
              <a:t>Fourth level</a:t>
            </a:r>
          </a:p>
          <a:p>
            <a:pPr lvl="4"/>
            <a:r>
              <a:rPr lang="en-US"/>
              <a:t>Fifth level</a:t>
            </a:r>
          </a:p>
        </p:txBody>
      </p:sp>
      <p:sp>
        <p:nvSpPr>
          <p:cNvPr id="13" name="Content Placeholder 2"/>
          <p:cNvSpPr>
            <a:spLocks noGrp="1"/>
          </p:cNvSpPr>
          <p:nvPr>
            <p:ph idx="19" hasCustomPrompt="1"/>
          </p:nvPr>
        </p:nvSpPr>
        <p:spPr>
          <a:xfrm>
            <a:off x="9138525" y="1629618"/>
            <a:ext cx="2682000" cy="4139357"/>
          </a:xfrm>
        </p:spPr>
        <p:txBody>
          <a:bodyPr/>
          <a:lstStyle>
            <a:lvl1pPr>
              <a:defRPr/>
            </a:lvl1pPr>
          </a:lstStyle>
          <a:p>
            <a:pPr lvl="0"/>
            <a:r>
              <a:rPr lang="en-US"/>
              <a:t>Click to add text or content</a:t>
            </a:r>
          </a:p>
          <a:p>
            <a:pPr lvl="1"/>
            <a:r>
              <a:rPr lang="en-US"/>
              <a:t>Second level</a:t>
            </a:r>
          </a:p>
          <a:p>
            <a:pPr lvl="2"/>
            <a:r>
              <a:rPr lang="en-US"/>
              <a:t>Third level</a:t>
            </a:r>
          </a:p>
          <a:p>
            <a:pPr lvl="3"/>
            <a:r>
              <a:rPr lang="en-US"/>
              <a:t>Fourth level</a:t>
            </a:r>
          </a:p>
          <a:p>
            <a:pPr lvl="4"/>
            <a:r>
              <a:rPr lang="en-US"/>
              <a:t>Fifth level</a:t>
            </a:r>
          </a:p>
        </p:txBody>
      </p:sp>
      <p:sp>
        <p:nvSpPr>
          <p:cNvPr id="12" name="Text Placeholder 4"/>
          <p:cNvSpPr>
            <a:spLocks noGrp="1"/>
          </p:cNvSpPr>
          <p:nvPr>
            <p:ph type="body" sz="quarter" idx="20" hasCustomPrompt="1"/>
          </p:nvPr>
        </p:nvSpPr>
        <p:spPr>
          <a:xfrm>
            <a:off x="1075063" y="6307665"/>
            <a:ext cx="8162717" cy="133200"/>
          </a:xfrm>
        </p:spPr>
        <p:txBody>
          <a:bodyPr lIns="0" tIns="0" rIns="0" bIns="0" anchor="b" anchorCtr="0"/>
          <a:lstStyle>
            <a:lvl1pPr marL="0" indent="0" algn="l">
              <a:lnSpc>
                <a:spcPct val="100000"/>
              </a:lnSpc>
              <a:spcBef>
                <a:spcPts val="0"/>
              </a:spcBef>
              <a:buNone/>
              <a:defRPr sz="800" baseline="0"/>
            </a:lvl1pPr>
            <a:lvl2pPr marL="0" indent="0" algn="l">
              <a:lnSpc>
                <a:spcPct val="100000"/>
              </a:lnSpc>
              <a:spcBef>
                <a:spcPts val="0"/>
              </a:spcBef>
              <a:buNone/>
              <a:defRPr sz="800"/>
            </a:lvl2pPr>
            <a:lvl3pPr marL="0" indent="0" algn="l">
              <a:lnSpc>
                <a:spcPct val="100000"/>
              </a:lnSpc>
              <a:spcBef>
                <a:spcPts val="0"/>
              </a:spcBef>
              <a:buNone/>
              <a:defRPr sz="800"/>
            </a:lvl3pPr>
            <a:lvl4pPr marL="0" algn="l">
              <a:lnSpc>
                <a:spcPct val="100000"/>
              </a:lnSpc>
              <a:spcBef>
                <a:spcPts val="0"/>
              </a:spcBef>
              <a:buNone/>
              <a:defRPr sz="800"/>
            </a:lvl4pPr>
            <a:lvl5pPr marL="0" indent="0" algn="l">
              <a:lnSpc>
                <a:spcPct val="100000"/>
              </a:lnSpc>
              <a:spcBef>
                <a:spcPts val="0"/>
              </a:spcBef>
              <a:buNone/>
              <a:defRPr sz="800"/>
            </a:lvl5pPr>
          </a:lstStyle>
          <a:p>
            <a:pPr lvl="0"/>
            <a:r>
              <a:rPr lang="en-US"/>
              <a:t>Source line</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13245185"/>
      </p:ext>
    </p:extLst>
  </p:cSld>
  <p:clrMapOvr>
    <a:masterClrMapping/>
  </p:clrMapOvr>
</p:sldLayout>
</file>

<file path=ppt/slideLayouts/slideLayout457.xml><?xml version="1.0" encoding="utf-8"?>
<p:sldLayout xmlns:a="http://schemas.openxmlformats.org/drawingml/2006/main" xmlns:r="http://schemas.openxmlformats.org/officeDocument/2006/relationships" xmlns:p="http://schemas.openxmlformats.org/presentationml/2006/main" preserve="1">
  <p:cSld name="Four contents 2">
    <p:spTree>
      <p:nvGrpSpPr>
        <p:cNvPr id="1" name=""/>
        <p:cNvGrpSpPr/>
        <p:nvPr/>
      </p:nvGrpSpPr>
      <p:grpSpPr>
        <a:xfrm>
          <a:off x="0" y="0"/>
          <a:ext cx="0" cy="0"/>
          <a:chOff x="0" y="0"/>
          <a:chExt cx="0" cy="0"/>
        </a:xfrm>
      </p:grpSpPr>
      <p:sp>
        <p:nvSpPr>
          <p:cNvPr id="21" name="Date Placeholder 20"/>
          <p:cNvSpPr>
            <a:spLocks noGrp="1"/>
          </p:cNvSpPr>
          <p:nvPr>
            <p:ph type="dt" sz="half" idx="14"/>
          </p:nvPr>
        </p:nvSpPr>
        <p:spPr/>
        <p:txBody>
          <a:bodyPr/>
          <a:lstStyle/>
          <a:p>
            <a:endParaRPr lang="en-US"/>
          </a:p>
        </p:txBody>
      </p:sp>
      <p:sp>
        <p:nvSpPr>
          <p:cNvPr id="22" name="Footer Placeholder 21"/>
          <p:cNvSpPr>
            <a:spLocks noGrp="1"/>
          </p:cNvSpPr>
          <p:nvPr>
            <p:ph type="ftr" sz="quarter" idx="15"/>
          </p:nvPr>
        </p:nvSpPr>
        <p:spPr/>
        <p:txBody>
          <a:bodyPr/>
          <a:lstStyle/>
          <a:p>
            <a:endParaRPr lang="en-US"/>
          </a:p>
        </p:txBody>
      </p:sp>
      <p:sp>
        <p:nvSpPr>
          <p:cNvPr id="23" name="Slide Number Placeholder 22"/>
          <p:cNvSpPr>
            <a:spLocks noGrp="1"/>
          </p:cNvSpPr>
          <p:nvPr>
            <p:ph type="sldNum" sz="quarter" idx="16"/>
          </p:nvPr>
        </p:nvSpPr>
        <p:spPr/>
        <p:txBody>
          <a:bodyPr/>
          <a:lstStyle/>
          <a:p>
            <a:fld id="{5F3E29E4-0979-4FCA-B4C5-5FC6044C982A}" type="slidenum">
              <a:rPr lang="en-US" smtClean="0"/>
              <a:t>‹#›</a:t>
            </a:fld>
            <a:endParaRPr lang="en-US"/>
          </a:p>
        </p:txBody>
      </p:sp>
      <p:sp>
        <p:nvSpPr>
          <p:cNvPr id="2" name="Title 1"/>
          <p:cNvSpPr>
            <a:spLocks noGrp="1"/>
          </p:cNvSpPr>
          <p:nvPr>
            <p:ph type="title" hasCustomPrompt="1"/>
          </p:nvPr>
        </p:nvSpPr>
        <p:spPr/>
        <p:txBody>
          <a:bodyPr/>
          <a:lstStyle>
            <a:lvl1pPr>
              <a:defRPr/>
            </a:lvl1pPr>
          </a:lstStyle>
          <a:p>
            <a:r>
              <a:rPr lang="en-US"/>
              <a:t>Click to add slide title</a:t>
            </a:r>
          </a:p>
        </p:txBody>
      </p:sp>
      <p:sp>
        <p:nvSpPr>
          <p:cNvPr id="7" name="Subtitle 2"/>
          <p:cNvSpPr>
            <a:spLocks noGrp="1"/>
          </p:cNvSpPr>
          <p:nvPr>
            <p:ph type="subTitle" idx="13" hasCustomPrompt="1"/>
          </p:nvPr>
        </p:nvSpPr>
        <p:spPr>
          <a:xfrm>
            <a:off x="1075061" y="964671"/>
            <a:ext cx="7910158" cy="490042"/>
          </a:xfrm>
        </p:spPr>
        <p:txBody>
          <a:bodyPr wrap="none"/>
          <a:lstStyle>
            <a:lvl1pPr marL="0" indent="0" algn="l">
              <a:spcBef>
                <a:spcPts val="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sp>
        <p:nvSpPr>
          <p:cNvPr id="3" name="Content Placeholder 2"/>
          <p:cNvSpPr>
            <a:spLocks noGrp="1"/>
          </p:cNvSpPr>
          <p:nvPr>
            <p:ph idx="1" hasCustomPrompt="1"/>
          </p:nvPr>
        </p:nvSpPr>
        <p:spPr>
          <a:xfrm>
            <a:off x="192088" y="1629617"/>
            <a:ext cx="6102974" cy="2160000"/>
          </a:xfrm>
        </p:spPr>
        <p:txBody>
          <a:bodyPr/>
          <a:lstStyle>
            <a:lvl1pPr>
              <a:defRPr/>
            </a:lvl1pPr>
          </a:lstStyle>
          <a:p>
            <a:pPr lvl="0"/>
            <a:r>
              <a:rPr lang="en-US"/>
              <a:t>Click to add text or content</a:t>
            </a:r>
          </a:p>
          <a:p>
            <a:pPr lvl="1"/>
            <a:r>
              <a:rPr lang="en-US"/>
              <a:t>Second level</a:t>
            </a:r>
          </a:p>
          <a:p>
            <a:pPr lvl="2"/>
            <a:r>
              <a:rPr lang="en-US"/>
              <a:t>Third level</a:t>
            </a:r>
          </a:p>
          <a:p>
            <a:pPr lvl="3"/>
            <a:r>
              <a:rPr lang="en-US"/>
              <a:t>Fourth level</a:t>
            </a:r>
          </a:p>
          <a:p>
            <a:pPr lvl="4"/>
            <a:r>
              <a:rPr lang="en-US"/>
              <a:t>Fifth level</a:t>
            </a:r>
          </a:p>
        </p:txBody>
      </p:sp>
      <p:sp>
        <p:nvSpPr>
          <p:cNvPr id="9" name="Content Placeholder 2"/>
          <p:cNvSpPr>
            <a:spLocks noGrp="1"/>
          </p:cNvSpPr>
          <p:nvPr>
            <p:ph idx="17" hasCustomPrompt="1"/>
          </p:nvPr>
        </p:nvSpPr>
        <p:spPr>
          <a:xfrm>
            <a:off x="6600525" y="1629617"/>
            <a:ext cx="5234144" cy="2160000"/>
          </a:xfrm>
        </p:spPr>
        <p:txBody>
          <a:bodyPr/>
          <a:lstStyle>
            <a:lvl1pPr>
              <a:defRPr/>
            </a:lvl1pPr>
          </a:lstStyle>
          <a:p>
            <a:pPr lvl="0"/>
            <a:r>
              <a:rPr lang="en-US"/>
              <a:t>Click to add text or content</a:t>
            </a:r>
          </a:p>
          <a:p>
            <a:pPr lvl="1"/>
            <a:r>
              <a:rPr lang="en-US"/>
              <a:t>Second level</a:t>
            </a:r>
          </a:p>
          <a:p>
            <a:pPr lvl="2"/>
            <a:r>
              <a:rPr lang="en-US"/>
              <a:t>Third level</a:t>
            </a:r>
          </a:p>
          <a:p>
            <a:pPr lvl="3"/>
            <a:r>
              <a:rPr lang="en-US"/>
              <a:t>Fourth level</a:t>
            </a:r>
          </a:p>
          <a:p>
            <a:pPr lvl="4"/>
            <a:r>
              <a:rPr lang="en-US"/>
              <a:t>Fifth level</a:t>
            </a:r>
          </a:p>
        </p:txBody>
      </p:sp>
      <p:sp>
        <p:nvSpPr>
          <p:cNvPr id="10" name="Content Placeholder 2"/>
          <p:cNvSpPr>
            <a:spLocks noGrp="1"/>
          </p:cNvSpPr>
          <p:nvPr>
            <p:ph idx="18" hasCustomPrompt="1"/>
          </p:nvPr>
        </p:nvSpPr>
        <p:spPr>
          <a:xfrm>
            <a:off x="192088" y="4077289"/>
            <a:ext cx="6102974" cy="2160000"/>
          </a:xfrm>
        </p:spPr>
        <p:txBody>
          <a:bodyPr/>
          <a:lstStyle>
            <a:lvl1pPr>
              <a:defRPr/>
            </a:lvl1pPr>
          </a:lstStyle>
          <a:p>
            <a:pPr lvl="0"/>
            <a:r>
              <a:rPr lang="en-US"/>
              <a:t>Click to add text or content</a:t>
            </a:r>
          </a:p>
          <a:p>
            <a:pPr lvl="1"/>
            <a:r>
              <a:rPr lang="en-US"/>
              <a:t>Second level</a:t>
            </a:r>
          </a:p>
          <a:p>
            <a:pPr lvl="2"/>
            <a:r>
              <a:rPr lang="en-US"/>
              <a:t>Third level</a:t>
            </a:r>
          </a:p>
          <a:p>
            <a:pPr lvl="3"/>
            <a:r>
              <a:rPr lang="en-US"/>
              <a:t>Fourth level</a:t>
            </a:r>
          </a:p>
          <a:p>
            <a:pPr lvl="4"/>
            <a:r>
              <a:rPr lang="en-US"/>
              <a:t>Fifth level</a:t>
            </a:r>
          </a:p>
        </p:txBody>
      </p:sp>
      <p:sp>
        <p:nvSpPr>
          <p:cNvPr id="13" name="Content Placeholder 2"/>
          <p:cNvSpPr>
            <a:spLocks noGrp="1"/>
          </p:cNvSpPr>
          <p:nvPr>
            <p:ph idx="19" hasCustomPrompt="1"/>
          </p:nvPr>
        </p:nvSpPr>
        <p:spPr>
          <a:xfrm>
            <a:off x="6600525" y="4077289"/>
            <a:ext cx="5234144" cy="2160000"/>
          </a:xfrm>
        </p:spPr>
        <p:txBody>
          <a:bodyPr/>
          <a:lstStyle>
            <a:lvl1pPr>
              <a:defRPr/>
            </a:lvl1pPr>
          </a:lstStyle>
          <a:p>
            <a:pPr lvl="0"/>
            <a:r>
              <a:rPr lang="en-US"/>
              <a:t>Click to add text or content</a:t>
            </a:r>
          </a:p>
          <a:p>
            <a:pPr lvl="1"/>
            <a:r>
              <a:rPr lang="en-US"/>
              <a:t>Second level</a:t>
            </a:r>
          </a:p>
          <a:p>
            <a:pPr lvl="2"/>
            <a:r>
              <a:rPr lang="en-US"/>
              <a:t>Third level</a:t>
            </a:r>
          </a:p>
          <a:p>
            <a:pPr lvl="3"/>
            <a:r>
              <a:rPr lang="en-US"/>
              <a:t>Fourth level</a:t>
            </a:r>
          </a:p>
          <a:p>
            <a:pPr lvl="4"/>
            <a:r>
              <a:rPr lang="en-US"/>
              <a:t>Fifth level</a:t>
            </a:r>
          </a:p>
        </p:txBody>
      </p:sp>
      <p:sp>
        <p:nvSpPr>
          <p:cNvPr id="12" name="Text Placeholder 4"/>
          <p:cNvSpPr>
            <a:spLocks noGrp="1"/>
          </p:cNvSpPr>
          <p:nvPr>
            <p:ph type="body" sz="quarter" idx="20" hasCustomPrompt="1"/>
          </p:nvPr>
        </p:nvSpPr>
        <p:spPr>
          <a:xfrm>
            <a:off x="1075063" y="6307665"/>
            <a:ext cx="8162717" cy="133200"/>
          </a:xfrm>
        </p:spPr>
        <p:txBody>
          <a:bodyPr lIns="0" tIns="0" rIns="0" bIns="0" anchor="b" anchorCtr="0"/>
          <a:lstStyle>
            <a:lvl1pPr marL="0" indent="0" algn="l">
              <a:lnSpc>
                <a:spcPct val="100000"/>
              </a:lnSpc>
              <a:spcBef>
                <a:spcPts val="0"/>
              </a:spcBef>
              <a:buNone/>
              <a:defRPr sz="800" baseline="0"/>
            </a:lvl1pPr>
            <a:lvl2pPr marL="0" indent="0" algn="l">
              <a:lnSpc>
                <a:spcPct val="100000"/>
              </a:lnSpc>
              <a:spcBef>
                <a:spcPts val="0"/>
              </a:spcBef>
              <a:buNone/>
              <a:defRPr sz="800"/>
            </a:lvl2pPr>
            <a:lvl3pPr marL="0" indent="0" algn="l">
              <a:lnSpc>
                <a:spcPct val="100000"/>
              </a:lnSpc>
              <a:spcBef>
                <a:spcPts val="0"/>
              </a:spcBef>
              <a:buNone/>
              <a:defRPr sz="800"/>
            </a:lvl3pPr>
            <a:lvl4pPr marL="0" algn="l">
              <a:lnSpc>
                <a:spcPct val="100000"/>
              </a:lnSpc>
              <a:spcBef>
                <a:spcPts val="0"/>
              </a:spcBef>
              <a:buNone/>
              <a:defRPr sz="800"/>
            </a:lvl4pPr>
            <a:lvl5pPr marL="0" indent="0" algn="l">
              <a:lnSpc>
                <a:spcPct val="100000"/>
              </a:lnSpc>
              <a:spcBef>
                <a:spcPts val="0"/>
              </a:spcBef>
              <a:buNone/>
              <a:defRPr sz="800"/>
            </a:lvl5pPr>
          </a:lstStyle>
          <a:p>
            <a:pPr lvl="0"/>
            <a:r>
              <a:rPr lang="en-US"/>
              <a:t>Source line</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41351510"/>
      </p:ext>
    </p:extLst>
  </p:cSld>
  <p:clrMapOvr>
    <a:masterClrMapping/>
  </p:clrMapOvr>
</p:sldLayout>
</file>

<file path=ppt/slideLayouts/slideLayout458.xml><?xml version="1.0" encoding="utf-8"?>
<p:sldLayout xmlns:a="http://schemas.openxmlformats.org/drawingml/2006/main" xmlns:r="http://schemas.openxmlformats.org/officeDocument/2006/relationships" xmlns:p="http://schemas.openxmlformats.org/presentationml/2006/main" preserve="1">
  <p:cSld name="Large charts and tables">
    <p:spTree>
      <p:nvGrpSpPr>
        <p:cNvPr id="1" name=""/>
        <p:cNvGrpSpPr/>
        <p:nvPr/>
      </p:nvGrpSpPr>
      <p:grpSpPr>
        <a:xfrm>
          <a:off x="0" y="0"/>
          <a:ext cx="0" cy="0"/>
          <a:chOff x="0" y="0"/>
          <a:chExt cx="0" cy="0"/>
        </a:xfrm>
      </p:grpSpPr>
      <p:sp>
        <p:nvSpPr>
          <p:cNvPr id="21" name="Date Placeholder 20"/>
          <p:cNvSpPr>
            <a:spLocks noGrp="1"/>
          </p:cNvSpPr>
          <p:nvPr>
            <p:ph type="dt" sz="half" idx="14"/>
          </p:nvPr>
        </p:nvSpPr>
        <p:spPr/>
        <p:txBody>
          <a:bodyPr/>
          <a:lstStyle/>
          <a:p>
            <a:endParaRPr lang="en-US"/>
          </a:p>
        </p:txBody>
      </p:sp>
      <p:sp>
        <p:nvSpPr>
          <p:cNvPr id="22" name="Footer Placeholder 21"/>
          <p:cNvSpPr>
            <a:spLocks noGrp="1"/>
          </p:cNvSpPr>
          <p:nvPr>
            <p:ph type="ftr" sz="quarter" idx="15"/>
          </p:nvPr>
        </p:nvSpPr>
        <p:spPr/>
        <p:txBody>
          <a:bodyPr/>
          <a:lstStyle/>
          <a:p>
            <a:endParaRPr lang="en-US"/>
          </a:p>
        </p:txBody>
      </p:sp>
      <p:sp>
        <p:nvSpPr>
          <p:cNvPr id="23" name="Slide Number Placeholder 22"/>
          <p:cNvSpPr>
            <a:spLocks noGrp="1"/>
          </p:cNvSpPr>
          <p:nvPr>
            <p:ph type="sldNum" sz="quarter" idx="16"/>
          </p:nvPr>
        </p:nvSpPr>
        <p:spPr/>
        <p:txBody>
          <a:bodyPr/>
          <a:lstStyle/>
          <a:p>
            <a:fld id="{5F3E29E4-0979-4FCA-B4C5-5FC6044C982A}" type="slidenum">
              <a:rPr lang="en-US" smtClean="0"/>
              <a:t>‹#›</a:t>
            </a:fld>
            <a:endParaRPr lang="en-US"/>
          </a:p>
        </p:txBody>
      </p:sp>
      <p:sp>
        <p:nvSpPr>
          <p:cNvPr id="2" name="Title 1"/>
          <p:cNvSpPr>
            <a:spLocks noGrp="1"/>
          </p:cNvSpPr>
          <p:nvPr>
            <p:ph type="title" hasCustomPrompt="1"/>
          </p:nvPr>
        </p:nvSpPr>
        <p:spPr/>
        <p:txBody>
          <a:bodyPr/>
          <a:lstStyle>
            <a:lvl1pPr>
              <a:defRPr/>
            </a:lvl1pPr>
          </a:lstStyle>
          <a:p>
            <a:r>
              <a:rPr lang="en-US"/>
              <a:t>Click to add slide title</a:t>
            </a:r>
          </a:p>
        </p:txBody>
      </p:sp>
      <p:sp>
        <p:nvSpPr>
          <p:cNvPr id="7" name="Subtitle 2"/>
          <p:cNvSpPr>
            <a:spLocks noGrp="1"/>
          </p:cNvSpPr>
          <p:nvPr>
            <p:ph type="subTitle" idx="13" hasCustomPrompt="1"/>
          </p:nvPr>
        </p:nvSpPr>
        <p:spPr>
          <a:xfrm>
            <a:off x="1075061" y="964671"/>
            <a:ext cx="7910158" cy="490042"/>
          </a:xfrm>
        </p:spPr>
        <p:txBody>
          <a:bodyPr wrap="none"/>
          <a:lstStyle>
            <a:lvl1pPr marL="0" indent="0" algn="l">
              <a:spcBef>
                <a:spcPts val="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sp>
        <p:nvSpPr>
          <p:cNvPr id="3" name="Content Placeholder 2"/>
          <p:cNvSpPr>
            <a:spLocks noGrp="1"/>
          </p:cNvSpPr>
          <p:nvPr>
            <p:ph idx="1" hasCustomPrompt="1"/>
          </p:nvPr>
        </p:nvSpPr>
        <p:spPr>
          <a:xfrm>
            <a:off x="192088" y="1629617"/>
            <a:ext cx="11642581" cy="4599506"/>
          </a:xfrm>
        </p:spPr>
        <p:txBody>
          <a:bodyPr anchor="t"/>
          <a:lstStyle>
            <a:lvl1pPr marL="0" indent="0" algn="ctr">
              <a:spcBef>
                <a:spcPts val="1000"/>
              </a:spcBef>
              <a:buNone/>
              <a:defRPr sz="2800" baseline="0"/>
            </a:lvl1pPr>
            <a:lvl2pPr marL="0" indent="0">
              <a:spcBef>
                <a:spcPts val="1000"/>
              </a:spcBef>
              <a:buNone/>
              <a:defRPr sz="2800"/>
            </a:lvl2pPr>
            <a:lvl3pPr marL="0" indent="0">
              <a:spcBef>
                <a:spcPts val="1000"/>
              </a:spcBef>
              <a:buNone/>
              <a:defRPr sz="2800"/>
            </a:lvl3pPr>
            <a:lvl4pPr>
              <a:spcBef>
                <a:spcPts val="1000"/>
              </a:spcBef>
              <a:buNone/>
              <a:defRPr sz="2800"/>
            </a:lvl4pPr>
            <a:lvl5pPr marL="0" indent="0">
              <a:spcBef>
                <a:spcPts val="1000"/>
              </a:spcBef>
              <a:buNone/>
              <a:defRPr sz="2800"/>
            </a:lvl5pPr>
          </a:lstStyle>
          <a:p>
            <a:pPr lvl="0"/>
            <a:r>
              <a:rPr lang="en-US"/>
              <a:t>Use this layout for large charts and tables only. Please, do not use with text.</a:t>
            </a:r>
          </a:p>
          <a:p>
            <a:pPr lvl="1"/>
            <a:r>
              <a:rPr lang="en-US"/>
              <a:t>Second level</a:t>
            </a:r>
          </a:p>
          <a:p>
            <a:pPr lvl="2"/>
            <a:r>
              <a:rPr lang="en-US"/>
              <a:t>Third level</a:t>
            </a:r>
          </a:p>
          <a:p>
            <a:pPr lvl="3"/>
            <a:r>
              <a:rPr lang="en-US"/>
              <a:t>Fourth level</a:t>
            </a:r>
          </a:p>
          <a:p>
            <a:pPr lvl="4"/>
            <a:r>
              <a:rPr lang="en-US"/>
              <a:t>Fifth level</a:t>
            </a:r>
          </a:p>
        </p:txBody>
      </p:sp>
      <p:sp>
        <p:nvSpPr>
          <p:cNvPr id="9" name="Text Placeholder 4"/>
          <p:cNvSpPr>
            <a:spLocks noGrp="1"/>
          </p:cNvSpPr>
          <p:nvPr>
            <p:ph type="body" sz="quarter" idx="17" hasCustomPrompt="1"/>
          </p:nvPr>
        </p:nvSpPr>
        <p:spPr>
          <a:xfrm>
            <a:off x="1075063" y="6307665"/>
            <a:ext cx="8162717" cy="133200"/>
          </a:xfrm>
        </p:spPr>
        <p:txBody>
          <a:bodyPr lIns="0" tIns="0" rIns="0" bIns="0" anchor="b" anchorCtr="0"/>
          <a:lstStyle>
            <a:lvl1pPr marL="0" indent="0" algn="l">
              <a:lnSpc>
                <a:spcPct val="100000"/>
              </a:lnSpc>
              <a:spcBef>
                <a:spcPts val="0"/>
              </a:spcBef>
              <a:buNone/>
              <a:defRPr sz="800" baseline="0"/>
            </a:lvl1pPr>
            <a:lvl2pPr marL="0" indent="0" algn="l">
              <a:lnSpc>
                <a:spcPct val="100000"/>
              </a:lnSpc>
              <a:spcBef>
                <a:spcPts val="0"/>
              </a:spcBef>
              <a:buNone/>
              <a:defRPr sz="800"/>
            </a:lvl2pPr>
            <a:lvl3pPr marL="0" indent="0" algn="l">
              <a:lnSpc>
                <a:spcPct val="100000"/>
              </a:lnSpc>
              <a:spcBef>
                <a:spcPts val="0"/>
              </a:spcBef>
              <a:buNone/>
              <a:defRPr sz="800"/>
            </a:lvl3pPr>
            <a:lvl4pPr marL="0" algn="l">
              <a:lnSpc>
                <a:spcPct val="100000"/>
              </a:lnSpc>
              <a:spcBef>
                <a:spcPts val="0"/>
              </a:spcBef>
              <a:buNone/>
              <a:defRPr sz="800"/>
            </a:lvl4pPr>
            <a:lvl5pPr marL="0" indent="0" algn="l">
              <a:lnSpc>
                <a:spcPct val="100000"/>
              </a:lnSpc>
              <a:spcBef>
                <a:spcPts val="0"/>
              </a:spcBef>
              <a:buNone/>
              <a:defRPr sz="800"/>
            </a:lvl5pPr>
          </a:lstStyle>
          <a:p>
            <a:pPr lvl="0"/>
            <a:r>
              <a:rPr lang="en-US"/>
              <a:t>Source line</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5577580"/>
      </p:ext>
    </p:extLst>
  </p:cSld>
  <p:clrMapOvr>
    <a:masterClrMapping/>
  </p:clrMapOvr>
</p:sldLayout>
</file>

<file path=ppt/slideLayouts/slideLayout459.xml><?xml version="1.0" encoding="utf-8"?>
<p:sldLayout xmlns:a="http://schemas.openxmlformats.org/drawingml/2006/main" xmlns:r="http://schemas.openxmlformats.org/officeDocument/2006/relationships" xmlns:p="http://schemas.openxmlformats.org/presentationml/2006/main" preserve="1">
  <p:cSld name="Chart with description">
    <p:spTree>
      <p:nvGrpSpPr>
        <p:cNvPr id="1" name=""/>
        <p:cNvGrpSpPr/>
        <p:nvPr/>
      </p:nvGrpSpPr>
      <p:grpSpPr>
        <a:xfrm>
          <a:off x="0" y="0"/>
          <a:ext cx="0" cy="0"/>
          <a:chOff x="0" y="0"/>
          <a:chExt cx="0" cy="0"/>
        </a:xfrm>
      </p:grpSpPr>
      <p:sp>
        <p:nvSpPr>
          <p:cNvPr id="21" name="Date Placeholder 20"/>
          <p:cNvSpPr>
            <a:spLocks noGrp="1"/>
          </p:cNvSpPr>
          <p:nvPr>
            <p:ph type="dt" sz="half" idx="14"/>
          </p:nvPr>
        </p:nvSpPr>
        <p:spPr/>
        <p:txBody>
          <a:bodyPr/>
          <a:lstStyle/>
          <a:p>
            <a:endParaRPr lang="en-US"/>
          </a:p>
        </p:txBody>
      </p:sp>
      <p:sp>
        <p:nvSpPr>
          <p:cNvPr id="22" name="Footer Placeholder 21"/>
          <p:cNvSpPr>
            <a:spLocks noGrp="1"/>
          </p:cNvSpPr>
          <p:nvPr>
            <p:ph type="ftr" sz="quarter" idx="15"/>
          </p:nvPr>
        </p:nvSpPr>
        <p:spPr/>
        <p:txBody>
          <a:bodyPr/>
          <a:lstStyle/>
          <a:p>
            <a:endParaRPr lang="en-US"/>
          </a:p>
        </p:txBody>
      </p:sp>
      <p:sp>
        <p:nvSpPr>
          <p:cNvPr id="23" name="Slide Number Placeholder 22"/>
          <p:cNvSpPr>
            <a:spLocks noGrp="1"/>
          </p:cNvSpPr>
          <p:nvPr>
            <p:ph type="sldNum" sz="quarter" idx="16"/>
          </p:nvPr>
        </p:nvSpPr>
        <p:spPr/>
        <p:txBody>
          <a:bodyPr/>
          <a:lstStyle/>
          <a:p>
            <a:fld id="{5F3E29E4-0979-4FCA-B4C5-5FC6044C982A}" type="slidenum">
              <a:rPr lang="en-US" smtClean="0"/>
              <a:t>‹#›</a:t>
            </a:fld>
            <a:endParaRPr lang="en-US"/>
          </a:p>
        </p:txBody>
      </p:sp>
      <p:sp>
        <p:nvSpPr>
          <p:cNvPr id="2" name="Title 1"/>
          <p:cNvSpPr>
            <a:spLocks noGrp="1"/>
          </p:cNvSpPr>
          <p:nvPr>
            <p:ph type="title" hasCustomPrompt="1"/>
          </p:nvPr>
        </p:nvSpPr>
        <p:spPr/>
        <p:txBody>
          <a:bodyPr/>
          <a:lstStyle>
            <a:lvl1pPr>
              <a:defRPr/>
            </a:lvl1pPr>
          </a:lstStyle>
          <a:p>
            <a:r>
              <a:rPr lang="en-US"/>
              <a:t>Click to add slide title</a:t>
            </a:r>
          </a:p>
        </p:txBody>
      </p:sp>
      <p:sp>
        <p:nvSpPr>
          <p:cNvPr id="7" name="Subtitle 2"/>
          <p:cNvSpPr>
            <a:spLocks noGrp="1"/>
          </p:cNvSpPr>
          <p:nvPr>
            <p:ph type="subTitle" idx="13" hasCustomPrompt="1"/>
          </p:nvPr>
        </p:nvSpPr>
        <p:spPr>
          <a:xfrm>
            <a:off x="1075061" y="964671"/>
            <a:ext cx="7910158" cy="490042"/>
          </a:xfrm>
        </p:spPr>
        <p:txBody>
          <a:bodyPr wrap="none"/>
          <a:lstStyle>
            <a:lvl1pPr marL="0" indent="0" algn="l">
              <a:spcBef>
                <a:spcPts val="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sp>
        <p:nvSpPr>
          <p:cNvPr id="4" name="Chart Placeholder 3"/>
          <p:cNvSpPr>
            <a:spLocks noGrp="1"/>
          </p:cNvSpPr>
          <p:nvPr>
            <p:ph type="chart" sz="quarter" idx="17" hasCustomPrompt="1"/>
          </p:nvPr>
        </p:nvSpPr>
        <p:spPr>
          <a:xfrm>
            <a:off x="192088" y="1629617"/>
            <a:ext cx="5903913" cy="4599506"/>
          </a:xfrm>
        </p:spPr>
        <p:txBody>
          <a:bodyPr/>
          <a:lstStyle>
            <a:lvl1pPr>
              <a:defRPr/>
            </a:lvl1pPr>
          </a:lstStyle>
          <a:p>
            <a:r>
              <a:rPr lang="en-US"/>
              <a:t>Click to add chart</a:t>
            </a:r>
          </a:p>
        </p:txBody>
      </p:sp>
      <p:sp>
        <p:nvSpPr>
          <p:cNvPr id="6" name="Text Placeholder 5"/>
          <p:cNvSpPr>
            <a:spLocks noGrp="1"/>
          </p:cNvSpPr>
          <p:nvPr>
            <p:ph type="body" sz="quarter" idx="18" hasCustomPrompt="1"/>
          </p:nvPr>
        </p:nvSpPr>
        <p:spPr>
          <a:xfrm>
            <a:off x="6206067" y="3393019"/>
            <a:ext cx="5628602" cy="2023841"/>
          </a:xfrm>
          <a:solidFill>
            <a:srgbClr val="D9DADB"/>
          </a:solidFill>
        </p:spPr>
        <p:txBody>
          <a:bodyPr lIns="108000" tIns="108000" rIns="108000" bIns="108000"/>
          <a:lstStyle>
            <a:lvl1pPr>
              <a:defRPr sz="1600"/>
            </a:lvl1pPr>
            <a:lvl2pPr>
              <a:defRPr sz="1600"/>
            </a:lvl2pPr>
            <a:lvl3pPr>
              <a:defRPr sz="1600"/>
            </a:lvl3pPr>
            <a:lvl4pPr>
              <a:defRPr sz="1600"/>
            </a:lvl4pPr>
            <a:lvl5pPr>
              <a:defRPr sz="1600"/>
            </a:lvl5pPr>
          </a:lstStyle>
          <a:p>
            <a:pPr lvl="0"/>
            <a:r>
              <a:rPr lang="en-US"/>
              <a:t>Click to add text</a:t>
            </a:r>
          </a:p>
          <a:p>
            <a:pPr lvl="1"/>
            <a:r>
              <a:rPr lang="en-US"/>
              <a:t>Second level</a:t>
            </a:r>
          </a:p>
          <a:p>
            <a:pPr lvl="2"/>
            <a:r>
              <a:rPr lang="en-US"/>
              <a:t>Third level</a:t>
            </a:r>
          </a:p>
          <a:p>
            <a:pPr lvl="3"/>
            <a:r>
              <a:rPr lang="en-US"/>
              <a:t>Fourth level</a:t>
            </a:r>
          </a:p>
          <a:p>
            <a:pPr lvl="4"/>
            <a:r>
              <a:rPr lang="en-US"/>
              <a:t>Fifth level</a:t>
            </a:r>
          </a:p>
        </p:txBody>
      </p:sp>
      <p:sp>
        <p:nvSpPr>
          <p:cNvPr id="10" name="Text Placeholder 4"/>
          <p:cNvSpPr>
            <a:spLocks noGrp="1"/>
          </p:cNvSpPr>
          <p:nvPr>
            <p:ph type="body" sz="quarter" idx="19" hasCustomPrompt="1"/>
          </p:nvPr>
        </p:nvSpPr>
        <p:spPr>
          <a:xfrm>
            <a:off x="1075063" y="6307665"/>
            <a:ext cx="8162717" cy="133200"/>
          </a:xfrm>
        </p:spPr>
        <p:txBody>
          <a:bodyPr lIns="0" tIns="0" rIns="0" bIns="0" anchor="b" anchorCtr="0"/>
          <a:lstStyle>
            <a:lvl1pPr marL="0" indent="0" algn="l">
              <a:lnSpc>
                <a:spcPct val="100000"/>
              </a:lnSpc>
              <a:spcBef>
                <a:spcPts val="0"/>
              </a:spcBef>
              <a:buNone/>
              <a:defRPr sz="800" baseline="0"/>
            </a:lvl1pPr>
            <a:lvl2pPr marL="0" indent="0" algn="l">
              <a:lnSpc>
                <a:spcPct val="100000"/>
              </a:lnSpc>
              <a:spcBef>
                <a:spcPts val="0"/>
              </a:spcBef>
              <a:buNone/>
              <a:defRPr sz="800"/>
            </a:lvl2pPr>
            <a:lvl3pPr marL="0" indent="0" algn="l">
              <a:lnSpc>
                <a:spcPct val="100000"/>
              </a:lnSpc>
              <a:spcBef>
                <a:spcPts val="0"/>
              </a:spcBef>
              <a:buNone/>
              <a:defRPr sz="800"/>
            </a:lvl3pPr>
            <a:lvl4pPr marL="0" algn="l">
              <a:lnSpc>
                <a:spcPct val="100000"/>
              </a:lnSpc>
              <a:spcBef>
                <a:spcPts val="0"/>
              </a:spcBef>
              <a:buNone/>
              <a:defRPr sz="800"/>
            </a:lvl4pPr>
            <a:lvl5pPr marL="0" indent="0" algn="l">
              <a:lnSpc>
                <a:spcPct val="100000"/>
              </a:lnSpc>
              <a:spcBef>
                <a:spcPts val="0"/>
              </a:spcBef>
              <a:buNone/>
              <a:defRPr sz="800"/>
            </a:lvl5pPr>
          </a:lstStyle>
          <a:p>
            <a:pPr lvl="0"/>
            <a:r>
              <a:rPr lang="en-US"/>
              <a:t>Source line</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82699659"/>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elfolie">
    <p:spTree>
      <p:nvGrpSpPr>
        <p:cNvPr id="1" name=""/>
        <p:cNvGrpSpPr/>
        <p:nvPr/>
      </p:nvGrpSpPr>
      <p:grpSpPr>
        <a:xfrm>
          <a:off x="0" y="0"/>
          <a:ext cx="0" cy="0"/>
          <a:chOff x="0" y="0"/>
          <a:chExt cx="0" cy="0"/>
        </a:xfrm>
      </p:grpSpPr>
      <p:sp>
        <p:nvSpPr>
          <p:cNvPr id="2" name="Title 1"/>
          <p:cNvSpPr>
            <a:spLocks noGrp="1"/>
          </p:cNvSpPr>
          <p:nvPr>
            <p:ph type="ctrTitle" hasCustomPrompt="1"/>
          </p:nvPr>
        </p:nvSpPr>
        <p:spPr bwMode="gray">
          <a:xfrm>
            <a:off x="431800" y="2372784"/>
            <a:ext cx="11328401" cy="1344257"/>
          </a:xfrm>
        </p:spPr>
        <p:txBody>
          <a:bodyPr anchor="b"/>
          <a:lstStyle>
            <a:lvl1pPr>
              <a:defRPr sz="4800" b="0" cap="none" baseline="0">
                <a:solidFill>
                  <a:schemeClr val="tx2"/>
                </a:solidFill>
                <a:latin typeface="Arial" pitchFamily="34" charset="0"/>
              </a:defRPr>
            </a:lvl1pPr>
          </a:lstStyle>
          <a:p>
            <a:r>
              <a:rPr lang="en-US"/>
              <a:t>Click to add title of presentation</a:t>
            </a:r>
          </a:p>
        </p:txBody>
      </p:sp>
      <p:sp>
        <p:nvSpPr>
          <p:cNvPr id="3" name="Subtitle 2"/>
          <p:cNvSpPr>
            <a:spLocks noGrp="1"/>
          </p:cNvSpPr>
          <p:nvPr>
            <p:ph type="subTitle" idx="1" hasCustomPrompt="1"/>
          </p:nvPr>
        </p:nvSpPr>
        <p:spPr bwMode="gray">
          <a:xfrm>
            <a:off x="431799" y="3813054"/>
            <a:ext cx="11328403" cy="1535764"/>
          </a:xfrm>
        </p:spPr>
        <p:txBody>
          <a:bodyPr/>
          <a:lstStyle>
            <a:lvl1pPr marL="0" indent="0" algn="l">
              <a:spcBef>
                <a:spcPts val="800"/>
              </a:spcBef>
              <a:spcAft>
                <a:spcPts val="0"/>
              </a:spcAft>
              <a:buNone/>
              <a:defRPr sz="2667" baseline="0">
                <a:solidFill>
                  <a:schemeClr val="tx2"/>
                </a:solidFill>
              </a:defRPr>
            </a:lvl1pPr>
            <a:lvl2pPr marL="0" indent="0" algn="l">
              <a:spcBef>
                <a:spcPts val="800"/>
              </a:spcBef>
              <a:spcAft>
                <a:spcPts val="0"/>
              </a:spcAft>
              <a:buNone/>
              <a:defRPr sz="2667">
                <a:solidFill>
                  <a:schemeClr val="tx2"/>
                </a:solidFill>
              </a:defRPr>
            </a:lvl2pPr>
            <a:lvl3pPr marL="0" indent="0" algn="l">
              <a:spcBef>
                <a:spcPts val="800"/>
              </a:spcBef>
              <a:spcAft>
                <a:spcPts val="0"/>
              </a:spcAft>
              <a:buNone/>
              <a:defRPr sz="2667">
                <a:solidFill>
                  <a:schemeClr val="tx2"/>
                </a:solidFill>
              </a:defRPr>
            </a:lvl3pPr>
            <a:lvl4pPr marL="0" indent="0" algn="l">
              <a:spcBef>
                <a:spcPts val="800"/>
              </a:spcBef>
              <a:spcAft>
                <a:spcPts val="0"/>
              </a:spcAft>
              <a:buNone/>
              <a:defRPr sz="2667">
                <a:solidFill>
                  <a:schemeClr val="tx2"/>
                </a:solidFill>
              </a:defRPr>
            </a:lvl4pPr>
            <a:lvl5pPr marL="0" indent="0" algn="l">
              <a:spcBef>
                <a:spcPts val="800"/>
              </a:spcBef>
              <a:spcAft>
                <a:spcPts val="0"/>
              </a:spcAft>
              <a:buNone/>
              <a:defRPr sz="2667">
                <a:solidFill>
                  <a:schemeClr val="tx2"/>
                </a:solidFill>
              </a:defRPr>
            </a:lvl5pPr>
            <a:lvl6pPr marL="0" indent="0" algn="l">
              <a:spcBef>
                <a:spcPts val="800"/>
              </a:spcBef>
              <a:spcAft>
                <a:spcPts val="0"/>
              </a:spcAft>
              <a:buNone/>
              <a:defRPr sz="2667">
                <a:solidFill>
                  <a:schemeClr val="tx2"/>
                </a:solidFill>
              </a:defRPr>
            </a:lvl6pPr>
            <a:lvl7pPr marL="0" indent="0" algn="l">
              <a:spcBef>
                <a:spcPts val="800"/>
              </a:spcBef>
              <a:spcAft>
                <a:spcPts val="0"/>
              </a:spcAft>
              <a:buNone/>
              <a:defRPr sz="2667">
                <a:solidFill>
                  <a:schemeClr val="tx2"/>
                </a:solidFill>
              </a:defRPr>
            </a:lvl7pPr>
            <a:lvl8pPr marL="0" indent="0" algn="l">
              <a:spcAft>
                <a:spcPts val="0"/>
              </a:spcAft>
              <a:buNone/>
              <a:defRPr sz="2667">
                <a:solidFill>
                  <a:schemeClr val="tx2"/>
                </a:solidFill>
              </a:defRPr>
            </a:lvl8pPr>
            <a:lvl9pPr marL="0" indent="0" algn="l">
              <a:spcBef>
                <a:spcPts val="800"/>
              </a:spcBef>
              <a:spcAft>
                <a:spcPts val="0"/>
              </a:spcAft>
              <a:buNone/>
              <a:defRPr sz="2667">
                <a:solidFill>
                  <a:schemeClr val="tx2"/>
                </a:solidFill>
              </a:defRPr>
            </a:lvl9pPr>
          </a:lstStyle>
          <a:p>
            <a:pPr lvl="0"/>
            <a:r>
              <a:rPr lang="en-US" noProof="0"/>
              <a:t>Click to add subtitle of presentation</a:t>
            </a:r>
          </a:p>
        </p:txBody>
      </p:sp>
      <p:sp>
        <p:nvSpPr>
          <p:cNvPr id="4" name="Rechteck 3"/>
          <p:cNvSpPr/>
          <p:nvPr userDrawn="1"/>
        </p:nvSpPr>
        <p:spPr bwMode="gray">
          <a:xfrm>
            <a:off x="0" y="6570171"/>
            <a:ext cx="12192000" cy="287829"/>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indent="0" algn="ctr">
              <a:buFont typeface="Courier New" pitchFamily="49" charset="0"/>
              <a:buNone/>
            </a:pPr>
            <a:endParaRPr lang="en-US" sz="2133">
              <a:solidFill>
                <a:schemeClr val="tx1"/>
              </a:solidFill>
              <a:latin typeface="Arial" pitchFamily="34" charset="0"/>
            </a:endParaRPr>
          </a:p>
        </p:txBody>
      </p:sp>
      <p:sp>
        <p:nvSpPr>
          <p:cNvPr id="6" name="Text Placeholder 10"/>
          <p:cNvSpPr>
            <a:spLocks noGrp="1"/>
          </p:cNvSpPr>
          <p:nvPr>
            <p:ph type="body" sz="quarter" idx="10" hasCustomPrompt="1"/>
          </p:nvPr>
        </p:nvSpPr>
        <p:spPr bwMode="gray">
          <a:xfrm>
            <a:off x="431800" y="6117413"/>
            <a:ext cx="11328400" cy="288000"/>
          </a:xfrm>
        </p:spPr>
        <p:txBody>
          <a:bodyPr tIns="0" anchor="b" anchorCtr="0"/>
          <a:lstStyle>
            <a:lvl1pPr marL="0" indent="0">
              <a:lnSpc>
                <a:spcPct val="100000"/>
              </a:lnSpc>
              <a:spcBef>
                <a:spcPts val="0"/>
              </a:spcBef>
              <a:spcAft>
                <a:spcPts val="0"/>
              </a:spcAft>
              <a:buFontTx/>
              <a:buNone/>
              <a:defRPr sz="1600">
                <a:solidFill>
                  <a:schemeClr val="tx2"/>
                </a:solidFill>
              </a:defRPr>
            </a:lvl1pPr>
            <a:lvl2pPr marL="0" indent="0">
              <a:lnSpc>
                <a:spcPct val="100000"/>
              </a:lnSpc>
              <a:spcBef>
                <a:spcPts val="0"/>
              </a:spcBef>
              <a:spcAft>
                <a:spcPts val="0"/>
              </a:spcAft>
              <a:buFontTx/>
              <a:buNone/>
              <a:defRPr sz="1600">
                <a:solidFill>
                  <a:schemeClr val="tx2"/>
                </a:solidFill>
              </a:defRPr>
            </a:lvl2pPr>
            <a:lvl3pPr marL="0" indent="0">
              <a:lnSpc>
                <a:spcPct val="100000"/>
              </a:lnSpc>
              <a:spcBef>
                <a:spcPts val="0"/>
              </a:spcBef>
              <a:spcAft>
                <a:spcPts val="0"/>
              </a:spcAft>
              <a:buFontTx/>
              <a:buNone/>
              <a:defRPr sz="1600">
                <a:solidFill>
                  <a:schemeClr val="tx2"/>
                </a:solidFill>
              </a:defRPr>
            </a:lvl3pPr>
            <a:lvl4pPr marL="0" indent="0">
              <a:lnSpc>
                <a:spcPct val="100000"/>
              </a:lnSpc>
              <a:spcBef>
                <a:spcPts val="0"/>
              </a:spcBef>
              <a:spcAft>
                <a:spcPts val="0"/>
              </a:spcAft>
              <a:buFontTx/>
              <a:buNone/>
              <a:defRPr sz="1600">
                <a:solidFill>
                  <a:schemeClr val="tx2"/>
                </a:solidFill>
              </a:defRPr>
            </a:lvl4pPr>
            <a:lvl5pPr marL="0" indent="0">
              <a:lnSpc>
                <a:spcPct val="100000"/>
              </a:lnSpc>
              <a:spcBef>
                <a:spcPts val="0"/>
              </a:spcBef>
              <a:spcAft>
                <a:spcPts val="0"/>
              </a:spcAft>
              <a:buFontTx/>
              <a:buNone/>
              <a:defRPr sz="1600">
                <a:solidFill>
                  <a:schemeClr val="tx2"/>
                </a:solidFill>
              </a:defRPr>
            </a:lvl5pPr>
            <a:lvl6pPr marL="0" indent="0">
              <a:lnSpc>
                <a:spcPct val="100000"/>
              </a:lnSpc>
              <a:spcBef>
                <a:spcPts val="0"/>
              </a:spcBef>
              <a:spcAft>
                <a:spcPts val="0"/>
              </a:spcAft>
              <a:buFontTx/>
              <a:buNone/>
              <a:defRPr sz="1600">
                <a:solidFill>
                  <a:schemeClr val="tx2"/>
                </a:solidFill>
              </a:defRPr>
            </a:lvl6pPr>
            <a:lvl7pPr marL="0" indent="0">
              <a:lnSpc>
                <a:spcPct val="100000"/>
              </a:lnSpc>
              <a:spcBef>
                <a:spcPts val="0"/>
              </a:spcBef>
              <a:spcAft>
                <a:spcPts val="0"/>
              </a:spcAft>
              <a:buFontTx/>
              <a:buNone/>
              <a:defRPr sz="1600">
                <a:solidFill>
                  <a:schemeClr val="tx2"/>
                </a:solidFill>
              </a:defRPr>
            </a:lvl7pPr>
            <a:lvl8pPr marL="0" indent="0">
              <a:lnSpc>
                <a:spcPct val="100000"/>
              </a:lnSpc>
              <a:spcBef>
                <a:spcPts val="0"/>
              </a:spcBef>
              <a:spcAft>
                <a:spcPts val="0"/>
              </a:spcAft>
              <a:buFontTx/>
              <a:buNone/>
              <a:defRPr sz="1600">
                <a:solidFill>
                  <a:schemeClr val="bg1"/>
                </a:solidFill>
              </a:defRPr>
            </a:lvl8pPr>
            <a:lvl9pPr marL="0" indent="0">
              <a:lnSpc>
                <a:spcPct val="100000"/>
              </a:lnSpc>
              <a:spcBef>
                <a:spcPts val="0"/>
              </a:spcBef>
              <a:spcAft>
                <a:spcPts val="0"/>
              </a:spcAft>
              <a:buFontTx/>
              <a:buNone/>
              <a:defRPr sz="1600">
                <a:solidFill>
                  <a:schemeClr val="tx2"/>
                </a:solidFill>
              </a:defRPr>
            </a:lvl9pPr>
          </a:lstStyle>
          <a:p>
            <a:pPr lvl="0"/>
            <a:r>
              <a:rPr lang="en-US" noProof="0"/>
              <a:t>Click to add additional text, e.g. author, location, date</a:t>
            </a:r>
          </a:p>
        </p:txBody>
      </p:sp>
    </p:spTree>
    <p:extLst>
      <p:ext uri="{BB962C8B-B14F-4D97-AF65-F5344CB8AC3E}">
        <p14:creationId xmlns:p14="http://schemas.microsoft.com/office/powerpoint/2010/main" val="3180708955"/>
      </p:ext>
    </p:extLst>
  </p:cSld>
  <p:clrMapOvr>
    <a:masterClrMapping/>
  </p:clrMapOvr>
</p:sldLayout>
</file>

<file path=ppt/slideLayouts/slideLayout460.xml><?xml version="1.0" encoding="utf-8"?>
<p:sldLayout xmlns:a="http://schemas.openxmlformats.org/drawingml/2006/main" xmlns:r="http://schemas.openxmlformats.org/officeDocument/2006/relationships" xmlns:p="http://schemas.openxmlformats.org/presentationml/2006/main" preserve="1">
  <p:cSld name="Notebook">
    <p:spTree>
      <p:nvGrpSpPr>
        <p:cNvPr id="1" name=""/>
        <p:cNvGrpSpPr/>
        <p:nvPr/>
      </p:nvGrpSpPr>
      <p:grpSpPr>
        <a:xfrm>
          <a:off x="0" y="0"/>
          <a:ext cx="0" cy="0"/>
          <a:chOff x="0" y="0"/>
          <a:chExt cx="0" cy="0"/>
        </a:xfrm>
      </p:grpSpPr>
      <p:pic>
        <p:nvPicPr>
          <p:cNvPr id="13" name="Notebook">
            <a:extLst>
              <a:ext uri="{FF2B5EF4-FFF2-40B4-BE49-F238E27FC236}">
                <a16:creationId xmlns:a16="http://schemas.microsoft.com/office/drawing/2014/main" id="{6DEE1461-64EC-7246-8FA6-71C6BF497627}"/>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3651351" y="1267197"/>
            <a:ext cx="8528460" cy="5161713"/>
          </a:xfrm>
          <a:prstGeom prst="rect">
            <a:avLst/>
          </a:prstGeom>
        </p:spPr>
      </p:pic>
      <p:sp>
        <p:nvSpPr>
          <p:cNvPr id="21" name="Date Placeholder 20"/>
          <p:cNvSpPr>
            <a:spLocks noGrp="1"/>
          </p:cNvSpPr>
          <p:nvPr>
            <p:ph type="dt" sz="half" idx="14"/>
          </p:nvPr>
        </p:nvSpPr>
        <p:spPr/>
        <p:txBody>
          <a:bodyPr/>
          <a:lstStyle/>
          <a:p>
            <a:endParaRPr lang="en-US"/>
          </a:p>
        </p:txBody>
      </p:sp>
      <p:sp>
        <p:nvSpPr>
          <p:cNvPr id="22" name="Footer Placeholder 21"/>
          <p:cNvSpPr>
            <a:spLocks noGrp="1"/>
          </p:cNvSpPr>
          <p:nvPr>
            <p:ph type="ftr" sz="quarter" idx="15"/>
          </p:nvPr>
        </p:nvSpPr>
        <p:spPr/>
        <p:txBody>
          <a:bodyPr/>
          <a:lstStyle/>
          <a:p>
            <a:endParaRPr lang="en-US"/>
          </a:p>
        </p:txBody>
      </p:sp>
      <p:sp>
        <p:nvSpPr>
          <p:cNvPr id="23" name="Slide Number Placeholder 22"/>
          <p:cNvSpPr>
            <a:spLocks noGrp="1"/>
          </p:cNvSpPr>
          <p:nvPr>
            <p:ph type="sldNum" sz="quarter" idx="16"/>
          </p:nvPr>
        </p:nvSpPr>
        <p:spPr/>
        <p:txBody>
          <a:bodyPr/>
          <a:lstStyle/>
          <a:p>
            <a:fld id="{5F3E29E4-0979-4FCA-B4C5-5FC6044C982A}" type="slidenum">
              <a:rPr lang="en-US" smtClean="0"/>
              <a:t>‹#›</a:t>
            </a:fld>
            <a:endParaRPr lang="en-US"/>
          </a:p>
        </p:txBody>
      </p:sp>
      <p:sp>
        <p:nvSpPr>
          <p:cNvPr id="2" name="Title 1"/>
          <p:cNvSpPr>
            <a:spLocks noGrp="1"/>
          </p:cNvSpPr>
          <p:nvPr>
            <p:ph type="title" hasCustomPrompt="1"/>
          </p:nvPr>
        </p:nvSpPr>
        <p:spPr/>
        <p:txBody>
          <a:bodyPr/>
          <a:lstStyle>
            <a:lvl1pPr>
              <a:defRPr/>
            </a:lvl1pPr>
          </a:lstStyle>
          <a:p>
            <a:r>
              <a:rPr lang="en-US"/>
              <a:t>Click to add slide title</a:t>
            </a:r>
          </a:p>
        </p:txBody>
      </p:sp>
      <p:sp>
        <p:nvSpPr>
          <p:cNvPr id="7" name="Subtitle 2"/>
          <p:cNvSpPr>
            <a:spLocks noGrp="1"/>
          </p:cNvSpPr>
          <p:nvPr>
            <p:ph type="subTitle" idx="13" hasCustomPrompt="1"/>
          </p:nvPr>
        </p:nvSpPr>
        <p:spPr>
          <a:xfrm>
            <a:off x="1075061" y="964671"/>
            <a:ext cx="7910158" cy="490042"/>
          </a:xfrm>
        </p:spPr>
        <p:txBody>
          <a:bodyPr wrap="none"/>
          <a:lstStyle>
            <a:lvl1pPr marL="0" indent="0" algn="l">
              <a:spcBef>
                <a:spcPts val="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sp>
        <p:nvSpPr>
          <p:cNvPr id="3" name="Content Placeholder 2"/>
          <p:cNvSpPr>
            <a:spLocks noGrp="1"/>
          </p:cNvSpPr>
          <p:nvPr>
            <p:ph idx="1" hasCustomPrompt="1"/>
          </p:nvPr>
        </p:nvSpPr>
        <p:spPr>
          <a:xfrm>
            <a:off x="1075062" y="1852623"/>
            <a:ext cx="3287388" cy="3658714"/>
          </a:xfrm>
        </p:spPr>
        <p:txBody>
          <a:bodyPr anchor="ctr"/>
          <a:lstStyle>
            <a:lvl1pPr>
              <a:defRPr sz="1600"/>
            </a:lvl1pPr>
            <a:lvl2pPr>
              <a:defRPr sz="1600"/>
            </a:lvl2pPr>
            <a:lvl3pPr>
              <a:defRPr sz="1600"/>
            </a:lvl3pPr>
            <a:lvl4pPr>
              <a:defRPr sz="1600"/>
            </a:lvl4pPr>
            <a:lvl5pPr>
              <a:defRPr sz="1600"/>
            </a:lvl5pPr>
          </a:lstStyle>
          <a:p>
            <a:pPr lvl="0"/>
            <a:r>
              <a:rPr lang="en-US"/>
              <a:t>Click to add text</a:t>
            </a:r>
          </a:p>
          <a:p>
            <a:pPr lvl="1"/>
            <a:r>
              <a:rPr lang="en-US"/>
              <a:t>Second level</a:t>
            </a:r>
          </a:p>
          <a:p>
            <a:pPr lvl="2"/>
            <a:r>
              <a:rPr lang="en-US"/>
              <a:t>Third level</a:t>
            </a:r>
          </a:p>
          <a:p>
            <a:pPr lvl="3"/>
            <a:r>
              <a:rPr lang="en-US"/>
              <a:t>Fourth level</a:t>
            </a:r>
          </a:p>
          <a:p>
            <a:pPr lvl="4"/>
            <a:r>
              <a:rPr lang="en-US"/>
              <a:t>Fifth level</a:t>
            </a:r>
          </a:p>
        </p:txBody>
      </p:sp>
      <p:sp>
        <p:nvSpPr>
          <p:cNvPr id="5" name="Picture Placeholder 4"/>
          <p:cNvSpPr>
            <a:spLocks noGrp="1"/>
          </p:cNvSpPr>
          <p:nvPr>
            <p:ph type="pic" sz="quarter" idx="17" hasCustomPrompt="1"/>
          </p:nvPr>
        </p:nvSpPr>
        <p:spPr>
          <a:xfrm>
            <a:off x="4904507" y="1821610"/>
            <a:ext cx="6001200" cy="3664800"/>
          </a:xfrm>
          <a:solidFill>
            <a:srgbClr val="D9DADB"/>
          </a:solidFill>
        </p:spPr>
        <p:txBody>
          <a:bodyPr/>
          <a:lstStyle>
            <a:lvl1pPr marL="0" indent="0">
              <a:buNone/>
              <a:defRPr/>
            </a:lvl1pPr>
          </a:lstStyle>
          <a:p>
            <a:r>
              <a:rPr lang="en-US"/>
              <a:t>Insert picture</a:t>
            </a:r>
          </a:p>
        </p:txBody>
      </p:sp>
      <p:sp>
        <p:nvSpPr>
          <p:cNvPr id="11" name="Text Placeholder 4"/>
          <p:cNvSpPr>
            <a:spLocks noGrp="1"/>
          </p:cNvSpPr>
          <p:nvPr>
            <p:ph type="body" sz="quarter" idx="18" hasCustomPrompt="1"/>
          </p:nvPr>
        </p:nvSpPr>
        <p:spPr>
          <a:xfrm>
            <a:off x="1075063" y="6307665"/>
            <a:ext cx="8162717" cy="133200"/>
          </a:xfrm>
        </p:spPr>
        <p:txBody>
          <a:bodyPr lIns="0" tIns="0" rIns="0" bIns="0" anchor="b" anchorCtr="0"/>
          <a:lstStyle>
            <a:lvl1pPr marL="0" indent="0" algn="l">
              <a:lnSpc>
                <a:spcPct val="100000"/>
              </a:lnSpc>
              <a:spcBef>
                <a:spcPts val="0"/>
              </a:spcBef>
              <a:buNone/>
              <a:defRPr sz="800" baseline="0"/>
            </a:lvl1pPr>
            <a:lvl2pPr marL="0" indent="0" algn="l">
              <a:lnSpc>
                <a:spcPct val="100000"/>
              </a:lnSpc>
              <a:spcBef>
                <a:spcPts val="0"/>
              </a:spcBef>
              <a:buNone/>
              <a:defRPr sz="800"/>
            </a:lvl2pPr>
            <a:lvl3pPr marL="0" indent="0" algn="l">
              <a:lnSpc>
                <a:spcPct val="100000"/>
              </a:lnSpc>
              <a:spcBef>
                <a:spcPts val="0"/>
              </a:spcBef>
              <a:buNone/>
              <a:defRPr sz="800"/>
            </a:lvl3pPr>
            <a:lvl4pPr marL="0" algn="l">
              <a:lnSpc>
                <a:spcPct val="100000"/>
              </a:lnSpc>
              <a:spcBef>
                <a:spcPts val="0"/>
              </a:spcBef>
              <a:buNone/>
              <a:defRPr sz="800"/>
            </a:lvl4pPr>
            <a:lvl5pPr marL="0" indent="0" algn="l">
              <a:lnSpc>
                <a:spcPct val="100000"/>
              </a:lnSpc>
              <a:spcBef>
                <a:spcPts val="0"/>
              </a:spcBef>
              <a:buNone/>
              <a:defRPr sz="800"/>
            </a:lvl5pPr>
          </a:lstStyle>
          <a:p>
            <a:pPr lvl="0"/>
            <a:r>
              <a:rPr lang="en-US"/>
              <a:t>Source line</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47631644"/>
      </p:ext>
    </p:extLst>
  </p:cSld>
  <p:clrMapOvr>
    <a:masterClrMapping/>
  </p:clrMapOvr>
</p:sldLayout>
</file>

<file path=ppt/slideLayouts/slideLayout461.xml><?xml version="1.0" encoding="utf-8"?>
<p:sldLayout xmlns:a="http://schemas.openxmlformats.org/drawingml/2006/main" xmlns:r="http://schemas.openxmlformats.org/officeDocument/2006/relationships" xmlns:p="http://schemas.openxmlformats.org/presentationml/2006/main" preserve="1">
  <p:cSld name="Tablet">
    <p:spTree>
      <p:nvGrpSpPr>
        <p:cNvPr id="1" name=""/>
        <p:cNvGrpSpPr/>
        <p:nvPr/>
      </p:nvGrpSpPr>
      <p:grpSpPr>
        <a:xfrm>
          <a:off x="0" y="0"/>
          <a:ext cx="0" cy="0"/>
          <a:chOff x="0" y="0"/>
          <a:chExt cx="0" cy="0"/>
        </a:xfrm>
      </p:grpSpPr>
      <p:pic>
        <p:nvPicPr>
          <p:cNvPr id="12" name="Grafik 3">
            <a:extLst>
              <a:ext uri="{FF2B5EF4-FFF2-40B4-BE49-F238E27FC236}">
                <a16:creationId xmlns:a16="http://schemas.microsoft.com/office/drawing/2014/main" id="{1D97A272-8DE5-144D-9076-0F435EC79171}"/>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4422451" y="1441279"/>
            <a:ext cx="6858000" cy="5323585"/>
          </a:xfrm>
          <a:prstGeom prst="rect">
            <a:avLst/>
          </a:prstGeom>
        </p:spPr>
      </p:pic>
      <p:sp>
        <p:nvSpPr>
          <p:cNvPr id="21" name="Date Placeholder 20"/>
          <p:cNvSpPr>
            <a:spLocks noGrp="1"/>
          </p:cNvSpPr>
          <p:nvPr>
            <p:ph type="dt" sz="half" idx="14"/>
          </p:nvPr>
        </p:nvSpPr>
        <p:spPr/>
        <p:txBody>
          <a:bodyPr/>
          <a:lstStyle/>
          <a:p>
            <a:endParaRPr lang="en-US"/>
          </a:p>
        </p:txBody>
      </p:sp>
      <p:sp>
        <p:nvSpPr>
          <p:cNvPr id="22" name="Footer Placeholder 21"/>
          <p:cNvSpPr>
            <a:spLocks noGrp="1"/>
          </p:cNvSpPr>
          <p:nvPr>
            <p:ph type="ftr" sz="quarter" idx="15"/>
          </p:nvPr>
        </p:nvSpPr>
        <p:spPr/>
        <p:txBody>
          <a:bodyPr/>
          <a:lstStyle/>
          <a:p>
            <a:endParaRPr lang="en-US"/>
          </a:p>
        </p:txBody>
      </p:sp>
      <p:sp>
        <p:nvSpPr>
          <p:cNvPr id="23" name="Slide Number Placeholder 22"/>
          <p:cNvSpPr>
            <a:spLocks noGrp="1"/>
          </p:cNvSpPr>
          <p:nvPr>
            <p:ph type="sldNum" sz="quarter" idx="16"/>
          </p:nvPr>
        </p:nvSpPr>
        <p:spPr/>
        <p:txBody>
          <a:bodyPr/>
          <a:lstStyle/>
          <a:p>
            <a:fld id="{5F3E29E4-0979-4FCA-B4C5-5FC6044C982A}" type="slidenum">
              <a:rPr lang="en-US" smtClean="0"/>
              <a:t>‹#›</a:t>
            </a:fld>
            <a:endParaRPr lang="en-US"/>
          </a:p>
        </p:txBody>
      </p:sp>
      <p:sp>
        <p:nvSpPr>
          <p:cNvPr id="2" name="Title 1"/>
          <p:cNvSpPr>
            <a:spLocks noGrp="1"/>
          </p:cNvSpPr>
          <p:nvPr>
            <p:ph type="title" hasCustomPrompt="1"/>
          </p:nvPr>
        </p:nvSpPr>
        <p:spPr/>
        <p:txBody>
          <a:bodyPr/>
          <a:lstStyle>
            <a:lvl1pPr>
              <a:defRPr/>
            </a:lvl1pPr>
          </a:lstStyle>
          <a:p>
            <a:r>
              <a:rPr lang="en-US"/>
              <a:t>Click to add slide title</a:t>
            </a:r>
          </a:p>
        </p:txBody>
      </p:sp>
      <p:sp>
        <p:nvSpPr>
          <p:cNvPr id="7" name="Subtitle 2"/>
          <p:cNvSpPr>
            <a:spLocks noGrp="1"/>
          </p:cNvSpPr>
          <p:nvPr>
            <p:ph type="subTitle" idx="13" hasCustomPrompt="1"/>
          </p:nvPr>
        </p:nvSpPr>
        <p:spPr>
          <a:xfrm>
            <a:off x="1075061" y="964671"/>
            <a:ext cx="7910158" cy="490042"/>
          </a:xfrm>
        </p:spPr>
        <p:txBody>
          <a:bodyPr wrap="none"/>
          <a:lstStyle>
            <a:lvl1pPr marL="0" indent="0" algn="l">
              <a:spcBef>
                <a:spcPts val="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sp>
        <p:nvSpPr>
          <p:cNvPr id="3" name="Content Placeholder 2"/>
          <p:cNvSpPr>
            <a:spLocks noGrp="1"/>
          </p:cNvSpPr>
          <p:nvPr>
            <p:ph idx="1" hasCustomPrompt="1"/>
          </p:nvPr>
        </p:nvSpPr>
        <p:spPr>
          <a:xfrm>
            <a:off x="1075062" y="1852623"/>
            <a:ext cx="3287388" cy="3658714"/>
          </a:xfrm>
        </p:spPr>
        <p:txBody>
          <a:bodyPr anchor="ctr"/>
          <a:lstStyle>
            <a:lvl1pPr>
              <a:defRPr sz="1600"/>
            </a:lvl1pPr>
            <a:lvl2pPr>
              <a:defRPr sz="1600"/>
            </a:lvl2pPr>
            <a:lvl3pPr>
              <a:defRPr sz="1600"/>
            </a:lvl3pPr>
            <a:lvl4pPr>
              <a:defRPr sz="1600"/>
            </a:lvl4pPr>
            <a:lvl5pPr>
              <a:defRPr sz="1600"/>
            </a:lvl5pPr>
          </a:lstStyle>
          <a:p>
            <a:pPr lvl="0"/>
            <a:r>
              <a:rPr lang="en-US"/>
              <a:t>Click to add text</a:t>
            </a:r>
          </a:p>
          <a:p>
            <a:pPr lvl="1"/>
            <a:r>
              <a:rPr lang="en-US"/>
              <a:t>Second level</a:t>
            </a:r>
          </a:p>
          <a:p>
            <a:pPr lvl="2"/>
            <a:r>
              <a:rPr lang="en-US"/>
              <a:t>Third level</a:t>
            </a:r>
          </a:p>
          <a:p>
            <a:pPr lvl="3"/>
            <a:r>
              <a:rPr lang="en-US"/>
              <a:t>Fourth level</a:t>
            </a:r>
          </a:p>
          <a:p>
            <a:pPr lvl="4"/>
            <a:r>
              <a:rPr lang="en-US"/>
              <a:t>Fifth level</a:t>
            </a:r>
          </a:p>
        </p:txBody>
      </p:sp>
      <p:sp>
        <p:nvSpPr>
          <p:cNvPr id="5" name="Picture Placeholder 4"/>
          <p:cNvSpPr>
            <a:spLocks noGrp="1"/>
          </p:cNvSpPr>
          <p:nvPr>
            <p:ph type="pic" sz="quarter" idx="17" hasCustomPrompt="1"/>
          </p:nvPr>
        </p:nvSpPr>
        <p:spPr>
          <a:xfrm>
            <a:off x="5135561" y="2010934"/>
            <a:ext cx="5491064" cy="3428280"/>
          </a:xfrm>
          <a:solidFill>
            <a:srgbClr val="D9DADB"/>
          </a:solidFill>
        </p:spPr>
        <p:txBody>
          <a:bodyPr/>
          <a:lstStyle>
            <a:lvl1pPr marL="0" indent="0">
              <a:buNone/>
              <a:defRPr/>
            </a:lvl1pPr>
          </a:lstStyle>
          <a:p>
            <a:r>
              <a:rPr lang="en-US"/>
              <a:t>Insert picture</a:t>
            </a:r>
          </a:p>
        </p:txBody>
      </p:sp>
      <p:sp>
        <p:nvSpPr>
          <p:cNvPr id="11" name="Text Placeholder 4"/>
          <p:cNvSpPr>
            <a:spLocks noGrp="1"/>
          </p:cNvSpPr>
          <p:nvPr>
            <p:ph type="body" sz="quarter" idx="18" hasCustomPrompt="1"/>
          </p:nvPr>
        </p:nvSpPr>
        <p:spPr>
          <a:xfrm>
            <a:off x="1075063" y="6307665"/>
            <a:ext cx="8162717" cy="133200"/>
          </a:xfrm>
        </p:spPr>
        <p:txBody>
          <a:bodyPr lIns="0" tIns="0" rIns="0" bIns="0" anchor="b" anchorCtr="0"/>
          <a:lstStyle>
            <a:lvl1pPr marL="0" indent="0" algn="l">
              <a:lnSpc>
                <a:spcPct val="100000"/>
              </a:lnSpc>
              <a:spcBef>
                <a:spcPts val="0"/>
              </a:spcBef>
              <a:buNone/>
              <a:defRPr sz="800" baseline="0"/>
            </a:lvl1pPr>
            <a:lvl2pPr marL="0" indent="0" algn="l">
              <a:lnSpc>
                <a:spcPct val="100000"/>
              </a:lnSpc>
              <a:spcBef>
                <a:spcPts val="0"/>
              </a:spcBef>
              <a:buNone/>
              <a:defRPr sz="800"/>
            </a:lvl2pPr>
            <a:lvl3pPr marL="0" indent="0" algn="l">
              <a:lnSpc>
                <a:spcPct val="100000"/>
              </a:lnSpc>
              <a:spcBef>
                <a:spcPts val="0"/>
              </a:spcBef>
              <a:buNone/>
              <a:defRPr sz="800"/>
            </a:lvl3pPr>
            <a:lvl4pPr marL="0" algn="l">
              <a:lnSpc>
                <a:spcPct val="100000"/>
              </a:lnSpc>
              <a:spcBef>
                <a:spcPts val="0"/>
              </a:spcBef>
              <a:buNone/>
              <a:defRPr sz="800"/>
            </a:lvl4pPr>
            <a:lvl5pPr marL="0" indent="0" algn="l">
              <a:lnSpc>
                <a:spcPct val="100000"/>
              </a:lnSpc>
              <a:spcBef>
                <a:spcPts val="0"/>
              </a:spcBef>
              <a:buNone/>
              <a:defRPr sz="800"/>
            </a:lvl5pPr>
          </a:lstStyle>
          <a:p>
            <a:pPr lvl="0"/>
            <a:r>
              <a:rPr lang="en-US"/>
              <a:t>Source line</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99418573"/>
      </p:ext>
    </p:extLst>
  </p:cSld>
  <p:clrMapOvr>
    <a:masterClrMapping/>
  </p:clrMapOvr>
</p:sldLayout>
</file>

<file path=ppt/slideLayouts/slideLayout462.xml><?xml version="1.0" encoding="utf-8"?>
<p:sldLayout xmlns:a="http://schemas.openxmlformats.org/drawingml/2006/main" xmlns:r="http://schemas.openxmlformats.org/officeDocument/2006/relationships" xmlns:p="http://schemas.openxmlformats.org/presentationml/2006/main" preserve="1">
  <p:cSld name="Smartphone">
    <p:spTree>
      <p:nvGrpSpPr>
        <p:cNvPr id="1" name=""/>
        <p:cNvGrpSpPr/>
        <p:nvPr/>
      </p:nvGrpSpPr>
      <p:grpSpPr>
        <a:xfrm>
          <a:off x="0" y="0"/>
          <a:ext cx="0" cy="0"/>
          <a:chOff x="0" y="0"/>
          <a:chExt cx="0" cy="0"/>
        </a:xfrm>
      </p:grpSpPr>
      <p:pic>
        <p:nvPicPr>
          <p:cNvPr id="10" name="Grafik 2">
            <a:extLst>
              <a:ext uri="{FF2B5EF4-FFF2-40B4-BE49-F238E27FC236}">
                <a16:creationId xmlns:a16="http://schemas.microsoft.com/office/drawing/2014/main" id="{6421FD8A-F5D4-E041-A727-98ABA693B1A7}"/>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5472449" y="1362516"/>
            <a:ext cx="4953000" cy="4865134"/>
          </a:xfrm>
          <a:prstGeom prst="rect">
            <a:avLst/>
          </a:prstGeom>
          <a:effectLst>
            <a:reflection blurRad="6350" stA="48000" endPos="6000" dir="5400000" sy="-100000" algn="bl" rotWithShape="0"/>
          </a:effectLst>
        </p:spPr>
      </p:pic>
      <p:sp>
        <p:nvSpPr>
          <p:cNvPr id="21" name="Date Placeholder 20"/>
          <p:cNvSpPr>
            <a:spLocks noGrp="1"/>
          </p:cNvSpPr>
          <p:nvPr>
            <p:ph type="dt" sz="half" idx="14"/>
          </p:nvPr>
        </p:nvSpPr>
        <p:spPr/>
        <p:txBody>
          <a:bodyPr/>
          <a:lstStyle/>
          <a:p>
            <a:endParaRPr lang="en-US"/>
          </a:p>
        </p:txBody>
      </p:sp>
      <p:sp>
        <p:nvSpPr>
          <p:cNvPr id="22" name="Footer Placeholder 21"/>
          <p:cNvSpPr>
            <a:spLocks noGrp="1"/>
          </p:cNvSpPr>
          <p:nvPr>
            <p:ph type="ftr" sz="quarter" idx="15"/>
          </p:nvPr>
        </p:nvSpPr>
        <p:spPr/>
        <p:txBody>
          <a:bodyPr/>
          <a:lstStyle/>
          <a:p>
            <a:endParaRPr lang="en-US"/>
          </a:p>
        </p:txBody>
      </p:sp>
      <p:sp>
        <p:nvSpPr>
          <p:cNvPr id="23" name="Slide Number Placeholder 22"/>
          <p:cNvSpPr>
            <a:spLocks noGrp="1"/>
          </p:cNvSpPr>
          <p:nvPr>
            <p:ph type="sldNum" sz="quarter" idx="16"/>
          </p:nvPr>
        </p:nvSpPr>
        <p:spPr/>
        <p:txBody>
          <a:bodyPr/>
          <a:lstStyle/>
          <a:p>
            <a:fld id="{5F3E29E4-0979-4FCA-B4C5-5FC6044C982A}" type="slidenum">
              <a:rPr lang="en-US" smtClean="0"/>
              <a:t>‹#›</a:t>
            </a:fld>
            <a:endParaRPr lang="en-US"/>
          </a:p>
        </p:txBody>
      </p:sp>
      <p:sp>
        <p:nvSpPr>
          <p:cNvPr id="2" name="Title 1"/>
          <p:cNvSpPr>
            <a:spLocks noGrp="1"/>
          </p:cNvSpPr>
          <p:nvPr>
            <p:ph type="title" hasCustomPrompt="1"/>
          </p:nvPr>
        </p:nvSpPr>
        <p:spPr/>
        <p:txBody>
          <a:bodyPr/>
          <a:lstStyle>
            <a:lvl1pPr>
              <a:defRPr/>
            </a:lvl1pPr>
          </a:lstStyle>
          <a:p>
            <a:r>
              <a:rPr lang="en-US"/>
              <a:t>Click to add slide title</a:t>
            </a:r>
          </a:p>
        </p:txBody>
      </p:sp>
      <p:sp>
        <p:nvSpPr>
          <p:cNvPr id="7" name="Subtitle 2"/>
          <p:cNvSpPr>
            <a:spLocks noGrp="1"/>
          </p:cNvSpPr>
          <p:nvPr>
            <p:ph type="subTitle" idx="13" hasCustomPrompt="1"/>
          </p:nvPr>
        </p:nvSpPr>
        <p:spPr>
          <a:xfrm>
            <a:off x="1075061" y="964671"/>
            <a:ext cx="7910158" cy="490042"/>
          </a:xfrm>
        </p:spPr>
        <p:txBody>
          <a:bodyPr wrap="none"/>
          <a:lstStyle>
            <a:lvl1pPr marL="0" indent="0" algn="l">
              <a:spcBef>
                <a:spcPts val="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sp>
        <p:nvSpPr>
          <p:cNvPr id="3" name="Content Placeholder 2"/>
          <p:cNvSpPr>
            <a:spLocks noGrp="1"/>
          </p:cNvSpPr>
          <p:nvPr>
            <p:ph idx="1" hasCustomPrompt="1"/>
          </p:nvPr>
        </p:nvSpPr>
        <p:spPr>
          <a:xfrm>
            <a:off x="1075061" y="1852623"/>
            <a:ext cx="5241071" cy="3658714"/>
          </a:xfrm>
        </p:spPr>
        <p:txBody>
          <a:bodyPr anchor="ctr"/>
          <a:lstStyle>
            <a:lvl1pPr>
              <a:defRPr sz="1600"/>
            </a:lvl1pPr>
            <a:lvl2pPr>
              <a:defRPr sz="1600"/>
            </a:lvl2pPr>
            <a:lvl3pPr>
              <a:defRPr sz="1600"/>
            </a:lvl3pPr>
            <a:lvl4pPr>
              <a:defRPr sz="1600"/>
            </a:lvl4pPr>
            <a:lvl5pPr>
              <a:defRPr sz="1600"/>
            </a:lvl5pPr>
          </a:lstStyle>
          <a:p>
            <a:pPr lvl="0"/>
            <a:r>
              <a:rPr lang="en-US"/>
              <a:t>Click to add text</a:t>
            </a:r>
          </a:p>
          <a:p>
            <a:pPr lvl="1"/>
            <a:r>
              <a:rPr lang="en-US"/>
              <a:t>Second level</a:t>
            </a:r>
          </a:p>
          <a:p>
            <a:pPr lvl="2"/>
            <a:r>
              <a:rPr lang="en-US"/>
              <a:t>Third level</a:t>
            </a:r>
          </a:p>
          <a:p>
            <a:pPr lvl="3"/>
            <a:r>
              <a:rPr lang="en-US"/>
              <a:t>Fourth level</a:t>
            </a:r>
          </a:p>
          <a:p>
            <a:pPr lvl="4"/>
            <a:r>
              <a:rPr lang="en-US"/>
              <a:t>Fifth level</a:t>
            </a:r>
          </a:p>
        </p:txBody>
      </p:sp>
      <p:sp>
        <p:nvSpPr>
          <p:cNvPr id="5" name="Picture Placeholder 4"/>
          <p:cNvSpPr>
            <a:spLocks noGrp="1"/>
          </p:cNvSpPr>
          <p:nvPr>
            <p:ph type="pic" sz="quarter" idx="17" hasCustomPrompt="1"/>
          </p:nvPr>
        </p:nvSpPr>
        <p:spPr>
          <a:xfrm>
            <a:off x="6923531" y="1784822"/>
            <a:ext cx="2006654" cy="4104000"/>
          </a:xfrm>
          <a:solidFill>
            <a:srgbClr val="D9DADB"/>
          </a:solidFill>
        </p:spPr>
        <p:txBody>
          <a:bodyPr/>
          <a:lstStyle>
            <a:lvl1pPr marL="0" indent="0">
              <a:buNone/>
              <a:defRPr/>
            </a:lvl1pPr>
          </a:lstStyle>
          <a:p>
            <a:r>
              <a:rPr lang="en-US"/>
              <a:t>Insert picture</a:t>
            </a:r>
          </a:p>
        </p:txBody>
      </p:sp>
      <p:sp>
        <p:nvSpPr>
          <p:cNvPr id="12" name="Text Placeholder 4"/>
          <p:cNvSpPr>
            <a:spLocks noGrp="1"/>
          </p:cNvSpPr>
          <p:nvPr>
            <p:ph type="body" sz="quarter" idx="18" hasCustomPrompt="1"/>
          </p:nvPr>
        </p:nvSpPr>
        <p:spPr>
          <a:xfrm>
            <a:off x="1075063" y="6307665"/>
            <a:ext cx="8162717" cy="133200"/>
          </a:xfrm>
        </p:spPr>
        <p:txBody>
          <a:bodyPr lIns="0" tIns="0" rIns="0" bIns="0" anchor="b" anchorCtr="0"/>
          <a:lstStyle>
            <a:lvl1pPr marL="0" indent="0" algn="l">
              <a:lnSpc>
                <a:spcPct val="100000"/>
              </a:lnSpc>
              <a:spcBef>
                <a:spcPts val="0"/>
              </a:spcBef>
              <a:buNone/>
              <a:defRPr sz="800" baseline="0"/>
            </a:lvl1pPr>
            <a:lvl2pPr marL="0" indent="0" algn="l">
              <a:lnSpc>
                <a:spcPct val="100000"/>
              </a:lnSpc>
              <a:spcBef>
                <a:spcPts val="0"/>
              </a:spcBef>
              <a:buNone/>
              <a:defRPr sz="800"/>
            </a:lvl2pPr>
            <a:lvl3pPr marL="0" indent="0" algn="l">
              <a:lnSpc>
                <a:spcPct val="100000"/>
              </a:lnSpc>
              <a:spcBef>
                <a:spcPts val="0"/>
              </a:spcBef>
              <a:buNone/>
              <a:defRPr sz="800"/>
            </a:lvl3pPr>
            <a:lvl4pPr marL="0" algn="l">
              <a:lnSpc>
                <a:spcPct val="100000"/>
              </a:lnSpc>
              <a:spcBef>
                <a:spcPts val="0"/>
              </a:spcBef>
              <a:buNone/>
              <a:defRPr sz="800"/>
            </a:lvl4pPr>
            <a:lvl5pPr marL="0" indent="0" algn="l">
              <a:lnSpc>
                <a:spcPct val="100000"/>
              </a:lnSpc>
              <a:spcBef>
                <a:spcPts val="0"/>
              </a:spcBef>
              <a:buNone/>
              <a:defRPr sz="800"/>
            </a:lvl5pPr>
          </a:lstStyle>
          <a:p>
            <a:pPr lvl="0"/>
            <a:r>
              <a:rPr lang="en-US"/>
              <a:t>Source line</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0946033"/>
      </p:ext>
    </p:extLst>
  </p:cSld>
  <p:clrMapOvr>
    <a:masterClrMapping/>
  </p:clrMapOvr>
</p:sldLayout>
</file>

<file path=ppt/slideLayouts/slideLayout463.xml><?xml version="1.0" encoding="utf-8"?>
<p:sldLayout xmlns:a="http://schemas.openxmlformats.org/drawingml/2006/main" xmlns:r="http://schemas.openxmlformats.org/officeDocument/2006/relationships" xmlns:p="http://schemas.openxmlformats.org/presentationml/2006/main" preserve="1">
  <p:cSld name="One contact">
    <p:spTree>
      <p:nvGrpSpPr>
        <p:cNvPr id="1" name=""/>
        <p:cNvGrpSpPr/>
        <p:nvPr/>
      </p:nvGrpSpPr>
      <p:grpSpPr>
        <a:xfrm>
          <a:off x="0" y="0"/>
          <a:ext cx="0" cy="0"/>
          <a:chOff x="0" y="0"/>
          <a:chExt cx="0" cy="0"/>
        </a:xfrm>
      </p:grpSpPr>
      <p:sp>
        <p:nvSpPr>
          <p:cNvPr id="4" name="Picture Placeholder 3"/>
          <p:cNvSpPr>
            <a:spLocks noGrp="1"/>
          </p:cNvSpPr>
          <p:nvPr>
            <p:ph type="pic" sz="quarter" idx="17" hasCustomPrompt="1"/>
          </p:nvPr>
        </p:nvSpPr>
        <p:spPr>
          <a:xfrm>
            <a:off x="1056217" y="1833656"/>
            <a:ext cx="3203503" cy="3935319"/>
          </a:xfrm>
          <a:solidFill>
            <a:srgbClr val="D9DADB"/>
          </a:solidFill>
        </p:spPr>
        <p:txBody>
          <a:bodyPr/>
          <a:lstStyle>
            <a:lvl1pPr marL="0" indent="0">
              <a:buNone/>
              <a:defRPr sz="1400"/>
            </a:lvl1pPr>
          </a:lstStyle>
          <a:p>
            <a:r>
              <a:rPr lang="en-US"/>
              <a:t>Insert picture</a:t>
            </a:r>
          </a:p>
        </p:txBody>
      </p:sp>
      <p:sp>
        <p:nvSpPr>
          <p:cNvPr id="21" name="Date Placeholder 20"/>
          <p:cNvSpPr>
            <a:spLocks noGrp="1"/>
          </p:cNvSpPr>
          <p:nvPr>
            <p:ph type="dt" sz="half" idx="14"/>
          </p:nvPr>
        </p:nvSpPr>
        <p:spPr/>
        <p:txBody>
          <a:bodyPr/>
          <a:lstStyle/>
          <a:p>
            <a:endParaRPr lang="en-US"/>
          </a:p>
        </p:txBody>
      </p:sp>
      <p:sp>
        <p:nvSpPr>
          <p:cNvPr id="22" name="Footer Placeholder 21"/>
          <p:cNvSpPr>
            <a:spLocks noGrp="1"/>
          </p:cNvSpPr>
          <p:nvPr>
            <p:ph type="ftr" sz="quarter" idx="15"/>
          </p:nvPr>
        </p:nvSpPr>
        <p:spPr/>
        <p:txBody>
          <a:bodyPr/>
          <a:lstStyle/>
          <a:p>
            <a:endParaRPr lang="en-US"/>
          </a:p>
        </p:txBody>
      </p:sp>
      <p:sp>
        <p:nvSpPr>
          <p:cNvPr id="23" name="Slide Number Placeholder 22"/>
          <p:cNvSpPr>
            <a:spLocks noGrp="1"/>
          </p:cNvSpPr>
          <p:nvPr>
            <p:ph type="sldNum" sz="quarter" idx="16"/>
          </p:nvPr>
        </p:nvSpPr>
        <p:spPr/>
        <p:txBody>
          <a:bodyPr/>
          <a:lstStyle/>
          <a:p>
            <a:fld id="{5F3E29E4-0979-4FCA-B4C5-5FC6044C982A}" type="slidenum">
              <a:rPr lang="en-US" smtClean="0"/>
              <a:t>‹#›</a:t>
            </a:fld>
            <a:endParaRPr lang="en-US"/>
          </a:p>
        </p:txBody>
      </p:sp>
      <p:sp>
        <p:nvSpPr>
          <p:cNvPr id="2" name="Title 1"/>
          <p:cNvSpPr>
            <a:spLocks noGrp="1"/>
          </p:cNvSpPr>
          <p:nvPr>
            <p:ph type="title" hasCustomPrompt="1"/>
          </p:nvPr>
        </p:nvSpPr>
        <p:spPr/>
        <p:txBody>
          <a:bodyPr/>
          <a:lstStyle>
            <a:lvl1pPr>
              <a:defRPr/>
            </a:lvl1pPr>
          </a:lstStyle>
          <a:p>
            <a:r>
              <a:rPr lang="en-US"/>
              <a:t>Click to add contact title</a:t>
            </a:r>
          </a:p>
        </p:txBody>
      </p:sp>
      <p:sp>
        <p:nvSpPr>
          <p:cNvPr id="7" name="Subtitle 2"/>
          <p:cNvSpPr>
            <a:spLocks noGrp="1"/>
          </p:cNvSpPr>
          <p:nvPr>
            <p:ph type="subTitle" idx="13" hasCustomPrompt="1"/>
          </p:nvPr>
        </p:nvSpPr>
        <p:spPr>
          <a:xfrm>
            <a:off x="1075061" y="964671"/>
            <a:ext cx="7910158" cy="490042"/>
          </a:xfrm>
        </p:spPr>
        <p:txBody>
          <a:bodyPr wrap="none"/>
          <a:lstStyle>
            <a:lvl1pPr marL="0" indent="0" algn="l">
              <a:spcBef>
                <a:spcPts val="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grpSp>
        <p:nvGrpSpPr>
          <p:cNvPr id="8" name="Gruppieren 80">
            <a:extLst>
              <a:ext uri="{FF2B5EF4-FFF2-40B4-BE49-F238E27FC236}">
                <a16:creationId xmlns:a16="http://schemas.microsoft.com/office/drawing/2014/main" id="{6B969E7B-9C39-4443-9B02-74C1E7C5CCAC}"/>
              </a:ext>
            </a:extLst>
          </p:cNvPr>
          <p:cNvGrpSpPr/>
          <p:nvPr/>
        </p:nvGrpSpPr>
        <p:grpSpPr>
          <a:xfrm>
            <a:off x="4451001" y="2884199"/>
            <a:ext cx="171180" cy="171180"/>
            <a:chOff x="3392092" y="1841122"/>
            <a:chExt cx="646508" cy="646508"/>
          </a:xfrm>
        </p:grpSpPr>
        <p:sp>
          <p:nvSpPr>
            <p:cNvPr id="9" name="Rechteck 14">
              <a:extLst>
                <a:ext uri="{FF2B5EF4-FFF2-40B4-BE49-F238E27FC236}">
                  <a16:creationId xmlns:a16="http://schemas.microsoft.com/office/drawing/2014/main" id="{D78F58EA-5525-8D43-8295-FEA52ECF6BFA}"/>
                </a:ext>
              </a:extLst>
            </p:cNvPr>
            <p:cNvSpPr>
              <a:spLocks noChangeAspect="1"/>
            </p:cNvSpPr>
            <p:nvPr/>
          </p:nvSpPr>
          <p:spPr bwMode="gray">
            <a:xfrm>
              <a:off x="3392092" y="1841122"/>
              <a:ext cx="646508" cy="646508"/>
            </a:xfrm>
            <a:prstGeom prst="rect">
              <a:avLst/>
            </a:prstGeom>
            <a:solidFill>
              <a:srgbClr val="E55A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pPr>
              <a:endParaRPr lang="en-US" sz="1000">
                <a:solidFill>
                  <a:schemeClr val="tx1"/>
                </a:solidFill>
                <a:latin typeface="Arial" pitchFamily="34" charset="0"/>
                <a:cs typeface="Arial" pitchFamily="34" charset="0"/>
              </a:endParaRPr>
            </a:p>
          </p:txBody>
        </p:sp>
        <p:sp>
          <p:nvSpPr>
            <p:cNvPr id="10" name="Freeform 67">
              <a:extLst>
                <a:ext uri="{FF2B5EF4-FFF2-40B4-BE49-F238E27FC236}">
                  <a16:creationId xmlns:a16="http://schemas.microsoft.com/office/drawing/2014/main" id="{D01A6292-2776-4945-B828-483D79DC4908}"/>
                </a:ext>
              </a:extLst>
            </p:cNvPr>
            <p:cNvSpPr>
              <a:spLocks noChangeAspect="1"/>
            </p:cNvSpPr>
            <p:nvPr/>
          </p:nvSpPr>
          <p:spPr bwMode="auto">
            <a:xfrm>
              <a:off x="3546638" y="1970424"/>
              <a:ext cx="337415" cy="387905"/>
            </a:xfrm>
            <a:custGeom>
              <a:avLst/>
              <a:gdLst>
                <a:gd name="T0" fmla="*/ 573 w 1624"/>
                <a:gd name="T1" fmla="*/ 1257 h 1867"/>
                <a:gd name="T2" fmla="*/ 662 w 1624"/>
                <a:gd name="T3" fmla="*/ 1288 h 1867"/>
                <a:gd name="T4" fmla="*/ 938 w 1624"/>
                <a:gd name="T5" fmla="*/ 1051 h 1867"/>
                <a:gd name="T6" fmla="*/ 1106 w 1624"/>
                <a:gd name="T7" fmla="*/ 731 h 1867"/>
                <a:gd name="T8" fmla="*/ 1059 w 1624"/>
                <a:gd name="T9" fmla="*/ 645 h 1867"/>
                <a:gd name="T10" fmla="*/ 1001 w 1624"/>
                <a:gd name="T11" fmla="*/ 613 h 1867"/>
                <a:gd name="T12" fmla="*/ 924 w 1624"/>
                <a:gd name="T13" fmla="*/ 432 h 1867"/>
                <a:gd name="T14" fmla="*/ 1114 w 1624"/>
                <a:gd name="T15" fmla="*/ 81 h 1867"/>
                <a:gd name="T16" fmla="*/ 1287 w 1624"/>
                <a:gd name="T17" fmla="*/ 35 h 1867"/>
                <a:gd name="T18" fmla="*/ 1350 w 1624"/>
                <a:gd name="T19" fmla="*/ 69 h 1867"/>
                <a:gd name="T20" fmla="*/ 1527 w 1624"/>
                <a:gd name="T21" fmla="*/ 235 h 1867"/>
                <a:gd name="T22" fmla="*/ 1583 w 1624"/>
                <a:gd name="T23" fmla="*/ 555 h 1867"/>
                <a:gd name="T24" fmla="*/ 1172 w 1624"/>
                <a:gd name="T25" fmla="*/ 1253 h 1867"/>
                <a:gd name="T26" fmla="*/ 586 w 1624"/>
                <a:gd name="T27" fmla="*/ 1803 h 1867"/>
                <a:gd name="T28" fmla="*/ 269 w 1624"/>
                <a:gd name="T29" fmla="*/ 1807 h 1867"/>
                <a:gd name="T30" fmla="*/ 33 w 1624"/>
                <a:gd name="T31" fmla="*/ 1602 h 1867"/>
                <a:gd name="T32" fmla="*/ 2 w 1624"/>
                <a:gd name="T33" fmla="*/ 1508 h 1867"/>
                <a:gd name="T34" fmla="*/ 45 w 1624"/>
                <a:gd name="T35" fmla="*/ 1421 h 1867"/>
                <a:gd name="T36" fmla="*/ 346 w 1624"/>
                <a:gd name="T37" fmla="*/ 1158 h 1867"/>
                <a:gd name="T38" fmla="*/ 448 w 1624"/>
                <a:gd name="T39" fmla="*/ 1145 h 1867"/>
                <a:gd name="T40" fmla="*/ 573 w 1624"/>
                <a:gd name="T41" fmla="*/ 1257 h 18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24" h="1867">
                  <a:moveTo>
                    <a:pt x="573" y="1257"/>
                  </a:moveTo>
                  <a:cubicBezTo>
                    <a:pt x="592" y="1282"/>
                    <a:pt x="630" y="1303"/>
                    <a:pt x="662" y="1288"/>
                  </a:cubicBezTo>
                  <a:cubicBezTo>
                    <a:pt x="753" y="1245"/>
                    <a:pt x="854" y="1156"/>
                    <a:pt x="938" y="1051"/>
                  </a:cubicBezTo>
                  <a:cubicBezTo>
                    <a:pt x="1020" y="948"/>
                    <a:pt x="1084" y="831"/>
                    <a:pt x="1106" y="731"/>
                  </a:cubicBezTo>
                  <a:cubicBezTo>
                    <a:pt x="1113" y="696"/>
                    <a:pt x="1089" y="661"/>
                    <a:pt x="1059" y="645"/>
                  </a:cubicBezTo>
                  <a:cubicBezTo>
                    <a:pt x="1001" y="613"/>
                    <a:pt x="1001" y="613"/>
                    <a:pt x="1001" y="613"/>
                  </a:cubicBezTo>
                  <a:cubicBezTo>
                    <a:pt x="942" y="580"/>
                    <a:pt x="888" y="499"/>
                    <a:pt x="924" y="432"/>
                  </a:cubicBezTo>
                  <a:cubicBezTo>
                    <a:pt x="1114" y="81"/>
                    <a:pt x="1114" y="81"/>
                    <a:pt x="1114" y="81"/>
                  </a:cubicBezTo>
                  <a:cubicBezTo>
                    <a:pt x="1150" y="16"/>
                    <a:pt x="1224" y="0"/>
                    <a:pt x="1287" y="35"/>
                  </a:cubicBezTo>
                  <a:cubicBezTo>
                    <a:pt x="1350" y="69"/>
                    <a:pt x="1350" y="69"/>
                    <a:pt x="1350" y="69"/>
                  </a:cubicBezTo>
                  <a:cubicBezTo>
                    <a:pt x="1415" y="105"/>
                    <a:pt x="1479" y="165"/>
                    <a:pt x="1527" y="235"/>
                  </a:cubicBezTo>
                  <a:cubicBezTo>
                    <a:pt x="1593" y="332"/>
                    <a:pt x="1624" y="442"/>
                    <a:pt x="1583" y="555"/>
                  </a:cubicBezTo>
                  <a:cubicBezTo>
                    <a:pt x="1500" y="781"/>
                    <a:pt x="1351" y="1030"/>
                    <a:pt x="1172" y="1253"/>
                  </a:cubicBezTo>
                  <a:cubicBezTo>
                    <a:pt x="994" y="1477"/>
                    <a:pt x="786" y="1676"/>
                    <a:pt x="586" y="1803"/>
                  </a:cubicBezTo>
                  <a:cubicBezTo>
                    <a:pt x="486" y="1867"/>
                    <a:pt x="375" y="1856"/>
                    <a:pt x="269" y="1807"/>
                  </a:cubicBezTo>
                  <a:cubicBezTo>
                    <a:pt x="157" y="1755"/>
                    <a:pt x="106" y="1695"/>
                    <a:pt x="33" y="1602"/>
                  </a:cubicBezTo>
                  <a:cubicBezTo>
                    <a:pt x="11" y="1573"/>
                    <a:pt x="0" y="1540"/>
                    <a:pt x="2" y="1508"/>
                  </a:cubicBezTo>
                  <a:cubicBezTo>
                    <a:pt x="4" y="1475"/>
                    <a:pt x="18" y="1444"/>
                    <a:pt x="45" y="1421"/>
                  </a:cubicBezTo>
                  <a:cubicBezTo>
                    <a:pt x="70" y="1399"/>
                    <a:pt x="346" y="1158"/>
                    <a:pt x="346" y="1158"/>
                  </a:cubicBezTo>
                  <a:cubicBezTo>
                    <a:pt x="376" y="1134"/>
                    <a:pt x="413" y="1133"/>
                    <a:pt x="448" y="1145"/>
                  </a:cubicBezTo>
                  <a:cubicBezTo>
                    <a:pt x="510" y="1166"/>
                    <a:pt x="536" y="1210"/>
                    <a:pt x="573" y="1257"/>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351"/>
            </a:p>
          </p:txBody>
        </p:sp>
      </p:grpSp>
      <p:grpSp>
        <p:nvGrpSpPr>
          <p:cNvPr id="11" name="Group 3">
            <a:extLst>
              <a:ext uri="{FF2B5EF4-FFF2-40B4-BE49-F238E27FC236}">
                <a16:creationId xmlns:a16="http://schemas.microsoft.com/office/drawing/2014/main" id="{DED6A25A-5DE2-1441-8BA2-C68D3B4F9209}"/>
              </a:ext>
            </a:extLst>
          </p:cNvPr>
          <p:cNvGrpSpPr>
            <a:grpSpLocks noChangeAspect="1"/>
          </p:cNvGrpSpPr>
          <p:nvPr>
            <p:custDataLst>
              <p:tags r:id="rId1"/>
            </p:custDataLst>
          </p:nvPr>
        </p:nvGrpSpPr>
        <p:grpSpPr>
          <a:xfrm>
            <a:off x="4451002" y="3169087"/>
            <a:ext cx="171180" cy="171180"/>
            <a:chOff x="328396" y="5313940"/>
            <a:chExt cx="720000" cy="720000"/>
          </a:xfrm>
        </p:grpSpPr>
        <p:sp>
          <p:nvSpPr>
            <p:cNvPr id="12" name="Rectangle 4">
              <a:extLst>
                <a:ext uri="{FF2B5EF4-FFF2-40B4-BE49-F238E27FC236}">
                  <a16:creationId xmlns:a16="http://schemas.microsoft.com/office/drawing/2014/main" id="{5F49E67F-D4FA-9D48-96BC-59AE946ECD15}"/>
                </a:ext>
              </a:extLst>
            </p:cNvPr>
            <p:cNvSpPr/>
            <p:nvPr/>
          </p:nvSpPr>
          <p:spPr bwMode="gray">
            <a:xfrm>
              <a:off x="328396" y="5313940"/>
              <a:ext cx="720000" cy="720000"/>
            </a:xfrm>
            <a:prstGeom prst="rect">
              <a:avLst/>
            </a:prstGeom>
            <a:solidFill>
              <a:srgbClr val="E55A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pPr>
              <a:endParaRPr lang="en-US" sz="1000">
                <a:solidFill>
                  <a:schemeClr val="tx1"/>
                </a:solidFill>
                <a:latin typeface="Arial" pitchFamily="34" charset="0"/>
                <a:cs typeface="Arial" pitchFamily="34" charset="0"/>
              </a:endParaRPr>
            </a:p>
          </p:txBody>
        </p:sp>
        <p:sp>
          <p:nvSpPr>
            <p:cNvPr id="13" name="Freeform 76">
              <a:extLst>
                <a:ext uri="{FF2B5EF4-FFF2-40B4-BE49-F238E27FC236}">
                  <a16:creationId xmlns:a16="http://schemas.microsoft.com/office/drawing/2014/main" id="{187E70E6-AF3F-2549-908E-DF4BA61040AA}"/>
                </a:ext>
              </a:extLst>
            </p:cNvPr>
            <p:cNvSpPr>
              <a:spLocks noChangeAspect="1" noEditPoints="1"/>
            </p:cNvSpPr>
            <p:nvPr/>
          </p:nvSpPr>
          <p:spPr bwMode="auto">
            <a:xfrm>
              <a:off x="456202" y="5509222"/>
              <a:ext cx="504000" cy="329436"/>
            </a:xfrm>
            <a:custGeom>
              <a:avLst/>
              <a:gdLst>
                <a:gd name="T0" fmla="*/ 0 w 2080"/>
                <a:gd name="T1" fmla="*/ 65 h 1360"/>
                <a:gd name="T2" fmla="*/ 0 w 2080"/>
                <a:gd name="T3" fmla="*/ 0 h 1360"/>
                <a:gd name="T4" fmla="*/ 2080 w 2080"/>
                <a:gd name="T5" fmla="*/ 0 h 1360"/>
                <a:gd name="T6" fmla="*/ 2080 w 2080"/>
                <a:gd name="T7" fmla="*/ 65 h 1360"/>
                <a:gd name="T8" fmla="*/ 1089 w 2080"/>
                <a:gd name="T9" fmla="*/ 862 h 1360"/>
                <a:gd name="T10" fmla="*/ 991 w 2080"/>
                <a:gd name="T11" fmla="*/ 862 h 1360"/>
                <a:gd name="T12" fmla="*/ 0 w 2080"/>
                <a:gd name="T13" fmla="*/ 65 h 1360"/>
                <a:gd name="T14" fmla="*/ 1139 w 2080"/>
                <a:gd name="T15" fmla="*/ 924 h 1360"/>
                <a:gd name="T16" fmla="*/ 1282 w 2080"/>
                <a:gd name="T17" fmla="*/ 810 h 1360"/>
                <a:gd name="T18" fmla="*/ 2076 w 2080"/>
                <a:gd name="T19" fmla="*/ 1360 h 1360"/>
                <a:gd name="T20" fmla="*/ 4 w 2080"/>
                <a:gd name="T21" fmla="*/ 1360 h 1360"/>
                <a:gd name="T22" fmla="*/ 798 w 2080"/>
                <a:gd name="T23" fmla="*/ 810 h 1360"/>
                <a:gd name="T24" fmla="*/ 941 w 2080"/>
                <a:gd name="T25" fmla="*/ 924 h 1360"/>
                <a:gd name="T26" fmla="*/ 1139 w 2080"/>
                <a:gd name="T27" fmla="*/ 924 h 1360"/>
                <a:gd name="T28" fmla="*/ 2 w 2080"/>
                <a:gd name="T29" fmla="*/ 137 h 1360"/>
                <a:gd name="T30" fmla="*/ 42 w 2080"/>
                <a:gd name="T31" fmla="*/ 201 h 1360"/>
                <a:gd name="T32" fmla="*/ 734 w 2080"/>
                <a:gd name="T33" fmla="*/ 758 h 1360"/>
                <a:gd name="T34" fmla="*/ 0 w 2080"/>
                <a:gd name="T35" fmla="*/ 1266 h 1360"/>
                <a:gd name="T36" fmla="*/ 0 w 2080"/>
                <a:gd name="T37" fmla="*/ 135 h 1360"/>
                <a:gd name="T38" fmla="*/ 2 w 2080"/>
                <a:gd name="T39" fmla="*/ 137 h 1360"/>
                <a:gd name="T40" fmla="*/ 2080 w 2080"/>
                <a:gd name="T41" fmla="*/ 136 h 1360"/>
                <a:gd name="T42" fmla="*/ 2080 w 2080"/>
                <a:gd name="T43" fmla="*/ 1265 h 1360"/>
                <a:gd name="T44" fmla="*/ 1346 w 2080"/>
                <a:gd name="T45" fmla="*/ 758 h 1360"/>
                <a:gd name="T46" fmla="*/ 2038 w 2080"/>
                <a:gd name="T47" fmla="*/ 201 h 1360"/>
                <a:gd name="T48" fmla="*/ 2080 w 2080"/>
                <a:gd name="T49" fmla="*/ 136 h 1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080" h="1360">
                  <a:moveTo>
                    <a:pt x="0" y="65"/>
                  </a:moveTo>
                  <a:cubicBezTo>
                    <a:pt x="0" y="0"/>
                    <a:pt x="0" y="0"/>
                    <a:pt x="0" y="0"/>
                  </a:cubicBezTo>
                  <a:cubicBezTo>
                    <a:pt x="2080" y="0"/>
                    <a:pt x="2080" y="0"/>
                    <a:pt x="2080" y="0"/>
                  </a:cubicBezTo>
                  <a:cubicBezTo>
                    <a:pt x="2080" y="65"/>
                    <a:pt x="2080" y="65"/>
                    <a:pt x="2080" y="65"/>
                  </a:cubicBezTo>
                  <a:cubicBezTo>
                    <a:pt x="1089" y="862"/>
                    <a:pt x="1089" y="862"/>
                    <a:pt x="1089" y="862"/>
                  </a:cubicBezTo>
                  <a:cubicBezTo>
                    <a:pt x="1060" y="886"/>
                    <a:pt x="1020" y="886"/>
                    <a:pt x="991" y="862"/>
                  </a:cubicBezTo>
                  <a:lnTo>
                    <a:pt x="0" y="65"/>
                  </a:lnTo>
                  <a:close/>
                  <a:moveTo>
                    <a:pt x="1139" y="924"/>
                  </a:moveTo>
                  <a:cubicBezTo>
                    <a:pt x="1282" y="810"/>
                    <a:pt x="1282" y="810"/>
                    <a:pt x="1282" y="810"/>
                  </a:cubicBezTo>
                  <a:cubicBezTo>
                    <a:pt x="2076" y="1360"/>
                    <a:pt x="2076" y="1360"/>
                    <a:pt x="2076" y="1360"/>
                  </a:cubicBezTo>
                  <a:cubicBezTo>
                    <a:pt x="4" y="1360"/>
                    <a:pt x="4" y="1360"/>
                    <a:pt x="4" y="1360"/>
                  </a:cubicBezTo>
                  <a:cubicBezTo>
                    <a:pt x="798" y="810"/>
                    <a:pt x="798" y="810"/>
                    <a:pt x="798" y="810"/>
                  </a:cubicBezTo>
                  <a:cubicBezTo>
                    <a:pt x="941" y="924"/>
                    <a:pt x="941" y="924"/>
                    <a:pt x="941" y="924"/>
                  </a:cubicBezTo>
                  <a:cubicBezTo>
                    <a:pt x="1000" y="972"/>
                    <a:pt x="1080" y="972"/>
                    <a:pt x="1139" y="924"/>
                  </a:cubicBezTo>
                  <a:close/>
                  <a:moveTo>
                    <a:pt x="2" y="137"/>
                  </a:moveTo>
                  <a:cubicBezTo>
                    <a:pt x="8" y="163"/>
                    <a:pt x="22" y="185"/>
                    <a:pt x="42" y="201"/>
                  </a:cubicBezTo>
                  <a:cubicBezTo>
                    <a:pt x="734" y="758"/>
                    <a:pt x="734" y="758"/>
                    <a:pt x="734" y="758"/>
                  </a:cubicBezTo>
                  <a:cubicBezTo>
                    <a:pt x="0" y="1266"/>
                    <a:pt x="0" y="1266"/>
                    <a:pt x="0" y="1266"/>
                  </a:cubicBezTo>
                  <a:cubicBezTo>
                    <a:pt x="0" y="135"/>
                    <a:pt x="0" y="135"/>
                    <a:pt x="0" y="135"/>
                  </a:cubicBezTo>
                  <a:lnTo>
                    <a:pt x="2" y="137"/>
                  </a:lnTo>
                  <a:close/>
                  <a:moveTo>
                    <a:pt x="2080" y="136"/>
                  </a:moveTo>
                  <a:cubicBezTo>
                    <a:pt x="2080" y="1265"/>
                    <a:pt x="2080" y="1265"/>
                    <a:pt x="2080" y="1265"/>
                  </a:cubicBezTo>
                  <a:cubicBezTo>
                    <a:pt x="1346" y="758"/>
                    <a:pt x="1346" y="758"/>
                    <a:pt x="1346" y="758"/>
                  </a:cubicBezTo>
                  <a:cubicBezTo>
                    <a:pt x="2038" y="201"/>
                    <a:pt x="2038" y="201"/>
                    <a:pt x="2038" y="201"/>
                  </a:cubicBezTo>
                  <a:cubicBezTo>
                    <a:pt x="2060" y="182"/>
                    <a:pt x="2072" y="162"/>
                    <a:pt x="2080" y="13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000"/>
            </a:p>
          </p:txBody>
        </p:sp>
      </p:grpSp>
      <p:cxnSp>
        <p:nvCxnSpPr>
          <p:cNvPr id="20" name="Straight Connector 19"/>
          <p:cNvCxnSpPr/>
          <p:nvPr/>
        </p:nvCxnSpPr>
        <p:spPr>
          <a:xfrm>
            <a:off x="4451001" y="3494093"/>
            <a:ext cx="2463190" cy="0"/>
          </a:xfrm>
          <a:prstGeom prst="line">
            <a:avLst/>
          </a:prstGeom>
          <a:ln w="6350">
            <a:solidFill>
              <a:schemeClr val="tx2"/>
            </a:solidFill>
            <a:prstDash val="dash"/>
          </a:ln>
        </p:spPr>
        <p:style>
          <a:lnRef idx="1">
            <a:schemeClr val="accent1"/>
          </a:lnRef>
          <a:fillRef idx="0">
            <a:schemeClr val="accent1"/>
          </a:fillRef>
          <a:effectRef idx="0">
            <a:schemeClr val="accent1"/>
          </a:effectRef>
          <a:fontRef idx="minor">
            <a:schemeClr val="tx1"/>
          </a:fontRef>
        </p:style>
      </p:cxnSp>
      <p:sp>
        <p:nvSpPr>
          <p:cNvPr id="6" name="Text Placeholder 5"/>
          <p:cNvSpPr>
            <a:spLocks noGrp="1"/>
          </p:cNvSpPr>
          <p:nvPr>
            <p:ph type="body" sz="quarter" idx="19" hasCustomPrompt="1"/>
          </p:nvPr>
        </p:nvSpPr>
        <p:spPr>
          <a:xfrm>
            <a:off x="4451001" y="1824401"/>
            <a:ext cx="2463190" cy="192360"/>
          </a:xfrm>
        </p:spPr>
        <p:txBody>
          <a:bodyPr lIns="0" tIns="0" rIns="0" bIns="0" anchor="ctr" anchorCtr="0"/>
          <a:lstStyle>
            <a:lvl1pPr marL="0" indent="0" algn="l">
              <a:lnSpc>
                <a:spcPct val="100000"/>
              </a:lnSpc>
              <a:buNone/>
              <a:defRPr sz="100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Country</a:t>
            </a:r>
          </a:p>
        </p:txBody>
      </p:sp>
      <p:sp>
        <p:nvSpPr>
          <p:cNvPr id="26" name="Text Placeholder 5"/>
          <p:cNvSpPr>
            <a:spLocks noGrp="1"/>
          </p:cNvSpPr>
          <p:nvPr>
            <p:ph type="body" sz="quarter" idx="20" hasCustomPrompt="1"/>
          </p:nvPr>
        </p:nvSpPr>
        <p:spPr>
          <a:xfrm>
            <a:off x="4451001" y="2036217"/>
            <a:ext cx="2463190" cy="266182"/>
          </a:xfrm>
        </p:spPr>
        <p:txBody>
          <a:bodyPr lIns="0" tIns="0" rIns="0" bIns="0" anchor="b" anchorCtr="0"/>
          <a:lstStyle>
            <a:lvl1pPr marL="0" indent="0" algn="l">
              <a:lnSpc>
                <a:spcPct val="100000"/>
              </a:lnSpc>
              <a:buNone/>
              <a:defRPr sz="1400" b="1" baseline="0">
                <a:solidFill>
                  <a:schemeClr val="tx2"/>
                </a:solidFill>
              </a:defRPr>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Name, Surname</a:t>
            </a:r>
          </a:p>
        </p:txBody>
      </p:sp>
      <p:sp>
        <p:nvSpPr>
          <p:cNvPr id="27" name="Text Placeholder 5"/>
          <p:cNvSpPr>
            <a:spLocks noGrp="1"/>
          </p:cNvSpPr>
          <p:nvPr>
            <p:ph type="body" sz="quarter" idx="21" hasCustomPrompt="1"/>
          </p:nvPr>
        </p:nvSpPr>
        <p:spPr>
          <a:xfrm>
            <a:off x="4451001" y="2332792"/>
            <a:ext cx="2463190"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Job Position</a:t>
            </a:r>
          </a:p>
        </p:txBody>
      </p:sp>
      <p:sp>
        <p:nvSpPr>
          <p:cNvPr id="28" name="Text Placeholder 5"/>
          <p:cNvSpPr>
            <a:spLocks noGrp="1"/>
          </p:cNvSpPr>
          <p:nvPr>
            <p:ph type="body" sz="quarter" idx="22" hasCustomPrompt="1"/>
          </p:nvPr>
        </p:nvSpPr>
        <p:spPr>
          <a:xfrm>
            <a:off x="4695884" y="2861468"/>
            <a:ext cx="2218307"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Phone number</a:t>
            </a:r>
          </a:p>
        </p:txBody>
      </p:sp>
      <p:sp>
        <p:nvSpPr>
          <p:cNvPr id="29" name="Text Placeholder 5"/>
          <p:cNvSpPr>
            <a:spLocks noGrp="1"/>
          </p:cNvSpPr>
          <p:nvPr>
            <p:ph type="body" sz="quarter" idx="23" hasCustomPrompt="1"/>
          </p:nvPr>
        </p:nvSpPr>
        <p:spPr>
          <a:xfrm>
            <a:off x="4695884" y="3144275"/>
            <a:ext cx="2218307"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Email address</a:t>
            </a:r>
          </a:p>
        </p:txBody>
      </p:sp>
      <p:sp>
        <p:nvSpPr>
          <p:cNvPr id="35" name="Text Placeholder 34"/>
          <p:cNvSpPr>
            <a:spLocks noGrp="1"/>
          </p:cNvSpPr>
          <p:nvPr>
            <p:ph type="body" sz="quarter" idx="24" hasCustomPrompt="1"/>
          </p:nvPr>
        </p:nvSpPr>
        <p:spPr>
          <a:xfrm>
            <a:off x="4492626" y="3681413"/>
            <a:ext cx="4492594" cy="2087562"/>
          </a:xfrm>
        </p:spPr>
        <p:txBody>
          <a:bodyPr/>
          <a:lstStyle>
            <a:lvl1pPr>
              <a:defRPr sz="1400" baseline="0"/>
            </a:lvl1pPr>
            <a:lvl2pPr>
              <a:defRPr sz="1400"/>
            </a:lvl2pPr>
            <a:lvl3pPr>
              <a:defRPr sz="1400"/>
            </a:lvl3pPr>
            <a:lvl4pPr>
              <a:defRPr sz="1400"/>
            </a:lvl4pPr>
            <a:lvl5pPr>
              <a:defRPr sz="1400"/>
            </a:lvl5pPr>
          </a:lstStyle>
          <a:p>
            <a:pPr lvl="0"/>
            <a:r>
              <a:rPr lang="en-US"/>
              <a:t>Additional information (if needed)</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68087185"/>
      </p:ext>
    </p:extLst>
  </p:cSld>
  <p:clrMapOvr>
    <a:masterClrMapping/>
  </p:clrMapOvr>
</p:sldLayout>
</file>

<file path=ppt/slideLayouts/slideLayout464.xml><?xml version="1.0" encoding="utf-8"?>
<p:sldLayout xmlns:a="http://schemas.openxmlformats.org/drawingml/2006/main" xmlns:r="http://schemas.openxmlformats.org/officeDocument/2006/relationships" xmlns:p="http://schemas.openxmlformats.org/presentationml/2006/main" preserve="1">
  <p:cSld name="Two contacts">
    <p:spTree>
      <p:nvGrpSpPr>
        <p:cNvPr id="1" name=""/>
        <p:cNvGrpSpPr/>
        <p:nvPr/>
      </p:nvGrpSpPr>
      <p:grpSpPr>
        <a:xfrm>
          <a:off x="0" y="0"/>
          <a:ext cx="0" cy="0"/>
          <a:chOff x="0" y="0"/>
          <a:chExt cx="0" cy="0"/>
        </a:xfrm>
      </p:grpSpPr>
      <p:sp>
        <p:nvSpPr>
          <p:cNvPr id="21" name="Date Placeholder 20"/>
          <p:cNvSpPr>
            <a:spLocks noGrp="1"/>
          </p:cNvSpPr>
          <p:nvPr>
            <p:ph type="dt" sz="half" idx="14"/>
          </p:nvPr>
        </p:nvSpPr>
        <p:spPr/>
        <p:txBody>
          <a:bodyPr/>
          <a:lstStyle/>
          <a:p>
            <a:endParaRPr lang="en-US"/>
          </a:p>
        </p:txBody>
      </p:sp>
      <p:sp>
        <p:nvSpPr>
          <p:cNvPr id="22" name="Footer Placeholder 21"/>
          <p:cNvSpPr>
            <a:spLocks noGrp="1"/>
          </p:cNvSpPr>
          <p:nvPr>
            <p:ph type="ftr" sz="quarter" idx="15"/>
          </p:nvPr>
        </p:nvSpPr>
        <p:spPr/>
        <p:txBody>
          <a:bodyPr/>
          <a:lstStyle/>
          <a:p>
            <a:endParaRPr lang="en-US"/>
          </a:p>
        </p:txBody>
      </p:sp>
      <p:sp>
        <p:nvSpPr>
          <p:cNvPr id="23" name="Slide Number Placeholder 22"/>
          <p:cNvSpPr>
            <a:spLocks noGrp="1"/>
          </p:cNvSpPr>
          <p:nvPr>
            <p:ph type="sldNum" sz="quarter" idx="16"/>
          </p:nvPr>
        </p:nvSpPr>
        <p:spPr/>
        <p:txBody>
          <a:bodyPr/>
          <a:lstStyle/>
          <a:p>
            <a:fld id="{5F3E29E4-0979-4FCA-B4C5-5FC6044C982A}" type="slidenum">
              <a:rPr lang="en-US" smtClean="0"/>
              <a:t>‹#›</a:t>
            </a:fld>
            <a:endParaRPr lang="en-US"/>
          </a:p>
        </p:txBody>
      </p:sp>
      <p:sp>
        <p:nvSpPr>
          <p:cNvPr id="2" name="Title 1"/>
          <p:cNvSpPr>
            <a:spLocks noGrp="1"/>
          </p:cNvSpPr>
          <p:nvPr>
            <p:ph type="title" hasCustomPrompt="1"/>
          </p:nvPr>
        </p:nvSpPr>
        <p:spPr/>
        <p:txBody>
          <a:bodyPr/>
          <a:lstStyle>
            <a:lvl1pPr>
              <a:defRPr/>
            </a:lvl1pPr>
          </a:lstStyle>
          <a:p>
            <a:r>
              <a:rPr lang="en-US"/>
              <a:t>Click to add contact title</a:t>
            </a:r>
          </a:p>
        </p:txBody>
      </p:sp>
      <p:sp>
        <p:nvSpPr>
          <p:cNvPr id="7" name="Subtitle 2"/>
          <p:cNvSpPr>
            <a:spLocks noGrp="1"/>
          </p:cNvSpPr>
          <p:nvPr>
            <p:ph type="subTitle" idx="13" hasCustomPrompt="1"/>
          </p:nvPr>
        </p:nvSpPr>
        <p:spPr>
          <a:xfrm>
            <a:off x="1075061" y="964671"/>
            <a:ext cx="7910158" cy="490042"/>
          </a:xfrm>
        </p:spPr>
        <p:txBody>
          <a:bodyPr wrap="none"/>
          <a:lstStyle>
            <a:lvl1pPr marL="0" indent="0" algn="l">
              <a:spcBef>
                <a:spcPts val="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grpSp>
        <p:nvGrpSpPr>
          <p:cNvPr id="8" name="Gruppieren 80">
            <a:extLst>
              <a:ext uri="{FF2B5EF4-FFF2-40B4-BE49-F238E27FC236}">
                <a16:creationId xmlns:a16="http://schemas.microsoft.com/office/drawing/2014/main" id="{6B969E7B-9C39-4443-9B02-74C1E7C5CCAC}"/>
              </a:ext>
            </a:extLst>
          </p:cNvPr>
          <p:cNvGrpSpPr/>
          <p:nvPr/>
        </p:nvGrpSpPr>
        <p:grpSpPr>
          <a:xfrm>
            <a:off x="3770065" y="2868319"/>
            <a:ext cx="171180" cy="171180"/>
            <a:chOff x="3392092" y="1841122"/>
            <a:chExt cx="646508" cy="646508"/>
          </a:xfrm>
        </p:grpSpPr>
        <p:sp>
          <p:nvSpPr>
            <p:cNvPr id="9" name="Rechteck 14">
              <a:extLst>
                <a:ext uri="{FF2B5EF4-FFF2-40B4-BE49-F238E27FC236}">
                  <a16:creationId xmlns:a16="http://schemas.microsoft.com/office/drawing/2014/main" id="{D78F58EA-5525-8D43-8295-FEA52ECF6BFA}"/>
                </a:ext>
              </a:extLst>
            </p:cNvPr>
            <p:cNvSpPr>
              <a:spLocks noChangeAspect="1"/>
            </p:cNvSpPr>
            <p:nvPr/>
          </p:nvSpPr>
          <p:spPr bwMode="gray">
            <a:xfrm>
              <a:off x="3392092" y="1841122"/>
              <a:ext cx="646508" cy="646508"/>
            </a:xfrm>
            <a:prstGeom prst="rect">
              <a:avLst/>
            </a:prstGeom>
            <a:solidFill>
              <a:srgbClr val="E55A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pPr>
              <a:endParaRPr lang="en-US" sz="1000">
                <a:solidFill>
                  <a:schemeClr val="tx1"/>
                </a:solidFill>
                <a:latin typeface="Arial" pitchFamily="34" charset="0"/>
                <a:cs typeface="Arial" pitchFamily="34" charset="0"/>
              </a:endParaRPr>
            </a:p>
          </p:txBody>
        </p:sp>
        <p:sp>
          <p:nvSpPr>
            <p:cNvPr id="10" name="Freeform 67">
              <a:extLst>
                <a:ext uri="{FF2B5EF4-FFF2-40B4-BE49-F238E27FC236}">
                  <a16:creationId xmlns:a16="http://schemas.microsoft.com/office/drawing/2014/main" id="{D01A6292-2776-4945-B828-483D79DC4908}"/>
                </a:ext>
              </a:extLst>
            </p:cNvPr>
            <p:cNvSpPr>
              <a:spLocks noChangeAspect="1"/>
            </p:cNvSpPr>
            <p:nvPr/>
          </p:nvSpPr>
          <p:spPr bwMode="auto">
            <a:xfrm>
              <a:off x="3546638" y="1970424"/>
              <a:ext cx="337415" cy="387905"/>
            </a:xfrm>
            <a:custGeom>
              <a:avLst/>
              <a:gdLst>
                <a:gd name="T0" fmla="*/ 573 w 1624"/>
                <a:gd name="T1" fmla="*/ 1257 h 1867"/>
                <a:gd name="T2" fmla="*/ 662 w 1624"/>
                <a:gd name="T3" fmla="*/ 1288 h 1867"/>
                <a:gd name="T4" fmla="*/ 938 w 1624"/>
                <a:gd name="T5" fmla="*/ 1051 h 1867"/>
                <a:gd name="T6" fmla="*/ 1106 w 1624"/>
                <a:gd name="T7" fmla="*/ 731 h 1867"/>
                <a:gd name="T8" fmla="*/ 1059 w 1624"/>
                <a:gd name="T9" fmla="*/ 645 h 1867"/>
                <a:gd name="T10" fmla="*/ 1001 w 1624"/>
                <a:gd name="T11" fmla="*/ 613 h 1867"/>
                <a:gd name="T12" fmla="*/ 924 w 1624"/>
                <a:gd name="T13" fmla="*/ 432 h 1867"/>
                <a:gd name="T14" fmla="*/ 1114 w 1624"/>
                <a:gd name="T15" fmla="*/ 81 h 1867"/>
                <a:gd name="T16" fmla="*/ 1287 w 1624"/>
                <a:gd name="T17" fmla="*/ 35 h 1867"/>
                <a:gd name="T18" fmla="*/ 1350 w 1624"/>
                <a:gd name="T19" fmla="*/ 69 h 1867"/>
                <a:gd name="T20" fmla="*/ 1527 w 1624"/>
                <a:gd name="T21" fmla="*/ 235 h 1867"/>
                <a:gd name="T22" fmla="*/ 1583 w 1624"/>
                <a:gd name="T23" fmla="*/ 555 h 1867"/>
                <a:gd name="T24" fmla="*/ 1172 w 1624"/>
                <a:gd name="T25" fmla="*/ 1253 h 1867"/>
                <a:gd name="T26" fmla="*/ 586 w 1624"/>
                <a:gd name="T27" fmla="*/ 1803 h 1867"/>
                <a:gd name="T28" fmla="*/ 269 w 1624"/>
                <a:gd name="T29" fmla="*/ 1807 h 1867"/>
                <a:gd name="T30" fmla="*/ 33 w 1624"/>
                <a:gd name="T31" fmla="*/ 1602 h 1867"/>
                <a:gd name="T32" fmla="*/ 2 w 1624"/>
                <a:gd name="T33" fmla="*/ 1508 h 1867"/>
                <a:gd name="T34" fmla="*/ 45 w 1624"/>
                <a:gd name="T35" fmla="*/ 1421 h 1867"/>
                <a:gd name="T36" fmla="*/ 346 w 1624"/>
                <a:gd name="T37" fmla="*/ 1158 h 1867"/>
                <a:gd name="T38" fmla="*/ 448 w 1624"/>
                <a:gd name="T39" fmla="*/ 1145 h 1867"/>
                <a:gd name="T40" fmla="*/ 573 w 1624"/>
                <a:gd name="T41" fmla="*/ 1257 h 18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24" h="1867">
                  <a:moveTo>
                    <a:pt x="573" y="1257"/>
                  </a:moveTo>
                  <a:cubicBezTo>
                    <a:pt x="592" y="1282"/>
                    <a:pt x="630" y="1303"/>
                    <a:pt x="662" y="1288"/>
                  </a:cubicBezTo>
                  <a:cubicBezTo>
                    <a:pt x="753" y="1245"/>
                    <a:pt x="854" y="1156"/>
                    <a:pt x="938" y="1051"/>
                  </a:cubicBezTo>
                  <a:cubicBezTo>
                    <a:pt x="1020" y="948"/>
                    <a:pt x="1084" y="831"/>
                    <a:pt x="1106" y="731"/>
                  </a:cubicBezTo>
                  <a:cubicBezTo>
                    <a:pt x="1113" y="696"/>
                    <a:pt x="1089" y="661"/>
                    <a:pt x="1059" y="645"/>
                  </a:cubicBezTo>
                  <a:cubicBezTo>
                    <a:pt x="1001" y="613"/>
                    <a:pt x="1001" y="613"/>
                    <a:pt x="1001" y="613"/>
                  </a:cubicBezTo>
                  <a:cubicBezTo>
                    <a:pt x="942" y="580"/>
                    <a:pt x="888" y="499"/>
                    <a:pt x="924" y="432"/>
                  </a:cubicBezTo>
                  <a:cubicBezTo>
                    <a:pt x="1114" y="81"/>
                    <a:pt x="1114" y="81"/>
                    <a:pt x="1114" y="81"/>
                  </a:cubicBezTo>
                  <a:cubicBezTo>
                    <a:pt x="1150" y="16"/>
                    <a:pt x="1224" y="0"/>
                    <a:pt x="1287" y="35"/>
                  </a:cubicBezTo>
                  <a:cubicBezTo>
                    <a:pt x="1350" y="69"/>
                    <a:pt x="1350" y="69"/>
                    <a:pt x="1350" y="69"/>
                  </a:cubicBezTo>
                  <a:cubicBezTo>
                    <a:pt x="1415" y="105"/>
                    <a:pt x="1479" y="165"/>
                    <a:pt x="1527" y="235"/>
                  </a:cubicBezTo>
                  <a:cubicBezTo>
                    <a:pt x="1593" y="332"/>
                    <a:pt x="1624" y="442"/>
                    <a:pt x="1583" y="555"/>
                  </a:cubicBezTo>
                  <a:cubicBezTo>
                    <a:pt x="1500" y="781"/>
                    <a:pt x="1351" y="1030"/>
                    <a:pt x="1172" y="1253"/>
                  </a:cubicBezTo>
                  <a:cubicBezTo>
                    <a:pt x="994" y="1477"/>
                    <a:pt x="786" y="1676"/>
                    <a:pt x="586" y="1803"/>
                  </a:cubicBezTo>
                  <a:cubicBezTo>
                    <a:pt x="486" y="1867"/>
                    <a:pt x="375" y="1856"/>
                    <a:pt x="269" y="1807"/>
                  </a:cubicBezTo>
                  <a:cubicBezTo>
                    <a:pt x="157" y="1755"/>
                    <a:pt x="106" y="1695"/>
                    <a:pt x="33" y="1602"/>
                  </a:cubicBezTo>
                  <a:cubicBezTo>
                    <a:pt x="11" y="1573"/>
                    <a:pt x="0" y="1540"/>
                    <a:pt x="2" y="1508"/>
                  </a:cubicBezTo>
                  <a:cubicBezTo>
                    <a:pt x="4" y="1475"/>
                    <a:pt x="18" y="1444"/>
                    <a:pt x="45" y="1421"/>
                  </a:cubicBezTo>
                  <a:cubicBezTo>
                    <a:pt x="70" y="1399"/>
                    <a:pt x="346" y="1158"/>
                    <a:pt x="346" y="1158"/>
                  </a:cubicBezTo>
                  <a:cubicBezTo>
                    <a:pt x="376" y="1134"/>
                    <a:pt x="413" y="1133"/>
                    <a:pt x="448" y="1145"/>
                  </a:cubicBezTo>
                  <a:cubicBezTo>
                    <a:pt x="510" y="1166"/>
                    <a:pt x="536" y="1210"/>
                    <a:pt x="573" y="1257"/>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351"/>
            </a:p>
          </p:txBody>
        </p:sp>
      </p:grpSp>
      <p:grpSp>
        <p:nvGrpSpPr>
          <p:cNvPr id="11" name="Group 3">
            <a:extLst>
              <a:ext uri="{FF2B5EF4-FFF2-40B4-BE49-F238E27FC236}">
                <a16:creationId xmlns:a16="http://schemas.microsoft.com/office/drawing/2014/main" id="{DED6A25A-5DE2-1441-8BA2-C68D3B4F9209}"/>
              </a:ext>
            </a:extLst>
          </p:cNvPr>
          <p:cNvGrpSpPr>
            <a:grpSpLocks noChangeAspect="1"/>
          </p:cNvGrpSpPr>
          <p:nvPr>
            <p:custDataLst>
              <p:tags r:id="rId1"/>
            </p:custDataLst>
          </p:nvPr>
        </p:nvGrpSpPr>
        <p:grpSpPr>
          <a:xfrm>
            <a:off x="3770066" y="3153207"/>
            <a:ext cx="171180" cy="171180"/>
            <a:chOff x="328396" y="5313940"/>
            <a:chExt cx="720000" cy="720000"/>
          </a:xfrm>
        </p:grpSpPr>
        <p:sp>
          <p:nvSpPr>
            <p:cNvPr id="12" name="Rectangle 4">
              <a:extLst>
                <a:ext uri="{FF2B5EF4-FFF2-40B4-BE49-F238E27FC236}">
                  <a16:creationId xmlns:a16="http://schemas.microsoft.com/office/drawing/2014/main" id="{5F49E67F-D4FA-9D48-96BC-59AE946ECD15}"/>
                </a:ext>
              </a:extLst>
            </p:cNvPr>
            <p:cNvSpPr/>
            <p:nvPr/>
          </p:nvSpPr>
          <p:spPr bwMode="gray">
            <a:xfrm>
              <a:off x="328396" y="5313940"/>
              <a:ext cx="720000" cy="720000"/>
            </a:xfrm>
            <a:prstGeom prst="rect">
              <a:avLst/>
            </a:prstGeom>
            <a:solidFill>
              <a:srgbClr val="E55A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pPr>
              <a:endParaRPr lang="en-US" sz="1000">
                <a:solidFill>
                  <a:schemeClr val="tx1"/>
                </a:solidFill>
                <a:latin typeface="Arial" pitchFamily="34" charset="0"/>
                <a:cs typeface="Arial" pitchFamily="34" charset="0"/>
              </a:endParaRPr>
            </a:p>
          </p:txBody>
        </p:sp>
        <p:sp>
          <p:nvSpPr>
            <p:cNvPr id="13" name="Freeform 76">
              <a:extLst>
                <a:ext uri="{FF2B5EF4-FFF2-40B4-BE49-F238E27FC236}">
                  <a16:creationId xmlns:a16="http://schemas.microsoft.com/office/drawing/2014/main" id="{187E70E6-AF3F-2549-908E-DF4BA61040AA}"/>
                </a:ext>
              </a:extLst>
            </p:cNvPr>
            <p:cNvSpPr>
              <a:spLocks noChangeAspect="1" noEditPoints="1"/>
            </p:cNvSpPr>
            <p:nvPr/>
          </p:nvSpPr>
          <p:spPr bwMode="auto">
            <a:xfrm>
              <a:off x="456202" y="5509222"/>
              <a:ext cx="504000" cy="329436"/>
            </a:xfrm>
            <a:custGeom>
              <a:avLst/>
              <a:gdLst>
                <a:gd name="T0" fmla="*/ 0 w 2080"/>
                <a:gd name="T1" fmla="*/ 65 h 1360"/>
                <a:gd name="T2" fmla="*/ 0 w 2080"/>
                <a:gd name="T3" fmla="*/ 0 h 1360"/>
                <a:gd name="T4" fmla="*/ 2080 w 2080"/>
                <a:gd name="T5" fmla="*/ 0 h 1360"/>
                <a:gd name="T6" fmla="*/ 2080 w 2080"/>
                <a:gd name="T7" fmla="*/ 65 h 1360"/>
                <a:gd name="T8" fmla="*/ 1089 w 2080"/>
                <a:gd name="T9" fmla="*/ 862 h 1360"/>
                <a:gd name="T10" fmla="*/ 991 w 2080"/>
                <a:gd name="T11" fmla="*/ 862 h 1360"/>
                <a:gd name="T12" fmla="*/ 0 w 2080"/>
                <a:gd name="T13" fmla="*/ 65 h 1360"/>
                <a:gd name="T14" fmla="*/ 1139 w 2080"/>
                <a:gd name="T15" fmla="*/ 924 h 1360"/>
                <a:gd name="T16" fmla="*/ 1282 w 2080"/>
                <a:gd name="T17" fmla="*/ 810 h 1360"/>
                <a:gd name="T18" fmla="*/ 2076 w 2080"/>
                <a:gd name="T19" fmla="*/ 1360 h 1360"/>
                <a:gd name="T20" fmla="*/ 4 w 2080"/>
                <a:gd name="T21" fmla="*/ 1360 h 1360"/>
                <a:gd name="T22" fmla="*/ 798 w 2080"/>
                <a:gd name="T23" fmla="*/ 810 h 1360"/>
                <a:gd name="T24" fmla="*/ 941 w 2080"/>
                <a:gd name="T25" fmla="*/ 924 h 1360"/>
                <a:gd name="T26" fmla="*/ 1139 w 2080"/>
                <a:gd name="T27" fmla="*/ 924 h 1360"/>
                <a:gd name="T28" fmla="*/ 2 w 2080"/>
                <a:gd name="T29" fmla="*/ 137 h 1360"/>
                <a:gd name="T30" fmla="*/ 42 w 2080"/>
                <a:gd name="T31" fmla="*/ 201 h 1360"/>
                <a:gd name="T32" fmla="*/ 734 w 2080"/>
                <a:gd name="T33" fmla="*/ 758 h 1360"/>
                <a:gd name="T34" fmla="*/ 0 w 2080"/>
                <a:gd name="T35" fmla="*/ 1266 h 1360"/>
                <a:gd name="T36" fmla="*/ 0 w 2080"/>
                <a:gd name="T37" fmla="*/ 135 h 1360"/>
                <a:gd name="T38" fmla="*/ 2 w 2080"/>
                <a:gd name="T39" fmla="*/ 137 h 1360"/>
                <a:gd name="T40" fmla="*/ 2080 w 2080"/>
                <a:gd name="T41" fmla="*/ 136 h 1360"/>
                <a:gd name="T42" fmla="*/ 2080 w 2080"/>
                <a:gd name="T43" fmla="*/ 1265 h 1360"/>
                <a:gd name="T44" fmla="*/ 1346 w 2080"/>
                <a:gd name="T45" fmla="*/ 758 h 1360"/>
                <a:gd name="T46" fmla="*/ 2038 w 2080"/>
                <a:gd name="T47" fmla="*/ 201 h 1360"/>
                <a:gd name="T48" fmla="*/ 2080 w 2080"/>
                <a:gd name="T49" fmla="*/ 136 h 1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080" h="1360">
                  <a:moveTo>
                    <a:pt x="0" y="65"/>
                  </a:moveTo>
                  <a:cubicBezTo>
                    <a:pt x="0" y="0"/>
                    <a:pt x="0" y="0"/>
                    <a:pt x="0" y="0"/>
                  </a:cubicBezTo>
                  <a:cubicBezTo>
                    <a:pt x="2080" y="0"/>
                    <a:pt x="2080" y="0"/>
                    <a:pt x="2080" y="0"/>
                  </a:cubicBezTo>
                  <a:cubicBezTo>
                    <a:pt x="2080" y="65"/>
                    <a:pt x="2080" y="65"/>
                    <a:pt x="2080" y="65"/>
                  </a:cubicBezTo>
                  <a:cubicBezTo>
                    <a:pt x="1089" y="862"/>
                    <a:pt x="1089" y="862"/>
                    <a:pt x="1089" y="862"/>
                  </a:cubicBezTo>
                  <a:cubicBezTo>
                    <a:pt x="1060" y="886"/>
                    <a:pt x="1020" y="886"/>
                    <a:pt x="991" y="862"/>
                  </a:cubicBezTo>
                  <a:lnTo>
                    <a:pt x="0" y="65"/>
                  </a:lnTo>
                  <a:close/>
                  <a:moveTo>
                    <a:pt x="1139" y="924"/>
                  </a:moveTo>
                  <a:cubicBezTo>
                    <a:pt x="1282" y="810"/>
                    <a:pt x="1282" y="810"/>
                    <a:pt x="1282" y="810"/>
                  </a:cubicBezTo>
                  <a:cubicBezTo>
                    <a:pt x="2076" y="1360"/>
                    <a:pt x="2076" y="1360"/>
                    <a:pt x="2076" y="1360"/>
                  </a:cubicBezTo>
                  <a:cubicBezTo>
                    <a:pt x="4" y="1360"/>
                    <a:pt x="4" y="1360"/>
                    <a:pt x="4" y="1360"/>
                  </a:cubicBezTo>
                  <a:cubicBezTo>
                    <a:pt x="798" y="810"/>
                    <a:pt x="798" y="810"/>
                    <a:pt x="798" y="810"/>
                  </a:cubicBezTo>
                  <a:cubicBezTo>
                    <a:pt x="941" y="924"/>
                    <a:pt x="941" y="924"/>
                    <a:pt x="941" y="924"/>
                  </a:cubicBezTo>
                  <a:cubicBezTo>
                    <a:pt x="1000" y="972"/>
                    <a:pt x="1080" y="972"/>
                    <a:pt x="1139" y="924"/>
                  </a:cubicBezTo>
                  <a:close/>
                  <a:moveTo>
                    <a:pt x="2" y="137"/>
                  </a:moveTo>
                  <a:cubicBezTo>
                    <a:pt x="8" y="163"/>
                    <a:pt x="22" y="185"/>
                    <a:pt x="42" y="201"/>
                  </a:cubicBezTo>
                  <a:cubicBezTo>
                    <a:pt x="734" y="758"/>
                    <a:pt x="734" y="758"/>
                    <a:pt x="734" y="758"/>
                  </a:cubicBezTo>
                  <a:cubicBezTo>
                    <a:pt x="0" y="1266"/>
                    <a:pt x="0" y="1266"/>
                    <a:pt x="0" y="1266"/>
                  </a:cubicBezTo>
                  <a:cubicBezTo>
                    <a:pt x="0" y="135"/>
                    <a:pt x="0" y="135"/>
                    <a:pt x="0" y="135"/>
                  </a:cubicBezTo>
                  <a:lnTo>
                    <a:pt x="2" y="137"/>
                  </a:lnTo>
                  <a:close/>
                  <a:moveTo>
                    <a:pt x="2080" y="136"/>
                  </a:moveTo>
                  <a:cubicBezTo>
                    <a:pt x="2080" y="1265"/>
                    <a:pt x="2080" y="1265"/>
                    <a:pt x="2080" y="1265"/>
                  </a:cubicBezTo>
                  <a:cubicBezTo>
                    <a:pt x="1346" y="758"/>
                    <a:pt x="1346" y="758"/>
                    <a:pt x="1346" y="758"/>
                  </a:cubicBezTo>
                  <a:cubicBezTo>
                    <a:pt x="2038" y="201"/>
                    <a:pt x="2038" y="201"/>
                    <a:pt x="2038" y="201"/>
                  </a:cubicBezTo>
                  <a:cubicBezTo>
                    <a:pt x="2060" y="182"/>
                    <a:pt x="2072" y="162"/>
                    <a:pt x="2080" y="13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000"/>
            </a:p>
          </p:txBody>
        </p:sp>
      </p:grpSp>
      <p:grpSp>
        <p:nvGrpSpPr>
          <p:cNvPr id="14" name="Gruppieren 2">
            <a:extLst>
              <a:ext uri="{FF2B5EF4-FFF2-40B4-BE49-F238E27FC236}">
                <a16:creationId xmlns:a16="http://schemas.microsoft.com/office/drawing/2014/main" id="{BE697CE9-EBDE-6B4A-BE70-582D92A8A831}"/>
              </a:ext>
            </a:extLst>
          </p:cNvPr>
          <p:cNvGrpSpPr/>
          <p:nvPr/>
        </p:nvGrpSpPr>
        <p:grpSpPr>
          <a:xfrm>
            <a:off x="8701917" y="2868319"/>
            <a:ext cx="171180" cy="171180"/>
            <a:chOff x="3392092" y="1841122"/>
            <a:chExt cx="646508" cy="646508"/>
          </a:xfrm>
        </p:grpSpPr>
        <p:sp>
          <p:nvSpPr>
            <p:cNvPr id="15" name="Rechteck 14">
              <a:extLst>
                <a:ext uri="{FF2B5EF4-FFF2-40B4-BE49-F238E27FC236}">
                  <a16:creationId xmlns:a16="http://schemas.microsoft.com/office/drawing/2014/main" id="{E142A731-19B7-C34D-9534-9E05108F895F}"/>
                </a:ext>
              </a:extLst>
            </p:cNvPr>
            <p:cNvSpPr>
              <a:spLocks noChangeAspect="1"/>
            </p:cNvSpPr>
            <p:nvPr/>
          </p:nvSpPr>
          <p:spPr bwMode="gray">
            <a:xfrm>
              <a:off x="3392092" y="1841122"/>
              <a:ext cx="646508" cy="646508"/>
            </a:xfrm>
            <a:prstGeom prst="rect">
              <a:avLst/>
            </a:prstGeom>
            <a:solidFill>
              <a:srgbClr val="E55A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pPr>
              <a:endParaRPr lang="en-US" sz="1000">
                <a:solidFill>
                  <a:schemeClr val="tx1"/>
                </a:solidFill>
                <a:latin typeface="Arial" pitchFamily="34" charset="0"/>
                <a:cs typeface="Arial" pitchFamily="34" charset="0"/>
              </a:endParaRPr>
            </a:p>
          </p:txBody>
        </p:sp>
        <p:sp>
          <p:nvSpPr>
            <p:cNvPr id="16" name="Freeform 15">
              <a:extLst>
                <a:ext uri="{FF2B5EF4-FFF2-40B4-BE49-F238E27FC236}">
                  <a16:creationId xmlns:a16="http://schemas.microsoft.com/office/drawing/2014/main" id="{F97E84AE-4AD9-4B44-9AA1-F797FC373809}"/>
                </a:ext>
              </a:extLst>
            </p:cNvPr>
            <p:cNvSpPr>
              <a:spLocks noChangeAspect="1"/>
            </p:cNvSpPr>
            <p:nvPr/>
          </p:nvSpPr>
          <p:spPr bwMode="auto">
            <a:xfrm>
              <a:off x="3546638" y="1970424"/>
              <a:ext cx="337415" cy="387905"/>
            </a:xfrm>
            <a:custGeom>
              <a:avLst/>
              <a:gdLst>
                <a:gd name="T0" fmla="*/ 573 w 1624"/>
                <a:gd name="T1" fmla="*/ 1257 h 1867"/>
                <a:gd name="T2" fmla="*/ 662 w 1624"/>
                <a:gd name="T3" fmla="*/ 1288 h 1867"/>
                <a:gd name="T4" fmla="*/ 938 w 1624"/>
                <a:gd name="T5" fmla="*/ 1051 h 1867"/>
                <a:gd name="T6" fmla="*/ 1106 w 1624"/>
                <a:gd name="T7" fmla="*/ 731 h 1867"/>
                <a:gd name="T8" fmla="*/ 1059 w 1624"/>
                <a:gd name="T9" fmla="*/ 645 h 1867"/>
                <a:gd name="T10" fmla="*/ 1001 w 1624"/>
                <a:gd name="T11" fmla="*/ 613 h 1867"/>
                <a:gd name="T12" fmla="*/ 924 w 1624"/>
                <a:gd name="T13" fmla="*/ 432 h 1867"/>
                <a:gd name="T14" fmla="*/ 1114 w 1624"/>
                <a:gd name="T15" fmla="*/ 81 h 1867"/>
                <a:gd name="T16" fmla="*/ 1287 w 1624"/>
                <a:gd name="T17" fmla="*/ 35 h 1867"/>
                <a:gd name="T18" fmla="*/ 1350 w 1624"/>
                <a:gd name="T19" fmla="*/ 69 h 1867"/>
                <a:gd name="T20" fmla="*/ 1527 w 1624"/>
                <a:gd name="T21" fmla="*/ 235 h 1867"/>
                <a:gd name="T22" fmla="*/ 1583 w 1624"/>
                <a:gd name="T23" fmla="*/ 555 h 1867"/>
                <a:gd name="T24" fmla="*/ 1172 w 1624"/>
                <a:gd name="T25" fmla="*/ 1253 h 1867"/>
                <a:gd name="T26" fmla="*/ 586 w 1624"/>
                <a:gd name="T27" fmla="*/ 1803 h 1867"/>
                <a:gd name="T28" fmla="*/ 269 w 1624"/>
                <a:gd name="T29" fmla="*/ 1807 h 1867"/>
                <a:gd name="T30" fmla="*/ 33 w 1624"/>
                <a:gd name="T31" fmla="*/ 1602 h 1867"/>
                <a:gd name="T32" fmla="*/ 2 w 1624"/>
                <a:gd name="T33" fmla="*/ 1508 h 1867"/>
                <a:gd name="T34" fmla="*/ 45 w 1624"/>
                <a:gd name="T35" fmla="*/ 1421 h 1867"/>
                <a:gd name="T36" fmla="*/ 346 w 1624"/>
                <a:gd name="T37" fmla="*/ 1158 h 1867"/>
                <a:gd name="T38" fmla="*/ 448 w 1624"/>
                <a:gd name="T39" fmla="*/ 1145 h 1867"/>
                <a:gd name="T40" fmla="*/ 573 w 1624"/>
                <a:gd name="T41" fmla="*/ 1257 h 18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24" h="1867">
                  <a:moveTo>
                    <a:pt x="573" y="1257"/>
                  </a:moveTo>
                  <a:cubicBezTo>
                    <a:pt x="592" y="1282"/>
                    <a:pt x="630" y="1303"/>
                    <a:pt x="662" y="1288"/>
                  </a:cubicBezTo>
                  <a:cubicBezTo>
                    <a:pt x="753" y="1245"/>
                    <a:pt x="854" y="1156"/>
                    <a:pt x="938" y="1051"/>
                  </a:cubicBezTo>
                  <a:cubicBezTo>
                    <a:pt x="1020" y="948"/>
                    <a:pt x="1084" y="831"/>
                    <a:pt x="1106" y="731"/>
                  </a:cubicBezTo>
                  <a:cubicBezTo>
                    <a:pt x="1113" y="696"/>
                    <a:pt x="1089" y="661"/>
                    <a:pt x="1059" y="645"/>
                  </a:cubicBezTo>
                  <a:cubicBezTo>
                    <a:pt x="1001" y="613"/>
                    <a:pt x="1001" y="613"/>
                    <a:pt x="1001" y="613"/>
                  </a:cubicBezTo>
                  <a:cubicBezTo>
                    <a:pt x="942" y="580"/>
                    <a:pt x="888" y="499"/>
                    <a:pt x="924" y="432"/>
                  </a:cubicBezTo>
                  <a:cubicBezTo>
                    <a:pt x="1114" y="81"/>
                    <a:pt x="1114" y="81"/>
                    <a:pt x="1114" y="81"/>
                  </a:cubicBezTo>
                  <a:cubicBezTo>
                    <a:pt x="1150" y="16"/>
                    <a:pt x="1224" y="0"/>
                    <a:pt x="1287" y="35"/>
                  </a:cubicBezTo>
                  <a:cubicBezTo>
                    <a:pt x="1350" y="69"/>
                    <a:pt x="1350" y="69"/>
                    <a:pt x="1350" y="69"/>
                  </a:cubicBezTo>
                  <a:cubicBezTo>
                    <a:pt x="1415" y="105"/>
                    <a:pt x="1479" y="165"/>
                    <a:pt x="1527" y="235"/>
                  </a:cubicBezTo>
                  <a:cubicBezTo>
                    <a:pt x="1593" y="332"/>
                    <a:pt x="1624" y="442"/>
                    <a:pt x="1583" y="555"/>
                  </a:cubicBezTo>
                  <a:cubicBezTo>
                    <a:pt x="1500" y="781"/>
                    <a:pt x="1351" y="1030"/>
                    <a:pt x="1172" y="1253"/>
                  </a:cubicBezTo>
                  <a:cubicBezTo>
                    <a:pt x="994" y="1477"/>
                    <a:pt x="786" y="1676"/>
                    <a:pt x="586" y="1803"/>
                  </a:cubicBezTo>
                  <a:cubicBezTo>
                    <a:pt x="486" y="1867"/>
                    <a:pt x="375" y="1856"/>
                    <a:pt x="269" y="1807"/>
                  </a:cubicBezTo>
                  <a:cubicBezTo>
                    <a:pt x="157" y="1755"/>
                    <a:pt x="106" y="1695"/>
                    <a:pt x="33" y="1602"/>
                  </a:cubicBezTo>
                  <a:cubicBezTo>
                    <a:pt x="11" y="1573"/>
                    <a:pt x="0" y="1540"/>
                    <a:pt x="2" y="1508"/>
                  </a:cubicBezTo>
                  <a:cubicBezTo>
                    <a:pt x="4" y="1475"/>
                    <a:pt x="18" y="1444"/>
                    <a:pt x="45" y="1421"/>
                  </a:cubicBezTo>
                  <a:cubicBezTo>
                    <a:pt x="70" y="1399"/>
                    <a:pt x="346" y="1158"/>
                    <a:pt x="346" y="1158"/>
                  </a:cubicBezTo>
                  <a:cubicBezTo>
                    <a:pt x="376" y="1134"/>
                    <a:pt x="413" y="1133"/>
                    <a:pt x="448" y="1145"/>
                  </a:cubicBezTo>
                  <a:cubicBezTo>
                    <a:pt x="510" y="1166"/>
                    <a:pt x="536" y="1210"/>
                    <a:pt x="573" y="1257"/>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351"/>
            </a:p>
          </p:txBody>
        </p:sp>
      </p:grpSp>
      <p:grpSp>
        <p:nvGrpSpPr>
          <p:cNvPr id="17" name="Group 3">
            <a:extLst>
              <a:ext uri="{FF2B5EF4-FFF2-40B4-BE49-F238E27FC236}">
                <a16:creationId xmlns:a16="http://schemas.microsoft.com/office/drawing/2014/main" id="{7104BADD-8CD1-6F4A-B894-869C3BDB3EEB}"/>
              </a:ext>
            </a:extLst>
          </p:cNvPr>
          <p:cNvGrpSpPr>
            <a:grpSpLocks noChangeAspect="1"/>
          </p:cNvGrpSpPr>
          <p:nvPr>
            <p:custDataLst>
              <p:tags r:id="rId2"/>
            </p:custDataLst>
          </p:nvPr>
        </p:nvGrpSpPr>
        <p:grpSpPr>
          <a:xfrm>
            <a:off x="8701918" y="3153207"/>
            <a:ext cx="171180" cy="171180"/>
            <a:chOff x="328396" y="5313940"/>
            <a:chExt cx="720000" cy="720000"/>
          </a:xfrm>
        </p:grpSpPr>
        <p:sp>
          <p:nvSpPr>
            <p:cNvPr id="18" name="Rectangle 4">
              <a:extLst>
                <a:ext uri="{FF2B5EF4-FFF2-40B4-BE49-F238E27FC236}">
                  <a16:creationId xmlns:a16="http://schemas.microsoft.com/office/drawing/2014/main" id="{74BE3D5F-1445-6E40-8B49-72E15568383B}"/>
                </a:ext>
              </a:extLst>
            </p:cNvPr>
            <p:cNvSpPr/>
            <p:nvPr/>
          </p:nvSpPr>
          <p:spPr bwMode="gray">
            <a:xfrm>
              <a:off x="328396" y="5313940"/>
              <a:ext cx="720000" cy="720000"/>
            </a:xfrm>
            <a:prstGeom prst="rect">
              <a:avLst/>
            </a:prstGeom>
            <a:solidFill>
              <a:srgbClr val="E55A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pPr>
              <a:endParaRPr lang="en-US" sz="1000">
                <a:solidFill>
                  <a:schemeClr val="tx1"/>
                </a:solidFill>
                <a:latin typeface="Arial" pitchFamily="34" charset="0"/>
                <a:cs typeface="Arial" pitchFamily="34" charset="0"/>
              </a:endParaRPr>
            </a:p>
          </p:txBody>
        </p:sp>
        <p:sp>
          <p:nvSpPr>
            <p:cNvPr id="19" name="Freeform 76">
              <a:extLst>
                <a:ext uri="{FF2B5EF4-FFF2-40B4-BE49-F238E27FC236}">
                  <a16:creationId xmlns:a16="http://schemas.microsoft.com/office/drawing/2014/main" id="{55DB3C95-7D0C-D141-901E-96D692794D2B}"/>
                </a:ext>
              </a:extLst>
            </p:cNvPr>
            <p:cNvSpPr>
              <a:spLocks noChangeAspect="1" noEditPoints="1"/>
            </p:cNvSpPr>
            <p:nvPr/>
          </p:nvSpPr>
          <p:spPr bwMode="auto">
            <a:xfrm>
              <a:off x="456202" y="5509222"/>
              <a:ext cx="504000" cy="329436"/>
            </a:xfrm>
            <a:custGeom>
              <a:avLst/>
              <a:gdLst>
                <a:gd name="T0" fmla="*/ 0 w 2080"/>
                <a:gd name="T1" fmla="*/ 65 h 1360"/>
                <a:gd name="T2" fmla="*/ 0 w 2080"/>
                <a:gd name="T3" fmla="*/ 0 h 1360"/>
                <a:gd name="T4" fmla="*/ 2080 w 2080"/>
                <a:gd name="T5" fmla="*/ 0 h 1360"/>
                <a:gd name="T6" fmla="*/ 2080 w 2080"/>
                <a:gd name="T7" fmla="*/ 65 h 1360"/>
                <a:gd name="T8" fmla="*/ 1089 w 2080"/>
                <a:gd name="T9" fmla="*/ 862 h 1360"/>
                <a:gd name="T10" fmla="*/ 991 w 2080"/>
                <a:gd name="T11" fmla="*/ 862 h 1360"/>
                <a:gd name="T12" fmla="*/ 0 w 2080"/>
                <a:gd name="T13" fmla="*/ 65 h 1360"/>
                <a:gd name="T14" fmla="*/ 1139 w 2080"/>
                <a:gd name="T15" fmla="*/ 924 h 1360"/>
                <a:gd name="T16" fmla="*/ 1282 w 2080"/>
                <a:gd name="T17" fmla="*/ 810 h 1360"/>
                <a:gd name="T18" fmla="*/ 2076 w 2080"/>
                <a:gd name="T19" fmla="*/ 1360 h 1360"/>
                <a:gd name="T20" fmla="*/ 4 w 2080"/>
                <a:gd name="T21" fmla="*/ 1360 h 1360"/>
                <a:gd name="T22" fmla="*/ 798 w 2080"/>
                <a:gd name="T23" fmla="*/ 810 h 1360"/>
                <a:gd name="T24" fmla="*/ 941 w 2080"/>
                <a:gd name="T25" fmla="*/ 924 h 1360"/>
                <a:gd name="T26" fmla="*/ 1139 w 2080"/>
                <a:gd name="T27" fmla="*/ 924 h 1360"/>
                <a:gd name="T28" fmla="*/ 2 w 2080"/>
                <a:gd name="T29" fmla="*/ 137 h 1360"/>
                <a:gd name="T30" fmla="*/ 42 w 2080"/>
                <a:gd name="T31" fmla="*/ 201 h 1360"/>
                <a:gd name="T32" fmla="*/ 734 w 2080"/>
                <a:gd name="T33" fmla="*/ 758 h 1360"/>
                <a:gd name="T34" fmla="*/ 0 w 2080"/>
                <a:gd name="T35" fmla="*/ 1266 h 1360"/>
                <a:gd name="T36" fmla="*/ 0 w 2080"/>
                <a:gd name="T37" fmla="*/ 135 h 1360"/>
                <a:gd name="T38" fmla="*/ 2 w 2080"/>
                <a:gd name="T39" fmla="*/ 137 h 1360"/>
                <a:gd name="T40" fmla="*/ 2080 w 2080"/>
                <a:gd name="T41" fmla="*/ 136 h 1360"/>
                <a:gd name="T42" fmla="*/ 2080 w 2080"/>
                <a:gd name="T43" fmla="*/ 1265 h 1360"/>
                <a:gd name="T44" fmla="*/ 1346 w 2080"/>
                <a:gd name="T45" fmla="*/ 758 h 1360"/>
                <a:gd name="T46" fmla="*/ 2038 w 2080"/>
                <a:gd name="T47" fmla="*/ 201 h 1360"/>
                <a:gd name="T48" fmla="*/ 2080 w 2080"/>
                <a:gd name="T49" fmla="*/ 136 h 1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080" h="1360">
                  <a:moveTo>
                    <a:pt x="0" y="65"/>
                  </a:moveTo>
                  <a:cubicBezTo>
                    <a:pt x="0" y="0"/>
                    <a:pt x="0" y="0"/>
                    <a:pt x="0" y="0"/>
                  </a:cubicBezTo>
                  <a:cubicBezTo>
                    <a:pt x="2080" y="0"/>
                    <a:pt x="2080" y="0"/>
                    <a:pt x="2080" y="0"/>
                  </a:cubicBezTo>
                  <a:cubicBezTo>
                    <a:pt x="2080" y="65"/>
                    <a:pt x="2080" y="65"/>
                    <a:pt x="2080" y="65"/>
                  </a:cubicBezTo>
                  <a:cubicBezTo>
                    <a:pt x="1089" y="862"/>
                    <a:pt x="1089" y="862"/>
                    <a:pt x="1089" y="862"/>
                  </a:cubicBezTo>
                  <a:cubicBezTo>
                    <a:pt x="1060" y="886"/>
                    <a:pt x="1020" y="886"/>
                    <a:pt x="991" y="862"/>
                  </a:cubicBezTo>
                  <a:lnTo>
                    <a:pt x="0" y="65"/>
                  </a:lnTo>
                  <a:close/>
                  <a:moveTo>
                    <a:pt x="1139" y="924"/>
                  </a:moveTo>
                  <a:cubicBezTo>
                    <a:pt x="1282" y="810"/>
                    <a:pt x="1282" y="810"/>
                    <a:pt x="1282" y="810"/>
                  </a:cubicBezTo>
                  <a:cubicBezTo>
                    <a:pt x="2076" y="1360"/>
                    <a:pt x="2076" y="1360"/>
                    <a:pt x="2076" y="1360"/>
                  </a:cubicBezTo>
                  <a:cubicBezTo>
                    <a:pt x="4" y="1360"/>
                    <a:pt x="4" y="1360"/>
                    <a:pt x="4" y="1360"/>
                  </a:cubicBezTo>
                  <a:cubicBezTo>
                    <a:pt x="798" y="810"/>
                    <a:pt x="798" y="810"/>
                    <a:pt x="798" y="810"/>
                  </a:cubicBezTo>
                  <a:cubicBezTo>
                    <a:pt x="941" y="924"/>
                    <a:pt x="941" y="924"/>
                    <a:pt x="941" y="924"/>
                  </a:cubicBezTo>
                  <a:cubicBezTo>
                    <a:pt x="1000" y="972"/>
                    <a:pt x="1080" y="972"/>
                    <a:pt x="1139" y="924"/>
                  </a:cubicBezTo>
                  <a:close/>
                  <a:moveTo>
                    <a:pt x="2" y="137"/>
                  </a:moveTo>
                  <a:cubicBezTo>
                    <a:pt x="8" y="163"/>
                    <a:pt x="22" y="185"/>
                    <a:pt x="42" y="201"/>
                  </a:cubicBezTo>
                  <a:cubicBezTo>
                    <a:pt x="734" y="758"/>
                    <a:pt x="734" y="758"/>
                    <a:pt x="734" y="758"/>
                  </a:cubicBezTo>
                  <a:cubicBezTo>
                    <a:pt x="0" y="1266"/>
                    <a:pt x="0" y="1266"/>
                    <a:pt x="0" y="1266"/>
                  </a:cubicBezTo>
                  <a:cubicBezTo>
                    <a:pt x="0" y="135"/>
                    <a:pt x="0" y="135"/>
                    <a:pt x="0" y="135"/>
                  </a:cubicBezTo>
                  <a:lnTo>
                    <a:pt x="2" y="137"/>
                  </a:lnTo>
                  <a:close/>
                  <a:moveTo>
                    <a:pt x="2080" y="136"/>
                  </a:moveTo>
                  <a:cubicBezTo>
                    <a:pt x="2080" y="1265"/>
                    <a:pt x="2080" y="1265"/>
                    <a:pt x="2080" y="1265"/>
                  </a:cubicBezTo>
                  <a:cubicBezTo>
                    <a:pt x="1346" y="758"/>
                    <a:pt x="1346" y="758"/>
                    <a:pt x="1346" y="758"/>
                  </a:cubicBezTo>
                  <a:cubicBezTo>
                    <a:pt x="2038" y="201"/>
                    <a:pt x="2038" y="201"/>
                    <a:pt x="2038" y="201"/>
                  </a:cubicBezTo>
                  <a:cubicBezTo>
                    <a:pt x="2060" y="182"/>
                    <a:pt x="2072" y="162"/>
                    <a:pt x="2080" y="13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000"/>
            </a:p>
          </p:txBody>
        </p:sp>
      </p:grpSp>
      <p:cxnSp>
        <p:nvCxnSpPr>
          <p:cNvPr id="20" name="Straight Connector 19"/>
          <p:cNvCxnSpPr/>
          <p:nvPr/>
        </p:nvCxnSpPr>
        <p:spPr>
          <a:xfrm>
            <a:off x="2371725" y="3478213"/>
            <a:ext cx="3888000" cy="0"/>
          </a:xfrm>
          <a:prstGeom prst="line">
            <a:avLst/>
          </a:prstGeom>
          <a:ln w="6350">
            <a:solidFill>
              <a:schemeClr val="tx2"/>
            </a:solidFill>
            <a:prstDash val="dash"/>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p:nvCxnSpPr>
        <p:spPr>
          <a:xfrm>
            <a:off x="7287766" y="3478213"/>
            <a:ext cx="3888000" cy="0"/>
          </a:xfrm>
          <a:prstGeom prst="line">
            <a:avLst/>
          </a:prstGeom>
          <a:ln w="6350">
            <a:solidFill>
              <a:schemeClr val="tx2"/>
            </a:solidFill>
            <a:prstDash val="dash"/>
          </a:ln>
        </p:spPr>
        <p:style>
          <a:lnRef idx="1">
            <a:schemeClr val="accent1"/>
          </a:lnRef>
          <a:fillRef idx="0">
            <a:schemeClr val="accent1"/>
          </a:fillRef>
          <a:effectRef idx="0">
            <a:schemeClr val="accent1"/>
          </a:effectRef>
          <a:fontRef idx="minor">
            <a:schemeClr val="tx1"/>
          </a:fontRef>
        </p:style>
      </p:cxnSp>
      <p:sp>
        <p:nvSpPr>
          <p:cNvPr id="4" name="Picture Placeholder 3"/>
          <p:cNvSpPr>
            <a:spLocks noGrp="1"/>
          </p:cNvSpPr>
          <p:nvPr>
            <p:ph type="pic" sz="quarter" idx="17" hasCustomPrompt="1"/>
          </p:nvPr>
        </p:nvSpPr>
        <p:spPr>
          <a:xfrm>
            <a:off x="2355914" y="1808984"/>
            <a:ext cx="1188677" cy="1547840"/>
          </a:xfrm>
          <a:solidFill>
            <a:srgbClr val="D9DADB"/>
          </a:solidFill>
        </p:spPr>
        <p:txBody>
          <a:bodyPr/>
          <a:lstStyle>
            <a:lvl1pPr marL="0" indent="0">
              <a:buNone/>
              <a:defRPr sz="1400"/>
            </a:lvl1pPr>
          </a:lstStyle>
          <a:p>
            <a:r>
              <a:rPr lang="en-US"/>
              <a:t>Insert picture</a:t>
            </a:r>
          </a:p>
        </p:txBody>
      </p:sp>
      <p:sp>
        <p:nvSpPr>
          <p:cNvPr id="25" name="Picture Placeholder 3"/>
          <p:cNvSpPr>
            <a:spLocks noGrp="1"/>
          </p:cNvSpPr>
          <p:nvPr>
            <p:ph type="pic" sz="quarter" idx="18" hasCustomPrompt="1"/>
          </p:nvPr>
        </p:nvSpPr>
        <p:spPr>
          <a:xfrm>
            <a:off x="7287766" y="1808984"/>
            <a:ext cx="1188677" cy="1547840"/>
          </a:xfrm>
          <a:solidFill>
            <a:srgbClr val="D9DADB"/>
          </a:solidFill>
        </p:spPr>
        <p:txBody>
          <a:bodyPr/>
          <a:lstStyle>
            <a:lvl1pPr marL="0" indent="0">
              <a:buNone/>
              <a:defRPr sz="1400"/>
            </a:lvl1pPr>
          </a:lstStyle>
          <a:p>
            <a:r>
              <a:rPr lang="en-US"/>
              <a:t>Insert picture</a:t>
            </a:r>
          </a:p>
        </p:txBody>
      </p:sp>
      <p:sp>
        <p:nvSpPr>
          <p:cNvPr id="6" name="Text Placeholder 5"/>
          <p:cNvSpPr>
            <a:spLocks noGrp="1"/>
          </p:cNvSpPr>
          <p:nvPr>
            <p:ph type="body" sz="quarter" idx="19" hasCustomPrompt="1"/>
          </p:nvPr>
        </p:nvSpPr>
        <p:spPr>
          <a:xfrm>
            <a:off x="3770065" y="1808521"/>
            <a:ext cx="2463190" cy="192360"/>
          </a:xfrm>
        </p:spPr>
        <p:txBody>
          <a:bodyPr lIns="0" tIns="0" rIns="0" bIns="0" anchor="ctr" anchorCtr="0"/>
          <a:lstStyle>
            <a:lvl1pPr marL="0" indent="0" algn="l">
              <a:lnSpc>
                <a:spcPct val="100000"/>
              </a:lnSpc>
              <a:buNone/>
              <a:defRPr sz="100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Country</a:t>
            </a:r>
          </a:p>
        </p:txBody>
      </p:sp>
      <p:sp>
        <p:nvSpPr>
          <p:cNvPr id="26" name="Text Placeholder 5"/>
          <p:cNvSpPr>
            <a:spLocks noGrp="1"/>
          </p:cNvSpPr>
          <p:nvPr>
            <p:ph type="body" sz="quarter" idx="20" hasCustomPrompt="1"/>
          </p:nvPr>
        </p:nvSpPr>
        <p:spPr>
          <a:xfrm>
            <a:off x="3770065" y="2020337"/>
            <a:ext cx="2463190" cy="266182"/>
          </a:xfrm>
        </p:spPr>
        <p:txBody>
          <a:bodyPr lIns="0" tIns="0" rIns="0" bIns="0" anchor="b" anchorCtr="0"/>
          <a:lstStyle>
            <a:lvl1pPr marL="0" indent="0" algn="l">
              <a:lnSpc>
                <a:spcPct val="100000"/>
              </a:lnSpc>
              <a:buNone/>
              <a:defRPr sz="1400" b="1" baseline="0">
                <a:solidFill>
                  <a:schemeClr val="tx2"/>
                </a:solidFill>
              </a:defRPr>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Name, Surname</a:t>
            </a:r>
          </a:p>
        </p:txBody>
      </p:sp>
      <p:sp>
        <p:nvSpPr>
          <p:cNvPr id="27" name="Text Placeholder 5"/>
          <p:cNvSpPr>
            <a:spLocks noGrp="1"/>
          </p:cNvSpPr>
          <p:nvPr>
            <p:ph type="body" sz="quarter" idx="21" hasCustomPrompt="1"/>
          </p:nvPr>
        </p:nvSpPr>
        <p:spPr>
          <a:xfrm>
            <a:off x="3770065" y="2316912"/>
            <a:ext cx="2463190"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Job Position</a:t>
            </a:r>
          </a:p>
        </p:txBody>
      </p:sp>
      <p:sp>
        <p:nvSpPr>
          <p:cNvPr id="28" name="Text Placeholder 5"/>
          <p:cNvSpPr>
            <a:spLocks noGrp="1"/>
          </p:cNvSpPr>
          <p:nvPr>
            <p:ph type="body" sz="quarter" idx="22" hasCustomPrompt="1"/>
          </p:nvPr>
        </p:nvSpPr>
        <p:spPr>
          <a:xfrm>
            <a:off x="4014948" y="2845588"/>
            <a:ext cx="2218307"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Phone number</a:t>
            </a:r>
          </a:p>
        </p:txBody>
      </p:sp>
      <p:sp>
        <p:nvSpPr>
          <p:cNvPr id="29" name="Text Placeholder 5"/>
          <p:cNvSpPr>
            <a:spLocks noGrp="1"/>
          </p:cNvSpPr>
          <p:nvPr>
            <p:ph type="body" sz="quarter" idx="23" hasCustomPrompt="1"/>
          </p:nvPr>
        </p:nvSpPr>
        <p:spPr>
          <a:xfrm>
            <a:off x="4014948" y="3128395"/>
            <a:ext cx="2218307"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Email address</a:t>
            </a:r>
          </a:p>
        </p:txBody>
      </p:sp>
      <p:sp>
        <p:nvSpPr>
          <p:cNvPr id="30" name="Text Placeholder 5"/>
          <p:cNvSpPr>
            <a:spLocks noGrp="1"/>
          </p:cNvSpPr>
          <p:nvPr>
            <p:ph type="body" sz="quarter" idx="24" hasCustomPrompt="1"/>
          </p:nvPr>
        </p:nvSpPr>
        <p:spPr>
          <a:xfrm>
            <a:off x="8701917" y="1808521"/>
            <a:ext cx="2463190" cy="192360"/>
          </a:xfrm>
        </p:spPr>
        <p:txBody>
          <a:bodyPr lIns="0" tIns="0" rIns="0" bIns="0" anchor="ctr" anchorCtr="0"/>
          <a:lstStyle>
            <a:lvl1pPr marL="0" indent="0" algn="l">
              <a:lnSpc>
                <a:spcPct val="100000"/>
              </a:lnSpc>
              <a:buNone/>
              <a:defRPr sz="100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Country</a:t>
            </a:r>
          </a:p>
        </p:txBody>
      </p:sp>
      <p:sp>
        <p:nvSpPr>
          <p:cNvPr id="31" name="Text Placeholder 5"/>
          <p:cNvSpPr>
            <a:spLocks noGrp="1"/>
          </p:cNvSpPr>
          <p:nvPr>
            <p:ph type="body" sz="quarter" idx="25" hasCustomPrompt="1"/>
          </p:nvPr>
        </p:nvSpPr>
        <p:spPr>
          <a:xfrm>
            <a:off x="8701917" y="2020337"/>
            <a:ext cx="2463190" cy="266182"/>
          </a:xfrm>
        </p:spPr>
        <p:txBody>
          <a:bodyPr lIns="0" tIns="0" rIns="0" bIns="0" anchor="b" anchorCtr="0"/>
          <a:lstStyle>
            <a:lvl1pPr marL="0" indent="0" algn="l">
              <a:lnSpc>
                <a:spcPct val="100000"/>
              </a:lnSpc>
              <a:buNone/>
              <a:defRPr sz="1400" b="1" baseline="0">
                <a:solidFill>
                  <a:schemeClr val="tx2"/>
                </a:solidFill>
              </a:defRPr>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Name, Surname</a:t>
            </a:r>
          </a:p>
        </p:txBody>
      </p:sp>
      <p:sp>
        <p:nvSpPr>
          <p:cNvPr id="32" name="Text Placeholder 5"/>
          <p:cNvSpPr>
            <a:spLocks noGrp="1"/>
          </p:cNvSpPr>
          <p:nvPr>
            <p:ph type="body" sz="quarter" idx="26" hasCustomPrompt="1"/>
          </p:nvPr>
        </p:nvSpPr>
        <p:spPr>
          <a:xfrm>
            <a:off x="8701917" y="2316912"/>
            <a:ext cx="2463190"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Job Position</a:t>
            </a:r>
          </a:p>
        </p:txBody>
      </p:sp>
      <p:sp>
        <p:nvSpPr>
          <p:cNvPr id="33" name="Text Placeholder 5"/>
          <p:cNvSpPr>
            <a:spLocks noGrp="1"/>
          </p:cNvSpPr>
          <p:nvPr>
            <p:ph type="body" sz="quarter" idx="27" hasCustomPrompt="1"/>
          </p:nvPr>
        </p:nvSpPr>
        <p:spPr>
          <a:xfrm>
            <a:off x="8946800" y="2845588"/>
            <a:ext cx="2218307"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Phone number</a:t>
            </a:r>
          </a:p>
        </p:txBody>
      </p:sp>
      <p:sp>
        <p:nvSpPr>
          <p:cNvPr id="34" name="Text Placeholder 5"/>
          <p:cNvSpPr>
            <a:spLocks noGrp="1"/>
          </p:cNvSpPr>
          <p:nvPr>
            <p:ph type="body" sz="quarter" idx="28" hasCustomPrompt="1"/>
          </p:nvPr>
        </p:nvSpPr>
        <p:spPr>
          <a:xfrm>
            <a:off x="8946800" y="3128395"/>
            <a:ext cx="2218307"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Email address</a:t>
            </a:r>
          </a:p>
        </p:txBody>
      </p:sp>
    </p:spTree>
    <p:extLst>
      <p:ext uri="{BB962C8B-B14F-4D97-AF65-F5344CB8AC3E}">
        <p14:creationId xmlns:p14="http://schemas.microsoft.com/office/powerpoint/2010/main" val="2884667154"/>
      </p:ext>
    </p:extLst>
  </p:cSld>
  <p:clrMapOvr>
    <a:masterClrMapping/>
  </p:clrMapOvr>
</p:sldLayout>
</file>

<file path=ppt/slideLayouts/slideLayout465.xml><?xml version="1.0" encoding="utf-8"?>
<p:sldLayout xmlns:a="http://schemas.openxmlformats.org/drawingml/2006/main" xmlns:r="http://schemas.openxmlformats.org/officeDocument/2006/relationships" xmlns:p="http://schemas.openxmlformats.org/presentationml/2006/main" preserve="1">
  <p:cSld name="Three contacts">
    <p:spTree>
      <p:nvGrpSpPr>
        <p:cNvPr id="1" name=""/>
        <p:cNvGrpSpPr/>
        <p:nvPr/>
      </p:nvGrpSpPr>
      <p:grpSpPr>
        <a:xfrm>
          <a:off x="0" y="0"/>
          <a:ext cx="0" cy="0"/>
          <a:chOff x="0" y="0"/>
          <a:chExt cx="0" cy="0"/>
        </a:xfrm>
      </p:grpSpPr>
      <p:sp>
        <p:nvSpPr>
          <p:cNvPr id="21" name="Date Placeholder 20"/>
          <p:cNvSpPr>
            <a:spLocks noGrp="1"/>
          </p:cNvSpPr>
          <p:nvPr>
            <p:ph type="dt" sz="half" idx="14"/>
          </p:nvPr>
        </p:nvSpPr>
        <p:spPr/>
        <p:txBody>
          <a:bodyPr/>
          <a:lstStyle/>
          <a:p>
            <a:endParaRPr lang="en-US"/>
          </a:p>
        </p:txBody>
      </p:sp>
      <p:sp>
        <p:nvSpPr>
          <p:cNvPr id="22" name="Footer Placeholder 21"/>
          <p:cNvSpPr>
            <a:spLocks noGrp="1"/>
          </p:cNvSpPr>
          <p:nvPr>
            <p:ph type="ftr" sz="quarter" idx="15"/>
          </p:nvPr>
        </p:nvSpPr>
        <p:spPr/>
        <p:txBody>
          <a:bodyPr/>
          <a:lstStyle/>
          <a:p>
            <a:endParaRPr lang="en-US"/>
          </a:p>
        </p:txBody>
      </p:sp>
      <p:sp>
        <p:nvSpPr>
          <p:cNvPr id="23" name="Slide Number Placeholder 22"/>
          <p:cNvSpPr>
            <a:spLocks noGrp="1"/>
          </p:cNvSpPr>
          <p:nvPr>
            <p:ph type="sldNum" sz="quarter" idx="16"/>
          </p:nvPr>
        </p:nvSpPr>
        <p:spPr/>
        <p:txBody>
          <a:bodyPr/>
          <a:lstStyle/>
          <a:p>
            <a:fld id="{5F3E29E4-0979-4FCA-B4C5-5FC6044C982A}" type="slidenum">
              <a:rPr lang="en-US" smtClean="0"/>
              <a:t>‹#›</a:t>
            </a:fld>
            <a:endParaRPr lang="en-US"/>
          </a:p>
        </p:txBody>
      </p:sp>
      <p:sp>
        <p:nvSpPr>
          <p:cNvPr id="2" name="Title 1"/>
          <p:cNvSpPr>
            <a:spLocks noGrp="1"/>
          </p:cNvSpPr>
          <p:nvPr>
            <p:ph type="title" hasCustomPrompt="1"/>
          </p:nvPr>
        </p:nvSpPr>
        <p:spPr/>
        <p:txBody>
          <a:bodyPr/>
          <a:lstStyle>
            <a:lvl1pPr>
              <a:defRPr/>
            </a:lvl1pPr>
          </a:lstStyle>
          <a:p>
            <a:r>
              <a:rPr lang="en-US"/>
              <a:t>Click to add contact title</a:t>
            </a:r>
          </a:p>
        </p:txBody>
      </p:sp>
      <p:sp>
        <p:nvSpPr>
          <p:cNvPr id="7" name="Subtitle 2"/>
          <p:cNvSpPr>
            <a:spLocks noGrp="1"/>
          </p:cNvSpPr>
          <p:nvPr>
            <p:ph type="subTitle" idx="13" hasCustomPrompt="1"/>
          </p:nvPr>
        </p:nvSpPr>
        <p:spPr>
          <a:xfrm>
            <a:off x="1075061" y="964671"/>
            <a:ext cx="7910158" cy="490042"/>
          </a:xfrm>
        </p:spPr>
        <p:txBody>
          <a:bodyPr wrap="none"/>
          <a:lstStyle>
            <a:lvl1pPr marL="0" indent="0" algn="l">
              <a:spcBef>
                <a:spcPts val="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grpSp>
        <p:nvGrpSpPr>
          <p:cNvPr id="8" name="Gruppieren 80">
            <a:extLst>
              <a:ext uri="{FF2B5EF4-FFF2-40B4-BE49-F238E27FC236}">
                <a16:creationId xmlns:a16="http://schemas.microsoft.com/office/drawing/2014/main" id="{6B969E7B-9C39-4443-9B02-74C1E7C5CCAC}"/>
              </a:ext>
            </a:extLst>
          </p:cNvPr>
          <p:cNvGrpSpPr/>
          <p:nvPr/>
        </p:nvGrpSpPr>
        <p:grpSpPr>
          <a:xfrm>
            <a:off x="3770065" y="2868319"/>
            <a:ext cx="171180" cy="171180"/>
            <a:chOff x="3392092" y="1841122"/>
            <a:chExt cx="646508" cy="646508"/>
          </a:xfrm>
        </p:grpSpPr>
        <p:sp>
          <p:nvSpPr>
            <p:cNvPr id="9" name="Rechteck 14">
              <a:extLst>
                <a:ext uri="{FF2B5EF4-FFF2-40B4-BE49-F238E27FC236}">
                  <a16:creationId xmlns:a16="http://schemas.microsoft.com/office/drawing/2014/main" id="{D78F58EA-5525-8D43-8295-FEA52ECF6BFA}"/>
                </a:ext>
              </a:extLst>
            </p:cNvPr>
            <p:cNvSpPr>
              <a:spLocks noChangeAspect="1"/>
            </p:cNvSpPr>
            <p:nvPr/>
          </p:nvSpPr>
          <p:spPr bwMode="gray">
            <a:xfrm>
              <a:off x="3392092" y="1841122"/>
              <a:ext cx="646508" cy="646508"/>
            </a:xfrm>
            <a:prstGeom prst="rect">
              <a:avLst/>
            </a:prstGeom>
            <a:solidFill>
              <a:srgbClr val="E55A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pPr>
              <a:endParaRPr lang="en-US" sz="1000">
                <a:solidFill>
                  <a:schemeClr val="tx1"/>
                </a:solidFill>
                <a:latin typeface="Arial" pitchFamily="34" charset="0"/>
                <a:cs typeface="Arial" pitchFamily="34" charset="0"/>
              </a:endParaRPr>
            </a:p>
          </p:txBody>
        </p:sp>
        <p:sp>
          <p:nvSpPr>
            <p:cNvPr id="10" name="Freeform 67">
              <a:extLst>
                <a:ext uri="{FF2B5EF4-FFF2-40B4-BE49-F238E27FC236}">
                  <a16:creationId xmlns:a16="http://schemas.microsoft.com/office/drawing/2014/main" id="{D01A6292-2776-4945-B828-483D79DC4908}"/>
                </a:ext>
              </a:extLst>
            </p:cNvPr>
            <p:cNvSpPr>
              <a:spLocks noChangeAspect="1"/>
            </p:cNvSpPr>
            <p:nvPr/>
          </p:nvSpPr>
          <p:spPr bwMode="auto">
            <a:xfrm>
              <a:off x="3546638" y="1970424"/>
              <a:ext cx="337415" cy="387905"/>
            </a:xfrm>
            <a:custGeom>
              <a:avLst/>
              <a:gdLst>
                <a:gd name="T0" fmla="*/ 573 w 1624"/>
                <a:gd name="T1" fmla="*/ 1257 h 1867"/>
                <a:gd name="T2" fmla="*/ 662 w 1624"/>
                <a:gd name="T3" fmla="*/ 1288 h 1867"/>
                <a:gd name="T4" fmla="*/ 938 w 1624"/>
                <a:gd name="T5" fmla="*/ 1051 h 1867"/>
                <a:gd name="T6" fmla="*/ 1106 w 1624"/>
                <a:gd name="T7" fmla="*/ 731 h 1867"/>
                <a:gd name="T8" fmla="*/ 1059 w 1624"/>
                <a:gd name="T9" fmla="*/ 645 h 1867"/>
                <a:gd name="T10" fmla="*/ 1001 w 1624"/>
                <a:gd name="T11" fmla="*/ 613 h 1867"/>
                <a:gd name="T12" fmla="*/ 924 w 1624"/>
                <a:gd name="T13" fmla="*/ 432 h 1867"/>
                <a:gd name="T14" fmla="*/ 1114 w 1624"/>
                <a:gd name="T15" fmla="*/ 81 h 1867"/>
                <a:gd name="T16" fmla="*/ 1287 w 1624"/>
                <a:gd name="T17" fmla="*/ 35 h 1867"/>
                <a:gd name="T18" fmla="*/ 1350 w 1624"/>
                <a:gd name="T19" fmla="*/ 69 h 1867"/>
                <a:gd name="T20" fmla="*/ 1527 w 1624"/>
                <a:gd name="T21" fmla="*/ 235 h 1867"/>
                <a:gd name="T22" fmla="*/ 1583 w 1624"/>
                <a:gd name="T23" fmla="*/ 555 h 1867"/>
                <a:gd name="T24" fmla="*/ 1172 w 1624"/>
                <a:gd name="T25" fmla="*/ 1253 h 1867"/>
                <a:gd name="T26" fmla="*/ 586 w 1624"/>
                <a:gd name="T27" fmla="*/ 1803 h 1867"/>
                <a:gd name="T28" fmla="*/ 269 w 1624"/>
                <a:gd name="T29" fmla="*/ 1807 h 1867"/>
                <a:gd name="T30" fmla="*/ 33 w 1624"/>
                <a:gd name="T31" fmla="*/ 1602 h 1867"/>
                <a:gd name="T32" fmla="*/ 2 w 1624"/>
                <a:gd name="T33" fmla="*/ 1508 h 1867"/>
                <a:gd name="T34" fmla="*/ 45 w 1624"/>
                <a:gd name="T35" fmla="*/ 1421 h 1867"/>
                <a:gd name="T36" fmla="*/ 346 w 1624"/>
                <a:gd name="T37" fmla="*/ 1158 h 1867"/>
                <a:gd name="T38" fmla="*/ 448 w 1624"/>
                <a:gd name="T39" fmla="*/ 1145 h 1867"/>
                <a:gd name="T40" fmla="*/ 573 w 1624"/>
                <a:gd name="T41" fmla="*/ 1257 h 18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24" h="1867">
                  <a:moveTo>
                    <a:pt x="573" y="1257"/>
                  </a:moveTo>
                  <a:cubicBezTo>
                    <a:pt x="592" y="1282"/>
                    <a:pt x="630" y="1303"/>
                    <a:pt x="662" y="1288"/>
                  </a:cubicBezTo>
                  <a:cubicBezTo>
                    <a:pt x="753" y="1245"/>
                    <a:pt x="854" y="1156"/>
                    <a:pt x="938" y="1051"/>
                  </a:cubicBezTo>
                  <a:cubicBezTo>
                    <a:pt x="1020" y="948"/>
                    <a:pt x="1084" y="831"/>
                    <a:pt x="1106" y="731"/>
                  </a:cubicBezTo>
                  <a:cubicBezTo>
                    <a:pt x="1113" y="696"/>
                    <a:pt x="1089" y="661"/>
                    <a:pt x="1059" y="645"/>
                  </a:cubicBezTo>
                  <a:cubicBezTo>
                    <a:pt x="1001" y="613"/>
                    <a:pt x="1001" y="613"/>
                    <a:pt x="1001" y="613"/>
                  </a:cubicBezTo>
                  <a:cubicBezTo>
                    <a:pt x="942" y="580"/>
                    <a:pt x="888" y="499"/>
                    <a:pt x="924" y="432"/>
                  </a:cubicBezTo>
                  <a:cubicBezTo>
                    <a:pt x="1114" y="81"/>
                    <a:pt x="1114" y="81"/>
                    <a:pt x="1114" y="81"/>
                  </a:cubicBezTo>
                  <a:cubicBezTo>
                    <a:pt x="1150" y="16"/>
                    <a:pt x="1224" y="0"/>
                    <a:pt x="1287" y="35"/>
                  </a:cubicBezTo>
                  <a:cubicBezTo>
                    <a:pt x="1350" y="69"/>
                    <a:pt x="1350" y="69"/>
                    <a:pt x="1350" y="69"/>
                  </a:cubicBezTo>
                  <a:cubicBezTo>
                    <a:pt x="1415" y="105"/>
                    <a:pt x="1479" y="165"/>
                    <a:pt x="1527" y="235"/>
                  </a:cubicBezTo>
                  <a:cubicBezTo>
                    <a:pt x="1593" y="332"/>
                    <a:pt x="1624" y="442"/>
                    <a:pt x="1583" y="555"/>
                  </a:cubicBezTo>
                  <a:cubicBezTo>
                    <a:pt x="1500" y="781"/>
                    <a:pt x="1351" y="1030"/>
                    <a:pt x="1172" y="1253"/>
                  </a:cubicBezTo>
                  <a:cubicBezTo>
                    <a:pt x="994" y="1477"/>
                    <a:pt x="786" y="1676"/>
                    <a:pt x="586" y="1803"/>
                  </a:cubicBezTo>
                  <a:cubicBezTo>
                    <a:pt x="486" y="1867"/>
                    <a:pt x="375" y="1856"/>
                    <a:pt x="269" y="1807"/>
                  </a:cubicBezTo>
                  <a:cubicBezTo>
                    <a:pt x="157" y="1755"/>
                    <a:pt x="106" y="1695"/>
                    <a:pt x="33" y="1602"/>
                  </a:cubicBezTo>
                  <a:cubicBezTo>
                    <a:pt x="11" y="1573"/>
                    <a:pt x="0" y="1540"/>
                    <a:pt x="2" y="1508"/>
                  </a:cubicBezTo>
                  <a:cubicBezTo>
                    <a:pt x="4" y="1475"/>
                    <a:pt x="18" y="1444"/>
                    <a:pt x="45" y="1421"/>
                  </a:cubicBezTo>
                  <a:cubicBezTo>
                    <a:pt x="70" y="1399"/>
                    <a:pt x="346" y="1158"/>
                    <a:pt x="346" y="1158"/>
                  </a:cubicBezTo>
                  <a:cubicBezTo>
                    <a:pt x="376" y="1134"/>
                    <a:pt x="413" y="1133"/>
                    <a:pt x="448" y="1145"/>
                  </a:cubicBezTo>
                  <a:cubicBezTo>
                    <a:pt x="510" y="1166"/>
                    <a:pt x="536" y="1210"/>
                    <a:pt x="573" y="1257"/>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351"/>
            </a:p>
          </p:txBody>
        </p:sp>
      </p:grpSp>
      <p:grpSp>
        <p:nvGrpSpPr>
          <p:cNvPr id="11" name="Group 3">
            <a:extLst>
              <a:ext uri="{FF2B5EF4-FFF2-40B4-BE49-F238E27FC236}">
                <a16:creationId xmlns:a16="http://schemas.microsoft.com/office/drawing/2014/main" id="{DED6A25A-5DE2-1441-8BA2-C68D3B4F9209}"/>
              </a:ext>
            </a:extLst>
          </p:cNvPr>
          <p:cNvGrpSpPr>
            <a:grpSpLocks noChangeAspect="1"/>
          </p:cNvGrpSpPr>
          <p:nvPr>
            <p:custDataLst>
              <p:tags r:id="rId1"/>
            </p:custDataLst>
          </p:nvPr>
        </p:nvGrpSpPr>
        <p:grpSpPr>
          <a:xfrm>
            <a:off x="3770066" y="3153207"/>
            <a:ext cx="171180" cy="171180"/>
            <a:chOff x="328396" y="5313940"/>
            <a:chExt cx="720000" cy="720000"/>
          </a:xfrm>
        </p:grpSpPr>
        <p:sp>
          <p:nvSpPr>
            <p:cNvPr id="12" name="Rectangle 4">
              <a:extLst>
                <a:ext uri="{FF2B5EF4-FFF2-40B4-BE49-F238E27FC236}">
                  <a16:creationId xmlns:a16="http://schemas.microsoft.com/office/drawing/2014/main" id="{5F49E67F-D4FA-9D48-96BC-59AE946ECD15}"/>
                </a:ext>
              </a:extLst>
            </p:cNvPr>
            <p:cNvSpPr/>
            <p:nvPr/>
          </p:nvSpPr>
          <p:spPr bwMode="gray">
            <a:xfrm>
              <a:off x="328396" y="5313940"/>
              <a:ext cx="720000" cy="720000"/>
            </a:xfrm>
            <a:prstGeom prst="rect">
              <a:avLst/>
            </a:prstGeom>
            <a:solidFill>
              <a:srgbClr val="E55A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pPr>
              <a:endParaRPr lang="en-US" sz="1000">
                <a:solidFill>
                  <a:schemeClr val="tx1"/>
                </a:solidFill>
                <a:latin typeface="Arial" pitchFamily="34" charset="0"/>
                <a:cs typeface="Arial" pitchFamily="34" charset="0"/>
              </a:endParaRPr>
            </a:p>
          </p:txBody>
        </p:sp>
        <p:sp>
          <p:nvSpPr>
            <p:cNvPr id="13" name="Freeform 76">
              <a:extLst>
                <a:ext uri="{FF2B5EF4-FFF2-40B4-BE49-F238E27FC236}">
                  <a16:creationId xmlns:a16="http://schemas.microsoft.com/office/drawing/2014/main" id="{187E70E6-AF3F-2549-908E-DF4BA61040AA}"/>
                </a:ext>
              </a:extLst>
            </p:cNvPr>
            <p:cNvSpPr>
              <a:spLocks noChangeAspect="1" noEditPoints="1"/>
            </p:cNvSpPr>
            <p:nvPr/>
          </p:nvSpPr>
          <p:spPr bwMode="auto">
            <a:xfrm>
              <a:off x="456202" y="5509222"/>
              <a:ext cx="504000" cy="329436"/>
            </a:xfrm>
            <a:custGeom>
              <a:avLst/>
              <a:gdLst>
                <a:gd name="T0" fmla="*/ 0 w 2080"/>
                <a:gd name="T1" fmla="*/ 65 h 1360"/>
                <a:gd name="T2" fmla="*/ 0 w 2080"/>
                <a:gd name="T3" fmla="*/ 0 h 1360"/>
                <a:gd name="T4" fmla="*/ 2080 w 2080"/>
                <a:gd name="T5" fmla="*/ 0 h 1360"/>
                <a:gd name="T6" fmla="*/ 2080 w 2080"/>
                <a:gd name="T7" fmla="*/ 65 h 1360"/>
                <a:gd name="T8" fmla="*/ 1089 w 2080"/>
                <a:gd name="T9" fmla="*/ 862 h 1360"/>
                <a:gd name="T10" fmla="*/ 991 w 2080"/>
                <a:gd name="T11" fmla="*/ 862 h 1360"/>
                <a:gd name="T12" fmla="*/ 0 w 2080"/>
                <a:gd name="T13" fmla="*/ 65 h 1360"/>
                <a:gd name="T14" fmla="*/ 1139 w 2080"/>
                <a:gd name="T15" fmla="*/ 924 h 1360"/>
                <a:gd name="T16" fmla="*/ 1282 w 2080"/>
                <a:gd name="T17" fmla="*/ 810 h 1360"/>
                <a:gd name="T18" fmla="*/ 2076 w 2080"/>
                <a:gd name="T19" fmla="*/ 1360 h 1360"/>
                <a:gd name="T20" fmla="*/ 4 w 2080"/>
                <a:gd name="T21" fmla="*/ 1360 h 1360"/>
                <a:gd name="T22" fmla="*/ 798 w 2080"/>
                <a:gd name="T23" fmla="*/ 810 h 1360"/>
                <a:gd name="T24" fmla="*/ 941 w 2080"/>
                <a:gd name="T25" fmla="*/ 924 h 1360"/>
                <a:gd name="T26" fmla="*/ 1139 w 2080"/>
                <a:gd name="T27" fmla="*/ 924 h 1360"/>
                <a:gd name="T28" fmla="*/ 2 w 2080"/>
                <a:gd name="T29" fmla="*/ 137 h 1360"/>
                <a:gd name="T30" fmla="*/ 42 w 2080"/>
                <a:gd name="T31" fmla="*/ 201 h 1360"/>
                <a:gd name="T32" fmla="*/ 734 w 2080"/>
                <a:gd name="T33" fmla="*/ 758 h 1360"/>
                <a:gd name="T34" fmla="*/ 0 w 2080"/>
                <a:gd name="T35" fmla="*/ 1266 h 1360"/>
                <a:gd name="T36" fmla="*/ 0 w 2080"/>
                <a:gd name="T37" fmla="*/ 135 h 1360"/>
                <a:gd name="T38" fmla="*/ 2 w 2080"/>
                <a:gd name="T39" fmla="*/ 137 h 1360"/>
                <a:gd name="T40" fmla="*/ 2080 w 2080"/>
                <a:gd name="T41" fmla="*/ 136 h 1360"/>
                <a:gd name="T42" fmla="*/ 2080 w 2080"/>
                <a:gd name="T43" fmla="*/ 1265 h 1360"/>
                <a:gd name="T44" fmla="*/ 1346 w 2080"/>
                <a:gd name="T45" fmla="*/ 758 h 1360"/>
                <a:gd name="T46" fmla="*/ 2038 w 2080"/>
                <a:gd name="T47" fmla="*/ 201 h 1360"/>
                <a:gd name="T48" fmla="*/ 2080 w 2080"/>
                <a:gd name="T49" fmla="*/ 136 h 1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080" h="1360">
                  <a:moveTo>
                    <a:pt x="0" y="65"/>
                  </a:moveTo>
                  <a:cubicBezTo>
                    <a:pt x="0" y="0"/>
                    <a:pt x="0" y="0"/>
                    <a:pt x="0" y="0"/>
                  </a:cubicBezTo>
                  <a:cubicBezTo>
                    <a:pt x="2080" y="0"/>
                    <a:pt x="2080" y="0"/>
                    <a:pt x="2080" y="0"/>
                  </a:cubicBezTo>
                  <a:cubicBezTo>
                    <a:pt x="2080" y="65"/>
                    <a:pt x="2080" y="65"/>
                    <a:pt x="2080" y="65"/>
                  </a:cubicBezTo>
                  <a:cubicBezTo>
                    <a:pt x="1089" y="862"/>
                    <a:pt x="1089" y="862"/>
                    <a:pt x="1089" y="862"/>
                  </a:cubicBezTo>
                  <a:cubicBezTo>
                    <a:pt x="1060" y="886"/>
                    <a:pt x="1020" y="886"/>
                    <a:pt x="991" y="862"/>
                  </a:cubicBezTo>
                  <a:lnTo>
                    <a:pt x="0" y="65"/>
                  </a:lnTo>
                  <a:close/>
                  <a:moveTo>
                    <a:pt x="1139" y="924"/>
                  </a:moveTo>
                  <a:cubicBezTo>
                    <a:pt x="1282" y="810"/>
                    <a:pt x="1282" y="810"/>
                    <a:pt x="1282" y="810"/>
                  </a:cubicBezTo>
                  <a:cubicBezTo>
                    <a:pt x="2076" y="1360"/>
                    <a:pt x="2076" y="1360"/>
                    <a:pt x="2076" y="1360"/>
                  </a:cubicBezTo>
                  <a:cubicBezTo>
                    <a:pt x="4" y="1360"/>
                    <a:pt x="4" y="1360"/>
                    <a:pt x="4" y="1360"/>
                  </a:cubicBezTo>
                  <a:cubicBezTo>
                    <a:pt x="798" y="810"/>
                    <a:pt x="798" y="810"/>
                    <a:pt x="798" y="810"/>
                  </a:cubicBezTo>
                  <a:cubicBezTo>
                    <a:pt x="941" y="924"/>
                    <a:pt x="941" y="924"/>
                    <a:pt x="941" y="924"/>
                  </a:cubicBezTo>
                  <a:cubicBezTo>
                    <a:pt x="1000" y="972"/>
                    <a:pt x="1080" y="972"/>
                    <a:pt x="1139" y="924"/>
                  </a:cubicBezTo>
                  <a:close/>
                  <a:moveTo>
                    <a:pt x="2" y="137"/>
                  </a:moveTo>
                  <a:cubicBezTo>
                    <a:pt x="8" y="163"/>
                    <a:pt x="22" y="185"/>
                    <a:pt x="42" y="201"/>
                  </a:cubicBezTo>
                  <a:cubicBezTo>
                    <a:pt x="734" y="758"/>
                    <a:pt x="734" y="758"/>
                    <a:pt x="734" y="758"/>
                  </a:cubicBezTo>
                  <a:cubicBezTo>
                    <a:pt x="0" y="1266"/>
                    <a:pt x="0" y="1266"/>
                    <a:pt x="0" y="1266"/>
                  </a:cubicBezTo>
                  <a:cubicBezTo>
                    <a:pt x="0" y="135"/>
                    <a:pt x="0" y="135"/>
                    <a:pt x="0" y="135"/>
                  </a:cubicBezTo>
                  <a:lnTo>
                    <a:pt x="2" y="137"/>
                  </a:lnTo>
                  <a:close/>
                  <a:moveTo>
                    <a:pt x="2080" y="136"/>
                  </a:moveTo>
                  <a:cubicBezTo>
                    <a:pt x="2080" y="1265"/>
                    <a:pt x="2080" y="1265"/>
                    <a:pt x="2080" y="1265"/>
                  </a:cubicBezTo>
                  <a:cubicBezTo>
                    <a:pt x="1346" y="758"/>
                    <a:pt x="1346" y="758"/>
                    <a:pt x="1346" y="758"/>
                  </a:cubicBezTo>
                  <a:cubicBezTo>
                    <a:pt x="2038" y="201"/>
                    <a:pt x="2038" y="201"/>
                    <a:pt x="2038" y="201"/>
                  </a:cubicBezTo>
                  <a:cubicBezTo>
                    <a:pt x="2060" y="182"/>
                    <a:pt x="2072" y="162"/>
                    <a:pt x="2080" y="13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000"/>
            </a:p>
          </p:txBody>
        </p:sp>
      </p:grpSp>
      <p:grpSp>
        <p:nvGrpSpPr>
          <p:cNvPr id="14" name="Gruppieren 2">
            <a:extLst>
              <a:ext uri="{FF2B5EF4-FFF2-40B4-BE49-F238E27FC236}">
                <a16:creationId xmlns:a16="http://schemas.microsoft.com/office/drawing/2014/main" id="{BE697CE9-EBDE-6B4A-BE70-582D92A8A831}"/>
              </a:ext>
            </a:extLst>
          </p:cNvPr>
          <p:cNvGrpSpPr/>
          <p:nvPr/>
        </p:nvGrpSpPr>
        <p:grpSpPr>
          <a:xfrm>
            <a:off x="8701917" y="2868319"/>
            <a:ext cx="171180" cy="171180"/>
            <a:chOff x="3392092" y="1841122"/>
            <a:chExt cx="646508" cy="646508"/>
          </a:xfrm>
        </p:grpSpPr>
        <p:sp>
          <p:nvSpPr>
            <p:cNvPr id="15" name="Rechteck 14">
              <a:extLst>
                <a:ext uri="{FF2B5EF4-FFF2-40B4-BE49-F238E27FC236}">
                  <a16:creationId xmlns:a16="http://schemas.microsoft.com/office/drawing/2014/main" id="{E142A731-19B7-C34D-9534-9E05108F895F}"/>
                </a:ext>
              </a:extLst>
            </p:cNvPr>
            <p:cNvSpPr>
              <a:spLocks noChangeAspect="1"/>
            </p:cNvSpPr>
            <p:nvPr/>
          </p:nvSpPr>
          <p:spPr bwMode="gray">
            <a:xfrm>
              <a:off x="3392092" y="1841122"/>
              <a:ext cx="646508" cy="646508"/>
            </a:xfrm>
            <a:prstGeom prst="rect">
              <a:avLst/>
            </a:prstGeom>
            <a:solidFill>
              <a:srgbClr val="E55A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pPr>
              <a:endParaRPr lang="en-US" sz="1000">
                <a:solidFill>
                  <a:schemeClr val="tx1"/>
                </a:solidFill>
                <a:latin typeface="Arial" pitchFamily="34" charset="0"/>
                <a:cs typeface="Arial" pitchFamily="34" charset="0"/>
              </a:endParaRPr>
            </a:p>
          </p:txBody>
        </p:sp>
        <p:sp>
          <p:nvSpPr>
            <p:cNvPr id="16" name="Freeform 15">
              <a:extLst>
                <a:ext uri="{FF2B5EF4-FFF2-40B4-BE49-F238E27FC236}">
                  <a16:creationId xmlns:a16="http://schemas.microsoft.com/office/drawing/2014/main" id="{F97E84AE-4AD9-4B44-9AA1-F797FC373809}"/>
                </a:ext>
              </a:extLst>
            </p:cNvPr>
            <p:cNvSpPr>
              <a:spLocks noChangeAspect="1"/>
            </p:cNvSpPr>
            <p:nvPr/>
          </p:nvSpPr>
          <p:spPr bwMode="auto">
            <a:xfrm>
              <a:off x="3546638" y="1970424"/>
              <a:ext cx="337415" cy="387905"/>
            </a:xfrm>
            <a:custGeom>
              <a:avLst/>
              <a:gdLst>
                <a:gd name="T0" fmla="*/ 573 w 1624"/>
                <a:gd name="T1" fmla="*/ 1257 h 1867"/>
                <a:gd name="T2" fmla="*/ 662 w 1624"/>
                <a:gd name="T3" fmla="*/ 1288 h 1867"/>
                <a:gd name="T4" fmla="*/ 938 w 1624"/>
                <a:gd name="T5" fmla="*/ 1051 h 1867"/>
                <a:gd name="T6" fmla="*/ 1106 w 1624"/>
                <a:gd name="T7" fmla="*/ 731 h 1867"/>
                <a:gd name="T8" fmla="*/ 1059 w 1624"/>
                <a:gd name="T9" fmla="*/ 645 h 1867"/>
                <a:gd name="T10" fmla="*/ 1001 w 1624"/>
                <a:gd name="T11" fmla="*/ 613 h 1867"/>
                <a:gd name="T12" fmla="*/ 924 w 1624"/>
                <a:gd name="T13" fmla="*/ 432 h 1867"/>
                <a:gd name="T14" fmla="*/ 1114 w 1624"/>
                <a:gd name="T15" fmla="*/ 81 h 1867"/>
                <a:gd name="T16" fmla="*/ 1287 w 1624"/>
                <a:gd name="T17" fmla="*/ 35 h 1867"/>
                <a:gd name="T18" fmla="*/ 1350 w 1624"/>
                <a:gd name="T19" fmla="*/ 69 h 1867"/>
                <a:gd name="T20" fmla="*/ 1527 w 1624"/>
                <a:gd name="T21" fmla="*/ 235 h 1867"/>
                <a:gd name="T22" fmla="*/ 1583 w 1624"/>
                <a:gd name="T23" fmla="*/ 555 h 1867"/>
                <a:gd name="T24" fmla="*/ 1172 w 1624"/>
                <a:gd name="T25" fmla="*/ 1253 h 1867"/>
                <a:gd name="T26" fmla="*/ 586 w 1624"/>
                <a:gd name="T27" fmla="*/ 1803 h 1867"/>
                <a:gd name="T28" fmla="*/ 269 w 1624"/>
                <a:gd name="T29" fmla="*/ 1807 h 1867"/>
                <a:gd name="T30" fmla="*/ 33 w 1624"/>
                <a:gd name="T31" fmla="*/ 1602 h 1867"/>
                <a:gd name="T32" fmla="*/ 2 w 1624"/>
                <a:gd name="T33" fmla="*/ 1508 h 1867"/>
                <a:gd name="T34" fmla="*/ 45 w 1624"/>
                <a:gd name="T35" fmla="*/ 1421 h 1867"/>
                <a:gd name="T36" fmla="*/ 346 w 1624"/>
                <a:gd name="T37" fmla="*/ 1158 h 1867"/>
                <a:gd name="T38" fmla="*/ 448 w 1624"/>
                <a:gd name="T39" fmla="*/ 1145 h 1867"/>
                <a:gd name="T40" fmla="*/ 573 w 1624"/>
                <a:gd name="T41" fmla="*/ 1257 h 18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24" h="1867">
                  <a:moveTo>
                    <a:pt x="573" y="1257"/>
                  </a:moveTo>
                  <a:cubicBezTo>
                    <a:pt x="592" y="1282"/>
                    <a:pt x="630" y="1303"/>
                    <a:pt x="662" y="1288"/>
                  </a:cubicBezTo>
                  <a:cubicBezTo>
                    <a:pt x="753" y="1245"/>
                    <a:pt x="854" y="1156"/>
                    <a:pt x="938" y="1051"/>
                  </a:cubicBezTo>
                  <a:cubicBezTo>
                    <a:pt x="1020" y="948"/>
                    <a:pt x="1084" y="831"/>
                    <a:pt x="1106" y="731"/>
                  </a:cubicBezTo>
                  <a:cubicBezTo>
                    <a:pt x="1113" y="696"/>
                    <a:pt x="1089" y="661"/>
                    <a:pt x="1059" y="645"/>
                  </a:cubicBezTo>
                  <a:cubicBezTo>
                    <a:pt x="1001" y="613"/>
                    <a:pt x="1001" y="613"/>
                    <a:pt x="1001" y="613"/>
                  </a:cubicBezTo>
                  <a:cubicBezTo>
                    <a:pt x="942" y="580"/>
                    <a:pt x="888" y="499"/>
                    <a:pt x="924" y="432"/>
                  </a:cubicBezTo>
                  <a:cubicBezTo>
                    <a:pt x="1114" y="81"/>
                    <a:pt x="1114" y="81"/>
                    <a:pt x="1114" y="81"/>
                  </a:cubicBezTo>
                  <a:cubicBezTo>
                    <a:pt x="1150" y="16"/>
                    <a:pt x="1224" y="0"/>
                    <a:pt x="1287" y="35"/>
                  </a:cubicBezTo>
                  <a:cubicBezTo>
                    <a:pt x="1350" y="69"/>
                    <a:pt x="1350" y="69"/>
                    <a:pt x="1350" y="69"/>
                  </a:cubicBezTo>
                  <a:cubicBezTo>
                    <a:pt x="1415" y="105"/>
                    <a:pt x="1479" y="165"/>
                    <a:pt x="1527" y="235"/>
                  </a:cubicBezTo>
                  <a:cubicBezTo>
                    <a:pt x="1593" y="332"/>
                    <a:pt x="1624" y="442"/>
                    <a:pt x="1583" y="555"/>
                  </a:cubicBezTo>
                  <a:cubicBezTo>
                    <a:pt x="1500" y="781"/>
                    <a:pt x="1351" y="1030"/>
                    <a:pt x="1172" y="1253"/>
                  </a:cubicBezTo>
                  <a:cubicBezTo>
                    <a:pt x="994" y="1477"/>
                    <a:pt x="786" y="1676"/>
                    <a:pt x="586" y="1803"/>
                  </a:cubicBezTo>
                  <a:cubicBezTo>
                    <a:pt x="486" y="1867"/>
                    <a:pt x="375" y="1856"/>
                    <a:pt x="269" y="1807"/>
                  </a:cubicBezTo>
                  <a:cubicBezTo>
                    <a:pt x="157" y="1755"/>
                    <a:pt x="106" y="1695"/>
                    <a:pt x="33" y="1602"/>
                  </a:cubicBezTo>
                  <a:cubicBezTo>
                    <a:pt x="11" y="1573"/>
                    <a:pt x="0" y="1540"/>
                    <a:pt x="2" y="1508"/>
                  </a:cubicBezTo>
                  <a:cubicBezTo>
                    <a:pt x="4" y="1475"/>
                    <a:pt x="18" y="1444"/>
                    <a:pt x="45" y="1421"/>
                  </a:cubicBezTo>
                  <a:cubicBezTo>
                    <a:pt x="70" y="1399"/>
                    <a:pt x="346" y="1158"/>
                    <a:pt x="346" y="1158"/>
                  </a:cubicBezTo>
                  <a:cubicBezTo>
                    <a:pt x="376" y="1134"/>
                    <a:pt x="413" y="1133"/>
                    <a:pt x="448" y="1145"/>
                  </a:cubicBezTo>
                  <a:cubicBezTo>
                    <a:pt x="510" y="1166"/>
                    <a:pt x="536" y="1210"/>
                    <a:pt x="573" y="1257"/>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351"/>
            </a:p>
          </p:txBody>
        </p:sp>
      </p:grpSp>
      <p:grpSp>
        <p:nvGrpSpPr>
          <p:cNvPr id="17" name="Group 3">
            <a:extLst>
              <a:ext uri="{FF2B5EF4-FFF2-40B4-BE49-F238E27FC236}">
                <a16:creationId xmlns:a16="http://schemas.microsoft.com/office/drawing/2014/main" id="{7104BADD-8CD1-6F4A-B894-869C3BDB3EEB}"/>
              </a:ext>
            </a:extLst>
          </p:cNvPr>
          <p:cNvGrpSpPr>
            <a:grpSpLocks noChangeAspect="1"/>
          </p:cNvGrpSpPr>
          <p:nvPr>
            <p:custDataLst>
              <p:tags r:id="rId2"/>
            </p:custDataLst>
          </p:nvPr>
        </p:nvGrpSpPr>
        <p:grpSpPr>
          <a:xfrm>
            <a:off x="8701918" y="3153207"/>
            <a:ext cx="171180" cy="171180"/>
            <a:chOff x="328396" y="5313940"/>
            <a:chExt cx="720000" cy="720000"/>
          </a:xfrm>
        </p:grpSpPr>
        <p:sp>
          <p:nvSpPr>
            <p:cNvPr id="18" name="Rectangle 4">
              <a:extLst>
                <a:ext uri="{FF2B5EF4-FFF2-40B4-BE49-F238E27FC236}">
                  <a16:creationId xmlns:a16="http://schemas.microsoft.com/office/drawing/2014/main" id="{74BE3D5F-1445-6E40-8B49-72E15568383B}"/>
                </a:ext>
              </a:extLst>
            </p:cNvPr>
            <p:cNvSpPr/>
            <p:nvPr/>
          </p:nvSpPr>
          <p:spPr bwMode="gray">
            <a:xfrm>
              <a:off x="328396" y="5313940"/>
              <a:ext cx="720000" cy="720000"/>
            </a:xfrm>
            <a:prstGeom prst="rect">
              <a:avLst/>
            </a:prstGeom>
            <a:solidFill>
              <a:srgbClr val="E55A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pPr>
              <a:endParaRPr lang="en-US" sz="1000">
                <a:solidFill>
                  <a:schemeClr val="tx1"/>
                </a:solidFill>
                <a:latin typeface="Arial" pitchFamily="34" charset="0"/>
                <a:cs typeface="Arial" pitchFamily="34" charset="0"/>
              </a:endParaRPr>
            </a:p>
          </p:txBody>
        </p:sp>
        <p:sp>
          <p:nvSpPr>
            <p:cNvPr id="19" name="Freeform 76">
              <a:extLst>
                <a:ext uri="{FF2B5EF4-FFF2-40B4-BE49-F238E27FC236}">
                  <a16:creationId xmlns:a16="http://schemas.microsoft.com/office/drawing/2014/main" id="{55DB3C95-7D0C-D141-901E-96D692794D2B}"/>
                </a:ext>
              </a:extLst>
            </p:cNvPr>
            <p:cNvSpPr>
              <a:spLocks noChangeAspect="1" noEditPoints="1"/>
            </p:cNvSpPr>
            <p:nvPr/>
          </p:nvSpPr>
          <p:spPr bwMode="auto">
            <a:xfrm>
              <a:off x="456202" y="5509222"/>
              <a:ext cx="504000" cy="329436"/>
            </a:xfrm>
            <a:custGeom>
              <a:avLst/>
              <a:gdLst>
                <a:gd name="T0" fmla="*/ 0 w 2080"/>
                <a:gd name="T1" fmla="*/ 65 h 1360"/>
                <a:gd name="T2" fmla="*/ 0 w 2080"/>
                <a:gd name="T3" fmla="*/ 0 h 1360"/>
                <a:gd name="T4" fmla="*/ 2080 w 2080"/>
                <a:gd name="T5" fmla="*/ 0 h 1360"/>
                <a:gd name="T6" fmla="*/ 2080 w 2080"/>
                <a:gd name="T7" fmla="*/ 65 h 1360"/>
                <a:gd name="T8" fmla="*/ 1089 w 2080"/>
                <a:gd name="T9" fmla="*/ 862 h 1360"/>
                <a:gd name="T10" fmla="*/ 991 w 2080"/>
                <a:gd name="T11" fmla="*/ 862 h 1360"/>
                <a:gd name="T12" fmla="*/ 0 w 2080"/>
                <a:gd name="T13" fmla="*/ 65 h 1360"/>
                <a:gd name="T14" fmla="*/ 1139 w 2080"/>
                <a:gd name="T15" fmla="*/ 924 h 1360"/>
                <a:gd name="T16" fmla="*/ 1282 w 2080"/>
                <a:gd name="T17" fmla="*/ 810 h 1360"/>
                <a:gd name="T18" fmla="*/ 2076 w 2080"/>
                <a:gd name="T19" fmla="*/ 1360 h 1360"/>
                <a:gd name="T20" fmla="*/ 4 w 2080"/>
                <a:gd name="T21" fmla="*/ 1360 h 1360"/>
                <a:gd name="T22" fmla="*/ 798 w 2080"/>
                <a:gd name="T23" fmla="*/ 810 h 1360"/>
                <a:gd name="T24" fmla="*/ 941 w 2080"/>
                <a:gd name="T25" fmla="*/ 924 h 1360"/>
                <a:gd name="T26" fmla="*/ 1139 w 2080"/>
                <a:gd name="T27" fmla="*/ 924 h 1360"/>
                <a:gd name="T28" fmla="*/ 2 w 2080"/>
                <a:gd name="T29" fmla="*/ 137 h 1360"/>
                <a:gd name="T30" fmla="*/ 42 w 2080"/>
                <a:gd name="T31" fmla="*/ 201 h 1360"/>
                <a:gd name="T32" fmla="*/ 734 w 2080"/>
                <a:gd name="T33" fmla="*/ 758 h 1360"/>
                <a:gd name="T34" fmla="*/ 0 w 2080"/>
                <a:gd name="T35" fmla="*/ 1266 h 1360"/>
                <a:gd name="T36" fmla="*/ 0 w 2080"/>
                <a:gd name="T37" fmla="*/ 135 h 1360"/>
                <a:gd name="T38" fmla="*/ 2 w 2080"/>
                <a:gd name="T39" fmla="*/ 137 h 1360"/>
                <a:gd name="T40" fmla="*/ 2080 w 2080"/>
                <a:gd name="T41" fmla="*/ 136 h 1360"/>
                <a:gd name="T42" fmla="*/ 2080 w 2080"/>
                <a:gd name="T43" fmla="*/ 1265 h 1360"/>
                <a:gd name="T44" fmla="*/ 1346 w 2080"/>
                <a:gd name="T45" fmla="*/ 758 h 1360"/>
                <a:gd name="T46" fmla="*/ 2038 w 2080"/>
                <a:gd name="T47" fmla="*/ 201 h 1360"/>
                <a:gd name="T48" fmla="*/ 2080 w 2080"/>
                <a:gd name="T49" fmla="*/ 136 h 1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080" h="1360">
                  <a:moveTo>
                    <a:pt x="0" y="65"/>
                  </a:moveTo>
                  <a:cubicBezTo>
                    <a:pt x="0" y="0"/>
                    <a:pt x="0" y="0"/>
                    <a:pt x="0" y="0"/>
                  </a:cubicBezTo>
                  <a:cubicBezTo>
                    <a:pt x="2080" y="0"/>
                    <a:pt x="2080" y="0"/>
                    <a:pt x="2080" y="0"/>
                  </a:cubicBezTo>
                  <a:cubicBezTo>
                    <a:pt x="2080" y="65"/>
                    <a:pt x="2080" y="65"/>
                    <a:pt x="2080" y="65"/>
                  </a:cubicBezTo>
                  <a:cubicBezTo>
                    <a:pt x="1089" y="862"/>
                    <a:pt x="1089" y="862"/>
                    <a:pt x="1089" y="862"/>
                  </a:cubicBezTo>
                  <a:cubicBezTo>
                    <a:pt x="1060" y="886"/>
                    <a:pt x="1020" y="886"/>
                    <a:pt x="991" y="862"/>
                  </a:cubicBezTo>
                  <a:lnTo>
                    <a:pt x="0" y="65"/>
                  </a:lnTo>
                  <a:close/>
                  <a:moveTo>
                    <a:pt x="1139" y="924"/>
                  </a:moveTo>
                  <a:cubicBezTo>
                    <a:pt x="1282" y="810"/>
                    <a:pt x="1282" y="810"/>
                    <a:pt x="1282" y="810"/>
                  </a:cubicBezTo>
                  <a:cubicBezTo>
                    <a:pt x="2076" y="1360"/>
                    <a:pt x="2076" y="1360"/>
                    <a:pt x="2076" y="1360"/>
                  </a:cubicBezTo>
                  <a:cubicBezTo>
                    <a:pt x="4" y="1360"/>
                    <a:pt x="4" y="1360"/>
                    <a:pt x="4" y="1360"/>
                  </a:cubicBezTo>
                  <a:cubicBezTo>
                    <a:pt x="798" y="810"/>
                    <a:pt x="798" y="810"/>
                    <a:pt x="798" y="810"/>
                  </a:cubicBezTo>
                  <a:cubicBezTo>
                    <a:pt x="941" y="924"/>
                    <a:pt x="941" y="924"/>
                    <a:pt x="941" y="924"/>
                  </a:cubicBezTo>
                  <a:cubicBezTo>
                    <a:pt x="1000" y="972"/>
                    <a:pt x="1080" y="972"/>
                    <a:pt x="1139" y="924"/>
                  </a:cubicBezTo>
                  <a:close/>
                  <a:moveTo>
                    <a:pt x="2" y="137"/>
                  </a:moveTo>
                  <a:cubicBezTo>
                    <a:pt x="8" y="163"/>
                    <a:pt x="22" y="185"/>
                    <a:pt x="42" y="201"/>
                  </a:cubicBezTo>
                  <a:cubicBezTo>
                    <a:pt x="734" y="758"/>
                    <a:pt x="734" y="758"/>
                    <a:pt x="734" y="758"/>
                  </a:cubicBezTo>
                  <a:cubicBezTo>
                    <a:pt x="0" y="1266"/>
                    <a:pt x="0" y="1266"/>
                    <a:pt x="0" y="1266"/>
                  </a:cubicBezTo>
                  <a:cubicBezTo>
                    <a:pt x="0" y="135"/>
                    <a:pt x="0" y="135"/>
                    <a:pt x="0" y="135"/>
                  </a:cubicBezTo>
                  <a:lnTo>
                    <a:pt x="2" y="137"/>
                  </a:lnTo>
                  <a:close/>
                  <a:moveTo>
                    <a:pt x="2080" y="136"/>
                  </a:moveTo>
                  <a:cubicBezTo>
                    <a:pt x="2080" y="1265"/>
                    <a:pt x="2080" y="1265"/>
                    <a:pt x="2080" y="1265"/>
                  </a:cubicBezTo>
                  <a:cubicBezTo>
                    <a:pt x="1346" y="758"/>
                    <a:pt x="1346" y="758"/>
                    <a:pt x="1346" y="758"/>
                  </a:cubicBezTo>
                  <a:cubicBezTo>
                    <a:pt x="2038" y="201"/>
                    <a:pt x="2038" y="201"/>
                    <a:pt x="2038" y="201"/>
                  </a:cubicBezTo>
                  <a:cubicBezTo>
                    <a:pt x="2060" y="182"/>
                    <a:pt x="2072" y="162"/>
                    <a:pt x="2080" y="13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000"/>
            </a:p>
          </p:txBody>
        </p:sp>
      </p:grpSp>
      <p:cxnSp>
        <p:nvCxnSpPr>
          <p:cNvPr id="20" name="Straight Connector 19"/>
          <p:cNvCxnSpPr/>
          <p:nvPr/>
        </p:nvCxnSpPr>
        <p:spPr>
          <a:xfrm>
            <a:off x="2371725" y="3478213"/>
            <a:ext cx="3888000" cy="0"/>
          </a:xfrm>
          <a:prstGeom prst="line">
            <a:avLst/>
          </a:prstGeom>
          <a:ln w="6350">
            <a:solidFill>
              <a:schemeClr val="tx2"/>
            </a:solidFill>
            <a:prstDash val="dash"/>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p:nvCxnSpPr>
        <p:spPr>
          <a:xfrm>
            <a:off x="7287766" y="3478213"/>
            <a:ext cx="3888000" cy="0"/>
          </a:xfrm>
          <a:prstGeom prst="line">
            <a:avLst/>
          </a:prstGeom>
          <a:ln w="6350">
            <a:solidFill>
              <a:schemeClr val="tx2"/>
            </a:solidFill>
            <a:prstDash val="dash"/>
          </a:ln>
        </p:spPr>
        <p:style>
          <a:lnRef idx="1">
            <a:schemeClr val="accent1"/>
          </a:lnRef>
          <a:fillRef idx="0">
            <a:schemeClr val="accent1"/>
          </a:fillRef>
          <a:effectRef idx="0">
            <a:schemeClr val="accent1"/>
          </a:effectRef>
          <a:fontRef idx="minor">
            <a:schemeClr val="tx1"/>
          </a:fontRef>
        </p:style>
      </p:cxnSp>
      <p:sp>
        <p:nvSpPr>
          <p:cNvPr id="4" name="Picture Placeholder 3"/>
          <p:cNvSpPr>
            <a:spLocks noGrp="1"/>
          </p:cNvSpPr>
          <p:nvPr>
            <p:ph type="pic" sz="quarter" idx="17" hasCustomPrompt="1"/>
          </p:nvPr>
        </p:nvSpPr>
        <p:spPr>
          <a:xfrm>
            <a:off x="2355914" y="1808984"/>
            <a:ext cx="1188677" cy="1547840"/>
          </a:xfrm>
          <a:solidFill>
            <a:srgbClr val="D9DADB"/>
          </a:solidFill>
        </p:spPr>
        <p:txBody>
          <a:bodyPr/>
          <a:lstStyle>
            <a:lvl1pPr marL="0" indent="0">
              <a:buNone/>
              <a:defRPr sz="1400"/>
            </a:lvl1pPr>
          </a:lstStyle>
          <a:p>
            <a:r>
              <a:rPr lang="en-US"/>
              <a:t>Insert picture</a:t>
            </a:r>
          </a:p>
        </p:txBody>
      </p:sp>
      <p:sp>
        <p:nvSpPr>
          <p:cNvPr id="25" name="Picture Placeholder 3"/>
          <p:cNvSpPr>
            <a:spLocks noGrp="1"/>
          </p:cNvSpPr>
          <p:nvPr>
            <p:ph type="pic" sz="quarter" idx="18" hasCustomPrompt="1"/>
          </p:nvPr>
        </p:nvSpPr>
        <p:spPr>
          <a:xfrm>
            <a:off x="7287766" y="1808984"/>
            <a:ext cx="1188677" cy="1547840"/>
          </a:xfrm>
          <a:solidFill>
            <a:srgbClr val="D9DADB"/>
          </a:solidFill>
        </p:spPr>
        <p:txBody>
          <a:bodyPr/>
          <a:lstStyle>
            <a:lvl1pPr marL="0" indent="0">
              <a:buNone/>
              <a:defRPr sz="1400"/>
            </a:lvl1pPr>
          </a:lstStyle>
          <a:p>
            <a:r>
              <a:rPr lang="en-US"/>
              <a:t>Insert picture</a:t>
            </a:r>
          </a:p>
        </p:txBody>
      </p:sp>
      <p:sp>
        <p:nvSpPr>
          <p:cNvPr id="6" name="Text Placeholder 5"/>
          <p:cNvSpPr>
            <a:spLocks noGrp="1"/>
          </p:cNvSpPr>
          <p:nvPr>
            <p:ph type="body" sz="quarter" idx="19" hasCustomPrompt="1"/>
          </p:nvPr>
        </p:nvSpPr>
        <p:spPr>
          <a:xfrm>
            <a:off x="3770065" y="1808521"/>
            <a:ext cx="2463190" cy="192360"/>
          </a:xfrm>
        </p:spPr>
        <p:txBody>
          <a:bodyPr lIns="0" tIns="0" rIns="0" bIns="0" anchor="ctr" anchorCtr="0"/>
          <a:lstStyle>
            <a:lvl1pPr marL="0" indent="0" algn="l">
              <a:lnSpc>
                <a:spcPct val="100000"/>
              </a:lnSpc>
              <a:buNone/>
              <a:defRPr sz="100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Country</a:t>
            </a:r>
          </a:p>
        </p:txBody>
      </p:sp>
      <p:sp>
        <p:nvSpPr>
          <p:cNvPr id="26" name="Text Placeholder 5"/>
          <p:cNvSpPr>
            <a:spLocks noGrp="1"/>
          </p:cNvSpPr>
          <p:nvPr>
            <p:ph type="body" sz="quarter" idx="20" hasCustomPrompt="1"/>
          </p:nvPr>
        </p:nvSpPr>
        <p:spPr>
          <a:xfrm>
            <a:off x="3770065" y="2020337"/>
            <a:ext cx="2463190" cy="266182"/>
          </a:xfrm>
        </p:spPr>
        <p:txBody>
          <a:bodyPr lIns="0" tIns="0" rIns="0" bIns="0" anchor="b" anchorCtr="0"/>
          <a:lstStyle>
            <a:lvl1pPr marL="0" indent="0" algn="l">
              <a:lnSpc>
                <a:spcPct val="100000"/>
              </a:lnSpc>
              <a:buNone/>
              <a:defRPr sz="1400" b="1" baseline="0">
                <a:solidFill>
                  <a:schemeClr val="tx2"/>
                </a:solidFill>
              </a:defRPr>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Name, Surname</a:t>
            </a:r>
          </a:p>
        </p:txBody>
      </p:sp>
      <p:sp>
        <p:nvSpPr>
          <p:cNvPr id="27" name="Text Placeholder 5"/>
          <p:cNvSpPr>
            <a:spLocks noGrp="1"/>
          </p:cNvSpPr>
          <p:nvPr>
            <p:ph type="body" sz="quarter" idx="21" hasCustomPrompt="1"/>
          </p:nvPr>
        </p:nvSpPr>
        <p:spPr>
          <a:xfrm>
            <a:off x="3770065" y="2316912"/>
            <a:ext cx="2463190"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Job Position</a:t>
            </a:r>
          </a:p>
        </p:txBody>
      </p:sp>
      <p:sp>
        <p:nvSpPr>
          <p:cNvPr id="28" name="Text Placeholder 5"/>
          <p:cNvSpPr>
            <a:spLocks noGrp="1"/>
          </p:cNvSpPr>
          <p:nvPr>
            <p:ph type="body" sz="quarter" idx="22" hasCustomPrompt="1"/>
          </p:nvPr>
        </p:nvSpPr>
        <p:spPr>
          <a:xfrm>
            <a:off x="4014948" y="2845588"/>
            <a:ext cx="2218307"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Phone number</a:t>
            </a:r>
          </a:p>
        </p:txBody>
      </p:sp>
      <p:sp>
        <p:nvSpPr>
          <p:cNvPr id="29" name="Text Placeholder 5"/>
          <p:cNvSpPr>
            <a:spLocks noGrp="1"/>
          </p:cNvSpPr>
          <p:nvPr>
            <p:ph type="body" sz="quarter" idx="23" hasCustomPrompt="1"/>
          </p:nvPr>
        </p:nvSpPr>
        <p:spPr>
          <a:xfrm>
            <a:off x="4014948" y="3128395"/>
            <a:ext cx="2218307"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Email address</a:t>
            </a:r>
          </a:p>
        </p:txBody>
      </p:sp>
      <p:sp>
        <p:nvSpPr>
          <p:cNvPr id="30" name="Text Placeholder 5"/>
          <p:cNvSpPr>
            <a:spLocks noGrp="1"/>
          </p:cNvSpPr>
          <p:nvPr>
            <p:ph type="body" sz="quarter" idx="24" hasCustomPrompt="1"/>
          </p:nvPr>
        </p:nvSpPr>
        <p:spPr>
          <a:xfrm>
            <a:off x="8701917" y="1808521"/>
            <a:ext cx="2463190" cy="192360"/>
          </a:xfrm>
        </p:spPr>
        <p:txBody>
          <a:bodyPr lIns="0" tIns="0" rIns="0" bIns="0" anchor="ctr" anchorCtr="0"/>
          <a:lstStyle>
            <a:lvl1pPr marL="0" indent="0" algn="l">
              <a:lnSpc>
                <a:spcPct val="100000"/>
              </a:lnSpc>
              <a:buNone/>
              <a:defRPr sz="100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Country</a:t>
            </a:r>
          </a:p>
        </p:txBody>
      </p:sp>
      <p:sp>
        <p:nvSpPr>
          <p:cNvPr id="31" name="Text Placeholder 5"/>
          <p:cNvSpPr>
            <a:spLocks noGrp="1"/>
          </p:cNvSpPr>
          <p:nvPr>
            <p:ph type="body" sz="quarter" idx="25" hasCustomPrompt="1"/>
          </p:nvPr>
        </p:nvSpPr>
        <p:spPr>
          <a:xfrm>
            <a:off x="8701917" y="2020337"/>
            <a:ext cx="2463190" cy="266182"/>
          </a:xfrm>
        </p:spPr>
        <p:txBody>
          <a:bodyPr lIns="0" tIns="0" rIns="0" bIns="0" anchor="b" anchorCtr="0"/>
          <a:lstStyle>
            <a:lvl1pPr marL="0" indent="0" algn="l">
              <a:lnSpc>
                <a:spcPct val="100000"/>
              </a:lnSpc>
              <a:buNone/>
              <a:defRPr sz="1400" b="1" baseline="0">
                <a:solidFill>
                  <a:schemeClr val="tx2"/>
                </a:solidFill>
              </a:defRPr>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Name, Surname</a:t>
            </a:r>
          </a:p>
        </p:txBody>
      </p:sp>
      <p:sp>
        <p:nvSpPr>
          <p:cNvPr id="32" name="Text Placeholder 5"/>
          <p:cNvSpPr>
            <a:spLocks noGrp="1"/>
          </p:cNvSpPr>
          <p:nvPr>
            <p:ph type="body" sz="quarter" idx="26" hasCustomPrompt="1"/>
          </p:nvPr>
        </p:nvSpPr>
        <p:spPr>
          <a:xfrm>
            <a:off x="8701917" y="2316912"/>
            <a:ext cx="2463190"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Job Position</a:t>
            </a:r>
          </a:p>
        </p:txBody>
      </p:sp>
      <p:sp>
        <p:nvSpPr>
          <p:cNvPr id="33" name="Text Placeholder 5"/>
          <p:cNvSpPr>
            <a:spLocks noGrp="1"/>
          </p:cNvSpPr>
          <p:nvPr>
            <p:ph type="body" sz="quarter" idx="27" hasCustomPrompt="1"/>
          </p:nvPr>
        </p:nvSpPr>
        <p:spPr>
          <a:xfrm>
            <a:off x="8946800" y="2845588"/>
            <a:ext cx="2218307"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Phone number</a:t>
            </a:r>
          </a:p>
        </p:txBody>
      </p:sp>
      <p:sp>
        <p:nvSpPr>
          <p:cNvPr id="34" name="Text Placeholder 5"/>
          <p:cNvSpPr>
            <a:spLocks noGrp="1"/>
          </p:cNvSpPr>
          <p:nvPr>
            <p:ph type="body" sz="quarter" idx="28" hasCustomPrompt="1"/>
          </p:nvPr>
        </p:nvSpPr>
        <p:spPr>
          <a:xfrm>
            <a:off x="8946800" y="3128395"/>
            <a:ext cx="2218307"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Email address</a:t>
            </a:r>
          </a:p>
        </p:txBody>
      </p:sp>
      <p:grpSp>
        <p:nvGrpSpPr>
          <p:cNvPr id="35" name="Gruppieren 2">
            <a:extLst>
              <a:ext uri="{FF2B5EF4-FFF2-40B4-BE49-F238E27FC236}">
                <a16:creationId xmlns:a16="http://schemas.microsoft.com/office/drawing/2014/main" id="{BE697CE9-EBDE-6B4A-BE70-582D92A8A831}"/>
              </a:ext>
            </a:extLst>
          </p:cNvPr>
          <p:cNvGrpSpPr/>
          <p:nvPr/>
        </p:nvGrpSpPr>
        <p:grpSpPr>
          <a:xfrm>
            <a:off x="3770065" y="5045939"/>
            <a:ext cx="171180" cy="171180"/>
            <a:chOff x="3392092" y="1841122"/>
            <a:chExt cx="646508" cy="646508"/>
          </a:xfrm>
        </p:grpSpPr>
        <p:sp>
          <p:nvSpPr>
            <p:cNvPr id="36" name="Rechteck 14">
              <a:extLst>
                <a:ext uri="{FF2B5EF4-FFF2-40B4-BE49-F238E27FC236}">
                  <a16:creationId xmlns:a16="http://schemas.microsoft.com/office/drawing/2014/main" id="{E142A731-19B7-C34D-9534-9E05108F895F}"/>
                </a:ext>
              </a:extLst>
            </p:cNvPr>
            <p:cNvSpPr>
              <a:spLocks noChangeAspect="1"/>
            </p:cNvSpPr>
            <p:nvPr/>
          </p:nvSpPr>
          <p:spPr bwMode="gray">
            <a:xfrm>
              <a:off x="3392092" y="1841122"/>
              <a:ext cx="646508" cy="646508"/>
            </a:xfrm>
            <a:prstGeom prst="rect">
              <a:avLst/>
            </a:prstGeom>
            <a:solidFill>
              <a:srgbClr val="E55A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pPr>
              <a:endParaRPr lang="en-US" sz="1000">
                <a:solidFill>
                  <a:schemeClr val="tx1"/>
                </a:solidFill>
                <a:latin typeface="Arial" pitchFamily="34" charset="0"/>
                <a:cs typeface="Arial" pitchFamily="34" charset="0"/>
              </a:endParaRPr>
            </a:p>
          </p:txBody>
        </p:sp>
        <p:sp>
          <p:nvSpPr>
            <p:cNvPr id="37" name="Freeform 36">
              <a:extLst>
                <a:ext uri="{FF2B5EF4-FFF2-40B4-BE49-F238E27FC236}">
                  <a16:creationId xmlns:a16="http://schemas.microsoft.com/office/drawing/2014/main" id="{F97E84AE-4AD9-4B44-9AA1-F797FC373809}"/>
                </a:ext>
              </a:extLst>
            </p:cNvPr>
            <p:cNvSpPr>
              <a:spLocks noChangeAspect="1"/>
            </p:cNvSpPr>
            <p:nvPr/>
          </p:nvSpPr>
          <p:spPr bwMode="auto">
            <a:xfrm>
              <a:off x="3546638" y="1970424"/>
              <a:ext cx="337415" cy="387905"/>
            </a:xfrm>
            <a:custGeom>
              <a:avLst/>
              <a:gdLst>
                <a:gd name="T0" fmla="*/ 573 w 1624"/>
                <a:gd name="T1" fmla="*/ 1257 h 1867"/>
                <a:gd name="T2" fmla="*/ 662 w 1624"/>
                <a:gd name="T3" fmla="*/ 1288 h 1867"/>
                <a:gd name="T4" fmla="*/ 938 w 1624"/>
                <a:gd name="T5" fmla="*/ 1051 h 1867"/>
                <a:gd name="T6" fmla="*/ 1106 w 1624"/>
                <a:gd name="T7" fmla="*/ 731 h 1867"/>
                <a:gd name="T8" fmla="*/ 1059 w 1624"/>
                <a:gd name="T9" fmla="*/ 645 h 1867"/>
                <a:gd name="T10" fmla="*/ 1001 w 1624"/>
                <a:gd name="T11" fmla="*/ 613 h 1867"/>
                <a:gd name="T12" fmla="*/ 924 w 1624"/>
                <a:gd name="T13" fmla="*/ 432 h 1867"/>
                <a:gd name="T14" fmla="*/ 1114 w 1624"/>
                <a:gd name="T15" fmla="*/ 81 h 1867"/>
                <a:gd name="T16" fmla="*/ 1287 w 1624"/>
                <a:gd name="T17" fmla="*/ 35 h 1867"/>
                <a:gd name="T18" fmla="*/ 1350 w 1624"/>
                <a:gd name="T19" fmla="*/ 69 h 1867"/>
                <a:gd name="T20" fmla="*/ 1527 w 1624"/>
                <a:gd name="T21" fmla="*/ 235 h 1867"/>
                <a:gd name="T22" fmla="*/ 1583 w 1624"/>
                <a:gd name="T23" fmla="*/ 555 h 1867"/>
                <a:gd name="T24" fmla="*/ 1172 w 1624"/>
                <a:gd name="T25" fmla="*/ 1253 h 1867"/>
                <a:gd name="T26" fmla="*/ 586 w 1624"/>
                <a:gd name="T27" fmla="*/ 1803 h 1867"/>
                <a:gd name="T28" fmla="*/ 269 w 1624"/>
                <a:gd name="T29" fmla="*/ 1807 h 1867"/>
                <a:gd name="T30" fmla="*/ 33 w 1624"/>
                <a:gd name="T31" fmla="*/ 1602 h 1867"/>
                <a:gd name="T32" fmla="*/ 2 w 1624"/>
                <a:gd name="T33" fmla="*/ 1508 h 1867"/>
                <a:gd name="T34" fmla="*/ 45 w 1624"/>
                <a:gd name="T35" fmla="*/ 1421 h 1867"/>
                <a:gd name="T36" fmla="*/ 346 w 1624"/>
                <a:gd name="T37" fmla="*/ 1158 h 1867"/>
                <a:gd name="T38" fmla="*/ 448 w 1624"/>
                <a:gd name="T39" fmla="*/ 1145 h 1867"/>
                <a:gd name="T40" fmla="*/ 573 w 1624"/>
                <a:gd name="T41" fmla="*/ 1257 h 18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24" h="1867">
                  <a:moveTo>
                    <a:pt x="573" y="1257"/>
                  </a:moveTo>
                  <a:cubicBezTo>
                    <a:pt x="592" y="1282"/>
                    <a:pt x="630" y="1303"/>
                    <a:pt x="662" y="1288"/>
                  </a:cubicBezTo>
                  <a:cubicBezTo>
                    <a:pt x="753" y="1245"/>
                    <a:pt x="854" y="1156"/>
                    <a:pt x="938" y="1051"/>
                  </a:cubicBezTo>
                  <a:cubicBezTo>
                    <a:pt x="1020" y="948"/>
                    <a:pt x="1084" y="831"/>
                    <a:pt x="1106" y="731"/>
                  </a:cubicBezTo>
                  <a:cubicBezTo>
                    <a:pt x="1113" y="696"/>
                    <a:pt x="1089" y="661"/>
                    <a:pt x="1059" y="645"/>
                  </a:cubicBezTo>
                  <a:cubicBezTo>
                    <a:pt x="1001" y="613"/>
                    <a:pt x="1001" y="613"/>
                    <a:pt x="1001" y="613"/>
                  </a:cubicBezTo>
                  <a:cubicBezTo>
                    <a:pt x="942" y="580"/>
                    <a:pt x="888" y="499"/>
                    <a:pt x="924" y="432"/>
                  </a:cubicBezTo>
                  <a:cubicBezTo>
                    <a:pt x="1114" y="81"/>
                    <a:pt x="1114" y="81"/>
                    <a:pt x="1114" y="81"/>
                  </a:cubicBezTo>
                  <a:cubicBezTo>
                    <a:pt x="1150" y="16"/>
                    <a:pt x="1224" y="0"/>
                    <a:pt x="1287" y="35"/>
                  </a:cubicBezTo>
                  <a:cubicBezTo>
                    <a:pt x="1350" y="69"/>
                    <a:pt x="1350" y="69"/>
                    <a:pt x="1350" y="69"/>
                  </a:cubicBezTo>
                  <a:cubicBezTo>
                    <a:pt x="1415" y="105"/>
                    <a:pt x="1479" y="165"/>
                    <a:pt x="1527" y="235"/>
                  </a:cubicBezTo>
                  <a:cubicBezTo>
                    <a:pt x="1593" y="332"/>
                    <a:pt x="1624" y="442"/>
                    <a:pt x="1583" y="555"/>
                  </a:cubicBezTo>
                  <a:cubicBezTo>
                    <a:pt x="1500" y="781"/>
                    <a:pt x="1351" y="1030"/>
                    <a:pt x="1172" y="1253"/>
                  </a:cubicBezTo>
                  <a:cubicBezTo>
                    <a:pt x="994" y="1477"/>
                    <a:pt x="786" y="1676"/>
                    <a:pt x="586" y="1803"/>
                  </a:cubicBezTo>
                  <a:cubicBezTo>
                    <a:pt x="486" y="1867"/>
                    <a:pt x="375" y="1856"/>
                    <a:pt x="269" y="1807"/>
                  </a:cubicBezTo>
                  <a:cubicBezTo>
                    <a:pt x="157" y="1755"/>
                    <a:pt x="106" y="1695"/>
                    <a:pt x="33" y="1602"/>
                  </a:cubicBezTo>
                  <a:cubicBezTo>
                    <a:pt x="11" y="1573"/>
                    <a:pt x="0" y="1540"/>
                    <a:pt x="2" y="1508"/>
                  </a:cubicBezTo>
                  <a:cubicBezTo>
                    <a:pt x="4" y="1475"/>
                    <a:pt x="18" y="1444"/>
                    <a:pt x="45" y="1421"/>
                  </a:cubicBezTo>
                  <a:cubicBezTo>
                    <a:pt x="70" y="1399"/>
                    <a:pt x="346" y="1158"/>
                    <a:pt x="346" y="1158"/>
                  </a:cubicBezTo>
                  <a:cubicBezTo>
                    <a:pt x="376" y="1134"/>
                    <a:pt x="413" y="1133"/>
                    <a:pt x="448" y="1145"/>
                  </a:cubicBezTo>
                  <a:cubicBezTo>
                    <a:pt x="510" y="1166"/>
                    <a:pt x="536" y="1210"/>
                    <a:pt x="573" y="1257"/>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351"/>
            </a:p>
          </p:txBody>
        </p:sp>
      </p:grpSp>
      <p:grpSp>
        <p:nvGrpSpPr>
          <p:cNvPr id="38" name="Group 3">
            <a:extLst>
              <a:ext uri="{FF2B5EF4-FFF2-40B4-BE49-F238E27FC236}">
                <a16:creationId xmlns:a16="http://schemas.microsoft.com/office/drawing/2014/main" id="{7104BADD-8CD1-6F4A-B894-869C3BDB3EEB}"/>
              </a:ext>
            </a:extLst>
          </p:cNvPr>
          <p:cNvGrpSpPr>
            <a:grpSpLocks noChangeAspect="1"/>
          </p:cNvGrpSpPr>
          <p:nvPr>
            <p:custDataLst>
              <p:tags r:id="rId3"/>
            </p:custDataLst>
          </p:nvPr>
        </p:nvGrpSpPr>
        <p:grpSpPr>
          <a:xfrm>
            <a:off x="3770066" y="5330827"/>
            <a:ext cx="171180" cy="171180"/>
            <a:chOff x="328396" y="5313940"/>
            <a:chExt cx="720000" cy="720000"/>
          </a:xfrm>
        </p:grpSpPr>
        <p:sp>
          <p:nvSpPr>
            <p:cNvPr id="39" name="Rectangle 4">
              <a:extLst>
                <a:ext uri="{FF2B5EF4-FFF2-40B4-BE49-F238E27FC236}">
                  <a16:creationId xmlns:a16="http://schemas.microsoft.com/office/drawing/2014/main" id="{74BE3D5F-1445-6E40-8B49-72E15568383B}"/>
                </a:ext>
              </a:extLst>
            </p:cNvPr>
            <p:cNvSpPr/>
            <p:nvPr/>
          </p:nvSpPr>
          <p:spPr bwMode="gray">
            <a:xfrm>
              <a:off x="328396" y="5313940"/>
              <a:ext cx="720000" cy="720000"/>
            </a:xfrm>
            <a:prstGeom prst="rect">
              <a:avLst/>
            </a:prstGeom>
            <a:solidFill>
              <a:srgbClr val="E55A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pPr>
              <a:endParaRPr lang="en-US" sz="1000">
                <a:solidFill>
                  <a:schemeClr val="tx1"/>
                </a:solidFill>
                <a:latin typeface="Arial" pitchFamily="34" charset="0"/>
                <a:cs typeface="Arial" pitchFamily="34" charset="0"/>
              </a:endParaRPr>
            </a:p>
          </p:txBody>
        </p:sp>
        <p:sp>
          <p:nvSpPr>
            <p:cNvPr id="40" name="Freeform 76">
              <a:extLst>
                <a:ext uri="{FF2B5EF4-FFF2-40B4-BE49-F238E27FC236}">
                  <a16:creationId xmlns:a16="http://schemas.microsoft.com/office/drawing/2014/main" id="{55DB3C95-7D0C-D141-901E-96D692794D2B}"/>
                </a:ext>
              </a:extLst>
            </p:cNvPr>
            <p:cNvSpPr>
              <a:spLocks noChangeAspect="1" noEditPoints="1"/>
            </p:cNvSpPr>
            <p:nvPr/>
          </p:nvSpPr>
          <p:spPr bwMode="auto">
            <a:xfrm>
              <a:off x="456202" y="5509222"/>
              <a:ext cx="504000" cy="329436"/>
            </a:xfrm>
            <a:custGeom>
              <a:avLst/>
              <a:gdLst>
                <a:gd name="T0" fmla="*/ 0 w 2080"/>
                <a:gd name="T1" fmla="*/ 65 h 1360"/>
                <a:gd name="T2" fmla="*/ 0 w 2080"/>
                <a:gd name="T3" fmla="*/ 0 h 1360"/>
                <a:gd name="T4" fmla="*/ 2080 w 2080"/>
                <a:gd name="T5" fmla="*/ 0 h 1360"/>
                <a:gd name="T6" fmla="*/ 2080 w 2080"/>
                <a:gd name="T7" fmla="*/ 65 h 1360"/>
                <a:gd name="T8" fmla="*/ 1089 w 2080"/>
                <a:gd name="T9" fmla="*/ 862 h 1360"/>
                <a:gd name="T10" fmla="*/ 991 w 2080"/>
                <a:gd name="T11" fmla="*/ 862 h 1360"/>
                <a:gd name="T12" fmla="*/ 0 w 2080"/>
                <a:gd name="T13" fmla="*/ 65 h 1360"/>
                <a:gd name="T14" fmla="*/ 1139 w 2080"/>
                <a:gd name="T15" fmla="*/ 924 h 1360"/>
                <a:gd name="T16" fmla="*/ 1282 w 2080"/>
                <a:gd name="T17" fmla="*/ 810 h 1360"/>
                <a:gd name="T18" fmla="*/ 2076 w 2080"/>
                <a:gd name="T19" fmla="*/ 1360 h 1360"/>
                <a:gd name="T20" fmla="*/ 4 w 2080"/>
                <a:gd name="T21" fmla="*/ 1360 h 1360"/>
                <a:gd name="T22" fmla="*/ 798 w 2080"/>
                <a:gd name="T23" fmla="*/ 810 h 1360"/>
                <a:gd name="T24" fmla="*/ 941 w 2080"/>
                <a:gd name="T25" fmla="*/ 924 h 1360"/>
                <a:gd name="T26" fmla="*/ 1139 w 2080"/>
                <a:gd name="T27" fmla="*/ 924 h 1360"/>
                <a:gd name="T28" fmla="*/ 2 w 2080"/>
                <a:gd name="T29" fmla="*/ 137 h 1360"/>
                <a:gd name="T30" fmla="*/ 42 w 2080"/>
                <a:gd name="T31" fmla="*/ 201 h 1360"/>
                <a:gd name="T32" fmla="*/ 734 w 2080"/>
                <a:gd name="T33" fmla="*/ 758 h 1360"/>
                <a:gd name="T34" fmla="*/ 0 w 2080"/>
                <a:gd name="T35" fmla="*/ 1266 h 1360"/>
                <a:gd name="T36" fmla="*/ 0 w 2080"/>
                <a:gd name="T37" fmla="*/ 135 h 1360"/>
                <a:gd name="T38" fmla="*/ 2 w 2080"/>
                <a:gd name="T39" fmla="*/ 137 h 1360"/>
                <a:gd name="T40" fmla="*/ 2080 w 2080"/>
                <a:gd name="T41" fmla="*/ 136 h 1360"/>
                <a:gd name="T42" fmla="*/ 2080 w 2080"/>
                <a:gd name="T43" fmla="*/ 1265 h 1360"/>
                <a:gd name="T44" fmla="*/ 1346 w 2080"/>
                <a:gd name="T45" fmla="*/ 758 h 1360"/>
                <a:gd name="T46" fmla="*/ 2038 w 2080"/>
                <a:gd name="T47" fmla="*/ 201 h 1360"/>
                <a:gd name="T48" fmla="*/ 2080 w 2080"/>
                <a:gd name="T49" fmla="*/ 136 h 1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080" h="1360">
                  <a:moveTo>
                    <a:pt x="0" y="65"/>
                  </a:moveTo>
                  <a:cubicBezTo>
                    <a:pt x="0" y="0"/>
                    <a:pt x="0" y="0"/>
                    <a:pt x="0" y="0"/>
                  </a:cubicBezTo>
                  <a:cubicBezTo>
                    <a:pt x="2080" y="0"/>
                    <a:pt x="2080" y="0"/>
                    <a:pt x="2080" y="0"/>
                  </a:cubicBezTo>
                  <a:cubicBezTo>
                    <a:pt x="2080" y="65"/>
                    <a:pt x="2080" y="65"/>
                    <a:pt x="2080" y="65"/>
                  </a:cubicBezTo>
                  <a:cubicBezTo>
                    <a:pt x="1089" y="862"/>
                    <a:pt x="1089" y="862"/>
                    <a:pt x="1089" y="862"/>
                  </a:cubicBezTo>
                  <a:cubicBezTo>
                    <a:pt x="1060" y="886"/>
                    <a:pt x="1020" y="886"/>
                    <a:pt x="991" y="862"/>
                  </a:cubicBezTo>
                  <a:lnTo>
                    <a:pt x="0" y="65"/>
                  </a:lnTo>
                  <a:close/>
                  <a:moveTo>
                    <a:pt x="1139" y="924"/>
                  </a:moveTo>
                  <a:cubicBezTo>
                    <a:pt x="1282" y="810"/>
                    <a:pt x="1282" y="810"/>
                    <a:pt x="1282" y="810"/>
                  </a:cubicBezTo>
                  <a:cubicBezTo>
                    <a:pt x="2076" y="1360"/>
                    <a:pt x="2076" y="1360"/>
                    <a:pt x="2076" y="1360"/>
                  </a:cubicBezTo>
                  <a:cubicBezTo>
                    <a:pt x="4" y="1360"/>
                    <a:pt x="4" y="1360"/>
                    <a:pt x="4" y="1360"/>
                  </a:cubicBezTo>
                  <a:cubicBezTo>
                    <a:pt x="798" y="810"/>
                    <a:pt x="798" y="810"/>
                    <a:pt x="798" y="810"/>
                  </a:cubicBezTo>
                  <a:cubicBezTo>
                    <a:pt x="941" y="924"/>
                    <a:pt x="941" y="924"/>
                    <a:pt x="941" y="924"/>
                  </a:cubicBezTo>
                  <a:cubicBezTo>
                    <a:pt x="1000" y="972"/>
                    <a:pt x="1080" y="972"/>
                    <a:pt x="1139" y="924"/>
                  </a:cubicBezTo>
                  <a:close/>
                  <a:moveTo>
                    <a:pt x="2" y="137"/>
                  </a:moveTo>
                  <a:cubicBezTo>
                    <a:pt x="8" y="163"/>
                    <a:pt x="22" y="185"/>
                    <a:pt x="42" y="201"/>
                  </a:cubicBezTo>
                  <a:cubicBezTo>
                    <a:pt x="734" y="758"/>
                    <a:pt x="734" y="758"/>
                    <a:pt x="734" y="758"/>
                  </a:cubicBezTo>
                  <a:cubicBezTo>
                    <a:pt x="0" y="1266"/>
                    <a:pt x="0" y="1266"/>
                    <a:pt x="0" y="1266"/>
                  </a:cubicBezTo>
                  <a:cubicBezTo>
                    <a:pt x="0" y="135"/>
                    <a:pt x="0" y="135"/>
                    <a:pt x="0" y="135"/>
                  </a:cubicBezTo>
                  <a:lnTo>
                    <a:pt x="2" y="137"/>
                  </a:lnTo>
                  <a:close/>
                  <a:moveTo>
                    <a:pt x="2080" y="136"/>
                  </a:moveTo>
                  <a:cubicBezTo>
                    <a:pt x="2080" y="1265"/>
                    <a:pt x="2080" y="1265"/>
                    <a:pt x="2080" y="1265"/>
                  </a:cubicBezTo>
                  <a:cubicBezTo>
                    <a:pt x="1346" y="758"/>
                    <a:pt x="1346" y="758"/>
                    <a:pt x="1346" y="758"/>
                  </a:cubicBezTo>
                  <a:cubicBezTo>
                    <a:pt x="2038" y="201"/>
                    <a:pt x="2038" y="201"/>
                    <a:pt x="2038" y="201"/>
                  </a:cubicBezTo>
                  <a:cubicBezTo>
                    <a:pt x="2060" y="182"/>
                    <a:pt x="2072" y="162"/>
                    <a:pt x="2080" y="13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000"/>
            </a:p>
          </p:txBody>
        </p:sp>
      </p:grpSp>
      <p:cxnSp>
        <p:nvCxnSpPr>
          <p:cNvPr id="41" name="Straight Connector 40"/>
          <p:cNvCxnSpPr/>
          <p:nvPr/>
        </p:nvCxnSpPr>
        <p:spPr>
          <a:xfrm>
            <a:off x="2355914" y="5655833"/>
            <a:ext cx="3888000" cy="0"/>
          </a:xfrm>
          <a:prstGeom prst="line">
            <a:avLst/>
          </a:prstGeom>
          <a:ln w="6350">
            <a:solidFill>
              <a:schemeClr val="tx2"/>
            </a:solidFill>
            <a:prstDash val="dash"/>
          </a:ln>
        </p:spPr>
        <p:style>
          <a:lnRef idx="1">
            <a:schemeClr val="accent1"/>
          </a:lnRef>
          <a:fillRef idx="0">
            <a:schemeClr val="accent1"/>
          </a:fillRef>
          <a:effectRef idx="0">
            <a:schemeClr val="accent1"/>
          </a:effectRef>
          <a:fontRef idx="minor">
            <a:schemeClr val="tx1"/>
          </a:fontRef>
        </p:style>
      </p:cxnSp>
      <p:sp>
        <p:nvSpPr>
          <p:cNvPr id="42" name="Picture Placeholder 3"/>
          <p:cNvSpPr>
            <a:spLocks noGrp="1"/>
          </p:cNvSpPr>
          <p:nvPr>
            <p:ph type="pic" sz="quarter" idx="29" hasCustomPrompt="1"/>
          </p:nvPr>
        </p:nvSpPr>
        <p:spPr>
          <a:xfrm>
            <a:off x="2355914" y="3986604"/>
            <a:ext cx="1188677" cy="1547840"/>
          </a:xfrm>
          <a:solidFill>
            <a:srgbClr val="D9DADB"/>
          </a:solidFill>
        </p:spPr>
        <p:txBody>
          <a:bodyPr/>
          <a:lstStyle>
            <a:lvl1pPr marL="0" indent="0">
              <a:buNone/>
              <a:defRPr sz="1400"/>
            </a:lvl1pPr>
          </a:lstStyle>
          <a:p>
            <a:r>
              <a:rPr lang="en-US"/>
              <a:t>Insert picture</a:t>
            </a:r>
          </a:p>
        </p:txBody>
      </p:sp>
      <p:sp>
        <p:nvSpPr>
          <p:cNvPr id="43" name="Text Placeholder 5"/>
          <p:cNvSpPr>
            <a:spLocks noGrp="1"/>
          </p:cNvSpPr>
          <p:nvPr>
            <p:ph type="body" sz="quarter" idx="30" hasCustomPrompt="1"/>
          </p:nvPr>
        </p:nvSpPr>
        <p:spPr>
          <a:xfrm>
            <a:off x="3770065" y="3986141"/>
            <a:ext cx="2463190" cy="192360"/>
          </a:xfrm>
        </p:spPr>
        <p:txBody>
          <a:bodyPr lIns="0" tIns="0" rIns="0" bIns="0" anchor="ctr" anchorCtr="0"/>
          <a:lstStyle>
            <a:lvl1pPr marL="0" indent="0" algn="l">
              <a:lnSpc>
                <a:spcPct val="100000"/>
              </a:lnSpc>
              <a:buNone/>
              <a:defRPr sz="100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Country</a:t>
            </a:r>
          </a:p>
        </p:txBody>
      </p:sp>
      <p:sp>
        <p:nvSpPr>
          <p:cNvPr id="44" name="Text Placeholder 5"/>
          <p:cNvSpPr>
            <a:spLocks noGrp="1"/>
          </p:cNvSpPr>
          <p:nvPr>
            <p:ph type="body" sz="quarter" idx="31" hasCustomPrompt="1"/>
          </p:nvPr>
        </p:nvSpPr>
        <p:spPr>
          <a:xfrm>
            <a:off x="3770065" y="4197957"/>
            <a:ext cx="2463190" cy="266182"/>
          </a:xfrm>
        </p:spPr>
        <p:txBody>
          <a:bodyPr lIns="0" tIns="0" rIns="0" bIns="0" anchor="b" anchorCtr="0"/>
          <a:lstStyle>
            <a:lvl1pPr marL="0" indent="0" algn="l">
              <a:lnSpc>
                <a:spcPct val="100000"/>
              </a:lnSpc>
              <a:buNone/>
              <a:defRPr sz="1400" b="1" baseline="0">
                <a:solidFill>
                  <a:schemeClr val="tx2"/>
                </a:solidFill>
              </a:defRPr>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Name, Surname</a:t>
            </a:r>
          </a:p>
        </p:txBody>
      </p:sp>
      <p:sp>
        <p:nvSpPr>
          <p:cNvPr id="45" name="Text Placeholder 5"/>
          <p:cNvSpPr>
            <a:spLocks noGrp="1"/>
          </p:cNvSpPr>
          <p:nvPr>
            <p:ph type="body" sz="quarter" idx="32" hasCustomPrompt="1"/>
          </p:nvPr>
        </p:nvSpPr>
        <p:spPr>
          <a:xfrm>
            <a:off x="3770065" y="4494532"/>
            <a:ext cx="2463190"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Job Position</a:t>
            </a:r>
          </a:p>
        </p:txBody>
      </p:sp>
      <p:sp>
        <p:nvSpPr>
          <p:cNvPr id="46" name="Text Placeholder 5"/>
          <p:cNvSpPr>
            <a:spLocks noGrp="1"/>
          </p:cNvSpPr>
          <p:nvPr>
            <p:ph type="body" sz="quarter" idx="33" hasCustomPrompt="1"/>
          </p:nvPr>
        </p:nvSpPr>
        <p:spPr>
          <a:xfrm>
            <a:off x="4014948" y="5023208"/>
            <a:ext cx="2218307"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Phone number</a:t>
            </a:r>
          </a:p>
        </p:txBody>
      </p:sp>
      <p:sp>
        <p:nvSpPr>
          <p:cNvPr id="47" name="Text Placeholder 5"/>
          <p:cNvSpPr>
            <a:spLocks noGrp="1"/>
          </p:cNvSpPr>
          <p:nvPr>
            <p:ph type="body" sz="quarter" idx="34" hasCustomPrompt="1"/>
          </p:nvPr>
        </p:nvSpPr>
        <p:spPr>
          <a:xfrm>
            <a:off x="4014948" y="5306015"/>
            <a:ext cx="2218307"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Email address</a:t>
            </a:r>
          </a:p>
        </p:txBody>
      </p:sp>
    </p:spTree>
    <p:extLst>
      <p:ext uri="{BB962C8B-B14F-4D97-AF65-F5344CB8AC3E}">
        <p14:creationId xmlns:p14="http://schemas.microsoft.com/office/powerpoint/2010/main" val="1923738680"/>
      </p:ext>
    </p:extLst>
  </p:cSld>
  <p:clrMapOvr>
    <a:masterClrMapping/>
  </p:clrMapOvr>
</p:sldLayout>
</file>

<file path=ppt/slideLayouts/slideLayout466.xml><?xml version="1.0" encoding="utf-8"?>
<p:sldLayout xmlns:a="http://schemas.openxmlformats.org/drawingml/2006/main" xmlns:r="http://schemas.openxmlformats.org/officeDocument/2006/relationships" xmlns:p="http://schemas.openxmlformats.org/presentationml/2006/main" preserve="1">
  <p:cSld name="Four contacts">
    <p:spTree>
      <p:nvGrpSpPr>
        <p:cNvPr id="1" name=""/>
        <p:cNvGrpSpPr/>
        <p:nvPr/>
      </p:nvGrpSpPr>
      <p:grpSpPr>
        <a:xfrm>
          <a:off x="0" y="0"/>
          <a:ext cx="0" cy="0"/>
          <a:chOff x="0" y="0"/>
          <a:chExt cx="0" cy="0"/>
        </a:xfrm>
      </p:grpSpPr>
      <p:sp>
        <p:nvSpPr>
          <p:cNvPr id="21" name="Date Placeholder 20"/>
          <p:cNvSpPr>
            <a:spLocks noGrp="1"/>
          </p:cNvSpPr>
          <p:nvPr>
            <p:ph type="dt" sz="half" idx="14"/>
          </p:nvPr>
        </p:nvSpPr>
        <p:spPr/>
        <p:txBody>
          <a:bodyPr/>
          <a:lstStyle/>
          <a:p>
            <a:endParaRPr lang="en-US"/>
          </a:p>
        </p:txBody>
      </p:sp>
      <p:sp>
        <p:nvSpPr>
          <p:cNvPr id="22" name="Footer Placeholder 21"/>
          <p:cNvSpPr>
            <a:spLocks noGrp="1"/>
          </p:cNvSpPr>
          <p:nvPr>
            <p:ph type="ftr" sz="quarter" idx="15"/>
          </p:nvPr>
        </p:nvSpPr>
        <p:spPr/>
        <p:txBody>
          <a:bodyPr/>
          <a:lstStyle/>
          <a:p>
            <a:endParaRPr lang="en-US"/>
          </a:p>
        </p:txBody>
      </p:sp>
      <p:sp>
        <p:nvSpPr>
          <p:cNvPr id="23" name="Slide Number Placeholder 22"/>
          <p:cNvSpPr>
            <a:spLocks noGrp="1"/>
          </p:cNvSpPr>
          <p:nvPr>
            <p:ph type="sldNum" sz="quarter" idx="16"/>
          </p:nvPr>
        </p:nvSpPr>
        <p:spPr/>
        <p:txBody>
          <a:bodyPr/>
          <a:lstStyle/>
          <a:p>
            <a:fld id="{5F3E29E4-0979-4FCA-B4C5-5FC6044C982A}" type="slidenum">
              <a:rPr lang="en-US" smtClean="0"/>
              <a:t>‹#›</a:t>
            </a:fld>
            <a:endParaRPr lang="en-US"/>
          </a:p>
        </p:txBody>
      </p:sp>
      <p:sp>
        <p:nvSpPr>
          <p:cNvPr id="2" name="Title 1"/>
          <p:cNvSpPr>
            <a:spLocks noGrp="1"/>
          </p:cNvSpPr>
          <p:nvPr>
            <p:ph type="title" hasCustomPrompt="1"/>
          </p:nvPr>
        </p:nvSpPr>
        <p:spPr/>
        <p:txBody>
          <a:bodyPr/>
          <a:lstStyle>
            <a:lvl1pPr>
              <a:defRPr/>
            </a:lvl1pPr>
          </a:lstStyle>
          <a:p>
            <a:r>
              <a:rPr lang="en-US"/>
              <a:t>Click to add contact title</a:t>
            </a:r>
          </a:p>
        </p:txBody>
      </p:sp>
      <p:sp>
        <p:nvSpPr>
          <p:cNvPr id="7" name="Subtitle 2"/>
          <p:cNvSpPr>
            <a:spLocks noGrp="1"/>
          </p:cNvSpPr>
          <p:nvPr>
            <p:ph type="subTitle" idx="13" hasCustomPrompt="1"/>
          </p:nvPr>
        </p:nvSpPr>
        <p:spPr>
          <a:xfrm>
            <a:off x="1075061" y="964671"/>
            <a:ext cx="7910158" cy="490042"/>
          </a:xfrm>
        </p:spPr>
        <p:txBody>
          <a:bodyPr wrap="none"/>
          <a:lstStyle>
            <a:lvl1pPr marL="0" indent="0" algn="l">
              <a:spcBef>
                <a:spcPts val="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grpSp>
        <p:nvGrpSpPr>
          <p:cNvPr id="8" name="Gruppieren 80">
            <a:extLst>
              <a:ext uri="{FF2B5EF4-FFF2-40B4-BE49-F238E27FC236}">
                <a16:creationId xmlns:a16="http://schemas.microsoft.com/office/drawing/2014/main" id="{6B969E7B-9C39-4443-9B02-74C1E7C5CCAC}"/>
              </a:ext>
            </a:extLst>
          </p:cNvPr>
          <p:cNvGrpSpPr/>
          <p:nvPr/>
        </p:nvGrpSpPr>
        <p:grpSpPr>
          <a:xfrm>
            <a:off x="3770065" y="2868319"/>
            <a:ext cx="171180" cy="171180"/>
            <a:chOff x="3392092" y="1841122"/>
            <a:chExt cx="646508" cy="646508"/>
          </a:xfrm>
        </p:grpSpPr>
        <p:sp>
          <p:nvSpPr>
            <p:cNvPr id="9" name="Rechteck 14">
              <a:extLst>
                <a:ext uri="{FF2B5EF4-FFF2-40B4-BE49-F238E27FC236}">
                  <a16:creationId xmlns:a16="http://schemas.microsoft.com/office/drawing/2014/main" id="{D78F58EA-5525-8D43-8295-FEA52ECF6BFA}"/>
                </a:ext>
              </a:extLst>
            </p:cNvPr>
            <p:cNvSpPr>
              <a:spLocks noChangeAspect="1"/>
            </p:cNvSpPr>
            <p:nvPr/>
          </p:nvSpPr>
          <p:spPr bwMode="gray">
            <a:xfrm>
              <a:off x="3392092" y="1841122"/>
              <a:ext cx="646508" cy="646508"/>
            </a:xfrm>
            <a:prstGeom prst="rect">
              <a:avLst/>
            </a:prstGeom>
            <a:solidFill>
              <a:srgbClr val="E55A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pPr>
              <a:endParaRPr lang="en-US" sz="1000">
                <a:solidFill>
                  <a:schemeClr val="tx1"/>
                </a:solidFill>
                <a:latin typeface="Arial" pitchFamily="34" charset="0"/>
                <a:cs typeface="Arial" pitchFamily="34" charset="0"/>
              </a:endParaRPr>
            </a:p>
          </p:txBody>
        </p:sp>
        <p:sp>
          <p:nvSpPr>
            <p:cNvPr id="10" name="Freeform 67">
              <a:extLst>
                <a:ext uri="{FF2B5EF4-FFF2-40B4-BE49-F238E27FC236}">
                  <a16:creationId xmlns:a16="http://schemas.microsoft.com/office/drawing/2014/main" id="{D01A6292-2776-4945-B828-483D79DC4908}"/>
                </a:ext>
              </a:extLst>
            </p:cNvPr>
            <p:cNvSpPr>
              <a:spLocks noChangeAspect="1"/>
            </p:cNvSpPr>
            <p:nvPr/>
          </p:nvSpPr>
          <p:spPr bwMode="auto">
            <a:xfrm>
              <a:off x="3546638" y="1970424"/>
              <a:ext cx="337415" cy="387905"/>
            </a:xfrm>
            <a:custGeom>
              <a:avLst/>
              <a:gdLst>
                <a:gd name="T0" fmla="*/ 573 w 1624"/>
                <a:gd name="T1" fmla="*/ 1257 h 1867"/>
                <a:gd name="T2" fmla="*/ 662 w 1624"/>
                <a:gd name="T3" fmla="*/ 1288 h 1867"/>
                <a:gd name="T4" fmla="*/ 938 w 1624"/>
                <a:gd name="T5" fmla="*/ 1051 h 1867"/>
                <a:gd name="T6" fmla="*/ 1106 w 1624"/>
                <a:gd name="T7" fmla="*/ 731 h 1867"/>
                <a:gd name="T8" fmla="*/ 1059 w 1624"/>
                <a:gd name="T9" fmla="*/ 645 h 1867"/>
                <a:gd name="T10" fmla="*/ 1001 w 1624"/>
                <a:gd name="T11" fmla="*/ 613 h 1867"/>
                <a:gd name="T12" fmla="*/ 924 w 1624"/>
                <a:gd name="T13" fmla="*/ 432 h 1867"/>
                <a:gd name="T14" fmla="*/ 1114 w 1624"/>
                <a:gd name="T15" fmla="*/ 81 h 1867"/>
                <a:gd name="T16" fmla="*/ 1287 w 1624"/>
                <a:gd name="T17" fmla="*/ 35 h 1867"/>
                <a:gd name="T18" fmla="*/ 1350 w 1624"/>
                <a:gd name="T19" fmla="*/ 69 h 1867"/>
                <a:gd name="T20" fmla="*/ 1527 w 1624"/>
                <a:gd name="T21" fmla="*/ 235 h 1867"/>
                <a:gd name="T22" fmla="*/ 1583 w 1624"/>
                <a:gd name="T23" fmla="*/ 555 h 1867"/>
                <a:gd name="T24" fmla="*/ 1172 w 1624"/>
                <a:gd name="T25" fmla="*/ 1253 h 1867"/>
                <a:gd name="T26" fmla="*/ 586 w 1624"/>
                <a:gd name="T27" fmla="*/ 1803 h 1867"/>
                <a:gd name="T28" fmla="*/ 269 w 1624"/>
                <a:gd name="T29" fmla="*/ 1807 h 1867"/>
                <a:gd name="T30" fmla="*/ 33 w 1624"/>
                <a:gd name="T31" fmla="*/ 1602 h 1867"/>
                <a:gd name="T32" fmla="*/ 2 w 1624"/>
                <a:gd name="T33" fmla="*/ 1508 h 1867"/>
                <a:gd name="T34" fmla="*/ 45 w 1624"/>
                <a:gd name="T35" fmla="*/ 1421 h 1867"/>
                <a:gd name="T36" fmla="*/ 346 w 1624"/>
                <a:gd name="T37" fmla="*/ 1158 h 1867"/>
                <a:gd name="T38" fmla="*/ 448 w 1624"/>
                <a:gd name="T39" fmla="*/ 1145 h 1867"/>
                <a:gd name="T40" fmla="*/ 573 w 1624"/>
                <a:gd name="T41" fmla="*/ 1257 h 18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24" h="1867">
                  <a:moveTo>
                    <a:pt x="573" y="1257"/>
                  </a:moveTo>
                  <a:cubicBezTo>
                    <a:pt x="592" y="1282"/>
                    <a:pt x="630" y="1303"/>
                    <a:pt x="662" y="1288"/>
                  </a:cubicBezTo>
                  <a:cubicBezTo>
                    <a:pt x="753" y="1245"/>
                    <a:pt x="854" y="1156"/>
                    <a:pt x="938" y="1051"/>
                  </a:cubicBezTo>
                  <a:cubicBezTo>
                    <a:pt x="1020" y="948"/>
                    <a:pt x="1084" y="831"/>
                    <a:pt x="1106" y="731"/>
                  </a:cubicBezTo>
                  <a:cubicBezTo>
                    <a:pt x="1113" y="696"/>
                    <a:pt x="1089" y="661"/>
                    <a:pt x="1059" y="645"/>
                  </a:cubicBezTo>
                  <a:cubicBezTo>
                    <a:pt x="1001" y="613"/>
                    <a:pt x="1001" y="613"/>
                    <a:pt x="1001" y="613"/>
                  </a:cubicBezTo>
                  <a:cubicBezTo>
                    <a:pt x="942" y="580"/>
                    <a:pt x="888" y="499"/>
                    <a:pt x="924" y="432"/>
                  </a:cubicBezTo>
                  <a:cubicBezTo>
                    <a:pt x="1114" y="81"/>
                    <a:pt x="1114" y="81"/>
                    <a:pt x="1114" y="81"/>
                  </a:cubicBezTo>
                  <a:cubicBezTo>
                    <a:pt x="1150" y="16"/>
                    <a:pt x="1224" y="0"/>
                    <a:pt x="1287" y="35"/>
                  </a:cubicBezTo>
                  <a:cubicBezTo>
                    <a:pt x="1350" y="69"/>
                    <a:pt x="1350" y="69"/>
                    <a:pt x="1350" y="69"/>
                  </a:cubicBezTo>
                  <a:cubicBezTo>
                    <a:pt x="1415" y="105"/>
                    <a:pt x="1479" y="165"/>
                    <a:pt x="1527" y="235"/>
                  </a:cubicBezTo>
                  <a:cubicBezTo>
                    <a:pt x="1593" y="332"/>
                    <a:pt x="1624" y="442"/>
                    <a:pt x="1583" y="555"/>
                  </a:cubicBezTo>
                  <a:cubicBezTo>
                    <a:pt x="1500" y="781"/>
                    <a:pt x="1351" y="1030"/>
                    <a:pt x="1172" y="1253"/>
                  </a:cubicBezTo>
                  <a:cubicBezTo>
                    <a:pt x="994" y="1477"/>
                    <a:pt x="786" y="1676"/>
                    <a:pt x="586" y="1803"/>
                  </a:cubicBezTo>
                  <a:cubicBezTo>
                    <a:pt x="486" y="1867"/>
                    <a:pt x="375" y="1856"/>
                    <a:pt x="269" y="1807"/>
                  </a:cubicBezTo>
                  <a:cubicBezTo>
                    <a:pt x="157" y="1755"/>
                    <a:pt x="106" y="1695"/>
                    <a:pt x="33" y="1602"/>
                  </a:cubicBezTo>
                  <a:cubicBezTo>
                    <a:pt x="11" y="1573"/>
                    <a:pt x="0" y="1540"/>
                    <a:pt x="2" y="1508"/>
                  </a:cubicBezTo>
                  <a:cubicBezTo>
                    <a:pt x="4" y="1475"/>
                    <a:pt x="18" y="1444"/>
                    <a:pt x="45" y="1421"/>
                  </a:cubicBezTo>
                  <a:cubicBezTo>
                    <a:pt x="70" y="1399"/>
                    <a:pt x="346" y="1158"/>
                    <a:pt x="346" y="1158"/>
                  </a:cubicBezTo>
                  <a:cubicBezTo>
                    <a:pt x="376" y="1134"/>
                    <a:pt x="413" y="1133"/>
                    <a:pt x="448" y="1145"/>
                  </a:cubicBezTo>
                  <a:cubicBezTo>
                    <a:pt x="510" y="1166"/>
                    <a:pt x="536" y="1210"/>
                    <a:pt x="573" y="1257"/>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351"/>
            </a:p>
          </p:txBody>
        </p:sp>
      </p:grpSp>
      <p:grpSp>
        <p:nvGrpSpPr>
          <p:cNvPr id="11" name="Group 3">
            <a:extLst>
              <a:ext uri="{FF2B5EF4-FFF2-40B4-BE49-F238E27FC236}">
                <a16:creationId xmlns:a16="http://schemas.microsoft.com/office/drawing/2014/main" id="{DED6A25A-5DE2-1441-8BA2-C68D3B4F9209}"/>
              </a:ext>
            </a:extLst>
          </p:cNvPr>
          <p:cNvGrpSpPr>
            <a:grpSpLocks noChangeAspect="1"/>
          </p:cNvGrpSpPr>
          <p:nvPr>
            <p:custDataLst>
              <p:tags r:id="rId1"/>
            </p:custDataLst>
          </p:nvPr>
        </p:nvGrpSpPr>
        <p:grpSpPr>
          <a:xfrm>
            <a:off x="3770066" y="3153207"/>
            <a:ext cx="171180" cy="171180"/>
            <a:chOff x="328396" y="5313940"/>
            <a:chExt cx="720000" cy="720000"/>
          </a:xfrm>
        </p:grpSpPr>
        <p:sp>
          <p:nvSpPr>
            <p:cNvPr id="12" name="Rectangle 4">
              <a:extLst>
                <a:ext uri="{FF2B5EF4-FFF2-40B4-BE49-F238E27FC236}">
                  <a16:creationId xmlns:a16="http://schemas.microsoft.com/office/drawing/2014/main" id="{5F49E67F-D4FA-9D48-96BC-59AE946ECD15}"/>
                </a:ext>
              </a:extLst>
            </p:cNvPr>
            <p:cNvSpPr/>
            <p:nvPr/>
          </p:nvSpPr>
          <p:spPr bwMode="gray">
            <a:xfrm>
              <a:off x="328396" y="5313940"/>
              <a:ext cx="720000" cy="720000"/>
            </a:xfrm>
            <a:prstGeom prst="rect">
              <a:avLst/>
            </a:prstGeom>
            <a:solidFill>
              <a:srgbClr val="E55A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pPr>
              <a:endParaRPr lang="en-US" sz="1000">
                <a:solidFill>
                  <a:schemeClr val="tx1"/>
                </a:solidFill>
                <a:latin typeface="Arial" pitchFamily="34" charset="0"/>
                <a:cs typeface="Arial" pitchFamily="34" charset="0"/>
              </a:endParaRPr>
            </a:p>
          </p:txBody>
        </p:sp>
        <p:sp>
          <p:nvSpPr>
            <p:cNvPr id="13" name="Freeform 76">
              <a:extLst>
                <a:ext uri="{FF2B5EF4-FFF2-40B4-BE49-F238E27FC236}">
                  <a16:creationId xmlns:a16="http://schemas.microsoft.com/office/drawing/2014/main" id="{187E70E6-AF3F-2549-908E-DF4BA61040AA}"/>
                </a:ext>
              </a:extLst>
            </p:cNvPr>
            <p:cNvSpPr>
              <a:spLocks noChangeAspect="1" noEditPoints="1"/>
            </p:cNvSpPr>
            <p:nvPr/>
          </p:nvSpPr>
          <p:spPr bwMode="auto">
            <a:xfrm>
              <a:off x="456202" y="5509222"/>
              <a:ext cx="504000" cy="329436"/>
            </a:xfrm>
            <a:custGeom>
              <a:avLst/>
              <a:gdLst>
                <a:gd name="T0" fmla="*/ 0 w 2080"/>
                <a:gd name="T1" fmla="*/ 65 h 1360"/>
                <a:gd name="T2" fmla="*/ 0 w 2080"/>
                <a:gd name="T3" fmla="*/ 0 h 1360"/>
                <a:gd name="T4" fmla="*/ 2080 w 2080"/>
                <a:gd name="T5" fmla="*/ 0 h 1360"/>
                <a:gd name="T6" fmla="*/ 2080 w 2080"/>
                <a:gd name="T7" fmla="*/ 65 h 1360"/>
                <a:gd name="T8" fmla="*/ 1089 w 2080"/>
                <a:gd name="T9" fmla="*/ 862 h 1360"/>
                <a:gd name="T10" fmla="*/ 991 w 2080"/>
                <a:gd name="T11" fmla="*/ 862 h 1360"/>
                <a:gd name="T12" fmla="*/ 0 w 2080"/>
                <a:gd name="T13" fmla="*/ 65 h 1360"/>
                <a:gd name="T14" fmla="*/ 1139 w 2080"/>
                <a:gd name="T15" fmla="*/ 924 h 1360"/>
                <a:gd name="T16" fmla="*/ 1282 w 2080"/>
                <a:gd name="T17" fmla="*/ 810 h 1360"/>
                <a:gd name="T18" fmla="*/ 2076 w 2080"/>
                <a:gd name="T19" fmla="*/ 1360 h 1360"/>
                <a:gd name="T20" fmla="*/ 4 w 2080"/>
                <a:gd name="T21" fmla="*/ 1360 h 1360"/>
                <a:gd name="T22" fmla="*/ 798 w 2080"/>
                <a:gd name="T23" fmla="*/ 810 h 1360"/>
                <a:gd name="T24" fmla="*/ 941 w 2080"/>
                <a:gd name="T25" fmla="*/ 924 h 1360"/>
                <a:gd name="T26" fmla="*/ 1139 w 2080"/>
                <a:gd name="T27" fmla="*/ 924 h 1360"/>
                <a:gd name="T28" fmla="*/ 2 w 2080"/>
                <a:gd name="T29" fmla="*/ 137 h 1360"/>
                <a:gd name="T30" fmla="*/ 42 w 2080"/>
                <a:gd name="T31" fmla="*/ 201 h 1360"/>
                <a:gd name="T32" fmla="*/ 734 w 2080"/>
                <a:gd name="T33" fmla="*/ 758 h 1360"/>
                <a:gd name="T34" fmla="*/ 0 w 2080"/>
                <a:gd name="T35" fmla="*/ 1266 h 1360"/>
                <a:gd name="T36" fmla="*/ 0 w 2080"/>
                <a:gd name="T37" fmla="*/ 135 h 1360"/>
                <a:gd name="T38" fmla="*/ 2 w 2080"/>
                <a:gd name="T39" fmla="*/ 137 h 1360"/>
                <a:gd name="T40" fmla="*/ 2080 w 2080"/>
                <a:gd name="T41" fmla="*/ 136 h 1360"/>
                <a:gd name="T42" fmla="*/ 2080 w 2080"/>
                <a:gd name="T43" fmla="*/ 1265 h 1360"/>
                <a:gd name="T44" fmla="*/ 1346 w 2080"/>
                <a:gd name="T45" fmla="*/ 758 h 1360"/>
                <a:gd name="T46" fmla="*/ 2038 w 2080"/>
                <a:gd name="T47" fmla="*/ 201 h 1360"/>
                <a:gd name="T48" fmla="*/ 2080 w 2080"/>
                <a:gd name="T49" fmla="*/ 136 h 1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080" h="1360">
                  <a:moveTo>
                    <a:pt x="0" y="65"/>
                  </a:moveTo>
                  <a:cubicBezTo>
                    <a:pt x="0" y="0"/>
                    <a:pt x="0" y="0"/>
                    <a:pt x="0" y="0"/>
                  </a:cubicBezTo>
                  <a:cubicBezTo>
                    <a:pt x="2080" y="0"/>
                    <a:pt x="2080" y="0"/>
                    <a:pt x="2080" y="0"/>
                  </a:cubicBezTo>
                  <a:cubicBezTo>
                    <a:pt x="2080" y="65"/>
                    <a:pt x="2080" y="65"/>
                    <a:pt x="2080" y="65"/>
                  </a:cubicBezTo>
                  <a:cubicBezTo>
                    <a:pt x="1089" y="862"/>
                    <a:pt x="1089" y="862"/>
                    <a:pt x="1089" y="862"/>
                  </a:cubicBezTo>
                  <a:cubicBezTo>
                    <a:pt x="1060" y="886"/>
                    <a:pt x="1020" y="886"/>
                    <a:pt x="991" y="862"/>
                  </a:cubicBezTo>
                  <a:lnTo>
                    <a:pt x="0" y="65"/>
                  </a:lnTo>
                  <a:close/>
                  <a:moveTo>
                    <a:pt x="1139" y="924"/>
                  </a:moveTo>
                  <a:cubicBezTo>
                    <a:pt x="1282" y="810"/>
                    <a:pt x="1282" y="810"/>
                    <a:pt x="1282" y="810"/>
                  </a:cubicBezTo>
                  <a:cubicBezTo>
                    <a:pt x="2076" y="1360"/>
                    <a:pt x="2076" y="1360"/>
                    <a:pt x="2076" y="1360"/>
                  </a:cubicBezTo>
                  <a:cubicBezTo>
                    <a:pt x="4" y="1360"/>
                    <a:pt x="4" y="1360"/>
                    <a:pt x="4" y="1360"/>
                  </a:cubicBezTo>
                  <a:cubicBezTo>
                    <a:pt x="798" y="810"/>
                    <a:pt x="798" y="810"/>
                    <a:pt x="798" y="810"/>
                  </a:cubicBezTo>
                  <a:cubicBezTo>
                    <a:pt x="941" y="924"/>
                    <a:pt x="941" y="924"/>
                    <a:pt x="941" y="924"/>
                  </a:cubicBezTo>
                  <a:cubicBezTo>
                    <a:pt x="1000" y="972"/>
                    <a:pt x="1080" y="972"/>
                    <a:pt x="1139" y="924"/>
                  </a:cubicBezTo>
                  <a:close/>
                  <a:moveTo>
                    <a:pt x="2" y="137"/>
                  </a:moveTo>
                  <a:cubicBezTo>
                    <a:pt x="8" y="163"/>
                    <a:pt x="22" y="185"/>
                    <a:pt x="42" y="201"/>
                  </a:cubicBezTo>
                  <a:cubicBezTo>
                    <a:pt x="734" y="758"/>
                    <a:pt x="734" y="758"/>
                    <a:pt x="734" y="758"/>
                  </a:cubicBezTo>
                  <a:cubicBezTo>
                    <a:pt x="0" y="1266"/>
                    <a:pt x="0" y="1266"/>
                    <a:pt x="0" y="1266"/>
                  </a:cubicBezTo>
                  <a:cubicBezTo>
                    <a:pt x="0" y="135"/>
                    <a:pt x="0" y="135"/>
                    <a:pt x="0" y="135"/>
                  </a:cubicBezTo>
                  <a:lnTo>
                    <a:pt x="2" y="137"/>
                  </a:lnTo>
                  <a:close/>
                  <a:moveTo>
                    <a:pt x="2080" y="136"/>
                  </a:moveTo>
                  <a:cubicBezTo>
                    <a:pt x="2080" y="1265"/>
                    <a:pt x="2080" y="1265"/>
                    <a:pt x="2080" y="1265"/>
                  </a:cubicBezTo>
                  <a:cubicBezTo>
                    <a:pt x="1346" y="758"/>
                    <a:pt x="1346" y="758"/>
                    <a:pt x="1346" y="758"/>
                  </a:cubicBezTo>
                  <a:cubicBezTo>
                    <a:pt x="2038" y="201"/>
                    <a:pt x="2038" y="201"/>
                    <a:pt x="2038" y="201"/>
                  </a:cubicBezTo>
                  <a:cubicBezTo>
                    <a:pt x="2060" y="182"/>
                    <a:pt x="2072" y="162"/>
                    <a:pt x="2080" y="13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000"/>
            </a:p>
          </p:txBody>
        </p:sp>
      </p:grpSp>
      <p:grpSp>
        <p:nvGrpSpPr>
          <p:cNvPr id="14" name="Gruppieren 2">
            <a:extLst>
              <a:ext uri="{FF2B5EF4-FFF2-40B4-BE49-F238E27FC236}">
                <a16:creationId xmlns:a16="http://schemas.microsoft.com/office/drawing/2014/main" id="{BE697CE9-EBDE-6B4A-BE70-582D92A8A831}"/>
              </a:ext>
            </a:extLst>
          </p:cNvPr>
          <p:cNvGrpSpPr/>
          <p:nvPr/>
        </p:nvGrpSpPr>
        <p:grpSpPr>
          <a:xfrm>
            <a:off x="8701917" y="2868319"/>
            <a:ext cx="171180" cy="171180"/>
            <a:chOff x="3392092" y="1841122"/>
            <a:chExt cx="646508" cy="646508"/>
          </a:xfrm>
        </p:grpSpPr>
        <p:sp>
          <p:nvSpPr>
            <p:cNvPr id="15" name="Rechteck 14">
              <a:extLst>
                <a:ext uri="{FF2B5EF4-FFF2-40B4-BE49-F238E27FC236}">
                  <a16:creationId xmlns:a16="http://schemas.microsoft.com/office/drawing/2014/main" id="{E142A731-19B7-C34D-9534-9E05108F895F}"/>
                </a:ext>
              </a:extLst>
            </p:cNvPr>
            <p:cNvSpPr>
              <a:spLocks noChangeAspect="1"/>
            </p:cNvSpPr>
            <p:nvPr/>
          </p:nvSpPr>
          <p:spPr bwMode="gray">
            <a:xfrm>
              <a:off x="3392092" y="1841122"/>
              <a:ext cx="646508" cy="646508"/>
            </a:xfrm>
            <a:prstGeom prst="rect">
              <a:avLst/>
            </a:prstGeom>
            <a:solidFill>
              <a:srgbClr val="E55A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pPr>
              <a:endParaRPr lang="en-US" sz="1000">
                <a:solidFill>
                  <a:schemeClr val="tx1"/>
                </a:solidFill>
                <a:latin typeface="Arial" pitchFamily="34" charset="0"/>
                <a:cs typeface="Arial" pitchFamily="34" charset="0"/>
              </a:endParaRPr>
            </a:p>
          </p:txBody>
        </p:sp>
        <p:sp>
          <p:nvSpPr>
            <p:cNvPr id="16" name="Freeform 15">
              <a:extLst>
                <a:ext uri="{FF2B5EF4-FFF2-40B4-BE49-F238E27FC236}">
                  <a16:creationId xmlns:a16="http://schemas.microsoft.com/office/drawing/2014/main" id="{F97E84AE-4AD9-4B44-9AA1-F797FC373809}"/>
                </a:ext>
              </a:extLst>
            </p:cNvPr>
            <p:cNvSpPr>
              <a:spLocks noChangeAspect="1"/>
            </p:cNvSpPr>
            <p:nvPr/>
          </p:nvSpPr>
          <p:spPr bwMode="auto">
            <a:xfrm>
              <a:off x="3546638" y="1970424"/>
              <a:ext cx="337415" cy="387905"/>
            </a:xfrm>
            <a:custGeom>
              <a:avLst/>
              <a:gdLst>
                <a:gd name="T0" fmla="*/ 573 w 1624"/>
                <a:gd name="T1" fmla="*/ 1257 h 1867"/>
                <a:gd name="T2" fmla="*/ 662 w 1624"/>
                <a:gd name="T3" fmla="*/ 1288 h 1867"/>
                <a:gd name="T4" fmla="*/ 938 w 1624"/>
                <a:gd name="T5" fmla="*/ 1051 h 1867"/>
                <a:gd name="T6" fmla="*/ 1106 w 1624"/>
                <a:gd name="T7" fmla="*/ 731 h 1867"/>
                <a:gd name="T8" fmla="*/ 1059 w 1624"/>
                <a:gd name="T9" fmla="*/ 645 h 1867"/>
                <a:gd name="T10" fmla="*/ 1001 w 1624"/>
                <a:gd name="T11" fmla="*/ 613 h 1867"/>
                <a:gd name="T12" fmla="*/ 924 w 1624"/>
                <a:gd name="T13" fmla="*/ 432 h 1867"/>
                <a:gd name="T14" fmla="*/ 1114 w 1624"/>
                <a:gd name="T15" fmla="*/ 81 h 1867"/>
                <a:gd name="T16" fmla="*/ 1287 w 1624"/>
                <a:gd name="T17" fmla="*/ 35 h 1867"/>
                <a:gd name="T18" fmla="*/ 1350 w 1624"/>
                <a:gd name="T19" fmla="*/ 69 h 1867"/>
                <a:gd name="T20" fmla="*/ 1527 w 1624"/>
                <a:gd name="T21" fmla="*/ 235 h 1867"/>
                <a:gd name="T22" fmla="*/ 1583 w 1624"/>
                <a:gd name="T23" fmla="*/ 555 h 1867"/>
                <a:gd name="T24" fmla="*/ 1172 w 1624"/>
                <a:gd name="T25" fmla="*/ 1253 h 1867"/>
                <a:gd name="T26" fmla="*/ 586 w 1624"/>
                <a:gd name="T27" fmla="*/ 1803 h 1867"/>
                <a:gd name="T28" fmla="*/ 269 w 1624"/>
                <a:gd name="T29" fmla="*/ 1807 h 1867"/>
                <a:gd name="T30" fmla="*/ 33 w 1624"/>
                <a:gd name="T31" fmla="*/ 1602 h 1867"/>
                <a:gd name="T32" fmla="*/ 2 w 1624"/>
                <a:gd name="T33" fmla="*/ 1508 h 1867"/>
                <a:gd name="T34" fmla="*/ 45 w 1624"/>
                <a:gd name="T35" fmla="*/ 1421 h 1867"/>
                <a:gd name="T36" fmla="*/ 346 w 1624"/>
                <a:gd name="T37" fmla="*/ 1158 h 1867"/>
                <a:gd name="T38" fmla="*/ 448 w 1624"/>
                <a:gd name="T39" fmla="*/ 1145 h 1867"/>
                <a:gd name="T40" fmla="*/ 573 w 1624"/>
                <a:gd name="T41" fmla="*/ 1257 h 18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24" h="1867">
                  <a:moveTo>
                    <a:pt x="573" y="1257"/>
                  </a:moveTo>
                  <a:cubicBezTo>
                    <a:pt x="592" y="1282"/>
                    <a:pt x="630" y="1303"/>
                    <a:pt x="662" y="1288"/>
                  </a:cubicBezTo>
                  <a:cubicBezTo>
                    <a:pt x="753" y="1245"/>
                    <a:pt x="854" y="1156"/>
                    <a:pt x="938" y="1051"/>
                  </a:cubicBezTo>
                  <a:cubicBezTo>
                    <a:pt x="1020" y="948"/>
                    <a:pt x="1084" y="831"/>
                    <a:pt x="1106" y="731"/>
                  </a:cubicBezTo>
                  <a:cubicBezTo>
                    <a:pt x="1113" y="696"/>
                    <a:pt x="1089" y="661"/>
                    <a:pt x="1059" y="645"/>
                  </a:cubicBezTo>
                  <a:cubicBezTo>
                    <a:pt x="1001" y="613"/>
                    <a:pt x="1001" y="613"/>
                    <a:pt x="1001" y="613"/>
                  </a:cubicBezTo>
                  <a:cubicBezTo>
                    <a:pt x="942" y="580"/>
                    <a:pt x="888" y="499"/>
                    <a:pt x="924" y="432"/>
                  </a:cubicBezTo>
                  <a:cubicBezTo>
                    <a:pt x="1114" y="81"/>
                    <a:pt x="1114" y="81"/>
                    <a:pt x="1114" y="81"/>
                  </a:cubicBezTo>
                  <a:cubicBezTo>
                    <a:pt x="1150" y="16"/>
                    <a:pt x="1224" y="0"/>
                    <a:pt x="1287" y="35"/>
                  </a:cubicBezTo>
                  <a:cubicBezTo>
                    <a:pt x="1350" y="69"/>
                    <a:pt x="1350" y="69"/>
                    <a:pt x="1350" y="69"/>
                  </a:cubicBezTo>
                  <a:cubicBezTo>
                    <a:pt x="1415" y="105"/>
                    <a:pt x="1479" y="165"/>
                    <a:pt x="1527" y="235"/>
                  </a:cubicBezTo>
                  <a:cubicBezTo>
                    <a:pt x="1593" y="332"/>
                    <a:pt x="1624" y="442"/>
                    <a:pt x="1583" y="555"/>
                  </a:cubicBezTo>
                  <a:cubicBezTo>
                    <a:pt x="1500" y="781"/>
                    <a:pt x="1351" y="1030"/>
                    <a:pt x="1172" y="1253"/>
                  </a:cubicBezTo>
                  <a:cubicBezTo>
                    <a:pt x="994" y="1477"/>
                    <a:pt x="786" y="1676"/>
                    <a:pt x="586" y="1803"/>
                  </a:cubicBezTo>
                  <a:cubicBezTo>
                    <a:pt x="486" y="1867"/>
                    <a:pt x="375" y="1856"/>
                    <a:pt x="269" y="1807"/>
                  </a:cubicBezTo>
                  <a:cubicBezTo>
                    <a:pt x="157" y="1755"/>
                    <a:pt x="106" y="1695"/>
                    <a:pt x="33" y="1602"/>
                  </a:cubicBezTo>
                  <a:cubicBezTo>
                    <a:pt x="11" y="1573"/>
                    <a:pt x="0" y="1540"/>
                    <a:pt x="2" y="1508"/>
                  </a:cubicBezTo>
                  <a:cubicBezTo>
                    <a:pt x="4" y="1475"/>
                    <a:pt x="18" y="1444"/>
                    <a:pt x="45" y="1421"/>
                  </a:cubicBezTo>
                  <a:cubicBezTo>
                    <a:pt x="70" y="1399"/>
                    <a:pt x="346" y="1158"/>
                    <a:pt x="346" y="1158"/>
                  </a:cubicBezTo>
                  <a:cubicBezTo>
                    <a:pt x="376" y="1134"/>
                    <a:pt x="413" y="1133"/>
                    <a:pt x="448" y="1145"/>
                  </a:cubicBezTo>
                  <a:cubicBezTo>
                    <a:pt x="510" y="1166"/>
                    <a:pt x="536" y="1210"/>
                    <a:pt x="573" y="1257"/>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351"/>
            </a:p>
          </p:txBody>
        </p:sp>
      </p:grpSp>
      <p:grpSp>
        <p:nvGrpSpPr>
          <p:cNvPr id="17" name="Group 3">
            <a:extLst>
              <a:ext uri="{FF2B5EF4-FFF2-40B4-BE49-F238E27FC236}">
                <a16:creationId xmlns:a16="http://schemas.microsoft.com/office/drawing/2014/main" id="{7104BADD-8CD1-6F4A-B894-869C3BDB3EEB}"/>
              </a:ext>
            </a:extLst>
          </p:cNvPr>
          <p:cNvGrpSpPr>
            <a:grpSpLocks noChangeAspect="1"/>
          </p:cNvGrpSpPr>
          <p:nvPr>
            <p:custDataLst>
              <p:tags r:id="rId2"/>
            </p:custDataLst>
          </p:nvPr>
        </p:nvGrpSpPr>
        <p:grpSpPr>
          <a:xfrm>
            <a:off x="8701918" y="3153207"/>
            <a:ext cx="171180" cy="171180"/>
            <a:chOff x="328396" y="5313940"/>
            <a:chExt cx="720000" cy="720000"/>
          </a:xfrm>
        </p:grpSpPr>
        <p:sp>
          <p:nvSpPr>
            <p:cNvPr id="18" name="Rectangle 4">
              <a:extLst>
                <a:ext uri="{FF2B5EF4-FFF2-40B4-BE49-F238E27FC236}">
                  <a16:creationId xmlns:a16="http://schemas.microsoft.com/office/drawing/2014/main" id="{74BE3D5F-1445-6E40-8B49-72E15568383B}"/>
                </a:ext>
              </a:extLst>
            </p:cNvPr>
            <p:cNvSpPr/>
            <p:nvPr/>
          </p:nvSpPr>
          <p:spPr bwMode="gray">
            <a:xfrm>
              <a:off x="328396" y="5313940"/>
              <a:ext cx="720000" cy="720000"/>
            </a:xfrm>
            <a:prstGeom prst="rect">
              <a:avLst/>
            </a:prstGeom>
            <a:solidFill>
              <a:srgbClr val="E55A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pPr>
              <a:endParaRPr lang="en-US" sz="1000">
                <a:solidFill>
                  <a:schemeClr val="tx1"/>
                </a:solidFill>
                <a:latin typeface="Arial" pitchFamily="34" charset="0"/>
                <a:cs typeface="Arial" pitchFamily="34" charset="0"/>
              </a:endParaRPr>
            </a:p>
          </p:txBody>
        </p:sp>
        <p:sp>
          <p:nvSpPr>
            <p:cNvPr id="19" name="Freeform 76">
              <a:extLst>
                <a:ext uri="{FF2B5EF4-FFF2-40B4-BE49-F238E27FC236}">
                  <a16:creationId xmlns:a16="http://schemas.microsoft.com/office/drawing/2014/main" id="{55DB3C95-7D0C-D141-901E-96D692794D2B}"/>
                </a:ext>
              </a:extLst>
            </p:cNvPr>
            <p:cNvSpPr>
              <a:spLocks noChangeAspect="1" noEditPoints="1"/>
            </p:cNvSpPr>
            <p:nvPr/>
          </p:nvSpPr>
          <p:spPr bwMode="auto">
            <a:xfrm>
              <a:off x="456202" y="5509222"/>
              <a:ext cx="504000" cy="329436"/>
            </a:xfrm>
            <a:custGeom>
              <a:avLst/>
              <a:gdLst>
                <a:gd name="T0" fmla="*/ 0 w 2080"/>
                <a:gd name="T1" fmla="*/ 65 h 1360"/>
                <a:gd name="T2" fmla="*/ 0 w 2080"/>
                <a:gd name="T3" fmla="*/ 0 h 1360"/>
                <a:gd name="T4" fmla="*/ 2080 w 2080"/>
                <a:gd name="T5" fmla="*/ 0 h 1360"/>
                <a:gd name="T6" fmla="*/ 2080 w 2080"/>
                <a:gd name="T7" fmla="*/ 65 h 1360"/>
                <a:gd name="T8" fmla="*/ 1089 w 2080"/>
                <a:gd name="T9" fmla="*/ 862 h 1360"/>
                <a:gd name="T10" fmla="*/ 991 w 2080"/>
                <a:gd name="T11" fmla="*/ 862 h 1360"/>
                <a:gd name="T12" fmla="*/ 0 w 2080"/>
                <a:gd name="T13" fmla="*/ 65 h 1360"/>
                <a:gd name="T14" fmla="*/ 1139 w 2080"/>
                <a:gd name="T15" fmla="*/ 924 h 1360"/>
                <a:gd name="T16" fmla="*/ 1282 w 2080"/>
                <a:gd name="T17" fmla="*/ 810 h 1360"/>
                <a:gd name="T18" fmla="*/ 2076 w 2080"/>
                <a:gd name="T19" fmla="*/ 1360 h 1360"/>
                <a:gd name="T20" fmla="*/ 4 w 2080"/>
                <a:gd name="T21" fmla="*/ 1360 h 1360"/>
                <a:gd name="T22" fmla="*/ 798 w 2080"/>
                <a:gd name="T23" fmla="*/ 810 h 1360"/>
                <a:gd name="T24" fmla="*/ 941 w 2080"/>
                <a:gd name="T25" fmla="*/ 924 h 1360"/>
                <a:gd name="T26" fmla="*/ 1139 w 2080"/>
                <a:gd name="T27" fmla="*/ 924 h 1360"/>
                <a:gd name="T28" fmla="*/ 2 w 2080"/>
                <a:gd name="T29" fmla="*/ 137 h 1360"/>
                <a:gd name="T30" fmla="*/ 42 w 2080"/>
                <a:gd name="T31" fmla="*/ 201 h 1360"/>
                <a:gd name="T32" fmla="*/ 734 w 2080"/>
                <a:gd name="T33" fmla="*/ 758 h 1360"/>
                <a:gd name="T34" fmla="*/ 0 w 2080"/>
                <a:gd name="T35" fmla="*/ 1266 h 1360"/>
                <a:gd name="T36" fmla="*/ 0 w 2080"/>
                <a:gd name="T37" fmla="*/ 135 h 1360"/>
                <a:gd name="T38" fmla="*/ 2 w 2080"/>
                <a:gd name="T39" fmla="*/ 137 h 1360"/>
                <a:gd name="T40" fmla="*/ 2080 w 2080"/>
                <a:gd name="T41" fmla="*/ 136 h 1360"/>
                <a:gd name="T42" fmla="*/ 2080 w 2080"/>
                <a:gd name="T43" fmla="*/ 1265 h 1360"/>
                <a:gd name="T44" fmla="*/ 1346 w 2080"/>
                <a:gd name="T45" fmla="*/ 758 h 1360"/>
                <a:gd name="T46" fmla="*/ 2038 w 2080"/>
                <a:gd name="T47" fmla="*/ 201 h 1360"/>
                <a:gd name="T48" fmla="*/ 2080 w 2080"/>
                <a:gd name="T49" fmla="*/ 136 h 1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080" h="1360">
                  <a:moveTo>
                    <a:pt x="0" y="65"/>
                  </a:moveTo>
                  <a:cubicBezTo>
                    <a:pt x="0" y="0"/>
                    <a:pt x="0" y="0"/>
                    <a:pt x="0" y="0"/>
                  </a:cubicBezTo>
                  <a:cubicBezTo>
                    <a:pt x="2080" y="0"/>
                    <a:pt x="2080" y="0"/>
                    <a:pt x="2080" y="0"/>
                  </a:cubicBezTo>
                  <a:cubicBezTo>
                    <a:pt x="2080" y="65"/>
                    <a:pt x="2080" y="65"/>
                    <a:pt x="2080" y="65"/>
                  </a:cubicBezTo>
                  <a:cubicBezTo>
                    <a:pt x="1089" y="862"/>
                    <a:pt x="1089" y="862"/>
                    <a:pt x="1089" y="862"/>
                  </a:cubicBezTo>
                  <a:cubicBezTo>
                    <a:pt x="1060" y="886"/>
                    <a:pt x="1020" y="886"/>
                    <a:pt x="991" y="862"/>
                  </a:cubicBezTo>
                  <a:lnTo>
                    <a:pt x="0" y="65"/>
                  </a:lnTo>
                  <a:close/>
                  <a:moveTo>
                    <a:pt x="1139" y="924"/>
                  </a:moveTo>
                  <a:cubicBezTo>
                    <a:pt x="1282" y="810"/>
                    <a:pt x="1282" y="810"/>
                    <a:pt x="1282" y="810"/>
                  </a:cubicBezTo>
                  <a:cubicBezTo>
                    <a:pt x="2076" y="1360"/>
                    <a:pt x="2076" y="1360"/>
                    <a:pt x="2076" y="1360"/>
                  </a:cubicBezTo>
                  <a:cubicBezTo>
                    <a:pt x="4" y="1360"/>
                    <a:pt x="4" y="1360"/>
                    <a:pt x="4" y="1360"/>
                  </a:cubicBezTo>
                  <a:cubicBezTo>
                    <a:pt x="798" y="810"/>
                    <a:pt x="798" y="810"/>
                    <a:pt x="798" y="810"/>
                  </a:cubicBezTo>
                  <a:cubicBezTo>
                    <a:pt x="941" y="924"/>
                    <a:pt x="941" y="924"/>
                    <a:pt x="941" y="924"/>
                  </a:cubicBezTo>
                  <a:cubicBezTo>
                    <a:pt x="1000" y="972"/>
                    <a:pt x="1080" y="972"/>
                    <a:pt x="1139" y="924"/>
                  </a:cubicBezTo>
                  <a:close/>
                  <a:moveTo>
                    <a:pt x="2" y="137"/>
                  </a:moveTo>
                  <a:cubicBezTo>
                    <a:pt x="8" y="163"/>
                    <a:pt x="22" y="185"/>
                    <a:pt x="42" y="201"/>
                  </a:cubicBezTo>
                  <a:cubicBezTo>
                    <a:pt x="734" y="758"/>
                    <a:pt x="734" y="758"/>
                    <a:pt x="734" y="758"/>
                  </a:cubicBezTo>
                  <a:cubicBezTo>
                    <a:pt x="0" y="1266"/>
                    <a:pt x="0" y="1266"/>
                    <a:pt x="0" y="1266"/>
                  </a:cubicBezTo>
                  <a:cubicBezTo>
                    <a:pt x="0" y="135"/>
                    <a:pt x="0" y="135"/>
                    <a:pt x="0" y="135"/>
                  </a:cubicBezTo>
                  <a:lnTo>
                    <a:pt x="2" y="137"/>
                  </a:lnTo>
                  <a:close/>
                  <a:moveTo>
                    <a:pt x="2080" y="136"/>
                  </a:moveTo>
                  <a:cubicBezTo>
                    <a:pt x="2080" y="1265"/>
                    <a:pt x="2080" y="1265"/>
                    <a:pt x="2080" y="1265"/>
                  </a:cubicBezTo>
                  <a:cubicBezTo>
                    <a:pt x="1346" y="758"/>
                    <a:pt x="1346" y="758"/>
                    <a:pt x="1346" y="758"/>
                  </a:cubicBezTo>
                  <a:cubicBezTo>
                    <a:pt x="2038" y="201"/>
                    <a:pt x="2038" y="201"/>
                    <a:pt x="2038" y="201"/>
                  </a:cubicBezTo>
                  <a:cubicBezTo>
                    <a:pt x="2060" y="182"/>
                    <a:pt x="2072" y="162"/>
                    <a:pt x="2080" y="13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000"/>
            </a:p>
          </p:txBody>
        </p:sp>
      </p:grpSp>
      <p:cxnSp>
        <p:nvCxnSpPr>
          <p:cNvPr id="20" name="Straight Connector 19"/>
          <p:cNvCxnSpPr/>
          <p:nvPr/>
        </p:nvCxnSpPr>
        <p:spPr>
          <a:xfrm>
            <a:off x="2371725" y="3478213"/>
            <a:ext cx="3888000" cy="0"/>
          </a:xfrm>
          <a:prstGeom prst="line">
            <a:avLst/>
          </a:prstGeom>
          <a:ln w="6350">
            <a:solidFill>
              <a:schemeClr val="tx2"/>
            </a:solidFill>
            <a:prstDash val="dash"/>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p:nvCxnSpPr>
        <p:spPr>
          <a:xfrm>
            <a:off x="7287766" y="3478213"/>
            <a:ext cx="3888000" cy="0"/>
          </a:xfrm>
          <a:prstGeom prst="line">
            <a:avLst/>
          </a:prstGeom>
          <a:ln w="6350">
            <a:solidFill>
              <a:schemeClr val="tx2"/>
            </a:solidFill>
            <a:prstDash val="dash"/>
          </a:ln>
        </p:spPr>
        <p:style>
          <a:lnRef idx="1">
            <a:schemeClr val="accent1"/>
          </a:lnRef>
          <a:fillRef idx="0">
            <a:schemeClr val="accent1"/>
          </a:fillRef>
          <a:effectRef idx="0">
            <a:schemeClr val="accent1"/>
          </a:effectRef>
          <a:fontRef idx="minor">
            <a:schemeClr val="tx1"/>
          </a:fontRef>
        </p:style>
      </p:cxnSp>
      <p:sp>
        <p:nvSpPr>
          <p:cNvPr id="4" name="Picture Placeholder 3"/>
          <p:cNvSpPr>
            <a:spLocks noGrp="1"/>
          </p:cNvSpPr>
          <p:nvPr>
            <p:ph type="pic" sz="quarter" idx="17" hasCustomPrompt="1"/>
          </p:nvPr>
        </p:nvSpPr>
        <p:spPr>
          <a:xfrm>
            <a:off x="2355914" y="1808984"/>
            <a:ext cx="1188677" cy="1547840"/>
          </a:xfrm>
          <a:solidFill>
            <a:srgbClr val="D9DADB"/>
          </a:solidFill>
        </p:spPr>
        <p:txBody>
          <a:bodyPr/>
          <a:lstStyle>
            <a:lvl1pPr marL="0" indent="0">
              <a:buNone/>
              <a:defRPr sz="1400"/>
            </a:lvl1pPr>
          </a:lstStyle>
          <a:p>
            <a:r>
              <a:rPr lang="en-US"/>
              <a:t>Insert picture</a:t>
            </a:r>
          </a:p>
        </p:txBody>
      </p:sp>
      <p:sp>
        <p:nvSpPr>
          <p:cNvPr id="25" name="Picture Placeholder 3"/>
          <p:cNvSpPr>
            <a:spLocks noGrp="1"/>
          </p:cNvSpPr>
          <p:nvPr>
            <p:ph type="pic" sz="quarter" idx="18" hasCustomPrompt="1"/>
          </p:nvPr>
        </p:nvSpPr>
        <p:spPr>
          <a:xfrm>
            <a:off x="7287766" y="1808984"/>
            <a:ext cx="1188677" cy="1547840"/>
          </a:xfrm>
          <a:solidFill>
            <a:srgbClr val="D9DADB"/>
          </a:solidFill>
        </p:spPr>
        <p:txBody>
          <a:bodyPr/>
          <a:lstStyle>
            <a:lvl1pPr marL="0" indent="0">
              <a:buNone/>
              <a:defRPr sz="1400"/>
            </a:lvl1pPr>
          </a:lstStyle>
          <a:p>
            <a:r>
              <a:rPr lang="en-US"/>
              <a:t>Insert picture</a:t>
            </a:r>
          </a:p>
        </p:txBody>
      </p:sp>
      <p:sp>
        <p:nvSpPr>
          <p:cNvPr id="6" name="Text Placeholder 5"/>
          <p:cNvSpPr>
            <a:spLocks noGrp="1"/>
          </p:cNvSpPr>
          <p:nvPr>
            <p:ph type="body" sz="quarter" idx="19" hasCustomPrompt="1"/>
          </p:nvPr>
        </p:nvSpPr>
        <p:spPr>
          <a:xfrm>
            <a:off x="3770065" y="1808521"/>
            <a:ext cx="2463190" cy="192360"/>
          </a:xfrm>
        </p:spPr>
        <p:txBody>
          <a:bodyPr lIns="0" tIns="0" rIns="0" bIns="0" anchor="ctr" anchorCtr="0"/>
          <a:lstStyle>
            <a:lvl1pPr marL="0" indent="0" algn="l">
              <a:lnSpc>
                <a:spcPct val="100000"/>
              </a:lnSpc>
              <a:buNone/>
              <a:defRPr sz="100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Country</a:t>
            </a:r>
          </a:p>
        </p:txBody>
      </p:sp>
      <p:sp>
        <p:nvSpPr>
          <p:cNvPr id="26" name="Text Placeholder 5"/>
          <p:cNvSpPr>
            <a:spLocks noGrp="1"/>
          </p:cNvSpPr>
          <p:nvPr>
            <p:ph type="body" sz="quarter" idx="20" hasCustomPrompt="1"/>
          </p:nvPr>
        </p:nvSpPr>
        <p:spPr>
          <a:xfrm>
            <a:off x="3770065" y="2020337"/>
            <a:ext cx="2463190" cy="266182"/>
          </a:xfrm>
        </p:spPr>
        <p:txBody>
          <a:bodyPr lIns="0" tIns="0" rIns="0" bIns="0" anchor="b" anchorCtr="0"/>
          <a:lstStyle>
            <a:lvl1pPr marL="0" indent="0" algn="l">
              <a:lnSpc>
                <a:spcPct val="100000"/>
              </a:lnSpc>
              <a:buNone/>
              <a:defRPr sz="1400" b="1" baseline="0">
                <a:solidFill>
                  <a:schemeClr val="tx2"/>
                </a:solidFill>
              </a:defRPr>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Name, Surname</a:t>
            </a:r>
          </a:p>
        </p:txBody>
      </p:sp>
      <p:sp>
        <p:nvSpPr>
          <p:cNvPr id="27" name="Text Placeholder 5"/>
          <p:cNvSpPr>
            <a:spLocks noGrp="1"/>
          </p:cNvSpPr>
          <p:nvPr>
            <p:ph type="body" sz="quarter" idx="21" hasCustomPrompt="1"/>
          </p:nvPr>
        </p:nvSpPr>
        <p:spPr>
          <a:xfrm>
            <a:off x="3770065" y="2316912"/>
            <a:ext cx="2463190"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Job Position</a:t>
            </a:r>
          </a:p>
        </p:txBody>
      </p:sp>
      <p:sp>
        <p:nvSpPr>
          <p:cNvPr id="28" name="Text Placeholder 5"/>
          <p:cNvSpPr>
            <a:spLocks noGrp="1"/>
          </p:cNvSpPr>
          <p:nvPr>
            <p:ph type="body" sz="quarter" idx="22" hasCustomPrompt="1"/>
          </p:nvPr>
        </p:nvSpPr>
        <p:spPr>
          <a:xfrm>
            <a:off x="4014948" y="2845588"/>
            <a:ext cx="2218307"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Phone number</a:t>
            </a:r>
          </a:p>
        </p:txBody>
      </p:sp>
      <p:sp>
        <p:nvSpPr>
          <p:cNvPr id="29" name="Text Placeholder 5"/>
          <p:cNvSpPr>
            <a:spLocks noGrp="1"/>
          </p:cNvSpPr>
          <p:nvPr>
            <p:ph type="body" sz="quarter" idx="23" hasCustomPrompt="1"/>
          </p:nvPr>
        </p:nvSpPr>
        <p:spPr>
          <a:xfrm>
            <a:off x="4014948" y="3128395"/>
            <a:ext cx="2218307"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Email address</a:t>
            </a:r>
          </a:p>
        </p:txBody>
      </p:sp>
      <p:sp>
        <p:nvSpPr>
          <p:cNvPr id="30" name="Text Placeholder 5"/>
          <p:cNvSpPr>
            <a:spLocks noGrp="1"/>
          </p:cNvSpPr>
          <p:nvPr>
            <p:ph type="body" sz="quarter" idx="24" hasCustomPrompt="1"/>
          </p:nvPr>
        </p:nvSpPr>
        <p:spPr>
          <a:xfrm>
            <a:off x="8701917" y="1808521"/>
            <a:ext cx="2463190" cy="192360"/>
          </a:xfrm>
        </p:spPr>
        <p:txBody>
          <a:bodyPr lIns="0" tIns="0" rIns="0" bIns="0" anchor="ctr" anchorCtr="0"/>
          <a:lstStyle>
            <a:lvl1pPr marL="0" indent="0" algn="l">
              <a:lnSpc>
                <a:spcPct val="100000"/>
              </a:lnSpc>
              <a:buNone/>
              <a:defRPr sz="100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Country</a:t>
            </a:r>
          </a:p>
        </p:txBody>
      </p:sp>
      <p:sp>
        <p:nvSpPr>
          <p:cNvPr id="31" name="Text Placeholder 5"/>
          <p:cNvSpPr>
            <a:spLocks noGrp="1"/>
          </p:cNvSpPr>
          <p:nvPr>
            <p:ph type="body" sz="quarter" idx="25" hasCustomPrompt="1"/>
          </p:nvPr>
        </p:nvSpPr>
        <p:spPr>
          <a:xfrm>
            <a:off x="8701917" y="2020337"/>
            <a:ext cx="2463190" cy="266182"/>
          </a:xfrm>
        </p:spPr>
        <p:txBody>
          <a:bodyPr lIns="0" tIns="0" rIns="0" bIns="0" anchor="b" anchorCtr="0"/>
          <a:lstStyle>
            <a:lvl1pPr marL="0" indent="0" algn="l">
              <a:lnSpc>
                <a:spcPct val="100000"/>
              </a:lnSpc>
              <a:buNone/>
              <a:defRPr sz="1400" b="1" baseline="0">
                <a:solidFill>
                  <a:schemeClr val="tx2"/>
                </a:solidFill>
              </a:defRPr>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Name, Surname</a:t>
            </a:r>
          </a:p>
        </p:txBody>
      </p:sp>
      <p:sp>
        <p:nvSpPr>
          <p:cNvPr id="32" name="Text Placeholder 5"/>
          <p:cNvSpPr>
            <a:spLocks noGrp="1"/>
          </p:cNvSpPr>
          <p:nvPr>
            <p:ph type="body" sz="quarter" idx="26" hasCustomPrompt="1"/>
          </p:nvPr>
        </p:nvSpPr>
        <p:spPr>
          <a:xfrm>
            <a:off x="8701917" y="2316912"/>
            <a:ext cx="2463190"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Job Position</a:t>
            </a:r>
          </a:p>
        </p:txBody>
      </p:sp>
      <p:sp>
        <p:nvSpPr>
          <p:cNvPr id="33" name="Text Placeholder 5"/>
          <p:cNvSpPr>
            <a:spLocks noGrp="1"/>
          </p:cNvSpPr>
          <p:nvPr>
            <p:ph type="body" sz="quarter" idx="27" hasCustomPrompt="1"/>
          </p:nvPr>
        </p:nvSpPr>
        <p:spPr>
          <a:xfrm>
            <a:off x="8946800" y="2845588"/>
            <a:ext cx="2218307"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Phone number</a:t>
            </a:r>
          </a:p>
        </p:txBody>
      </p:sp>
      <p:sp>
        <p:nvSpPr>
          <p:cNvPr id="34" name="Text Placeholder 5"/>
          <p:cNvSpPr>
            <a:spLocks noGrp="1"/>
          </p:cNvSpPr>
          <p:nvPr>
            <p:ph type="body" sz="quarter" idx="28" hasCustomPrompt="1"/>
          </p:nvPr>
        </p:nvSpPr>
        <p:spPr>
          <a:xfrm>
            <a:off x="8946800" y="3128395"/>
            <a:ext cx="2218307"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Email address</a:t>
            </a:r>
          </a:p>
        </p:txBody>
      </p:sp>
      <p:grpSp>
        <p:nvGrpSpPr>
          <p:cNvPr id="35" name="Gruppieren 2">
            <a:extLst>
              <a:ext uri="{FF2B5EF4-FFF2-40B4-BE49-F238E27FC236}">
                <a16:creationId xmlns:a16="http://schemas.microsoft.com/office/drawing/2014/main" id="{BE697CE9-EBDE-6B4A-BE70-582D92A8A831}"/>
              </a:ext>
            </a:extLst>
          </p:cNvPr>
          <p:cNvGrpSpPr/>
          <p:nvPr/>
        </p:nvGrpSpPr>
        <p:grpSpPr>
          <a:xfrm>
            <a:off x="3770065" y="5045939"/>
            <a:ext cx="171180" cy="171180"/>
            <a:chOff x="3392092" y="1841122"/>
            <a:chExt cx="646508" cy="646508"/>
          </a:xfrm>
        </p:grpSpPr>
        <p:sp>
          <p:nvSpPr>
            <p:cNvPr id="36" name="Rechteck 14">
              <a:extLst>
                <a:ext uri="{FF2B5EF4-FFF2-40B4-BE49-F238E27FC236}">
                  <a16:creationId xmlns:a16="http://schemas.microsoft.com/office/drawing/2014/main" id="{E142A731-19B7-C34D-9534-9E05108F895F}"/>
                </a:ext>
              </a:extLst>
            </p:cNvPr>
            <p:cNvSpPr>
              <a:spLocks noChangeAspect="1"/>
            </p:cNvSpPr>
            <p:nvPr/>
          </p:nvSpPr>
          <p:spPr bwMode="gray">
            <a:xfrm>
              <a:off x="3392092" y="1841122"/>
              <a:ext cx="646508" cy="646508"/>
            </a:xfrm>
            <a:prstGeom prst="rect">
              <a:avLst/>
            </a:prstGeom>
            <a:solidFill>
              <a:srgbClr val="E55A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pPr>
              <a:endParaRPr lang="en-US" sz="1000">
                <a:solidFill>
                  <a:schemeClr val="tx1"/>
                </a:solidFill>
                <a:latin typeface="Arial" pitchFamily="34" charset="0"/>
                <a:cs typeface="Arial" pitchFamily="34" charset="0"/>
              </a:endParaRPr>
            </a:p>
          </p:txBody>
        </p:sp>
        <p:sp>
          <p:nvSpPr>
            <p:cNvPr id="37" name="Freeform 36">
              <a:extLst>
                <a:ext uri="{FF2B5EF4-FFF2-40B4-BE49-F238E27FC236}">
                  <a16:creationId xmlns:a16="http://schemas.microsoft.com/office/drawing/2014/main" id="{F97E84AE-4AD9-4B44-9AA1-F797FC373809}"/>
                </a:ext>
              </a:extLst>
            </p:cNvPr>
            <p:cNvSpPr>
              <a:spLocks noChangeAspect="1"/>
            </p:cNvSpPr>
            <p:nvPr/>
          </p:nvSpPr>
          <p:spPr bwMode="auto">
            <a:xfrm>
              <a:off x="3546638" y="1970424"/>
              <a:ext cx="337415" cy="387905"/>
            </a:xfrm>
            <a:custGeom>
              <a:avLst/>
              <a:gdLst>
                <a:gd name="T0" fmla="*/ 573 w 1624"/>
                <a:gd name="T1" fmla="*/ 1257 h 1867"/>
                <a:gd name="T2" fmla="*/ 662 w 1624"/>
                <a:gd name="T3" fmla="*/ 1288 h 1867"/>
                <a:gd name="T4" fmla="*/ 938 w 1624"/>
                <a:gd name="T5" fmla="*/ 1051 h 1867"/>
                <a:gd name="T6" fmla="*/ 1106 w 1624"/>
                <a:gd name="T7" fmla="*/ 731 h 1867"/>
                <a:gd name="T8" fmla="*/ 1059 w 1624"/>
                <a:gd name="T9" fmla="*/ 645 h 1867"/>
                <a:gd name="T10" fmla="*/ 1001 w 1624"/>
                <a:gd name="T11" fmla="*/ 613 h 1867"/>
                <a:gd name="T12" fmla="*/ 924 w 1624"/>
                <a:gd name="T13" fmla="*/ 432 h 1867"/>
                <a:gd name="T14" fmla="*/ 1114 w 1624"/>
                <a:gd name="T15" fmla="*/ 81 h 1867"/>
                <a:gd name="T16" fmla="*/ 1287 w 1624"/>
                <a:gd name="T17" fmla="*/ 35 h 1867"/>
                <a:gd name="T18" fmla="*/ 1350 w 1624"/>
                <a:gd name="T19" fmla="*/ 69 h 1867"/>
                <a:gd name="T20" fmla="*/ 1527 w 1624"/>
                <a:gd name="T21" fmla="*/ 235 h 1867"/>
                <a:gd name="T22" fmla="*/ 1583 w 1624"/>
                <a:gd name="T23" fmla="*/ 555 h 1867"/>
                <a:gd name="T24" fmla="*/ 1172 w 1624"/>
                <a:gd name="T25" fmla="*/ 1253 h 1867"/>
                <a:gd name="T26" fmla="*/ 586 w 1624"/>
                <a:gd name="T27" fmla="*/ 1803 h 1867"/>
                <a:gd name="T28" fmla="*/ 269 w 1624"/>
                <a:gd name="T29" fmla="*/ 1807 h 1867"/>
                <a:gd name="T30" fmla="*/ 33 w 1624"/>
                <a:gd name="T31" fmla="*/ 1602 h 1867"/>
                <a:gd name="T32" fmla="*/ 2 w 1624"/>
                <a:gd name="T33" fmla="*/ 1508 h 1867"/>
                <a:gd name="T34" fmla="*/ 45 w 1624"/>
                <a:gd name="T35" fmla="*/ 1421 h 1867"/>
                <a:gd name="T36" fmla="*/ 346 w 1624"/>
                <a:gd name="T37" fmla="*/ 1158 h 1867"/>
                <a:gd name="T38" fmla="*/ 448 w 1624"/>
                <a:gd name="T39" fmla="*/ 1145 h 1867"/>
                <a:gd name="T40" fmla="*/ 573 w 1624"/>
                <a:gd name="T41" fmla="*/ 1257 h 18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24" h="1867">
                  <a:moveTo>
                    <a:pt x="573" y="1257"/>
                  </a:moveTo>
                  <a:cubicBezTo>
                    <a:pt x="592" y="1282"/>
                    <a:pt x="630" y="1303"/>
                    <a:pt x="662" y="1288"/>
                  </a:cubicBezTo>
                  <a:cubicBezTo>
                    <a:pt x="753" y="1245"/>
                    <a:pt x="854" y="1156"/>
                    <a:pt x="938" y="1051"/>
                  </a:cubicBezTo>
                  <a:cubicBezTo>
                    <a:pt x="1020" y="948"/>
                    <a:pt x="1084" y="831"/>
                    <a:pt x="1106" y="731"/>
                  </a:cubicBezTo>
                  <a:cubicBezTo>
                    <a:pt x="1113" y="696"/>
                    <a:pt x="1089" y="661"/>
                    <a:pt x="1059" y="645"/>
                  </a:cubicBezTo>
                  <a:cubicBezTo>
                    <a:pt x="1001" y="613"/>
                    <a:pt x="1001" y="613"/>
                    <a:pt x="1001" y="613"/>
                  </a:cubicBezTo>
                  <a:cubicBezTo>
                    <a:pt x="942" y="580"/>
                    <a:pt x="888" y="499"/>
                    <a:pt x="924" y="432"/>
                  </a:cubicBezTo>
                  <a:cubicBezTo>
                    <a:pt x="1114" y="81"/>
                    <a:pt x="1114" y="81"/>
                    <a:pt x="1114" y="81"/>
                  </a:cubicBezTo>
                  <a:cubicBezTo>
                    <a:pt x="1150" y="16"/>
                    <a:pt x="1224" y="0"/>
                    <a:pt x="1287" y="35"/>
                  </a:cubicBezTo>
                  <a:cubicBezTo>
                    <a:pt x="1350" y="69"/>
                    <a:pt x="1350" y="69"/>
                    <a:pt x="1350" y="69"/>
                  </a:cubicBezTo>
                  <a:cubicBezTo>
                    <a:pt x="1415" y="105"/>
                    <a:pt x="1479" y="165"/>
                    <a:pt x="1527" y="235"/>
                  </a:cubicBezTo>
                  <a:cubicBezTo>
                    <a:pt x="1593" y="332"/>
                    <a:pt x="1624" y="442"/>
                    <a:pt x="1583" y="555"/>
                  </a:cubicBezTo>
                  <a:cubicBezTo>
                    <a:pt x="1500" y="781"/>
                    <a:pt x="1351" y="1030"/>
                    <a:pt x="1172" y="1253"/>
                  </a:cubicBezTo>
                  <a:cubicBezTo>
                    <a:pt x="994" y="1477"/>
                    <a:pt x="786" y="1676"/>
                    <a:pt x="586" y="1803"/>
                  </a:cubicBezTo>
                  <a:cubicBezTo>
                    <a:pt x="486" y="1867"/>
                    <a:pt x="375" y="1856"/>
                    <a:pt x="269" y="1807"/>
                  </a:cubicBezTo>
                  <a:cubicBezTo>
                    <a:pt x="157" y="1755"/>
                    <a:pt x="106" y="1695"/>
                    <a:pt x="33" y="1602"/>
                  </a:cubicBezTo>
                  <a:cubicBezTo>
                    <a:pt x="11" y="1573"/>
                    <a:pt x="0" y="1540"/>
                    <a:pt x="2" y="1508"/>
                  </a:cubicBezTo>
                  <a:cubicBezTo>
                    <a:pt x="4" y="1475"/>
                    <a:pt x="18" y="1444"/>
                    <a:pt x="45" y="1421"/>
                  </a:cubicBezTo>
                  <a:cubicBezTo>
                    <a:pt x="70" y="1399"/>
                    <a:pt x="346" y="1158"/>
                    <a:pt x="346" y="1158"/>
                  </a:cubicBezTo>
                  <a:cubicBezTo>
                    <a:pt x="376" y="1134"/>
                    <a:pt x="413" y="1133"/>
                    <a:pt x="448" y="1145"/>
                  </a:cubicBezTo>
                  <a:cubicBezTo>
                    <a:pt x="510" y="1166"/>
                    <a:pt x="536" y="1210"/>
                    <a:pt x="573" y="1257"/>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351"/>
            </a:p>
          </p:txBody>
        </p:sp>
      </p:grpSp>
      <p:grpSp>
        <p:nvGrpSpPr>
          <p:cNvPr id="38" name="Group 3">
            <a:extLst>
              <a:ext uri="{FF2B5EF4-FFF2-40B4-BE49-F238E27FC236}">
                <a16:creationId xmlns:a16="http://schemas.microsoft.com/office/drawing/2014/main" id="{7104BADD-8CD1-6F4A-B894-869C3BDB3EEB}"/>
              </a:ext>
            </a:extLst>
          </p:cNvPr>
          <p:cNvGrpSpPr>
            <a:grpSpLocks noChangeAspect="1"/>
          </p:cNvGrpSpPr>
          <p:nvPr>
            <p:custDataLst>
              <p:tags r:id="rId3"/>
            </p:custDataLst>
          </p:nvPr>
        </p:nvGrpSpPr>
        <p:grpSpPr>
          <a:xfrm>
            <a:off x="3770066" y="5330827"/>
            <a:ext cx="171180" cy="171180"/>
            <a:chOff x="328396" y="5313940"/>
            <a:chExt cx="720000" cy="720000"/>
          </a:xfrm>
        </p:grpSpPr>
        <p:sp>
          <p:nvSpPr>
            <p:cNvPr id="39" name="Rectangle 4">
              <a:extLst>
                <a:ext uri="{FF2B5EF4-FFF2-40B4-BE49-F238E27FC236}">
                  <a16:creationId xmlns:a16="http://schemas.microsoft.com/office/drawing/2014/main" id="{74BE3D5F-1445-6E40-8B49-72E15568383B}"/>
                </a:ext>
              </a:extLst>
            </p:cNvPr>
            <p:cNvSpPr/>
            <p:nvPr/>
          </p:nvSpPr>
          <p:spPr bwMode="gray">
            <a:xfrm>
              <a:off x="328396" y="5313940"/>
              <a:ext cx="720000" cy="720000"/>
            </a:xfrm>
            <a:prstGeom prst="rect">
              <a:avLst/>
            </a:prstGeom>
            <a:solidFill>
              <a:srgbClr val="E55A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pPr>
              <a:endParaRPr lang="en-US" sz="1000">
                <a:solidFill>
                  <a:schemeClr val="tx1"/>
                </a:solidFill>
                <a:latin typeface="Arial" pitchFamily="34" charset="0"/>
                <a:cs typeface="Arial" pitchFamily="34" charset="0"/>
              </a:endParaRPr>
            </a:p>
          </p:txBody>
        </p:sp>
        <p:sp>
          <p:nvSpPr>
            <p:cNvPr id="40" name="Freeform 76">
              <a:extLst>
                <a:ext uri="{FF2B5EF4-FFF2-40B4-BE49-F238E27FC236}">
                  <a16:creationId xmlns:a16="http://schemas.microsoft.com/office/drawing/2014/main" id="{55DB3C95-7D0C-D141-901E-96D692794D2B}"/>
                </a:ext>
              </a:extLst>
            </p:cNvPr>
            <p:cNvSpPr>
              <a:spLocks noChangeAspect="1" noEditPoints="1"/>
            </p:cNvSpPr>
            <p:nvPr/>
          </p:nvSpPr>
          <p:spPr bwMode="auto">
            <a:xfrm>
              <a:off x="456202" y="5509222"/>
              <a:ext cx="504000" cy="329436"/>
            </a:xfrm>
            <a:custGeom>
              <a:avLst/>
              <a:gdLst>
                <a:gd name="T0" fmla="*/ 0 w 2080"/>
                <a:gd name="T1" fmla="*/ 65 h 1360"/>
                <a:gd name="T2" fmla="*/ 0 w 2080"/>
                <a:gd name="T3" fmla="*/ 0 h 1360"/>
                <a:gd name="T4" fmla="*/ 2080 w 2080"/>
                <a:gd name="T5" fmla="*/ 0 h 1360"/>
                <a:gd name="T6" fmla="*/ 2080 w 2080"/>
                <a:gd name="T7" fmla="*/ 65 h 1360"/>
                <a:gd name="T8" fmla="*/ 1089 w 2080"/>
                <a:gd name="T9" fmla="*/ 862 h 1360"/>
                <a:gd name="T10" fmla="*/ 991 w 2080"/>
                <a:gd name="T11" fmla="*/ 862 h 1360"/>
                <a:gd name="T12" fmla="*/ 0 w 2080"/>
                <a:gd name="T13" fmla="*/ 65 h 1360"/>
                <a:gd name="T14" fmla="*/ 1139 w 2080"/>
                <a:gd name="T15" fmla="*/ 924 h 1360"/>
                <a:gd name="T16" fmla="*/ 1282 w 2080"/>
                <a:gd name="T17" fmla="*/ 810 h 1360"/>
                <a:gd name="T18" fmla="*/ 2076 w 2080"/>
                <a:gd name="T19" fmla="*/ 1360 h 1360"/>
                <a:gd name="T20" fmla="*/ 4 w 2080"/>
                <a:gd name="T21" fmla="*/ 1360 h 1360"/>
                <a:gd name="T22" fmla="*/ 798 w 2080"/>
                <a:gd name="T23" fmla="*/ 810 h 1360"/>
                <a:gd name="T24" fmla="*/ 941 w 2080"/>
                <a:gd name="T25" fmla="*/ 924 h 1360"/>
                <a:gd name="T26" fmla="*/ 1139 w 2080"/>
                <a:gd name="T27" fmla="*/ 924 h 1360"/>
                <a:gd name="T28" fmla="*/ 2 w 2080"/>
                <a:gd name="T29" fmla="*/ 137 h 1360"/>
                <a:gd name="T30" fmla="*/ 42 w 2080"/>
                <a:gd name="T31" fmla="*/ 201 h 1360"/>
                <a:gd name="T32" fmla="*/ 734 w 2080"/>
                <a:gd name="T33" fmla="*/ 758 h 1360"/>
                <a:gd name="T34" fmla="*/ 0 w 2080"/>
                <a:gd name="T35" fmla="*/ 1266 h 1360"/>
                <a:gd name="T36" fmla="*/ 0 w 2080"/>
                <a:gd name="T37" fmla="*/ 135 h 1360"/>
                <a:gd name="T38" fmla="*/ 2 w 2080"/>
                <a:gd name="T39" fmla="*/ 137 h 1360"/>
                <a:gd name="T40" fmla="*/ 2080 w 2080"/>
                <a:gd name="T41" fmla="*/ 136 h 1360"/>
                <a:gd name="T42" fmla="*/ 2080 w 2080"/>
                <a:gd name="T43" fmla="*/ 1265 h 1360"/>
                <a:gd name="T44" fmla="*/ 1346 w 2080"/>
                <a:gd name="T45" fmla="*/ 758 h 1360"/>
                <a:gd name="T46" fmla="*/ 2038 w 2080"/>
                <a:gd name="T47" fmla="*/ 201 h 1360"/>
                <a:gd name="T48" fmla="*/ 2080 w 2080"/>
                <a:gd name="T49" fmla="*/ 136 h 1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080" h="1360">
                  <a:moveTo>
                    <a:pt x="0" y="65"/>
                  </a:moveTo>
                  <a:cubicBezTo>
                    <a:pt x="0" y="0"/>
                    <a:pt x="0" y="0"/>
                    <a:pt x="0" y="0"/>
                  </a:cubicBezTo>
                  <a:cubicBezTo>
                    <a:pt x="2080" y="0"/>
                    <a:pt x="2080" y="0"/>
                    <a:pt x="2080" y="0"/>
                  </a:cubicBezTo>
                  <a:cubicBezTo>
                    <a:pt x="2080" y="65"/>
                    <a:pt x="2080" y="65"/>
                    <a:pt x="2080" y="65"/>
                  </a:cubicBezTo>
                  <a:cubicBezTo>
                    <a:pt x="1089" y="862"/>
                    <a:pt x="1089" y="862"/>
                    <a:pt x="1089" y="862"/>
                  </a:cubicBezTo>
                  <a:cubicBezTo>
                    <a:pt x="1060" y="886"/>
                    <a:pt x="1020" y="886"/>
                    <a:pt x="991" y="862"/>
                  </a:cubicBezTo>
                  <a:lnTo>
                    <a:pt x="0" y="65"/>
                  </a:lnTo>
                  <a:close/>
                  <a:moveTo>
                    <a:pt x="1139" y="924"/>
                  </a:moveTo>
                  <a:cubicBezTo>
                    <a:pt x="1282" y="810"/>
                    <a:pt x="1282" y="810"/>
                    <a:pt x="1282" y="810"/>
                  </a:cubicBezTo>
                  <a:cubicBezTo>
                    <a:pt x="2076" y="1360"/>
                    <a:pt x="2076" y="1360"/>
                    <a:pt x="2076" y="1360"/>
                  </a:cubicBezTo>
                  <a:cubicBezTo>
                    <a:pt x="4" y="1360"/>
                    <a:pt x="4" y="1360"/>
                    <a:pt x="4" y="1360"/>
                  </a:cubicBezTo>
                  <a:cubicBezTo>
                    <a:pt x="798" y="810"/>
                    <a:pt x="798" y="810"/>
                    <a:pt x="798" y="810"/>
                  </a:cubicBezTo>
                  <a:cubicBezTo>
                    <a:pt x="941" y="924"/>
                    <a:pt x="941" y="924"/>
                    <a:pt x="941" y="924"/>
                  </a:cubicBezTo>
                  <a:cubicBezTo>
                    <a:pt x="1000" y="972"/>
                    <a:pt x="1080" y="972"/>
                    <a:pt x="1139" y="924"/>
                  </a:cubicBezTo>
                  <a:close/>
                  <a:moveTo>
                    <a:pt x="2" y="137"/>
                  </a:moveTo>
                  <a:cubicBezTo>
                    <a:pt x="8" y="163"/>
                    <a:pt x="22" y="185"/>
                    <a:pt x="42" y="201"/>
                  </a:cubicBezTo>
                  <a:cubicBezTo>
                    <a:pt x="734" y="758"/>
                    <a:pt x="734" y="758"/>
                    <a:pt x="734" y="758"/>
                  </a:cubicBezTo>
                  <a:cubicBezTo>
                    <a:pt x="0" y="1266"/>
                    <a:pt x="0" y="1266"/>
                    <a:pt x="0" y="1266"/>
                  </a:cubicBezTo>
                  <a:cubicBezTo>
                    <a:pt x="0" y="135"/>
                    <a:pt x="0" y="135"/>
                    <a:pt x="0" y="135"/>
                  </a:cubicBezTo>
                  <a:lnTo>
                    <a:pt x="2" y="137"/>
                  </a:lnTo>
                  <a:close/>
                  <a:moveTo>
                    <a:pt x="2080" y="136"/>
                  </a:moveTo>
                  <a:cubicBezTo>
                    <a:pt x="2080" y="1265"/>
                    <a:pt x="2080" y="1265"/>
                    <a:pt x="2080" y="1265"/>
                  </a:cubicBezTo>
                  <a:cubicBezTo>
                    <a:pt x="1346" y="758"/>
                    <a:pt x="1346" y="758"/>
                    <a:pt x="1346" y="758"/>
                  </a:cubicBezTo>
                  <a:cubicBezTo>
                    <a:pt x="2038" y="201"/>
                    <a:pt x="2038" y="201"/>
                    <a:pt x="2038" y="201"/>
                  </a:cubicBezTo>
                  <a:cubicBezTo>
                    <a:pt x="2060" y="182"/>
                    <a:pt x="2072" y="162"/>
                    <a:pt x="2080" y="13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000"/>
            </a:p>
          </p:txBody>
        </p:sp>
      </p:grpSp>
      <p:cxnSp>
        <p:nvCxnSpPr>
          <p:cNvPr id="41" name="Straight Connector 40"/>
          <p:cNvCxnSpPr/>
          <p:nvPr/>
        </p:nvCxnSpPr>
        <p:spPr>
          <a:xfrm>
            <a:off x="2355914" y="5655833"/>
            <a:ext cx="3888000" cy="0"/>
          </a:xfrm>
          <a:prstGeom prst="line">
            <a:avLst/>
          </a:prstGeom>
          <a:ln w="6350">
            <a:solidFill>
              <a:schemeClr val="tx2"/>
            </a:solidFill>
            <a:prstDash val="dash"/>
          </a:ln>
        </p:spPr>
        <p:style>
          <a:lnRef idx="1">
            <a:schemeClr val="accent1"/>
          </a:lnRef>
          <a:fillRef idx="0">
            <a:schemeClr val="accent1"/>
          </a:fillRef>
          <a:effectRef idx="0">
            <a:schemeClr val="accent1"/>
          </a:effectRef>
          <a:fontRef idx="minor">
            <a:schemeClr val="tx1"/>
          </a:fontRef>
        </p:style>
      </p:cxnSp>
      <p:sp>
        <p:nvSpPr>
          <p:cNvPr id="42" name="Picture Placeholder 3"/>
          <p:cNvSpPr>
            <a:spLocks noGrp="1"/>
          </p:cNvSpPr>
          <p:nvPr>
            <p:ph type="pic" sz="quarter" idx="29" hasCustomPrompt="1"/>
          </p:nvPr>
        </p:nvSpPr>
        <p:spPr>
          <a:xfrm>
            <a:off x="2355914" y="3986604"/>
            <a:ext cx="1188677" cy="1547840"/>
          </a:xfrm>
          <a:solidFill>
            <a:srgbClr val="D9DADB"/>
          </a:solidFill>
        </p:spPr>
        <p:txBody>
          <a:bodyPr/>
          <a:lstStyle>
            <a:lvl1pPr marL="0" indent="0">
              <a:buNone/>
              <a:defRPr sz="1400"/>
            </a:lvl1pPr>
          </a:lstStyle>
          <a:p>
            <a:r>
              <a:rPr lang="en-US"/>
              <a:t>Insert picture</a:t>
            </a:r>
          </a:p>
        </p:txBody>
      </p:sp>
      <p:sp>
        <p:nvSpPr>
          <p:cNvPr id="43" name="Text Placeholder 5"/>
          <p:cNvSpPr>
            <a:spLocks noGrp="1"/>
          </p:cNvSpPr>
          <p:nvPr>
            <p:ph type="body" sz="quarter" idx="30" hasCustomPrompt="1"/>
          </p:nvPr>
        </p:nvSpPr>
        <p:spPr>
          <a:xfrm>
            <a:off x="3770065" y="3986141"/>
            <a:ext cx="2463190" cy="192360"/>
          </a:xfrm>
        </p:spPr>
        <p:txBody>
          <a:bodyPr lIns="0" tIns="0" rIns="0" bIns="0" anchor="ctr" anchorCtr="0"/>
          <a:lstStyle>
            <a:lvl1pPr marL="0" indent="0" algn="l">
              <a:lnSpc>
                <a:spcPct val="100000"/>
              </a:lnSpc>
              <a:buNone/>
              <a:defRPr sz="100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Country</a:t>
            </a:r>
          </a:p>
        </p:txBody>
      </p:sp>
      <p:sp>
        <p:nvSpPr>
          <p:cNvPr id="44" name="Text Placeholder 5"/>
          <p:cNvSpPr>
            <a:spLocks noGrp="1"/>
          </p:cNvSpPr>
          <p:nvPr>
            <p:ph type="body" sz="quarter" idx="31" hasCustomPrompt="1"/>
          </p:nvPr>
        </p:nvSpPr>
        <p:spPr>
          <a:xfrm>
            <a:off x="3770065" y="4197957"/>
            <a:ext cx="2463190" cy="266182"/>
          </a:xfrm>
        </p:spPr>
        <p:txBody>
          <a:bodyPr lIns="0" tIns="0" rIns="0" bIns="0" anchor="b" anchorCtr="0"/>
          <a:lstStyle>
            <a:lvl1pPr marL="0" indent="0" algn="l">
              <a:lnSpc>
                <a:spcPct val="100000"/>
              </a:lnSpc>
              <a:buNone/>
              <a:defRPr sz="1400" b="1" baseline="0">
                <a:solidFill>
                  <a:schemeClr val="tx2"/>
                </a:solidFill>
              </a:defRPr>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Name, Surname</a:t>
            </a:r>
          </a:p>
        </p:txBody>
      </p:sp>
      <p:sp>
        <p:nvSpPr>
          <p:cNvPr id="45" name="Text Placeholder 5"/>
          <p:cNvSpPr>
            <a:spLocks noGrp="1"/>
          </p:cNvSpPr>
          <p:nvPr>
            <p:ph type="body" sz="quarter" idx="32" hasCustomPrompt="1"/>
          </p:nvPr>
        </p:nvSpPr>
        <p:spPr>
          <a:xfrm>
            <a:off x="3770065" y="4494532"/>
            <a:ext cx="2463190"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Job Position</a:t>
            </a:r>
          </a:p>
        </p:txBody>
      </p:sp>
      <p:sp>
        <p:nvSpPr>
          <p:cNvPr id="46" name="Text Placeholder 5"/>
          <p:cNvSpPr>
            <a:spLocks noGrp="1"/>
          </p:cNvSpPr>
          <p:nvPr>
            <p:ph type="body" sz="quarter" idx="33" hasCustomPrompt="1"/>
          </p:nvPr>
        </p:nvSpPr>
        <p:spPr>
          <a:xfrm>
            <a:off x="4014948" y="5023208"/>
            <a:ext cx="2218307"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Phone number</a:t>
            </a:r>
          </a:p>
        </p:txBody>
      </p:sp>
      <p:sp>
        <p:nvSpPr>
          <p:cNvPr id="47" name="Text Placeholder 5"/>
          <p:cNvSpPr>
            <a:spLocks noGrp="1"/>
          </p:cNvSpPr>
          <p:nvPr>
            <p:ph type="body" sz="quarter" idx="34" hasCustomPrompt="1"/>
          </p:nvPr>
        </p:nvSpPr>
        <p:spPr>
          <a:xfrm>
            <a:off x="4014948" y="5306015"/>
            <a:ext cx="2218307"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Email address</a:t>
            </a:r>
          </a:p>
        </p:txBody>
      </p:sp>
      <p:grpSp>
        <p:nvGrpSpPr>
          <p:cNvPr id="48" name="Gruppieren 2">
            <a:extLst>
              <a:ext uri="{FF2B5EF4-FFF2-40B4-BE49-F238E27FC236}">
                <a16:creationId xmlns:a16="http://schemas.microsoft.com/office/drawing/2014/main" id="{BE697CE9-EBDE-6B4A-BE70-582D92A8A831}"/>
              </a:ext>
            </a:extLst>
          </p:cNvPr>
          <p:cNvGrpSpPr/>
          <p:nvPr/>
        </p:nvGrpSpPr>
        <p:grpSpPr>
          <a:xfrm>
            <a:off x="8701917" y="5043528"/>
            <a:ext cx="171180" cy="171180"/>
            <a:chOff x="3392092" y="1841122"/>
            <a:chExt cx="646508" cy="646508"/>
          </a:xfrm>
        </p:grpSpPr>
        <p:sp>
          <p:nvSpPr>
            <p:cNvPr id="49" name="Rechteck 14">
              <a:extLst>
                <a:ext uri="{FF2B5EF4-FFF2-40B4-BE49-F238E27FC236}">
                  <a16:creationId xmlns:a16="http://schemas.microsoft.com/office/drawing/2014/main" id="{E142A731-19B7-C34D-9534-9E05108F895F}"/>
                </a:ext>
              </a:extLst>
            </p:cNvPr>
            <p:cNvSpPr>
              <a:spLocks noChangeAspect="1"/>
            </p:cNvSpPr>
            <p:nvPr/>
          </p:nvSpPr>
          <p:spPr bwMode="gray">
            <a:xfrm>
              <a:off x="3392092" y="1841122"/>
              <a:ext cx="646508" cy="646508"/>
            </a:xfrm>
            <a:prstGeom prst="rect">
              <a:avLst/>
            </a:prstGeom>
            <a:solidFill>
              <a:srgbClr val="E55A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pPr>
              <a:endParaRPr lang="en-US" sz="1000">
                <a:solidFill>
                  <a:schemeClr val="tx1"/>
                </a:solidFill>
                <a:latin typeface="Arial" pitchFamily="34" charset="0"/>
                <a:cs typeface="Arial" pitchFamily="34" charset="0"/>
              </a:endParaRPr>
            </a:p>
          </p:txBody>
        </p:sp>
        <p:sp>
          <p:nvSpPr>
            <p:cNvPr id="50" name="Freeform 49">
              <a:extLst>
                <a:ext uri="{FF2B5EF4-FFF2-40B4-BE49-F238E27FC236}">
                  <a16:creationId xmlns:a16="http://schemas.microsoft.com/office/drawing/2014/main" id="{F97E84AE-4AD9-4B44-9AA1-F797FC373809}"/>
                </a:ext>
              </a:extLst>
            </p:cNvPr>
            <p:cNvSpPr>
              <a:spLocks noChangeAspect="1"/>
            </p:cNvSpPr>
            <p:nvPr/>
          </p:nvSpPr>
          <p:spPr bwMode="auto">
            <a:xfrm>
              <a:off x="3546638" y="1970424"/>
              <a:ext cx="337415" cy="387905"/>
            </a:xfrm>
            <a:custGeom>
              <a:avLst/>
              <a:gdLst>
                <a:gd name="T0" fmla="*/ 573 w 1624"/>
                <a:gd name="T1" fmla="*/ 1257 h 1867"/>
                <a:gd name="T2" fmla="*/ 662 w 1624"/>
                <a:gd name="T3" fmla="*/ 1288 h 1867"/>
                <a:gd name="T4" fmla="*/ 938 w 1624"/>
                <a:gd name="T5" fmla="*/ 1051 h 1867"/>
                <a:gd name="T6" fmla="*/ 1106 w 1624"/>
                <a:gd name="T7" fmla="*/ 731 h 1867"/>
                <a:gd name="T8" fmla="*/ 1059 w 1624"/>
                <a:gd name="T9" fmla="*/ 645 h 1867"/>
                <a:gd name="T10" fmla="*/ 1001 w 1624"/>
                <a:gd name="T11" fmla="*/ 613 h 1867"/>
                <a:gd name="T12" fmla="*/ 924 w 1624"/>
                <a:gd name="T13" fmla="*/ 432 h 1867"/>
                <a:gd name="T14" fmla="*/ 1114 w 1624"/>
                <a:gd name="T15" fmla="*/ 81 h 1867"/>
                <a:gd name="T16" fmla="*/ 1287 w 1624"/>
                <a:gd name="T17" fmla="*/ 35 h 1867"/>
                <a:gd name="T18" fmla="*/ 1350 w 1624"/>
                <a:gd name="T19" fmla="*/ 69 h 1867"/>
                <a:gd name="T20" fmla="*/ 1527 w 1624"/>
                <a:gd name="T21" fmla="*/ 235 h 1867"/>
                <a:gd name="T22" fmla="*/ 1583 w 1624"/>
                <a:gd name="T23" fmla="*/ 555 h 1867"/>
                <a:gd name="T24" fmla="*/ 1172 w 1624"/>
                <a:gd name="T25" fmla="*/ 1253 h 1867"/>
                <a:gd name="T26" fmla="*/ 586 w 1624"/>
                <a:gd name="T27" fmla="*/ 1803 h 1867"/>
                <a:gd name="T28" fmla="*/ 269 w 1624"/>
                <a:gd name="T29" fmla="*/ 1807 h 1867"/>
                <a:gd name="T30" fmla="*/ 33 w 1624"/>
                <a:gd name="T31" fmla="*/ 1602 h 1867"/>
                <a:gd name="T32" fmla="*/ 2 w 1624"/>
                <a:gd name="T33" fmla="*/ 1508 h 1867"/>
                <a:gd name="T34" fmla="*/ 45 w 1624"/>
                <a:gd name="T35" fmla="*/ 1421 h 1867"/>
                <a:gd name="T36" fmla="*/ 346 w 1624"/>
                <a:gd name="T37" fmla="*/ 1158 h 1867"/>
                <a:gd name="T38" fmla="*/ 448 w 1624"/>
                <a:gd name="T39" fmla="*/ 1145 h 1867"/>
                <a:gd name="T40" fmla="*/ 573 w 1624"/>
                <a:gd name="T41" fmla="*/ 1257 h 18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24" h="1867">
                  <a:moveTo>
                    <a:pt x="573" y="1257"/>
                  </a:moveTo>
                  <a:cubicBezTo>
                    <a:pt x="592" y="1282"/>
                    <a:pt x="630" y="1303"/>
                    <a:pt x="662" y="1288"/>
                  </a:cubicBezTo>
                  <a:cubicBezTo>
                    <a:pt x="753" y="1245"/>
                    <a:pt x="854" y="1156"/>
                    <a:pt x="938" y="1051"/>
                  </a:cubicBezTo>
                  <a:cubicBezTo>
                    <a:pt x="1020" y="948"/>
                    <a:pt x="1084" y="831"/>
                    <a:pt x="1106" y="731"/>
                  </a:cubicBezTo>
                  <a:cubicBezTo>
                    <a:pt x="1113" y="696"/>
                    <a:pt x="1089" y="661"/>
                    <a:pt x="1059" y="645"/>
                  </a:cubicBezTo>
                  <a:cubicBezTo>
                    <a:pt x="1001" y="613"/>
                    <a:pt x="1001" y="613"/>
                    <a:pt x="1001" y="613"/>
                  </a:cubicBezTo>
                  <a:cubicBezTo>
                    <a:pt x="942" y="580"/>
                    <a:pt x="888" y="499"/>
                    <a:pt x="924" y="432"/>
                  </a:cubicBezTo>
                  <a:cubicBezTo>
                    <a:pt x="1114" y="81"/>
                    <a:pt x="1114" y="81"/>
                    <a:pt x="1114" y="81"/>
                  </a:cubicBezTo>
                  <a:cubicBezTo>
                    <a:pt x="1150" y="16"/>
                    <a:pt x="1224" y="0"/>
                    <a:pt x="1287" y="35"/>
                  </a:cubicBezTo>
                  <a:cubicBezTo>
                    <a:pt x="1350" y="69"/>
                    <a:pt x="1350" y="69"/>
                    <a:pt x="1350" y="69"/>
                  </a:cubicBezTo>
                  <a:cubicBezTo>
                    <a:pt x="1415" y="105"/>
                    <a:pt x="1479" y="165"/>
                    <a:pt x="1527" y="235"/>
                  </a:cubicBezTo>
                  <a:cubicBezTo>
                    <a:pt x="1593" y="332"/>
                    <a:pt x="1624" y="442"/>
                    <a:pt x="1583" y="555"/>
                  </a:cubicBezTo>
                  <a:cubicBezTo>
                    <a:pt x="1500" y="781"/>
                    <a:pt x="1351" y="1030"/>
                    <a:pt x="1172" y="1253"/>
                  </a:cubicBezTo>
                  <a:cubicBezTo>
                    <a:pt x="994" y="1477"/>
                    <a:pt x="786" y="1676"/>
                    <a:pt x="586" y="1803"/>
                  </a:cubicBezTo>
                  <a:cubicBezTo>
                    <a:pt x="486" y="1867"/>
                    <a:pt x="375" y="1856"/>
                    <a:pt x="269" y="1807"/>
                  </a:cubicBezTo>
                  <a:cubicBezTo>
                    <a:pt x="157" y="1755"/>
                    <a:pt x="106" y="1695"/>
                    <a:pt x="33" y="1602"/>
                  </a:cubicBezTo>
                  <a:cubicBezTo>
                    <a:pt x="11" y="1573"/>
                    <a:pt x="0" y="1540"/>
                    <a:pt x="2" y="1508"/>
                  </a:cubicBezTo>
                  <a:cubicBezTo>
                    <a:pt x="4" y="1475"/>
                    <a:pt x="18" y="1444"/>
                    <a:pt x="45" y="1421"/>
                  </a:cubicBezTo>
                  <a:cubicBezTo>
                    <a:pt x="70" y="1399"/>
                    <a:pt x="346" y="1158"/>
                    <a:pt x="346" y="1158"/>
                  </a:cubicBezTo>
                  <a:cubicBezTo>
                    <a:pt x="376" y="1134"/>
                    <a:pt x="413" y="1133"/>
                    <a:pt x="448" y="1145"/>
                  </a:cubicBezTo>
                  <a:cubicBezTo>
                    <a:pt x="510" y="1166"/>
                    <a:pt x="536" y="1210"/>
                    <a:pt x="573" y="1257"/>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351"/>
            </a:p>
          </p:txBody>
        </p:sp>
      </p:grpSp>
      <p:grpSp>
        <p:nvGrpSpPr>
          <p:cNvPr id="51" name="Group 3">
            <a:extLst>
              <a:ext uri="{FF2B5EF4-FFF2-40B4-BE49-F238E27FC236}">
                <a16:creationId xmlns:a16="http://schemas.microsoft.com/office/drawing/2014/main" id="{7104BADD-8CD1-6F4A-B894-869C3BDB3EEB}"/>
              </a:ext>
            </a:extLst>
          </p:cNvPr>
          <p:cNvGrpSpPr>
            <a:grpSpLocks noChangeAspect="1"/>
          </p:cNvGrpSpPr>
          <p:nvPr>
            <p:custDataLst>
              <p:tags r:id="rId4"/>
            </p:custDataLst>
          </p:nvPr>
        </p:nvGrpSpPr>
        <p:grpSpPr>
          <a:xfrm>
            <a:off x="8701918" y="5328416"/>
            <a:ext cx="171180" cy="171180"/>
            <a:chOff x="328396" y="5313940"/>
            <a:chExt cx="720000" cy="720000"/>
          </a:xfrm>
        </p:grpSpPr>
        <p:sp>
          <p:nvSpPr>
            <p:cNvPr id="52" name="Rectangle 4">
              <a:extLst>
                <a:ext uri="{FF2B5EF4-FFF2-40B4-BE49-F238E27FC236}">
                  <a16:creationId xmlns:a16="http://schemas.microsoft.com/office/drawing/2014/main" id="{74BE3D5F-1445-6E40-8B49-72E15568383B}"/>
                </a:ext>
              </a:extLst>
            </p:cNvPr>
            <p:cNvSpPr/>
            <p:nvPr/>
          </p:nvSpPr>
          <p:spPr bwMode="gray">
            <a:xfrm>
              <a:off x="328396" y="5313940"/>
              <a:ext cx="720000" cy="720000"/>
            </a:xfrm>
            <a:prstGeom prst="rect">
              <a:avLst/>
            </a:prstGeom>
            <a:solidFill>
              <a:srgbClr val="E55A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pPr>
              <a:endParaRPr lang="en-US" sz="1000">
                <a:solidFill>
                  <a:schemeClr val="tx1"/>
                </a:solidFill>
                <a:latin typeface="Arial" pitchFamily="34" charset="0"/>
                <a:cs typeface="Arial" pitchFamily="34" charset="0"/>
              </a:endParaRPr>
            </a:p>
          </p:txBody>
        </p:sp>
        <p:sp>
          <p:nvSpPr>
            <p:cNvPr id="53" name="Freeform 76">
              <a:extLst>
                <a:ext uri="{FF2B5EF4-FFF2-40B4-BE49-F238E27FC236}">
                  <a16:creationId xmlns:a16="http://schemas.microsoft.com/office/drawing/2014/main" id="{55DB3C95-7D0C-D141-901E-96D692794D2B}"/>
                </a:ext>
              </a:extLst>
            </p:cNvPr>
            <p:cNvSpPr>
              <a:spLocks noChangeAspect="1" noEditPoints="1"/>
            </p:cNvSpPr>
            <p:nvPr/>
          </p:nvSpPr>
          <p:spPr bwMode="auto">
            <a:xfrm>
              <a:off x="456202" y="5509222"/>
              <a:ext cx="504000" cy="329436"/>
            </a:xfrm>
            <a:custGeom>
              <a:avLst/>
              <a:gdLst>
                <a:gd name="T0" fmla="*/ 0 w 2080"/>
                <a:gd name="T1" fmla="*/ 65 h 1360"/>
                <a:gd name="T2" fmla="*/ 0 w 2080"/>
                <a:gd name="T3" fmla="*/ 0 h 1360"/>
                <a:gd name="T4" fmla="*/ 2080 w 2080"/>
                <a:gd name="T5" fmla="*/ 0 h 1360"/>
                <a:gd name="T6" fmla="*/ 2080 w 2080"/>
                <a:gd name="T7" fmla="*/ 65 h 1360"/>
                <a:gd name="T8" fmla="*/ 1089 w 2080"/>
                <a:gd name="T9" fmla="*/ 862 h 1360"/>
                <a:gd name="T10" fmla="*/ 991 w 2080"/>
                <a:gd name="T11" fmla="*/ 862 h 1360"/>
                <a:gd name="T12" fmla="*/ 0 w 2080"/>
                <a:gd name="T13" fmla="*/ 65 h 1360"/>
                <a:gd name="T14" fmla="*/ 1139 w 2080"/>
                <a:gd name="T15" fmla="*/ 924 h 1360"/>
                <a:gd name="T16" fmla="*/ 1282 w 2080"/>
                <a:gd name="T17" fmla="*/ 810 h 1360"/>
                <a:gd name="T18" fmla="*/ 2076 w 2080"/>
                <a:gd name="T19" fmla="*/ 1360 h 1360"/>
                <a:gd name="T20" fmla="*/ 4 w 2080"/>
                <a:gd name="T21" fmla="*/ 1360 h 1360"/>
                <a:gd name="T22" fmla="*/ 798 w 2080"/>
                <a:gd name="T23" fmla="*/ 810 h 1360"/>
                <a:gd name="T24" fmla="*/ 941 w 2080"/>
                <a:gd name="T25" fmla="*/ 924 h 1360"/>
                <a:gd name="T26" fmla="*/ 1139 w 2080"/>
                <a:gd name="T27" fmla="*/ 924 h 1360"/>
                <a:gd name="T28" fmla="*/ 2 w 2080"/>
                <a:gd name="T29" fmla="*/ 137 h 1360"/>
                <a:gd name="T30" fmla="*/ 42 w 2080"/>
                <a:gd name="T31" fmla="*/ 201 h 1360"/>
                <a:gd name="T32" fmla="*/ 734 w 2080"/>
                <a:gd name="T33" fmla="*/ 758 h 1360"/>
                <a:gd name="T34" fmla="*/ 0 w 2080"/>
                <a:gd name="T35" fmla="*/ 1266 h 1360"/>
                <a:gd name="T36" fmla="*/ 0 w 2080"/>
                <a:gd name="T37" fmla="*/ 135 h 1360"/>
                <a:gd name="T38" fmla="*/ 2 w 2080"/>
                <a:gd name="T39" fmla="*/ 137 h 1360"/>
                <a:gd name="T40" fmla="*/ 2080 w 2080"/>
                <a:gd name="T41" fmla="*/ 136 h 1360"/>
                <a:gd name="T42" fmla="*/ 2080 w 2080"/>
                <a:gd name="T43" fmla="*/ 1265 h 1360"/>
                <a:gd name="T44" fmla="*/ 1346 w 2080"/>
                <a:gd name="T45" fmla="*/ 758 h 1360"/>
                <a:gd name="T46" fmla="*/ 2038 w 2080"/>
                <a:gd name="T47" fmla="*/ 201 h 1360"/>
                <a:gd name="T48" fmla="*/ 2080 w 2080"/>
                <a:gd name="T49" fmla="*/ 136 h 1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080" h="1360">
                  <a:moveTo>
                    <a:pt x="0" y="65"/>
                  </a:moveTo>
                  <a:cubicBezTo>
                    <a:pt x="0" y="0"/>
                    <a:pt x="0" y="0"/>
                    <a:pt x="0" y="0"/>
                  </a:cubicBezTo>
                  <a:cubicBezTo>
                    <a:pt x="2080" y="0"/>
                    <a:pt x="2080" y="0"/>
                    <a:pt x="2080" y="0"/>
                  </a:cubicBezTo>
                  <a:cubicBezTo>
                    <a:pt x="2080" y="65"/>
                    <a:pt x="2080" y="65"/>
                    <a:pt x="2080" y="65"/>
                  </a:cubicBezTo>
                  <a:cubicBezTo>
                    <a:pt x="1089" y="862"/>
                    <a:pt x="1089" y="862"/>
                    <a:pt x="1089" y="862"/>
                  </a:cubicBezTo>
                  <a:cubicBezTo>
                    <a:pt x="1060" y="886"/>
                    <a:pt x="1020" y="886"/>
                    <a:pt x="991" y="862"/>
                  </a:cubicBezTo>
                  <a:lnTo>
                    <a:pt x="0" y="65"/>
                  </a:lnTo>
                  <a:close/>
                  <a:moveTo>
                    <a:pt x="1139" y="924"/>
                  </a:moveTo>
                  <a:cubicBezTo>
                    <a:pt x="1282" y="810"/>
                    <a:pt x="1282" y="810"/>
                    <a:pt x="1282" y="810"/>
                  </a:cubicBezTo>
                  <a:cubicBezTo>
                    <a:pt x="2076" y="1360"/>
                    <a:pt x="2076" y="1360"/>
                    <a:pt x="2076" y="1360"/>
                  </a:cubicBezTo>
                  <a:cubicBezTo>
                    <a:pt x="4" y="1360"/>
                    <a:pt x="4" y="1360"/>
                    <a:pt x="4" y="1360"/>
                  </a:cubicBezTo>
                  <a:cubicBezTo>
                    <a:pt x="798" y="810"/>
                    <a:pt x="798" y="810"/>
                    <a:pt x="798" y="810"/>
                  </a:cubicBezTo>
                  <a:cubicBezTo>
                    <a:pt x="941" y="924"/>
                    <a:pt x="941" y="924"/>
                    <a:pt x="941" y="924"/>
                  </a:cubicBezTo>
                  <a:cubicBezTo>
                    <a:pt x="1000" y="972"/>
                    <a:pt x="1080" y="972"/>
                    <a:pt x="1139" y="924"/>
                  </a:cubicBezTo>
                  <a:close/>
                  <a:moveTo>
                    <a:pt x="2" y="137"/>
                  </a:moveTo>
                  <a:cubicBezTo>
                    <a:pt x="8" y="163"/>
                    <a:pt x="22" y="185"/>
                    <a:pt x="42" y="201"/>
                  </a:cubicBezTo>
                  <a:cubicBezTo>
                    <a:pt x="734" y="758"/>
                    <a:pt x="734" y="758"/>
                    <a:pt x="734" y="758"/>
                  </a:cubicBezTo>
                  <a:cubicBezTo>
                    <a:pt x="0" y="1266"/>
                    <a:pt x="0" y="1266"/>
                    <a:pt x="0" y="1266"/>
                  </a:cubicBezTo>
                  <a:cubicBezTo>
                    <a:pt x="0" y="135"/>
                    <a:pt x="0" y="135"/>
                    <a:pt x="0" y="135"/>
                  </a:cubicBezTo>
                  <a:lnTo>
                    <a:pt x="2" y="137"/>
                  </a:lnTo>
                  <a:close/>
                  <a:moveTo>
                    <a:pt x="2080" y="136"/>
                  </a:moveTo>
                  <a:cubicBezTo>
                    <a:pt x="2080" y="1265"/>
                    <a:pt x="2080" y="1265"/>
                    <a:pt x="2080" y="1265"/>
                  </a:cubicBezTo>
                  <a:cubicBezTo>
                    <a:pt x="1346" y="758"/>
                    <a:pt x="1346" y="758"/>
                    <a:pt x="1346" y="758"/>
                  </a:cubicBezTo>
                  <a:cubicBezTo>
                    <a:pt x="2038" y="201"/>
                    <a:pt x="2038" y="201"/>
                    <a:pt x="2038" y="201"/>
                  </a:cubicBezTo>
                  <a:cubicBezTo>
                    <a:pt x="2060" y="182"/>
                    <a:pt x="2072" y="162"/>
                    <a:pt x="2080" y="13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000"/>
            </a:p>
          </p:txBody>
        </p:sp>
      </p:grpSp>
      <p:cxnSp>
        <p:nvCxnSpPr>
          <p:cNvPr id="54" name="Straight Connector 53"/>
          <p:cNvCxnSpPr/>
          <p:nvPr/>
        </p:nvCxnSpPr>
        <p:spPr>
          <a:xfrm>
            <a:off x="7287766" y="5653422"/>
            <a:ext cx="3888000" cy="0"/>
          </a:xfrm>
          <a:prstGeom prst="line">
            <a:avLst/>
          </a:prstGeom>
          <a:ln w="6350">
            <a:solidFill>
              <a:schemeClr val="tx2"/>
            </a:solidFill>
            <a:prstDash val="dash"/>
          </a:ln>
        </p:spPr>
        <p:style>
          <a:lnRef idx="1">
            <a:schemeClr val="accent1"/>
          </a:lnRef>
          <a:fillRef idx="0">
            <a:schemeClr val="accent1"/>
          </a:fillRef>
          <a:effectRef idx="0">
            <a:schemeClr val="accent1"/>
          </a:effectRef>
          <a:fontRef idx="minor">
            <a:schemeClr val="tx1"/>
          </a:fontRef>
        </p:style>
      </p:cxnSp>
      <p:sp>
        <p:nvSpPr>
          <p:cNvPr id="55" name="Picture Placeholder 3"/>
          <p:cNvSpPr>
            <a:spLocks noGrp="1"/>
          </p:cNvSpPr>
          <p:nvPr>
            <p:ph type="pic" sz="quarter" idx="35" hasCustomPrompt="1"/>
          </p:nvPr>
        </p:nvSpPr>
        <p:spPr>
          <a:xfrm>
            <a:off x="7287766" y="3984193"/>
            <a:ext cx="1188677" cy="1547840"/>
          </a:xfrm>
          <a:solidFill>
            <a:srgbClr val="D9DADB"/>
          </a:solidFill>
        </p:spPr>
        <p:txBody>
          <a:bodyPr/>
          <a:lstStyle>
            <a:lvl1pPr marL="0" indent="0">
              <a:buNone/>
              <a:defRPr sz="1400"/>
            </a:lvl1pPr>
          </a:lstStyle>
          <a:p>
            <a:r>
              <a:rPr lang="en-US"/>
              <a:t>Insert picture</a:t>
            </a:r>
          </a:p>
        </p:txBody>
      </p:sp>
      <p:sp>
        <p:nvSpPr>
          <p:cNvPr id="56" name="Text Placeholder 5"/>
          <p:cNvSpPr>
            <a:spLocks noGrp="1"/>
          </p:cNvSpPr>
          <p:nvPr>
            <p:ph type="body" sz="quarter" idx="36" hasCustomPrompt="1"/>
          </p:nvPr>
        </p:nvSpPr>
        <p:spPr>
          <a:xfrm>
            <a:off x="8701917" y="3983730"/>
            <a:ext cx="2463190" cy="192360"/>
          </a:xfrm>
        </p:spPr>
        <p:txBody>
          <a:bodyPr lIns="0" tIns="0" rIns="0" bIns="0" anchor="ctr" anchorCtr="0"/>
          <a:lstStyle>
            <a:lvl1pPr marL="0" indent="0" algn="l">
              <a:lnSpc>
                <a:spcPct val="100000"/>
              </a:lnSpc>
              <a:buNone/>
              <a:defRPr sz="100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Country</a:t>
            </a:r>
          </a:p>
        </p:txBody>
      </p:sp>
      <p:sp>
        <p:nvSpPr>
          <p:cNvPr id="57" name="Text Placeholder 5"/>
          <p:cNvSpPr>
            <a:spLocks noGrp="1"/>
          </p:cNvSpPr>
          <p:nvPr>
            <p:ph type="body" sz="quarter" idx="37" hasCustomPrompt="1"/>
          </p:nvPr>
        </p:nvSpPr>
        <p:spPr>
          <a:xfrm>
            <a:off x="8701917" y="4195546"/>
            <a:ext cx="2463190" cy="266182"/>
          </a:xfrm>
        </p:spPr>
        <p:txBody>
          <a:bodyPr lIns="0" tIns="0" rIns="0" bIns="0" anchor="b" anchorCtr="0"/>
          <a:lstStyle>
            <a:lvl1pPr marL="0" indent="0" algn="l">
              <a:lnSpc>
                <a:spcPct val="100000"/>
              </a:lnSpc>
              <a:buNone/>
              <a:defRPr sz="1400" b="1" baseline="0">
                <a:solidFill>
                  <a:schemeClr val="tx2"/>
                </a:solidFill>
              </a:defRPr>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Name, Surname</a:t>
            </a:r>
          </a:p>
        </p:txBody>
      </p:sp>
      <p:sp>
        <p:nvSpPr>
          <p:cNvPr id="58" name="Text Placeholder 5"/>
          <p:cNvSpPr>
            <a:spLocks noGrp="1"/>
          </p:cNvSpPr>
          <p:nvPr>
            <p:ph type="body" sz="quarter" idx="38" hasCustomPrompt="1"/>
          </p:nvPr>
        </p:nvSpPr>
        <p:spPr>
          <a:xfrm>
            <a:off x="8701917" y="4492121"/>
            <a:ext cx="2463190"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Job Position</a:t>
            </a:r>
          </a:p>
        </p:txBody>
      </p:sp>
      <p:sp>
        <p:nvSpPr>
          <p:cNvPr id="59" name="Text Placeholder 5"/>
          <p:cNvSpPr>
            <a:spLocks noGrp="1"/>
          </p:cNvSpPr>
          <p:nvPr>
            <p:ph type="body" sz="quarter" idx="39" hasCustomPrompt="1"/>
          </p:nvPr>
        </p:nvSpPr>
        <p:spPr>
          <a:xfrm>
            <a:off x="8946800" y="5020797"/>
            <a:ext cx="2218307"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Phone number</a:t>
            </a:r>
          </a:p>
        </p:txBody>
      </p:sp>
      <p:sp>
        <p:nvSpPr>
          <p:cNvPr id="60" name="Text Placeholder 5"/>
          <p:cNvSpPr>
            <a:spLocks noGrp="1"/>
          </p:cNvSpPr>
          <p:nvPr>
            <p:ph type="body" sz="quarter" idx="40" hasCustomPrompt="1"/>
          </p:nvPr>
        </p:nvSpPr>
        <p:spPr>
          <a:xfrm>
            <a:off x="8946800" y="5303604"/>
            <a:ext cx="2218307"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Email address</a:t>
            </a:r>
          </a:p>
        </p:txBody>
      </p:sp>
    </p:spTree>
    <p:extLst>
      <p:ext uri="{BB962C8B-B14F-4D97-AF65-F5344CB8AC3E}">
        <p14:creationId xmlns:p14="http://schemas.microsoft.com/office/powerpoint/2010/main" val="2988834491"/>
      </p:ext>
    </p:extLst>
  </p:cSld>
  <p:clrMapOvr>
    <a:masterClrMapping/>
  </p:clrMapOvr>
</p:sldLayout>
</file>

<file path=ppt/slideLayouts/slideLayout467.xml><?xml version="1.0" encoding="utf-8"?>
<p:sldLayout xmlns:a="http://schemas.openxmlformats.org/drawingml/2006/main" xmlns:r="http://schemas.openxmlformats.org/officeDocument/2006/relationships" xmlns:p="http://schemas.openxmlformats.org/presentationml/2006/main" showMasterSp="0" preserve="1">
  <p:cSld name="End slide">
    <p:spTree>
      <p:nvGrpSpPr>
        <p:cNvPr id="1" name=""/>
        <p:cNvGrpSpPr/>
        <p:nvPr/>
      </p:nvGrpSpPr>
      <p:grpSpPr>
        <a:xfrm>
          <a:off x="0" y="0"/>
          <a:ext cx="0" cy="0"/>
          <a:chOff x="0" y="0"/>
          <a:chExt cx="0" cy="0"/>
        </a:xfrm>
      </p:grpSpPr>
      <p:pic>
        <p:nvPicPr>
          <p:cNvPr id="30" name="picture">
            <a:extLst>
              <a:ext uri="{FF2B5EF4-FFF2-40B4-BE49-F238E27FC236}">
                <a16:creationId xmlns:a16="http://schemas.microsoft.com/office/drawing/2014/main" id="{8BF907F5-A9CD-2740-AF54-6BACB62334AE}"/>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2620212" y="-8808"/>
            <a:ext cx="9697299" cy="6866807"/>
          </a:xfrm>
          <a:prstGeom prst="rect">
            <a:avLst/>
          </a:prstGeom>
        </p:spPr>
      </p:pic>
      <p:sp>
        <p:nvSpPr>
          <p:cNvPr id="29" name="shpPicture"/>
          <p:cNvSpPr/>
          <p:nvPr/>
        </p:nvSpPr>
        <p:spPr>
          <a:xfrm>
            <a:off x="0" y="0"/>
            <a:ext cx="4347306" cy="6858000"/>
          </a:xfrm>
          <a:custGeom>
            <a:avLst/>
            <a:gdLst>
              <a:gd name="connsiteX0" fmla="*/ 0 w 4347306"/>
              <a:gd name="connsiteY0" fmla="*/ 0 h 6858000"/>
              <a:gd name="connsiteX1" fmla="*/ 3252806 w 4347306"/>
              <a:gd name="connsiteY1" fmla="*/ 0 h 6858000"/>
              <a:gd name="connsiteX2" fmla="*/ 4347306 w 4347306"/>
              <a:gd name="connsiteY2" fmla="*/ 4140909 h 6858000"/>
              <a:gd name="connsiteX3" fmla="*/ 2943442 w 4347306"/>
              <a:gd name="connsiteY3" fmla="*/ 6858000 h 6858000"/>
              <a:gd name="connsiteX4" fmla="*/ 0 w 4347306"/>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47306" h="6858000">
                <a:moveTo>
                  <a:pt x="0" y="0"/>
                </a:moveTo>
                <a:lnTo>
                  <a:pt x="3252806" y="0"/>
                </a:lnTo>
                <a:lnTo>
                  <a:pt x="4347306" y="4140909"/>
                </a:lnTo>
                <a:lnTo>
                  <a:pt x="2943442"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US" sz="1600"/>
          </a:p>
        </p:txBody>
      </p:sp>
      <p:grpSp>
        <p:nvGrpSpPr>
          <p:cNvPr id="14" name="logo">
            <a:extLst>
              <a:ext uri="{FF2B5EF4-FFF2-40B4-BE49-F238E27FC236}">
                <a16:creationId xmlns:a16="http://schemas.microsoft.com/office/drawing/2014/main" id="{18C26D95-70F8-8A4D-9F18-DCCB92522AF8}"/>
              </a:ext>
            </a:extLst>
          </p:cNvPr>
          <p:cNvGrpSpPr/>
          <p:nvPr/>
        </p:nvGrpSpPr>
        <p:grpSpPr bwMode="gray">
          <a:xfrm>
            <a:off x="417363" y="407485"/>
            <a:ext cx="1518585" cy="646507"/>
            <a:chOff x="334963" y="296652"/>
            <a:chExt cx="1268411" cy="540000"/>
          </a:xfrm>
        </p:grpSpPr>
        <p:sp>
          <p:nvSpPr>
            <p:cNvPr id="17" name="Freeform 6">
              <a:extLst>
                <a:ext uri="{FF2B5EF4-FFF2-40B4-BE49-F238E27FC236}">
                  <a16:creationId xmlns:a16="http://schemas.microsoft.com/office/drawing/2014/main" id="{08737AD0-E375-E445-97E6-CD2E2DF60620}"/>
                </a:ext>
              </a:extLst>
            </p:cNvPr>
            <p:cNvSpPr>
              <a:spLocks noEditPoints="1"/>
            </p:cNvSpPr>
            <p:nvPr/>
          </p:nvSpPr>
          <p:spPr bwMode="gray">
            <a:xfrm>
              <a:off x="982662" y="360462"/>
              <a:ext cx="620712" cy="431800"/>
            </a:xfrm>
            <a:custGeom>
              <a:avLst/>
              <a:gdLst>
                <a:gd name="T0" fmla="*/ 19 w 1809"/>
                <a:gd name="T1" fmla="*/ 97 h 1253"/>
                <a:gd name="T2" fmla="*/ 165 w 1809"/>
                <a:gd name="T3" fmla="*/ 41 h 1253"/>
                <a:gd name="T4" fmla="*/ 211 w 1809"/>
                <a:gd name="T5" fmla="*/ 224 h 1253"/>
                <a:gd name="T6" fmla="*/ 248 w 1809"/>
                <a:gd name="T7" fmla="*/ 155 h 1253"/>
                <a:gd name="T8" fmla="*/ 931 w 1809"/>
                <a:gd name="T9" fmla="*/ 995 h 1253"/>
                <a:gd name="T10" fmla="*/ 858 w 1809"/>
                <a:gd name="T11" fmla="*/ 1115 h 1253"/>
                <a:gd name="T12" fmla="*/ 749 w 1809"/>
                <a:gd name="T13" fmla="*/ 1117 h 1253"/>
                <a:gd name="T14" fmla="*/ 681 w 1809"/>
                <a:gd name="T15" fmla="*/ 1055 h 1253"/>
                <a:gd name="T16" fmla="*/ 800 w 1809"/>
                <a:gd name="T17" fmla="*/ 1054 h 1253"/>
                <a:gd name="T18" fmla="*/ 884 w 1809"/>
                <a:gd name="T19" fmla="*/ 1181 h 1253"/>
                <a:gd name="T20" fmla="*/ 118 w 1809"/>
                <a:gd name="T21" fmla="*/ 1086 h 1253"/>
                <a:gd name="T22" fmla="*/ 147 w 1809"/>
                <a:gd name="T23" fmla="*/ 1026 h 1253"/>
                <a:gd name="T24" fmla="*/ 102 w 1809"/>
                <a:gd name="T25" fmla="*/ 1026 h 1253"/>
                <a:gd name="T26" fmla="*/ 639 w 1809"/>
                <a:gd name="T27" fmla="*/ 84 h 1253"/>
                <a:gd name="T28" fmla="*/ 763 w 1809"/>
                <a:gd name="T29" fmla="*/ 145 h 1253"/>
                <a:gd name="T30" fmla="*/ 863 w 1809"/>
                <a:gd name="T31" fmla="*/ 221 h 1253"/>
                <a:gd name="T32" fmla="*/ 834 w 1809"/>
                <a:gd name="T33" fmla="*/ 208 h 1253"/>
                <a:gd name="T34" fmla="*/ 719 w 1809"/>
                <a:gd name="T35" fmla="*/ 182 h 1253"/>
                <a:gd name="T36" fmla="*/ 507 w 1809"/>
                <a:gd name="T37" fmla="*/ 711 h 1253"/>
                <a:gd name="T38" fmla="*/ 614 w 1809"/>
                <a:gd name="T39" fmla="*/ 706 h 1253"/>
                <a:gd name="T40" fmla="*/ 736 w 1809"/>
                <a:gd name="T41" fmla="*/ 730 h 1253"/>
                <a:gd name="T42" fmla="*/ 607 w 1809"/>
                <a:gd name="T43" fmla="*/ 539 h 1253"/>
                <a:gd name="T44" fmla="*/ 1505 w 1809"/>
                <a:gd name="T45" fmla="*/ 1136 h 1253"/>
                <a:gd name="T46" fmla="*/ 1613 w 1809"/>
                <a:gd name="T47" fmla="*/ 1002 h 1253"/>
                <a:gd name="T48" fmla="*/ 1472 w 1809"/>
                <a:gd name="T49" fmla="*/ 1164 h 1253"/>
                <a:gd name="T50" fmla="*/ 1525 w 1809"/>
                <a:gd name="T51" fmla="*/ 1142 h 1253"/>
                <a:gd name="T52" fmla="*/ 1556 w 1809"/>
                <a:gd name="T53" fmla="*/ 1172 h 1253"/>
                <a:gd name="T54" fmla="*/ 1387 w 1809"/>
                <a:gd name="T55" fmla="*/ 910 h 1253"/>
                <a:gd name="T56" fmla="*/ 1261 w 1809"/>
                <a:gd name="T57" fmla="*/ 1157 h 1253"/>
                <a:gd name="T58" fmla="*/ 1413 w 1809"/>
                <a:gd name="T59" fmla="*/ 934 h 1253"/>
                <a:gd name="T60" fmla="*/ 1378 w 1809"/>
                <a:gd name="T61" fmla="*/ 1052 h 1253"/>
                <a:gd name="T62" fmla="*/ 488 w 1809"/>
                <a:gd name="T63" fmla="*/ 85 h 1253"/>
                <a:gd name="T64" fmla="*/ 509 w 1809"/>
                <a:gd name="T65" fmla="*/ 112 h 1253"/>
                <a:gd name="T66" fmla="*/ 548 w 1809"/>
                <a:gd name="T67" fmla="*/ 1187 h 1253"/>
                <a:gd name="T68" fmla="*/ 472 w 1809"/>
                <a:gd name="T69" fmla="*/ 1122 h 1253"/>
                <a:gd name="T70" fmla="*/ 558 w 1809"/>
                <a:gd name="T71" fmla="*/ 1157 h 1253"/>
                <a:gd name="T72" fmla="*/ 287 w 1809"/>
                <a:gd name="T73" fmla="*/ 654 h 1253"/>
                <a:gd name="T74" fmla="*/ 416 w 1809"/>
                <a:gd name="T75" fmla="*/ 684 h 1253"/>
                <a:gd name="T76" fmla="*/ 1106 w 1809"/>
                <a:gd name="T77" fmla="*/ 147 h 1253"/>
                <a:gd name="T78" fmla="*/ 1229 w 1809"/>
                <a:gd name="T79" fmla="*/ 258 h 1253"/>
                <a:gd name="T80" fmla="*/ 1106 w 1809"/>
                <a:gd name="T81" fmla="*/ 96 h 1253"/>
                <a:gd name="T82" fmla="*/ 1219 w 1809"/>
                <a:gd name="T83" fmla="*/ 1077 h 1253"/>
                <a:gd name="T84" fmla="*/ 1214 w 1809"/>
                <a:gd name="T85" fmla="*/ 1157 h 1253"/>
                <a:gd name="T86" fmla="*/ 1150 w 1809"/>
                <a:gd name="T87" fmla="*/ 1092 h 1253"/>
                <a:gd name="T88" fmla="*/ 1139 w 1809"/>
                <a:gd name="T89" fmla="*/ 1070 h 1253"/>
                <a:gd name="T90" fmla="*/ 1659 w 1809"/>
                <a:gd name="T91" fmla="*/ 1031 h 1253"/>
                <a:gd name="T92" fmla="*/ 1714 w 1809"/>
                <a:gd name="T93" fmla="*/ 1155 h 1253"/>
                <a:gd name="T94" fmla="*/ 1760 w 1809"/>
                <a:gd name="T95" fmla="*/ 1030 h 1253"/>
                <a:gd name="T96" fmla="*/ 111 w 1809"/>
                <a:gd name="T97" fmla="*/ 569 h 1253"/>
                <a:gd name="T98" fmla="*/ 109 w 1809"/>
                <a:gd name="T99" fmla="*/ 460 h 1253"/>
                <a:gd name="T100" fmla="*/ 32 w 1809"/>
                <a:gd name="T101" fmla="*/ 704 h 1253"/>
                <a:gd name="T102" fmla="*/ 310 w 1809"/>
                <a:gd name="T103" fmla="*/ 1058 h 1253"/>
                <a:gd name="T104" fmla="*/ 431 w 1809"/>
                <a:gd name="T105" fmla="*/ 1044 h 1253"/>
                <a:gd name="T106" fmla="*/ 278 w 1809"/>
                <a:gd name="T107" fmla="*/ 1165 h 1253"/>
                <a:gd name="T108" fmla="*/ 261 w 1809"/>
                <a:gd name="T109" fmla="*/ 540 h 1253"/>
                <a:gd name="T110" fmla="*/ 150 w 1809"/>
                <a:gd name="T111" fmla="*/ 635 h 1253"/>
                <a:gd name="T112" fmla="*/ 994 w 1809"/>
                <a:gd name="T113" fmla="*/ 1185 h 1253"/>
                <a:gd name="T114" fmla="*/ 331 w 1809"/>
                <a:gd name="T115" fmla="*/ 176 h 1253"/>
                <a:gd name="T116" fmla="*/ 333 w 1809"/>
                <a:gd name="T117" fmla="*/ 109 h 1253"/>
                <a:gd name="T118" fmla="*/ 946 w 1809"/>
                <a:gd name="T119" fmla="*/ 234 h 1253"/>
                <a:gd name="T120" fmla="*/ 1022 w 1809"/>
                <a:gd name="T121" fmla="*/ 113 h 1253"/>
                <a:gd name="T122" fmla="*/ 949 w 1809"/>
                <a:gd name="T123" fmla="*/ 65 h 1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09" h="1253">
                  <a:moveTo>
                    <a:pt x="248" y="198"/>
                  </a:moveTo>
                  <a:cubicBezTo>
                    <a:pt x="248" y="211"/>
                    <a:pt x="248" y="224"/>
                    <a:pt x="249" y="237"/>
                  </a:cubicBezTo>
                  <a:cubicBezTo>
                    <a:pt x="249" y="245"/>
                    <a:pt x="246" y="249"/>
                    <a:pt x="240" y="253"/>
                  </a:cubicBezTo>
                  <a:cubicBezTo>
                    <a:pt x="231" y="260"/>
                    <a:pt x="220" y="264"/>
                    <a:pt x="209" y="268"/>
                  </a:cubicBezTo>
                  <a:cubicBezTo>
                    <a:pt x="179" y="279"/>
                    <a:pt x="148" y="280"/>
                    <a:pt x="118" y="275"/>
                  </a:cubicBezTo>
                  <a:cubicBezTo>
                    <a:pt x="86" y="269"/>
                    <a:pt x="58" y="252"/>
                    <a:pt x="39" y="224"/>
                  </a:cubicBezTo>
                  <a:cubicBezTo>
                    <a:pt x="24" y="203"/>
                    <a:pt x="18" y="180"/>
                    <a:pt x="15" y="155"/>
                  </a:cubicBezTo>
                  <a:cubicBezTo>
                    <a:pt x="11" y="135"/>
                    <a:pt x="15" y="115"/>
                    <a:pt x="19" y="97"/>
                  </a:cubicBezTo>
                  <a:cubicBezTo>
                    <a:pt x="26" y="68"/>
                    <a:pt x="42" y="44"/>
                    <a:pt x="68" y="27"/>
                  </a:cubicBezTo>
                  <a:cubicBezTo>
                    <a:pt x="87" y="14"/>
                    <a:pt x="109" y="6"/>
                    <a:pt x="133" y="5"/>
                  </a:cubicBezTo>
                  <a:cubicBezTo>
                    <a:pt x="149" y="4"/>
                    <a:pt x="165" y="5"/>
                    <a:pt x="181" y="6"/>
                  </a:cubicBezTo>
                  <a:cubicBezTo>
                    <a:pt x="204" y="8"/>
                    <a:pt x="225" y="20"/>
                    <a:pt x="243" y="35"/>
                  </a:cubicBezTo>
                  <a:cubicBezTo>
                    <a:pt x="246" y="37"/>
                    <a:pt x="246" y="40"/>
                    <a:pt x="244" y="43"/>
                  </a:cubicBezTo>
                  <a:cubicBezTo>
                    <a:pt x="242" y="47"/>
                    <a:pt x="239" y="52"/>
                    <a:pt x="236" y="55"/>
                  </a:cubicBezTo>
                  <a:cubicBezTo>
                    <a:pt x="226" y="65"/>
                    <a:pt x="224" y="65"/>
                    <a:pt x="206" y="54"/>
                  </a:cubicBezTo>
                  <a:cubicBezTo>
                    <a:pt x="193" y="46"/>
                    <a:pt x="180" y="40"/>
                    <a:pt x="165" y="41"/>
                  </a:cubicBezTo>
                  <a:cubicBezTo>
                    <a:pt x="151" y="41"/>
                    <a:pt x="137" y="39"/>
                    <a:pt x="124" y="42"/>
                  </a:cubicBezTo>
                  <a:cubicBezTo>
                    <a:pt x="104" y="46"/>
                    <a:pt x="87" y="57"/>
                    <a:pt x="75" y="74"/>
                  </a:cubicBezTo>
                  <a:cubicBezTo>
                    <a:pt x="56" y="99"/>
                    <a:pt x="51" y="129"/>
                    <a:pt x="55" y="159"/>
                  </a:cubicBezTo>
                  <a:cubicBezTo>
                    <a:pt x="60" y="189"/>
                    <a:pt x="73" y="214"/>
                    <a:pt x="98" y="230"/>
                  </a:cubicBezTo>
                  <a:cubicBezTo>
                    <a:pt x="109" y="237"/>
                    <a:pt x="121" y="242"/>
                    <a:pt x="135" y="241"/>
                  </a:cubicBezTo>
                  <a:cubicBezTo>
                    <a:pt x="146" y="241"/>
                    <a:pt x="158" y="241"/>
                    <a:pt x="169" y="241"/>
                  </a:cubicBezTo>
                  <a:cubicBezTo>
                    <a:pt x="182" y="242"/>
                    <a:pt x="193" y="235"/>
                    <a:pt x="205" y="232"/>
                  </a:cubicBezTo>
                  <a:cubicBezTo>
                    <a:pt x="210" y="231"/>
                    <a:pt x="211" y="227"/>
                    <a:pt x="211" y="224"/>
                  </a:cubicBezTo>
                  <a:cubicBezTo>
                    <a:pt x="211" y="210"/>
                    <a:pt x="211" y="196"/>
                    <a:pt x="211" y="183"/>
                  </a:cubicBezTo>
                  <a:cubicBezTo>
                    <a:pt x="211" y="177"/>
                    <a:pt x="207" y="175"/>
                    <a:pt x="202" y="175"/>
                  </a:cubicBezTo>
                  <a:cubicBezTo>
                    <a:pt x="193" y="175"/>
                    <a:pt x="184" y="175"/>
                    <a:pt x="175" y="175"/>
                  </a:cubicBezTo>
                  <a:cubicBezTo>
                    <a:pt x="171" y="175"/>
                    <a:pt x="168" y="174"/>
                    <a:pt x="166" y="171"/>
                  </a:cubicBezTo>
                  <a:cubicBezTo>
                    <a:pt x="163" y="163"/>
                    <a:pt x="164" y="154"/>
                    <a:pt x="166" y="146"/>
                  </a:cubicBezTo>
                  <a:cubicBezTo>
                    <a:pt x="167" y="142"/>
                    <a:pt x="171" y="142"/>
                    <a:pt x="175" y="142"/>
                  </a:cubicBezTo>
                  <a:cubicBezTo>
                    <a:pt x="196" y="142"/>
                    <a:pt x="217" y="142"/>
                    <a:pt x="238" y="142"/>
                  </a:cubicBezTo>
                  <a:cubicBezTo>
                    <a:pt x="247" y="142"/>
                    <a:pt x="248" y="148"/>
                    <a:pt x="248" y="155"/>
                  </a:cubicBezTo>
                  <a:cubicBezTo>
                    <a:pt x="249" y="169"/>
                    <a:pt x="248" y="183"/>
                    <a:pt x="248" y="198"/>
                  </a:cubicBezTo>
                  <a:close/>
                  <a:moveTo>
                    <a:pt x="884" y="1181"/>
                  </a:moveTo>
                  <a:cubicBezTo>
                    <a:pt x="889" y="1167"/>
                    <a:pt x="894" y="1152"/>
                    <a:pt x="898" y="1137"/>
                  </a:cubicBezTo>
                  <a:cubicBezTo>
                    <a:pt x="901" y="1127"/>
                    <a:pt x="905" y="1116"/>
                    <a:pt x="908" y="1106"/>
                  </a:cubicBezTo>
                  <a:cubicBezTo>
                    <a:pt x="911" y="1098"/>
                    <a:pt x="912" y="1089"/>
                    <a:pt x="916" y="1081"/>
                  </a:cubicBezTo>
                  <a:cubicBezTo>
                    <a:pt x="921" y="1072"/>
                    <a:pt x="923" y="1060"/>
                    <a:pt x="927" y="1050"/>
                  </a:cubicBezTo>
                  <a:cubicBezTo>
                    <a:pt x="932" y="1037"/>
                    <a:pt x="934" y="1023"/>
                    <a:pt x="940" y="1010"/>
                  </a:cubicBezTo>
                  <a:cubicBezTo>
                    <a:pt x="945" y="1001"/>
                    <a:pt x="941" y="995"/>
                    <a:pt x="931" y="995"/>
                  </a:cubicBezTo>
                  <a:cubicBezTo>
                    <a:pt x="927" y="995"/>
                    <a:pt x="922" y="995"/>
                    <a:pt x="918" y="995"/>
                  </a:cubicBezTo>
                  <a:cubicBezTo>
                    <a:pt x="913" y="995"/>
                    <a:pt x="908" y="997"/>
                    <a:pt x="907" y="1001"/>
                  </a:cubicBezTo>
                  <a:cubicBezTo>
                    <a:pt x="904" y="1008"/>
                    <a:pt x="900" y="1015"/>
                    <a:pt x="899" y="1023"/>
                  </a:cubicBezTo>
                  <a:cubicBezTo>
                    <a:pt x="897" y="1034"/>
                    <a:pt x="893" y="1045"/>
                    <a:pt x="889" y="1055"/>
                  </a:cubicBezTo>
                  <a:cubicBezTo>
                    <a:pt x="887" y="1064"/>
                    <a:pt x="885" y="1072"/>
                    <a:pt x="882" y="1080"/>
                  </a:cubicBezTo>
                  <a:cubicBezTo>
                    <a:pt x="878" y="1091"/>
                    <a:pt x="874" y="1103"/>
                    <a:pt x="871" y="1115"/>
                  </a:cubicBezTo>
                  <a:cubicBezTo>
                    <a:pt x="870" y="1118"/>
                    <a:pt x="871" y="1124"/>
                    <a:pt x="866" y="1124"/>
                  </a:cubicBezTo>
                  <a:cubicBezTo>
                    <a:pt x="861" y="1125"/>
                    <a:pt x="859" y="1120"/>
                    <a:pt x="858" y="1115"/>
                  </a:cubicBezTo>
                  <a:cubicBezTo>
                    <a:pt x="856" y="1110"/>
                    <a:pt x="856" y="1104"/>
                    <a:pt x="854" y="1099"/>
                  </a:cubicBezTo>
                  <a:cubicBezTo>
                    <a:pt x="848" y="1080"/>
                    <a:pt x="841" y="1062"/>
                    <a:pt x="835" y="1044"/>
                  </a:cubicBezTo>
                  <a:cubicBezTo>
                    <a:pt x="831" y="1030"/>
                    <a:pt x="828" y="1016"/>
                    <a:pt x="822" y="1003"/>
                  </a:cubicBezTo>
                  <a:cubicBezTo>
                    <a:pt x="819" y="997"/>
                    <a:pt x="814" y="994"/>
                    <a:pt x="808" y="994"/>
                  </a:cubicBezTo>
                  <a:cubicBezTo>
                    <a:pt x="799" y="993"/>
                    <a:pt x="791" y="993"/>
                    <a:pt x="787" y="1001"/>
                  </a:cubicBezTo>
                  <a:cubicBezTo>
                    <a:pt x="783" y="1008"/>
                    <a:pt x="780" y="1015"/>
                    <a:pt x="779" y="1022"/>
                  </a:cubicBezTo>
                  <a:cubicBezTo>
                    <a:pt x="778" y="1034"/>
                    <a:pt x="772" y="1044"/>
                    <a:pt x="769" y="1055"/>
                  </a:cubicBezTo>
                  <a:cubicBezTo>
                    <a:pt x="762" y="1076"/>
                    <a:pt x="754" y="1096"/>
                    <a:pt x="749" y="1117"/>
                  </a:cubicBezTo>
                  <a:cubicBezTo>
                    <a:pt x="748" y="1120"/>
                    <a:pt x="747" y="1124"/>
                    <a:pt x="742" y="1124"/>
                  </a:cubicBezTo>
                  <a:cubicBezTo>
                    <a:pt x="737" y="1124"/>
                    <a:pt x="737" y="1120"/>
                    <a:pt x="736" y="1116"/>
                  </a:cubicBezTo>
                  <a:cubicBezTo>
                    <a:pt x="734" y="1104"/>
                    <a:pt x="730" y="1092"/>
                    <a:pt x="726" y="1080"/>
                  </a:cubicBezTo>
                  <a:cubicBezTo>
                    <a:pt x="720" y="1061"/>
                    <a:pt x="714" y="1040"/>
                    <a:pt x="708" y="1020"/>
                  </a:cubicBezTo>
                  <a:cubicBezTo>
                    <a:pt x="703" y="1000"/>
                    <a:pt x="698" y="994"/>
                    <a:pt x="676" y="995"/>
                  </a:cubicBezTo>
                  <a:cubicBezTo>
                    <a:pt x="665" y="996"/>
                    <a:pt x="661" y="1001"/>
                    <a:pt x="667" y="1011"/>
                  </a:cubicBezTo>
                  <a:cubicBezTo>
                    <a:pt x="669" y="1016"/>
                    <a:pt x="670" y="1021"/>
                    <a:pt x="672" y="1025"/>
                  </a:cubicBezTo>
                  <a:cubicBezTo>
                    <a:pt x="675" y="1035"/>
                    <a:pt x="678" y="1046"/>
                    <a:pt x="681" y="1055"/>
                  </a:cubicBezTo>
                  <a:cubicBezTo>
                    <a:pt x="685" y="1068"/>
                    <a:pt x="689" y="1080"/>
                    <a:pt x="693" y="1092"/>
                  </a:cubicBezTo>
                  <a:cubicBezTo>
                    <a:pt x="697" y="1103"/>
                    <a:pt x="699" y="1113"/>
                    <a:pt x="703" y="1124"/>
                  </a:cubicBezTo>
                  <a:cubicBezTo>
                    <a:pt x="707" y="1136"/>
                    <a:pt x="711" y="1147"/>
                    <a:pt x="715" y="1160"/>
                  </a:cubicBezTo>
                  <a:cubicBezTo>
                    <a:pt x="717" y="1168"/>
                    <a:pt x="720" y="1176"/>
                    <a:pt x="724" y="1183"/>
                  </a:cubicBezTo>
                  <a:cubicBezTo>
                    <a:pt x="728" y="1189"/>
                    <a:pt x="752" y="1185"/>
                    <a:pt x="757" y="1180"/>
                  </a:cubicBezTo>
                  <a:cubicBezTo>
                    <a:pt x="764" y="1173"/>
                    <a:pt x="762" y="1163"/>
                    <a:pt x="766" y="1156"/>
                  </a:cubicBezTo>
                  <a:cubicBezTo>
                    <a:pt x="774" y="1140"/>
                    <a:pt x="778" y="1122"/>
                    <a:pt x="784" y="1105"/>
                  </a:cubicBezTo>
                  <a:cubicBezTo>
                    <a:pt x="789" y="1088"/>
                    <a:pt x="796" y="1072"/>
                    <a:pt x="800" y="1054"/>
                  </a:cubicBezTo>
                  <a:cubicBezTo>
                    <a:pt x="800" y="1053"/>
                    <a:pt x="801" y="1050"/>
                    <a:pt x="803" y="1050"/>
                  </a:cubicBezTo>
                  <a:cubicBezTo>
                    <a:pt x="806" y="1050"/>
                    <a:pt x="806" y="1052"/>
                    <a:pt x="807" y="1055"/>
                  </a:cubicBezTo>
                  <a:cubicBezTo>
                    <a:pt x="807" y="1060"/>
                    <a:pt x="810" y="1066"/>
                    <a:pt x="811" y="1071"/>
                  </a:cubicBezTo>
                  <a:cubicBezTo>
                    <a:pt x="814" y="1081"/>
                    <a:pt x="818" y="1090"/>
                    <a:pt x="821" y="1099"/>
                  </a:cubicBezTo>
                  <a:cubicBezTo>
                    <a:pt x="824" y="1110"/>
                    <a:pt x="827" y="1120"/>
                    <a:pt x="831" y="1131"/>
                  </a:cubicBezTo>
                  <a:cubicBezTo>
                    <a:pt x="834" y="1142"/>
                    <a:pt x="839" y="1153"/>
                    <a:pt x="842" y="1164"/>
                  </a:cubicBezTo>
                  <a:cubicBezTo>
                    <a:pt x="846" y="1179"/>
                    <a:pt x="850" y="1188"/>
                    <a:pt x="869" y="1185"/>
                  </a:cubicBezTo>
                  <a:cubicBezTo>
                    <a:pt x="873" y="1184"/>
                    <a:pt x="881" y="1189"/>
                    <a:pt x="884" y="1181"/>
                  </a:cubicBezTo>
                  <a:close/>
                  <a:moveTo>
                    <a:pt x="33" y="1051"/>
                  </a:moveTo>
                  <a:cubicBezTo>
                    <a:pt x="33" y="1087"/>
                    <a:pt x="33" y="1124"/>
                    <a:pt x="33" y="1160"/>
                  </a:cubicBezTo>
                  <a:cubicBezTo>
                    <a:pt x="33" y="1188"/>
                    <a:pt x="29" y="1184"/>
                    <a:pt x="58" y="1185"/>
                  </a:cubicBezTo>
                  <a:cubicBezTo>
                    <a:pt x="72" y="1185"/>
                    <a:pt x="73" y="1184"/>
                    <a:pt x="73" y="1170"/>
                  </a:cubicBezTo>
                  <a:cubicBezTo>
                    <a:pt x="73" y="1138"/>
                    <a:pt x="73" y="1107"/>
                    <a:pt x="73" y="1076"/>
                  </a:cubicBezTo>
                  <a:cubicBezTo>
                    <a:pt x="73" y="1071"/>
                    <a:pt x="72" y="1067"/>
                    <a:pt x="78" y="1065"/>
                  </a:cubicBezTo>
                  <a:cubicBezTo>
                    <a:pt x="91" y="1062"/>
                    <a:pt x="102" y="1067"/>
                    <a:pt x="110" y="1076"/>
                  </a:cubicBezTo>
                  <a:cubicBezTo>
                    <a:pt x="112" y="1080"/>
                    <a:pt x="115" y="1083"/>
                    <a:pt x="118" y="1086"/>
                  </a:cubicBezTo>
                  <a:cubicBezTo>
                    <a:pt x="132" y="1103"/>
                    <a:pt x="146" y="1119"/>
                    <a:pt x="161" y="1136"/>
                  </a:cubicBezTo>
                  <a:cubicBezTo>
                    <a:pt x="173" y="1150"/>
                    <a:pt x="186" y="1165"/>
                    <a:pt x="198" y="1179"/>
                  </a:cubicBezTo>
                  <a:cubicBezTo>
                    <a:pt x="207" y="1188"/>
                    <a:pt x="218" y="1184"/>
                    <a:pt x="228" y="1185"/>
                  </a:cubicBezTo>
                  <a:cubicBezTo>
                    <a:pt x="233" y="1185"/>
                    <a:pt x="241" y="1188"/>
                    <a:pt x="244" y="1182"/>
                  </a:cubicBezTo>
                  <a:cubicBezTo>
                    <a:pt x="246" y="1178"/>
                    <a:pt x="239" y="1173"/>
                    <a:pt x="235" y="1169"/>
                  </a:cubicBezTo>
                  <a:cubicBezTo>
                    <a:pt x="206" y="1133"/>
                    <a:pt x="176" y="1098"/>
                    <a:pt x="146" y="1062"/>
                  </a:cubicBezTo>
                  <a:cubicBezTo>
                    <a:pt x="141" y="1056"/>
                    <a:pt x="131" y="1052"/>
                    <a:pt x="132" y="1044"/>
                  </a:cubicBezTo>
                  <a:cubicBezTo>
                    <a:pt x="132" y="1036"/>
                    <a:pt x="142" y="1032"/>
                    <a:pt x="147" y="1026"/>
                  </a:cubicBezTo>
                  <a:cubicBezTo>
                    <a:pt x="164" y="1006"/>
                    <a:pt x="182" y="988"/>
                    <a:pt x="198" y="968"/>
                  </a:cubicBezTo>
                  <a:cubicBezTo>
                    <a:pt x="209" y="954"/>
                    <a:pt x="221" y="942"/>
                    <a:pt x="234" y="929"/>
                  </a:cubicBezTo>
                  <a:cubicBezTo>
                    <a:pt x="236" y="926"/>
                    <a:pt x="238" y="923"/>
                    <a:pt x="237" y="920"/>
                  </a:cubicBezTo>
                  <a:cubicBezTo>
                    <a:pt x="235" y="915"/>
                    <a:pt x="231" y="917"/>
                    <a:pt x="228" y="917"/>
                  </a:cubicBezTo>
                  <a:cubicBezTo>
                    <a:pt x="224" y="918"/>
                    <a:pt x="221" y="918"/>
                    <a:pt x="217" y="918"/>
                  </a:cubicBezTo>
                  <a:cubicBezTo>
                    <a:pt x="204" y="917"/>
                    <a:pt x="193" y="922"/>
                    <a:pt x="185" y="931"/>
                  </a:cubicBezTo>
                  <a:cubicBezTo>
                    <a:pt x="172" y="946"/>
                    <a:pt x="158" y="961"/>
                    <a:pt x="145" y="977"/>
                  </a:cubicBezTo>
                  <a:cubicBezTo>
                    <a:pt x="131" y="993"/>
                    <a:pt x="117" y="1010"/>
                    <a:pt x="102" y="1026"/>
                  </a:cubicBezTo>
                  <a:cubicBezTo>
                    <a:pt x="96" y="1032"/>
                    <a:pt x="87" y="1037"/>
                    <a:pt x="78" y="1034"/>
                  </a:cubicBezTo>
                  <a:cubicBezTo>
                    <a:pt x="70" y="1030"/>
                    <a:pt x="73" y="1021"/>
                    <a:pt x="73" y="1015"/>
                  </a:cubicBezTo>
                  <a:cubicBezTo>
                    <a:pt x="73" y="991"/>
                    <a:pt x="73" y="967"/>
                    <a:pt x="73" y="944"/>
                  </a:cubicBezTo>
                  <a:cubicBezTo>
                    <a:pt x="73" y="916"/>
                    <a:pt x="75" y="917"/>
                    <a:pt x="46" y="918"/>
                  </a:cubicBezTo>
                  <a:cubicBezTo>
                    <a:pt x="33" y="918"/>
                    <a:pt x="33" y="918"/>
                    <a:pt x="33" y="931"/>
                  </a:cubicBezTo>
                  <a:cubicBezTo>
                    <a:pt x="33" y="971"/>
                    <a:pt x="33" y="1011"/>
                    <a:pt x="33" y="1051"/>
                  </a:cubicBezTo>
                  <a:cubicBezTo>
                    <a:pt x="33" y="1051"/>
                    <a:pt x="33" y="1051"/>
                    <a:pt x="33" y="1051"/>
                  </a:cubicBezTo>
                  <a:close/>
                  <a:moveTo>
                    <a:pt x="639" y="84"/>
                  </a:moveTo>
                  <a:cubicBezTo>
                    <a:pt x="627" y="84"/>
                    <a:pt x="626" y="84"/>
                    <a:pt x="629" y="95"/>
                  </a:cubicBezTo>
                  <a:cubicBezTo>
                    <a:pt x="634" y="113"/>
                    <a:pt x="640" y="131"/>
                    <a:pt x="646" y="148"/>
                  </a:cubicBezTo>
                  <a:cubicBezTo>
                    <a:pt x="652" y="166"/>
                    <a:pt x="658" y="185"/>
                    <a:pt x="664" y="203"/>
                  </a:cubicBezTo>
                  <a:cubicBezTo>
                    <a:pt x="671" y="223"/>
                    <a:pt x="676" y="244"/>
                    <a:pt x="684" y="264"/>
                  </a:cubicBezTo>
                  <a:cubicBezTo>
                    <a:pt x="688" y="274"/>
                    <a:pt x="694" y="274"/>
                    <a:pt x="702" y="274"/>
                  </a:cubicBezTo>
                  <a:cubicBezTo>
                    <a:pt x="711" y="274"/>
                    <a:pt x="719" y="272"/>
                    <a:pt x="723" y="263"/>
                  </a:cubicBezTo>
                  <a:cubicBezTo>
                    <a:pt x="733" y="236"/>
                    <a:pt x="741" y="208"/>
                    <a:pt x="750" y="181"/>
                  </a:cubicBezTo>
                  <a:cubicBezTo>
                    <a:pt x="754" y="169"/>
                    <a:pt x="757" y="156"/>
                    <a:pt x="763" y="145"/>
                  </a:cubicBezTo>
                  <a:cubicBezTo>
                    <a:pt x="764" y="143"/>
                    <a:pt x="764" y="140"/>
                    <a:pt x="767" y="140"/>
                  </a:cubicBezTo>
                  <a:cubicBezTo>
                    <a:pt x="770" y="140"/>
                    <a:pt x="770" y="143"/>
                    <a:pt x="771" y="145"/>
                  </a:cubicBezTo>
                  <a:cubicBezTo>
                    <a:pt x="771" y="156"/>
                    <a:pt x="777" y="165"/>
                    <a:pt x="780" y="175"/>
                  </a:cubicBezTo>
                  <a:cubicBezTo>
                    <a:pt x="782" y="184"/>
                    <a:pt x="785" y="193"/>
                    <a:pt x="788" y="201"/>
                  </a:cubicBezTo>
                  <a:cubicBezTo>
                    <a:pt x="794" y="219"/>
                    <a:pt x="801" y="237"/>
                    <a:pt x="806" y="255"/>
                  </a:cubicBezTo>
                  <a:cubicBezTo>
                    <a:pt x="811" y="272"/>
                    <a:pt x="825" y="280"/>
                    <a:pt x="842" y="273"/>
                  </a:cubicBezTo>
                  <a:cubicBezTo>
                    <a:pt x="845" y="271"/>
                    <a:pt x="847" y="269"/>
                    <a:pt x="848" y="266"/>
                  </a:cubicBezTo>
                  <a:cubicBezTo>
                    <a:pt x="853" y="251"/>
                    <a:pt x="859" y="236"/>
                    <a:pt x="863" y="221"/>
                  </a:cubicBezTo>
                  <a:cubicBezTo>
                    <a:pt x="867" y="202"/>
                    <a:pt x="875" y="185"/>
                    <a:pt x="880" y="166"/>
                  </a:cubicBezTo>
                  <a:cubicBezTo>
                    <a:pt x="886" y="144"/>
                    <a:pt x="895" y="123"/>
                    <a:pt x="900" y="101"/>
                  </a:cubicBezTo>
                  <a:cubicBezTo>
                    <a:pt x="901" y="96"/>
                    <a:pt x="909" y="91"/>
                    <a:pt x="904" y="86"/>
                  </a:cubicBezTo>
                  <a:cubicBezTo>
                    <a:pt x="900" y="81"/>
                    <a:pt x="892" y="84"/>
                    <a:pt x="886" y="84"/>
                  </a:cubicBezTo>
                  <a:cubicBezTo>
                    <a:pt x="885" y="84"/>
                    <a:pt x="883" y="84"/>
                    <a:pt x="881" y="84"/>
                  </a:cubicBezTo>
                  <a:cubicBezTo>
                    <a:pt x="875" y="84"/>
                    <a:pt x="872" y="86"/>
                    <a:pt x="869" y="91"/>
                  </a:cubicBezTo>
                  <a:cubicBezTo>
                    <a:pt x="860" y="110"/>
                    <a:pt x="856" y="131"/>
                    <a:pt x="850" y="151"/>
                  </a:cubicBezTo>
                  <a:cubicBezTo>
                    <a:pt x="844" y="170"/>
                    <a:pt x="836" y="188"/>
                    <a:pt x="834" y="208"/>
                  </a:cubicBezTo>
                  <a:cubicBezTo>
                    <a:pt x="833" y="211"/>
                    <a:pt x="831" y="214"/>
                    <a:pt x="827" y="214"/>
                  </a:cubicBezTo>
                  <a:cubicBezTo>
                    <a:pt x="823" y="214"/>
                    <a:pt x="822" y="210"/>
                    <a:pt x="822" y="207"/>
                  </a:cubicBezTo>
                  <a:cubicBezTo>
                    <a:pt x="817" y="188"/>
                    <a:pt x="811" y="170"/>
                    <a:pt x="805" y="152"/>
                  </a:cubicBezTo>
                  <a:cubicBezTo>
                    <a:pt x="799" y="133"/>
                    <a:pt x="794" y="114"/>
                    <a:pt x="786" y="96"/>
                  </a:cubicBezTo>
                  <a:cubicBezTo>
                    <a:pt x="783" y="87"/>
                    <a:pt x="779" y="84"/>
                    <a:pt x="770" y="84"/>
                  </a:cubicBezTo>
                  <a:cubicBezTo>
                    <a:pt x="761" y="84"/>
                    <a:pt x="752" y="82"/>
                    <a:pt x="748" y="94"/>
                  </a:cubicBezTo>
                  <a:cubicBezTo>
                    <a:pt x="744" y="109"/>
                    <a:pt x="738" y="123"/>
                    <a:pt x="734" y="138"/>
                  </a:cubicBezTo>
                  <a:cubicBezTo>
                    <a:pt x="729" y="153"/>
                    <a:pt x="724" y="167"/>
                    <a:pt x="719" y="182"/>
                  </a:cubicBezTo>
                  <a:cubicBezTo>
                    <a:pt x="716" y="192"/>
                    <a:pt x="715" y="203"/>
                    <a:pt x="708" y="212"/>
                  </a:cubicBezTo>
                  <a:cubicBezTo>
                    <a:pt x="707" y="214"/>
                    <a:pt x="707" y="217"/>
                    <a:pt x="704" y="217"/>
                  </a:cubicBezTo>
                  <a:cubicBezTo>
                    <a:pt x="701" y="217"/>
                    <a:pt x="701" y="213"/>
                    <a:pt x="700" y="211"/>
                  </a:cubicBezTo>
                  <a:cubicBezTo>
                    <a:pt x="699" y="198"/>
                    <a:pt x="694" y="186"/>
                    <a:pt x="690" y="174"/>
                  </a:cubicBezTo>
                  <a:cubicBezTo>
                    <a:pt x="684" y="153"/>
                    <a:pt x="677" y="131"/>
                    <a:pt x="672" y="110"/>
                  </a:cubicBezTo>
                  <a:cubicBezTo>
                    <a:pt x="667" y="88"/>
                    <a:pt x="663" y="84"/>
                    <a:pt x="645" y="84"/>
                  </a:cubicBezTo>
                  <a:cubicBezTo>
                    <a:pt x="643" y="84"/>
                    <a:pt x="641" y="84"/>
                    <a:pt x="639" y="84"/>
                  </a:cubicBezTo>
                  <a:close/>
                  <a:moveTo>
                    <a:pt x="507" y="711"/>
                  </a:moveTo>
                  <a:cubicBezTo>
                    <a:pt x="507" y="730"/>
                    <a:pt x="507" y="730"/>
                    <a:pt x="526" y="730"/>
                  </a:cubicBezTo>
                  <a:cubicBezTo>
                    <a:pt x="539" y="730"/>
                    <a:pt x="541" y="729"/>
                    <a:pt x="541" y="715"/>
                  </a:cubicBezTo>
                  <a:cubicBezTo>
                    <a:pt x="541" y="677"/>
                    <a:pt x="541" y="638"/>
                    <a:pt x="540" y="600"/>
                  </a:cubicBezTo>
                  <a:cubicBezTo>
                    <a:pt x="540" y="593"/>
                    <a:pt x="543" y="587"/>
                    <a:pt x="548" y="582"/>
                  </a:cubicBezTo>
                  <a:cubicBezTo>
                    <a:pt x="553" y="576"/>
                    <a:pt x="559" y="573"/>
                    <a:pt x="564" y="569"/>
                  </a:cubicBezTo>
                  <a:cubicBezTo>
                    <a:pt x="574" y="564"/>
                    <a:pt x="594" y="566"/>
                    <a:pt x="602" y="574"/>
                  </a:cubicBezTo>
                  <a:cubicBezTo>
                    <a:pt x="611" y="582"/>
                    <a:pt x="614" y="592"/>
                    <a:pt x="614" y="604"/>
                  </a:cubicBezTo>
                  <a:cubicBezTo>
                    <a:pt x="614" y="638"/>
                    <a:pt x="614" y="672"/>
                    <a:pt x="614" y="706"/>
                  </a:cubicBezTo>
                  <a:cubicBezTo>
                    <a:pt x="614" y="730"/>
                    <a:pt x="614" y="730"/>
                    <a:pt x="638" y="730"/>
                  </a:cubicBezTo>
                  <a:cubicBezTo>
                    <a:pt x="650" y="730"/>
                    <a:pt x="650" y="730"/>
                    <a:pt x="650" y="717"/>
                  </a:cubicBezTo>
                  <a:cubicBezTo>
                    <a:pt x="650" y="684"/>
                    <a:pt x="650" y="650"/>
                    <a:pt x="650" y="617"/>
                  </a:cubicBezTo>
                  <a:cubicBezTo>
                    <a:pt x="650" y="606"/>
                    <a:pt x="651" y="597"/>
                    <a:pt x="657" y="586"/>
                  </a:cubicBezTo>
                  <a:cubicBezTo>
                    <a:pt x="667" y="565"/>
                    <a:pt x="703" y="560"/>
                    <a:pt x="716" y="579"/>
                  </a:cubicBezTo>
                  <a:cubicBezTo>
                    <a:pt x="723" y="588"/>
                    <a:pt x="724" y="598"/>
                    <a:pt x="724" y="609"/>
                  </a:cubicBezTo>
                  <a:cubicBezTo>
                    <a:pt x="724" y="645"/>
                    <a:pt x="724" y="682"/>
                    <a:pt x="724" y="718"/>
                  </a:cubicBezTo>
                  <a:cubicBezTo>
                    <a:pt x="724" y="727"/>
                    <a:pt x="727" y="731"/>
                    <a:pt x="736" y="730"/>
                  </a:cubicBezTo>
                  <a:cubicBezTo>
                    <a:pt x="738" y="730"/>
                    <a:pt x="741" y="730"/>
                    <a:pt x="743" y="730"/>
                  </a:cubicBezTo>
                  <a:cubicBezTo>
                    <a:pt x="758" y="730"/>
                    <a:pt x="759" y="729"/>
                    <a:pt x="759" y="715"/>
                  </a:cubicBezTo>
                  <a:cubicBezTo>
                    <a:pt x="759" y="677"/>
                    <a:pt x="758" y="639"/>
                    <a:pt x="759" y="601"/>
                  </a:cubicBezTo>
                  <a:cubicBezTo>
                    <a:pt x="759" y="571"/>
                    <a:pt x="742" y="540"/>
                    <a:pt x="704" y="538"/>
                  </a:cubicBezTo>
                  <a:cubicBezTo>
                    <a:pt x="681" y="536"/>
                    <a:pt x="661" y="542"/>
                    <a:pt x="646" y="560"/>
                  </a:cubicBezTo>
                  <a:cubicBezTo>
                    <a:pt x="638" y="569"/>
                    <a:pt x="638" y="569"/>
                    <a:pt x="631" y="559"/>
                  </a:cubicBezTo>
                  <a:cubicBezTo>
                    <a:pt x="630" y="558"/>
                    <a:pt x="630" y="557"/>
                    <a:pt x="629" y="556"/>
                  </a:cubicBezTo>
                  <a:cubicBezTo>
                    <a:pt x="623" y="548"/>
                    <a:pt x="616" y="541"/>
                    <a:pt x="607" y="539"/>
                  </a:cubicBezTo>
                  <a:cubicBezTo>
                    <a:pt x="584" y="534"/>
                    <a:pt x="563" y="539"/>
                    <a:pt x="545" y="555"/>
                  </a:cubicBezTo>
                  <a:cubicBezTo>
                    <a:pt x="540" y="559"/>
                    <a:pt x="537" y="561"/>
                    <a:pt x="537" y="552"/>
                  </a:cubicBezTo>
                  <a:cubicBezTo>
                    <a:pt x="536" y="543"/>
                    <a:pt x="526" y="538"/>
                    <a:pt x="515" y="539"/>
                  </a:cubicBezTo>
                  <a:cubicBezTo>
                    <a:pt x="506" y="540"/>
                    <a:pt x="507" y="546"/>
                    <a:pt x="507" y="552"/>
                  </a:cubicBezTo>
                  <a:cubicBezTo>
                    <a:pt x="507" y="580"/>
                    <a:pt x="507" y="607"/>
                    <a:pt x="507" y="634"/>
                  </a:cubicBezTo>
                  <a:cubicBezTo>
                    <a:pt x="507" y="660"/>
                    <a:pt x="507" y="685"/>
                    <a:pt x="507" y="711"/>
                  </a:cubicBezTo>
                  <a:close/>
                  <a:moveTo>
                    <a:pt x="1525" y="1142"/>
                  </a:moveTo>
                  <a:cubicBezTo>
                    <a:pt x="1517" y="1143"/>
                    <a:pt x="1511" y="1141"/>
                    <a:pt x="1505" y="1136"/>
                  </a:cubicBezTo>
                  <a:cubicBezTo>
                    <a:pt x="1501" y="1133"/>
                    <a:pt x="1495" y="1130"/>
                    <a:pt x="1498" y="1124"/>
                  </a:cubicBezTo>
                  <a:cubicBezTo>
                    <a:pt x="1500" y="1118"/>
                    <a:pt x="1504" y="1114"/>
                    <a:pt x="1512" y="1114"/>
                  </a:cubicBezTo>
                  <a:cubicBezTo>
                    <a:pt x="1521" y="1115"/>
                    <a:pt x="1530" y="1114"/>
                    <a:pt x="1538" y="1115"/>
                  </a:cubicBezTo>
                  <a:cubicBezTo>
                    <a:pt x="1573" y="1117"/>
                    <a:pt x="1610" y="1084"/>
                    <a:pt x="1602" y="1044"/>
                  </a:cubicBezTo>
                  <a:cubicBezTo>
                    <a:pt x="1600" y="1035"/>
                    <a:pt x="1599" y="1028"/>
                    <a:pt x="1611" y="1027"/>
                  </a:cubicBezTo>
                  <a:cubicBezTo>
                    <a:pt x="1614" y="1027"/>
                    <a:pt x="1617" y="1024"/>
                    <a:pt x="1619" y="1023"/>
                  </a:cubicBezTo>
                  <a:cubicBezTo>
                    <a:pt x="1626" y="1019"/>
                    <a:pt x="1624" y="1013"/>
                    <a:pt x="1623" y="1008"/>
                  </a:cubicBezTo>
                  <a:cubicBezTo>
                    <a:pt x="1623" y="1002"/>
                    <a:pt x="1618" y="1003"/>
                    <a:pt x="1613" y="1002"/>
                  </a:cubicBezTo>
                  <a:cubicBezTo>
                    <a:pt x="1598" y="1002"/>
                    <a:pt x="1582" y="1004"/>
                    <a:pt x="1567" y="1000"/>
                  </a:cubicBezTo>
                  <a:cubicBezTo>
                    <a:pt x="1560" y="999"/>
                    <a:pt x="1554" y="993"/>
                    <a:pt x="1546" y="993"/>
                  </a:cubicBezTo>
                  <a:cubicBezTo>
                    <a:pt x="1536" y="994"/>
                    <a:pt x="1525" y="992"/>
                    <a:pt x="1515" y="993"/>
                  </a:cubicBezTo>
                  <a:cubicBezTo>
                    <a:pt x="1490" y="997"/>
                    <a:pt x="1469" y="1010"/>
                    <a:pt x="1462" y="1034"/>
                  </a:cubicBezTo>
                  <a:cubicBezTo>
                    <a:pt x="1455" y="1056"/>
                    <a:pt x="1457" y="1079"/>
                    <a:pt x="1476" y="1096"/>
                  </a:cubicBezTo>
                  <a:cubicBezTo>
                    <a:pt x="1483" y="1103"/>
                    <a:pt x="1483" y="1107"/>
                    <a:pt x="1476" y="1113"/>
                  </a:cubicBezTo>
                  <a:cubicBezTo>
                    <a:pt x="1462" y="1126"/>
                    <a:pt x="1462" y="1142"/>
                    <a:pt x="1473" y="1157"/>
                  </a:cubicBezTo>
                  <a:cubicBezTo>
                    <a:pt x="1476" y="1160"/>
                    <a:pt x="1476" y="1162"/>
                    <a:pt x="1472" y="1164"/>
                  </a:cubicBezTo>
                  <a:cubicBezTo>
                    <a:pt x="1470" y="1166"/>
                    <a:pt x="1468" y="1168"/>
                    <a:pt x="1466" y="1170"/>
                  </a:cubicBezTo>
                  <a:cubicBezTo>
                    <a:pt x="1449" y="1183"/>
                    <a:pt x="1444" y="1201"/>
                    <a:pt x="1454" y="1218"/>
                  </a:cubicBezTo>
                  <a:cubicBezTo>
                    <a:pt x="1464" y="1235"/>
                    <a:pt x="1479" y="1246"/>
                    <a:pt x="1499" y="1249"/>
                  </a:cubicBezTo>
                  <a:cubicBezTo>
                    <a:pt x="1517" y="1252"/>
                    <a:pt x="1535" y="1253"/>
                    <a:pt x="1553" y="1250"/>
                  </a:cubicBezTo>
                  <a:cubicBezTo>
                    <a:pt x="1584" y="1245"/>
                    <a:pt x="1607" y="1232"/>
                    <a:pt x="1619" y="1200"/>
                  </a:cubicBezTo>
                  <a:cubicBezTo>
                    <a:pt x="1627" y="1180"/>
                    <a:pt x="1611" y="1155"/>
                    <a:pt x="1593" y="1148"/>
                  </a:cubicBezTo>
                  <a:cubicBezTo>
                    <a:pt x="1578" y="1142"/>
                    <a:pt x="1563" y="1143"/>
                    <a:pt x="1549" y="1142"/>
                  </a:cubicBezTo>
                  <a:cubicBezTo>
                    <a:pt x="1540" y="1142"/>
                    <a:pt x="1532" y="1142"/>
                    <a:pt x="1525" y="1142"/>
                  </a:cubicBezTo>
                  <a:close/>
                  <a:moveTo>
                    <a:pt x="1556" y="1172"/>
                  </a:moveTo>
                  <a:cubicBezTo>
                    <a:pt x="1566" y="1172"/>
                    <a:pt x="1576" y="1176"/>
                    <a:pt x="1583" y="1183"/>
                  </a:cubicBezTo>
                  <a:cubicBezTo>
                    <a:pt x="1589" y="1190"/>
                    <a:pt x="1589" y="1198"/>
                    <a:pt x="1583" y="1205"/>
                  </a:cubicBezTo>
                  <a:cubicBezTo>
                    <a:pt x="1575" y="1215"/>
                    <a:pt x="1565" y="1220"/>
                    <a:pt x="1553" y="1223"/>
                  </a:cubicBezTo>
                  <a:cubicBezTo>
                    <a:pt x="1534" y="1228"/>
                    <a:pt x="1516" y="1225"/>
                    <a:pt x="1499" y="1219"/>
                  </a:cubicBezTo>
                  <a:cubicBezTo>
                    <a:pt x="1486" y="1214"/>
                    <a:pt x="1479" y="1203"/>
                    <a:pt x="1482" y="1193"/>
                  </a:cubicBezTo>
                  <a:cubicBezTo>
                    <a:pt x="1485" y="1182"/>
                    <a:pt x="1496" y="1168"/>
                    <a:pt x="1514" y="1171"/>
                  </a:cubicBezTo>
                  <a:cubicBezTo>
                    <a:pt x="1526" y="1173"/>
                    <a:pt x="1541" y="1171"/>
                    <a:pt x="1556" y="1172"/>
                  </a:cubicBezTo>
                  <a:close/>
                  <a:moveTo>
                    <a:pt x="1531" y="1019"/>
                  </a:moveTo>
                  <a:cubicBezTo>
                    <a:pt x="1553" y="1017"/>
                    <a:pt x="1570" y="1033"/>
                    <a:pt x="1570" y="1052"/>
                  </a:cubicBezTo>
                  <a:cubicBezTo>
                    <a:pt x="1570" y="1075"/>
                    <a:pt x="1554" y="1093"/>
                    <a:pt x="1532" y="1091"/>
                  </a:cubicBezTo>
                  <a:cubicBezTo>
                    <a:pt x="1508" y="1089"/>
                    <a:pt x="1494" y="1082"/>
                    <a:pt x="1493" y="1053"/>
                  </a:cubicBezTo>
                  <a:cubicBezTo>
                    <a:pt x="1494" y="1029"/>
                    <a:pt x="1508" y="1020"/>
                    <a:pt x="1531" y="1019"/>
                  </a:cubicBezTo>
                  <a:close/>
                  <a:moveTo>
                    <a:pt x="1413" y="934"/>
                  </a:moveTo>
                  <a:cubicBezTo>
                    <a:pt x="1413" y="909"/>
                    <a:pt x="1413" y="909"/>
                    <a:pt x="1389" y="910"/>
                  </a:cubicBezTo>
                  <a:cubicBezTo>
                    <a:pt x="1388" y="910"/>
                    <a:pt x="1387" y="910"/>
                    <a:pt x="1387" y="910"/>
                  </a:cubicBezTo>
                  <a:cubicBezTo>
                    <a:pt x="1379" y="910"/>
                    <a:pt x="1376" y="915"/>
                    <a:pt x="1376" y="921"/>
                  </a:cubicBezTo>
                  <a:cubicBezTo>
                    <a:pt x="1376" y="939"/>
                    <a:pt x="1377" y="956"/>
                    <a:pt x="1377" y="974"/>
                  </a:cubicBezTo>
                  <a:cubicBezTo>
                    <a:pt x="1377" y="983"/>
                    <a:pt x="1377" y="991"/>
                    <a:pt x="1377" y="1000"/>
                  </a:cubicBezTo>
                  <a:cubicBezTo>
                    <a:pt x="1377" y="1005"/>
                    <a:pt x="1374" y="1009"/>
                    <a:pt x="1369" y="1005"/>
                  </a:cubicBezTo>
                  <a:cubicBezTo>
                    <a:pt x="1352" y="990"/>
                    <a:pt x="1332" y="993"/>
                    <a:pt x="1312" y="993"/>
                  </a:cubicBezTo>
                  <a:cubicBezTo>
                    <a:pt x="1303" y="994"/>
                    <a:pt x="1294" y="998"/>
                    <a:pt x="1287" y="1003"/>
                  </a:cubicBezTo>
                  <a:cubicBezTo>
                    <a:pt x="1265" y="1017"/>
                    <a:pt x="1252" y="1039"/>
                    <a:pt x="1248" y="1065"/>
                  </a:cubicBezTo>
                  <a:cubicBezTo>
                    <a:pt x="1244" y="1096"/>
                    <a:pt x="1244" y="1128"/>
                    <a:pt x="1261" y="1157"/>
                  </a:cubicBezTo>
                  <a:cubicBezTo>
                    <a:pt x="1270" y="1170"/>
                    <a:pt x="1281" y="1181"/>
                    <a:pt x="1296" y="1185"/>
                  </a:cubicBezTo>
                  <a:cubicBezTo>
                    <a:pt x="1323" y="1191"/>
                    <a:pt x="1349" y="1188"/>
                    <a:pt x="1370" y="1167"/>
                  </a:cubicBezTo>
                  <a:cubicBezTo>
                    <a:pt x="1372" y="1165"/>
                    <a:pt x="1375" y="1162"/>
                    <a:pt x="1379" y="1163"/>
                  </a:cubicBezTo>
                  <a:cubicBezTo>
                    <a:pt x="1382" y="1165"/>
                    <a:pt x="1381" y="1169"/>
                    <a:pt x="1381" y="1172"/>
                  </a:cubicBezTo>
                  <a:cubicBezTo>
                    <a:pt x="1383" y="1181"/>
                    <a:pt x="1390" y="1186"/>
                    <a:pt x="1403" y="1186"/>
                  </a:cubicBezTo>
                  <a:cubicBezTo>
                    <a:pt x="1413" y="1185"/>
                    <a:pt x="1413" y="1178"/>
                    <a:pt x="1413" y="1172"/>
                  </a:cubicBezTo>
                  <a:cubicBezTo>
                    <a:pt x="1413" y="1131"/>
                    <a:pt x="1413" y="1090"/>
                    <a:pt x="1413" y="1049"/>
                  </a:cubicBezTo>
                  <a:cubicBezTo>
                    <a:pt x="1413" y="1010"/>
                    <a:pt x="1413" y="972"/>
                    <a:pt x="1413" y="934"/>
                  </a:cubicBezTo>
                  <a:close/>
                  <a:moveTo>
                    <a:pt x="1378" y="1113"/>
                  </a:moveTo>
                  <a:cubicBezTo>
                    <a:pt x="1378" y="1136"/>
                    <a:pt x="1360" y="1155"/>
                    <a:pt x="1337" y="1157"/>
                  </a:cubicBezTo>
                  <a:cubicBezTo>
                    <a:pt x="1319" y="1159"/>
                    <a:pt x="1304" y="1154"/>
                    <a:pt x="1294" y="1139"/>
                  </a:cubicBezTo>
                  <a:cubicBezTo>
                    <a:pt x="1286" y="1128"/>
                    <a:pt x="1283" y="1116"/>
                    <a:pt x="1283" y="1102"/>
                  </a:cubicBezTo>
                  <a:cubicBezTo>
                    <a:pt x="1282" y="1085"/>
                    <a:pt x="1282" y="1067"/>
                    <a:pt x="1290" y="1051"/>
                  </a:cubicBezTo>
                  <a:cubicBezTo>
                    <a:pt x="1297" y="1036"/>
                    <a:pt x="1308" y="1024"/>
                    <a:pt x="1325" y="1022"/>
                  </a:cubicBezTo>
                  <a:cubicBezTo>
                    <a:pt x="1342" y="1020"/>
                    <a:pt x="1358" y="1021"/>
                    <a:pt x="1371" y="1035"/>
                  </a:cubicBezTo>
                  <a:cubicBezTo>
                    <a:pt x="1376" y="1041"/>
                    <a:pt x="1378" y="1046"/>
                    <a:pt x="1378" y="1052"/>
                  </a:cubicBezTo>
                  <a:cubicBezTo>
                    <a:pt x="1378" y="1064"/>
                    <a:pt x="1378" y="1075"/>
                    <a:pt x="1378" y="1086"/>
                  </a:cubicBezTo>
                  <a:cubicBezTo>
                    <a:pt x="1378" y="1086"/>
                    <a:pt x="1378" y="1086"/>
                    <a:pt x="1378" y="1086"/>
                  </a:cubicBezTo>
                  <a:cubicBezTo>
                    <a:pt x="1378" y="1095"/>
                    <a:pt x="1378" y="1104"/>
                    <a:pt x="1378" y="1113"/>
                  </a:cubicBezTo>
                  <a:close/>
                  <a:moveTo>
                    <a:pt x="578" y="259"/>
                  </a:moveTo>
                  <a:cubicBezTo>
                    <a:pt x="603" y="241"/>
                    <a:pt x="611" y="213"/>
                    <a:pt x="614" y="183"/>
                  </a:cubicBezTo>
                  <a:cubicBezTo>
                    <a:pt x="615" y="171"/>
                    <a:pt x="610" y="159"/>
                    <a:pt x="609" y="147"/>
                  </a:cubicBezTo>
                  <a:cubicBezTo>
                    <a:pt x="608" y="137"/>
                    <a:pt x="603" y="129"/>
                    <a:pt x="599" y="121"/>
                  </a:cubicBezTo>
                  <a:cubicBezTo>
                    <a:pt x="579" y="87"/>
                    <a:pt x="527" y="70"/>
                    <a:pt x="488" y="85"/>
                  </a:cubicBezTo>
                  <a:cubicBezTo>
                    <a:pt x="453" y="99"/>
                    <a:pt x="436" y="127"/>
                    <a:pt x="431" y="163"/>
                  </a:cubicBezTo>
                  <a:cubicBezTo>
                    <a:pt x="429" y="180"/>
                    <a:pt x="430" y="196"/>
                    <a:pt x="436" y="213"/>
                  </a:cubicBezTo>
                  <a:cubicBezTo>
                    <a:pt x="439" y="222"/>
                    <a:pt x="442" y="232"/>
                    <a:pt x="447" y="239"/>
                  </a:cubicBezTo>
                  <a:cubicBezTo>
                    <a:pt x="465" y="265"/>
                    <a:pt x="491" y="277"/>
                    <a:pt x="525" y="276"/>
                  </a:cubicBezTo>
                  <a:cubicBezTo>
                    <a:pt x="543" y="278"/>
                    <a:pt x="562" y="271"/>
                    <a:pt x="578" y="259"/>
                  </a:cubicBezTo>
                  <a:close/>
                  <a:moveTo>
                    <a:pt x="471" y="205"/>
                  </a:moveTo>
                  <a:cubicBezTo>
                    <a:pt x="466" y="185"/>
                    <a:pt x="468" y="167"/>
                    <a:pt x="472" y="147"/>
                  </a:cubicBezTo>
                  <a:cubicBezTo>
                    <a:pt x="477" y="130"/>
                    <a:pt x="493" y="116"/>
                    <a:pt x="509" y="112"/>
                  </a:cubicBezTo>
                  <a:cubicBezTo>
                    <a:pt x="525" y="108"/>
                    <a:pt x="539" y="110"/>
                    <a:pt x="553" y="119"/>
                  </a:cubicBezTo>
                  <a:cubicBezTo>
                    <a:pt x="563" y="125"/>
                    <a:pt x="568" y="135"/>
                    <a:pt x="571" y="146"/>
                  </a:cubicBezTo>
                  <a:cubicBezTo>
                    <a:pt x="577" y="167"/>
                    <a:pt x="578" y="189"/>
                    <a:pt x="571" y="211"/>
                  </a:cubicBezTo>
                  <a:cubicBezTo>
                    <a:pt x="565" y="231"/>
                    <a:pt x="549" y="249"/>
                    <a:pt x="521" y="247"/>
                  </a:cubicBezTo>
                  <a:cubicBezTo>
                    <a:pt x="496" y="247"/>
                    <a:pt x="478" y="230"/>
                    <a:pt x="471" y="205"/>
                  </a:cubicBezTo>
                  <a:close/>
                  <a:moveTo>
                    <a:pt x="472" y="1122"/>
                  </a:moveTo>
                  <a:cubicBezTo>
                    <a:pt x="475" y="1136"/>
                    <a:pt x="481" y="1148"/>
                    <a:pt x="491" y="1158"/>
                  </a:cubicBezTo>
                  <a:cubicBezTo>
                    <a:pt x="506" y="1176"/>
                    <a:pt x="524" y="1185"/>
                    <a:pt x="548" y="1187"/>
                  </a:cubicBezTo>
                  <a:cubicBezTo>
                    <a:pt x="568" y="1188"/>
                    <a:pt x="587" y="1187"/>
                    <a:pt x="605" y="1177"/>
                  </a:cubicBezTo>
                  <a:cubicBezTo>
                    <a:pt x="632" y="1162"/>
                    <a:pt x="644" y="1136"/>
                    <a:pt x="649" y="1107"/>
                  </a:cubicBezTo>
                  <a:cubicBezTo>
                    <a:pt x="652" y="1089"/>
                    <a:pt x="649" y="1072"/>
                    <a:pt x="644" y="1054"/>
                  </a:cubicBezTo>
                  <a:cubicBezTo>
                    <a:pt x="638" y="1034"/>
                    <a:pt x="627" y="1019"/>
                    <a:pt x="610" y="1007"/>
                  </a:cubicBezTo>
                  <a:cubicBezTo>
                    <a:pt x="589" y="992"/>
                    <a:pt x="566" y="991"/>
                    <a:pt x="541" y="994"/>
                  </a:cubicBezTo>
                  <a:cubicBezTo>
                    <a:pt x="526" y="995"/>
                    <a:pt x="512" y="1002"/>
                    <a:pt x="500" y="1012"/>
                  </a:cubicBezTo>
                  <a:cubicBezTo>
                    <a:pt x="476" y="1032"/>
                    <a:pt x="469" y="1060"/>
                    <a:pt x="466" y="1095"/>
                  </a:cubicBezTo>
                  <a:cubicBezTo>
                    <a:pt x="465" y="1101"/>
                    <a:pt x="470" y="1111"/>
                    <a:pt x="472" y="1122"/>
                  </a:cubicBezTo>
                  <a:close/>
                  <a:moveTo>
                    <a:pt x="508" y="1113"/>
                  </a:moveTo>
                  <a:cubicBezTo>
                    <a:pt x="505" y="1095"/>
                    <a:pt x="506" y="1078"/>
                    <a:pt x="508" y="1061"/>
                  </a:cubicBezTo>
                  <a:cubicBezTo>
                    <a:pt x="511" y="1042"/>
                    <a:pt x="538" y="1021"/>
                    <a:pt x="554" y="1022"/>
                  </a:cubicBezTo>
                  <a:cubicBezTo>
                    <a:pt x="570" y="1022"/>
                    <a:pt x="586" y="1024"/>
                    <a:pt x="596" y="1037"/>
                  </a:cubicBezTo>
                  <a:cubicBezTo>
                    <a:pt x="602" y="1044"/>
                    <a:pt x="607" y="1052"/>
                    <a:pt x="608" y="1061"/>
                  </a:cubicBezTo>
                  <a:cubicBezTo>
                    <a:pt x="608" y="1064"/>
                    <a:pt x="609" y="1067"/>
                    <a:pt x="610" y="1070"/>
                  </a:cubicBezTo>
                  <a:cubicBezTo>
                    <a:pt x="618" y="1089"/>
                    <a:pt x="612" y="1107"/>
                    <a:pt x="607" y="1125"/>
                  </a:cubicBezTo>
                  <a:cubicBezTo>
                    <a:pt x="601" y="1143"/>
                    <a:pt x="588" y="1160"/>
                    <a:pt x="558" y="1157"/>
                  </a:cubicBezTo>
                  <a:cubicBezTo>
                    <a:pt x="530" y="1157"/>
                    <a:pt x="512" y="1141"/>
                    <a:pt x="508" y="1113"/>
                  </a:cubicBezTo>
                  <a:close/>
                  <a:moveTo>
                    <a:pt x="430" y="716"/>
                  </a:moveTo>
                  <a:cubicBezTo>
                    <a:pt x="450" y="703"/>
                    <a:pt x="459" y="683"/>
                    <a:pt x="464" y="661"/>
                  </a:cubicBezTo>
                  <a:cubicBezTo>
                    <a:pt x="468" y="648"/>
                    <a:pt x="467" y="635"/>
                    <a:pt x="466" y="621"/>
                  </a:cubicBezTo>
                  <a:cubicBezTo>
                    <a:pt x="463" y="592"/>
                    <a:pt x="453" y="567"/>
                    <a:pt x="427" y="550"/>
                  </a:cubicBezTo>
                  <a:cubicBezTo>
                    <a:pt x="401" y="534"/>
                    <a:pt x="372" y="532"/>
                    <a:pt x="345" y="541"/>
                  </a:cubicBezTo>
                  <a:cubicBezTo>
                    <a:pt x="310" y="552"/>
                    <a:pt x="291" y="580"/>
                    <a:pt x="287" y="617"/>
                  </a:cubicBezTo>
                  <a:cubicBezTo>
                    <a:pt x="286" y="629"/>
                    <a:pt x="286" y="641"/>
                    <a:pt x="287" y="654"/>
                  </a:cubicBezTo>
                  <a:cubicBezTo>
                    <a:pt x="289" y="671"/>
                    <a:pt x="295" y="686"/>
                    <a:pt x="306" y="700"/>
                  </a:cubicBezTo>
                  <a:cubicBezTo>
                    <a:pt x="324" y="722"/>
                    <a:pt x="348" y="733"/>
                    <a:pt x="378" y="731"/>
                  </a:cubicBezTo>
                  <a:cubicBezTo>
                    <a:pt x="396" y="733"/>
                    <a:pt x="414" y="727"/>
                    <a:pt x="430" y="716"/>
                  </a:cubicBezTo>
                  <a:close/>
                  <a:moveTo>
                    <a:pt x="331" y="592"/>
                  </a:moveTo>
                  <a:cubicBezTo>
                    <a:pt x="339" y="580"/>
                    <a:pt x="349" y="569"/>
                    <a:pt x="365" y="567"/>
                  </a:cubicBezTo>
                  <a:cubicBezTo>
                    <a:pt x="387" y="564"/>
                    <a:pt x="406" y="568"/>
                    <a:pt x="419" y="588"/>
                  </a:cubicBezTo>
                  <a:cubicBezTo>
                    <a:pt x="423" y="595"/>
                    <a:pt x="426" y="603"/>
                    <a:pt x="427" y="610"/>
                  </a:cubicBezTo>
                  <a:cubicBezTo>
                    <a:pt x="433" y="635"/>
                    <a:pt x="431" y="661"/>
                    <a:pt x="416" y="684"/>
                  </a:cubicBezTo>
                  <a:cubicBezTo>
                    <a:pt x="403" y="706"/>
                    <a:pt x="362" y="708"/>
                    <a:pt x="345" y="692"/>
                  </a:cubicBezTo>
                  <a:cubicBezTo>
                    <a:pt x="329" y="678"/>
                    <a:pt x="323" y="661"/>
                    <a:pt x="323" y="631"/>
                  </a:cubicBezTo>
                  <a:cubicBezTo>
                    <a:pt x="323" y="619"/>
                    <a:pt x="323" y="605"/>
                    <a:pt x="331" y="592"/>
                  </a:cubicBezTo>
                  <a:close/>
                  <a:moveTo>
                    <a:pt x="1073" y="259"/>
                  </a:moveTo>
                  <a:cubicBezTo>
                    <a:pt x="1073" y="269"/>
                    <a:pt x="1075" y="272"/>
                    <a:pt x="1086" y="272"/>
                  </a:cubicBezTo>
                  <a:cubicBezTo>
                    <a:pt x="1088" y="272"/>
                    <a:pt x="1090" y="272"/>
                    <a:pt x="1092" y="272"/>
                  </a:cubicBezTo>
                  <a:cubicBezTo>
                    <a:pt x="1105" y="272"/>
                    <a:pt x="1106" y="271"/>
                    <a:pt x="1106" y="258"/>
                  </a:cubicBezTo>
                  <a:cubicBezTo>
                    <a:pt x="1106" y="221"/>
                    <a:pt x="1106" y="184"/>
                    <a:pt x="1106" y="147"/>
                  </a:cubicBezTo>
                  <a:cubicBezTo>
                    <a:pt x="1106" y="143"/>
                    <a:pt x="1106" y="140"/>
                    <a:pt x="1107" y="137"/>
                  </a:cubicBezTo>
                  <a:cubicBezTo>
                    <a:pt x="1117" y="117"/>
                    <a:pt x="1157" y="104"/>
                    <a:pt x="1177" y="114"/>
                  </a:cubicBezTo>
                  <a:cubicBezTo>
                    <a:pt x="1179" y="115"/>
                    <a:pt x="1180" y="117"/>
                    <a:pt x="1182" y="118"/>
                  </a:cubicBezTo>
                  <a:cubicBezTo>
                    <a:pt x="1194" y="131"/>
                    <a:pt x="1196" y="147"/>
                    <a:pt x="1196" y="163"/>
                  </a:cubicBezTo>
                  <a:cubicBezTo>
                    <a:pt x="1197" y="195"/>
                    <a:pt x="1196" y="226"/>
                    <a:pt x="1196" y="258"/>
                  </a:cubicBezTo>
                  <a:cubicBezTo>
                    <a:pt x="1196" y="271"/>
                    <a:pt x="1197" y="272"/>
                    <a:pt x="1210" y="272"/>
                  </a:cubicBezTo>
                  <a:cubicBezTo>
                    <a:pt x="1212" y="272"/>
                    <a:pt x="1213" y="272"/>
                    <a:pt x="1215" y="272"/>
                  </a:cubicBezTo>
                  <a:cubicBezTo>
                    <a:pt x="1227" y="272"/>
                    <a:pt x="1229" y="270"/>
                    <a:pt x="1229" y="258"/>
                  </a:cubicBezTo>
                  <a:cubicBezTo>
                    <a:pt x="1229" y="222"/>
                    <a:pt x="1229" y="187"/>
                    <a:pt x="1229" y="151"/>
                  </a:cubicBezTo>
                  <a:cubicBezTo>
                    <a:pt x="1229" y="142"/>
                    <a:pt x="1228" y="132"/>
                    <a:pt x="1225" y="123"/>
                  </a:cubicBezTo>
                  <a:cubicBezTo>
                    <a:pt x="1219" y="105"/>
                    <a:pt x="1208" y="91"/>
                    <a:pt x="1189" y="85"/>
                  </a:cubicBezTo>
                  <a:cubicBezTo>
                    <a:pt x="1173" y="80"/>
                    <a:pt x="1156" y="84"/>
                    <a:pt x="1139" y="84"/>
                  </a:cubicBezTo>
                  <a:cubicBezTo>
                    <a:pt x="1137" y="84"/>
                    <a:pt x="1136" y="86"/>
                    <a:pt x="1134" y="87"/>
                  </a:cubicBezTo>
                  <a:cubicBezTo>
                    <a:pt x="1128" y="91"/>
                    <a:pt x="1121" y="96"/>
                    <a:pt x="1115" y="100"/>
                  </a:cubicBezTo>
                  <a:cubicBezTo>
                    <a:pt x="1113" y="102"/>
                    <a:pt x="1111" y="105"/>
                    <a:pt x="1108" y="103"/>
                  </a:cubicBezTo>
                  <a:cubicBezTo>
                    <a:pt x="1105" y="102"/>
                    <a:pt x="1106" y="98"/>
                    <a:pt x="1106" y="96"/>
                  </a:cubicBezTo>
                  <a:cubicBezTo>
                    <a:pt x="1106" y="69"/>
                    <a:pt x="1106" y="43"/>
                    <a:pt x="1106" y="17"/>
                  </a:cubicBezTo>
                  <a:cubicBezTo>
                    <a:pt x="1106" y="0"/>
                    <a:pt x="1106" y="0"/>
                    <a:pt x="1089" y="0"/>
                  </a:cubicBezTo>
                  <a:cubicBezTo>
                    <a:pt x="1074" y="0"/>
                    <a:pt x="1073" y="1"/>
                    <a:pt x="1073" y="16"/>
                  </a:cubicBezTo>
                  <a:cubicBezTo>
                    <a:pt x="1073" y="56"/>
                    <a:pt x="1073" y="96"/>
                    <a:pt x="1073" y="136"/>
                  </a:cubicBezTo>
                  <a:cubicBezTo>
                    <a:pt x="1073" y="177"/>
                    <a:pt x="1073" y="218"/>
                    <a:pt x="1073" y="259"/>
                  </a:cubicBezTo>
                  <a:close/>
                  <a:moveTo>
                    <a:pt x="1150" y="1092"/>
                  </a:moveTo>
                  <a:cubicBezTo>
                    <a:pt x="1168" y="1092"/>
                    <a:pt x="1186" y="1092"/>
                    <a:pt x="1204" y="1092"/>
                  </a:cubicBezTo>
                  <a:cubicBezTo>
                    <a:pt x="1215" y="1092"/>
                    <a:pt x="1218" y="1087"/>
                    <a:pt x="1219" y="1077"/>
                  </a:cubicBezTo>
                  <a:cubicBezTo>
                    <a:pt x="1220" y="1062"/>
                    <a:pt x="1216" y="1049"/>
                    <a:pt x="1210" y="1036"/>
                  </a:cubicBezTo>
                  <a:cubicBezTo>
                    <a:pt x="1204" y="1020"/>
                    <a:pt x="1193" y="1008"/>
                    <a:pt x="1177" y="1001"/>
                  </a:cubicBezTo>
                  <a:cubicBezTo>
                    <a:pt x="1155" y="992"/>
                    <a:pt x="1133" y="991"/>
                    <a:pt x="1109" y="999"/>
                  </a:cubicBezTo>
                  <a:cubicBezTo>
                    <a:pt x="1079" y="1010"/>
                    <a:pt x="1062" y="1031"/>
                    <a:pt x="1056" y="1061"/>
                  </a:cubicBezTo>
                  <a:cubicBezTo>
                    <a:pt x="1051" y="1090"/>
                    <a:pt x="1052" y="1120"/>
                    <a:pt x="1069" y="1148"/>
                  </a:cubicBezTo>
                  <a:cubicBezTo>
                    <a:pt x="1081" y="1169"/>
                    <a:pt x="1100" y="1180"/>
                    <a:pt x="1122" y="1185"/>
                  </a:cubicBezTo>
                  <a:cubicBezTo>
                    <a:pt x="1149" y="1190"/>
                    <a:pt x="1176" y="1186"/>
                    <a:pt x="1200" y="1171"/>
                  </a:cubicBezTo>
                  <a:cubicBezTo>
                    <a:pt x="1206" y="1168"/>
                    <a:pt x="1213" y="1165"/>
                    <a:pt x="1214" y="1157"/>
                  </a:cubicBezTo>
                  <a:cubicBezTo>
                    <a:pt x="1215" y="1147"/>
                    <a:pt x="1202" y="1139"/>
                    <a:pt x="1193" y="1144"/>
                  </a:cubicBezTo>
                  <a:cubicBezTo>
                    <a:pt x="1187" y="1147"/>
                    <a:pt x="1180" y="1150"/>
                    <a:pt x="1174" y="1153"/>
                  </a:cubicBezTo>
                  <a:cubicBezTo>
                    <a:pt x="1158" y="1161"/>
                    <a:pt x="1140" y="1161"/>
                    <a:pt x="1124" y="1155"/>
                  </a:cubicBezTo>
                  <a:cubicBezTo>
                    <a:pt x="1112" y="1151"/>
                    <a:pt x="1102" y="1142"/>
                    <a:pt x="1096" y="1129"/>
                  </a:cubicBezTo>
                  <a:cubicBezTo>
                    <a:pt x="1092" y="1121"/>
                    <a:pt x="1091" y="1112"/>
                    <a:pt x="1089" y="1104"/>
                  </a:cubicBezTo>
                  <a:cubicBezTo>
                    <a:pt x="1087" y="1093"/>
                    <a:pt x="1087" y="1092"/>
                    <a:pt x="1099" y="1092"/>
                  </a:cubicBezTo>
                  <a:cubicBezTo>
                    <a:pt x="1116" y="1092"/>
                    <a:pt x="1133" y="1092"/>
                    <a:pt x="1150" y="1092"/>
                  </a:cubicBezTo>
                  <a:cubicBezTo>
                    <a:pt x="1150" y="1092"/>
                    <a:pt x="1150" y="1092"/>
                    <a:pt x="1150" y="1092"/>
                  </a:cubicBezTo>
                  <a:close/>
                  <a:moveTo>
                    <a:pt x="1099" y="1070"/>
                  </a:moveTo>
                  <a:cubicBezTo>
                    <a:pt x="1092" y="1071"/>
                    <a:pt x="1089" y="1067"/>
                    <a:pt x="1091" y="1060"/>
                  </a:cubicBezTo>
                  <a:cubicBezTo>
                    <a:pt x="1094" y="1045"/>
                    <a:pt x="1108" y="1023"/>
                    <a:pt x="1128" y="1022"/>
                  </a:cubicBezTo>
                  <a:cubicBezTo>
                    <a:pt x="1142" y="1021"/>
                    <a:pt x="1156" y="1018"/>
                    <a:pt x="1168" y="1029"/>
                  </a:cubicBezTo>
                  <a:cubicBezTo>
                    <a:pt x="1181" y="1038"/>
                    <a:pt x="1185" y="1051"/>
                    <a:pt x="1187" y="1066"/>
                  </a:cubicBezTo>
                  <a:cubicBezTo>
                    <a:pt x="1188" y="1071"/>
                    <a:pt x="1183" y="1070"/>
                    <a:pt x="1180" y="1070"/>
                  </a:cubicBezTo>
                  <a:cubicBezTo>
                    <a:pt x="1166" y="1070"/>
                    <a:pt x="1153" y="1070"/>
                    <a:pt x="1139" y="1070"/>
                  </a:cubicBezTo>
                  <a:cubicBezTo>
                    <a:pt x="1139" y="1070"/>
                    <a:pt x="1139" y="1070"/>
                    <a:pt x="1139" y="1070"/>
                  </a:cubicBezTo>
                  <a:cubicBezTo>
                    <a:pt x="1126" y="1070"/>
                    <a:pt x="1113" y="1070"/>
                    <a:pt x="1099" y="1070"/>
                  </a:cubicBezTo>
                  <a:close/>
                  <a:moveTo>
                    <a:pt x="1741" y="1092"/>
                  </a:moveTo>
                  <a:cubicBezTo>
                    <a:pt x="1759" y="1092"/>
                    <a:pt x="1776" y="1092"/>
                    <a:pt x="1793" y="1092"/>
                  </a:cubicBezTo>
                  <a:cubicBezTo>
                    <a:pt x="1806" y="1092"/>
                    <a:pt x="1808" y="1089"/>
                    <a:pt x="1808" y="1076"/>
                  </a:cubicBezTo>
                  <a:cubicBezTo>
                    <a:pt x="1809" y="1063"/>
                    <a:pt x="1807" y="1051"/>
                    <a:pt x="1802" y="1038"/>
                  </a:cubicBezTo>
                  <a:cubicBezTo>
                    <a:pt x="1794" y="1021"/>
                    <a:pt x="1782" y="1008"/>
                    <a:pt x="1764" y="1000"/>
                  </a:cubicBezTo>
                  <a:cubicBezTo>
                    <a:pt x="1742" y="991"/>
                    <a:pt x="1720" y="991"/>
                    <a:pt x="1698" y="1000"/>
                  </a:cubicBezTo>
                  <a:cubicBezTo>
                    <a:pt x="1681" y="1006"/>
                    <a:pt x="1668" y="1016"/>
                    <a:pt x="1659" y="1031"/>
                  </a:cubicBezTo>
                  <a:cubicBezTo>
                    <a:pt x="1646" y="1050"/>
                    <a:pt x="1643" y="1071"/>
                    <a:pt x="1644" y="1094"/>
                  </a:cubicBezTo>
                  <a:cubicBezTo>
                    <a:pt x="1644" y="1110"/>
                    <a:pt x="1647" y="1127"/>
                    <a:pt x="1655" y="1141"/>
                  </a:cubicBezTo>
                  <a:cubicBezTo>
                    <a:pt x="1669" y="1168"/>
                    <a:pt x="1691" y="1183"/>
                    <a:pt x="1722" y="1186"/>
                  </a:cubicBezTo>
                  <a:cubicBezTo>
                    <a:pt x="1750" y="1188"/>
                    <a:pt x="1775" y="1183"/>
                    <a:pt x="1798" y="1165"/>
                  </a:cubicBezTo>
                  <a:cubicBezTo>
                    <a:pt x="1803" y="1161"/>
                    <a:pt x="1806" y="1157"/>
                    <a:pt x="1802" y="1151"/>
                  </a:cubicBezTo>
                  <a:cubicBezTo>
                    <a:pt x="1798" y="1144"/>
                    <a:pt x="1791" y="1140"/>
                    <a:pt x="1783" y="1144"/>
                  </a:cubicBezTo>
                  <a:cubicBezTo>
                    <a:pt x="1778" y="1147"/>
                    <a:pt x="1771" y="1149"/>
                    <a:pt x="1766" y="1152"/>
                  </a:cubicBezTo>
                  <a:cubicBezTo>
                    <a:pt x="1749" y="1161"/>
                    <a:pt x="1730" y="1162"/>
                    <a:pt x="1714" y="1155"/>
                  </a:cubicBezTo>
                  <a:cubicBezTo>
                    <a:pt x="1692" y="1145"/>
                    <a:pt x="1680" y="1127"/>
                    <a:pt x="1679" y="1102"/>
                  </a:cubicBezTo>
                  <a:cubicBezTo>
                    <a:pt x="1678" y="1095"/>
                    <a:pt x="1681" y="1092"/>
                    <a:pt x="1689" y="1092"/>
                  </a:cubicBezTo>
                  <a:cubicBezTo>
                    <a:pt x="1706" y="1092"/>
                    <a:pt x="1724" y="1092"/>
                    <a:pt x="1741" y="1092"/>
                  </a:cubicBezTo>
                  <a:cubicBezTo>
                    <a:pt x="1741" y="1092"/>
                    <a:pt x="1741" y="1092"/>
                    <a:pt x="1741" y="1092"/>
                  </a:cubicBezTo>
                  <a:close/>
                  <a:moveTo>
                    <a:pt x="1690" y="1070"/>
                  </a:moveTo>
                  <a:cubicBezTo>
                    <a:pt x="1683" y="1071"/>
                    <a:pt x="1680" y="1068"/>
                    <a:pt x="1681" y="1062"/>
                  </a:cubicBezTo>
                  <a:cubicBezTo>
                    <a:pt x="1683" y="1048"/>
                    <a:pt x="1697" y="1024"/>
                    <a:pt x="1716" y="1022"/>
                  </a:cubicBezTo>
                  <a:cubicBezTo>
                    <a:pt x="1731" y="1020"/>
                    <a:pt x="1747" y="1018"/>
                    <a:pt x="1760" y="1030"/>
                  </a:cubicBezTo>
                  <a:cubicBezTo>
                    <a:pt x="1771" y="1038"/>
                    <a:pt x="1775" y="1050"/>
                    <a:pt x="1778" y="1062"/>
                  </a:cubicBezTo>
                  <a:cubicBezTo>
                    <a:pt x="1780" y="1068"/>
                    <a:pt x="1775" y="1070"/>
                    <a:pt x="1769" y="1070"/>
                  </a:cubicBezTo>
                  <a:cubicBezTo>
                    <a:pt x="1756" y="1070"/>
                    <a:pt x="1742" y="1070"/>
                    <a:pt x="1729" y="1070"/>
                  </a:cubicBezTo>
                  <a:cubicBezTo>
                    <a:pt x="1729" y="1070"/>
                    <a:pt x="1729" y="1070"/>
                    <a:pt x="1729" y="1070"/>
                  </a:cubicBezTo>
                  <a:cubicBezTo>
                    <a:pt x="1716" y="1070"/>
                    <a:pt x="1703" y="1070"/>
                    <a:pt x="1690" y="1070"/>
                  </a:cubicBezTo>
                  <a:close/>
                  <a:moveTo>
                    <a:pt x="68" y="581"/>
                  </a:moveTo>
                  <a:cubicBezTo>
                    <a:pt x="68" y="573"/>
                    <a:pt x="70" y="568"/>
                    <a:pt x="80" y="569"/>
                  </a:cubicBezTo>
                  <a:cubicBezTo>
                    <a:pt x="90" y="570"/>
                    <a:pt x="101" y="570"/>
                    <a:pt x="111" y="569"/>
                  </a:cubicBezTo>
                  <a:cubicBezTo>
                    <a:pt x="120" y="569"/>
                    <a:pt x="120" y="563"/>
                    <a:pt x="120" y="556"/>
                  </a:cubicBezTo>
                  <a:cubicBezTo>
                    <a:pt x="120" y="549"/>
                    <a:pt x="119" y="544"/>
                    <a:pt x="111" y="544"/>
                  </a:cubicBezTo>
                  <a:cubicBezTo>
                    <a:pt x="104" y="544"/>
                    <a:pt x="97" y="544"/>
                    <a:pt x="91" y="544"/>
                  </a:cubicBezTo>
                  <a:cubicBezTo>
                    <a:pt x="66" y="544"/>
                    <a:pt x="65" y="543"/>
                    <a:pt x="68" y="518"/>
                  </a:cubicBezTo>
                  <a:cubicBezTo>
                    <a:pt x="69" y="504"/>
                    <a:pt x="83" y="487"/>
                    <a:pt x="99" y="489"/>
                  </a:cubicBezTo>
                  <a:cubicBezTo>
                    <a:pt x="103" y="489"/>
                    <a:pt x="107" y="489"/>
                    <a:pt x="110" y="488"/>
                  </a:cubicBezTo>
                  <a:cubicBezTo>
                    <a:pt x="118" y="487"/>
                    <a:pt x="123" y="479"/>
                    <a:pt x="123" y="471"/>
                  </a:cubicBezTo>
                  <a:cubicBezTo>
                    <a:pt x="123" y="461"/>
                    <a:pt x="116" y="462"/>
                    <a:pt x="109" y="460"/>
                  </a:cubicBezTo>
                  <a:cubicBezTo>
                    <a:pt x="100" y="458"/>
                    <a:pt x="92" y="460"/>
                    <a:pt x="84" y="460"/>
                  </a:cubicBezTo>
                  <a:cubicBezTo>
                    <a:pt x="68" y="461"/>
                    <a:pt x="56" y="469"/>
                    <a:pt x="47" y="480"/>
                  </a:cubicBezTo>
                  <a:cubicBezTo>
                    <a:pt x="34" y="493"/>
                    <a:pt x="32" y="511"/>
                    <a:pt x="32" y="529"/>
                  </a:cubicBezTo>
                  <a:cubicBezTo>
                    <a:pt x="32" y="544"/>
                    <a:pt x="32" y="544"/>
                    <a:pt x="17" y="544"/>
                  </a:cubicBezTo>
                  <a:cubicBezTo>
                    <a:pt x="4" y="543"/>
                    <a:pt x="0" y="548"/>
                    <a:pt x="4" y="561"/>
                  </a:cubicBezTo>
                  <a:cubicBezTo>
                    <a:pt x="6" y="569"/>
                    <a:pt x="13" y="568"/>
                    <a:pt x="19" y="569"/>
                  </a:cubicBezTo>
                  <a:cubicBezTo>
                    <a:pt x="32" y="571"/>
                    <a:pt x="32" y="571"/>
                    <a:pt x="32" y="584"/>
                  </a:cubicBezTo>
                  <a:cubicBezTo>
                    <a:pt x="32" y="624"/>
                    <a:pt x="32" y="664"/>
                    <a:pt x="32" y="704"/>
                  </a:cubicBezTo>
                  <a:cubicBezTo>
                    <a:pt x="32" y="731"/>
                    <a:pt x="32" y="730"/>
                    <a:pt x="57" y="731"/>
                  </a:cubicBezTo>
                  <a:cubicBezTo>
                    <a:pt x="66" y="731"/>
                    <a:pt x="68" y="727"/>
                    <a:pt x="68" y="720"/>
                  </a:cubicBezTo>
                  <a:cubicBezTo>
                    <a:pt x="68" y="697"/>
                    <a:pt x="68" y="674"/>
                    <a:pt x="68" y="651"/>
                  </a:cubicBezTo>
                  <a:cubicBezTo>
                    <a:pt x="68" y="628"/>
                    <a:pt x="68" y="605"/>
                    <a:pt x="68" y="581"/>
                  </a:cubicBezTo>
                  <a:close/>
                  <a:moveTo>
                    <a:pt x="278" y="1165"/>
                  </a:moveTo>
                  <a:cubicBezTo>
                    <a:pt x="278" y="1183"/>
                    <a:pt x="278" y="1183"/>
                    <a:pt x="296" y="1184"/>
                  </a:cubicBezTo>
                  <a:cubicBezTo>
                    <a:pt x="310" y="1184"/>
                    <a:pt x="310" y="1184"/>
                    <a:pt x="310" y="1169"/>
                  </a:cubicBezTo>
                  <a:cubicBezTo>
                    <a:pt x="310" y="1132"/>
                    <a:pt x="310" y="1095"/>
                    <a:pt x="310" y="1058"/>
                  </a:cubicBezTo>
                  <a:cubicBezTo>
                    <a:pt x="310" y="1052"/>
                    <a:pt x="312" y="1047"/>
                    <a:pt x="316" y="1042"/>
                  </a:cubicBezTo>
                  <a:cubicBezTo>
                    <a:pt x="324" y="1033"/>
                    <a:pt x="334" y="1027"/>
                    <a:pt x="345" y="1024"/>
                  </a:cubicBezTo>
                  <a:cubicBezTo>
                    <a:pt x="357" y="1020"/>
                    <a:pt x="371" y="1018"/>
                    <a:pt x="383" y="1028"/>
                  </a:cubicBezTo>
                  <a:cubicBezTo>
                    <a:pt x="397" y="1039"/>
                    <a:pt x="401" y="1054"/>
                    <a:pt x="401" y="1071"/>
                  </a:cubicBezTo>
                  <a:cubicBezTo>
                    <a:pt x="401" y="1102"/>
                    <a:pt x="401" y="1132"/>
                    <a:pt x="401" y="1163"/>
                  </a:cubicBezTo>
                  <a:cubicBezTo>
                    <a:pt x="401" y="1183"/>
                    <a:pt x="401" y="1182"/>
                    <a:pt x="420" y="1184"/>
                  </a:cubicBezTo>
                  <a:cubicBezTo>
                    <a:pt x="429" y="1185"/>
                    <a:pt x="433" y="1181"/>
                    <a:pt x="433" y="1173"/>
                  </a:cubicBezTo>
                  <a:cubicBezTo>
                    <a:pt x="432" y="1130"/>
                    <a:pt x="435" y="1087"/>
                    <a:pt x="431" y="1044"/>
                  </a:cubicBezTo>
                  <a:cubicBezTo>
                    <a:pt x="427" y="1014"/>
                    <a:pt x="404" y="996"/>
                    <a:pt x="376" y="994"/>
                  </a:cubicBezTo>
                  <a:cubicBezTo>
                    <a:pt x="353" y="992"/>
                    <a:pt x="333" y="1000"/>
                    <a:pt x="317" y="1017"/>
                  </a:cubicBezTo>
                  <a:cubicBezTo>
                    <a:pt x="312" y="1021"/>
                    <a:pt x="311" y="1019"/>
                    <a:pt x="309" y="1015"/>
                  </a:cubicBezTo>
                  <a:cubicBezTo>
                    <a:pt x="309" y="1013"/>
                    <a:pt x="308" y="1011"/>
                    <a:pt x="308" y="1008"/>
                  </a:cubicBezTo>
                  <a:cubicBezTo>
                    <a:pt x="306" y="1001"/>
                    <a:pt x="298" y="997"/>
                    <a:pt x="287" y="998"/>
                  </a:cubicBezTo>
                  <a:cubicBezTo>
                    <a:pt x="279" y="999"/>
                    <a:pt x="278" y="1004"/>
                    <a:pt x="278" y="1011"/>
                  </a:cubicBezTo>
                  <a:cubicBezTo>
                    <a:pt x="278" y="1037"/>
                    <a:pt x="278" y="1064"/>
                    <a:pt x="278" y="1091"/>
                  </a:cubicBezTo>
                  <a:cubicBezTo>
                    <a:pt x="278" y="1115"/>
                    <a:pt x="278" y="1140"/>
                    <a:pt x="278" y="1165"/>
                  </a:cubicBezTo>
                  <a:close/>
                  <a:moveTo>
                    <a:pt x="150" y="705"/>
                  </a:moveTo>
                  <a:cubicBezTo>
                    <a:pt x="150" y="734"/>
                    <a:pt x="145" y="730"/>
                    <a:pt x="176" y="731"/>
                  </a:cubicBezTo>
                  <a:cubicBezTo>
                    <a:pt x="185" y="731"/>
                    <a:pt x="187" y="727"/>
                    <a:pt x="187" y="719"/>
                  </a:cubicBezTo>
                  <a:cubicBezTo>
                    <a:pt x="187" y="685"/>
                    <a:pt x="187" y="651"/>
                    <a:pt x="187" y="618"/>
                  </a:cubicBezTo>
                  <a:cubicBezTo>
                    <a:pt x="187" y="597"/>
                    <a:pt x="204" y="578"/>
                    <a:pt x="225" y="574"/>
                  </a:cubicBezTo>
                  <a:cubicBezTo>
                    <a:pt x="232" y="572"/>
                    <a:pt x="240" y="574"/>
                    <a:pt x="247" y="575"/>
                  </a:cubicBezTo>
                  <a:cubicBezTo>
                    <a:pt x="257" y="576"/>
                    <a:pt x="261" y="572"/>
                    <a:pt x="265" y="564"/>
                  </a:cubicBezTo>
                  <a:cubicBezTo>
                    <a:pt x="269" y="556"/>
                    <a:pt x="267" y="542"/>
                    <a:pt x="261" y="540"/>
                  </a:cubicBezTo>
                  <a:cubicBezTo>
                    <a:pt x="253" y="538"/>
                    <a:pt x="244" y="534"/>
                    <a:pt x="237" y="536"/>
                  </a:cubicBezTo>
                  <a:cubicBezTo>
                    <a:pt x="228" y="537"/>
                    <a:pt x="217" y="537"/>
                    <a:pt x="209" y="544"/>
                  </a:cubicBezTo>
                  <a:cubicBezTo>
                    <a:pt x="204" y="549"/>
                    <a:pt x="198" y="553"/>
                    <a:pt x="194" y="558"/>
                  </a:cubicBezTo>
                  <a:cubicBezTo>
                    <a:pt x="192" y="561"/>
                    <a:pt x="189" y="563"/>
                    <a:pt x="185" y="562"/>
                  </a:cubicBezTo>
                  <a:cubicBezTo>
                    <a:pt x="182" y="561"/>
                    <a:pt x="182" y="558"/>
                    <a:pt x="182" y="556"/>
                  </a:cubicBezTo>
                  <a:cubicBezTo>
                    <a:pt x="180" y="539"/>
                    <a:pt x="179" y="539"/>
                    <a:pt x="162" y="539"/>
                  </a:cubicBezTo>
                  <a:cubicBezTo>
                    <a:pt x="151" y="539"/>
                    <a:pt x="150" y="540"/>
                    <a:pt x="150" y="551"/>
                  </a:cubicBezTo>
                  <a:cubicBezTo>
                    <a:pt x="150" y="579"/>
                    <a:pt x="150" y="607"/>
                    <a:pt x="150" y="635"/>
                  </a:cubicBezTo>
                  <a:cubicBezTo>
                    <a:pt x="150" y="658"/>
                    <a:pt x="149" y="682"/>
                    <a:pt x="150" y="705"/>
                  </a:cubicBezTo>
                  <a:close/>
                  <a:moveTo>
                    <a:pt x="1011" y="1049"/>
                  </a:moveTo>
                  <a:cubicBezTo>
                    <a:pt x="1011" y="1008"/>
                    <a:pt x="1011" y="966"/>
                    <a:pt x="1011" y="924"/>
                  </a:cubicBezTo>
                  <a:cubicBezTo>
                    <a:pt x="1011" y="913"/>
                    <a:pt x="1008" y="910"/>
                    <a:pt x="997" y="910"/>
                  </a:cubicBezTo>
                  <a:cubicBezTo>
                    <a:pt x="995" y="910"/>
                    <a:pt x="992" y="910"/>
                    <a:pt x="990" y="910"/>
                  </a:cubicBezTo>
                  <a:cubicBezTo>
                    <a:pt x="976" y="910"/>
                    <a:pt x="975" y="911"/>
                    <a:pt x="975" y="926"/>
                  </a:cubicBezTo>
                  <a:cubicBezTo>
                    <a:pt x="975" y="1006"/>
                    <a:pt x="975" y="1085"/>
                    <a:pt x="975" y="1165"/>
                  </a:cubicBezTo>
                  <a:cubicBezTo>
                    <a:pt x="975" y="1185"/>
                    <a:pt x="975" y="1185"/>
                    <a:pt x="994" y="1185"/>
                  </a:cubicBezTo>
                  <a:cubicBezTo>
                    <a:pt x="1009" y="1185"/>
                    <a:pt x="1011" y="1184"/>
                    <a:pt x="1011" y="1169"/>
                  </a:cubicBezTo>
                  <a:cubicBezTo>
                    <a:pt x="1011" y="1129"/>
                    <a:pt x="1011" y="1089"/>
                    <a:pt x="1011" y="1049"/>
                  </a:cubicBezTo>
                  <a:cubicBezTo>
                    <a:pt x="1011" y="1049"/>
                    <a:pt x="1011" y="1049"/>
                    <a:pt x="1011" y="1049"/>
                  </a:cubicBezTo>
                  <a:close/>
                  <a:moveTo>
                    <a:pt x="296" y="176"/>
                  </a:moveTo>
                  <a:cubicBezTo>
                    <a:pt x="296" y="201"/>
                    <a:pt x="296" y="226"/>
                    <a:pt x="296" y="251"/>
                  </a:cubicBezTo>
                  <a:cubicBezTo>
                    <a:pt x="295" y="276"/>
                    <a:pt x="296" y="274"/>
                    <a:pt x="318" y="274"/>
                  </a:cubicBezTo>
                  <a:cubicBezTo>
                    <a:pt x="330" y="274"/>
                    <a:pt x="331" y="274"/>
                    <a:pt x="331" y="260"/>
                  </a:cubicBezTo>
                  <a:cubicBezTo>
                    <a:pt x="331" y="232"/>
                    <a:pt x="331" y="204"/>
                    <a:pt x="331" y="176"/>
                  </a:cubicBezTo>
                  <a:cubicBezTo>
                    <a:pt x="331" y="165"/>
                    <a:pt x="331" y="155"/>
                    <a:pt x="337" y="145"/>
                  </a:cubicBezTo>
                  <a:cubicBezTo>
                    <a:pt x="349" y="123"/>
                    <a:pt x="359" y="117"/>
                    <a:pt x="377" y="118"/>
                  </a:cubicBezTo>
                  <a:cubicBezTo>
                    <a:pt x="383" y="118"/>
                    <a:pt x="389" y="119"/>
                    <a:pt x="395" y="120"/>
                  </a:cubicBezTo>
                  <a:cubicBezTo>
                    <a:pt x="401" y="120"/>
                    <a:pt x="407" y="118"/>
                    <a:pt x="408" y="112"/>
                  </a:cubicBezTo>
                  <a:cubicBezTo>
                    <a:pt x="409" y="103"/>
                    <a:pt x="415" y="93"/>
                    <a:pt x="407" y="85"/>
                  </a:cubicBezTo>
                  <a:cubicBezTo>
                    <a:pt x="406" y="84"/>
                    <a:pt x="404" y="84"/>
                    <a:pt x="402" y="84"/>
                  </a:cubicBezTo>
                  <a:cubicBezTo>
                    <a:pt x="376" y="78"/>
                    <a:pt x="353" y="82"/>
                    <a:pt x="337" y="106"/>
                  </a:cubicBezTo>
                  <a:cubicBezTo>
                    <a:pt x="336" y="108"/>
                    <a:pt x="335" y="110"/>
                    <a:pt x="333" y="109"/>
                  </a:cubicBezTo>
                  <a:cubicBezTo>
                    <a:pt x="331" y="109"/>
                    <a:pt x="330" y="107"/>
                    <a:pt x="330" y="105"/>
                  </a:cubicBezTo>
                  <a:cubicBezTo>
                    <a:pt x="329" y="101"/>
                    <a:pt x="329" y="97"/>
                    <a:pt x="328" y="94"/>
                  </a:cubicBezTo>
                  <a:cubicBezTo>
                    <a:pt x="325" y="85"/>
                    <a:pt x="318" y="82"/>
                    <a:pt x="303" y="84"/>
                  </a:cubicBezTo>
                  <a:cubicBezTo>
                    <a:pt x="297" y="84"/>
                    <a:pt x="295" y="86"/>
                    <a:pt x="295" y="92"/>
                  </a:cubicBezTo>
                  <a:cubicBezTo>
                    <a:pt x="296" y="120"/>
                    <a:pt x="295" y="148"/>
                    <a:pt x="295" y="176"/>
                  </a:cubicBezTo>
                  <a:cubicBezTo>
                    <a:pt x="296" y="176"/>
                    <a:pt x="296" y="176"/>
                    <a:pt x="296" y="176"/>
                  </a:cubicBezTo>
                  <a:close/>
                  <a:moveTo>
                    <a:pt x="946" y="179"/>
                  </a:moveTo>
                  <a:cubicBezTo>
                    <a:pt x="946" y="197"/>
                    <a:pt x="946" y="215"/>
                    <a:pt x="946" y="234"/>
                  </a:cubicBezTo>
                  <a:cubicBezTo>
                    <a:pt x="946" y="248"/>
                    <a:pt x="951" y="260"/>
                    <a:pt x="963" y="268"/>
                  </a:cubicBezTo>
                  <a:cubicBezTo>
                    <a:pt x="982" y="280"/>
                    <a:pt x="1011" y="277"/>
                    <a:pt x="1029" y="264"/>
                  </a:cubicBezTo>
                  <a:cubicBezTo>
                    <a:pt x="1036" y="259"/>
                    <a:pt x="1036" y="254"/>
                    <a:pt x="1032" y="248"/>
                  </a:cubicBezTo>
                  <a:cubicBezTo>
                    <a:pt x="1026" y="239"/>
                    <a:pt x="1020" y="238"/>
                    <a:pt x="1013" y="242"/>
                  </a:cubicBezTo>
                  <a:cubicBezTo>
                    <a:pt x="996" y="252"/>
                    <a:pt x="978" y="243"/>
                    <a:pt x="978" y="223"/>
                  </a:cubicBezTo>
                  <a:cubicBezTo>
                    <a:pt x="978" y="190"/>
                    <a:pt x="978" y="157"/>
                    <a:pt x="978" y="123"/>
                  </a:cubicBezTo>
                  <a:cubicBezTo>
                    <a:pt x="978" y="116"/>
                    <a:pt x="981" y="113"/>
                    <a:pt x="988" y="113"/>
                  </a:cubicBezTo>
                  <a:cubicBezTo>
                    <a:pt x="999" y="114"/>
                    <a:pt x="1011" y="113"/>
                    <a:pt x="1022" y="113"/>
                  </a:cubicBezTo>
                  <a:cubicBezTo>
                    <a:pt x="1028" y="113"/>
                    <a:pt x="1033" y="112"/>
                    <a:pt x="1033" y="104"/>
                  </a:cubicBezTo>
                  <a:cubicBezTo>
                    <a:pt x="1033" y="96"/>
                    <a:pt x="1032" y="90"/>
                    <a:pt x="1022" y="90"/>
                  </a:cubicBezTo>
                  <a:cubicBezTo>
                    <a:pt x="1011" y="90"/>
                    <a:pt x="1001" y="90"/>
                    <a:pt x="990" y="90"/>
                  </a:cubicBezTo>
                  <a:cubicBezTo>
                    <a:pt x="981" y="91"/>
                    <a:pt x="977" y="88"/>
                    <a:pt x="978" y="78"/>
                  </a:cubicBezTo>
                  <a:cubicBezTo>
                    <a:pt x="978" y="64"/>
                    <a:pt x="978" y="49"/>
                    <a:pt x="978" y="35"/>
                  </a:cubicBezTo>
                  <a:cubicBezTo>
                    <a:pt x="978" y="30"/>
                    <a:pt x="978" y="25"/>
                    <a:pt x="971" y="24"/>
                  </a:cubicBezTo>
                  <a:cubicBezTo>
                    <a:pt x="964" y="24"/>
                    <a:pt x="956" y="24"/>
                    <a:pt x="955" y="32"/>
                  </a:cubicBezTo>
                  <a:cubicBezTo>
                    <a:pt x="952" y="43"/>
                    <a:pt x="949" y="54"/>
                    <a:pt x="949" y="65"/>
                  </a:cubicBezTo>
                  <a:cubicBezTo>
                    <a:pt x="948" y="88"/>
                    <a:pt x="947" y="88"/>
                    <a:pt x="924" y="91"/>
                  </a:cubicBezTo>
                  <a:cubicBezTo>
                    <a:pt x="919" y="92"/>
                    <a:pt x="914" y="92"/>
                    <a:pt x="914" y="99"/>
                  </a:cubicBezTo>
                  <a:cubicBezTo>
                    <a:pt x="915" y="107"/>
                    <a:pt x="917" y="113"/>
                    <a:pt x="926" y="113"/>
                  </a:cubicBezTo>
                  <a:cubicBezTo>
                    <a:pt x="929" y="114"/>
                    <a:pt x="932" y="113"/>
                    <a:pt x="935" y="113"/>
                  </a:cubicBezTo>
                  <a:cubicBezTo>
                    <a:pt x="943" y="113"/>
                    <a:pt x="946" y="116"/>
                    <a:pt x="946" y="124"/>
                  </a:cubicBezTo>
                  <a:cubicBezTo>
                    <a:pt x="946" y="142"/>
                    <a:pt x="946" y="161"/>
                    <a:pt x="946" y="179"/>
                  </a:cubicBezTo>
                  <a:cubicBezTo>
                    <a:pt x="946" y="179"/>
                    <a:pt x="946" y="179"/>
                    <a:pt x="946" y="179"/>
                  </a:cubicBezTo>
                  <a:close/>
                </a:path>
              </a:pathLst>
            </a:custGeom>
            <a:solidFill>
              <a:srgbClr val="4C505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grpSp>
          <p:nvGrpSpPr>
            <p:cNvPr id="18" name="Group 4">
              <a:extLst>
                <a:ext uri="{FF2B5EF4-FFF2-40B4-BE49-F238E27FC236}">
                  <a16:creationId xmlns:a16="http://schemas.microsoft.com/office/drawing/2014/main" id="{57BD2C4C-DC67-B843-B26C-309622FC75F7}"/>
                </a:ext>
              </a:extLst>
            </p:cNvPr>
            <p:cNvGrpSpPr>
              <a:grpSpLocks noChangeAspect="1"/>
            </p:cNvGrpSpPr>
            <p:nvPr/>
          </p:nvGrpSpPr>
          <p:grpSpPr bwMode="gray">
            <a:xfrm>
              <a:off x="334963" y="296652"/>
              <a:ext cx="538094" cy="540000"/>
              <a:chOff x="2711" y="1027"/>
              <a:chExt cx="2258" cy="2266"/>
            </a:xfrm>
          </p:grpSpPr>
          <p:sp>
            <p:nvSpPr>
              <p:cNvPr id="19" name="AutoShape 3">
                <a:extLst>
                  <a:ext uri="{FF2B5EF4-FFF2-40B4-BE49-F238E27FC236}">
                    <a16:creationId xmlns:a16="http://schemas.microsoft.com/office/drawing/2014/main" id="{FE1DC41B-291E-574C-9F2C-874E70A40758}"/>
                  </a:ext>
                </a:extLst>
              </p:cNvPr>
              <p:cNvSpPr>
                <a:spLocks noChangeAspect="1" noChangeArrowheads="1" noTextEdit="1"/>
              </p:cNvSpPr>
              <p:nvPr/>
            </p:nvSpPr>
            <p:spPr bwMode="gray">
              <a:xfrm>
                <a:off x="2711" y="1027"/>
                <a:ext cx="2258" cy="22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20" name="Freeform 5">
                <a:extLst>
                  <a:ext uri="{FF2B5EF4-FFF2-40B4-BE49-F238E27FC236}">
                    <a16:creationId xmlns:a16="http://schemas.microsoft.com/office/drawing/2014/main" id="{D4B633C8-F761-C54B-9BD2-EB59D49A2DBC}"/>
                  </a:ext>
                </a:extLst>
              </p:cNvPr>
              <p:cNvSpPr>
                <a:spLocks/>
              </p:cNvSpPr>
              <p:nvPr/>
            </p:nvSpPr>
            <p:spPr bwMode="gray">
              <a:xfrm>
                <a:off x="2709" y="1029"/>
                <a:ext cx="2260" cy="2262"/>
              </a:xfrm>
              <a:custGeom>
                <a:avLst/>
                <a:gdLst>
                  <a:gd name="T0" fmla="*/ 2260 w 2260"/>
                  <a:gd name="T1" fmla="*/ 0 h 2262"/>
                  <a:gd name="T2" fmla="*/ 1612 w 2260"/>
                  <a:gd name="T3" fmla="*/ 649 h 2262"/>
                  <a:gd name="T4" fmla="*/ 1612 w 2260"/>
                  <a:gd name="T5" fmla="*/ 649 h 2262"/>
                  <a:gd name="T6" fmla="*/ 2035 w 2260"/>
                  <a:gd name="T7" fmla="*/ 0 h 2262"/>
                  <a:gd name="T8" fmla="*/ 0 w 2260"/>
                  <a:gd name="T9" fmla="*/ 0 h 2262"/>
                  <a:gd name="T10" fmla="*/ 0 w 2260"/>
                  <a:gd name="T11" fmla="*/ 2262 h 2262"/>
                  <a:gd name="T12" fmla="*/ 2260 w 2260"/>
                  <a:gd name="T13" fmla="*/ 2262 h 2262"/>
                  <a:gd name="T14" fmla="*/ 2260 w 2260"/>
                  <a:gd name="T15" fmla="*/ 0 h 2262"/>
                  <a:gd name="T16" fmla="*/ 2260 w 2260"/>
                  <a:gd name="T17" fmla="*/ 0 h 2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0" h="2262">
                    <a:moveTo>
                      <a:pt x="2260" y="0"/>
                    </a:moveTo>
                    <a:lnTo>
                      <a:pt x="1612" y="649"/>
                    </a:lnTo>
                    <a:lnTo>
                      <a:pt x="1612" y="649"/>
                    </a:lnTo>
                    <a:lnTo>
                      <a:pt x="2035" y="0"/>
                    </a:lnTo>
                    <a:lnTo>
                      <a:pt x="0" y="0"/>
                    </a:lnTo>
                    <a:lnTo>
                      <a:pt x="0" y="2262"/>
                    </a:lnTo>
                    <a:lnTo>
                      <a:pt x="2260" y="2262"/>
                    </a:lnTo>
                    <a:lnTo>
                      <a:pt x="2260" y="0"/>
                    </a:lnTo>
                    <a:lnTo>
                      <a:pt x="2260" y="0"/>
                    </a:lnTo>
                    <a:close/>
                  </a:path>
                </a:pathLst>
              </a:custGeom>
              <a:solidFill>
                <a:srgbClr val="E55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21" name="Freeform 6">
                <a:extLst>
                  <a:ext uri="{FF2B5EF4-FFF2-40B4-BE49-F238E27FC236}">
                    <a16:creationId xmlns:a16="http://schemas.microsoft.com/office/drawing/2014/main" id="{B16BAAE4-1A41-C843-9754-490F7A1E1270}"/>
                  </a:ext>
                </a:extLst>
              </p:cNvPr>
              <p:cNvSpPr>
                <a:spLocks noEditPoints="1"/>
              </p:cNvSpPr>
              <p:nvPr/>
            </p:nvSpPr>
            <p:spPr bwMode="gray">
              <a:xfrm>
                <a:off x="3623" y="1696"/>
                <a:ext cx="1167" cy="922"/>
              </a:xfrm>
              <a:custGeom>
                <a:avLst/>
                <a:gdLst>
                  <a:gd name="T0" fmla="*/ 411 w 580"/>
                  <a:gd name="T1" fmla="*/ 213 h 458"/>
                  <a:gd name="T2" fmla="*/ 570 w 580"/>
                  <a:gd name="T3" fmla="*/ 37 h 458"/>
                  <a:gd name="T4" fmla="*/ 580 w 580"/>
                  <a:gd name="T5" fmla="*/ 20 h 458"/>
                  <a:gd name="T6" fmla="*/ 545 w 580"/>
                  <a:gd name="T7" fmla="*/ 0 h 458"/>
                  <a:gd name="T8" fmla="*/ 519 w 580"/>
                  <a:gd name="T9" fmla="*/ 16 h 458"/>
                  <a:gd name="T10" fmla="*/ 344 w 580"/>
                  <a:gd name="T11" fmla="*/ 210 h 458"/>
                  <a:gd name="T12" fmla="*/ 334 w 580"/>
                  <a:gd name="T13" fmla="*/ 229 h 458"/>
                  <a:gd name="T14" fmla="*/ 344 w 580"/>
                  <a:gd name="T15" fmla="*/ 248 h 458"/>
                  <a:gd name="T16" fmla="*/ 519 w 580"/>
                  <a:gd name="T17" fmla="*/ 442 h 458"/>
                  <a:gd name="T18" fmla="*/ 545 w 580"/>
                  <a:gd name="T19" fmla="*/ 458 h 458"/>
                  <a:gd name="T20" fmla="*/ 580 w 580"/>
                  <a:gd name="T21" fmla="*/ 438 h 458"/>
                  <a:gd name="T22" fmla="*/ 570 w 580"/>
                  <a:gd name="T23" fmla="*/ 421 h 458"/>
                  <a:gd name="T24" fmla="*/ 411 w 580"/>
                  <a:gd name="T25" fmla="*/ 245 h 458"/>
                  <a:gd name="T26" fmla="*/ 399 w 580"/>
                  <a:gd name="T27" fmla="*/ 229 h 458"/>
                  <a:gd name="T28" fmla="*/ 411 w 580"/>
                  <a:gd name="T29" fmla="*/ 213 h 458"/>
                  <a:gd name="T30" fmla="*/ 252 w 580"/>
                  <a:gd name="T31" fmla="*/ 439 h 458"/>
                  <a:gd name="T32" fmla="*/ 281 w 580"/>
                  <a:gd name="T33" fmla="*/ 454 h 458"/>
                  <a:gd name="T34" fmla="*/ 309 w 580"/>
                  <a:gd name="T35" fmla="*/ 439 h 458"/>
                  <a:gd name="T36" fmla="*/ 309 w 580"/>
                  <a:gd name="T37" fmla="*/ 19 h 458"/>
                  <a:gd name="T38" fmla="*/ 281 w 580"/>
                  <a:gd name="T39" fmla="*/ 4 h 458"/>
                  <a:gd name="T40" fmla="*/ 252 w 580"/>
                  <a:gd name="T41" fmla="*/ 19 h 458"/>
                  <a:gd name="T42" fmla="*/ 252 w 580"/>
                  <a:gd name="T43" fmla="*/ 439 h 458"/>
                  <a:gd name="T44" fmla="*/ 0 w 580"/>
                  <a:gd name="T45" fmla="*/ 439 h 458"/>
                  <a:gd name="T46" fmla="*/ 28 w 580"/>
                  <a:gd name="T47" fmla="*/ 454 h 458"/>
                  <a:gd name="T48" fmla="*/ 56 w 580"/>
                  <a:gd name="T49" fmla="*/ 439 h 458"/>
                  <a:gd name="T50" fmla="*/ 56 w 580"/>
                  <a:gd name="T51" fmla="*/ 157 h 458"/>
                  <a:gd name="T52" fmla="*/ 165 w 580"/>
                  <a:gd name="T53" fmla="*/ 53 h 458"/>
                  <a:gd name="T54" fmla="*/ 180 w 580"/>
                  <a:gd name="T55" fmla="*/ 53 h 458"/>
                  <a:gd name="T56" fmla="*/ 196 w 580"/>
                  <a:gd name="T57" fmla="*/ 27 h 458"/>
                  <a:gd name="T58" fmla="*/ 154 w 580"/>
                  <a:gd name="T59" fmla="*/ 4 h 458"/>
                  <a:gd name="T60" fmla="*/ 0 w 580"/>
                  <a:gd name="T61" fmla="*/ 152 h 458"/>
                  <a:gd name="T62" fmla="*/ 0 w 580"/>
                  <a:gd name="T63" fmla="*/ 439 h 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80" h="458">
                    <a:moveTo>
                      <a:pt x="411" y="213"/>
                    </a:moveTo>
                    <a:cubicBezTo>
                      <a:pt x="570" y="37"/>
                      <a:pt x="570" y="37"/>
                      <a:pt x="570" y="37"/>
                    </a:cubicBezTo>
                    <a:cubicBezTo>
                      <a:pt x="576" y="30"/>
                      <a:pt x="580" y="25"/>
                      <a:pt x="580" y="20"/>
                    </a:cubicBezTo>
                    <a:cubicBezTo>
                      <a:pt x="580" y="10"/>
                      <a:pt x="559" y="0"/>
                      <a:pt x="545" y="0"/>
                    </a:cubicBezTo>
                    <a:cubicBezTo>
                      <a:pt x="535" y="0"/>
                      <a:pt x="526" y="8"/>
                      <a:pt x="519" y="16"/>
                    </a:cubicBezTo>
                    <a:cubicBezTo>
                      <a:pt x="344" y="210"/>
                      <a:pt x="344" y="210"/>
                      <a:pt x="344" y="210"/>
                    </a:cubicBezTo>
                    <a:cubicBezTo>
                      <a:pt x="336" y="219"/>
                      <a:pt x="334" y="224"/>
                      <a:pt x="334" y="229"/>
                    </a:cubicBezTo>
                    <a:cubicBezTo>
                      <a:pt x="334" y="234"/>
                      <a:pt x="336" y="239"/>
                      <a:pt x="344" y="248"/>
                    </a:cubicBezTo>
                    <a:cubicBezTo>
                      <a:pt x="519" y="442"/>
                      <a:pt x="519" y="442"/>
                      <a:pt x="519" y="442"/>
                    </a:cubicBezTo>
                    <a:cubicBezTo>
                      <a:pt x="526" y="450"/>
                      <a:pt x="535" y="458"/>
                      <a:pt x="545" y="458"/>
                    </a:cubicBezTo>
                    <a:cubicBezTo>
                      <a:pt x="559" y="458"/>
                      <a:pt x="580" y="448"/>
                      <a:pt x="580" y="438"/>
                    </a:cubicBezTo>
                    <a:cubicBezTo>
                      <a:pt x="580" y="433"/>
                      <a:pt x="576" y="428"/>
                      <a:pt x="570" y="421"/>
                    </a:cubicBezTo>
                    <a:cubicBezTo>
                      <a:pt x="411" y="245"/>
                      <a:pt x="411" y="245"/>
                      <a:pt x="411" y="245"/>
                    </a:cubicBezTo>
                    <a:cubicBezTo>
                      <a:pt x="403" y="236"/>
                      <a:pt x="399" y="232"/>
                      <a:pt x="399" y="229"/>
                    </a:cubicBezTo>
                    <a:cubicBezTo>
                      <a:pt x="399" y="226"/>
                      <a:pt x="403" y="222"/>
                      <a:pt x="411" y="213"/>
                    </a:cubicBezTo>
                    <a:moveTo>
                      <a:pt x="252" y="439"/>
                    </a:moveTo>
                    <a:cubicBezTo>
                      <a:pt x="252" y="449"/>
                      <a:pt x="261" y="454"/>
                      <a:pt x="281" y="454"/>
                    </a:cubicBezTo>
                    <a:cubicBezTo>
                      <a:pt x="300" y="454"/>
                      <a:pt x="309" y="449"/>
                      <a:pt x="309" y="439"/>
                    </a:cubicBezTo>
                    <a:cubicBezTo>
                      <a:pt x="309" y="19"/>
                      <a:pt x="309" y="19"/>
                      <a:pt x="309" y="19"/>
                    </a:cubicBezTo>
                    <a:cubicBezTo>
                      <a:pt x="309" y="9"/>
                      <a:pt x="300" y="4"/>
                      <a:pt x="281" y="4"/>
                    </a:cubicBezTo>
                    <a:cubicBezTo>
                      <a:pt x="261" y="4"/>
                      <a:pt x="252" y="9"/>
                      <a:pt x="252" y="19"/>
                    </a:cubicBezTo>
                    <a:lnTo>
                      <a:pt x="252" y="439"/>
                    </a:lnTo>
                    <a:close/>
                    <a:moveTo>
                      <a:pt x="0" y="439"/>
                    </a:moveTo>
                    <a:cubicBezTo>
                      <a:pt x="0" y="449"/>
                      <a:pt x="8" y="454"/>
                      <a:pt x="28" y="454"/>
                    </a:cubicBezTo>
                    <a:cubicBezTo>
                      <a:pt x="48" y="454"/>
                      <a:pt x="56" y="449"/>
                      <a:pt x="56" y="439"/>
                    </a:cubicBezTo>
                    <a:cubicBezTo>
                      <a:pt x="56" y="157"/>
                      <a:pt x="56" y="157"/>
                      <a:pt x="56" y="157"/>
                    </a:cubicBezTo>
                    <a:cubicBezTo>
                      <a:pt x="56" y="83"/>
                      <a:pt x="85" y="53"/>
                      <a:pt x="165" y="53"/>
                    </a:cubicBezTo>
                    <a:cubicBezTo>
                      <a:pt x="180" y="53"/>
                      <a:pt x="180" y="53"/>
                      <a:pt x="180" y="53"/>
                    </a:cubicBezTo>
                    <a:cubicBezTo>
                      <a:pt x="192" y="53"/>
                      <a:pt x="196" y="43"/>
                      <a:pt x="196" y="27"/>
                    </a:cubicBezTo>
                    <a:cubicBezTo>
                      <a:pt x="196" y="8"/>
                      <a:pt x="185" y="4"/>
                      <a:pt x="154" y="4"/>
                    </a:cubicBezTo>
                    <a:cubicBezTo>
                      <a:pt x="64" y="4"/>
                      <a:pt x="0" y="43"/>
                      <a:pt x="0" y="152"/>
                    </a:cubicBezTo>
                    <a:lnTo>
                      <a:pt x="0" y="43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22" name="Freeform 7">
                <a:extLst>
                  <a:ext uri="{FF2B5EF4-FFF2-40B4-BE49-F238E27FC236}">
                    <a16:creationId xmlns:a16="http://schemas.microsoft.com/office/drawing/2014/main" id="{2F32DCBD-8628-F245-85CD-97686A20ECFD}"/>
                  </a:ext>
                </a:extLst>
              </p:cNvPr>
              <p:cNvSpPr>
                <a:spLocks/>
              </p:cNvSpPr>
              <p:nvPr/>
            </p:nvSpPr>
            <p:spPr bwMode="gray">
              <a:xfrm>
                <a:off x="2880" y="1704"/>
                <a:ext cx="618" cy="916"/>
              </a:xfrm>
              <a:custGeom>
                <a:avLst/>
                <a:gdLst>
                  <a:gd name="T0" fmla="*/ 307 w 307"/>
                  <a:gd name="T1" fmla="*/ 405 h 455"/>
                  <a:gd name="T2" fmla="*/ 307 w 307"/>
                  <a:gd name="T3" fmla="*/ 244 h 455"/>
                  <a:gd name="T4" fmla="*/ 279 w 307"/>
                  <a:gd name="T5" fmla="*/ 229 h 455"/>
                  <a:gd name="T6" fmla="*/ 250 w 307"/>
                  <a:gd name="T7" fmla="*/ 244 h 455"/>
                  <a:gd name="T8" fmla="*/ 250 w 307"/>
                  <a:gd name="T9" fmla="*/ 378 h 455"/>
                  <a:gd name="T10" fmla="*/ 199 w 307"/>
                  <a:gd name="T11" fmla="*/ 408 h 455"/>
                  <a:gd name="T12" fmla="*/ 61 w 307"/>
                  <a:gd name="T13" fmla="*/ 231 h 455"/>
                  <a:gd name="T14" fmla="*/ 238 w 307"/>
                  <a:gd name="T15" fmla="*/ 49 h 455"/>
                  <a:gd name="T16" fmla="*/ 270 w 307"/>
                  <a:gd name="T17" fmla="*/ 49 h 455"/>
                  <a:gd name="T18" fmla="*/ 286 w 307"/>
                  <a:gd name="T19" fmla="*/ 23 h 455"/>
                  <a:gd name="T20" fmla="*/ 244 w 307"/>
                  <a:gd name="T21" fmla="*/ 0 h 455"/>
                  <a:gd name="T22" fmla="*/ 231 w 307"/>
                  <a:gd name="T23" fmla="*/ 0 h 455"/>
                  <a:gd name="T24" fmla="*/ 0 w 307"/>
                  <a:gd name="T25" fmla="*/ 232 h 455"/>
                  <a:gd name="T26" fmla="*/ 198 w 307"/>
                  <a:gd name="T27" fmla="*/ 455 h 455"/>
                  <a:gd name="T28" fmla="*/ 307 w 307"/>
                  <a:gd name="T29" fmla="*/ 405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7" h="455">
                    <a:moveTo>
                      <a:pt x="307" y="405"/>
                    </a:moveTo>
                    <a:cubicBezTo>
                      <a:pt x="307" y="244"/>
                      <a:pt x="307" y="244"/>
                      <a:pt x="307" y="244"/>
                    </a:cubicBezTo>
                    <a:cubicBezTo>
                      <a:pt x="307" y="234"/>
                      <a:pt x="298" y="229"/>
                      <a:pt x="279" y="229"/>
                    </a:cubicBezTo>
                    <a:cubicBezTo>
                      <a:pt x="259" y="229"/>
                      <a:pt x="250" y="234"/>
                      <a:pt x="250" y="244"/>
                    </a:cubicBezTo>
                    <a:cubicBezTo>
                      <a:pt x="250" y="378"/>
                      <a:pt x="250" y="378"/>
                      <a:pt x="250" y="378"/>
                    </a:cubicBezTo>
                    <a:cubicBezTo>
                      <a:pt x="250" y="399"/>
                      <a:pt x="241" y="408"/>
                      <a:pt x="199" y="408"/>
                    </a:cubicBezTo>
                    <a:cubicBezTo>
                      <a:pt x="114" y="408"/>
                      <a:pt x="61" y="342"/>
                      <a:pt x="61" y="231"/>
                    </a:cubicBezTo>
                    <a:cubicBezTo>
                      <a:pt x="61" y="115"/>
                      <a:pt x="126" y="49"/>
                      <a:pt x="238" y="49"/>
                    </a:cubicBezTo>
                    <a:cubicBezTo>
                      <a:pt x="270" y="49"/>
                      <a:pt x="270" y="49"/>
                      <a:pt x="270" y="49"/>
                    </a:cubicBezTo>
                    <a:cubicBezTo>
                      <a:pt x="282" y="49"/>
                      <a:pt x="286" y="39"/>
                      <a:pt x="286" y="23"/>
                    </a:cubicBezTo>
                    <a:cubicBezTo>
                      <a:pt x="286" y="4"/>
                      <a:pt x="275" y="0"/>
                      <a:pt x="244" y="0"/>
                    </a:cubicBezTo>
                    <a:cubicBezTo>
                      <a:pt x="231" y="0"/>
                      <a:pt x="231" y="0"/>
                      <a:pt x="231" y="0"/>
                    </a:cubicBezTo>
                    <a:cubicBezTo>
                      <a:pt x="101" y="0"/>
                      <a:pt x="0" y="71"/>
                      <a:pt x="0" y="232"/>
                    </a:cubicBezTo>
                    <a:cubicBezTo>
                      <a:pt x="0" y="386"/>
                      <a:pt x="88" y="455"/>
                      <a:pt x="198" y="455"/>
                    </a:cubicBezTo>
                    <a:cubicBezTo>
                      <a:pt x="286" y="455"/>
                      <a:pt x="307" y="430"/>
                      <a:pt x="307" y="40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23" name="Oval 8">
                <a:extLst>
                  <a:ext uri="{FF2B5EF4-FFF2-40B4-BE49-F238E27FC236}">
                    <a16:creationId xmlns:a16="http://schemas.microsoft.com/office/drawing/2014/main" id="{60D97C11-1A3B-5449-A48D-98A3E79B3810}"/>
                  </a:ext>
                </a:extLst>
              </p:cNvPr>
              <p:cNvSpPr>
                <a:spLocks noChangeArrowheads="1"/>
              </p:cNvSpPr>
              <p:nvPr/>
            </p:nvSpPr>
            <p:spPr bwMode="gray">
              <a:xfrm>
                <a:off x="3778" y="2099"/>
                <a:ext cx="122" cy="12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24" name="Freeform 9">
                <a:extLst>
                  <a:ext uri="{FF2B5EF4-FFF2-40B4-BE49-F238E27FC236}">
                    <a16:creationId xmlns:a16="http://schemas.microsoft.com/office/drawing/2014/main" id="{5856770D-B8F0-244E-A05D-AED190086F10}"/>
                  </a:ext>
                </a:extLst>
              </p:cNvPr>
              <p:cNvSpPr>
                <a:spLocks noEditPoints="1"/>
              </p:cNvSpPr>
              <p:nvPr/>
            </p:nvSpPr>
            <p:spPr bwMode="gray">
              <a:xfrm>
                <a:off x="3623" y="1696"/>
                <a:ext cx="1167" cy="922"/>
              </a:xfrm>
              <a:custGeom>
                <a:avLst/>
                <a:gdLst>
                  <a:gd name="T0" fmla="*/ 411 w 580"/>
                  <a:gd name="T1" fmla="*/ 213 h 458"/>
                  <a:gd name="T2" fmla="*/ 570 w 580"/>
                  <a:gd name="T3" fmla="*/ 37 h 458"/>
                  <a:gd name="T4" fmla="*/ 580 w 580"/>
                  <a:gd name="T5" fmla="*/ 20 h 458"/>
                  <a:gd name="T6" fmla="*/ 545 w 580"/>
                  <a:gd name="T7" fmla="*/ 0 h 458"/>
                  <a:gd name="T8" fmla="*/ 519 w 580"/>
                  <a:gd name="T9" fmla="*/ 16 h 458"/>
                  <a:gd name="T10" fmla="*/ 344 w 580"/>
                  <a:gd name="T11" fmla="*/ 210 h 458"/>
                  <a:gd name="T12" fmla="*/ 334 w 580"/>
                  <a:gd name="T13" fmla="*/ 229 h 458"/>
                  <a:gd name="T14" fmla="*/ 344 w 580"/>
                  <a:gd name="T15" fmla="*/ 248 h 458"/>
                  <a:gd name="T16" fmla="*/ 519 w 580"/>
                  <a:gd name="T17" fmla="*/ 442 h 458"/>
                  <a:gd name="T18" fmla="*/ 545 w 580"/>
                  <a:gd name="T19" fmla="*/ 458 h 458"/>
                  <a:gd name="T20" fmla="*/ 580 w 580"/>
                  <a:gd name="T21" fmla="*/ 438 h 458"/>
                  <a:gd name="T22" fmla="*/ 570 w 580"/>
                  <a:gd name="T23" fmla="*/ 421 h 458"/>
                  <a:gd name="T24" fmla="*/ 411 w 580"/>
                  <a:gd name="T25" fmla="*/ 245 h 458"/>
                  <a:gd name="T26" fmla="*/ 399 w 580"/>
                  <a:gd name="T27" fmla="*/ 229 h 458"/>
                  <a:gd name="T28" fmla="*/ 411 w 580"/>
                  <a:gd name="T29" fmla="*/ 213 h 458"/>
                  <a:gd name="T30" fmla="*/ 252 w 580"/>
                  <a:gd name="T31" fmla="*/ 439 h 458"/>
                  <a:gd name="T32" fmla="*/ 281 w 580"/>
                  <a:gd name="T33" fmla="*/ 454 h 458"/>
                  <a:gd name="T34" fmla="*/ 309 w 580"/>
                  <a:gd name="T35" fmla="*/ 439 h 458"/>
                  <a:gd name="T36" fmla="*/ 309 w 580"/>
                  <a:gd name="T37" fmla="*/ 19 h 458"/>
                  <a:gd name="T38" fmla="*/ 281 w 580"/>
                  <a:gd name="T39" fmla="*/ 4 h 458"/>
                  <a:gd name="T40" fmla="*/ 252 w 580"/>
                  <a:gd name="T41" fmla="*/ 19 h 458"/>
                  <a:gd name="T42" fmla="*/ 252 w 580"/>
                  <a:gd name="T43" fmla="*/ 439 h 458"/>
                  <a:gd name="T44" fmla="*/ 0 w 580"/>
                  <a:gd name="T45" fmla="*/ 439 h 458"/>
                  <a:gd name="T46" fmla="*/ 28 w 580"/>
                  <a:gd name="T47" fmla="*/ 454 h 458"/>
                  <a:gd name="T48" fmla="*/ 56 w 580"/>
                  <a:gd name="T49" fmla="*/ 439 h 458"/>
                  <a:gd name="T50" fmla="*/ 56 w 580"/>
                  <a:gd name="T51" fmla="*/ 157 h 458"/>
                  <a:gd name="T52" fmla="*/ 165 w 580"/>
                  <a:gd name="T53" fmla="*/ 53 h 458"/>
                  <a:gd name="T54" fmla="*/ 180 w 580"/>
                  <a:gd name="T55" fmla="*/ 53 h 458"/>
                  <a:gd name="T56" fmla="*/ 196 w 580"/>
                  <a:gd name="T57" fmla="*/ 27 h 458"/>
                  <a:gd name="T58" fmla="*/ 154 w 580"/>
                  <a:gd name="T59" fmla="*/ 4 h 458"/>
                  <a:gd name="T60" fmla="*/ 0 w 580"/>
                  <a:gd name="T61" fmla="*/ 152 h 458"/>
                  <a:gd name="T62" fmla="*/ 0 w 580"/>
                  <a:gd name="T63" fmla="*/ 439 h 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80" h="458">
                    <a:moveTo>
                      <a:pt x="411" y="213"/>
                    </a:moveTo>
                    <a:cubicBezTo>
                      <a:pt x="570" y="37"/>
                      <a:pt x="570" y="37"/>
                      <a:pt x="570" y="37"/>
                    </a:cubicBezTo>
                    <a:cubicBezTo>
                      <a:pt x="576" y="30"/>
                      <a:pt x="580" y="25"/>
                      <a:pt x="580" y="20"/>
                    </a:cubicBezTo>
                    <a:cubicBezTo>
                      <a:pt x="580" y="10"/>
                      <a:pt x="559" y="0"/>
                      <a:pt x="545" y="0"/>
                    </a:cubicBezTo>
                    <a:cubicBezTo>
                      <a:pt x="535" y="0"/>
                      <a:pt x="526" y="8"/>
                      <a:pt x="519" y="16"/>
                    </a:cubicBezTo>
                    <a:cubicBezTo>
                      <a:pt x="344" y="210"/>
                      <a:pt x="344" y="210"/>
                      <a:pt x="344" y="210"/>
                    </a:cubicBezTo>
                    <a:cubicBezTo>
                      <a:pt x="336" y="219"/>
                      <a:pt x="334" y="224"/>
                      <a:pt x="334" y="229"/>
                    </a:cubicBezTo>
                    <a:cubicBezTo>
                      <a:pt x="334" y="234"/>
                      <a:pt x="336" y="239"/>
                      <a:pt x="344" y="248"/>
                    </a:cubicBezTo>
                    <a:cubicBezTo>
                      <a:pt x="519" y="442"/>
                      <a:pt x="519" y="442"/>
                      <a:pt x="519" y="442"/>
                    </a:cubicBezTo>
                    <a:cubicBezTo>
                      <a:pt x="526" y="450"/>
                      <a:pt x="535" y="458"/>
                      <a:pt x="545" y="458"/>
                    </a:cubicBezTo>
                    <a:cubicBezTo>
                      <a:pt x="559" y="458"/>
                      <a:pt x="580" y="448"/>
                      <a:pt x="580" y="438"/>
                    </a:cubicBezTo>
                    <a:cubicBezTo>
                      <a:pt x="580" y="433"/>
                      <a:pt x="576" y="428"/>
                      <a:pt x="570" y="421"/>
                    </a:cubicBezTo>
                    <a:cubicBezTo>
                      <a:pt x="411" y="245"/>
                      <a:pt x="411" y="245"/>
                      <a:pt x="411" y="245"/>
                    </a:cubicBezTo>
                    <a:cubicBezTo>
                      <a:pt x="403" y="236"/>
                      <a:pt x="399" y="232"/>
                      <a:pt x="399" y="229"/>
                    </a:cubicBezTo>
                    <a:cubicBezTo>
                      <a:pt x="399" y="226"/>
                      <a:pt x="403" y="222"/>
                      <a:pt x="411" y="213"/>
                    </a:cubicBezTo>
                    <a:moveTo>
                      <a:pt x="252" y="439"/>
                    </a:moveTo>
                    <a:cubicBezTo>
                      <a:pt x="252" y="449"/>
                      <a:pt x="261" y="454"/>
                      <a:pt x="281" y="454"/>
                    </a:cubicBezTo>
                    <a:cubicBezTo>
                      <a:pt x="300" y="454"/>
                      <a:pt x="309" y="449"/>
                      <a:pt x="309" y="439"/>
                    </a:cubicBezTo>
                    <a:cubicBezTo>
                      <a:pt x="309" y="19"/>
                      <a:pt x="309" y="19"/>
                      <a:pt x="309" y="19"/>
                    </a:cubicBezTo>
                    <a:cubicBezTo>
                      <a:pt x="309" y="9"/>
                      <a:pt x="300" y="4"/>
                      <a:pt x="281" y="4"/>
                    </a:cubicBezTo>
                    <a:cubicBezTo>
                      <a:pt x="261" y="4"/>
                      <a:pt x="252" y="9"/>
                      <a:pt x="252" y="19"/>
                    </a:cubicBezTo>
                    <a:lnTo>
                      <a:pt x="252" y="439"/>
                    </a:lnTo>
                    <a:close/>
                    <a:moveTo>
                      <a:pt x="0" y="439"/>
                    </a:moveTo>
                    <a:cubicBezTo>
                      <a:pt x="0" y="449"/>
                      <a:pt x="8" y="454"/>
                      <a:pt x="28" y="454"/>
                    </a:cubicBezTo>
                    <a:cubicBezTo>
                      <a:pt x="48" y="454"/>
                      <a:pt x="56" y="449"/>
                      <a:pt x="56" y="439"/>
                    </a:cubicBezTo>
                    <a:cubicBezTo>
                      <a:pt x="56" y="157"/>
                      <a:pt x="56" y="157"/>
                      <a:pt x="56" y="157"/>
                    </a:cubicBezTo>
                    <a:cubicBezTo>
                      <a:pt x="56" y="83"/>
                      <a:pt x="85" y="53"/>
                      <a:pt x="165" y="53"/>
                    </a:cubicBezTo>
                    <a:cubicBezTo>
                      <a:pt x="180" y="53"/>
                      <a:pt x="180" y="53"/>
                      <a:pt x="180" y="53"/>
                    </a:cubicBezTo>
                    <a:cubicBezTo>
                      <a:pt x="192" y="53"/>
                      <a:pt x="196" y="43"/>
                      <a:pt x="196" y="27"/>
                    </a:cubicBezTo>
                    <a:cubicBezTo>
                      <a:pt x="196" y="8"/>
                      <a:pt x="185" y="4"/>
                      <a:pt x="154" y="4"/>
                    </a:cubicBezTo>
                    <a:cubicBezTo>
                      <a:pt x="64" y="4"/>
                      <a:pt x="0" y="43"/>
                      <a:pt x="0" y="152"/>
                    </a:cubicBezTo>
                    <a:lnTo>
                      <a:pt x="0" y="43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25" name="Freeform 10">
                <a:extLst>
                  <a:ext uri="{FF2B5EF4-FFF2-40B4-BE49-F238E27FC236}">
                    <a16:creationId xmlns:a16="http://schemas.microsoft.com/office/drawing/2014/main" id="{2B91B16B-BC11-E547-8FAC-B9B8D18EA449}"/>
                  </a:ext>
                </a:extLst>
              </p:cNvPr>
              <p:cNvSpPr>
                <a:spLocks/>
              </p:cNvSpPr>
              <p:nvPr/>
            </p:nvSpPr>
            <p:spPr bwMode="gray">
              <a:xfrm>
                <a:off x="2880" y="1704"/>
                <a:ext cx="618" cy="916"/>
              </a:xfrm>
              <a:custGeom>
                <a:avLst/>
                <a:gdLst>
                  <a:gd name="T0" fmla="*/ 307 w 307"/>
                  <a:gd name="T1" fmla="*/ 405 h 455"/>
                  <a:gd name="T2" fmla="*/ 307 w 307"/>
                  <a:gd name="T3" fmla="*/ 244 h 455"/>
                  <a:gd name="T4" fmla="*/ 279 w 307"/>
                  <a:gd name="T5" fmla="*/ 229 h 455"/>
                  <a:gd name="T6" fmla="*/ 250 w 307"/>
                  <a:gd name="T7" fmla="*/ 244 h 455"/>
                  <a:gd name="T8" fmla="*/ 250 w 307"/>
                  <a:gd name="T9" fmla="*/ 378 h 455"/>
                  <a:gd name="T10" fmla="*/ 199 w 307"/>
                  <a:gd name="T11" fmla="*/ 408 h 455"/>
                  <a:gd name="T12" fmla="*/ 61 w 307"/>
                  <a:gd name="T13" fmla="*/ 231 h 455"/>
                  <a:gd name="T14" fmla="*/ 238 w 307"/>
                  <a:gd name="T15" fmla="*/ 49 h 455"/>
                  <a:gd name="T16" fmla="*/ 270 w 307"/>
                  <a:gd name="T17" fmla="*/ 49 h 455"/>
                  <a:gd name="T18" fmla="*/ 286 w 307"/>
                  <a:gd name="T19" fmla="*/ 23 h 455"/>
                  <a:gd name="T20" fmla="*/ 244 w 307"/>
                  <a:gd name="T21" fmla="*/ 0 h 455"/>
                  <a:gd name="T22" fmla="*/ 231 w 307"/>
                  <a:gd name="T23" fmla="*/ 0 h 455"/>
                  <a:gd name="T24" fmla="*/ 0 w 307"/>
                  <a:gd name="T25" fmla="*/ 232 h 455"/>
                  <a:gd name="T26" fmla="*/ 198 w 307"/>
                  <a:gd name="T27" fmla="*/ 455 h 455"/>
                  <a:gd name="T28" fmla="*/ 307 w 307"/>
                  <a:gd name="T29" fmla="*/ 405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7" h="455">
                    <a:moveTo>
                      <a:pt x="307" y="405"/>
                    </a:moveTo>
                    <a:cubicBezTo>
                      <a:pt x="307" y="244"/>
                      <a:pt x="307" y="244"/>
                      <a:pt x="307" y="244"/>
                    </a:cubicBezTo>
                    <a:cubicBezTo>
                      <a:pt x="307" y="234"/>
                      <a:pt x="298" y="229"/>
                      <a:pt x="279" y="229"/>
                    </a:cubicBezTo>
                    <a:cubicBezTo>
                      <a:pt x="259" y="229"/>
                      <a:pt x="250" y="234"/>
                      <a:pt x="250" y="244"/>
                    </a:cubicBezTo>
                    <a:cubicBezTo>
                      <a:pt x="250" y="378"/>
                      <a:pt x="250" y="378"/>
                      <a:pt x="250" y="378"/>
                    </a:cubicBezTo>
                    <a:cubicBezTo>
                      <a:pt x="250" y="399"/>
                      <a:pt x="241" y="408"/>
                      <a:pt x="199" y="408"/>
                    </a:cubicBezTo>
                    <a:cubicBezTo>
                      <a:pt x="114" y="408"/>
                      <a:pt x="61" y="342"/>
                      <a:pt x="61" y="231"/>
                    </a:cubicBezTo>
                    <a:cubicBezTo>
                      <a:pt x="61" y="115"/>
                      <a:pt x="126" y="49"/>
                      <a:pt x="238" y="49"/>
                    </a:cubicBezTo>
                    <a:cubicBezTo>
                      <a:pt x="270" y="49"/>
                      <a:pt x="270" y="49"/>
                      <a:pt x="270" y="49"/>
                    </a:cubicBezTo>
                    <a:cubicBezTo>
                      <a:pt x="282" y="49"/>
                      <a:pt x="286" y="39"/>
                      <a:pt x="286" y="23"/>
                    </a:cubicBezTo>
                    <a:cubicBezTo>
                      <a:pt x="286" y="4"/>
                      <a:pt x="275" y="0"/>
                      <a:pt x="244" y="0"/>
                    </a:cubicBezTo>
                    <a:cubicBezTo>
                      <a:pt x="231" y="0"/>
                      <a:pt x="231" y="0"/>
                      <a:pt x="231" y="0"/>
                    </a:cubicBezTo>
                    <a:cubicBezTo>
                      <a:pt x="101" y="0"/>
                      <a:pt x="0" y="71"/>
                      <a:pt x="0" y="232"/>
                    </a:cubicBezTo>
                    <a:cubicBezTo>
                      <a:pt x="0" y="386"/>
                      <a:pt x="88" y="455"/>
                      <a:pt x="198" y="455"/>
                    </a:cubicBezTo>
                    <a:cubicBezTo>
                      <a:pt x="286" y="455"/>
                      <a:pt x="307" y="430"/>
                      <a:pt x="307" y="40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26" name="Oval 11">
                <a:extLst>
                  <a:ext uri="{FF2B5EF4-FFF2-40B4-BE49-F238E27FC236}">
                    <a16:creationId xmlns:a16="http://schemas.microsoft.com/office/drawing/2014/main" id="{14F8C3C8-4888-7646-B9B4-64EB46A1DA23}"/>
                  </a:ext>
                </a:extLst>
              </p:cNvPr>
              <p:cNvSpPr>
                <a:spLocks noChangeArrowheads="1"/>
              </p:cNvSpPr>
              <p:nvPr/>
            </p:nvSpPr>
            <p:spPr bwMode="gray">
              <a:xfrm>
                <a:off x="3778" y="2099"/>
                <a:ext cx="122" cy="12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27" name="Freeform 12">
                <a:extLst>
                  <a:ext uri="{FF2B5EF4-FFF2-40B4-BE49-F238E27FC236}">
                    <a16:creationId xmlns:a16="http://schemas.microsoft.com/office/drawing/2014/main" id="{D79D01D1-4E3E-F34B-97D7-2D387E68746E}"/>
                  </a:ext>
                </a:extLst>
              </p:cNvPr>
              <p:cNvSpPr>
                <a:spLocks/>
              </p:cNvSpPr>
              <p:nvPr/>
            </p:nvSpPr>
            <p:spPr bwMode="gray">
              <a:xfrm>
                <a:off x="4321" y="1029"/>
                <a:ext cx="648" cy="649"/>
              </a:xfrm>
              <a:custGeom>
                <a:avLst/>
                <a:gdLst>
                  <a:gd name="T0" fmla="*/ 0 w 648"/>
                  <a:gd name="T1" fmla="*/ 649 h 649"/>
                  <a:gd name="T2" fmla="*/ 2 w 648"/>
                  <a:gd name="T3" fmla="*/ 649 h 649"/>
                  <a:gd name="T4" fmla="*/ 648 w 648"/>
                  <a:gd name="T5" fmla="*/ 0 h 649"/>
                  <a:gd name="T6" fmla="*/ 423 w 648"/>
                  <a:gd name="T7" fmla="*/ 0 h 649"/>
                  <a:gd name="T8" fmla="*/ 0 w 648"/>
                  <a:gd name="T9" fmla="*/ 649 h 649"/>
                </a:gdLst>
                <a:ahLst/>
                <a:cxnLst>
                  <a:cxn ang="0">
                    <a:pos x="T0" y="T1"/>
                  </a:cxn>
                  <a:cxn ang="0">
                    <a:pos x="T2" y="T3"/>
                  </a:cxn>
                  <a:cxn ang="0">
                    <a:pos x="T4" y="T5"/>
                  </a:cxn>
                  <a:cxn ang="0">
                    <a:pos x="T6" y="T7"/>
                  </a:cxn>
                  <a:cxn ang="0">
                    <a:pos x="T8" y="T9"/>
                  </a:cxn>
                </a:cxnLst>
                <a:rect l="0" t="0" r="r" b="b"/>
                <a:pathLst>
                  <a:path w="648" h="649">
                    <a:moveTo>
                      <a:pt x="0" y="649"/>
                    </a:moveTo>
                    <a:lnTo>
                      <a:pt x="2" y="649"/>
                    </a:lnTo>
                    <a:lnTo>
                      <a:pt x="648" y="0"/>
                    </a:lnTo>
                    <a:lnTo>
                      <a:pt x="423" y="0"/>
                    </a:lnTo>
                    <a:lnTo>
                      <a:pt x="0" y="64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28" name="Freeform 13">
                <a:extLst>
                  <a:ext uri="{FF2B5EF4-FFF2-40B4-BE49-F238E27FC236}">
                    <a16:creationId xmlns:a16="http://schemas.microsoft.com/office/drawing/2014/main" id="{46549898-6C52-B147-A8F6-A73FDBE6163B}"/>
                  </a:ext>
                </a:extLst>
              </p:cNvPr>
              <p:cNvSpPr>
                <a:spLocks/>
              </p:cNvSpPr>
              <p:nvPr/>
            </p:nvSpPr>
            <p:spPr bwMode="gray">
              <a:xfrm>
                <a:off x="4321" y="1029"/>
                <a:ext cx="648" cy="649"/>
              </a:xfrm>
              <a:custGeom>
                <a:avLst/>
                <a:gdLst>
                  <a:gd name="T0" fmla="*/ 0 w 648"/>
                  <a:gd name="T1" fmla="*/ 649 h 649"/>
                  <a:gd name="T2" fmla="*/ 2 w 648"/>
                  <a:gd name="T3" fmla="*/ 649 h 649"/>
                  <a:gd name="T4" fmla="*/ 648 w 648"/>
                  <a:gd name="T5" fmla="*/ 0 h 649"/>
                  <a:gd name="T6" fmla="*/ 423 w 648"/>
                  <a:gd name="T7" fmla="*/ 0 h 649"/>
                  <a:gd name="T8" fmla="*/ 0 w 648"/>
                  <a:gd name="T9" fmla="*/ 649 h 649"/>
                </a:gdLst>
                <a:ahLst/>
                <a:cxnLst>
                  <a:cxn ang="0">
                    <a:pos x="T0" y="T1"/>
                  </a:cxn>
                  <a:cxn ang="0">
                    <a:pos x="T2" y="T3"/>
                  </a:cxn>
                  <a:cxn ang="0">
                    <a:pos x="T4" y="T5"/>
                  </a:cxn>
                  <a:cxn ang="0">
                    <a:pos x="T6" y="T7"/>
                  </a:cxn>
                  <a:cxn ang="0">
                    <a:pos x="T8" y="T9"/>
                  </a:cxn>
                </a:cxnLst>
                <a:rect l="0" t="0" r="r" b="b"/>
                <a:pathLst>
                  <a:path w="648" h="649">
                    <a:moveTo>
                      <a:pt x="0" y="649"/>
                    </a:moveTo>
                    <a:lnTo>
                      <a:pt x="2" y="649"/>
                    </a:lnTo>
                    <a:lnTo>
                      <a:pt x="648" y="0"/>
                    </a:lnTo>
                    <a:lnTo>
                      <a:pt x="423" y="0"/>
                    </a:lnTo>
                    <a:lnTo>
                      <a:pt x="0" y="64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grpSp>
      </p:grpSp>
      <p:sp>
        <p:nvSpPr>
          <p:cNvPr id="7" name="Date Placeholder 6"/>
          <p:cNvSpPr>
            <a:spLocks noGrp="1"/>
          </p:cNvSpPr>
          <p:nvPr>
            <p:ph type="dt" sz="half" idx="10"/>
          </p:nvPr>
        </p:nvSpPr>
        <p:spPr>
          <a:xfrm>
            <a:off x="0" y="0"/>
            <a:ext cx="0" cy="0"/>
          </a:xfrm>
          <a:prstGeom prst="rect">
            <a:avLst/>
          </a:prstGeom>
        </p:spPr>
        <p:txBody>
          <a:bodyPr/>
          <a:lstStyle>
            <a:lvl1pPr>
              <a:defRPr sz="100">
                <a:noFill/>
              </a:defRPr>
            </a:lvl1pPr>
          </a:lstStyle>
          <a:p>
            <a:endParaRPr lang="en-US"/>
          </a:p>
        </p:txBody>
      </p:sp>
      <p:sp>
        <p:nvSpPr>
          <p:cNvPr id="8" name="Footer Placeholder 7"/>
          <p:cNvSpPr>
            <a:spLocks noGrp="1"/>
          </p:cNvSpPr>
          <p:nvPr>
            <p:ph type="ftr" sz="quarter" idx="11"/>
          </p:nvPr>
        </p:nvSpPr>
        <p:spPr>
          <a:xfrm>
            <a:off x="0" y="0"/>
            <a:ext cx="0" cy="0"/>
          </a:xfrm>
          <a:prstGeom prst="rect">
            <a:avLst/>
          </a:prstGeom>
        </p:spPr>
        <p:txBody>
          <a:bodyPr/>
          <a:lstStyle>
            <a:lvl1pPr marL="0" indent="0">
              <a:buNone/>
              <a:defRPr sz="100">
                <a:noFill/>
              </a:defRPr>
            </a:lvl1pPr>
          </a:lstStyle>
          <a:p>
            <a:endParaRPr lang="en-US"/>
          </a:p>
        </p:txBody>
      </p:sp>
      <p:sp>
        <p:nvSpPr>
          <p:cNvPr id="9" name="Slide Number Placeholder 8"/>
          <p:cNvSpPr>
            <a:spLocks noGrp="1"/>
          </p:cNvSpPr>
          <p:nvPr>
            <p:ph type="sldNum" sz="quarter" idx="12"/>
          </p:nvPr>
        </p:nvSpPr>
        <p:spPr>
          <a:xfrm>
            <a:off x="0" y="0"/>
            <a:ext cx="0" cy="0"/>
          </a:xfrm>
          <a:prstGeom prst="rect">
            <a:avLst/>
          </a:prstGeom>
        </p:spPr>
        <p:txBody>
          <a:bodyPr/>
          <a:lstStyle>
            <a:lvl1pPr>
              <a:defRPr sz="100">
                <a:noFill/>
              </a:defRPr>
            </a:lvl1pPr>
          </a:lstStyle>
          <a:p>
            <a:fld id="{8E3B25F7-8D1F-44B5-B485-EE3C438CFD7B}" type="slidenum">
              <a:rPr lang="en-US" smtClean="0"/>
              <a:pPr/>
              <a:t>‹#›</a:t>
            </a:fld>
            <a:endParaRPr lang="en-US"/>
          </a:p>
        </p:txBody>
      </p:sp>
      <p:sp>
        <p:nvSpPr>
          <p:cNvPr id="2" name="Title 1"/>
          <p:cNvSpPr>
            <a:spLocks noGrp="1"/>
          </p:cNvSpPr>
          <p:nvPr>
            <p:ph type="ctrTitle" hasCustomPrompt="1"/>
          </p:nvPr>
        </p:nvSpPr>
        <p:spPr>
          <a:xfrm>
            <a:off x="4777671" y="2019727"/>
            <a:ext cx="3816000" cy="2236264"/>
          </a:xfrm>
        </p:spPr>
        <p:txBody>
          <a:bodyPr anchor="b"/>
          <a:lstStyle>
            <a:lvl1pPr algn="l">
              <a:defRPr sz="3600"/>
            </a:lvl1pPr>
          </a:lstStyle>
          <a:p>
            <a:r>
              <a:rPr lang="en-US"/>
              <a:t>Click to add thank you</a:t>
            </a:r>
          </a:p>
        </p:txBody>
      </p:sp>
    </p:spTree>
    <p:extLst>
      <p:ext uri="{BB962C8B-B14F-4D97-AF65-F5344CB8AC3E}">
        <p14:creationId xmlns:p14="http://schemas.microsoft.com/office/powerpoint/2010/main" val="1014933101"/>
      </p:ext>
    </p:extLst>
  </p:cSld>
  <p:clrMapOvr>
    <a:masterClrMapping/>
  </p:clrMapOvr>
</p:sldLayout>
</file>

<file path=ppt/slideLayouts/slideLayout468.xml><?xml version="1.0" encoding="utf-8"?>
<p:sldLayout xmlns:a="http://schemas.openxmlformats.org/drawingml/2006/main" xmlns:r="http://schemas.openxmlformats.org/officeDocument/2006/relationships" xmlns:p="http://schemas.openxmlformats.org/presentationml/2006/main">
  <p:cSld name="2_Headline only">
    <p:spTree>
      <p:nvGrpSpPr>
        <p:cNvPr id="1" name=""/>
        <p:cNvGrpSpPr/>
        <p:nvPr/>
      </p:nvGrpSpPr>
      <p:grpSpPr>
        <a:xfrm>
          <a:off x="0" y="0"/>
          <a:ext cx="0" cy="0"/>
          <a:chOff x="0" y="0"/>
          <a:chExt cx="0" cy="0"/>
        </a:xfrm>
      </p:grpSpPr>
      <p:sp>
        <p:nvSpPr>
          <p:cNvPr id="21" name="Date Placeholder 20"/>
          <p:cNvSpPr>
            <a:spLocks noGrp="1"/>
          </p:cNvSpPr>
          <p:nvPr>
            <p:ph type="dt" sz="half" idx="14"/>
          </p:nvPr>
        </p:nvSpPr>
        <p:spPr>
          <a:xfrm>
            <a:off x="192089" y="6237288"/>
            <a:ext cx="863600" cy="358173"/>
          </a:xfrm>
          <a:prstGeom prst="rect">
            <a:avLst/>
          </a:prstGeom>
        </p:spPr>
        <p:txBody>
          <a:bodyPr/>
          <a:lstStyle/>
          <a:p>
            <a:fld id="{7DCAAD07-09FD-49C1-9253-3DC58F499B21}" type="datetime5">
              <a:rPr lang="en-US" smtClean="0"/>
              <a:t>26-Jun-20</a:t>
            </a:fld>
            <a:endParaRPr lang="en-US"/>
          </a:p>
        </p:txBody>
      </p:sp>
      <p:sp>
        <p:nvSpPr>
          <p:cNvPr id="22" name="Footer Placeholder 21"/>
          <p:cNvSpPr>
            <a:spLocks noGrp="1"/>
          </p:cNvSpPr>
          <p:nvPr>
            <p:ph type="ftr" sz="quarter" idx="15"/>
          </p:nvPr>
        </p:nvSpPr>
        <p:spPr>
          <a:xfrm>
            <a:off x="1177999" y="6237288"/>
            <a:ext cx="8162717" cy="358173"/>
          </a:xfrm>
          <a:prstGeom prst="rect">
            <a:avLst/>
          </a:prstGeom>
        </p:spPr>
        <p:txBody>
          <a:bodyPr/>
          <a:lstStyle/>
          <a:p>
            <a:r>
              <a:rPr lang="en-US"/>
              <a:t>Portfolio </a:t>
            </a:r>
            <a:r>
              <a:rPr lang="en-US" err="1"/>
              <a:t>Multiclient</a:t>
            </a:r>
            <a:r>
              <a:rPr lang="en-US"/>
              <a:t> 2019</a:t>
            </a:r>
          </a:p>
        </p:txBody>
      </p:sp>
      <p:sp>
        <p:nvSpPr>
          <p:cNvPr id="23" name="Slide Number Placeholder 22"/>
          <p:cNvSpPr>
            <a:spLocks noGrp="1"/>
          </p:cNvSpPr>
          <p:nvPr>
            <p:ph type="sldNum" sz="quarter" idx="16"/>
          </p:nvPr>
        </p:nvSpPr>
        <p:spPr/>
        <p:txBody>
          <a:bodyPr/>
          <a:lstStyle/>
          <a:p>
            <a:fld id="{5F3E29E4-0979-4FCA-B4C5-5FC6044C982A}" type="slidenum">
              <a:rPr lang="en-US" smtClean="0"/>
              <a:t>‹#›</a:t>
            </a:fld>
            <a:endParaRPr lang="en-US"/>
          </a:p>
        </p:txBody>
      </p:sp>
      <p:sp>
        <p:nvSpPr>
          <p:cNvPr id="2" name="Title 1"/>
          <p:cNvSpPr>
            <a:spLocks noGrp="1"/>
          </p:cNvSpPr>
          <p:nvPr>
            <p:ph type="title" hasCustomPrompt="1"/>
          </p:nvPr>
        </p:nvSpPr>
        <p:spPr/>
        <p:txBody>
          <a:bodyPr/>
          <a:lstStyle>
            <a:lvl1pPr>
              <a:defRPr/>
            </a:lvl1pPr>
          </a:lstStyle>
          <a:p>
            <a:r>
              <a:rPr lang="en-US"/>
              <a:t>Click to add slide title</a:t>
            </a:r>
          </a:p>
        </p:txBody>
      </p:sp>
      <p:sp>
        <p:nvSpPr>
          <p:cNvPr id="7" name="Subtitle 2"/>
          <p:cNvSpPr>
            <a:spLocks noGrp="1"/>
          </p:cNvSpPr>
          <p:nvPr>
            <p:ph type="subTitle" idx="13" hasCustomPrompt="1"/>
          </p:nvPr>
        </p:nvSpPr>
        <p:spPr>
          <a:xfrm>
            <a:off x="1075061" y="964671"/>
            <a:ext cx="7910158" cy="490042"/>
          </a:xfrm>
        </p:spPr>
        <p:txBody>
          <a:bodyPr wrap="none"/>
          <a:lstStyle>
            <a:lvl1pPr marL="0" indent="0" algn="l">
              <a:spcBef>
                <a:spcPts val="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spTree>
    <p:extLst>
      <p:ext uri="{BB962C8B-B14F-4D97-AF65-F5344CB8AC3E}">
        <p14:creationId xmlns:p14="http://schemas.microsoft.com/office/powerpoint/2010/main" val="3450504492"/>
      </p:ext>
    </p:extLst>
  </p:cSld>
  <p:clrMapOvr>
    <a:masterClrMapping/>
  </p:clrMapOvr>
</p:sldLayout>
</file>

<file path=ppt/slideLayouts/slideLayout469.xml><?xml version="1.0" encoding="utf-8"?>
<p:sldLayout xmlns:a="http://schemas.openxmlformats.org/drawingml/2006/main" xmlns:r="http://schemas.openxmlformats.org/officeDocument/2006/relationships" xmlns:p="http://schemas.openxmlformats.org/presentationml/2006/main">
  <p:cSld name="1_Two contents">
    <p:spTree>
      <p:nvGrpSpPr>
        <p:cNvPr id="1" name=""/>
        <p:cNvGrpSpPr/>
        <p:nvPr/>
      </p:nvGrpSpPr>
      <p:grpSpPr>
        <a:xfrm>
          <a:off x="0" y="0"/>
          <a:ext cx="0" cy="0"/>
          <a:chOff x="0" y="0"/>
          <a:chExt cx="0" cy="0"/>
        </a:xfrm>
      </p:grpSpPr>
      <p:sp>
        <p:nvSpPr>
          <p:cNvPr id="21" name="Date Placeholder 20"/>
          <p:cNvSpPr>
            <a:spLocks noGrp="1"/>
          </p:cNvSpPr>
          <p:nvPr>
            <p:ph type="dt" sz="half" idx="14"/>
          </p:nvPr>
        </p:nvSpPr>
        <p:spPr/>
        <p:txBody>
          <a:bodyPr/>
          <a:lstStyle/>
          <a:p>
            <a:fld id="{9D45F382-CD09-4611-8552-1549F9F12240}" type="datetime5">
              <a:rPr lang="en-US" smtClean="0"/>
              <a:t>26-Jun-20</a:t>
            </a:fld>
            <a:endParaRPr lang="en-US"/>
          </a:p>
        </p:txBody>
      </p:sp>
      <p:sp>
        <p:nvSpPr>
          <p:cNvPr id="22" name="Footer Placeholder 21"/>
          <p:cNvSpPr>
            <a:spLocks noGrp="1"/>
          </p:cNvSpPr>
          <p:nvPr>
            <p:ph type="ftr" sz="quarter" idx="15"/>
          </p:nvPr>
        </p:nvSpPr>
        <p:spPr/>
        <p:txBody>
          <a:bodyPr/>
          <a:lstStyle/>
          <a:p>
            <a:r>
              <a:rPr lang="en-US"/>
              <a:t>Title of presentation (Insert / Header &amp; Footer / Apply to All)</a:t>
            </a:r>
          </a:p>
        </p:txBody>
      </p:sp>
      <p:sp>
        <p:nvSpPr>
          <p:cNvPr id="23" name="Slide Number Placeholder 22"/>
          <p:cNvSpPr>
            <a:spLocks noGrp="1"/>
          </p:cNvSpPr>
          <p:nvPr>
            <p:ph type="sldNum" sz="quarter" idx="16"/>
          </p:nvPr>
        </p:nvSpPr>
        <p:spPr/>
        <p:txBody>
          <a:bodyPr/>
          <a:lstStyle/>
          <a:p>
            <a:fld id="{5F3E29E4-0979-4FCA-B4C5-5FC6044C982A}" type="slidenum">
              <a:rPr lang="en-US" smtClean="0"/>
              <a:t>‹#›</a:t>
            </a:fld>
            <a:endParaRPr lang="en-US"/>
          </a:p>
        </p:txBody>
      </p:sp>
      <p:sp>
        <p:nvSpPr>
          <p:cNvPr id="2" name="Title 1"/>
          <p:cNvSpPr>
            <a:spLocks noGrp="1"/>
          </p:cNvSpPr>
          <p:nvPr>
            <p:ph type="title" hasCustomPrompt="1"/>
          </p:nvPr>
        </p:nvSpPr>
        <p:spPr/>
        <p:txBody>
          <a:bodyPr/>
          <a:lstStyle>
            <a:lvl1pPr>
              <a:defRPr/>
            </a:lvl1pPr>
          </a:lstStyle>
          <a:p>
            <a:r>
              <a:rPr lang="en-US"/>
              <a:t>Click to add slide title</a:t>
            </a:r>
          </a:p>
        </p:txBody>
      </p:sp>
      <p:sp>
        <p:nvSpPr>
          <p:cNvPr id="7" name="Subtitle 2"/>
          <p:cNvSpPr>
            <a:spLocks noGrp="1"/>
          </p:cNvSpPr>
          <p:nvPr>
            <p:ph type="subTitle" idx="13" hasCustomPrompt="1"/>
          </p:nvPr>
        </p:nvSpPr>
        <p:spPr>
          <a:xfrm>
            <a:off x="1075061" y="964671"/>
            <a:ext cx="7910158" cy="490042"/>
          </a:xfrm>
        </p:spPr>
        <p:txBody>
          <a:bodyPr wrap="none"/>
          <a:lstStyle>
            <a:lvl1pPr marL="0" indent="0" algn="l">
              <a:spcBef>
                <a:spcPts val="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sp>
        <p:nvSpPr>
          <p:cNvPr id="3" name="Content Placeholder 2"/>
          <p:cNvSpPr>
            <a:spLocks noGrp="1"/>
          </p:cNvSpPr>
          <p:nvPr>
            <p:ph idx="1" hasCustomPrompt="1"/>
          </p:nvPr>
        </p:nvSpPr>
        <p:spPr>
          <a:xfrm>
            <a:off x="1075062" y="1629618"/>
            <a:ext cx="5220000" cy="4139357"/>
          </a:xfrm>
        </p:spPr>
        <p:txBody>
          <a:bodyPr/>
          <a:lstStyle>
            <a:lvl1pPr>
              <a:defRPr/>
            </a:lvl1pPr>
          </a:lstStyle>
          <a:p>
            <a:pPr lvl="0"/>
            <a:r>
              <a:rPr lang="en-US"/>
              <a:t>Click to add text or content</a:t>
            </a:r>
          </a:p>
          <a:p>
            <a:pPr lvl="1"/>
            <a:r>
              <a:rPr lang="en-US"/>
              <a:t>Second level</a:t>
            </a:r>
          </a:p>
          <a:p>
            <a:pPr lvl="2"/>
            <a:r>
              <a:rPr lang="en-US"/>
              <a:t>Third level</a:t>
            </a:r>
          </a:p>
          <a:p>
            <a:pPr lvl="3"/>
            <a:r>
              <a:rPr lang="en-US"/>
              <a:t>Fourth level</a:t>
            </a:r>
          </a:p>
          <a:p>
            <a:pPr lvl="4"/>
            <a:r>
              <a:rPr lang="en-US"/>
              <a:t>Fifth level</a:t>
            </a:r>
          </a:p>
        </p:txBody>
      </p:sp>
      <p:sp>
        <p:nvSpPr>
          <p:cNvPr id="9" name="Content Placeholder 2"/>
          <p:cNvSpPr>
            <a:spLocks noGrp="1"/>
          </p:cNvSpPr>
          <p:nvPr>
            <p:ph idx="17" hasCustomPrompt="1"/>
          </p:nvPr>
        </p:nvSpPr>
        <p:spPr>
          <a:xfrm>
            <a:off x="6600525" y="1629618"/>
            <a:ext cx="5220000" cy="4139357"/>
          </a:xfrm>
        </p:spPr>
        <p:txBody>
          <a:bodyPr/>
          <a:lstStyle>
            <a:lvl1pPr>
              <a:defRPr/>
            </a:lvl1pPr>
          </a:lstStyle>
          <a:p>
            <a:pPr lvl="0"/>
            <a:r>
              <a:rPr lang="en-US"/>
              <a:t>Click to add text or conten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03819421"/>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Slide with picture">
    <p:spTree>
      <p:nvGrpSpPr>
        <p:cNvPr id="1" name=""/>
        <p:cNvGrpSpPr/>
        <p:nvPr/>
      </p:nvGrpSpPr>
      <p:grpSpPr>
        <a:xfrm>
          <a:off x="0" y="0"/>
          <a:ext cx="0" cy="0"/>
          <a:chOff x="0" y="0"/>
          <a:chExt cx="0" cy="0"/>
        </a:xfrm>
      </p:grpSpPr>
      <p:sp>
        <p:nvSpPr>
          <p:cNvPr id="6" name="Picture Placeholder 5"/>
          <p:cNvSpPr>
            <a:spLocks noGrp="1"/>
          </p:cNvSpPr>
          <p:nvPr>
            <p:ph type="pic" sz="quarter" idx="11" hasCustomPrompt="1"/>
          </p:nvPr>
        </p:nvSpPr>
        <p:spPr bwMode="gray">
          <a:xfrm>
            <a:off x="431213" y="1316707"/>
            <a:ext cx="11328987" cy="5280943"/>
          </a:xfrm>
        </p:spPr>
        <p:txBody>
          <a:bodyPr/>
          <a:lstStyle/>
          <a:p>
            <a:r>
              <a:rPr lang="en-US"/>
              <a:t>Click to the symbol to add a picture</a:t>
            </a:r>
          </a:p>
        </p:txBody>
      </p:sp>
      <p:sp>
        <p:nvSpPr>
          <p:cNvPr id="2" name="Title 1"/>
          <p:cNvSpPr>
            <a:spLocks noGrp="1"/>
          </p:cNvSpPr>
          <p:nvPr>
            <p:ph type="ctrTitle" hasCustomPrompt="1"/>
          </p:nvPr>
        </p:nvSpPr>
        <p:spPr bwMode="gray">
          <a:xfrm>
            <a:off x="623240" y="2372785"/>
            <a:ext cx="10945520" cy="1344257"/>
          </a:xfrm>
        </p:spPr>
        <p:txBody>
          <a:bodyPr anchor="b"/>
          <a:lstStyle>
            <a:lvl1pPr>
              <a:defRPr sz="4800" cap="none" baseline="0">
                <a:solidFill>
                  <a:schemeClr val="tx2"/>
                </a:solidFill>
              </a:defRPr>
            </a:lvl1pPr>
          </a:lstStyle>
          <a:p>
            <a:r>
              <a:rPr lang="en-US"/>
              <a:t>Click to add title of presentation</a:t>
            </a:r>
          </a:p>
        </p:txBody>
      </p:sp>
      <p:sp>
        <p:nvSpPr>
          <p:cNvPr id="3" name="Subtitle 2"/>
          <p:cNvSpPr>
            <a:spLocks noGrp="1"/>
          </p:cNvSpPr>
          <p:nvPr>
            <p:ph type="subTitle" idx="1" hasCustomPrompt="1"/>
          </p:nvPr>
        </p:nvSpPr>
        <p:spPr bwMode="gray">
          <a:xfrm>
            <a:off x="622495" y="3813054"/>
            <a:ext cx="10946245" cy="1536213"/>
          </a:xfrm>
        </p:spPr>
        <p:txBody>
          <a:bodyPr/>
          <a:lstStyle>
            <a:lvl1pPr marL="0" indent="0" algn="l">
              <a:spcBef>
                <a:spcPts val="800"/>
              </a:spcBef>
              <a:spcAft>
                <a:spcPts val="0"/>
              </a:spcAft>
              <a:buNone/>
              <a:defRPr sz="2667">
                <a:solidFill>
                  <a:schemeClr val="tx2"/>
                </a:solidFill>
              </a:defRPr>
            </a:lvl1pPr>
            <a:lvl2pPr marL="0" indent="0" algn="l">
              <a:spcBef>
                <a:spcPts val="800"/>
              </a:spcBef>
              <a:spcAft>
                <a:spcPts val="0"/>
              </a:spcAft>
              <a:buNone/>
              <a:defRPr sz="2667">
                <a:solidFill>
                  <a:schemeClr val="tx2"/>
                </a:solidFill>
              </a:defRPr>
            </a:lvl2pPr>
            <a:lvl3pPr marL="0" indent="0" algn="l">
              <a:spcBef>
                <a:spcPts val="800"/>
              </a:spcBef>
              <a:spcAft>
                <a:spcPts val="0"/>
              </a:spcAft>
              <a:buNone/>
              <a:defRPr sz="2667">
                <a:solidFill>
                  <a:schemeClr val="tx2"/>
                </a:solidFill>
              </a:defRPr>
            </a:lvl3pPr>
            <a:lvl4pPr marL="0" indent="0" algn="l">
              <a:spcBef>
                <a:spcPts val="800"/>
              </a:spcBef>
              <a:spcAft>
                <a:spcPts val="0"/>
              </a:spcAft>
              <a:buNone/>
              <a:defRPr sz="2667">
                <a:solidFill>
                  <a:schemeClr val="tx2"/>
                </a:solidFill>
              </a:defRPr>
            </a:lvl4pPr>
            <a:lvl5pPr marL="0" indent="0" algn="l">
              <a:spcBef>
                <a:spcPts val="800"/>
              </a:spcBef>
              <a:spcAft>
                <a:spcPts val="0"/>
              </a:spcAft>
              <a:buNone/>
              <a:defRPr sz="2667">
                <a:solidFill>
                  <a:schemeClr val="tx2"/>
                </a:solidFill>
              </a:defRPr>
            </a:lvl5pPr>
            <a:lvl6pPr marL="0" indent="0" algn="l">
              <a:spcBef>
                <a:spcPts val="800"/>
              </a:spcBef>
              <a:spcAft>
                <a:spcPts val="0"/>
              </a:spcAft>
              <a:buNone/>
              <a:defRPr sz="2667">
                <a:solidFill>
                  <a:schemeClr val="tx2"/>
                </a:solidFill>
              </a:defRPr>
            </a:lvl6pPr>
            <a:lvl7pPr marL="0" indent="0" algn="l">
              <a:spcBef>
                <a:spcPts val="800"/>
              </a:spcBef>
              <a:spcAft>
                <a:spcPts val="0"/>
              </a:spcAft>
              <a:buNone/>
              <a:defRPr sz="2667">
                <a:solidFill>
                  <a:schemeClr val="tx2"/>
                </a:solidFill>
              </a:defRPr>
            </a:lvl7pPr>
            <a:lvl8pPr marL="0" indent="0" algn="l">
              <a:spcAft>
                <a:spcPts val="0"/>
              </a:spcAft>
              <a:buNone/>
              <a:defRPr sz="2667">
                <a:solidFill>
                  <a:schemeClr val="bg1"/>
                </a:solidFill>
              </a:defRPr>
            </a:lvl8pPr>
            <a:lvl9pPr marL="0" indent="0" algn="l">
              <a:spcBef>
                <a:spcPts val="800"/>
              </a:spcBef>
              <a:spcAft>
                <a:spcPts val="0"/>
              </a:spcAft>
              <a:buNone/>
              <a:defRPr sz="2667">
                <a:solidFill>
                  <a:schemeClr val="tx2"/>
                </a:solidFill>
              </a:defRPr>
            </a:lvl9pPr>
          </a:lstStyle>
          <a:p>
            <a:pPr lvl="0"/>
            <a:r>
              <a:rPr lang="en-US" noProof="0"/>
              <a:t>Click to add subtitle of presentation</a:t>
            </a:r>
          </a:p>
        </p:txBody>
      </p:sp>
      <p:sp>
        <p:nvSpPr>
          <p:cNvPr id="7" name="Rechteck 6"/>
          <p:cNvSpPr/>
          <p:nvPr userDrawn="1"/>
        </p:nvSpPr>
        <p:spPr bwMode="gray">
          <a:xfrm>
            <a:off x="0" y="6570171"/>
            <a:ext cx="12192000" cy="287829"/>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indent="0" algn="ctr">
              <a:buFont typeface="Courier New" pitchFamily="49" charset="0"/>
              <a:buNone/>
            </a:pPr>
            <a:endParaRPr lang="en-US" sz="2133">
              <a:solidFill>
                <a:schemeClr val="tx1"/>
              </a:solidFill>
              <a:latin typeface="Arial" pitchFamily="34" charset="0"/>
            </a:endParaRPr>
          </a:p>
        </p:txBody>
      </p:sp>
      <p:sp>
        <p:nvSpPr>
          <p:cNvPr id="8" name="Text Placeholder 10"/>
          <p:cNvSpPr>
            <a:spLocks noGrp="1"/>
          </p:cNvSpPr>
          <p:nvPr>
            <p:ph type="body" sz="quarter" idx="10" hasCustomPrompt="1"/>
          </p:nvPr>
        </p:nvSpPr>
        <p:spPr bwMode="gray">
          <a:xfrm>
            <a:off x="623241" y="6117373"/>
            <a:ext cx="10945520" cy="288000"/>
          </a:xfrm>
        </p:spPr>
        <p:txBody>
          <a:bodyPr tIns="0" anchor="b" anchorCtr="0"/>
          <a:lstStyle>
            <a:lvl1pPr marL="0" indent="0">
              <a:lnSpc>
                <a:spcPct val="100000"/>
              </a:lnSpc>
              <a:spcBef>
                <a:spcPts val="0"/>
              </a:spcBef>
              <a:spcAft>
                <a:spcPts val="0"/>
              </a:spcAft>
              <a:buFontTx/>
              <a:buNone/>
              <a:defRPr sz="1600">
                <a:solidFill>
                  <a:schemeClr val="tx2"/>
                </a:solidFill>
              </a:defRPr>
            </a:lvl1pPr>
            <a:lvl2pPr marL="0" indent="0">
              <a:lnSpc>
                <a:spcPct val="100000"/>
              </a:lnSpc>
              <a:spcBef>
                <a:spcPts val="0"/>
              </a:spcBef>
              <a:spcAft>
                <a:spcPts val="0"/>
              </a:spcAft>
              <a:buFontTx/>
              <a:buNone/>
              <a:defRPr sz="1600">
                <a:solidFill>
                  <a:schemeClr val="tx2"/>
                </a:solidFill>
              </a:defRPr>
            </a:lvl2pPr>
            <a:lvl3pPr marL="0" indent="0">
              <a:lnSpc>
                <a:spcPct val="100000"/>
              </a:lnSpc>
              <a:spcBef>
                <a:spcPts val="0"/>
              </a:spcBef>
              <a:spcAft>
                <a:spcPts val="0"/>
              </a:spcAft>
              <a:buFontTx/>
              <a:buNone/>
              <a:defRPr sz="1600">
                <a:solidFill>
                  <a:schemeClr val="tx2"/>
                </a:solidFill>
              </a:defRPr>
            </a:lvl3pPr>
            <a:lvl4pPr marL="0" indent="0">
              <a:lnSpc>
                <a:spcPct val="100000"/>
              </a:lnSpc>
              <a:spcBef>
                <a:spcPts val="0"/>
              </a:spcBef>
              <a:spcAft>
                <a:spcPts val="0"/>
              </a:spcAft>
              <a:buFontTx/>
              <a:buNone/>
              <a:defRPr sz="1600">
                <a:solidFill>
                  <a:schemeClr val="tx2"/>
                </a:solidFill>
              </a:defRPr>
            </a:lvl4pPr>
            <a:lvl5pPr marL="0" indent="0">
              <a:lnSpc>
                <a:spcPct val="100000"/>
              </a:lnSpc>
              <a:spcBef>
                <a:spcPts val="0"/>
              </a:spcBef>
              <a:spcAft>
                <a:spcPts val="0"/>
              </a:spcAft>
              <a:buFontTx/>
              <a:buNone/>
              <a:defRPr sz="1600">
                <a:solidFill>
                  <a:schemeClr val="tx2"/>
                </a:solidFill>
              </a:defRPr>
            </a:lvl5pPr>
            <a:lvl6pPr marL="0" indent="0">
              <a:lnSpc>
                <a:spcPct val="100000"/>
              </a:lnSpc>
              <a:spcBef>
                <a:spcPts val="0"/>
              </a:spcBef>
              <a:spcAft>
                <a:spcPts val="0"/>
              </a:spcAft>
              <a:buFontTx/>
              <a:buNone/>
              <a:defRPr sz="1600">
                <a:solidFill>
                  <a:schemeClr val="tx2"/>
                </a:solidFill>
              </a:defRPr>
            </a:lvl6pPr>
            <a:lvl7pPr marL="0" indent="0">
              <a:lnSpc>
                <a:spcPct val="100000"/>
              </a:lnSpc>
              <a:spcBef>
                <a:spcPts val="0"/>
              </a:spcBef>
              <a:spcAft>
                <a:spcPts val="0"/>
              </a:spcAft>
              <a:buFontTx/>
              <a:buNone/>
              <a:defRPr sz="1600">
                <a:solidFill>
                  <a:schemeClr val="tx2"/>
                </a:solidFill>
              </a:defRPr>
            </a:lvl7pPr>
            <a:lvl8pPr marL="0" indent="0">
              <a:lnSpc>
                <a:spcPct val="100000"/>
              </a:lnSpc>
              <a:spcBef>
                <a:spcPts val="0"/>
              </a:spcBef>
              <a:spcAft>
                <a:spcPts val="0"/>
              </a:spcAft>
              <a:buFontTx/>
              <a:buNone/>
              <a:defRPr sz="1600">
                <a:solidFill>
                  <a:schemeClr val="bg1"/>
                </a:solidFill>
              </a:defRPr>
            </a:lvl8pPr>
            <a:lvl9pPr marL="0" indent="0">
              <a:lnSpc>
                <a:spcPct val="100000"/>
              </a:lnSpc>
              <a:spcBef>
                <a:spcPts val="0"/>
              </a:spcBef>
              <a:spcAft>
                <a:spcPts val="0"/>
              </a:spcAft>
              <a:buFontTx/>
              <a:buNone/>
              <a:defRPr sz="1600">
                <a:solidFill>
                  <a:schemeClr val="tx2"/>
                </a:solidFill>
              </a:defRPr>
            </a:lvl9pPr>
          </a:lstStyle>
          <a:p>
            <a:pPr lvl="0"/>
            <a:r>
              <a:rPr lang="en-US" noProof="0"/>
              <a:t>Click to add additional text, e.g. author, location, date</a:t>
            </a:r>
          </a:p>
        </p:txBody>
      </p:sp>
    </p:spTree>
    <p:extLst>
      <p:ext uri="{BB962C8B-B14F-4D97-AF65-F5344CB8AC3E}">
        <p14:creationId xmlns:p14="http://schemas.microsoft.com/office/powerpoint/2010/main" val="2439125456"/>
      </p:ext>
    </p:extLst>
  </p:cSld>
  <p:clrMapOvr>
    <a:masterClrMapping/>
  </p:clrMapOvr>
</p:sldLayout>
</file>

<file path=ppt/slideLayouts/slideLayout470.xml><?xml version="1.0" encoding="utf-8"?>
<p:sldLayout xmlns:a="http://schemas.openxmlformats.org/drawingml/2006/main" xmlns:r="http://schemas.openxmlformats.org/officeDocument/2006/relationships" xmlns:p="http://schemas.openxmlformats.org/presentationml/2006/main">
  <p:cSld name="1_One content">
    <p:spTree>
      <p:nvGrpSpPr>
        <p:cNvPr id="1" name=""/>
        <p:cNvGrpSpPr/>
        <p:nvPr/>
      </p:nvGrpSpPr>
      <p:grpSpPr>
        <a:xfrm>
          <a:off x="0" y="0"/>
          <a:ext cx="0" cy="0"/>
          <a:chOff x="0" y="0"/>
          <a:chExt cx="0" cy="0"/>
        </a:xfrm>
      </p:grpSpPr>
      <p:sp>
        <p:nvSpPr>
          <p:cNvPr id="21" name="Date Placeholder 20"/>
          <p:cNvSpPr>
            <a:spLocks noGrp="1"/>
          </p:cNvSpPr>
          <p:nvPr>
            <p:ph type="dt" sz="half" idx="14"/>
          </p:nvPr>
        </p:nvSpPr>
        <p:spPr/>
        <p:txBody>
          <a:bodyPr/>
          <a:lstStyle/>
          <a:p>
            <a:fld id="{4CC19292-71B2-4BF0-8023-C669B9188137}" type="datetime5">
              <a:rPr lang="en-US" smtClean="0"/>
              <a:t>26-Jun-20</a:t>
            </a:fld>
            <a:endParaRPr lang="en-US"/>
          </a:p>
        </p:txBody>
      </p:sp>
      <p:sp>
        <p:nvSpPr>
          <p:cNvPr id="22" name="Footer Placeholder 21"/>
          <p:cNvSpPr>
            <a:spLocks noGrp="1"/>
          </p:cNvSpPr>
          <p:nvPr>
            <p:ph type="ftr" sz="quarter" idx="15"/>
          </p:nvPr>
        </p:nvSpPr>
        <p:spPr/>
        <p:txBody>
          <a:bodyPr/>
          <a:lstStyle/>
          <a:p>
            <a:r>
              <a:rPr lang="en-US"/>
              <a:t>Syndicated Surveys  Portfolio 2019</a:t>
            </a:r>
          </a:p>
        </p:txBody>
      </p:sp>
      <p:sp>
        <p:nvSpPr>
          <p:cNvPr id="23" name="Slide Number Placeholder 22"/>
          <p:cNvSpPr>
            <a:spLocks noGrp="1"/>
          </p:cNvSpPr>
          <p:nvPr>
            <p:ph type="sldNum" sz="quarter" idx="16"/>
          </p:nvPr>
        </p:nvSpPr>
        <p:spPr/>
        <p:txBody>
          <a:bodyPr/>
          <a:lstStyle/>
          <a:p>
            <a:fld id="{5F3E29E4-0979-4FCA-B4C5-5FC6044C982A}" type="slidenum">
              <a:rPr lang="en-US" smtClean="0"/>
              <a:t>‹#›</a:t>
            </a:fld>
            <a:endParaRPr lang="en-US"/>
          </a:p>
        </p:txBody>
      </p:sp>
      <p:sp>
        <p:nvSpPr>
          <p:cNvPr id="2" name="Title 1"/>
          <p:cNvSpPr>
            <a:spLocks noGrp="1"/>
          </p:cNvSpPr>
          <p:nvPr>
            <p:ph type="title" hasCustomPrompt="1"/>
          </p:nvPr>
        </p:nvSpPr>
        <p:spPr/>
        <p:txBody>
          <a:bodyPr/>
          <a:lstStyle>
            <a:lvl1pPr>
              <a:defRPr/>
            </a:lvl1pPr>
          </a:lstStyle>
          <a:p>
            <a:r>
              <a:rPr lang="en-US"/>
              <a:t>Click to add slide title</a:t>
            </a:r>
          </a:p>
        </p:txBody>
      </p:sp>
      <p:sp>
        <p:nvSpPr>
          <p:cNvPr id="7" name="Subtitle 2"/>
          <p:cNvSpPr>
            <a:spLocks noGrp="1"/>
          </p:cNvSpPr>
          <p:nvPr>
            <p:ph type="subTitle" idx="13" hasCustomPrompt="1"/>
          </p:nvPr>
        </p:nvSpPr>
        <p:spPr>
          <a:xfrm>
            <a:off x="1075061" y="964671"/>
            <a:ext cx="7910158" cy="490042"/>
          </a:xfrm>
        </p:spPr>
        <p:txBody>
          <a:bodyPr wrap="none"/>
          <a:lstStyle>
            <a:lvl1pPr marL="0" indent="0" algn="l">
              <a:spcBef>
                <a:spcPts val="0"/>
              </a:spcBef>
              <a:buNone/>
              <a:defRPr sz="2400" baseline="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sp>
        <p:nvSpPr>
          <p:cNvPr id="3" name="Content Placeholder 2"/>
          <p:cNvSpPr>
            <a:spLocks noGrp="1"/>
          </p:cNvSpPr>
          <p:nvPr>
            <p:ph idx="1" hasCustomPrompt="1"/>
          </p:nvPr>
        </p:nvSpPr>
        <p:spPr/>
        <p:txBody>
          <a:bodyPr/>
          <a:lstStyle>
            <a:lvl1pPr>
              <a:defRPr baseline="0"/>
            </a:lvl1pPr>
          </a:lstStyle>
          <a:p>
            <a:pPr lvl="0"/>
            <a:r>
              <a:rPr lang="en-US"/>
              <a:t>Click to add text or conten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96834071"/>
      </p:ext>
    </p:extLst>
  </p:cSld>
  <p:clrMapOvr>
    <a:masterClrMapping/>
  </p:clrMapOvr>
</p:sldLayout>
</file>

<file path=ppt/slideLayouts/slideLayout471.xml><?xml version="1.0" encoding="utf-8"?>
<p:sldLayout xmlns:a="http://schemas.openxmlformats.org/drawingml/2006/main" xmlns:r="http://schemas.openxmlformats.org/officeDocument/2006/relationships" xmlns:p="http://schemas.openxmlformats.org/presentationml/2006/main" userDrawn="1">
  <p:cSld name="1_Headline only">
    <p:spTree>
      <p:nvGrpSpPr>
        <p:cNvPr id="1" name=""/>
        <p:cNvGrpSpPr/>
        <p:nvPr/>
      </p:nvGrpSpPr>
      <p:grpSpPr>
        <a:xfrm>
          <a:off x="0" y="0"/>
          <a:ext cx="0" cy="0"/>
          <a:chOff x="0" y="0"/>
          <a:chExt cx="0" cy="0"/>
        </a:xfrm>
      </p:grpSpPr>
      <p:sp>
        <p:nvSpPr>
          <p:cNvPr id="3" name="Textplatzhalter 2"/>
          <p:cNvSpPr>
            <a:spLocks noGrp="1"/>
          </p:cNvSpPr>
          <p:nvPr>
            <p:ph type="body" sz="quarter" idx="10" hasCustomPrompt="1"/>
          </p:nvPr>
        </p:nvSpPr>
        <p:spPr bwMode="gray">
          <a:xfrm>
            <a:off x="431213" y="1220755"/>
            <a:ext cx="11328987" cy="384340"/>
          </a:xfrm>
        </p:spPr>
        <p:txBody>
          <a:bodyPr>
            <a:noAutofit/>
          </a:bodyPr>
          <a:lstStyle>
            <a:lvl1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1pPr>
            <a:lvl2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2pPr>
            <a:lvl3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3pPr>
            <a:lvl4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4pPr>
            <a:lvl5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5pPr>
            <a:lvl6pPr marL="0" indent="0">
              <a:lnSpc>
                <a:spcPct val="100000"/>
              </a:lnSpc>
              <a:spcBef>
                <a:spcPts val="800"/>
              </a:spcBef>
              <a:buNone/>
              <a:defRPr lang="en-GB" sz="2400" kern="1200" noProof="0" smtClean="0">
                <a:solidFill>
                  <a:schemeClr val="tx2"/>
                </a:solidFill>
                <a:latin typeface="Arial" pitchFamily="34" charset="0"/>
                <a:ea typeface="+mn-ea"/>
                <a:cs typeface="Arial" pitchFamily="34" charset="0"/>
              </a:defRPr>
            </a:lvl6pPr>
            <a:lvl7pPr marL="0" indent="0">
              <a:lnSpc>
                <a:spcPct val="100000"/>
              </a:lnSpc>
              <a:spcBef>
                <a:spcPts val="800"/>
              </a:spcBef>
              <a:buNone/>
              <a:defRPr lang="en-GB" sz="2400" kern="1200" noProof="0" smtClean="0">
                <a:solidFill>
                  <a:schemeClr val="tx2"/>
                </a:solidFill>
                <a:latin typeface="Arial" pitchFamily="34" charset="0"/>
                <a:ea typeface="+mn-ea"/>
                <a:cs typeface="Arial" pitchFamily="34" charset="0"/>
              </a:defRPr>
            </a:lvl7pPr>
            <a:lvl8pPr marL="0" indent="0">
              <a:lnSpc>
                <a:spcPct val="100000"/>
              </a:lnSpc>
              <a:spcBef>
                <a:spcPts val="800"/>
              </a:spcBef>
              <a:buNone/>
              <a:defRPr lang="en-GB" sz="2400" kern="1200" noProof="0" smtClean="0">
                <a:solidFill>
                  <a:schemeClr val="tx2"/>
                </a:solidFill>
                <a:latin typeface="Arial" pitchFamily="34" charset="0"/>
                <a:ea typeface="+mn-ea"/>
                <a:cs typeface="Arial" pitchFamily="34" charset="0"/>
              </a:defRPr>
            </a:lvl8pPr>
            <a:lvl9pPr marL="0" indent="0">
              <a:lnSpc>
                <a:spcPct val="100000"/>
              </a:lnSpc>
              <a:spcBef>
                <a:spcPts val="800"/>
              </a:spcBef>
              <a:buNone/>
              <a:defRPr lang="de-DE" sz="2400" kern="1200" noProof="0" smtClean="0">
                <a:solidFill>
                  <a:schemeClr val="tx2"/>
                </a:solidFill>
                <a:latin typeface="Arial" pitchFamily="34" charset="0"/>
                <a:ea typeface="+mn-ea"/>
                <a:cs typeface="Arial" pitchFamily="34" charset="0"/>
              </a:defRPr>
            </a:lvl9pPr>
          </a:lstStyle>
          <a:p>
            <a:pPr lvl="0"/>
            <a:r>
              <a:rPr lang="en-US"/>
              <a:t>Click to add </a:t>
            </a:r>
            <a:r>
              <a:rPr lang="en-US" err="1"/>
              <a:t>subheadline</a:t>
            </a:r>
            <a:endParaRPr lang="en-US"/>
          </a:p>
        </p:txBody>
      </p:sp>
      <p:sp>
        <p:nvSpPr>
          <p:cNvPr id="4" name="Textplatzhalter 3"/>
          <p:cNvSpPr>
            <a:spLocks noGrp="1"/>
          </p:cNvSpPr>
          <p:nvPr>
            <p:ph type="body" sz="quarter" idx="11" hasCustomPrompt="1"/>
          </p:nvPr>
        </p:nvSpPr>
        <p:spPr bwMode="gray">
          <a:xfrm>
            <a:off x="431371" y="6404736"/>
            <a:ext cx="11328400" cy="192616"/>
          </a:xfrm>
        </p:spPr>
        <p:txBody>
          <a:bodyPr tIns="0" bIns="36000" anchor="b" anchorCtr="0">
            <a:noAutofit/>
          </a:bodyPr>
          <a:lstStyle>
            <a:lvl1pPr marL="0" marR="0" indent="0" algn="l" defTabSz="1219170" rtl="0" eaLnBrk="1" fontAlgn="auto" latinLnBrk="0" hangingPunct="1">
              <a:lnSpc>
                <a:spcPct val="100000"/>
              </a:lnSpc>
              <a:spcBef>
                <a:spcPts val="0"/>
              </a:spcBef>
              <a:spcAft>
                <a:spcPts val="0"/>
              </a:spcAft>
              <a:buClrTx/>
              <a:buSzTx/>
              <a:buFont typeface="Arial" pitchFamily="34" charset="0"/>
              <a:buNone/>
              <a:tabLst/>
              <a:defRPr lang="de-DE" sz="1067" kern="1200" baseline="0" noProof="0" smtClean="0">
                <a:solidFill>
                  <a:schemeClr val="bg2"/>
                </a:solidFill>
                <a:latin typeface="Arial" pitchFamily="34" charset="0"/>
                <a:ea typeface="+mn-ea"/>
                <a:cs typeface="Arial" pitchFamily="34" charset="0"/>
              </a:defRPr>
            </a:lvl1pPr>
            <a:lvl2pPr marL="0" indent="0">
              <a:lnSpc>
                <a:spcPct val="100000"/>
              </a:lnSpc>
              <a:spcBef>
                <a:spcPts val="0"/>
              </a:spcBef>
              <a:buFont typeface="Arial" panose="020B0604020202020204" pitchFamily="34" charset="0"/>
              <a:buNone/>
              <a:defRPr lang="de-DE" sz="1067" kern="1200" baseline="0" noProof="0" smtClean="0">
                <a:solidFill>
                  <a:schemeClr val="bg2"/>
                </a:solidFill>
                <a:latin typeface="Arial" pitchFamily="34" charset="0"/>
                <a:ea typeface="+mn-ea"/>
                <a:cs typeface="Arial" pitchFamily="34" charset="0"/>
              </a:defRPr>
            </a:lvl2pPr>
            <a:lvl3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3pPr>
            <a:lvl4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4pPr>
            <a:lvl5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5pPr>
            <a:lvl6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6pPr>
            <a:lvl7pPr marL="0" indent="0">
              <a:lnSpc>
                <a:spcPct val="100000"/>
              </a:lnSpc>
              <a:spcBef>
                <a:spcPts val="0"/>
              </a:spcBef>
              <a:buNone/>
              <a:defRPr lang="de-DE" sz="1067" kern="1200" baseline="0" noProof="0" dirty="0" smtClean="0">
                <a:solidFill>
                  <a:schemeClr val="bg2"/>
                </a:solidFill>
                <a:latin typeface="Arial" pitchFamily="34" charset="0"/>
                <a:ea typeface="+mn-ea"/>
                <a:cs typeface="Arial" pitchFamily="34" charset="0"/>
              </a:defRPr>
            </a:lvl7pPr>
            <a:lvl8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8pPr>
            <a:lvl9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9pPr>
          </a:lstStyle>
          <a:p>
            <a:pPr lvl="0"/>
            <a:r>
              <a:rPr lang="en-US"/>
              <a:t>Click to add source information</a:t>
            </a:r>
          </a:p>
        </p:txBody>
      </p:sp>
      <p:sp>
        <p:nvSpPr>
          <p:cNvPr id="5" name="Title 4"/>
          <p:cNvSpPr>
            <a:spLocks noGrp="1"/>
          </p:cNvSpPr>
          <p:nvPr>
            <p:ph type="title" hasCustomPrompt="1"/>
          </p:nvPr>
        </p:nvSpPr>
        <p:spPr/>
        <p:txBody>
          <a:bodyPr/>
          <a:lstStyle/>
          <a:p>
            <a:r>
              <a:rPr lang="en-US"/>
              <a:t>Click to add headline</a:t>
            </a:r>
          </a:p>
        </p:txBody>
      </p:sp>
    </p:spTree>
    <p:extLst>
      <p:ext uri="{BB962C8B-B14F-4D97-AF65-F5344CB8AC3E}">
        <p14:creationId xmlns:p14="http://schemas.microsoft.com/office/powerpoint/2010/main" val="362600700"/>
      </p:ext>
    </p:extLst>
  </p:cSld>
  <p:clrMapOvr>
    <a:masterClrMapping/>
  </p:clrMapOvr>
</p:sldLayout>
</file>

<file path=ppt/slideLayouts/slideLayout472.xml><?xml version="1.0" encoding="utf-8"?>
<p:sldLayout xmlns:a="http://schemas.openxmlformats.org/drawingml/2006/main" xmlns:r="http://schemas.openxmlformats.org/officeDocument/2006/relationships" xmlns:p="http://schemas.openxmlformats.org/presentationml/2006/main" preserve="1">
  <p:cSld name="Title 1">
    <p:spTree>
      <p:nvGrpSpPr>
        <p:cNvPr id="1" name=""/>
        <p:cNvGrpSpPr/>
        <p:nvPr/>
      </p:nvGrpSpPr>
      <p:grpSpPr>
        <a:xfrm>
          <a:off x="0" y="0"/>
          <a:ext cx="0" cy="0"/>
          <a:chOff x="0" y="0"/>
          <a:chExt cx="0" cy="0"/>
        </a:xfrm>
      </p:grpSpPr>
      <p:pic>
        <p:nvPicPr>
          <p:cNvPr id="32" name="picture">
            <a:extLst>
              <a:ext uri="{FF2B5EF4-FFF2-40B4-BE49-F238E27FC236}">
                <a16:creationId xmlns:a16="http://schemas.microsoft.com/office/drawing/2014/main" id="{4F153214-AFE7-D540-937D-96E89FDAD54B}"/>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2620212" y="-8808"/>
            <a:ext cx="9697299" cy="6866807"/>
          </a:xfrm>
          <a:prstGeom prst="rect">
            <a:avLst/>
          </a:prstGeom>
        </p:spPr>
      </p:pic>
      <p:sp>
        <p:nvSpPr>
          <p:cNvPr id="29" name="shpPicture"/>
          <p:cNvSpPr/>
          <p:nvPr/>
        </p:nvSpPr>
        <p:spPr>
          <a:xfrm>
            <a:off x="0" y="0"/>
            <a:ext cx="4956718" cy="6858000"/>
          </a:xfrm>
          <a:custGeom>
            <a:avLst/>
            <a:gdLst>
              <a:gd name="connsiteX0" fmla="*/ 0 w 4956718"/>
              <a:gd name="connsiteY0" fmla="*/ 0 h 6858000"/>
              <a:gd name="connsiteX1" fmla="*/ 3707268 w 4956718"/>
              <a:gd name="connsiteY1" fmla="*/ 0 h 6858000"/>
              <a:gd name="connsiteX2" fmla="*/ 4956718 w 4956718"/>
              <a:gd name="connsiteY2" fmla="*/ 4163677 h 6858000"/>
              <a:gd name="connsiteX3" fmla="*/ 3376226 w 4956718"/>
              <a:gd name="connsiteY3" fmla="*/ 6858000 h 6858000"/>
              <a:gd name="connsiteX4" fmla="*/ 0 w 4956718"/>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56718" h="6858000">
                <a:moveTo>
                  <a:pt x="0" y="0"/>
                </a:moveTo>
                <a:lnTo>
                  <a:pt x="3707268" y="0"/>
                </a:lnTo>
                <a:lnTo>
                  <a:pt x="4956718" y="4163677"/>
                </a:lnTo>
                <a:lnTo>
                  <a:pt x="3376226"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125000"/>
              </a:lnSpc>
            </a:pPr>
            <a:endParaRPr lang="en-US" sz="1600"/>
          </a:p>
        </p:txBody>
      </p:sp>
      <p:grpSp>
        <p:nvGrpSpPr>
          <p:cNvPr id="14" name="logo">
            <a:extLst>
              <a:ext uri="{FF2B5EF4-FFF2-40B4-BE49-F238E27FC236}">
                <a16:creationId xmlns:a16="http://schemas.microsoft.com/office/drawing/2014/main" id="{18C26D95-70F8-8A4D-9F18-DCCB92522AF8}"/>
              </a:ext>
            </a:extLst>
          </p:cNvPr>
          <p:cNvGrpSpPr/>
          <p:nvPr/>
        </p:nvGrpSpPr>
        <p:grpSpPr bwMode="gray">
          <a:xfrm>
            <a:off x="417363" y="407485"/>
            <a:ext cx="1518585" cy="646507"/>
            <a:chOff x="334963" y="296652"/>
            <a:chExt cx="1268411" cy="540000"/>
          </a:xfrm>
        </p:grpSpPr>
        <p:sp>
          <p:nvSpPr>
            <p:cNvPr id="17" name="Freeform 6">
              <a:extLst>
                <a:ext uri="{FF2B5EF4-FFF2-40B4-BE49-F238E27FC236}">
                  <a16:creationId xmlns:a16="http://schemas.microsoft.com/office/drawing/2014/main" id="{08737AD0-E375-E445-97E6-CD2E2DF60620}"/>
                </a:ext>
              </a:extLst>
            </p:cNvPr>
            <p:cNvSpPr>
              <a:spLocks noEditPoints="1"/>
            </p:cNvSpPr>
            <p:nvPr/>
          </p:nvSpPr>
          <p:spPr bwMode="gray">
            <a:xfrm>
              <a:off x="982662" y="360462"/>
              <a:ext cx="620712" cy="431800"/>
            </a:xfrm>
            <a:custGeom>
              <a:avLst/>
              <a:gdLst>
                <a:gd name="T0" fmla="*/ 19 w 1809"/>
                <a:gd name="T1" fmla="*/ 97 h 1253"/>
                <a:gd name="T2" fmla="*/ 165 w 1809"/>
                <a:gd name="T3" fmla="*/ 41 h 1253"/>
                <a:gd name="T4" fmla="*/ 211 w 1809"/>
                <a:gd name="T5" fmla="*/ 224 h 1253"/>
                <a:gd name="T6" fmla="*/ 248 w 1809"/>
                <a:gd name="T7" fmla="*/ 155 h 1253"/>
                <a:gd name="T8" fmla="*/ 931 w 1809"/>
                <a:gd name="T9" fmla="*/ 995 h 1253"/>
                <a:gd name="T10" fmla="*/ 858 w 1809"/>
                <a:gd name="T11" fmla="*/ 1115 h 1253"/>
                <a:gd name="T12" fmla="*/ 749 w 1809"/>
                <a:gd name="T13" fmla="*/ 1117 h 1253"/>
                <a:gd name="T14" fmla="*/ 681 w 1809"/>
                <a:gd name="T15" fmla="*/ 1055 h 1253"/>
                <a:gd name="T16" fmla="*/ 800 w 1809"/>
                <a:gd name="T17" fmla="*/ 1054 h 1253"/>
                <a:gd name="T18" fmla="*/ 884 w 1809"/>
                <a:gd name="T19" fmla="*/ 1181 h 1253"/>
                <a:gd name="T20" fmla="*/ 118 w 1809"/>
                <a:gd name="T21" fmla="*/ 1086 h 1253"/>
                <a:gd name="T22" fmla="*/ 147 w 1809"/>
                <a:gd name="T23" fmla="*/ 1026 h 1253"/>
                <a:gd name="T24" fmla="*/ 102 w 1809"/>
                <a:gd name="T25" fmla="*/ 1026 h 1253"/>
                <a:gd name="T26" fmla="*/ 639 w 1809"/>
                <a:gd name="T27" fmla="*/ 84 h 1253"/>
                <a:gd name="T28" fmla="*/ 763 w 1809"/>
                <a:gd name="T29" fmla="*/ 145 h 1253"/>
                <a:gd name="T30" fmla="*/ 863 w 1809"/>
                <a:gd name="T31" fmla="*/ 221 h 1253"/>
                <a:gd name="T32" fmla="*/ 834 w 1809"/>
                <a:gd name="T33" fmla="*/ 208 h 1253"/>
                <a:gd name="T34" fmla="*/ 719 w 1809"/>
                <a:gd name="T35" fmla="*/ 182 h 1253"/>
                <a:gd name="T36" fmla="*/ 507 w 1809"/>
                <a:gd name="T37" fmla="*/ 711 h 1253"/>
                <a:gd name="T38" fmla="*/ 614 w 1809"/>
                <a:gd name="T39" fmla="*/ 706 h 1253"/>
                <a:gd name="T40" fmla="*/ 736 w 1809"/>
                <a:gd name="T41" fmla="*/ 730 h 1253"/>
                <a:gd name="T42" fmla="*/ 607 w 1809"/>
                <a:gd name="T43" fmla="*/ 539 h 1253"/>
                <a:gd name="T44" fmla="*/ 1505 w 1809"/>
                <a:gd name="T45" fmla="*/ 1136 h 1253"/>
                <a:gd name="T46" fmla="*/ 1613 w 1809"/>
                <a:gd name="T47" fmla="*/ 1002 h 1253"/>
                <a:gd name="T48" fmla="*/ 1472 w 1809"/>
                <a:gd name="T49" fmla="*/ 1164 h 1253"/>
                <a:gd name="T50" fmla="*/ 1525 w 1809"/>
                <a:gd name="T51" fmla="*/ 1142 h 1253"/>
                <a:gd name="T52" fmla="*/ 1556 w 1809"/>
                <a:gd name="T53" fmla="*/ 1172 h 1253"/>
                <a:gd name="T54" fmla="*/ 1387 w 1809"/>
                <a:gd name="T55" fmla="*/ 910 h 1253"/>
                <a:gd name="T56" fmla="*/ 1261 w 1809"/>
                <a:gd name="T57" fmla="*/ 1157 h 1253"/>
                <a:gd name="T58" fmla="*/ 1413 w 1809"/>
                <a:gd name="T59" fmla="*/ 934 h 1253"/>
                <a:gd name="T60" fmla="*/ 1378 w 1809"/>
                <a:gd name="T61" fmla="*/ 1052 h 1253"/>
                <a:gd name="T62" fmla="*/ 488 w 1809"/>
                <a:gd name="T63" fmla="*/ 85 h 1253"/>
                <a:gd name="T64" fmla="*/ 509 w 1809"/>
                <a:gd name="T65" fmla="*/ 112 h 1253"/>
                <a:gd name="T66" fmla="*/ 548 w 1809"/>
                <a:gd name="T67" fmla="*/ 1187 h 1253"/>
                <a:gd name="T68" fmla="*/ 472 w 1809"/>
                <a:gd name="T69" fmla="*/ 1122 h 1253"/>
                <a:gd name="T70" fmla="*/ 558 w 1809"/>
                <a:gd name="T71" fmla="*/ 1157 h 1253"/>
                <a:gd name="T72" fmla="*/ 287 w 1809"/>
                <a:gd name="T73" fmla="*/ 654 h 1253"/>
                <a:gd name="T74" fmla="*/ 416 w 1809"/>
                <a:gd name="T75" fmla="*/ 684 h 1253"/>
                <a:gd name="T76" fmla="*/ 1106 w 1809"/>
                <a:gd name="T77" fmla="*/ 147 h 1253"/>
                <a:gd name="T78" fmla="*/ 1229 w 1809"/>
                <a:gd name="T79" fmla="*/ 258 h 1253"/>
                <a:gd name="T80" fmla="*/ 1106 w 1809"/>
                <a:gd name="T81" fmla="*/ 96 h 1253"/>
                <a:gd name="T82" fmla="*/ 1219 w 1809"/>
                <a:gd name="T83" fmla="*/ 1077 h 1253"/>
                <a:gd name="T84" fmla="*/ 1214 w 1809"/>
                <a:gd name="T85" fmla="*/ 1157 h 1253"/>
                <a:gd name="T86" fmla="*/ 1150 w 1809"/>
                <a:gd name="T87" fmla="*/ 1092 h 1253"/>
                <a:gd name="T88" fmla="*/ 1139 w 1809"/>
                <a:gd name="T89" fmla="*/ 1070 h 1253"/>
                <a:gd name="T90" fmla="*/ 1659 w 1809"/>
                <a:gd name="T91" fmla="*/ 1031 h 1253"/>
                <a:gd name="T92" fmla="*/ 1714 w 1809"/>
                <a:gd name="T93" fmla="*/ 1155 h 1253"/>
                <a:gd name="T94" fmla="*/ 1760 w 1809"/>
                <a:gd name="T95" fmla="*/ 1030 h 1253"/>
                <a:gd name="T96" fmla="*/ 111 w 1809"/>
                <a:gd name="T97" fmla="*/ 569 h 1253"/>
                <a:gd name="T98" fmla="*/ 109 w 1809"/>
                <a:gd name="T99" fmla="*/ 460 h 1253"/>
                <a:gd name="T100" fmla="*/ 32 w 1809"/>
                <a:gd name="T101" fmla="*/ 704 h 1253"/>
                <a:gd name="T102" fmla="*/ 310 w 1809"/>
                <a:gd name="T103" fmla="*/ 1058 h 1253"/>
                <a:gd name="T104" fmla="*/ 431 w 1809"/>
                <a:gd name="T105" fmla="*/ 1044 h 1253"/>
                <a:gd name="T106" fmla="*/ 278 w 1809"/>
                <a:gd name="T107" fmla="*/ 1165 h 1253"/>
                <a:gd name="T108" fmla="*/ 261 w 1809"/>
                <a:gd name="T109" fmla="*/ 540 h 1253"/>
                <a:gd name="T110" fmla="*/ 150 w 1809"/>
                <a:gd name="T111" fmla="*/ 635 h 1253"/>
                <a:gd name="T112" fmla="*/ 994 w 1809"/>
                <a:gd name="T113" fmla="*/ 1185 h 1253"/>
                <a:gd name="T114" fmla="*/ 331 w 1809"/>
                <a:gd name="T115" fmla="*/ 176 h 1253"/>
                <a:gd name="T116" fmla="*/ 333 w 1809"/>
                <a:gd name="T117" fmla="*/ 109 h 1253"/>
                <a:gd name="T118" fmla="*/ 946 w 1809"/>
                <a:gd name="T119" fmla="*/ 234 h 1253"/>
                <a:gd name="T120" fmla="*/ 1022 w 1809"/>
                <a:gd name="T121" fmla="*/ 113 h 1253"/>
                <a:gd name="T122" fmla="*/ 949 w 1809"/>
                <a:gd name="T123" fmla="*/ 65 h 1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09" h="1253">
                  <a:moveTo>
                    <a:pt x="248" y="198"/>
                  </a:moveTo>
                  <a:cubicBezTo>
                    <a:pt x="248" y="211"/>
                    <a:pt x="248" y="224"/>
                    <a:pt x="249" y="237"/>
                  </a:cubicBezTo>
                  <a:cubicBezTo>
                    <a:pt x="249" y="245"/>
                    <a:pt x="246" y="249"/>
                    <a:pt x="240" y="253"/>
                  </a:cubicBezTo>
                  <a:cubicBezTo>
                    <a:pt x="231" y="260"/>
                    <a:pt x="220" y="264"/>
                    <a:pt x="209" y="268"/>
                  </a:cubicBezTo>
                  <a:cubicBezTo>
                    <a:pt x="179" y="279"/>
                    <a:pt x="148" y="280"/>
                    <a:pt x="118" y="275"/>
                  </a:cubicBezTo>
                  <a:cubicBezTo>
                    <a:pt x="86" y="269"/>
                    <a:pt x="58" y="252"/>
                    <a:pt x="39" y="224"/>
                  </a:cubicBezTo>
                  <a:cubicBezTo>
                    <a:pt x="24" y="203"/>
                    <a:pt x="18" y="180"/>
                    <a:pt x="15" y="155"/>
                  </a:cubicBezTo>
                  <a:cubicBezTo>
                    <a:pt x="11" y="135"/>
                    <a:pt x="15" y="115"/>
                    <a:pt x="19" y="97"/>
                  </a:cubicBezTo>
                  <a:cubicBezTo>
                    <a:pt x="26" y="68"/>
                    <a:pt x="42" y="44"/>
                    <a:pt x="68" y="27"/>
                  </a:cubicBezTo>
                  <a:cubicBezTo>
                    <a:pt x="87" y="14"/>
                    <a:pt x="109" y="6"/>
                    <a:pt x="133" y="5"/>
                  </a:cubicBezTo>
                  <a:cubicBezTo>
                    <a:pt x="149" y="4"/>
                    <a:pt x="165" y="5"/>
                    <a:pt x="181" y="6"/>
                  </a:cubicBezTo>
                  <a:cubicBezTo>
                    <a:pt x="204" y="8"/>
                    <a:pt x="225" y="20"/>
                    <a:pt x="243" y="35"/>
                  </a:cubicBezTo>
                  <a:cubicBezTo>
                    <a:pt x="246" y="37"/>
                    <a:pt x="246" y="40"/>
                    <a:pt x="244" y="43"/>
                  </a:cubicBezTo>
                  <a:cubicBezTo>
                    <a:pt x="242" y="47"/>
                    <a:pt x="239" y="52"/>
                    <a:pt x="236" y="55"/>
                  </a:cubicBezTo>
                  <a:cubicBezTo>
                    <a:pt x="226" y="65"/>
                    <a:pt x="224" y="65"/>
                    <a:pt x="206" y="54"/>
                  </a:cubicBezTo>
                  <a:cubicBezTo>
                    <a:pt x="193" y="46"/>
                    <a:pt x="180" y="40"/>
                    <a:pt x="165" y="41"/>
                  </a:cubicBezTo>
                  <a:cubicBezTo>
                    <a:pt x="151" y="41"/>
                    <a:pt x="137" y="39"/>
                    <a:pt x="124" y="42"/>
                  </a:cubicBezTo>
                  <a:cubicBezTo>
                    <a:pt x="104" y="46"/>
                    <a:pt x="87" y="57"/>
                    <a:pt x="75" y="74"/>
                  </a:cubicBezTo>
                  <a:cubicBezTo>
                    <a:pt x="56" y="99"/>
                    <a:pt x="51" y="129"/>
                    <a:pt x="55" y="159"/>
                  </a:cubicBezTo>
                  <a:cubicBezTo>
                    <a:pt x="60" y="189"/>
                    <a:pt x="73" y="214"/>
                    <a:pt x="98" y="230"/>
                  </a:cubicBezTo>
                  <a:cubicBezTo>
                    <a:pt x="109" y="237"/>
                    <a:pt x="121" y="242"/>
                    <a:pt x="135" y="241"/>
                  </a:cubicBezTo>
                  <a:cubicBezTo>
                    <a:pt x="146" y="241"/>
                    <a:pt x="158" y="241"/>
                    <a:pt x="169" y="241"/>
                  </a:cubicBezTo>
                  <a:cubicBezTo>
                    <a:pt x="182" y="242"/>
                    <a:pt x="193" y="235"/>
                    <a:pt x="205" y="232"/>
                  </a:cubicBezTo>
                  <a:cubicBezTo>
                    <a:pt x="210" y="231"/>
                    <a:pt x="211" y="227"/>
                    <a:pt x="211" y="224"/>
                  </a:cubicBezTo>
                  <a:cubicBezTo>
                    <a:pt x="211" y="210"/>
                    <a:pt x="211" y="196"/>
                    <a:pt x="211" y="183"/>
                  </a:cubicBezTo>
                  <a:cubicBezTo>
                    <a:pt x="211" y="177"/>
                    <a:pt x="207" y="175"/>
                    <a:pt x="202" y="175"/>
                  </a:cubicBezTo>
                  <a:cubicBezTo>
                    <a:pt x="193" y="175"/>
                    <a:pt x="184" y="175"/>
                    <a:pt x="175" y="175"/>
                  </a:cubicBezTo>
                  <a:cubicBezTo>
                    <a:pt x="171" y="175"/>
                    <a:pt x="168" y="174"/>
                    <a:pt x="166" y="171"/>
                  </a:cubicBezTo>
                  <a:cubicBezTo>
                    <a:pt x="163" y="163"/>
                    <a:pt x="164" y="154"/>
                    <a:pt x="166" y="146"/>
                  </a:cubicBezTo>
                  <a:cubicBezTo>
                    <a:pt x="167" y="142"/>
                    <a:pt x="171" y="142"/>
                    <a:pt x="175" y="142"/>
                  </a:cubicBezTo>
                  <a:cubicBezTo>
                    <a:pt x="196" y="142"/>
                    <a:pt x="217" y="142"/>
                    <a:pt x="238" y="142"/>
                  </a:cubicBezTo>
                  <a:cubicBezTo>
                    <a:pt x="247" y="142"/>
                    <a:pt x="248" y="148"/>
                    <a:pt x="248" y="155"/>
                  </a:cubicBezTo>
                  <a:cubicBezTo>
                    <a:pt x="249" y="169"/>
                    <a:pt x="248" y="183"/>
                    <a:pt x="248" y="198"/>
                  </a:cubicBezTo>
                  <a:close/>
                  <a:moveTo>
                    <a:pt x="884" y="1181"/>
                  </a:moveTo>
                  <a:cubicBezTo>
                    <a:pt x="889" y="1167"/>
                    <a:pt x="894" y="1152"/>
                    <a:pt x="898" y="1137"/>
                  </a:cubicBezTo>
                  <a:cubicBezTo>
                    <a:pt x="901" y="1127"/>
                    <a:pt x="905" y="1116"/>
                    <a:pt x="908" y="1106"/>
                  </a:cubicBezTo>
                  <a:cubicBezTo>
                    <a:pt x="911" y="1098"/>
                    <a:pt x="912" y="1089"/>
                    <a:pt x="916" y="1081"/>
                  </a:cubicBezTo>
                  <a:cubicBezTo>
                    <a:pt x="921" y="1072"/>
                    <a:pt x="923" y="1060"/>
                    <a:pt x="927" y="1050"/>
                  </a:cubicBezTo>
                  <a:cubicBezTo>
                    <a:pt x="932" y="1037"/>
                    <a:pt x="934" y="1023"/>
                    <a:pt x="940" y="1010"/>
                  </a:cubicBezTo>
                  <a:cubicBezTo>
                    <a:pt x="945" y="1001"/>
                    <a:pt x="941" y="995"/>
                    <a:pt x="931" y="995"/>
                  </a:cubicBezTo>
                  <a:cubicBezTo>
                    <a:pt x="927" y="995"/>
                    <a:pt x="922" y="995"/>
                    <a:pt x="918" y="995"/>
                  </a:cubicBezTo>
                  <a:cubicBezTo>
                    <a:pt x="913" y="995"/>
                    <a:pt x="908" y="997"/>
                    <a:pt x="907" y="1001"/>
                  </a:cubicBezTo>
                  <a:cubicBezTo>
                    <a:pt x="904" y="1008"/>
                    <a:pt x="900" y="1015"/>
                    <a:pt x="899" y="1023"/>
                  </a:cubicBezTo>
                  <a:cubicBezTo>
                    <a:pt x="897" y="1034"/>
                    <a:pt x="893" y="1045"/>
                    <a:pt x="889" y="1055"/>
                  </a:cubicBezTo>
                  <a:cubicBezTo>
                    <a:pt x="887" y="1064"/>
                    <a:pt x="885" y="1072"/>
                    <a:pt x="882" y="1080"/>
                  </a:cubicBezTo>
                  <a:cubicBezTo>
                    <a:pt x="878" y="1091"/>
                    <a:pt x="874" y="1103"/>
                    <a:pt x="871" y="1115"/>
                  </a:cubicBezTo>
                  <a:cubicBezTo>
                    <a:pt x="870" y="1118"/>
                    <a:pt x="871" y="1124"/>
                    <a:pt x="866" y="1124"/>
                  </a:cubicBezTo>
                  <a:cubicBezTo>
                    <a:pt x="861" y="1125"/>
                    <a:pt x="859" y="1120"/>
                    <a:pt x="858" y="1115"/>
                  </a:cubicBezTo>
                  <a:cubicBezTo>
                    <a:pt x="856" y="1110"/>
                    <a:pt x="856" y="1104"/>
                    <a:pt x="854" y="1099"/>
                  </a:cubicBezTo>
                  <a:cubicBezTo>
                    <a:pt x="848" y="1080"/>
                    <a:pt x="841" y="1062"/>
                    <a:pt x="835" y="1044"/>
                  </a:cubicBezTo>
                  <a:cubicBezTo>
                    <a:pt x="831" y="1030"/>
                    <a:pt x="828" y="1016"/>
                    <a:pt x="822" y="1003"/>
                  </a:cubicBezTo>
                  <a:cubicBezTo>
                    <a:pt x="819" y="997"/>
                    <a:pt x="814" y="994"/>
                    <a:pt x="808" y="994"/>
                  </a:cubicBezTo>
                  <a:cubicBezTo>
                    <a:pt x="799" y="993"/>
                    <a:pt x="791" y="993"/>
                    <a:pt x="787" y="1001"/>
                  </a:cubicBezTo>
                  <a:cubicBezTo>
                    <a:pt x="783" y="1008"/>
                    <a:pt x="780" y="1015"/>
                    <a:pt x="779" y="1022"/>
                  </a:cubicBezTo>
                  <a:cubicBezTo>
                    <a:pt x="778" y="1034"/>
                    <a:pt x="772" y="1044"/>
                    <a:pt x="769" y="1055"/>
                  </a:cubicBezTo>
                  <a:cubicBezTo>
                    <a:pt x="762" y="1076"/>
                    <a:pt x="754" y="1096"/>
                    <a:pt x="749" y="1117"/>
                  </a:cubicBezTo>
                  <a:cubicBezTo>
                    <a:pt x="748" y="1120"/>
                    <a:pt x="747" y="1124"/>
                    <a:pt x="742" y="1124"/>
                  </a:cubicBezTo>
                  <a:cubicBezTo>
                    <a:pt x="737" y="1124"/>
                    <a:pt x="737" y="1120"/>
                    <a:pt x="736" y="1116"/>
                  </a:cubicBezTo>
                  <a:cubicBezTo>
                    <a:pt x="734" y="1104"/>
                    <a:pt x="730" y="1092"/>
                    <a:pt x="726" y="1080"/>
                  </a:cubicBezTo>
                  <a:cubicBezTo>
                    <a:pt x="720" y="1061"/>
                    <a:pt x="714" y="1040"/>
                    <a:pt x="708" y="1020"/>
                  </a:cubicBezTo>
                  <a:cubicBezTo>
                    <a:pt x="703" y="1000"/>
                    <a:pt x="698" y="994"/>
                    <a:pt x="676" y="995"/>
                  </a:cubicBezTo>
                  <a:cubicBezTo>
                    <a:pt x="665" y="996"/>
                    <a:pt x="661" y="1001"/>
                    <a:pt x="667" y="1011"/>
                  </a:cubicBezTo>
                  <a:cubicBezTo>
                    <a:pt x="669" y="1016"/>
                    <a:pt x="670" y="1021"/>
                    <a:pt x="672" y="1025"/>
                  </a:cubicBezTo>
                  <a:cubicBezTo>
                    <a:pt x="675" y="1035"/>
                    <a:pt x="678" y="1046"/>
                    <a:pt x="681" y="1055"/>
                  </a:cubicBezTo>
                  <a:cubicBezTo>
                    <a:pt x="685" y="1068"/>
                    <a:pt x="689" y="1080"/>
                    <a:pt x="693" y="1092"/>
                  </a:cubicBezTo>
                  <a:cubicBezTo>
                    <a:pt x="697" y="1103"/>
                    <a:pt x="699" y="1113"/>
                    <a:pt x="703" y="1124"/>
                  </a:cubicBezTo>
                  <a:cubicBezTo>
                    <a:pt x="707" y="1136"/>
                    <a:pt x="711" y="1147"/>
                    <a:pt x="715" y="1160"/>
                  </a:cubicBezTo>
                  <a:cubicBezTo>
                    <a:pt x="717" y="1168"/>
                    <a:pt x="720" y="1176"/>
                    <a:pt x="724" y="1183"/>
                  </a:cubicBezTo>
                  <a:cubicBezTo>
                    <a:pt x="728" y="1189"/>
                    <a:pt x="752" y="1185"/>
                    <a:pt x="757" y="1180"/>
                  </a:cubicBezTo>
                  <a:cubicBezTo>
                    <a:pt x="764" y="1173"/>
                    <a:pt x="762" y="1163"/>
                    <a:pt x="766" y="1156"/>
                  </a:cubicBezTo>
                  <a:cubicBezTo>
                    <a:pt x="774" y="1140"/>
                    <a:pt x="778" y="1122"/>
                    <a:pt x="784" y="1105"/>
                  </a:cubicBezTo>
                  <a:cubicBezTo>
                    <a:pt x="789" y="1088"/>
                    <a:pt x="796" y="1072"/>
                    <a:pt x="800" y="1054"/>
                  </a:cubicBezTo>
                  <a:cubicBezTo>
                    <a:pt x="800" y="1053"/>
                    <a:pt x="801" y="1050"/>
                    <a:pt x="803" y="1050"/>
                  </a:cubicBezTo>
                  <a:cubicBezTo>
                    <a:pt x="806" y="1050"/>
                    <a:pt x="806" y="1052"/>
                    <a:pt x="807" y="1055"/>
                  </a:cubicBezTo>
                  <a:cubicBezTo>
                    <a:pt x="807" y="1060"/>
                    <a:pt x="810" y="1066"/>
                    <a:pt x="811" y="1071"/>
                  </a:cubicBezTo>
                  <a:cubicBezTo>
                    <a:pt x="814" y="1081"/>
                    <a:pt x="818" y="1090"/>
                    <a:pt x="821" y="1099"/>
                  </a:cubicBezTo>
                  <a:cubicBezTo>
                    <a:pt x="824" y="1110"/>
                    <a:pt x="827" y="1120"/>
                    <a:pt x="831" y="1131"/>
                  </a:cubicBezTo>
                  <a:cubicBezTo>
                    <a:pt x="834" y="1142"/>
                    <a:pt x="839" y="1153"/>
                    <a:pt x="842" y="1164"/>
                  </a:cubicBezTo>
                  <a:cubicBezTo>
                    <a:pt x="846" y="1179"/>
                    <a:pt x="850" y="1188"/>
                    <a:pt x="869" y="1185"/>
                  </a:cubicBezTo>
                  <a:cubicBezTo>
                    <a:pt x="873" y="1184"/>
                    <a:pt x="881" y="1189"/>
                    <a:pt x="884" y="1181"/>
                  </a:cubicBezTo>
                  <a:close/>
                  <a:moveTo>
                    <a:pt x="33" y="1051"/>
                  </a:moveTo>
                  <a:cubicBezTo>
                    <a:pt x="33" y="1087"/>
                    <a:pt x="33" y="1124"/>
                    <a:pt x="33" y="1160"/>
                  </a:cubicBezTo>
                  <a:cubicBezTo>
                    <a:pt x="33" y="1188"/>
                    <a:pt x="29" y="1184"/>
                    <a:pt x="58" y="1185"/>
                  </a:cubicBezTo>
                  <a:cubicBezTo>
                    <a:pt x="72" y="1185"/>
                    <a:pt x="73" y="1184"/>
                    <a:pt x="73" y="1170"/>
                  </a:cubicBezTo>
                  <a:cubicBezTo>
                    <a:pt x="73" y="1138"/>
                    <a:pt x="73" y="1107"/>
                    <a:pt x="73" y="1076"/>
                  </a:cubicBezTo>
                  <a:cubicBezTo>
                    <a:pt x="73" y="1071"/>
                    <a:pt x="72" y="1067"/>
                    <a:pt x="78" y="1065"/>
                  </a:cubicBezTo>
                  <a:cubicBezTo>
                    <a:pt x="91" y="1062"/>
                    <a:pt x="102" y="1067"/>
                    <a:pt x="110" y="1076"/>
                  </a:cubicBezTo>
                  <a:cubicBezTo>
                    <a:pt x="112" y="1080"/>
                    <a:pt x="115" y="1083"/>
                    <a:pt x="118" y="1086"/>
                  </a:cubicBezTo>
                  <a:cubicBezTo>
                    <a:pt x="132" y="1103"/>
                    <a:pt x="146" y="1119"/>
                    <a:pt x="161" y="1136"/>
                  </a:cubicBezTo>
                  <a:cubicBezTo>
                    <a:pt x="173" y="1150"/>
                    <a:pt x="186" y="1165"/>
                    <a:pt x="198" y="1179"/>
                  </a:cubicBezTo>
                  <a:cubicBezTo>
                    <a:pt x="207" y="1188"/>
                    <a:pt x="218" y="1184"/>
                    <a:pt x="228" y="1185"/>
                  </a:cubicBezTo>
                  <a:cubicBezTo>
                    <a:pt x="233" y="1185"/>
                    <a:pt x="241" y="1188"/>
                    <a:pt x="244" y="1182"/>
                  </a:cubicBezTo>
                  <a:cubicBezTo>
                    <a:pt x="246" y="1178"/>
                    <a:pt x="239" y="1173"/>
                    <a:pt x="235" y="1169"/>
                  </a:cubicBezTo>
                  <a:cubicBezTo>
                    <a:pt x="206" y="1133"/>
                    <a:pt x="176" y="1098"/>
                    <a:pt x="146" y="1062"/>
                  </a:cubicBezTo>
                  <a:cubicBezTo>
                    <a:pt x="141" y="1056"/>
                    <a:pt x="131" y="1052"/>
                    <a:pt x="132" y="1044"/>
                  </a:cubicBezTo>
                  <a:cubicBezTo>
                    <a:pt x="132" y="1036"/>
                    <a:pt x="142" y="1032"/>
                    <a:pt x="147" y="1026"/>
                  </a:cubicBezTo>
                  <a:cubicBezTo>
                    <a:pt x="164" y="1006"/>
                    <a:pt x="182" y="988"/>
                    <a:pt x="198" y="968"/>
                  </a:cubicBezTo>
                  <a:cubicBezTo>
                    <a:pt x="209" y="954"/>
                    <a:pt x="221" y="942"/>
                    <a:pt x="234" y="929"/>
                  </a:cubicBezTo>
                  <a:cubicBezTo>
                    <a:pt x="236" y="926"/>
                    <a:pt x="238" y="923"/>
                    <a:pt x="237" y="920"/>
                  </a:cubicBezTo>
                  <a:cubicBezTo>
                    <a:pt x="235" y="915"/>
                    <a:pt x="231" y="917"/>
                    <a:pt x="228" y="917"/>
                  </a:cubicBezTo>
                  <a:cubicBezTo>
                    <a:pt x="224" y="918"/>
                    <a:pt x="221" y="918"/>
                    <a:pt x="217" y="918"/>
                  </a:cubicBezTo>
                  <a:cubicBezTo>
                    <a:pt x="204" y="917"/>
                    <a:pt x="193" y="922"/>
                    <a:pt x="185" y="931"/>
                  </a:cubicBezTo>
                  <a:cubicBezTo>
                    <a:pt x="172" y="946"/>
                    <a:pt x="158" y="961"/>
                    <a:pt x="145" y="977"/>
                  </a:cubicBezTo>
                  <a:cubicBezTo>
                    <a:pt x="131" y="993"/>
                    <a:pt x="117" y="1010"/>
                    <a:pt x="102" y="1026"/>
                  </a:cubicBezTo>
                  <a:cubicBezTo>
                    <a:pt x="96" y="1032"/>
                    <a:pt x="87" y="1037"/>
                    <a:pt x="78" y="1034"/>
                  </a:cubicBezTo>
                  <a:cubicBezTo>
                    <a:pt x="70" y="1030"/>
                    <a:pt x="73" y="1021"/>
                    <a:pt x="73" y="1015"/>
                  </a:cubicBezTo>
                  <a:cubicBezTo>
                    <a:pt x="73" y="991"/>
                    <a:pt x="73" y="967"/>
                    <a:pt x="73" y="944"/>
                  </a:cubicBezTo>
                  <a:cubicBezTo>
                    <a:pt x="73" y="916"/>
                    <a:pt x="75" y="917"/>
                    <a:pt x="46" y="918"/>
                  </a:cubicBezTo>
                  <a:cubicBezTo>
                    <a:pt x="33" y="918"/>
                    <a:pt x="33" y="918"/>
                    <a:pt x="33" y="931"/>
                  </a:cubicBezTo>
                  <a:cubicBezTo>
                    <a:pt x="33" y="971"/>
                    <a:pt x="33" y="1011"/>
                    <a:pt x="33" y="1051"/>
                  </a:cubicBezTo>
                  <a:cubicBezTo>
                    <a:pt x="33" y="1051"/>
                    <a:pt x="33" y="1051"/>
                    <a:pt x="33" y="1051"/>
                  </a:cubicBezTo>
                  <a:close/>
                  <a:moveTo>
                    <a:pt x="639" y="84"/>
                  </a:moveTo>
                  <a:cubicBezTo>
                    <a:pt x="627" y="84"/>
                    <a:pt x="626" y="84"/>
                    <a:pt x="629" y="95"/>
                  </a:cubicBezTo>
                  <a:cubicBezTo>
                    <a:pt x="634" y="113"/>
                    <a:pt x="640" y="131"/>
                    <a:pt x="646" y="148"/>
                  </a:cubicBezTo>
                  <a:cubicBezTo>
                    <a:pt x="652" y="166"/>
                    <a:pt x="658" y="185"/>
                    <a:pt x="664" y="203"/>
                  </a:cubicBezTo>
                  <a:cubicBezTo>
                    <a:pt x="671" y="223"/>
                    <a:pt x="676" y="244"/>
                    <a:pt x="684" y="264"/>
                  </a:cubicBezTo>
                  <a:cubicBezTo>
                    <a:pt x="688" y="274"/>
                    <a:pt x="694" y="274"/>
                    <a:pt x="702" y="274"/>
                  </a:cubicBezTo>
                  <a:cubicBezTo>
                    <a:pt x="711" y="274"/>
                    <a:pt x="719" y="272"/>
                    <a:pt x="723" y="263"/>
                  </a:cubicBezTo>
                  <a:cubicBezTo>
                    <a:pt x="733" y="236"/>
                    <a:pt x="741" y="208"/>
                    <a:pt x="750" y="181"/>
                  </a:cubicBezTo>
                  <a:cubicBezTo>
                    <a:pt x="754" y="169"/>
                    <a:pt x="757" y="156"/>
                    <a:pt x="763" y="145"/>
                  </a:cubicBezTo>
                  <a:cubicBezTo>
                    <a:pt x="764" y="143"/>
                    <a:pt x="764" y="140"/>
                    <a:pt x="767" y="140"/>
                  </a:cubicBezTo>
                  <a:cubicBezTo>
                    <a:pt x="770" y="140"/>
                    <a:pt x="770" y="143"/>
                    <a:pt x="771" y="145"/>
                  </a:cubicBezTo>
                  <a:cubicBezTo>
                    <a:pt x="771" y="156"/>
                    <a:pt x="777" y="165"/>
                    <a:pt x="780" y="175"/>
                  </a:cubicBezTo>
                  <a:cubicBezTo>
                    <a:pt x="782" y="184"/>
                    <a:pt x="785" y="193"/>
                    <a:pt x="788" y="201"/>
                  </a:cubicBezTo>
                  <a:cubicBezTo>
                    <a:pt x="794" y="219"/>
                    <a:pt x="801" y="237"/>
                    <a:pt x="806" y="255"/>
                  </a:cubicBezTo>
                  <a:cubicBezTo>
                    <a:pt x="811" y="272"/>
                    <a:pt x="825" y="280"/>
                    <a:pt x="842" y="273"/>
                  </a:cubicBezTo>
                  <a:cubicBezTo>
                    <a:pt x="845" y="271"/>
                    <a:pt x="847" y="269"/>
                    <a:pt x="848" y="266"/>
                  </a:cubicBezTo>
                  <a:cubicBezTo>
                    <a:pt x="853" y="251"/>
                    <a:pt x="859" y="236"/>
                    <a:pt x="863" y="221"/>
                  </a:cubicBezTo>
                  <a:cubicBezTo>
                    <a:pt x="867" y="202"/>
                    <a:pt x="875" y="185"/>
                    <a:pt x="880" y="166"/>
                  </a:cubicBezTo>
                  <a:cubicBezTo>
                    <a:pt x="886" y="144"/>
                    <a:pt x="895" y="123"/>
                    <a:pt x="900" y="101"/>
                  </a:cubicBezTo>
                  <a:cubicBezTo>
                    <a:pt x="901" y="96"/>
                    <a:pt x="909" y="91"/>
                    <a:pt x="904" y="86"/>
                  </a:cubicBezTo>
                  <a:cubicBezTo>
                    <a:pt x="900" y="81"/>
                    <a:pt x="892" y="84"/>
                    <a:pt x="886" y="84"/>
                  </a:cubicBezTo>
                  <a:cubicBezTo>
                    <a:pt x="885" y="84"/>
                    <a:pt x="883" y="84"/>
                    <a:pt x="881" y="84"/>
                  </a:cubicBezTo>
                  <a:cubicBezTo>
                    <a:pt x="875" y="84"/>
                    <a:pt x="872" y="86"/>
                    <a:pt x="869" y="91"/>
                  </a:cubicBezTo>
                  <a:cubicBezTo>
                    <a:pt x="860" y="110"/>
                    <a:pt x="856" y="131"/>
                    <a:pt x="850" y="151"/>
                  </a:cubicBezTo>
                  <a:cubicBezTo>
                    <a:pt x="844" y="170"/>
                    <a:pt x="836" y="188"/>
                    <a:pt x="834" y="208"/>
                  </a:cubicBezTo>
                  <a:cubicBezTo>
                    <a:pt x="833" y="211"/>
                    <a:pt x="831" y="214"/>
                    <a:pt x="827" y="214"/>
                  </a:cubicBezTo>
                  <a:cubicBezTo>
                    <a:pt x="823" y="214"/>
                    <a:pt x="822" y="210"/>
                    <a:pt x="822" y="207"/>
                  </a:cubicBezTo>
                  <a:cubicBezTo>
                    <a:pt x="817" y="188"/>
                    <a:pt x="811" y="170"/>
                    <a:pt x="805" y="152"/>
                  </a:cubicBezTo>
                  <a:cubicBezTo>
                    <a:pt x="799" y="133"/>
                    <a:pt x="794" y="114"/>
                    <a:pt x="786" y="96"/>
                  </a:cubicBezTo>
                  <a:cubicBezTo>
                    <a:pt x="783" y="87"/>
                    <a:pt x="779" y="84"/>
                    <a:pt x="770" y="84"/>
                  </a:cubicBezTo>
                  <a:cubicBezTo>
                    <a:pt x="761" y="84"/>
                    <a:pt x="752" y="82"/>
                    <a:pt x="748" y="94"/>
                  </a:cubicBezTo>
                  <a:cubicBezTo>
                    <a:pt x="744" y="109"/>
                    <a:pt x="738" y="123"/>
                    <a:pt x="734" y="138"/>
                  </a:cubicBezTo>
                  <a:cubicBezTo>
                    <a:pt x="729" y="153"/>
                    <a:pt x="724" y="167"/>
                    <a:pt x="719" y="182"/>
                  </a:cubicBezTo>
                  <a:cubicBezTo>
                    <a:pt x="716" y="192"/>
                    <a:pt x="715" y="203"/>
                    <a:pt x="708" y="212"/>
                  </a:cubicBezTo>
                  <a:cubicBezTo>
                    <a:pt x="707" y="214"/>
                    <a:pt x="707" y="217"/>
                    <a:pt x="704" y="217"/>
                  </a:cubicBezTo>
                  <a:cubicBezTo>
                    <a:pt x="701" y="217"/>
                    <a:pt x="701" y="213"/>
                    <a:pt x="700" y="211"/>
                  </a:cubicBezTo>
                  <a:cubicBezTo>
                    <a:pt x="699" y="198"/>
                    <a:pt x="694" y="186"/>
                    <a:pt x="690" y="174"/>
                  </a:cubicBezTo>
                  <a:cubicBezTo>
                    <a:pt x="684" y="153"/>
                    <a:pt x="677" y="131"/>
                    <a:pt x="672" y="110"/>
                  </a:cubicBezTo>
                  <a:cubicBezTo>
                    <a:pt x="667" y="88"/>
                    <a:pt x="663" y="84"/>
                    <a:pt x="645" y="84"/>
                  </a:cubicBezTo>
                  <a:cubicBezTo>
                    <a:pt x="643" y="84"/>
                    <a:pt x="641" y="84"/>
                    <a:pt x="639" y="84"/>
                  </a:cubicBezTo>
                  <a:close/>
                  <a:moveTo>
                    <a:pt x="507" y="711"/>
                  </a:moveTo>
                  <a:cubicBezTo>
                    <a:pt x="507" y="730"/>
                    <a:pt x="507" y="730"/>
                    <a:pt x="526" y="730"/>
                  </a:cubicBezTo>
                  <a:cubicBezTo>
                    <a:pt x="539" y="730"/>
                    <a:pt x="541" y="729"/>
                    <a:pt x="541" y="715"/>
                  </a:cubicBezTo>
                  <a:cubicBezTo>
                    <a:pt x="541" y="677"/>
                    <a:pt x="541" y="638"/>
                    <a:pt x="540" y="600"/>
                  </a:cubicBezTo>
                  <a:cubicBezTo>
                    <a:pt x="540" y="593"/>
                    <a:pt x="543" y="587"/>
                    <a:pt x="548" y="582"/>
                  </a:cubicBezTo>
                  <a:cubicBezTo>
                    <a:pt x="553" y="576"/>
                    <a:pt x="559" y="573"/>
                    <a:pt x="564" y="569"/>
                  </a:cubicBezTo>
                  <a:cubicBezTo>
                    <a:pt x="574" y="564"/>
                    <a:pt x="594" y="566"/>
                    <a:pt x="602" y="574"/>
                  </a:cubicBezTo>
                  <a:cubicBezTo>
                    <a:pt x="611" y="582"/>
                    <a:pt x="614" y="592"/>
                    <a:pt x="614" y="604"/>
                  </a:cubicBezTo>
                  <a:cubicBezTo>
                    <a:pt x="614" y="638"/>
                    <a:pt x="614" y="672"/>
                    <a:pt x="614" y="706"/>
                  </a:cubicBezTo>
                  <a:cubicBezTo>
                    <a:pt x="614" y="730"/>
                    <a:pt x="614" y="730"/>
                    <a:pt x="638" y="730"/>
                  </a:cubicBezTo>
                  <a:cubicBezTo>
                    <a:pt x="650" y="730"/>
                    <a:pt x="650" y="730"/>
                    <a:pt x="650" y="717"/>
                  </a:cubicBezTo>
                  <a:cubicBezTo>
                    <a:pt x="650" y="684"/>
                    <a:pt x="650" y="650"/>
                    <a:pt x="650" y="617"/>
                  </a:cubicBezTo>
                  <a:cubicBezTo>
                    <a:pt x="650" y="606"/>
                    <a:pt x="651" y="597"/>
                    <a:pt x="657" y="586"/>
                  </a:cubicBezTo>
                  <a:cubicBezTo>
                    <a:pt x="667" y="565"/>
                    <a:pt x="703" y="560"/>
                    <a:pt x="716" y="579"/>
                  </a:cubicBezTo>
                  <a:cubicBezTo>
                    <a:pt x="723" y="588"/>
                    <a:pt x="724" y="598"/>
                    <a:pt x="724" y="609"/>
                  </a:cubicBezTo>
                  <a:cubicBezTo>
                    <a:pt x="724" y="645"/>
                    <a:pt x="724" y="682"/>
                    <a:pt x="724" y="718"/>
                  </a:cubicBezTo>
                  <a:cubicBezTo>
                    <a:pt x="724" y="727"/>
                    <a:pt x="727" y="731"/>
                    <a:pt x="736" y="730"/>
                  </a:cubicBezTo>
                  <a:cubicBezTo>
                    <a:pt x="738" y="730"/>
                    <a:pt x="741" y="730"/>
                    <a:pt x="743" y="730"/>
                  </a:cubicBezTo>
                  <a:cubicBezTo>
                    <a:pt x="758" y="730"/>
                    <a:pt x="759" y="729"/>
                    <a:pt x="759" y="715"/>
                  </a:cubicBezTo>
                  <a:cubicBezTo>
                    <a:pt x="759" y="677"/>
                    <a:pt x="758" y="639"/>
                    <a:pt x="759" y="601"/>
                  </a:cubicBezTo>
                  <a:cubicBezTo>
                    <a:pt x="759" y="571"/>
                    <a:pt x="742" y="540"/>
                    <a:pt x="704" y="538"/>
                  </a:cubicBezTo>
                  <a:cubicBezTo>
                    <a:pt x="681" y="536"/>
                    <a:pt x="661" y="542"/>
                    <a:pt x="646" y="560"/>
                  </a:cubicBezTo>
                  <a:cubicBezTo>
                    <a:pt x="638" y="569"/>
                    <a:pt x="638" y="569"/>
                    <a:pt x="631" y="559"/>
                  </a:cubicBezTo>
                  <a:cubicBezTo>
                    <a:pt x="630" y="558"/>
                    <a:pt x="630" y="557"/>
                    <a:pt x="629" y="556"/>
                  </a:cubicBezTo>
                  <a:cubicBezTo>
                    <a:pt x="623" y="548"/>
                    <a:pt x="616" y="541"/>
                    <a:pt x="607" y="539"/>
                  </a:cubicBezTo>
                  <a:cubicBezTo>
                    <a:pt x="584" y="534"/>
                    <a:pt x="563" y="539"/>
                    <a:pt x="545" y="555"/>
                  </a:cubicBezTo>
                  <a:cubicBezTo>
                    <a:pt x="540" y="559"/>
                    <a:pt x="537" y="561"/>
                    <a:pt x="537" y="552"/>
                  </a:cubicBezTo>
                  <a:cubicBezTo>
                    <a:pt x="536" y="543"/>
                    <a:pt x="526" y="538"/>
                    <a:pt x="515" y="539"/>
                  </a:cubicBezTo>
                  <a:cubicBezTo>
                    <a:pt x="506" y="540"/>
                    <a:pt x="507" y="546"/>
                    <a:pt x="507" y="552"/>
                  </a:cubicBezTo>
                  <a:cubicBezTo>
                    <a:pt x="507" y="580"/>
                    <a:pt x="507" y="607"/>
                    <a:pt x="507" y="634"/>
                  </a:cubicBezTo>
                  <a:cubicBezTo>
                    <a:pt x="507" y="660"/>
                    <a:pt x="507" y="685"/>
                    <a:pt x="507" y="711"/>
                  </a:cubicBezTo>
                  <a:close/>
                  <a:moveTo>
                    <a:pt x="1525" y="1142"/>
                  </a:moveTo>
                  <a:cubicBezTo>
                    <a:pt x="1517" y="1143"/>
                    <a:pt x="1511" y="1141"/>
                    <a:pt x="1505" y="1136"/>
                  </a:cubicBezTo>
                  <a:cubicBezTo>
                    <a:pt x="1501" y="1133"/>
                    <a:pt x="1495" y="1130"/>
                    <a:pt x="1498" y="1124"/>
                  </a:cubicBezTo>
                  <a:cubicBezTo>
                    <a:pt x="1500" y="1118"/>
                    <a:pt x="1504" y="1114"/>
                    <a:pt x="1512" y="1114"/>
                  </a:cubicBezTo>
                  <a:cubicBezTo>
                    <a:pt x="1521" y="1115"/>
                    <a:pt x="1530" y="1114"/>
                    <a:pt x="1538" y="1115"/>
                  </a:cubicBezTo>
                  <a:cubicBezTo>
                    <a:pt x="1573" y="1117"/>
                    <a:pt x="1610" y="1084"/>
                    <a:pt x="1602" y="1044"/>
                  </a:cubicBezTo>
                  <a:cubicBezTo>
                    <a:pt x="1600" y="1035"/>
                    <a:pt x="1599" y="1028"/>
                    <a:pt x="1611" y="1027"/>
                  </a:cubicBezTo>
                  <a:cubicBezTo>
                    <a:pt x="1614" y="1027"/>
                    <a:pt x="1617" y="1024"/>
                    <a:pt x="1619" y="1023"/>
                  </a:cubicBezTo>
                  <a:cubicBezTo>
                    <a:pt x="1626" y="1019"/>
                    <a:pt x="1624" y="1013"/>
                    <a:pt x="1623" y="1008"/>
                  </a:cubicBezTo>
                  <a:cubicBezTo>
                    <a:pt x="1623" y="1002"/>
                    <a:pt x="1618" y="1003"/>
                    <a:pt x="1613" y="1002"/>
                  </a:cubicBezTo>
                  <a:cubicBezTo>
                    <a:pt x="1598" y="1002"/>
                    <a:pt x="1582" y="1004"/>
                    <a:pt x="1567" y="1000"/>
                  </a:cubicBezTo>
                  <a:cubicBezTo>
                    <a:pt x="1560" y="999"/>
                    <a:pt x="1554" y="993"/>
                    <a:pt x="1546" y="993"/>
                  </a:cubicBezTo>
                  <a:cubicBezTo>
                    <a:pt x="1536" y="994"/>
                    <a:pt x="1525" y="992"/>
                    <a:pt x="1515" y="993"/>
                  </a:cubicBezTo>
                  <a:cubicBezTo>
                    <a:pt x="1490" y="997"/>
                    <a:pt x="1469" y="1010"/>
                    <a:pt x="1462" y="1034"/>
                  </a:cubicBezTo>
                  <a:cubicBezTo>
                    <a:pt x="1455" y="1056"/>
                    <a:pt x="1457" y="1079"/>
                    <a:pt x="1476" y="1096"/>
                  </a:cubicBezTo>
                  <a:cubicBezTo>
                    <a:pt x="1483" y="1103"/>
                    <a:pt x="1483" y="1107"/>
                    <a:pt x="1476" y="1113"/>
                  </a:cubicBezTo>
                  <a:cubicBezTo>
                    <a:pt x="1462" y="1126"/>
                    <a:pt x="1462" y="1142"/>
                    <a:pt x="1473" y="1157"/>
                  </a:cubicBezTo>
                  <a:cubicBezTo>
                    <a:pt x="1476" y="1160"/>
                    <a:pt x="1476" y="1162"/>
                    <a:pt x="1472" y="1164"/>
                  </a:cubicBezTo>
                  <a:cubicBezTo>
                    <a:pt x="1470" y="1166"/>
                    <a:pt x="1468" y="1168"/>
                    <a:pt x="1466" y="1170"/>
                  </a:cubicBezTo>
                  <a:cubicBezTo>
                    <a:pt x="1449" y="1183"/>
                    <a:pt x="1444" y="1201"/>
                    <a:pt x="1454" y="1218"/>
                  </a:cubicBezTo>
                  <a:cubicBezTo>
                    <a:pt x="1464" y="1235"/>
                    <a:pt x="1479" y="1246"/>
                    <a:pt x="1499" y="1249"/>
                  </a:cubicBezTo>
                  <a:cubicBezTo>
                    <a:pt x="1517" y="1252"/>
                    <a:pt x="1535" y="1253"/>
                    <a:pt x="1553" y="1250"/>
                  </a:cubicBezTo>
                  <a:cubicBezTo>
                    <a:pt x="1584" y="1245"/>
                    <a:pt x="1607" y="1232"/>
                    <a:pt x="1619" y="1200"/>
                  </a:cubicBezTo>
                  <a:cubicBezTo>
                    <a:pt x="1627" y="1180"/>
                    <a:pt x="1611" y="1155"/>
                    <a:pt x="1593" y="1148"/>
                  </a:cubicBezTo>
                  <a:cubicBezTo>
                    <a:pt x="1578" y="1142"/>
                    <a:pt x="1563" y="1143"/>
                    <a:pt x="1549" y="1142"/>
                  </a:cubicBezTo>
                  <a:cubicBezTo>
                    <a:pt x="1540" y="1142"/>
                    <a:pt x="1532" y="1142"/>
                    <a:pt x="1525" y="1142"/>
                  </a:cubicBezTo>
                  <a:close/>
                  <a:moveTo>
                    <a:pt x="1556" y="1172"/>
                  </a:moveTo>
                  <a:cubicBezTo>
                    <a:pt x="1566" y="1172"/>
                    <a:pt x="1576" y="1176"/>
                    <a:pt x="1583" y="1183"/>
                  </a:cubicBezTo>
                  <a:cubicBezTo>
                    <a:pt x="1589" y="1190"/>
                    <a:pt x="1589" y="1198"/>
                    <a:pt x="1583" y="1205"/>
                  </a:cubicBezTo>
                  <a:cubicBezTo>
                    <a:pt x="1575" y="1215"/>
                    <a:pt x="1565" y="1220"/>
                    <a:pt x="1553" y="1223"/>
                  </a:cubicBezTo>
                  <a:cubicBezTo>
                    <a:pt x="1534" y="1228"/>
                    <a:pt x="1516" y="1225"/>
                    <a:pt x="1499" y="1219"/>
                  </a:cubicBezTo>
                  <a:cubicBezTo>
                    <a:pt x="1486" y="1214"/>
                    <a:pt x="1479" y="1203"/>
                    <a:pt x="1482" y="1193"/>
                  </a:cubicBezTo>
                  <a:cubicBezTo>
                    <a:pt x="1485" y="1182"/>
                    <a:pt x="1496" y="1168"/>
                    <a:pt x="1514" y="1171"/>
                  </a:cubicBezTo>
                  <a:cubicBezTo>
                    <a:pt x="1526" y="1173"/>
                    <a:pt x="1541" y="1171"/>
                    <a:pt x="1556" y="1172"/>
                  </a:cubicBezTo>
                  <a:close/>
                  <a:moveTo>
                    <a:pt x="1531" y="1019"/>
                  </a:moveTo>
                  <a:cubicBezTo>
                    <a:pt x="1553" y="1017"/>
                    <a:pt x="1570" y="1033"/>
                    <a:pt x="1570" y="1052"/>
                  </a:cubicBezTo>
                  <a:cubicBezTo>
                    <a:pt x="1570" y="1075"/>
                    <a:pt x="1554" y="1093"/>
                    <a:pt x="1532" y="1091"/>
                  </a:cubicBezTo>
                  <a:cubicBezTo>
                    <a:pt x="1508" y="1089"/>
                    <a:pt x="1494" y="1082"/>
                    <a:pt x="1493" y="1053"/>
                  </a:cubicBezTo>
                  <a:cubicBezTo>
                    <a:pt x="1494" y="1029"/>
                    <a:pt x="1508" y="1020"/>
                    <a:pt x="1531" y="1019"/>
                  </a:cubicBezTo>
                  <a:close/>
                  <a:moveTo>
                    <a:pt x="1413" y="934"/>
                  </a:moveTo>
                  <a:cubicBezTo>
                    <a:pt x="1413" y="909"/>
                    <a:pt x="1413" y="909"/>
                    <a:pt x="1389" y="910"/>
                  </a:cubicBezTo>
                  <a:cubicBezTo>
                    <a:pt x="1388" y="910"/>
                    <a:pt x="1387" y="910"/>
                    <a:pt x="1387" y="910"/>
                  </a:cubicBezTo>
                  <a:cubicBezTo>
                    <a:pt x="1379" y="910"/>
                    <a:pt x="1376" y="915"/>
                    <a:pt x="1376" y="921"/>
                  </a:cubicBezTo>
                  <a:cubicBezTo>
                    <a:pt x="1376" y="939"/>
                    <a:pt x="1377" y="956"/>
                    <a:pt x="1377" y="974"/>
                  </a:cubicBezTo>
                  <a:cubicBezTo>
                    <a:pt x="1377" y="983"/>
                    <a:pt x="1377" y="991"/>
                    <a:pt x="1377" y="1000"/>
                  </a:cubicBezTo>
                  <a:cubicBezTo>
                    <a:pt x="1377" y="1005"/>
                    <a:pt x="1374" y="1009"/>
                    <a:pt x="1369" y="1005"/>
                  </a:cubicBezTo>
                  <a:cubicBezTo>
                    <a:pt x="1352" y="990"/>
                    <a:pt x="1332" y="993"/>
                    <a:pt x="1312" y="993"/>
                  </a:cubicBezTo>
                  <a:cubicBezTo>
                    <a:pt x="1303" y="994"/>
                    <a:pt x="1294" y="998"/>
                    <a:pt x="1287" y="1003"/>
                  </a:cubicBezTo>
                  <a:cubicBezTo>
                    <a:pt x="1265" y="1017"/>
                    <a:pt x="1252" y="1039"/>
                    <a:pt x="1248" y="1065"/>
                  </a:cubicBezTo>
                  <a:cubicBezTo>
                    <a:pt x="1244" y="1096"/>
                    <a:pt x="1244" y="1128"/>
                    <a:pt x="1261" y="1157"/>
                  </a:cubicBezTo>
                  <a:cubicBezTo>
                    <a:pt x="1270" y="1170"/>
                    <a:pt x="1281" y="1181"/>
                    <a:pt x="1296" y="1185"/>
                  </a:cubicBezTo>
                  <a:cubicBezTo>
                    <a:pt x="1323" y="1191"/>
                    <a:pt x="1349" y="1188"/>
                    <a:pt x="1370" y="1167"/>
                  </a:cubicBezTo>
                  <a:cubicBezTo>
                    <a:pt x="1372" y="1165"/>
                    <a:pt x="1375" y="1162"/>
                    <a:pt x="1379" y="1163"/>
                  </a:cubicBezTo>
                  <a:cubicBezTo>
                    <a:pt x="1382" y="1165"/>
                    <a:pt x="1381" y="1169"/>
                    <a:pt x="1381" y="1172"/>
                  </a:cubicBezTo>
                  <a:cubicBezTo>
                    <a:pt x="1383" y="1181"/>
                    <a:pt x="1390" y="1186"/>
                    <a:pt x="1403" y="1186"/>
                  </a:cubicBezTo>
                  <a:cubicBezTo>
                    <a:pt x="1413" y="1185"/>
                    <a:pt x="1413" y="1178"/>
                    <a:pt x="1413" y="1172"/>
                  </a:cubicBezTo>
                  <a:cubicBezTo>
                    <a:pt x="1413" y="1131"/>
                    <a:pt x="1413" y="1090"/>
                    <a:pt x="1413" y="1049"/>
                  </a:cubicBezTo>
                  <a:cubicBezTo>
                    <a:pt x="1413" y="1010"/>
                    <a:pt x="1413" y="972"/>
                    <a:pt x="1413" y="934"/>
                  </a:cubicBezTo>
                  <a:close/>
                  <a:moveTo>
                    <a:pt x="1378" y="1113"/>
                  </a:moveTo>
                  <a:cubicBezTo>
                    <a:pt x="1378" y="1136"/>
                    <a:pt x="1360" y="1155"/>
                    <a:pt x="1337" y="1157"/>
                  </a:cubicBezTo>
                  <a:cubicBezTo>
                    <a:pt x="1319" y="1159"/>
                    <a:pt x="1304" y="1154"/>
                    <a:pt x="1294" y="1139"/>
                  </a:cubicBezTo>
                  <a:cubicBezTo>
                    <a:pt x="1286" y="1128"/>
                    <a:pt x="1283" y="1116"/>
                    <a:pt x="1283" y="1102"/>
                  </a:cubicBezTo>
                  <a:cubicBezTo>
                    <a:pt x="1282" y="1085"/>
                    <a:pt x="1282" y="1067"/>
                    <a:pt x="1290" y="1051"/>
                  </a:cubicBezTo>
                  <a:cubicBezTo>
                    <a:pt x="1297" y="1036"/>
                    <a:pt x="1308" y="1024"/>
                    <a:pt x="1325" y="1022"/>
                  </a:cubicBezTo>
                  <a:cubicBezTo>
                    <a:pt x="1342" y="1020"/>
                    <a:pt x="1358" y="1021"/>
                    <a:pt x="1371" y="1035"/>
                  </a:cubicBezTo>
                  <a:cubicBezTo>
                    <a:pt x="1376" y="1041"/>
                    <a:pt x="1378" y="1046"/>
                    <a:pt x="1378" y="1052"/>
                  </a:cubicBezTo>
                  <a:cubicBezTo>
                    <a:pt x="1378" y="1064"/>
                    <a:pt x="1378" y="1075"/>
                    <a:pt x="1378" y="1086"/>
                  </a:cubicBezTo>
                  <a:cubicBezTo>
                    <a:pt x="1378" y="1086"/>
                    <a:pt x="1378" y="1086"/>
                    <a:pt x="1378" y="1086"/>
                  </a:cubicBezTo>
                  <a:cubicBezTo>
                    <a:pt x="1378" y="1095"/>
                    <a:pt x="1378" y="1104"/>
                    <a:pt x="1378" y="1113"/>
                  </a:cubicBezTo>
                  <a:close/>
                  <a:moveTo>
                    <a:pt x="578" y="259"/>
                  </a:moveTo>
                  <a:cubicBezTo>
                    <a:pt x="603" y="241"/>
                    <a:pt x="611" y="213"/>
                    <a:pt x="614" y="183"/>
                  </a:cubicBezTo>
                  <a:cubicBezTo>
                    <a:pt x="615" y="171"/>
                    <a:pt x="610" y="159"/>
                    <a:pt x="609" y="147"/>
                  </a:cubicBezTo>
                  <a:cubicBezTo>
                    <a:pt x="608" y="137"/>
                    <a:pt x="603" y="129"/>
                    <a:pt x="599" y="121"/>
                  </a:cubicBezTo>
                  <a:cubicBezTo>
                    <a:pt x="579" y="87"/>
                    <a:pt x="527" y="70"/>
                    <a:pt x="488" y="85"/>
                  </a:cubicBezTo>
                  <a:cubicBezTo>
                    <a:pt x="453" y="99"/>
                    <a:pt x="436" y="127"/>
                    <a:pt x="431" y="163"/>
                  </a:cubicBezTo>
                  <a:cubicBezTo>
                    <a:pt x="429" y="180"/>
                    <a:pt x="430" y="196"/>
                    <a:pt x="436" y="213"/>
                  </a:cubicBezTo>
                  <a:cubicBezTo>
                    <a:pt x="439" y="222"/>
                    <a:pt x="442" y="232"/>
                    <a:pt x="447" y="239"/>
                  </a:cubicBezTo>
                  <a:cubicBezTo>
                    <a:pt x="465" y="265"/>
                    <a:pt x="491" y="277"/>
                    <a:pt x="525" y="276"/>
                  </a:cubicBezTo>
                  <a:cubicBezTo>
                    <a:pt x="543" y="278"/>
                    <a:pt x="562" y="271"/>
                    <a:pt x="578" y="259"/>
                  </a:cubicBezTo>
                  <a:close/>
                  <a:moveTo>
                    <a:pt x="471" y="205"/>
                  </a:moveTo>
                  <a:cubicBezTo>
                    <a:pt x="466" y="185"/>
                    <a:pt x="468" y="167"/>
                    <a:pt x="472" y="147"/>
                  </a:cubicBezTo>
                  <a:cubicBezTo>
                    <a:pt x="477" y="130"/>
                    <a:pt x="493" y="116"/>
                    <a:pt x="509" y="112"/>
                  </a:cubicBezTo>
                  <a:cubicBezTo>
                    <a:pt x="525" y="108"/>
                    <a:pt x="539" y="110"/>
                    <a:pt x="553" y="119"/>
                  </a:cubicBezTo>
                  <a:cubicBezTo>
                    <a:pt x="563" y="125"/>
                    <a:pt x="568" y="135"/>
                    <a:pt x="571" y="146"/>
                  </a:cubicBezTo>
                  <a:cubicBezTo>
                    <a:pt x="577" y="167"/>
                    <a:pt x="578" y="189"/>
                    <a:pt x="571" y="211"/>
                  </a:cubicBezTo>
                  <a:cubicBezTo>
                    <a:pt x="565" y="231"/>
                    <a:pt x="549" y="249"/>
                    <a:pt x="521" y="247"/>
                  </a:cubicBezTo>
                  <a:cubicBezTo>
                    <a:pt x="496" y="247"/>
                    <a:pt x="478" y="230"/>
                    <a:pt x="471" y="205"/>
                  </a:cubicBezTo>
                  <a:close/>
                  <a:moveTo>
                    <a:pt x="472" y="1122"/>
                  </a:moveTo>
                  <a:cubicBezTo>
                    <a:pt x="475" y="1136"/>
                    <a:pt x="481" y="1148"/>
                    <a:pt x="491" y="1158"/>
                  </a:cubicBezTo>
                  <a:cubicBezTo>
                    <a:pt x="506" y="1176"/>
                    <a:pt x="524" y="1185"/>
                    <a:pt x="548" y="1187"/>
                  </a:cubicBezTo>
                  <a:cubicBezTo>
                    <a:pt x="568" y="1188"/>
                    <a:pt x="587" y="1187"/>
                    <a:pt x="605" y="1177"/>
                  </a:cubicBezTo>
                  <a:cubicBezTo>
                    <a:pt x="632" y="1162"/>
                    <a:pt x="644" y="1136"/>
                    <a:pt x="649" y="1107"/>
                  </a:cubicBezTo>
                  <a:cubicBezTo>
                    <a:pt x="652" y="1089"/>
                    <a:pt x="649" y="1072"/>
                    <a:pt x="644" y="1054"/>
                  </a:cubicBezTo>
                  <a:cubicBezTo>
                    <a:pt x="638" y="1034"/>
                    <a:pt x="627" y="1019"/>
                    <a:pt x="610" y="1007"/>
                  </a:cubicBezTo>
                  <a:cubicBezTo>
                    <a:pt x="589" y="992"/>
                    <a:pt x="566" y="991"/>
                    <a:pt x="541" y="994"/>
                  </a:cubicBezTo>
                  <a:cubicBezTo>
                    <a:pt x="526" y="995"/>
                    <a:pt x="512" y="1002"/>
                    <a:pt x="500" y="1012"/>
                  </a:cubicBezTo>
                  <a:cubicBezTo>
                    <a:pt x="476" y="1032"/>
                    <a:pt x="469" y="1060"/>
                    <a:pt x="466" y="1095"/>
                  </a:cubicBezTo>
                  <a:cubicBezTo>
                    <a:pt x="465" y="1101"/>
                    <a:pt x="470" y="1111"/>
                    <a:pt x="472" y="1122"/>
                  </a:cubicBezTo>
                  <a:close/>
                  <a:moveTo>
                    <a:pt x="508" y="1113"/>
                  </a:moveTo>
                  <a:cubicBezTo>
                    <a:pt x="505" y="1095"/>
                    <a:pt x="506" y="1078"/>
                    <a:pt x="508" y="1061"/>
                  </a:cubicBezTo>
                  <a:cubicBezTo>
                    <a:pt x="511" y="1042"/>
                    <a:pt x="538" y="1021"/>
                    <a:pt x="554" y="1022"/>
                  </a:cubicBezTo>
                  <a:cubicBezTo>
                    <a:pt x="570" y="1022"/>
                    <a:pt x="586" y="1024"/>
                    <a:pt x="596" y="1037"/>
                  </a:cubicBezTo>
                  <a:cubicBezTo>
                    <a:pt x="602" y="1044"/>
                    <a:pt x="607" y="1052"/>
                    <a:pt x="608" y="1061"/>
                  </a:cubicBezTo>
                  <a:cubicBezTo>
                    <a:pt x="608" y="1064"/>
                    <a:pt x="609" y="1067"/>
                    <a:pt x="610" y="1070"/>
                  </a:cubicBezTo>
                  <a:cubicBezTo>
                    <a:pt x="618" y="1089"/>
                    <a:pt x="612" y="1107"/>
                    <a:pt x="607" y="1125"/>
                  </a:cubicBezTo>
                  <a:cubicBezTo>
                    <a:pt x="601" y="1143"/>
                    <a:pt x="588" y="1160"/>
                    <a:pt x="558" y="1157"/>
                  </a:cubicBezTo>
                  <a:cubicBezTo>
                    <a:pt x="530" y="1157"/>
                    <a:pt x="512" y="1141"/>
                    <a:pt x="508" y="1113"/>
                  </a:cubicBezTo>
                  <a:close/>
                  <a:moveTo>
                    <a:pt x="430" y="716"/>
                  </a:moveTo>
                  <a:cubicBezTo>
                    <a:pt x="450" y="703"/>
                    <a:pt x="459" y="683"/>
                    <a:pt x="464" y="661"/>
                  </a:cubicBezTo>
                  <a:cubicBezTo>
                    <a:pt x="468" y="648"/>
                    <a:pt x="467" y="635"/>
                    <a:pt x="466" y="621"/>
                  </a:cubicBezTo>
                  <a:cubicBezTo>
                    <a:pt x="463" y="592"/>
                    <a:pt x="453" y="567"/>
                    <a:pt x="427" y="550"/>
                  </a:cubicBezTo>
                  <a:cubicBezTo>
                    <a:pt x="401" y="534"/>
                    <a:pt x="372" y="532"/>
                    <a:pt x="345" y="541"/>
                  </a:cubicBezTo>
                  <a:cubicBezTo>
                    <a:pt x="310" y="552"/>
                    <a:pt x="291" y="580"/>
                    <a:pt x="287" y="617"/>
                  </a:cubicBezTo>
                  <a:cubicBezTo>
                    <a:pt x="286" y="629"/>
                    <a:pt x="286" y="641"/>
                    <a:pt x="287" y="654"/>
                  </a:cubicBezTo>
                  <a:cubicBezTo>
                    <a:pt x="289" y="671"/>
                    <a:pt x="295" y="686"/>
                    <a:pt x="306" y="700"/>
                  </a:cubicBezTo>
                  <a:cubicBezTo>
                    <a:pt x="324" y="722"/>
                    <a:pt x="348" y="733"/>
                    <a:pt x="378" y="731"/>
                  </a:cubicBezTo>
                  <a:cubicBezTo>
                    <a:pt x="396" y="733"/>
                    <a:pt x="414" y="727"/>
                    <a:pt x="430" y="716"/>
                  </a:cubicBezTo>
                  <a:close/>
                  <a:moveTo>
                    <a:pt x="331" y="592"/>
                  </a:moveTo>
                  <a:cubicBezTo>
                    <a:pt x="339" y="580"/>
                    <a:pt x="349" y="569"/>
                    <a:pt x="365" y="567"/>
                  </a:cubicBezTo>
                  <a:cubicBezTo>
                    <a:pt x="387" y="564"/>
                    <a:pt x="406" y="568"/>
                    <a:pt x="419" y="588"/>
                  </a:cubicBezTo>
                  <a:cubicBezTo>
                    <a:pt x="423" y="595"/>
                    <a:pt x="426" y="603"/>
                    <a:pt x="427" y="610"/>
                  </a:cubicBezTo>
                  <a:cubicBezTo>
                    <a:pt x="433" y="635"/>
                    <a:pt x="431" y="661"/>
                    <a:pt x="416" y="684"/>
                  </a:cubicBezTo>
                  <a:cubicBezTo>
                    <a:pt x="403" y="706"/>
                    <a:pt x="362" y="708"/>
                    <a:pt x="345" y="692"/>
                  </a:cubicBezTo>
                  <a:cubicBezTo>
                    <a:pt x="329" y="678"/>
                    <a:pt x="323" y="661"/>
                    <a:pt x="323" y="631"/>
                  </a:cubicBezTo>
                  <a:cubicBezTo>
                    <a:pt x="323" y="619"/>
                    <a:pt x="323" y="605"/>
                    <a:pt x="331" y="592"/>
                  </a:cubicBezTo>
                  <a:close/>
                  <a:moveTo>
                    <a:pt x="1073" y="259"/>
                  </a:moveTo>
                  <a:cubicBezTo>
                    <a:pt x="1073" y="269"/>
                    <a:pt x="1075" y="272"/>
                    <a:pt x="1086" y="272"/>
                  </a:cubicBezTo>
                  <a:cubicBezTo>
                    <a:pt x="1088" y="272"/>
                    <a:pt x="1090" y="272"/>
                    <a:pt x="1092" y="272"/>
                  </a:cubicBezTo>
                  <a:cubicBezTo>
                    <a:pt x="1105" y="272"/>
                    <a:pt x="1106" y="271"/>
                    <a:pt x="1106" y="258"/>
                  </a:cubicBezTo>
                  <a:cubicBezTo>
                    <a:pt x="1106" y="221"/>
                    <a:pt x="1106" y="184"/>
                    <a:pt x="1106" y="147"/>
                  </a:cubicBezTo>
                  <a:cubicBezTo>
                    <a:pt x="1106" y="143"/>
                    <a:pt x="1106" y="140"/>
                    <a:pt x="1107" y="137"/>
                  </a:cubicBezTo>
                  <a:cubicBezTo>
                    <a:pt x="1117" y="117"/>
                    <a:pt x="1157" y="104"/>
                    <a:pt x="1177" y="114"/>
                  </a:cubicBezTo>
                  <a:cubicBezTo>
                    <a:pt x="1179" y="115"/>
                    <a:pt x="1180" y="117"/>
                    <a:pt x="1182" y="118"/>
                  </a:cubicBezTo>
                  <a:cubicBezTo>
                    <a:pt x="1194" y="131"/>
                    <a:pt x="1196" y="147"/>
                    <a:pt x="1196" y="163"/>
                  </a:cubicBezTo>
                  <a:cubicBezTo>
                    <a:pt x="1197" y="195"/>
                    <a:pt x="1196" y="226"/>
                    <a:pt x="1196" y="258"/>
                  </a:cubicBezTo>
                  <a:cubicBezTo>
                    <a:pt x="1196" y="271"/>
                    <a:pt x="1197" y="272"/>
                    <a:pt x="1210" y="272"/>
                  </a:cubicBezTo>
                  <a:cubicBezTo>
                    <a:pt x="1212" y="272"/>
                    <a:pt x="1213" y="272"/>
                    <a:pt x="1215" y="272"/>
                  </a:cubicBezTo>
                  <a:cubicBezTo>
                    <a:pt x="1227" y="272"/>
                    <a:pt x="1229" y="270"/>
                    <a:pt x="1229" y="258"/>
                  </a:cubicBezTo>
                  <a:cubicBezTo>
                    <a:pt x="1229" y="222"/>
                    <a:pt x="1229" y="187"/>
                    <a:pt x="1229" y="151"/>
                  </a:cubicBezTo>
                  <a:cubicBezTo>
                    <a:pt x="1229" y="142"/>
                    <a:pt x="1228" y="132"/>
                    <a:pt x="1225" y="123"/>
                  </a:cubicBezTo>
                  <a:cubicBezTo>
                    <a:pt x="1219" y="105"/>
                    <a:pt x="1208" y="91"/>
                    <a:pt x="1189" y="85"/>
                  </a:cubicBezTo>
                  <a:cubicBezTo>
                    <a:pt x="1173" y="80"/>
                    <a:pt x="1156" y="84"/>
                    <a:pt x="1139" y="84"/>
                  </a:cubicBezTo>
                  <a:cubicBezTo>
                    <a:pt x="1137" y="84"/>
                    <a:pt x="1136" y="86"/>
                    <a:pt x="1134" y="87"/>
                  </a:cubicBezTo>
                  <a:cubicBezTo>
                    <a:pt x="1128" y="91"/>
                    <a:pt x="1121" y="96"/>
                    <a:pt x="1115" y="100"/>
                  </a:cubicBezTo>
                  <a:cubicBezTo>
                    <a:pt x="1113" y="102"/>
                    <a:pt x="1111" y="105"/>
                    <a:pt x="1108" y="103"/>
                  </a:cubicBezTo>
                  <a:cubicBezTo>
                    <a:pt x="1105" y="102"/>
                    <a:pt x="1106" y="98"/>
                    <a:pt x="1106" y="96"/>
                  </a:cubicBezTo>
                  <a:cubicBezTo>
                    <a:pt x="1106" y="69"/>
                    <a:pt x="1106" y="43"/>
                    <a:pt x="1106" y="17"/>
                  </a:cubicBezTo>
                  <a:cubicBezTo>
                    <a:pt x="1106" y="0"/>
                    <a:pt x="1106" y="0"/>
                    <a:pt x="1089" y="0"/>
                  </a:cubicBezTo>
                  <a:cubicBezTo>
                    <a:pt x="1074" y="0"/>
                    <a:pt x="1073" y="1"/>
                    <a:pt x="1073" y="16"/>
                  </a:cubicBezTo>
                  <a:cubicBezTo>
                    <a:pt x="1073" y="56"/>
                    <a:pt x="1073" y="96"/>
                    <a:pt x="1073" y="136"/>
                  </a:cubicBezTo>
                  <a:cubicBezTo>
                    <a:pt x="1073" y="177"/>
                    <a:pt x="1073" y="218"/>
                    <a:pt x="1073" y="259"/>
                  </a:cubicBezTo>
                  <a:close/>
                  <a:moveTo>
                    <a:pt x="1150" y="1092"/>
                  </a:moveTo>
                  <a:cubicBezTo>
                    <a:pt x="1168" y="1092"/>
                    <a:pt x="1186" y="1092"/>
                    <a:pt x="1204" y="1092"/>
                  </a:cubicBezTo>
                  <a:cubicBezTo>
                    <a:pt x="1215" y="1092"/>
                    <a:pt x="1218" y="1087"/>
                    <a:pt x="1219" y="1077"/>
                  </a:cubicBezTo>
                  <a:cubicBezTo>
                    <a:pt x="1220" y="1062"/>
                    <a:pt x="1216" y="1049"/>
                    <a:pt x="1210" y="1036"/>
                  </a:cubicBezTo>
                  <a:cubicBezTo>
                    <a:pt x="1204" y="1020"/>
                    <a:pt x="1193" y="1008"/>
                    <a:pt x="1177" y="1001"/>
                  </a:cubicBezTo>
                  <a:cubicBezTo>
                    <a:pt x="1155" y="992"/>
                    <a:pt x="1133" y="991"/>
                    <a:pt x="1109" y="999"/>
                  </a:cubicBezTo>
                  <a:cubicBezTo>
                    <a:pt x="1079" y="1010"/>
                    <a:pt x="1062" y="1031"/>
                    <a:pt x="1056" y="1061"/>
                  </a:cubicBezTo>
                  <a:cubicBezTo>
                    <a:pt x="1051" y="1090"/>
                    <a:pt x="1052" y="1120"/>
                    <a:pt x="1069" y="1148"/>
                  </a:cubicBezTo>
                  <a:cubicBezTo>
                    <a:pt x="1081" y="1169"/>
                    <a:pt x="1100" y="1180"/>
                    <a:pt x="1122" y="1185"/>
                  </a:cubicBezTo>
                  <a:cubicBezTo>
                    <a:pt x="1149" y="1190"/>
                    <a:pt x="1176" y="1186"/>
                    <a:pt x="1200" y="1171"/>
                  </a:cubicBezTo>
                  <a:cubicBezTo>
                    <a:pt x="1206" y="1168"/>
                    <a:pt x="1213" y="1165"/>
                    <a:pt x="1214" y="1157"/>
                  </a:cubicBezTo>
                  <a:cubicBezTo>
                    <a:pt x="1215" y="1147"/>
                    <a:pt x="1202" y="1139"/>
                    <a:pt x="1193" y="1144"/>
                  </a:cubicBezTo>
                  <a:cubicBezTo>
                    <a:pt x="1187" y="1147"/>
                    <a:pt x="1180" y="1150"/>
                    <a:pt x="1174" y="1153"/>
                  </a:cubicBezTo>
                  <a:cubicBezTo>
                    <a:pt x="1158" y="1161"/>
                    <a:pt x="1140" y="1161"/>
                    <a:pt x="1124" y="1155"/>
                  </a:cubicBezTo>
                  <a:cubicBezTo>
                    <a:pt x="1112" y="1151"/>
                    <a:pt x="1102" y="1142"/>
                    <a:pt x="1096" y="1129"/>
                  </a:cubicBezTo>
                  <a:cubicBezTo>
                    <a:pt x="1092" y="1121"/>
                    <a:pt x="1091" y="1112"/>
                    <a:pt x="1089" y="1104"/>
                  </a:cubicBezTo>
                  <a:cubicBezTo>
                    <a:pt x="1087" y="1093"/>
                    <a:pt x="1087" y="1092"/>
                    <a:pt x="1099" y="1092"/>
                  </a:cubicBezTo>
                  <a:cubicBezTo>
                    <a:pt x="1116" y="1092"/>
                    <a:pt x="1133" y="1092"/>
                    <a:pt x="1150" y="1092"/>
                  </a:cubicBezTo>
                  <a:cubicBezTo>
                    <a:pt x="1150" y="1092"/>
                    <a:pt x="1150" y="1092"/>
                    <a:pt x="1150" y="1092"/>
                  </a:cubicBezTo>
                  <a:close/>
                  <a:moveTo>
                    <a:pt x="1099" y="1070"/>
                  </a:moveTo>
                  <a:cubicBezTo>
                    <a:pt x="1092" y="1071"/>
                    <a:pt x="1089" y="1067"/>
                    <a:pt x="1091" y="1060"/>
                  </a:cubicBezTo>
                  <a:cubicBezTo>
                    <a:pt x="1094" y="1045"/>
                    <a:pt x="1108" y="1023"/>
                    <a:pt x="1128" y="1022"/>
                  </a:cubicBezTo>
                  <a:cubicBezTo>
                    <a:pt x="1142" y="1021"/>
                    <a:pt x="1156" y="1018"/>
                    <a:pt x="1168" y="1029"/>
                  </a:cubicBezTo>
                  <a:cubicBezTo>
                    <a:pt x="1181" y="1038"/>
                    <a:pt x="1185" y="1051"/>
                    <a:pt x="1187" y="1066"/>
                  </a:cubicBezTo>
                  <a:cubicBezTo>
                    <a:pt x="1188" y="1071"/>
                    <a:pt x="1183" y="1070"/>
                    <a:pt x="1180" y="1070"/>
                  </a:cubicBezTo>
                  <a:cubicBezTo>
                    <a:pt x="1166" y="1070"/>
                    <a:pt x="1153" y="1070"/>
                    <a:pt x="1139" y="1070"/>
                  </a:cubicBezTo>
                  <a:cubicBezTo>
                    <a:pt x="1139" y="1070"/>
                    <a:pt x="1139" y="1070"/>
                    <a:pt x="1139" y="1070"/>
                  </a:cubicBezTo>
                  <a:cubicBezTo>
                    <a:pt x="1126" y="1070"/>
                    <a:pt x="1113" y="1070"/>
                    <a:pt x="1099" y="1070"/>
                  </a:cubicBezTo>
                  <a:close/>
                  <a:moveTo>
                    <a:pt x="1741" y="1092"/>
                  </a:moveTo>
                  <a:cubicBezTo>
                    <a:pt x="1759" y="1092"/>
                    <a:pt x="1776" y="1092"/>
                    <a:pt x="1793" y="1092"/>
                  </a:cubicBezTo>
                  <a:cubicBezTo>
                    <a:pt x="1806" y="1092"/>
                    <a:pt x="1808" y="1089"/>
                    <a:pt x="1808" y="1076"/>
                  </a:cubicBezTo>
                  <a:cubicBezTo>
                    <a:pt x="1809" y="1063"/>
                    <a:pt x="1807" y="1051"/>
                    <a:pt x="1802" y="1038"/>
                  </a:cubicBezTo>
                  <a:cubicBezTo>
                    <a:pt x="1794" y="1021"/>
                    <a:pt x="1782" y="1008"/>
                    <a:pt x="1764" y="1000"/>
                  </a:cubicBezTo>
                  <a:cubicBezTo>
                    <a:pt x="1742" y="991"/>
                    <a:pt x="1720" y="991"/>
                    <a:pt x="1698" y="1000"/>
                  </a:cubicBezTo>
                  <a:cubicBezTo>
                    <a:pt x="1681" y="1006"/>
                    <a:pt x="1668" y="1016"/>
                    <a:pt x="1659" y="1031"/>
                  </a:cubicBezTo>
                  <a:cubicBezTo>
                    <a:pt x="1646" y="1050"/>
                    <a:pt x="1643" y="1071"/>
                    <a:pt x="1644" y="1094"/>
                  </a:cubicBezTo>
                  <a:cubicBezTo>
                    <a:pt x="1644" y="1110"/>
                    <a:pt x="1647" y="1127"/>
                    <a:pt x="1655" y="1141"/>
                  </a:cubicBezTo>
                  <a:cubicBezTo>
                    <a:pt x="1669" y="1168"/>
                    <a:pt x="1691" y="1183"/>
                    <a:pt x="1722" y="1186"/>
                  </a:cubicBezTo>
                  <a:cubicBezTo>
                    <a:pt x="1750" y="1188"/>
                    <a:pt x="1775" y="1183"/>
                    <a:pt x="1798" y="1165"/>
                  </a:cubicBezTo>
                  <a:cubicBezTo>
                    <a:pt x="1803" y="1161"/>
                    <a:pt x="1806" y="1157"/>
                    <a:pt x="1802" y="1151"/>
                  </a:cubicBezTo>
                  <a:cubicBezTo>
                    <a:pt x="1798" y="1144"/>
                    <a:pt x="1791" y="1140"/>
                    <a:pt x="1783" y="1144"/>
                  </a:cubicBezTo>
                  <a:cubicBezTo>
                    <a:pt x="1778" y="1147"/>
                    <a:pt x="1771" y="1149"/>
                    <a:pt x="1766" y="1152"/>
                  </a:cubicBezTo>
                  <a:cubicBezTo>
                    <a:pt x="1749" y="1161"/>
                    <a:pt x="1730" y="1162"/>
                    <a:pt x="1714" y="1155"/>
                  </a:cubicBezTo>
                  <a:cubicBezTo>
                    <a:pt x="1692" y="1145"/>
                    <a:pt x="1680" y="1127"/>
                    <a:pt x="1679" y="1102"/>
                  </a:cubicBezTo>
                  <a:cubicBezTo>
                    <a:pt x="1678" y="1095"/>
                    <a:pt x="1681" y="1092"/>
                    <a:pt x="1689" y="1092"/>
                  </a:cubicBezTo>
                  <a:cubicBezTo>
                    <a:pt x="1706" y="1092"/>
                    <a:pt x="1724" y="1092"/>
                    <a:pt x="1741" y="1092"/>
                  </a:cubicBezTo>
                  <a:cubicBezTo>
                    <a:pt x="1741" y="1092"/>
                    <a:pt x="1741" y="1092"/>
                    <a:pt x="1741" y="1092"/>
                  </a:cubicBezTo>
                  <a:close/>
                  <a:moveTo>
                    <a:pt x="1690" y="1070"/>
                  </a:moveTo>
                  <a:cubicBezTo>
                    <a:pt x="1683" y="1071"/>
                    <a:pt x="1680" y="1068"/>
                    <a:pt x="1681" y="1062"/>
                  </a:cubicBezTo>
                  <a:cubicBezTo>
                    <a:pt x="1683" y="1048"/>
                    <a:pt x="1697" y="1024"/>
                    <a:pt x="1716" y="1022"/>
                  </a:cubicBezTo>
                  <a:cubicBezTo>
                    <a:pt x="1731" y="1020"/>
                    <a:pt x="1747" y="1018"/>
                    <a:pt x="1760" y="1030"/>
                  </a:cubicBezTo>
                  <a:cubicBezTo>
                    <a:pt x="1771" y="1038"/>
                    <a:pt x="1775" y="1050"/>
                    <a:pt x="1778" y="1062"/>
                  </a:cubicBezTo>
                  <a:cubicBezTo>
                    <a:pt x="1780" y="1068"/>
                    <a:pt x="1775" y="1070"/>
                    <a:pt x="1769" y="1070"/>
                  </a:cubicBezTo>
                  <a:cubicBezTo>
                    <a:pt x="1756" y="1070"/>
                    <a:pt x="1742" y="1070"/>
                    <a:pt x="1729" y="1070"/>
                  </a:cubicBezTo>
                  <a:cubicBezTo>
                    <a:pt x="1729" y="1070"/>
                    <a:pt x="1729" y="1070"/>
                    <a:pt x="1729" y="1070"/>
                  </a:cubicBezTo>
                  <a:cubicBezTo>
                    <a:pt x="1716" y="1070"/>
                    <a:pt x="1703" y="1070"/>
                    <a:pt x="1690" y="1070"/>
                  </a:cubicBezTo>
                  <a:close/>
                  <a:moveTo>
                    <a:pt x="68" y="581"/>
                  </a:moveTo>
                  <a:cubicBezTo>
                    <a:pt x="68" y="573"/>
                    <a:pt x="70" y="568"/>
                    <a:pt x="80" y="569"/>
                  </a:cubicBezTo>
                  <a:cubicBezTo>
                    <a:pt x="90" y="570"/>
                    <a:pt x="101" y="570"/>
                    <a:pt x="111" y="569"/>
                  </a:cubicBezTo>
                  <a:cubicBezTo>
                    <a:pt x="120" y="569"/>
                    <a:pt x="120" y="563"/>
                    <a:pt x="120" y="556"/>
                  </a:cubicBezTo>
                  <a:cubicBezTo>
                    <a:pt x="120" y="549"/>
                    <a:pt x="119" y="544"/>
                    <a:pt x="111" y="544"/>
                  </a:cubicBezTo>
                  <a:cubicBezTo>
                    <a:pt x="104" y="544"/>
                    <a:pt x="97" y="544"/>
                    <a:pt x="91" y="544"/>
                  </a:cubicBezTo>
                  <a:cubicBezTo>
                    <a:pt x="66" y="544"/>
                    <a:pt x="65" y="543"/>
                    <a:pt x="68" y="518"/>
                  </a:cubicBezTo>
                  <a:cubicBezTo>
                    <a:pt x="69" y="504"/>
                    <a:pt x="83" y="487"/>
                    <a:pt x="99" y="489"/>
                  </a:cubicBezTo>
                  <a:cubicBezTo>
                    <a:pt x="103" y="489"/>
                    <a:pt x="107" y="489"/>
                    <a:pt x="110" y="488"/>
                  </a:cubicBezTo>
                  <a:cubicBezTo>
                    <a:pt x="118" y="487"/>
                    <a:pt x="123" y="479"/>
                    <a:pt x="123" y="471"/>
                  </a:cubicBezTo>
                  <a:cubicBezTo>
                    <a:pt x="123" y="461"/>
                    <a:pt x="116" y="462"/>
                    <a:pt x="109" y="460"/>
                  </a:cubicBezTo>
                  <a:cubicBezTo>
                    <a:pt x="100" y="458"/>
                    <a:pt x="92" y="460"/>
                    <a:pt x="84" y="460"/>
                  </a:cubicBezTo>
                  <a:cubicBezTo>
                    <a:pt x="68" y="461"/>
                    <a:pt x="56" y="469"/>
                    <a:pt x="47" y="480"/>
                  </a:cubicBezTo>
                  <a:cubicBezTo>
                    <a:pt x="34" y="493"/>
                    <a:pt x="32" y="511"/>
                    <a:pt x="32" y="529"/>
                  </a:cubicBezTo>
                  <a:cubicBezTo>
                    <a:pt x="32" y="544"/>
                    <a:pt x="32" y="544"/>
                    <a:pt x="17" y="544"/>
                  </a:cubicBezTo>
                  <a:cubicBezTo>
                    <a:pt x="4" y="543"/>
                    <a:pt x="0" y="548"/>
                    <a:pt x="4" y="561"/>
                  </a:cubicBezTo>
                  <a:cubicBezTo>
                    <a:pt x="6" y="569"/>
                    <a:pt x="13" y="568"/>
                    <a:pt x="19" y="569"/>
                  </a:cubicBezTo>
                  <a:cubicBezTo>
                    <a:pt x="32" y="571"/>
                    <a:pt x="32" y="571"/>
                    <a:pt x="32" y="584"/>
                  </a:cubicBezTo>
                  <a:cubicBezTo>
                    <a:pt x="32" y="624"/>
                    <a:pt x="32" y="664"/>
                    <a:pt x="32" y="704"/>
                  </a:cubicBezTo>
                  <a:cubicBezTo>
                    <a:pt x="32" y="731"/>
                    <a:pt x="32" y="730"/>
                    <a:pt x="57" y="731"/>
                  </a:cubicBezTo>
                  <a:cubicBezTo>
                    <a:pt x="66" y="731"/>
                    <a:pt x="68" y="727"/>
                    <a:pt x="68" y="720"/>
                  </a:cubicBezTo>
                  <a:cubicBezTo>
                    <a:pt x="68" y="697"/>
                    <a:pt x="68" y="674"/>
                    <a:pt x="68" y="651"/>
                  </a:cubicBezTo>
                  <a:cubicBezTo>
                    <a:pt x="68" y="628"/>
                    <a:pt x="68" y="605"/>
                    <a:pt x="68" y="581"/>
                  </a:cubicBezTo>
                  <a:close/>
                  <a:moveTo>
                    <a:pt x="278" y="1165"/>
                  </a:moveTo>
                  <a:cubicBezTo>
                    <a:pt x="278" y="1183"/>
                    <a:pt x="278" y="1183"/>
                    <a:pt x="296" y="1184"/>
                  </a:cubicBezTo>
                  <a:cubicBezTo>
                    <a:pt x="310" y="1184"/>
                    <a:pt x="310" y="1184"/>
                    <a:pt x="310" y="1169"/>
                  </a:cubicBezTo>
                  <a:cubicBezTo>
                    <a:pt x="310" y="1132"/>
                    <a:pt x="310" y="1095"/>
                    <a:pt x="310" y="1058"/>
                  </a:cubicBezTo>
                  <a:cubicBezTo>
                    <a:pt x="310" y="1052"/>
                    <a:pt x="312" y="1047"/>
                    <a:pt x="316" y="1042"/>
                  </a:cubicBezTo>
                  <a:cubicBezTo>
                    <a:pt x="324" y="1033"/>
                    <a:pt x="334" y="1027"/>
                    <a:pt x="345" y="1024"/>
                  </a:cubicBezTo>
                  <a:cubicBezTo>
                    <a:pt x="357" y="1020"/>
                    <a:pt x="371" y="1018"/>
                    <a:pt x="383" y="1028"/>
                  </a:cubicBezTo>
                  <a:cubicBezTo>
                    <a:pt x="397" y="1039"/>
                    <a:pt x="401" y="1054"/>
                    <a:pt x="401" y="1071"/>
                  </a:cubicBezTo>
                  <a:cubicBezTo>
                    <a:pt x="401" y="1102"/>
                    <a:pt x="401" y="1132"/>
                    <a:pt x="401" y="1163"/>
                  </a:cubicBezTo>
                  <a:cubicBezTo>
                    <a:pt x="401" y="1183"/>
                    <a:pt x="401" y="1182"/>
                    <a:pt x="420" y="1184"/>
                  </a:cubicBezTo>
                  <a:cubicBezTo>
                    <a:pt x="429" y="1185"/>
                    <a:pt x="433" y="1181"/>
                    <a:pt x="433" y="1173"/>
                  </a:cubicBezTo>
                  <a:cubicBezTo>
                    <a:pt x="432" y="1130"/>
                    <a:pt x="435" y="1087"/>
                    <a:pt x="431" y="1044"/>
                  </a:cubicBezTo>
                  <a:cubicBezTo>
                    <a:pt x="427" y="1014"/>
                    <a:pt x="404" y="996"/>
                    <a:pt x="376" y="994"/>
                  </a:cubicBezTo>
                  <a:cubicBezTo>
                    <a:pt x="353" y="992"/>
                    <a:pt x="333" y="1000"/>
                    <a:pt x="317" y="1017"/>
                  </a:cubicBezTo>
                  <a:cubicBezTo>
                    <a:pt x="312" y="1021"/>
                    <a:pt x="311" y="1019"/>
                    <a:pt x="309" y="1015"/>
                  </a:cubicBezTo>
                  <a:cubicBezTo>
                    <a:pt x="309" y="1013"/>
                    <a:pt x="308" y="1011"/>
                    <a:pt x="308" y="1008"/>
                  </a:cubicBezTo>
                  <a:cubicBezTo>
                    <a:pt x="306" y="1001"/>
                    <a:pt x="298" y="997"/>
                    <a:pt x="287" y="998"/>
                  </a:cubicBezTo>
                  <a:cubicBezTo>
                    <a:pt x="279" y="999"/>
                    <a:pt x="278" y="1004"/>
                    <a:pt x="278" y="1011"/>
                  </a:cubicBezTo>
                  <a:cubicBezTo>
                    <a:pt x="278" y="1037"/>
                    <a:pt x="278" y="1064"/>
                    <a:pt x="278" y="1091"/>
                  </a:cubicBezTo>
                  <a:cubicBezTo>
                    <a:pt x="278" y="1115"/>
                    <a:pt x="278" y="1140"/>
                    <a:pt x="278" y="1165"/>
                  </a:cubicBezTo>
                  <a:close/>
                  <a:moveTo>
                    <a:pt x="150" y="705"/>
                  </a:moveTo>
                  <a:cubicBezTo>
                    <a:pt x="150" y="734"/>
                    <a:pt x="145" y="730"/>
                    <a:pt x="176" y="731"/>
                  </a:cubicBezTo>
                  <a:cubicBezTo>
                    <a:pt x="185" y="731"/>
                    <a:pt x="187" y="727"/>
                    <a:pt x="187" y="719"/>
                  </a:cubicBezTo>
                  <a:cubicBezTo>
                    <a:pt x="187" y="685"/>
                    <a:pt x="187" y="651"/>
                    <a:pt x="187" y="618"/>
                  </a:cubicBezTo>
                  <a:cubicBezTo>
                    <a:pt x="187" y="597"/>
                    <a:pt x="204" y="578"/>
                    <a:pt x="225" y="574"/>
                  </a:cubicBezTo>
                  <a:cubicBezTo>
                    <a:pt x="232" y="572"/>
                    <a:pt x="240" y="574"/>
                    <a:pt x="247" y="575"/>
                  </a:cubicBezTo>
                  <a:cubicBezTo>
                    <a:pt x="257" y="576"/>
                    <a:pt x="261" y="572"/>
                    <a:pt x="265" y="564"/>
                  </a:cubicBezTo>
                  <a:cubicBezTo>
                    <a:pt x="269" y="556"/>
                    <a:pt x="267" y="542"/>
                    <a:pt x="261" y="540"/>
                  </a:cubicBezTo>
                  <a:cubicBezTo>
                    <a:pt x="253" y="538"/>
                    <a:pt x="244" y="534"/>
                    <a:pt x="237" y="536"/>
                  </a:cubicBezTo>
                  <a:cubicBezTo>
                    <a:pt x="228" y="537"/>
                    <a:pt x="217" y="537"/>
                    <a:pt x="209" y="544"/>
                  </a:cubicBezTo>
                  <a:cubicBezTo>
                    <a:pt x="204" y="549"/>
                    <a:pt x="198" y="553"/>
                    <a:pt x="194" y="558"/>
                  </a:cubicBezTo>
                  <a:cubicBezTo>
                    <a:pt x="192" y="561"/>
                    <a:pt x="189" y="563"/>
                    <a:pt x="185" y="562"/>
                  </a:cubicBezTo>
                  <a:cubicBezTo>
                    <a:pt x="182" y="561"/>
                    <a:pt x="182" y="558"/>
                    <a:pt x="182" y="556"/>
                  </a:cubicBezTo>
                  <a:cubicBezTo>
                    <a:pt x="180" y="539"/>
                    <a:pt x="179" y="539"/>
                    <a:pt x="162" y="539"/>
                  </a:cubicBezTo>
                  <a:cubicBezTo>
                    <a:pt x="151" y="539"/>
                    <a:pt x="150" y="540"/>
                    <a:pt x="150" y="551"/>
                  </a:cubicBezTo>
                  <a:cubicBezTo>
                    <a:pt x="150" y="579"/>
                    <a:pt x="150" y="607"/>
                    <a:pt x="150" y="635"/>
                  </a:cubicBezTo>
                  <a:cubicBezTo>
                    <a:pt x="150" y="658"/>
                    <a:pt x="149" y="682"/>
                    <a:pt x="150" y="705"/>
                  </a:cubicBezTo>
                  <a:close/>
                  <a:moveTo>
                    <a:pt x="1011" y="1049"/>
                  </a:moveTo>
                  <a:cubicBezTo>
                    <a:pt x="1011" y="1008"/>
                    <a:pt x="1011" y="966"/>
                    <a:pt x="1011" y="924"/>
                  </a:cubicBezTo>
                  <a:cubicBezTo>
                    <a:pt x="1011" y="913"/>
                    <a:pt x="1008" y="910"/>
                    <a:pt x="997" y="910"/>
                  </a:cubicBezTo>
                  <a:cubicBezTo>
                    <a:pt x="995" y="910"/>
                    <a:pt x="992" y="910"/>
                    <a:pt x="990" y="910"/>
                  </a:cubicBezTo>
                  <a:cubicBezTo>
                    <a:pt x="976" y="910"/>
                    <a:pt x="975" y="911"/>
                    <a:pt x="975" y="926"/>
                  </a:cubicBezTo>
                  <a:cubicBezTo>
                    <a:pt x="975" y="1006"/>
                    <a:pt x="975" y="1085"/>
                    <a:pt x="975" y="1165"/>
                  </a:cubicBezTo>
                  <a:cubicBezTo>
                    <a:pt x="975" y="1185"/>
                    <a:pt x="975" y="1185"/>
                    <a:pt x="994" y="1185"/>
                  </a:cubicBezTo>
                  <a:cubicBezTo>
                    <a:pt x="1009" y="1185"/>
                    <a:pt x="1011" y="1184"/>
                    <a:pt x="1011" y="1169"/>
                  </a:cubicBezTo>
                  <a:cubicBezTo>
                    <a:pt x="1011" y="1129"/>
                    <a:pt x="1011" y="1089"/>
                    <a:pt x="1011" y="1049"/>
                  </a:cubicBezTo>
                  <a:cubicBezTo>
                    <a:pt x="1011" y="1049"/>
                    <a:pt x="1011" y="1049"/>
                    <a:pt x="1011" y="1049"/>
                  </a:cubicBezTo>
                  <a:close/>
                  <a:moveTo>
                    <a:pt x="296" y="176"/>
                  </a:moveTo>
                  <a:cubicBezTo>
                    <a:pt x="296" y="201"/>
                    <a:pt x="296" y="226"/>
                    <a:pt x="296" y="251"/>
                  </a:cubicBezTo>
                  <a:cubicBezTo>
                    <a:pt x="295" y="276"/>
                    <a:pt x="296" y="274"/>
                    <a:pt x="318" y="274"/>
                  </a:cubicBezTo>
                  <a:cubicBezTo>
                    <a:pt x="330" y="274"/>
                    <a:pt x="331" y="274"/>
                    <a:pt x="331" y="260"/>
                  </a:cubicBezTo>
                  <a:cubicBezTo>
                    <a:pt x="331" y="232"/>
                    <a:pt x="331" y="204"/>
                    <a:pt x="331" y="176"/>
                  </a:cubicBezTo>
                  <a:cubicBezTo>
                    <a:pt x="331" y="165"/>
                    <a:pt x="331" y="155"/>
                    <a:pt x="337" y="145"/>
                  </a:cubicBezTo>
                  <a:cubicBezTo>
                    <a:pt x="349" y="123"/>
                    <a:pt x="359" y="117"/>
                    <a:pt x="377" y="118"/>
                  </a:cubicBezTo>
                  <a:cubicBezTo>
                    <a:pt x="383" y="118"/>
                    <a:pt x="389" y="119"/>
                    <a:pt x="395" y="120"/>
                  </a:cubicBezTo>
                  <a:cubicBezTo>
                    <a:pt x="401" y="120"/>
                    <a:pt x="407" y="118"/>
                    <a:pt x="408" y="112"/>
                  </a:cubicBezTo>
                  <a:cubicBezTo>
                    <a:pt x="409" y="103"/>
                    <a:pt x="415" y="93"/>
                    <a:pt x="407" y="85"/>
                  </a:cubicBezTo>
                  <a:cubicBezTo>
                    <a:pt x="406" y="84"/>
                    <a:pt x="404" y="84"/>
                    <a:pt x="402" y="84"/>
                  </a:cubicBezTo>
                  <a:cubicBezTo>
                    <a:pt x="376" y="78"/>
                    <a:pt x="353" y="82"/>
                    <a:pt x="337" y="106"/>
                  </a:cubicBezTo>
                  <a:cubicBezTo>
                    <a:pt x="336" y="108"/>
                    <a:pt x="335" y="110"/>
                    <a:pt x="333" y="109"/>
                  </a:cubicBezTo>
                  <a:cubicBezTo>
                    <a:pt x="331" y="109"/>
                    <a:pt x="330" y="107"/>
                    <a:pt x="330" y="105"/>
                  </a:cubicBezTo>
                  <a:cubicBezTo>
                    <a:pt x="329" y="101"/>
                    <a:pt x="329" y="97"/>
                    <a:pt x="328" y="94"/>
                  </a:cubicBezTo>
                  <a:cubicBezTo>
                    <a:pt x="325" y="85"/>
                    <a:pt x="318" y="82"/>
                    <a:pt x="303" y="84"/>
                  </a:cubicBezTo>
                  <a:cubicBezTo>
                    <a:pt x="297" y="84"/>
                    <a:pt x="295" y="86"/>
                    <a:pt x="295" y="92"/>
                  </a:cubicBezTo>
                  <a:cubicBezTo>
                    <a:pt x="296" y="120"/>
                    <a:pt x="295" y="148"/>
                    <a:pt x="295" y="176"/>
                  </a:cubicBezTo>
                  <a:cubicBezTo>
                    <a:pt x="296" y="176"/>
                    <a:pt x="296" y="176"/>
                    <a:pt x="296" y="176"/>
                  </a:cubicBezTo>
                  <a:close/>
                  <a:moveTo>
                    <a:pt x="946" y="179"/>
                  </a:moveTo>
                  <a:cubicBezTo>
                    <a:pt x="946" y="197"/>
                    <a:pt x="946" y="215"/>
                    <a:pt x="946" y="234"/>
                  </a:cubicBezTo>
                  <a:cubicBezTo>
                    <a:pt x="946" y="248"/>
                    <a:pt x="951" y="260"/>
                    <a:pt x="963" y="268"/>
                  </a:cubicBezTo>
                  <a:cubicBezTo>
                    <a:pt x="982" y="280"/>
                    <a:pt x="1011" y="277"/>
                    <a:pt x="1029" y="264"/>
                  </a:cubicBezTo>
                  <a:cubicBezTo>
                    <a:pt x="1036" y="259"/>
                    <a:pt x="1036" y="254"/>
                    <a:pt x="1032" y="248"/>
                  </a:cubicBezTo>
                  <a:cubicBezTo>
                    <a:pt x="1026" y="239"/>
                    <a:pt x="1020" y="238"/>
                    <a:pt x="1013" y="242"/>
                  </a:cubicBezTo>
                  <a:cubicBezTo>
                    <a:pt x="996" y="252"/>
                    <a:pt x="978" y="243"/>
                    <a:pt x="978" y="223"/>
                  </a:cubicBezTo>
                  <a:cubicBezTo>
                    <a:pt x="978" y="190"/>
                    <a:pt x="978" y="157"/>
                    <a:pt x="978" y="123"/>
                  </a:cubicBezTo>
                  <a:cubicBezTo>
                    <a:pt x="978" y="116"/>
                    <a:pt x="981" y="113"/>
                    <a:pt x="988" y="113"/>
                  </a:cubicBezTo>
                  <a:cubicBezTo>
                    <a:pt x="999" y="114"/>
                    <a:pt x="1011" y="113"/>
                    <a:pt x="1022" y="113"/>
                  </a:cubicBezTo>
                  <a:cubicBezTo>
                    <a:pt x="1028" y="113"/>
                    <a:pt x="1033" y="112"/>
                    <a:pt x="1033" y="104"/>
                  </a:cubicBezTo>
                  <a:cubicBezTo>
                    <a:pt x="1033" y="96"/>
                    <a:pt x="1032" y="90"/>
                    <a:pt x="1022" y="90"/>
                  </a:cubicBezTo>
                  <a:cubicBezTo>
                    <a:pt x="1011" y="90"/>
                    <a:pt x="1001" y="90"/>
                    <a:pt x="990" y="90"/>
                  </a:cubicBezTo>
                  <a:cubicBezTo>
                    <a:pt x="981" y="91"/>
                    <a:pt x="977" y="88"/>
                    <a:pt x="978" y="78"/>
                  </a:cubicBezTo>
                  <a:cubicBezTo>
                    <a:pt x="978" y="64"/>
                    <a:pt x="978" y="49"/>
                    <a:pt x="978" y="35"/>
                  </a:cubicBezTo>
                  <a:cubicBezTo>
                    <a:pt x="978" y="30"/>
                    <a:pt x="978" y="25"/>
                    <a:pt x="971" y="24"/>
                  </a:cubicBezTo>
                  <a:cubicBezTo>
                    <a:pt x="964" y="24"/>
                    <a:pt x="956" y="24"/>
                    <a:pt x="955" y="32"/>
                  </a:cubicBezTo>
                  <a:cubicBezTo>
                    <a:pt x="952" y="43"/>
                    <a:pt x="949" y="54"/>
                    <a:pt x="949" y="65"/>
                  </a:cubicBezTo>
                  <a:cubicBezTo>
                    <a:pt x="948" y="88"/>
                    <a:pt x="947" y="88"/>
                    <a:pt x="924" y="91"/>
                  </a:cubicBezTo>
                  <a:cubicBezTo>
                    <a:pt x="919" y="92"/>
                    <a:pt x="914" y="92"/>
                    <a:pt x="914" y="99"/>
                  </a:cubicBezTo>
                  <a:cubicBezTo>
                    <a:pt x="915" y="107"/>
                    <a:pt x="917" y="113"/>
                    <a:pt x="926" y="113"/>
                  </a:cubicBezTo>
                  <a:cubicBezTo>
                    <a:pt x="929" y="114"/>
                    <a:pt x="932" y="113"/>
                    <a:pt x="935" y="113"/>
                  </a:cubicBezTo>
                  <a:cubicBezTo>
                    <a:pt x="943" y="113"/>
                    <a:pt x="946" y="116"/>
                    <a:pt x="946" y="124"/>
                  </a:cubicBezTo>
                  <a:cubicBezTo>
                    <a:pt x="946" y="142"/>
                    <a:pt x="946" y="161"/>
                    <a:pt x="946" y="179"/>
                  </a:cubicBezTo>
                  <a:cubicBezTo>
                    <a:pt x="946" y="179"/>
                    <a:pt x="946" y="179"/>
                    <a:pt x="946" y="179"/>
                  </a:cubicBezTo>
                  <a:close/>
                </a:path>
              </a:pathLst>
            </a:custGeom>
            <a:solidFill>
              <a:srgbClr val="4C505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grpSp>
          <p:nvGrpSpPr>
            <p:cNvPr id="18" name="Group 4">
              <a:extLst>
                <a:ext uri="{FF2B5EF4-FFF2-40B4-BE49-F238E27FC236}">
                  <a16:creationId xmlns:a16="http://schemas.microsoft.com/office/drawing/2014/main" id="{57BD2C4C-DC67-B843-B26C-309622FC75F7}"/>
                </a:ext>
              </a:extLst>
            </p:cNvPr>
            <p:cNvGrpSpPr>
              <a:grpSpLocks noChangeAspect="1"/>
            </p:cNvGrpSpPr>
            <p:nvPr/>
          </p:nvGrpSpPr>
          <p:grpSpPr bwMode="gray">
            <a:xfrm>
              <a:off x="334963" y="296652"/>
              <a:ext cx="538094" cy="540000"/>
              <a:chOff x="2711" y="1027"/>
              <a:chExt cx="2258" cy="2266"/>
            </a:xfrm>
          </p:grpSpPr>
          <p:sp>
            <p:nvSpPr>
              <p:cNvPr id="19" name="AutoShape 3">
                <a:extLst>
                  <a:ext uri="{FF2B5EF4-FFF2-40B4-BE49-F238E27FC236}">
                    <a16:creationId xmlns:a16="http://schemas.microsoft.com/office/drawing/2014/main" id="{FE1DC41B-291E-574C-9F2C-874E70A40758}"/>
                  </a:ext>
                </a:extLst>
              </p:cNvPr>
              <p:cNvSpPr>
                <a:spLocks noChangeAspect="1" noChangeArrowheads="1" noTextEdit="1"/>
              </p:cNvSpPr>
              <p:nvPr/>
            </p:nvSpPr>
            <p:spPr bwMode="gray">
              <a:xfrm>
                <a:off x="2711" y="1027"/>
                <a:ext cx="2258" cy="22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20" name="Freeform 5">
                <a:extLst>
                  <a:ext uri="{FF2B5EF4-FFF2-40B4-BE49-F238E27FC236}">
                    <a16:creationId xmlns:a16="http://schemas.microsoft.com/office/drawing/2014/main" id="{D4B633C8-F761-C54B-9BD2-EB59D49A2DBC}"/>
                  </a:ext>
                </a:extLst>
              </p:cNvPr>
              <p:cNvSpPr>
                <a:spLocks/>
              </p:cNvSpPr>
              <p:nvPr/>
            </p:nvSpPr>
            <p:spPr bwMode="gray">
              <a:xfrm>
                <a:off x="2709" y="1029"/>
                <a:ext cx="2260" cy="2262"/>
              </a:xfrm>
              <a:custGeom>
                <a:avLst/>
                <a:gdLst>
                  <a:gd name="T0" fmla="*/ 2260 w 2260"/>
                  <a:gd name="T1" fmla="*/ 0 h 2262"/>
                  <a:gd name="T2" fmla="*/ 1612 w 2260"/>
                  <a:gd name="T3" fmla="*/ 649 h 2262"/>
                  <a:gd name="T4" fmla="*/ 1612 w 2260"/>
                  <a:gd name="T5" fmla="*/ 649 h 2262"/>
                  <a:gd name="T6" fmla="*/ 2035 w 2260"/>
                  <a:gd name="T7" fmla="*/ 0 h 2262"/>
                  <a:gd name="T8" fmla="*/ 0 w 2260"/>
                  <a:gd name="T9" fmla="*/ 0 h 2262"/>
                  <a:gd name="T10" fmla="*/ 0 w 2260"/>
                  <a:gd name="T11" fmla="*/ 2262 h 2262"/>
                  <a:gd name="T12" fmla="*/ 2260 w 2260"/>
                  <a:gd name="T13" fmla="*/ 2262 h 2262"/>
                  <a:gd name="T14" fmla="*/ 2260 w 2260"/>
                  <a:gd name="T15" fmla="*/ 0 h 2262"/>
                  <a:gd name="T16" fmla="*/ 2260 w 2260"/>
                  <a:gd name="T17" fmla="*/ 0 h 2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0" h="2262">
                    <a:moveTo>
                      <a:pt x="2260" y="0"/>
                    </a:moveTo>
                    <a:lnTo>
                      <a:pt x="1612" y="649"/>
                    </a:lnTo>
                    <a:lnTo>
                      <a:pt x="1612" y="649"/>
                    </a:lnTo>
                    <a:lnTo>
                      <a:pt x="2035" y="0"/>
                    </a:lnTo>
                    <a:lnTo>
                      <a:pt x="0" y="0"/>
                    </a:lnTo>
                    <a:lnTo>
                      <a:pt x="0" y="2262"/>
                    </a:lnTo>
                    <a:lnTo>
                      <a:pt x="2260" y="2262"/>
                    </a:lnTo>
                    <a:lnTo>
                      <a:pt x="2260" y="0"/>
                    </a:lnTo>
                    <a:lnTo>
                      <a:pt x="2260" y="0"/>
                    </a:lnTo>
                    <a:close/>
                  </a:path>
                </a:pathLst>
              </a:custGeom>
              <a:solidFill>
                <a:srgbClr val="E55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21" name="Freeform 6">
                <a:extLst>
                  <a:ext uri="{FF2B5EF4-FFF2-40B4-BE49-F238E27FC236}">
                    <a16:creationId xmlns:a16="http://schemas.microsoft.com/office/drawing/2014/main" id="{B16BAAE4-1A41-C843-9754-490F7A1E1270}"/>
                  </a:ext>
                </a:extLst>
              </p:cNvPr>
              <p:cNvSpPr>
                <a:spLocks noEditPoints="1"/>
              </p:cNvSpPr>
              <p:nvPr/>
            </p:nvSpPr>
            <p:spPr bwMode="gray">
              <a:xfrm>
                <a:off x="3623" y="1696"/>
                <a:ext cx="1167" cy="922"/>
              </a:xfrm>
              <a:custGeom>
                <a:avLst/>
                <a:gdLst>
                  <a:gd name="T0" fmla="*/ 411 w 580"/>
                  <a:gd name="T1" fmla="*/ 213 h 458"/>
                  <a:gd name="T2" fmla="*/ 570 w 580"/>
                  <a:gd name="T3" fmla="*/ 37 h 458"/>
                  <a:gd name="T4" fmla="*/ 580 w 580"/>
                  <a:gd name="T5" fmla="*/ 20 h 458"/>
                  <a:gd name="T6" fmla="*/ 545 w 580"/>
                  <a:gd name="T7" fmla="*/ 0 h 458"/>
                  <a:gd name="T8" fmla="*/ 519 w 580"/>
                  <a:gd name="T9" fmla="*/ 16 h 458"/>
                  <a:gd name="T10" fmla="*/ 344 w 580"/>
                  <a:gd name="T11" fmla="*/ 210 h 458"/>
                  <a:gd name="T12" fmla="*/ 334 w 580"/>
                  <a:gd name="T13" fmla="*/ 229 h 458"/>
                  <a:gd name="T14" fmla="*/ 344 w 580"/>
                  <a:gd name="T15" fmla="*/ 248 h 458"/>
                  <a:gd name="T16" fmla="*/ 519 w 580"/>
                  <a:gd name="T17" fmla="*/ 442 h 458"/>
                  <a:gd name="T18" fmla="*/ 545 w 580"/>
                  <a:gd name="T19" fmla="*/ 458 h 458"/>
                  <a:gd name="T20" fmla="*/ 580 w 580"/>
                  <a:gd name="T21" fmla="*/ 438 h 458"/>
                  <a:gd name="T22" fmla="*/ 570 w 580"/>
                  <a:gd name="T23" fmla="*/ 421 h 458"/>
                  <a:gd name="T24" fmla="*/ 411 w 580"/>
                  <a:gd name="T25" fmla="*/ 245 h 458"/>
                  <a:gd name="T26" fmla="*/ 399 w 580"/>
                  <a:gd name="T27" fmla="*/ 229 h 458"/>
                  <a:gd name="T28" fmla="*/ 411 w 580"/>
                  <a:gd name="T29" fmla="*/ 213 h 458"/>
                  <a:gd name="T30" fmla="*/ 252 w 580"/>
                  <a:gd name="T31" fmla="*/ 439 h 458"/>
                  <a:gd name="T32" fmla="*/ 281 w 580"/>
                  <a:gd name="T33" fmla="*/ 454 h 458"/>
                  <a:gd name="T34" fmla="*/ 309 w 580"/>
                  <a:gd name="T35" fmla="*/ 439 h 458"/>
                  <a:gd name="T36" fmla="*/ 309 w 580"/>
                  <a:gd name="T37" fmla="*/ 19 h 458"/>
                  <a:gd name="T38" fmla="*/ 281 w 580"/>
                  <a:gd name="T39" fmla="*/ 4 h 458"/>
                  <a:gd name="T40" fmla="*/ 252 w 580"/>
                  <a:gd name="T41" fmla="*/ 19 h 458"/>
                  <a:gd name="T42" fmla="*/ 252 w 580"/>
                  <a:gd name="T43" fmla="*/ 439 h 458"/>
                  <a:gd name="T44" fmla="*/ 0 w 580"/>
                  <a:gd name="T45" fmla="*/ 439 h 458"/>
                  <a:gd name="T46" fmla="*/ 28 w 580"/>
                  <a:gd name="T47" fmla="*/ 454 h 458"/>
                  <a:gd name="T48" fmla="*/ 56 w 580"/>
                  <a:gd name="T49" fmla="*/ 439 h 458"/>
                  <a:gd name="T50" fmla="*/ 56 w 580"/>
                  <a:gd name="T51" fmla="*/ 157 h 458"/>
                  <a:gd name="T52" fmla="*/ 165 w 580"/>
                  <a:gd name="T53" fmla="*/ 53 h 458"/>
                  <a:gd name="T54" fmla="*/ 180 w 580"/>
                  <a:gd name="T55" fmla="*/ 53 h 458"/>
                  <a:gd name="T56" fmla="*/ 196 w 580"/>
                  <a:gd name="T57" fmla="*/ 27 h 458"/>
                  <a:gd name="T58" fmla="*/ 154 w 580"/>
                  <a:gd name="T59" fmla="*/ 4 h 458"/>
                  <a:gd name="T60" fmla="*/ 0 w 580"/>
                  <a:gd name="T61" fmla="*/ 152 h 458"/>
                  <a:gd name="T62" fmla="*/ 0 w 580"/>
                  <a:gd name="T63" fmla="*/ 439 h 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80" h="458">
                    <a:moveTo>
                      <a:pt x="411" y="213"/>
                    </a:moveTo>
                    <a:cubicBezTo>
                      <a:pt x="570" y="37"/>
                      <a:pt x="570" y="37"/>
                      <a:pt x="570" y="37"/>
                    </a:cubicBezTo>
                    <a:cubicBezTo>
                      <a:pt x="576" y="30"/>
                      <a:pt x="580" y="25"/>
                      <a:pt x="580" y="20"/>
                    </a:cubicBezTo>
                    <a:cubicBezTo>
                      <a:pt x="580" y="10"/>
                      <a:pt x="559" y="0"/>
                      <a:pt x="545" y="0"/>
                    </a:cubicBezTo>
                    <a:cubicBezTo>
                      <a:pt x="535" y="0"/>
                      <a:pt x="526" y="8"/>
                      <a:pt x="519" y="16"/>
                    </a:cubicBezTo>
                    <a:cubicBezTo>
                      <a:pt x="344" y="210"/>
                      <a:pt x="344" y="210"/>
                      <a:pt x="344" y="210"/>
                    </a:cubicBezTo>
                    <a:cubicBezTo>
                      <a:pt x="336" y="219"/>
                      <a:pt x="334" y="224"/>
                      <a:pt x="334" y="229"/>
                    </a:cubicBezTo>
                    <a:cubicBezTo>
                      <a:pt x="334" y="234"/>
                      <a:pt x="336" y="239"/>
                      <a:pt x="344" y="248"/>
                    </a:cubicBezTo>
                    <a:cubicBezTo>
                      <a:pt x="519" y="442"/>
                      <a:pt x="519" y="442"/>
                      <a:pt x="519" y="442"/>
                    </a:cubicBezTo>
                    <a:cubicBezTo>
                      <a:pt x="526" y="450"/>
                      <a:pt x="535" y="458"/>
                      <a:pt x="545" y="458"/>
                    </a:cubicBezTo>
                    <a:cubicBezTo>
                      <a:pt x="559" y="458"/>
                      <a:pt x="580" y="448"/>
                      <a:pt x="580" y="438"/>
                    </a:cubicBezTo>
                    <a:cubicBezTo>
                      <a:pt x="580" y="433"/>
                      <a:pt x="576" y="428"/>
                      <a:pt x="570" y="421"/>
                    </a:cubicBezTo>
                    <a:cubicBezTo>
                      <a:pt x="411" y="245"/>
                      <a:pt x="411" y="245"/>
                      <a:pt x="411" y="245"/>
                    </a:cubicBezTo>
                    <a:cubicBezTo>
                      <a:pt x="403" y="236"/>
                      <a:pt x="399" y="232"/>
                      <a:pt x="399" y="229"/>
                    </a:cubicBezTo>
                    <a:cubicBezTo>
                      <a:pt x="399" y="226"/>
                      <a:pt x="403" y="222"/>
                      <a:pt x="411" y="213"/>
                    </a:cubicBezTo>
                    <a:moveTo>
                      <a:pt x="252" y="439"/>
                    </a:moveTo>
                    <a:cubicBezTo>
                      <a:pt x="252" y="449"/>
                      <a:pt x="261" y="454"/>
                      <a:pt x="281" y="454"/>
                    </a:cubicBezTo>
                    <a:cubicBezTo>
                      <a:pt x="300" y="454"/>
                      <a:pt x="309" y="449"/>
                      <a:pt x="309" y="439"/>
                    </a:cubicBezTo>
                    <a:cubicBezTo>
                      <a:pt x="309" y="19"/>
                      <a:pt x="309" y="19"/>
                      <a:pt x="309" y="19"/>
                    </a:cubicBezTo>
                    <a:cubicBezTo>
                      <a:pt x="309" y="9"/>
                      <a:pt x="300" y="4"/>
                      <a:pt x="281" y="4"/>
                    </a:cubicBezTo>
                    <a:cubicBezTo>
                      <a:pt x="261" y="4"/>
                      <a:pt x="252" y="9"/>
                      <a:pt x="252" y="19"/>
                    </a:cubicBezTo>
                    <a:lnTo>
                      <a:pt x="252" y="439"/>
                    </a:lnTo>
                    <a:close/>
                    <a:moveTo>
                      <a:pt x="0" y="439"/>
                    </a:moveTo>
                    <a:cubicBezTo>
                      <a:pt x="0" y="449"/>
                      <a:pt x="8" y="454"/>
                      <a:pt x="28" y="454"/>
                    </a:cubicBezTo>
                    <a:cubicBezTo>
                      <a:pt x="48" y="454"/>
                      <a:pt x="56" y="449"/>
                      <a:pt x="56" y="439"/>
                    </a:cubicBezTo>
                    <a:cubicBezTo>
                      <a:pt x="56" y="157"/>
                      <a:pt x="56" y="157"/>
                      <a:pt x="56" y="157"/>
                    </a:cubicBezTo>
                    <a:cubicBezTo>
                      <a:pt x="56" y="83"/>
                      <a:pt x="85" y="53"/>
                      <a:pt x="165" y="53"/>
                    </a:cubicBezTo>
                    <a:cubicBezTo>
                      <a:pt x="180" y="53"/>
                      <a:pt x="180" y="53"/>
                      <a:pt x="180" y="53"/>
                    </a:cubicBezTo>
                    <a:cubicBezTo>
                      <a:pt x="192" y="53"/>
                      <a:pt x="196" y="43"/>
                      <a:pt x="196" y="27"/>
                    </a:cubicBezTo>
                    <a:cubicBezTo>
                      <a:pt x="196" y="8"/>
                      <a:pt x="185" y="4"/>
                      <a:pt x="154" y="4"/>
                    </a:cubicBezTo>
                    <a:cubicBezTo>
                      <a:pt x="64" y="4"/>
                      <a:pt x="0" y="43"/>
                      <a:pt x="0" y="152"/>
                    </a:cubicBezTo>
                    <a:lnTo>
                      <a:pt x="0" y="43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22" name="Freeform 7">
                <a:extLst>
                  <a:ext uri="{FF2B5EF4-FFF2-40B4-BE49-F238E27FC236}">
                    <a16:creationId xmlns:a16="http://schemas.microsoft.com/office/drawing/2014/main" id="{2F32DCBD-8628-F245-85CD-97686A20ECFD}"/>
                  </a:ext>
                </a:extLst>
              </p:cNvPr>
              <p:cNvSpPr>
                <a:spLocks/>
              </p:cNvSpPr>
              <p:nvPr/>
            </p:nvSpPr>
            <p:spPr bwMode="gray">
              <a:xfrm>
                <a:off x="2880" y="1704"/>
                <a:ext cx="618" cy="916"/>
              </a:xfrm>
              <a:custGeom>
                <a:avLst/>
                <a:gdLst>
                  <a:gd name="T0" fmla="*/ 307 w 307"/>
                  <a:gd name="T1" fmla="*/ 405 h 455"/>
                  <a:gd name="T2" fmla="*/ 307 w 307"/>
                  <a:gd name="T3" fmla="*/ 244 h 455"/>
                  <a:gd name="T4" fmla="*/ 279 w 307"/>
                  <a:gd name="T5" fmla="*/ 229 h 455"/>
                  <a:gd name="T6" fmla="*/ 250 w 307"/>
                  <a:gd name="T7" fmla="*/ 244 h 455"/>
                  <a:gd name="T8" fmla="*/ 250 w 307"/>
                  <a:gd name="T9" fmla="*/ 378 h 455"/>
                  <a:gd name="T10" fmla="*/ 199 w 307"/>
                  <a:gd name="T11" fmla="*/ 408 h 455"/>
                  <a:gd name="T12" fmla="*/ 61 w 307"/>
                  <a:gd name="T13" fmla="*/ 231 h 455"/>
                  <a:gd name="T14" fmla="*/ 238 w 307"/>
                  <a:gd name="T15" fmla="*/ 49 h 455"/>
                  <a:gd name="T16" fmla="*/ 270 w 307"/>
                  <a:gd name="T17" fmla="*/ 49 h 455"/>
                  <a:gd name="T18" fmla="*/ 286 w 307"/>
                  <a:gd name="T19" fmla="*/ 23 h 455"/>
                  <a:gd name="T20" fmla="*/ 244 w 307"/>
                  <a:gd name="T21" fmla="*/ 0 h 455"/>
                  <a:gd name="T22" fmla="*/ 231 w 307"/>
                  <a:gd name="T23" fmla="*/ 0 h 455"/>
                  <a:gd name="T24" fmla="*/ 0 w 307"/>
                  <a:gd name="T25" fmla="*/ 232 h 455"/>
                  <a:gd name="T26" fmla="*/ 198 w 307"/>
                  <a:gd name="T27" fmla="*/ 455 h 455"/>
                  <a:gd name="T28" fmla="*/ 307 w 307"/>
                  <a:gd name="T29" fmla="*/ 405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7" h="455">
                    <a:moveTo>
                      <a:pt x="307" y="405"/>
                    </a:moveTo>
                    <a:cubicBezTo>
                      <a:pt x="307" y="244"/>
                      <a:pt x="307" y="244"/>
                      <a:pt x="307" y="244"/>
                    </a:cubicBezTo>
                    <a:cubicBezTo>
                      <a:pt x="307" y="234"/>
                      <a:pt x="298" y="229"/>
                      <a:pt x="279" y="229"/>
                    </a:cubicBezTo>
                    <a:cubicBezTo>
                      <a:pt x="259" y="229"/>
                      <a:pt x="250" y="234"/>
                      <a:pt x="250" y="244"/>
                    </a:cubicBezTo>
                    <a:cubicBezTo>
                      <a:pt x="250" y="378"/>
                      <a:pt x="250" y="378"/>
                      <a:pt x="250" y="378"/>
                    </a:cubicBezTo>
                    <a:cubicBezTo>
                      <a:pt x="250" y="399"/>
                      <a:pt x="241" y="408"/>
                      <a:pt x="199" y="408"/>
                    </a:cubicBezTo>
                    <a:cubicBezTo>
                      <a:pt x="114" y="408"/>
                      <a:pt x="61" y="342"/>
                      <a:pt x="61" y="231"/>
                    </a:cubicBezTo>
                    <a:cubicBezTo>
                      <a:pt x="61" y="115"/>
                      <a:pt x="126" y="49"/>
                      <a:pt x="238" y="49"/>
                    </a:cubicBezTo>
                    <a:cubicBezTo>
                      <a:pt x="270" y="49"/>
                      <a:pt x="270" y="49"/>
                      <a:pt x="270" y="49"/>
                    </a:cubicBezTo>
                    <a:cubicBezTo>
                      <a:pt x="282" y="49"/>
                      <a:pt x="286" y="39"/>
                      <a:pt x="286" y="23"/>
                    </a:cubicBezTo>
                    <a:cubicBezTo>
                      <a:pt x="286" y="4"/>
                      <a:pt x="275" y="0"/>
                      <a:pt x="244" y="0"/>
                    </a:cubicBezTo>
                    <a:cubicBezTo>
                      <a:pt x="231" y="0"/>
                      <a:pt x="231" y="0"/>
                      <a:pt x="231" y="0"/>
                    </a:cubicBezTo>
                    <a:cubicBezTo>
                      <a:pt x="101" y="0"/>
                      <a:pt x="0" y="71"/>
                      <a:pt x="0" y="232"/>
                    </a:cubicBezTo>
                    <a:cubicBezTo>
                      <a:pt x="0" y="386"/>
                      <a:pt x="88" y="455"/>
                      <a:pt x="198" y="455"/>
                    </a:cubicBezTo>
                    <a:cubicBezTo>
                      <a:pt x="286" y="455"/>
                      <a:pt x="307" y="430"/>
                      <a:pt x="307" y="40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23" name="Oval 8">
                <a:extLst>
                  <a:ext uri="{FF2B5EF4-FFF2-40B4-BE49-F238E27FC236}">
                    <a16:creationId xmlns:a16="http://schemas.microsoft.com/office/drawing/2014/main" id="{60D97C11-1A3B-5449-A48D-98A3E79B3810}"/>
                  </a:ext>
                </a:extLst>
              </p:cNvPr>
              <p:cNvSpPr>
                <a:spLocks noChangeArrowheads="1"/>
              </p:cNvSpPr>
              <p:nvPr/>
            </p:nvSpPr>
            <p:spPr bwMode="gray">
              <a:xfrm>
                <a:off x="3778" y="2099"/>
                <a:ext cx="122" cy="12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24" name="Freeform 9">
                <a:extLst>
                  <a:ext uri="{FF2B5EF4-FFF2-40B4-BE49-F238E27FC236}">
                    <a16:creationId xmlns:a16="http://schemas.microsoft.com/office/drawing/2014/main" id="{5856770D-B8F0-244E-A05D-AED190086F10}"/>
                  </a:ext>
                </a:extLst>
              </p:cNvPr>
              <p:cNvSpPr>
                <a:spLocks noEditPoints="1"/>
              </p:cNvSpPr>
              <p:nvPr/>
            </p:nvSpPr>
            <p:spPr bwMode="gray">
              <a:xfrm>
                <a:off x="3623" y="1696"/>
                <a:ext cx="1167" cy="922"/>
              </a:xfrm>
              <a:custGeom>
                <a:avLst/>
                <a:gdLst>
                  <a:gd name="T0" fmla="*/ 411 w 580"/>
                  <a:gd name="T1" fmla="*/ 213 h 458"/>
                  <a:gd name="T2" fmla="*/ 570 w 580"/>
                  <a:gd name="T3" fmla="*/ 37 h 458"/>
                  <a:gd name="T4" fmla="*/ 580 w 580"/>
                  <a:gd name="T5" fmla="*/ 20 h 458"/>
                  <a:gd name="T6" fmla="*/ 545 w 580"/>
                  <a:gd name="T7" fmla="*/ 0 h 458"/>
                  <a:gd name="T8" fmla="*/ 519 w 580"/>
                  <a:gd name="T9" fmla="*/ 16 h 458"/>
                  <a:gd name="T10" fmla="*/ 344 w 580"/>
                  <a:gd name="T11" fmla="*/ 210 h 458"/>
                  <a:gd name="T12" fmla="*/ 334 w 580"/>
                  <a:gd name="T13" fmla="*/ 229 h 458"/>
                  <a:gd name="T14" fmla="*/ 344 w 580"/>
                  <a:gd name="T15" fmla="*/ 248 h 458"/>
                  <a:gd name="T16" fmla="*/ 519 w 580"/>
                  <a:gd name="T17" fmla="*/ 442 h 458"/>
                  <a:gd name="T18" fmla="*/ 545 w 580"/>
                  <a:gd name="T19" fmla="*/ 458 h 458"/>
                  <a:gd name="T20" fmla="*/ 580 w 580"/>
                  <a:gd name="T21" fmla="*/ 438 h 458"/>
                  <a:gd name="T22" fmla="*/ 570 w 580"/>
                  <a:gd name="T23" fmla="*/ 421 h 458"/>
                  <a:gd name="T24" fmla="*/ 411 w 580"/>
                  <a:gd name="T25" fmla="*/ 245 h 458"/>
                  <a:gd name="T26" fmla="*/ 399 w 580"/>
                  <a:gd name="T27" fmla="*/ 229 h 458"/>
                  <a:gd name="T28" fmla="*/ 411 w 580"/>
                  <a:gd name="T29" fmla="*/ 213 h 458"/>
                  <a:gd name="T30" fmla="*/ 252 w 580"/>
                  <a:gd name="T31" fmla="*/ 439 h 458"/>
                  <a:gd name="T32" fmla="*/ 281 w 580"/>
                  <a:gd name="T33" fmla="*/ 454 h 458"/>
                  <a:gd name="T34" fmla="*/ 309 w 580"/>
                  <a:gd name="T35" fmla="*/ 439 h 458"/>
                  <a:gd name="T36" fmla="*/ 309 w 580"/>
                  <a:gd name="T37" fmla="*/ 19 h 458"/>
                  <a:gd name="T38" fmla="*/ 281 w 580"/>
                  <a:gd name="T39" fmla="*/ 4 h 458"/>
                  <a:gd name="T40" fmla="*/ 252 w 580"/>
                  <a:gd name="T41" fmla="*/ 19 h 458"/>
                  <a:gd name="T42" fmla="*/ 252 w 580"/>
                  <a:gd name="T43" fmla="*/ 439 h 458"/>
                  <a:gd name="T44" fmla="*/ 0 w 580"/>
                  <a:gd name="T45" fmla="*/ 439 h 458"/>
                  <a:gd name="T46" fmla="*/ 28 w 580"/>
                  <a:gd name="T47" fmla="*/ 454 h 458"/>
                  <a:gd name="T48" fmla="*/ 56 w 580"/>
                  <a:gd name="T49" fmla="*/ 439 h 458"/>
                  <a:gd name="T50" fmla="*/ 56 w 580"/>
                  <a:gd name="T51" fmla="*/ 157 h 458"/>
                  <a:gd name="T52" fmla="*/ 165 w 580"/>
                  <a:gd name="T53" fmla="*/ 53 h 458"/>
                  <a:gd name="T54" fmla="*/ 180 w 580"/>
                  <a:gd name="T55" fmla="*/ 53 h 458"/>
                  <a:gd name="T56" fmla="*/ 196 w 580"/>
                  <a:gd name="T57" fmla="*/ 27 h 458"/>
                  <a:gd name="T58" fmla="*/ 154 w 580"/>
                  <a:gd name="T59" fmla="*/ 4 h 458"/>
                  <a:gd name="T60" fmla="*/ 0 w 580"/>
                  <a:gd name="T61" fmla="*/ 152 h 458"/>
                  <a:gd name="T62" fmla="*/ 0 w 580"/>
                  <a:gd name="T63" fmla="*/ 439 h 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80" h="458">
                    <a:moveTo>
                      <a:pt x="411" y="213"/>
                    </a:moveTo>
                    <a:cubicBezTo>
                      <a:pt x="570" y="37"/>
                      <a:pt x="570" y="37"/>
                      <a:pt x="570" y="37"/>
                    </a:cubicBezTo>
                    <a:cubicBezTo>
                      <a:pt x="576" y="30"/>
                      <a:pt x="580" y="25"/>
                      <a:pt x="580" y="20"/>
                    </a:cubicBezTo>
                    <a:cubicBezTo>
                      <a:pt x="580" y="10"/>
                      <a:pt x="559" y="0"/>
                      <a:pt x="545" y="0"/>
                    </a:cubicBezTo>
                    <a:cubicBezTo>
                      <a:pt x="535" y="0"/>
                      <a:pt x="526" y="8"/>
                      <a:pt x="519" y="16"/>
                    </a:cubicBezTo>
                    <a:cubicBezTo>
                      <a:pt x="344" y="210"/>
                      <a:pt x="344" y="210"/>
                      <a:pt x="344" y="210"/>
                    </a:cubicBezTo>
                    <a:cubicBezTo>
                      <a:pt x="336" y="219"/>
                      <a:pt x="334" y="224"/>
                      <a:pt x="334" y="229"/>
                    </a:cubicBezTo>
                    <a:cubicBezTo>
                      <a:pt x="334" y="234"/>
                      <a:pt x="336" y="239"/>
                      <a:pt x="344" y="248"/>
                    </a:cubicBezTo>
                    <a:cubicBezTo>
                      <a:pt x="519" y="442"/>
                      <a:pt x="519" y="442"/>
                      <a:pt x="519" y="442"/>
                    </a:cubicBezTo>
                    <a:cubicBezTo>
                      <a:pt x="526" y="450"/>
                      <a:pt x="535" y="458"/>
                      <a:pt x="545" y="458"/>
                    </a:cubicBezTo>
                    <a:cubicBezTo>
                      <a:pt x="559" y="458"/>
                      <a:pt x="580" y="448"/>
                      <a:pt x="580" y="438"/>
                    </a:cubicBezTo>
                    <a:cubicBezTo>
                      <a:pt x="580" y="433"/>
                      <a:pt x="576" y="428"/>
                      <a:pt x="570" y="421"/>
                    </a:cubicBezTo>
                    <a:cubicBezTo>
                      <a:pt x="411" y="245"/>
                      <a:pt x="411" y="245"/>
                      <a:pt x="411" y="245"/>
                    </a:cubicBezTo>
                    <a:cubicBezTo>
                      <a:pt x="403" y="236"/>
                      <a:pt x="399" y="232"/>
                      <a:pt x="399" y="229"/>
                    </a:cubicBezTo>
                    <a:cubicBezTo>
                      <a:pt x="399" y="226"/>
                      <a:pt x="403" y="222"/>
                      <a:pt x="411" y="213"/>
                    </a:cubicBezTo>
                    <a:moveTo>
                      <a:pt x="252" y="439"/>
                    </a:moveTo>
                    <a:cubicBezTo>
                      <a:pt x="252" y="449"/>
                      <a:pt x="261" y="454"/>
                      <a:pt x="281" y="454"/>
                    </a:cubicBezTo>
                    <a:cubicBezTo>
                      <a:pt x="300" y="454"/>
                      <a:pt x="309" y="449"/>
                      <a:pt x="309" y="439"/>
                    </a:cubicBezTo>
                    <a:cubicBezTo>
                      <a:pt x="309" y="19"/>
                      <a:pt x="309" y="19"/>
                      <a:pt x="309" y="19"/>
                    </a:cubicBezTo>
                    <a:cubicBezTo>
                      <a:pt x="309" y="9"/>
                      <a:pt x="300" y="4"/>
                      <a:pt x="281" y="4"/>
                    </a:cubicBezTo>
                    <a:cubicBezTo>
                      <a:pt x="261" y="4"/>
                      <a:pt x="252" y="9"/>
                      <a:pt x="252" y="19"/>
                    </a:cubicBezTo>
                    <a:lnTo>
                      <a:pt x="252" y="439"/>
                    </a:lnTo>
                    <a:close/>
                    <a:moveTo>
                      <a:pt x="0" y="439"/>
                    </a:moveTo>
                    <a:cubicBezTo>
                      <a:pt x="0" y="449"/>
                      <a:pt x="8" y="454"/>
                      <a:pt x="28" y="454"/>
                    </a:cubicBezTo>
                    <a:cubicBezTo>
                      <a:pt x="48" y="454"/>
                      <a:pt x="56" y="449"/>
                      <a:pt x="56" y="439"/>
                    </a:cubicBezTo>
                    <a:cubicBezTo>
                      <a:pt x="56" y="157"/>
                      <a:pt x="56" y="157"/>
                      <a:pt x="56" y="157"/>
                    </a:cubicBezTo>
                    <a:cubicBezTo>
                      <a:pt x="56" y="83"/>
                      <a:pt x="85" y="53"/>
                      <a:pt x="165" y="53"/>
                    </a:cubicBezTo>
                    <a:cubicBezTo>
                      <a:pt x="180" y="53"/>
                      <a:pt x="180" y="53"/>
                      <a:pt x="180" y="53"/>
                    </a:cubicBezTo>
                    <a:cubicBezTo>
                      <a:pt x="192" y="53"/>
                      <a:pt x="196" y="43"/>
                      <a:pt x="196" y="27"/>
                    </a:cubicBezTo>
                    <a:cubicBezTo>
                      <a:pt x="196" y="8"/>
                      <a:pt x="185" y="4"/>
                      <a:pt x="154" y="4"/>
                    </a:cubicBezTo>
                    <a:cubicBezTo>
                      <a:pt x="64" y="4"/>
                      <a:pt x="0" y="43"/>
                      <a:pt x="0" y="152"/>
                    </a:cubicBezTo>
                    <a:lnTo>
                      <a:pt x="0" y="43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25" name="Freeform 10">
                <a:extLst>
                  <a:ext uri="{FF2B5EF4-FFF2-40B4-BE49-F238E27FC236}">
                    <a16:creationId xmlns:a16="http://schemas.microsoft.com/office/drawing/2014/main" id="{2B91B16B-BC11-E547-8FAC-B9B8D18EA449}"/>
                  </a:ext>
                </a:extLst>
              </p:cNvPr>
              <p:cNvSpPr>
                <a:spLocks/>
              </p:cNvSpPr>
              <p:nvPr/>
            </p:nvSpPr>
            <p:spPr bwMode="gray">
              <a:xfrm>
                <a:off x="2880" y="1704"/>
                <a:ext cx="618" cy="916"/>
              </a:xfrm>
              <a:custGeom>
                <a:avLst/>
                <a:gdLst>
                  <a:gd name="T0" fmla="*/ 307 w 307"/>
                  <a:gd name="T1" fmla="*/ 405 h 455"/>
                  <a:gd name="T2" fmla="*/ 307 w 307"/>
                  <a:gd name="T3" fmla="*/ 244 h 455"/>
                  <a:gd name="T4" fmla="*/ 279 w 307"/>
                  <a:gd name="T5" fmla="*/ 229 h 455"/>
                  <a:gd name="T6" fmla="*/ 250 w 307"/>
                  <a:gd name="T7" fmla="*/ 244 h 455"/>
                  <a:gd name="T8" fmla="*/ 250 w 307"/>
                  <a:gd name="T9" fmla="*/ 378 h 455"/>
                  <a:gd name="T10" fmla="*/ 199 w 307"/>
                  <a:gd name="T11" fmla="*/ 408 h 455"/>
                  <a:gd name="T12" fmla="*/ 61 w 307"/>
                  <a:gd name="T13" fmla="*/ 231 h 455"/>
                  <a:gd name="T14" fmla="*/ 238 w 307"/>
                  <a:gd name="T15" fmla="*/ 49 h 455"/>
                  <a:gd name="T16" fmla="*/ 270 w 307"/>
                  <a:gd name="T17" fmla="*/ 49 h 455"/>
                  <a:gd name="T18" fmla="*/ 286 w 307"/>
                  <a:gd name="T19" fmla="*/ 23 h 455"/>
                  <a:gd name="T20" fmla="*/ 244 w 307"/>
                  <a:gd name="T21" fmla="*/ 0 h 455"/>
                  <a:gd name="T22" fmla="*/ 231 w 307"/>
                  <a:gd name="T23" fmla="*/ 0 h 455"/>
                  <a:gd name="T24" fmla="*/ 0 w 307"/>
                  <a:gd name="T25" fmla="*/ 232 h 455"/>
                  <a:gd name="T26" fmla="*/ 198 w 307"/>
                  <a:gd name="T27" fmla="*/ 455 h 455"/>
                  <a:gd name="T28" fmla="*/ 307 w 307"/>
                  <a:gd name="T29" fmla="*/ 405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7" h="455">
                    <a:moveTo>
                      <a:pt x="307" y="405"/>
                    </a:moveTo>
                    <a:cubicBezTo>
                      <a:pt x="307" y="244"/>
                      <a:pt x="307" y="244"/>
                      <a:pt x="307" y="244"/>
                    </a:cubicBezTo>
                    <a:cubicBezTo>
                      <a:pt x="307" y="234"/>
                      <a:pt x="298" y="229"/>
                      <a:pt x="279" y="229"/>
                    </a:cubicBezTo>
                    <a:cubicBezTo>
                      <a:pt x="259" y="229"/>
                      <a:pt x="250" y="234"/>
                      <a:pt x="250" y="244"/>
                    </a:cubicBezTo>
                    <a:cubicBezTo>
                      <a:pt x="250" y="378"/>
                      <a:pt x="250" y="378"/>
                      <a:pt x="250" y="378"/>
                    </a:cubicBezTo>
                    <a:cubicBezTo>
                      <a:pt x="250" y="399"/>
                      <a:pt x="241" y="408"/>
                      <a:pt x="199" y="408"/>
                    </a:cubicBezTo>
                    <a:cubicBezTo>
                      <a:pt x="114" y="408"/>
                      <a:pt x="61" y="342"/>
                      <a:pt x="61" y="231"/>
                    </a:cubicBezTo>
                    <a:cubicBezTo>
                      <a:pt x="61" y="115"/>
                      <a:pt x="126" y="49"/>
                      <a:pt x="238" y="49"/>
                    </a:cubicBezTo>
                    <a:cubicBezTo>
                      <a:pt x="270" y="49"/>
                      <a:pt x="270" y="49"/>
                      <a:pt x="270" y="49"/>
                    </a:cubicBezTo>
                    <a:cubicBezTo>
                      <a:pt x="282" y="49"/>
                      <a:pt x="286" y="39"/>
                      <a:pt x="286" y="23"/>
                    </a:cubicBezTo>
                    <a:cubicBezTo>
                      <a:pt x="286" y="4"/>
                      <a:pt x="275" y="0"/>
                      <a:pt x="244" y="0"/>
                    </a:cubicBezTo>
                    <a:cubicBezTo>
                      <a:pt x="231" y="0"/>
                      <a:pt x="231" y="0"/>
                      <a:pt x="231" y="0"/>
                    </a:cubicBezTo>
                    <a:cubicBezTo>
                      <a:pt x="101" y="0"/>
                      <a:pt x="0" y="71"/>
                      <a:pt x="0" y="232"/>
                    </a:cubicBezTo>
                    <a:cubicBezTo>
                      <a:pt x="0" y="386"/>
                      <a:pt x="88" y="455"/>
                      <a:pt x="198" y="455"/>
                    </a:cubicBezTo>
                    <a:cubicBezTo>
                      <a:pt x="286" y="455"/>
                      <a:pt x="307" y="430"/>
                      <a:pt x="307" y="40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26" name="Oval 11">
                <a:extLst>
                  <a:ext uri="{FF2B5EF4-FFF2-40B4-BE49-F238E27FC236}">
                    <a16:creationId xmlns:a16="http://schemas.microsoft.com/office/drawing/2014/main" id="{14F8C3C8-4888-7646-B9B4-64EB46A1DA23}"/>
                  </a:ext>
                </a:extLst>
              </p:cNvPr>
              <p:cNvSpPr>
                <a:spLocks noChangeArrowheads="1"/>
              </p:cNvSpPr>
              <p:nvPr/>
            </p:nvSpPr>
            <p:spPr bwMode="gray">
              <a:xfrm>
                <a:off x="3778" y="2099"/>
                <a:ext cx="122" cy="12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27" name="Freeform 12">
                <a:extLst>
                  <a:ext uri="{FF2B5EF4-FFF2-40B4-BE49-F238E27FC236}">
                    <a16:creationId xmlns:a16="http://schemas.microsoft.com/office/drawing/2014/main" id="{D79D01D1-4E3E-F34B-97D7-2D387E68746E}"/>
                  </a:ext>
                </a:extLst>
              </p:cNvPr>
              <p:cNvSpPr>
                <a:spLocks/>
              </p:cNvSpPr>
              <p:nvPr/>
            </p:nvSpPr>
            <p:spPr bwMode="gray">
              <a:xfrm>
                <a:off x="4321" y="1029"/>
                <a:ext cx="648" cy="649"/>
              </a:xfrm>
              <a:custGeom>
                <a:avLst/>
                <a:gdLst>
                  <a:gd name="T0" fmla="*/ 0 w 648"/>
                  <a:gd name="T1" fmla="*/ 649 h 649"/>
                  <a:gd name="T2" fmla="*/ 2 w 648"/>
                  <a:gd name="T3" fmla="*/ 649 h 649"/>
                  <a:gd name="T4" fmla="*/ 648 w 648"/>
                  <a:gd name="T5" fmla="*/ 0 h 649"/>
                  <a:gd name="T6" fmla="*/ 423 w 648"/>
                  <a:gd name="T7" fmla="*/ 0 h 649"/>
                  <a:gd name="T8" fmla="*/ 0 w 648"/>
                  <a:gd name="T9" fmla="*/ 649 h 649"/>
                </a:gdLst>
                <a:ahLst/>
                <a:cxnLst>
                  <a:cxn ang="0">
                    <a:pos x="T0" y="T1"/>
                  </a:cxn>
                  <a:cxn ang="0">
                    <a:pos x="T2" y="T3"/>
                  </a:cxn>
                  <a:cxn ang="0">
                    <a:pos x="T4" y="T5"/>
                  </a:cxn>
                  <a:cxn ang="0">
                    <a:pos x="T6" y="T7"/>
                  </a:cxn>
                  <a:cxn ang="0">
                    <a:pos x="T8" y="T9"/>
                  </a:cxn>
                </a:cxnLst>
                <a:rect l="0" t="0" r="r" b="b"/>
                <a:pathLst>
                  <a:path w="648" h="649">
                    <a:moveTo>
                      <a:pt x="0" y="649"/>
                    </a:moveTo>
                    <a:lnTo>
                      <a:pt x="2" y="649"/>
                    </a:lnTo>
                    <a:lnTo>
                      <a:pt x="648" y="0"/>
                    </a:lnTo>
                    <a:lnTo>
                      <a:pt x="423" y="0"/>
                    </a:lnTo>
                    <a:lnTo>
                      <a:pt x="0" y="64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28" name="Freeform 13">
                <a:extLst>
                  <a:ext uri="{FF2B5EF4-FFF2-40B4-BE49-F238E27FC236}">
                    <a16:creationId xmlns:a16="http://schemas.microsoft.com/office/drawing/2014/main" id="{46549898-6C52-B147-A8F6-A73FDBE6163B}"/>
                  </a:ext>
                </a:extLst>
              </p:cNvPr>
              <p:cNvSpPr>
                <a:spLocks/>
              </p:cNvSpPr>
              <p:nvPr/>
            </p:nvSpPr>
            <p:spPr bwMode="gray">
              <a:xfrm>
                <a:off x="4321" y="1029"/>
                <a:ext cx="648" cy="649"/>
              </a:xfrm>
              <a:custGeom>
                <a:avLst/>
                <a:gdLst>
                  <a:gd name="T0" fmla="*/ 0 w 648"/>
                  <a:gd name="T1" fmla="*/ 649 h 649"/>
                  <a:gd name="T2" fmla="*/ 2 w 648"/>
                  <a:gd name="T3" fmla="*/ 649 h 649"/>
                  <a:gd name="T4" fmla="*/ 648 w 648"/>
                  <a:gd name="T5" fmla="*/ 0 h 649"/>
                  <a:gd name="T6" fmla="*/ 423 w 648"/>
                  <a:gd name="T7" fmla="*/ 0 h 649"/>
                  <a:gd name="T8" fmla="*/ 0 w 648"/>
                  <a:gd name="T9" fmla="*/ 649 h 649"/>
                </a:gdLst>
                <a:ahLst/>
                <a:cxnLst>
                  <a:cxn ang="0">
                    <a:pos x="T0" y="T1"/>
                  </a:cxn>
                  <a:cxn ang="0">
                    <a:pos x="T2" y="T3"/>
                  </a:cxn>
                  <a:cxn ang="0">
                    <a:pos x="T4" y="T5"/>
                  </a:cxn>
                  <a:cxn ang="0">
                    <a:pos x="T6" y="T7"/>
                  </a:cxn>
                  <a:cxn ang="0">
                    <a:pos x="T8" y="T9"/>
                  </a:cxn>
                </a:cxnLst>
                <a:rect l="0" t="0" r="r" b="b"/>
                <a:pathLst>
                  <a:path w="648" h="649">
                    <a:moveTo>
                      <a:pt x="0" y="649"/>
                    </a:moveTo>
                    <a:lnTo>
                      <a:pt x="2" y="649"/>
                    </a:lnTo>
                    <a:lnTo>
                      <a:pt x="648" y="0"/>
                    </a:lnTo>
                    <a:lnTo>
                      <a:pt x="423" y="0"/>
                    </a:lnTo>
                    <a:lnTo>
                      <a:pt x="0" y="64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grpSp>
      </p:grpSp>
      <p:sp>
        <p:nvSpPr>
          <p:cNvPr id="7" name="Date Placeholder 6"/>
          <p:cNvSpPr>
            <a:spLocks noGrp="1"/>
          </p:cNvSpPr>
          <p:nvPr>
            <p:ph type="dt" sz="half" idx="10"/>
          </p:nvPr>
        </p:nvSpPr>
        <p:spPr>
          <a:xfrm>
            <a:off x="0" y="0"/>
            <a:ext cx="0" cy="0"/>
          </a:xfrm>
          <a:prstGeom prst="rect">
            <a:avLst/>
          </a:prstGeom>
        </p:spPr>
        <p:txBody>
          <a:bodyPr/>
          <a:lstStyle>
            <a:lvl1pPr>
              <a:defRPr sz="100">
                <a:noFill/>
              </a:defRPr>
            </a:lvl1pPr>
          </a:lstStyle>
          <a:p>
            <a:fld id="{3EA3BA3C-82AC-45BA-9659-DD8E28BB5C16}" type="datetime5">
              <a:rPr lang="en-US" smtClean="0"/>
              <a:t>26-Jun-20</a:t>
            </a:fld>
            <a:endParaRPr lang="en-US"/>
          </a:p>
        </p:txBody>
      </p:sp>
      <p:sp>
        <p:nvSpPr>
          <p:cNvPr id="8" name="Footer Placeholder 7"/>
          <p:cNvSpPr>
            <a:spLocks noGrp="1"/>
          </p:cNvSpPr>
          <p:nvPr>
            <p:ph type="ftr" sz="quarter" idx="11"/>
          </p:nvPr>
        </p:nvSpPr>
        <p:spPr>
          <a:xfrm>
            <a:off x="0" y="0"/>
            <a:ext cx="0" cy="0"/>
          </a:xfrm>
          <a:prstGeom prst="rect">
            <a:avLst/>
          </a:prstGeom>
        </p:spPr>
        <p:txBody>
          <a:bodyPr/>
          <a:lstStyle>
            <a:lvl1pPr marL="0" indent="0">
              <a:buNone/>
              <a:defRPr sz="100">
                <a:noFill/>
              </a:defRPr>
            </a:lvl1pPr>
          </a:lstStyle>
          <a:p>
            <a:r>
              <a:rPr lang="en-US"/>
              <a:t>Title of presentation (Insert / Header &amp; Footer / Apply to All)</a:t>
            </a:r>
          </a:p>
        </p:txBody>
      </p:sp>
      <p:sp>
        <p:nvSpPr>
          <p:cNvPr id="9" name="Slide Number Placeholder 8"/>
          <p:cNvSpPr>
            <a:spLocks noGrp="1"/>
          </p:cNvSpPr>
          <p:nvPr>
            <p:ph type="sldNum" sz="quarter" idx="12"/>
          </p:nvPr>
        </p:nvSpPr>
        <p:spPr>
          <a:xfrm>
            <a:off x="0" y="0"/>
            <a:ext cx="0" cy="0"/>
          </a:xfrm>
          <a:prstGeom prst="rect">
            <a:avLst/>
          </a:prstGeom>
        </p:spPr>
        <p:txBody>
          <a:bodyPr/>
          <a:lstStyle>
            <a:lvl1pPr>
              <a:defRPr sz="100">
                <a:noFill/>
              </a:defRPr>
            </a:lvl1pPr>
          </a:lstStyle>
          <a:p>
            <a:fld id="{8E3B25F7-8D1F-44B5-B485-EE3C438CFD7B}" type="slidenum">
              <a:rPr lang="en-US" smtClean="0"/>
              <a:pPr/>
              <a:t>‹#›</a:t>
            </a:fld>
            <a:endParaRPr lang="en-US"/>
          </a:p>
        </p:txBody>
      </p:sp>
      <p:sp>
        <p:nvSpPr>
          <p:cNvPr id="2" name="Title 1"/>
          <p:cNvSpPr>
            <a:spLocks noGrp="1"/>
          </p:cNvSpPr>
          <p:nvPr>
            <p:ph type="ctrTitle" hasCustomPrompt="1"/>
          </p:nvPr>
        </p:nvSpPr>
        <p:spPr>
          <a:xfrm>
            <a:off x="417600" y="1628775"/>
            <a:ext cx="3816000" cy="2236264"/>
          </a:xfrm>
        </p:spPr>
        <p:txBody>
          <a:bodyPr anchor="b"/>
          <a:lstStyle>
            <a:lvl1pPr algn="l">
              <a:defRPr sz="3600" baseline="0"/>
            </a:lvl1pPr>
          </a:lstStyle>
          <a:p>
            <a:r>
              <a:rPr lang="en-US"/>
              <a:t>Click to add presentation title</a:t>
            </a:r>
          </a:p>
        </p:txBody>
      </p:sp>
      <p:sp>
        <p:nvSpPr>
          <p:cNvPr id="3" name="Subtitle 2"/>
          <p:cNvSpPr>
            <a:spLocks noGrp="1"/>
          </p:cNvSpPr>
          <p:nvPr>
            <p:ph type="subTitle" idx="1" hasCustomPrompt="1"/>
          </p:nvPr>
        </p:nvSpPr>
        <p:spPr>
          <a:xfrm>
            <a:off x="417600" y="4094163"/>
            <a:ext cx="3816000" cy="1080000"/>
          </a:xfrm>
        </p:spPr>
        <p:txBody>
          <a:bodyPr/>
          <a:lstStyle>
            <a:lvl1pPr marL="0" indent="0" algn="l">
              <a:spcBef>
                <a:spcPts val="0"/>
              </a:spcBef>
              <a:buNone/>
              <a:defRPr sz="1800" b="1"/>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sp>
        <p:nvSpPr>
          <p:cNvPr id="31" name="Text Placeholder 30"/>
          <p:cNvSpPr>
            <a:spLocks noGrp="1"/>
          </p:cNvSpPr>
          <p:nvPr>
            <p:ph type="body" sz="quarter" idx="14" hasCustomPrompt="1"/>
          </p:nvPr>
        </p:nvSpPr>
        <p:spPr>
          <a:xfrm>
            <a:off x="417600" y="5393268"/>
            <a:ext cx="3816000" cy="296332"/>
          </a:xfrm>
        </p:spPr>
        <p:txBody>
          <a:bodyPr wrap="none"/>
          <a:lstStyle>
            <a:lvl1pPr marL="0" indent="0">
              <a:spcBef>
                <a:spcPts val="0"/>
              </a:spcBef>
              <a:buNone/>
              <a:defRPr sz="1200"/>
            </a:lvl1pPr>
            <a:lvl2pPr marL="0" indent="0">
              <a:buNone/>
              <a:defRPr sz="1200"/>
            </a:lvl2pPr>
            <a:lvl3pPr marL="0" indent="0">
              <a:buNone/>
              <a:defRPr sz="1200"/>
            </a:lvl3pPr>
            <a:lvl4pPr marL="0">
              <a:buNone/>
              <a:defRPr sz="1200"/>
            </a:lvl4pPr>
            <a:lvl5pPr marL="0" indent="0">
              <a:buNone/>
              <a:defRPr sz="1200"/>
            </a:lvl5pPr>
          </a:lstStyle>
          <a:p>
            <a:pPr lvl="0"/>
            <a:r>
              <a:rPr lang="en-US"/>
              <a:t>Name</a:t>
            </a:r>
          </a:p>
        </p:txBody>
      </p:sp>
      <p:sp>
        <p:nvSpPr>
          <p:cNvPr id="34" name="Text Placeholder 30"/>
          <p:cNvSpPr>
            <a:spLocks noGrp="1"/>
          </p:cNvSpPr>
          <p:nvPr>
            <p:ph type="body" sz="quarter" idx="15" hasCustomPrompt="1"/>
          </p:nvPr>
        </p:nvSpPr>
        <p:spPr>
          <a:xfrm>
            <a:off x="417600" y="5691446"/>
            <a:ext cx="3816000" cy="296332"/>
          </a:xfrm>
        </p:spPr>
        <p:txBody>
          <a:bodyPr wrap="none"/>
          <a:lstStyle>
            <a:lvl1pPr marL="0" indent="0">
              <a:spcBef>
                <a:spcPts val="0"/>
              </a:spcBef>
              <a:buNone/>
              <a:defRPr sz="1200"/>
            </a:lvl1pPr>
            <a:lvl2pPr marL="0" indent="0">
              <a:buNone/>
              <a:defRPr sz="1200"/>
            </a:lvl2pPr>
            <a:lvl3pPr marL="0" indent="0">
              <a:buNone/>
              <a:defRPr sz="1200"/>
            </a:lvl3pPr>
            <a:lvl4pPr marL="0">
              <a:buNone/>
              <a:defRPr sz="1200"/>
            </a:lvl4pPr>
            <a:lvl5pPr marL="0" indent="0">
              <a:buNone/>
              <a:defRPr sz="1200"/>
            </a:lvl5pPr>
          </a:lstStyle>
          <a:p>
            <a:pPr lvl="0"/>
            <a:r>
              <a:rPr lang="en-US"/>
              <a:t>Department</a:t>
            </a:r>
          </a:p>
        </p:txBody>
      </p:sp>
    </p:spTree>
    <p:extLst>
      <p:ext uri="{BB962C8B-B14F-4D97-AF65-F5344CB8AC3E}">
        <p14:creationId xmlns:p14="http://schemas.microsoft.com/office/powerpoint/2010/main" val="3635673191"/>
      </p:ext>
    </p:extLst>
  </p:cSld>
  <p:clrMapOvr>
    <a:masterClrMapping/>
  </p:clrMapOvr>
</p:sldLayout>
</file>

<file path=ppt/slideLayouts/slideLayout473.xml><?xml version="1.0" encoding="utf-8"?>
<p:sldLayout xmlns:a="http://schemas.openxmlformats.org/drawingml/2006/main" xmlns:r="http://schemas.openxmlformats.org/officeDocument/2006/relationships" xmlns:p="http://schemas.openxmlformats.org/presentationml/2006/main" preserve="1">
  <p:cSld name="Title 2">
    <p:spTree>
      <p:nvGrpSpPr>
        <p:cNvPr id="1" name=""/>
        <p:cNvGrpSpPr/>
        <p:nvPr/>
      </p:nvGrpSpPr>
      <p:grpSpPr>
        <a:xfrm>
          <a:off x="0" y="0"/>
          <a:ext cx="0" cy="0"/>
          <a:chOff x="0" y="0"/>
          <a:chExt cx="0" cy="0"/>
        </a:xfrm>
      </p:grpSpPr>
      <p:pic>
        <p:nvPicPr>
          <p:cNvPr id="29" name="picture">
            <a:extLst>
              <a:ext uri="{FF2B5EF4-FFF2-40B4-BE49-F238E27FC236}">
                <a16:creationId xmlns:a16="http://schemas.microsoft.com/office/drawing/2014/main" id="{8BF907F5-A9CD-2740-AF54-6BACB62334AE}"/>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2620212" y="-8808"/>
            <a:ext cx="9697299" cy="6866807"/>
          </a:xfrm>
          <a:prstGeom prst="rect">
            <a:avLst/>
          </a:prstGeom>
        </p:spPr>
      </p:pic>
      <p:sp>
        <p:nvSpPr>
          <p:cNvPr id="32" name="shpPicture"/>
          <p:cNvSpPr/>
          <p:nvPr/>
        </p:nvSpPr>
        <p:spPr>
          <a:xfrm>
            <a:off x="1" y="0"/>
            <a:ext cx="4112145" cy="6858000"/>
          </a:xfrm>
          <a:custGeom>
            <a:avLst/>
            <a:gdLst>
              <a:gd name="connsiteX0" fmla="*/ 0 w 4112145"/>
              <a:gd name="connsiteY0" fmla="*/ 0 h 6858000"/>
              <a:gd name="connsiteX1" fmla="*/ 2588964 w 4112145"/>
              <a:gd name="connsiteY1" fmla="*/ 0 h 6858000"/>
              <a:gd name="connsiteX2" fmla="*/ 4112145 w 4112145"/>
              <a:gd name="connsiteY2" fmla="*/ 3083531 h 6858000"/>
              <a:gd name="connsiteX3" fmla="*/ 2697661 w 4112145"/>
              <a:gd name="connsiteY3" fmla="*/ 6858000 h 6858000"/>
              <a:gd name="connsiteX4" fmla="*/ 0 w 4112145"/>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12145" h="6858000">
                <a:moveTo>
                  <a:pt x="0" y="0"/>
                </a:moveTo>
                <a:lnTo>
                  <a:pt x="2588964" y="0"/>
                </a:lnTo>
                <a:lnTo>
                  <a:pt x="4112145" y="3083531"/>
                </a:lnTo>
                <a:lnTo>
                  <a:pt x="2697661"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US" sz="1600"/>
          </a:p>
        </p:txBody>
      </p:sp>
      <p:grpSp>
        <p:nvGrpSpPr>
          <p:cNvPr id="14" name="logo">
            <a:extLst>
              <a:ext uri="{FF2B5EF4-FFF2-40B4-BE49-F238E27FC236}">
                <a16:creationId xmlns:a16="http://schemas.microsoft.com/office/drawing/2014/main" id="{18C26D95-70F8-8A4D-9F18-DCCB92522AF8}"/>
              </a:ext>
            </a:extLst>
          </p:cNvPr>
          <p:cNvGrpSpPr/>
          <p:nvPr/>
        </p:nvGrpSpPr>
        <p:grpSpPr bwMode="gray">
          <a:xfrm>
            <a:off x="417363" y="407485"/>
            <a:ext cx="1518585" cy="646507"/>
            <a:chOff x="334963" y="296652"/>
            <a:chExt cx="1268411" cy="540000"/>
          </a:xfrm>
        </p:grpSpPr>
        <p:sp>
          <p:nvSpPr>
            <p:cNvPr id="17" name="Freeform 6">
              <a:extLst>
                <a:ext uri="{FF2B5EF4-FFF2-40B4-BE49-F238E27FC236}">
                  <a16:creationId xmlns:a16="http://schemas.microsoft.com/office/drawing/2014/main" id="{08737AD0-E375-E445-97E6-CD2E2DF60620}"/>
                </a:ext>
              </a:extLst>
            </p:cNvPr>
            <p:cNvSpPr>
              <a:spLocks noEditPoints="1"/>
            </p:cNvSpPr>
            <p:nvPr/>
          </p:nvSpPr>
          <p:spPr bwMode="gray">
            <a:xfrm>
              <a:off x="982662" y="360462"/>
              <a:ext cx="620712" cy="431800"/>
            </a:xfrm>
            <a:custGeom>
              <a:avLst/>
              <a:gdLst>
                <a:gd name="T0" fmla="*/ 19 w 1809"/>
                <a:gd name="T1" fmla="*/ 97 h 1253"/>
                <a:gd name="T2" fmla="*/ 165 w 1809"/>
                <a:gd name="T3" fmla="*/ 41 h 1253"/>
                <a:gd name="T4" fmla="*/ 211 w 1809"/>
                <a:gd name="T5" fmla="*/ 224 h 1253"/>
                <a:gd name="T6" fmla="*/ 248 w 1809"/>
                <a:gd name="T7" fmla="*/ 155 h 1253"/>
                <a:gd name="T8" fmla="*/ 931 w 1809"/>
                <a:gd name="T9" fmla="*/ 995 h 1253"/>
                <a:gd name="T10" fmla="*/ 858 w 1809"/>
                <a:gd name="T11" fmla="*/ 1115 h 1253"/>
                <a:gd name="T12" fmla="*/ 749 w 1809"/>
                <a:gd name="T13" fmla="*/ 1117 h 1253"/>
                <a:gd name="T14" fmla="*/ 681 w 1809"/>
                <a:gd name="T15" fmla="*/ 1055 h 1253"/>
                <a:gd name="T16" fmla="*/ 800 w 1809"/>
                <a:gd name="T17" fmla="*/ 1054 h 1253"/>
                <a:gd name="T18" fmla="*/ 884 w 1809"/>
                <a:gd name="T19" fmla="*/ 1181 h 1253"/>
                <a:gd name="T20" fmla="*/ 118 w 1809"/>
                <a:gd name="T21" fmla="*/ 1086 h 1253"/>
                <a:gd name="T22" fmla="*/ 147 w 1809"/>
                <a:gd name="T23" fmla="*/ 1026 h 1253"/>
                <a:gd name="T24" fmla="*/ 102 w 1809"/>
                <a:gd name="T25" fmla="*/ 1026 h 1253"/>
                <a:gd name="T26" fmla="*/ 639 w 1809"/>
                <a:gd name="T27" fmla="*/ 84 h 1253"/>
                <a:gd name="T28" fmla="*/ 763 w 1809"/>
                <a:gd name="T29" fmla="*/ 145 h 1253"/>
                <a:gd name="T30" fmla="*/ 863 w 1809"/>
                <a:gd name="T31" fmla="*/ 221 h 1253"/>
                <a:gd name="T32" fmla="*/ 834 w 1809"/>
                <a:gd name="T33" fmla="*/ 208 h 1253"/>
                <a:gd name="T34" fmla="*/ 719 w 1809"/>
                <a:gd name="T35" fmla="*/ 182 h 1253"/>
                <a:gd name="T36" fmla="*/ 507 w 1809"/>
                <a:gd name="T37" fmla="*/ 711 h 1253"/>
                <a:gd name="T38" fmla="*/ 614 w 1809"/>
                <a:gd name="T39" fmla="*/ 706 h 1253"/>
                <a:gd name="T40" fmla="*/ 736 w 1809"/>
                <a:gd name="T41" fmla="*/ 730 h 1253"/>
                <a:gd name="T42" fmla="*/ 607 w 1809"/>
                <a:gd name="T43" fmla="*/ 539 h 1253"/>
                <a:gd name="T44" fmla="*/ 1505 w 1809"/>
                <a:gd name="T45" fmla="*/ 1136 h 1253"/>
                <a:gd name="T46" fmla="*/ 1613 w 1809"/>
                <a:gd name="T47" fmla="*/ 1002 h 1253"/>
                <a:gd name="T48" fmla="*/ 1472 w 1809"/>
                <a:gd name="T49" fmla="*/ 1164 h 1253"/>
                <a:gd name="T50" fmla="*/ 1525 w 1809"/>
                <a:gd name="T51" fmla="*/ 1142 h 1253"/>
                <a:gd name="T52" fmla="*/ 1556 w 1809"/>
                <a:gd name="T53" fmla="*/ 1172 h 1253"/>
                <a:gd name="T54" fmla="*/ 1387 w 1809"/>
                <a:gd name="T55" fmla="*/ 910 h 1253"/>
                <a:gd name="T56" fmla="*/ 1261 w 1809"/>
                <a:gd name="T57" fmla="*/ 1157 h 1253"/>
                <a:gd name="T58" fmla="*/ 1413 w 1809"/>
                <a:gd name="T59" fmla="*/ 934 h 1253"/>
                <a:gd name="T60" fmla="*/ 1378 w 1809"/>
                <a:gd name="T61" fmla="*/ 1052 h 1253"/>
                <a:gd name="T62" fmla="*/ 488 w 1809"/>
                <a:gd name="T63" fmla="*/ 85 h 1253"/>
                <a:gd name="T64" fmla="*/ 509 w 1809"/>
                <a:gd name="T65" fmla="*/ 112 h 1253"/>
                <a:gd name="T66" fmla="*/ 548 w 1809"/>
                <a:gd name="T67" fmla="*/ 1187 h 1253"/>
                <a:gd name="T68" fmla="*/ 472 w 1809"/>
                <a:gd name="T69" fmla="*/ 1122 h 1253"/>
                <a:gd name="T70" fmla="*/ 558 w 1809"/>
                <a:gd name="T71" fmla="*/ 1157 h 1253"/>
                <a:gd name="T72" fmla="*/ 287 w 1809"/>
                <a:gd name="T73" fmla="*/ 654 h 1253"/>
                <a:gd name="T74" fmla="*/ 416 w 1809"/>
                <a:gd name="T75" fmla="*/ 684 h 1253"/>
                <a:gd name="T76" fmla="*/ 1106 w 1809"/>
                <a:gd name="T77" fmla="*/ 147 h 1253"/>
                <a:gd name="T78" fmla="*/ 1229 w 1809"/>
                <a:gd name="T79" fmla="*/ 258 h 1253"/>
                <a:gd name="T80" fmla="*/ 1106 w 1809"/>
                <a:gd name="T81" fmla="*/ 96 h 1253"/>
                <a:gd name="T82" fmla="*/ 1219 w 1809"/>
                <a:gd name="T83" fmla="*/ 1077 h 1253"/>
                <a:gd name="T84" fmla="*/ 1214 w 1809"/>
                <a:gd name="T85" fmla="*/ 1157 h 1253"/>
                <a:gd name="T86" fmla="*/ 1150 w 1809"/>
                <a:gd name="T87" fmla="*/ 1092 h 1253"/>
                <a:gd name="T88" fmla="*/ 1139 w 1809"/>
                <a:gd name="T89" fmla="*/ 1070 h 1253"/>
                <a:gd name="T90" fmla="*/ 1659 w 1809"/>
                <a:gd name="T91" fmla="*/ 1031 h 1253"/>
                <a:gd name="T92" fmla="*/ 1714 w 1809"/>
                <a:gd name="T93" fmla="*/ 1155 h 1253"/>
                <a:gd name="T94" fmla="*/ 1760 w 1809"/>
                <a:gd name="T95" fmla="*/ 1030 h 1253"/>
                <a:gd name="T96" fmla="*/ 111 w 1809"/>
                <a:gd name="T97" fmla="*/ 569 h 1253"/>
                <a:gd name="T98" fmla="*/ 109 w 1809"/>
                <a:gd name="T99" fmla="*/ 460 h 1253"/>
                <a:gd name="T100" fmla="*/ 32 w 1809"/>
                <a:gd name="T101" fmla="*/ 704 h 1253"/>
                <a:gd name="T102" fmla="*/ 310 w 1809"/>
                <a:gd name="T103" fmla="*/ 1058 h 1253"/>
                <a:gd name="T104" fmla="*/ 431 w 1809"/>
                <a:gd name="T105" fmla="*/ 1044 h 1253"/>
                <a:gd name="T106" fmla="*/ 278 w 1809"/>
                <a:gd name="T107" fmla="*/ 1165 h 1253"/>
                <a:gd name="T108" fmla="*/ 261 w 1809"/>
                <a:gd name="T109" fmla="*/ 540 h 1253"/>
                <a:gd name="T110" fmla="*/ 150 w 1809"/>
                <a:gd name="T111" fmla="*/ 635 h 1253"/>
                <a:gd name="T112" fmla="*/ 994 w 1809"/>
                <a:gd name="T113" fmla="*/ 1185 h 1253"/>
                <a:gd name="T114" fmla="*/ 331 w 1809"/>
                <a:gd name="T115" fmla="*/ 176 h 1253"/>
                <a:gd name="T116" fmla="*/ 333 w 1809"/>
                <a:gd name="T117" fmla="*/ 109 h 1253"/>
                <a:gd name="T118" fmla="*/ 946 w 1809"/>
                <a:gd name="T119" fmla="*/ 234 h 1253"/>
                <a:gd name="T120" fmla="*/ 1022 w 1809"/>
                <a:gd name="T121" fmla="*/ 113 h 1253"/>
                <a:gd name="T122" fmla="*/ 949 w 1809"/>
                <a:gd name="T123" fmla="*/ 65 h 1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09" h="1253">
                  <a:moveTo>
                    <a:pt x="248" y="198"/>
                  </a:moveTo>
                  <a:cubicBezTo>
                    <a:pt x="248" y="211"/>
                    <a:pt x="248" y="224"/>
                    <a:pt x="249" y="237"/>
                  </a:cubicBezTo>
                  <a:cubicBezTo>
                    <a:pt x="249" y="245"/>
                    <a:pt x="246" y="249"/>
                    <a:pt x="240" y="253"/>
                  </a:cubicBezTo>
                  <a:cubicBezTo>
                    <a:pt x="231" y="260"/>
                    <a:pt x="220" y="264"/>
                    <a:pt x="209" y="268"/>
                  </a:cubicBezTo>
                  <a:cubicBezTo>
                    <a:pt x="179" y="279"/>
                    <a:pt x="148" y="280"/>
                    <a:pt x="118" y="275"/>
                  </a:cubicBezTo>
                  <a:cubicBezTo>
                    <a:pt x="86" y="269"/>
                    <a:pt x="58" y="252"/>
                    <a:pt x="39" y="224"/>
                  </a:cubicBezTo>
                  <a:cubicBezTo>
                    <a:pt x="24" y="203"/>
                    <a:pt x="18" y="180"/>
                    <a:pt x="15" y="155"/>
                  </a:cubicBezTo>
                  <a:cubicBezTo>
                    <a:pt x="11" y="135"/>
                    <a:pt x="15" y="115"/>
                    <a:pt x="19" y="97"/>
                  </a:cubicBezTo>
                  <a:cubicBezTo>
                    <a:pt x="26" y="68"/>
                    <a:pt x="42" y="44"/>
                    <a:pt x="68" y="27"/>
                  </a:cubicBezTo>
                  <a:cubicBezTo>
                    <a:pt x="87" y="14"/>
                    <a:pt x="109" y="6"/>
                    <a:pt x="133" y="5"/>
                  </a:cubicBezTo>
                  <a:cubicBezTo>
                    <a:pt x="149" y="4"/>
                    <a:pt x="165" y="5"/>
                    <a:pt x="181" y="6"/>
                  </a:cubicBezTo>
                  <a:cubicBezTo>
                    <a:pt x="204" y="8"/>
                    <a:pt x="225" y="20"/>
                    <a:pt x="243" y="35"/>
                  </a:cubicBezTo>
                  <a:cubicBezTo>
                    <a:pt x="246" y="37"/>
                    <a:pt x="246" y="40"/>
                    <a:pt x="244" y="43"/>
                  </a:cubicBezTo>
                  <a:cubicBezTo>
                    <a:pt x="242" y="47"/>
                    <a:pt x="239" y="52"/>
                    <a:pt x="236" y="55"/>
                  </a:cubicBezTo>
                  <a:cubicBezTo>
                    <a:pt x="226" y="65"/>
                    <a:pt x="224" y="65"/>
                    <a:pt x="206" y="54"/>
                  </a:cubicBezTo>
                  <a:cubicBezTo>
                    <a:pt x="193" y="46"/>
                    <a:pt x="180" y="40"/>
                    <a:pt x="165" y="41"/>
                  </a:cubicBezTo>
                  <a:cubicBezTo>
                    <a:pt x="151" y="41"/>
                    <a:pt x="137" y="39"/>
                    <a:pt x="124" y="42"/>
                  </a:cubicBezTo>
                  <a:cubicBezTo>
                    <a:pt x="104" y="46"/>
                    <a:pt x="87" y="57"/>
                    <a:pt x="75" y="74"/>
                  </a:cubicBezTo>
                  <a:cubicBezTo>
                    <a:pt x="56" y="99"/>
                    <a:pt x="51" y="129"/>
                    <a:pt x="55" y="159"/>
                  </a:cubicBezTo>
                  <a:cubicBezTo>
                    <a:pt x="60" y="189"/>
                    <a:pt x="73" y="214"/>
                    <a:pt x="98" y="230"/>
                  </a:cubicBezTo>
                  <a:cubicBezTo>
                    <a:pt x="109" y="237"/>
                    <a:pt x="121" y="242"/>
                    <a:pt x="135" y="241"/>
                  </a:cubicBezTo>
                  <a:cubicBezTo>
                    <a:pt x="146" y="241"/>
                    <a:pt x="158" y="241"/>
                    <a:pt x="169" y="241"/>
                  </a:cubicBezTo>
                  <a:cubicBezTo>
                    <a:pt x="182" y="242"/>
                    <a:pt x="193" y="235"/>
                    <a:pt x="205" y="232"/>
                  </a:cubicBezTo>
                  <a:cubicBezTo>
                    <a:pt x="210" y="231"/>
                    <a:pt x="211" y="227"/>
                    <a:pt x="211" y="224"/>
                  </a:cubicBezTo>
                  <a:cubicBezTo>
                    <a:pt x="211" y="210"/>
                    <a:pt x="211" y="196"/>
                    <a:pt x="211" y="183"/>
                  </a:cubicBezTo>
                  <a:cubicBezTo>
                    <a:pt x="211" y="177"/>
                    <a:pt x="207" y="175"/>
                    <a:pt x="202" y="175"/>
                  </a:cubicBezTo>
                  <a:cubicBezTo>
                    <a:pt x="193" y="175"/>
                    <a:pt x="184" y="175"/>
                    <a:pt x="175" y="175"/>
                  </a:cubicBezTo>
                  <a:cubicBezTo>
                    <a:pt x="171" y="175"/>
                    <a:pt x="168" y="174"/>
                    <a:pt x="166" y="171"/>
                  </a:cubicBezTo>
                  <a:cubicBezTo>
                    <a:pt x="163" y="163"/>
                    <a:pt x="164" y="154"/>
                    <a:pt x="166" y="146"/>
                  </a:cubicBezTo>
                  <a:cubicBezTo>
                    <a:pt x="167" y="142"/>
                    <a:pt x="171" y="142"/>
                    <a:pt x="175" y="142"/>
                  </a:cubicBezTo>
                  <a:cubicBezTo>
                    <a:pt x="196" y="142"/>
                    <a:pt x="217" y="142"/>
                    <a:pt x="238" y="142"/>
                  </a:cubicBezTo>
                  <a:cubicBezTo>
                    <a:pt x="247" y="142"/>
                    <a:pt x="248" y="148"/>
                    <a:pt x="248" y="155"/>
                  </a:cubicBezTo>
                  <a:cubicBezTo>
                    <a:pt x="249" y="169"/>
                    <a:pt x="248" y="183"/>
                    <a:pt x="248" y="198"/>
                  </a:cubicBezTo>
                  <a:close/>
                  <a:moveTo>
                    <a:pt x="884" y="1181"/>
                  </a:moveTo>
                  <a:cubicBezTo>
                    <a:pt x="889" y="1167"/>
                    <a:pt x="894" y="1152"/>
                    <a:pt x="898" y="1137"/>
                  </a:cubicBezTo>
                  <a:cubicBezTo>
                    <a:pt x="901" y="1127"/>
                    <a:pt x="905" y="1116"/>
                    <a:pt x="908" y="1106"/>
                  </a:cubicBezTo>
                  <a:cubicBezTo>
                    <a:pt x="911" y="1098"/>
                    <a:pt x="912" y="1089"/>
                    <a:pt x="916" y="1081"/>
                  </a:cubicBezTo>
                  <a:cubicBezTo>
                    <a:pt x="921" y="1072"/>
                    <a:pt x="923" y="1060"/>
                    <a:pt x="927" y="1050"/>
                  </a:cubicBezTo>
                  <a:cubicBezTo>
                    <a:pt x="932" y="1037"/>
                    <a:pt x="934" y="1023"/>
                    <a:pt x="940" y="1010"/>
                  </a:cubicBezTo>
                  <a:cubicBezTo>
                    <a:pt x="945" y="1001"/>
                    <a:pt x="941" y="995"/>
                    <a:pt x="931" y="995"/>
                  </a:cubicBezTo>
                  <a:cubicBezTo>
                    <a:pt x="927" y="995"/>
                    <a:pt x="922" y="995"/>
                    <a:pt x="918" y="995"/>
                  </a:cubicBezTo>
                  <a:cubicBezTo>
                    <a:pt x="913" y="995"/>
                    <a:pt x="908" y="997"/>
                    <a:pt x="907" y="1001"/>
                  </a:cubicBezTo>
                  <a:cubicBezTo>
                    <a:pt x="904" y="1008"/>
                    <a:pt x="900" y="1015"/>
                    <a:pt x="899" y="1023"/>
                  </a:cubicBezTo>
                  <a:cubicBezTo>
                    <a:pt x="897" y="1034"/>
                    <a:pt x="893" y="1045"/>
                    <a:pt x="889" y="1055"/>
                  </a:cubicBezTo>
                  <a:cubicBezTo>
                    <a:pt x="887" y="1064"/>
                    <a:pt x="885" y="1072"/>
                    <a:pt x="882" y="1080"/>
                  </a:cubicBezTo>
                  <a:cubicBezTo>
                    <a:pt x="878" y="1091"/>
                    <a:pt x="874" y="1103"/>
                    <a:pt x="871" y="1115"/>
                  </a:cubicBezTo>
                  <a:cubicBezTo>
                    <a:pt x="870" y="1118"/>
                    <a:pt x="871" y="1124"/>
                    <a:pt x="866" y="1124"/>
                  </a:cubicBezTo>
                  <a:cubicBezTo>
                    <a:pt x="861" y="1125"/>
                    <a:pt x="859" y="1120"/>
                    <a:pt x="858" y="1115"/>
                  </a:cubicBezTo>
                  <a:cubicBezTo>
                    <a:pt x="856" y="1110"/>
                    <a:pt x="856" y="1104"/>
                    <a:pt x="854" y="1099"/>
                  </a:cubicBezTo>
                  <a:cubicBezTo>
                    <a:pt x="848" y="1080"/>
                    <a:pt x="841" y="1062"/>
                    <a:pt x="835" y="1044"/>
                  </a:cubicBezTo>
                  <a:cubicBezTo>
                    <a:pt x="831" y="1030"/>
                    <a:pt x="828" y="1016"/>
                    <a:pt x="822" y="1003"/>
                  </a:cubicBezTo>
                  <a:cubicBezTo>
                    <a:pt x="819" y="997"/>
                    <a:pt x="814" y="994"/>
                    <a:pt x="808" y="994"/>
                  </a:cubicBezTo>
                  <a:cubicBezTo>
                    <a:pt x="799" y="993"/>
                    <a:pt x="791" y="993"/>
                    <a:pt x="787" y="1001"/>
                  </a:cubicBezTo>
                  <a:cubicBezTo>
                    <a:pt x="783" y="1008"/>
                    <a:pt x="780" y="1015"/>
                    <a:pt x="779" y="1022"/>
                  </a:cubicBezTo>
                  <a:cubicBezTo>
                    <a:pt x="778" y="1034"/>
                    <a:pt x="772" y="1044"/>
                    <a:pt x="769" y="1055"/>
                  </a:cubicBezTo>
                  <a:cubicBezTo>
                    <a:pt x="762" y="1076"/>
                    <a:pt x="754" y="1096"/>
                    <a:pt x="749" y="1117"/>
                  </a:cubicBezTo>
                  <a:cubicBezTo>
                    <a:pt x="748" y="1120"/>
                    <a:pt x="747" y="1124"/>
                    <a:pt x="742" y="1124"/>
                  </a:cubicBezTo>
                  <a:cubicBezTo>
                    <a:pt x="737" y="1124"/>
                    <a:pt x="737" y="1120"/>
                    <a:pt x="736" y="1116"/>
                  </a:cubicBezTo>
                  <a:cubicBezTo>
                    <a:pt x="734" y="1104"/>
                    <a:pt x="730" y="1092"/>
                    <a:pt x="726" y="1080"/>
                  </a:cubicBezTo>
                  <a:cubicBezTo>
                    <a:pt x="720" y="1061"/>
                    <a:pt x="714" y="1040"/>
                    <a:pt x="708" y="1020"/>
                  </a:cubicBezTo>
                  <a:cubicBezTo>
                    <a:pt x="703" y="1000"/>
                    <a:pt x="698" y="994"/>
                    <a:pt x="676" y="995"/>
                  </a:cubicBezTo>
                  <a:cubicBezTo>
                    <a:pt x="665" y="996"/>
                    <a:pt x="661" y="1001"/>
                    <a:pt x="667" y="1011"/>
                  </a:cubicBezTo>
                  <a:cubicBezTo>
                    <a:pt x="669" y="1016"/>
                    <a:pt x="670" y="1021"/>
                    <a:pt x="672" y="1025"/>
                  </a:cubicBezTo>
                  <a:cubicBezTo>
                    <a:pt x="675" y="1035"/>
                    <a:pt x="678" y="1046"/>
                    <a:pt x="681" y="1055"/>
                  </a:cubicBezTo>
                  <a:cubicBezTo>
                    <a:pt x="685" y="1068"/>
                    <a:pt x="689" y="1080"/>
                    <a:pt x="693" y="1092"/>
                  </a:cubicBezTo>
                  <a:cubicBezTo>
                    <a:pt x="697" y="1103"/>
                    <a:pt x="699" y="1113"/>
                    <a:pt x="703" y="1124"/>
                  </a:cubicBezTo>
                  <a:cubicBezTo>
                    <a:pt x="707" y="1136"/>
                    <a:pt x="711" y="1147"/>
                    <a:pt x="715" y="1160"/>
                  </a:cubicBezTo>
                  <a:cubicBezTo>
                    <a:pt x="717" y="1168"/>
                    <a:pt x="720" y="1176"/>
                    <a:pt x="724" y="1183"/>
                  </a:cubicBezTo>
                  <a:cubicBezTo>
                    <a:pt x="728" y="1189"/>
                    <a:pt x="752" y="1185"/>
                    <a:pt x="757" y="1180"/>
                  </a:cubicBezTo>
                  <a:cubicBezTo>
                    <a:pt x="764" y="1173"/>
                    <a:pt x="762" y="1163"/>
                    <a:pt x="766" y="1156"/>
                  </a:cubicBezTo>
                  <a:cubicBezTo>
                    <a:pt x="774" y="1140"/>
                    <a:pt x="778" y="1122"/>
                    <a:pt x="784" y="1105"/>
                  </a:cubicBezTo>
                  <a:cubicBezTo>
                    <a:pt x="789" y="1088"/>
                    <a:pt x="796" y="1072"/>
                    <a:pt x="800" y="1054"/>
                  </a:cubicBezTo>
                  <a:cubicBezTo>
                    <a:pt x="800" y="1053"/>
                    <a:pt x="801" y="1050"/>
                    <a:pt x="803" y="1050"/>
                  </a:cubicBezTo>
                  <a:cubicBezTo>
                    <a:pt x="806" y="1050"/>
                    <a:pt x="806" y="1052"/>
                    <a:pt x="807" y="1055"/>
                  </a:cubicBezTo>
                  <a:cubicBezTo>
                    <a:pt x="807" y="1060"/>
                    <a:pt x="810" y="1066"/>
                    <a:pt x="811" y="1071"/>
                  </a:cubicBezTo>
                  <a:cubicBezTo>
                    <a:pt x="814" y="1081"/>
                    <a:pt x="818" y="1090"/>
                    <a:pt x="821" y="1099"/>
                  </a:cubicBezTo>
                  <a:cubicBezTo>
                    <a:pt x="824" y="1110"/>
                    <a:pt x="827" y="1120"/>
                    <a:pt x="831" y="1131"/>
                  </a:cubicBezTo>
                  <a:cubicBezTo>
                    <a:pt x="834" y="1142"/>
                    <a:pt x="839" y="1153"/>
                    <a:pt x="842" y="1164"/>
                  </a:cubicBezTo>
                  <a:cubicBezTo>
                    <a:pt x="846" y="1179"/>
                    <a:pt x="850" y="1188"/>
                    <a:pt x="869" y="1185"/>
                  </a:cubicBezTo>
                  <a:cubicBezTo>
                    <a:pt x="873" y="1184"/>
                    <a:pt x="881" y="1189"/>
                    <a:pt x="884" y="1181"/>
                  </a:cubicBezTo>
                  <a:close/>
                  <a:moveTo>
                    <a:pt x="33" y="1051"/>
                  </a:moveTo>
                  <a:cubicBezTo>
                    <a:pt x="33" y="1087"/>
                    <a:pt x="33" y="1124"/>
                    <a:pt x="33" y="1160"/>
                  </a:cubicBezTo>
                  <a:cubicBezTo>
                    <a:pt x="33" y="1188"/>
                    <a:pt x="29" y="1184"/>
                    <a:pt x="58" y="1185"/>
                  </a:cubicBezTo>
                  <a:cubicBezTo>
                    <a:pt x="72" y="1185"/>
                    <a:pt x="73" y="1184"/>
                    <a:pt x="73" y="1170"/>
                  </a:cubicBezTo>
                  <a:cubicBezTo>
                    <a:pt x="73" y="1138"/>
                    <a:pt x="73" y="1107"/>
                    <a:pt x="73" y="1076"/>
                  </a:cubicBezTo>
                  <a:cubicBezTo>
                    <a:pt x="73" y="1071"/>
                    <a:pt x="72" y="1067"/>
                    <a:pt x="78" y="1065"/>
                  </a:cubicBezTo>
                  <a:cubicBezTo>
                    <a:pt x="91" y="1062"/>
                    <a:pt x="102" y="1067"/>
                    <a:pt x="110" y="1076"/>
                  </a:cubicBezTo>
                  <a:cubicBezTo>
                    <a:pt x="112" y="1080"/>
                    <a:pt x="115" y="1083"/>
                    <a:pt x="118" y="1086"/>
                  </a:cubicBezTo>
                  <a:cubicBezTo>
                    <a:pt x="132" y="1103"/>
                    <a:pt x="146" y="1119"/>
                    <a:pt x="161" y="1136"/>
                  </a:cubicBezTo>
                  <a:cubicBezTo>
                    <a:pt x="173" y="1150"/>
                    <a:pt x="186" y="1165"/>
                    <a:pt x="198" y="1179"/>
                  </a:cubicBezTo>
                  <a:cubicBezTo>
                    <a:pt x="207" y="1188"/>
                    <a:pt x="218" y="1184"/>
                    <a:pt x="228" y="1185"/>
                  </a:cubicBezTo>
                  <a:cubicBezTo>
                    <a:pt x="233" y="1185"/>
                    <a:pt x="241" y="1188"/>
                    <a:pt x="244" y="1182"/>
                  </a:cubicBezTo>
                  <a:cubicBezTo>
                    <a:pt x="246" y="1178"/>
                    <a:pt x="239" y="1173"/>
                    <a:pt x="235" y="1169"/>
                  </a:cubicBezTo>
                  <a:cubicBezTo>
                    <a:pt x="206" y="1133"/>
                    <a:pt x="176" y="1098"/>
                    <a:pt x="146" y="1062"/>
                  </a:cubicBezTo>
                  <a:cubicBezTo>
                    <a:pt x="141" y="1056"/>
                    <a:pt x="131" y="1052"/>
                    <a:pt x="132" y="1044"/>
                  </a:cubicBezTo>
                  <a:cubicBezTo>
                    <a:pt x="132" y="1036"/>
                    <a:pt x="142" y="1032"/>
                    <a:pt x="147" y="1026"/>
                  </a:cubicBezTo>
                  <a:cubicBezTo>
                    <a:pt x="164" y="1006"/>
                    <a:pt x="182" y="988"/>
                    <a:pt x="198" y="968"/>
                  </a:cubicBezTo>
                  <a:cubicBezTo>
                    <a:pt x="209" y="954"/>
                    <a:pt x="221" y="942"/>
                    <a:pt x="234" y="929"/>
                  </a:cubicBezTo>
                  <a:cubicBezTo>
                    <a:pt x="236" y="926"/>
                    <a:pt x="238" y="923"/>
                    <a:pt x="237" y="920"/>
                  </a:cubicBezTo>
                  <a:cubicBezTo>
                    <a:pt x="235" y="915"/>
                    <a:pt x="231" y="917"/>
                    <a:pt x="228" y="917"/>
                  </a:cubicBezTo>
                  <a:cubicBezTo>
                    <a:pt x="224" y="918"/>
                    <a:pt x="221" y="918"/>
                    <a:pt x="217" y="918"/>
                  </a:cubicBezTo>
                  <a:cubicBezTo>
                    <a:pt x="204" y="917"/>
                    <a:pt x="193" y="922"/>
                    <a:pt x="185" y="931"/>
                  </a:cubicBezTo>
                  <a:cubicBezTo>
                    <a:pt x="172" y="946"/>
                    <a:pt x="158" y="961"/>
                    <a:pt x="145" y="977"/>
                  </a:cubicBezTo>
                  <a:cubicBezTo>
                    <a:pt x="131" y="993"/>
                    <a:pt x="117" y="1010"/>
                    <a:pt x="102" y="1026"/>
                  </a:cubicBezTo>
                  <a:cubicBezTo>
                    <a:pt x="96" y="1032"/>
                    <a:pt x="87" y="1037"/>
                    <a:pt x="78" y="1034"/>
                  </a:cubicBezTo>
                  <a:cubicBezTo>
                    <a:pt x="70" y="1030"/>
                    <a:pt x="73" y="1021"/>
                    <a:pt x="73" y="1015"/>
                  </a:cubicBezTo>
                  <a:cubicBezTo>
                    <a:pt x="73" y="991"/>
                    <a:pt x="73" y="967"/>
                    <a:pt x="73" y="944"/>
                  </a:cubicBezTo>
                  <a:cubicBezTo>
                    <a:pt x="73" y="916"/>
                    <a:pt x="75" y="917"/>
                    <a:pt x="46" y="918"/>
                  </a:cubicBezTo>
                  <a:cubicBezTo>
                    <a:pt x="33" y="918"/>
                    <a:pt x="33" y="918"/>
                    <a:pt x="33" y="931"/>
                  </a:cubicBezTo>
                  <a:cubicBezTo>
                    <a:pt x="33" y="971"/>
                    <a:pt x="33" y="1011"/>
                    <a:pt x="33" y="1051"/>
                  </a:cubicBezTo>
                  <a:cubicBezTo>
                    <a:pt x="33" y="1051"/>
                    <a:pt x="33" y="1051"/>
                    <a:pt x="33" y="1051"/>
                  </a:cubicBezTo>
                  <a:close/>
                  <a:moveTo>
                    <a:pt x="639" y="84"/>
                  </a:moveTo>
                  <a:cubicBezTo>
                    <a:pt x="627" y="84"/>
                    <a:pt x="626" y="84"/>
                    <a:pt x="629" y="95"/>
                  </a:cubicBezTo>
                  <a:cubicBezTo>
                    <a:pt x="634" y="113"/>
                    <a:pt x="640" y="131"/>
                    <a:pt x="646" y="148"/>
                  </a:cubicBezTo>
                  <a:cubicBezTo>
                    <a:pt x="652" y="166"/>
                    <a:pt x="658" y="185"/>
                    <a:pt x="664" y="203"/>
                  </a:cubicBezTo>
                  <a:cubicBezTo>
                    <a:pt x="671" y="223"/>
                    <a:pt x="676" y="244"/>
                    <a:pt x="684" y="264"/>
                  </a:cubicBezTo>
                  <a:cubicBezTo>
                    <a:pt x="688" y="274"/>
                    <a:pt x="694" y="274"/>
                    <a:pt x="702" y="274"/>
                  </a:cubicBezTo>
                  <a:cubicBezTo>
                    <a:pt x="711" y="274"/>
                    <a:pt x="719" y="272"/>
                    <a:pt x="723" y="263"/>
                  </a:cubicBezTo>
                  <a:cubicBezTo>
                    <a:pt x="733" y="236"/>
                    <a:pt x="741" y="208"/>
                    <a:pt x="750" y="181"/>
                  </a:cubicBezTo>
                  <a:cubicBezTo>
                    <a:pt x="754" y="169"/>
                    <a:pt x="757" y="156"/>
                    <a:pt x="763" y="145"/>
                  </a:cubicBezTo>
                  <a:cubicBezTo>
                    <a:pt x="764" y="143"/>
                    <a:pt x="764" y="140"/>
                    <a:pt x="767" y="140"/>
                  </a:cubicBezTo>
                  <a:cubicBezTo>
                    <a:pt x="770" y="140"/>
                    <a:pt x="770" y="143"/>
                    <a:pt x="771" y="145"/>
                  </a:cubicBezTo>
                  <a:cubicBezTo>
                    <a:pt x="771" y="156"/>
                    <a:pt x="777" y="165"/>
                    <a:pt x="780" y="175"/>
                  </a:cubicBezTo>
                  <a:cubicBezTo>
                    <a:pt x="782" y="184"/>
                    <a:pt x="785" y="193"/>
                    <a:pt x="788" y="201"/>
                  </a:cubicBezTo>
                  <a:cubicBezTo>
                    <a:pt x="794" y="219"/>
                    <a:pt x="801" y="237"/>
                    <a:pt x="806" y="255"/>
                  </a:cubicBezTo>
                  <a:cubicBezTo>
                    <a:pt x="811" y="272"/>
                    <a:pt x="825" y="280"/>
                    <a:pt x="842" y="273"/>
                  </a:cubicBezTo>
                  <a:cubicBezTo>
                    <a:pt x="845" y="271"/>
                    <a:pt x="847" y="269"/>
                    <a:pt x="848" y="266"/>
                  </a:cubicBezTo>
                  <a:cubicBezTo>
                    <a:pt x="853" y="251"/>
                    <a:pt x="859" y="236"/>
                    <a:pt x="863" y="221"/>
                  </a:cubicBezTo>
                  <a:cubicBezTo>
                    <a:pt x="867" y="202"/>
                    <a:pt x="875" y="185"/>
                    <a:pt x="880" y="166"/>
                  </a:cubicBezTo>
                  <a:cubicBezTo>
                    <a:pt x="886" y="144"/>
                    <a:pt x="895" y="123"/>
                    <a:pt x="900" y="101"/>
                  </a:cubicBezTo>
                  <a:cubicBezTo>
                    <a:pt x="901" y="96"/>
                    <a:pt x="909" y="91"/>
                    <a:pt x="904" y="86"/>
                  </a:cubicBezTo>
                  <a:cubicBezTo>
                    <a:pt x="900" y="81"/>
                    <a:pt x="892" y="84"/>
                    <a:pt x="886" y="84"/>
                  </a:cubicBezTo>
                  <a:cubicBezTo>
                    <a:pt x="885" y="84"/>
                    <a:pt x="883" y="84"/>
                    <a:pt x="881" y="84"/>
                  </a:cubicBezTo>
                  <a:cubicBezTo>
                    <a:pt x="875" y="84"/>
                    <a:pt x="872" y="86"/>
                    <a:pt x="869" y="91"/>
                  </a:cubicBezTo>
                  <a:cubicBezTo>
                    <a:pt x="860" y="110"/>
                    <a:pt x="856" y="131"/>
                    <a:pt x="850" y="151"/>
                  </a:cubicBezTo>
                  <a:cubicBezTo>
                    <a:pt x="844" y="170"/>
                    <a:pt x="836" y="188"/>
                    <a:pt x="834" y="208"/>
                  </a:cubicBezTo>
                  <a:cubicBezTo>
                    <a:pt x="833" y="211"/>
                    <a:pt x="831" y="214"/>
                    <a:pt x="827" y="214"/>
                  </a:cubicBezTo>
                  <a:cubicBezTo>
                    <a:pt x="823" y="214"/>
                    <a:pt x="822" y="210"/>
                    <a:pt x="822" y="207"/>
                  </a:cubicBezTo>
                  <a:cubicBezTo>
                    <a:pt x="817" y="188"/>
                    <a:pt x="811" y="170"/>
                    <a:pt x="805" y="152"/>
                  </a:cubicBezTo>
                  <a:cubicBezTo>
                    <a:pt x="799" y="133"/>
                    <a:pt x="794" y="114"/>
                    <a:pt x="786" y="96"/>
                  </a:cubicBezTo>
                  <a:cubicBezTo>
                    <a:pt x="783" y="87"/>
                    <a:pt x="779" y="84"/>
                    <a:pt x="770" y="84"/>
                  </a:cubicBezTo>
                  <a:cubicBezTo>
                    <a:pt x="761" y="84"/>
                    <a:pt x="752" y="82"/>
                    <a:pt x="748" y="94"/>
                  </a:cubicBezTo>
                  <a:cubicBezTo>
                    <a:pt x="744" y="109"/>
                    <a:pt x="738" y="123"/>
                    <a:pt x="734" y="138"/>
                  </a:cubicBezTo>
                  <a:cubicBezTo>
                    <a:pt x="729" y="153"/>
                    <a:pt x="724" y="167"/>
                    <a:pt x="719" y="182"/>
                  </a:cubicBezTo>
                  <a:cubicBezTo>
                    <a:pt x="716" y="192"/>
                    <a:pt x="715" y="203"/>
                    <a:pt x="708" y="212"/>
                  </a:cubicBezTo>
                  <a:cubicBezTo>
                    <a:pt x="707" y="214"/>
                    <a:pt x="707" y="217"/>
                    <a:pt x="704" y="217"/>
                  </a:cubicBezTo>
                  <a:cubicBezTo>
                    <a:pt x="701" y="217"/>
                    <a:pt x="701" y="213"/>
                    <a:pt x="700" y="211"/>
                  </a:cubicBezTo>
                  <a:cubicBezTo>
                    <a:pt x="699" y="198"/>
                    <a:pt x="694" y="186"/>
                    <a:pt x="690" y="174"/>
                  </a:cubicBezTo>
                  <a:cubicBezTo>
                    <a:pt x="684" y="153"/>
                    <a:pt x="677" y="131"/>
                    <a:pt x="672" y="110"/>
                  </a:cubicBezTo>
                  <a:cubicBezTo>
                    <a:pt x="667" y="88"/>
                    <a:pt x="663" y="84"/>
                    <a:pt x="645" y="84"/>
                  </a:cubicBezTo>
                  <a:cubicBezTo>
                    <a:pt x="643" y="84"/>
                    <a:pt x="641" y="84"/>
                    <a:pt x="639" y="84"/>
                  </a:cubicBezTo>
                  <a:close/>
                  <a:moveTo>
                    <a:pt x="507" y="711"/>
                  </a:moveTo>
                  <a:cubicBezTo>
                    <a:pt x="507" y="730"/>
                    <a:pt x="507" y="730"/>
                    <a:pt x="526" y="730"/>
                  </a:cubicBezTo>
                  <a:cubicBezTo>
                    <a:pt x="539" y="730"/>
                    <a:pt x="541" y="729"/>
                    <a:pt x="541" y="715"/>
                  </a:cubicBezTo>
                  <a:cubicBezTo>
                    <a:pt x="541" y="677"/>
                    <a:pt x="541" y="638"/>
                    <a:pt x="540" y="600"/>
                  </a:cubicBezTo>
                  <a:cubicBezTo>
                    <a:pt x="540" y="593"/>
                    <a:pt x="543" y="587"/>
                    <a:pt x="548" y="582"/>
                  </a:cubicBezTo>
                  <a:cubicBezTo>
                    <a:pt x="553" y="576"/>
                    <a:pt x="559" y="573"/>
                    <a:pt x="564" y="569"/>
                  </a:cubicBezTo>
                  <a:cubicBezTo>
                    <a:pt x="574" y="564"/>
                    <a:pt x="594" y="566"/>
                    <a:pt x="602" y="574"/>
                  </a:cubicBezTo>
                  <a:cubicBezTo>
                    <a:pt x="611" y="582"/>
                    <a:pt x="614" y="592"/>
                    <a:pt x="614" y="604"/>
                  </a:cubicBezTo>
                  <a:cubicBezTo>
                    <a:pt x="614" y="638"/>
                    <a:pt x="614" y="672"/>
                    <a:pt x="614" y="706"/>
                  </a:cubicBezTo>
                  <a:cubicBezTo>
                    <a:pt x="614" y="730"/>
                    <a:pt x="614" y="730"/>
                    <a:pt x="638" y="730"/>
                  </a:cubicBezTo>
                  <a:cubicBezTo>
                    <a:pt x="650" y="730"/>
                    <a:pt x="650" y="730"/>
                    <a:pt x="650" y="717"/>
                  </a:cubicBezTo>
                  <a:cubicBezTo>
                    <a:pt x="650" y="684"/>
                    <a:pt x="650" y="650"/>
                    <a:pt x="650" y="617"/>
                  </a:cubicBezTo>
                  <a:cubicBezTo>
                    <a:pt x="650" y="606"/>
                    <a:pt x="651" y="597"/>
                    <a:pt x="657" y="586"/>
                  </a:cubicBezTo>
                  <a:cubicBezTo>
                    <a:pt x="667" y="565"/>
                    <a:pt x="703" y="560"/>
                    <a:pt x="716" y="579"/>
                  </a:cubicBezTo>
                  <a:cubicBezTo>
                    <a:pt x="723" y="588"/>
                    <a:pt x="724" y="598"/>
                    <a:pt x="724" y="609"/>
                  </a:cubicBezTo>
                  <a:cubicBezTo>
                    <a:pt x="724" y="645"/>
                    <a:pt x="724" y="682"/>
                    <a:pt x="724" y="718"/>
                  </a:cubicBezTo>
                  <a:cubicBezTo>
                    <a:pt x="724" y="727"/>
                    <a:pt x="727" y="731"/>
                    <a:pt x="736" y="730"/>
                  </a:cubicBezTo>
                  <a:cubicBezTo>
                    <a:pt x="738" y="730"/>
                    <a:pt x="741" y="730"/>
                    <a:pt x="743" y="730"/>
                  </a:cubicBezTo>
                  <a:cubicBezTo>
                    <a:pt x="758" y="730"/>
                    <a:pt x="759" y="729"/>
                    <a:pt x="759" y="715"/>
                  </a:cubicBezTo>
                  <a:cubicBezTo>
                    <a:pt x="759" y="677"/>
                    <a:pt x="758" y="639"/>
                    <a:pt x="759" y="601"/>
                  </a:cubicBezTo>
                  <a:cubicBezTo>
                    <a:pt x="759" y="571"/>
                    <a:pt x="742" y="540"/>
                    <a:pt x="704" y="538"/>
                  </a:cubicBezTo>
                  <a:cubicBezTo>
                    <a:pt x="681" y="536"/>
                    <a:pt x="661" y="542"/>
                    <a:pt x="646" y="560"/>
                  </a:cubicBezTo>
                  <a:cubicBezTo>
                    <a:pt x="638" y="569"/>
                    <a:pt x="638" y="569"/>
                    <a:pt x="631" y="559"/>
                  </a:cubicBezTo>
                  <a:cubicBezTo>
                    <a:pt x="630" y="558"/>
                    <a:pt x="630" y="557"/>
                    <a:pt x="629" y="556"/>
                  </a:cubicBezTo>
                  <a:cubicBezTo>
                    <a:pt x="623" y="548"/>
                    <a:pt x="616" y="541"/>
                    <a:pt x="607" y="539"/>
                  </a:cubicBezTo>
                  <a:cubicBezTo>
                    <a:pt x="584" y="534"/>
                    <a:pt x="563" y="539"/>
                    <a:pt x="545" y="555"/>
                  </a:cubicBezTo>
                  <a:cubicBezTo>
                    <a:pt x="540" y="559"/>
                    <a:pt x="537" y="561"/>
                    <a:pt x="537" y="552"/>
                  </a:cubicBezTo>
                  <a:cubicBezTo>
                    <a:pt x="536" y="543"/>
                    <a:pt x="526" y="538"/>
                    <a:pt x="515" y="539"/>
                  </a:cubicBezTo>
                  <a:cubicBezTo>
                    <a:pt x="506" y="540"/>
                    <a:pt x="507" y="546"/>
                    <a:pt x="507" y="552"/>
                  </a:cubicBezTo>
                  <a:cubicBezTo>
                    <a:pt x="507" y="580"/>
                    <a:pt x="507" y="607"/>
                    <a:pt x="507" y="634"/>
                  </a:cubicBezTo>
                  <a:cubicBezTo>
                    <a:pt x="507" y="660"/>
                    <a:pt x="507" y="685"/>
                    <a:pt x="507" y="711"/>
                  </a:cubicBezTo>
                  <a:close/>
                  <a:moveTo>
                    <a:pt x="1525" y="1142"/>
                  </a:moveTo>
                  <a:cubicBezTo>
                    <a:pt x="1517" y="1143"/>
                    <a:pt x="1511" y="1141"/>
                    <a:pt x="1505" y="1136"/>
                  </a:cubicBezTo>
                  <a:cubicBezTo>
                    <a:pt x="1501" y="1133"/>
                    <a:pt x="1495" y="1130"/>
                    <a:pt x="1498" y="1124"/>
                  </a:cubicBezTo>
                  <a:cubicBezTo>
                    <a:pt x="1500" y="1118"/>
                    <a:pt x="1504" y="1114"/>
                    <a:pt x="1512" y="1114"/>
                  </a:cubicBezTo>
                  <a:cubicBezTo>
                    <a:pt x="1521" y="1115"/>
                    <a:pt x="1530" y="1114"/>
                    <a:pt x="1538" y="1115"/>
                  </a:cubicBezTo>
                  <a:cubicBezTo>
                    <a:pt x="1573" y="1117"/>
                    <a:pt x="1610" y="1084"/>
                    <a:pt x="1602" y="1044"/>
                  </a:cubicBezTo>
                  <a:cubicBezTo>
                    <a:pt x="1600" y="1035"/>
                    <a:pt x="1599" y="1028"/>
                    <a:pt x="1611" y="1027"/>
                  </a:cubicBezTo>
                  <a:cubicBezTo>
                    <a:pt x="1614" y="1027"/>
                    <a:pt x="1617" y="1024"/>
                    <a:pt x="1619" y="1023"/>
                  </a:cubicBezTo>
                  <a:cubicBezTo>
                    <a:pt x="1626" y="1019"/>
                    <a:pt x="1624" y="1013"/>
                    <a:pt x="1623" y="1008"/>
                  </a:cubicBezTo>
                  <a:cubicBezTo>
                    <a:pt x="1623" y="1002"/>
                    <a:pt x="1618" y="1003"/>
                    <a:pt x="1613" y="1002"/>
                  </a:cubicBezTo>
                  <a:cubicBezTo>
                    <a:pt x="1598" y="1002"/>
                    <a:pt x="1582" y="1004"/>
                    <a:pt x="1567" y="1000"/>
                  </a:cubicBezTo>
                  <a:cubicBezTo>
                    <a:pt x="1560" y="999"/>
                    <a:pt x="1554" y="993"/>
                    <a:pt x="1546" y="993"/>
                  </a:cubicBezTo>
                  <a:cubicBezTo>
                    <a:pt x="1536" y="994"/>
                    <a:pt x="1525" y="992"/>
                    <a:pt x="1515" y="993"/>
                  </a:cubicBezTo>
                  <a:cubicBezTo>
                    <a:pt x="1490" y="997"/>
                    <a:pt x="1469" y="1010"/>
                    <a:pt x="1462" y="1034"/>
                  </a:cubicBezTo>
                  <a:cubicBezTo>
                    <a:pt x="1455" y="1056"/>
                    <a:pt x="1457" y="1079"/>
                    <a:pt x="1476" y="1096"/>
                  </a:cubicBezTo>
                  <a:cubicBezTo>
                    <a:pt x="1483" y="1103"/>
                    <a:pt x="1483" y="1107"/>
                    <a:pt x="1476" y="1113"/>
                  </a:cubicBezTo>
                  <a:cubicBezTo>
                    <a:pt x="1462" y="1126"/>
                    <a:pt x="1462" y="1142"/>
                    <a:pt x="1473" y="1157"/>
                  </a:cubicBezTo>
                  <a:cubicBezTo>
                    <a:pt x="1476" y="1160"/>
                    <a:pt x="1476" y="1162"/>
                    <a:pt x="1472" y="1164"/>
                  </a:cubicBezTo>
                  <a:cubicBezTo>
                    <a:pt x="1470" y="1166"/>
                    <a:pt x="1468" y="1168"/>
                    <a:pt x="1466" y="1170"/>
                  </a:cubicBezTo>
                  <a:cubicBezTo>
                    <a:pt x="1449" y="1183"/>
                    <a:pt x="1444" y="1201"/>
                    <a:pt x="1454" y="1218"/>
                  </a:cubicBezTo>
                  <a:cubicBezTo>
                    <a:pt x="1464" y="1235"/>
                    <a:pt x="1479" y="1246"/>
                    <a:pt x="1499" y="1249"/>
                  </a:cubicBezTo>
                  <a:cubicBezTo>
                    <a:pt x="1517" y="1252"/>
                    <a:pt x="1535" y="1253"/>
                    <a:pt x="1553" y="1250"/>
                  </a:cubicBezTo>
                  <a:cubicBezTo>
                    <a:pt x="1584" y="1245"/>
                    <a:pt x="1607" y="1232"/>
                    <a:pt x="1619" y="1200"/>
                  </a:cubicBezTo>
                  <a:cubicBezTo>
                    <a:pt x="1627" y="1180"/>
                    <a:pt x="1611" y="1155"/>
                    <a:pt x="1593" y="1148"/>
                  </a:cubicBezTo>
                  <a:cubicBezTo>
                    <a:pt x="1578" y="1142"/>
                    <a:pt x="1563" y="1143"/>
                    <a:pt x="1549" y="1142"/>
                  </a:cubicBezTo>
                  <a:cubicBezTo>
                    <a:pt x="1540" y="1142"/>
                    <a:pt x="1532" y="1142"/>
                    <a:pt x="1525" y="1142"/>
                  </a:cubicBezTo>
                  <a:close/>
                  <a:moveTo>
                    <a:pt x="1556" y="1172"/>
                  </a:moveTo>
                  <a:cubicBezTo>
                    <a:pt x="1566" y="1172"/>
                    <a:pt x="1576" y="1176"/>
                    <a:pt x="1583" y="1183"/>
                  </a:cubicBezTo>
                  <a:cubicBezTo>
                    <a:pt x="1589" y="1190"/>
                    <a:pt x="1589" y="1198"/>
                    <a:pt x="1583" y="1205"/>
                  </a:cubicBezTo>
                  <a:cubicBezTo>
                    <a:pt x="1575" y="1215"/>
                    <a:pt x="1565" y="1220"/>
                    <a:pt x="1553" y="1223"/>
                  </a:cubicBezTo>
                  <a:cubicBezTo>
                    <a:pt x="1534" y="1228"/>
                    <a:pt x="1516" y="1225"/>
                    <a:pt x="1499" y="1219"/>
                  </a:cubicBezTo>
                  <a:cubicBezTo>
                    <a:pt x="1486" y="1214"/>
                    <a:pt x="1479" y="1203"/>
                    <a:pt x="1482" y="1193"/>
                  </a:cubicBezTo>
                  <a:cubicBezTo>
                    <a:pt x="1485" y="1182"/>
                    <a:pt x="1496" y="1168"/>
                    <a:pt x="1514" y="1171"/>
                  </a:cubicBezTo>
                  <a:cubicBezTo>
                    <a:pt x="1526" y="1173"/>
                    <a:pt x="1541" y="1171"/>
                    <a:pt x="1556" y="1172"/>
                  </a:cubicBezTo>
                  <a:close/>
                  <a:moveTo>
                    <a:pt x="1531" y="1019"/>
                  </a:moveTo>
                  <a:cubicBezTo>
                    <a:pt x="1553" y="1017"/>
                    <a:pt x="1570" y="1033"/>
                    <a:pt x="1570" y="1052"/>
                  </a:cubicBezTo>
                  <a:cubicBezTo>
                    <a:pt x="1570" y="1075"/>
                    <a:pt x="1554" y="1093"/>
                    <a:pt x="1532" y="1091"/>
                  </a:cubicBezTo>
                  <a:cubicBezTo>
                    <a:pt x="1508" y="1089"/>
                    <a:pt x="1494" y="1082"/>
                    <a:pt x="1493" y="1053"/>
                  </a:cubicBezTo>
                  <a:cubicBezTo>
                    <a:pt x="1494" y="1029"/>
                    <a:pt x="1508" y="1020"/>
                    <a:pt x="1531" y="1019"/>
                  </a:cubicBezTo>
                  <a:close/>
                  <a:moveTo>
                    <a:pt x="1413" y="934"/>
                  </a:moveTo>
                  <a:cubicBezTo>
                    <a:pt x="1413" y="909"/>
                    <a:pt x="1413" y="909"/>
                    <a:pt x="1389" y="910"/>
                  </a:cubicBezTo>
                  <a:cubicBezTo>
                    <a:pt x="1388" y="910"/>
                    <a:pt x="1387" y="910"/>
                    <a:pt x="1387" y="910"/>
                  </a:cubicBezTo>
                  <a:cubicBezTo>
                    <a:pt x="1379" y="910"/>
                    <a:pt x="1376" y="915"/>
                    <a:pt x="1376" y="921"/>
                  </a:cubicBezTo>
                  <a:cubicBezTo>
                    <a:pt x="1376" y="939"/>
                    <a:pt x="1377" y="956"/>
                    <a:pt x="1377" y="974"/>
                  </a:cubicBezTo>
                  <a:cubicBezTo>
                    <a:pt x="1377" y="983"/>
                    <a:pt x="1377" y="991"/>
                    <a:pt x="1377" y="1000"/>
                  </a:cubicBezTo>
                  <a:cubicBezTo>
                    <a:pt x="1377" y="1005"/>
                    <a:pt x="1374" y="1009"/>
                    <a:pt x="1369" y="1005"/>
                  </a:cubicBezTo>
                  <a:cubicBezTo>
                    <a:pt x="1352" y="990"/>
                    <a:pt x="1332" y="993"/>
                    <a:pt x="1312" y="993"/>
                  </a:cubicBezTo>
                  <a:cubicBezTo>
                    <a:pt x="1303" y="994"/>
                    <a:pt x="1294" y="998"/>
                    <a:pt x="1287" y="1003"/>
                  </a:cubicBezTo>
                  <a:cubicBezTo>
                    <a:pt x="1265" y="1017"/>
                    <a:pt x="1252" y="1039"/>
                    <a:pt x="1248" y="1065"/>
                  </a:cubicBezTo>
                  <a:cubicBezTo>
                    <a:pt x="1244" y="1096"/>
                    <a:pt x="1244" y="1128"/>
                    <a:pt x="1261" y="1157"/>
                  </a:cubicBezTo>
                  <a:cubicBezTo>
                    <a:pt x="1270" y="1170"/>
                    <a:pt x="1281" y="1181"/>
                    <a:pt x="1296" y="1185"/>
                  </a:cubicBezTo>
                  <a:cubicBezTo>
                    <a:pt x="1323" y="1191"/>
                    <a:pt x="1349" y="1188"/>
                    <a:pt x="1370" y="1167"/>
                  </a:cubicBezTo>
                  <a:cubicBezTo>
                    <a:pt x="1372" y="1165"/>
                    <a:pt x="1375" y="1162"/>
                    <a:pt x="1379" y="1163"/>
                  </a:cubicBezTo>
                  <a:cubicBezTo>
                    <a:pt x="1382" y="1165"/>
                    <a:pt x="1381" y="1169"/>
                    <a:pt x="1381" y="1172"/>
                  </a:cubicBezTo>
                  <a:cubicBezTo>
                    <a:pt x="1383" y="1181"/>
                    <a:pt x="1390" y="1186"/>
                    <a:pt x="1403" y="1186"/>
                  </a:cubicBezTo>
                  <a:cubicBezTo>
                    <a:pt x="1413" y="1185"/>
                    <a:pt x="1413" y="1178"/>
                    <a:pt x="1413" y="1172"/>
                  </a:cubicBezTo>
                  <a:cubicBezTo>
                    <a:pt x="1413" y="1131"/>
                    <a:pt x="1413" y="1090"/>
                    <a:pt x="1413" y="1049"/>
                  </a:cubicBezTo>
                  <a:cubicBezTo>
                    <a:pt x="1413" y="1010"/>
                    <a:pt x="1413" y="972"/>
                    <a:pt x="1413" y="934"/>
                  </a:cubicBezTo>
                  <a:close/>
                  <a:moveTo>
                    <a:pt x="1378" y="1113"/>
                  </a:moveTo>
                  <a:cubicBezTo>
                    <a:pt x="1378" y="1136"/>
                    <a:pt x="1360" y="1155"/>
                    <a:pt x="1337" y="1157"/>
                  </a:cubicBezTo>
                  <a:cubicBezTo>
                    <a:pt x="1319" y="1159"/>
                    <a:pt x="1304" y="1154"/>
                    <a:pt x="1294" y="1139"/>
                  </a:cubicBezTo>
                  <a:cubicBezTo>
                    <a:pt x="1286" y="1128"/>
                    <a:pt x="1283" y="1116"/>
                    <a:pt x="1283" y="1102"/>
                  </a:cubicBezTo>
                  <a:cubicBezTo>
                    <a:pt x="1282" y="1085"/>
                    <a:pt x="1282" y="1067"/>
                    <a:pt x="1290" y="1051"/>
                  </a:cubicBezTo>
                  <a:cubicBezTo>
                    <a:pt x="1297" y="1036"/>
                    <a:pt x="1308" y="1024"/>
                    <a:pt x="1325" y="1022"/>
                  </a:cubicBezTo>
                  <a:cubicBezTo>
                    <a:pt x="1342" y="1020"/>
                    <a:pt x="1358" y="1021"/>
                    <a:pt x="1371" y="1035"/>
                  </a:cubicBezTo>
                  <a:cubicBezTo>
                    <a:pt x="1376" y="1041"/>
                    <a:pt x="1378" y="1046"/>
                    <a:pt x="1378" y="1052"/>
                  </a:cubicBezTo>
                  <a:cubicBezTo>
                    <a:pt x="1378" y="1064"/>
                    <a:pt x="1378" y="1075"/>
                    <a:pt x="1378" y="1086"/>
                  </a:cubicBezTo>
                  <a:cubicBezTo>
                    <a:pt x="1378" y="1086"/>
                    <a:pt x="1378" y="1086"/>
                    <a:pt x="1378" y="1086"/>
                  </a:cubicBezTo>
                  <a:cubicBezTo>
                    <a:pt x="1378" y="1095"/>
                    <a:pt x="1378" y="1104"/>
                    <a:pt x="1378" y="1113"/>
                  </a:cubicBezTo>
                  <a:close/>
                  <a:moveTo>
                    <a:pt x="578" y="259"/>
                  </a:moveTo>
                  <a:cubicBezTo>
                    <a:pt x="603" y="241"/>
                    <a:pt x="611" y="213"/>
                    <a:pt x="614" y="183"/>
                  </a:cubicBezTo>
                  <a:cubicBezTo>
                    <a:pt x="615" y="171"/>
                    <a:pt x="610" y="159"/>
                    <a:pt x="609" y="147"/>
                  </a:cubicBezTo>
                  <a:cubicBezTo>
                    <a:pt x="608" y="137"/>
                    <a:pt x="603" y="129"/>
                    <a:pt x="599" y="121"/>
                  </a:cubicBezTo>
                  <a:cubicBezTo>
                    <a:pt x="579" y="87"/>
                    <a:pt x="527" y="70"/>
                    <a:pt x="488" y="85"/>
                  </a:cubicBezTo>
                  <a:cubicBezTo>
                    <a:pt x="453" y="99"/>
                    <a:pt x="436" y="127"/>
                    <a:pt x="431" y="163"/>
                  </a:cubicBezTo>
                  <a:cubicBezTo>
                    <a:pt x="429" y="180"/>
                    <a:pt x="430" y="196"/>
                    <a:pt x="436" y="213"/>
                  </a:cubicBezTo>
                  <a:cubicBezTo>
                    <a:pt x="439" y="222"/>
                    <a:pt x="442" y="232"/>
                    <a:pt x="447" y="239"/>
                  </a:cubicBezTo>
                  <a:cubicBezTo>
                    <a:pt x="465" y="265"/>
                    <a:pt x="491" y="277"/>
                    <a:pt x="525" y="276"/>
                  </a:cubicBezTo>
                  <a:cubicBezTo>
                    <a:pt x="543" y="278"/>
                    <a:pt x="562" y="271"/>
                    <a:pt x="578" y="259"/>
                  </a:cubicBezTo>
                  <a:close/>
                  <a:moveTo>
                    <a:pt x="471" y="205"/>
                  </a:moveTo>
                  <a:cubicBezTo>
                    <a:pt x="466" y="185"/>
                    <a:pt x="468" y="167"/>
                    <a:pt x="472" y="147"/>
                  </a:cubicBezTo>
                  <a:cubicBezTo>
                    <a:pt x="477" y="130"/>
                    <a:pt x="493" y="116"/>
                    <a:pt x="509" y="112"/>
                  </a:cubicBezTo>
                  <a:cubicBezTo>
                    <a:pt x="525" y="108"/>
                    <a:pt x="539" y="110"/>
                    <a:pt x="553" y="119"/>
                  </a:cubicBezTo>
                  <a:cubicBezTo>
                    <a:pt x="563" y="125"/>
                    <a:pt x="568" y="135"/>
                    <a:pt x="571" y="146"/>
                  </a:cubicBezTo>
                  <a:cubicBezTo>
                    <a:pt x="577" y="167"/>
                    <a:pt x="578" y="189"/>
                    <a:pt x="571" y="211"/>
                  </a:cubicBezTo>
                  <a:cubicBezTo>
                    <a:pt x="565" y="231"/>
                    <a:pt x="549" y="249"/>
                    <a:pt x="521" y="247"/>
                  </a:cubicBezTo>
                  <a:cubicBezTo>
                    <a:pt x="496" y="247"/>
                    <a:pt x="478" y="230"/>
                    <a:pt x="471" y="205"/>
                  </a:cubicBezTo>
                  <a:close/>
                  <a:moveTo>
                    <a:pt x="472" y="1122"/>
                  </a:moveTo>
                  <a:cubicBezTo>
                    <a:pt x="475" y="1136"/>
                    <a:pt x="481" y="1148"/>
                    <a:pt x="491" y="1158"/>
                  </a:cubicBezTo>
                  <a:cubicBezTo>
                    <a:pt x="506" y="1176"/>
                    <a:pt x="524" y="1185"/>
                    <a:pt x="548" y="1187"/>
                  </a:cubicBezTo>
                  <a:cubicBezTo>
                    <a:pt x="568" y="1188"/>
                    <a:pt x="587" y="1187"/>
                    <a:pt x="605" y="1177"/>
                  </a:cubicBezTo>
                  <a:cubicBezTo>
                    <a:pt x="632" y="1162"/>
                    <a:pt x="644" y="1136"/>
                    <a:pt x="649" y="1107"/>
                  </a:cubicBezTo>
                  <a:cubicBezTo>
                    <a:pt x="652" y="1089"/>
                    <a:pt x="649" y="1072"/>
                    <a:pt x="644" y="1054"/>
                  </a:cubicBezTo>
                  <a:cubicBezTo>
                    <a:pt x="638" y="1034"/>
                    <a:pt x="627" y="1019"/>
                    <a:pt x="610" y="1007"/>
                  </a:cubicBezTo>
                  <a:cubicBezTo>
                    <a:pt x="589" y="992"/>
                    <a:pt x="566" y="991"/>
                    <a:pt x="541" y="994"/>
                  </a:cubicBezTo>
                  <a:cubicBezTo>
                    <a:pt x="526" y="995"/>
                    <a:pt x="512" y="1002"/>
                    <a:pt x="500" y="1012"/>
                  </a:cubicBezTo>
                  <a:cubicBezTo>
                    <a:pt x="476" y="1032"/>
                    <a:pt x="469" y="1060"/>
                    <a:pt x="466" y="1095"/>
                  </a:cubicBezTo>
                  <a:cubicBezTo>
                    <a:pt x="465" y="1101"/>
                    <a:pt x="470" y="1111"/>
                    <a:pt x="472" y="1122"/>
                  </a:cubicBezTo>
                  <a:close/>
                  <a:moveTo>
                    <a:pt x="508" y="1113"/>
                  </a:moveTo>
                  <a:cubicBezTo>
                    <a:pt x="505" y="1095"/>
                    <a:pt x="506" y="1078"/>
                    <a:pt x="508" y="1061"/>
                  </a:cubicBezTo>
                  <a:cubicBezTo>
                    <a:pt x="511" y="1042"/>
                    <a:pt x="538" y="1021"/>
                    <a:pt x="554" y="1022"/>
                  </a:cubicBezTo>
                  <a:cubicBezTo>
                    <a:pt x="570" y="1022"/>
                    <a:pt x="586" y="1024"/>
                    <a:pt x="596" y="1037"/>
                  </a:cubicBezTo>
                  <a:cubicBezTo>
                    <a:pt x="602" y="1044"/>
                    <a:pt x="607" y="1052"/>
                    <a:pt x="608" y="1061"/>
                  </a:cubicBezTo>
                  <a:cubicBezTo>
                    <a:pt x="608" y="1064"/>
                    <a:pt x="609" y="1067"/>
                    <a:pt x="610" y="1070"/>
                  </a:cubicBezTo>
                  <a:cubicBezTo>
                    <a:pt x="618" y="1089"/>
                    <a:pt x="612" y="1107"/>
                    <a:pt x="607" y="1125"/>
                  </a:cubicBezTo>
                  <a:cubicBezTo>
                    <a:pt x="601" y="1143"/>
                    <a:pt x="588" y="1160"/>
                    <a:pt x="558" y="1157"/>
                  </a:cubicBezTo>
                  <a:cubicBezTo>
                    <a:pt x="530" y="1157"/>
                    <a:pt x="512" y="1141"/>
                    <a:pt x="508" y="1113"/>
                  </a:cubicBezTo>
                  <a:close/>
                  <a:moveTo>
                    <a:pt x="430" y="716"/>
                  </a:moveTo>
                  <a:cubicBezTo>
                    <a:pt x="450" y="703"/>
                    <a:pt x="459" y="683"/>
                    <a:pt x="464" y="661"/>
                  </a:cubicBezTo>
                  <a:cubicBezTo>
                    <a:pt x="468" y="648"/>
                    <a:pt x="467" y="635"/>
                    <a:pt x="466" y="621"/>
                  </a:cubicBezTo>
                  <a:cubicBezTo>
                    <a:pt x="463" y="592"/>
                    <a:pt x="453" y="567"/>
                    <a:pt x="427" y="550"/>
                  </a:cubicBezTo>
                  <a:cubicBezTo>
                    <a:pt x="401" y="534"/>
                    <a:pt x="372" y="532"/>
                    <a:pt x="345" y="541"/>
                  </a:cubicBezTo>
                  <a:cubicBezTo>
                    <a:pt x="310" y="552"/>
                    <a:pt x="291" y="580"/>
                    <a:pt x="287" y="617"/>
                  </a:cubicBezTo>
                  <a:cubicBezTo>
                    <a:pt x="286" y="629"/>
                    <a:pt x="286" y="641"/>
                    <a:pt x="287" y="654"/>
                  </a:cubicBezTo>
                  <a:cubicBezTo>
                    <a:pt x="289" y="671"/>
                    <a:pt x="295" y="686"/>
                    <a:pt x="306" y="700"/>
                  </a:cubicBezTo>
                  <a:cubicBezTo>
                    <a:pt x="324" y="722"/>
                    <a:pt x="348" y="733"/>
                    <a:pt x="378" y="731"/>
                  </a:cubicBezTo>
                  <a:cubicBezTo>
                    <a:pt x="396" y="733"/>
                    <a:pt x="414" y="727"/>
                    <a:pt x="430" y="716"/>
                  </a:cubicBezTo>
                  <a:close/>
                  <a:moveTo>
                    <a:pt x="331" y="592"/>
                  </a:moveTo>
                  <a:cubicBezTo>
                    <a:pt x="339" y="580"/>
                    <a:pt x="349" y="569"/>
                    <a:pt x="365" y="567"/>
                  </a:cubicBezTo>
                  <a:cubicBezTo>
                    <a:pt x="387" y="564"/>
                    <a:pt x="406" y="568"/>
                    <a:pt x="419" y="588"/>
                  </a:cubicBezTo>
                  <a:cubicBezTo>
                    <a:pt x="423" y="595"/>
                    <a:pt x="426" y="603"/>
                    <a:pt x="427" y="610"/>
                  </a:cubicBezTo>
                  <a:cubicBezTo>
                    <a:pt x="433" y="635"/>
                    <a:pt x="431" y="661"/>
                    <a:pt x="416" y="684"/>
                  </a:cubicBezTo>
                  <a:cubicBezTo>
                    <a:pt x="403" y="706"/>
                    <a:pt x="362" y="708"/>
                    <a:pt x="345" y="692"/>
                  </a:cubicBezTo>
                  <a:cubicBezTo>
                    <a:pt x="329" y="678"/>
                    <a:pt x="323" y="661"/>
                    <a:pt x="323" y="631"/>
                  </a:cubicBezTo>
                  <a:cubicBezTo>
                    <a:pt x="323" y="619"/>
                    <a:pt x="323" y="605"/>
                    <a:pt x="331" y="592"/>
                  </a:cubicBezTo>
                  <a:close/>
                  <a:moveTo>
                    <a:pt x="1073" y="259"/>
                  </a:moveTo>
                  <a:cubicBezTo>
                    <a:pt x="1073" y="269"/>
                    <a:pt x="1075" y="272"/>
                    <a:pt x="1086" y="272"/>
                  </a:cubicBezTo>
                  <a:cubicBezTo>
                    <a:pt x="1088" y="272"/>
                    <a:pt x="1090" y="272"/>
                    <a:pt x="1092" y="272"/>
                  </a:cubicBezTo>
                  <a:cubicBezTo>
                    <a:pt x="1105" y="272"/>
                    <a:pt x="1106" y="271"/>
                    <a:pt x="1106" y="258"/>
                  </a:cubicBezTo>
                  <a:cubicBezTo>
                    <a:pt x="1106" y="221"/>
                    <a:pt x="1106" y="184"/>
                    <a:pt x="1106" y="147"/>
                  </a:cubicBezTo>
                  <a:cubicBezTo>
                    <a:pt x="1106" y="143"/>
                    <a:pt x="1106" y="140"/>
                    <a:pt x="1107" y="137"/>
                  </a:cubicBezTo>
                  <a:cubicBezTo>
                    <a:pt x="1117" y="117"/>
                    <a:pt x="1157" y="104"/>
                    <a:pt x="1177" y="114"/>
                  </a:cubicBezTo>
                  <a:cubicBezTo>
                    <a:pt x="1179" y="115"/>
                    <a:pt x="1180" y="117"/>
                    <a:pt x="1182" y="118"/>
                  </a:cubicBezTo>
                  <a:cubicBezTo>
                    <a:pt x="1194" y="131"/>
                    <a:pt x="1196" y="147"/>
                    <a:pt x="1196" y="163"/>
                  </a:cubicBezTo>
                  <a:cubicBezTo>
                    <a:pt x="1197" y="195"/>
                    <a:pt x="1196" y="226"/>
                    <a:pt x="1196" y="258"/>
                  </a:cubicBezTo>
                  <a:cubicBezTo>
                    <a:pt x="1196" y="271"/>
                    <a:pt x="1197" y="272"/>
                    <a:pt x="1210" y="272"/>
                  </a:cubicBezTo>
                  <a:cubicBezTo>
                    <a:pt x="1212" y="272"/>
                    <a:pt x="1213" y="272"/>
                    <a:pt x="1215" y="272"/>
                  </a:cubicBezTo>
                  <a:cubicBezTo>
                    <a:pt x="1227" y="272"/>
                    <a:pt x="1229" y="270"/>
                    <a:pt x="1229" y="258"/>
                  </a:cubicBezTo>
                  <a:cubicBezTo>
                    <a:pt x="1229" y="222"/>
                    <a:pt x="1229" y="187"/>
                    <a:pt x="1229" y="151"/>
                  </a:cubicBezTo>
                  <a:cubicBezTo>
                    <a:pt x="1229" y="142"/>
                    <a:pt x="1228" y="132"/>
                    <a:pt x="1225" y="123"/>
                  </a:cubicBezTo>
                  <a:cubicBezTo>
                    <a:pt x="1219" y="105"/>
                    <a:pt x="1208" y="91"/>
                    <a:pt x="1189" y="85"/>
                  </a:cubicBezTo>
                  <a:cubicBezTo>
                    <a:pt x="1173" y="80"/>
                    <a:pt x="1156" y="84"/>
                    <a:pt x="1139" y="84"/>
                  </a:cubicBezTo>
                  <a:cubicBezTo>
                    <a:pt x="1137" y="84"/>
                    <a:pt x="1136" y="86"/>
                    <a:pt x="1134" y="87"/>
                  </a:cubicBezTo>
                  <a:cubicBezTo>
                    <a:pt x="1128" y="91"/>
                    <a:pt x="1121" y="96"/>
                    <a:pt x="1115" y="100"/>
                  </a:cubicBezTo>
                  <a:cubicBezTo>
                    <a:pt x="1113" y="102"/>
                    <a:pt x="1111" y="105"/>
                    <a:pt x="1108" y="103"/>
                  </a:cubicBezTo>
                  <a:cubicBezTo>
                    <a:pt x="1105" y="102"/>
                    <a:pt x="1106" y="98"/>
                    <a:pt x="1106" y="96"/>
                  </a:cubicBezTo>
                  <a:cubicBezTo>
                    <a:pt x="1106" y="69"/>
                    <a:pt x="1106" y="43"/>
                    <a:pt x="1106" y="17"/>
                  </a:cubicBezTo>
                  <a:cubicBezTo>
                    <a:pt x="1106" y="0"/>
                    <a:pt x="1106" y="0"/>
                    <a:pt x="1089" y="0"/>
                  </a:cubicBezTo>
                  <a:cubicBezTo>
                    <a:pt x="1074" y="0"/>
                    <a:pt x="1073" y="1"/>
                    <a:pt x="1073" y="16"/>
                  </a:cubicBezTo>
                  <a:cubicBezTo>
                    <a:pt x="1073" y="56"/>
                    <a:pt x="1073" y="96"/>
                    <a:pt x="1073" y="136"/>
                  </a:cubicBezTo>
                  <a:cubicBezTo>
                    <a:pt x="1073" y="177"/>
                    <a:pt x="1073" y="218"/>
                    <a:pt x="1073" y="259"/>
                  </a:cubicBezTo>
                  <a:close/>
                  <a:moveTo>
                    <a:pt x="1150" y="1092"/>
                  </a:moveTo>
                  <a:cubicBezTo>
                    <a:pt x="1168" y="1092"/>
                    <a:pt x="1186" y="1092"/>
                    <a:pt x="1204" y="1092"/>
                  </a:cubicBezTo>
                  <a:cubicBezTo>
                    <a:pt x="1215" y="1092"/>
                    <a:pt x="1218" y="1087"/>
                    <a:pt x="1219" y="1077"/>
                  </a:cubicBezTo>
                  <a:cubicBezTo>
                    <a:pt x="1220" y="1062"/>
                    <a:pt x="1216" y="1049"/>
                    <a:pt x="1210" y="1036"/>
                  </a:cubicBezTo>
                  <a:cubicBezTo>
                    <a:pt x="1204" y="1020"/>
                    <a:pt x="1193" y="1008"/>
                    <a:pt x="1177" y="1001"/>
                  </a:cubicBezTo>
                  <a:cubicBezTo>
                    <a:pt x="1155" y="992"/>
                    <a:pt x="1133" y="991"/>
                    <a:pt x="1109" y="999"/>
                  </a:cubicBezTo>
                  <a:cubicBezTo>
                    <a:pt x="1079" y="1010"/>
                    <a:pt x="1062" y="1031"/>
                    <a:pt x="1056" y="1061"/>
                  </a:cubicBezTo>
                  <a:cubicBezTo>
                    <a:pt x="1051" y="1090"/>
                    <a:pt x="1052" y="1120"/>
                    <a:pt x="1069" y="1148"/>
                  </a:cubicBezTo>
                  <a:cubicBezTo>
                    <a:pt x="1081" y="1169"/>
                    <a:pt x="1100" y="1180"/>
                    <a:pt x="1122" y="1185"/>
                  </a:cubicBezTo>
                  <a:cubicBezTo>
                    <a:pt x="1149" y="1190"/>
                    <a:pt x="1176" y="1186"/>
                    <a:pt x="1200" y="1171"/>
                  </a:cubicBezTo>
                  <a:cubicBezTo>
                    <a:pt x="1206" y="1168"/>
                    <a:pt x="1213" y="1165"/>
                    <a:pt x="1214" y="1157"/>
                  </a:cubicBezTo>
                  <a:cubicBezTo>
                    <a:pt x="1215" y="1147"/>
                    <a:pt x="1202" y="1139"/>
                    <a:pt x="1193" y="1144"/>
                  </a:cubicBezTo>
                  <a:cubicBezTo>
                    <a:pt x="1187" y="1147"/>
                    <a:pt x="1180" y="1150"/>
                    <a:pt x="1174" y="1153"/>
                  </a:cubicBezTo>
                  <a:cubicBezTo>
                    <a:pt x="1158" y="1161"/>
                    <a:pt x="1140" y="1161"/>
                    <a:pt x="1124" y="1155"/>
                  </a:cubicBezTo>
                  <a:cubicBezTo>
                    <a:pt x="1112" y="1151"/>
                    <a:pt x="1102" y="1142"/>
                    <a:pt x="1096" y="1129"/>
                  </a:cubicBezTo>
                  <a:cubicBezTo>
                    <a:pt x="1092" y="1121"/>
                    <a:pt x="1091" y="1112"/>
                    <a:pt x="1089" y="1104"/>
                  </a:cubicBezTo>
                  <a:cubicBezTo>
                    <a:pt x="1087" y="1093"/>
                    <a:pt x="1087" y="1092"/>
                    <a:pt x="1099" y="1092"/>
                  </a:cubicBezTo>
                  <a:cubicBezTo>
                    <a:pt x="1116" y="1092"/>
                    <a:pt x="1133" y="1092"/>
                    <a:pt x="1150" y="1092"/>
                  </a:cubicBezTo>
                  <a:cubicBezTo>
                    <a:pt x="1150" y="1092"/>
                    <a:pt x="1150" y="1092"/>
                    <a:pt x="1150" y="1092"/>
                  </a:cubicBezTo>
                  <a:close/>
                  <a:moveTo>
                    <a:pt x="1099" y="1070"/>
                  </a:moveTo>
                  <a:cubicBezTo>
                    <a:pt x="1092" y="1071"/>
                    <a:pt x="1089" y="1067"/>
                    <a:pt x="1091" y="1060"/>
                  </a:cubicBezTo>
                  <a:cubicBezTo>
                    <a:pt x="1094" y="1045"/>
                    <a:pt x="1108" y="1023"/>
                    <a:pt x="1128" y="1022"/>
                  </a:cubicBezTo>
                  <a:cubicBezTo>
                    <a:pt x="1142" y="1021"/>
                    <a:pt x="1156" y="1018"/>
                    <a:pt x="1168" y="1029"/>
                  </a:cubicBezTo>
                  <a:cubicBezTo>
                    <a:pt x="1181" y="1038"/>
                    <a:pt x="1185" y="1051"/>
                    <a:pt x="1187" y="1066"/>
                  </a:cubicBezTo>
                  <a:cubicBezTo>
                    <a:pt x="1188" y="1071"/>
                    <a:pt x="1183" y="1070"/>
                    <a:pt x="1180" y="1070"/>
                  </a:cubicBezTo>
                  <a:cubicBezTo>
                    <a:pt x="1166" y="1070"/>
                    <a:pt x="1153" y="1070"/>
                    <a:pt x="1139" y="1070"/>
                  </a:cubicBezTo>
                  <a:cubicBezTo>
                    <a:pt x="1139" y="1070"/>
                    <a:pt x="1139" y="1070"/>
                    <a:pt x="1139" y="1070"/>
                  </a:cubicBezTo>
                  <a:cubicBezTo>
                    <a:pt x="1126" y="1070"/>
                    <a:pt x="1113" y="1070"/>
                    <a:pt x="1099" y="1070"/>
                  </a:cubicBezTo>
                  <a:close/>
                  <a:moveTo>
                    <a:pt x="1741" y="1092"/>
                  </a:moveTo>
                  <a:cubicBezTo>
                    <a:pt x="1759" y="1092"/>
                    <a:pt x="1776" y="1092"/>
                    <a:pt x="1793" y="1092"/>
                  </a:cubicBezTo>
                  <a:cubicBezTo>
                    <a:pt x="1806" y="1092"/>
                    <a:pt x="1808" y="1089"/>
                    <a:pt x="1808" y="1076"/>
                  </a:cubicBezTo>
                  <a:cubicBezTo>
                    <a:pt x="1809" y="1063"/>
                    <a:pt x="1807" y="1051"/>
                    <a:pt x="1802" y="1038"/>
                  </a:cubicBezTo>
                  <a:cubicBezTo>
                    <a:pt x="1794" y="1021"/>
                    <a:pt x="1782" y="1008"/>
                    <a:pt x="1764" y="1000"/>
                  </a:cubicBezTo>
                  <a:cubicBezTo>
                    <a:pt x="1742" y="991"/>
                    <a:pt x="1720" y="991"/>
                    <a:pt x="1698" y="1000"/>
                  </a:cubicBezTo>
                  <a:cubicBezTo>
                    <a:pt x="1681" y="1006"/>
                    <a:pt x="1668" y="1016"/>
                    <a:pt x="1659" y="1031"/>
                  </a:cubicBezTo>
                  <a:cubicBezTo>
                    <a:pt x="1646" y="1050"/>
                    <a:pt x="1643" y="1071"/>
                    <a:pt x="1644" y="1094"/>
                  </a:cubicBezTo>
                  <a:cubicBezTo>
                    <a:pt x="1644" y="1110"/>
                    <a:pt x="1647" y="1127"/>
                    <a:pt x="1655" y="1141"/>
                  </a:cubicBezTo>
                  <a:cubicBezTo>
                    <a:pt x="1669" y="1168"/>
                    <a:pt x="1691" y="1183"/>
                    <a:pt x="1722" y="1186"/>
                  </a:cubicBezTo>
                  <a:cubicBezTo>
                    <a:pt x="1750" y="1188"/>
                    <a:pt x="1775" y="1183"/>
                    <a:pt x="1798" y="1165"/>
                  </a:cubicBezTo>
                  <a:cubicBezTo>
                    <a:pt x="1803" y="1161"/>
                    <a:pt x="1806" y="1157"/>
                    <a:pt x="1802" y="1151"/>
                  </a:cubicBezTo>
                  <a:cubicBezTo>
                    <a:pt x="1798" y="1144"/>
                    <a:pt x="1791" y="1140"/>
                    <a:pt x="1783" y="1144"/>
                  </a:cubicBezTo>
                  <a:cubicBezTo>
                    <a:pt x="1778" y="1147"/>
                    <a:pt x="1771" y="1149"/>
                    <a:pt x="1766" y="1152"/>
                  </a:cubicBezTo>
                  <a:cubicBezTo>
                    <a:pt x="1749" y="1161"/>
                    <a:pt x="1730" y="1162"/>
                    <a:pt x="1714" y="1155"/>
                  </a:cubicBezTo>
                  <a:cubicBezTo>
                    <a:pt x="1692" y="1145"/>
                    <a:pt x="1680" y="1127"/>
                    <a:pt x="1679" y="1102"/>
                  </a:cubicBezTo>
                  <a:cubicBezTo>
                    <a:pt x="1678" y="1095"/>
                    <a:pt x="1681" y="1092"/>
                    <a:pt x="1689" y="1092"/>
                  </a:cubicBezTo>
                  <a:cubicBezTo>
                    <a:pt x="1706" y="1092"/>
                    <a:pt x="1724" y="1092"/>
                    <a:pt x="1741" y="1092"/>
                  </a:cubicBezTo>
                  <a:cubicBezTo>
                    <a:pt x="1741" y="1092"/>
                    <a:pt x="1741" y="1092"/>
                    <a:pt x="1741" y="1092"/>
                  </a:cubicBezTo>
                  <a:close/>
                  <a:moveTo>
                    <a:pt x="1690" y="1070"/>
                  </a:moveTo>
                  <a:cubicBezTo>
                    <a:pt x="1683" y="1071"/>
                    <a:pt x="1680" y="1068"/>
                    <a:pt x="1681" y="1062"/>
                  </a:cubicBezTo>
                  <a:cubicBezTo>
                    <a:pt x="1683" y="1048"/>
                    <a:pt x="1697" y="1024"/>
                    <a:pt x="1716" y="1022"/>
                  </a:cubicBezTo>
                  <a:cubicBezTo>
                    <a:pt x="1731" y="1020"/>
                    <a:pt x="1747" y="1018"/>
                    <a:pt x="1760" y="1030"/>
                  </a:cubicBezTo>
                  <a:cubicBezTo>
                    <a:pt x="1771" y="1038"/>
                    <a:pt x="1775" y="1050"/>
                    <a:pt x="1778" y="1062"/>
                  </a:cubicBezTo>
                  <a:cubicBezTo>
                    <a:pt x="1780" y="1068"/>
                    <a:pt x="1775" y="1070"/>
                    <a:pt x="1769" y="1070"/>
                  </a:cubicBezTo>
                  <a:cubicBezTo>
                    <a:pt x="1756" y="1070"/>
                    <a:pt x="1742" y="1070"/>
                    <a:pt x="1729" y="1070"/>
                  </a:cubicBezTo>
                  <a:cubicBezTo>
                    <a:pt x="1729" y="1070"/>
                    <a:pt x="1729" y="1070"/>
                    <a:pt x="1729" y="1070"/>
                  </a:cubicBezTo>
                  <a:cubicBezTo>
                    <a:pt x="1716" y="1070"/>
                    <a:pt x="1703" y="1070"/>
                    <a:pt x="1690" y="1070"/>
                  </a:cubicBezTo>
                  <a:close/>
                  <a:moveTo>
                    <a:pt x="68" y="581"/>
                  </a:moveTo>
                  <a:cubicBezTo>
                    <a:pt x="68" y="573"/>
                    <a:pt x="70" y="568"/>
                    <a:pt x="80" y="569"/>
                  </a:cubicBezTo>
                  <a:cubicBezTo>
                    <a:pt x="90" y="570"/>
                    <a:pt x="101" y="570"/>
                    <a:pt x="111" y="569"/>
                  </a:cubicBezTo>
                  <a:cubicBezTo>
                    <a:pt x="120" y="569"/>
                    <a:pt x="120" y="563"/>
                    <a:pt x="120" y="556"/>
                  </a:cubicBezTo>
                  <a:cubicBezTo>
                    <a:pt x="120" y="549"/>
                    <a:pt x="119" y="544"/>
                    <a:pt x="111" y="544"/>
                  </a:cubicBezTo>
                  <a:cubicBezTo>
                    <a:pt x="104" y="544"/>
                    <a:pt x="97" y="544"/>
                    <a:pt x="91" y="544"/>
                  </a:cubicBezTo>
                  <a:cubicBezTo>
                    <a:pt x="66" y="544"/>
                    <a:pt x="65" y="543"/>
                    <a:pt x="68" y="518"/>
                  </a:cubicBezTo>
                  <a:cubicBezTo>
                    <a:pt x="69" y="504"/>
                    <a:pt x="83" y="487"/>
                    <a:pt x="99" y="489"/>
                  </a:cubicBezTo>
                  <a:cubicBezTo>
                    <a:pt x="103" y="489"/>
                    <a:pt x="107" y="489"/>
                    <a:pt x="110" y="488"/>
                  </a:cubicBezTo>
                  <a:cubicBezTo>
                    <a:pt x="118" y="487"/>
                    <a:pt x="123" y="479"/>
                    <a:pt x="123" y="471"/>
                  </a:cubicBezTo>
                  <a:cubicBezTo>
                    <a:pt x="123" y="461"/>
                    <a:pt x="116" y="462"/>
                    <a:pt x="109" y="460"/>
                  </a:cubicBezTo>
                  <a:cubicBezTo>
                    <a:pt x="100" y="458"/>
                    <a:pt x="92" y="460"/>
                    <a:pt x="84" y="460"/>
                  </a:cubicBezTo>
                  <a:cubicBezTo>
                    <a:pt x="68" y="461"/>
                    <a:pt x="56" y="469"/>
                    <a:pt x="47" y="480"/>
                  </a:cubicBezTo>
                  <a:cubicBezTo>
                    <a:pt x="34" y="493"/>
                    <a:pt x="32" y="511"/>
                    <a:pt x="32" y="529"/>
                  </a:cubicBezTo>
                  <a:cubicBezTo>
                    <a:pt x="32" y="544"/>
                    <a:pt x="32" y="544"/>
                    <a:pt x="17" y="544"/>
                  </a:cubicBezTo>
                  <a:cubicBezTo>
                    <a:pt x="4" y="543"/>
                    <a:pt x="0" y="548"/>
                    <a:pt x="4" y="561"/>
                  </a:cubicBezTo>
                  <a:cubicBezTo>
                    <a:pt x="6" y="569"/>
                    <a:pt x="13" y="568"/>
                    <a:pt x="19" y="569"/>
                  </a:cubicBezTo>
                  <a:cubicBezTo>
                    <a:pt x="32" y="571"/>
                    <a:pt x="32" y="571"/>
                    <a:pt x="32" y="584"/>
                  </a:cubicBezTo>
                  <a:cubicBezTo>
                    <a:pt x="32" y="624"/>
                    <a:pt x="32" y="664"/>
                    <a:pt x="32" y="704"/>
                  </a:cubicBezTo>
                  <a:cubicBezTo>
                    <a:pt x="32" y="731"/>
                    <a:pt x="32" y="730"/>
                    <a:pt x="57" y="731"/>
                  </a:cubicBezTo>
                  <a:cubicBezTo>
                    <a:pt x="66" y="731"/>
                    <a:pt x="68" y="727"/>
                    <a:pt x="68" y="720"/>
                  </a:cubicBezTo>
                  <a:cubicBezTo>
                    <a:pt x="68" y="697"/>
                    <a:pt x="68" y="674"/>
                    <a:pt x="68" y="651"/>
                  </a:cubicBezTo>
                  <a:cubicBezTo>
                    <a:pt x="68" y="628"/>
                    <a:pt x="68" y="605"/>
                    <a:pt x="68" y="581"/>
                  </a:cubicBezTo>
                  <a:close/>
                  <a:moveTo>
                    <a:pt x="278" y="1165"/>
                  </a:moveTo>
                  <a:cubicBezTo>
                    <a:pt x="278" y="1183"/>
                    <a:pt x="278" y="1183"/>
                    <a:pt x="296" y="1184"/>
                  </a:cubicBezTo>
                  <a:cubicBezTo>
                    <a:pt x="310" y="1184"/>
                    <a:pt x="310" y="1184"/>
                    <a:pt x="310" y="1169"/>
                  </a:cubicBezTo>
                  <a:cubicBezTo>
                    <a:pt x="310" y="1132"/>
                    <a:pt x="310" y="1095"/>
                    <a:pt x="310" y="1058"/>
                  </a:cubicBezTo>
                  <a:cubicBezTo>
                    <a:pt x="310" y="1052"/>
                    <a:pt x="312" y="1047"/>
                    <a:pt x="316" y="1042"/>
                  </a:cubicBezTo>
                  <a:cubicBezTo>
                    <a:pt x="324" y="1033"/>
                    <a:pt x="334" y="1027"/>
                    <a:pt x="345" y="1024"/>
                  </a:cubicBezTo>
                  <a:cubicBezTo>
                    <a:pt x="357" y="1020"/>
                    <a:pt x="371" y="1018"/>
                    <a:pt x="383" y="1028"/>
                  </a:cubicBezTo>
                  <a:cubicBezTo>
                    <a:pt x="397" y="1039"/>
                    <a:pt x="401" y="1054"/>
                    <a:pt x="401" y="1071"/>
                  </a:cubicBezTo>
                  <a:cubicBezTo>
                    <a:pt x="401" y="1102"/>
                    <a:pt x="401" y="1132"/>
                    <a:pt x="401" y="1163"/>
                  </a:cubicBezTo>
                  <a:cubicBezTo>
                    <a:pt x="401" y="1183"/>
                    <a:pt x="401" y="1182"/>
                    <a:pt x="420" y="1184"/>
                  </a:cubicBezTo>
                  <a:cubicBezTo>
                    <a:pt x="429" y="1185"/>
                    <a:pt x="433" y="1181"/>
                    <a:pt x="433" y="1173"/>
                  </a:cubicBezTo>
                  <a:cubicBezTo>
                    <a:pt x="432" y="1130"/>
                    <a:pt x="435" y="1087"/>
                    <a:pt x="431" y="1044"/>
                  </a:cubicBezTo>
                  <a:cubicBezTo>
                    <a:pt x="427" y="1014"/>
                    <a:pt x="404" y="996"/>
                    <a:pt x="376" y="994"/>
                  </a:cubicBezTo>
                  <a:cubicBezTo>
                    <a:pt x="353" y="992"/>
                    <a:pt x="333" y="1000"/>
                    <a:pt x="317" y="1017"/>
                  </a:cubicBezTo>
                  <a:cubicBezTo>
                    <a:pt x="312" y="1021"/>
                    <a:pt x="311" y="1019"/>
                    <a:pt x="309" y="1015"/>
                  </a:cubicBezTo>
                  <a:cubicBezTo>
                    <a:pt x="309" y="1013"/>
                    <a:pt x="308" y="1011"/>
                    <a:pt x="308" y="1008"/>
                  </a:cubicBezTo>
                  <a:cubicBezTo>
                    <a:pt x="306" y="1001"/>
                    <a:pt x="298" y="997"/>
                    <a:pt x="287" y="998"/>
                  </a:cubicBezTo>
                  <a:cubicBezTo>
                    <a:pt x="279" y="999"/>
                    <a:pt x="278" y="1004"/>
                    <a:pt x="278" y="1011"/>
                  </a:cubicBezTo>
                  <a:cubicBezTo>
                    <a:pt x="278" y="1037"/>
                    <a:pt x="278" y="1064"/>
                    <a:pt x="278" y="1091"/>
                  </a:cubicBezTo>
                  <a:cubicBezTo>
                    <a:pt x="278" y="1115"/>
                    <a:pt x="278" y="1140"/>
                    <a:pt x="278" y="1165"/>
                  </a:cubicBezTo>
                  <a:close/>
                  <a:moveTo>
                    <a:pt x="150" y="705"/>
                  </a:moveTo>
                  <a:cubicBezTo>
                    <a:pt x="150" y="734"/>
                    <a:pt x="145" y="730"/>
                    <a:pt x="176" y="731"/>
                  </a:cubicBezTo>
                  <a:cubicBezTo>
                    <a:pt x="185" y="731"/>
                    <a:pt x="187" y="727"/>
                    <a:pt x="187" y="719"/>
                  </a:cubicBezTo>
                  <a:cubicBezTo>
                    <a:pt x="187" y="685"/>
                    <a:pt x="187" y="651"/>
                    <a:pt x="187" y="618"/>
                  </a:cubicBezTo>
                  <a:cubicBezTo>
                    <a:pt x="187" y="597"/>
                    <a:pt x="204" y="578"/>
                    <a:pt x="225" y="574"/>
                  </a:cubicBezTo>
                  <a:cubicBezTo>
                    <a:pt x="232" y="572"/>
                    <a:pt x="240" y="574"/>
                    <a:pt x="247" y="575"/>
                  </a:cubicBezTo>
                  <a:cubicBezTo>
                    <a:pt x="257" y="576"/>
                    <a:pt x="261" y="572"/>
                    <a:pt x="265" y="564"/>
                  </a:cubicBezTo>
                  <a:cubicBezTo>
                    <a:pt x="269" y="556"/>
                    <a:pt x="267" y="542"/>
                    <a:pt x="261" y="540"/>
                  </a:cubicBezTo>
                  <a:cubicBezTo>
                    <a:pt x="253" y="538"/>
                    <a:pt x="244" y="534"/>
                    <a:pt x="237" y="536"/>
                  </a:cubicBezTo>
                  <a:cubicBezTo>
                    <a:pt x="228" y="537"/>
                    <a:pt x="217" y="537"/>
                    <a:pt x="209" y="544"/>
                  </a:cubicBezTo>
                  <a:cubicBezTo>
                    <a:pt x="204" y="549"/>
                    <a:pt x="198" y="553"/>
                    <a:pt x="194" y="558"/>
                  </a:cubicBezTo>
                  <a:cubicBezTo>
                    <a:pt x="192" y="561"/>
                    <a:pt x="189" y="563"/>
                    <a:pt x="185" y="562"/>
                  </a:cubicBezTo>
                  <a:cubicBezTo>
                    <a:pt x="182" y="561"/>
                    <a:pt x="182" y="558"/>
                    <a:pt x="182" y="556"/>
                  </a:cubicBezTo>
                  <a:cubicBezTo>
                    <a:pt x="180" y="539"/>
                    <a:pt x="179" y="539"/>
                    <a:pt x="162" y="539"/>
                  </a:cubicBezTo>
                  <a:cubicBezTo>
                    <a:pt x="151" y="539"/>
                    <a:pt x="150" y="540"/>
                    <a:pt x="150" y="551"/>
                  </a:cubicBezTo>
                  <a:cubicBezTo>
                    <a:pt x="150" y="579"/>
                    <a:pt x="150" y="607"/>
                    <a:pt x="150" y="635"/>
                  </a:cubicBezTo>
                  <a:cubicBezTo>
                    <a:pt x="150" y="658"/>
                    <a:pt x="149" y="682"/>
                    <a:pt x="150" y="705"/>
                  </a:cubicBezTo>
                  <a:close/>
                  <a:moveTo>
                    <a:pt x="1011" y="1049"/>
                  </a:moveTo>
                  <a:cubicBezTo>
                    <a:pt x="1011" y="1008"/>
                    <a:pt x="1011" y="966"/>
                    <a:pt x="1011" y="924"/>
                  </a:cubicBezTo>
                  <a:cubicBezTo>
                    <a:pt x="1011" y="913"/>
                    <a:pt x="1008" y="910"/>
                    <a:pt x="997" y="910"/>
                  </a:cubicBezTo>
                  <a:cubicBezTo>
                    <a:pt x="995" y="910"/>
                    <a:pt x="992" y="910"/>
                    <a:pt x="990" y="910"/>
                  </a:cubicBezTo>
                  <a:cubicBezTo>
                    <a:pt x="976" y="910"/>
                    <a:pt x="975" y="911"/>
                    <a:pt x="975" y="926"/>
                  </a:cubicBezTo>
                  <a:cubicBezTo>
                    <a:pt x="975" y="1006"/>
                    <a:pt x="975" y="1085"/>
                    <a:pt x="975" y="1165"/>
                  </a:cubicBezTo>
                  <a:cubicBezTo>
                    <a:pt x="975" y="1185"/>
                    <a:pt x="975" y="1185"/>
                    <a:pt x="994" y="1185"/>
                  </a:cubicBezTo>
                  <a:cubicBezTo>
                    <a:pt x="1009" y="1185"/>
                    <a:pt x="1011" y="1184"/>
                    <a:pt x="1011" y="1169"/>
                  </a:cubicBezTo>
                  <a:cubicBezTo>
                    <a:pt x="1011" y="1129"/>
                    <a:pt x="1011" y="1089"/>
                    <a:pt x="1011" y="1049"/>
                  </a:cubicBezTo>
                  <a:cubicBezTo>
                    <a:pt x="1011" y="1049"/>
                    <a:pt x="1011" y="1049"/>
                    <a:pt x="1011" y="1049"/>
                  </a:cubicBezTo>
                  <a:close/>
                  <a:moveTo>
                    <a:pt x="296" y="176"/>
                  </a:moveTo>
                  <a:cubicBezTo>
                    <a:pt x="296" y="201"/>
                    <a:pt x="296" y="226"/>
                    <a:pt x="296" y="251"/>
                  </a:cubicBezTo>
                  <a:cubicBezTo>
                    <a:pt x="295" y="276"/>
                    <a:pt x="296" y="274"/>
                    <a:pt x="318" y="274"/>
                  </a:cubicBezTo>
                  <a:cubicBezTo>
                    <a:pt x="330" y="274"/>
                    <a:pt x="331" y="274"/>
                    <a:pt x="331" y="260"/>
                  </a:cubicBezTo>
                  <a:cubicBezTo>
                    <a:pt x="331" y="232"/>
                    <a:pt x="331" y="204"/>
                    <a:pt x="331" y="176"/>
                  </a:cubicBezTo>
                  <a:cubicBezTo>
                    <a:pt x="331" y="165"/>
                    <a:pt x="331" y="155"/>
                    <a:pt x="337" y="145"/>
                  </a:cubicBezTo>
                  <a:cubicBezTo>
                    <a:pt x="349" y="123"/>
                    <a:pt x="359" y="117"/>
                    <a:pt x="377" y="118"/>
                  </a:cubicBezTo>
                  <a:cubicBezTo>
                    <a:pt x="383" y="118"/>
                    <a:pt x="389" y="119"/>
                    <a:pt x="395" y="120"/>
                  </a:cubicBezTo>
                  <a:cubicBezTo>
                    <a:pt x="401" y="120"/>
                    <a:pt x="407" y="118"/>
                    <a:pt x="408" y="112"/>
                  </a:cubicBezTo>
                  <a:cubicBezTo>
                    <a:pt x="409" y="103"/>
                    <a:pt x="415" y="93"/>
                    <a:pt x="407" y="85"/>
                  </a:cubicBezTo>
                  <a:cubicBezTo>
                    <a:pt x="406" y="84"/>
                    <a:pt x="404" y="84"/>
                    <a:pt x="402" y="84"/>
                  </a:cubicBezTo>
                  <a:cubicBezTo>
                    <a:pt x="376" y="78"/>
                    <a:pt x="353" y="82"/>
                    <a:pt x="337" y="106"/>
                  </a:cubicBezTo>
                  <a:cubicBezTo>
                    <a:pt x="336" y="108"/>
                    <a:pt x="335" y="110"/>
                    <a:pt x="333" y="109"/>
                  </a:cubicBezTo>
                  <a:cubicBezTo>
                    <a:pt x="331" y="109"/>
                    <a:pt x="330" y="107"/>
                    <a:pt x="330" y="105"/>
                  </a:cubicBezTo>
                  <a:cubicBezTo>
                    <a:pt x="329" y="101"/>
                    <a:pt x="329" y="97"/>
                    <a:pt x="328" y="94"/>
                  </a:cubicBezTo>
                  <a:cubicBezTo>
                    <a:pt x="325" y="85"/>
                    <a:pt x="318" y="82"/>
                    <a:pt x="303" y="84"/>
                  </a:cubicBezTo>
                  <a:cubicBezTo>
                    <a:pt x="297" y="84"/>
                    <a:pt x="295" y="86"/>
                    <a:pt x="295" y="92"/>
                  </a:cubicBezTo>
                  <a:cubicBezTo>
                    <a:pt x="296" y="120"/>
                    <a:pt x="295" y="148"/>
                    <a:pt x="295" y="176"/>
                  </a:cubicBezTo>
                  <a:cubicBezTo>
                    <a:pt x="296" y="176"/>
                    <a:pt x="296" y="176"/>
                    <a:pt x="296" y="176"/>
                  </a:cubicBezTo>
                  <a:close/>
                  <a:moveTo>
                    <a:pt x="946" y="179"/>
                  </a:moveTo>
                  <a:cubicBezTo>
                    <a:pt x="946" y="197"/>
                    <a:pt x="946" y="215"/>
                    <a:pt x="946" y="234"/>
                  </a:cubicBezTo>
                  <a:cubicBezTo>
                    <a:pt x="946" y="248"/>
                    <a:pt x="951" y="260"/>
                    <a:pt x="963" y="268"/>
                  </a:cubicBezTo>
                  <a:cubicBezTo>
                    <a:pt x="982" y="280"/>
                    <a:pt x="1011" y="277"/>
                    <a:pt x="1029" y="264"/>
                  </a:cubicBezTo>
                  <a:cubicBezTo>
                    <a:pt x="1036" y="259"/>
                    <a:pt x="1036" y="254"/>
                    <a:pt x="1032" y="248"/>
                  </a:cubicBezTo>
                  <a:cubicBezTo>
                    <a:pt x="1026" y="239"/>
                    <a:pt x="1020" y="238"/>
                    <a:pt x="1013" y="242"/>
                  </a:cubicBezTo>
                  <a:cubicBezTo>
                    <a:pt x="996" y="252"/>
                    <a:pt x="978" y="243"/>
                    <a:pt x="978" y="223"/>
                  </a:cubicBezTo>
                  <a:cubicBezTo>
                    <a:pt x="978" y="190"/>
                    <a:pt x="978" y="157"/>
                    <a:pt x="978" y="123"/>
                  </a:cubicBezTo>
                  <a:cubicBezTo>
                    <a:pt x="978" y="116"/>
                    <a:pt x="981" y="113"/>
                    <a:pt x="988" y="113"/>
                  </a:cubicBezTo>
                  <a:cubicBezTo>
                    <a:pt x="999" y="114"/>
                    <a:pt x="1011" y="113"/>
                    <a:pt x="1022" y="113"/>
                  </a:cubicBezTo>
                  <a:cubicBezTo>
                    <a:pt x="1028" y="113"/>
                    <a:pt x="1033" y="112"/>
                    <a:pt x="1033" y="104"/>
                  </a:cubicBezTo>
                  <a:cubicBezTo>
                    <a:pt x="1033" y="96"/>
                    <a:pt x="1032" y="90"/>
                    <a:pt x="1022" y="90"/>
                  </a:cubicBezTo>
                  <a:cubicBezTo>
                    <a:pt x="1011" y="90"/>
                    <a:pt x="1001" y="90"/>
                    <a:pt x="990" y="90"/>
                  </a:cubicBezTo>
                  <a:cubicBezTo>
                    <a:pt x="981" y="91"/>
                    <a:pt x="977" y="88"/>
                    <a:pt x="978" y="78"/>
                  </a:cubicBezTo>
                  <a:cubicBezTo>
                    <a:pt x="978" y="64"/>
                    <a:pt x="978" y="49"/>
                    <a:pt x="978" y="35"/>
                  </a:cubicBezTo>
                  <a:cubicBezTo>
                    <a:pt x="978" y="30"/>
                    <a:pt x="978" y="25"/>
                    <a:pt x="971" y="24"/>
                  </a:cubicBezTo>
                  <a:cubicBezTo>
                    <a:pt x="964" y="24"/>
                    <a:pt x="956" y="24"/>
                    <a:pt x="955" y="32"/>
                  </a:cubicBezTo>
                  <a:cubicBezTo>
                    <a:pt x="952" y="43"/>
                    <a:pt x="949" y="54"/>
                    <a:pt x="949" y="65"/>
                  </a:cubicBezTo>
                  <a:cubicBezTo>
                    <a:pt x="948" y="88"/>
                    <a:pt x="947" y="88"/>
                    <a:pt x="924" y="91"/>
                  </a:cubicBezTo>
                  <a:cubicBezTo>
                    <a:pt x="919" y="92"/>
                    <a:pt x="914" y="92"/>
                    <a:pt x="914" y="99"/>
                  </a:cubicBezTo>
                  <a:cubicBezTo>
                    <a:pt x="915" y="107"/>
                    <a:pt x="917" y="113"/>
                    <a:pt x="926" y="113"/>
                  </a:cubicBezTo>
                  <a:cubicBezTo>
                    <a:pt x="929" y="114"/>
                    <a:pt x="932" y="113"/>
                    <a:pt x="935" y="113"/>
                  </a:cubicBezTo>
                  <a:cubicBezTo>
                    <a:pt x="943" y="113"/>
                    <a:pt x="946" y="116"/>
                    <a:pt x="946" y="124"/>
                  </a:cubicBezTo>
                  <a:cubicBezTo>
                    <a:pt x="946" y="142"/>
                    <a:pt x="946" y="161"/>
                    <a:pt x="946" y="179"/>
                  </a:cubicBezTo>
                  <a:cubicBezTo>
                    <a:pt x="946" y="179"/>
                    <a:pt x="946" y="179"/>
                    <a:pt x="946" y="179"/>
                  </a:cubicBezTo>
                  <a:close/>
                </a:path>
              </a:pathLst>
            </a:custGeom>
            <a:solidFill>
              <a:srgbClr val="4C505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grpSp>
          <p:nvGrpSpPr>
            <p:cNvPr id="18" name="Group 4">
              <a:extLst>
                <a:ext uri="{FF2B5EF4-FFF2-40B4-BE49-F238E27FC236}">
                  <a16:creationId xmlns:a16="http://schemas.microsoft.com/office/drawing/2014/main" id="{57BD2C4C-DC67-B843-B26C-309622FC75F7}"/>
                </a:ext>
              </a:extLst>
            </p:cNvPr>
            <p:cNvGrpSpPr>
              <a:grpSpLocks noChangeAspect="1"/>
            </p:cNvGrpSpPr>
            <p:nvPr/>
          </p:nvGrpSpPr>
          <p:grpSpPr bwMode="gray">
            <a:xfrm>
              <a:off x="334963" y="296652"/>
              <a:ext cx="538094" cy="540000"/>
              <a:chOff x="2711" y="1027"/>
              <a:chExt cx="2258" cy="2266"/>
            </a:xfrm>
          </p:grpSpPr>
          <p:sp>
            <p:nvSpPr>
              <p:cNvPr id="19" name="AutoShape 3">
                <a:extLst>
                  <a:ext uri="{FF2B5EF4-FFF2-40B4-BE49-F238E27FC236}">
                    <a16:creationId xmlns:a16="http://schemas.microsoft.com/office/drawing/2014/main" id="{FE1DC41B-291E-574C-9F2C-874E70A40758}"/>
                  </a:ext>
                </a:extLst>
              </p:cNvPr>
              <p:cNvSpPr>
                <a:spLocks noChangeAspect="1" noChangeArrowheads="1" noTextEdit="1"/>
              </p:cNvSpPr>
              <p:nvPr/>
            </p:nvSpPr>
            <p:spPr bwMode="gray">
              <a:xfrm>
                <a:off x="2711" y="1027"/>
                <a:ext cx="2258" cy="22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20" name="Freeform 5">
                <a:extLst>
                  <a:ext uri="{FF2B5EF4-FFF2-40B4-BE49-F238E27FC236}">
                    <a16:creationId xmlns:a16="http://schemas.microsoft.com/office/drawing/2014/main" id="{D4B633C8-F761-C54B-9BD2-EB59D49A2DBC}"/>
                  </a:ext>
                </a:extLst>
              </p:cNvPr>
              <p:cNvSpPr>
                <a:spLocks/>
              </p:cNvSpPr>
              <p:nvPr/>
            </p:nvSpPr>
            <p:spPr bwMode="gray">
              <a:xfrm>
                <a:off x="2709" y="1029"/>
                <a:ext cx="2260" cy="2262"/>
              </a:xfrm>
              <a:custGeom>
                <a:avLst/>
                <a:gdLst>
                  <a:gd name="T0" fmla="*/ 2260 w 2260"/>
                  <a:gd name="T1" fmla="*/ 0 h 2262"/>
                  <a:gd name="T2" fmla="*/ 1612 w 2260"/>
                  <a:gd name="T3" fmla="*/ 649 h 2262"/>
                  <a:gd name="T4" fmla="*/ 1612 w 2260"/>
                  <a:gd name="T5" fmla="*/ 649 h 2262"/>
                  <a:gd name="T6" fmla="*/ 2035 w 2260"/>
                  <a:gd name="T7" fmla="*/ 0 h 2262"/>
                  <a:gd name="T8" fmla="*/ 0 w 2260"/>
                  <a:gd name="T9" fmla="*/ 0 h 2262"/>
                  <a:gd name="T10" fmla="*/ 0 w 2260"/>
                  <a:gd name="T11" fmla="*/ 2262 h 2262"/>
                  <a:gd name="T12" fmla="*/ 2260 w 2260"/>
                  <a:gd name="T13" fmla="*/ 2262 h 2262"/>
                  <a:gd name="T14" fmla="*/ 2260 w 2260"/>
                  <a:gd name="T15" fmla="*/ 0 h 2262"/>
                  <a:gd name="T16" fmla="*/ 2260 w 2260"/>
                  <a:gd name="T17" fmla="*/ 0 h 2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0" h="2262">
                    <a:moveTo>
                      <a:pt x="2260" y="0"/>
                    </a:moveTo>
                    <a:lnTo>
                      <a:pt x="1612" y="649"/>
                    </a:lnTo>
                    <a:lnTo>
                      <a:pt x="1612" y="649"/>
                    </a:lnTo>
                    <a:lnTo>
                      <a:pt x="2035" y="0"/>
                    </a:lnTo>
                    <a:lnTo>
                      <a:pt x="0" y="0"/>
                    </a:lnTo>
                    <a:lnTo>
                      <a:pt x="0" y="2262"/>
                    </a:lnTo>
                    <a:lnTo>
                      <a:pt x="2260" y="2262"/>
                    </a:lnTo>
                    <a:lnTo>
                      <a:pt x="2260" y="0"/>
                    </a:lnTo>
                    <a:lnTo>
                      <a:pt x="2260" y="0"/>
                    </a:lnTo>
                    <a:close/>
                  </a:path>
                </a:pathLst>
              </a:custGeom>
              <a:solidFill>
                <a:srgbClr val="E55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21" name="Freeform 6">
                <a:extLst>
                  <a:ext uri="{FF2B5EF4-FFF2-40B4-BE49-F238E27FC236}">
                    <a16:creationId xmlns:a16="http://schemas.microsoft.com/office/drawing/2014/main" id="{B16BAAE4-1A41-C843-9754-490F7A1E1270}"/>
                  </a:ext>
                </a:extLst>
              </p:cNvPr>
              <p:cNvSpPr>
                <a:spLocks noEditPoints="1"/>
              </p:cNvSpPr>
              <p:nvPr/>
            </p:nvSpPr>
            <p:spPr bwMode="gray">
              <a:xfrm>
                <a:off x="3623" y="1696"/>
                <a:ext cx="1167" cy="922"/>
              </a:xfrm>
              <a:custGeom>
                <a:avLst/>
                <a:gdLst>
                  <a:gd name="T0" fmla="*/ 411 w 580"/>
                  <a:gd name="T1" fmla="*/ 213 h 458"/>
                  <a:gd name="T2" fmla="*/ 570 w 580"/>
                  <a:gd name="T3" fmla="*/ 37 h 458"/>
                  <a:gd name="T4" fmla="*/ 580 w 580"/>
                  <a:gd name="T5" fmla="*/ 20 h 458"/>
                  <a:gd name="T6" fmla="*/ 545 w 580"/>
                  <a:gd name="T7" fmla="*/ 0 h 458"/>
                  <a:gd name="T8" fmla="*/ 519 w 580"/>
                  <a:gd name="T9" fmla="*/ 16 h 458"/>
                  <a:gd name="T10" fmla="*/ 344 w 580"/>
                  <a:gd name="T11" fmla="*/ 210 h 458"/>
                  <a:gd name="T12" fmla="*/ 334 w 580"/>
                  <a:gd name="T13" fmla="*/ 229 h 458"/>
                  <a:gd name="T14" fmla="*/ 344 w 580"/>
                  <a:gd name="T15" fmla="*/ 248 h 458"/>
                  <a:gd name="T16" fmla="*/ 519 w 580"/>
                  <a:gd name="T17" fmla="*/ 442 h 458"/>
                  <a:gd name="T18" fmla="*/ 545 w 580"/>
                  <a:gd name="T19" fmla="*/ 458 h 458"/>
                  <a:gd name="T20" fmla="*/ 580 w 580"/>
                  <a:gd name="T21" fmla="*/ 438 h 458"/>
                  <a:gd name="T22" fmla="*/ 570 w 580"/>
                  <a:gd name="T23" fmla="*/ 421 h 458"/>
                  <a:gd name="T24" fmla="*/ 411 w 580"/>
                  <a:gd name="T25" fmla="*/ 245 h 458"/>
                  <a:gd name="T26" fmla="*/ 399 w 580"/>
                  <a:gd name="T27" fmla="*/ 229 h 458"/>
                  <a:gd name="T28" fmla="*/ 411 w 580"/>
                  <a:gd name="T29" fmla="*/ 213 h 458"/>
                  <a:gd name="T30" fmla="*/ 252 w 580"/>
                  <a:gd name="T31" fmla="*/ 439 h 458"/>
                  <a:gd name="T32" fmla="*/ 281 w 580"/>
                  <a:gd name="T33" fmla="*/ 454 h 458"/>
                  <a:gd name="T34" fmla="*/ 309 w 580"/>
                  <a:gd name="T35" fmla="*/ 439 h 458"/>
                  <a:gd name="T36" fmla="*/ 309 w 580"/>
                  <a:gd name="T37" fmla="*/ 19 h 458"/>
                  <a:gd name="T38" fmla="*/ 281 w 580"/>
                  <a:gd name="T39" fmla="*/ 4 h 458"/>
                  <a:gd name="T40" fmla="*/ 252 w 580"/>
                  <a:gd name="T41" fmla="*/ 19 h 458"/>
                  <a:gd name="T42" fmla="*/ 252 w 580"/>
                  <a:gd name="T43" fmla="*/ 439 h 458"/>
                  <a:gd name="T44" fmla="*/ 0 w 580"/>
                  <a:gd name="T45" fmla="*/ 439 h 458"/>
                  <a:gd name="T46" fmla="*/ 28 w 580"/>
                  <a:gd name="T47" fmla="*/ 454 h 458"/>
                  <a:gd name="T48" fmla="*/ 56 w 580"/>
                  <a:gd name="T49" fmla="*/ 439 h 458"/>
                  <a:gd name="T50" fmla="*/ 56 w 580"/>
                  <a:gd name="T51" fmla="*/ 157 h 458"/>
                  <a:gd name="T52" fmla="*/ 165 w 580"/>
                  <a:gd name="T53" fmla="*/ 53 h 458"/>
                  <a:gd name="T54" fmla="*/ 180 w 580"/>
                  <a:gd name="T55" fmla="*/ 53 h 458"/>
                  <a:gd name="T56" fmla="*/ 196 w 580"/>
                  <a:gd name="T57" fmla="*/ 27 h 458"/>
                  <a:gd name="T58" fmla="*/ 154 w 580"/>
                  <a:gd name="T59" fmla="*/ 4 h 458"/>
                  <a:gd name="T60" fmla="*/ 0 w 580"/>
                  <a:gd name="T61" fmla="*/ 152 h 458"/>
                  <a:gd name="T62" fmla="*/ 0 w 580"/>
                  <a:gd name="T63" fmla="*/ 439 h 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80" h="458">
                    <a:moveTo>
                      <a:pt x="411" y="213"/>
                    </a:moveTo>
                    <a:cubicBezTo>
                      <a:pt x="570" y="37"/>
                      <a:pt x="570" y="37"/>
                      <a:pt x="570" y="37"/>
                    </a:cubicBezTo>
                    <a:cubicBezTo>
                      <a:pt x="576" y="30"/>
                      <a:pt x="580" y="25"/>
                      <a:pt x="580" y="20"/>
                    </a:cubicBezTo>
                    <a:cubicBezTo>
                      <a:pt x="580" y="10"/>
                      <a:pt x="559" y="0"/>
                      <a:pt x="545" y="0"/>
                    </a:cubicBezTo>
                    <a:cubicBezTo>
                      <a:pt x="535" y="0"/>
                      <a:pt x="526" y="8"/>
                      <a:pt x="519" y="16"/>
                    </a:cubicBezTo>
                    <a:cubicBezTo>
                      <a:pt x="344" y="210"/>
                      <a:pt x="344" y="210"/>
                      <a:pt x="344" y="210"/>
                    </a:cubicBezTo>
                    <a:cubicBezTo>
                      <a:pt x="336" y="219"/>
                      <a:pt x="334" y="224"/>
                      <a:pt x="334" y="229"/>
                    </a:cubicBezTo>
                    <a:cubicBezTo>
                      <a:pt x="334" y="234"/>
                      <a:pt x="336" y="239"/>
                      <a:pt x="344" y="248"/>
                    </a:cubicBezTo>
                    <a:cubicBezTo>
                      <a:pt x="519" y="442"/>
                      <a:pt x="519" y="442"/>
                      <a:pt x="519" y="442"/>
                    </a:cubicBezTo>
                    <a:cubicBezTo>
                      <a:pt x="526" y="450"/>
                      <a:pt x="535" y="458"/>
                      <a:pt x="545" y="458"/>
                    </a:cubicBezTo>
                    <a:cubicBezTo>
                      <a:pt x="559" y="458"/>
                      <a:pt x="580" y="448"/>
                      <a:pt x="580" y="438"/>
                    </a:cubicBezTo>
                    <a:cubicBezTo>
                      <a:pt x="580" y="433"/>
                      <a:pt x="576" y="428"/>
                      <a:pt x="570" y="421"/>
                    </a:cubicBezTo>
                    <a:cubicBezTo>
                      <a:pt x="411" y="245"/>
                      <a:pt x="411" y="245"/>
                      <a:pt x="411" y="245"/>
                    </a:cubicBezTo>
                    <a:cubicBezTo>
                      <a:pt x="403" y="236"/>
                      <a:pt x="399" y="232"/>
                      <a:pt x="399" y="229"/>
                    </a:cubicBezTo>
                    <a:cubicBezTo>
                      <a:pt x="399" y="226"/>
                      <a:pt x="403" y="222"/>
                      <a:pt x="411" y="213"/>
                    </a:cubicBezTo>
                    <a:moveTo>
                      <a:pt x="252" y="439"/>
                    </a:moveTo>
                    <a:cubicBezTo>
                      <a:pt x="252" y="449"/>
                      <a:pt x="261" y="454"/>
                      <a:pt x="281" y="454"/>
                    </a:cubicBezTo>
                    <a:cubicBezTo>
                      <a:pt x="300" y="454"/>
                      <a:pt x="309" y="449"/>
                      <a:pt x="309" y="439"/>
                    </a:cubicBezTo>
                    <a:cubicBezTo>
                      <a:pt x="309" y="19"/>
                      <a:pt x="309" y="19"/>
                      <a:pt x="309" y="19"/>
                    </a:cubicBezTo>
                    <a:cubicBezTo>
                      <a:pt x="309" y="9"/>
                      <a:pt x="300" y="4"/>
                      <a:pt x="281" y="4"/>
                    </a:cubicBezTo>
                    <a:cubicBezTo>
                      <a:pt x="261" y="4"/>
                      <a:pt x="252" y="9"/>
                      <a:pt x="252" y="19"/>
                    </a:cubicBezTo>
                    <a:lnTo>
                      <a:pt x="252" y="439"/>
                    </a:lnTo>
                    <a:close/>
                    <a:moveTo>
                      <a:pt x="0" y="439"/>
                    </a:moveTo>
                    <a:cubicBezTo>
                      <a:pt x="0" y="449"/>
                      <a:pt x="8" y="454"/>
                      <a:pt x="28" y="454"/>
                    </a:cubicBezTo>
                    <a:cubicBezTo>
                      <a:pt x="48" y="454"/>
                      <a:pt x="56" y="449"/>
                      <a:pt x="56" y="439"/>
                    </a:cubicBezTo>
                    <a:cubicBezTo>
                      <a:pt x="56" y="157"/>
                      <a:pt x="56" y="157"/>
                      <a:pt x="56" y="157"/>
                    </a:cubicBezTo>
                    <a:cubicBezTo>
                      <a:pt x="56" y="83"/>
                      <a:pt x="85" y="53"/>
                      <a:pt x="165" y="53"/>
                    </a:cubicBezTo>
                    <a:cubicBezTo>
                      <a:pt x="180" y="53"/>
                      <a:pt x="180" y="53"/>
                      <a:pt x="180" y="53"/>
                    </a:cubicBezTo>
                    <a:cubicBezTo>
                      <a:pt x="192" y="53"/>
                      <a:pt x="196" y="43"/>
                      <a:pt x="196" y="27"/>
                    </a:cubicBezTo>
                    <a:cubicBezTo>
                      <a:pt x="196" y="8"/>
                      <a:pt x="185" y="4"/>
                      <a:pt x="154" y="4"/>
                    </a:cubicBezTo>
                    <a:cubicBezTo>
                      <a:pt x="64" y="4"/>
                      <a:pt x="0" y="43"/>
                      <a:pt x="0" y="152"/>
                    </a:cubicBezTo>
                    <a:lnTo>
                      <a:pt x="0" y="43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22" name="Freeform 7">
                <a:extLst>
                  <a:ext uri="{FF2B5EF4-FFF2-40B4-BE49-F238E27FC236}">
                    <a16:creationId xmlns:a16="http://schemas.microsoft.com/office/drawing/2014/main" id="{2F32DCBD-8628-F245-85CD-97686A20ECFD}"/>
                  </a:ext>
                </a:extLst>
              </p:cNvPr>
              <p:cNvSpPr>
                <a:spLocks/>
              </p:cNvSpPr>
              <p:nvPr/>
            </p:nvSpPr>
            <p:spPr bwMode="gray">
              <a:xfrm>
                <a:off x="2880" y="1704"/>
                <a:ext cx="618" cy="916"/>
              </a:xfrm>
              <a:custGeom>
                <a:avLst/>
                <a:gdLst>
                  <a:gd name="T0" fmla="*/ 307 w 307"/>
                  <a:gd name="T1" fmla="*/ 405 h 455"/>
                  <a:gd name="T2" fmla="*/ 307 w 307"/>
                  <a:gd name="T3" fmla="*/ 244 h 455"/>
                  <a:gd name="T4" fmla="*/ 279 w 307"/>
                  <a:gd name="T5" fmla="*/ 229 h 455"/>
                  <a:gd name="T6" fmla="*/ 250 w 307"/>
                  <a:gd name="T7" fmla="*/ 244 h 455"/>
                  <a:gd name="T8" fmla="*/ 250 w 307"/>
                  <a:gd name="T9" fmla="*/ 378 h 455"/>
                  <a:gd name="T10" fmla="*/ 199 w 307"/>
                  <a:gd name="T11" fmla="*/ 408 h 455"/>
                  <a:gd name="T12" fmla="*/ 61 w 307"/>
                  <a:gd name="T13" fmla="*/ 231 h 455"/>
                  <a:gd name="T14" fmla="*/ 238 w 307"/>
                  <a:gd name="T15" fmla="*/ 49 h 455"/>
                  <a:gd name="T16" fmla="*/ 270 w 307"/>
                  <a:gd name="T17" fmla="*/ 49 h 455"/>
                  <a:gd name="T18" fmla="*/ 286 w 307"/>
                  <a:gd name="T19" fmla="*/ 23 h 455"/>
                  <a:gd name="T20" fmla="*/ 244 w 307"/>
                  <a:gd name="T21" fmla="*/ 0 h 455"/>
                  <a:gd name="T22" fmla="*/ 231 w 307"/>
                  <a:gd name="T23" fmla="*/ 0 h 455"/>
                  <a:gd name="T24" fmla="*/ 0 w 307"/>
                  <a:gd name="T25" fmla="*/ 232 h 455"/>
                  <a:gd name="T26" fmla="*/ 198 w 307"/>
                  <a:gd name="T27" fmla="*/ 455 h 455"/>
                  <a:gd name="T28" fmla="*/ 307 w 307"/>
                  <a:gd name="T29" fmla="*/ 405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7" h="455">
                    <a:moveTo>
                      <a:pt x="307" y="405"/>
                    </a:moveTo>
                    <a:cubicBezTo>
                      <a:pt x="307" y="244"/>
                      <a:pt x="307" y="244"/>
                      <a:pt x="307" y="244"/>
                    </a:cubicBezTo>
                    <a:cubicBezTo>
                      <a:pt x="307" y="234"/>
                      <a:pt x="298" y="229"/>
                      <a:pt x="279" y="229"/>
                    </a:cubicBezTo>
                    <a:cubicBezTo>
                      <a:pt x="259" y="229"/>
                      <a:pt x="250" y="234"/>
                      <a:pt x="250" y="244"/>
                    </a:cubicBezTo>
                    <a:cubicBezTo>
                      <a:pt x="250" y="378"/>
                      <a:pt x="250" y="378"/>
                      <a:pt x="250" y="378"/>
                    </a:cubicBezTo>
                    <a:cubicBezTo>
                      <a:pt x="250" y="399"/>
                      <a:pt x="241" y="408"/>
                      <a:pt x="199" y="408"/>
                    </a:cubicBezTo>
                    <a:cubicBezTo>
                      <a:pt x="114" y="408"/>
                      <a:pt x="61" y="342"/>
                      <a:pt x="61" y="231"/>
                    </a:cubicBezTo>
                    <a:cubicBezTo>
                      <a:pt x="61" y="115"/>
                      <a:pt x="126" y="49"/>
                      <a:pt x="238" y="49"/>
                    </a:cubicBezTo>
                    <a:cubicBezTo>
                      <a:pt x="270" y="49"/>
                      <a:pt x="270" y="49"/>
                      <a:pt x="270" y="49"/>
                    </a:cubicBezTo>
                    <a:cubicBezTo>
                      <a:pt x="282" y="49"/>
                      <a:pt x="286" y="39"/>
                      <a:pt x="286" y="23"/>
                    </a:cubicBezTo>
                    <a:cubicBezTo>
                      <a:pt x="286" y="4"/>
                      <a:pt x="275" y="0"/>
                      <a:pt x="244" y="0"/>
                    </a:cubicBezTo>
                    <a:cubicBezTo>
                      <a:pt x="231" y="0"/>
                      <a:pt x="231" y="0"/>
                      <a:pt x="231" y="0"/>
                    </a:cubicBezTo>
                    <a:cubicBezTo>
                      <a:pt x="101" y="0"/>
                      <a:pt x="0" y="71"/>
                      <a:pt x="0" y="232"/>
                    </a:cubicBezTo>
                    <a:cubicBezTo>
                      <a:pt x="0" y="386"/>
                      <a:pt x="88" y="455"/>
                      <a:pt x="198" y="455"/>
                    </a:cubicBezTo>
                    <a:cubicBezTo>
                      <a:pt x="286" y="455"/>
                      <a:pt x="307" y="430"/>
                      <a:pt x="307" y="40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23" name="Oval 8">
                <a:extLst>
                  <a:ext uri="{FF2B5EF4-FFF2-40B4-BE49-F238E27FC236}">
                    <a16:creationId xmlns:a16="http://schemas.microsoft.com/office/drawing/2014/main" id="{60D97C11-1A3B-5449-A48D-98A3E79B3810}"/>
                  </a:ext>
                </a:extLst>
              </p:cNvPr>
              <p:cNvSpPr>
                <a:spLocks noChangeArrowheads="1"/>
              </p:cNvSpPr>
              <p:nvPr/>
            </p:nvSpPr>
            <p:spPr bwMode="gray">
              <a:xfrm>
                <a:off x="3778" y="2099"/>
                <a:ext cx="122" cy="12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24" name="Freeform 9">
                <a:extLst>
                  <a:ext uri="{FF2B5EF4-FFF2-40B4-BE49-F238E27FC236}">
                    <a16:creationId xmlns:a16="http://schemas.microsoft.com/office/drawing/2014/main" id="{5856770D-B8F0-244E-A05D-AED190086F10}"/>
                  </a:ext>
                </a:extLst>
              </p:cNvPr>
              <p:cNvSpPr>
                <a:spLocks noEditPoints="1"/>
              </p:cNvSpPr>
              <p:nvPr/>
            </p:nvSpPr>
            <p:spPr bwMode="gray">
              <a:xfrm>
                <a:off x="3623" y="1696"/>
                <a:ext cx="1167" cy="922"/>
              </a:xfrm>
              <a:custGeom>
                <a:avLst/>
                <a:gdLst>
                  <a:gd name="T0" fmla="*/ 411 w 580"/>
                  <a:gd name="T1" fmla="*/ 213 h 458"/>
                  <a:gd name="T2" fmla="*/ 570 w 580"/>
                  <a:gd name="T3" fmla="*/ 37 h 458"/>
                  <a:gd name="T4" fmla="*/ 580 w 580"/>
                  <a:gd name="T5" fmla="*/ 20 h 458"/>
                  <a:gd name="T6" fmla="*/ 545 w 580"/>
                  <a:gd name="T7" fmla="*/ 0 h 458"/>
                  <a:gd name="T8" fmla="*/ 519 w 580"/>
                  <a:gd name="T9" fmla="*/ 16 h 458"/>
                  <a:gd name="T10" fmla="*/ 344 w 580"/>
                  <a:gd name="T11" fmla="*/ 210 h 458"/>
                  <a:gd name="T12" fmla="*/ 334 w 580"/>
                  <a:gd name="T13" fmla="*/ 229 h 458"/>
                  <a:gd name="T14" fmla="*/ 344 w 580"/>
                  <a:gd name="T15" fmla="*/ 248 h 458"/>
                  <a:gd name="T16" fmla="*/ 519 w 580"/>
                  <a:gd name="T17" fmla="*/ 442 h 458"/>
                  <a:gd name="T18" fmla="*/ 545 w 580"/>
                  <a:gd name="T19" fmla="*/ 458 h 458"/>
                  <a:gd name="T20" fmla="*/ 580 w 580"/>
                  <a:gd name="T21" fmla="*/ 438 h 458"/>
                  <a:gd name="T22" fmla="*/ 570 w 580"/>
                  <a:gd name="T23" fmla="*/ 421 h 458"/>
                  <a:gd name="T24" fmla="*/ 411 w 580"/>
                  <a:gd name="T25" fmla="*/ 245 h 458"/>
                  <a:gd name="T26" fmla="*/ 399 w 580"/>
                  <a:gd name="T27" fmla="*/ 229 h 458"/>
                  <a:gd name="T28" fmla="*/ 411 w 580"/>
                  <a:gd name="T29" fmla="*/ 213 h 458"/>
                  <a:gd name="T30" fmla="*/ 252 w 580"/>
                  <a:gd name="T31" fmla="*/ 439 h 458"/>
                  <a:gd name="T32" fmla="*/ 281 w 580"/>
                  <a:gd name="T33" fmla="*/ 454 h 458"/>
                  <a:gd name="T34" fmla="*/ 309 w 580"/>
                  <a:gd name="T35" fmla="*/ 439 h 458"/>
                  <a:gd name="T36" fmla="*/ 309 w 580"/>
                  <a:gd name="T37" fmla="*/ 19 h 458"/>
                  <a:gd name="T38" fmla="*/ 281 w 580"/>
                  <a:gd name="T39" fmla="*/ 4 h 458"/>
                  <a:gd name="T40" fmla="*/ 252 w 580"/>
                  <a:gd name="T41" fmla="*/ 19 h 458"/>
                  <a:gd name="T42" fmla="*/ 252 w 580"/>
                  <a:gd name="T43" fmla="*/ 439 h 458"/>
                  <a:gd name="T44" fmla="*/ 0 w 580"/>
                  <a:gd name="T45" fmla="*/ 439 h 458"/>
                  <a:gd name="T46" fmla="*/ 28 w 580"/>
                  <a:gd name="T47" fmla="*/ 454 h 458"/>
                  <a:gd name="T48" fmla="*/ 56 w 580"/>
                  <a:gd name="T49" fmla="*/ 439 h 458"/>
                  <a:gd name="T50" fmla="*/ 56 w 580"/>
                  <a:gd name="T51" fmla="*/ 157 h 458"/>
                  <a:gd name="T52" fmla="*/ 165 w 580"/>
                  <a:gd name="T53" fmla="*/ 53 h 458"/>
                  <a:gd name="T54" fmla="*/ 180 w 580"/>
                  <a:gd name="T55" fmla="*/ 53 h 458"/>
                  <a:gd name="T56" fmla="*/ 196 w 580"/>
                  <a:gd name="T57" fmla="*/ 27 h 458"/>
                  <a:gd name="T58" fmla="*/ 154 w 580"/>
                  <a:gd name="T59" fmla="*/ 4 h 458"/>
                  <a:gd name="T60" fmla="*/ 0 w 580"/>
                  <a:gd name="T61" fmla="*/ 152 h 458"/>
                  <a:gd name="T62" fmla="*/ 0 w 580"/>
                  <a:gd name="T63" fmla="*/ 439 h 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80" h="458">
                    <a:moveTo>
                      <a:pt x="411" y="213"/>
                    </a:moveTo>
                    <a:cubicBezTo>
                      <a:pt x="570" y="37"/>
                      <a:pt x="570" y="37"/>
                      <a:pt x="570" y="37"/>
                    </a:cubicBezTo>
                    <a:cubicBezTo>
                      <a:pt x="576" y="30"/>
                      <a:pt x="580" y="25"/>
                      <a:pt x="580" y="20"/>
                    </a:cubicBezTo>
                    <a:cubicBezTo>
                      <a:pt x="580" y="10"/>
                      <a:pt x="559" y="0"/>
                      <a:pt x="545" y="0"/>
                    </a:cubicBezTo>
                    <a:cubicBezTo>
                      <a:pt x="535" y="0"/>
                      <a:pt x="526" y="8"/>
                      <a:pt x="519" y="16"/>
                    </a:cubicBezTo>
                    <a:cubicBezTo>
                      <a:pt x="344" y="210"/>
                      <a:pt x="344" y="210"/>
                      <a:pt x="344" y="210"/>
                    </a:cubicBezTo>
                    <a:cubicBezTo>
                      <a:pt x="336" y="219"/>
                      <a:pt x="334" y="224"/>
                      <a:pt x="334" y="229"/>
                    </a:cubicBezTo>
                    <a:cubicBezTo>
                      <a:pt x="334" y="234"/>
                      <a:pt x="336" y="239"/>
                      <a:pt x="344" y="248"/>
                    </a:cubicBezTo>
                    <a:cubicBezTo>
                      <a:pt x="519" y="442"/>
                      <a:pt x="519" y="442"/>
                      <a:pt x="519" y="442"/>
                    </a:cubicBezTo>
                    <a:cubicBezTo>
                      <a:pt x="526" y="450"/>
                      <a:pt x="535" y="458"/>
                      <a:pt x="545" y="458"/>
                    </a:cubicBezTo>
                    <a:cubicBezTo>
                      <a:pt x="559" y="458"/>
                      <a:pt x="580" y="448"/>
                      <a:pt x="580" y="438"/>
                    </a:cubicBezTo>
                    <a:cubicBezTo>
                      <a:pt x="580" y="433"/>
                      <a:pt x="576" y="428"/>
                      <a:pt x="570" y="421"/>
                    </a:cubicBezTo>
                    <a:cubicBezTo>
                      <a:pt x="411" y="245"/>
                      <a:pt x="411" y="245"/>
                      <a:pt x="411" y="245"/>
                    </a:cubicBezTo>
                    <a:cubicBezTo>
                      <a:pt x="403" y="236"/>
                      <a:pt x="399" y="232"/>
                      <a:pt x="399" y="229"/>
                    </a:cubicBezTo>
                    <a:cubicBezTo>
                      <a:pt x="399" y="226"/>
                      <a:pt x="403" y="222"/>
                      <a:pt x="411" y="213"/>
                    </a:cubicBezTo>
                    <a:moveTo>
                      <a:pt x="252" y="439"/>
                    </a:moveTo>
                    <a:cubicBezTo>
                      <a:pt x="252" y="449"/>
                      <a:pt x="261" y="454"/>
                      <a:pt x="281" y="454"/>
                    </a:cubicBezTo>
                    <a:cubicBezTo>
                      <a:pt x="300" y="454"/>
                      <a:pt x="309" y="449"/>
                      <a:pt x="309" y="439"/>
                    </a:cubicBezTo>
                    <a:cubicBezTo>
                      <a:pt x="309" y="19"/>
                      <a:pt x="309" y="19"/>
                      <a:pt x="309" y="19"/>
                    </a:cubicBezTo>
                    <a:cubicBezTo>
                      <a:pt x="309" y="9"/>
                      <a:pt x="300" y="4"/>
                      <a:pt x="281" y="4"/>
                    </a:cubicBezTo>
                    <a:cubicBezTo>
                      <a:pt x="261" y="4"/>
                      <a:pt x="252" y="9"/>
                      <a:pt x="252" y="19"/>
                    </a:cubicBezTo>
                    <a:lnTo>
                      <a:pt x="252" y="439"/>
                    </a:lnTo>
                    <a:close/>
                    <a:moveTo>
                      <a:pt x="0" y="439"/>
                    </a:moveTo>
                    <a:cubicBezTo>
                      <a:pt x="0" y="449"/>
                      <a:pt x="8" y="454"/>
                      <a:pt x="28" y="454"/>
                    </a:cubicBezTo>
                    <a:cubicBezTo>
                      <a:pt x="48" y="454"/>
                      <a:pt x="56" y="449"/>
                      <a:pt x="56" y="439"/>
                    </a:cubicBezTo>
                    <a:cubicBezTo>
                      <a:pt x="56" y="157"/>
                      <a:pt x="56" y="157"/>
                      <a:pt x="56" y="157"/>
                    </a:cubicBezTo>
                    <a:cubicBezTo>
                      <a:pt x="56" y="83"/>
                      <a:pt x="85" y="53"/>
                      <a:pt x="165" y="53"/>
                    </a:cubicBezTo>
                    <a:cubicBezTo>
                      <a:pt x="180" y="53"/>
                      <a:pt x="180" y="53"/>
                      <a:pt x="180" y="53"/>
                    </a:cubicBezTo>
                    <a:cubicBezTo>
                      <a:pt x="192" y="53"/>
                      <a:pt x="196" y="43"/>
                      <a:pt x="196" y="27"/>
                    </a:cubicBezTo>
                    <a:cubicBezTo>
                      <a:pt x="196" y="8"/>
                      <a:pt x="185" y="4"/>
                      <a:pt x="154" y="4"/>
                    </a:cubicBezTo>
                    <a:cubicBezTo>
                      <a:pt x="64" y="4"/>
                      <a:pt x="0" y="43"/>
                      <a:pt x="0" y="152"/>
                    </a:cubicBezTo>
                    <a:lnTo>
                      <a:pt x="0" y="43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25" name="Freeform 10">
                <a:extLst>
                  <a:ext uri="{FF2B5EF4-FFF2-40B4-BE49-F238E27FC236}">
                    <a16:creationId xmlns:a16="http://schemas.microsoft.com/office/drawing/2014/main" id="{2B91B16B-BC11-E547-8FAC-B9B8D18EA449}"/>
                  </a:ext>
                </a:extLst>
              </p:cNvPr>
              <p:cNvSpPr>
                <a:spLocks/>
              </p:cNvSpPr>
              <p:nvPr/>
            </p:nvSpPr>
            <p:spPr bwMode="gray">
              <a:xfrm>
                <a:off x="2880" y="1704"/>
                <a:ext cx="618" cy="916"/>
              </a:xfrm>
              <a:custGeom>
                <a:avLst/>
                <a:gdLst>
                  <a:gd name="T0" fmla="*/ 307 w 307"/>
                  <a:gd name="T1" fmla="*/ 405 h 455"/>
                  <a:gd name="T2" fmla="*/ 307 w 307"/>
                  <a:gd name="T3" fmla="*/ 244 h 455"/>
                  <a:gd name="T4" fmla="*/ 279 w 307"/>
                  <a:gd name="T5" fmla="*/ 229 h 455"/>
                  <a:gd name="T6" fmla="*/ 250 w 307"/>
                  <a:gd name="T7" fmla="*/ 244 h 455"/>
                  <a:gd name="T8" fmla="*/ 250 w 307"/>
                  <a:gd name="T9" fmla="*/ 378 h 455"/>
                  <a:gd name="T10" fmla="*/ 199 w 307"/>
                  <a:gd name="T11" fmla="*/ 408 h 455"/>
                  <a:gd name="T12" fmla="*/ 61 w 307"/>
                  <a:gd name="T13" fmla="*/ 231 h 455"/>
                  <a:gd name="T14" fmla="*/ 238 w 307"/>
                  <a:gd name="T15" fmla="*/ 49 h 455"/>
                  <a:gd name="T16" fmla="*/ 270 w 307"/>
                  <a:gd name="T17" fmla="*/ 49 h 455"/>
                  <a:gd name="T18" fmla="*/ 286 w 307"/>
                  <a:gd name="T19" fmla="*/ 23 h 455"/>
                  <a:gd name="T20" fmla="*/ 244 w 307"/>
                  <a:gd name="T21" fmla="*/ 0 h 455"/>
                  <a:gd name="T22" fmla="*/ 231 w 307"/>
                  <a:gd name="T23" fmla="*/ 0 h 455"/>
                  <a:gd name="T24" fmla="*/ 0 w 307"/>
                  <a:gd name="T25" fmla="*/ 232 h 455"/>
                  <a:gd name="T26" fmla="*/ 198 w 307"/>
                  <a:gd name="T27" fmla="*/ 455 h 455"/>
                  <a:gd name="T28" fmla="*/ 307 w 307"/>
                  <a:gd name="T29" fmla="*/ 405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7" h="455">
                    <a:moveTo>
                      <a:pt x="307" y="405"/>
                    </a:moveTo>
                    <a:cubicBezTo>
                      <a:pt x="307" y="244"/>
                      <a:pt x="307" y="244"/>
                      <a:pt x="307" y="244"/>
                    </a:cubicBezTo>
                    <a:cubicBezTo>
                      <a:pt x="307" y="234"/>
                      <a:pt x="298" y="229"/>
                      <a:pt x="279" y="229"/>
                    </a:cubicBezTo>
                    <a:cubicBezTo>
                      <a:pt x="259" y="229"/>
                      <a:pt x="250" y="234"/>
                      <a:pt x="250" y="244"/>
                    </a:cubicBezTo>
                    <a:cubicBezTo>
                      <a:pt x="250" y="378"/>
                      <a:pt x="250" y="378"/>
                      <a:pt x="250" y="378"/>
                    </a:cubicBezTo>
                    <a:cubicBezTo>
                      <a:pt x="250" y="399"/>
                      <a:pt x="241" y="408"/>
                      <a:pt x="199" y="408"/>
                    </a:cubicBezTo>
                    <a:cubicBezTo>
                      <a:pt x="114" y="408"/>
                      <a:pt x="61" y="342"/>
                      <a:pt x="61" y="231"/>
                    </a:cubicBezTo>
                    <a:cubicBezTo>
                      <a:pt x="61" y="115"/>
                      <a:pt x="126" y="49"/>
                      <a:pt x="238" y="49"/>
                    </a:cubicBezTo>
                    <a:cubicBezTo>
                      <a:pt x="270" y="49"/>
                      <a:pt x="270" y="49"/>
                      <a:pt x="270" y="49"/>
                    </a:cubicBezTo>
                    <a:cubicBezTo>
                      <a:pt x="282" y="49"/>
                      <a:pt x="286" y="39"/>
                      <a:pt x="286" y="23"/>
                    </a:cubicBezTo>
                    <a:cubicBezTo>
                      <a:pt x="286" y="4"/>
                      <a:pt x="275" y="0"/>
                      <a:pt x="244" y="0"/>
                    </a:cubicBezTo>
                    <a:cubicBezTo>
                      <a:pt x="231" y="0"/>
                      <a:pt x="231" y="0"/>
                      <a:pt x="231" y="0"/>
                    </a:cubicBezTo>
                    <a:cubicBezTo>
                      <a:pt x="101" y="0"/>
                      <a:pt x="0" y="71"/>
                      <a:pt x="0" y="232"/>
                    </a:cubicBezTo>
                    <a:cubicBezTo>
                      <a:pt x="0" y="386"/>
                      <a:pt x="88" y="455"/>
                      <a:pt x="198" y="455"/>
                    </a:cubicBezTo>
                    <a:cubicBezTo>
                      <a:pt x="286" y="455"/>
                      <a:pt x="307" y="430"/>
                      <a:pt x="307" y="40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26" name="Oval 11">
                <a:extLst>
                  <a:ext uri="{FF2B5EF4-FFF2-40B4-BE49-F238E27FC236}">
                    <a16:creationId xmlns:a16="http://schemas.microsoft.com/office/drawing/2014/main" id="{14F8C3C8-4888-7646-B9B4-64EB46A1DA23}"/>
                  </a:ext>
                </a:extLst>
              </p:cNvPr>
              <p:cNvSpPr>
                <a:spLocks noChangeArrowheads="1"/>
              </p:cNvSpPr>
              <p:nvPr/>
            </p:nvSpPr>
            <p:spPr bwMode="gray">
              <a:xfrm>
                <a:off x="3778" y="2099"/>
                <a:ext cx="122" cy="12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27" name="Freeform 12">
                <a:extLst>
                  <a:ext uri="{FF2B5EF4-FFF2-40B4-BE49-F238E27FC236}">
                    <a16:creationId xmlns:a16="http://schemas.microsoft.com/office/drawing/2014/main" id="{D79D01D1-4E3E-F34B-97D7-2D387E68746E}"/>
                  </a:ext>
                </a:extLst>
              </p:cNvPr>
              <p:cNvSpPr>
                <a:spLocks/>
              </p:cNvSpPr>
              <p:nvPr/>
            </p:nvSpPr>
            <p:spPr bwMode="gray">
              <a:xfrm>
                <a:off x="4321" y="1029"/>
                <a:ext cx="648" cy="649"/>
              </a:xfrm>
              <a:custGeom>
                <a:avLst/>
                <a:gdLst>
                  <a:gd name="T0" fmla="*/ 0 w 648"/>
                  <a:gd name="T1" fmla="*/ 649 h 649"/>
                  <a:gd name="T2" fmla="*/ 2 w 648"/>
                  <a:gd name="T3" fmla="*/ 649 h 649"/>
                  <a:gd name="T4" fmla="*/ 648 w 648"/>
                  <a:gd name="T5" fmla="*/ 0 h 649"/>
                  <a:gd name="T6" fmla="*/ 423 w 648"/>
                  <a:gd name="T7" fmla="*/ 0 h 649"/>
                  <a:gd name="T8" fmla="*/ 0 w 648"/>
                  <a:gd name="T9" fmla="*/ 649 h 649"/>
                </a:gdLst>
                <a:ahLst/>
                <a:cxnLst>
                  <a:cxn ang="0">
                    <a:pos x="T0" y="T1"/>
                  </a:cxn>
                  <a:cxn ang="0">
                    <a:pos x="T2" y="T3"/>
                  </a:cxn>
                  <a:cxn ang="0">
                    <a:pos x="T4" y="T5"/>
                  </a:cxn>
                  <a:cxn ang="0">
                    <a:pos x="T6" y="T7"/>
                  </a:cxn>
                  <a:cxn ang="0">
                    <a:pos x="T8" y="T9"/>
                  </a:cxn>
                </a:cxnLst>
                <a:rect l="0" t="0" r="r" b="b"/>
                <a:pathLst>
                  <a:path w="648" h="649">
                    <a:moveTo>
                      <a:pt x="0" y="649"/>
                    </a:moveTo>
                    <a:lnTo>
                      <a:pt x="2" y="649"/>
                    </a:lnTo>
                    <a:lnTo>
                      <a:pt x="648" y="0"/>
                    </a:lnTo>
                    <a:lnTo>
                      <a:pt x="423" y="0"/>
                    </a:lnTo>
                    <a:lnTo>
                      <a:pt x="0" y="64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28" name="Freeform 13">
                <a:extLst>
                  <a:ext uri="{FF2B5EF4-FFF2-40B4-BE49-F238E27FC236}">
                    <a16:creationId xmlns:a16="http://schemas.microsoft.com/office/drawing/2014/main" id="{46549898-6C52-B147-A8F6-A73FDBE6163B}"/>
                  </a:ext>
                </a:extLst>
              </p:cNvPr>
              <p:cNvSpPr>
                <a:spLocks/>
              </p:cNvSpPr>
              <p:nvPr/>
            </p:nvSpPr>
            <p:spPr bwMode="gray">
              <a:xfrm>
                <a:off x="4321" y="1029"/>
                <a:ext cx="648" cy="649"/>
              </a:xfrm>
              <a:custGeom>
                <a:avLst/>
                <a:gdLst>
                  <a:gd name="T0" fmla="*/ 0 w 648"/>
                  <a:gd name="T1" fmla="*/ 649 h 649"/>
                  <a:gd name="T2" fmla="*/ 2 w 648"/>
                  <a:gd name="T3" fmla="*/ 649 h 649"/>
                  <a:gd name="T4" fmla="*/ 648 w 648"/>
                  <a:gd name="T5" fmla="*/ 0 h 649"/>
                  <a:gd name="T6" fmla="*/ 423 w 648"/>
                  <a:gd name="T7" fmla="*/ 0 h 649"/>
                  <a:gd name="T8" fmla="*/ 0 w 648"/>
                  <a:gd name="T9" fmla="*/ 649 h 649"/>
                </a:gdLst>
                <a:ahLst/>
                <a:cxnLst>
                  <a:cxn ang="0">
                    <a:pos x="T0" y="T1"/>
                  </a:cxn>
                  <a:cxn ang="0">
                    <a:pos x="T2" y="T3"/>
                  </a:cxn>
                  <a:cxn ang="0">
                    <a:pos x="T4" y="T5"/>
                  </a:cxn>
                  <a:cxn ang="0">
                    <a:pos x="T6" y="T7"/>
                  </a:cxn>
                  <a:cxn ang="0">
                    <a:pos x="T8" y="T9"/>
                  </a:cxn>
                </a:cxnLst>
                <a:rect l="0" t="0" r="r" b="b"/>
                <a:pathLst>
                  <a:path w="648" h="649">
                    <a:moveTo>
                      <a:pt x="0" y="649"/>
                    </a:moveTo>
                    <a:lnTo>
                      <a:pt x="2" y="649"/>
                    </a:lnTo>
                    <a:lnTo>
                      <a:pt x="648" y="0"/>
                    </a:lnTo>
                    <a:lnTo>
                      <a:pt x="423" y="0"/>
                    </a:lnTo>
                    <a:lnTo>
                      <a:pt x="0" y="64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grpSp>
      </p:grpSp>
      <p:sp>
        <p:nvSpPr>
          <p:cNvPr id="7" name="Date Placeholder 6"/>
          <p:cNvSpPr>
            <a:spLocks noGrp="1"/>
          </p:cNvSpPr>
          <p:nvPr>
            <p:ph type="dt" sz="half" idx="10"/>
          </p:nvPr>
        </p:nvSpPr>
        <p:spPr>
          <a:xfrm>
            <a:off x="0" y="0"/>
            <a:ext cx="0" cy="0"/>
          </a:xfrm>
          <a:prstGeom prst="rect">
            <a:avLst/>
          </a:prstGeom>
        </p:spPr>
        <p:txBody>
          <a:bodyPr/>
          <a:lstStyle>
            <a:lvl1pPr>
              <a:defRPr sz="100">
                <a:noFill/>
              </a:defRPr>
            </a:lvl1pPr>
          </a:lstStyle>
          <a:p>
            <a:fld id="{7630F4D0-4FCA-495D-93CB-4308FDD6CACA}" type="datetime5">
              <a:rPr lang="en-US" smtClean="0"/>
              <a:t>26-Jun-20</a:t>
            </a:fld>
            <a:endParaRPr lang="en-US"/>
          </a:p>
        </p:txBody>
      </p:sp>
      <p:sp>
        <p:nvSpPr>
          <p:cNvPr id="8" name="Footer Placeholder 7"/>
          <p:cNvSpPr>
            <a:spLocks noGrp="1"/>
          </p:cNvSpPr>
          <p:nvPr>
            <p:ph type="ftr" sz="quarter" idx="11"/>
          </p:nvPr>
        </p:nvSpPr>
        <p:spPr>
          <a:xfrm>
            <a:off x="0" y="0"/>
            <a:ext cx="0" cy="0"/>
          </a:xfrm>
          <a:prstGeom prst="rect">
            <a:avLst/>
          </a:prstGeom>
        </p:spPr>
        <p:txBody>
          <a:bodyPr/>
          <a:lstStyle>
            <a:lvl1pPr marL="0" indent="0">
              <a:buNone/>
              <a:defRPr sz="100">
                <a:noFill/>
              </a:defRPr>
            </a:lvl1pPr>
          </a:lstStyle>
          <a:p>
            <a:r>
              <a:rPr lang="en-US"/>
              <a:t>Title of presentation (Insert / Header &amp; Footer / Apply to All)</a:t>
            </a:r>
          </a:p>
        </p:txBody>
      </p:sp>
      <p:sp>
        <p:nvSpPr>
          <p:cNvPr id="9" name="Slide Number Placeholder 8"/>
          <p:cNvSpPr>
            <a:spLocks noGrp="1"/>
          </p:cNvSpPr>
          <p:nvPr>
            <p:ph type="sldNum" sz="quarter" idx="12"/>
          </p:nvPr>
        </p:nvSpPr>
        <p:spPr>
          <a:xfrm>
            <a:off x="0" y="0"/>
            <a:ext cx="0" cy="0"/>
          </a:xfrm>
          <a:prstGeom prst="rect">
            <a:avLst/>
          </a:prstGeom>
        </p:spPr>
        <p:txBody>
          <a:bodyPr/>
          <a:lstStyle>
            <a:lvl1pPr>
              <a:defRPr sz="100">
                <a:noFill/>
              </a:defRPr>
            </a:lvl1pPr>
          </a:lstStyle>
          <a:p>
            <a:fld id="{8E3B25F7-8D1F-44B5-B485-EE3C438CFD7B}" type="slidenum">
              <a:rPr lang="en-US" smtClean="0"/>
              <a:pPr/>
              <a:t>‹#›</a:t>
            </a:fld>
            <a:endParaRPr lang="en-US"/>
          </a:p>
        </p:txBody>
      </p:sp>
      <p:sp>
        <p:nvSpPr>
          <p:cNvPr id="2" name="Title 1"/>
          <p:cNvSpPr>
            <a:spLocks noGrp="1"/>
          </p:cNvSpPr>
          <p:nvPr>
            <p:ph type="ctrTitle" hasCustomPrompt="1"/>
          </p:nvPr>
        </p:nvSpPr>
        <p:spPr>
          <a:xfrm>
            <a:off x="4524589" y="1628775"/>
            <a:ext cx="5707662" cy="2236264"/>
          </a:xfrm>
        </p:spPr>
        <p:txBody>
          <a:bodyPr anchor="b"/>
          <a:lstStyle>
            <a:lvl1pPr algn="l">
              <a:defRPr sz="3600" baseline="0"/>
            </a:lvl1pPr>
          </a:lstStyle>
          <a:p>
            <a:r>
              <a:rPr lang="en-US"/>
              <a:t>Click to add a longer presentation title</a:t>
            </a:r>
          </a:p>
        </p:txBody>
      </p:sp>
      <p:sp>
        <p:nvSpPr>
          <p:cNvPr id="3" name="Subtitle 2"/>
          <p:cNvSpPr>
            <a:spLocks noGrp="1"/>
          </p:cNvSpPr>
          <p:nvPr>
            <p:ph type="subTitle" idx="1" hasCustomPrompt="1"/>
          </p:nvPr>
        </p:nvSpPr>
        <p:spPr>
          <a:xfrm>
            <a:off x="4524589" y="4094163"/>
            <a:ext cx="5707662" cy="1080000"/>
          </a:xfrm>
        </p:spPr>
        <p:txBody>
          <a:bodyPr/>
          <a:lstStyle>
            <a:lvl1pPr marL="0" indent="0" algn="l">
              <a:spcBef>
                <a:spcPts val="0"/>
              </a:spcBef>
              <a:buNone/>
              <a:defRPr sz="1800" b="1"/>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sp>
        <p:nvSpPr>
          <p:cNvPr id="31" name="Text Placeholder 30"/>
          <p:cNvSpPr>
            <a:spLocks noGrp="1"/>
          </p:cNvSpPr>
          <p:nvPr>
            <p:ph type="body" sz="quarter" idx="14" hasCustomPrompt="1"/>
          </p:nvPr>
        </p:nvSpPr>
        <p:spPr>
          <a:xfrm>
            <a:off x="417600" y="5393268"/>
            <a:ext cx="2494933" cy="296332"/>
          </a:xfrm>
        </p:spPr>
        <p:txBody>
          <a:bodyPr wrap="none"/>
          <a:lstStyle>
            <a:lvl1pPr marL="0" indent="0">
              <a:spcBef>
                <a:spcPts val="0"/>
              </a:spcBef>
              <a:buNone/>
              <a:defRPr sz="1200"/>
            </a:lvl1pPr>
            <a:lvl2pPr marL="0" indent="0">
              <a:buNone/>
              <a:defRPr sz="1200"/>
            </a:lvl2pPr>
            <a:lvl3pPr marL="0" indent="0">
              <a:buNone/>
              <a:defRPr sz="1200"/>
            </a:lvl3pPr>
            <a:lvl4pPr marL="0">
              <a:buNone/>
              <a:defRPr sz="1200"/>
            </a:lvl4pPr>
            <a:lvl5pPr marL="0" indent="0">
              <a:buNone/>
              <a:defRPr sz="1200"/>
            </a:lvl5pPr>
          </a:lstStyle>
          <a:p>
            <a:pPr lvl="0"/>
            <a:r>
              <a:rPr lang="en-US"/>
              <a:t>Name</a:t>
            </a:r>
          </a:p>
        </p:txBody>
      </p:sp>
      <p:sp>
        <p:nvSpPr>
          <p:cNvPr id="34" name="Text Placeholder 30"/>
          <p:cNvSpPr>
            <a:spLocks noGrp="1"/>
          </p:cNvSpPr>
          <p:nvPr>
            <p:ph type="body" sz="quarter" idx="15" hasCustomPrompt="1"/>
          </p:nvPr>
        </p:nvSpPr>
        <p:spPr>
          <a:xfrm>
            <a:off x="417600" y="5691446"/>
            <a:ext cx="2494933" cy="296332"/>
          </a:xfrm>
        </p:spPr>
        <p:txBody>
          <a:bodyPr wrap="none"/>
          <a:lstStyle>
            <a:lvl1pPr marL="0" indent="0">
              <a:spcBef>
                <a:spcPts val="0"/>
              </a:spcBef>
              <a:buNone/>
              <a:defRPr sz="1200"/>
            </a:lvl1pPr>
            <a:lvl2pPr marL="0" indent="0">
              <a:buNone/>
              <a:defRPr sz="1200"/>
            </a:lvl2pPr>
            <a:lvl3pPr marL="0" indent="0">
              <a:buNone/>
              <a:defRPr sz="1200"/>
            </a:lvl3pPr>
            <a:lvl4pPr marL="0">
              <a:buNone/>
              <a:defRPr sz="1200"/>
            </a:lvl4pPr>
            <a:lvl5pPr marL="0" indent="0">
              <a:buNone/>
              <a:defRPr sz="1200"/>
            </a:lvl5pPr>
          </a:lstStyle>
          <a:p>
            <a:pPr lvl="0"/>
            <a:r>
              <a:rPr lang="en-US"/>
              <a:t>Department</a:t>
            </a:r>
          </a:p>
        </p:txBody>
      </p:sp>
    </p:spTree>
    <p:extLst>
      <p:ext uri="{BB962C8B-B14F-4D97-AF65-F5344CB8AC3E}">
        <p14:creationId xmlns:p14="http://schemas.microsoft.com/office/powerpoint/2010/main" val="2018730135"/>
      </p:ext>
    </p:extLst>
  </p:cSld>
  <p:clrMapOvr>
    <a:masterClrMapping/>
  </p:clrMapOvr>
</p:sldLayout>
</file>

<file path=ppt/slideLayouts/slideLayout474.xml><?xml version="1.0" encoding="utf-8"?>
<p:sldLayout xmlns:a="http://schemas.openxmlformats.org/drawingml/2006/main" xmlns:r="http://schemas.openxmlformats.org/officeDocument/2006/relationships" xmlns:p="http://schemas.openxmlformats.org/presentationml/2006/main" preserve="1">
  <p:cSld name="Title with picture">
    <p:spTree>
      <p:nvGrpSpPr>
        <p:cNvPr id="1" name=""/>
        <p:cNvGrpSpPr/>
        <p:nvPr/>
      </p:nvGrpSpPr>
      <p:grpSpPr>
        <a:xfrm>
          <a:off x="0" y="0"/>
          <a:ext cx="0" cy="0"/>
          <a:chOff x="0" y="0"/>
          <a:chExt cx="0" cy="0"/>
        </a:xfrm>
      </p:grpSpPr>
      <p:sp>
        <p:nvSpPr>
          <p:cNvPr id="12" name="Picture Placeholder 11"/>
          <p:cNvSpPr>
            <a:spLocks noGrp="1"/>
          </p:cNvSpPr>
          <p:nvPr>
            <p:ph type="pic" sz="quarter" idx="13" hasCustomPrompt="1"/>
          </p:nvPr>
        </p:nvSpPr>
        <p:spPr>
          <a:xfrm>
            <a:off x="3376226" y="0"/>
            <a:ext cx="8815774" cy="6858000"/>
          </a:xfrm>
          <a:custGeom>
            <a:avLst/>
            <a:gdLst>
              <a:gd name="connsiteX0" fmla="*/ 331042 w 8815774"/>
              <a:gd name="connsiteY0" fmla="*/ 0 h 6858000"/>
              <a:gd name="connsiteX1" fmla="*/ 8815774 w 8815774"/>
              <a:gd name="connsiteY1" fmla="*/ 0 h 6858000"/>
              <a:gd name="connsiteX2" fmla="*/ 8815774 w 8815774"/>
              <a:gd name="connsiteY2" fmla="*/ 6858000 h 6858000"/>
              <a:gd name="connsiteX3" fmla="*/ 0 w 8815774"/>
              <a:gd name="connsiteY3" fmla="*/ 6858000 h 6858000"/>
              <a:gd name="connsiteX4" fmla="*/ 1580491 w 8815774"/>
              <a:gd name="connsiteY4" fmla="*/ 4163677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15774" h="6858000">
                <a:moveTo>
                  <a:pt x="331042" y="0"/>
                </a:moveTo>
                <a:lnTo>
                  <a:pt x="8815774" y="0"/>
                </a:lnTo>
                <a:lnTo>
                  <a:pt x="8815774" y="6858000"/>
                </a:lnTo>
                <a:lnTo>
                  <a:pt x="0" y="6858000"/>
                </a:lnTo>
                <a:lnTo>
                  <a:pt x="1580491" y="4163677"/>
                </a:lnTo>
                <a:close/>
              </a:path>
            </a:pathLst>
          </a:custGeom>
          <a:solidFill>
            <a:srgbClr val="D9DADB"/>
          </a:solidFill>
        </p:spPr>
        <p:txBody>
          <a:bodyPr wrap="square">
            <a:noAutofit/>
          </a:bodyPr>
          <a:lstStyle>
            <a:lvl1pPr marL="0" indent="0" algn="ctr">
              <a:buNone/>
              <a:defRPr/>
            </a:lvl1pPr>
          </a:lstStyle>
          <a:p>
            <a:r>
              <a:rPr lang="en-US"/>
              <a:t>Insert picture</a:t>
            </a:r>
          </a:p>
        </p:txBody>
      </p:sp>
      <p:grpSp>
        <p:nvGrpSpPr>
          <p:cNvPr id="14" name="logo">
            <a:extLst>
              <a:ext uri="{FF2B5EF4-FFF2-40B4-BE49-F238E27FC236}">
                <a16:creationId xmlns:a16="http://schemas.microsoft.com/office/drawing/2014/main" id="{18C26D95-70F8-8A4D-9F18-DCCB92522AF8}"/>
              </a:ext>
            </a:extLst>
          </p:cNvPr>
          <p:cNvGrpSpPr/>
          <p:nvPr/>
        </p:nvGrpSpPr>
        <p:grpSpPr bwMode="gray">
          <a:xfrm>
            <a:off x="417363" y="407485"/>
            <a:ext cx="1518585" cy="646507"/>
            <a:chOff x="334963" y="296652"/>
            <a:chExt cx="1268411" cy="540000"/>
          </a:xfrm>
        </p:grpSpPr>
        <p:sp>
          <p:nvSpPr>
            <p:cNvPr id="17" name="Freeform 6">
              <a:extLst>
                <a:ext uri="{FF2B5EF4-FFF2-40B4-BE49-F238E27FC236}">
                  <a16:creationId xmlns:a16="http://schemas.microsoft.com/office/drawing/2014/main" id="{08737AD0-E375-E445-97E6-CD2E2DF60620}"/>
                </a:ext>
              </a:extLst>
            </p:cNvPr>
            <p:cNvSpPr>
              <a:spLocks noEditPoints="1"/>
            </p:cNvSpPr>
            <p:nvPr/>
          </p:nvSpPr>
          <p:spPr bwMode="gray">
            <a:xfrm>
              <a:off x="982662" y="360462"/>
              <a:ext cx="620712" cy="431800"/>
            </a:xfrm>
            <a:custGeom>
              <a:avLst/>
              <a:gdLst>
                <a:gd name="T0" fmla="*/ 19 w 1809"/>
                <a:gd name="T1" fmla="*/ 97 h 1253"/>
                <a:gd name="T2" fmla="*/ 165 w 1809"/>
                <a:gd name="T3" fmla="*/ 41 h 1253"/>
                <a:gd name="T4" fmla="*/ 211 w 1809"/>
                <a:gd name="T5" fmla="*/ 224 h 1253"/>
                <a:gd name="T6" fmla="*/ 248 w 1809"/>
                <a:gd name="T7" fmla="*/ 155 h 1253"/>
                <a:gd name="T8" fmla="*/ 931 w 1809"/>
                <a:gd name="T9" fmla="*/ 995 h 1253"/>
                <a:gd name="T10" fmla="*/ 858 w 1809"/>
                <a:gd name="T11" fmla="*/ 1115 h 1253"/>
                <a:gd name="T12" fmla="*/ 749 w 1809"/>
                <a:gd name="T13" fmla="*/ 1117 h 1253"/>
                <a:gd name="T14" fmla="*/ 681 w 1809"/>
                <a:gd name="T15" fmla="*/ 1055 h 1253"/>
                <a:gd name="T16" fmla="*/ 800 w 1809"/>
                <a:gd name="T17" fmla="*/ 1054 h 1253"/>
                <a:gd name="T18" fmla="*/ 884 w 1809"/>
                <a:gd name="T19" fmla="*/ 1181 h 1253"/>
                <a:gd name="T20" fmla="*/ 118 w 1809"/>
                <a:gd name="T21" fmla="*/ 1086 h 1253"/>
                <a:gd name="T22" fmla="*/ 147 w 1809"/>
                <a:gd name="T23" fmla="*/ 1026 h 1253"/>
                <a:gd name="T24" fmla="*/ 102 w 1809"/>
                <a:gd name="T25" fmla="*/ 1026 h 1253"/>
                <a:gd name="T26" fmla="*/ 639 w 1809"/>
                <a:gd name="T27" fmla="*/ 84 h 1253"/>
                <a:gd name="T28" fmla="*/ 763 w 1809"/>
                <a:gd name="T29" fmla="*/ 145 h 1253"/>
                <a:gd name="T30" fmla="*/ 863 w 1809"/>
                <a:gd name="T31" fmla="*/ 221 h 1253"/>
                <a:gd name="T32" fmla="*/ 834 w 1809"/>
                <a:gd name="T33" fmla="*/ 208 h 1253"/>
                <a:gd name="T34" fmla="*/ 719 w 1809"/>
                <a:gd name="T35" fmla="*/ 182 h 1253"/>
                <a:gd name="T36" fmla="*/ 507 w 1809"/>
                <a:gd name="T37" fmla="*/ 711 h 1253"/>
                <a:gd name="T38" fmla="*/ 614 w 1809"/>
                <a:gd name="T39" fmla="*/ 706 h 1253"/>
                <a:gd name="T40" fmla="*/ 736 w 1809"/>
                <a:gd name="T41" fmla="*/ 730 h 1253"/>
                <a:gd name="T42" fmla="*/ 607 w 1809"/>
                <a:gd name="T43" fmla="*/ 539 h 1253"/>
                <a:gd name="T44" fmla="*/ 1505 w 1809"/>
                <a:gd name="T45" fmla="*/ 1136 h 1253"/>
                <a:gd name="T46" fmla="*/ 1613 w 1809"/>
                <a:gd name="T47" fmla="*/ 1002 h 1253"/>
                <a:gd name="T48" fmla="*/ 1472 w 1809"/>
                <a:gd name="T49" fmla="*/ 1164 h 1253"/>
                <a:gd name="T50" fmla="*/ 1525 w 1809"/>
                <a:gd name="T51" fmla="*/ 1142 h 1253"/>
                <a:gd name="T52" fmla="*/ 1556 w 1809"/>
                <a:gd name="T53" fmla="*/ 1172 h 1253"/>
                <a:gd name="T54" fmla="*/ 1387 w 1809"/>
                <a:gd name="T55" fmla="*/ 910 h 1253"/>
                <a:gd name="T56" fmla="*/ 1261 w 1809"/>
                <a:gd name="T57" fmla="*/ 1157 h 1253"/>
                <a:gd name="T58" fmla="*/ 1413 w 1809"/>
                <a:gd name="T59" fmla="*/ 934 h 1253"/>
                <a:gd name="T60" fmla="*/ 1378 w 1809"/>
                <a:gd name="T61" fmla="*/ 1052 h 1253"/>
                <a:gd name="T62" fmla="*/ 488 w 1809"/>
                <a:gd name="T63" fmla="*/ 85 h 1253"/>
                <a:gd name="T64" fmla="*/ 509 w 1809"/>
                <a:gd name="T65" fmla="*/ 112 h 1253"/>
                <a:gd name="T66" fmla="*/ 548 w 1809"/>
                <a:gd name="T67" fmla="*/ 1187 h 1253"/>
                <a:gd name="T68" fmla="*/ 472 w 1809"/>
                <a:gd name="T69" fmla="*/ 1122 h 1253"/>
                <a:gd name="T70" fmla="*/ 558 w 1809"/>
                <a:gd name="T71" fmla="*/ 1157 h 1253"/>
                <a:gd name="T72" fmla="*/ 287 w 1809"/>
                <a:gd name="T73" fmla="*/ 654 h 1253"/>
                <a:gd name="T74" fmla="*/ 416 w 1809"/>
                <a:gd name="T75" fmla="*/ 684 h 1253"/>
                <a:gd name="T76" fmla="*/ 1106 w 1809"/>
                <a:gd name="T77" fmla="*/ 147 h 1253"/>
                <a:gd name="T78" fmla="*/ 1229 w 1809"/>
                <a:gd name="T79" fmla="*/ 258 h 1253"/>
                <a:gd name="T80" fmla="*/ 1106 w 1809"/>
                <a:gd name="T81" fmla="*/ 96 h 1253"/>
                <a:gd name="T82" fmla="*/ 1219 w 1809"/>
                <a:gd name="T83" fmla="*/ 1077 h 1253"/>
                <a:gd name="T84" fmla="*/ 1214 w 1809"/>
                <a:gd name="T85" fmla="*/ 1157 h 1253"/>
                <a:gd name="T86" fmla="*/ 1150 w 1809"/>
                <a:gd name="T87" fmla="*/ 1092 h 1253"/>
                <a:gd name="T88" fmla="*/ 1139 w 1809"/>
                <a:gd name="T89" fmla="*/ 1070 h 1253"/>
                <a:gd name="T90" fmla="*/ 1659 w 1809"/>
                <a:gd name="T91" fmla="*/ 1031 h 1253"/>
                <a:gd name="T92" fmla="*/ 1714 w 1809"/>
                <a:gd name="T93" fmla="*/ 1155 h 1253"/>
                <a:gd name="T94" fmla="*/ 1760 w 1809"/>
                <a:gd name="T95" fmla="*/ 1030 h 1253"/>
                <a:gd name="T96" fmla="*/ 111 w 1809"/>
                <a:gd name="T97" fmla="*/ 569 h 1253"/>
                <a:gd name="T98" fmla="*/ 109 w 1809"/>
                <a:gd name="T99" fmla="*/ 460 h 1253"/>
                <a:gd name="T100" fmla="*/ 32 w 1809"/>
                <a:gd name="T101" fmla="*/ 704 h 1253"/>
                <a:gd name="T102" fmla="*/ 310 w 1809"/>
                <a:gd name="T103" fmla="*/ 1058 h 1253"/>
                <a:gd name="T104" fmla="*/ 431 w 1809"/>
                <a:gd name="T105" fmla="*/ 1044 h 1253"/>
                <a:gd name="T106" fmla="*/ 278 w 1809"/>
                <a:gd name="T107" fmla="*/ 1165 h 1253"/>
                <a:gd name="T108" fmla="*/ 261 w 1809"/>
                <a:gd name="T109" fmla="*/ 540 h 1253"/>
                <a:gd name="T110" fmla="*/ 150 w 1809"/>
                <a:gd name="T111" fmla="*/ 635 h 1253"/>
                <a:gd name="T112" fmla="*/ 994 w 1809"/>
                <a:gd name="T113" fmla="*/ 1185 h 1253"/>
                <a:gd name="T114" fmla="*/ 331 w 1809"/>
                <a:gd name="T115" fmla="*/ 176 h 1253"/>
                <a:gd name="T116" fmla="*/ 333 w 1809"/>
                <a:gd name="T117" fmla="*/ 109 h 1253"/>
                <a:gd name="T118" fmla="*/ 946 w 1809"/>
                <a:gd name="T119" fmla="*/ 234 h 1253"/>
                <a:gd name="T120" fmla="*/ 1022 w 1809"/>
                <a:gd name="T121" fmla="*/ 113 h 1253"/>
                <a:gd name="T122" fmla="*/ 949 w 1809"/>
                <a:gd name="T123" fmla="*/ 65 h 1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09" h="1253">
                  <a:moveTo>
                    <a:pt x="248" y="198"/>
                  </a:moveTo>
                  <a:cubicBezTo>
                    <a:pt x="248" y="211"/>
                    <a:pt x="248" y="224"/>
                    <a:pt x="249" y="237"/>
                  </a:cubicBezTo>
                  <a:cubicBezTo>
                    <a:pt x="249" y="245"/>
                    <a:pt x="246" y="249"/>
                    <a:pt x="240" y="253"/>
                  </a:cubicBezTo>
                  <a:cubicBezTo>
                    <a:pt x="231" y="260"/>
                    <a:pt x="220" y="264"/>
                    <a:pt x="209" y="268"/>
                  </a:cubicBezTo>
                  <a:cubicBezTo>
                    <a:pt x="179" y="279"/>
                    <a:pt x="148" y="280"/>
                    <a:pt x="118" y="275"/>
                  </a:cubicBezTo>
                  <a:cubicBezTo>
                    <a:pt x="86" y="269"/>
                    <a:pt x="58" y="252"/>
                    <a:pt x="39" y="224"/>
                  </a:cubicBezTo>
                  <a:cubicBezTo>
                    <a:pt x="24" y="203"/>
                    <a:pt x="18" y="180"/>
                    <a:pt x="15" y="155"/>
                  </a:cubicBezTo>
                  <a:cubicBezTo>
                    <a:pt x="11" y="135"/>
                    <a:pt x="15" y="115"/>
                    <a:pt x="19" y="97"/>
                  </a:cubicBezTo>
                  <a:cubicBezTo>
                    <a:pt x="26" y="68"/>
                    <a:pt x="42" y="44"/>
                    <a:pt x="68" y="27"/>
                  </a:cubicBezTo>
                  <a:cubicBezTo>
                    <a:pt x="87" y="14"/>
                    <a:pt x="109" y="6"/>
                    <a:pt x="133" y="5"/>
                  </a:cubicBezTo>
                  <a:cubicBezTo>
                    <a:pt x="149" y="4"/>
                    <a:pt x="165" y="5"/>
                    <a:pt x="181" y="6"/>
                  </a:cubicBezTo>
                  <a:cubicBezTo>
                    <a:pt x="204" y="8"/>
                    <a:pt x="225" y="20"/>
                    <a:pt x="243" y="35"/>
                  </a:cubicBezTo>
                  <a:cubicBezTo>
                    <a:pt x="246" y="37"/>
                    <a:pt x="246" y="40"/>
                    <a:pt x="244" y="43"/>
                  </a:cubicBezTo>
                  <a:cubicBezTo>
                    <a:pt x="242" y="47"/>
                    <a:pt x="239" y="52"/>
                    <a:pt x="236" y="55"/>
                  </a:cubicBezTo>
                  <a:cubicBezTo>
                    <a:pt x="226" y="65"/>
                    <a:pt x="224" y="65"/>
                    <a:pt x="206" y="54"/>
                  </a:cubicBezTo>
                  <a:cubicBezTo>
                    <a:pt x="193" y="46"/>
                    <a:pt x="180" y="40"/>
                    <a:pt x="165" y="41"/>
                  </a:cubicBezTo>
                  <a:cubicBezTo>
                    <a:pt x="151" y="41"/>
                    <a:pt x="137" y="39"/>
                    <a:pt x="124" y="42"/>
                  </a:cubicBezTo>
                  <a:cubicBezTo>
                    <a:pt x="104" y="46"/>
                    <a:pt x="87" y="57"/>
                    <a:pt x="75" y="74"/>
                  </a:cubicBezTo>
                  <a:cubicBezTo>
                    <a:pt x="56" y="99"/>
                    <a:pt x="51" y="129"/>
                    <a:pt x="55" y="159"/>
                  </a:cubicBezTo>
                  <a:cubicBezTo>
                    <a:pt x="60" y="189"/>
                    <a:pt x="73" y="214"/>
                    <a:pt x="98" y="230"/>
                  </a:cubicBezTo>
                  <a:cubicBezTo>
                    <a:pt x="109" y="237"/>
                    <a:pt x="121" y="242"/>
                    <a:pt x="135" y="241"/>
                  </a:cubicBezTo>
                  <a:cubicBezTo>
                    <a:pt x="146" y="241"/>
                    <a:pt x="158" y="241"/>
                    <a:pt x="169" y="241"/>
                  </a:cubicBezTo>
                  <a:cubicBezTo>
                    <a:pt x="182" y="242"/>
                    <a:pt x="193" y="235"/>
                    <a:pt x="205" y="232"/>
                  </a:cubicBezTo>
                  <a:cubicBezTo>
                    <a:pt x="210" y="231"/>
                    <a:pt x="211" y="227"/>
                    <a:pt x="211" y="224"/>
                  </a:cubicBezTo>
                  <a:cubicBezTo>
                    <a:pt x="211" y="210"/>
                    <a:pt x="211" y="196"/>
                    <a:pt x="211" y="183"/>
                  </a:cubicBezTo>
                  <a:cubicBezTo>
                    <a:pt x="211" y="177"/>
                    <a:pt x="207" y="175"/>
                    <a:pt x="202" y="175"/>
                  </a:cubicBezTo>
                  <a:cubicBezTo>
                    <a:pt x="193" y="175"/>
                    <a:pt x="184" y="175"/>
                    <a:pt x="175" y="175"/>
                  </a:cubicBezTo>
                  <a:cubicBezTo>
                    <a:pt x="171" y="175"/>
                    <a:pt x="168" y="174"/>
                    <a:pt x="166" y="171"/>
                  </a:cubicBezTo>
                  <a:cubicBezTo>
                    <a:pt x="163" y="163"/>
                    <a:pt x="164" y="154"/>
                    <a:pt x="166" y="146"/>
                  </a:cubicBezTo>
                  <a:cubicBezTo>
                    <a:pt x="167" y="142"/>
                    <a:pt x="171" y="142"/>
                    <a:pt x="175" y="142"/>
                  </a:cubicBezTo>
                  <a:cubicBezTo>
                    <a:pt x="196" y="142"/>
                    <a:pt x="217" y="142"/>
                    <a:pt x="238" y="142"/>
                  </a:cubicBezTo>
                  <a:cubicBezTo>
                    <a:pt x="247" y="142"/>
                    <a:pt x="248" y="148"/>
                    <a:pt x="248" y="155"/>
                  </a:cubicBezTo>
                  <a:cubicBezTo>
                    <a:pt x="249" y="169"/>
                    <a:pt x="248" y="183"/>
                    <a:pt x="248" y="198"/>
                  </a:cubicBezTo>
                  <a:close/>
                  <a:moveTo>
                    <a:pt x="884" y="1181"/>
                  </a:moveTo>
                  <a:cubicBezTo>
                    <a:pt x="889" y="1167"/>
                    <a:pt x="894" y="1152"/>
                    <a:pt x="898" y="1137"/>
                  </a:cubicBezTo>
                  <a:cubicBezTo>
                    <a:pt x="901" y="1127"/>
                    <a:pt x="905" y="1116"/>
                    <a:pt x="908" y="1106"/>
                  </a:cubicBezTo>
                  <a:cubicBezTo>
                    <a:pt x="911" y="1098"/>
                    <a:pt x="912" y="1089"/>
                    <a:pt x="916" y="1081"/>
                  </a:cubicBezTo>
                  <a:cubicBezTo>
                    <a:pt x="921" y="1072"/>
                    <a:pt x="923" y="1060"/>
                    <a:pt x="927" y="1050"/>
                  </a:cubicBezTo>
                  <a:cubicBezTo>
                    <a:pt x="932" y="1037"/>
                    <a:pt x="934" y="1023"/>
                    <a:pt x="940" y="1010"/>
                  </a:cubicBezTo>
                  <a:cubicBezTo>
                    <a:pt x="945" y="1001"/>
                    <a:pt x="941" y="995"/>
                    <a:pt x="931" y="995"/>
                  </a:cubicBezTo>
                  <a:cubicBezTo>
                    <a:pt x="927" y="995"/>
                    <a:pt x="922" y="995"/>
                    <a:pt x="918" y="995"/>
                  </a:cubicBezTo>
                  <a:cubicBezTo>
                    <a:pt x="913" y="995"/>
                    <a:pt x="908" y="997"/>
                    <a:pt x="907" y="1001"/>
                  </a:cubicBezTo>
                  <a:cubicBezTo>
                    <a:pt x="904" y="1008"/>
                    <a:pt x="900" y="1015"/>
                    <a:pt x="899" y="1023"/>
                  </a:cubicBezTo>
                  <a:cubicBezTo>
                    <a:pt x="897" y="1034"/>
                    <a:pt x="893" y="1045"/>
                    <a:pt x="889" y="1055"/>
                  </a:cubicBezTo>
                  <a:cubicBezTo>
                    <a:pt x="887" y="1064"/>
                    <a:pt x="885" y="1072"/>
                    <a:pt x="882" y="1080"/>
                  </a:cubicBezTo>
                  <a:cubicBezTo>
                    <a:pt x="878" y="1091"/>
                    <a:pt x="874" y="1103"/>
                    <a:pt x="871" y="1115"/>
                  </a:cubicBezTo>
                  <a:cubicBezTo>
                    <a:pt x="870" y="1118"/>
                    <a:pt x="871" y="1124"/>
                    <a:pt x="866" y="1124"/>
                  </a:cubicBezTo>
                  <a:cubicBezTo>
                    <a:pt x="861" y="1125"/>
                    <a:pt x="859" y="1120"/>
                    <a:pt x="858" y="1115"/>
                  </a:cubicBezTo>
                  <a:cubicBezTo>
                    <a:pt x="856" y="1110"/>
                    <a:pt x="856" y="1104"/>
                    <a:pt x="854" y="1099"/>
                  </a:cubicBezTo>
                  <a:cubicBezTo>
                    <a:pt x="848" y="1080"/>
                    <a:pt x="841" y="1062"/>
                    <a:pt x="835" y="1044"/>
                  </a:cubicBezTo>
                  <a:cubicBezTo>
                    <a:pt x="831" y="1030"/>
                    <a:pt x="828" y="1016"/>
                    <a:pt x="822" y="1003"/>
                  </a:cubicBezTo>
                  <a:cubicBezTo>
                    <a:pt x="819" y="997"/>
                    <a:pt x="814" y="994"/>
                    <a:pt x="808" y="994"/>
                  </a:cubicBezTo>
                  <a:cubicBezTo>
                    <a:pt x="799" y="993"/>
                    <a:pt x="791" y="993"/>
                    <a:pt x="787" y="1001"/>
                  </a:cubicBezTo>
                  <a:cubicBezTo>
                    <a:pt x="783" y="1008"/>
                    <a:pt x="780" y="1015"/>
                    <a:pt x="779" y="1022"/>
                  </a:cubicBezTo>
                  <a:cubicBezTo>
                    <a:pt x="778" y="1034"/>
                    <a:pt x="772" y="1044"/>
                    <a:pt x="769" y="1055"/>
                  </a:cubicBezTo>
                  <a:cubicBezTo>
                    <a:pt x="762" y="1076"/>
                    <a:pt x="754" y="1096"/>
                    <a:pt x="749" y="1117"/>
                  </a:cubicBezTo>
                  <a:cubicBezTo>
                    <a:pt x="748" y="1120"/>
                    <a:pt x="747" y="1124"/>
                    <a:pt x="742" y="1124"/>
                  </a:cubicBezTo>
                  <a:cubicBezTo>
                    <a:pt x="737" y="1124"/>
                    <a:pt x="737" y="1120"/>
                    <a:pt x="736" y="1116"/>
                  </a:cubicBezTo>
                  <a:cubicBezTo>
                    <a:pt x="734" y="1104"/>
                    <a:pt x="730" y="1092"/>
                    <a:pt x="726" y="1080"/>
                  </a:cubicBezTo>
                  <a:cubicBezTo>
                    <a:pt x="720" y="1061"/>
                    <a:pt x="714" y="1040"/>
                    <a:pt x="708" y="1020"/>
                  </a:cubicBezTo>
                  <a:cubicBezTo>
                    <a:pt x="703" y="1000"/>
                    <a:pt x="698" y="994"/>
                    <a:pt x="676" y="995"/>
                  </a:cubicBezTo>
                  <a:cubicBezTo>
                    <a:pt x="665" y="996"/>
                    <a:pt x="661" y="1001"/>
                    <a:pt x="667" y="1011"/>
                  </a:cubicBezTo>
                  <a:cubicBezTo>
                    <a:pt x="669" y="1016"/>
                    <a:pt x="670" y="1021"/>
                    <a:pt x="672" y="1025"/>
                  </a:cubicBezTo>
                  <a:cubicBezTo>
                    <a:pt x="675" y="1035"/>
                    <a:pt x="678" y="1046"/>
                    <a:pt x="681" y="1055"/>
                  </a:cubicBezTo>
                  <a:cubicBezTo>
                    <a:pt x="685" y="1068"/>
                    <a:pt x="689" y="1080"/>
                    <a:pt x="693" y="1092"/>
                  </a:cubicBezTo>
                  <a:cubicBezTo>
                    <a:pt x="697" y="1103"/>
                    <a:pt x="699" y="1113"/>
                    <a:pt x="703" y="1124"/>
                  </a:cubicBezTo>
                  <a:cubicBezTo>
                    <a:pt x="707" y="1136"/>
                    <a:pt x="711" y="1147"/>
                    <a:pt x="715" y="1160"/>
                  </a:cubicBezTo>
                  <a:cubicBezTo>
                    <a:pt x="717" y="1168"/>
                    <a:pt x="720" y="1176"/>
                    <a:pt x="724" y="1183"/>
                  </a:cubicBezTo>
                  <a:cubicBezTo>
                    <a:pt x="728" y="1189"/>
                    <a:pt x="752" y="1185"/>
                    <a:pt x="757" y="1180"/>
                  </a:cubicBezTo>
                  <a:cubicBezTo>
                    <a:pt x="764" y="1173"/>
                    <a:pt x="762" y="1163"/>
                    <a:pt x="766" y="1156"/>
                  </a:cubicBezTo>
                  <a:cubicBezTo>
                    <a:pt x="774" y="1140"/>
                    <a:pt x="778" y="1122"/>
                    <a:pt x="784" y="1105"/>
                  </a:cubicBezTo>
                  <a:cubicBezTo>
                    <a:pt x="789" y="1088"/>
                    <a:pt x="796" y="1072"/>
                    <a:pt x="800" y="1054"/>
                  </a:cubicBezTo>
                  <a:cubicBezTo>
                    <a:pt x="800" y="1053"/>
                    <a:pt x="801" y="1050"/>
                    <a:pt x="803" y="1050"/>
                  </a:cubicBezTo>
                  <a:cubicBezTo>
                    <a:pt x="806" y="1050"/>
                    <a:pt x="806" y="1052"/>
                    <a:pt x="807" y="1055"/>
                  </a:cubicBezTo>
                  <a:cubicBezTo>
                    <a:pt x="807" y="1060"/>
                    <a:pt x="810" y="1066"/>
                    <a:pt x="811" y="1071"/>
                  </a:cubicBezTo>
                  <a:cubicBezTo>
                    <a:pt x="814" y="1081"/>
                    <a:pt x="818" y="1090"/>
                    <a:pt x="821" y="1099"/>
                  </a:cubicBezTo>
                  <a:cubicBezTo>
                    <a:pt x="824" y="1110"/>
                    <a:pt x="827" y="1120"/>
                    <a:pt x="831" y="1131"/>
                  </a:cubicBezTo>
                  <a:cubicBezTo>
                    <a:pt x="834" y="1142"/>
                    <a:pt x="839" y="1153"/>
                    <a:pt x="842" y="1164"/>
                  </a:cubicBezTo>
                  <a:cubicBezTo>
                    <a:pt x="846" y="1179"/>
                    <a:pt x="850" y="1188"/>
                    <a:pt x="869" y="1185"/>
                  </a:cubicBezTo>
                  <a:cubicBezTo>
                    <a:pt x="873" y="1184"/>
                    <a:pt x="881" y="1189"/>
                    <a:pt x="884" y="1181"/>
                  </a:cubicBezTo>
                  <a:close/>
                  <a:moveTo>
                    <a:pt x="33" y="1051"/>
                  </a:moveTo>
                  <a:cubicBezTo>
                    <a:pt x="33" y="1087"/>
                    <a:pt x="33" y="1124"/>
                    <a:pt x="33" y="1160"/>
                  </a:cubicBezTo>
                  <a:cubicBezTo>
                    <a:pt x="33" y="1188"/>
                    <a:pt x="29" y="1184"/>
                    <a:pt x="58" y="1185"/>
                  </a:cubicBezTo>
                  <a:cubicBezTo>
                    <a:pt x="72" y="1185"/>
                    <a:pt x="73" y="1184"/>
                    <a:pt x="73" y="1170"/>
                  </a:cubicBezTo>
                  <a:cubicBezTo>
                    <a:pt x="73" y="1138"/>
                    <a:pt x="73" y="1107"/>
                    <a:pt x="73" y="1076"/>
                  </a:cubicBezTo>
                  <a:cubicBezTo>
                    <a:pt x="73" y="1071"/>
                    <a:pt x="72" y="1067"/>
                    <a:pt x="78" y="1065"/>
                  </a:cubicBezTo>
                  <a:cubicBezTo>
                    <a:pt x="91" y="1062"/>
                    <a:pt x="102" y="1067"/>
                    <a:pt x="110" y="1076"/>
                  </a:cubicBezTo>
                  <a:cubicBezTo>
                    <a:pt x="112" y="1080"/>
                    <a:pt x="115" y="1083"/>
                    <a:pt x="118" y="1086"/>
                  </a:cubicBezTo>
                  <a:cubicBezTo>
                    <a:pt x="132" y="1103"/>
                    <a:pt x="146" y="1119"/>
                    <a:pt x="161" y="1136"/>
                  </a:cubicBezTo>
                  <a:cubicBezTo>
                    <a:pt x="173" y="1150"/>
                    <a:pt x="186" y="1165"/>
                    <a:pt x="198" y="1179"/>
                  </a:cubicBezTo>
                  <a:cubicBezTo>
                    <a:pt x="207" y="1188"/>
                    <a:pt x="218" y="1184"/>
                    <a:pt x="228" y="1185"/>
                  </a:cubicBezTo>
                  <a:cubicBezTo>
                    <a:pt x="233" y="1185"/>
                    <a:pt x="241" y="1188"/>
                    <a:pt x="244" y="1182"/>
                  </a:cubicBezTo>
                  <a:cubicBezTo>
                    <a:pt x="246" y="1178"/>
                    <a:pt x="239" y="1173"/>
                    <a:pt x="235" y="1169"/>
                  </a:cubicBezTo>
                  <a:cubicBezTo>
                    <a:pt x="206" y="1133"/>
                    <a:pt x="176" y="1098"/>
                    <a:pt x="146" y="1062"/>
                  </a:cubicBezTo>
                  <a:cubicBezTo>
                    <a:pt x="141" y="1056"/>
                    <a:pt x="131" y="1052"/>
                    <a:pt x="132" y="1044"/>
                  </a:cubicBezTo>
                  <a:cubicBezTo>
                    <a:pt x="132" y="1036"/>
                    <a:pt x="142" y="1032"/>
                    <a:pt x="147" y="1026"/>
                  </a:cubicBezTo>
                  <a:cubicBezTo>
                    <a:pt x="164" y="1006"/>
                    <a:pt x="182" y="988"/>
                    <a:pt x="198" y="968"/>
                  </a:cubicBezTo>
                  <a:cubicBezTo>
                    <a:pt x="209" y="954"/>
                    <a:pt x="221" y="942"/>
                    <a:pt x="234" y="929"/>
                  </a:cubicBezTo>
                  <a:cubicBezTo>
                    <a:pt x="236" y="926"/>
                    <a:pt x="238" y="923"/>
                    <a:pt x="237" y="920"/>
                  </a:cubicBezTo>
                  <a:cubicBezTo>
                    <a:pt x="235" y="915"/>
                    <a:pt x="231" y="917"/>
                    <a:pt x="228" y="917"/>
                  </a:cubicBezTo>
                  <a:cubicBezTo>
                    <a:pt x="224" y="918"/>
                    <a:pt x="221" y="918"/>
                    <a:pt x="217" y="918"/>
                  </a:cubicBezTo>
                  <a:cubicBezTo>
                    <a:pt x="204" y="917"/>
                    <a:pt x="193" y="922"/>
                    <a:pt x="185" y="931"/>
                  </a:cubicBezTo>
                  <a:cubicBezTo>
                    <a:pt x="172" y="946"/>
                    <a:pt x="158" y="961"/>
                    <a:pt x="145" y="977"/>
                  </a:cubicBezTo>
                  <a:cubicBezTo>
                    <a:pt x="131" y="993"/>
                    <a:pt x="117" y="1010"/>
                    <a:pt x="102" y="1026"/>
                  </a:cubicBezTo>
                  <a:cubicBezTo>
                    <a:pt x="96" y="1032"/>
                    <a:pt x="87" y="1037"/>
                    <a:pt x="78" y="1034"/>
                  </a:cubicBezTo>
                  <a:cubicBezTo>
                    <a:pt x="70" y="1030"/>
                    <a:pt x="73" y="1021"/>
                    <a:pt x="73" y="1015"/>
                  </a:cubicBezTo>
                  <a:cubicBezTo>
                    <a:pt x="73" y="991"/>
                    <a:pt x="73" y="967"/>
                    <a:pt x="73" y="944"/>
                  </a:cubicBezTo>
                  <a:cubicBezTo>
                    <a:pt x="73" y="916"/>
                    <a:pt x="75" y="917"/>
                    <a:pt x="46" y="918"/>
                  </a:cubicBezTo>
                  <a:cubicBezTo>
                    <a:pt x="33" y="918"/>
                    <a:pt x="33" y="918"/>
                    <a:pt x="33" y="931"/>
                  </a:cubicBezTo>
                  <a:cubicBezTo>
                    <a:pt x="33" y="971"/>
                    <a:pt x="33" y="1011"/>
                    <a:pt x="33" y="1051"/>
                  </a:cubicBezTo>
                  <a:cubicBezTo>
                    <a:pt x="33" y="1051"/>
                    <a:pt x="33" y="1051"/>
                    <a:pt x="33" y="1051"/>
                  </a:cubicBezTo>
                  <a:close/>
                  <a:moveTo>
                    <a:pt x="639" y="84"/>
                  </a:moveTo>
                  <a:cubicBezTo>
                    <a:pt x="627" y="84"/>
                    <a:pt x="626" y="84"/>
                    <a:pt x="629" y="95"/>
                  </a:cubicBezTo>
                  <a:cubicBezTo>
                    <a:pt x="634" y="113"/>
                    <a:pt x="640" y="131"/>
                    <a:pt x="646" y="148"/>
                  </a:cubicBezTo>
                  <a:cubicBezTo>
                    <a:pt x="652" y="166"/>
                    <a:pt x="658" y="185"/>
                    <a:pt x="664" y="203"/>
                  </a:cubicBezTo>
                  <a:cubicBezTo>
                    <a:pt x="671" y="223"/>
                    <a:pt x="676" y="244"/>
                    <a:pt x="684" y="264"/>
                  </a:cubicBezTo>
                  <a:cubicBezTo>
                    <a:pt x="688" y="274"/>
                    <a:pt x="694" y="274"/>
                    <a:pt x="702" y="274"/>
                  </a:cubicBezTo>
                  <a:cubicBezTo>
                    <a:pt x="711" y="274"/>
                    <a:pt x="719" y="272"/>
                    <a:pt x="723" y="263"/>
                  </a:cubicBezTo>
                  <a:cubicBezTo>
                    <a:pt x="733" y="236"/>
                    <a:pt x="741" y="208"/>
                    <a:pt x="750" y="181"/>
                  </a:cubicBezTo>
                  <a:cubicBezTo>
                    <a:pt x="754" y="169"/>
                    <a:pt x="757" y="156"/>
                    <a:pt x="763" y="145"/>
                  </a:cubicBezTo>
                  <a:cubicBezTo>
                    <a:pt x="764" y="143"/>
                    <a:pt x="764" y="140"/>
                    <a:pt x="767" y="140"/>
                  </a:cubicBezTo>
                  <a:cubicBezTo>
                    <a:pt x="770" y="140"/>
                    <a:pt x="770" y="143"/>
                    <a:pt x="771" y="145"/>
                  </a:cubicBezTo>
                  <a:cubicBezTo>
                    <a:pt x="771" y="156"/>
                    <a:pt x="777" y="165"/>
                    <a:pt x="780" y="175"/>
                  </a:cubicBezTo>
                  <a:cubicBezTo>
                    <a:pt x="782" y="184"/>
                    <a:pt x="785" y="193"/>
                    <a:pt x="788" y="201"/>
                  </a:cubicBezTo>
                  <a:cubicBezTo>
                    <a:pt x="794" y="219"/>
                    <a:pt x="801" y="237"/>
                    <a:pt x="806" y="255"/>
                  </a:cubicBezTo>
                  <a:cubicBezTo>
                    <a:pt x="811" y="272"/>
                    <a:pt x="825" y="280"/>
                    <a:pt x="842" y="273"/>
                  </a:cubicBezTo>
                  <a:cubicBezTo>
                    <a:pt x="845" y="271"/>
                    <a:pt x="847" y="269"/>
                    <a:pt x="848" y="266"/>
                  </a:cubicBezTo>
                  <a:cubicBezTo>
                    <a:pt x="853" y="251"/>
                    <a:pt x="859" y="236"/>
                    <a:pt x="863" y="221"/>
                  </a:cubicBezTo>
                  <a:cubicBezTo>
                    <a:pt x="867" y="202"/>
                    <a:pt x="875" y="185"/>
                    <a:pt x="880" y="166"/>
                  </a:cubicBezTo>
                  <a:cubicBezTo>
                    <a:pt x="886" y="144"/>
                    <a:pt x="895" y="123"/>
                    <a:pt x="900" y="101"/>
                  </a:cubicBezTo>
                  <a:cubicBezTo>
                    <a:pt x="901" y="96"/>
                    <a:pt x="909" y="91"/>
                    <a:pt x="904" y="86"/>
                  </a:cubicBezTo>
                  <a:cubicBezTo>
                    <a:pt x="900" y="81"/>
                    <a:pt x="892" y="84"/>
                    <a:pt x="886" y="84"/>
                  </a:cubicBezTo>
                  <a:cubicBezTo>
                    <a:pt x="885" y="84"/>
                    <a:pt x="883" y="84"/>
                    <a:pt x="881" y="84"/>
                  </a:cubicBezTo>
                  <a:cubicBezTo>
                    <a:pt x="875" y="84"/>
                    <a:pt x="872" y="86"/>
                    <a:pt x="869" y="91"/>
                  </a:cubicBezTo>
                  <a:cubicBezTo>
                    <a:pt x="860" y="110"/>
                    <a:pt x="856" y="131"/>
                    <a:pt x="850" y="151"/>
                  </a:cubicBezTo>
                  <a:cubicBezTo>
                    <a:pt x="844" y="170"/>
                    <a:pt x="836" y="188"/>
                    <a:pt x="834" y="208"/>
                  </a:cubicBezTo>
                  <a:cubicBezTo>
                    <a:pt x="833" y="211"/>
                    <a:pt x="831" y="214"/>
                    <a:pt x="827" y="214"/>
                  </a:cubicBezTo>
                  <a:cubicBezTo>
                    <a:pt x="823" y="214"/>
                    <a:pt x="822" y="210"/>
                    <a:pt x="822" y="207"/>
                  </a:cubicBezTo>
                  <a:cubicBezTo>
                    <a:pt x="817" y="188"/>
                    <a:pt x="811" y="170"/>
                    <a:pt x="805" y="152"/>
                  </a:cubicBezTo>
                  <a:cubicBezTo>
                    <a:pt x="799" y="133"/>
                    <a:pt x="794" y="114"/>
                    <a:pt x="786" y="96"/>
                  </a:cubicBezTo>
                  <a:cubicBezTo>
                    <a:pt x="783" y="87"/>
                    <a:pt x="779" y="84"/>
                    <a:pt x="770" y="84"/>
                  </a:cubicBezTo>
                  <a:cubicBezTo>
                    <a:pt x="761" y="84"/>
                    <a:pt x="752" y="82"/>
                    <a:pt x="748" y="94"/>
                  </a:cubicBezTo>
                  <a:cubicBezTo>
                    <a:pt x="744" y="109"/>
                    <a:pt x="738" y="123"/>
                    <a:pt x="734" y="138"/>
                  </a:cubicBezTo>
                  <a:cubicBezTo>
                    <a:pt x="729" y="153"/>
                    <a:pt x="724" y="167"/>
                    <a:pt x="719" y="182"/>
                  </a:cubicBezTo>
                  <a:cubicBezTo>
                    <a:pt x="716" y="192"/>
                    <a:pt x="715" y="203"/>
                    <a:pt x="708" y="212"/>
                  </a:cubicBezTo>
                  <a:cubicBezTo>
                    <a:pt x="707" y="214"/>
                    <a:pt x="707" y="217"/>
                    <a:pt x="704" y="217"/>
                  </a:cubicBezTo>
                  <a:cubicBezTo>
                    <a:pt x="701" y="217"/>
                    <a:pt x="701" y="213"/>
                    <a:pt x="700" y="211"/>
                  </a:cubicBezTo>
                  <a:cubicBezTo>
                    <a:pt x="699" y="198"/>
                    <a:pt x="694" y="186"/>
                    <a:pt x="690" y="174"/>
                  </a:cubicBezTo>
                  <a:cubicBezTo>
                    <a:pt x="684" y="153"/>
                    <a:pt x="677" y="131"/>
                    <a:pt x="672" y="110"/>
                  </a:cubicBezTo>
                  <a:cubicBezTo>
                    <a:pt x="667" y="88"/>
                    <a:pt x="663" y="84"/>
                    <a:pt x="645" y="84"/>
                  </a:cubicBezTo>
                  <a:cubicBezTo>
                    <a:pt x="643" y="84"/>
                    <a:pt x="641" y="84"/>
                    <a:pt x="639" y="84"/>
                  </a:cubicBezTo>
                  <a:close/>
                  <a:moveTo>
                    <a:pt x="507" y="711"/>
                  </a:moveTo>
                  <a:cubicBezTo>
                    <a:pt x="507" y="730"/>
                    <a:pt x="507" y="730"/>
                    <a:pt x="526" y="730"/>
                  </a:cubicBezTo>
                  <a:cubicBezTo>
                    <a:pt x="539" y="730"/>
                    <a:pt x="541" y="729"/>
                    <a:pt x="541" y="715"/>
                  </a:cubicBezTo>
                  <a:cubicBezTo>
                    <a:pt x="541" y="677"/>
                    <a:pt x="541" y="638"/>
                    <a:pt x="540" y="600"/>
                  </a:cubicBezTo>
                  <a:cubicBezTo>
                    <a:pt x="540" y="593"/>
                    <a:pt x="543" y="587"/>
                    <a:pt x="548" y="582"/>
                  </a:cubicBezTo>
                  <a:cubicBezTo>
                    <a:pt x="553" y="576"/>
                    <a:pt x="559" y="573"/>
                    <a:pt x="564" y="569"/>
                  </a:cubicBezTo>
                  <a:cubicBezTo>
                    <a:pt x="574" y="564"/>
                    <a:pt x="594" y="566"/>
                    <a:pt x="602" y="574"/>
                  </a:cubicBezTo>
                  <a:cubicBezTo>
                    <a:pt x="611" y="582"/>
                    <a:pt x="614" y="592"/>
                    <a:pt x="614" y="604"/>
                  </a:cubicBezTo>
                  <a:cubicBezTo>
                    <a:pt x="614" y="638"/>
                    <a:pt x="614" y="672"/>
                    <a:pt x="614" y="706"/>
                  </a:cubicBezTo>
                  <a:cubicBezTo>
                    <a:pt x="614" y="730"/>
                    <a:pt x="614" y="730"/>
                    <a:pt x="638" y="730"/>
                  </a:cubicBezTo>
                  <a:cubicBezTo>
                    <a:pt x="650" y="730"/>
                    <a:pt x="650" y="730"/>
                    <a:pt x="650" y="717"/>
                  </a:cubicBezTo>
                  <a:cubicBezTo>
                    <a:pt x="650" y="684"/>
                    <a:pt x="650" y="650"/>
                    <a:pt x="650" y="617"/>
                  </a:cubicBezTo>
                  <a:cubicBezTo>
                    <a:pt x="650" y="606"/>
                    <a:pt x="651" y="597"/>
                    <a:pt x="657" y="586"/>
                  </a:cubicBezTo>
                  <a:cubicBezTo>
                    <a:pt x="667" y="565"/>
                    <a:pt x="703" y="560"/>
                    <a:pt x="716" y="579"/>
                  </a:cubicBezTo>
                  <a:cubicBezTo>
                    <a:pt x="723" y="588"/>
                    <a:pt x="724" y="598"/>
                    <a:pt x="724" y="609"/>
                  </a:cubicBezTo>
                  <a:cubicBezTo>
                    <a:pt x="724" y="645"/>
                    <a:pt x="724" y="682"/>
                    <a:pt x="724" y="718"/>
                  </a:cubicBezTo>
                  <a:cubicBezTo>
                    <a:pt x="724" y="727"/>
                    <a:pt x="727" y="731"/>
                    <a:pt x="736" y="730"/>
                  </a:cubicBezTo>
                  <a:cubicBezTo>
                    <a:pt x="738" y="730"/>
                    <a:pt x="741" y="730"/>
                    <a:pt x="743" y="730"/>
                  </a:cubicBezTo>
                  <a:cubicBezTo>
                    <a:pt x="758" y="730"/>
                    <a:pt x="759" y="729"/>
                    <a:pt x="759" y="715"/>
                  </a:cubicBezTo>
                  <a:cubicBezTo>
                    <a:pt x="759" y="677"/>
                    <a:pt x="758" y="639"/>
                    <a:pt x="759" y="601"/>
                  </a:cubicBezTo>
                  <a:cubicBezTo>
                    <a:pt x="759" y="571"/>
                    <a:pt x="742" y="540"/>
                    <a:pt x="704" y="538"/>
                  </a:cubicBezTo>
                  <a:cubicBezTo>
                    <a:pt x="681" y="536"/>
                    <a:pt x="661" y="542"/>
                    <a:pt x="646" y="560"/>
                  </a:cubicBezTo>
                  <a:cubicBezTo>
                    <a:pt x="638" y="569"/>
                    <a:pt x="638" y="569"/>
                    <a:pt x="631" y="559"/>
                  </a:cubicBezTo>
                  <a:cubicBezTo>
                    <a:pt x="630" y="558"/>
                    <a:pt x="630" y="557"/>
                    <a:pt x="629" y="556"/>
                  </a:cubicBezTo>
                  <a:cubicBezTo>
                    <a:pt x="623" y="548"/>
                    <a:pt x="616" y="541"/>
                    <a:pt x="607" y="539"/>
                  </a:cubicBezTo>
                  <a:cubicBezTo>
                    <a:pt x="584" y="534"/>
                    <a:pt x="563" y="539"/>
                    <a:pt x="545" y="555"/>
                  </a:cubicBezTo>
                  <a:cubicBezTo>
                    <a:pt x="540" y="559"/>
                    <a:pt x="537" y="561"/>
                    <a:pt x="537" y="552"/>
                  </a:cubicBezTo>
                  <a:cubicBezTo>
                    <a:pt x="536" y="543"/>
                    <a:pt x="526" y="538"/>
                    <a:pt x="515" y="539"/>
                  </a:cubicBezTo>
                  <a:cubicBezTo>
                    <a:pt x="506" y="540"/>
                    <a:pt x="507" y="546"/>
                    <a:pt x="507" y="552"/>
                  </a:cubicBezTo>
                  <a:cubicBezTo>
                    <a:pt x="507" y="580"/>
                    <a:pt x="507" y="607"/>
                    <a:pt x="507" y="634"/>
                  </a:cubicBezTo>
                  <a:cubicBezTo>
                    <a:pt x="507" y="660"/>
                    <a:pt x="507" y="685"/>
                    <a:pt x="507" y="711"/>
                  </a:cubicBezTo>
                  <a:close/>
                  <a:moveTo>
                    <a:pt x="1525" y="1142"/>
                  </a:moveTo>
                  <a:cubicBezTo>
                    <a:pt x="1517" y="1143"/>
                    <a:pt x="1511" y="1141"/>
                    <a:pt x="1505" y="1136"/>
                  </a:cubicBezTo>
                  <a:cubicBezTo>
                    <a:pt x="1501" y="1133"/>
                    <a:pt x="1495" y="1130"/>
                    <a:pt x="1498" y="1124"/>
                  </a:cubicBezTo>
                  <a:cubicBezTo>
                    <a:pt x="1500" y="1118"/>
                    <a:pt x="1504" y="1114"/>
                    <a:pt x="1512" y="1114"/>
                  </a:cubicBezTo>
                  <a:cubicBezTo>
                    <a:pt x="1521" y="1115"/>
                    <a:pt x="1530" y="1114"/>
                    <a:pt x="1538" y="1115"/>
                  </a:cubicBezTo>
                  <a:cubicBezTo>
                    <a:pt x="1573" y="1117"/>
                    <a:pt x="1610" y="1084"/>
                    <a:pt x="1602" y="1044"/>
                  </a:cubicBezTo>
                  <a:cubicBezTo>
                    <a:pt x="1600" y="1035"/>
                    <a:pt x="1599" y="1028"/>
                    <a:pt x="1611" y="1027"/>
                  </a:cubicBezTo>
                  <a:cubicBezTo>
                    <a:pt x="1614" y="1027"/>
                    <a:pt x="1617" y="1024"/>
                    <a:pt x="1619" y="1023"/>
                  </a:cubicBezTo>
                  <a:cubicBezTo>
                    <a:pt x="1626" y="1019"/>
                    <a:pt x="1624" y="1013"/>
                    <a:pt x="1623" y="1008"/>
                  </a:cubicBezTo>
                  <a:cubicBezTo>
                    <a:pt x="1623" y="1002"/>
                    <a:pt x="1618" y="1003"/>
                    <a:pt x="1613" y="1002"/>
                  </a:cubicBezTo>
                  <a:cubicBezTo>
                    <a:pt x="1598" y="1002"/>
                    <a:pt x="1582" y="1004"/>
                    <a:pt x="1567" y="1000"/>
                  </a:cubicBezTo>
                  <a:cubicBezTo>
                    <a:pt x="1560" y="999"/>
                    <a:pt x="1554" y="993"/>
                    <a:pt x="1546" y="993"/>
                  </a:cubicBezTo>
                  <a:cubicBezTo>
                    <a:pt x="1536" y="994"/>
                    <a:pt x="1525" y="992"/>
                    <a:pt x="1515" y="993"/>
                  </a:cubicBezTo>
                  <a:cubicBezTo>
                    <a:pt x="1490" y="997"/>
                    <a:pt x="1469" y="1010"/>
                    <a:pt x="1462" y="1034"/>
                  </a:cubicBezTo>
                  <a:cubicBezTo>
                    <a:pt x="1455" y="1056"/>
                    <a:pt x="1457" y="1079"/>
                    <a:pt x="1476" y="1096"/>
                  </a:cubicBezTo>
                  <a:cubicBezTo>
                    <a:pt x="1483" y="1103"/>
                    <a:pt x="1483" y="1107"/>
                    <a:pt x="1476" y="1113"/>
                  </a:cubicBezTo>
                  <a:cubicBezTo>
                    <a:pt x="1462" y="1126"/>
                    <a:pt x="1462" y="1142"/>
                    <a:pt x="1473" y="1157"/>
                  </a:cubicBezTo>
                  <a:cubicBezTo>
                    <a:pt x="1476" y="1160"/>
                    <a:pt x="1476" y="1162"/>
                    <a:pt x="1472" y="1164"/>
                  </a:cubicBezTo>
                  <a:cubicBezTo>
                    <a:pt x="1470" y="1166"/>
                    <a:pt x="1468" y="1168"/>
                    <a:pt x="1466" y="1170"/>
                  </a:cubicBezTo>
                  <a:cubicBezTo>
                    <a:pt x="1449" y="1183"/>
                    <a:pt x="1444" y="1201"/>
                    <a:pt x="1454" y="1218"/>
                  </a:cubicBezTo>
                  <a:cubicBezTo>
                    <a:pt x="1464" y="1235"/>
                    <a:pt x="1479" y="1246"/>
                    <a:pt x="1499" y="1249"/>
                  </a:cubicBezTo>
                  <a:cubicBezTo>
                    <a:pt x="1517" y="1252"/>
                    <a:pt x="1535" y="1253"/>
                    <a:pt x="1553" y="1250"/>
                  </a:cubicBezTo>
                  <a:cubicBezTo>
                    <a:pt x="1584" y="1245"/>
                    <a:pt x="1607" y="1232"/>
                    <a:pt x="1619" y="1200"/>
                  </a:cubicBezTo>
                  <a:cubicBezTo>
                    <a:pt x="1627" y="1180"/>
                    <a:pt x="1611" y="1155"/>
                    <a:pt x="1593" y="1148"/>
                  </a:cubicBezTo>
                  <a:cubicBezTo>
                    <a:pt x="1578" y="1142"/>
                    <a:pt x="1563" y="1143"/>
                    <a:pt x="1549" y="1142"/>
                  </a:cubicBezTo>
                  <a:cubicBezTo>
                    <a:pt x="1540" y="1142"/>
                    <a:pt x="1532" y="1142"/>
                    <a:pt x="1525" y="1142"/>
                  </a:cubicBezTo>
                  <a:close/>
                  <a:moveTo>
                    <a:pt x="1556" y="1172"/>
                  </a:moveTo>
                  <a:cubicBezTo>
                    <a:pt x="1566" y="1172"/>
                    <a:pt x="1576" y="1176"/>
                    <a:pt x="1583" y="1183"/>
                  </a:cubicBezTo>
                  <a:cubicBezTo>
                    <a:pt x="1589" y="1190"/>
                    <a:pt x="1589" y="1198"/>
                    <a:pt x="1583" y="1205"/>
                  </a:cubicBezTo>
                  <a:cubicBezTo>
                    <a:pt x="1575" y="1215"/>
                    <a:pt x="1565" y="1220"/>
                    <a:pt x="1553" y="1223"/>
                  </a:cubicBezTo>
                  <a:cubicBezTo>
                    <a:pt x="1534" y="1228"/>
                    <a:pt x="1516" y="1225"/>
                    <a:pt x="1499" y="1219"/>
                  </a:cubicBezTo>
                  <a:cubicBezTo>
                    <a:pt x="1486" y="1214"/>
                    <a:pt x="1479" y="1203"/>
                    <a:pt x="1482" y="1193"/>
                  </a:cubicBezTo>
                  <a:cubicBezTo>
                    <a:pt x="1485" y="1182"/>
                    <a:pt x="1496" y="1168"/>
                    <a:pt x="1514" y="1171"/>
                  </a:cubicBezTo>
                  <a:cubicBezTo>
                    <a:pt x="1526" y="1173"/>
                    <a:pt x="1541" y="1171"/>
                    <a:pt x="1556" y="1172"/>
                  </a:cubicBezTo>
                  <a:close/>
                  <a:moveTo>
                    <a:pt x="1531" y="1019"/>
                  </a:moveTo>
                  <a:cubicBezTo>
                    <a:pt x="1553" y="1017"/>
                    <a:pt x="1570" y="1033"/>
                    <a:pt x="1570" y="1052"/>
                  </a:cubicBezTo>
                  <a:cubicBezTo>
                    <a:pt x="1570" y="1075"/>
                    <a:pt x="1554" y="1093"/>
                    <a:pt x="1532" y="1091"/>
                  </a:cubicBezTo>
                  <a:cubicBezTo>
                    <a:pt x="1508" y="1089"/>
                    <a:pt x="1494" y="1082"/>
                    <a:pt x="1493" y="1053"/>
                  </a:cubicBezTo>
                  <a:cubicBezTo>
                    <a:pt x="1494" y="1029"/>
                    <a:pt x="1508" y="1020"/>
                    <a:pt x="1531" y="1019"/>
                  </a:cubicBezTo>
                  <a:close/>
                  <a:moveTo>
                    <a:pt x="1413" y="934"/>
                  </a:moveTo>
                  <a:cubicBezTo>
                    <a:pt x="1413" y="909"/>
                    <a:pt x="1413" y="909"/>
                    <a:pt x="1389" y="910"/>
                  </a:cubicBezTo>
                  <a:cubicBezTo>
                    <a:pt x="1388" y="910"/>
                    <a:pt x="1387" y="910"/>
                    <a:pt x="1387" y="910"/>
                  </a:cubicBezTo>
                  <a:cubicBezTo>
                    <a:pt x="1379" y="910"/>
                    <a:pt x="1376" y="915"/>
                    <a:pt x="1376" y="921"/>
                  </a:cubicBezTo>
                  <a:cubicBezTo>
                    <a:pt x="1376" y="939"/>
                    <a:pt x="1377" y="956"/>
                    <a:pt x="1377" y="974"/>
                  </a:cubicBezTo>
                  <a:cubicBezTo>
                    <a:pt x="1377" y="983"/>
                    <a:pt x="1377" y="991"/>
                    <a:pt x="1377" y="1000"/>
                  </a:cubicBezTo>
                  <a:cubicBezTo>
                    <a:pt x="1377" y="1005"/>
                    <a:pt x="1374" y="1009"/>
                    <a:pt x="1369" y="1005"/>
                  </a:cubicBezTo>
                  <a:cubicBezTo>
                    <a:pt x="1352" y="990"/>
                    <a:pt x="1332" y="993"/>
                    <a:pt x="1312" y="993"/>
                  </a:cubicBezTo>
                  <a:cubicBezTo>
                    <a:pt x="1303" y="994"/>
                    <a:pt x="1294" y="998"/>
                    <a:pt x="1287" y="1003"/>
                  </a:cubicBezTo>
                  <a:cubicBezTo>
                    <a:pt x="1265" y="1017"/>
                    <a:pt x="1252" y="1039"/>
                    <a:pt x="1248" y="1065"/>
                  </a:cubicBezTo>
                  <a:cubicBezTo>
                    <a:pt x="1244" y="1096"/>
                    <a:pt x="1244" y="1128"/>
                    <a:pt x="1261" y="1157"/>
                  </a:cubicBezTo>
                  <a:cubicBezTo>
                    <a:pt x="1270" y="1170"/>
                    <a:pt x="1281" y="1181"/>
                    <a:pt x="1296" y="1185"/>
                  </a:cubicBezTo>
                  <a:cubicBezTo>
                    <a:pt x="1323" y="1191"/>
                    <a:pt x="1349" y="1188"/>
                    <a:pt x="1370" y="1167"/>
                  </a:cubicBezTo>
                  <a:cubicBezTo>
                    <a:pt x="1372" y="1165"/>
                    <a:pt x="1375" y="1162"/>
                    <a:pt x="1379" y="1163"/>
                  </a:cubicBezTo>
                  <a:cubicBezTo>
                    <a:pt x="1382" y="1165"/>
                    <a:pt x="1381" y="1169"/>
                    <a:pt x="1381" y="1172"/>
                  </a:cubicBezTo>
                  <a:cubicBezTo>
                    <a:pt x="1383" y="1181"/>
                    <a:pt x="1390" y="1186"/>
                    <a:pt x="1403" y="1186"/>
                  </a:cubicBezTo>
                  <a:cubicBezTo>
                    <a:pt x="1413" y="1185"/>
                    <a:pt x="1413" y="1178"/>
                    <a:pt x="1413" y="1172"/>
                  </a:cubicBezTo>
                  <a:cubicBezTo>
                    <a:pt x="1413" y="1131"/>
                    <a:pt x="1413" y="1090"/>
                    <a:pt x="1413" y="1049"/>
                  </a:cubicBezTo>
                  <a:cubicBezTo>
                    <a:pt x="1413" y="1010"/>
                    <a:pt x="1413" y="972"/>
                    <a:pt x="1413" y="934"/>
                  </a:cubicBezTo>
                  <a:close/>
                  <a:moveTo>
                    <a:pt x="1378" y="1113"/>
                  </a:moveTo>
                  <a:cubicBezTo>
                    <a:pt x="1378" y="1136"/>
                    <a:pt x="1360" y="1155"/>
                    <a:pt x="1337" y="1157"/>
                  </a:cubicBezTo>
                  <a:cubicBezTo>
                    <a:pt x="1319" y="1159"/>
                    <a:pt x="1304" y="1154"/>
                    <a:pt x="1294" y="1139"/>
                  </a:cubicBezTo>
                  <a:cubicBezTo>
                    <a:pt x="1286" y="1128"/>
                    <a:pt x="1283" y="1116"/>
                    <a:pt x="1283" y="1102"/>
                  </a:cubicBezTo>
                  <a:cubicBezTo>
                    <a:pt x="1282" y="1085"/>
                    <a:pt x="1282" y="1067"/>
                    <a:pt x="1290" y="1051"/>
                  </a:cubicBezTo>
                  <a:cubicBezTo>
                    <a:pt x="1297" y="1036"/>
                    <a:pt x="1308" y="1024"/>
                    <a:pt x="1325" y="1022"/>
                  </a:cubicBezTo>
                  <a:cubicBezTo>
                    <a:pt x="1342" y="1020"/>
                    <a:pt x="1358" y="1021"/>
                    <a:pt x="1371" y="1035"/>
                  </a:cubicBezTo>
                  <a:cubicBezTo>
                    <a:pt x="1376" y="1041"/>
                    <a:pt x="1378" y="1046"/>
                    <a:pt x="1378" y="1052"/>
                  </a:cubicBezTo>
                  <a:cubicBezTo>
                    <a:pt x="1378" y="1064"/>
                    <a:pt x="1378" y="1075"/>
                    <a:pt x="1378" y="1086"/>
                  </a:cubicBezTo>
                  <a:cubicBezTo>
                    <a:pt x="1378" y="1086"/>
                    <a:pt x="1378" y="1086"/>
                    <a:pt x="1378" y="1086"/>
                  </a:cubicBezTo>
                  <a:cubicBezTo>
                    <a:pt x="1378" y="1095"/>
                    <a:pt x="1378" y="1104"/>
                    <a:pt x="1378" y="1113"/>
                  </a:cubicBezTo>
                  <a:close/>
                  <a:moveTo>
                    <a:pt x="578" y="259"/>
                  </a:moveTo>
                  <a:cubicBezTo>
                    <a:pt x="603" y="241"/>
                    <a:pt x="611" y="213"/>
                    <a:pt x="614" y="183"/>
                  </a:cubicBezTo>
                  <a:cubicBezTo>
                    <a:pt x="615" y="171"/>
                    <a:pt x="610" y="159"/>
                    <a:pt x="609" y="147"/>
                  </a:cubicBezTo>
                  <a:cubicBezTo>
                    <a:pt x="608" y="137"/>
                    <a:pt x="603" y="129"/>
                    <a:pt x="599" y="121"/>
                  </a:cubicBezTo>
                  <a:cubicBezTo>
                    <a:pt x="579" y="87"/>
                    <a:pt x="527" y="70"/>
                    <a:pt x="488" y="85"/>
                  </a:cubicBezTo>
                  <a:cubicBezTo>
                    <a:pt x="453" y="99"/>
                    <a:pt x="436" y="127"/>
                    <a:pt x="431" y="163"/>
                  </a:cubicBezTo>
                  <a:cubicBezTo>
                    <a:pt x="429" y="180"/>
                    <a:pt x="430" y="196"/>
                    <a:pt x="436" y="213"/>
                  </a:cubicBezTo>
                  <a:cubicBezTo>
                    <a:pt x="439" y="222"/>
                    <a:pt x="442" y="232"/>
                    <a:pt x="447" y="239"/>
                  </a:cubicBezTo>
                  <a:cubicBezTo>
                    <a:pt x="465" y="265"/>
                    <a:pt x="491" y="277"/>
                    <a:pt x="525" y="276"/>
                  </a:cubicBezTo>
                  <a:cubicBezTo>
                    <a:pt x="543" y="278"/>
                    <a:pt x="562" y="271"/>
                    <a:pt x="578" y="259"/>
                  </a:cubicBezTo>
                  <a:close/>
                  <a:moveTo>
                    <a:pt x="471" y="205"/>
                  </a:moveTo>
                  <a:cubicBezTo>
                    <a:pt x="466" y="185"/>
                    <a:pt x="468" y="167"/>
                    <a:pt x="472" y="147"/>
                  </a:cubicBezTo>
                  <a:cubicBezTo>
                    <a:pt x="477" y="130"/>
                    <a:pt x="493" y="116"/>
                    <a:pt x="509" y="112"/>
                  </a:cubicBezTo>
                  <a:cubicBezTo>
                    <a:pt x="525" y="108"/>
                    <a:pt x="539" y="110"/>
                    <a:pt x="553" y="119"/>
                  </a:cubicBezTo>
                  <a:cubicBezTo>
                    <a:pt x="563" y="125"/>
                    <a:pt x="568" y="135"/>
                    <a:pt x="571" y="146"/>
                  </a:cubicBezTo>
                  <a:cubicBezTo>
                    <a:pt x="577" y="167"/>
                    <a:pt x="578" y="189"/>
                    <a:pt x="571" y="211"/>
                  </a:cubicBezTo>
                  <a:cubicBezTo>
                    <a:pt x="565" y="231"/>
                    <a:pt x="549" y="249"/>
                    <a:pt x="521" y="247"/>
                  </a:cubicBezTo>
                  <a:cubicBezTo>
                    <a:pt x="496" y="247"/>
                    <a:pt x="478" y="230"/>
                    <a:pt x="471" y="205"/>
                  </a:cubicBezTo>
                  <a:close/>
                  <a:moveTo>
                    <a:pt x="472" y="1122"/>
                  </a:moveTo>
                  <a:cubicBezTo>
                    <a:pt x="475" y="1136"/>
                    <a:pt x="481" y="1148"/>
                    <a:pt x="491" y="1158"/>
                  </a:cubicBezTo>
                  <a:cubicBezTo>
                    <a:pt x="506" y="1176"/>
                    <a:pt x="524" y="1185"/>
                    <a:pt x="548" y="1187"/>
                  </a:cubicBezTo>
                  <a:cubicBezTo>
                    <a:pt x="568" y="1188"/>
                    <a:pt x="587" y="1187"/>
                    <a:pt x="605" y="1177"/>
                  </a:cubicBezTo>
                  <a:cubicBezTo>
                    <a:pt x="632" y="1162"/>
                    <a:pt x="644" y="1136"/>
                    <a:pt x="649" y="1107"/>
                  </a:cubicBezTo>
                  <a:cubicBezTo>
                    <a:pt x="652" y="1089"/>
                    <a:pt x="649" y="1072"/>
                    <a:pt x="644" y="1054"/>
                  </a:cubicBezTo>
                  <a:cubicBezTo>
                    <a:pt x="638" y="1034"/>
                    <a:pt x="627" y="1019"/>
                    <a:pt x="610" y="1007"/>
                  </a:cubicBezTo>
                  <a:cubicBezTo>
                    <a:pt x="589" y="992"/>
                    <a:pt x="566" y="991"/>
                    <a:pt x="541" y="994"/>
                  </a:cubicBezTo>
                  <a:cubicBezTo>
                    <a:pt x="526" y="995"/>
                    <a:pt x="512" y="1002"/>
                    <a:pt x="500" y="1012"/>
                  </a:cubicBezTo>
                  <a:cubicBezTo>
                    <a:pt x="476" y="1032"/>
                    <a:pt x="469" y="1060"/>
                    <a:pt x="466" y="1095"/>
                  </a:cubicBezTo>
                  <a:cubicBezTo>
                    <a:pt x="465" y="1101"/>
                    <a:pt x="470" y="1111"/>
                    <a:pt x="472" y="1122"/>
                  </a:cubicBezTo>
                  <a:close/>
                  <a:moveTo>
                    <a:pt x="508" y="1113"/>
                  </a:moveTo>
                  <a:cubicBezTo>
                    <a:pt x="505" y="1095"/>
                    <a:pt x="506" y="1078"/>
                    <a:pt x="508" y="1061"/>
                  </a:cubicBezTo>
                  <a:cubicBezTo>
                    <a:pt x="511" y="1042"/>
                    <a:pt x="538" y="1021"/>
                    <a:pt x="554" y="1022"/>
                  </a:cubicBezTo>
                  <a:cubicBezTo>
                    <a:pt x="570" y="1022"/>
                    <a:pt x="586" y="1024"/>
                    <a:pt x="596" y="1037"/>
                  </a:cubicBezTo>
                  <a:cubicBezTo>
                    <a:pt x="602" y="1044"/>
                    <a:pt x="607" y="1052"/>
                    <a:pt x="608" y="1061"/>
                  </a:cubicBezTo>
                  <a:cubicBezTo>
                    <a:pt x="608" y="1064"/>
                    <a:pt x="609" y="1067"/>
                    <a:pt x="610" y="1070"/>
                  </a:cubicBezTo>
                  <a:cubicBezTo>
                    <a:pt x="618" y="1089"/>
                    <a:pt x="612" y="1107"/>
                    <a:pt x="607" y="1125"/>
                  </a:cubicBezTo>
                  <a:cubicBezTo>
                    <a:pt x="601" y="1143"/>
                    <a:pt x="588" y="1160"/>
                    <a:pt x="558" y="1157"/>
                  </a:cubicBezTo>
                  <a:cubicBezTo>
                    <a:pt x="530" y="1157"/>
                    <a:pt x="512" y="1141"/>
                    <a:pt x="508" y="1113"/>
                  </a:cubicBezTo>
                  <a:close/>
                  <a:moveTo>
                    <a:pt x="430" y="716"/>
                  </a:moveTo>
                  <a:cubicBezTo>
                    <a:pt x="450" y="703"/>
                    <a:pt x="459" y="683"/>
                    <a:pt x="464" y="661"/>
                  </a:cubicBezTo>
                  <a:cubicBezTo>
                    <a:pt x="468" y="648"/>
                    <a:pt x="467" y="635"/>
                    <a:pt x="466" y="621"/>
                  </a:cubicBezTo>
                  <a:cubicBezTo>
                    <a:pt x="463" y="592"/>
                    <a:pt x="453" y="567"/>
                    <a:pt x="427" y="550"/>
                  </a:cubicBezTo>
                  <a:cubicBezTo>
                    <a:pt x="401" y="534"/>
                    <a:pt x="372" y="532"/>
                    <a:pt x="345" y="541"/>
                  </a:cubicBezTo>
                  <a:cubicBezTo>
                    <a:pt x="310" y="552"/>
                    <a:pt x="291" y="580"/>
                    <a:pt x="287" y="617"/>
                  </a:cubicBezTo>
                  <a:cubicBezTo>
                    <a:pt x="286" y="629"/>
                    <a:pt x="286" y="641"/>
                    <a:pt x="287" y="654"/>
                  </a:cubicBezTo>
                  <a:cubicBezTo>
                    <a:pt x="289" y="671"/>
                    <a:pt x="295" y="686"/>
                    <a:pt x="306" y="700"/>
                  </a:cubicBezTo>
                  <a:cubicBezTo>
                    <a:pt x="324" y="722"/>
                    <a:pt x="348" y="733"/>
                    <a:pt x="378" y="731"/>
                  </a:cubicBezTo>
                  <a:cubicBezTo>
                    <a:pt x="396" y="733"/>
                    <a:pt x="414" y="727"/>
                    <a:pt x="430" y="716"/>
                  </a:cubicBezTo>
                  <a:close/>
                  <a:moveTo>
                    <a:pt x="331" y="592"/>
                  </a:moveTo>
                  <a:cubicBezTo>
                    <a:pt x="339" y="580"/>
                    <a:pt x="349" y="569"/>
                    <a:pt x="365" y="567"/>
                  </a:cubicBezTo>
                  <a:cubicBezTo>
                    <a:pt x="387" y="564"/>
                    <a:pt x="406" y="568"/>
                    <a:pt x="419" y="588"/>
                  </a:cubicBezTo>
                  <a:cubicBezTo>
                    <a:pt x="423" y="595"/>
                    <a:pt x="426" y="603"/>
                    <a:pt x="427" y="610"/>
                  </a:cubicBezTo>
                  <a:cubicBezTo>
                    <a:pt x="433" y="635"/>
                    <a:pt x="431" y="661"/>
                    <a:pt x="416" y="684"/>
                  </a:cubicBezTo>
                  <a:cubicBezTo>
                    <a:pt x="403" y="706"/>
                    <a:pt x="362" y="708"/>
                    <a:pt x="345" y="692"/>
                  </a:cubicBezTo>
                  <a:cubicBezTo>
                    <a:pt x="329" y="678"/>
                    <a:pt x="323" y="661"/>
                    <a:pt x="323" y="631"/>
                  </a:cubicBezTo>
                  <a:cubicBezTo>
                    <a:pt x="323" y="619"/>
                    <a:pt x="323" y="605"/>
                    <a:pt x="331" y="592"/>
                  </a:cubicBezTo>
                  <a:close/>
                  <a:moveTo>
                    <a:pt x="1073" y="259"/>
                  </a:moveTo>
                  <a:cubicBezTo>
                    <a:pt x="1073" y="269"/>
                    <a:pt x="1075" y="272"/>
                    <a:pt x="1086" y="272"/>
                  </a:cubicBezTo>
                  <a:cubicBezTo>
                    <a:pt x="1088" y="272"/>
                    <a:pt x="1090" y="272"/>
                    <a:pt x="1092" y="272"/>
                  </a:cubicBezTo>
                  <a:cubicBezTo>
                    <a:pt x="1105" y="272"/>
                    <a:pt x="1106" y="271"/>
                    <a:pt x="1106" y="258"/>
                  </a:cubicBezTo>
                  <a:cubicBezTo>
                    <a:pt x="1106" y="221"/>
                    <a:pt x="1106" y="184"/>
                    <a:pt x="1106" y="147"/>
                  </a:cubicBezTo>
                  <a:cubicBezTo>
                    <a:pt x="1106" y="143"/>
                    <a:pt x="1106" y="140"/>
                    <a:pt x="1107" y="137"/>
                  </a:cubicBezTo>
                  <a:cubicBezTo>
                    <a:pt x="1117" y="117"/>
                    <a:pt x="1157" y="104"/>
                    <a:pt x="1177" y="114"/>
                  </a:cubicBezTo>
                  <a:cubicBezTo>
                    <a:pt x="1179" y="115"/>
                    <a:pt x="1180" y="117"/>
                    <a:pt x="1182" y="118"/>
                  </a:cubicBezTo>
                  <a:cubicBezTo>
                    <a:pt x="1194" y="131"/>
                    <a:pt x="1196" y="147"/>
                    <a:pt x="1196" y="163"/>
                  </a:cubicBezTo>
                  <a:cubicBezTo>
                    <a:pt x="1197" y="195"/>
                    <a:pt x="1196" y="226"/>
                    <a:pt x="1196" y="258"/>
                  </a:cubicBezTo>
                  <a:cubicBezTo>
                    <a:pt x="1196" y="271"/>
                    <a:pt x="1197" y="272"/>
                    <a:pt x="1210" y="272"/>
                  </a:cubicBezTo>
                  <a:cubicBezTo>
                    <a:pt x="1212" y="272"/>
                    <a:pt x="1213" y="272"/>
                    <a:pt x="1215" y="272"/>
                  </a:cubicBezTo>
                  <a:cubicBezTo>
                    <a:pt x="1227" y="272"/>
                    <a:pt x="1229" y="270"/>
                    <a:pt x="1229" y="258"/>
                  </a:cubicBezTo>
                  <a:cubicBezTo>
                    <a:pt x="1229" y="222"/>
                    <a:pt x="1229" y="187"/>
                    <a:pt x="1229" y="151"/>
                  </a:cubicBezTo>
                  <a:cubicBezTo>
                    <a:pt x="1229" y="142"/>
                    <a:pt x="1228" y="132"/>
                    <a:pt x="1225" y="123"/>
                  </a:cubicBezTo>
                  <a:cubicBezTo>
                    <a:pt x="1219" y="105"/>
                    <a:pt x="1208" y="91"/>
                    <a:pt x="1189" y="85"/>
                  </a:cubicBezTo>
                  <a:cubicBezTo>
                    <a:pt x="1173" y="80"/>
                    <a:pt x="1156" y="84"/>
                    <a:pt x="1139" y="84"/>
                  </a:cubicBezTo>
                  <a:cubicBezTo>
                    <a:pt x="1137" y="84"/>
                    <a:pt x="1136" y="86"/>
                    <a:pt x="1134" y="87"/>
                  </a:cubicBezTo>
                  <a:cubicBezTo>
                    <a:pt x="1128" y="91"/>
                    <a:pt x="1121" y="96"/>
                    <a:pt x="1115" y="100"/>
                  </a:cubicBezTo>
                  <a:cubicBezTo>
                    <a:pt x="1113" y="102"/>
                    <a:pt x="1111" y="105"/>
                    <a:pt x="1108" y="103"/>
                  </a:cubicBezTo>
                  <a:cubicBezTo>
                    <a:pt x="1105" y="102"/>
                    <a:pt x="1106" y="98"/>
                    <a:pt x="1106" y="96"/>
                  </a:cubicBezTo>
                  <a:cubicBezTo>
                    <a:pt x="1106" y="69"/>
                    <a:pt x="1106" y="43"/>
                    <a:pt x="1106" y="17"/>
                  </a:cubicBezTo>
                  <a:cubicBezTo>
                    <a:pt x="1106" y="0"/>
                    <a:pt x="1106" y="0"/>
                    <a:pt x="1089" y="0"/>
                  </a:cubicBezTo>
                  <a:cubicBezTo>
                    <a:pt x="1074" y="0"/>
                    <a:pt x="1073" y="1"/>
                    <a:pt x="1073" y="16"/>
                  </a:cubicBezTo>
                  <a:cubicBezTo>
                    <a:pt x="1073" y="56"/>
                    <a:pt x="1073" y="96"/>
                    <a:pt x="1073" y="136"/>
                  </a:cubicBezTo>
                  <a:cubicBezTo>
                    <a:pt x="1073" y="177"/>
                    <a:pt x="1073" y="218"/>
                    <a:pt x="1073" y="259"/>
                  </a:cubicBezTo>
                  <a:close/>
                  <a:moveTo>
                    <a:pt x="1150" y="1092"/>
                  </a:moveTo>
                  <a:cubicBezTo>
                    <a:pt x="1168" y="1092"/>
                    <a:pt x="1186" y="1092"/>
                    <a:pt x="1204" y="1092"/>
                  </a:cubicBezTo>
                  <a:cubicBezTo>
                    <a:pt x="1215" y="1092"/>
                    <a:pt x="1218" y="1087"/>
                    <a:pt x="1219" y="1077"/>
                  </a:cubicBezTo>
                  <a:cubicBezTo>
                    <a:pt x="1220" y="1062"/>
                    <a:pt x="1216" y="1049"/>
                    <a:pt x="1210" y="1036"/>
                  </a:cubicBezTo>
                  <a:cubicBezTo>
                    <a:pt x="1204" y="1020"/>
                    <a:pt x="1193" y="1008"/>
                    <a:pt x="1177" y="1001"/>
                  </a:cubicBezTo>
                  <a:cubicBezTo>
                    <a:pt x="1155" y="992"/>
                    <a:pt x="1133" y="991"/>
                    <a:pt x="1109" y="999"/>
                  </a:cubicBezTo>
                  <a:cubicBezTo>
                    <a:pt x="1079" y="1010"/>
                    <a:pt x="1062" y="1031"/>
                    <a:pt x="1056" y="1061"/>
                  </a:cubicBezTo>
                  <a:cubicBezTo>
                    <a:pt x="1051" y="1090"/>
                    <a:pt x="1052" y="1120"/>
                    <a:pt x="1069" y="1148"/>
                  </a:cubicBezTo>
                  <a:cubicBezTo>
                    <a:pt x="1081" y="1169"/>
                    <a:pt x="1100" y="1180"/>
                    <a:pt x="1122" y="1185"/>
                  </a:cubicBezTo>
                  <a:cubicBezTo>
                    <a:pt x="1149" y="1190"/>
                    <a:pt x="1176" y="1186"/>
                    <a:pt x="1200" y="1171"/>
                  </a:cubicBezTo>
                  <a:cubicBezTo>
                    <a:pt x="1206" y="1168"/>
                    <a:pt x="1213" y="1165"/>
                    <a:pt x="1214" y="1157"/>
                  </a:cubicBezTo>
                  <a:cubicBezTo>
                    <a:pt x="1215" y="1147"/>
                    <a:pt x="1202" y="1139"/>
                    <a:pt x="1193" y="1144"/>
                  </a:cubicBezTo>
                  <a:cubicBezTo>
                    <a:pt x="1187" y="1147"/>
                    <a:pt x="1180" y="1150"/>
                    <a:pt x="1174" y="1153"/>
                  </a:cubicBezTo>
                  <a:cubicBezTo>
                    <a:pt x="1158" y="1161"/>
                    <a:pt x="1140" y="1161"/>
                    <a:pt x="1124" y="1155"/>
                  </a:cubicBezTo>
                  <a:cubicBezTo>
                    <a:pt x="1112" y="1151"/>
                    <a:pt x="1102" y="1142"/>
                    <a:pt x="1096" y="1129"/>
                  </a:cubicBezTo>
                  <a:cubicBezTo>
                    <a:pt x="1092" y="1121"/>
                    <a:pt x="1091" y="1112"/>
                    <a:pt x="1089" y="1104"/>
                  </a:cubicBezTo>
                  <a:cubicBezTo>
                    <a:pt x="1087" y="1093"/>
                    <a:pt x="1087" y="1092"/>
                    <a:pt x="1099" y="1092"/>
                  </a:cubicBezTo>
                  <a:cubicBezTo>
                    <a:pt x="1116" y="1092"/>
                    <a:pt x="1133" y="1092"/>
                    <a:pt x="1150" y="1092"/>
                  </a:cubicBezTo>
                  <a:cubicBezTo>
                    <a:pt x="1150" y="1092"/>
                    <a:pt x="1150" y="1092"/>
                    <a:pt x="1150" y="1092"/>
                  </a:cubicBezTo>
                  <a:close/>
                  <a:moveTo>
                    <a:pt x="1099" y="1070"/>
                  </a:moveTo>
                  <a:cubicBezTo>
                    <a:pt x="1092" y="1071"/>
                    <a:pt x="1089" y="1067"/>
                    <a:pt x="1091" y="1060"/>
                  </a:cubicBezTo>
                  <a:cubicBezTo>
                    <a:pt x="1094" y="1045"/>
                    <a:pt x="1108" y="1023"/>
                    <a:pt x="1128" y="1022"/>
                  </a:cubicBezTo>
                  <a:cubicBezTo>
                    <a:pt x="1142" y="1021"/>
                    <a:pt x="1156" y="1018"/>
                    <a:pt x="1168" y="1029"/>
                  </a:cubicBezTo>
                  <a:cubicBezTo>
                    <a:pt x="1181" y="1038"/>
                    <a:pt x="1185" y="1051"/>
                    <a:pt x="1187" y="1066"/>
                  </a:cubicBezTo>
                  <a:cubicBezTo>
                    <a:pt x="1188" y="1071"/>
                    <a:pt x="1183" y="1070"/>
                    <a:pt x="1180" y="1070"/>
                  </a:cubicBezTo>
                  <a:cubicBezTo>
                    <a:pt x="1166" y="1070"/>
                    <a:pt x="1153" y="1070"/>
                    <a:pt x="1139" y="1070"/>
                  </a:cubicBezTo>
                  <a:cubicBezTo>
                    <a:pt x="1139" y="1070"/>
                    <a:pt x="1139" y="1070"/>
                    <a:pt x="1139" y="1070"/>
                  </a:cubicBezTo>
                  <a:cubicBezTo>
                    <a:pt x="1126" y="1070"/>
                    <a:pt x="1113" y="1070"/>
                    <a:pt x="1099" y="1070"/>
                  </a:cubicBezTo>
                  <a:close/>
                  <a:moveTo>
                    <a:pt x="1741" y="1092"/>
                  </a:moveTo>
                  <a:cubicBezTo>
                    <a:pt x="1759" y="1092"/>
                    <a:pt x="1776" y="1092"/>
                    <a:pt x="1793" y="1092"/>
                  </a:cubicBezTo>
                  <a:cubicBezTo>
                    <a:pt x="1806" y="1092"/>
                    <a:pt x="1808" y="1089"/>
                    <a:pt x="1808" y="1076"/>
                  </a:cubicBezTo>
                  <a:cubicBezTo>
                    <a:pt x="1809" y="1063"/>
                    <a:pt x="1807" y="1051"/>
                    <a:pt x="1802" y="1038"/>
                  </a:cubicBezTo>
                  <a:cubicBezTo>
                    <a:pt x="1794" y="1021"/>
                    <a:pt x="1782" y="1008"/>
                    <a:pt x="1764" y="1000"/>
                  </a:cubicBezTo>
                  <a:cubicBezTo>
                    <a:pt x="1742" y="991"/>
                    <a:pt x="1720" y="991"/>
                    <a:pt x="1698" y="1000"/>
                  </a:cubicBezTo>
                  <a:cubicBezTo>
                    <a:pt x="1681" y="1006"/>
                    <a:pt x="1668" y="1016"/>
                    <a:pt x="1659" y="1031"/>
                  </a:cubicBezTo>
                  <a:cubicBezTo>
                    <a:pt x="1646" y="1050"/>
                    <a:pt x="1643" y="1071"/>
                    <a:pt x="1644" y="1094"/>
                  </a:cubicBezTo>
                  <a:cubicBezTo>
                    <a:pt x="1644" y="1110"/>
                    <a:pt x="1647" y="1127"/>
                    <a:pt x="1655" y="1141"/>
                  </a:cubicBezTo>
                  <a:cubicBezTo>
                    <a:pt x="1669" y="1168"/>
                    <a:pt x="1691" y="1183"/>
                    <a:pt x="1722" y="1186"/>
                  </a:cubicBezTo>
                  <a:cubicBezTo>
                    <a:pt x="1750" y="1188"/>
                    <a:pt x="1775" y="1183"/>
                    <a:pt x="1798" y="1165"/>
                  </a:cubicBezTo>
                  <a:cubicBezTo>
                    <a:pt x="1803" y="1161"/>
                    <a:pt x="1806" y="1157"/>
                    <a:pt x="1802" y="1151"/>
                  </a:cubicBezTo>
                  <a:cubicBezTo>
                    <a:pt x="1798" y="1144"/>
                    <a:pt x="1791" y="1140"/>
                    <a:pt x="1783" y="1144"/>
                  </a:cubicBezTo>
                  <a:cubicBezTo>
                    <a:pt x="1778" y="1147"/>
                    <a:pt x="1771" y="1149"/>
                    <a:pt x="1766" y="1152"/>
                  </a:cubicBezTo>
                  <a:cubicBezTo>
                    <a:pt x="1749" y="1161"/>
                    <a:pt x="1730" y="1162"/>
                    <a:pt x="1714" y="1155"/>
                  </a:cubicBezTo>
                  <a:cubicBezTo>
                    <a:pt x="1692" y="1145"/>
                    <a:pt x="1680" y="1127"/>
                    <a:pt x="1679" y="1102"/>
                  </a:cubicBezTo>
                  <a:cubicBezTo>
                    <a:pt x="1678" y="1095"/>
                    <a:pt x="1681" y="1092"/>
                    <a:pt x="1689" y="1092"/>
                  </a:cubicBezTo>
                  <a:cubicBezTo>
                    <a:pt x="1706" y="1092"/>
                    <a:pt x="1724" y="1092"/>
                    <a:pt x="1741" y="1092"/>
                  </a:cubicBezTo>
                  <a:cubicBezTo>
                    <a:pt x="1741" y="1092"/>
                    <a:pt x="1741" y="1092"/>
                    <a:pt x="1741" y="1092"/>
                  </a:cubicBezTo>
                  <a:close/>
                  <a:moveTo>
                    <a:pt x="1690" y="1070"/>
                  </a:moveTo>
                  <a:cubicBezTo>
                    <a:pt x="1683" y="1071"/>
                    <a:pt x="1680" y="1068"/>
                    <a:pt x="1681" y="1062"/>
                  </a:cubicBezTo>
                  <a:cubicBezTo>
                    <a:pt x="1683" y="1048"/>
                    <a:pt x="1697" y="1024"/>
                    <a:pt x="1716" y="1022"/>
                  </a:cubicBezTo>
                  <a:cubicBezTo>
                    <a:pt x="1731" y="1020"/>
                    <a:pt x="1747" y="1018"/>
                    <a:pt x="1760" y="1030"/>
                  </a:cubicBezTo>
                  <a:cubicBezTo>
                    <a:pt x="1771" y="1038"/>
                    <a:pt x="1775" y="1050"/>
                    <a:pt x="1778" y="1062"/>
                  </a:cubicBezTo>
                  <a:cubicBezTo>
                    <a:pt x="1780" y="1068"/>
                    <a:pt x="1775" y="1070"/>
                    <a:pt x="1769" y="1070"/>
                  </a:cubicBezTo>
                  <a:cubicBezTo>
                    <a:pt x="1756" y="1070"/>
                    <a:pt x="1742" y="1070"/>
                    <a:pt x="1729" y="1070"/>
                  </a:cubicBezTo>
                  <a:cubicBezTo>
                    <a:pt x="1729" y="1070"/>
                    <a:pt x="1729" y="1070"/>
                    <a:pt x="1729" y="1070"/>
                  </a:cubicBezTo>
                  <a:cubicBezTo>
                    <a:pt x="1716" y="1070"/>
                    <a:pt x="1703" y="1070"/>
                    <a:pt x="1690" y="1070"/>
                  </a:cubicBezTo>
                  <a:close/>
                  <a:moveTo>
                    <a:pt x="68" y="581"/>
                  </a:moveTo>
                  <a:cubicBezTo>
                    <a:pt x="68" y="573"/>
                    <a:pt x="70" y="568"/>
                    <a:pt x="80" y="569"/>
                  </a:cubicBezTo>
                  <a:cubicBezTo>
                    <a:pt x="90" y="570"/>
                    <a:pt x="101" y="570"/>
                    <a:pt x="111" y="569"/>
                  </a:cubicBezTo>
                  <a:cubicBezTo>
                    <a:pt x="120" y="569"/>
                    <a:pt x="120" y="563"/>
                    <a:pt x="120" y="556"/>
                  </a:cubicBezTo>
                  <a:cubicBezTo>
                    <a:pt x="120" y="549"/>
                    <a:pt x="119" y="544"/>
                    <a:pt x="111" y="544"/>
                  </a:cubicBezTo>
                  <a:cubicBezTo>
                    <a:pt x="104" y="544"/>
                    <a:pt x="97" y="544"/>
                    <a:pt x="91" y="544"/>
                  </a:cubicBezTo>
                  <a:cubicBezTo>
                    <a:pt x="66" y="544"/>
                    <a:pt x="65" y="543"/>
                    <a:pt x="68" y="518"/>
                  </a:cubicBezTo>
                  <a:cubicBezTo>
                    <a:pt x="69" y="504"/>
                    <a:pt x="83" y="487"/>
                    <a:pt x="99" y="489"/>
                  </a:cubicBezTo>
                  <a:cubicBezTo>
                    <a:pt x="103" y="489"/>
                    <a:pt x="107" y="489"/>
                    <a:pt x="110" y="488"/>
                  </a:cubicBezTo>
                  <a:cubicBezTo>
                    <a:pt x="118" y="487"/>
                    <a:pt x="123" y="479"/>
                    <a:pt x="123" y="471"/>
                  </a:cubicBezTo>
                  <a:cubicBezTo>
                    <a:pt x="123" y="461"/>
                    <a:pt x="116" y="462"/>
                    <a:pt x="109" y="460"/>
                  </a:cubicBezTo>
                  <a:cubicBezTo>
                    <a:pt x="100" y="458"/>
                    <a:pt x="92" y="460"/>
                    <a:pt x="84" y="460"/>
                  </a:cubicBezTo>
                  <a:cubicBezTo>
                    <a:pt x="68" y="461"/>
                    <a:pt x="56" y="469"/>
                    <a:pt x="47" y="480"/>
                  </a:cubicBezTo>
                  <a:cubicBezTo>
                    <a:pt x="34" y="493"/>
                    <a:pt x="32" y="511"/>
                    <a:pt x="32" y="529"/>
                  </a:cubicBezTo>
                  <a:cubicBezTo>
                    <a:pt x="32" y="544"/>
                    <a:pt x="32" y="544"/>
                    <a:pt x="17" y="544"/>
                  </a:cubicBezTo>
                  <a:cubicBezTo>
                    <a:pt x="4" y="543"/>
                    <a:pt x="0" y="548"/>
                    <a:pt x="4" y="561"/>
                  </a:cubicBezTo>
                  <a:cubicBezTo>
                    <a:pt x="6" y="569"/>
                    <a:pt x="13" y="568"/>
                    <a:pt x="19" y="569"/>
                  </a:cubicBezTo>
                  <a:cubicBezTo>
                    <a:pt x="32" y="571"/>
                    <a:pt x="32" y="571"/>
                    <a:pt x="32" y="584"/>
                  </a:cubicBezTo>
                  <a:cubicBezTo>
                    <a:pt x="32" y="624"/>
                    <a:pt x="32" y="664"/>
                    <a:pt x="32" y="704"/>
                  </a:cubicBezTo>
                  <a:cubicBezTo>
                    <a:pt x="32" y="731"/>
                    <a:pt x="32" y="730"/>
                    <a:pt x="57" y="731"/>
                  </a:cubicBezTo>
                  <a:cubicBezTo>
                    <a:pt x="66" y="731"/>
                    <a:pt x="68" y="727"/>
                    <a:pt x="68" y="720"/>
                  </a:cubicBezTo>
                  <a:cubicBezTo>
                    <a:pt x="68" y="697"/>
                    <a:pt x="68" y="674"/>
                    <a:pt x="68" y="651"/>
                  </a:cubicBezTo>
                  <a:cubicBezTo>
                    <a:pt x="68" y="628"/>
                    <a:pt x="68" y="605"/>
                    <a:pt x="68" y="581"/>
                  </a:cubicBezTo>
                  <a:close/>
                  <a:moveTo>
                    <a:pt x="278" y="1165"/>
                  </a:moveTo>
                  <a:cubicBezTo>
                    <a:pt x="278" y="1183"/>
                    <a:pt x="278" y="1183"/>
                    <a:pt x="296" y="1184"/>
                  </a:cubicBezTo>
                  <a:cubicBezTo>
                    <a:pt x="310" y="1184"/>
                    <a:pt x="310" y="1184"/>
                    <a:pt x="310" y="1169"/>
                  </a:cubicBezTo>
                  <a:cubicBezTo>
                    <a:pt x="310" y="1132"/>
                    <a:pt x="310" y="1095"/>
                    <a:pt x="310" y="1058"/>
                  </a:cubicBezTo>
                  <a:cubicBezTo>
                    <a:pt x="310" y="1052"/>
                    <a:pt x="312" y="1047"/>
                    <a:pt x="316" y="1042"/>
                  </a:cubicBezTo>
                  <a:cubicBezTo>
                    <a:pt x="324" y="1033"/>
                    <a:pt x="334" y="1027"/>
                    <a:pt x="345" y="1024"/>
                  </a:cubicBezTo>
                  <a:cubicBezTo>
                    <a:pt x="357" y="1020"/>
                    <a:pt x="371" y="1018"/>
                    <a:pt x="383" y="1028"/>
                  </a:cubicBezTo>
                  <a:cubicBezTo>
                    <a:pt x="397" y="1039"/>
                    <a:pt x="401" y="1054"/>
                    <a:pt x="401" y="1071"/>
                  </a:cubicBezTo>
                  <a:cubicBezTo>
                    <a:pt x="401" y="1102"/>
                    <a:pt x="401" y="1132"/>
                    <a:pt x="401" y="1163"/>
                  </a:cubicBezTo>
                  <a:cubicBezTo>
                    <a:pt x="401" y="1183"/>
                    <a:pt x="401" y="1182"/>
                    <a:pt x="420" y="1184"/>
                  </a:cubicBezTo>
                  <a:cubicBezTo>
                    <a:pt x="429" y="1185"/>
                    <a:pt x="433" y="1181"/>
                    <a:pt x="433" y="1173"/>
                  </a:cubicBezTo>
                  <a:cubicBezTo>
                    <a:pt x="432" y="1130"/>
                    <a:pt x="435" y="1087"/>
                    <a:pt x="431" y="1044"/>
                  </a:cubicBezTo>
                  <a:cubicBezTo>
                    <a:pt x="427" y="1014"/>
                    <a:pt x="404" y="996"/>
                    <a:pt x="376" y="994"/>
                  </a:cubicBezTo>
                  <a:cubicBezTo>
                    <a:pt x="353" y="992"/>
                    <a:pt x="333" y="1000"/>
                    <a:pt x="317" y="1017"/>
                  </a:cubicBezTo>
                  <a:cubicBezTo>
                    <a:pt x="312" y="1021"/>
                    <a:pt x="311" y="1019"/>
                    <a:pt x="309" y="1015"/>
                  </a:cubicBezTo>
                  <a:cubicBezTo>
                    <a:pt x="309" y="1013"/>
                    <a:pt x="308" y="1011"/>
                    <a:pt x="308" y="1008"/>
                  </a:cubicBezTo>
                  <a:cubicBezTo>
                    <a:pt x="306" y="1001"/>
                    <a:pt x="298" y="997"/>
                    <a:pt x="287" y="998"/>
                  </a:cubicBezTo>
                  <a:cubicBezTo>
                    <a:pt x="279" y="999"/>
                    <a:pt x="278" y="1004"/>
                    <a:pt x="278" y="1011"/>
                  </a:cubicBezTo>
                  <a:cubicBezTo>
                    <a:pt x="278" y="1037"/>
                    <a:pt x="278" y="1064"/>
                    <a:pt x="278" y="1091"/>
                  </a:cubicBezTo>
                  <a:cubicBezTo>
                    <a:pt x="278" y="1115"/>
                    <a:pt x="278" y="1140"/>
                    <a:pt x="278" y="1165"/>
                  </a:cubicBezTo>
                  <a:close/>
                  <a:moveTo>
                    <a:pt x="150" y="705"/>
                  </a:moveTo>
                  <a:cubicBezTo>
                    <a:pt x="150" y="734"/>
                    <a:pt x="145" y="730"/>
                    <a:pt x="176" y="731"/>
                  </a:cubicBezTo>
                  <a:cubicBezTo>
                    <a:pt x="185" y="731"/>
                    <a:pt x="187" y="727"/>
                    <a:pt x="187" y="719"/>
                  </a:cubicBezTo>
                  <a:cubicBezTo>
                    <a:pt x="187" y="685"/>
                    <a:pt x="187" y="651"/>
                    <a:pt x="187" y="618"/>
                  </a:cubicBezTo>
                  <a:cubicBezTo>
                    <a:pt x="187" y="597"/>
                    <a:pt x="204" y="578"/>
                    <a:pt x="225" y="574"/>
                  </a:cubicBezTo>
                  <a:cubicBezTo>
                    <a:pt x="232" y="572"/>
                    <a:pt x="240" y="574"/>
                    <a:pt x="247" y="575"/>
                  </a:cubicBezTo>
                  <a:cubicBezTo>
                    <a:pt x="257" y="576"/>
                    <a:pt x="261" y="572"/>
                    <a:pt x="265" y="564"/>
                  </a:cubicBezTo>
                  <a:cubicBezTo>
                    <a:pt x="269" y="556"/>
                    <a:pt x="267" y="542"/>
                    <a:pt x="261" y="540"/>
                  </a:cubicBezTo>
                  <a:cubicBezTo>
                    <a:pt x="253" y="538"/>
                    <a:pt x="244" y="534"/>
                    <a:pt x="237" y="536"/>
                  </a:cubicBezTo>
                  <a:cubicBezTo>
                    <a:pt x="228" y="537"/>
                    <a:pt x="217" y="537"/>
                    <a:pt x="209" y="544"/>
                  </a:cubicBezTo>
                  <a:cubicBezTo>
                    <a:pt x="204" y="549"/>
                    <a:pt x="198" y="553"/>
                    <a:pt x="194" y="558"/>
                  </a:cubicBezTo>
                  <a:cubicBezTo>
                    <a:pt x="192" y="561"/>
                    <a:pt x="189" y="563"/>
                    <a:pt x="185" y="562"/>
                  </a:cubicBezTo>
                  <a:cubicBezTo>
                    <a:pt x="182" y="561"/>
                    <a:pt x="182" y="558"/>
                    <a:pt x="182" y="556"/>
                  </a:cubicBezTo>
                  <a:cubicBezTo>
                    <a:pt x="180" y="539"/>
                    <a:pt x="179" y="539"/>
                    <a:pt x="162" y="539"/>
                  </a:cubicBezTo>
                  <a:cubicBezTo>
                    <a:pt x="151" y="539"/>
                    <a:pt x="150" y="540"/>
                    <a:pt x="150" y="551"/>
                  </a:cubicBezTo>
                  <a:cubicBezTo>
                    <a:pt x="150" y="579"/>
                    <a:pt x="150" y="607"/>
                    <a:pt x="150" y="635"/>
                  </a:cubicBezTo>
                  <a:cubicBezTo>
                    <a:pt x="150" y="658"/>
                    <a:pt x="149" y="682"/>
                    <a:pt x="150" y="705"/>
                  </a:cubicBezTo>
                  <a:close/>
                  <a:moveTo>
                    <a:pt x="1011" y="1049"/>
                  </a:moveTo>
                  <a:cubicBezTo>
                    <a:pt x="1011" y="1008"/>
                    <a:pt x="1011" y="966"/>
                    <a:pt x="1011" y="924"/>
                  </a:cubicBezTo>
                  <a:cubicBezTo>
                    <a:pt x="1011" y="913"/>
                    <a:pt x="1008" y="910"/>
                    <a:pt x="997" y="910"/>
                  </a:cubicBezTo>
                  <a:cubicBezTo>
                    <a:pt x="995" y="910"/>
                    <a:pt x="992" y="910"/>
                    <a:pt x="990" y="910"/>
                  </a:cubicBezTo>
                  <a:cubicBezTo>
                    <a:pt x="976" y="910"/>
                    <a:pt x="975" y="911"/>
                    <a:pt x="975" y="926"/>
                  </a:cubicBezTo>
                  <a:cubicBezTo>
                    <a:pt x="975" y="1006"/>
                    <a:pt x="975" y="1085"/>
                    <a:pt x="975" y="1165"/>
                  </a:cubicBezTo>
                  <a:cubicBezTo>
                    <a:pt x="975" y="1185"/>
                    <a:pt x="975" y="1185"/>
                    <a:pt x="994" y="1185"/>
                  </a:cubicBezTo>
                  <a:cubicBezTo>
                    <a:pt x="1009" y="1185"/>
                    <a:pt x="1011" y="1184"/>
                    <a:pt x="1011" y="1169"/>
                  </a:cubicBezTo>
                  <a:cubicBezTo>
                    <a:pt x="1011" y="1129"/>
                    <a:pt x="1011" y="1089"/>
                    <a:pt x="1011" y="1049"/>
                  </a:cubicBezTo>
                  <a:cubicBezTo>
                    <a:pt x="1011" y="1049"/>
                    <a:pt x="1011" y="1049"/>
                    <a:pt x="1011" y="1049"/>
                  </a:cubicBezTo>
                  <a:close/>
                  <a:moveTo>
                    <a:pt x="296" y="176"/>
                  </a:moveTo>
                  <a:cubicBezTo>
                    <a:pt x="296" y="201"/>
                    <a:pt x="296" y="226"/>
                    <a:pt x="296" y="251"/>
                  </a:cubicBezTo>
                  <a:cubicBezTo>
                    <a:pt x="295" y="276"/>
                    <a:pt x="296" y="274"/>
                    <a:pt x="318" y="274"/>
                  </a:cubicBezTo>
                  <a:cubicBezTo>
                    <a:pt x="330" y="274"/>
                    <a:pt x="331" y="274"/>
                    <a:pt x="331" y="260"/>
                  </a:cubicBezTo>
                  <a:cubicBezTo>
                    <a:pt x="331" y="232"/>
                    <a:pt x="331" y="204"/>
                    <a:pt x="331" y="176"/>
                  </a:cubicBezTo>
                  <a:cubicBezTo>
                    <a:pt x="331" y="165"/>
                    <a:pt x="331" y="155"/>
                    <a:pt x="337" y="145"/>
                  </a:cubicBezTo>
                  <a:cubicBezTo>
                    <a:pt x="349" y="123"/>
                    <a:pt x="359" y="117"/>
                    <a:pt x="377" y="118"/>
                  </a:cubicBezTo>
                  <a:cubicBezTo>
                    <a:pt x="383" y="118"/>
                    <a:pt x="389" y="119"/>
                    <a:pt x="395" y="120"/>
                  </a:cubicBezTo>
                  <a:cubicBezTo>
                    <a:pt x="401" y="120"/>
                    <a:pt x="407" y="118"/>
                    <a:pt x="408" y="112"/>
                  </a:cubicBezTo>
                  <a:cubicBezTo>
                    <a:pt x="409" y="103"/>
                    <a:pt x="415" y="93"/>
                    <a:pt x="407" y="85"/>
                  </a:cubicBezTo>
                  <a:cubicBezTo>
                    <a:pt x="406" y="84"/>
                    <a:pt x="404" y="84"/>
                    <a:pt x="402" y="84"/>
                  </a:cubicBezTo>
                  <a:cubicBezTo>
                    <a:pt x="376" y="78"/>
                    <a:pt x="353" y="82"/>
                    <a:pt x="337" y="106"/>
                  </a:cubicBezTo>
                  <a:cubicBezTo>
                    <a:pt x="336" y="108"/>
                    <a:pt x="335" y="110"/>
                    <a:pt x="333" y="109"/>
                  </a:cubicBezTo>
                  <a:cubicBezTo>
                    <a:pt x="331" y="109"/>
                    <a:pt x="330" y="107"/>
                    <a:pt x="330" y="105"/>
                  </a:cubicBezTo>
                  <a:cubicBezTo>
                    <a:pt x="329" y="101"/>
                    <a:pt x="329" y="97"/>
                    <a:pt x="328" y="94"/>
                  </a:cubicBezTo>
                  <a:cubicBezTo>
                    <a:pt x="325" y="85"/>
                    <a:pt x="318" y="82"/>
                    <a:pt x="303" y="84"/>
                  </a:cubicBezTo>
                  <a:cubicBezTo>
                    <a:pt x="297" y="84"/>
                    <a:pt x="295" y="86"/>
                    <a:pt x="295" y="92"/>
                  </a:cubicBezTo>
                  <a:cubicBezTo>
                    <a:pt x="296" y="120"/>
                    <a:pt x="295" y="148"/>
                    <a:pt x="295" y="176"/>
                  </a:cubicBezTo>
                  <a:cubicBezTo>
                    <a:pt x="296" y="176"/>
                    <a:pt x="296" y="176"/>
                    <a:pt x="296" y="176"/>
                  </a:cubicBezTo>
                  <a:close/>
                  <a:moveTo>
                    <a:pt x="946" y="179"/>
                  </a:moveTo>
                  <a:cubicBezTo>
                    <a:pt x="946" y="197"/>
                    <a:pt x="946" y="215"/>
                    <a:pt x="946" y="234"/>
                  </a:cubicBezTo>
                  <a:cubicBezTo>
                    <a:pt x="946" y="248"/>
                    <a:pt x="951" y="260"/>
                    <a:pt x="963" y="268"/>
                  </a:cubicBezTo>
                  <a:cubicBezTo>
                    <a:pt x="982" y="280"/>
                    <a:pt x="1011" y="277"/>
                    <a:pt x="1029" y="264"/>
                  </a:cubicBezTo>
                  <a:cubicBezTo>
                    <a:pt x="1036" y="259"/>
                    <a:pt x="1036" y="254"/>
                    <a:pt x="1032" y="248"/>
                  </a:cubicBezTo>
                  <a:cubicBezTo>
                    <a:pt x="1026" y="239"/>
                    <a:pt x="1020" y="238"/>
                    <a:pt x="1013" y="242"/>
                  </a:cubicBezTo>
                  <a:cubicBezTo>
                    <a:pt x="996" y="252"/>
                    <a:pt x="978" y="243"/>
                    <a:pt x="978" y="223"/>
                  </a:cubicBezTo>
                  <a:cubicBezTo>
                    <a:pt x="978" y="190"/>
                    <a:pt x="978" y="157"/>
                    <a:pt x="978" y="123"/>
                  </a:cubicBezTo>
                  <a:cubicBezTo>
                    <a:pt x="978" y="116"/>
                    <a:pt x="981" y="113"/>
                    <a:pt x="988" y="113"/>
                  </a:cubicBezTo>
                  <a:cubicBezTo>
                    <a:pt x="999" y="114"/>
                    <a:pt x="1011" y="113"/>
                    <a:pt x="1022" y="113"/>
                  </a:cubicBezTo>
                  <a:cubicBezTo>
                    <a:pt x="1028" y="113"/>
                    <a:pt x="1033" y="112"/>
                    <a:pt x="1033" y="104"/>
                  </a:cubicBezTo>
                  <a:cubicBezTo>
                    <a:pt x="1033" y="96"/>
                    <a:pt x="1032" y="90"/>
                    <a:pt x="1022" y="90"/>
                  </a:cubicBezTo>
                  <a:cubicBezTo>
                    <a:pt x="1011" y="90"/>
                    <a:pt x="1001" y="90"/>
                    <a:pt x="990" y="90"/>
                  </a:cubicBezTo>
                  <a:cubicBezTo>
                    <a:pt x="981" y="91"/>
                    <a:pt x="977" y="88"/>
                    <a:pt x="978" y="78"/>
                  </a:cubicBezTo>
                  <a:cubicBezTo>
                    <a:pt x="978" y="64"/>
                    <a:pt x="978" y="49"/>
                    <a:pt x="978" y="35"/>
                  </a:cubicBezTo>
                  <a:cubicBezTo>
                    <a:pt x="978" y="30"/>
                    <a:pt x="978" y="25"/>
                    <a:pt x="971" y="24"/>
                  </a:cubicBezTo>
                  <a:cubicBezTo>
                    <a:pt x="964" y="24"/>
                    <a:pt x="956" y="24"/>
                    <a:pt x="955" y="32"/>
                  </a:cubicBezTo>
                  <a:cubicBezTo>
                    <a:pt x="952" y="43"/>
                    <a:pt x="949" y="54"/>
                    <a:pt x="949" y="65"/>
                  </a:cubicBezTo>
                  <a:cubicBezTo>
                    <a:pt x="948" y="88"/>
                    <a:pt x="947" y="88"/>
                    <a:pt x="924" y="91"/>
                  </a:cubicBezTo>
                  <a:cubicBezTo>
                    <a:pt x="919" y="92"/>
                    <a:pt x="914" y="92"/>
                    <a:pt x="914" y="99"/>
                  </a:cubicBezTo>
                  <a:cubicBezTo>
                    <a:pt x="915" y="107"/>
                    <a:pt x="917" y="113"/>
                    <a:pt x="926" y="113"/>
                  </a:cubicBezTo>
                  <a:cubicBezTo>
                    <a:pt x="929" y="114"/>
                    <a:pt x="932" y="113"/>
                    <a:pt x="935" y="113"/>
                  </a:cubicBezTo>
                  <a:cubicBezTo>
                    <a:pt x="943" y="113"/>
                    <a:pt x="946" y="116"/>
                    <a:pt x="946" y="124"/>
                  </a:cubicBezTo>
                  <a:cubicBezTo>
                    <a:pt x="946" y="142"/>
                    <a:pt x="946" y="161"/>
                    <a:pt x="946" y="179"/>
                  </a:cubicBezTo>
                  <a:cubicBezTo>
                    <a:pt x="946" y="179"/>
                    <a:pt x="946" y="179"/>
                    <a:pt x="946" y="179"/>
                  </a:cubicBezTo>
                  <a:close/>
                </a:path>
              </a:pathLst>
            </a:custGeom>
            <a:solidFill>
              <a:srgbClr val="4C505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grpSp>
          <p:nvGrpSpPr>
            <p:cNvPr id="18" name="Group 4">
              <a:extLst>
                <a:ext uri="{FF2B5EF4-FFF2-40B4-BE49-F238E27FC236}">
                  <a16:creationId xmlns:a16="http://schemas.microsoft.com/office/drawing/2014/main" id="{57BD2C4C-DC67-B843-B26C-309622FC75F7}"/>
                </a:ext>
              </a:extLst>
            </p:cNvPr>
            <p:cNvGrpSpPr>
              <a:grpSpLocks noChangeAspect="1"/>
            </p:cNvGrpSpPr>
            <p:nvPr/>
          </p:nvGrpSpPr>
          <p:grpSpPr bwMode="gray">
            <a:xfrm>
              <a:off x="334963" y="296652"/>
              <a:ext cx="538094" cy="540000"/>
              <a:chOff x="2711" y="1027"/>
              <a:chExt cx="2258" cy="2266"/>
            </a:xfrm>
          </p:grpSpPr>
          <p:sp>
            <p:nvSpPr>
              <p:cNvPr id="19" name="AutoShape 3">
                <a:extLst>
                  <a:ext uri="{FF2B5EF4-FFF2-40B4-BE49-F238E27FC236}">
                    <a16:creationId xmlns:a16="http://schemas.microsoft.com/office/drawing/2014/main" id="{FE1DC41B-291E-574C-9F2C-874E70A40758}"/>
                  </a:ext>
                </a:extLst>
              </p:cNvPr>
              <p:cNvSpPr>
                <a:spLocks noChangeAspect="1" noChangeArrowheads="1" noTextEdit="1"/>
              </p:cNvSpPr>
              <p:nvPr/>
            </p:nvSpPr>
            <p:spPr bwMode="gray">
              <a:xfrm>
                <a:off x="2711" y="1027"/>
                <a:ext cx="2258" cy="22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20" name="Freeform 5">
                <a:extLst>
                  <a:ext uri="{FF2B5EF4-FFF2-40B4-BE49-F238E27FC236}">
                    <a16:creationId xmlns:a16="http://schemas.microsoft.com/office/drawing/2014/main" id="{D4B633C8-F761-C54B-9BD2-EB59D49A2DBC}"/>
                  </a:ext>
                </a:extLst>
              </p:cNvPr>
              <p:cNvSpPr>
                <a:spLocks/>
              </p:cNvSpPr>
              <p:nvPr/>
            </p:nvSpPr>
            <p:spPr bwMode="gray">
              <a:xfrm>
                <a:off x="2709" y="1029"/>
                <a:ext cx="2260" cy="2262"/>
              </a:xfrm>
              <a:custGeom>
                <a:avLst/>
                <a:gdLst>
                  <a:gd name="T0" fmla="*/ 2260 w 2260"/>
                  <a:gd name="T1" fmla="*/ 0 h 2262"/>
                  <a:gd name="T2" fmla="*/ 1612 w 2260"/>
                  <a:gd name="T3" fmla="*/ 649 h 2262"/>
                  <a:gd name="T4" fmla="*/ 1612 w 2260"/>
                  <a:gd name="T5" fmla="*/ 649 h 2262"/>
                  <a:gd name="T6" fmla="*/ 2035 w 2260"/>
                  <a:gd name="T7" fmla="*/ 0 h 2262"/>
                  <a:gd name="T8" fmla="*/ 0 w 2260"/>
                  <a:gd name="T9" fmla="*/ 0 h 2262"/>
                  <a:gd name="T10" fmla="*/ 0 w 2260"/>
                  <a:gd name="T11" fmla="*/ 2262 h 2262"/>
                  <a:gd name="T12" fmla="*/ 2260 w 2260"/>
                  <a:gd name="T13" fmla="*/ 2262 h 2262"/>
                  <a:gd name="T14" fmla="*/ 2260 w 2260"/>
                  <a:gd name="T15" fmla="*/ 0 h 2262"/>
                  <a:gd name="T16" fmla="*/ 2260 w 2260"/>
                  <a:gd name="T17" fmla="*/ 0 h 2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0" h="2262">
                    <a:moveTo>
                      <a:pt x="2260" y="0"/>
                    </a:moveTo>
                    <a:lnTo>
                      <a:pt x="1612" y="649"/>
                    </a:lnTo>
                    <a:lnTo>
                      <a:pt x="1612" y="649"/>
                    </a:lnTo>
                    <a:lnTo>
                      <a:pt x="2035" y="0"/>
                    </a:lnTo>
                    <a:lnTo>
                      <a:pt x="0" y="0"/>
                    </a:lnTo>
                    <a:lnTo>
                      <a:pt x="0" y="2262"/>
                    </a:lnTo>
                    <a:lnTo>
                      <a:pt x="2260" y="2262"/>
                    </a:lnTo>
                    <a:lnTo>
                      <a:pt x="2260" y="0"/>
                    </a:lnTo>
                    <a:lnTo>
                      <a:pt x="2260" y="0"/>
                    </a:lnTo>
                    <a:close/>
                  </a:path>
                </a:pathLst>
              </a:custGeom>
              <a:solidFill>
                <a:srgbClr val="E55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21" name="Freeform 6">
                <a:extLst>
                  <a:ext uri="{FF2B5EF4-FFF2-40B4-BE49-F238E27FC236}">
                    <a16:creationId xmlns:a16="http://schemas.microsoft.com/office/drawing/2014/main" id="{B16BAAE4-1A41-C843-9754-490F7A1E1270}"/>
                  </a:ext>
                </a:extLst>
              </p:cNvPr>
              <p:cNvSpPr>
                <a:spLocks noEditPoints="1"/>
              </p:cNvSpPr>
              <p:nvPr/>
            </p:nvSpPr>
            <p:spPr bwMode="gray">
              <a:xfrm>
                <a:off x="3623" y="1696"/>
                <a:ext cx="1167" cy="922"/>
              </a:xfrm>
              <a:custGeom>
                <a:avLst/>
                <a:gdLst>
                  <a:gd name="T0" fmla="*/ 411 w 580"/>
                  <a:gd name="T1" fmla="*/ 213 h 458"/>
                  <a:gd name="T2" fmla="*/ 570 w 580"/>
                  <a:gd name="T3" fmla="*/ 37 h 458"/>
                  <a:gd name="T4" fmla="*/ 580 w 580"/>
                  <a:gd name="T5" fmla="*/ 20 h 458"/>
                  <a:gd name="T6" fmla="*/ 545 w 580"/>
                  <a:gd name="T7" fmla="*/ 0 h 458"/>
                  <a:gd name="T8" fmla="*/ 519 w 580"/>
                  <a:gd name="T9" fmla="*/ 16 h 458"/>
                  <a:gd name="T10" fmla="*/ 344 w 580"/>
                  <a:gd name="T11" fmla="*/ 210 h 458"/>
                  <a:gd name="T12" fmla="*/ 334 w 580"/>
                  <a:gd name="T13" fmla="*/ 229 h 458"/>
                  <a:gd name="T14" fmla="*/ 344 w 580"/>
                  <a:gd name="T15" fmla="*/ 248 h 458"/>
                  <a:gd name="T16" fmla="*/ 519 w 580"/>
                  <a:gd name="T17" fmla="*/ 442 h 458"/>
                  <a:gd name="T18" fmla="*/ 545 w 580"/>
                  <a:gd name="T19" fmla="*/ 458 h 458"/>
                  <a:gd name="T20" fmla="*/ 580 w 580"/>
                  <a:gd name="T21" fmla="*/ 438 h 458"/>
                  <a:gd name="T22" fmla="*/ 570 w 580"/>
                  <a:gd name="T23" fmla="*/ 421 h 458"/>
                  <a:gd name="T24" fmla="*/ 411 w 580"/>
                  <a:gd name="T25" fmla="*/ 245 h 458"/>
                  <a:gd name="T26" fmla="*/ 399 w 580"/>
                  <a:gd name="T27" fmla="*/ 229 h 458"/>
                  <a:gd name="T28" fmla="*/ 411 w 580"/>
                  <a:gd name="T29" fmla="*/ 213 h 458"/>
                  <a:gd name="T30" fmla="*/ 252 w 580"/>
                  <a:gd name="T31" fmla="*/ 439 h 458"/>
                  <a:gd name="T32" fmla="*/ 281 w 580"/>
                  <a:gd name="T33" fmla="*/ 454 h 458"/>
                  <a:gd name="T34" fmla="*/ 309 w 580"/>
                  <a:gd name="T35" fmla="*/ 439 h 458"/>
                  <a:gd name="T36" fmla="*/ 309 w 580"/>
                  <a:gd name="T37" fmla="*/ 19 h 458"/>
                  <a:gd name="T38" fmla="*/ 281 w 580"/>
                  <a:gd name="T39" fmla="*/ 4 h 458"/>
                  <a:gd name="T40" fmla="*/ 252 w 580"/>
                  <a:gd name="T41" fmla="*/ 19 h 458"/>
                  <a:gd name="T42" fmla="*/ 252 w 580"/>
                  <a:gd name="T43" fmla="*/ 439 h 458"/>
                  <a:gd name="T44" fmla="*/ 0 w 580"/>
                  <a:gd name="T45" fmla="*/ 439 h 458"/>
                  <a:gd name="T46" fmla="*/ 28 w 580"/>
                  <a:gd name="T47" fmla="*/ 454 h 458"/>
                  <a:gd name="T48" fmla="*/ 56 w 580"/>
                  <a:gd name="T49" fmla="*/ 439 h 458"/>
                  <a:gd name="T50" fmla="*/ 56 w 580"/>
                  <a:gd name="T51" fmla="*/ 157 h 458"/>
                  <a:gd name="T52" fmla="*/ 165 w 580"/>
                  <a:gd name="T53" fmla="*/ 53 h 458"/>
                  <a:gd name="T54" fmla="*/ 180 w 580"/>
                  <a:gd name="T55" fmla="*/ 53 h 458"/>
                  <a:gd name="T56" fmla="*/ 196 w 580"/>
                  <a:gd name="T57" fmla="*/ 27 h 458"/>
                  <a:gd name="T58" fmla="*/ 154 w 580"/>
                  <a:gd name="T59" fmla="*/ 4 h 458"/>
                  <a:gd name="T60" fmla="*/ 0 w 580"/>
                  <a:gd name="T61" fmla="*/ 152 h 458"/>
                  <a:gd name="T62" fmla="*/ 0 w 580"/>
                  <a:gd name="T63" fmla="*/ 439 h 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80" h="458">
                    <a:moveTo>
                      <a:pt x="411" y="213"/>
                    </a:moveTo>
                    <a:cubicBezTo>
                      <a:pt x="570" y="37"/>
                      <a:pt x="570" y="37"/>
                      <a:pt x="570" y="37"/>
                    </a:cubicBezTo>
                    <a:cubicBezTo>
                      <a:pt x="576" y="30"/>
                      <a:pt x="580" y="25"/>
                      <a:pt x="580" y="20"/>
                    </a:cubicBezTo>
                    <a:cubicBezTo>
                      <a:pt x="580" y="10"/>
                      <a:pt x="559" y="0"/>
                      <a:pt x="545" y="0"/>
                    </a:cubicBezTo>
                    <a:cubicBezTo>
                      <a:pt x="535" y="0"/>
                      <a:pt x="526" y="8"/>
                      <a:pt x="519" y="16"/>
                    </a:cubicBezTo>
                    <a:cubicBezTo>
                      <a:pt x="344" y="210"/>
                      <a:pt x="344" y="210"/>
                      <a:pt x="344" y="210"/>
                    </a:cubicBezTo>
                    <a:cubicBezTo>
                      <a:pt x="336" y="219"/>
                      <a:pt x="334" y="224"/>
                      <a:pt x="334" y="229"/>
                    </a:cubicBezTo>
                    <a:cubicBezTo>
                      <a:pt x="334" y="234"/>
                      <a:pt x="336" y="239"/>
                      <a:pt x="344" y="248"/>
                    </a:cubicBezTo>
                    <a:cubicBezTo>
                      <a:pt x="519" y="442"/>
                      <a:pt x="519" y="442"/>
                      <a:pt x="519" y="442"/>
                    </a:cubicBezTo>
                    <a:cubicBezTo>
                      <a:pt x="526" y="450"/>
                      <a:pt x="535" y="458"/>
                      <a:pt x="545" y="458"/>
                    </a:cubicBezTo>
                    <a:cubicBezTo>
                      <a:pt x="559" y="458"/>
                      <a:pt x="580" y="448"/>
                      <a:pt x="580" y="438"/>
                    </a:cubicBezTo>
                    <a:cubicBezTo>
                      <a:pt x="580" y="433"/>
                      <a:pt x="576" y="428"/>
                      <a:pt x="570" y="421"/>
                    </a:cubicBezTo>
                    <a:cubicBezTo>
                      <a:pt x="411" y="245"/>
                      <a:pt x="411" y="245"/>
                      <a:pt x="411" y="245"/>
                    </a:cubicBezTo>
                    <a:cubicBezTo>
                      <a:pt x="403" y="236"/>
                      <a:pt x="399" y="232"/>
                      <a:pt x="399" y="229"/>
                    </a:cubicBezTo>
                    <a:cubicBezTo>
                      <a:pt x="399" y="226"/>
                      <a:pt x="403" y="222"/>
                      <a:pt x="411" y="213"/>
                    </a:cubicBezTo>
                    <a:moveTo>
                      <a:pt x="252" y="439"/>
                    </a:moveTo>
                    <a:cubicBezTo>
                      <a:pt x="252" y="449"/>
                      <a:pt x="261" y="454"/>
                      <a:pt x="281" y="454"/>
                    </a:cubicBezTo>
                    <a:cubicBezTo>
                      <a:pt x="300" y="454"/>
                      <a:pt x="309" y="449"/>
                      <a:pt x="309" y="439"/>
                    </a:cubicBezTo>
                    <a:cubicBezTo>
                      <a:pt x="309" y="19"/>
                      <a:pt x="309" y="19"/>
                      <a:pt x="309" y="19"/>
                    </a:cubicBezTo>
                    <a:cubicBezTo>
                      <a:pt x="309" y="9"/>
                      <a:pt x="300" y="4"/>
                      <a:pt x="281" y="4"/>
                    </a:cubicBezTo>
                    <a:cubicBezTo>
                      <a:pt x="261" y="4"/>
                      <a:pt x="252" y="9"/>
                      <a:pt x="252" y="19"/>
                    </a:cubicBezTo>
                    <a:lnTo>
                      <a:pt x="252" y="439"/>
                    </a:lnTo>
                    <a:close/>
                    <a:moveTo>
                      <a:pt x="0" y="439"/>
                    </a:moveTo>
                    <a:cubicBezTo>
                      <a:pt x="0" y="449"/>
                      <a:pt x="8" y="454"/>
                      <a:pt x="28" y="454"/>
                    </a:cubicBezTo>
                    <a:cubicBezTo>
                      <a:pt x="48" y="454"/>
                      <a:pt x="56" y="449"/>
                      <a:pt x="56" y="439"/>
                    </a:cubicBezTo>
                    <a:cubicBezTo>
                      <a:pt x="56" y="157"/>
                      <a:pt x="56" y="157"/>
                      <a:pt x="56" y="157"/>
                    </a:cubicBezTo>
                    <a:cubicBezTo>
                      <a:pt x="56" y="83"/>
                      <a:pt x="85" y="53"/>
                      <a:pt x="165" y="53"/>
                    </a:cubicBezTo>
                    <a:cubicBezTo>
                      <a:pt x="180" y="53"/>
                      <a:pt x="180" y="53"/>
                      <a:pt x="180" y="53"/>
                    </a:cubicBezTo>
                    <a:cubicBezTo>
                      <a:pt x="192" y="53"/>
                      <a:pt x="196" y="43"/>
                      <a:pt x="196" y="27"/>
                    </a:cubicBezTo>
                    <a:cubicBezTo>
                      <a:pt x="196" y="8"/>
                      <a:pt x="185" y="4"/>
                      <a:pt x="154" y="4"/>
                    </a:cubicBezTo>
                    <a:cubicBezTo>
                      <a:pt x="64" y="4"/>
                      <a:pt x="0" y="43"/>
                      <a:pt x="0" y="152"/>
                    </a:cubicBezTo>
                    <a:lnTo>
                      <a:pt x="0" y="43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22" name="Freeform 7">
                <a:extLst>
                  <a:ext uri="{FF2B5EF4-FFF2-40B4-BE49-F238E27FC236}">
                    <a16:creationId xmlns:a16="http://schemas.microsoft.com/office/drawing/2014/main" id="{2F32DCBD-8628-F245-85CD-97686A20ECFD}"/>
                  </a:ext>
                </a:extLst>
              </p:cNvPr>
              <p:cNvSpPr>
                <a:spLocks/>
              </p:cNvSpPr>
              <p:nvPr/>
            </p:nvSpPr>
            <p:spPr bwMode="gray">
              <a:xfrm>
                <a:off x="2880" y="1704"/>
                <a:ext cx="618" cy="916"/>
              </a:xfrm>
              <a:custGeom>
                <a:avLst/>
                <a:gdLst>
                  <a:gd name="T0" fmla="*/ 307 w 307"/>
                  <a:gd name="T1" fmla="*/ 405 h 455"/>
                  <a:gd name="T2" fmla="*/ 307 w 307"/>
                  <a:gd name="T3" fmla="*/ 244 h 455"/>
                  <a:gd name="T4" fmla="*/ 279 w 307"/>
                  <a:gd name="T5" fmla="*/ 229 h 455"/>
                  <a:gd name="T6" fmla="*/ 250 w 307"/>
                  <a:gd name="T7" fmla="*/ 244 h 455"/>
                  <a:gd name="T8" fmla="*/ 250 w 307"/>
                  <a:gd name="T9" fmla="*/ 378 h 455"/>
                  <a:gd name="T10" fmla="*/ 199 w 307"/>
                  <a:gd name="T11" fmla="*/ 408 h 455"/>
                  <a:gd name="T12" fmla="*/ 61 w 307"/>
                  <a:gd name="T13" fmla="*/ 231 h 455"/>
                  <a:gd name="T14" fmla="*/ 238 w 307"/>
                  <a:gd name="T15" fmla="*/ 49 h 455"/>
                  <a:gd name="T16" fmla="*/ 270 w 307"/>
                  <a:gd name="T17" fmla="*/ 49 h 455"/>
                  <a:gd name="T18" fmla="*/ 286 w 307"/>
                  <a:gd name="T19" fmla="*/ 23 h 455"/>
                  <a:gd name="T20" fmla="*/ 244 w 307"/>
                  <a:gd name="T21" fmla="*/ 0 h 455"/>
                  <a:gd name="T22" fmla="*/ 231 w 307"/>
                  <a:gd name="T23" fmla="*/ 0 h 455"/>
                  <a:gd name="T24" fmla="*/ 0 w 307"/>
                  <a:gd name="T25" fmla="*/ 232 h 455"/>
                  <a:gd name="T26" fmla="*/ 198 w 307"/>
                  <a:gd name="T27" fmla="*/ 455 h 455"/>
                  <a:gd name="T28" fmla="*/ 307 w 307"/>
                  <a:gd name="T29" fmla="*/ 405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7" h="455">
                    <a:moveTo>
                      <a:pt x="307" y="405"/>
                    </a:moveTo>
                    <a:cubicBezTo>
                      <a:pt x="307" y="244"/>
                      <a:pt x="307" y="244"/>
                      <a:pt x="307" y="244"/>
                    </a:cubicBezTo>
                    <a:cubicBezTo>
                      <a:pt x="307" y="234"/>
                      <a:pt x="298" y="229"/>
                      <a:pt x="279" y="229"/>
                    </a:cubicBezTo>
                    <a:cubicBezTo>
                      <a:pt x="259" y="229"/>
                      <a:pt x="250" y="234"/>
                      <a:pt x="250" y="244"/>
                    </a:cubicBezTo>
                    <a:cubicBezTo>
                      <a:pt x="250" y="378"/>
                      <a:pt x="250" y="378"/>
                      <a:pt x="250" y="378"/>
                    </a:cubicBezTo>
                    <a:cubicBezTo>
                      <a:pt x="250" y="399"/>
                      <a:pt x="241" y="408"/>
                      <a:pt x="199" y="408"/>
                    </a:cubicBezTo>
                    <a:cubicBezTo>
                      <a:pt x="114" y="408"/>
                      <a:pt x="61" y="342"/>
                      <a:pt x="61" y="231"/>
                    </a:cubicBezTo>
                    <a:cubicBezTo>
                      <a:pt x="61" y="115"/>
                      <a:pt x="126" y="49"/>
                      <a:pt x="238" y="49"/>
                    </a:cubicBezTo>
                    <a:cubicBezTo>
                      <a:pt x="270" y="49"/>
                      <a:pt x="270" y="49"/>
                      <a:pt x="270" y="49"/>
                    </a:cubicBezTo>
                    <a:cubicBezTo>
                      <a:pt x="282" y="49"/>
                      <a:pt x="286" y="39"/>
                      <a:pt x="286" y="23"/>
                    </a:cubicBezTo>
                    <a:cubicBezTo>
                      <a:pt x="286" y="4"/>
                      <a:pt x="275" y="0"/>
                      <a:pt x="244" y="0"/>
                    </a:cubicBezTo>
                    <a:cubicBezTo>
                      <a:pt x="231" y="0"/>
                      <a:pt x="231" y="0"/>
                      <a:pt x="231" y="0"/>
                    </a:cubicBezTo>
                    <a:cubicBezTo>
                      <a:pt x="101" y="0"/>
                      <a:pt x="0" y="71"/>
                      <a:pt x="0" y="232"/>
                    </a:cubicBezTo>
                    <a:cubicBezTo>
                      <a:pt x="0" y="386"/>
                      <a:pt x="88" y="455"/>
                      <a:pt x="198" y="455"/>
                    </a:cubicBezTo>
                    <a:cubicBezTo>
                      <a:pt x="286" y="455"/>
                      <a:pt x="307" y="430"/>
                      <a:pt x="307" y="40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23" name="Oval 8">
                <a:extLst>
                  <a:ext uri="{FF2B5EF4-FFF2-40B4-BE49-F238E27FC236}">
                    <a16:creationId xmlns:a16="http://schemas.microsoft.com/office/drawing/2014/main" id="{60D97C11-1A3B-5449-A48D-98A3E79B3810}"/>
                  </a:ext>
                </a:extLst>
              </p:cNvPr>
              <p:cNvSpPr>
                <a:spLocks noChangeArrowheads="1"/>
              </p:cNvSpPr>
              <p:nvPr/>
            </p:nvSpPr>
            <p:spPr bwMode="gray">
              <a:xfrm>
                <a:off x="3778" y="2099"/>
                <a:ext cx="122" cy="12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24" name="Freeform 9">
                <a:extLst>
                  <a:ext uri="{FF2B5EF4-FFF2-40B4-BE49-F238E27FC236}">
                    <a16:creationId xmlns:a16="http://schemas.microsoft.com/office/drawing/2014/main" id="{5856770D-B8F0-244E-A05D-AED190086F10}"/>
                  </a:ext>
                </a:extLst>
              </p:cNvPr>
              <p:cNvSpPr>
                <a:spLocks noEditPoints="1"/>
              </p:cNvSpPr>
              <p:nvPr/>
            </p:nvSpPr>
            <p:spPr bwMode="gray">
              <a:xfrm>
                <a:off x="3623" y="1696"/>
                <a:ext cx="1167" cy="922"/>
              </a:xfrm>
              <a:custGeom>
                <a:avLst/>
                <a:gdLst>
                  <a:gd name="T0" fmla="*/ 411 w 580"/>
                  <a:gd name="T1" fmla="*/ 213 h 458"/>
                  <a:gd name="T2" fmla="*/ 570 w 580"/>
                  <a:gd name="T3" fmla="*/ 37 h 458"/>
                  <a:gd name="T4" fmla="*/ 580 w 580"/>
                  <a:gd name="T5" fmla="*/ 20 h 458"/>
                  <a:gd name="T6" fmla="*/ 545 w 580"/>
                  <a:gd name="T7" fmla="*/ 0 h 458"/>
                  <a:gd name="T8" fmla="*/ 519 w 580"/>
                  <a:gd name="T9" fmla="*/ 16 h 458"/>
                  <a:gd name="T10" fmla="*/ 344 w 580"/>
                  <a:gd name="T11" fmla="*/ 210 h 458"/>
                  <a:gd name="T12" fmla="*/ 334 w 580"/>
                  <a:gd name="T13" fmla="*/ 229 h 458"/>
                  <a:gd name="T14" fmla="*/ 344 w 580"/>
                  <a:gd name="T15" fmla="*/ 248 h 458"/>
                  <a:gd name="T16" fmla="*/ 519 w 580"/>
                  <a:gd name="T17" fmla="*/ 442 h 458"/>
                  <a:gd name="T18" fmla="*/ 545 w 580"/>
                  <a:gd name="T19" fmla="*/ 458 h 458"/>
                  <a:gd name="T20" fmla="*/ 580 w 580"/>
                  <a:gd name="T21" fmla="*/ 438 h 458"/>
                  <a:gd name="T22" fmla="*/ 570 w 580"/>
                  <a:gd name="T23" fmla="*/ 421 h 458"/>
                  <a:gd name="T24" fmla="*/ 411 w 580"/>
                  <a:gd name="T25" fmla="*/ 245 h 458"/>
                  <a:gd name="T26" fmla="*/ 399 w 580"/>
                  <a:gd name="T27" fmla="*/ 229 h 458"/>
                  <a:gd name="T28" fmla="*/ 411 w 580"/>
                  <a:gd name="T29" fmla="*/ 213 h 458"/>
                  <a:gd name="T30" fmla="*/ 252 w 580"/>
                  <a:gd name="T31" fmla="*/ 439 h 458"/>
                  <a:gd name="T32" fmla="*/ 281 w 580"/>
                  <a:gd name="T33" fmla="*/ 454 h 458"/>
                  <a:gd name="T34" fmla="*/ 309 w 580"/>
                  <a:gd name="T35" fmla="*/ 439 h 458"/>
                  <a:gd name="T36" fmla="*/ 309 w 580"/>
                  <a:gd name="T37" fmla="*/ 19 h 458"/>
                  <a:gd name="T38" fmla="*/ 281 w 580"/>
                  <a:gd name="T39" fmla="*/ 4 h 458"/>
                  <a:gd name="T40" fmla="*/ 252 w 580"/>
                  <a:gd name="T41" fmla="*/ 19 h 458"/>
                  <a:gd name="T42" fmla="*/ 252 w 580"/>
                  <a:gd name="T43" fmla="*/ 439 h 458"/>
                  <a:gd name="T44" fmla="*/ 0 w 580"/>
                  <a:gd name="T45" fmla="*/ 439 h 458"/>
                  <a:gd name="T46" fmla="*/ 28 w 580"/>
                  <a:gd name="T47" fmla="*/ 454 h 458"/>
                  <a:gd name="T48" fmla="*/ 56 w 580"/>
                  <a:gd name="T49" fmla="*/ 439 h 458"/>
                  <a:gd name="T50" fmla="*/ 56 w 580"/>
                  <a:gd name="T51" fmla="*/ 157 h 458"/>
                  <a:gd name="T52" fmla="*/ 165 w 580"/>
                  <a:gd name="T53" fmla="*/ 53 h 458"/>
                  <a:gd name="T54" fmla="*/ 180 w 580"/>
                  <a:gd name="T55" fmla="*/ 53 h 458"/>
                  <a:gd name="T56" fmla="*/ 196 w 580"/>
                  <a:gd name="T57" fmla="*/ 27 h 458"/>
                  <a:gd name="T58" fmla="*/ 154 w 580"/>
                  <a:gd name="T59" fmla="*/ 4 h 458"/>
                  <a:gd name="T60" fmla="*/ 0 w 580"/>
                  <a:gd name="T61" fmla="*/ 152 h 458"/>
                  <a:gd name="T62" fmla="*/ 0 w 580"/>
                  <a:gd name="T63" fmla="*/ 439 h 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80" h="458">
                    <a:moveTo>
                      <a:pt x="411" y="213"/>
                    </a:moveTo>
                    <a:cubicBezTo>
                      <a:pt x="570" y="37"/>
                      <a:pt x="570" y="37"/>
                      <a:pt x="570" y="37"/>
                    </a:cubicBezTo>
                    <a:cubicBezTo>
                      <a:pt x="576" y="30"/>
                      <a:pt x="580" y="25"/>
                      <a:pt x="580" y="20"/>
                    </a:cubicBezTo>
                    <a:cubicBezTo>
                      <a:pt x="580" y="10"/>
                      <a:pt x="559" y="0"/>
                      <a:pt x="545" y="0"/>
                    </a:cubicBezTo>
                    <a:cubicBezTo>
                      <a:pt x="535" y="0"/>
                      <a:pt x="526" y="8"/>
                      <a:pt x="519" y="16"/>
                    </a:cubicBezTo>
                    <a:cubicBezTo>
                      <a:pt x="344" y="210"/>
                      <a:pt x="344" y="210"/>
                      <a:pt x="344" y="210"/>
                    </a:cubicBezTo>
                    <a:cubicBezTo>
                      <a:pt x="336" y="219"/>
                      <a:pt x="334" y="224"/>
                      <a:pt x="334" y="229"/>
                    </a:cubicBezTo>
                    <a:cubicBezTo>
                      <a:pt x="334" y="234"/>
                      <a:pt x="336" y="239"/>
                      <a:pt x="344" y="248"/>
                    </a:cubicBezTo>
                    <a:cubicBezTo>
                      <a:pt x="519" y="442"/>
                      <a:pt x="519" y="442"/>
                      <a:pt x="519" y="442"/>
                    </a:cubicBezTo>
                    <a:cubicBezTo>
                      <a:pt x="526" y="450"/>
                      <a:pt x="535" y="458"/>
                      <a:pt x="545" y="458"/>
                    </a:cubicBezTo>
                    <a:cubicBezTo>
                      <a:pt x="559" y="458"/>
                      <a:pt x="580" y="448"/>
                      <a:pt x="580" y="438"/>
                    </a:cubicBezTo>
                    <a:cubicBezTo>
                      <a:pt x="580" y="433"/>
                      <a:pt x="576" y="428"/>
                      <a:pt x="570" y="421"/>
                    </a:cubicBezTo>
                    <a:cubicBezTo>
                      <a:pt x="411" y="245"/>
                      <a:pt x="411" y="245"/>
                      <a:pt x="411" y="245"/>
                    </a:cubicBezTo>
                    <a:cubicBezTo>
                      <a:pt x="403" y="236"/>
                      <a:pt x="399" y="232"/>
                      <a:pt x="399" y="229"/>
                    </a:cubicBezTo>
                    <a:cubicBezTo>
                      <a:pt x="399" y="226"/>
                      <a:pt x="403" y="222"/>
                      <a:pt x="411" y="213"/>
                    </a:cubicBezTo>
                    <a:moveTo>
                      <a:pt x="252" y="439"/>
                    </a:moveTo>
                    <a:cubicBezTo>
                      <a:pt x="252" y="449"/>
                      <a:pt x="261" y="454"/>
                      <a:pt x="281" y="454"/>
                    </a:cubicBezTo>
                    <a:cubicBezTo>
                      <a:pt x="300" y="454"/>
                      <a:pt x="309" y="449"/>
                      <a:pt x="309" y="439"/>
                    </a:cubicBezTo>
                    <a:cubicBezTo>
                      <a:pt x="309" y="19"/>
                      <a:pt x="309" y="19"/>
                      <a:pt x="309" y="19"/>
                    </a:cubicBezTo>
                    <a:cubicBezTo>
                      <a:pt x="309" y="9"/>
                      <a:pt x="300" y="4"/>
                      <a:pt x="281" y="4"/>
                    </a:cubicBezTo>
                    <a:cubicBezTo>
                      <a:pt x="261" y="4"/>
                      <a:pt x="252" y="9"/>
                      <a:pt x="252" y="19"/>
                    </a:cubicBezTo>
                    <a:lnTo>
                      <a:pt x="252" y="439"/>
                    </a:lnTo>
                    <a:close/>
                    <a:moveTo>
                      <a:pt x="0" y="439"/>
                    </a:moveTo>
                    <a:cubicBezTo>
                      <a:pt x="0" y="449"/>
                      <a:pt x="8" y="454"/>
                      <a:pt x="28" y="454"/>
                    </a:cubicBezTo>
                    <a:cubicBezTo>
                      <a:pt x="48" y="454"/>
                      <a:pt x="56" y="449"/>
                      <a:pt x="56" y="439"/>
                    </a:cubicBezTo>
                    <a:cubicBezTo>
                      <a:pt x="56" y="157"/>
                      <a:pt x="56" y="157"/>
                      <a:pt x="56" y="157"/>
                    </a:cubicBezTo>
                    <a:cubicBezTo>
                      <a:pt x="56" y="83"/>
                      <a:pt x="85" y="53"/>
                      <a:pt x="165" y="53"/>
                    </a:cubicBezTo>
                    <a:cubicBezTo>
                      <a:pt x="180" y="53"/>
                      <a:pt x="180" y="53"/>
                      <a:pt x="180" y="53"/>
                    </a:cubicBezTo>
                    <a:cubicBezTo>
                      <a:pt x="192" y="53"/>
                      <a:pt x="196" y="43"/>
                      <a:pt x="196" y="27"/>
                    </a:cubicBezTo>
                    <a:cubicBezTo>
                      <a:pt x="196" y="8"/>
                      <a:pt x="185" y="4"/>
                      <a:pt x="154" y="4"/>
                    </a:cubicBezTo>
                    <a:cubicBezTo>
                      <a:pt x="64" y="4"/>
                      <a:pt x="0" y="43"/>
                      <a:pt x="0" y="152"/>
                    </a:cubicBezTo>
                    <a:lnTo>
                      <a:pt x="0" y="43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25" name="Freeform 10">
                <a:extLst>
                  <a:ext uri="{FF2B5EF4-FFF2-40B4-BE49-F238E27FC236}">
                    <a16:creationId xmlns:a16="http://schemas.microsoft.com/office/drawing/2014/main" id="{2B91B16B-BC11-E547-8FAC-B9B8D18EA449}"/>
                  </a:ext>
                </a:extLst>
              </p:cNvPr>
              <p:cNvSpPr>
                <a:spLocks/>
              </p:cNvSpPr>
              <p:nvPr/>
            </p:nvSpPr>
            <p:spPr bwMode="gray">
              <a:xfrm>
                <a:off x="2880" y="1704"/>
                <a:ext cx="618" cy="916"/>
              </a:xfrm>
              <a:custGeom>
                <a:avLst/>
                <a:gdLst>
                  <a:gd name="T0" fmla="*/ 307 w 307"/>
                  <a:gd name="T1" fmla="*/ 405 h 455"/>
                  <a:gd name="T2" fmla="*/ 307 w 307"/>
                  <a:gd name="T3" fmla="*/ 244 h 455"/>
                  <a:gd name="T4" fmla="*/ 279 w 307"/>
                  <a:gd name="T5" fmla="*/ 229 h 455"/>
                  <a:gd name="T6" fmla="*/ 250 w 307"/>
                  <a:gd name="T7" fmla="*/ 244 h 455"/>
                  <a:gd name="T8" fmla="*/ 250 w 307"/>
                  <a:gd name="T9" fmla="*/ 378 h 455"/>
                  <a:gd name="T10" fmla="*/ 199 w 307"/>
                  <a:gd name="T11" fmla="*/ 408 h 455"/>
                  <a:gd name="T12" fmla="*/ 61 w 307"/>
                  <a:gd name="T13" fmla="*/ 231 h 455"/>
                  <a:gd name="T14" fmla="*/ 238 w 307"/>
                  <a:gd name="T15" fmla="*/ 49 h 455"/>
                  <a:gd name="T16" fmla="*/ 270 w 307"/>
                  <a:gd name="T17" fmla="*/ 49 h 455"/>
                  <a:gd name="T18" fmla="*/ 286 w 307"/>
                  <a:gd name="T19" fmla="*/ 23 h 455"/>
                  <a:gd name="T20" fmla="*/ 244 w 307"/>
                  <a:gd name="T21" fmla="*/ 0 h 455"/>
                  <a:gd name="T22" fmla="*/ 231 w 307"/>
                  <a:gd name="T23" fmla="*/ 0 h 455"/>
                  <a:gd name="T24" fmla="*/ 0 w 307"/>
                  <a:gd name="T25" fmla="*/ 232 h 455"/>
                  <a:gd name="T26" fmla="*/ 198 w 307"/>
                  <a:gd name="T27" fmla="*/ 455 h 455"/>
                  <a:gd name="T28" fmla="*/ 307 w 307"/>
                  <a:gd name="T29" fmla="*/ 405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7" h="455">
                    <a:moveTo>
                      <a:pt x="307" y="405"/>
                    </a:moveTo>
                    <a:cubicBezTo>
                      <a:pt x="307" y="244"/>
                      <a:pt x="307" y="244"/>
                      <a:pt x="307" y="244"/>
                    </a:cubicBezTo>
                    <a:cubicBezTo>
                      <a:pt x="307" y="234"/>
                      <a:pt x="298" y="229"/>
                      <a:pt x="279" y="229"/>
                    </a:cubicBezTo>
                    <a:cubicBezTo>
                      <a:pt x="259" y="229"/>
                      <a:pt x="250" y="234"/>
                      <a:pt x="250" y="244"/>
                    </a:cubicBezTo>
                    <a:cubicBezTo>
                      <a:pt x="250" y="378"/>
                      <a:pt x="250" y="378"/>
                      <a:pt x="250" y="378"/>
                    </a:cubicBezTo>
                    <a:cubicBezTo>
                      <a:pt x="250" y="399"/>
                      <a:pt x="241" y="408"/>
                      <a:pt x="199" y="408"/>
                    </a:cubicBezTo>
                    <a:cubicBezTo>
                      <a:pt x="114" y="408"/>
                      <a:pt x="61" y="342"/>
                      <a:pt x="61" y="231"/>
                    </a:cubicBezTo>
                    <a:cubicBezTo>
                      <a:pt x="61" y="115"/>
                      <a:pt x="126" y="49"/>
                      <a:pt x="238" y="49"/>
                    </a:cubicBezTo>
                    <a:cubicBezTo>
                      <a:pt x="270" y="49"/>
                      <a:pt x="270" y="49"/>
                      <a:pt x="270" y="49"/>
                    </a:cubicBezTo>
                    <a:cubicBezTo>
                      <a:pt x="282" y="49"/>
                      <a:pt x="286" y="39"/>
                      <a:pt x="286" y="23"/>
                    </a:cubicBezTo>
                    <a:cubicBezTo>
                      <a:pt x="286" y="4"/>
                      <a:pt x="275" y="0"/>
                      <a:pt x="244" y="0"/>
                    </a:cubicBezTo>
                    <a:cubicBezTo>
                      <a:pt x="231" y="0"/>
                      <a:pt x="231" y="0"/>
                      <a:pt x="231" y="0"/>
                    </a:cubicBezTo>
                    <a:cubicBezTo>
                      <a:pt x="101" y="0"/>
                      <a:pt x="0" y="71"/>
                      <a:pt x="0" y="232"/>
                    </a:cubicBezTo>
                    <a:cubicBezTo>
                      <a:pt x="0" y="386"/>
                      <a:pt x="88" y="455"/>
                      <a:pt x="198" y="455"/>
                    </a:cubicBezTo>
                    <a:cubicBezTo>
                      <a:pt x="286" y="455"/>
                      <a:pt x="307" y="430"/>
                      <a:pt x="307" y="40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26" name="Oval 11">
                <a:extLst>
                  <a:ext uri="{FF2B5EF4-FFF2-40B4-BE49-F238E27FC236}">
                    <a16:creationId xmlns:a16="http://schemas.microsoft.com/office/drawing/2014/main" id="{14F8C3C8-4888-7646-B9B4-64EB46A1DA23}"/>
                  </a:ext>
                </a:extLst>
              </p:cNvPr>
              <p:cNvSpPr>
                <a:spLocks noChangeArrowheads="1"/>
              </p:cNvSpPr>
              <p:nvPr/>
            </p:nvSpPr>
            <p:spPr bwMode="gray">
              <a:xfrm>
                <a:off x="3778" y="2099"/>
                <a:ext cx="122" cy="12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27" name="Freeform 12">
                <a:extLst>
                  <a:ext uri="{FF2B5EF4-FFF2-40B4-BE49-F238E27FC236}">
                    <a16:creationId xmlns:a16="http://schemas.microsoft.com/office/drawing/2014/main" id="{D79D01D1-4E3E-F34B-97D7-2D387E68746E}"/>
                  </a:ext>
                </a:extLst>
              </p:cNvPr>
              <p:cNvSpPr>
                <a:spLocks/>
              </p:cNvSpPr>
              <p:nvPr/>
            </p:nvSpPr>
            <p:spPr bwMode="gray">
              <a:xfrm>
                <a:off x="4321" y="1029"/>
                <a:ext cx="648" cy="649"/>
              </a:xfrm>
              <a:custGeom>
                <a:avLst/>
                <a:gdLst>
                  <a:gd name="T0" fmla="*/ 0 w 648"/>
                  <a:gd name="T1" fmla="*/ 649 h 649"/>
                  <a:gd name="T2" fmla="*/ 2 w 648"/>
                  <a:gd name="T3" fmla="*/ 649 h 649"/>
                  <a:gd name="T4" fmla="*/ 648 w 648"/>
                  <a:gd name="T5" fmla="*/ 0 h 649"/>
                  <a:gd name="T6" fmla="*/ 423 w 648"/>
                  <a:gd name="T7" fmla="*/ 0 h 649"/>
                  <a:gd name="T8" fmla="*/ 0 w 648"/>
                  <a:gd name="T9" fmla="*/ 649 h 649"/>
                </a:gdLst>
                <a:ahLst/>
                <a:cxnLst>
                  <a:cxn ang="0">
                    <a:pos x="T0" y="T1"/>
                  </a:cxn>
                  <a:cxn ang="0">
                    <a:pos x="T2" y="T3"/>
                  </a:cxn>
                  <a:cxn ang="0">
                    <a:pos x="T4" y="T5"/>
                  </a:cxn>
                  <a:cxn ang="0">
                    <a:pos x="T6" y="T7"/>
                  </a:cxn>
                  <a:cxn ang="0">
                    <a:pos x="T8" y="T9"/>
                  </a:cxn>
                </a:cxnLst>
                <a:rect l="0" t="0" r="r" b="b"/>
                <a:pathLst>
                  <a:path w="648" h="649">
                    <a:moveTo>
                      <a:pt x="0" y="649"/>
                    </a:moveTo>
                    <a:lnTo>
                      <a:pt x="2" y="649"/>
                    </a:lnTo>
                    <a:lnTo>
                      <a:pt x="648" y="0"/>
                    </a:lnTo>
                    <a:lnTo>
                      <a:pt x="423" y="0"/>
                    </a:lnTo>
                    <a:lnTo>
                      <a:pt x="0" y="64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28" name="Freeform 13">
                <a:extLst>
                  <a:ext uri="{FF2B5EF4-FFF2-40B4-BE49-F238E27FC236}">
                    <a16:creationId xmlns:a16="http://schemas.microsoft.com/office/drawing/2014/main" id="{46549898-6C52-B147-A8F6-A73FDBE6163B}"/>
                  </a:ext>
                </a:extLst>
              </p:cNvPr>
              <p:cNvSpPr>
                <a:spLocks/>
              </p:cNvSpPr>
              <p:nvPr/>
            </p:nvSpPr>
            <p:spPr bwMode="gray">
              <a:xfrm>
                <a:off x="4321" y="1029"/>
                <a:ext cx="648" cy="649"/>
              </a:xfrm>
              <a:custGeom>
                <a:avLst/>
                <a:gdLst>
                  <a:gd name="T0" fmla="*/ 0 w 648"/>
                  <a:gd name="T1" fmla="*/ 649 h 649"/>
                  <a:gd name="T2" fmla="*/ 2 w 648"/>
                  <a:gd name="T3" fmla="*/ 649 h 649"/>
                  <a:gd name="T4" fmla="*/ 648 w 648"/>
                  <a:gd name="T5" fmla="*/ 0 h 649"/>
                  <a:gd name="T6" fmla="*/ 423 w 648"/>
                  <a:gd name="T7" fmla="*/ 0 h 649"/>
                  <a:gd name="T8" fmla="*/ 0 w 648"/>
                  <a:gd name="T9" fmla="*/ 649 h 649"/>
                </a:gdLst>
                <a:ahLst/>
                <a:cxnLst>
                  <a:cxn ang="0">
                    <a:pos x="T0" y="T1"/>
                  </a:cxn>
                  <a:cxn ang="0">
                    <a:pos x="T2" y="T3"/>
                  </a:cxn>
                  <a:cxn ang="0">
                    <a:pos x="T4" y="T5"/>
                  </a:cxn>
                  <a:cxn ang="0">
                    <a:pos x="T6" y="T7"/>
                  </a:cxn>
                  <a:cxn ang="0">
                    <a:pos x="T8" y="T9"/>
                  </a:cxn>
                </a:cxnLst>
                <a:rect l="0" t="0" r="r" b="b"/>
                <a:pathLst>
                  <a:path w="648" h="649">
                    <a:moveTo>
                      <a:pt x="0" y="649"/>
                    </a:moveTo>
                    <a:lnTo>
                      <a:pt x="2" y="649"/>
                    </a:lnTo>
                    <a:lnTo>
                      <a:pt x="648" y="0"/>
                    </a:lnTo>
                    <a:lnTo>
                      <a:pt x="423" y="0"/>
                    </a:lnTo>
                    <a:lnTo>
                      <a:pt x="0" y="64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grpSp>
      </p:grpSp>
      <p:sp>
        <p:nvSpPr>
          <p:cNvPr id="7" name="Date Placeholder 6"/>
          <p:cNvSpPr>
            <a:spLocks noGrp="1"/>
          </p:cNvSpPr>
          <p:nvPr>
            <p:ph type="dt" sz="half" idx="10"/>
          </p:nvPr>
        </p:nvSpPr>
        <p:spPr>
          <a:xfrm>
            <a:off x="0" y="0"/>
            <a:ext cx="0" cy="0"/>
          </a:xfrm>
          <a:prstGeom prst="rect">
            <a:avLst/>
          </a:prstGeom>
        </p:spPr>
        <p:txBody>
          <a:bodyPr/>
          <a:lstStyle>
            <a:lvl1pPr>
              <a:defRPr sz="100">
                <a:noFill/>
              </a:defRPr>
            </a:lvl1pPr>
          </a:lstStyle>
          <a:p>
            <a:fld id="{D6D08F88-38D2-4786-82D6-89211B05083D}" type="datetime5">
              <a:rPr lang="en-US" smtClean="0"/>
              <a:t>26-Jun-20</a:t>
            </a:fld>
            <a:endParaRPr lang="en-US"/>
          </a:p>
        </p:txBody>
      </p:sp>
      <p:sp>
        <p:nvSpPr>
          <p:cNvPr id="8" name="Footer Placeholder 7"/>
          <p:cNvSpPr>
            <a:spLocks noGrp="1"/>
          </p:cNvSpPr>
          <p:nvPr>
            <p:ph type="ftr" sz="quarter" idx="11"/>
          </p:nvPr>
        </p:nvSpPr>
        <p:spPr>
          <a:xfrm>
            <a:off x="0" y="0"/>
            <a:ext cx="0" cy="0"/>
          </a:xfrm>
          <a:prstGeom prst="rect">
            <a:avLst/>
          </a:prstGeom>
        </p:spPr>
        <p:txBody>
          <a:bodyPr/>
          <a:lstStyle>
            <a:lvl1pPr marL="0" indent="0">
              <a:buNone/>
              <a:defRPr sz="100">
                <a:noFill/>
              </a:defRPr>
            </a:lvl1pPr>
          </a:lstStyle>
          <a:p>
            <a:r>
              <a:rPr lang="en-US"/>
              <a:t>Title of presentation (Insert / Header &amp; Footer / Apply to All)</a:t>
            </a:r>
          </a:p>
        </p:txBody>
      </p:sp>
      <p:sp>
        <p:nvSpPr>
          <p:cNvPr id="9" name="Slide Number Placeholder 8"/>
          <p:cNvSpPr>
            <a:spLocks noGrp="1"/>
          </p:cNvSpPr>
          <p:nvPr>
            <p:ph type="sldNum" sz="quarter" idx="12"/>
          </p:nvPr>
        </p:nvSpPr>
        <p:spPr>
          <a:xfrm>
            <a:off x="0" y="0"/>
            <a:ext cx="0" cy="0"/>
          </a:xfrm>
          <a:prstGeom prst="rect">
            <a:avLst/>
          </a:prstGeom>
        </p:spPr>
        <p:txBody>
          <a:bodyPr/>
          <a:lstStyle>
            <a:lvl1pPr>
              <a:defRPr sz="100">
                <a:noFill/>
              </a:defRPr>
            </a:lvl1pPr>
          </a:lstStyle>
          <a:p>
            <a:fld id="{8E3B25F7-8D1F-44B5-B485-EE3C438CFD7B}" type="slidenum">
              <a:rPr lang="en-US" smtClean="0"/>
              <a:pPr/>
              <a:t>‹#›</a:t>
            </a:fld>
            <a:endParaRPr lang="en-US"/>
          </a:p>
        </p:txBody>
      </p:sp>
      <p:sp>
        <p:nvSpPr>
          <p:cNvPr id="2" name="Title 1"/>
          <p:cNvSpPr>
            <a:spLocks noGrp="1"/>
          </p:cNvSpPr>
          <p:nvPr>
            <p:ph type="ctrTitle" hasCustomPrompt="1"/>
          </p:nvPr>
        </p:nvSpPr>
        <p:spPr>
          <a:xfrm>
            <a:off x="417600" y="1628775"/>
            <a:ext cx="3816000" cy="2236264"/>
          </a:xfrm>
        </p:spPr>
        <p:txBody>
          <a:bodyPr anchor="b"/>
          <a:lstStyle>
            <a:lvl1pPr algn="l">
              <a:defRPr sz="3600"/>
            </a:lvl1pPr>
          </a:lstStyle>
          <a:p>
            <a:r>
              <a:rPr lang="en-US"/>
              <a:t>Click to add presentation title</a:t>
            </a:r>
          </a:p>
        </p:txBody>
      </p:sp>
      <p:sp>
        <p:nvSpPr>
          <p:cNvPr id="3" name="Subtitle 2"/>
          <p:cNvSpPr>
            <a:spLocks noGrp="1"/>
          </p:cNvSpPr>
          <p:nvPr>
            <p:ph type="subTitle" idx="1" hasCustomPrompt="1"/>
          </p:nvPr>
        </p:nvSpPr>
        <p:spPr>
          <a:xfrm>
            <a:off x="417600" y="4094163"/>
            <a:ext cx="3816000" cy="1080000"/>
          </a:xfrm>
        </p:spPr>
        <p:txBody>
          <a:bodyPr/>
          <a:lstStyle>
            <a:lvl1pPr marL="0" indent="0" algn="l">
              <a:spcBef>
                <a:spcPts val="0"/>
              </a:spcBef>
              <a:buNone/>
              <a:defRPr sz="1800" b="1"/>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sp>
        <p:nvSpPr>
          <p:cNvPr id="31" name="Text Placeholder 30"/>
          <p:cNvSpPr>
            <a:spLocks noGrp="1"/>
          </p:cNvSpPr>
          <p:nvPr>
            <p:ph type="body" sz="quarter" idx="14" hasCustomPrompt="1"/>
          </p:nvPr>
        </p:nvSpPr>
        <p:spPr>
          <a:xfrm>
            <a:off x="417600" y="5393268"/>
            <a:ext cx="3816000" cy="296332"/>
          </a:xfrm>
        </p:spPr>
        <p:txBody>
          <a:bodyPr wrap="none"/>
          <a:lstStyle>
            <a:lvl1pPr marL="0" indent="0">
              <a:spcBef>
                <a:spcPts val="0"/>
              </a:spcBef>
              <a:buNone/>
              <a:defRPr sz="1200"/>
            </a:lvl1pPr>
            <a:lvl2pPr marL="0" indent="0">
              <a:buNone/>
              <a:defRPr sz="1200"/>
            </a:lvl2pPr>
            <a:lvl3pPr marL="0" indent="0">
              <a:buNone/>
              <a:defRPr sz="1200"/>
            </a:lvl3pPr>
            <a:lvl4pPr marL="0">
              <a:buNone/>
              <a:defRPr sz="1200"/>
            </a:lvl4pPr>
            <a:lvl5pPr marL="0" indent="0">
              <a:buNone/>
              <a:defRPr sz="1200"/>
            </a:lvl5pPr>
          </a:lstStyle>
          <a:p>
            <a:pPr lvl="0"/>
            <a:r>
              <a:rPr lang="en-US"/>
              <a:t>Name</a:t>
            </a:r>
          </a:p>
        </p:txBody>
      </p:sp>
      <p:sp>
        <p:nvSpPr>
          <p:cNvPr id="34" name="Text Placeholder 30"/>
          <p:cNvSpPr>
            <a:spLocks noGrp="1"/>
          </p:cNvSpPr>
          <p:nvPr>
            <p:ph type="body" sz="quarter" idx="15" hasCustomPrompt="1"/>
          </p:nvPr>
        </p:nvSpPr>
        <p:spPr>
          <a:xfrm>
            <a:off x="417600" y="5691446"/>
            <a:ext cx="3816000" cy="296332"/>
          </a:xfrm>
        </p:spPr>
        <p:txBody>
          <a:bodyPr wrap="none"/>
          <a:lstStyle>
            <a:lvl1pPr marL="0" indent="0">
              <a:spcBef>
                <a:spcPts val="0"/>
              </a:spcBef>
              <a:buNone/>
              <a:defRPr sz="1200"/>
            </a:lvl1pPr>
            <a:lvl2pPr marL="0" indent="0">
              <a:buNone/>
              <a:defRPr sz="1200"/>
            </a:lvl2pPr>
            <a:lvl3pPr marL="0" indent="0">
              <a:buNone/>
              <a:defRPr sz="1200"/>
            </a:lvl3pPr>
            <a:lvl4pPr marL="0">
              <a:buNone/>
              <a:defRPr sz="1200"/>
            </a:lvl4pPr>
            <a:lvl5pPr marL="0" indent="0">
              <a:buNone/>
              <a:defRPr sz="1200"/>
            </a:lvl5pPr>
          </a:lstStyle>
          <a:p>
            <a:pPr lvl="0"/>
            <a:r>
              <a:rPr lang="en-US"/>
              <a:t>Department</a:t>
            </a:r>
          </a:p>
        </p:txBody>
      </p:sp>
    </p:spTree>
    <p:extLst>
      <p:ext uri="{BB962C8B-B14F-4D97-AF65-F5344CB8AC3E}">
        <p14:creationId xmlns:p14="http://schemas.microsoft.com/office/powerpoint/2010/main" val="1929217136"/>
      </p:ext>
    </p:extLst>
  </p:cSld>
  <p:clrMapOvr>
    <a:masterClrMapping/>
  </p:clrMapOvr>
</p:sldLayout>
</file>

<file path=ppt/slideLayouts/slideLayout475.xml><?xml version="1.0" encoding="utf-8"?>
<p:sldLayout xmlns:a="http://schemas.openxmlformats.org/drawingml/2006/main" xmlns:r="http://schemas.openxmlformats.org/officeDocument/2006/relationships" xmlns:p="http://schemas.openxmlformats.org/presentationml/2006/main" preserve="1">
  <p:cSld name="Divider 1">
    <p:spTree>
      <p:nvGrpSpPr>
        <p:cNvPr id="1" name=""/>
        <p:cNvGrpSpPr/>
        <p:nvPr/>
      </p:nvGrpSpPr>
      <p:grpSpPr>
        <a:xfrm>
          <a:off x="0" y="0"/>
          <a:ext cx="0" cy="0"/>
          <a:chOff x="0" y="0"/>
          <a:chExt cx="0" cy="0"/>
        </a:xfrm>
      </p:grpSpPr>
      <p:sp>
        <p:nvSpPr>
          <p:cNvPr id="12" name="Picture Placeholder 11"/>
          <p:cNvSpPr>
            <a:spLocks noGrp="1"/>
          </p:cNvSpPr>
          <p:nvPr>
            <p:ph type="pic" sz="quarter" idx="17" hasCustomPrompt="1"/>
          </p:nvPr>
        </p:nvSpPr>
        <p:spPr>
          <a:xfrm>
            <a:off x="-1" y="0"/>
            <a:ext cx="8822478" cy="6858000"/>
          </a:xfrm>
          <a:custGeom>
            <a:avLst/>
            <a:gdLst>
              <a:gd name="connsiteX0" fmla="*/ 0 w 8822478"/>
              <a:gd name="connsiteY0" fmla="*/ 0 h 6858000"/>
              <a:gd name="connsiteX1" fmla="*/ 8477306 w 8822478"/>
              <a:gd name="connsiteY1" fmla="*/ 0 h 6858000"/>
              <a:gd name="connsiteX2" fmla="*/ 6998505 w 8822478"/>
              <a:gd name="connsiteY2" fmla="*/ 3834029 h 6858000"/>
              <a:gd name="connsiteX3" fmla="*/ 8822478 w 8822478"/>
              <a:gd name="connsiteY3" fmla="*/ 6858000 h 6858000"/>
              <a:gd name="connsiteX4" fmla="*/ 0 w 8822478"/>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22478" h="6858000">
                <a:moveTo>
                  <a:pt x="0" y="0"/>
                </a:moveTo>
                <a:lnTo>
                  <a:pt x="8477306" y="0"/>
                </a:lnTo>
                <a:lnTo>
                  <a:pt x="6998505" y="3834029"/>
                </a:lnTo>
                <a:lnTo>
                  <a:pt x="8822478" y="6858000"/>
                </a:lnTo>
                <a:lnTo>
                  <a:pt x="0" y="6858000"/>
                </a:lnTo>
                <a:close/>
              </a:path>
            </a:pathLst>
          </a:custGeom>
          <a:solidFill>
            <a:srgbClr val="D9DADB"/>
          </a:solidFill>
        </p:spPr>
        <p:txBody>
          <a:bodyPr wrap="square">
            <a:noAutofit/>
          </a:bodyPr>
          <a:lstStyle>
            <a:lvl1pPr marL="0" indent="0">
              <a:buNone/>
              <a:defRPr/>
            </a:lvl1pPr>
          </a:lstStyle>
          <a:p>
            <a:r>
              <a:rPr lang="en-US"/>
              <a:t>Insert picture</a:t>
            </a:r>
          </a:p>
        </p:txBody>
      </p:sp>
      <p:sp>
        <p:nvSpPr>
          <p:cNvPr id="21" name="Date Placeholder 20"/>
          <p:cNvSpPr>
            <a:spLocks noGrp="1"/>
          </p:cNvSpPr>
          <p:nvPr>
            <p:ph type="dt" sz="half" idx="14"/>
          </p:nvPr>
        </p:nvSpPr>
        <p:spPr/>
        <p:txBody>
          <a:bodyPr/>
          <a:lstStyle>
            <a:lvl1pPr>
              <a:defRPr>
                <a:solidFill>
                  <a:schemeClr val="bg1"/>
                </a:solidFill>
              </a:defRPr>
            </a:lvl1pPr>
          </a:lstStyle>
          <a:p>
            <a:fld id="{4A274CF1-226C-4201-826C-EA56EA2B3C12}" type="datetime5">
              <a:rPr lang="en-US" smtClean="0"/>
              <a:t>26-Jun-20</a:t>
            </a:fld>
            <a:endParaRPr lang="en-US"/>
          </a:p>
        </p:txBody>
      </p:sp>
      <p:sp>
        <p:nvSpPr>
          <p:cNvPr id="22" name="Footer Placeholder 21"/>
          <p:cNvSpPr>
            <a:spLocks noGrp="1"/>
          </p:cNvSpPr>
          <p:nvPr>
            <p:ph type="ftr" sz="quarter" idx="15"/>
          </p:nvPr>
        </p:nvSpPr>
        <p:spPr/>
        <p:txBody>
          <a:bodyPr/>
          <a:lstStyle>
            <a:lvl1pPr>
              <a:defRPr>
                <a:solidFill>
                  <a:schemeClr val="bg1"/>
                </a:solidFill>
              </a:defRPr>
            </a:lvl1pPr>
          </a:lstStyle>
          <a:p>
            <a:r>
              <a:rPr lang="en-US"/>
              <a:t>Title of presentation (Insert / Header &amp; Footer / Apply to All)</a:t>
            </a:r>
          </a:p>
        </p:txBody>
      </p:sp>
      <p:sp>
        <p:nvSpPr>
          <p:cNvPr id="23" name="Slide Number Placeholder 22"/>
          <p:cNvSpPr>
            <a:spLocks noGrp="1"/>
          </p:cNvSpPr>
          <p:nvPr>
            <p:ph type="sldNum" sz="quarter" idx="16"/>
          </p:nvPr>
        </p:nvSpPr>
        <p:spPr/>
        <p:txBody>
          <a:bodyPr/>
          <a:lstStyle>
            <a:lvl1pPr>
              <a:defRPr>
                <a:solidFill>
                  <a:schemeClr val="tx1"/>
                </a:solidFill>
              </a:defRPr>
            </a:lvl1pPr>
          </a:lstStyle>
          <a:p>
            <a:fld id="{5F3E29E4-0979-4FCA-B4C5-5FC6044C982A}" type="slidenum">
              <a:rPr lang="en-US" smtClean="0"/>
              <a:pPr/>
              <a:t>‹#›</a:t>
            </a:fld>
            <a:endParaRPr lang="en-US"/>
          </a:p>
        </p:txBody>
      </p:sp>
      <p:sp>
        <p:nvSpPr>
          <p:cNvPr id="2" name="Title 1"/>
          <p:cNvSpPr>
            <a:spLocks noGrp="1"/>
          </p:cNvSpPr>
          <p:nvPr>
            <p:ph type="title" hasCustomPrompt="1"/>
          </p:nvPr>
        </p:nvSpPr>
        <p:spPr>
          <a:xfrm>
            <a:off x="7737533" y="2908628"/>
            <a:ext cx="4082992" cy="2103640"/>
          </a:xfrm>
        </p:spPr>
        <p:txBody>
          <a:bodyPr/>
          <a:lstStyle>
            <a:lvl1pPr>
              <a:defRPr>
                <a:solidFill>
                  <a:schemeClr val="tx1"/>
                </a:solidFill>
              </a:defRPr>
            </a:lvl1pPr>
          </a:lstStyle>
          <a:p>
            <a:r>
              <a:rPr lang="en-US"/>
              <a:t>Click to add section title</a:t>
            </a:r>
          </a:p>
        </p:txBody>
      </p:sp>
    </p:spTree>
    <p:extLst>
      <p:ext uri="{BB962C8B-B14F-4D97-AF65-F5344CB8AC3E}">
        <p14:creationId xmlns:p14="http://schemas.microsoft.com/office/powerpoint/2010/main" val="525806538"/>
      </p:ext>
    </p:extLst>
  </p:cSld>
  <p:clrMapOvr>
    <a:masterClrMapping/>
  </p:clrMapOvr>
</p:sldLayout>
</file>

<file path=ppt/slideLayouts/slideLayout476.xml><?xml version="1.0" encoding="utf-8"?>
<p:sldLayout xmlns:a="http://schemas.openxmlformats.org/drawingml/2006/main" xmlns:r="http://schemas.openxmlformats.org/officeDocument/2006/relationships" xmlns:p="http://schemas.openxmlformats.org/presentationml/2006/main" preserve="1">
  <p:cSld name="Divider 2">
    <p:spTree>
      <p:nvGrpSpPr>
        <p:cNvPr id="1" name=""/>
        <p:cNvGrpSpPr/>
        <p:nvPr/>
      </p:nvGrpSpPr>
      <p:grpSpPr>
        <a:xfrm>
          <a:off x="0" y="0"/>
          <a:ext cx="0" cy="0"/>
          <a:chOff x="0" y="0"/>
          <a:chExt cx="0" cy="0"/>
        </a:xfrm>
      </p:grpSpPr>
      <p:sp>
        <p:nvSpPr>
          <p:cNvPr id="4" name="shp2"/>
          <p:cNvSpPr/>
          <p:nvPr/>
        </p:nvSpPr>
        <p:spPr>
          <a:xfrm>
            <a:off x="0" y="0"/>
            <a:ext cx="121932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a:p>
        </p:txBody>
      </p:sp>
      <p:sp>
        <p:nvSpPr>
          <p:cNvPr id="21" name="Date Placeholder 20"/>
          <p:cNvSpPr>
            <a:spLocks noGrp="1"/>
          </p:cNvSpPr>
          <p:nvPr>
            <p:ph type="dt" sz="half" idx="14"/>
          </p:nvPr>
        </p:nvSpPr>
        <p:spPr bwMode="ltGray"/>
        <p:txBody>
          <a:bodyPr/>
          <a:lstStyle>
            <a:lvl1pPr>
              <a:defRPr>
                <a:solidFill>
                  <a:schemeClr val="bg1"/>
                </a:solidFill>
              </a:defRPr>
            </a:lvl1pPr>
          </a:lstStyle>
          <a:p>
            <a:fld id="{3869822F-F9F4-4987-AC88-332F892BB2CC}" type="datetime5">
              <a:rPr lang="en-US" smtClean="0"/>
              <a:t>26-Jun-20</a:t>
            </a:fld>
            <a:endParaRPr lang="en-US"/>
          </a:p>
        </p:txBody>
      </p:sp>
      <p:sp>
        <p:nvSpPr>
          <p:cNvPr id="22" name="Footer Placeholder 21"/>
          <p:cNvSpPr>
            <a:spLocks noGrp="1"/>
          </p:cNvSpPr>
          <p:nvPr>
            <p:ph type="ftr" sz="quarter" idx="15"/>
          </p:nvPr>
        </p:nvSpPr>
        <p:spPr bwMode="ltGray"/>
        <p:txBody>
          <a:bodyPr/>
          <a:lstStyle>
            <a:lvl1pPr>
              <a:defRPr>
                <a:solidFill>
                  <a:schemeClr val="bg1"/>
                </a:solidFill>
              </a:defRPr>
            </a:lvl1pPr>
          </a:lstStyle>
          <a:p>
            <a:r>
              <a:rPr lang="en-US"/>
              <a:t>Title of presentation (Insert / Header &amp; Footer / Apply to All)</a:t>
            </a:r>
          </a:p>
        </p:txBody>
      </p:sp>
      <p:sp>
        <p:nvSpPr>
          <p:cNvPr id="23" name="Slide Number Placeholder 22"/>
          <p:cNvSpPr>
            <a:spLocks noGrp="1"/>
          </p:cNvSpPr>
          <p:nvPr>
            <p:ph type="sldNum" sz="quarter" idx="16"/>
          </p:nvPr>
        </p:nvSpPr>
        <p:spPr bwMode="ltGray"/>
        <p:txBody>
          <a:bodyPr/>
          <a:lstStyle>
            <a:lvl1pPr>
              <a:defRPr>
                <a:solidFill>
                  <a:schemeClr val="bg1"/>
                </a:solidFill>
              </a:defRPr>
            </a:lvl1pPr>
          </a:lstStyle>
          <a:p>
            <a:fld id="{5F3E29E4-0979-4FCA-B4C5-5FC6044C982A}" type="slidenum">
              <a:rPr lang="en-US" smtClean="0"/>
              <a:pPr/>
              <a:t>‹#›</a:t>
            </a:fld>
            <a:endParaRPr lang="en-US"/>
          </a:p>
        </p:txBody>
      </p:sp>
      <p:sp>
        <p:nvSpPr>
          <p:cNvPr id="8" name="copyright"/>
          <p:cNvSpPr txBox="1"/>
          <p:nvPr/>
        </p:nvSpPr>
        <p:spPr>
          <a:xfrm>
            <a:off x="10672209" y="6237288"/>
            <a:ext cx="500617" cy="358173"/>
          </a:xfrm>
          <a:prstGeom prst="rect">
            <a:avLst/>
          </a:prstGeom>
          <a:noFill/>
        </p:spPr>
        <p:txBody>
          <a:bodyPr wrap="none" lIns="0" tIns="0" rIns="0" bIns="0" rtlCol="0" anchor="b" anchorCtr="0">
            <a:noAutofit/>
          </a:bodyPr>
          <a:lstStyle/>
          <a:p>
            <a:pPr marL="0" indent="0" algn="r">
              <a:lnSpc>
                <a:spcPct val="125000"/>
              </a:lnSpc>
              <a:buClr>
                <a:schemeClr val="tx2"/>
              </a:buClr>
              <a:buFont typeface="Wingdings" panose="05000000000000000000" pitchFamily="2" charset="2"/>
              <a:buNone/>
            </a:pPr>
            <a:r>
              <a:rPr lang="en-US" sz="800">
                <a:solidFill>
                  <a:schemeClr val="bg1"/>
                </a:solidFill>
              </a:rPr>
              <a:t>© GfK</a:t>
            </a:r>
          </a:p>
        </p:txBody>
      </p:sp>
      <p:sp>
        <p:nvSpPr>
          <p:cNvPr id="2" name="Title 1"/>
          <p:cNvSpPr>
            <a:spLocks noGrp="1"/>
          </p:cNvSpPr>
          <p:nvPr>
            <p:ph type="title" hasCustomPrompt="1"/>
          </p:nvPr>
        </p:nvSpPr>
        <p:spPr bwMode="ltGray">
          <a:xfrm>
            <a:off x="1075062" y="1519552"/>
            <a:ext cx="10097763" cy="2273171"/>
          </a:xfrm>
        </p:spPr>
        <p:txBody>
          <a:bodyPr/>
          <a:lstStyle>
            <a:lvl1pPr>
              <a:defRPr>
                <a:solidFill>
                  <a:schemeClr val="bg1"/>
                </a:solidFill>
              </a:defRPr>
            </a:lvl1pPr>
          </a:lstStyle>
          <a:p>
            <a:r>
              <a:rPr lang="en-US"/>
              <a:t>Click to add section title</a:t>
            </a:r>
          </a:p>
        </p:txBody>
      </p:sp>
      <p:grpSp>
        <p:nvGrpSpPr>
          <p:cNvPr id="9" name="logo">
            <a:extLst>
              <a:ext uri="{FF2B5EF4-FFF2-40B4-BE49-F238E27FC236}">
                <a16:creationId xmlns:a16="http://schemas.microsoft.com/office/drawing/2014/main" id="{57BD2C4C-DC67-B843-B26C-309622FC75F7}"/>
              </a:ext>
            </a:extLst>
          </p:cNvPr>
          <p:cNvGrpSpPr>
            <a:grpSpLocks noChangeAspect="1"/>
          </p:cNvGrpSpPr>
          <p:nvPr/>
        </p:nvGrpSpPr>
        <p:grpSpPr bwMode="gray">
          <a:xfrm>
            <a:off x="11174018" y="401441"/>
            <a:ext cx="644225" cy="646507"/>
            <a:chOff x="2711" y="1027"/>
            <a:chExt cx="2258" cy="2266"/>
          </a:xfrm>
        </p:grpSpPr>
        <p:sp>
          <p:nvSpPr>
            <p:cNvPr id="11" name="AutoShape 3">
              <a:extLst>
                <a:ext uri="{FF2B5EF4-FFF2-40B4-BE49-F238E27FC236}">
                  <a16:creationId xmlns:a16="http://schemas.microsoft.com/office/drawing/2014/main" id="{FE1DC41B-291E-574C-9F2C-874E70A40758}"/>
                </a:ext>
              </a:extLst>
            </p:cNvPr>
            <p:cNvSpPr>
              <a:spLocks noChangeAspect="1" noChangeArrowheads="1" noTextEdit="1"/>
            </p:cNvSpPr>
            <p:nvPr/>
          </p:nvSpPr>
          <p:spPr bwMode="gray">
            <a:xfrm>
              <a:off x="2711" y="1027"/>
              <a:ext cx="2258" cy="22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12" name="Freeform 5">
              <a:extLst>
                <a:ext uri="{FF2B5EF4-FFF2-40B4-BE49-F238E27FC236}">
                  <a16:creationId xmlns:a16="http://schemas.microsoft.com/office/drawing/2014/main" id="{D4B633C8-F761-C54B-9BD2-EB59D49A2DBC}"/>
                </a:ext>
              </a:extLst>
            </p:cNvPr>
            <p:cNvSpPr>
              <a:spLocks/>
            </p:cNvSpPr>
            <p:nvPr/>
          </p:nvSpPr>
          <p:spPr bwMode="gray">
            <a:xfrm>
              <a:off x="2709" y="1029"/>
              <a:ext cx="2260" cy="2262"/>
            </a:xfrm>
            <a:custGeom>
              <a:avLst/>
              <a:gdLst>
                <a:gd name="T0" fmla="*/ 2260 w 2260"/>
                <a:gd name="T1" fmla="*/ 0 h 2262"/>
                <a:gd name="T2" fmla="*/ 1612 w 2260"/>
                <a:gd name="T3" fmla="*/ 649 h 2262"/>
                <a:gd name="T4" fmla="*/ 1612 w 2260"/>
                <a:gd name="T5" fmla="*/ 649 h 2262"/>
                <a:gd name="T6" fmla="*/ 2035 w 2260"/>
                <a:gd name="T7" fmla="*/ 0 h 2262"/>
                <a:gd name="T8" fmla="*/ 0 w 2260"/>
                <a:gd name="T9" fmla="*/ 0 h 2262"/>
                <a:gd name="T10" fmla="*/ 0 w 2260"/>
                <a:gd name="T11" fmla="*/ 2262 h 2262"/>
                <a:gd name="T12" fmla="*/ 2260 w 2260"/>
                <a:gd name="T13" fmla="*/ 2262 h 2262"/>
                <a:gd name="T14" fmla="*/ 2260 w 2260"/>
                <a:gd name="T15" fmla="*/ 0 h 2262"/>
                <a:gd name="T16" fmla="*/ 2260 w 2260"/>
                <a:gd name="T17" fmla="*/ 0 h 2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0" h="2262">
                  <a:moveTo>
                    <a:pt x="2260" y="0"/>
                  </a:moveTo>
                  <a:lnTo>
                    <a:pt x="1612" y="649"/>
                  </a:lnTo>
                  <a:lnTo>
                    <a:pt x="1612" y="649"/>
                  </a:lnTo>
                  <a:lnTo>
                    <a:pt x="2035" y="0"/>
                  </a:lnTo>
                  <a:lnTo>
                    <a:pt x="0" y="0"/>
                  </a:lnTo>
                  <a:lnTo>
                    <a:pt x="0" y="2262"/>
                  </a:lnTo>
                  <a:lnTo>
                    <a:pt x="2260" y="2262"/>
                  </a:lnTo>
                  <a:lnTo>
                    <a:pt x="2260" y="0"/>
                  </a:lnTo>
                  <a:lnTo>
                    <a:pt x="2260" y="0"/>
                  </a:lnTo>
                  <a:close/>
                </a:path>
              </a:pathLst>
            </a:custGeom>
            <a:solidFill>
              <a:srgbClr val="E55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13" name="Freeform 6">
              <a:extLst>
                <a:ext uri="{FF2B5EF4-FFF2-40B4-BE49-F238E27FC236}">
                  <a16:creationId xmlns:a16="http://schemas.microsoft.com/office/drawing/2014/main" id="{B16BAAE4-1A41-C843-9754-490F7A1E1270}"/>
                </a:ext>
              </a:extLst>
            </p:cNvPr>
            <p:cNvSpPr>
              <a:spLocks noEditPoints="1"/>
            </p:cNvSpPr>
            <p:nvPr/>
          </p:nvSpPr>
          <p:spPr bwMode="gray">
            <a:xfrm>
              <a:off x="3623" y="1696"/>
              <a:ext cx="1167" cy="922"/>
            </a:xfrm>
            <a:custGeom>
              <a:avLst/>
              <a:gdLst>
                <a:gd name="T0" fmla="*/ 411 w 580"/>
                <a:gd name="T1" fmla="*/ 213 h 458"/>
                <a:gd name="T2" fmla="*/ 570 w 580"/>
                <a:gd name="T3" fmla="*/ 37 h 458"/>
                <a:gd name="T4" fmla="*/ 580 w 580"/>
                <a:gd name="T5" fmla="*/ 20 h 458"/>
                <a:gd name="T6" fmla="*/ 545 w 580"/>
                <a:gd name="T7" fmla="*/ 0 h 458"/>
                <a:gd name="T8" fmla="*/ 519 w 580"/>
                <a:gd name="T9" fmla="*/ 16 h 458"/>
                <a:gd name="T10" fmla="*/ 344 w 580"/>
                <a:gd name="T11" fmla="*/ 210 h 458"/>
                <a:gd name="T12" fmla="*/ 334 w 580"/>
                <a:gd name="T13" fmla="*/ 229 h 458"/>
                <a:gd name="T14" fmla="*/ 344 w 580"/>
                <a:gd name="T15" fmla="*/ 248 h 458"/>
                <a:gd name="T16" fmla="*/ 519 w 580"/>
                <a:gd name="T17" fmla="*/ 442 h 458"/>
                <a:gd name="T18" fmla="*/ 545 w 580"/>
                <a:gd name="T19" fmla="*/ 458 h 458"/>
                <a:gd name="T20" fmla="*/ 580 w 580"/>
                <a:gd name="T21" fmla="*/ 438 h 458"/>
                <a:gd name="T22" fmla="*/ 570 w 580"/>
                <a:gd name="T23" fmla="*/ 421 h 458"/>
                <a:gd name="T24" fmla="*/ 411 w 580"/>
                <a:gd name="T25" fmla="*/ 245 h 458"/>
                <a:gd name="T26" fmla="*/ 399 w 580"/>
                <a:gd name="T27" fmla="*/ 229 h 458"/>
                <a:gd name="T28" fmla="*/ 411 w 580"/>
                <a:gd name="T29" fmla="*/ 213 h 458"/>
                <a:gd name="T30" fmla="*/ 252 w 580"/>
                <a:gd name="T31" fmla="*/ 439 h 458"/>
                <a:gd name="T32" fmla="*/ 281 w 580"/>
                <a:gd name="T33" fmla="*/ 454 h 458"/>
                <a:gd name="T34" fmla="*/ 309 w 580"/>
                <a:gd name="T35" fmla="*/ 439 h 458"/>
                <a:gd name="T36" fmla="*/ 309 w 580"/>
                <a:gd name="T37" fmla="*/ 19 h 458"/>
                <a:gd name="T38" fmla="*/ 281 w 580"/>
                <a:gd name="T39" fmla="*/ 4 h 458"/>
                <a:gd name="T40" fmla="*/ 252 w 580"/>
                <a:gd name="T41" fmla="*/ 19 h 458"/>
                <a:gd name="T42" fmla="*/ 252 w 580"/>
                <a:gd name="T43" fmla="*/ 439 h 458"/>
                <a:gd name="T44" fmla="*/ 0 w 580"/>
                <a:gd name="T45" fmla="*/ 439 h 458"/>
                <a:gd name="T46" fmla="*/ 28 w 580"/>
                <a:gd name="T47" fmla="*/ 454 h 458"/>
                <a:gd name="T48" fmla="*/ 56 w 580"/>
                <a:gd name="T49" fmla="*/ 439 h 458"/>
                <a:gd name="T50" fmla="*/ 56 w 580"/>
                <a:gd name="T51" fmla="*/ 157 h 458"/>
                <a:gd name="T52" fmla="*/ 165 w 580"/>
                <a:gd name="T53" fmla="*/ 53 h 458"/>
                <a:gd name="T54" fmla="*/ 180 w 580"/>
                <a:gd name="T55" fmla="*/ 53 h 458"/>
                <a:gd name="T56" fmla="*/ 196 w 580"/>
                <a:gd name="T57" fmla="*/ 27 h 458"/>
                <a:gd name="T58" fmla="*/ 154 w 580"/>
                <a:gd name="T59" fmla="*/ 4 h 458"/>
                <a:gd name="T60" fmla="*/ 0 w 580"/>
                <a:gd name="T61" fmla="*/ 152 h 458"/>
                <a:gd name="T62" fmla="*/ 0 w 580"/>
                <a:gd name="T63" fmla="*/ 439 h 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80" h="458">
                  <a:moveTo>
                    <a:pt x="411" y="213"/>
                  </a:moveTo>
                  <a:cubicBezTo>
                    <a:pt x="570" y="37"/>
                    <a:pt x="570" y="37"/>
                    <a:pt x="570" y="37"/>
                  </a:cubicBezTo>
                  <a:cubicBezTo>
                    <a:pt x="576" y="30"/>
                    <a:pt x="580" y="25"/>
                    <a:pt x="580" y="20"/>
                  </a:cubicBezTo>
                  <a:cubicBezTo>
                    <a:pt x="580" y="10"/>
                    <a:pt x="559" y="0"/>
                    <a:pt x="545" y="0"/>
                  </a:cubicBezTo>
                  <a:cubicBezTo>
                    <a:pt x="535" y="0"/>
                    <a:pt x="526" y="8"/>
                    <a:pt x="519" y="16"/>
                  </a:cubicBezTo>
                  <a:cubicBezTo>
                    <a:pt x="344" y="210"/>
                    <a:pt x="344" y="210"/>
                    <a:pt x="344" y="210"/>
                  </a:cubicBezTo>
                  <a:cubicBezTo>
                    <a:pt x="336" y="219"/>
                    <a:pt x="334" y="224"/>
                    <a:pt x="334" y="229"/>
                  </a:cubicBezTo>
                  <a:cubicBezTo>
                    <a:pt x="334" y="234"/>
                    <a:pt x="336" y="239"/>
                    <a:pt x="344" y="248"/>
                  </a:cubicBezTo>
                  <a:cubicBezTo>
                    <a:pt x="519" y="442"/>
                    <a:pt x="519" y="442"/>
                    <a:pt x="519" y="442"/>
                  </a:cubicBezTo>
                  <a:cubicBezTo>
                    <a:pt x="526" y="450"/>
                    <a:pt x="535" y="458"/>
                    <a:pt x="545" y="458"/>
                  </a:cubicBezTo>
                  <a:cubicBezTo>
                    <a:pt x="559" y="458"/>
                    <a:pt x="580" y="448"/>
                    <a:pt x="580" y="438"/>
                  </a:cubicBezTo>
                  <a:cubicBezTo>
                    <a:pt x="580" y="433"/>
                    <a:pt x="576" y="428"/>
                    <a:pt x="570" y="421"/>
                  </a:cubicBezTo>
                  <a:cubicBezTo>
                    <a:pt x="411" y="245"/>
                    <a:pt x="411" y="245"/>
                    <a:pt x="411" y="245"/>
                  </a:cubicBezTo>
                  <a:cubicBezTo>
                    <a:pt x="403" y="236"/>
                    <a:pt x="399" y="232"/>
                    <a:pt x="399" y="229"/>
                  </a:cubicBezTo>
                  <a:cubicBezTo>
                    <a:pt x="399" y="226"/>
                    <a:pt x="403" y="222"/>
                    <a:pt x="411" y="213"/>
                  </a:cubicBezTo>
                  <a:moveTo>
                    <a:pt x="252" y="439"/>
                  </a:moveTo>
                  <a:cubicBezTo>
                    <a:pt x="252" y="449"/>
                    <a:pt x="261" y="454"/>
                    <a:pt x="281" y="454"/>
                  </a:cubicBezTo>
                  <a:cubicBezTo>
                    <a:pt x="300" y="454"/>
                    <a:pt x="309" y="449"/>
                    <a:pt x="309" y="439"/>
                  </a:cubicBezTo>
                  <a:cubicBezTo>
                    <a:pt x="309" y="19"/>
                    <a:pt x="309" y="19"/>
                    <a:pt x="309" y="19"/>
                  </a:cubicBezTo>
                  <a:cubicBezTo>
                    <a:pt x="309" y="9"/>
                    <a:pt x="300" y="4"/>
                    <a:pt x="281" y="4"/>
                  </a:cubicBezTo>
                  <a:cubicBezTo>
                    <a:pt x="261" y="4"/>
                    <a:pt x="252" y="9"/>
                    <a:pt x="252" y="19"/>
                  </a:cubicBezTo>
                  <a:lnTo>
                    <a:pt x="252" y="439"/>
                  </a:lnTo>
                  <a:close/>
                  <a:moveTo>
                    <a:pt x="0" y="439"/>
                  </a:moveTo>
                  <a:cubicBezTo>
                    <a:pt x="0" y="449"/>
                    <a:pt x="8" y="454"/>
                    <a:pt x="28" y="454"/>
                  </a:cubicBezTo>
                  <a:cubicBezTo>
                    <a:pt x="48" y="454"/>
                    <a:pt x="56" y="449"/>
                    <a:pt x="56" y="439"/>
                  </a:cubicBezTo>
                  <a:cubicBezTo>
                    <a:pt x="56" y="157"/>
                    <a:pt x="56" y="157"/>
                    <a:pt x="56" y="157"/>
                  </a:cubicBezTo>
                  <a:cubicBezTo>
                    <a:pt x="56" y="83"/>
                    <a:pt x="85" y="53"/>
                    <a:pt x="165" y="53"/>
                  </a:cubicBezTo>
                  <a:cubicBezTo>
                    <a:pt x="180" y="53"/>
                    <a:pt x="180" y="53"/>
                    <a:pt x="180" y="53"/>
                  </a:cubicBezTo>
                  <a:cubicBezTo>
                    <a:pt x="192" y="53"/>
                    <a:pt x="196" y="43"/>
                    <a:pt x="196" y="27"/>
                  </a:cubicBezTo>
                  <a:cubicBezTo>
                    <a:pt x="196" y="8"/>
                    <a:pt x="185" y="4"/>
                    <a:pt x="154" y="4"/>
                  </a:cubicBezTo>
                  <a:cubicBezTo>
                    <a:pt x="64" y="4"/>
                    <a:pt x="0" y="43"/>
                    <a:pt x="0" y="152"/>
                  </a:cubicBezTo>
                  <a:lnTo>
                    <a:pt x="0" y="43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14" name="Freeform 7">
              <a:extLst>
                <a:ext uri="{FF2B5EF4-FFF2-40B4-BE49-F238E27FC236}">
                  <a16:creationId xmlns:a16="http://schemas.microsoft.com/office/drawing/2014/main" id="{2F32DCBD-8628-F245-85CD-97686A20ECFD}"/>
                </a:ext>
              </a:extLst>
            </p:cNvPr>
            <p:cNvSpPr>
              <a:spLocks/>
            </p:cNvSpPr>
            <p:nvPr/>
          </p:nvSpPr>
          <p:spPr bwMode="gray">
            <a:xfrm>
              <a:off x="2880" y="1704"/>
              <a:ext cx="618" cy="916"/>
            </a:xfrm>
            <a:custGeom>
              <a:avLst/>
              <a:gdLst>
                <a:gd name="T0" fmla="*/ 307 w 307"/>
                <a:gd name="T1" fmla="*/ 405 h 455"/>
                <a:gd name="T2" fmla="*/ 307 w 307"/>
                <a:gd name="T3" fmla="*/ 244 h 455"/>
                <a:gd name="T4" fmla="*/ 279 w 307"/>
                <a:gd name="T5" fmla="*/ 229 h 455"/>
                <a:gd name="T6" fmla="*/ 250 w 307"/>
                <a:gd name="T7" fmla="*/ 244 h 455"/>
                <a:gd name="T8" fmla="*/ 250 w 307"/>
                <a:gd name="T9" fmla="*/ 378 h 455"/>
                <a:gd name="T10" fmla="*/ 199 w 307"/>
                <a:gd name="T11" fmla="*/ 408 h 455"/>
                <a:gd name="T12" fmla="*/ 61 w 307"/>
                <a:gd name="T13" fmla="*/ 231 h 455"/>
                <a:gd name="T14" fmla="*/ 238 w 307"/>
                <a:gd name="T15" fmla="*/ 49 h 455"/>
                <a:gd name="T16" fmla="*/ 270 w 307"/>
                <a:gd name="T17" fmla="*/ 49 h 455"/>
                <a:gd name="T18" fmla="*/ 286 w 307"/>
                <a:gd name="T19" fmla="*/ 23 h 455"/>
                <a:gd name="T20" fmla="*/ 244 w 307"/>
                <a:gd name="T21" fmla="*/ 0 h 455"/>
                <a:gd name="T22" fmla="*/ 231 w 307"/>
                <a:gd name="T23" fmla="*/ 0 h 455"/>
                <a:gd name="T24" fmla="*/ 0 w 307"/>
                <a:gd name="T25" fmla="*/ 232 h 455"/>
                <a:gd name="T26" fmla="*/ 198 w 307"/>
                <a:gd name="T27" fmla="*/ 455 h 455"/>
                <a:gd name="T28" fmla="*/ 307 w 307"/>
                <a:gd name="T29" fmla="*/ 405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7" h="455">
                  <a:moveTo>
                    <a:pt x="307" y="405"/>
                  </a:moveTo>
                  <a:cubicBezTo>
                    <a:pt x="307" y="244"/>
                    <a:pt x="307" y="244"/>
                    <a:pt x="307" y="244"/>
                  </a:cubicBezTo>
                  <a:cubicBezTo>
                    <a:pt x="307" y="234"/>
                    <a:pt x="298" y="229"/>
                    <a:pt x="279" y="229"/>
                  </a:cubicBezTo>
                  <a:cubicBezTo>
                    <a:pt x="259" y="229"/>
                    <a:pt x="250" y="234"/>
                    <a:pt x="250" y="244"/>
                  </a:cubicBezTo>
                  <a:cubicBezTo>
                    <a:pt x="250" y="378"/>
                    <a:pt x="250" y="378"/>
                    <a:pt x="250" y="378"/>
                  </a:cubicBezTo>
                  <a:cubicBezTo>
                    <a:pt x="250" y="399"/>
                    <a:pt x="241" y="408"/>
                    <a:pt x="199" y="408"/>
                  </a:cubicBezTo>
                  <a:cubicBezTo>
                    <a:pt x="114" y="408"/>
                    <a:pt x="61" y="342"/>
                    <a:pt x="61" y="231"/>
                  </a:cubicBezTo>
                  <a:cubicBezTo>
                    <a:pt x="61" y="115"/>
                    <a:pt x="126" y="49"/>
                    <a:pt x="238" y="49"/>
                  </a:cubicBezTo>
                  <a:cubicBezTo>
                    <a:pt x="270" y="49"/>
                    <a:pt x="270" y="49"/>
                    <a:pt x="270" y="49"/>
                  </a:cubicBezTo>
                  <a:cubicBezTo>
                    <a:pt x="282" y="49"/>
                    <a:pt x="286" y="39"/>
                    <a:pt x="286" y="23"/>
                  </a:cubicBezTo>
                  <a:cubicBezTo>
                    <a:pt x="286" y="4"/>
                    <a:pt x="275" y="0"/>
                    <a:pt x="244" y="0"/>
                  </a:cubicBezTo>
                  <a:cubicBezTo>
                    <a:pt x="231" y="0"/>
                    <a:pt x="231" y="0"/>
                    <a:pt x="231" y="0"/>
                  </a:cubicBezTo>
                  <a:cubicBezTo>
                    <a:pt x="101" y="0"/>
                    <a:pt x="0" y="71"/>
                    <a:pt x="0" y="232"/>
                  </a:cubicBezTo>
                  <a:cubicBezTo>
                    <a:pt x="0" y="386"/>
                    <a:pt x="88" y="455"/>
                    <a:pt x="198" y="455"/>
                  </a:cubicBezTo>
                  <a:cubicBezTo>
                    <a:pt x="286" y="455"/>
                    <a:pt x="307" y="430"/>
                    <a:pt x="307" y="40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15" name="Oval 8">
              <a:extLst>
                <a:ext uri="{FF2B5EF4-FFF2-40B4-BE49-F238E27FC236}">
                  <a16:creationId xmlns:a16="http://schemas.microsoft.com/office/drawing/2014/main" id="{60D97C11-1A3B-5449-A48D-98A3E79B3810}"/>
                </a:ext>
              </a:extLst>
            </p:cNvPr>
            <p:cNvSpPr>
              <a:spLocks noChangeArrowheads="1"/>
            </p:cNvSpPr>
            <p:nvPr/>
          </p:nvSpPr>
          <p:spPr bwMode="gray">
            <a:xfrm>
              <a:off x="3778" y="2099"/>
              <a:ext cx="122" cy="12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16" name="Freeform 9">
              <a:extLst>
                <a:ext uri="{FF2B5EF4-FFF2-40B4-BE49-F238E27FC236}">
                  <a16:creationId xmlns:a16="http://schemas.microsoft.com/office/drawing/2014/main" id="{5856770D-B8F0-244E-A05D-AED190086F10}"/>
                </a:ext>
              </a:extLst>
            </p:cNvPr>
            <p:cNvSpPr>
              <a:spLocks noEditPoints="1"/>
            </p:cNvSpPr>
            <p:nvPr/>
          </p:nvSpPr>
          <p:spPr bwMode="gray">
            <a:xfrm>
              <a:off x="3623" y="1696"/>
              <a:ext cx="1167" cy="922"/>
            </a:xfrm>
            <a:custGeom>
              <a:avLst/>
              <a:gdLst>
                <a:gd name="T0" fmla="*/ 411 w 580"/>
                <a:gd name="T1" fmla="*/ 213 h 458"/>
                <a:gd name="T2" fmla="*/ 570 w 580"/>
                <a:gd name="T3" fmla="*/ 37 h 458"/>
                <a:gd name="T4" fmla="*/ 580 w 580"/>
                <a:gd name="T5" fmla="*/ 20 h 458"/>
                <a:gd name="T6" fmla="*/ 545 w 580"/>
                <a:gd name="T7" fmla="*/ 0 h 458"/>
                <a:gd name="T8" fmla="*/ 519 w 580"/>
                <a:gd name="T9" fmla="*/ 16 h 458"/>
                <a:gd name="T10" fmla="*/ 344 w 580"/>
                <a:gd name="T11" fmla="*/ 210 h 458"/>
                <a:gd name="T12" fmla="*/ 334 w 580"/>
                <a:gd name="T13" fmla="*/ 229 h 458"/>
                <a:gd name="T14" fmla="*/ 344 w 580"/>
                <a:gd name="T15" fmla="*/ 248 h 458"/>
                <a:gd name="T16" fmla="*/ 519 w 580"/>
                <a:gd name="T17" fmla="*/ 442 h 458"/>
                <a:gd name="T18" fmla="*/ 545 w 580"/>
                <a:gd name="T19" fmla="*/ 458 h 458"/>
                <a:gd name="T20" fmla="*/ 580 w 580"/>
                <a:gd name="T21" fmla="*/ 438 h 458"/>
                <a:gd name="T22" fmla="*/ 570 w 580"/>
                <a:gd name="T23" fmla="*/ 421 h 458"/>
                <a:gd name="T24" fmla="*/ 411 w 580"/>
                <a:gd name="T25" fmla="*/ 245 h 458"/>
                <a:gd name="T26" fmla="*/ 399 w 580"/>
                <a:gd name="T27" fmla="*/ 229 h 458"/>
                <a:gd name="T28" fmla="*/ 411 w 580"/>
                <a:gd name="T29" fmla="*/ 213 h 458"/>
                <a:gd name="T30" fmla="*/ 252 w 580"/>
                <a:gd name="T31" fmla="*/ 439 h 458"/>
                <a:gd name="T32" fmla="*/ 281 w 580"/>
                <a:gd name="T33" fmla="*/ 454 h 458"/>
                <a:gd name="T34" fmla="*/ 309 w 580"/>
                <a:gd name="T35" fmla="*/ 439 h 458"/>
                <a:gd name="T36" fmla="*/ 309 w 580"/>
                <a:gd name="T37" fmla="*/ 19 h 458"/>
                <a:gd name="T38" fmla="*/ 281 w 580"/>
                <a:gd name="T39" fmla="*/ 4 h 458"/>
                <a:gd name="T40" fmla="*/ 252 w 580"/>
                <a:gd name="T41" fmla="*/ 19 h 458"/>
                <a:gd name="T42" fmla="*/ 252 w 580"/>
                <a:gd name="T43" fmla="*/ 439 h 458"/>
                <a:gd name="T44" fmla="*/ 0 w 580"/>
                <a:gd name="T45" fmla="*/ 439 h 458"/>
                <a:gd name="T46" fmla="*/ 28 w 580"/>
                <a:gd name="T47" fmla="*/ 454 h 458"/>
                <a:gd name="T48" fmla="*/ 56 w 580"/>
                <a:gd name="T49" fmla="*/ 439 h 458"/>
                <a:gd name="T50" fmla="*/ 56 w 580"/>
                <a:gd name="T51" fmla="*/ 157 h 458"/>
                <a:gd name="T52" fmla="*/ 165 w 580"/>
                <a:gd name="T53" fmla="*/ 53 h 458"/>
                <a:gd name="T54" fmla="*/ 180 w 580"/>
                <a:gd name="T55" fmla="*/ 53 h 458"/>
                <a:gd name="T56" fmla="*/ 196 w 580"/>
                <a:gd name="T57" fmla="*/ 27 h 458"/>
                <a:gd name="T58" fmla="*/ 154 w 580"/>
                <a:gd name="T59" fmla="*/ 4 h 458"/>
                <a:gd name="T60" fmla="*/ 0 w 580"/>
                <a:gd name="T61" fmla="*/ 152 h 458"/>
                <a:gd name="T62" fmla="*/ 0 w 580"/>
                <a:gd name="T63" fmla="*/ 439 h 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80" h="458">
                  <a:moveTo>
                    <a:pt x="411" y="213"/>
                  </a:moveTo>
                  <a:cubicBezTo>
                    <a:pt x="570" y="37"/>
                    <a:pt x="570" y="37"/>
                    <a:pt x="570" y="37"/>
                  </a:cubicBezTo>
                  <a:cubicBezTo>
                    <a:pt x="576" y="30"/>
                    <a:pt x="580" y="25"/>
                    <a:pt x="580" y="20"/>
                  </a:cubicBezTo>
                  <a:cubicBezTo>
                    <a:pt x="580" y="10"/>
                    <a:pt x="559" y="0"/>
                    <a:pt x="545" y="0"/>
                  </a:cubicBezTo>
                  <a:cubicBezTo>
                    <a:pt x="535" y="0"/>
                    <a:pt x="526" y="8"/>
                    <a:pt x="519" y="16"/>
                  </a:cubicBezTo>
                  <a:cubicBezTo>
                    <a:pt x="344" y="210"/>
                    <a:pt x="344" y="210"/>
                    <a:pt x="344" y="210"/>
                  </a:cubicBezTo>
                  <a:cubicBezTo>
                    <a:pt x="336" y="219"/>
                    <a:pt x="334" y="224"/>
                    <a:pt x="334" y="229"/>
                  </a:cubicBezTo>
                  <a:cubicBezTo>
                    <a:pt x="334" y="234"/>
                    <a:pt x="336" y="239"/>
                    <a:pt x="344" y="248"/>
                  </a:cubicBezTo>
                  <a:cubicBezTo>
                    <a:pt x="519" y="442"/>
                    <a:pt x="519" y="442"/>
                    <a:pt x="519" y="442"/>
                  </a:cubicBezTo>
                  <a:cubicBezTo>
                    <a:pt x="526" y="450"/>
                    <a:pt x="535" y="458"/>
                    <a:pt x="545" y="458"/>
                  </a:cubicBezTo>
                  <a:cubicBezTo>
                    <a:pt x="559" y="458"/>
                    <a:pt x="580" y="448"/>
                    <a:pt x="580" y="438"/>
                  </a:cubicBezTo>
                  <a:cubicBezTo>
                    <a:pt x="580" y="433"/>
                    <a:pt x="576" y="428"/>
                    <a:pt x="570" y="421"/>
                  </a:cubicBezTo>
                  <a:cubicBezTo>
                    <a:pt x="411" y="245"/>
                    <a:pt x="411" y="245"/>
                    <a:pt x="411" y="245"/>
                  </a:cubicBezTo>
                  <a:cubicBezTo>
                    <a:pt x="403" y="236"/>
                    <a:pt x="399" y="232"/>
                    <a:pt x="399" y="229"/>
                  </a:cubicBezTo>
                  <a:cubicBezTo>
                    <a:pt x="399" y="226"/>
                    <a:pt x="403" y="222"/>
                    <a:pt x="411" y="213"/>
                  </a:cubicBezTo>
                  <a:moveTo>
                    <a:pt x="252" y="439"/>
                  </a:moveTo>
                  <a:cubicBezTo>
                    <a:pt x="252" y="449"/>
                    <a:pt x="261" y="454"/>
                    <a:pt x="281" y="454"/>
                  </a:cubicBezTo>
                  <a:cubicBezTo>
                    <a:pt x="300" y="454"/>
                    <a:pt x="309" y="449"/>
                    <a:pt x="309" y="439"/>
                  </a:cubicBezTo>
                  <a:cubicBezTo>
                    <a:pt x="309" y="19"/>
                    <a:pt x="309" y="19"/>
                    <a:pt x="309" y="19"/>
                  </a:cubicBezTo>
                  <a:cubicBezTo>
                    <a:pt x="309" y="9"/>
                    <a:pt x="300" y="4"/>
                    <a:pt x="281" y="4"/>
                  </a:cubicBezTo>
                  <a:cubicBezTo>
                    <a:pt x="261" y="4"/>
                    <a:pt x="252" y="9"/>
                    <a:pt x="252" y="19"/>
                  </a:cubicBezTo>
                  <a:lnTo>
                    <a:pt x="252" y="439"/>
                  </a:lnTo>
                  <a:close/>
                  <a:moveTo>
                    <a:pt x="0" y="439"/>
                  </a:moveTo>
                  <a:cubicBezTo>
                    <a:pt x="0" y="449"/>
                    <a:pt x="8" y="454"/>
                    <a:pt x="28" y="454"/>
                  </a:cubicBezTo>
                  <a:cubicBezTo>
                    <a:pt x="48" y="454"/>
                    <a:pt x="56" y="449"/>
                    <a:pt x="56" y="439"/>
                  </a:cubicBezTo>
                  <a:cubicBezTo>
                    <a:pt x="56" y="157"/>
                    <a:pt x="56" y="157"/>
                    <a:pt x="56" y="157"/>
                  </a:cubicBezTo>
                  <a:cubicBezTo>
                    <a:pt x="56" y="83"/>
                    <a:pt x="85" y="53"/>
                    <a:pt x="165" y="53"/>
                  </a:cubicBezTo>
                  <a:cubicBezTo>
                    <a:pt x="180" y="53"/>
                    <a:pt x="180" y="53"/>
                    <a:pt x="180" y="53"/>
                  </a:cubicBezTo>
                  <a:cubicBezTo>
                    <a:pt x="192" y="53"/>
                    <a:pt x="196" y="43"/>
                    <a:pt x="196" y="27"/>
                  </a:cubicBezTo>
                  <a:cubicBezTo>
                    <a:pt x="196" y="8"/>
                    <a:pt x="185" y="4"/>
                    <a:pt x="154" y="4"/>
                  </a:cubicBezTo>
                  <a:cubicBezTo>
                    <a:pt x="64" y="4"/>
                    <a:pt x="0" y="43"/>
                    <a:pt x="0" y="152"/>
                  </a:cubicBezTo>
                  <a:lnTo>
                    <a:pt x="0" y="43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17" name="Freeform 10">
              <a:extLst>
                <a:ext uri="{FF2B5EF4-FFF2-40B4-BE49-F238E27FC236}">
                  <a16:creationId xmlns:a16="http://schemas.microsoft.com/office/drawing/2014/main" id="{2B91B16B-BC11-E547-8FAC-B9B8D18EA449}"/>
                </a:ext>
              </a:extLst>
            </p:cNvPr>
            <p:cNvSpPr>
              <a:spLocks/>
            </p:cNvSpPr>
            <p:nvPr/>
          </p:nvSpPr>
          <p:spPr bwMode="gray">
            <a:xfrm>
              <a:off x="2880" y="1704"/>
              <a:ext cx="618" cy="916"/>
            </a:xfrm>
            <a:custGeom>
              <a:avLst/>
              <a:gdLst>
                <a:gd name="T0" fmla="*/ 307 w 307"/>
                <a:gd name="T1" fmla="*/ 405 h 455"/>
                <a:gd name="T2" fmla="*/ 307 w 307"/>
                <a:gd name="T3" fmla="*/ 244 h 455"/>
                <a:gd name="T4" fmla="*/ 279 w 307"/>
                <a:gd name="T5" fmla="*/ 229 h 455"/>
                <a:gd name="T6" fmla="*/ 250 w 307"/>
                <a:gd name="T7" fmla="*/ 244 h 455"/>
                <a:gd name="T8" fmla="*/ 250 w 307"/>
                <a:gd name="T9" fmla="*/ 378 h 455"/>
                <a:gd name="T10" fmla="*/ 199 w 307"/>
                <a:gd name="T11" fmla="*/ 408 h 455"/>
                <a:gd name="T12" fmla="*/ 61 w 307"/>
                <a:gd name="T13" fmla="*/ 231 h 455"/>
                <a:gd name="T14" fmla="*/ 238 w 307"/>
                <a:gd name="T15" fmla="*/ 49 h 455"/>
                <a:gd name="T16" fmla="*/ 270 w 307"/>
                <a:gd name="T17" fmla="*/ 49 h 455"/>
                <a:gd name="T18" fmla="*/ 286 w 307"/>
                <a:gd name="T19" fmla="*/ 23 h 455"/>
                <a:gd name="T20" fmla="*/ 244 w 307"/>
                <a:gd name="T21" fmla="*/ 0 h 455"/>
                <a:gd name="T22" fmla="*/ 231 w 307"/>
                <a:gd name="T23" fmla="*/ 0 h 455"/>
                <a:gd name="T24" fmla="*/ 0 w 307"/>
                <a:gd name="T25" fmla="*/ 232 h 455"/>
                <a:gd name="T26" fmla="*/ 198 w 307"/>
                <a:gd name="T27" fmla="*/ 455 h 455"/>
                <a:gd name="T28" fmla="*/ 307 w 307"/>
                <a:gd name="T29" fmla="*/ 405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7" h="455">
                  <a:moveTo>
                    <a:pt x="307" y="405"/>
                  </a:moveTo>
                  <a:cubicBezTo>
                    <a:pt x="307" y="244"/>
                    <a:pt x="307" y="244"/>
                    <a:pt x="307" y="244"/>
                  </a:cubicBezTo>
                  <a:cubicBezTo>
                    <a:pt x="307" y="234"/>
                    <a:pt x="298" y="229"/>
                    <a:pt x="279" y="229"/>
                  </a:cubicBezTo>
                  <a:cubicBezTo>
                    <a:pt x="259" y="229"/>
                    <a:pt x="250" y="234"/>
                    <a:pt x="250" y="244"/>
                  </a:cubicBezTo>
                  <a:cubicBezTo>
                    <a:pt x="250" y="378"/>
                    <a:pt x="250" y="378"/>
                    <a:pt x="250" y="378"/>
                  </a:cubicBezTo>
                  <a:cubicBezTo>
                    <a:pt x="250" y="399"/>
                    <a:pt x="241" y="408"/>
                    <a:pt x="199" y="408"/>
                  </a:cubicBezTo>
                  <a:cubicBezTo>
                    <a:pt x="114" y="408"/>
                    <a:pt x="61" y="342"/>
                    <a:pt x="61" y="231"/>
                  </a:cubicBezTo>
                  <a:cubicBezTo>
                    <a:pt x="61" y="115"/>
                    <a:pt x="126" y="49"/>
                    <a:pt x="238" y="49"/>
                  </a:cubicBezTo>
                  <a:cubicBezTo>
                    <a:pt x="270" y="49"/>
                    <a:pt x="270" y="49"/>
                    <a:pt x="270" y="49"/>
                  </a:cubicBezTo>
                  <a:cubicBezTo>
                    <a:pt x="282" y="49"/>
                    <a:pt x="286" y="39"/>
                    <a:pt x="286" y="23"/>
                  </a:cubicBezTo>
                  <a:cubicBezTo>
                    <a:pt x="286" y="4"/>
                    <a:pt x="275" y="0"/>
                    <a:pt x="244" y="0"/>
                  </a:cubicBezTo>
                  <a:cubicBezTo>
                    <a:pt x="231" y="0"/>
                    <a:pt x="231" y="0"/>
                    <a:pt x="231" y="0"/>
                  </a:cubicBezTo>
                  <a:cubicBezTo>
                    <a:pt x="101" y="0"/>
                    <a:pt x="0" y="71"/>
                    <a:pt x="0" y="232"/>
                  </a:cubicBezTo>
                  <a:cubicBezTo>
                    <a:pt x="0" y="386"/>
                    <a:pt x="88" y="455"/>
                    <a:pt x="198" y="455"/>
                  </a:cubicBezTo>
                  <a:cubicBezTo>
                    <a:pt x="286" y="455"/>
                    <a:pt x="307" y="430"/>
                    <a:pt x="307" y="40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18" name="Oval 11">
              <a:extLst>
                <a:ext uri="{FF2B5EF4-FFF2-40B4-BE49-F238E27FC236}">
                  <a16:creationId xmlns:a16="http://schemas.microsoft.com/office/drawing/2014/main" id="{14F8C3C8-4888-7646-B9B4-64EB46A1DA23}"/>
                </a:ext>
              </a:extLst>
            </p:cNvPr>
            <p:cNvSpPr>
              <a:spLocks noChangeArrowheads="1"/>
            </p:cNvSpPr>
            <p:nvPr/>
          </p:nvSpPr>
          <p:spPr bwMode="gray">
            <a:xfrm>
              <a:off x="3778" y="2099"/>
              <a:ext cx="122" cy="12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19" name="Freeform 12">
              <a:extLst>
                <a:ext uri="{FF2B5EF4-FFF2-40B4-BE49-F238E27FC236}">
                  <a16:creationId xmlns:a16="http://schemas.microsoft.com/office/drawing/2014/main" id="{D79D01D1-4E3E-F34B-97D7-2D387E68746E}"/>
                </a:ext>
              </a:extLst>
            </p:cNvPr>
            <p:cNvSpPr>
              <a:spLocks/>
            </p:cNvSpPr>
            <p:nvPr/>
          </p:nvSpPr>
          <p:spPr bwMode="gray">
            <a:xfrm>
              <a:off x="4321" y="1029"/>
              <a:ext cx="648" cy="649"/>
            </a:xfrm>
            <a:custGeom>
              <a:avLst/>
              <a:gdLst>
                <a:gd name="T0" fmla="*/ 0 w 648"/>
                <a:gd name="T1" fmla="*/ 649 h 649"/>
                <a:gd name="T2" fmla="*/ 2 w 648"/>
                <a:gd name="T3" fmla="*/ 649 h 649"/>
                <a:gd name="T4" fmla="*/ 648 w 648"/>
                <a:gd name="T5" fmla="*/ 0 h 649"/>
                <a:gd name="T6" fmla="*/ 423 w 648"/>
                <a:gd name="T7" fmla="*/ 0 h 649"/>
                <a:gd name="T8" fmla="*/ 0 w 648"/>
                <a:gd name="T9" fmla="*/ 649 h 649"/>
              </a:gdLst>
              <a:ahLst/>
              <a:cxnLst>
                <a:cxn ang="0">
                  <a:pos x="T0" y="T1"/>
                </a:cxn>
                <a:cxn ang="0">
                  <a:pos x="T2" y="T3"/>
                </a:cxn>
                <a:cxn ang="0">
                  <a:pos x="T4" y="T5"/>
                </a:cxn>
                <a:cxn ang="0">
                  <a:pos x="T6" y="T7"/>
                </a:cxn>
                <a:cxn ang="0">
                  <a:pos x="T8" y="T9"/>
                </a:cxn>
              </a:cxnLst>
              <a:rect l="0" t="0" r="r" b="b"/>
              <a:pathLst>
                <a:path w="648" h="649">
                  <a:moveTo>
                    <a:pt x="0" y="649"/>
                  </a:moveTo>
                  <a:lnTo>
                    <a:pt x="2" y="649"/>
                  </a:lnTo>
                  <a:lnTo>
                    <a:pt x="648" y="0"/>
                  </a:lnTo>
                  <a:lnTo>
                    <a:pt x="423" y="0"/>
                  </a:lnTo>
                  <a:lnTo>
                    <a:pt x="0" y="64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20" name="Freeform 13">
              <a:extLst>
                <a:ext uri="{FF2B5EF4-FFF2-40B4-BE49-F238E27FC236}">
                  <a16:creationId xmlns:a16="http://schemas.microsoft.com/office/drawing/2014/main" id="{46549898-6C52-B147-A8F6-A73FDBE6163B}"/>
                </a:ext>
              </a:extLst>
            </p:cNvPr>
            <p:cNvSpPr>
              <a:spLocks/>
            </p:cNvSpPr>
            <p:nvPr/>
          </p:nvSpPr>
          <p:spPr bwMode="gray">
            <a:xfrm>
              <a:off x="4321" y="1029"/>
              <a:ext cx="648" cy="649"/>
            </a:xfrm>
            <a:custGeom>
              <a:avLst/>
              <a:gdLst>
                <a:gd name="T0" fmla="*/ 0 w 648"/>
                <a:gd name="T1" fmla="*/ 649 h 649"/>
                <a:gd name="T2" fmla="*/ 2 w 648"/>
                <a:gd name="T3" fmla="*/ 649 h 649"/>
                <a:gd name="T4" fmla="*/ 648 w 648"/>
                <a:gd name="T5" fmla="*/ 0 h 649"/>
                <a:gd name="T6" fmla="*/ 423 w 648"/>
                <a:gd name="T7" fmla="*/ 0 h 649"/>
                <a:gd name="T8" fmla="*/ 0 w 648"/>
                <a:gd name="T9" fmla="*/ 649 h 649"/>
              </a:gdLst>
              <a:ahLst/>
              <a:cxnLst>
                <a:cxn ang="0">
                  <a:pos x="T0" y="T1"/>
                </a:cxn>
                <a:cxn ang="0">
                  <a:pos x="T2" y="T3"/>
                </a:cxn>
                <a:cxn ang="0">
                  <a:pos x="T4" y="T5"/>
                </a:cxn>
                <a:cxn ang="0">
                  <a:pos x="T6" y="T7"/>
                </a:cxn>
                <a:cxn ang="0">
                  <a:pos x="T8" y="T9"/>
                </a:cxn>
              </a:cxnLst>
              <a:rect l="0" t="0" r="r" b="b"/>
              <a:pathLst>
                <a:path w="648" h="649">
                  <a:moveTo>
                    <a:pt x="0" y="649"/>
                  </a:moveTo>
                  <a:lnTo>
                    <a:pt x="2" y="649"/>
                  </a:lnTo>
                  <a:lnTo>
                    <a:pt x="648" y="0"/>
                  </a:lnTo>
                  <a:lnTo>
                    <a:pt x="423" y="0"/>
                  </a:lnTo>
                  <a:lnTo>
                    <a:pt x="0" y="64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grpSp>
    </p:spTree>
    <p:extLst>
      <p:ext uri="{BB962C8B-B14F-4D97-AF65-F5344CB8AC3E}">
        <p14:creationId xmlns:p14="http://schemas.microsoft.com/office/powerpoint/2010/main" val="1618384952"/>
      </p:ext>
    </p:extLst>
  </p:cSld>
  <p:clrMapOvr>
    <a:masterClrMapping/>
  </p:clrMapOvr>
</p:sldLayout>
</file>

<file path=ppt/slideLayouts/slideLayout477.xml><?xml version="1.0" encoding="utf-8"?>
<p:sldLayout xmlns:a="http://schemas.openxmlformats.org/drawingml/2006/main" xmlns:r="http://schemas.openxmlformats.org/officeDocument/2006/relationships" xmlns:p="http://schemas.openxmlformats.org/presentationml/2006/main" preserve="1">
  <p:cSld name="Headline only">
    <p:spTree>
      <p:nvGrpSpPr>
        <p:cNvPr id="1" name=""/>
        <p:cNvGrpSpPr/>
        <p:nvPr/>
      </p:nvGrpSpPr>
      <p:grpSpPr>
        <a:xfrm>
          <a:off x="0" y="0"/>
          <a:ext cx="0" cy="0"/>
          <a:chOff x="0" y="0"/>
          <a:chExt cx="0" cy="0"/>
        </a:xfrm>
      </p:grpSpPr>
      <p:sp>
        <p:nvSpPr>
          <p:cNvPr id="21" name="Date Placeholder 20"/>
          <p:cNvSpPr>
            <a:spLocks noGrp="1"/>
          </p:cNvSpPr>
          <p:nvPr>
            <p:ph type="dt" sz="half" idx="14"/>
          </p:nvPr>
        </p:nvSpPr>
        <p:spPr/>
        <p:txBody>
          <a:bodyPr/>
          <a:lstStyle/>
          <a:p>
            <a:fld id="{7DCAAD07-09FD-49C1-9253-3DC58F499B21}" type="datetime5">
              <a:rPr lang="en-US" smtClean="0"/>
              <a:t>26-Jun-20</a:t>
            </a:fld>
            <a:endParaRPr lang="en-US"/>
          </a:p>
        </p:txBody>
      </p:sp>
      <p:sp>
        <p:nvSpPr>
          <p:cNvPr id="22" name="Footer Placeholder 21"/>
          <p:cNvSpPr>
            <a:spLocks noGrp="1"/>
          </p:cNvSpPr>
          <p:nvPr>
            <p:ph type="ftr" sz="quarter" idx="15"/>
          </p:nvPr>
        </p:nvSpPr>
        <p:spPr/>
        <p:txBody>
          <a:bodyPr/>
          <a:lstStyle/>
          <a:p>
            <a:r>
              <a:rPr lang="en-US"/>
              <a:t>Title of presentation (Insert / Header &amp; Footer / Apply to All)</a:t>
            </a:r>
          </a:p>
        </p:txBody>
      </p:sp>
      <p:sp>
        <p:nvSpPr>
          <p:cNvPr id="23" name="Slide Number Placeholder 22"/>
          <p:cNvSpPr>
            <a:spLocks noGrp="1"/>
          </p:cNvSpPr>
          <p:nvPr>
            <p:ph type="sldNum" sz="quarter" idx="16"/>
          </p:nvPr>
        </p:nvSpPr>
        <p:spPr/>
        <p:txBody>
          <a:bodyPr/>
          <a:lstStyle/>
          <a:p>
            <a:fld id="{5F3E29E4-0979-4FCA-B4C5-5FC6044C982A}" type="slidenum">
              <a:rPr lang="en-US" smtClean="0"/>
              <a:t>‹#›</a:t>
            </a:fld>
            <a:endParaRPr lang="en-US"/>
          </a:p>
        </p:txBody>
      </p:sp>
      <p:sp>
        <p:nvSpPr>
          <p:cNvPr id="2" name="Title 1"/>
          <p:cNvSpPr>
            <a:spLocks noGrp="1"/>
          </p:cNvSpPr>
          <p:nvPr>
            <p:ph type="title" hasCustomPrompt="1"/>
          </p:nvPr>
        </p:nvSpPr>
        <p:spPr/>
        <p:txBody>
          <a:bodyPr/>
          <a:lstStyle>
            <a:lvl1pPr>
              <a:defRPr/>
            </a:lvl1pPr>
          </a:lstStyle>
          <a:p>
            <a:r>
              <a:rPr lang="en-US"/>
              <a:t>Click to add slide title</a:t>
            </a:r>
          </a:p>
        </p:txBody>
      </p:sp>
      <p:sp>
        <p:nvSpPr>
          <p:cNvPr id="7" name="Subtitle 2"/>
          <p:cNvSpPr>
            <a:spLocks noGrp="1"/>
          </p:cNvSpPr>
          <p:nvPr>
            <p:ph type="subTitle" idx="13" hasCustomPrompt="1"/>
          </p:nvPr>
        </p:nvSpPr>
        <p:spPr>
          <a:xfrm>
            <a:off x="1075061" y="964671"/>
            <a:ext cx="7910158" cy="490042"/>
          </a:xfrm>
        </p:spPr>
        <p:txBody>
          <a:bodyPr wrap="none"/>
          <a:lstStyle>
            <a:lvl1pPr marL="0" indent="0" algn="l">
              <a:spcBef>
                <a:spcPts val="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sp>
        <p:nvSpPr>
          <p:cNvPr id="9" name="Text Placeholder 4"/>
          <p:cNvSpPr>
            <a:spLocks noGrp="1"/>
          </p:cNvSpPr>
          <p:nvPr>
            <p:ph type="body" sz="quarter" idx="17" hasCustomPrompt="1"/>
          </p:nvPr>
        </p:nvSpPr>
        <p:spPr>
          <a:xfrm>
            <a:off x="1075063" y="6307665"/>
            <a:ext cx="8162717" cy="133200"/>
          </a:xfrm>
        </p:spPr>
        <p:txBody>
          <a:bodyPr lIns="0" tIns="0" rIns="0" bIns="0" anchor="b" anchorCtr="0"/>
          <a:lstStyle>
            <a:lvl1pPr marL="0" indent="0" algn="l">
              <a:lnSpc>
                <a:spcPct val="100000"/>
              </a:lnSpc>
              <a:spcBef>
                <a:spcPts val="0"/>
              </a:spcBef>
              <a:buNone/>
              <a:defRPr sz="800" baseline="0"/>
            </a:lvl1pPr>
            <a:lvl2pPr marL="0" indent="0" algn="l">
              <a:lnSpc>
                <a:spcPct val="100000"/>
              </a:lnSpc>
              <a:spcBef>
                <a:spcPts val="0"/>
              </a:spcBef>
              <a:buNone/>
              <a:defRPr sz="800"/>
            </a:lvl2pPr>
            <a:lvl3pPr marL="0" indent="0" algn="l">
              <a:lnSpc>
                <a:spcPct val="100000"/>
              </a:lnSpc>
              <a:spcBef>
                <a:spcPts val="0"/>
              </a:spcBef>
              <a:buNone/>
              <a:defRPr sz="800"/>
            </a:lvl3pPr>
            <a:lvl4pPr marL="0" algn="l">
              <a:lnSpc>
                <a:spcPct val="100000"/>
              </a:lnSpc>
              <a:spcBef>
                <a:spcPts val="0"/>
              </a:spcBef>
              <a:buNone/>
              <a:defRPr sz="800"/>
            </a:lvl4pPr>
            <a:lvl5pPr marL="0" indent="0" algn="l">
              <a:lnSpc>
                <a:spcPct val="100000"/>
              </a:lnSpc>
              <a:spcBef>
                <a:spcPts val="0"/>
              </a:spcBef>
              <a:buNone/>
              <a:defRPr sz="800"/>
            </a:lvl5pPr>
          </a:lstStyle>
          <a:p>
            <a:pPr lvl="0"/>
            <a:r>
              <a:rPr lang="en-US"/>
              <a:t>Source line</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99750014"/>
      </p:ext>
    </p:extLst>
  </p:cSld>
  <p:clrMapOvr>
    <a:masterClrMapping/>
  </p:clrMapOvr>
</p:sldLayout>
</file>

<file path=ppt/slideLayouts/slideLayout478.xml><?xml version="1.0" encoding="utf-8"?>
<p:sldLayout xmlns:a="http://schemas.openxmlformats.org/drawingml/2006/main" xmlns:r="http://schemas.openxmlformats.org/officeDocument/2006/relationships" xmlns:p="http://schemas.openxmlformats.org/presentationml/2006/main" preserve="1">
  <p:cSld name="One content">
    <p:spTree>
      <p:nvGrpSpPr>
        <p:cNvPr id="1" name=""/>
        <p:cNvGrpSpPr/>
        <p:nvPr/>
      </p:nvGrpSpPr>
      <p:grpSpPr>
        <a:xfrm>
          <a:off x="0" y="0"/>
          <a:ext cx="0" cy="0"/>
          <a:chOff x="0" y="0"/>
          <a:chExt cx="0" cy="0"/>
        </a:xfrm>
      </p:grpSpPr>
      <p:sp>
        <p:nvSpPr>
          <p:cNvPr id="21" name="Date Placeholder 20"/>
          <p:cNvSpPr>
            <a:spLocks noGrp="1"/>
          </p:cNvSpPr>
          <p:nvPr>
            <p:ph type="dt" sz="half" idx="14"/>
          </p:nvPr>
        </p:nvSpPr>
        <p:spPr/>
        <p:txBody>
          <a:bodyPr/>
          <a:lstStyle/>
          <a:p>
            <a:fld id="{4CC19292-71B2-4BF0-8023-C669B9188137}" type="datetime5">
              <a:rPr lang="en-US" smtClean="0"/>
              <a:t>26-Jun-20</a:t>
            </a:fld>
            <a:endParaRPr lang="en-US"/>
          </a:p>
        </p:txBody>
      </p:sp>
      <p:sp>
        <p:nvSpPr>
          <p:cNvPr id="22" name="Footer Placeholder 21"/>
          <p:cNvSpPr>
            <a:spLocks noGrp="1"/>
          </p:cNvSpPr>
          <p:nvPr>
            <p:ph type="ftr" sz="quarter" idx="15"/>
          </p:nvPr>
        </p:nvSpPr>
        <p:spPr/>
        <p:txBody>
          <a:bodyPr/>
          <a:lstStyle/>
          <a:p>
            <a:r>
              <a:rPr lang="en-US"/>
              <a:t>Title of presentation (Insert / Header &amp; Footer / Apply to All)</a:t>
            </a:r>
          </a:p>
        </p:txBody>
      </p:sp>
      <p:sp>
        <p:nvSpPr>
          <p:cNvPr id="23" name="Slide Number Placeholder 22"/>
          <p:cNvSpPr>
            <a:spLocks noGrp="1"/>
          </p:cNvSpPr>
          <p:nvPr>
            <p:ph type="sldNum" sz="quarter" idx="16"/>
          </p:nvPr>
        </p:nvSpPr>
        <p:spPr/>
        <p:txBody>
          <a:bodyPr/>
          <a:lstStyle/>
          <a:p>
            <a:fld id="{5F3E29E4-0979-4FCA-B4C5-5FC6044C982A}" type="slidenum">
              <a:rPr lang="en-US" smtClean="0"/>
              <a:t>‹#›</a:t>
            </a:fld>
            <a:endParaRPr lang="en-US"/>
          </a:p>
        </p:txBody>
      </p:sp>
      <p:sp>
        <p:nvSpPr>
          <p:cNvPr id="2" name="Title 1"/>
          <p:cNvSpPr>
            <a:spLocks noGrp="1"/>
          </p:cNvSpPr>
          <p:nvPr>
            <p:ph type="title" hasCustomPrompt="1"/>
          </p:nvPr>
        </p:nvSpPr>
        <p:spPr/>
        <p:txBody>
          <a:bodyPr/>
          <a:lstStyle>
            <a:lvl1pPr>
              <a:defRPr/>
            </a:lvl1pPr>
          </a:lstStyle>
          <a:p>
            <a:r>
              <a:rPr lang="en-US"/>
              <a:t>Click to add slide title</a:t>
            </a:r>
          </a:p>
        </p:txBody>
      </p:sp>
      <p:sp>
        <p:nvSpPr>
          <p:cNvPr id="7" name="Subtitle 2"/>
          <p:cNvSpPr>
            <a:spLocks noGrp="1"/>
          </p:cNvSpPr>
          <p:nvPr>
            <p:ph type="subTitle" idx="13" hasCustomPrompt="1"/>
          </p:nvPr>
        </p:nvSpPr>
        <p:spPr>
          <a:xfrm>
            <a:off x="1075061" y="964671"/>
            <a:ext cx="7910158" cy="490042"/>
          </a:xfrm>
        </p:spPr>
        <p:txBody>
          <a:bodyPr wrap="none"/>
          <a:lstStyle>
            <a:lvl1pPr marL="0" indent="0" algn="l">
              <a:spcBef>
                <a:spcPts val="0"/>
              </a:spcBef>
              <a:buNone/>
              <a:defRPr sz="2400" baseline="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sp>
        <p:nvSpPr>
          <p:cNvPr id="3" name="Content Placeholder 2"/>
          <p:cNvSpPr>
            <a:spLocks noGrp="1"/>
          </p:cNvSpPr>
          <p:nvPr>
            <p:ph idx="1" hasCustomPrompt="1"/>
          </p:nvPr>
        </p:nvSpPr>
        <p:spPr/>
        <p:txBody>
          <a:bodyPr/>
          <a:lstStyle>
            <a:lvl1pPr>
              <a:defRPr baseline="0"/>
            </a:lvl1pPr>
          </a:lstStyle>
          <a:p>
            <a:pPr lvl="0"/>
            <a:r>
              <a:rPr lang="en-US"/>
              <a:t>Click to add text or content</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17" hasCustomPrompt="1"/>
          </p:nvPr>
        </p:nvSpPr>
        <p:spPr>
          <a:xfrm>
            <a:off x="1075063" y="6307665"/>
            <a:ext cx="8162717" cy="133200"/>
          </a:xfrm>
        </p:spPr>
        <p:txBody>
          <a:bodyPr lIns="0" tIns="0" rIns="0" bIns="0" anchor="b" anchorCtr="0"/>
          <a:lstStyle>
            <a:lvl1pPr marL="0" indent="0" algn="l">
              <a:lnSpc>
                <a:spcPct val="100000"/>
              </a:lnSpc>
              <a:spcBef>
                <a:spcPts val="0"/>
              </a:spcBef>
              <a:buNone/>
              <a:defRPr sz="800" baseline="0"/>
            </a:lvl1pPr>
            <a:lvl2pPr marL="0" indent="0" algn="l">
              <a:lnSpc>
                <a:spcPct val="100000"/>
              </a:lnSpc>
              <a:spcBef>
                <a:spcPts val="0"/>
              </a:spcBef>
              <a:buNone/>
              <a:defRPr sz="800"/>
            </a:lvl2pPr>
            <a:lvl3pPr marL="0" indent="0" algn="l">
              <a:lnSpc>
                <a:spcPct val="100000"/>
              </a:lnSpc>
              <a:spcBef>
                <a:spcPts val="0"/>
              </a:spcBef>
              <a:buNone/>
              <a:defRPr sz="800"/>
            </a:lvl3pPr>
            <a:lvl4pPr marL="0" algn="l">
              <a:lnSpc>
                <a:spcPct val="100000"/>
              </a:lnSpc>
              <a:spcBef>
                <a:spcPts val="0"/>
              </a:spcBef>
              <a:buNone/>
              <a:defRPr sz="800"/>
            </a:lvl4pPr>
            <a:lvl5pPr marL="0" indent="0" algn="l">
              <a:lnSpc>
                <a:spcPct val="100000"/>
              </a:lnSpc>
              <a:spcBef>
                <a:spcPts val="0"/>
              </a:spcBef>
              <a:buNone/>
              <a:defRPr sz="800"/>
            </a:lvl5pPr>
          </a:lstStyle>
          <a:p>
            <a:pPr lvl="0"/>
            <a:r>
              <a:rPr lang="en-US"/>
              <a:t>Source line</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79826115"/>
      </p:ext>
    </p:extLst>
  </p:cSld>
  <p:clrMapOvr>
    <a:masterClrMapping/>
  </p:clrMapOvr>
</p:sldLayout>
</file>

<file path=ppt/slideLayouts/slideLayout479.xml><?xml version="1.0" encoding="utf-8"?>
<p:sldLayout xmlns:a="http://schemas.openxmlformats.org/drawingml/2006/main" xmlns:r="http://schemas.openxmlformats.org/officeDocument/2006/relationships" xmlns:p="http://schemas.openxmlformats.org/presentationml/2006/main" preserve="1">
  <p:cSld name="Content and picture">
    <p:spTree>
      <p:nvGrpSpPr>
        <p:cNvPr id="1" name=""/>
        <p:cNvGrpSpPr/>
        <p:nvPr/>
      </p:nvGrpSpPr>
      <p:grpSpPr>
        <a:xfrm>
          <a:off x="0" y="0"/>
          <a:ext cx="0" cy="0"/>
          <a:chOff x="0" y="0"/>
          <a:chExt cx="0" cy="0"/>
        </a:xfrm>
      </p:grpSpPr>
      <p:sp>
        <p:nvSpPr>
          <p:cNvPr id="21" name="Date Placeholder 20"/>
          <p:cNvSpPr>
            <a:spLocks noGrp="1"/>
          </p:cNvSpPr>
          <p:nvPr>
            <p:ph type="dt" sz="half" idx="14"/>
          </p:nvPr>
        </p:nvSpPr>
        <p:spPr/>
        <p:txBody>
          <a:bodyPr/>
          <a:lstStyle/>
          <a:p>
            <a:fld id="{97AF90B7-6970-4C8C-AA59-7302F717A183}" type="datetime5">
              <a:rPr lang="en-US" smtClean="0"/>
              <a:t>26-Jun-20</a:t>
            </a:fld>
            <a:endParaRPr lang="en-US"/>
          </a:p>
        </p:txBody>
      </p:sp>
      <p:sp>
        <p:nvSpPr>
          <p:cNvPr id="22" name="Footer Placeholder 21"/>
          <p:cNvSpPr>
            <a:spLocks noGrp="1"/>
          </p:cNvSpPr>
          <p:nvPr>
            <p:ph type="ftr" sz="quarter" idx="15"/>
          </p:nvPr>
        </p:nvSpPr>
        <p:spPr/>
        <p:txBody>
          <a:bodyPr/>
          <a:lstStyle/>
          <a:p>
            <a:r>
              <a:rPr lang="en-US"/>
              <a:t>Title of presentation (Insert / Header &amp; Footer / Apply to All)</a:t>
            </a:r>
          </a:p>
        </p:txBody>
      </p:sp>
      <p:sp>
        <p:nvSpPr>
          <p:cNvPr id="23" name="Slide Number Placeholder 22"/>
          <p:cNvSpPr>
            <a:spLocks noGrp="1"/>
          </p:cNvSpPr>
          <p:nvPr>
            <p:ph type="sldNum" sz="quarter" idx="16"/>
          </p:nvPr>
        </p:nvSpPr>
        <p:spPr/>
        <p:txBody>
          <a:bodyPr/>
          <a:lstStyle/>
          <a:p>
            <a:fld id="{5F3E29E4-0979-4FCA-B4C5-5FC6044C982A}" type="slidenum">
              <a:rPr lang="en-US" smtClean="0"/>
              <a:t>‹#›</a:t>
            </a:fld>
            <a:endParaRPr lang="en-US"/>
          </a:p>
        </p:txBody>
      </p:sp>
      <p:sp>
        <p:nvSpPr>
          <p:cNvPr id="2" name="Title 1"/>
          <p:cNvSpPr>
            <a:spLocks noGrp="1"/>
          </p:cNvSpPr>
          <p:nvPr>
            <p:ph type="title" hasCustomPrompt="1"/>
          </p:nvPr>
        </p:nvSpPr>
        <p:spPr/>
        <p:txBody>
          <a:bodyPr/>
          <a:lstStyle>
            <a:lvl1pPr>
              <a:defRPr/>
            </a:lvl1pPr>
          </a:lstStyle>
          <a:p>
            <a:r>
              <a:rPr lang="en-US"/>
              <a:t>Click to add slide title</a:t>
            </a:r>
          </a:p>
        </p:txBody>
      </p:sp>
      <p:sp>
        <p:nvSpPr>
          <p:cNvPr id="7" name="Subtitle 2"/>
          <p:cNvSpPr>
            <a:spLocks noGrp="1"/>
          </p:cNvSpPr>
          <p:nvPr>
            <p:ph type="subTitle" idx="13" hasCustomPrompt="1"/>
          </p:nvPr>
        </p:nvSpPr>
        <p:spPr>
          <a:xfrm>
            <a:off x="1075061" y="964671"/>
            <a:ext cx="7910158" cy="490042"/>
          </a:xfrm>
        </p:spPr>
        <p:txBody>
          <a:bodyPr wrap="none"/>
          <a:lstStyle>
            <a:lvl1pPr marL="0" indent="0" algn="l">
              <a:spcBef>
                <a:spcPts val="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sp>
        <p:nvSpPr>
          <p:cNvPr id="3" name="Content Placeholder 2"/>
          <p:cNvSpPr>
            <a:spLocks noGrp="1"/>
          </p:cNvSpPr>
          <p:nvPr>
            <p:ph idx="1" hasCustomPrompt="1"/>
          </p:nvPr>
        </p:nvSpPr>
        <p:spPr>
          <a:xfrm>
            <a:off x="1075062" y="1629618"/>
            <a:ext cx="5220000" cy="4139357"/>
          </a:xfrm>
        </p:spPr>
        <p:txBody>
          <a:bodyPr/>
          <a:lstStyle>
            <a:lvl1pPr>
              <a:defRPr/>
            </a:lvl1pPr>
          </a:lstStyle>
          <a:p>
            <a:pPr lvl="0"/>
            <a:r>
              <a:rPr lang="en-US"/>
              <a:t>Click to add text or content</a:t>
            </a:r>
          </a:p>
          <a:p>
            <a:pPr lvl="1"/>
            <a:r>
              <a:rPr lang="en-US"/>
              <a:t>Second level</a:t>
            </a:r>
          </a:p>
          <a:p>
            <a:pPr lvl="2"/>
            <a:r>
              <a:rPr lang="en-US"/>
              <a:t>Third level</a:t>
            </a:r>
          </a:p>
          <a:p>
            <a:pPr lvl="3"/>
            <a:r>
              <a:rPr lang="en-US"/>
              <a:t>Fourth level</a:t>
            </a:r>
          </a:p>
          <a:p>
            <a:pPr lvl="4"/>
            <a:r>
              <a:rPr lang="en-US"/>
              <a:t>Fifth level</a:t>
            </a:r>
          </a:p>
        </p:txBody>
      </p:sp>
      <p:sp>
        <p:nvSpPr>
          <p:cNvPr id="5" name="Picture Placeholder 4"/>
          <p:cNvSpPr>
            <a:spLocks noGrp="1"/>
          </p:cNvSpPr>
          <p:nvPr>
            <p:ph type="pic" sz="quarter" idx="17" hasCustomPrompt="1"/>
          </p:nvPr>
        </p:nvSpPr>
        <p:spPr>
          <a:xfrm>
            <a:off x="6600525" y="1637783"/>
            <a:ext cx="5220000" cy="4599506"/>
          </a:xfrm>
          <a:solidFill>
            <a:srgbClr val="D9DADB"/>
          </a:solidFill>
        </p:spPr>
        <p:txBody>
          <a:bodyPr/>
          <a:lstStyle>
            <a:lvl1pPr marL="0" indent="0">
              <a:buNone/>
              <a:defRPr/>
            </a:lvl1pPr>
          </a:lstStyle>
          <a:p>
            <a:r>
              <a:rPr lang="en-US"/>
              <a:t>Insert picture</a:t>
            </a:r>
          </a:p>
        </p:txBody>
      </p:sp>
      <p:sp>
        <p:nvSpPr>
          <p:cNvPr id="10" name="Text Placeholder 4"/>
          <p:cNvSpPr>
            <a:spLocks noGrp="1"/>
          </p:cNvSpPr>
          <p:nvPr>
            <p:ph type="body" sz="quarter" idx="18" hasCustomPrompt="1"/>
          </p:nvPr>
        </p:nvSpPr>
        <p:spPr>
          <a:xfrm>
            <a:off x="1075063" y="6307665"/>
            <a:ext cx="8162717" cy="133200"/>
          </a:xfrm>
        </p:spPr>
        <p:txBody>
          <a:bodyPr lIns="0" tIns="0" rIns="0" bIns="0" anchor="b" anchorCtr="0"/>
          <a:lstStyle>
            <a:lvl1pPr marL="0" indent="0" algn="l">
              <a:lnSpc>
                <a:spcPct val="100000"/>
              </a:lnSpc>
              <a:spcBef>
                <a:spcPts val="0"/>
              </a:spcBef>
              <a:buNone/>
              <a:defRPr sz="800" baseline="0"/>
            </a:lvl1pPr>
            <a:lvl2pPr marL="0" indent="0" algn="l">
              <a:lnSpc>
                <a:spcPct val="100000"/>
              </a:lnSpc>
              <a:spcBef>
                <a:spcPts val="0"/>
              </a:spcBef>
              <a:buNone/>
              <a:defRPr sz="800"/>
            </a:lvl2pPr>
            <a:lvl3pPr marL="0" indent="0" algn="l">
              <a:lnSpc>
                <a:spcPct val="100000"/>
              </a:lnSpc>
              <a:spcBef>
                <a:spcPts val="0"/>
              </a:spcBef>
              <a:buNone/>
              <a:defRPr sz="800"/>
            </a:lvl3pPr>
            <a:lvl4pPr marL="0" algn="l">
              <a:lnSpc>
                <a:spcPct val="100000"/>
              </a:lnSpc>
              <a:spcBef>
                <a:spcPts val="0"/>
              </a:spcBef>
              <a:buNone/>
              <a:defRPr sz="800"/>
            </a:lvl4pPr>
            <a:lvl5pPr marL="0" indent="0" algn="l">
              <a:lnSpc>
                <a:spcPct val="100000"/>
              </a:lnSpc>
              <a:spcBef>
                <a:spcPts val="0"/>
              </a:spcBef>
              <a:buNone/>
              <a:defRPr sz="800"/>
            </a:lvl5pPr>
          </a:lstStyle>
          <a:p>
            <a:pPr lvl="0"/>
            <a:r>
              <a:rPr lang="en-US"/>
              <a:t>Source line</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74919666"/>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itle Slide with picture V2">
    <p:spTree>
      <p:nvGrpSpPr>
        <p:cNvPr id="1" name=""/>
        <p:cNvGrpSpPr/>
        <p:nvPr/>
      </p:nvGrpSpPr>
      <p:grpSpPr>
        <a:xfrm>
          <a:off x="0" y="0"/>
          <a:ext cx="0" cy="0"/>
          <a:chOff x="0" y="0"/>
          <a:chExt cx="0" cy="0"/>
        </a:xfrm>
      </p:grpSpPr>
      <p:sp>
        <p:nvSpPr>
          <p:cNvPr id="6" name="Picture Placeholder 5"/>
          <p:cNvSpPr>
            <a:spLocks noGrp="1"/>
          </p:cNvSpPr>
          <p:nvPr>
            <p:ph type="pic" sz="quarter" idx="11" hasCustomPrompt="1"/>
          </p:nvPr>
        </p:nvSpPr>
        <p:spPr bwMode="gray">
          <a:xfrm>
            <a:off x="431214" y="3429000"/>
            <a:ext cx="11329573" cy="2880400"/>
          </a:xfrm>
        </p:spPr>
        <p:txBody>
          <a:bodyPr/>
          <a:lstStyle>
            <a:lvl1pPr>
              <a:defRPr/>
            </a:lvl1pPr>
          </a:lstStyle>
          <a:p>
            <a:r>
              <a:rPr lang="de-DE"/>
              <a:t>Click to the symbol to add a picture</a:t>
            </a:r>
            <a:endParaRPr lang="en-GB"/>
          </a:p>
        </p:txBody>
      </p:sp>
      <p:sp>
        <p:nvSpPr>
          <p:cNvPr id="2" name="Title 1"/>
          <p:cNvSpPr>
            <a:spLocks noGrp="1"/>
          </p:cNvSpPr>
          <p:nvPr>
            <p:ph type="ctrTitle" hasCustomPrompt="1"/>
          </p:nvPr>
        </p:nvSpPr>
        <p:spPr bwMode="gray">
          <a:xfrm>
            <a:off x="431214" y="1220693"/>
            <a:ext cx="11329573" cy="1344187"/>
          </a:xfrm>
        </p:spPr>
        <p:txBody>
          <a:bodyPr anchor="b"/>
          <a:lstStyle>
            <a:lvl1pPr>
              <a:defRPr sz="4800" cap="none" baseline="0">
                <a:solidFill>
                  <a:schemeClr val="tx2"/>
                </a:solidFill>
              </a:defRPr>
            </a:lvl1pPr>
          </a:lstStyle>
          <a:p>
            <a:r>
              <a:rPr lang="en-US"/>
              <a:t>Click to add title of presentation</a:t>
            </a:r>
          </a:p>
        </p:txBody>
      </p:sp>
      <p:sp>
        <p:nvSpPr>
          <p:cNvPr id="3" name="Subtitle 2"/>
          <p:cNvSpPr>
            <a:spLocks noGrp="1"/>
          </p:cNvSpPr>
          <p:nvPr>
            <p:ph type="subTitle" idx="1" hasCustomPrompt="1"/>
          </p:nvPr>
        </p:nvSpPr>
        <p:spPr bwMode="gray">
          <a:xfrm>
            <a:off x="431214" y="2660893"/>
            <a:ext cx="11329573" cy="576080"/>
          </a:xfrm>
        </p:spPr>
        <p:txBody>
          <a:bodyPr tIns="0"/>
          <a:lstStyle>
            <a:lvl1pPr marL="0" indent="0" algn="l">
              <a:spcBef>
                <a:spcPts val="800"/>
              </a:spcBef>
              <a:spcAft>
                <a:spcPts val="0"/>
              </a:spcAft>
              <a:buNone/>
              <a:defRPr sz="2667">
                <a:solidFill>
                  <a:schemeClr val="tx2"/>
                </a:solidFill>
              </a:defRPr>
            </a:lvl1pPr>
            <a:lvl2pPr marL="0" indent="0" algn="l">
              <a:spcBef>
                <a:spcPts val="800"/>
              </a:spcBef>
              <a:spcAft>
                <a:spcPts val="0"/>
              </a:spcAft>
              <a:buNone/>
              <a:defRPr sz="2667">
                <a:solidFill>
                  <a:schemeClr val="tx2"/>
                </a:solidFill>
              </a:defRPr>
            </a:lvl2pPr>
            <a:lvl3pPr marL="0" indent="0" algn="l">
              <a:spcBef>
                <a:spcPts val="800"/>
              </a:spcBef>
              <a:spcAft>
                <a:spcPts val="0"/>
              </a:spcAft>
              <a:buNone/>
              <a:defRPr sz="2667">
                <a:solidFill>
                  <a:schemeClr val="tx2"/>
                </a:solidFill>
              </a:defRPr>
            </a:lvl3pPr>
            <a:lvl4pPr marL="0" indent="0" algn="l">
              <a:spcBef>
                <a:spcPts val="800"/>
              </a:spcBef>
              <a:spcAft>
                <a:spcPts val="0"/>
              </a:spcAft>
              <a:buNone/>
              <a:defRPr sz="2667">
                <a:solidFill>
                  <a:schemeClr val="tx2"/>
                </a:solidFill>
              </a:defRPr>
            </a:lvl4pPr>
            <a:lvl5pPr marL="0" indent="0" algn="l">
              <a:spcBef>
                <a:spcPts val="800"/>
              </a:spcBef>
              <a:spcAft>
                <a:spcPts val="0"/>
              </a:spcAft>
              <a:buNone/>
              <a:defRPr sz="2667">
                <a:solidFill>
                  <a:schemeClr val="tx2"/>
                </a:solidFill>
              </a:defRPr>
            </a:lvl5pPr>
            <a:lvl6pPr marL="0" indent="0" algn="l">
              <a:spcBef>
                <a:spcPts val="800"/>
              </a:spcBef>
              <a:spcAft>
                <a:spcPts val="0"/>
              </a:spcAft>
              <a:buNone/>
              <a:defRPr sz="2667">
                <a:solidFill>
                  <a:schemeClr val="tx2"/>
                </a:solidFill>
              </a:defRPr>
            </a:lvl6pPr>
            <a:lvl7pPr marL="0" indent="0" algn="l">
              <a:spcBef>
                <a:spcPts val="800"/>
              </a:spcBef>
              <a:spcAft>
                <a:spcPts val="0"/>
              </a:spcAft>
              <a:buNone/>
              <a:defRPr sz="2667">
                <a:solidFill>
                  <a:schemeClr val="tx2"/>
                </a:solidFill>
              </a:defRPr>
            </a:lvl7pPr>
            <a:lvl8pPr marL="0" indent="0" algn="l">
              <a:spcAft>
                <a:spcPts val="0"/>
              </a:spcAft>
              <a:buNone/>
              <a:defRPr sz="2667">
                <a:solidFill>
                  <a:schemeClr val="bg1"/>
                </a:solidFill>
              </a:defRPr>
            </a:lvl8pPr>
            <a:lvl9pPr marL="0" indent="0" algn="l">
              <a:spcBef>
                <a:spcPts val="800"/>
              </a:spcBef>
              <a:spcAft>
                <a:spcPts val="0"/>
              </a:spcAft>
              <a:buNone/>
              <a:defRPr sz="2667">
                <a:solidFill>
                  <a:schemeClr val="tx2"/>
                </a:solidFill>
              </a:defRPr>
            </a:lvl9pPr>
          </a:lstStyle>
          <a:p>
            <a:pPr lvl="0"/>
            <a:r>
              <a:rPr lang="en-US" noProof="0"/>
              <a:t>Click to add subtitle of presentation</a:t>
            </a:r>
          </a:p>
        </p:txBody>
      </p:sp>
      <p:sp>
        <p:nvSpPr>
          <p:cNvPr id="7" name="Rechteck 6"/>
          <p:cNvSpPr/>
          <p:nvPr userDrawn="1"/>
        </p:nvSpPr>
        <p:spPr bwMode="gray">
          <a:xfrm>
            <a:off x="0" y="6570171"/>
            <a:ext cx="12192000" cy="287829"/>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indent="0" algn="ctr">
              <a:buFont typeface="Courier New" pitchFamily="49" charset="0"/>
              <a:buNone/>
            </a:pPr>
            <a:endParaRPr lang="en-US" sz="2133">
              <a:solidFill>
                <a:schemeClr val="tx1"/>
              </a:solidFill>
              <a:latin typeface="Arial" pitchFamily="34" charset="0"/>
            </a:endParaRPr>
          </a:p>
        </p:txBody>
      </p:sp>
      <p:sp>
        <p:nvSpPr>
          <p:cNvPr id="8" name="Text Placeholder 10"/>
          <p:cNvSpPr>
            <a:spLocks noGrp="1"/>
          </p:cNvSpPr>
          <p:nvPr>
            <p:ph type="body" sz="quarter" idx="10" hasCustomPrompt="1"/>
          </p:nvPr>
        </p:nvSpPr>
        <p:spPr bwMode="gray">
          <a:xfrm>
            <a:off x="431371" y="6309400"/>
            <a:ext cx="11328829" cy="288000"/>
          </a:xfrm>
        </p:spPr>
        <p:txBody>
          <a:bodyPr tIns="0" anchor="b" anchorCtr="0"/>
          <a:lstStyle>
            <a:lvl1pPr marL="0" indent="0">
              <a:lnSpc>
                <a:spcPct val="100000"/>
              </a:lnSpc>
              <a:spcBef>
                <a:spcPts val="0"/>
              </a:spcBef>
              <a:spcAft>
                <a:spcPts val="0"/>
              </a:spcAft>
              <a:buFontTx/>
              <a:buNone/>
              <a:defRPr sz="1600">
                <a:solidFill>
                  <a:schemeClr val="tx2"/>
                </a:solidFill>
              </a:defRPr>
            </a:lvl1pPr>
            <a:lvl2pPr marL="0" indent="0">
              <a:lnSpc>
                <a:spcPct val="100000"/>
              </a:lnSpc>
              <a:spcBef>
                <a:spcPts val="0"/>
              </a:spcBef>
              <a:spcAft>
                <a:spcPts val="0"/>
              </a:spcAft>
              <a:buFontTx/>
              <a:buNone/>
              <a:defRPr sz="1600">
                <a:solidFill>
                  <a:schemeClr val="tx2"/>
                </a:solidFill>
              </a:defRPr>
            </a:lvl2pPr>
            <a:lvl3pPr marL="0" indent="0">
              <a:lnSpc>
                <a:spcPct val="100000"/>
              </a:lnSpc>
              <a:spcBef>
                <a:spcPts val="0"/>
              </a:spcBef>
              <a:spcAft>
                <a:spcPts val="0"/>
              </a:spcAft>
              <a:buFontTx/>
              <a:buNone/>
              <a:defRPr sz="1600">
                <a:solidFill>
                  <a:schemeClr val="tx2"/>
                </a:solidFill>
              </a:defRPr>
            </a:lvl3pPr>
            <a:lvl4pPr marL="0" indent="0">
              <a:lnSpc>
                <a:spcPct val="100000"/>
              </a:lnSpc>
              <a:spcBef>
                <a:spcPts val="0"/>
              </a:spcBef>
              <a:spcAft>
                <a:spcPts val="0"/>
              </a:spcAft>
              <a:buFontTx/>
              <a:buNone/>
              <a:defRPr sz="1600">
                <a:solidFill>
                  <a:schemeClr val="tx2"/>
                </a:solidFill>
              </a:defRPr>
            </a:lvl4pPr>
            <a:lvl5pPr marL="0" indent="0">
              <a:lnSpc>
                <a:spcPct val="100000"/>
              </a:lnSpc>
              <a:spcBef>
                <a:spcPts val="0"/>
              </a:spcBef>
              <a:spcAft>
                <a:spcPts val="0"/>
              </a:spcAft>
              <a:buFontTx/>
              <a:buNone/>
              <a:defRPr sz="1600">
                <a:solidFill>
                  <a:schemeClr val="tx2"/>
                </a:solidFill>
              </a:defRPr>
            </a:lvl5pPr>
            <a:lvl6pPr marL="0" indent="0">
              <a:lnSpc>
                <a:spcPct val="100000"/>
              </a:lnSpc>
              <a:spcBef>
                <a:spcPts val="0"/>
              </a:spcBef>
              <a:spcAft>
                <a:spcPts val="0"/>
              </a:spcAft>
              <a:buFontTx/>
              <a:buNone/>
              <a:defRPr sz="1600">
                <a:solidFill>
                  <a:schemeClr val="tx2"/>
                </a:solidFill>
              </a:defRPr>
            </a:lvl6pPr>
            <a:lvl7pPr marL="0" indent="0">
              <a:lnSpc>
                <a:spcPct val="100000"/>
              </a:lnSpc>
              <a:spcBef>
                <a:spcPts val="0"/>
              </a:spcBef>
              <a:spcAft>
                <a:spcPts val="0"/>
              </a:spcAft>
              <a:buFontTx/>
              <a:buNone/>
              <a:defRPr sz="1600">
                <a:solidFill>
                  <a:schemeClr val="tx2"/>
                </a:solidFill>
              </a:defRPr>
            </a:lvl7pPr>
            <a:lvl8pPr marL="0" indent="0">
              <a:lnSpc>
                <a:spcPct val="100000"/>
              </a:lnSpc>
              <a:spcBef>
                <a:spcPts val="0"/>
              </a:spcBef>
              <a:spcAft>
                <a:spcPts val="0"/>
              </a:spcAft>
              <a:buFontTx/>
              <a:buNone/>
              <a:defRPr sz="1600">
                <a:solidFill>
                  <a:schemeClr val="bg1"/>
                </a:solidFill>
              </a:defRPr>
            </a:lvl8pPr>
            <a:lvl9pPr marL="0" indent="0">
              <a:lnSpc>
                <a:spcPct val="100000"/>
              </a:lnSpc>
              <a:spcBef>
                <a:spcPts val="0"/>
              </a:spcBef>
              <a:spcAft>
                <a:spcPts val="0"/>
              </a:spcAft>
              <a:buFontTx/>
              <a:buNone/>
              <a:defRPr sz="1600">
                <a:solidFill>
                  <a:schemeClr val="tx2"/>
                </a:solidFill>
              </a:defRPr>
            </a:lvl9pPr>
          </a:lstStyle>
          <a:p>
            <a:pPr lvl="0"/>
            <a:r>
              <a:rPr lang="en-US" noProof="0"/>
              <a:t>Click to add additional text, e.g. author, location, date</a:t>
            </a:r>
          </a:p>
        </p:txBody>
      </p:sp>
    </p:spTree>
    <p:extLst>
      <p:ext uri="{BB962C8B-B14F-4D97-AF65-F5344CB8AC3E}">
        <p14:creationId xmlns:p14="http://schemas.microsoft.com/office/powerpoint/2010/main" val="1374292291"/>
      </p:ext>
    </p:extLst>
  </p:cSld>
  <p:clrMapOvr>
    <a:masterClrMapping/>
  </p:clrMapOvr>
</p:sldLayout>
</file>

<file path=ppt/slideLayouts/slideLayout480.xml><?xml version="1.0" encoding="utf-8"?>
<p:sldLayout xmlns:a="http://schemas.openxmlformats.org/drawingml/2006/main" xmlns:r="http://schemas.openxmlformats.org/officeDocument/2006/relationships" xmlns:p="http://schemas.openxmlformats.org/presentationml/2006/main" preserve="1">
  <p:cSld name="Content with full picture">
    <p:spTree>
      <p:nvGrpSpPr>
        <p:cNvPr id="1" name=""/>
        <p:cNvGrpSpPr/>
        <p:nvPr/>
      </p:nvGrpSpPr>
      <p:grpSpPr>
        <a:xfrm>
          <a:off x="0" y="0"/>
          <a:ext cx="0" cy="0"/>
          <a:chOff x="0" y="0"/>
          <a:chExt cx="0" cy="0"/>
        </a:xfrm>
      </p:grpSpPr>
      <p:sp>
        <p:nvSpPr>
          <p:cNvPr id="12" name="Picture Placeholder 11"/>
          <p:cNvSpPr>
            <a:spLocks noGrp="1"/>
          </p:cNvSpPr>
          <p:nvPr>
            <p:ph type="pic" sz="quarter" idx="17" hasCustomPrompt="1"/>
          </p:nvPr>
        </p:nvSpPr>
        <p:spPr>
          <a:xfrm>
            <a:off x="0" y="0"/>
            <a:ext cx="12193200" cy="6858000"/>
          </a:xfrm>
          <a:prstGeom prst="rect">
            <a:avLst/>
          </a:prstGeom>
          <a:solidFill>
            <a:srgbClr val="D9DADB"/>
          </a:solidFill>
        </p:spPr>
        <p:txBody>
          <a:bodyPr wrap="square">
            <a:noAutofit/>
          </a:bodyPr>
          <a:lstStyle>
            <a:lvl1pPr marL="0" indent="0">
              <a:buNone/>
              <a:defRPr/>
            </a:lvl1pPr>
          </a:lstStyle>
          <a:p>
            <a:r>
              <a:rPr lang="en-US"/>
              <a:t>Insert picture</a:t>
            </a:r>
          </a:p>
        </p:txBody>
      </p:sp>
      <p:sp>
        <p:nvSpPr>
          <p:cNvPr id="9" name="copyright"/>
          <p:cNvSpPr txBox="1"/>
          <p:nvPr/>
        </p:nvSpPr>
        <p:spPr>
          <a:xfrm>
            <a:off x="10672209" y="6237288"/>
            <a:ext cx="500617" cy="358173"/>
          </a:xfrm>
          <a:prstGeom prst="rect">
            <a:avLst/>
          </a:prstGeom>
          <a:noFill/>
        </p:spPr>
        <p:txBody>
          <a:bodyPr wrap="none" lIns="0" tIns="0" rIns="0" bIns="0" rtlCol="0" anchor="b" anchorCtr="0">
            <a:noAutofit/>
          </a:bodyPr>
          <a:lstStyle/>
          <a:p>
            <a:pPr marL="0" indent="0" algn="r">
              <a:lnSpc>
                <a:spcPct val="125000"/>
              </a:lnSpc>
              <a:buClr>
                <a:schemeClr val="tx2"/>
              </a:buClr>
              <a:buFont typeface="Wingdings" panose="05000000000000000000" pitchFamily="2" charset="2"/>
              <a:buNone/>
            </a:pPr>
            <a:r>
              <a:rPr lang="en-US" sz="800">
                <a:solidFill>
                  <a:schemeClr val="bg1"/>
                </a:solidFill>
              </a:rPr>
              <a:t>© GfK</a:t>
            </a:r>
          </a:p>
        </p:txBody>
      </p:sp>
      <p:sp>
        <p:nvSpPr>
          <p:cNvPr id="21" name="Date Placeholder 20"/>
          <p:cNvSpPr>
            <a:spLocks noGrp="1"/>
          </p:cNvSpPr>
          <p:nvPr>
            <p:ph type="dt" sz="half" idx="14"/>
          </p:nvPr>
        </p:nvSpPr>
        <p:spPr/>
        <p:txBody>
          <a:bodyPr/>
          <a:lstStyle>
            <a:lvl1pPr>
              <a:defRPr>
                <a:solidFill>
                  <a:schemeClr val="bg1"/>
                </a:solidFill>
              </a:defRPr>
            </a:lvl1pPr>
          </a:lstStyle>
          <a:p>
            <a:fld id="{50FDD96B-8754-4910-8CA2-9F882EDC331D}" type="datetime5">
              <a:rPr lang="en-US" smtClean="0"/>
              <a:t>26-Jun-20</a:t>
            </a:fld>
            <a:endParaRPr lang="en-US"/>
          </a:p>
        </p:txBody>
      </p:sp>
      <p:sp>
        <p:nvSpPr>
          <p:cNvPr id="22" name="Footer Placeholder 21"/>
          <p:cNvSpPr>
            <a:spLocks noGrp="1"/>
          </p:cNvSpPr>
          <p:nvPr>
            <p:ph type="ftr" sz="quarter" idx="15"/>
          </p:nvPr>
        </p:nvSpPr>
        <p:spPr/>
        <p:txBody>
          <a:bodyPr/>
          <a:lstStyle>
            <a:lvl1pPr>
              <a:defRPr>
                <a:solidFill>
                  <a:schemeClr val="bg1"/>
                </a:solidFill>
              </a:defRPr>
            </a:lvl1pPr>
          </a:lstStyle>
          <a:p>
            <a:r>
              <a:rPr lang="en-US"/>
              <a:t>Title of presentation (Insert / Header &amp; Footer / Apply to All)</a:t>
            </a:r>
          </a:p>
        </p:txBody>
      </p:sp>
      <p:sp>
        <p:nvSpPr>
          <p:cNvPr id="23" name="Slide Number Placeholder 22"/>
          <p:cNvSpPr>
            <a:spLocks noGrp="1"/>
          </p:cNvSpPr>
          <p:nvPr>
            <p:ph type="sldNum" sz="quarter" idx="16"/>
          </p:nvPr>
        </p:nvSpPr>
        <p:spPr/>
        <p:txBody>
          <a:bodyPr/>
          <a:lstStyle>
            <a:lvl1pPr>
              <a:defRPr>
                <a:solidFill>
                  <a:schemeClr val="bg1"/>
                </a:solidFill>
              </a:defRPr>
            </a:lvl1pPr>
          </a:lstStyle>
          <a:p>
            <a:fld id="{5F3E29E4-0979-4FCA-B4C5-5FC6044C982A}" type="slidenum">
              <a:rPr lang="en-US" smtClean="0"/>
              <a:pPr/>
              <a:t>‹#›</a:t>
            </a:fld>
            <a:endParaRPr lang="en-US"/>
          </a:p>
        </p:txBody>
      </p:sp>
      <p:sp>
        <p:nvSpPr>
          <p:cNvPr id="2" name="Title 1"/>
          <p:cNvSpPr>
            <a:spLocks noGrp="1"/>
          </p:cNvSpPr>
          <p:nvPr>
            <p:ph type="title" hasCustomPrompt="1"/>
          </p:nvPr>
        </p:nvSpPr>
        <p:spPr>
          <a:xfrm>
            <a:off x="6543675" y="1519552"/>
            <a:ext cx="4629150" cy="4249423"/>
          </a:xfrm>
        </p:spPr>
        <p:txBody>
          <a:bodyPr/>
          <a:lstStyle>
            <a:lvl1pPr>
              <a:defRPr>
                <a:solidFill>
                  <a:schemeClr val="bg1"/>
                </a:solidFill>
              </a:defRPr>
            </a:lvl1pPr>
          </a:lstStyle>
          <a:p>
            <a:r>
              <a:rPr lang="en-US"/>
              <a:t>Click to add text</a:t>
            </a:r>
          </a:p>
        </p:txBody>
      </p:sp>
      <p:sp>
        <p:nvSpPr>
          <p:cNvPr id="8" name="Text Placeholder 4"/>
          <p:cNvSpPr>
            <a:spLocks noGrp="1"/>
          </p:cNvSpPr>
          <p:nvPr>
            <p:ph type="body" sz="quarter" idx="18" hasCustomPrompt="1"/>
          </p:nvPr>
        </p:nvSpPr>
        <p:spPr>
          <a:xfrm>
            <a:off x="1075063" y="6307665"/>
            <a:ext cx="8162717" cy="133200"/>
          </a:xfrm>
        </p:spPr>
        <p:txBody>
          <a:bodyPr lIns="0" tIns="0" rIns="0" bIns="0" anchor="b" anchorCtr="0"/>
          <a:lstStyle>
            <a:lvl1pPr marL="0" indent="0" algn="l">
              <a:lnSpc>
                <a:spcPct val="100000"/>
              </a:lnSpc>
              <a:spcBef>
                <a:spcPts val="0"/>
              </a:spcBef>
              <a:buNone/>
              <a:defRPr sz="800" baseline="0">
                <a:solidFill>
                  <a:schemeClr val="bg1"/>
                </a:solidFill>
              </a:defRPr>
            </a:lvl1pPr>
            <a:lvl2pPr marL="0" indent="0" algn="l">
              <a:lnSpc>
                <a:spcPct val="100000"/>
              </a:lnSpc>
              <a:spcBef>
                <a:spcPts val="0"/>
              </a:spcBef>
              <a:buNone/>
              <a:defRPr sz="800">
                <a:solidFill>
                  <a:schemeClr val="bg1"/>
                </a:solidFill>
              </a:defRPr>
            </a:lvl2pPr>
            <a:lvl3pPr marL="0" indent="0" algn="l">
              <a:lnSpc>
                <a:spcPct val="100000"/>
              </a:lnSpc>
              <a:spcBef>
                <a:spcPts val="0"/>
              </a:spcBef>
              <a:buNone/>
              <a:defRPr sz="800">
                <a:solidFill>
                  <a:schemeClr val="bg1"/>
                </a:solidFill>
              </a:defRPr>
            </a:lvl3pPr>
            <a:lvl4pPr marL="0" algn="l">
              <a:lnSpc>
                <a:spcPct val="100000"/>
              </a:lnSpc>
              <a:spcBef>
                <a:spcPts val="0"/>
              </a:spcBef>
              <a:buNone/>
              <a:defRPr sz="800">
                <a:solidFill>
                  <a:schemeClr val="bg1"/>
                </a:solidFill>
              </a:defRPr>
            </a:lvl4pPr>
            <a:lvl5pPr marL="0" indent="0" algn="l">
              <a:lnSpc>
                <a:spcPct val="100000"/>
              </a:lnSpc>
              <a:spcBef>
                <a:spcPts val="0"/>
              </a:spcBef>
              <a:buNone/>
              <a:defRPr sz="800">
                <a:solidFill>
                  <a:schemeClr val="bg1"/>
                </a:solidFill>
              </a:defRPr>
            </a:lvl5pPr>
          </a:lstStyle>
          <a:p>
            <a:pPr lvl="0"/>
            <a:r>
              <a:rPr lang="en-US"/>
              <a:t>Source line</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13890130"/>
      </p:ext>
    </p:extLst>
  </p:cSld>
  <p:clrMapOvr>
    <a:masterClrMapping/>
  </p:clrMapOvr>
</p:sldLayout>
</file>

<file path=ppt/slideLayouts/slideLayout481.xml><?xml version="1.0" encoding="utf-8"?>
<p:sldLayout xmlns:a="http://schemas.openxmlformats.org/drawingml/2006/main" xmlns:r="http://schemas.openxmlformats.org/officeDocument/2006/relationships" xmlns:p="http://schemas.openxmlformats.org/presentationml/2006/main" preserve="1">
  <p:cSld name="Two pictures">
    <p:spTree>
      <p:nvGrpSpPr>
        <p:cNvPr id="1" name=""/>
        <p:cNvGrpSpPr/>
        <p:nvPr/>
      </p:nvGrpSpPr>
      <p:grpSpPr>
        <a:xfrm>
          <a:off x="0" y="0"/>
          <a:ext cx="0" cy="0"/>
          <a:chOff x="0" y="0"/>
          <a:chExt cx="0" cy="0"/>
        </a:xfrm>
      </p:grpSpPr>
      <p:sp>
        <p:nvSpPr>
          <p:cNvPr id="21" name="Date Placeholder 20"/>
          <p:cNvSpPr>
            <a:spLocks noGrp="1"/>
          </p:cNvSpPr>
          <p:nvPr>
            <p:ph type="dt" sz="half" idx="14"/>
          </p:nvPr>
        </p:nvSpPr>
        <p:spPr/>
        <p:txBody>
          <a:bodyPr/>
          <a:lstStyle/>
          <a:p>
            <a:fld id="{0C2FFEBC-2BB8-4026-95F3-22D358B37101}" type="datetime5">
              <a:rPr lang="en-US" smtClean="0"/>
              <a:t>26-Jun-20</a:t>
            </a:fld>
            <a:endParaRPr lang="en-US"/>
          </a:p>
        </p:txBody>
      </p:sp>
      <p:sp>
        <p:nvSpPr>
          <p:cNvPr id="22" name="Footer Placeholder 21"/>
          <p:cNvSpPr>
            <a:spLocks noGrp="1"/>
          </p:cNvSpPr>
          <p:nvPr>
            <p:ph type="ftr" sz="quarter" idx="15"/>
          </p:nvPr>
        </p:nvSpPr>
        <p:spPr/>
        <p:txBody>
          <a:bodyPr/>
          <a:lstStyle/>
          <a:p>
            <a:r>
              <a:rPr lang="en-US"/>
              <a:t>Title of presentation (Insert / Header &amp; Footer / Apply to All)</a:t>
            </a:r>
          </a:p>
        </p:txBody>
      </p:sp>
      <p:sp>
        <p:nvSpPr>
          <p:cNvPr id="23" name="Slide Number Placeholder 22"/>
          <p:cNvSpPr>
            <a:spLocks noGrp="1"/>
          </p:cNvSpPr>
          <p:nvPr>
            <p:ph type="sldNum" sz="quarter" idx="16"/>
          </p:nvPr>
        </p:nvSpPr>
        <p:spPr/>
        <p:txBody>
          <a:bodyPr/>
          <a:lstStyle/>
          <a:p>
            <a:fld id="{5F3E29E4-0979-4FCA-B4C5-5FC6044C982A}" type="slidenum">
              <a:rPr lang="en-US" smtClean="0"/>
              <a:t>‹#›</a:t>
            </a:fld>
            <a:endParaRPr lang="en-US"/>
          </a:p>
        </p:txBody>
      </p:sp>
      <p:sp>
        <p:nvSpPr>
          <p:cNvPr id="2" name="Title 1"/>
          <p:cNvSpPr>
            <a:spLocks noGrp="1"/>
          </p:cNvSpPr>
          <p:nvPr>
            <p:ph type="title" hasCustomPrompt="1"/>
          </p:nvPr>
        </p:nvSpPr>
        <p:spPr/>
        <p:txBody>
          <a:bodyPr/>
          <a:lstStyle>
            <a:lvl1pPr>
              <a:defRPr/>
            </a:lvl1pPr>
          </a:lstStyle>
          <a:p>
            <a:r>
              <a:rPr lang="en-US"/>
              <a:t>Click to add slide title</a:t>
            </a:r>
          </a:p>
        </p:txBody>
      </p:sp>
      <p:sp>
        <p:nvSpPr>
          <p:cNvPr id="7" name="Subtitle 2"/>
          <p:cNvSpPr>
            <a:spLocks noGrp="1"/>
          </p:cNvSpPr>
          <p:nvPr>
            <p:ph type="subTitle" idx="13" hasCustomPrompt="1"/>
          </p:nvPr>
        </p:nvSpPr>
        <p:spPr>
          <a:xfrm>
            <a:off x="1075061" y="964671"/>
            <a:ext cx="7910158" cy="490042"/>
          </a:xfrm>
        </p:spPr>
        <p:txBody>
          <a:bodyPr wrap="none"/>
          <a:lstStyle>
            <a:lvl1pPr marL="0" indent="0" algn="l">
              <a:spcBef>
                <a:spcPts val="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sp>
        <p:nvSpPr>
          <p:cNvPr id="5" name="Picture Placeholder 4"/>
          <p:cNvSpPr>
            <a:spLocks noGrp="1"/>
          </p:cNvSpPr>
          <p:nvPr>
            <p:ph type="pic" sz="quarter" idx="17" hasCustomPrompt="1"/>
          </p:nvPr>
        </p:nvSpPr>
        <p:spPr>
          <a:xfrm>
            <a:off x="1075062" y="1637783"/>
            <a:ext cx="5220000" cy="4599506"/>
          </a:xfrm>
          <a:solidFill>
            <a:srgbClr val="D9DADB"/>
          </a:solidFill>
        </p:spPr>
        <p:txBody>
          <a:bodyPr/>
          <a:lstStyle>
            <a:lvl1pPr marL="0" indent="0">
              <a:buNone/>
              <a:defRPr/>
            </a:lvl1pPr>
          </a:lstStyle>
          <a:p>
            <a:r>
              <a:rPr lang="en-US"/>
              <a:t>Insert picture</a:t>
            </a:r>
          </a:p>
        </p:txBody>
      </p:sp>
      <p:sp>
        <p:nvSpPr>
          <p:cNvPr id="9" name="Picture Placeholder 4"/>
          <p:cNvSpPr>
            <a:spLocks noGrp="1"/>
          </p:cNvSpPr>
          <p:nvPr>
            <p:ph type="pic" sz="quarter" idx="18" hasCustomPrompt="1"/>
          </p:nvPr>
        </p:nvSpPr>
        <p:spPr>
          <a:xfrm>
            <a:off x="6600525" y="1637783"/>
            <a:ext cx="5220000" cy="4599506"/>
          </a:xfrm>
          <a:solidFill>
            <a:srgbClr val="D9DADB"/>
          </a:solidFill>
        </p:spPr>
        <p:txBody>
          <a:bodyPr/>
          <a:lstStyle>
            <a:lvl1pPr marL="0" indent="0">
              <a:buNone/>
              <a:defRPr/>
            </a:lvl1pPr>
          </a:lstStyle>
          <a:p>
            <a:r>
              <a:rPr lang="en-US"/>
              <a:t>Insert picture</a:t>
            </a:r>
          </a:p>
        </p:txBody>
      </p:sp>
      <p:sp>
        <p:nvSpPr>
          <p:cNvPr id="11" name="Text Placeholder 4"/>
          <p:cNvSpPr>
            <a:spLocks noGrp="1"/>
          </p:cNvSpPr>
          <p:nvPr>
            <p:ph type="body" sz="quarter" idx="19" hasCustomPrompt="1"/>
          </p:nvPr>
        </p:nvSpPr>
        <p:spPr>
          <a:xfrm>
            <a:off x="1075063" y="6307665"/>
            <a:ext cx="8162717" cy="133200"/>
          </a:xfrm>
        </p:spPr>
        <p:txBody>
          <a:bodyPr lIns="0" tIns="0" rIns="0" bIns="0" anchor="b" anchorCtr="0"/>
          <a:lstStyle>
            <a:lvl1pPr marL="0" indent="0" algn="l">
              <a:lnSpc>
                <a:spcPct val="100000"/>
              </a:lnSpc>
              <a:spcBef>
                <a:spcPts val="0"/>
              </a:spcBef>
              <a:buNone/>
              <a:defRPr sz="800" baseline="0"/>
            </a:lvl1pPr>
            <a:lvl2pPr marL="0" indent="0" algn="l">
              <a:lnSpc>
                <a:spcPct val="100000"/>
              </a:lnSpc>
              <a:spcBef>
                <a:spcPts val="0"/>
              </a:spcBef>
              <a:buNone/>
              <a:defRPr sz="800"/>
            </a:lvl2pPr>
            <a:lvl3pPr marL="0" indent="0" algn="l">
              <a:lnSpc>
                <a:spcPct val="100000"/>
              </a:lnSpc>
              <a:spcBef>
                <a:spcPts val="0"/>
              </a:spcBef>
              <a:buNone/>
              <a:defRPr sz="800"/>
            </a:lvl3pPr>
            <a:lvl4pPr marL="0" algn="l">
              <a:lnSpc>
                <a:spcPct val="100000"/>
              </a:lnSpc>
              <a:spcBef>
                <a:spcPts val="0"/>
              </a:spcBef>
              <a:buNone/>
              <a:defRPr sz="800"/>
            </a:lvl4pPr>
            <a:lvl5pPr marL="0" indent="0" algn="l">
              <a:lnSpc>
                <a:spcPct val="100000"/>
              </a:lnSpc>
              <a:spcBef>
                <a:spcPts val="0"/>
              </a:spcBef>
              <a:buNone/>
              <a:defRPr sz="800"/>
            </a:lvl5pPr>
          </a:lstStyle>
          <a:p>
            <a:pPr lvl="0"/>
            <a:r>
              <a:rPr lang="en-US"/>
              <a:t>Source line</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70479897"/>
      </p:ext>
    </p:extLst>
  </p:cSld>
  <p:clrMapOvr>
    <a:masterClrMapping/>
  </p:clrMapOvr>
</p:sldLayout>
</file>

<file path=ppt/slideLayouts/slideLayout482.xml><?xml version="1.0" encoding="utf-8"?>
<p:sldLayout xmlns:a="http://schemas.openxmlformats.org/drawingml/2006/main" xmlns:r="http://schemas.openxmlformats.org/officeDocument/2006/relationships" xmlns:p="http://schemas.openxmlformats.org/presentationml/2006/main" preserve="1">
  <p:cSld name="Two contents">
    <p:spTree>
      <p:nvGrpSpPr>
        <p:cNvPr id="1" name=""/>
        <p:cNvGrpSpPr/>
        <p:nvPr/>
      </p:nvGrpSpPr>
      <p:grpSpPr>
        <a:xfrm>
          <a:off x="0" y="0"/>
          <a:ext cx="0" cy="0"/>
          <a:chOff x="0" y="0"/>
          <a:chExt cx="0" cy="0"/>
        </a:xfrm>
      </p:grpSpPr>
      <p:sp>
        <p:nvSpPr>
          <p:cNvPr id="21" name="Date Placeholder 20"/>
          <p:cNvSpPr>
            <a:spLocks noGrp="1"/>
          </p:cNvSpPr>
          <p:nvPr>
            <p:ph type="dt" sz="half" idx="14"/>
          </p:nvPr>
        </p:nvSpPr>
        <p:spPr/>
        <p:txBody>
          <a:bodyPr/>
          <a:lstStyle/>
          <a:p>
            <a:fld id="{9D45F382-CD09-4611-8552-1549F9F12240}" type="datetime5">
              <a:rPr lang="en-US" smtClean="0"/>
              <a:t>26-Jun-20</a:t>
            </a:fld>
            <a:endParaRPr lang="en-US"/>
          </a:p>
        </p:txBody>
      </p:sp>
      <p:sp>
        <p:nvSpPr>
          <p:cNvPr id="22" name="Footer Placeholder 21"/>
          <p:cNvSpPr>
            <a:spLocks noGrp="1"/>
          </p:cNvSpPr>
          <p:nvPr>
            <p:ph type="ftr" sz="quarter" idx="15"/>
          </p:nvPr>
        </p:nvSpPr>
        <p:spPr/>
        <p:txBody>
          <a:bodyPr/>
          <a:lstStyle/>
          <a:p>
            <a:r>
              <a:rPr lang="en-US"/>
              <a:t>Title of presentation (Insert / Header &amp; Footer / Apply to All)</a:t>
            </a:r>
          </a:p>
        </p:txBody>
      </p:sp>
      <p:sp>
        <p:nvSpPr>
          <p:cNvPr id="23" name="Slide Number Placeholder 22"/>
          <p:cNvSpPr>
            <a:spLocks noGrp="1"/>
          </p:cNvSpPr>
          <p:nvPr>
            <p:ph type="sldNum" sz="quarter" idx="16"/>
          </p:nvPr>
        </p:nvSpPr>
        <p:spPr/>
        <p:txBody>
          <a:bodyPr/>
          <a:lstStyle/>
          <a:p>
            <a:fld id="{5F3E29E4-0979-4FCA-B4C5-5FC6044C982A}" type="slidenum">
              <a:rPr lang="en-US" smtClean="0"/>
              <a:t>‹#›</a:t>
            </a:fld>
            <a:endParaRPr lang="en-US"/>
          </a:p>
        </p:txBody>
      </p:sp>
      <p:sp>
        <p:nvSpPr>
          <p:cNvPr id="2" name="Title 1"/>
          <p:cNvSpPr>
            <a:spLocks noGrp="1"/>
          </p:cNvSpPr>
          <p:nvPr>
            <p:ph type="title" hasCustomPrompt="1"/>
          </p:nvPr>
        </p:nvSpPr>
        <p:spPr/>
        <p:txBody>
          <a:bodyPr/>
          <a:lstStyle>
            <a:lvl1pPr>
              <a:defRPr/>
            </a:lvl1pPr>
          </a:lstStyle>
          <a:p>
            <a:r>
              <a:rPr lang="en-US"/>
              <a:t>Click to add slide title</a:t>
            </a:r>
          </a:p>
        </p:txBody>
      </p:sp>
      <p:sp>
        <p:nvSpPr>
          <p:cNvPr id="7" name="Subtitle 2"/>
          <p:cNvSpPr>
            <a:spLocks noGrp="1"/>
          </p:cNvSpPr>
          <p:nvPr>
            <p:ph type="subTitle" idx="13" hasCustomPrompt="1"/>
          </p:nvPr>
        </p:nvSpPr>
        <p:spPr>
          <a:xfrm>
            <a:off x="1075061" y="964671"/>
            <a:ext cx="7910158" cy="490042"/>
          </a:xfrm>
        </p:spPr>
        <p:txBody>
          <a:bodyPr wrap="none"/>
          <a:lstStyle>
            <a:lvl1pPr marL="0" indent="0" algn="l">
              <a:spcBef>
                <a:spcPts val="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sp>
        <p:nvSpPr>
          <p:cNvPr id="3" name="Content Placeholder 2"/>
          <p:cNvSpPr>
            <a:spLocks noGrp="1"/>
          </p:cNvSpPr>
          <p:nvPr>
            <p:ph idx="1" hasCustomPrompt="1"/>
          </p:nvPr>
        </p:nvSpPr>
        <p:spPr>
          <a:xfrm>
            <a:off x="1075062" y="1629618"/>
            <a:ext cx="5220000" cy="4139357"/>
          </a:xfrm>
        </p:spPr>
        <p:txBody>
          <a:bodyPr/>
          <a:lstStyle>
            <a:lvl1pPr>
              <a:defRPr/>
            </a:lvl1pPr>
          </a:lstStyle>
          <a:p>
            <a:pPr lvl="0"/>
            <a:r>
              <a:rPr lang="en-US"/>
              <a:t>Click to add text or content</a:t>
            </a:r>
          </a:p>
          <a:p>
            <a:pPr lvl="1"/>
            <a:r>
              <a:rPr lang="en-US"/>
              <a:t>Second level</a:t>
            </a:r>
          </a:p>
          <a:p>
            <a:pPr lvl="2"/>
            <a:r>
              <a:rPr lang="en-US"/>
              <a:t>Third level</a:t>
            </a:r>
          </a:p>
          <a:p>
            <a:pPr lvl="3"/>
            <a:r>
              <a:rPr lang="en-US"/>
              <a:t>Fourth level</a:t>
            </a:r>
          </a:p>
          <a:p>
            <a:pPr lvl="4"/>
            <a:r>
              <a:rPr lang="en-US"/>
              <a:t>Fifth level</a:t>
            </a:r>
          </a:p>
        </p:txBody>
      </p:sp>
      <p:sp>
        <p:nvSpPr>
          <p:cNvPr id="9" name="Content Placeholder 2"/>
          <p:cNvSpPr>
            <a:spLocks noGrp="1"/>
          </p:cNvSpPr>
          <p:nvPr>
            <p:ph idx="17" hasCustomPrompt="1"/>
          </p:nvPr>
        </p:nvSpPr>
        <p:spPr>
          <a:xfrm>
            <a:off x="6600525" y="1629618"/>
            <a:ext cx="5220000" cy="4139357"/>
          </a:xfrm>
        </p:spPr>
        <p:txBody>
          <a:bodyPr/>
          <a:lstStyle>
            <a:lvl1pPr>
              <a:defRPr/>
            </a:lvl1pPr>
          </a:lstStyle>
          <a:p>
            <a:pPr lvl="0"/>
            <a:r>
              <a:rPr lang="en-US"/>
              <a:t>Click to add text or content</a:t>
            </a:r>
          </a:p>
          <a:p>
            <a:pPr lvl="1"/>
            <a:r>
              <a:rPr lang="en-US"/>
              <a:t>Second level</a:t>
            </a:r>
          </a:p>
          <a:p>
            <a:pPr lvl="2"/>
            <a:r>
              <a:rPr lang="en-US"/>
              <a:t>Third level</a:t>
            </a:r>
          </a:p>
          <a:p>
            <a:pPr lvl="3"/>
            <a:r>
              <a:rPr lang="en-US"/>
              <a:t>Fourth level</a:t>
            </a:r>
          </a:p>
          <a:p>
            <a:pPr lvl="4"/>
            <a:r>
              <a:rPr lang="en-US"/>
              <a:t>Fifth level</a:t>
            </a:r>
          </a:p>
        </p:txBody>
      </p:sp>
      <p:sp>
        <p:nvSpPr>
          <p:cNvPr id="11" name="Text Placeholder 4"/>
          <p:cNvSpPr>
            <a:spLocks noGrp="1"/>
          </p:cNvSpPr>
          <p:nvPr>
            <p:ph type="body" sz="quarter" idx="18" hasCustomPrompt="1"/>
          </p:nvPr>
        </p:nvSpPr>
        <p:spPr>
          <a:xfrm>
            <a:off x="1075063" y="6307665"/>
            <a:ext cx="8162717" cy="133200"/>
          </a:xfrm>
        </p:spPr>
        <p:txBody>
          <a:bodyPr lIns="0" tIns="0" rIns="0" bIns="0" anchor="b" anchorCtr="0"/>
          <a:lstStyle>
            <a:lvl1pPr marL="0" indent="0" algn="l">
              <a:lnSpc>
                <a:spcPct val="100000"/>
              </a:lnSpc>
              <a:spcBef>
                <a:spcPts val="0"/>
              </a:spcBef>
              <a:buNone/>
              <a:defRPr sz="800" baseline="0"/>
            </a:lvl1pPr>
            <a:lvl2pPr marL="0" indent="0" algn="l">
              <a:lnSpc>
                <a:spcPct val="100000"/>
              </a:lnSpc>
              <a:spcBef>
                <a:spcPts val="0"/>
              </a:spcBef>
              <a:buNone/>
              <a:defRPr sz="800"/>
            </a:lvl2pPr>
            <a:lvl3pPr marL="0" indent="0" algn="l">
              <a:lnSpc>
                <a:spcPct val="100000"/>
              </a:lnSpc>
              <a:spcBef>
                <a:spcPts val="0"/>
              </a:spcBef>
              <a:buNone/>
              <a:defRPr sz="800"/>
            </a:lvl3pPr>
            <a:lvl4pPr marL="0" algn="l">
              <a:lnSpc>
                <a:spcPct val="100000"/>
              </a:lnSpc>
              <a:spcBef>
                <a:spcPts val="0"/>
              </a:spcBef>
              <a:buNone/>
              <a:defRPr sz="800"/>
            </a:lvl4pPr>
            <a:lvl5pPr marL="0" indent="0" algn="l">
              <a:lnSpc>
                <a:spcPct val="100000"/>
              </a:lnSpc>
              <a:spcBef>
                <a:spcPts val="0"/>
              </a:spcBef>
              <a:buNone/>
              <a:defRPr sz="800"/>
            </a:lvl5pPr>
          </a:lstStyle>
          <a:p>
            <a:pPr lvl="0"/>
            <a:r>
              <a:rPr lang="en-US"/>
              <a:t>Source line</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20335127"/>
      </p:ext>
    </p:extLst>
  </p:cSld>
  <p:clrMapOvr>
    <a:masterClrMapping/>
  </p:clrMapOvr>
</p:sldLayout>
</file>

<file path=ppt/slideLayouts/slideLayout483.xml><?xml version="1.0" encoding="utf-8"?>
<p:sldLayout xmlns:a="http://schemas.openxmlformats.org/drawingml/2006/main" xmlns:r="http://schemas.openxmlformats.org/officeDocument/2006/relationships" xmlns:p="http://schemas.openxmlformats.org/presentationml/2006/main" preserve="1">
  <p:cSld name="Three contents">
    <p:spTree>
      <p:nvGrpSpPr>
        <p:cNvPr id="1" name=""/>
        <p:cNvGrpSpPr/>
        <p:nvPr/>
      </p:nvGrpSpPr>
      <p:grpSpPr>
        <a:xfrm>
          <a:off x="0" y="0"/>
          <a:ext cx="0" cy="0"/>
          <a:chOff x="0" y="0"/>
          <a:chExt cx="0" cy="0"/>
        </a:xfrm>
      </p:grpSpPr>
      <p:sp>
        <p:nvSpPr>
          <p:cNvPr id="21" name="Date Placeholder 20"/>
          <p:cNvSpPr>
            <a:spLocks noGrp="1"/>
          </p:cNvSpPr>
          <p:nvPr>
            <p:ph type="dt" sz="half" idx="14"/>
          </p:nvPr>
        </p:nvSpPr>
        <p:spPr/>
        <p:txBody>
          <a:bodyPr/>
          <a:lstStyle/>
          <a:p>
            <a:fld id="{E67FA33E-39D1-4C68-AC07-495881E0A93B}" type="datetime5">
              <a:rPr lang="en-US" smtClean="0"/>
              <a:t>26-Jun-20</a:t>
            </a:fld>
            <a:endParaRPr lang="en-US"/>
          </a:p>
        </p:txBody>
      </p:sp>
      <p:sp>
        <p:nvSpPr>
          <p:cNvPr id="22" name="Footer Placeholder 21"/>
          <p:cNvSpPr>
            <a:spLocks noGrp="1"/>
          </p:cNvSpPr>
          <p:nvPr>
            <p:ph type="ftr" sz="quarter" idx="15"/>
          </p:nvPr>
        </p:nvSpPr>
        <p:spPr/>
        <p:txBody>
          <a:bodyPr/>
          <a:lstStyle/>
          <a:p>
            <a:r>
              <a:rPr lang="en-US"/>
              <a:t>Title of presentation (Insert / Header &amp; Footer / Apply to All)</a:t>
            </a:r>
          </a:p>
        </p:txBody>
      </p:sp>
      <p:sp>
        <p:nvSpPr>
          <p:cNvPr id="23" name="Slide Number Placeholder 22"/>
          <p:cNvSpPr>
            <a:spLocks noGrp="1"/>
          </p:cNvSpPr>
          <p:nvPr>
            <p:ph type="sldNum" sz="quarter" idx="16"/>
          </p:nvPr>
        </p:nvSpPr>
        <p:spPr/>
        <p:txBody>
          <a:bodyPr/>
          <a:lstStyle/>
          <a:p>
            <a:fld id="{5F3E29E4-0979-4FCA-B4C5-5FC6044C982A}" type="slidenum">
              <a:rPr lang="en-US" smtClean="0"/>
              <a:t>‹#›</a:t>
            </a:fld>
            <a:endParaRPr lang="en-US"/>
          </a:p>
        </p:txBody>
      </p:sp>
      <p:sp>
        <p:nvSpPr>
          <p:cNvPr id="2" name="Title 1"/>
          <p:cNvSpPr>
            <a:spLocks noGrp="1"/>
          </p:cNvSpPr>
          <p:nvPr>
            <p:ph type="title" hasCustomPrompt="1"/>
          </p:nvPr>
        </p:nvSpPr>
        <p:spPr/>
        <p:txBody>
          <a:bodyPr/>
          <a:lstStyle>
            <a:lvl1pPr>
              <a:defRPr/>
            </a:lvl1pPr>
          </a:lstStyle>
          <a:p>
            <a:r>
              <a:rPr lang="en-US"/>
              <a:t>Click to add slide title</a:t>
            </a:r>
          </a:p>
        </p:txBody>
      </p:sp>
      <p:sp>
        <p:nvSpPr>
          <p:cNvPr id="7" name="Subtitle 2"/>
          <p:cNvSpPr>
            <a:spLocks noGrp="1"/>
          </p:cNvSpPr>
          <p:nvPr>
            <p:ph type="subTitle" idx="13" hasCustomPrompt="1"/>
          </p:nvPr>
        </p:nvSpPr>
        <p:spPr>
          <a:xfrm>
            <a:off x="1075061" y="964671"/>
            <a:ext cx="7910158" cy="490042"/>
          </a:xfrm>
        </p:spPr>
        <p:txBody>
          <a:bodyPr wrap="none"/>
          <a:lstStyle>
            <a:lvl1pPr marL="0" indent="0" algn="l">
              <a:spcBef>
                <a:spcPts val="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sp>
        <p:nvSpPr>
          <p:cNvPr id="3" name="Content Placeholder 2"/>
          <p:cNvSpPr>
            <a:spLocks noGrp="1"/>
          </p:cNvSpPr>
          <p:nvPr>
            <p:ph idx="1" hasCustomPrompt="1"/>
          </p:nvPr>
        </p:nvSpPr>
        <p:spPr>
          <a:xfrm>
            <a:off x="1075061" y="1629618"/>
            <a:ext cx="3384000" cy="4139357"/>
          </a:xfrm>
        </p:spPr>
        <p:txBody>
          <a:bodyPr/>
          <a:lstStyle>
            <a:lvl1pPr>
              <a:defRPr/>
            </a:lvl1pPr>
          </a:lstStyle>
          <a:p>
            <a:pPr lvl="0"/>
            <a:r>
              <a:rPr lang="en-US"/>
              <a:t>Click to add text or content</a:t>
            </a:r>
          </a:p>
          <a:p>
            <a:pPr lvl="1"/>
            <a:r>
              <a:rPr lang="en-US"/>
              <a:t>Second level</a:t>
            </a:r>
          </a:p>
          <a:p>
            <a:pPr lvl="2"/>
            <a:r>
              <a:rPr lang="en-US"/>
              <a:t>Third level</a:t>
            </a:r>
          </a:p>
          <a:p>
            <a:pPr lvl="3"/>
            <a:r>
              <a:rPr lang="en-US"/>
              <a:t>Fourth level</a:t>
            </a:r>
          </a:p>
          <a:p>
            <a:pPr lvl="4"/>
            <a:r>
              <a:rPr lang="en-US"/>
              <a:t>Fifth level</a:t>
            </a:r>
          </a:p>
        </p:txBody>
      </p:sp>
      <p:sp>
        <p:nvSpPr>
          <p:cNvPr id="9" name="Content Placeholder 2"/>
          <p:cNvSpPr>
            <a:spLocks noGrp="1"/>
          </p:cNvSpPr>
          <p:nvPr>
            <p:ph idx="17" hasCustomPrompt="1"/>
          </p:nvPr>
        </p:nvSpPr>
        <p:spPr>
          <a:xfrm>
            <a:off x="4755793" y="1629618"/>
            <a:ext cx="3384000" cy="4139357"/>
          </a:xfrm>
        </p:spPr>
        <p:txBody>
          <a:bodyPr/>
          <a:lstStyle>
            <a:lvl1pPr>
              <a:defRPr/>
            </a:lvl1pPr>
          </a:lstStyle>
          <a:p>
            <a:pPr lvl="0"/>
            <a:r>
              <a:rPr lang="en-US"/>
              <a:t>Click to add text or content</a:t>
            </a:r>
          </a:p>
          <a:p>
            <a:pPr lvl="1"/>
            <a:r>
              <a:rPr lang="en-US"/>
              <a:t>Second level</a:t>
            </a:r>
          </a:p>
          <a:p>
            <a:pPr lvl="2"/>
            <a:r>
              <a:rPr lang="en-US"/>
              <a:t>Third level</a:t>
            </a:r>
          </a:p>
          <a:p>
            <a:pPr lvl="3"/>
            <a:r>
              <a:rPr lang="en-US"/>
              <a:t>Fourth level</a:t>
            </a:r>
          </a:p>
          <a:p>
            <a:pPr lvl="4"/>
            <a:r>
              <a:rPr lang="en-US"/>
              <a:t>Fifth level</a:t>
            </a:r>
          </a:p>
        </p:txBody>
      </p:sp>
      <p:sp>
        <p:nvSpPr>
          <p:cNvPr id="10" name="Content Placeholder 2"/>
          <p:cNvSpPr>
            <a:spLocks noGrp="1"/>
          </p:cNvSpPr>
          <p:nvPr>
            <p:ph idx="18" hasCustomPrompt="1"/>
          </p:nvPr>
        </p:nvSpPr>
        <p:spPr>
          <a:xfrm>
            <a:off x="8436525" y="1629618"/>
            <a:ext cx="3384000" cy="4139357"/>
          </a:xfrm>
        </p:spPr>
        <p:txBody>
          <a:bodyPr/>
          <a:lstStyle>
            <a:lvl1pPr>
              <a:defRPr/>
            </a:lvl1pPr>
          </a:lstStyle>
          <a:p>
            <a:pPr lvl="0"/>
            <a:r>
              <a:rPr lang="en-US"/>
              <a:t>Click to add text or content</a:t>
            </a:r>
          </a:p>
          <a:p>
            <a:pPr lvl="1"/>
            <a:r>
              <a:rPr lang="en-US"/>
              <a:t>Second level</a:t>
            </a:r>
          </a:p>
          <a:p>
            <a:pPr lvl="2"/>
            <a:r>
              <a:rPr lang="en-US"/>
              <a:t>Third level</a:t>
            </a:r>
          </a:p>
          <a:p>
            <a:pPr lvl="3"/>
            <a:r>
              <a:rPr lang="en-US"/>
              <a:t>Fourth level</a:t>
            </a:r>
          </a:p>
          <a:p>
            <a:pPr lvl="4"/>
            <a:r>
              <a:rPr lang="en-US"/>
              <a:t>Fifth level</a:t>
            </a:r>
          </a:p>
        </p:txBody>
      </p:sp>
      <p:sp>
        <p:nvSpPr>
          <p:cNvPr id="12" name="Text Placeholder 4"/>
          <p:cNvSpPr>
            <a:spLocks noGrp="1"/>
          </p:cNvSpPr>
          <p:nvPr>
            <p:ph type="body" sz="quarter" idx="19" hasCustomPrompt="1"/>
          </p:nvPr>
        </p:nvSpPr>
        <p:spPr>
          <a:xfrm>
            <a:off x="1075063" y="6307665"/>
            <a:ext cx="8162717" cy="133200"/>
          </a:xfrm>
        </p:spPr>
        <p:txBody>
          <a:bodyPr lIns="0" tIns="0" rIns="0" bIns="0" anchor="b" anchorCtr="0"/>
          <a:lstStyle>
            <a:lvl1pPr marL="0" indent="0" algn="l">
              <a:lnSpc>
                <a:spcPct val="100000"/>
              </a:lnSpc>
              <a:spcBef>
                <a:spcPts val="0"/>
              </a:spcBef>
              <a:buNone/>
              <a:defRPr sz="800" baseline="0"/>
            </a:lvl1pPr>
            <a:lvl2pPr marL="0" indent="0" algn="l">
              <a:lnSpc>
                <a:spcPct val="100000"/>
              </a:lnSpc>
              <a:spcBef>
                <a:spcPts val="0"/>
              </a:spcBef>
              <a:buNone/>
              <a:defRPr sz="800"/>
            </a:lvl2pPr>
            <a:lvl3pPr marL="0" indent="0" algn="l">
              <a:lnSpc>
                <a:spcPct val="100000"/>
              </a:lnSpc>
              <a:spcBef>
                <a:spcPts val="0"/>
              </a:spcBef>
              <a:buNone/>
              <a:defRPr sz="800"/>
            </a:lvl3pPr>
            <a:lvl4pPr marL="0" algn="l">
              <a:lnSpc>
                <a:spcPct val="100000"/>
              </a:lnSpc>
              <a:spcBef>
                <a:spcPts val="0"/>
              </a:spcBef>
              <a:buNone/>
              <a:defRPr sz="800"/>
            </a:lvl4pPr>
            <a:lvl5pPr marL="0" indent="0" algn="l">
              <a:lnSpc>
                <a:spcPct val="100000"/>
              </a:lnSpc>
              <a:spcBef>
                <a:spcPts val="0"/>
              </a:spcBef>
              <a:buNone/>
              <a:defRPr sz="800"/>
            </a:lvl5pPr>
          </a:lstStyle>
          <a:p>
            <a:pPr lvl="0"/>
            <a:r>
              <a:rPr lang="en-US"/>
              <a:t>Source line</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71595462"/>
      </p:ext>
    </p:extLst>
  </p:cSld>
  <p:clrMapOvr>
    <a:masterClrMapping/>
  </p:clrMapOvr>
</p:sldLayout>
</file>

<file path=ppt/slideLayouts/slideLayout484.xml><?xml version="1.0" encoding="utf-8"?>
<p:sldLayout xmlns:a="http://schemas.openxmlformats.org/drawingml/2006/main" xmlns:r="http://schemas.openxmlformats.org/officeDocument/2006/relationships" xmlns:p="http://schemas.openxmlformats.org/presentationml/2006/main" preserve="1">
  <p:cSld name="Four contents 1">
    <p:spTree>
      <p:nvGrpSpPr>
        <p:cNvPr id="1" name=""/>
        <p:cNvGrpSpPr/>
        <p:nvPr/>
      </p:nvGrpSpPr>
      <p:grpSpPr>
        <a:xfrm>
          <a:off x="0" y="0"/>
          <a:ext cx="0" cy="0"/>
          <a:chOff x="0" y="0"/>
          <a:chExt cx="0" cy="0"/>
        </a:xfrm>
      </p:grpSpPr>
      <p:sp>
        <p:nvSpPr>
          <p:cNvPr id="21" name="Date Placeholder 20"/>
          <p:cNvSpPr>
            <a:spLocks noGrp="1"/>
          </p:cNvSpPr>
          <p:nvPr>
            <p:ph type="dt" sz="half" idx="14"/>
          </p:nvPr>
        </p:nvSpPr>
        <p:spPr/>
        <p:txBody>
          <a:bodyPr/>
          <a:lstStyle/>
          <a:p>
            <a:fld id="{C2672A55-7139-4AA9-8041-42818C956C2C}" type="datetime5">
              <a:rPr lang="en-US" smtClean="0"/>
              <a:t>26-Jun-20</a:t>
            </a:fld>
            <a:endParaRPr lang="en-US"/>
          </a:p>
        </p:txBody>
      </p:sp>
      <p:sp>
        <p:nvSpPr>
          <p:cNvPr id="22" name="Footer Placeholder 21"/>
          <p:cNvSpPr>
            <a:spLocks noGrp="1"/>
          </p:cNvSpPr>
          <p:nvPr>
            <p:ph type="ftr" sz="quarter" idx="15"/>
          </p:nvPr>
        </p:nvSpPr>
        <p:spPr/>
        <p:txBody>
          <a:bodyPr/>
          <a:lstStyle/>
          <a:p>
            <a:r>
              <a:rPr lang="en-US"/>
              <a:t>Title of presentation (Insert / Header &amp; Footer / Apply to All)</a:t>
            </a:r>
          </a:p>
        </p:txBody>
      </p:sp>
      <p:sp>
        <p:nvSpPr>
          <p:cNvPr id="23" name="Slide Number Placeholder 22"/>
          <p:cNvSpPr>
            <a:spLocks noGrp="1"/>
          </p:cNvSpPr>
          <p:nvPr>
            <p:ph type="sldNum" sz="quarter" idx="16"/>
          </p:nvPr>
        </p:nvSpPr>
        <p:spPr/>
        <p:txBody>
          <a:bodyPr/>
          <a:lstStyle/>
          <a:p>
            <a:fld id="{5F3E29E4-0979-4FCA-B4C5-5FC6044C982A}" type="slidenum">
              <a:rPr lang="en-US" smtClean="0"/>
              <a:t>‹#›</a:t>
            </a:fld>
            <a:endParaRPr lang="en-US"/>
          </a:p>
        </p:txBody>
      </p:sp>
      <p:sp>
        <p:nvSpPr>
          <p:cNvPr id="2" name="Title 1"/>
          <p:cNvSpPr>
            <a:spLocks noGrp="1"/>
          </p:cNvSpPr>
          <p:nvPr>
            <p:ph type="title" hasCustomPrompt="1"/>
          </p:nvPr>
        </p:nvSpPr>
        <p:spPr/>
        <p:txBody>
          <a:bodyPr/>
          <a:lstStyle>
            <a:lvl1pPr>
              <a:defRPr/>
            </a:lvl1pPr>
          </a:lstStyle>
          <a:p>
            <a:r>
              <a:rPr lang="en-US"/>
              <a:t>Click to add slide title</a:t>
            </a:r>
          </a:p>
        </p:txBody>
      </p:sp>
      <p:sp>
        <p:nvSpPr>
          <p:cNvPr id="7" name="Subtitle 2"/>
          <p:cNvSpPr>
            <a:spLocks noGrp="1"/>
          </p:cNvSpPr>
          <p:nvPr>
            <p:ph type="subTitle" idx="13" hasCustomPrompt="1"/>
          </p:nvPr>
        </p:nvSpPr>
        <p:spPr>
          <a:xfrm>
            <a:off x="1075061" y="964671"/>
            <a:ext cx="7910158" cy="490042"/>
          </a:xfrm>
        </p:spPr>
        <p:txBody>
          <a:bodyPr wrap="none"/>
          <a:lstStyle>
            <a:lvl1pPr marL="0" indent="0" algn="l">
              <a:spcBef>
                <a:spcPts val="0"/>
              </a:spcBef>
              <a:buNone/>
              <a:defRPr sz="2400" baseline="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sp>
        <p:nvSpPr>
          <p:cNvPr id="3" name="Content Placeholder 2"/>
          <p:cNvSpPr>
            <a:spLocks noGrp="1"/>
          </p:cNvSpPr>
          <p:nvPr>
            <p:ph idx="1" hasCustomPrompt="1"/>
          </p:nvPr>
        </p:nvSpPr>
        <p:spPr>
          <a:xfrm>
            <a:off x="192088" y="1629618"/>
            <a:ext cx="2682000" cy="4139357"/>
          </a:xfrm>
        </p:spPr>
        <p:txBody>
          <a:bodyPr/>
          <a:lstStyle>
            <a:lvl1pPr>
              <a:defRPr/>
            </a:lvl1pPr>
          </a:lstStyle>
          <a:p>
            <a:pPr lvl="0"/>
            <a:r>
              <a:rPr lang="en-US"/>
              <a:t>Click to add text or content</a:t>
            </a:r>
          </a:p>
          <a:p>
            <a:pPr lvl="1"/>
            <a:r>
              <a:rPr lang="en-US"/>
              <a:t>Second level</a:t>
            </a:r>
          </a:p>
          <a:p>
            <a:pPr lvl="2"/>
            <a:r>
              <a:rPr lang="en-US"/>
              <a:t>Third level</a:t>
            </a:r>
          </a:p>
          <a:p>
            <a:pPr lvl="3"/>
            <a:r>
              <a:rPr lang="en-US"/>
              <a:t>Fourth level</a:t>
            </a:r>
          </a:p>
          <a:p>
            <a:pPr lvl="4"/>
            <a:r>
              <a:rPr lang="en-US"/>
              <a:t>Fifth level</a:t>
            </a:r>
          </a:p>
        </p:txBody>
      </p:sp>
      <p:sp>
        <p:nvSpPr>
          <p:cNvPr id="9" name="Content Placeholder 2"/>
          <p:cNvSpPr>
            <a:spLocks noGrp="1"/>
          </p:cNvSpPr>
          <p:nvPr>
            <p:ph idx="17" hasCustomPrompt="1"/>
          </p:nvPr>
        </p:nvSpPr>
        <p:spPr>
          <a:xfrm>
            <a:off x="3174234" y="1629618"/>
            <a:ext cx="2682000" cy="4139357"/>
          </a:xfrm>
        </p:spPr>
        <p:txBody>
          <a:bodyPr/>
          <a:lstStyle>
            <a:lvl1pPr>
              <a:defRPr/>
            </a:lvl1pPr>
          </a:lstStyle>
          <a:p>
            <a:pPr lvl="0"/>
            <a:r>
              <a:rPr lang="en-US"/>
              <a:t>Click to add text or content</a:t>
            </a:r>
          </a:p>
          <a:p>
            <a:pPr lvl="1"/>
            <a:r>
              <a:rPr lang="en-US"/>
              <a:t>Second level</a:t>
            </a:r>
          </a:p>
          <a:p>
            <a:pPr lvl="2"/>
            <a:r>
              <a:rPr lang="en-US"/>
              <a:t>Third level</a:t>
            </a:r>
          </a:p>
          <a:p>
            <a:pPr lvl="3"/>
            <a:r>
              <a:rPr lang="en-US"/>
              <a:t>Fourth level</a:t>
            </a:r>
          </a:p>
          <a:p>
            <a:pPr lvl="4"/>
            <a:r>
              <a:rPr lang="en-US"/>
              <a:t>Fifth level</a:t>
            </a:r>
          </a:p>
        </p:txBody>
      </p:sp>
      <p:sp>
        <p:nvSpPr>
          <p:cNvPr id="10" name="Content Placeholder 2"/>
          <p:cNvSpPr>
            <a:spLocks noGrp="1"/>
          </p:cNvSpPr>
          <p:nvPr>
            <p:ph idx="18" hasCustomPrompt="1"/>
          </p:nvPr>
        </p:nvSpPr>
        <p:spPr>
          <a:xfrm>
            <a:off x="6156380" y="1629618"/>
            <a:ext cx="2682000" cy="4139357"/>
          </a:xfrm>
        </p:spPr>
        <p:txBody>
          <a:bodyPr/>
          <a:lstStyle>
            <a:lvl1pPr>
              <a:defRPr/>
            </a:lvl1pPr>
          </a:lstStyle>
          <a:p>
            <a:pPr lvl="0"/>
            <a:r>
              <a:rPr lang="en-US"/>
              <a:t>Click to add text or content</a:t>
            </a:r>
          </a:p>
          <a:p>
            <a:pPr lvl="1"/>
            <a:r>
              <a:rPr lang="en-US"/>
              <a:t>Second level</a:t>
            </a:r>
          </a:p>
          <a:p>
            <a:pPr lvl="2"/>
            <a:r>
              <a:rPr lang="en-US"/>
              <a:t>Third level</a:t>
            </a:r>
          </a:p>
          <a:p>
            <a:pPr lvl="3"/>
            <a:r>
              <a:rPr lang="en-US"/>
              <a:t>Fourth level</a:t>
            </a:r>
          </a:p>
          <a:p>
            <a:pPr lvl="4"/>
            <a:r>
              <a:rPr lang="en-US"/>
              <a:t>Fifth level</a:t>
            </a:r>
          </a:p>
        </p:txBody>
      </p:sp>
      <p:sp>
        <p:nvSpPr>
          <p:cNvPr id="13" name="Content Placeholder 2"/>
          <p:cNvSpPr>
            <a:spLocks noGrp="1"/>
          </p:cNvSpPr>
          <p:nvPr>
            <p:ph idx="19" hasCustomPrompt="1"/>
          </p:nvPr>
        </p:nvSpPr>
        <p:spPr>
          <a:xfrm>
            <a:off x="9138525" y="1629618"/>
            <a:ext cx="2682000" cy="4139357"/>
          </a:xfrm>
        </p:spPr>
        <p:txBody>
          <a:bodyPr/>
          <a:lstStyle>
            <a:lvl1pPr>
              <a:defRPr/>
            </a:lvl1pPr>
          </a:lstStyle>
          <a:p>
            <a:pPr lvl="0"/>
            <a:r>
              <a:rPr lang="en-US"/>
              <a:t>Click to add text or content</a:t>
            </a:r>
          </a:p>
          <a:p>
            <a:pPr lvl="1"/>
            <a:r>
              <a:rPr lang="en-US"/>
              <a:t>Second level</a:t>
            </a:r>
          </a:p>
          <a:p>
            <a:pPr lvl="2"/>
            <a:r>
              <a:rPr lang="en-US"/>
              <a:t>Third level</a:t>
            </a:r>
          </a:p>
          <a:p>
            <a:pPr lvl="3"/>
            <a:r>
              <a:rPr lang="en-US"/>
              <a:t>Fourth level</a:t>
            </a:r>
          </a:p>
          <a:p>
            <a:pPr lvl="4"/>
            <a:r>
              <a:rPr lang="en-US"/>
              <a:t>Fifth level</a:t>
            </a:r>
          </a:p>
        </p:txBody>
      </p:sp>
      <p:sp>
        <p:nvSpPr>
          <p:cNvPr id="12" name="Text Placeholder 4"/>
          <p:cNvSpPr>
            <a:spLocks noGrp="1"/>
          </p:cNvSpPr>
          <p:nvPr>
            <p:ph type="body" sz="quarter" idx="20" hasCustomPrompt="1"/>
          </p:nvPr>
        </p:nvSpPr>
        <p:spPr>
          <a:xfrm>
            <a:off x="1075063" y="6307665"/>
            <a:ext cx="8162717" cy="133200"/>
          </a:xfrm>
        </p:spPr>
        <p:txBody>
          <a:bodyPr lIns="0" tIns="0" rIns="0" bIns="0" anchor="b" anchorCtr="0"/>
          <a:lstStyle>
            <a:lvl1pPr marL="0" indent="0" algn="l">
              <a:lnSpc>
                <a:spcPct val="100000"/>
              </a:lnSpc>
              <a:spcBef>
                <a:spcPts val="0"/>
              </a:spcBef>
              <a:buNone/>
              <a:defRPr sz="800" baseline="0"/>
            </a:lvl1pPr>
            <a:lvl2pPr marL="0" indent="0" algn="l">
              <a:lnSpc>
                <a:spcPct val="100000"/>
              </a:lnSpc>
              <a:spcBef>
                <a:spcPts val="0"/>
              </a:spcBef>
              <a:buNone/>
              <a:defRPr sz="800"/>
            </a:lvl2pPr>
            <a:lvl3pPr marL="0" indent="0" algn="l">
              <a:lnSpc>
                <a:spcPct val="100000"/>
              </a:lnSpc>
              <a:spcBef>
                <a:spcPts val="0"/>
              </a:spcBef>
              <a:buNone/>
              <a:defRPr sz="800"/>
            </a:lvl3pPr>
            <a:lvl4pPr marL="0" algn="l">
              <a:lnSpc>
                <a:spcPct val="100000"/>
              </a:lnSpc>
              <a:spcBef>
                <a:spcPts val="0"/>
              </a:spcBef>
              <a:buNone/>
              <a:defRPr sz="800"/>
            </a:lvl4pPr>
            <a:lvl5pPr marL="0" indent="0" algn="l">
              <a:lnSpc>
                <a:spcPct val="100000"/>
              </a:lnSpc>
              <a:spcBef>
                <a:spcPts val="0"/>
              </a:spcBef>
              <a:buNone/>
              <a:defRPr sz="800"/>
            </a:lvl5pPr>
          </a:lstStyle>
          <a:p>
            <a:pPr lvl="0"/>
            <a:r>
              <a:rPr lang="en-US"/>
              <a:t>Source line</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79892524"/>
      </p:ext>
    </p:extLst>
  </p:cSld>
  <p:clrMapOvr>
    <a:masterClrMapping/>
  </p:clrMapOvr>
</p:sldLayout>
</file>

<file path=ppt/slideLayouts/slideLayout485.xml><?xml version="1.0" encoding="utf-8"?>
<p:sldLayout xmlns:a="http://schemas.openxmlformats.org/drawingml/2006/main" xmlns:r="http://schemas.openxmlformats.org/officeDocument/2006/relationships" xmlns:p="http://schemas.openxmlformats.org/presentationml/2006/main" preserve="1">
  <p:cSld name="Four contents 2">
    <p:spTree>
      <p:nvGrpSpPr>
        <p:cNvPr id="1" name=""/>
        <p:cNvGrpSpPr/>
        <p:nvPr/>
      </p:nvGrpSpPr>
      <p:grpSpPr>
        <a:xfrm>
          <a:off x="0" y="0"/>
          <a:ext cx="0" cy="0"/>
          <a:chOff x="0" y="0"/>
          <a:chExt cx="0" cy="0"/>
        </a:xfrm>
      </p:grpSpPr>
      <p:sp>
        <p:nvSpPr>
          <p:cNvPr id="21" name="Date Placeholder 20"/>
          <p:cNvSpPr>
            <a:spLocks noGrp="1"/>
          </p:cNvSpPr>
          <p:nvPr>
            <p:ph type="dt" sz="half" idx="14"/>
          </p:nvPr>
        </p:nvSpPr>
        <p:spPr/>
        <p:txBody>
          <a:bodyPr/>
          <a:lstStyle/>
          <a:p>
            <a:fld id="{C1A94770-6330-463A-BD32-DB4363F98C83}" type="datetime5">
              <a:rPr lang="en-US" smtClean="0"/>
              <a:t>26-Jun-20</a:t>
            </a:fld>
            <a:endParaRPr lang="en-US"/>
          </a:p>
        </p:txBody>
      </p:sp>
      <p:sp>
        <p:nvSpPr>
          <p:cNvPr id="22" name="Footer Placeholder 21"/>
          <p:cNvSpPr>
            <a:spLocks noGrp="1"/>
          </p:cNvSpPr>
          <p:nvPr>
            <p:ph type="ftr" sz="quarter" idx="15"/>
          </p:nvPr>
        </p:nvSpPr>
        <p:spPr/>
        <p:txBody>
          <a:bodyPr/>
          <a:lstStyle/>
          <a:p>
            <a:r>
              <a:rPr lang="en-US"/>
              <a:t>Title of presentation (Insert / Header &amp; Footer / Apply to All)</a:t>
            </a:r>
          </a:p>
        </p:txBody>
      </p:sp>
      <p:sp>
        <p:nvSpPr>
          <p:cNvPr id="23" name="Slide Number Placeholder 22"/>
          <p:cNvSpPr>
            <a:spLocks noGrp="1"/>
          </p:cNvSpPr>
          <p:nvPr>
            <p:ph type="sldNum" sz="quarter" idx="16"/>
          </p:nvPr>
        </p:nvSpPr>
        <p:spPr/>
        <p:txBody>
          <a:bodyPr/>
          <a:lstStyle/>
          <a:p>
            <a:fld id="{5F3E29E4-0979-4FCA-B4C5-5FC6044C982A}" type="slidenum">
              <a:rPr lang="en-US" smtClean="0"/>
              <a:t>‹#›</a:t>
            </a:fld>
            <a:endParaRPr lang="en-US"/>
          </a:p>
        </p:txBody>
      </p:sp>
      <p:sp>
        <p:nvSpPr>
          <p:cNvPr id="2" name="Title 1"/>
          <p:cNvSpPr>
            <a:spLocks noGrp="1"/>
          </p:cNvSpPr>
          <p:nvPr>
            <p:ph type="title" hasCustomPrompt="1"/>
          </p:nvPr>
        </p:nvSpPr>
        <p:spPr/>
        <p:txBody>
          <a:bodyPr/>
          <a:lstStyle>
            <a:lvl1pPr>
              <a:defRPr/>
            </a:lvl1pPr>
          </a:lstStyle>
          <a:p>
            <a:r>
              <a:rPr lang="en-US"/>
              <a:t>Click to add slide title</a:t>
            </a:r>
          </a:p>
        </p:txBody>
      </p:sp>
      <p:sp>
        <p:nvSpPr>
          <p:cNvPr id="7" name="Subtitle 2"/>
          <p:cNvSpPr>
            <a:spLocks noGrp="1"/>
          </p:cNvSpPr>
          <p:nvPr>
            <p:ph type="subTitle" idx="13" hasCustomPrompt="1"/>
          </p:nvPr>
        </p:nvSpPr>
        <p:spPr>
          <a:xfrm>
            <a:off x="1075061" y="964671"/>
            <a:ext cx="7910158" cy="490042"/>
          </a:xfrm>
        </p:spPr>
        <p:txBody>
          <a:bodyPr wrap="none"/>
          <a:lstStyle>
            <a:lvl1pPr marL="0" indent="0" algn="l">
              <a:spcBef>
                <a:spcPts val="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sp>
        <p:nvSpPr>
          <p:cNvPr id="3" name="Content Placeholder 2"/>
          <p:cNvSpPr>
            <a:spLocks noGrp="1"/>
          </p:cNvSpPr>
          <p:nvPr>
            <p:ph idx="1" hasCustomPrompt="1"/>
          </p:nvPr>
        </p:nvSpPr>
        <p:spPr>
          <a:xfrm>
            <a:off x="192088" y="1629617"/>
            <a:ext cx="6102974" cy="2160000"/>
          </a:xfrm>
        </p:spPr>
        <p:txBody>
          <a:bodyPr/>
          <a:lstStyle>
            <a:lvl1pPr>
              <a:defRPr/>
            </a:lvl1pPr>
          </a:lstStyle>
          <a:p>
            <a:pPr lvl="0"/>
            <a:r>
              <a:rPr lang="en-US"/>
              <a:t>Click to add text or content</a:t>
            </a:r>
          </a:p>
          <a:p>
            <a:pPr lvl="1"/>
            <a:r>
              <a:rPr lang="en-US"/>
              <a:t>Second level</a:t>
            </a:r>
          </a:p>
          <a:p>
            <a:pPr lvl="2"/>
            <a:r>
              <a:rPr lang="en-US"/>
              <a:t>Third level</a:t>
            </a:r>
          </a:p>
          <a:p>
            <a:pPr lvl="3"/>
            <a:r>
              <a:rPr lang="en-US"/>
              <a:t>Fourth level</a:t>
            </a:r>
          </a:p>
          <a:p>
            <a:pPr lvl="4"/>
            <a:r>
              <a:rPr lang="en-US"/>
              <a:t>Fifth level</a:t>
            </a:r>
          </a:p>
        </p:txBody>
      </p:sp>
      <p:sp>
        <p:nvSpPr>
          <p:cNvPr id="9" name="Content Placeholder 2"/>
          <p:cNvSpPr>
            <a:spLocks noGrp="1"/>
          </p:cNvSpPr>
          <p:nvPr>
            <p:ph idx="17" hasCustomPrompt="1"/>
          </p:nvPr>
        </p:nvSpPr>
        <p:spPr>
          <a:xfrm>
            <a:off x="6600525" y="1629617"/>
            <a:ext cx="5234144" cy="2160000"/>
          </a:xfrm>
        </p:spPr>
        <p:txBody>
          <a:bodyPr/>
          <a:lstStyle>
            <a:lvl1pPr>
              <a:defRPr/>
            </a:lvl1pPr>
          </a:lstStyle>
          <a:p>
            <a:pPr lvl="0"/>
            <a:r>
              <a:rPr lang="en-US"/>
              <a:t>Click to add text or content</a:t>
            </a:r>
          </a:p>
          <a:p>
            <a:pPr lvl="1"/>
            <a:r>
              <a:rPr lang="en-US"/>
              <a:t>Second level</a:t>
            </a:r>
          </a:p>
          <a:p>
            <a:pPr lvl="2"/>
            <a:r>
              <a:rPr lang="en-US"/>
              <a:t>Third level</a:t>
            </a:r>
          </a:p>
          <a:p>
            <a:pPr lvl="3"/>
            <a:r>
              <a:rPr lang="en-US"/>
              <a:t>Fourth level</a:t>
            </a:r>
          </a:p>
          <a:p>
            <a:pPr lvl="4"/>
            <a:r>
              <a:rPr lang="en-US"/>
              <a:t>Fifth level</a:t>
            </a:r>
          </a:p>
        </p:txBody>
      </p:sp>
      <p:sp>
        <p:nvSpPr>
          <p:cNvPr id="10" name="Content Placeholder 2"/>
          <p:cNvSpPr>
            <a:spLocks noGrp="1"/>
          </p:cNvSpPr>
          <p:nvPr>
            <p:ph idx="18" hasCustomPrompt="1"/>
          </p:nvPr>
        </p:nvSpPr>
        <p:spPr>
          <a:xfrm>
            <a:off x="192088" y="4077289"/>
            <a:ext cx="6102974" cy="2160000"/>
          </a:xfrm>
        </p:spPr>
        <p:txBody>
          <a:bodyPr/>
          <a:lstStyle>
            <a:lvl1pPr>
              <a:defRPr/>
            </a:lvl1pPr>
          </a:lstStyle>
          <a:p>
            <a:pPr lvl="0"/>
            <a:r>
              <a:rPr lang="en-US"/>
              <a:t>Click to add text or content</a:t>
            </a:r>
          </a:p>
          <a:p>
            <a:pPr lvl="1"/>
            <a:r>
              <a:rPr lang="en-US"/>
              <a:t>Second level</a:t>
            </a:r>
          </a:p>
          <a:p>
            <a:pPr lvl="2"/>
            <a:r>
              <a:rPr lang="en-US"/>
              <a:t>Third level</a:t>
            </a:r>
          </a:p>
          <a:p>
            <a:pPr lvl="3"/>
            <a:r>
              <a:rPr lang="en-US"/>
              <a:t>Fourth level</a:t>
            </a:r>
          </a:p>
          <a:p>
            <a:pPr lvl="4"/>
            <a:r>
              <a:rPr lang="en-US"/>
              <a:t>Fifth level</a:t>
            </a:r>
          </a:p>
        </p:txBody>
      </p:sp>
      <p:sp>
        <p:nvSpPr>
          <p:cNvPr id="13" name="Content Placeholder 2"/>
          <p:cNvSpPr>
            <a:spLocks noGrp="1"/>
          </p:cNvSpPr>
          <p:nvPr>
            <p:ph idx="19" hasCustomPrompt="1"/>
          </p:nvPr>
        </p:nvSpPr>
        <p:spPr>
          <a:xfrm>
            <a:off x="6600525" y="4077289"/>
            <a:ext cx="5234144" cy="2160000"/>
          </a:xfrm>
        </p:spPr>
        <p:txBody>
          <a:bodyPr/>
          <a:lstStyle>
            <a:lvl1pPr>
              <a:defRPr/>
            </a:lvl1pPr>
          </a:lstStyle>
          <a:p>
            <a:pPr lvl="0"/>
            <a:r>
              <a:rPr lang="en-US"/>
              <a:t>Click to add text or content</a:t>
            </a:r>
          </a:p>
          <a:p>
            <a:pPr lvl="1"/>
            <a:r>
              <a:rPr lang="en-US"/>
              <a:t>Second level</a:t>
            </a:r>
          </a:p>
          <a:p>
            <a:pPr lvl="2"/>
            <a:r>
              <a:rPr lang="en-US"/>
              <a:t>Third level</a:t>
            </a:r>
          </a:p>
          <a:p>
            <a:pPr lvl="3"/>
            <a:r>
              <a:rPr lang="en-US"/>
              <a:t>Fourth level</a:t>
            </a:r>
          </a:p>
          <a:p>
            <a:pPr lvl="4"/>
            <a:r>
              <a:rPr lang="en-US"/>
              <a:t>Fifth level</a:t>
            </a:r>
          </a:p>
        </p:txBody>
      </p:sp>
      <p:sp>
        <p:nvSpPr>
          <p:cNvPr id="12" name="Text Placeholder 4"/>
          <p:cNvSpPr>
            <a:spLocks noGrp="1"/>
          </p:cNvSpPr>
          <p:nvPr>
            <p:ph type="body" sz="quarter" idx="20" hasCustomPrompt="1"/>
          </p:nvPr>
        </p:nvSpPr>
        <p:spPr>
          <a:xfrm>
            <a:off x="1075063" y="6307665"/>
            <a:ext cx="8162717" cy="133200"/>
          </a:xfrm>
        </p:spPr>
        <p:txBody>
          <a:bodyPr lIns="0" tIns="0" rIns="0" bIns="0" anchor="b" anchorCtr="0"/>
          <a:lstStyle>
            <a:lvl1pPr marL="0" indent="0" algn="l">
              <a:lnSpc>
                <a:spcPct val="100000"/>
              </a:lnSpc>
              <a:spcBef>
                <a:spcPts val="0"/>
              </a:spcBef>
              <a:buNone/>
              <a:defRPr sz="800" baseline="0"/>
            </a:lvl1pPr>
            <a:lvl2pPr marL="0" indent="0" algn="l">
              <a:lnSpc>
                <a:spcPct val="100000"/>
              </a:lnSpc>
              <a:spcBef>
                <a:spcPts val="0"/>
              </a:spcBef>
              <a:buNone/>
              <a:defRPr sz="800"/>
            </a:lvl2pPr>
            <a:lvl3pPr marL="0" indent="0" algn="l">
              <a:lnSpc>
                <a:spcPct val="100000"/>
              </a:lnSpc>
              <a:spcBef>
                <a:spcPts val="0"/>
              </a:spcBef>
              <a:buNone/>
              <a:defRPr sz="800"/>
            </a:lvl3pPr>
            <a:lvl4pPr marL="0" algn="l">
              <a:lnSpc>
                <a:spcPct val="100000"/>
              </a:lnSpc>
              <a:spcBef>
                <a:spcPts val="0"/>
              </a:spcBef>
              <a:buNone/>
              <a:defRPr sz="800"/>
            </a:lvl4pPr>
            <a:lvl5pPr marL="0" indent="0" algn="l">
              <a:lnSpc>
                <a:spcPct val="100000"/>
              </a:lnSpc>
              <a:spcBef>
                <a:spcPts val="0"/>
              </a:spcBef>
              <a:buNone/>
              <a:defRPr sz="800"/>
            </a:lvl5pPr>
          </a:lstStyle>
          <a:p>
            <a:pPr lvl="0"/>
            <a:r>
              <a:rPr lang="en-US"/>
              <a:t>Source line</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13343233"/>
      </p:ext>
    </p:extLst>
  </p:cSld>
  <p:clrMapOvr>
    <a:masterClrMapping/>
  </p:clrMapOvr>
</p:sldLayout>
</file>

<file path=ppt/slideLayouts/slideLayout486.xml><?xml version="1.0" encoding="utf-8"?>
<p:sldLayout xmlns:a="http://schemas.openxmlformats.org/drawingml/2006/main" xmlns:r="http://schemas.openxmlformats.org/officeDocument/2006/relationships" xmlns:p="http://schemas.openxmlformats.org/presentationml/2006/main" preserve="1">
  <p:cSld name="Large charts and tables">
    <p:spTree>
      <p:nvGrpSpPr>
        <p:cNvPr id="1" name=""/>
        <p:cNvGrpSpPr/>
        <p:nvPr/>
      </p:nvGrpSpPr>
      <p:grpSpPr>
        <a:xfrm>
          <a:off x="0" y="0"/>
          <a:ext cx="0" cy="0"/>
          <a:chOff x="0" y="0"/>
          <a:chExt cx="0" cy="0"/>
        </a:xfrm>
      </p:grpSpPr>
      <p:sp>
        <p:nvSpPr>
          <p:cNvPr id="21" name="Date Placeholder 20"/>
          <p:cNvSpPr>
            <a:spLocks noGrp="1"/>
          </p:cNvSpPr>
          <p:nvPr>
            <p:ph type="dt" sz="half" idx="14"/>
          </p:nvPr>
        </p:nvSpPr>
        <p:spPr/>
        <p:txBody>
          <a:bodyPr/>
          <a:lstStyle/>
          <a:p>
            <a:fld id="{C8265AAA-10E5-49CF-B48E-DC443F79F14E}" type="datetime5">
              <a:rPr lang="en-US" smtClean="0"/>
              <a:t>26-Jun-20</a:t>
            </a:fld>
            <a:endParaRPr lang="en-US"/>
          </a:p>
        </p:txBody>
      </p:sp>
      <p:sp>
        <p:nvSpPr>
          <p:cNvPr id="22" name="Footer Placeholder 21"/>
          <p:cNvSpPr>
            <a:spLocks noGrp="1"/>
          </p:cNvSpPr>
          <p:nvPr>
            <p:ph type="ftr" sz="quarter" idx="15"/>
          </p:nvPr>
        </p:nvSpPr>
        <p:spPr/>
        <p:txBody>
          <a:bodyPr/>
          <a:lstStyle/>
          <a:p>
            <a:r>
              <a:rPr lang="en-US"/>
              <a:t>Title of presentation (Insert / Header &amp; Footer / Apply to All)</a:t>
            </a:r>
          </a:p>
        </p:txBody>
      </p:sp>
      <p:sp>
        <p:nvSpPr>
          <p:cNvPr id="23" name="Slide Number Placeholder 22"/>
          <p:cNvSpPr>
            <a:spLocks noGrp="1"/>
          </p:cNvSpPr>
          <p:nvPr>
            <p:ph type="sldNum" sz="quarter" idx="16"/>
          </p:nvPr>
        </p:nvSpPr>
        <p:spPr/>
        <p:txBody>
          <a:bodyPr/>
          <a:lstStyle/>
          <a:p>
            <a:fld id="{5F3E29E4-0979-4FCA-B4C5-5FC6044C982A}" type="slidenum">
              <a:rPr lang="en-US" smtClean="0"/>
              <a:t>‹#›</a:t>
            </a:fld>
            <a:endParaRPr lang="en-US"/>
          </a:p>
        </p:txBody>
      </p:sp>
      <p:sp>
        <p:nvSpPr>
          <p:cNvPr id="2" name="Title 1"/>
          <p:cNvSpPr>
            <a:spLocks noGrp="1"/>
          </p:cNvSpPr>
          <p:nvPr>
            <p:ph type="title" hasCustomPrompt="1"/>
          </p:nvPr>
        </p:nvSpPr>
        <p:spPr/>
        <p:txBody>
          <a:bodyPr/>
          <a:lstStyle>
            <a:lvl1pPr>
              <a:defRPr/>
            </a:lvl1pPr>
          </a:lstStyle>
          <a:p>
            <a:r>
              <a:rPr lang="en-US"/>
              <a:t>Click to add slide title</a:t>
            </a:r>
          </a:p>
        </p:txBody>
      </p:sp>
      <p:sp>
        <p:nvSpPr>
          <p:cNvPr id="7" name="Subtitle 2"/>
          <p:cNvSpPr>
            <a:spLocks noGrp="1"/>
          </p:cNvSpPr>
          <p:nvPr>
            <p:ph type="subTitle" idx="13" hasCustomPrompt="1"/>
          </p:nvPr>
        </p:nvSpPr>
        <p:spPr>
          <a:xfrm>
            <a:off x="1075061" y="964671"/>
            <a:ext cx="7910158" cy="490042"/>
          </a:xfrm>
        </p:spPr>
        <p:txBody>
          <a:bodyPr wrap="none"/>
          <a:lstStyle>
            <a:lvl1pPr marL="0" indent="0" algn="l">
              <a:spcBef>
                <a:spcPts val="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sp>
        <p:nvSpPr>
          <p:cNvPr id="3" name="Content Placeholder 2"/>
          <p:cNvSpPr>
            <a:spLocks noGrp="1"/>
          </p:cNvSpPr>
          <p:nvPr>
            <p:ph idx="1" hasCustomPrompt="1"/>
          </p:nvPr>
        </p:nvSpPr>
        <p:spPr>
          <a:xfrm>
            <a:off x="192088" y="1629617"/>
            <a:ext cx="11642581" cy="4599506"/>
          </a:xfrm>
        </p:spPr>
        <p:txBody>
          <a:bodyPr anchor="t"/>
          <a:lstStyle>
            <a:lvl1pPr marL="0" indent="0" algn="ctr">
              <a:spcBef>
                <a:spcPts val="1000"/>
              </a:spcBef>
              <a:buNone/>
              <a:defRPr sz="2800" baseline="0"/>
            </a:lvl1pPr>
            <a:lvl2pPr marL="0" indent="0">
              <a:spcBef>
                <a:spcPts val="1000"/>
              </a:spcBef>
              <a:buNone/>
              <a:defRPr sz="2800"/>
            </a:lvl2pPr>
            <a:lvl3pPr marL="0" indent="0">
              <a:spcBef>
                <a:spcPts val="1000"/>
              </a:spcBef>
              <a:buNone/>
              <a:defRPr sz="2800"/>
            </a:lvl3pPr>
            <a:lvl4pPr>
              <a:spcBef>
                <a:spcPts val="1000"/>
              </a:spcBef>
              <a:buNone/>
              <a:defRPr sz="2800"/>
            </a:lvl4pPr>
            <a:lvl5pPr marL="0" indent="0">
              <a:spcBef>
                <a:spcPts val="1000"/>
              </a:spcBef>
              <a:buNone/>
              <a:defRPr sz="2800"/>
            </a:lvl5pPr>
          </a:lstStyle>
          <a:p>
            <a:pPr lvl="0"/>
            <a:r>
              <a:rPr lang="en-US"/>
              <a:t>Use this layout for large charts and tables only. Please, do not use with text.</a:t>
            </a:r>
          </a:p>
          <a:p>
            <a:pPr lvl="1"/>
            <a:r>
              <a:rPr lang="en-US"/>
              <a:t>Second level</a:t>
            </a:r>
          </a:p>
          <a:p>
            <a:pPr lvl="2"/>
            <a:r>
              <a:rPr lang="en-US"/>
              <a:t>Third level</a:t>
            </a:r>
          </a:p>
          <a:p>
            <a:pPr lvl="3"/>
            <a:r>
              <a:rPr lang="en-US"/>
              <a:t>Fourth level</a:t>
            </a:r>
          </a:p>
          <a:p>
            <a:pPr lvl="4"/>
            <a:r>
              <a:rPr lang="en-US"/>
              <a:t>Fifth level</a:t>
            </a:r>
          </a:p>
        </p:txBody>
      </p:sp>
      <p:sp>
        <p:nvSpPr>
          <p:cNvPr id="9" name="Text Placeholder 4"/>
          <p:cNvSpPr>
            <a:spLocks noGrp="1"/>
          </p:cNvSpPr>
          <p:nvPr>
            <p:ph type="body" sz="quarter" idx="17" hasCustomPrompt="1"/>
          </p:nvPr>
        </p:nvSpPr>
        <p:spPr>
          <a:xfrm>
            <a:off x="1075063" y="6307665"/>
            <a:ext cx="8162717" cy="133200"/>
          </a:xfrm>
        </p:spPr>
        <p:txBody>
          <a:bodyPr lIns="0" tIns="0" rIns="0" bIns="0" anchor="b" anchorCtr="0"/>
          <a:lstStyle>
            <a:lvl1pPr marL="0" indent="0" algn="l">
              <a:lnSpc>
                <a:spcPct val="100000"/>
              </a:lnSpc>
              <a:spcBef>
                <a:spcPts val="0"/>
              </a:spcBef>
              <a:buNone/>
              <a:defRPr sz="800" baseline="0"/>
            </a:lvl1pPr>
            <a:lvl2pPr marL="0" indent="0" algn="l">
              <a:lnSpc>
                <a:spcPct val="100000"/>
              </a:lnSpc>
              <a:spcBef>
                <a:spcPts val="0"/>
              </a:spcBef>
              <a:buNone/>
              <a:defRPr sz="800"/>
            </a:lvl2pPr>
            <a:lvl3pPr marL="0" indent="0" algn="l">
              <a:lnSpc>
                <a:spcPct val="100000"/>
              </a:lnSpc>
              <a:spcBef>
                <a:spcPts val="0"/>
              </a:spcBef>
              <a:buNone/>
              <a:defRPr sz="800"/>
            </a:lvl3pPr>
            <a:lvl4pPr marL="0" algn="l">
              <a:lnSpc>
                <a:spcPct val="100000"/>
              </a:lnSpc>
              <a:spcBef>
                <a:spcPts val="0"/>
              </a:spcBef>
              <a:buNone/>
              <a:defRPr sz="800"/>
            </a:lvl4pPr>
            <a:lvl5pPr marL="0" indent="0" algn="l">
              <a:lnSpc>
                <a:spcPct val="100000"/>
              </a:lnSpc>
              <a:spcBef>
                <a:spcPts val="0"/>
              </a:spcBef>
              <a:buNone/>
              <a:defRPr sz="800"/>
            </a:lvl5pPr>
          </a:lstStyle>
          <a:p>
            <a:pPr lvl="0"/>
            <a:r>
              <a:rPr lang="en-US"/>
              <a:t>Source line</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49953830"/>
      </p:ext>
    </p:extLst>
  </p:cSld>
  <p:clrMapOvr>
    <a:masterClrMapping/>
  </p:clrMapOvr>
</p:sldLayout>
</file>

<file path=ppt/slideLayouts/slideLayout487.xml><?xml version="1.0" encoding="utf-8"?>
<p:sldLayout xmlns:a="http://schemas.openxmlformats.org/drawingml/2006/main" xmlns:r="http://schemas.openxmlformats.org/officeDocument/2006/relationships" xmlns:p="http://schemas.openxmlformats.org/presentationml/2006/main" preserve="1">
  <p:cSld name="Chart with description">
    <p:spTree>
      <p:nvGrpSpPr>
        <p:cNvPr id="1" name=""/>
        <p:cNvGrpSpPr/>
        <p:nvPr/>
      </p:nvGrpSpPr>
      <p:grpSpPr>
        <a:xfrm>
          <a:off x="0" y="0"/>
          <a:ext cx="0" cy="0"/>
          <a:chOff x="0" y="0"/>
          <a:chExt cx="0" cy="0"/>
        </a:xfrm>
      </p:grpSpPr>
      <p:sp>
        <p:nvSpPr>
          <p:cNvPr id="21" name="Date Placeholder 20"/>
          <p:cNvSpPr>
            <a:spLocks noGrp="1"/>
          </p:cNvSpPr>
          <p:nvPr>
            <p:ph type="dt" sz="half" idx="14"/>
          </p:nvPr>
        </p:nvSpPr>
        <p:spPr/>
        <p:txBody>
          <a:bodyPr/>
          <a:lstStyle/>
          <a:p>
            <a:fld id="{7E0CC7EF-9DF0-4DDD-B873-4143C4455B77}" type="datetime5">
              <a:rPr lang="en-US" smtClean="0"/>
              <a:t>26-Jun-20</a:t>
            </a:fld>
            <a:endParaRPr lang="en-US"/>
          </a:p>
        </p:txBody>
      </p:sp>
      <p:sp>
        <p:nvSpPr>
          <p:cNvPr id="22" name="Footer Placeholder 21"/>
          <p:cNvSpPr>
            <a:spLocks noGrp="1"/>
          </p:cNvSpPr>
          <p:nvPr>
            <p:ph type="ftr" sz="quarter" idx="15"/>
          </p:nvPr>
        </p:nvSpPr>
        <p:spPr/>
        <p:txBody>
          <a:bodyPr/>
          <a:lstStyle/>
          <a:p>
            <a:r>
              <a:rPr lang="en-US"/>
              <a:t>Title of presentation (Insert / Header &amp; Footer / Apply to All)</a:t>
            </a:r>
          </a:p>
        </p:txBody>
      </p:sp>
      <p:sp>
        <p:nvSpPr>
          <p:cNvPr id="23" name="Slide Number Placeholder 22"/>
          <p:cNvSpPr>
            <a:spLocks noGrp="1"/>
          </p:cNvSpPr>
          <p:nvPr>
            <p:ph type="sldNum" sz="quarter" idx="16"/>
          </p:nvPr>
        </p:nvSpPr>
        <p:spPr/>
        <p:txBody>
          <a:bodyPr/>
          <a:lstStyle/>
          <a:p>
            <a:fld id="{5F3E29E4-0979-4FCA-B4C5-5FC6044C982A}" type="slidenum">
              <a:rPr lang="en-US" smtClean="0"/>
              <a:t>‹#›</a:t>
            </a:fld>
            <a:endParaRPr lang="en-US"/>
          </a:p>
        </p:txBody>
      </p:sp>
      <p:sp>
        <p:nvSpPr>
          <p:cNvPr id="2" name="Title 1"/>
          <p:cNvSpPr>
            <a:spLocks noGrp="1"/>
          </p:cNvSpPr>
          <p:nvPr>
            <p:ph type="title" hasCustomPrompt="1"/>
          </p:nvPr>
        </p:nvSpPr>
        <p:spPr/>
        <p:txBody>
          <a:bodyPr/>
          <a:lstStyle>
            <a:lvl1pPr>
              <a:defRPr/>
            </a:lvl1pPr>
          </a:lstStyle>
          <a:p>
            <a:r>
              <a:rPr lang="en-US"/>
              <a:t>Click to add slide title</a:t>
            </a:r>
          </a:p>
        </p:txBody>
      </p:sp>
      <p:sp>
        <p:nvSpPr>
          <p:cNvPr id="7" name="Subtitle 2"/>
          <p:cNvSpPr>
            <a:spLocks noGrp="1"/>
          </p:cNvSpPr>
          <p:nvPr>
            <p:ph type="subTitle" idx="13" hasCustomPrompt="1"/>
          </p:nvPr>
        </p:nvSpPr>
        <p:spPr>
          <a:xfrm>
            <a:off x="1075061" y="964671"/>
            <a:ext cx="7910158" cy="490042"/>
          </a:xfrm>
        </p:spPr>
        <p:txBody>
          <a:bodyPr wrap="none"/>
          <a:lstStyle>
            <a:lvl1pPr marL="0" indent="0" algn="l">
              <a:spcBef>
                <a:spcPts val="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sp>
        <p:nvSpPr>
          <p:cNvPr id="4" name="Chart Placeholder 3"/>
          <p:cNvSpPr>
            <a:spLocks noGrp="1"/>
          </p:cNvSpPr>
          <p:nvPr>
            <p:ph type="chart" sz="quarter" idx="17" hasCustomPrompt="1"/>
          </p:nvPr>
        </p:nvSpPr>
        <p:spPr>
          <a:xfrm>
            <a:off x="192088" y="1629617"/>
            <a:ext cx="5903913" cy="4599506"/>
          </a:xfrm>
        </p:spPr>
        <p:txBody>
          <a:bodyPr/>
          <a:lstStyle>
            <a:lvl1pPr>
              <a:defRPr/>
            </a:lvl1pPr>
          </a:lstStyle>
          <a:p>
            <a:r>
              <a:rPr lang="en-US"/>
              <a:t>Click to add chart</a:t>
            </a:r>
          </a:p>
        </p:txBody>
      </p:sp>
      <p:sp>
        <p:nvSpPr>
          <p:cNvPr id="6" name="Text Placeholder 5"/>
          <p:cNvSpPr>
            <a:spLocks noGrp="1"/>
          </p:cNvSpPr>
          <p:nvPr>
            <p:ph type="body" sz="quarter" idx="18" hasCustomPrompt="1"/>
          </p:nvPr>
        </p:nvSpPr>
        <p:spPr>
          <a:xfrm>
            <a:off x="6206067" y="3393019"/>
            <a:ext cx="5628602" cy="2023841"/>
          </a:xfrm>
          <a:solidFill>
            <a:srgbClr val="D9DADB"/>
          </a:solidFill>
        </p:spPr>
        <p:txBody>
          <a:bodyPr lIns="108000" tIns="108000" rIns="108000" bIns="108000"/>
          <a:lstStyle>
            <a:lvl1pPr>
              <a:defRPr sz="1600"/>
            </a:lvl1pPr>
            <a:lvl2pPr>
              <a:defRPr sz="1600"/>
            </a:lvl2pPr>
            <a:lvl3pPr>
              <a:defRPr sz="1600"/>
            </a:lvl3pPr>
            <a:lvl4pPr>
              <a:defRPr sz="1600"/>
            </a:lvl4pPr>
            <a:lvl5pPr>
              <a:defRPr sz="1600"/>
            </a:lvl5pPr>
          </a:lstStyle>
          <a:p>
            <a:pPr lvl="0"/>
            <a:r>
              <a:rPr lang="en-US"/>
              <a:t>Click to add text</a:t>
            </a:r>
          </a:p>
          <a:p>
            <a:pPr lvl="1"/>
            <a:r>
              <a:rPr lang="en-US"/>
              <a:t>Second level</a:t>
            </a:r>
          </a:p>
          <a:p>
            <a:pPr lvl="2"/>
            <a:r>
              <a:rPr lang="en-US"/>
              <a:t>Third level</a:t>
            </a:r>
          </a:p>
          <a:p>
            <a:pPr lvl="3"/>
            <a:r>
              <a:rPr lang="en-US"/>
              <a:t>Fourth level</a:t>
            </a:r>
          </a:p>
          <a:p>
            <a:pPr lvl="4"/>
            <a:r>
              <a:rPr lang="en-US"/>
              <a:t>Fifth level</a:t>
            </a:r>
          </a:p>
        </p:txBody>
      </p:sp>
      <p:sp>
        <p:nvSpPr>
          <p:cNvPr id="10" name="Text Placeholder 4"/>
          <p:cNvSpPr>
            <a:spLocks noGrp="1"/>
          </p:cNvSpPr>
          <p:nvPr>
            <p:ph type="body" sz="quarter" idx="19" hasCustomPrompt="1"/>
          </p:nvPr>
        </p:nvSpPr>
        <p:spPr>
          <a:xfrm>
            <a:off x="1075063" y="6307665"/>
            <a:ext cx="8162717" cy="133200"/>
          </a:xfrm>
        </p:spPr>
        <p:txBody>
          <a:bodyPr lIns="0" tIns="0" rIns="0" bIns="0" anchor="b" anchorCtr="0"/>
          <a:lstStyle>
            <a:lvl1pPr marL="0" indent="0" algn="l">
              <a:lnSpc>
                <a:spcPct val="100000"/>
              </a:lnSpc>
              <a:spcBef>
                <a:spcPts val="0"/>
              </a:spcBef>
              <a:buNone/>
              <a:defRPr sz="800" baseline="0"/>
            </a:lvl1pPr>
            <a:lvl2pPr marL="0" indent="0" algn="l">
              <a:lnSpc>
                <a:spcPct val="100000"/>
              </a:lnSpc>
              <a:spcBef>
                <a:spcPts val="0"/>
              </a:spcBef>
              <a:buNone/>
              <a:defRPr sz="800"/>
            </a:lvl2pPr>
            <a:lvl3pPr marL="0" indent="0" algn="l">
              <a:lnSpc>
                <a:spcPct val="100000"/>
              </a:lnSpc>
              <a:spcBef>
                <a:spcPts val="0"/>
              </a:spcBef>
              <a:buNone/>
              <a:defRPr sz="800"/>
            </a:lvl3pPr>
            <a:lvl4pPr marL="0" algn="l">
              <a:lnSpc>
                <a:spcPct val="100000"/>
              </a:lnSpc>
              <a:spcBef>
                <a:spcPts val="0"/>
              </a:spcBef>
              <a:buNone/>
              <a:defRPr sz="800"/>
            </a:lvl4pPr>
            <a:lvl5pPr marL="0" indent="0" algn="l">
              <a:lnSpc>
                <a:spcPct val="100000"/>
              </a:lnSpc>
              <a:spcBef>
                <a:spcPts val="0"/>
              </a:spcBef>
              <a:buNone/>
              <a:defRPr sz="800"/>
            </a:lvl5pPr>
          </a:lstStyle>
          <a:p>
            <a:pPr lvl="0"/>
            <a:r>
              <a:rPr lang="en-US"/>
              <a:t>Source line</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86396102"/>
      </p:ext>
    </p:extLst>
  </p:cSld>
  <p:clrMapOvr>
    <a:masterClrMapping/>
  </p:clrMapOvr>
</p:sldLayout>
</file>

<file path=ppt/slideLayouts/slideLayout488.xml><?xml version="1.0" encoding="utf-8"?>
<p:sldLayout xmlns:a="http://schemas.openxmlformats.org/drawingml/2006/main" xmlns:r="http://schemas.openxmlformats.org/officeDocument/2006/relationships" xmlns:p="http://schemas.openxmlformats.org/presentationml/2006/main" preserve="1">
  <p:cSld name="Notebook">
    <p:spTree>
      <p:nvGrpSpPr>
        <p:cNvPr id="1" name=""/>
        <p:cNvGrpSpPr/>
        <p:nvPr/>
      </p:nvGrpSpPr>
      <p:grpSpPr>
        <a:xfrm>
          <a:off x="0" y="0"/>
          <a:ext cx="0" cy="0"/>
          <a:chOff x="0" y="0"/>
          <a:chExt cx="0" cy="0"/>
        </a:xfrm>
      </p:grpSpPr>
      <p:pic>
        <p:nvPicPr>
          <p:cNvPr id="13" name="Notebook">
            <a:extLst>
              <a:ext uri="{FF2B5EF4-FFF2-40B4-BE49-F238E27FC236}">
                <a16:creationId xmlns:a16="http://schemas.microsoft.com/office/drawing/2014/main" id="{6DEE1461-64EC-7246-8FA6-71C6BF497627}"/>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3651351" y="1267197"/>
            <a:ext cx="8528460" cy="5161713"/>
          </a:xfrm>
          <a:prstGeom prst="rect">
            <a:avLst/>
          </a:prstGeom>
        </p:spPr>
      </p:pic>
      <p:sp>
        <p:nvSpPr>
          <p:cNvPr id="21" name="Date Placeholder 20"/>
          <p:cNvSpPr>
            <a:spLocks noGrp="1"/>
          </p:cNvSpPr>
          <p:nvPr>
            <p:ph type="dt" sz="half" idx="14"/>
          </p:nvPr>
        </p:nvSpPr>
        <p:spPr/>
        <p:txBody>
          <a:bodyPr/>
          <a:lstStyle/>
          <a:p>
            <a:fld id="{DC5CC4D7-5797-439F-A8BE-F20DB0B4B50C}" type="datetime5">
              <a:rPr lang="en-US" smtClean="0"/>
              <a:t>26-Jun-20</a:t>
            </a:fld>
            <a:endParaRPr lang="en-US"/>
          </a:p>
        </p:txBody>
      </p:sp>
      <p:sp>
        <p:nvSpPr>
          <p:cNvPr id="22" name="Footer Placeholder 21"/>
          <p:cNvSpPr>
            <a:spLocks noGrp="1"/>
          </p:cNvSpPr>
          <p:nvPr>
            <p:ph type="ftr" sz="quarter" idx="15"/>
          </p:nvPr>
        </p:nvSpPr>
        <p:spPr/>
        <p:txBody>
          <a:bodyPr/>
          <a:lstStyle/>
          <a:p>
            <a:r>
              <a:rPr lang="en-US"/>
              <a:t>Title of presentation (Insert / Header &amp; Footer / Apply to All)</a:t>
            </a:r>
          </a:p>
        </p:txBody>
      </p:sp>
      <p:sp>
        <p:nvSpPr>
          <p:cNvPr id="23" name="Slide Number Placeholder 22"/>
          <p:cNvSpPr>
            <a:spLocks noGrp="1"/>
          </p:cNvSpPr>
          <p:nvPr>
            <p:ph type="sldNum" sz="quarter" idx="16"/>
          </p:nvPr>
        </p:nvSpPr>
        <p:spPr/>
        <p:txBody>
          <a:bodyPr/>
          <a:lstStyle/>
          <a:p>
            <a:fld id="{5F3E29E4-0979-4FCA-B4C5-5FC6044C982A}" type="slidenum">
              <a:rPr lang="en-US" smtClean="0"/>
              <a:t>‹#›</a:t>
            </a:fld>
            <a:endParaRPr lang="en-US"/>
          </a:p>
        </p:txBody>
      </p:sp>
      <p:sp>
        <p:nvSpPr>
          <p:cNvPr id="2" name="Title 1"/>
          <p:cNvSpPr>
            <a:spLocks noGrp="1"/>
          </p:cNvSpPr>
          <p:nvPr>
            <p:ph type="title" hasCustomPrompt="1"/>
          </p:nvPr>
        </p:nvSpPr>
        <p:spPr/>
        <p:txBody>
          <a:bodyPr/>
          <a:lstStyle>
            <a:lvl1pPr>
              <a:defRPr/>
            </a:lvl1pPr>
          </a:lstStyle>
          <a:p>
            <a:r>
              <a:rPr lang="en-US"/>
              <a:t>Click to add slide title</a:t>
            </a:r>
          </a:p>
        </p:txBody>
      </p:sp>
      <p:sp>
        <p:nvSpPr>
          <p:cNvPr id="7" name="Subtitle 2"/>
          <p:cNvSpPr>
            <a:spLocks noGrp="1"/>
          </p:cNvSpPr>
          <p:nvPr>
            <p:ph type="subTitle" idx="13" hasCustomPrompt="1"/>
          </p:nvPr>
        </p:nvSpPr>
        <p:spPr>
          <a:xfrm>
            <a:off x="1075061" y="964671"/>
            <a:ext cx="7910158" cy="490042"/>
          </a:xfrm>
        </p:spPr>
        <p:txBody>
          <a:bodyPr wrap="none"/>
          <a:lstStyle>
            <a:lvl1pPr marL="0" indent="0" algn="l">
              <a:spcBef>
                <a:spcPts val="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sp>
        <p:nvSpPr>
          <p:cNvPr id="3" name="Content Placeholder 2"/>
          <p:cNvSpPr>
            <a:spLocks noGrp="1"/>
          </p:cNvSpPr>
          <p:nvPr>
            <p:ph idx="1" hasCustomPrompt="1"/>
          </p:nvPr>
        </p:nvSpPr>
        <p:spPr>
          <a:xfrm>
            <a:off x="1075062" y="1852623"/>
            <a:ext cx="3287388" cy="3658714"/>
          </a:xfrm>
        </p:spPr>
        <p:txBody>
          <a:bodyPr anchor="ctr"/>
          <a:lstStyle>
            <a:lvl1pPr>
              <a:defRPr sz="1600"/>
            </a:lvl1pPr>
            <a:lvl2pPr>
              <a:defRPr sz="1600"/>
            </a:lvl2pPr>
            <a:lvl3pPr>
              <a:defRPr sz="1600"/>
            </a:lvl3pPr>
            <a:lvl4pPr>
              <a:defRPr sz="1600"/>
            </a:lvl4pPr>
            <a:lvl5pPr>
              <a:defRPr sz="1600"/>
            </a:lvl5pPr>
          </a:lstStyle>
          <a:p>
            <a:pPr lvl="0"/>
            <a:r>
              <a:rPr lang="en-US"/>
              <a:t>Click to add text</a:t>
            </a:r>
          </a:p>
          <a:p>
            <a:pPr lvl="1"/>
            <a:r>
              <a:rPr lang="en-US"/>
              <a:t>Second level</a:t>
            </a:r>
          </a:p>
          <a:p>
            <a:pPr lvl="2"/>
            <a:r>
              <a:rPr lang="en-US"/>
              <a:t>Third level</a:t>
            </a:r>
          </a:p>
          <a:p>
            <a:pPr lvl="3"/>
            <a:r>
              <a:rPr lang="en-US"/>
              <a:t>Fourth level</a:t>
            </a:r>
          </a:p>
          <a:p>
            <a:pPr lvl="4"/>
            <a:r>
              <a:rPr lang="en-US"/>
              <a:t>Fifth level</a:t>
            </a:r>
          </a:p>
        </p:txBody>
      </p:sp>
      <p:sp>
        <p:nvSpPr>
          <p:cNvPr id="5" name="Picture Placeholder 4"/>
          <p:cNvSpPr>
            <a:spLocks noGrp="1"/>
          </p:cNvSpPr>
          <p:nvPr>
            <p:ph type="pic" sz="quarter" idx="17" hasCustomPrompt="1"/>
          </p:nvPr>
        </p:nvSpPr>
        <p:spPr>
          <a:xfrm>
            <a:off x="4904507" y="1821610"/>
            <a:ext cx="6001200" cy="3664800"/>
          </a:xfrm>
          <a:solidFill>
            <a:srgbClr val="D9DADB"/>
          </a:solidFill>
        </p:spPr>
        <p:txBody>
          <a:bodyPr/>
          <a:lstStyle>
            <a:lvl1pPr marL="0" indent="0">
              <a:buNone/>
              <a:defRPr/>
            </a:lvl1pPr>
          </a:lstStyle>
          <a:p>
            <a:r>
              <a:rPr lang="en-US"/>
              <a:t>Insert picture</a:t>
            </a:r>
          </a:p>
        </p:txBody>
      </p:sp>
      <p:sp>
        <p:nvSpPr>
          <p:cNvPr id="11" name="Text Placeholder 4"/>
          <p:cNvSpPr>
            <a:spLocks noGrp="1"/>
          </p:cNvSpPr>
          <p:nvPr>
            <p:ph type="body" sz="quarter" idx="18" hasCustomPrompt="1"/>
          </p:nvPr>
        </p:nvSpPr>
        <p:spPr>
          <a:xfrm>
            <a:off x="1075063" y="6307665"/>
            <a:ext cx="8162717" cy="133200"/>
          </a:xfrm>
        </p:spPr>
        <p:txBody>
          <a:bodyPr lIns="0" tIns="0" rIns="0" bIns="0" anchor="b" anchorCtr="0"/>
          <a:lstStyle>
            <a:lvl1pPr marL="0" indent="0" algn="l">
              <a:lnSpc>
                <a:spcPct val="100000"/>
              </a:lnSpc>
              <a:spcBef>
                <a:spcPts val="0"/>
              </a:spcBef>
              <a:buNone/>
              <a:defRPr sz="800" baseline="0"/>
            </a:lvl1pPr>
            <a:lvl2pPr marL="0" indent="0" algn="l">
              <a:lnSpc>
                <a:spcPct val="100000"/>
              </a:lnSpc>
              <a:spcBef>
                <a:spcPts val="0"/>
              </a:spcBef>
              <a:buNone/>
              <a:defRPr sz="800"/>
            </a:lvl2pPr>
            <a:lvl3pPr marL="0" indent="0" algn="l">
              <a:lnSpc>
                <a:spcPct val="100000"/>
              </a:lnSpc>
              <a:spcBef>
                <a:spcPts val="0"/>
              </a:spcBef>
              <a:buNone/>
              <a:defRPr sz="800"/>
            </a:lvl3pPr>
            <a:lvl4pPr marL="0" algn="l">
              <a:lnSpc>
                <a:spcPct val="100000"/>
              </a:lnSpc>
              <a:spcBef>
                <a:spcPts val="0"/>
              </a:spcBef>
              <a:buNone/>
              <a:defRPr sz="800"/>
            </a:lvl4pPr>
            <a:lvl5pPr marL="0" indent="0" algn="l">
              <a:lnSpc>
                <a:spcPct val="100000"/>
              </a:lnSpc>
              <a:spcBef>
                <a:spcPts val="0"/>
              </a:spcBef>
              <a:buNone/>
              <a:defRPr sz="800"/>
            </a:lvl5pPr>
          </a:lstStyle>
          <a:p>
            <a:pPr lvl="0"/>
            <a:r>
              <a:rPr lang="en-US"/>
              <a:t>Source line</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78606548"/>
      </p:ext>
    </p:extLst>
  </p:cSld>
  <p:clrMapOvr>
    <a:masterClrMapping/>
  </p:clrMapOvr>
</p:sldLayout>
</file>

<file path=ppt/slideLayouts/slideLayout489.xml><?xml version="1.0" encoding="utf-8"?>
<p:sldLayout xmlns:a="http://schemas.openxmlformats.org/drawingml/2006/main" xmlns:r="http://schemas.openxmlformats.org/officeDocument/2006/relationships" xmlns:p="http://schemas.openxmlformats.org/presentationml/2006/main" preserve="1">
  <p:cSld name="Tablet">
    <p:spTree>
      <p:nvGrpSpPr>
        <p:cNvPr id="1" name=""/>
        <p:cNvGrpSpPr/>
        <p:nvPr/>
      </p:nvGrpSpPr>
      <p:grpSpPr>
        <a:xfrm>
          <a:off x="0" y="0"/>
          <a:ext cx="0" cy="0"/>
          <a:chOff x="0" y="0"/>
          <a:chExt cx="0" cy="0"/>
        </a:xfrm>
      </p:grpSpPr>
      <p:pic>
        <p:nvPicPr>
          <p:cNvPr id="12" name="Grafik 3">
            <a:extLst>
              <a:ext uri="{FF2B5EF4-FFF2-40B4-BE49-F238E27FC236}">
                <a16:creationId xmlns:a16="http://schemas.microsoft.com/office/drawing/2014/main" id="{1D97A272-8DE5-144D-9076-0F435EC79171}"/>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4422451" y="1441279"/>
            <a:ext cx="6858000" cy="5323585"/>
          </a:xfrm>
          <a:prstGeom prst="rect">
            <a:avLst/>
          </a:prstGeom>
        </p:spPr>
      </p:pic>
      <p:sp>
        <p:nvSpPr>
          <p:cNvPr id="21" name="Date Placeholder 20"/>
          <p:cNvSpPr>
            <a:spLocks noGrp="1"/>
          </p:cNvSpPr>
          <p:nvPr>
            <p:ph type="dt" sz="half" idx="14"/>
          </p:nvPr>
        </p:nvSpPr>
        <p:spPr/>
        <p:txBody>
          <a:bodyPr/>
          <a:lstStyle/>
          <a:p>
            <a:fld id="{22BF40EB-4E4B-4735-9535-C7494D4B38E6}" type="datetime5">
              <a:rPr lang="en-US" smtClean="0"/>
              <a:t>26-Jun-20</a:t>
            </a:fld>
            <a:endParaRPr lang="en-US"/>
          </a:p>
        </p:txBody>
      </p:sp>
      <p:sp>
        <p:nvSpPr>
          <p:cNvPr id="22" name="Footer Placeholder 21"/>
          <p:cNvSpPr>
            <a:spLocks noGrp="1"/>
          </p:cNvSpPr>
          <p:nvPr>
            <p:ph type="ftr" sz="quarter" idx="15"/>
          </p:nvPr>
        </p:nvSpPr>
        <p:spPr/>
        <p:txBody>
          <a:bodyPr/>
          <a:lstStyle/>
          <a:p>
            <a:r>
              <a:rPr lang="en-US"/>
              <a:t>Title of presentation (Insert / Header &amp; Footer / Apply to All)</a:t>
            </a:r>
          </a:p>
        </p:txBody>
      </p:sp>
      <p:sp>
        <p:nvSpPr>
          <p:cNvPr id="23" name="Slide Number Placeholder 22"/>
          <p:cNvSpPr>
            <a:spLocks noGrp="1"/>
          </p:cNvSpPr>
          <p:nvPr>
            <p:ph type="sldNum" sz="quarter" idx="16"/>
          </p:nvPr>
        </p:nvSpPr>
        <p:spPr/>
        <p:txBody>
          <a:bodyPr/>
          <a:lstStyle/>
          <a:p>
            <a:fld id="{5F3E29E4-0979-4FCA-B4C5-5FC6044C982A}" type="slidenum">
              <a:rPr lang="en-US" smtClean="0"/>
              <a:t>‹#›</a:t>
            </a:fld>
            <a:endParaRPr lang="en-US"/>
          </a:p>
        </p:txBody>
      </p:sp>
      <p:sp>
        <p:nvSpPr>
          <p:cNvPr id="2" name="Title 1"/>
          <p:cNvSpPr>
            <a:spLocks noGrp="1"/>
          </p:cNvSpPr>
          <p:nvPr>
            <p:ph type="title" hasCustomPrompt="1"/>
          </p:nvPr>
        </p:nvSpPr>
        <p:spPr/>
        <p:txBody>
          <a:bodyPr/>
          <a:lstStyle>
            <a:lvl1pPr>
              <a:defRPr/>
            </a:lvl1pPr>
          </a:lstStyle>
          <a:p>
            <a:r>
              <a:rPr lang="en-US"/>
              <a:t>Click to add slide title</a:t>
            </a:r>
          </a:p>
        </p:txBody>
      </p:sp>
      <p:sp>
        <p:nvSpPr>
          <p:cNvPr id="7" name="Subtitle 2"/>
          <p:cNvSpPr>
            <a:spLocks noGrp="1"/>
          </p:cNvSpPr>
          <p:nvPr>
            <p:ph type="subTitle" idx="13" hasCustomPrompt="1"/>
          </p:nvPr>
        </p:nvSpPr>
        <p:spPr>
          <a:xfrm>
            <a:off x="1075061" y="964671"/>
            <a:ext cx="7910158" cy="490042"/>
          </a:xfrm>
        </p:spPr>
        <p:txBody>
          <a:bodyPr wrap="none"/>
          <a:lstStyle>
            <a:lvl1pPr marL="0" indent="0" algn="l">
              <a:spcBef>
                <a:spcPts val="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sp>
        <p:nvSpPr>
          <p:cNvPr id="3" name="Content Placeholder 2"/>
          <p:cNvSpPr>
            <a:spLocks noGrp="1"/>
          </p:cNvSpPr>
          <p:nvPr>
            <p:ph idx="1" hasCustomPrompt="1"/>
          </p:nvPr>
        </p:nvSpPr>
        <p:spPr>
          <a:xfrm>
            <a:off x="1075062" y="1852623"/>
            <a:ext cx="3287388" cy="3658714"/>
          </a:xfrm>
        </p:spPr>
        <p:txBody>
          <a:bodyPr anchor="ctr"/>
          <a:lstStyle>
            <a:lvl1pPr>
              <a:defRPr sz="1600"/>
            </a:lvl1pPr>
            <a:lvl2pPr>
              <a:defRPr sz="1600"/>
            </a:lvl2pPr>
            <a:lvl3pPr>
              <a:defRPr sz="1600"/>
            </a:lvl3pPr>
            <a:lvl4pPr>
              <a:defRPr sz="1600"/>
            </a:lvl4pPr>
            <a:lvl5pPr>
              <a:defRPr sz="1600"/>
            </a:lvl5pPr>
          </a:lstStyle>
          <a:p>
            <a:pPr lvl="0"/>
            <a:r>
              <a:rPr lang="en-US"/>
              <a:t>Click to add text</a:t>
            </a:r>
          </a:p>
          <a:p>
            <a:pPr lvl="1"/>
            <a:r>
              <a:rPr lang="en-US"/>
              <a:t>Second level</a:t>
            </a:r>
          </a:p>
          <a:p>
            <a:pPr lvl="2"/>
            <a:r>
              <a:rPr lang="en-US"/>
              <a:t>Third level</a:t>
            </a:r>
          </a:p>
          <a:p>
            <a:pPr lvl="3"/>
            <a:r>
              <a:rPr lang="en-US"/>
              <a:t>Fourth level</a:t>
            </a:r>
          </a:p>
          <a:p>
            <a:pPr lvl="4"/>
            <a:r>
              <a:rPr lang="en-US"/>
              <a:t>Fifth level</a:t>
            </a:r>
          </a:p>
        </p:txBody>
      </p:sp>
      <p:sp>
        <p:nvSpPr>
          <p:cNvPr id="5" name="Picture Placeholder 4"/>
          <p:cNvSpPr>
            <a:spLocks noGrp="1"/>
          </p:cNvSpPr>
          <p:nvPr>
            <p:ph type="pic" sz="quarter" idx="17" hasCustomPrompt="1"/>
          </p:nvPr>
        </p:nvSpPr>
        <p:spPr>
          <a:xfrm>
            <a:off x="5135561" y="2010934"/>
            <a:ext cx="5491064" cy="3428280"/>
          </a:xfrm>
          <a:solidFill>
            <a:srgbClr val="D9DADB"/>
          </a:solidFill>
        </p:spPr>
        <p:txBody>
          <a:bodyPr/>
          <a:lstStyle>
            <a:lvl1pPr marL="0" indent="0">
              <a:buNone/>
              <a:defRPr/>
            </a:lvl1pPr>
          </a:lstStyle>
          <a:p>
            <a:r>
              <a:rPr lang="en-US"/>
              <a:t>Insert picture</a:t>
            </a:r>
          </a:p>
        </p:txBody>
      </p:sp>
      <p:sp>
        <p:nvSpPr>
          <p:cNvPr id="11" name="Text Placeholder 4"/>
          <p:cNvSpPr>
            <a:spLocks noGrp="1"/>
          </p:cNvSpPr>
          <p:nvPr>
            <p:ph type="body" sz="quarter" idx="18" hasCustomPrompt="1"/>
          </p:nvPr>
        </p:nvSpPr>
        <p:spPr>
          <a:xfrm>
            <a:off x="1075063" y="6307665"/>
            <a:ext cx="8162717" cy="133200"/>
          </a:xfrm>
        </p:spPr>
        <p:txBody>
          <a:bodyPr lIns="0" tIns="0" rIns="0" bIns="0" anchor="b" anchorCtr="0"/>
          <a:lstStyle>
            <a:lvl1pPr marL="0" indent="0" algn="l">
              <a:lnSpc>
                <a:spcPct val="100000"/>
              </a:lnSpc>
              <a:spcBef>
                <a:spcPts val="0"/>
              </a:spcBef>
              <a:buNone/>
              <a:defRPr sz="800" baseline="0"/>
            </a:lvl1pPr>
            <a:lvl2pPr marL="0" indent="0" algn="l">
              <a:lnSpc>
                <a:spcPct val="100000"/>
              </a:lnSpc>
              <a:spcBef>
                <a:spcPts val="0"/>
              </a:spcBef>
              <a:buNone/>
              <a:defRPr sz="800"/>
            </a:lvl2pPr>
            <a:lvl3pPr marL="0" indent="0" algn="l">
              <a:lnSpc>
                <a:spcPct val="100000"/>
              </a:lnSpc>
              <a:spcBef>
                <a:spcPts val="0"/>
              </a:spcBef>
              <a:buNone/>
              <a:defRPr sz="800"/>
            </a:lvl3pPr>
            <a:lvl4pPr marL="0" algn="l">
              <a:lnSpc>
                <a:spcPct val="100000"/>
              </a:lnSpc>
              <a:spcBef>
                <a:spcPts val="0"/>
              </a:spcBef>
              <a:buNone/>
              <a:defRPr sz="800"/>
            </a:lvl4pPr>
            <a:lvl5pPr marL="0" indent="0" algn="l">
              <a:lnSpc>
                <a:spcPct val="100000"/>
              </a:lnSpc>
              <a:spcBef>
                <a:spcPts val="0"/>
              </a:spcBef>
              <a:buNone/>
              <a:defRPr sz="800"/>
            </a:lvl5pPr>
          </a:lstStyle>
          <a:p>
            <a:pPr lvl="0"/>
            <a:r>
              <a:rPr lang="en-US"/>
              <a:t>Source line</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5494354"/>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Agenda">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p>
            <a:r>
              <a:rPr lang="en-US"/>
              <a:t>Click to add headline</a:t>
            </a:r>
          </a:p>
        </p:txBody>
      </p:sp>
      <p:sp>
        <p:nvSpPr>
          <p:cNvPr id="3" name="Content Placeholder 2"/>
          <p:cNvSpPr>
            <a:spLocks noGrp="1"/>
          </p:cNvSpPr>
          <p:nvPr>
            <p:ph idx="1" hasCustomPrompt="1"/>
          </p:nvPr>
        </p:nvSpPr>
        <p:spPr bwMode="gray"/>
        <p:txBody>
          <a:bodyPr/>
          <a:lstStyle>
            <a:lvl1pPr marL="479988" indent="-479988">
              <a:spcBef>
                <a:spcPts val="1600"/>
              </a:spcBef>
              <a:spcAft>
                <a:spcPts val="0"/>
              </a:spcAft>
              <a:buClr>
                <a:schemeClr val="tx2"/>
              </a:buClr>
              <a:buFont typeface="+mj-lt"/>
              <a:buAutoNum type="arabicPeriod"/>
              <a:tabLst>
                <a:tab pos="11327717" algn="r"/>
              </a:tabLst>
              <a:defRPr sz="2400">
                <a:solidFill>
                  <a:schemeClr val="tx1"/>
                </a:solidFill>
              </a:defRPr>
            </a:lvl1pPr>
            <a:lvl2pPr marL="478355" indent="0">
              <a:spcBef>
                <a:spcPts val="1600"/>
              </a:spcBef>
              <a:spcAft>
                <a:spcPts val="0"/>
              </a:spcAft>
              <a:buClr>
                <a:schemeClr val="bg2"/>
              </a:buClr>
              <a:buFont typeface="+mj-lt"/>
              <a:buNone/>
              <a:tabLst>
                <a:tab pos="11039724" algn="r"/>
              </a:tabLst>
              <a:defRPr sz="2400">
                <a:solidFill>
                  <a:schemeClr val="bg2"/>
                </a:solidFill>
              </a:defRPr>
            </a:lvl2pPr>
            <a:lvl3pPr marL="479988" indent="0">
              <a:spcBef>
                <a:spcPts val="1600"/>
              </a:spcBef>
              <a:spcAft>
                <a:spcPts val="0"/>
              </a:spcAft>
              <a:buFontTx/>
              <a:buNone/>
              <a:defRPr sz="2400">
                <a:solidFill>
                  <a:schemeClr val="bg2"/>
                </a:solidFill>
              </a:defRPr>
            </a:lvl3pPr>
            <a:lvl4pPr marL="479988" indent="0">
              <a:spcBef>
                <a:spcPts val="1600"/>
              </a:spcBef>
              <a:spcAft>
                <a:spcPts val="0"/>
              </a:spcAft>
              <a:buFontTx/>
              <a:buNone/>
              <a:defRPr sz="2400">
                <a:solidFill>
                  <a:schemeClr val="bg2"/>
                </a:solidFill>
              </a:defRPr>
            </a:lvl4pPr>
            <a:lvl5pPr marL="479988" indent="0">
              <a:spcBef>
                <a:spcPts val="1600"/>
              </a:spcBef>
              <a:spcAft>
                <a:spcPts val="0"/>
              </a:spcAft>
              <a:buFontTx/>
              <a:buNone/>
              <a:defRPr sz="2400">
                <a:solidFill>
                  <a:schemeClr val="bg2"/>
                </a:solidFill>
              </a:defRPr>
            </a:lvl5pPr>
            <a:lvl6pPr marL="479988" indent="0">
              <a:spcBef>
                <a:spcPts val="1600"/>
              </a:spcBef>
              <a:spcAft>
                <a:spcPts val="0"/>
              </a:spcAft>
              <a:buFontTx/>
              <a:buNone/>
              <a:defRPr sz="2400">
                <a:solidFill>
                  <a:schemeClr val="bg2"/>
                </a:solidFill>
              </a:defRPr>
            </a:lvl6pPr>
            <a:lvl7pPr marL="479988" indent="0">
              <a:spcBef>
                <a:spcPts val="1600"/>
              </a:spcBef>
              <a:spcAft>
                <a:spcPts val="0"/>
              </a:spcAft>
              <a:buFontTx/>
              <a:buNone/>
              <a:defRPr sz="2400">
                <a:solidFill>
                  <a:schemeClr val="bg2"/>
                </a:solidFill>
              </a:defRPr>
            </a:lvl7pPr>
            <a:lvl8pPr marL="479988" indent="0">
              <a:spcBef>
                <a:spcPts val="1600"/>
              </a:spcBef>
              <a:spcAft>
                <a:spcPts val="0"/>
              </a:spcAft>
              <a:buFontTx/>
              <a:buNone/>
              <a:defRPr sz="2400">
                <a:solidFill>
                  <a:schemeClr val="bg2"/>
                </a:solidFill>
              </a:defRPr>
            </a:lvl8pPr>
            <a:lvl9pPr marL="479988" indent="0">
              <a:spcBef>
                <a:spcPts val="1600"/>
              </a:spcBef>
              <a:spcAft>
                <a:spcPts val="0"/>
              </a:spcAft>
              <a:buFontTx/>
              <a:buNone/>
              <a:defRPr sz="2400">
                <a:solidFill>
                  <a:schemeClr val="bg2"/>
                </a:solidFill>
              </a:defRPr>
            </a:lvl9pPr>
          </a:lstStyle>
          <a:p>
            <a:pPr lvl="0"/>
            <a:r>
              <a:rPr lang="en-US"/>
              <a:t>Click to add agenda</a:t>
            </a:r>
          </a:p>
        </p:txBody>
      </p:sp>
    </p:spTree>
    <p:extLst>
      <p:ext uri="{BB962C8B-B14F-4D97-AF65-F5344CB8AC3E}">
        <p14:creationId xmlns:p14="http://schemas.microsoft.com/office/powerpoint/2010/main" val="2761778715"/>
      </p:ext>
    </p:extLst>
  </p:cSld>
  <p:clrMapOvr>
    <a:masterClrMapping/>
  </p:clrMapOvr>
</p:sldLayout>
</file>

<file path=ppt/slideLayouts/slideLayout490.xml><?xml version="1.0" encoding="utf-8"?>
<p:sldLayout xmlns:a="http://schemas.openxmlformats.org/drawingml/2006/main" xmlns:r="http://schemas.openxmlformats.org/officeDocument/2006/relationships" xmlns:p="http://schemas.openxmlformats.org/presentationml/2006/main" preserve="1">
  <p:cSld name="Smartphone">
    <p:spTree>
      <p:nvGrpSpPr>
        <p:cNvPr id="1" name=""/>
        <p:cNvGrpSpPr/>
        <p:nvPr/>
      </p:nvGrpSpPr>
      <p:grpSpPr>
        <a:xfrm>
          <a:off x="0" y="0"/>
          <a:ext cx="0" cy="0"/>
          <a:chOff x="0" y="0"/>
          <a:chExt cx="0" cy="0"/>
        </a:xfrm>
      </p:grpSpPr>
      <p:pic>
        <p:nvPicPr>
          <p:cNvPr id="10" name="Grafik 2">
            <a:extLst>
              <a:ext uri="{FF2B5EF4-FFF2-40B4-BE49-F238E27FC236}">
                <a16:creationId xmlns:a16="http://schemas.microsoft.com/office/drawing/2014/main" id="{6421FD8A-F5D4-E041-A727-98ABA693B1A7}"/>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5472449" y="1362516"/>
            <a:ext cx="4953000" cy="4865134"/>
          </a:xfrm>
          <a:prstGeom prst="rect">
            <a:avLst/>
          </a:prstGeom>
          <a:effectLst>
            <a:reflection blurRad="6350" stA="48000" endPos="6000" dir="5400000" sy="-100000" algn="bl" rotWithShape="0"/>
          </a:effectLst>
        </p:spPr>
      </p:pic>
      <p:sp>
        <p:nvSpPr>
          <p:cNvPr id="21" name="Date Placeholder 20"/>
          <p:cNvSpPr>
            <a:spLocks noGrp="1"/>
          </p:cNvSpPr>
          <p:nvPr>
            <p:ph type="dt" sz="half" idx="14"/>
          </p:nvPr>
        </p:nvSpPr>
        <p:spPr/>
        <p:txBody>
          <a:bodyPr/>
          <a:lstStyle/>
          <a:p>
            <a:fld id="{3A57DC1E-3194-45CD-A5C4-CC4893251E0F}" type="datetime5">
              <a:rPr lang="en-US" smtClean="0"/>
              <a:t>26-Jun-20</a:t>
            </a:fld>
            <a:endParaRPr lang="en-US"/>
          </a:p>
        </p:txBody>
      </p:sp>
      <p:sp>
        <p:nvSpPr>
          <p:cNvPr id="22" name="Footer Placeholder 21"/>
          <p:cNvSpPr>
            <a:spLocks noGrp="1"/>
          </p:cNvSpPr>
          <p:nvPr>
            <p:ph type="ftr" sz="quarter" idx="15"/>
          </p:nvPr>
        </p:nvSpPr>
        <p:spPr/>
        <p:txBody>
          <a:bodyPr/>
          <a:lstStyle/>
          <a:p>
            <a:r>
              <a:rPr lang="en-US"/>
              <a:t>Title of presentation (Insert / Header &amp; Footer / Apply to All)</a:t>
            </a:r>
          </a:p>
        </p:txBody>
      </p:sp>
      <p:sp>
        <p:nvSpPr>
          <p:cNvPr id="23" name="Slide Number Placeholder 22"/>
          <p:cNvSpPr>
            <a:spLocks noGrp="1"/>
          </p:cNvSpPr>
          <p:nvPr>
            <p:ph type="sldNum" sz="quarter" idx="16"/>
          </p:nvPr>
        </p:nvSpPr>
        <p:spPr/>
        <p:txBody>
          <a:bodyPr/>
          <a:lstStyle/>
          <a:p>
            <a:fld id="{5F3E29E4-0979-4FCA-B4C5-5FC6044C982A}" type="slidenum">
              <a:rPr lang="en-US" smtClean="0"/>
              <a:t>‹#›</a:t>
            </a:fld>
            <a:endParaRPr lang="en-US"/>
          </a:p>
        </p:txBody>
      </p:sp>
      <p:sp>
        <p:nvSpPr>
          <p:cNvPr id="2" name="Title 1"/>
          <p:cNvSpPr>
            <a:spLocks noGrp="1"/>
          </p:cNvSpPr>
          <p:nvPr>
            <p:ph type="title" hasCustomPrompt="1"/>
          </p:nvPr>
        </p:nvSpPr>
        <p:spPr/>
        <p:txBody>
          <a:bodyPr/>
          <a:lstStyle>
            <a:lvl1pPr>
              <a:defRPr/>
            </a:lvl1pPr>
          </a:lstStyle>
          <a:p>
            <a:r>
              <a:rPr lang="en-US"/>
              <a:t>Click to add slide title</a:t>
            </a:r>
          </a:p>
        </p:txBody>
      </p:sp>
      <p:sp>
        <p:nvSpPr>
          <p:cNvPr id="7" name="Subtitle 2"/>
          <p:cNvSpPr>
            <a:spLocks noGrp="1"/>
          </p:cNvSpPr>
          <p:nvPr>
            <p:ph type="subTitle" idx="13" hasCustomPrompt="1"/>
          </p:nvPr>
        </p:nvSpPr>
        <p:spPr>
          <a:xfrm>
            <a:off x="1075061" y="964671"/>
            <a:ext cx="7910158" cy="490042"/>
          </a:xfrm>
        </p:spPr>
        <p:txBody>
          <a:bodyPr wrap="none"/>
          <a:lstStyle>
            <a:lvl1pPr marL="0" indent="0" algn="l">
              <a:spcBef>
                <a:spcPts val="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sp>
        <p:nvSpPr>
          <p:cNvPr id="3" name="Content Placeholder 2"/>
          <p:cNvSpPr>
            <a:spLocks noGrp="1"/>
          </p:cNvSpPr>
          <p:nvPr>
            <p:ph idx="1" hasCustomPrompt="1"/>
          </p:nvPr>
        </p:nvSpPr>
        <p:spPr>
          <a:xfrm>
            <a:off x="1075061" y="1852623"/>
            <a:ext cx="5241071" cy="3658714"/>
          </a:xfrm>
        </p:spPr>
        <p:txBody>
          <a:bodyPr anchor="ctr"/>
          <a:lstStyle>
            <a:lvl1pPr>
              <a:defRPr sz="1600"/>
            </a:lvl1pPr>
            <a:lvl2pPr>
              <a:defRPr sz="1600"/>
            </a:lvl2pPr>
            <a:lvl3pPr>
              <a:defRPr sz="1600"/>
            </a:lvl3pPr>
            <a:lvl4pPr>
              <a:defRPr sz="1600"/>
            </a:lvl4pPr>
            <a:lvl5pPr>
              <a:defRPr sz="1600"/>
            </a:lvl5pPr>
          </a:lstStyle>
          <a:p>
            <a:pPr lvl="0"/>
            <a:r>
              <a:rPr lang="en-US"/>
              <a:t>Click to add text</a:t>
            </a:r>
          </a:p>
          <a:p>
            <a:pPr lvl="1"/>
            <a:r>
              <a:rPr lang="en-US"/>
              <a:t>Second level</a:t>
            </a:r>
          </a:p>
          <a:p>
            <a:pPr lvl="2"/>
            <a:r>
              <a:rPr lang="en-US"/>
              <a:t>Third level</a:t>
            </a:r>
          </a:p>
          <a:p>
            <a:pPr lvl="3"/>
            <a:r>
              <a:rPr lang="en-US"/>
              <a:t>Fourth level</a:t>
            </a:r>
          </a:p>
          <a:p>
            <a:pPr lvl="4"/>
            <a:r>
              <a:rPr lang="en-US"/>
              <a:t>Fifth level</a:t>
            </a:r>
          </a:p>
        </p:txBody>
      </p:sp>
      <p:sp>
        <p:nvSpPr>
          <p:cNvPr id="5" name="Picture Placeholder 4"/>
          <p:cNvSpPr>
            <a:spLocks noGrp="1"/>
          </p:cNvSpPr>
          <p:nvPr>
            <p:ph type="pic" sz="quarter" idx="17" hasCustomPrompt="1"/>
          </p:nvPr>
        </p:nvSpPr>
        <p:spPr>
          <a:xfrm>
            <a:off x="6923531" y="1784822"/>
            <a:ext cx="2006654" cy="4104000"/>
          </a:xfrm>
          <a:solidFill>
            <a:srgbClr val="D9DADB"/>
          </a:solidFill>
        </p:spPr>
        <p:txBody>
          <a:bodyPr/>
          <a:lstStyle>
            <a:lvl1pPr marL="0" indent="0">
              <a:buNone/>
              <a:defRPr/>
            </a:lvl1pPr>
          </a:lstStyle>
          <a:p>
            <a:r>
              <a:rPr lang="en-US"/>
              <a:t>Insert picture</a:t>
            </a:r>
          </a:p>
        </p:txBody>
      </p:sp>
      <p:sp>
        <p:nvSpPr>
          <p:cNvPr id="12" name="Text Placeholder 4"/>
          <p:cNvSpPr>
            <a:spLocks noGrp="1"/>
          </p:cNvSpPr>
          <p:nvPr>
            <p:ph type="body" sz="quarter" idx="18" hasCustomPrompt="1"/>
          </p:nvPr>
        </p:nvSpPr>
        <p:spPr>
          <a:xfrm>
            <a:off x="1075063" y="6307665"/>
            <a:ext cx="8162717" cy="133200"/>
          </a:xfrm>
        </p:spPr>
        <p:txBody>
          <a:bodyPr lIns="0" tIns="0" rIns="0" bIns="0" anchor="b" anchorCtr="0"/>
          <a:lstStyle>
            <a:lvl1pPr marL="0" indent="0" algn="l">
              <a:lnSpc>
                <a:spcPct val="100000"/>
              </a:lnSpc>
              <a:spcBef>
                <a:spcPts val="0"/>
              </a:spcBef>
              <a:buNone/>
              <a:defRPr sz="800" baseline="0"/>
            </a:lvl1pPr>
            <a:lvl2pPr marL="0" indent="0" algn="l">
              <a:lnSpc>
                <a:spcPct val="100000"/>
              </a:lnSpc>
              <a:spcBef>
                <a:spcPts val="0"/>
              </a:spcBef>
              <a:buNone/>
              <a:defRPr sz="800"/>
            </a:lvl2pPr>
            <a:lvl3pPr marL="0" indent="0" algn="l">
              <a:lnSpc>
                <a:spcPct val="100000"/>
              </a:lnSpc>
              <a:spcBef>
                <a:spcPts val="0"/>
              </a:spcBef>
              <a:buNone/>
              <a:defRPr sz="800"/>
            </a:lvl3pPr>
            <a:lvl4pPr marL="0" algn="l">
              <a:lnSpc>
                <a:spcPct val="100000"/>
              </a:lnSpc>
              <a:spcBef>
                <a:spcPts val="0"/>
              </a:spcBef>
              <a:buNone/>
              <a:defRPr sz="800"/>
            </a:lvl4pPr>
            <a:lvl5pPr marL="0" indent="0" algn="l">
              <a:lnSpc>
                <a:spcPct val="100000"/>
              </a:lnSpc>
              <a:spcBef>
                <a:spcPts val="0"/>
              </a:spcBef>
              <a:buNone/>
              <a:defRPr sz="800"/>
            </a:lvl5pPr>
          </a:lstStyle>
          <a:p>
            <a:pPr lvl="0"/>
            <a:r>
              <a:rPr lang="en-US"/>
              <a:t>Source line</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03342372"/>
      </p:ext>
    </p:extLst>
  </p:cSld>
  <p:clrMapOvr>
    <a:masterClrMapping/>
  </p:clrMapOvr>
</p:sldLayout>
</file>

<file path=ppt/slideLayouts/slideLayout491.xml><?xml version="1.0" encoding="utf-8"?>
<p:sldLayout xmlns:a="http://schemas.openxmlformats.org/drawingml/2006/main" xmlns:r="http://schemas.openxmlformats.org/officeDocument/2006/relationships" xmlns:p="http://schemas.openxmlformats.org/presentationml/2006/main" preserve="1">
  <p:cSld name="One contact">
    <p:spTree>
      <p:nvGrpSpPr>
        <p:cNvPr id="1" name=""/>
        <p:cNvGrpSpPr/>
        <p:nvPr/>
      </p:nvGrpSpPr>
      <p:grpSpPr>
        <a:xfrm>
          <a:off x="0" y="0"/>
          <a:ext cx="0" cy="0"/>
          <a:chOff x="0" y="0"/>
          <a:chExt cx="0" cy="0"/>
        </a:xfrm>
      </p:grpSpPr>
      <p:sp>
        <p:nvSpPr>
          <p:cNvPr id="4" name="Picture Placeholder 3"/>
          <p:cNvSpPr>
            <a:spLocks noGrp="1"/>
          </p:cNvSpPr>
          <p:nvPr>
            <p:ph type="pic" sz="quarter" idx="17" hasCustomPrompt="1"/>
          </p:nvPr>
        </p:nvSpPr>
        <p:spPr>
          <a:xfrm>
            <a:off x="1056217" y="1833656"/>
            <a:ext cx="3203503" cy="3935319"/>
          </a:xfrm>
          <a:solidFill>
            <a:srgbClr val="D9DADB"/>
          </a:solidFill>
        </p:spPr>
        <p:txBody>
          <a:bodyPr/>
          <a:lstStyle>
            <a:lvl1pPr marL="0" indent="0">
              <a:buNone/>
              <a:defRPr sz="1400"/>
            </a:lvl1pPr>
          </a:lstStyle>
          <a:p>
            <a:r>
              <a:rPr lang="en-US"/>
              <a:t>Insert picture</a:t>
            </a:r>
          </a:p>
        </p:txBody>
      </p:sp>
      <p:sp>
        <p:nvSpPr>
          <p:cNvPr id="21" name="Date Placeholder 20"/>
          <p:cNvSpPr>
            <a:spLocks noGrp="1"/>
          </p:cNvSpPr>
          <p:nvPr>
            <p:ph type="dt" sz="half" idx="14"/>
          </p:nvPr>
        </p:nvSpPr>
        <p:spPr/>
        <p:txBody>
          <a:bodyPr/>
          <a:lstStyle/>
          <a:p>
            <a:fld id="{59171ED9-6851-4525-A763-2524710A57F8}" type="datetime5">
              <a:rPr lang="en-US" smtClean="0"/>
              <a:t>26-Jun-20</a:t>
            </a:fld>
            <a:endParaRPr lang="en-US"/>
          </a:p>
        </p:txBody>
      </p:sp>
      <p:sp>
        <p:nvSpPr>
          <p:cNvPr id="22" name="Footer Placeholder 21"/>
          <p:cNvSpPr>
            <a:spLocks noGrp="1"/>
          </p:cNvSpPr>
          <p:nvPr>
            <p:ph type="ftr" sz="quarter" idx="15"/>
          </p:nvPr>
        </p:nvSpPr>
        <p:spPr/>
        <p:txBody>
          <a:bodyPr/>
          <a:lstStyle/>
          <a:p>
            <a:r>
              <a:rPr lang="en-US"/>
              <a:t>Title of presentation (Insert / Header &amp; Footer / Apply to All)</a:t>
            </a:r>
          </a:p>
        </p:txBody>
      </p:sp>
      <p:sp>
        <p:nvSpPr>
          <p:cNvPr id="23" name="Slide Number Placeholder 22"/>
          <p:cNvSpPr>
            <a:spLocks noGrp="1"/>
          </p:cNvSpPr>
          <p:nvPr>
            <p:ph type="sldNum" sz="quarter" idx="16"/>
          </p:nvPr>
        </p:nvSpPr>
        <p:spPr/>
        <p:txBody>
          <a:bodyPr/>
          <a:lstStyle/>
          <a:p>
            <a:fld id="{5F3E29E4-0979-4FCA-B4C5-5FC6044C982A}" type="slidenum">
              <a:rPr lang="en-US" smtClean="0"/>
              <a:t>‹#›</a:t>
            </a:fld>
            <a:endParaRPr lang="en-US"/>
          </a:p>
        </p:txBody>
      </p:sp>
      <p:sp>
        <p:nvSpPr>
          <p:cNvPr id="2" name="Title 1"/>
          <p:cNvSpPr>
            <a:spLocks noGrp="1"/>
          </p:cNvSpPr>
          <p:nvPr>
            <p:ph type="title" hasCustomPrompt="1"/>
          </p:nvPr>
        </p:nvSpPr>
        <p:spPr/>
        <p:txBody>
          <a:bodyPr/>
          <a:lstStyle>
            <a:lvl1pPr>
              <a:defRPr/>
            </a:lvl1pPr>
          </a:lstStyle>
          <a:p>
            <a:r>
              <a:rPr lang="en-US"/>
              <a:t>Click to add contact title</a:t>
            </a:r>
          </a:p>
        </p:txBody>
      </p:sp>
      <p:sp>
        <p:nvSpPr>
          <p:cNvPr id="7" name="Subtitle 2"/>
          <p:cNvSpPr>
            <a:spLocks noGrp="1"/>
          </p:cNvSpPr>
          <p:nvPr>
            <p:ph type="subTitle" idx="13" hasCustomPrompt="1"/>
          </p:nvPr>
        </p:nvSpPr>
        <p:spPr>
          <a:xfrm>
            <a:off x="1075061" y="964671"/>
            <a:ext cx="7910158" cy="490042"/>
          </a:xfrm>
        </p:spPr>
        <p:txBody>
          <a:bodyPr wrap="none"/>
          <a:lstStyle>
            <a:lvl1pPr marL="0" indent="0" algn="l">
              <a:spcBef>
                <a:spcPts val="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grpSp>
        <p:nvGrpSpPr>
          <p:cNvPr id="8" name="Gruppieren 80">
            <a:extLst>
              <a:ext uri="{FF2B5EF4-FFF2-40B4-BE49-F238E27FC236}">
                <a16:creationId xmlns:a16="http://schemas.microsoft.com/office/drawing/2014/main" id="{6B969E7B-9C39-4443-9B02-74C1E7C5CCAC}"/>
              </a:ext>
            </a:extLst>
          </p:cNvPr>
          <p:cNvGrpSpPr/>
          <p:nvPr/>
        </p:nvGrpSpPr>
        <p:grpSpPr>
          <a:xfrm>
            <a:off x="4451001" y="2884199"/>
            <a:ext cx="171180" cy="171180"/>
            <a:chOff x="3392092" y="1841122"/>
            <a:chExt cx="646508" cy="646508"/>
          </a:xfrm>
        </p:grpSpPr>
        <p:sp>
          <p:nvSpPr>
            <p:cNvPr id="9" name="Rechteck 14">
              <a:extLst>
                <a:ext uri="{FF2B5EF4-FFF2-40B4-BE49-F238E27FC236}">
                  <a16:creationId xmlns:a16="http://schemas.microsoft.com/office/drawing/2014/main" id="{D78F58EA-5525-8D43-8295-FEA52ECF6BFA}"/>
                </a:ext>
              </a:extLst>
            </p:cNvPr>
            <p:cNvSpPr>
              <a:spLocks noChangeAspect="1"/>
            </p:cNvSpPr>
            <p:nvPr/>
          </p:nvSpPr>
          <p:spPr bwMode="gray">
            <a:xfrm>
              <a:off x="3392092" y="1841122"/>
              <a:ext cx="646508" cy="646508"/>
            </a:xfrm>
            <a:prstGeom prst="rect">
              <a:avLst/>
            </a:prstGeom>
            <a:solidFill>
              <a:srgbClr val="E55A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pPr>
              <a:endParaRPr lang="en-US" sz="1000">
                <a:solidFill>
                  <a:schemeClr val="tx1"/>
                </a:solidFill>
                <a:latin typeface="Arial" pitchFamily="34" charset="0"/>
                <a:cs typeface="Arial" pitchFamily="34" charset="0"/>
              </a:endParaRPr>
            </a:p>
          </p:txBody>
        </p:sp>
        <p:sp>
          <p:nvSpPr>
            <p:cNvPr id="10" name="Freeform 67">
              <a:extLst>
                <a:ext uri="{FF2B5EF4-FFF2-40B4-BE49-F238E27FC236}">
                  <a16:creationId xmlns:a16="http://schemas.microsoft.com/office/drawing/2014/main" id="{D01A6292-2776-4945-B828-483D79DC4908}"/>
                </a:ext>
              </a:extLst>
            </p:cNvPr>
            <p:cNvSpPr>
              <a:spLocks noChangeAspect="1"/>
            </p:cNvSpPr>
            <p:nvPr/>
          </p:nvSpPr>
          <p:spPr bwMode="auto">
            <a:xfrm>
              <a:off x="3546638" y="1970424"/>
              <a:ext cx="337415" cy="387905"/>
            </a:xfrm>
            <a:custGeom>
              <a:avLst/>
              <a:gdLst>
                <a:gd name="T0" fmla="*/ 573 w 1624"/>
                <a:gd name="T1" fmla="*/ 1257 h 1867"/>
                <a:gd name="T2" fmla="*/ 662 w 1624"/>
                <a:gd name="T3" fmla="*/ 1288 h 1867"/>
                <a:gd name="T4" fmla="*/ 938 w 1624"/>
                <a:gd name="T5" fmla="*/ 1051 h 1867"/>
                <a:gd name="T6" fmla="*/ 1106 w 1624"/>
                <a:gd name="T7" fmla="*/ 731 h 1867"/>
                <a:gd name="T8" fmla="*/ 1059 w 1624"/>
                <a:gd name="T9" fmla="*/ 645 h 1867"/>
                <a:gd name="T10" fmla="*/ 1001 w 1624"/>
                <a:gd name="T11" fmla="*/ 613 h 1867"/>
                <a:gd name="T12" fmla="*/ 924 w 1624"/>
                <a:gd name="T13" fmla="*/ 432 h 1867"/>
                <a:gd name="T14" fmla="*/ 1114 w 1624"/>
                <a:gd name="T15" fmla="*/ 81 h 1867"/>
                <a:gd name="T16" fmla="*/ 1287 w 1624"/>
                <a:gd name="T17" fmla="*/ 35 h 1867"/>
                <a:gd name="T18" fmla="*/ 1350 w 1624"/>
                <a:gd name="T19" fmla="*/ 69 h 1867"/>
                <a:gd name="T20" fmla="*/ 1527 w 1624"/>
                <a:gd name="T21" fmla="*/ 235 h 1867"/>
                <a:gd name="T22" fmla="*/ 1583 w 1624"/>
                <a:gd name="T23" fmla="*/ 555 h 1867"/>
                <a:gd name="T24" fmla="*/ 1172 w 1624"/>
                <a:gd name="T25" fmla="*/ 1253 h 1867"/>
                <a:gd name="T26" fmla="*/ 586 w 1624"/>
                <a:gd name="T27" fmla="*/ 1803 h 1867"/>
                <a:gd name="T28" fmla="*/ 269 w 1624"/>
                <a:gd name="T29" fmla="*/ 1807 h 1867"/>
                <a:gd name="T30" fmla="*/ 33 w 1624"/>
                <a:gd name="T31" fmla="*/ 1602 h 1867"/>
                <a:gd name="T32" fmla="*/ 2 w 1624"/>
                <a:gd name="T33" fmla="*/ 1508 h 1867"/>
                <a:gd name="T34" fmla="*/ 45 w 1624"/>
                <a:gd name="T35" fmla="*/ 1421 h 1867"/>
                <a:gd name="T36" fmla="*/ 346 w 1624"/>
                <a:gd name="T37" fmla="*/ 1158 h 1867"/>
                <a:gd name="T38" fmla="*/ 448 w 1624"/>
                <a:gd name="T39" fmla="*/ 1145 h 1867"/>
                <a:gd name="T40" fmla="*/ 573 w 1624"/>
                <a:gd name="T41" fmla="*/ 1257 h 18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24" h="1867">
                  <a:moveTo>
                    <a:pt x="573" y="1257"/>
                  </a:moveTo>
                  <a:cubicBezTo>
                    <a:pt x="592" y="1282"/>
                    <a:pt x="630" y="1303"/>
                    <a:pt x="662" y="1288"/>
                  </a:cubicBezTo>
                  <a:cubicBezTo>
                    <a:pt x="753" y="1245"/>
                    <a:pt x="854" y="1156"/>
                    <a:pt x="938" y="1051"/>
                  </a:cubicBezTo>
                  <a:cubicBezTo>
                    <a:pt x="1020" y="948"/>
                    <a:pt x="1084" y="831"/>
                    <a:pt x="1106" y="731"/>
                  </a:cubicBezTo>
                  <a:cubicBezTo>
                    <a:pt x="1113" y="696"/>
                    <a:pt x="1089" y="661"/>
                    <a:pt x="1059" y="645"/>
                  </a:cubicBezTo>
                  <a:cubicBezTo>
                    <a:pt x="1001" y="613"/>
                    <a:pt x="1001" y="613"/>
                    <a:pt x="1001" y="613"/>
                  </a:cubicBezTo>
                  <a:cubicBezTo>
                    <a:pt x="942" y="580"/>
                    <a:pt x="888" y="499"/>
                    <a:pt x="924" y="432"/>
                  </a:cubicBezTo>
                  <a:cubicBezTo>
                    <a:pt x="1114" y="81"/>
                    <a:pt x="1114" y="81"/>
                    <a:pt x="1114" y="81"/>
                  </a:cubicBezTo>
                  <a:cubicBezTo>
                    <a:pt x="1150" y="16"/>
                    <a:pt x="1224" y="0"/>
                    <a:pt x="1287" y="35"/>
                  </a:cubicBezTo>
                  <a:cubicBezTo>
                    <a:pt x="1350" y="69"/>
                    <a:pt x="1350" y="69"/>
                    <a:pt x="1350" y="69"/>
                  </a:cubicBezTo>
                  <a:cubicBezTo>
                    <a:pt x="1415" y="105"/>
                    <a:pt x="1479" y="165"/>
                    <a:pt x="1527" y="235"/>
                  </a:cubicBezTo>
                  <a:cubicBezTo>
                    <a:pt x="1593" y="332"/>
                    <a:pt x="1624" y="442"/>
                    <a:pt x="1583" y="555"/>
                  </a:cubicBezTo>
                  <a:cubicBezTo>
                    <a:pt x="1500" y="781"/>
                    <a:pt x="1351" y="1030"/>
                    <a:pt x="1172" y="1253"/>
                  </a:cubicBezTo>
                  <a:cubicBezTo>
                    <a:pt x="994" y="1477"/>
                    <a:pt x="786" y="1676"/>
                    <a:pt x="586" y="1803"/>
                  </a:cubicBezTo>
                  <a:cubicBezTo>
                    <a:pt x="486" y="1867"/>
                    <a:pt x="375" y="1856"/>
                    <a:pt x="269" y="1807"/>
                  </a:cubicBezTo>
                  <a:cubicBezTo>
                    <a:pt x="157" y="1755"/>
                    <a:pt x="106" y="1695"/>
                    <a:pt x="33" y="1602"/>
                  </a:cubicBezTo>
                  <a:cubicBezTo>
                    <a:pt x="11" y="1573"/>
                    <a:pt x="0" y="1540"/>
                    <a:pt x="2" y="1508"/>
                  </a:cubicBezTo>
                  <a:cubicBezTo>
                    <a:pt x="4" y="1475"/>
                    <a:pt x="18" y="1444"/>
                    <a:pt x="45" y="1421"/>
                  </a:cubicBezTo>
                  <a:cubicBezTo>
                    <a:pt x="70" y="1399"/>
                    <a:pt x="346" y="1158"/>
                    <a:pt x="346" y="1158"/>
                  </a:cubicBezTo>
                  <a:cubicBezTo>
                    <a:pt x="376" y="1134"/>
                    <a:pt x="413" y="1133"/>
                    <a:pt x="448" y="1145"/>
                  </a:cubicBezTo>
                  <a:cubicBezTo>
                    <a:pt x="510" y="1166"/>
                    <a:pt x="536" y="1210"/>
                    <a:pt x="573" y="1257"/>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351"/>
            </a:p>
          </p:txBody>
        </p:sp>
      </p:grpSp>
      <p:grpSp>
        <p:nvGrpSpPr>
          <p:cNvPr id="11" name="Group 3">
            <a:extLst>
              <a:ext uri="{FF2B5EF4-FFF2-40B4-BE49-F238E27FC236}">
                <a16:creationId xmlns:a16="http://schemas.microsoft.com/office/drawing/2014/main" id="{DED6A25A-5DE2-1441-8BA2-C68D3B4F9209}"/>
              </a:ext>
            </a:extLst>
          </p:cNvPr>
          <p:cNvGrpSpPr>
            <a:grpSpLocks noChangeAspect="1"/>
          </p:cNvGrpSpPr>
          <p:nvPr>
            <p:custDataLst>
              <p:tags r:id="rId1"/>
            </p:custDataLst>
          </p:nvPr>
        </p:nvGrpSpPr>
        <p:grpSpPr>
          <a:xfrm>
            <a:off x="4451002" y="3169087"/>
            <a:ext cx="171180" cy="171180"/>
            <a:chOff x="328396" y="5313940"/>
            <a:chExt cx="720000" cy="720000"/>
          </a:xfrm>
        </p:grpSpPr>
        <p:sp>
          <p:nvSpPr>
            <p:cNvPr id="12" name="Rectangle 4">
              <a:extLst>
                <a:ext uri="{FF2B5EF4-FFF2-40B4-BE49-F238E27FC236}">
                  <a16:creationId xmlns:a16="http://schemas.microsoft.com/office/drawing/2014/main" id="{5F49E67F-D4FA-9D48-96BC-59AE946ECD15}"/>
                </a:ext>
              </a:extLst>
            </p:cNvPr>
            <p:cNvSpPr/>
            <p:nvPr/>
          </p:nvSpPr>
          <p:spPr bwMode="gray">
            <a:xfrm>
              <a:off x="328396" y="5313940"/>
              <a:ext cx="720000" cy="720000"/>
            </a:xfrm>
            <a:prstGeom prst="rect">
              <a:avLst/>
            </a:prstGeom>
            <a:solidFill>
              <a:srgbClr val="E55A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pPr>
              <a:endParaRPr lang="en-US" sz="1000">
                <a:solidFill>
                  <a:schemeClr val="tx1"/>
                </a:solidFill>
                <a:latin typeface="Arial" pitchFamily="34" charset="0"/>
                <a:cs typeface="Arial" pitchFamily="34" charset="0"/>
              </a:endParaRPr>
            </a:p>
          </p:txBody>
        </p:sp>
        <p:sp>
          <p:nvSpPr>
            <p:cNvPr id="13" name="Freeform 76">
              <a:extLst>
                <a:ext uri="{FF2B5EF4-FFF2-40B4-BE49-F238E27FC236}">
                  <a16:creationId xmlns:a16="http://schemas.microsoft.com/office/drawing/2014/main" id="{187E70E6-AF3F-2549-908E-DF4BA61040AA}"/>
                </a:ext>
              </a:extLst>
            </p:cNvPr>
            <p:cNvSpPr>
              <a:spLocks noChangeAspect="1" noEditPoints="1"/>
            </p:cNvSpPr>
            <p:nvPr/>
          </p:nvSpPr>
          <p:spPr bwMode="auto">
            <a:xfrm>
              <a:off x="456202" y="5509222"/>
              <a:ext cx="504000" cy="329436"/>
            </a:xfrm>
            <a:custGeom>
              <a:avLst/>
              <a:gdLst>
                <a:gd name="T0" fmla="*/ 0 w 2080"/>
                <a:gd name="T1" fmla="*/ 65 h 1360"/>
                <a:gd name="T2" fmla="*/ 0 w 2080"/>
                <a:gd name="T3" fmla="*/ 0 h 1360"/>
                <a:gd name="T4" fmla="*/ 2080 w 2080"/>
                <a:gd name="T5" fmla="*/ 0 h 1360"/>
                <a:gd name="T6" fmla="*/ 2080 w 2080"/>
                <a:gd name="T7" fmla="*/ 65 h 1360"/>
                <a:gd name="T8" fmla="*/ 1089 w 2080"/>
                <a:gd name="T9" fmla="*/ 862 h 1360"/>
                <a:gd name="T10" fmla="*/ 991 w 2080"/>
                <a:gd name="T11" fmla="*/ 862 h 1360"/>
                <a:gd name="T12" fmla="*/ 0 w 2080"/>
                <a:gd name="T13" fmla="*/ 65 h 1360"/>
                <a:gd name="T14" fmla="*/ 1139 w 2080"/>
                <a:gd name="T15" fmla="*/ 924 h 1360"/>
                <a:gd name="T16" fmla="*/ 1282 w 2080"/>
                <a:gd name="T17" fmla="*/ 810 h 1360"/>
                <a:gd name="T18" fmla="*/ 2076 w 2080"/>
                <a:gd name="T19" fmla="*/ 1360 h 1360"/>
                <a:gd name="T20" fmla="*/ 4 w 2080"/>
                <a:gd name="T21" fmla="*/ 1360 h 1360"/>
                <a:gd name="T22" fmla="*/ 798 w 2080"/>
                <a:gd name="T23" fmla="*/ 810 h 1360"/>
                <a:gd name="T24" fmla="*/ 941 w 2080"/>
                <a:gd name="T25" fmla="*/ 924 h 1360"/>
                <a:gd name="T26" fmla="*/ 1139 w 2080"/>
                <a:gd name="T27" fmla="*/ 924 h 1360"/>
                <a:gd name="T28" fmla="*/ 2 w 2080"/>
                <a:gd name="T29" fmla="*/ 137 h 1360"/>
                <a:gd name="T30" fmla="*/ 42 w 2080"/>
                <a:gd name="T31" fmla="*/ 201 h 1360"/>
                <a:gd name="T32" fmla="*/ 734 w 2080"/>
                <a:gd name="T33" fmla="*/ 758 h 1360"/>
                <a:gd name="T34" fmla="*/ 0 w 2080"/>
                <a:gd name="T35" fmla="*/ 1266 h 1360"/>
                <a:gd name="T36" fmla="*/ 0 w 2080"/>
                <a:gd name="T37" fmla="*/ 135 h 1360"/>
                <a:gd name="T38" fmla="*/ 2 w 2080"/>
                <a:gd name="T39" fmla="*/ 137 h 1360"/>
                <a:gd name="T40" fmla="*/ 2080 w 2080"/>
                <a:gd name="T41" fmla="*/ 136 h 1360"/>
                <a:gd name="T42" fmla="*/ 2080 w 2080"/>
                <a:gd name="T43" fmla="*/ 1265 h 1360"/>
                <a:gd name="T44" fmla="*/ 1346 w 2080"/>
                <a:gd name="T45" fmla="*/ 758 h 1360"/>
                <a:gd name="T46" fmla="*/ 2038 w 2080"/>
                <a:gd name="T47" fmla="*/ 201 h 1360"/>
                <a:gd name="T48" fmla="*/ 2080 w 2080"/>
                <a:gd name="T49" fmla="*/ 136 h 1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080" h="1360">
                  <a:moveTo>
                    <a:pt x="0" y="65"/>
                  </a:moveTo>
                  <a:cubicBezTo>
                    <a:pt x="0" y="0"/>
                    <a:pt x="0" y="0"/>
                    <a:pt x="0" y="0"/>
                  </a:cubicBezTo>
                  <a:cubicBezTo>
                    <a:pt x="2080" y="0"/>
                    <a:pt x="2080" y="0"/>
                    <a:pt x="2080" y="0"/>
                  </a:cubicBezTo>
                  <a:cubicBezTo>
                    <a:pt x="2080" y="65"/>
                    <a:pt x="2080" y="65"/>
                    <a:pt x="2080" y="65"/>
                  </a:cubicBezTo>
                  <a:cubicBezTo>
                    <a:pt x="1089" y="862"/>
                    <a:pt x="1089" y="862"/>
                    <a:pt x="1089" y="862"/>
                  </a:cubicBezTo>
                  <a:cubicBezTo>
                    <a:pt x="1060" y="886"/>
                    <a:pt x="1020" y="886"/>
                    <a:pt x="991" y="862"/>
                  </a:cubicBezTo>
                  <a:lnTo>
                    <a:pt x="0" y="65"/>
                  </a:lnTo>
                  <a:close/>
                  <a:moveTo>
                    <a:pt x="1139" y="924"/>
                  </a:moveTo>
                  <a:cubicBezTo>
                    <a:pt x="1282" y="810"/>
                    <a:pt x="1282" y="810"/>
                    <a:pt x="1282" y="810"/>
                  </a:cubicBezTo>
                  <a:cubicBezTo>
                    <a:pt x="2076" y="1360"/>
                    <a:pt x="2076" y="1360"/>
                    <a:pt x="2076" y="1360"/>
                  </a:cubicBezTo>
                  <a:cubicBezTo>
                    <a:pt x="4" y="1360"/>
                    <a:pt x="4" y="1360"/>
                    <a:pt x="4" y="1360"/>
                  </a:cubicBezTo>
                  <a:cubicBezTo>
                    <a:pt x="798" y="810"/>
                    <a:pt x="798" y="810"/>
                    <a:pt x="798" y="810"/>
                  </a:cubicBezTo>
                  <a:cubicBezTo>
                    <a:pt x="941" y="924"/>
                    <a:pt x="941" y="924"/>
                    <a:pt x="941" y="924"/>
                  </a:cubicBezTo>
                  <a:cubicBezTo>
                    <a:pt x="1000" y="972"/>
                    <a:pt x="1080" y="972"/>
                    <a:pt x="1139" y="924"/>
                  </a:cubicBezTo>
                  <a:close/>
                  <a:moveTo>
                    <a:pt x="2" y="137"/>
                  </a:moveTo>
                  <a:cubicBezTo>
                    <a:pt x="8" y="163"/>
                    <a:pt x="22" y="185"/>
                    <a:pt x="42" y="201"/>
                  </a:cubicBezTo>
                  <a:cubicBezTo>
                    <a:pt x="734" y="758"/>
                    <a:pt x="734" y="758"/>
                    <a:pt x="734" y="758"/>
                  </a:cubicBezTo>
                  <a:cubicBezTo>
                    <a:pt x="0" y="1266"/>
                    <a:pt x="0" y="1266"/>
                    <a:pt x="0" y="1266"/>
                  </a:cubicBezTo>
                  <a:cubicBezTo>
                    <a:pt x="0" y="135"/>
                    <a:pt x="0" y="135"/>
                    <a:pt x="0" y="135"/>
                  </a:cubicBezTo>
                  <a:lnTo>
                    <a:pt x="2" y="137"/>
                  </a:lnTo>
                  <a:close/>
                  <a:moveTo>
                    <a:pt x="2080" y="136"/>
                  </a:moveTo>
                  <a:cubicBezTo>
                    <a:pt x="2080" y="1265"/>
                    <a:pt x="2080" y="1265"/>
                    <a:pt x="2080" y="1265"/>
                  </a:cubicBezTo>
                  <a:cubicBezTo>
                    <a:pt x="1346" y="758"/>
                    <a:pt x="1346" y="758"/>
                    <a:pt x="1346" y="758"/>
                  </a:cubicBezTo>
                  <a:cubicBezTo>
                    <a:pt x="2038" y="201"/>
                    <a:pt x="2038" y="201"/>
                    <a:pt x="2038" y="201"/>
                  </a:cubicBezTo>
                  <a:cubicBezTo>
                    <a:pt x="2060" y="182"/>
                    <a:pt x="2072" y="162"/>
                    <a:pt x="2080" y="13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000"/>
            </a:p>
          </p:txBody>
        </p:sp>
      </p:grpSp>
      <p:cxnSp>
        <p:nvCxnSpPr>
          <p:cNvPr id="20" name="Straight Connector 19"/>
          <p:cNvCxnSpPr/>
          <p:nvPr/>
        </p:nvCxnSpPr>
        <p:spPr>
          <a:xfrm>
            <a:off x="4451001" y="3494093"/>
            <a:ext cx="2463190" cy="0"/>
          </a:xfrm>
          <a:prstGeom prst="line">
            <a:avLst/>
          </a:prstGeom>
          <a:ln w="6350">
            <a:solidFill>
              <a:schemeClr val="tx2"/>
            </a:solidFill>
            <a:prstDash val="dash"/>
          </a:ln>
        </p:spPr>
        <p:style>
          <a:lnRef idx="1">
            <a:schemeClr val="accent1"/>
          </a:lnRef>
          <a:fillRef idx="0">
            <a:schemeClr val="accent1"/>
          </a:fillRef>
          <a:effectRef idx="0">
            <a:schemeClr val="accent1"/>
          </a:effectRef>
          <a:fontRef idx="minor">
            <a:schemeClr val="tx1"/>
          </a:fontRef>
        </p:style>
      </p:cxnSp>
      <p:sp>
        <p:nvSpPr>
          <p:cNvPr id="6" name="Text Placeholder 5"/>
          <p:cNvSpPr>
            <a:spLocks noGrp="1"/>
          </p:cNvSpPr>
          <p:nvPr>
            <p:ph type="body" sz="quarter" idx="19" hasCustomPrompt="1"/>
          </p:nvPr>
        </p:nvSpPr>
        <p:spPr>
          <a:xfrm>
            <a:off x="4451001" y="1824401"/>
            <a:ext cx="2463190" cy="192360"/>
          </a:xfrm>
        </p:spPr>
        <p:txBody>
          <a:bodyPr lIns="0" tIns="0" rIns="0" bIns="0" anchor="ctr" anchorCtr="0"/>
          <a:lstStyle>
            <a:lvl1pPr marL="0" indent="0" algn="l">
              <a:lnSpc>
                <a:spcPct val="100000"/>
              </a:lnSpc>
              <a:buNone/>
              <a:defRPr sz="100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Country</a:t>
            </a:r>
          </a:p>
        </p:txBody>
      </p:sp>
      <p:sp>
        <p:nvSpPr>
          <p:cNvPr id="26" name="Text Placeholder 5"/>
          <p:cNvSpPr>
            <a:spLocks noGrp="1"/>
          </p:cNvSpPr>
          <p:nvPr>
            <p:ph type="body" sz="quarter" idx="20" hasCustomPrompt="1"/>
          </p:nvPr>
        </p:nvSpPr>
        <p:spPr>
          <a:xfrm>
            <a:off x="4451001" y="2036217"/>
            <a:ext cx="2463190" cy="266182"/>
          </a:xfrm>
        </p:spPr>
        <p:txBody>
          <a:bodyPr lIns="0" tIns="0" rIns="0" bIns="0" anchor="b" anchorCtr="0"/>
          <a:lstStyle>
            <a:lvl1pPr marL="0" indent="0" algn="l">
              <a:lnSpc>
                <a:spcPct val="100000"/>
              </a:lnSpc>
              <a:buNone/>
              <a:defRPr sz="1400" b="1" baseline="0">
                <a:solidFill>
                  <a:schemeClr val="tx2"/>
                </a:solidFill>
              </a:defRPr>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Name, Surname</a:t>
            </a:r>
          </a:p>
        </p:txBody>
      </p:sp>
      <p:sp>
        <p:nvSpPr>
          <p:cNvPr id="27" name="Text Placeholder 5"/>
          <p:cNvSpPr>
            <a:spLocks noGrp="1"/>
          </p:cNvSpPr>
          <p:nvPr>
            <p:ph type="body" sz="quarter" idx="21" hasCustomPrompt="1"/>
          </p:nvPr>
        </p:nvSpPr>
        <p:spPr>
          <a:xfrm>
            <a:off x="4451001" y="2332792"/>
            <a:ext cx="2463190"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Job Position</a:t>
            </a:r>
          </a:p>
        </p:txBody>
      </p:sp>
      <p:sp>
        <p:nvSpPr>
          <p:cNvPr id="28" name="Text Placeholder 5"/>
          <p:cNvSpPr>
            <a:spLocks noGrp="1"/>
          </p:cNvSpPr>
          <p:nvPr>
            <p:ph type="body" sz="quarter" idx="22" hasCustomPrompt="1"/>
          </p:nvPr>
        </p:nvSpPr>
        <p:spPr>
          <a:xfrm>
            <a:off x="4695884" y="2861468"/>
            <a:ext cx="2218307"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Phone number</a:t>
            </a:r>
          </a:p>
        </p:txBody>
      </p:sp>
      <p:sp>
        <p:nvSpPr>
          <p:cNvPr id="29" name="Text Placeholder 5"/>
          <p:cNvSpPr>
            <a:spLocks noGrp="1"/>
          </p:cNvSpPr>
          <p:nvPr>
            <p:ph type="body" sz="quarter" idx="23" hasCustomPrompt="1"/>
          </p:nvPr>
        </p:nvSpPr>
        <p:spPr>
          <a:xfrm>
            <a:off x="4695884" y="3144275"/>
            <a:ext cx="2218307"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Email address</a:t>
            </a:r>
          </a:p>
        </p:txBody>
      </p:sp>
      <p:sp>
        <p:nvSpPr>
          <p:cNvPr id="35" name="Text Placeholder 34"/>
          <p:cNvSpPr>
            <a:spLocks noGrp="1"/>
          </p:cNvSpPr>
          <p:nvPr>
            <p:ph type="body" sz="quarter" idx="24" hasCustomPrompt="1"/>
          </p:nvPr>
        </p:nvSpPr>
        <p:spPr>
          <a:xfrm>
            <a:off x="4492626" y="3681413"/>
            <a:ext cx="4492594" cy="2087562"/>
          </a:xfrm>
        </p:spPr>
        <p:txBody>
          <a:bodyPr/>
          <a:lstStyle>
            <a:lvl1pPr>
              <a:defRPr sz="1400" baseline="0"/>
            </a:lvl1pPr>
            <a:lvl2pPr>
              <a:defRPr sz="1400"/>
            </a:lvl2pPr>
            <a:lvl3pPr>
              <a:defRPr sz="1400"/>
            </a:lvl3pPr>
            <a:lvl4pPr>
              <a:defRPr sz="1400"/>
            </a:lvl4pPr>
            <a:lvl5pPr>
              <a:defRPr sz="1400"/>
            </a:lvl5pPr>
          </a:lstStyle>
          <a:p>
            <a:pPr lvl="0"/>
            <a:r>
              <a:rPr lang="en-US"/>
              <a:t>Additional information (if needed)</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97228028"/>
      </p:ext>
    </p:extLst>
  </p:cSld>
  <p:clrMapOvr>
    <a:masterClrMapping/>
  </p:clrMapOvr>
</p:sldLayout>
</file>

<file path=ppt/slideLayouts/slideLayout492.xml><?xml version="1.0" encoding="utf-8"?>
<p:sldLayout xmlns:a="http://schemas.openxmlformats.org/drawingml/2006/main" xmlns:r="http://schemas.openxmlformats.org/officeDocument/2006/relationships" xmlns:p="http://schemas.openxmlformats.org/presentationml/2006/main" preserve="1">
  <p:cSld name="Two contacts">
    <p:spTree>
      <p:nvGrpSpPr>
        <p:cNvPr id="1" name=""/>
        <p:cNvGrpSpPr/>
        <p:nvPr/>
      </p:nvGrpSpPr>
      <p:grpSpPr>
        <a:xfrm>
          <a:off x="0" y="0"/>
          <a:ext cx="0" cy="0"/>
          <a:chOff x="0" y="0"/>
          <a:chExt cx="0" cy="0"/>
        </a:xfrm>
      </p:grpSpPr>
      <p:sp>
        <p:nvSpPr>
          <p:cNvPr id="21" name="Date Placeholder 20"/>
          <p:cNvSpPr>
            <a:spLocks noGrp="1"/>
          </p:cNvSpPr>
          <p:nvPr>
            <p:ph type="dt" sz="half" idx="14"/>
          </p:nvPr>
        </p:nvSpPr>
        <p:spPr/>
        <p:txBody>
          <a:bodyPr/>
          <a:lstStyle/>
          <a:p>
            <a:fld id="{3F4603FF-FCF6-4AE0-9349-4AF38C1FF5B2}" type="datetime5">
              <a:rPr lang="en-US" smtClean="0"/>
              <a:t>26-Jun-20</a:t>
            </a:fld>
            <a:endParaRPr lang="en-US"/>
          </a:p>
        </p:txBody>
      </p:sp>
      <p:sp>
        <p:nvSpPr>
          <p:cNvPr id="22" name="Footer Placeholder 21"/>
          <p:cNvSpPr>
            <a:spLocks noGrp="1"/>
          </p:cNvSpPr>
          <p:nvPr>
            <p:ph type="ftr" sz="quarter" idx="15"/>
          </p:nvPr>
        </p:nvSpPr>
        <p:spPr/>
        <p:txBody>
          <a:bodyPr/>
          <a:lstStyle/>
          <a:p>
            <a:r>
              <a:rPr lang="en-US"/>
              <a:t>Title of presentation (Insert / Header &amp; Footer / Apply to All)</a:t>
            </a:r>
          </a:p>
        </p:txBody>
      </p:sp>
      <p:sp>
        <p:nvSpPr>
          <p:cNvPr id="23" name="Slide Number Placeholder 22"/>
          <p:cNvSpPr>
            <a:spLocks noGrp="1"/>
          </p:cNvSpPr>
          <p:nvPr>
            <p:ph type="sldNum" sz="quarter" idx="16"/>
          </p:nvPr>
        </p:nvSpPr>
        <p:spPr/>
        <p:txBody>
          <a:bodyPr/>
          <a:lstStyle/>
          <a:p>
            <a:fld id="{5F3E29E4-0979-4FCA-B4C5-5FC6044C982A}" type="slidenum">
              <a:rPr lang="en-US" smtClean="0"/>
              <a:t>‹#›</a:t>
            </a:fld>
            <a:endParaRPr lang="en-US"/>
          </a:p>
        </p:txBody>
      </p:sp>
      <p:sp>
        <p:nvSpPr>
          <p:cNvPr id="2" name="Title 1"/>
          <p:cNvSpPr>
            <a:spLocks noGrp="1"/>
          </p:cNvSpPr>
          <p:nvPr>
            <p:ph type="title" hasCustomPrompt="1"/>
          </p:nvPr>
        </p:nvSpPr>
        <p:spPr/>
        <p:txBody>
          <a:bodyPr/>
          <a:lstStyle>
            <a:lvl1pPr>
              <a:defRPr/>
            </a:lvl1pPr>
          </a:lstStyle>
          <a:p>
            <a:r>
              <a:rPr lang="en-US"/>
              <a:t>Click to add contact title</a:t>
            </a:r>
          </a:p>
        </p:txBody>
      </p:sp>
      <p:sp>
        <p:nvSpPr>
          <p:cNvPr id="7" name="Subtitle 2"/>
          <p:cNvSpPr>
            <a:spLocks noGrp="1"/>
          </p:cNvSpPr>
          <p:nvPr>
            <p:ph type="subTitle" idx="13" hasCustomPrompt="1"/>
          </p:nvPr>
        </p:nvSpPr>
        <p:spPr>
          <a:xfrm>
            <a:off x="1075061" y="964671"/>
            <a:ext cx="7910158" cy="490042"/>
          </a:xfrm>
        </p:spPr>
        <p:txBody>
          <a:bodyPr wrap="none"/>
          <a:lstStyle>
            <a:lvl1pPr marL="0" indent="0" algn="l">
              <a:spcBef>
                <a:spcPts val="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grpSp>
        <p:nvGrpSpPr>
          <p:cNvPr id="8" name="Gruppieren 80">
            <a:extLst>
              <a:ext uri="{FF2B5EF4-FFF2-40B4-BE49-F238E27FC236}">
                <a16:creationId xmlns:a16="http://schemas.microsoft.com/office/drawing/2014/main" id="{6B969E7B-9C39-4443-9B02-74C1E7C5CCAC}"/>
              </a:ext>
            </a:extLst>
          </p:cNvPr>
          <p:cNvGrpSpPr/>
          <p:nvPr/>
        </p:nvGrpSpPr>
        <p:grpSpPr>
          <a:xfrm>
            <a:off x="3770065" y="2868319"/>
            <a:ext cx="171180" cy="171180"/>
            <a:chOff x="3392092" y="1841122"/>
            <a:chExt cx="646508" cy="646508"/>
          </a:xfrm>
        </p:grpSpPr>
        <p:sp>
          <p:nvSpPr>
            <p:cNvPr id="9" name="Rechteck 14">
              <a:extLst>
                <a:ext uri="{FF2B5EF4-FFF2-40B4-BE49-F238E27FC236}">
                  <a16:creationId xmlns:a16="http://schemas.microsoft.com/office/drawing/2014/main" id="{D78F58EA-5525-8D43-8295-FEA52ECF6BFA}"/>
                </a:ext>
              </a:extLst>
            </p:cNvPr>
            <p:cNvSpPr>
              <a:spLocks noChangeAspect="1"/>
            </p:cNvSpPr>
            <p:nvPr/>
          </p:nvSpPr>
          <p:spPr bwMode="gray">
            <a:xfrm>
              <a:off x="3392092" y="1841122"/>
              <a:ext cx="646508" cy="646508"/>
            </a:xfrm>
            <a:prstGeom prst="rect">
              <a:avLst/>
            </a:prstGeom>
            <a:solidFill>
              <a:srgbClr val="E55A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pPr>
              <a:endParaRPr lang="en-US" sz="1000">
                <a:solidFill>
                  <a:schemeClr val="tx1"/>
                </a:solidFill>
                <a:latin typeface="Arial" pitchFamily="34" charset="0"/>
                <a:cs typeface="Arial" pitchFamily="34" charset="0"/>
              </a:endParaRPr>
            </a:p>
          </p:txBody>
        </p:sp>
        <p:sp>
          <p:nvSpPr>
            <p:cNvPr id="10" name="Freeform 67">
              <a:extLst>
                <a:ext uri="{FF2B5EF4-FFF2-40B4-BE49-F238E27FC236}">
                  <a16:creationId xmlns:a16="http://schemas.microsoft.com/office/drawing/2014/main" id="{D01A6292-2776-4945-B828-483D79DC4908}"/>
                </a:ext>
              </a:extLst>
            </p:cNvPr>
            <p:cNvSpPr>
              <a:spLocks noChangeAspect="1"/>
            </p:cNvSpPr>
            <p:nvPr/>
          </p:nvSpPr>
          <p:spPr bwMode="auto">
            <a:xfrm>
              <a:off x="3546638" y="1970424"/>
              <a:ext cx="337415" cy="387905"/>
            </a:xfrm>
            <a:custGeom>
              <a:avLst/>
              <a:gdLst>
                <a:gd name="T0" fmla="*/ 573 w 1624"/>
                <a:gd name="T1" fmla="*/ 1257 h 1867"/>
                <a:gd name="T2" fmla="*/ 662 w 1624"/>
                <a:gd name="T3" fmla="*/ 1288 h 1867"/>
                <a:gd name="T4" fmla="*/ 938 w 1624"/>
                <a:gd name="T5" fmla="*/ 1051 h 1867"/>
                <a:gd name="T6" fmla="*/ 1106 w 1624"/>
                <a:gd name="T7" fmla="*/ 731 h 1867"/>
                <a:gd name="T8" fmla="*/ 1059 w 1624"/>
                <a:gd name="T9" fmla="*/ 645 h 1867"/>
                <a:gd name="T10" fmla="*/ 1001 w 1624"/>
                <a:gd name="T11" fmla="*/ 613 h 1867"/>
                <a:gd name="T12" fmla="*/ 924 w 1624"/>
                <a:gd name="T13" fmla="*/ 432 h 1867"/>
                <a:gd name="T14" fmla="*/ 1114 w 1624"/>
                <a:gd name="T15" fmla="*/ 81 h 1867"/>
                <a:gd name="T16" fmla="*/ 1287 w 1624"/>
                <a:gd name="T17" fmla="*/ 35 h 1867"/>
                <a:gd name="T18" fmla="*/ 1350 w 1624"/>
                <a:gd name="T19" fmla="*/ 69 h 1867"/>
                <a:gd name="T20" fmla="*/ 1527 w 1624"/>
                <a:gd name="T21" fmla="*/ 235 h 1867"/>
                <a:gd name="T22" fmla="*/ 1583 w 1624"/>
                <a:gd name="T23" fmla="*/ 555 h 1867"/>
                <a:gd name="T24" fmla="*/ 1172 w 1624"/>
                <a:gd name="T25" fmla="*/ 1253 h 1867"/>
                <a:gd name="T26" fmla="*/ 586 w 1624"/>
                <a:gd name="T27" fmla="*/ 1803 h 1867"/>
                <a:gd name="T28" fmla="*/ 269 w 1624"/>
                <a:gd name="T29" fmla="*/ 1807 h 1867"/>
                <a:gd name="T30" fmla="*/ 33 w 1624"/>
                <a:gd name="T31" fmla="*/ 1602 h 1867"/>
                <a:gd name="T32" fmla="*/ 2 w 1624"/>
                <a:gd name="T33" fmla="*/ 1508 h 1867"/>
                <a:gd name="T34" fmla="*/ 45 w 1624"/>
                <a:gd name="T35" fmla="*/ 1421 h 1867"/>
                <a:gd name="T36" fmla="*/ 346 w 1624"/>
                <a:gd name="T37" fmla="*/ 1158 h 1867"/>
                <a:gd name="T38" fmla="*/ 448 w 1624"/>
                <a:gd name="T39" fmla="*/ 1145 h 1867"/>
                <a:gd name="T40" fmla="*/ 573 w 1624"/>
                <a:gd name="T41" fmla="*/ 1257 h 18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24" h="1867">
                  <a:moveTo>
                    <a:pt x="573" y="1257"/>
                  </a:moveTo>
                  <a:cubicBezTo>
                    <a:pt x="592" y="1282"/>
                    <a:pt x="630" y="1303"/>
                    <a:pt x="662" y="1288"/>
                  </a:cubicBezTo>
                  <a:cubicBezTo>
                    <a:pt x="753" y="1245"/>
                    <a:pt x="854" y="1156"/>
                    <a:pt x="938" y="1051"/>
                  </a:cubicBezTo>
                  <a:cubicBezTo>
                    <a:pt x="1020" y="948"/>
                    <a:pt x="1084" y="831"/>
                    <a:pt x="1106" y="731"/>
                  </a:cubicBezTo>
                  <a:cubicBezTo>
                    <a:pt x="1113" y="696"/>
                    <a:pt x="1089" y="661"/>
                    <a:pt x="1059" y="645"/>
                  </a:cubicBezTo>
                  <a:cubicBezTo>
                    <a:pt x="1001" y="613"/>
                    <a:pt x="1001" y="613"/>
                    <a:pt x="1001" y="613"/>
                  </a:cubicBezTo>
                  <a:cubicBezTo>
                    <a:pt x="942" y="580"/>
                    <a:pt x="888" y="499"/>
                    <a:pt x="924" y="432"/>
                  </a:cubicBezTo>
                  <a:cubicBezTo>
                    <a:pt x="1114" y="81"/>
                    <a:pt x="1114" y="81"/>
                    <a:pt x="1114" y="81"/>
                  </a:cubicBezTo>
                  <a:cubicBezTo>
                    <a:pt x="1150" y="16"/>
                    <a:pt x="1224" y="0"/>
                    <a:pt x="1287" y="35"/>
                  </a:cubicBezTo>
                  <a:cubicBezTo>
                    <a:pt x="1350" y="69"/>
                    <a:pt x="1350" y="69"/>
                    <a:pt x="1350" y="69"/>
                  </a:cubicBezTo>
                  <a:cubicBezTo>
                    <a:pt x="1415" y="105"/>
                    <a:pt x="1479" y="165"/>
                    <a:pt x="1527" y="235"/>
                  </a:cubicBezTo>
                  <a:cubicBezTo>
                    <a:pt x="1593" y="332"/>
                    <a:pt x="1624" y="442"/>
                    <a:pt x="1583" y="555"/>
                  </a:cubicBezTo>
                  <a:cubicBezTo>
                    <a:pt x="1500" y="781"/>
                    <a:pt x="1351" y="1030"/>
                    <a:pt x="1172" y="1253"/>
                  </a:cubicBezTo>
                  <a:cubicBezTo>
                    <a:pt x="994" y="1477"/>
                    <a:pt x="786" y="1676"/>
                    <a:pt x="586" y="1803"/>
                  </a:cubicBezTo>
                  <a:cubicBezTo>
                    <a:pt x="486" y="1867"/>
                    <a:pt x="375" y="1856"/>
                    <a:pt x="269" y="1807"/>
                  </a:cubicBezTo>
                  <a:cubicBezTo>
                    <a:pt x="157" y="1755"/>
                    <a:pt x="106" y="1695"/>
                    <a:pt x="33" y="1602"/>
                  </a:cubicBezTo>
                  <a:cubicBezTo>
                    <a:pt x="11" y="1573"/>
                    <a:pt x="0" y="1540"/>
                    <a:pt x="2" y="1508"/>
                  </a:cubicBezTo>
                  <a:cubicBezTo>
                    <a:pt x="4" y="1475"/>
                    <a:pt x="18" y="1444"/>
                    <a:pt x="45" y="1421"/>
                  </a:cubicBezTo>
                  <a:cubicBezTo>
                    <a:pt x="70" y="1399"/>
                    <a:pt x="346" y="1158"/>
                    <a:pt x="346" y="1158"/>
                  </a:cubicBezTo>
                  <a:cubicBezTo>
                    <a:pt x="376" y="1134"/>
                    <a:pt x="413" y="1133"/>
                    <a:pt x="448" y="1145"/>
                  </a:cubicBezTo>
                  <a:cubicBezTo>
                    <a:pt x="510" y="1166"/>
                    <a:pt x="536" y="1210"/>
                    <a:pt x="573" y="1257"/>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351"/>
            </a:p>
          </p:txBody>
        </p:sp>
      </p:grpSp>
      <p:grpSp>
        <p:nvGrpSpPr>
          <p:cNvPr id="11" name="Group 3">
            <a:extLst>
              <a:ext uri="{FF2B5EF4-FFF2-40B4-BE49-F238E27FC236}">
                <a16:creationId xmlns:a16="http://schemas.microsoft.com/office/drawing/2014/main" id="{DED6A25A-5DE2-1441-8BA2-C68D3B4F9209}"/>
              </a:ext>
            </a:extLst>
          </p:cNvPr>
          <p:cNvGrpSpPr>
            <a:grpSpLocks noChangeAspect="1"/>
          </p:cNvGrpSpPr>
          <p:nvPr>
            <p:custDataLst>
              <p:tags r:id="rId1"/>
            </p:custDataLst>
          </p:nvPr>
        </p:nvGrpSpPr>
        <p:grpSpPr>
          <a:xfrm>
            <a:off x="3770066" y="3153207"/>
            <a:ext cx="171180" cy="171180"/>
            <a:chOff x="328396" y="5313940"/>
            <a:chExt cx="720000" cy="720000"/>
          </a:xfrm>
        </p:grpSpPr>
        <p:sp>
          <p:nvSpPr>
            <p:cNvPr id="12" name="Rectangle 4">
              <a:extLst>
                <a:ext uri="{FF2B5EF4-FFF2-40B4-BE49-F238E27FC236}">
                  <a16:creationId xmlns:a16="http://schemas.microsoft.com/office/drawing/2014/main" id="{5F49E67F-D4FA-9D48-96BC-59AE946ECD15}"/>
                </a:ext>
              </a:extLst>
            </p:cNvPr>
            <p:cNvSpPr/>
            <p:nvPr/>
          </p:nvSpPr>
          <p:spPr bwMode="gray">
            <a:xfrm>
              <a:off x="328396" y="5313940"/>
              <a:ext cx="720000" cy="720000"/>
            </a:xfrm>
            <a:prstGeom prst="rect">
              <a:avLst/>
            </a:prstGeom>
            <a:solidFill>
              <a:srgbClr val="E55A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pPr>
              <a:endParaRPr lang="en-US" sz="1000">
                <a:solidFill>
                  <a:schemeClr val="tx1"/>
                </a:solidFill>
                <a:latin typeface="Arial" pitchFamily="34" charset="0"/>
                <a:cs typeface="Arial" pitchFamily="34" charset="0"/>
              </a:endParaRPr>
            </a:p>
          </p:txBody>
        </p:sp>
        <p:sp>
          <p:nvSpPr>
            <p:cNvPr id="13" name="Freeform 76">
              <a:extLst>
                <a:ext uri="{FF2B5EF4-FFF2-40B4-BE49-F238E27FC236}">
                  <a16:creationId xmlns:a16="http://schemas.microsoft.com/office/drawing/2014/main" id="{187E70E6-AF3F-2549-908E-DF4BA61040AA}"/>
                </a:ext>
              </a:extLst>
            </p:cNvPr>
            <p:cNvSpPr>
              <a:spLocks noChangeAspect="1" noEditPoints="1"/>
            </p:cNvSpPr>
            <p:nvPr/>
          </p:nvSpPr>
          <p:spPr bwMode="auto">
            <a:xfrm>
              <a:off x="456202" y="5509222"/>
              <a:ext cx="504000" cy="329436"/>
            </a:xfrm>
            <a:custGeom>
              <a:avLst/>
              <a:gdLst>
                <a:gd name="T0" fmla="*/ 0 w 2080"/>
                <a:gd name="T1" fmla="*/ 65 h 1360"/>
                <a:gd name="T2" fmla="*/ 0 w 2080"/>
                <a:gd name="T3" fmla="*/ 0 h 1360"/>
                <a:gd name="T4" fmla="*/ 2080 w 2080"/>
                <a:gd name="T5" fmla="*/ 0 h 1360"/>
                <a:gd name="T6" fmla="*/ 2080 w 2080"/>
                <a:gd name="T7" fmla="*/ 65 h 1360"/>
                <a:gd name="T8" fmla="*/ 1089 w 2080"/>
                <a:gd name="T9" fmla="*/ 862 h 1360"/>
                <a:gd name="T10" fmla="*/ 991 w 2080"/>
                <a:gd name="T11" fmla="*/ 862 h 1360"/>
                <a:gd name="T12" fmla="*/ 0 w 2080"/>
                <a:gd name="T13" fmla="*/ 65 h 1360"/>
                <a:gd name="T14" fmla="*/ 1139 w 2080"/>
                <a:gd name="T15" fmla="*/ 924 h 1360"/>
                <a:gd name="T16" fmla="*/ 1282 w 2080"/>
                <a:gd name="T17" fmla="*/ 810 h 1360"/>
                <a:gd name="T18" fmla="*/ 2076 w 2080"/>
                <a:gd name="T19" fmla="*/ 1360 h 1360"/>
                <a:gd name="T20" fmla="*/ 4 w 2080"/>
                <a:gd name="T21" fmla="*/ 1360 h 1360"/>
                <a:gd name="T22" fmla="*/ 798 w 2080"/>
                <a:gd name="T23" fmla="*/ 810 h 1360"/>
                <a:gd name="T24" fmla="*/ 941 w 2080"/>
                <a:gd name="T25" fmla="*/ 924 h 1360"/>
                <a:gd name="T26" fmla="*/ 1139 w 2080"/>
                <a:gd name="T27" fmla="*/ 924 h 1360"/>
                <a:gd name="T28" fmla="*/ 2 w 2080"/>
                <a:gd name="T29" fmla="*/ 137 h 1360"/>
                <a:gd name="T30" fmla="*/ 42 w 2080"/>
                <a:gd name="T31" fmla="*/ 201 h 1360"/>
                <a:gd name="T32" fmla="*/ 734 w 2080"/>
                <a:gd name="T33" fmla="*/ 758 h 1360"/>
                <a:gd name="T34" fmla="*/ 0 w 2080"/>
                <a:gd name="T35" fmla="*/ 1266 h 1360"/>
                <a:gd name="T36" fmla="*/ 0 w 2080"/>
                <a:gd name="T37" fmla="*/ 135 h 1360"/>
                <a:gd name="T38" fmla="*/ 2 w 2080"/>
                <a:gd name="T39" fmla="*/ 137 h 1360"/>
                <a:gd name="T40" fmla="*/ 2080 w 2080"/>
                <a:gd name="T41" fmla="*/ 136 h 1360"/>
                <a:gd name="T42" fmla="*/ 2080 w 2080"/>
                <a:gd name="T43" fmla="*/ 1265 h 1360"/>
                <a:gd name="T44" fmla="*/ 1346 w 2080"/>
                <a:gd name="T45" fmla="*/ 758 h 1360"/>
                <a:gd name="T46" fmla="*/ 2038 w 2080"/>
                <a:gd name="T47" fmla="*/ 201 h 1360"/>
                <a:gd name="T48" fmla="*/ 2080 w 2080"/>
                <a:gd name="T49" fmla="*/ 136 h 1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080" h="1360">
                  <a:moveTo>
                    <a:pt x="0" y="65"/>
                  </a:moveTo>
                  <a:cubicBezTo>
                    <a:pt x="0" y="0"/>
                    <a:pt x="0" y="0"/>
                    <a:pt x="0" y="0"/>
                  </a:cubicBezTo>
                  <a:cubicBezTo>
                    <a:pt x="2080" y="0"/>
                    <a:pt x="2080" y="0"/>
                    <a:pt x="2080" y="0"/>
                  </a:cubicBezTo>
                  <a:cubicBezTo>
                    <a:pt x="2080" y="65"/>
                    <a:pt x="2080" y="65"/>
                    <a:pt x="2080" y="65"/>
                  </a:cubicBezTo>
                  <a:cubicBezTo>
                    <a:pt x="1089" y="862"/>
                    <a:pt x="1089" y="862"/>
                    <a:pt x="1089" y="862"/>
                  </a:cubicBezTo>
                  <a:cubicBezTo>
                    <a:pt x="1060" y="886"/>
                    <a:pt x="1020" y="886"/>
                    <a:pt x="991" y="862"/>
                  </a:cubicBezTo>
                  <a:lnTo>
                    <a:pt x="0" y="65"/>
                  </a:lnTo>
                  <a:close/>
                  <a:moveTo>
                    <a:pt x="1139" y="924"/>
                  </a:moveTo>
                  <a:cubicBezTo>
                    <a:pt x="1282" y="810"/>
                    <a:pt x="1282" y="810"/>
                    <a:pt x="1282" y="810"/>
                  </a:cubicBezTo>
                  <a:cubicBezTo>
                    <a:pt x="2076" y="1360"/>
                    <a:pt x="2076" y="1360"/>
                    <a:pt x="2076" y="1360"/>
                  </a:cubicBezTo>
                  <a:cubicBezTo>
                    <a:pt x="4" y="1360"/>
                    <a:pt x="4" y="1360"/>
                    <a:pt x="4" y="1360"/>
                  </a:cubicBezTo>
                  <a:cubicBezTo>
                    <a:pt x="798" y="810"/>
                    <a:pt x="798" y="810"/>
                    <a:pt x="798" y="810"/>
                  </a:cubicBezTo>
                  <a:cubicBezTo>
                    <a:pt x="941" y="924"/>
                    <a:pt x="941" y="924"/>
                    <a:pt x="941" y="924"/>
                  </a:cubicBezTo>
                  <a:cubicBezTo>
                    <a:pt x="1000" y="972"/>
                    <a:pt x="1080" y="972"/>
                    <a:pt x="1139" y="924"/>
                  </a:cubicBezTo>
                  <a:close/>
                  <a:moveTo>
                    <a:pt x="2" y="137"/>
                  </a:moveTo>
                  <a:cubicBezTo>
                    <a:pt x="8" y="163"/>
                    <a:pt x="22" y="185"/>
                    <a:pt x="42" y="201"/>
                  </a:cubicBezTo>
                  <a:cubicBezTo>
                    <a:pt x="734" y="758"/>
                    <a:pt x="734" y="758"/>
                    <a:pt x="734" y="758"/>
                  </a:cubicBezTo>
                  <a:cubicBezTo>
                    <a:pt x="0" y="1266"/>
                    <a:pt x="0" y="1266"/>
                    <a:pt x="0" y="1266"/>
                  </a:cubicBezTo>
                  <a:cubicBezTo>
                    <a:pt x="0" y="135"/>
                    <a:pt x="0" y="135"/>
                    <a:pt x="0" y="135"/>
                  </a:cubicBezTo>
                  <a:lnTo>
                    <a:pt x="2" y="137"/>
                  </a:lnTo>
                  <a:close/>
                  <a:moveTo>
                    <a:pt x="2080" y="136"/>
                  </a:moveTo>
                  <a:cubicBezTo>
                    <a:pt x="2080" y="1265"/>
                    <a:pt x="2080" y="1265"/>
                    <a:pt x="2080" y="1265"/>
                  </a:cubicBezTo>
                  <a:cubicBezTo>
                    <a:pt x="1346" y="758"/>
                    <a:pt x="1346" y="758"/>
                    <a:pt x="1346" y="758"/>
                  </a:cubicBezTo>
                  <a:cubicBezTo>
                    <a:pt x="2038" y="201"/>
                    <a:pt x="2038" y="201"/>
                    <a:pt x="2038" y="201"/>
                  </a:cubicBezTo>
                  <a:cubicBezTo>
                    <a:pt x="2060" y="182"/>
                    <a:pt x="2072" y="162"/>
                    <a:pt x="2080" y="13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000"/>
            </a:p>
          </p:txBody>
        </p:sp>
      </p:grpSp>
      <p:grpSp>
        <p:nvGrpSpPr>
          <p:cNvPr id="14" name="Gruppieren 2">
            <a:extLst>
              <a:ext uri="{FF2B5EF4-FFF2-40B4-BE49-F238E27FC236}">
                <a16:creationId xmlns:a16="http://schemas.microsoft.com/office/drawing/2014/main" id="{BE697CE9-EBDE-6B4A-BE70-582D92A8A831}"/>
              </a:ext>
            </a:extLst>
          </p:cNvPr>
          <p:cNvGrpSpPr/>
          <p:nvPr/>
        </p:nvGrpSpPr>
        <p:grpSpPr>
          <a:xfrm>
            <a:off x="8701917" y="2868319"/>
            <a:ext cx="171180" cy="171180"/>
            <a:chOff x="3392092" y="1841122"/>
            <a:chExt cx="646508" cy="646508"/>
          </a:xfrm>
        </p:grpSpPr>
        <p:sp>
          <p:nvSpPr>
            <p:cNvPr id="15" name="Rechteck 14">
              <a:extLst>
                <a:ext uri="{FF2B5EF4-FFF2-40B4-BE49-F238E27FC236}">
                  <a16:creationId xmlns:a16="http://schemas.microsoft.com/office/drawing/2014/main" id="{E142A731-19B7-C34D-9534-9E05108F895F}"/>
                </a:ext>
              </a:extLst>
            </p:cNvPr>
            <p:cNvSpPr>
              <a:spLocks noChangeAspect="1"/>
            </p:cNvSpPr>
            <p:nvPr/>
          </p:nvSpPr>
          <p:spPr bwMode="gray">
            <a:xfrm>
              <a:off x="3392092" y="1841122"/>
              <a:ext cx="646508" cy="646508"/>
            </a:xfrm>
            <a:prstGeom prst="rect">
              <a:avLst/>
            </a:prstGeom>
            <a:solidFill>
              <a:srgbClr val="E55A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pPr>
              <a:endParaRPr lang="en-US" sz="1000">
                <a:solidFill>
                  <a:schemeClr val="tx1"/>
                </a:solidFill>
                <a:latin typeface="Arial" pitchFamily="34" charset="0"/>
                <a:cs typeface="Arial" pitchFamily="34" charset="0"/>
              </a:endParaRPr>
            </a:p>
          </p:txBody>
        </p:sp>
        <p:sp>
          <p:nvSpPr>
            <p:cNvPr id="16" name="Freeform 15">
              <a:extLst>
                <a:ext uri="{FF2B5EF4-FFF2-40B4-BE49-F238E27FC236}">
                  <a16:creationId xmlns:a16="http://schemas.microsoft.com/office/drawing/2014/main" id="{F97E84AE-4AD9-4B44-9AA1-F797FC373809}"/>
                </a:ext>
              </a:extLst>
            </p:cNvPr>
            <p:cNvSpPr>
              <a:spLocks noChangeAspect="1"/>
            </p:cNvSpPr>
            <p:nvPr/>
          </p:nvSpPr>
          <p:spPr bwMode="auto">
            <a:xfrm>
              <a:off x="3546638" y="1970424"/>
              <a:ext cx="337415" cy="387905"/>
            </a:xfrm>
            <a:custGeom>
              <a:avLst/>
              <a:gdLst>
                <a:gd name="T0" fmla="*/ 573 w 1624"/>
                <a:gd name="T1" fmla="*/ 1257 h 1867"/>
                <a:gd name="T2" fmla="*/ 662 w 1624"/>
                <a:gd name="T3" fmla="*/ 1288 h 1867"/>
                <a:gd name="T4" fmla="*/ 938 w 1624"/>
                <a:gd name="T5" fmla="*/ 1051 h 1867"/>
                <a:gd name="T6" fmla="*/ 1106 w 1624"/>
                <a:gd name="T7" fmla="*/ 731 h 1867"/>
                <a:gd name="T8" fmla="*/ 1059 w 1624"/>
                <a:gd name="T9" fmla="*/ 645 h 1867"/>
                <a:gd name="T10" fmla="*/ 1001 w 1624"/>
                <a:gd name="T11" fmla="*/ 613 h 1867"/>
                <a:gd name="T12" fmla="*/ 924 w 1624"/>
                <a:gd name="T13" fmla="*/ 432 h 1867"/>
                <a:gd name="T14" fmla="*/ 1114 w 1624"/>
                <a:gd name="T15" fmla="*/ 81 h 1867"/>
                <a:gd name="T16" fmla="*/ 1287 w 1624"/>
                <a:gd name="T17" fmla="*/ 35 h 1867"/>
                <a:gd name="T18" fmla="*/ 1350 w 1624"/>
                <a:gd name="T19" fmla="*/ 69 h 1867"/>
                <a:gd name="T20" fmla="*/ 1527 w 1624"/>
                <a:gd name="T21" fmla="*/ 235 h 1867"/>
                <a:gd name="T22" fmla="*/ 1583 w 1624"/>
                <a:gd name="T23" fmla="*/ 555 h 1867"/>
                <a:gd name="T24" fmla="*/ 1172 w 1624"/>
                <a:gd name="T25" fmla="*/ 1253 h 1867"/>
                <a:gd name="T26" fmla="*/ 586 w 1624"/>
                <a:gd name="T27" fmla="*/ 1803 h 1867"/>
                <a:gd name="T28" fmla="*/ 269 w 1624"/>
                <a:gd name="T29" fmla="*/ 1807 h 1867"/>
                <a:gd name="T30" fmla="*/ 33 w 1624"/>
                <a:gd name="T31" fmla="*/ 1602 h 1867"/>
                <a:gd name="T32" fmla="*/ 2 w 1624"/>
                <a:gd name="T33" fmla="*/ 1508 h 1867"/>
                <a:gd name="T34" fmla="*/ 45 w 1624"/>
                <a:gd name="T35" fmla="*/ 1421 h 1867"/>
                <a:gd name="T36" fmla="*/ 346 w 1624"/>
                <a:gd name="T37" fmla="*/ 1158 h 1867"/>
                <a:gd name="T38" fmla="*/ 448 w 1624"/>
                <a:gd name="T39" fmla="*/ 1145 h 1867"/>
                <a:gd name="T40" fmla="*/ 573 w 1624"/>
                <a:gd name="T41" fmla="*/ 1257 h 18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24" h="1867">
                  <a:moveTo>
                    <a:pt x="573" y="1257"/>
                  </a:moveTo>
                  <a:cubicBezTo>
                    <a:pt x="592" y="1282"/>
                    <a:pt x="630" y="1303"/>
                    <a:pt x="662" y="1288"/>
                  </a:cubicBezTo>
                  <a:cubicBezTo>
                    <a:pt x="753" y="1245"/>
                    <a:pt x="854" y="1156"/>
                    <a:pt x="938" y="1051"/>
                  </a:cubicBezTo>
                  <a:cubicBezTo>
                    <a:pt x="1020" y="948"/>
                    <a:pt x="1084" y="831"/>
                    <a:pt x="1106" y="731"/>
                  </a:cubicBezTo>
                  <a:cubicBezTo>
                    <a:pt x="1113" y="696"/>
                    <a:pt x="1089" y="661"/>
                    <a:pt x="1059" y="645"/>
                  </a:cubicBezTo>
                  <a:cubicBezTo>
                    <a:pt x="1001" y="613"/>
                    <a:pt x="1001" y="613"/>
                    <a:pt x="1001" y="613"/>
                  </a:cubicBezTo>
                  <a:cubicBezTo>
                    <a:pt x="942" y="580"/>
                    <a:pt x="888" y="499"/>
                    <a:pt x="924" y="432"/>
                  </a:cubicBezTo>
                  <a:cubicBezTo>
                    <a:pt x="1114" y="81"/>
                    <a:pt x="1114" y="81"/>
                    <a:pt x="1114" y="81"/>
                  </a:cubicBezTo>
                  <a:cubicBezTo>
                    <a:pt x="1150" y="16"/>
                    <a:pt x="1224" y="0"/>
                    <a:pt x="1287" y="35"/>
                  </a:cubicBezTo>
                  <a:cubicBezTo>
                    <a:pt x="1350" y="69"/>
                    <a:pt x="1350" y="69"/>
                    <a:pt x="1350" y="69"/>
                  </a:cubicBezTo>
                  <a:cubicBezTo>
                    <a:pt x="1415" y="105"/>
                    <a:pt x="1479" y="165"/>
                    <a:pt x="1527" y="235"/>
                  </a:cubicBezTo>
                  <a:cubicBezTo>
                    <a:pt x="1593" y="332"/>
                    <a:pt x="1624" y="442"/>
                    <a:pt x="1583" y="555"/>
                  </a:cubicBezTo>
                  <a:cubicBezTo>
                    <a:pt x="1500" y="781"/>
                    <a:pt x="1351" y="1030"/>
                    <a:pt x="1172" y="1253"/>
                  </a:cubicBezTo>
                  <a:cubicBezTo>
                    <a:pt x="994" y="1477"/>
                    <a:pt x="786" y="1676"/>
                    <a:pt x="586" y="1803"/>
                  </a:cubicBezTo>
                  <a:cubicBezTo>
                    <a:pt x="486" y="1867"/>
                    <a:pt x="375" y="1856"/>
                    <a:pt x="269" y="1807"/>
                  </a:cubicBezTo>
                  <a:cubicBezTo>
                    <a:pt x="157" y="1755"/>
                    <a:pt x="106" y="1695"/>
                    <a:pt x="33" y="1602"/>
                  </a:cubicBezTo>
                  <a:cubicBezTo>
                    <a:pt x="11" y="1573"/>
                    <a:pt x="0" y="1540"/>
                    <a:pt x="2" y="1508"/>
                  </a:cubicBezTo>
                  <a:cubicBezTo>
                    <a:pt x="4" y="1475"/>
                    <a:pt x="18" y="1444"/>
                    <a:pt x="45" y="1421"/>
                  </a:cubicBezTo>
                  <a:cubicBezTo>
                    <a:pt x="70" y="1399"/>
                    <a:pt x="346" y="1158"/>
                    <a:pt x="346" y="1158"/>
                  </a:cubicBezTo>
                  <a:cubicBezTo>
                    <a:pt x="376" y="1134"/>
                    <a:pt x="413" y="1133"/>
                    <a:pt x="448" y="1145"/>
                  </a:cubicBezTo>
                  <a:cubicBezTo>
                    <a:pt x="510" y="1166"/>
                    <a:pt x="536" y="1210"/>
                    <a:pt x="573" y="1257"/>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351"/>
            </a:p>
          </p:txBody>
        </p:sp>
      </p:grpSp>
      <p:grpSp>
        <p:nvGrpSpPr>
          <p:cNvPr id="17" name="Group 3">
            <a:extLst>
              <a:ext uri="{FF2B5EF4-FFF2-40B4-BE49-F238E27FC236}">
                <a16:creationId xmlns:a16="http://schemas.microsoft.com/office/drawing/2014/main" id="{7104BADD-8CD1-6F4A-B894-869C3BDB3EEB}"/>
              </a:ext>
            </a:extLst>
          </p:cNvPr>
          <p:cNvGrpSpPr>
            <a:grpSpLocks noChangeAspect="1"/>
          </p:cNvGrpSpPr>
          <p:nvPr>
            <p:custDataLst>
              <p:tags r:id="rId2"/>
            </p:custDataLst>
          </p:nvPr>
        </p:nvGrpSpPr>
        <p:grpSpPr>
          <a:xfrm>
            <a:off x="8701918" y="3153207"/>
            <a:ext cx="171180" cy="171180"/>
            <a:chOff x="328396" y="5313940"/>
            <a:chExt cx="720000" cy="720000"/>
          </a:xfrm>
        </p:grpSpPr>
        <p:sp>
          <p:nvSpPr>
            <p:cNvPr id="18" name="Rectangle 4">
              <a:extLst>
                <a:ext uri="{FF2B5EF4-FFF2-40B4-BE49-F238E27FC236}">
                  <a16:creationId xmlns:a16="http://schemas.microsoft.com/office/drawing/2014/main" id="{74BE3D5F-1445-6E40-8B49-72E15568383B}"/>
                </a:ext>
              </a:extLst>
            </p:cNvPr>
            <p:cNvSpPr/>
            <p:nvPr/>
          </p:nvSpPr>
          <p:spPr bwMode="gray">
            <a:xfrm>
              <a:off x="328396" y="5313940"/>
              <a:ext cx="720000" cy="720000"/>
            </a:xfrm>
            <a:prstGeom prst="rect">
              <a:avLst/>
            </a:prstGeom>
            <a:solidFill>
              <a:srgbClr val="E55A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pPr>
              <a:endParaRPr lang="en-US" sz="1000">
                <a:solidFill>
                  <a:schemeClr val="tx1"/>
                </a:solidFill>
                <a:latin typeface="Arial" pitchFamily="34" charset="0"/>
                <a:cs typeface="Arial" pitchFamily="34" charset="0"/>
              </a:endParaRPr>
            </a:p>
          </p:txBody>
        </p:sp>
        <p:sp>
          <p:nvSpPr>
            <p:cNvPr id="19" name="Freeform 76">
              <a:extLst>
                <a:ext uri="{FF2B5EF4-FFF2-40B4-BE49-F238E27FC236}">
                  <a16:creationId xmlns:a16="http://schemas.microsoft.com/office/drawing/2014/main" id="{55DB3C95-7D0C-D141-901E-96D692794D2B}"/>
                </a:ext>
              </a:extLst>
            </p:cNvPr>
            <p:cNvSpPr>
              <a:spLocks noChangeAspect="1" noEditPoints="1"/>
            </p:cNvSpPr>
            <p:nvPr/>
          </p:nvSpPr>
          <p:spPr bwMode="auto">
            <a:xfrm>
              <a:off x="456202" y="5509222"/>
              <a:ext cx="504000" cy="329436"/>
            </a:xfrm>
            <a:custGeom>
              <a:avLst/>
              <a:gdLst>
                <a:gd name="T0" fmla="*/ 0 w 2080"/>
                <a:gd name="T1" fmla="*/ 65 h 1360"/>
                <a:gd name="T2" fmla="*/ 0 w 2080"/>
                <a:gd name="T3" fmla="*/ 0 h 1360"/>
                <a:gd name="T4" fmla="*/ 2080 w 2080"/>
                <a:gd name="T5" fmla="*/ 0 h 1360"/>
                <a:gd name="T6" fmla="*/ 2080 w 2080"/>
                <a:gd name="T7" fmla="*/ 65 h 1360"/>
                <a:gd name="T8" fmla="*/ 1089 w 2080"/>
                <a:gd name="T9" fmla="*/ 862 h 1360"/>
                <a:gd name="T10" fmla="*/ 991 w 2080"/>
                <a:gd name="T11" fmla="*/ 862 h 1360"/>
                <a:gd name="T12" fmla="*/ 0 w 2080"/>
                <a:gd name="T13" fmla="*/ 65 h 1360"/>
                <a:gd name="T14" fmla="*/ 1139 w 2080"/>
                <a:gd name="T15" fmla="*/ 924 h 1360"/>
                <a:gd name="T16" fmla="*/ 1282 w 2080"/>
                <a:gd name="T17" fmla="*/ 810 h 1360"/>
                <a:gd name="T18" fmla="*/ 2076 w 2080"/>
                <a:gd name="T19" fmla="*/ 1360 h 1360"/>
                <a:gd name="T20" fmla="*/ 4 w 2080"/>
                <a:gd name="T21" fmla="*/ 1360 h 1360"/>
                <a:gd name="T22" fmla="*/ 798 w 2080"/>
                <a:gd name="T23" fmla="*/ 810 h 1360"/>
                <a:gd name="T24" fmla="*/ 941 w 2080"/>
                <a:gd name="T25" fmla="*/ 924 h 1360"/>
                <a:gd name="T26" fmla="*/ 1139 w 2080"/>
                <a:gd name="T27" fmla="*/ 924 h 1360"/>
                <a:gd name="T28" fmla="*/ 2 w 2080"/>
                <a:gd name="T29" fmla="*/ 137 h 1360"/>
                <a:gd name="T30" fmla="*/ 42 w 2080"/>
                <a:gd name="T31" fmla="*/ 201 h 1360"/>
                <a:gd name="T32" fmla="*/ 734 w 2080"/>
                <a:gd name="T33" fmla="*/ 758 h 1360"/>
                <a:gd name="T34" fmla="*/ 0 w 2080"/>
                <a:gd name="T35" fmla="*/ 1266 h 1360"/>
                <a:gd name="T36" fmla="*/ 0 w 2080"/>
                <a:gd name="T37" fmla="*/ 135 h 1360"/>
                <a:gd name="T38" fmla="*/ 2 w 2080"/>
                <a:gd name="T39" fmla="*/ 137 h 1360"/>
                <a:gd name="T40" fmla="*/ 2080 w 2080"/>
                <a:gd name="T41" fmla="*/ 136 h 1360"/>
                <a:gd name="T42" fmla="*/ 2080 w 2080"/>
                <a:gd name="T43" fmla="*/ 1265 h 1360"/>
                <a:gd name="T44" fmla="*/ 1346 w 2080"/>
                <a:gd name="T45" fmla="*/ 758 h 1360"/>
                <a:gd name="T46" fmla="*/ 2038 w 2080"/>
                <a:gd name="T47" fmla="*/ 201 h 1360"/>
                <a:gd name="T48" fmla="*/ 2080 w 2080"/>
                <a:gd name="T49" fmla="*/ 136 h 1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080" h="1360">
                  <a:moveTo>
                    <a:pt x="0" y="65"/>
                  </a:moveTo>
                  <a:cubicBezTo>
                    <a:pt x="0" y="0"/>
                    <a:pt x="0" y="0"/>
                    <a:pt x="0" y="0"/>
                  </a:cubicBezTo>
                  <a:cubicBezTo>
                    <a:pt x="2080" y="0"/>
                    <a:pt x="2080" y="0"/>
                    <a:pt x="2080" y="0"/>
                  </a:cubicBezTo>
                  <a:cubicBezTo>
                    <a:pt x="2080" y="65"/>
                    <a:pt x="2080" y="65"/>
                    <a:pt x="2080" y="65"/>
                  </a:cubicBezTo>
                  <a:cubicBezTo>
                    <a:pt x="1089" y="862"/>
                    <a:pt x="1089" y="862"/>
                    <a:pt x="1089" y="862"/>
                  </a:cubicBezTo>
                  <a:cubicBezTo>
                    <a:pt x="1060" y="886"/>
                    <a:pt x="1020" y="886"/>
                    <a:pt x="991" y="862"/>
                  </a:cubicBezTo>
                  <a:lnTo>
                    <a:pt x="0" y="65"/>
                  </a:lnTo>
                  <a:close/>
                  <a:moveTo>
                    <a:pt x="1139" y="924"/>
                  </a:moveTo>
                  <a:cubicBezTo>
                    <a:pt x="1282" y="810"/>
                    <a:pt x="1282" y="810"/>
                    <a:pt x="1282" y="810"/>
                  </a:cubicBezTo>
                  <a:cubicBezTo>
                    <a:pt x="2076" y="1360"/>
                    <a:pt x="2076" y="1360"/>
                    <a:pt x="2076" y="1360"/>
                  </a:cubicBezTo>
                  <a:cubicBezTo>
                    <a:pt x="4" y="1360"/>
                    <a:pt x="4" y="1360"/>
                    <a:pt x="4" y="1360"/>
                  </a:cubicBezTo>
                  <a:cubicBezTo>
                    <a:pt x="798" y="810"/>
                    <a:pt x="798" y="810"/>
                    <a:pt x="798" y="810"/>
                  </a:cubicBezTo>
                  <a:cubicBezTo>
                    <a:pt x="941" y="924"/>
                    <a:pt x="941" y="924"/>
                    <a:pt x="941" y="924"/>
                  </a:cubicBezTo>
                  <a:cubicBezTo>
                    <a:pt x="1000" y="972"/>
                    <a:pt x="1080" y="972"/>
                    <a:pt x="1139" y="924"/>
                  </a:cubicBezTo>
                  <a:close/>
                  <a:moveTo>
                    <a:pt x="2" y="137"/>
                  </a:moveTo>
                  <a:cubicBezTo>
                    <a:pt x="8" y="163"/>
                    <a:pt x="22" y="185"/>
                    <a:pt x="42" y="201"/>
                  </a:cubicBezTo>
                  <a:cubicBezTo>
                    <a:pt x="734" y="758"/>
                    <a:pt x="734" y="758"/>
                    <a:pt x="734" y="758"/>
                  </a:cubicBezTo>
                  <a:cubicBezTo>
                    <a:pt x="0" y="1266"/>
                    <a:pt x="0" y="1266"/>
                    <a:pt x="0" y="1266"/>
                  </a:cubicBezTo>
                  <a:cubicBezTo>
                    <a:pt x="0" y="135"/>
                    <a:pt x="0" y="135"/>
                    <a:pt x="0" y="135"/>
                  </a:cubicBezTo>
                  <a:lnTo>
                    <a:pt x="2" y="137"/>
                  </a:lnTo>
                  <a:close/>
                  <a:moveTo>
                    <a:pt x="2080" y="136"/>
                  </a:moveTo>
                  <a:cubicBezTo>
                    <a:pt x="2080" y="1265"/>
                    <a:pt x="2080" y="1265"/>
                    <a:pt x="2080" y="1265"/>
                  </a:cubicBezTo>
                  <a:cubicBezTo>
                    <a:pt x="1346" y="758"/>
                    <a:pt x="1346" y="758"/>
                    <a:pt x="1346" y="758"/>
                  </a:cubicBezTo>
                  <a:cubicBezTo>
                    <a:pt x="2038" y="201"/>
                    <a:pt x="2038" y="201"/>
                    <a:pt x="2038" y="201"/>
                  </a:cubicBezTo>
                  <a:cubicBezTo>
                    <a:pt x="2060" y="182"/>
                    <a:pt x="2072" y="162"/>
                    <a:pt x="2080" y="13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000"/>
            </a:p>
          </p:txBody>
        </p:sp>
      </p:grpSp>
      <p:cxnSp>
        <p:nvCxnSpPr>
          <p:cNvPr id="20" name="Straight Connector 19"/>
          <p:cNvCxnSpPr/>
          <p:nvPr/>
        </p:nvCxnSpPr>
        <p:spPr>
          <a:xfrm>
            <a:off x="2371725" y="3478213"/>
            <a:ext cx="3888000" cy="0"/>
          </a:xfrm>
          <a:prstGeom prst="line">
            <a:avLst/>
          </a:prstGeom>
          <a:ln w="6350">
            <a:solidFill>
              <a:schemeClr val="tx2"/>
            </a:solidFill>
            <a:prstDash val="dash"/>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p:nvCxnSpPr>
        <p:spPr>
          <a:xfrm>
            <a:off x="7287766" y="3478213"/>
            <a:ext cx="3888000" cy="0"/>
          </a:xfrm>
          <a:prstGeom prst="line">
            <a:avLst/>
          </a:prstGeom>
          <a:ln w="6350">
            <a:solidFill>
              <a:schemeClr val="tx2"/>
            </a:solidFill>
            <a:prstDash val="dash"/>
          </a:ln>
        </p:spPr>
        <p:style>
          <a:lnRef idx="1">
            <a:schemeClr val="accent1"/>
          </a:lnRef>
          <a:fillRef idx="0">
            <a:schemeClr val="accent1"/>
          </a:fillRef>
          <a:effectRef idx="0">
            <a:schemeClr val="accent1"/>
          </a:effectRef>
          <a:fontRef idx="minor">
            <a:schemeClr val="tx1"/>
          </a:fontRef>
        </p:style>
      </p:cxnSp>
      <p:sp>
        <p:nvSpPr>
          <p:cNvPr id="4" name="Picture Placeholder 3"/>
          <p:cNvSpPr>
            <a:spLocks noGrp="1"/>
          </p:cNvSpPr>
          <p:nvPr>
            <p:ph type="pic" sz="quarter" idx="17" hasCustomPrompt="1"/>
          </p:nvPr>
        </p:nvSpPr>
        <p:spPr>
          <a:xfrm>
            <a:off x="2355914" y="1808984"/>
            <a:ext cx="1188677" cy="1547840"/>
          </a:xfrm>
          <a:solidFill>
            <a:srgbClr val="D9DADB"/>
          </a:solidFill>
        </p:spPr>
        <p:txBody>
          <a:bodyPr/>
          <a:lstStyle>
            <a:lvl1pPr marL="0" indent="0">
              <a:buNone/>
              <a:defRPr sz="1400"/>
            </a:lvl1pPr>
          </a:lstStyle>
          <a:p>
            <a:r>
              <a:rPr lang="en-US"/>
              <a:t>Insert picture</a:t>
            </a:r>
          </a:p>
        </p:txBody>
      </p:sp>
      <p:sp>
        <p:nvSpPr>
          <p:cNvPr id="25" name="Picture Placeholder 3"/>
          <p:cNvSpPr>
            <a:spLocks noGrp="1"/>
          </p:cNvSpPr>
          <p:nvPr>
            <p:ph type="pic" sz="quarter" idx="18" hasCustomPrompt="1"/>
          </p:nvPr>
        </p:nvSpPr>
        <p:spPr>
          <a:xfrm>
            <a:off x="7287766" y="1808984"/>
            <a:ext cx="1188677" cy="1547840"/>
          </a:xfrm>
          <a:solidFill>
            <a:srgbClr val="D9DADB"/>
          </a:solidFill>
        </p:spPr>
        <p:txBody>
          <a:bodyPr/>
          <a:lstStyle>
            <a:lvl1pPr marL="0" indent="0">
              <a:buNone/>
              <a:defRPr sz="1400"/>
            </a:lvl1pPr>
          </a:lstStyle>
          <a:p>
            <a:r>
              <a:rPr lang="en-US"/>
              <a:t>Insert picture</a:t>
            </a:r>
          </a:p>
        </p:txBody>
      </p:sp>
      <p:sp>
        <p:nvSpPr>
          <p:cNvPr id="6" name="Text Placeholder 5"/>
          <p:cNvSpPr>
            <a:spLocks noGrp="1"/>
          </p:cNvSpPr>
          <p:nvPr>
            <p:ph type="body" sz="quarter" idx="19" hasCustomPrompt="1"/>
          </p:nvPr>
        </p:nvSpPr>
        <p:spPr>
          <a:xfrm>
            <a:off x="3770065" y="1808521"/>
            <a:ext cx="2463190" cy="192360"/>
          </a:xfrm>
        </p:spPr>
        <p:txBody>
          <a:bodyPr lIns="0" tIns="0" rIns="0" bIns="0" anchor="ctr" anchorCtr="0"/>
          <a:lstStyle>
            <a:lvl1pPr marL="0" indent="0" algn="l">
              <a:lnSpc>
                <a:spcPct val="100000"/>
              </a:lnSpc>
              <a:buNone/>
              <a:defRPr sz="100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Country</a:t>
            </a:r>
          </a:p>
        </p:txBody>
      </p:sp>
      <p:sp>
        <p:nvSpPr>
          <p:cNvPr id="26" name="Text Placeholder 5"/>
          <p:cNvSpPr>
            <a:spLocks noGrp="1"/>
          </p:cNvSpPr>
          <p:nvPr>
            <p:ph type="body" sz="quarter" idx="20" hasCustomPrompt="1"/>
          </p:nvPr>
        </p:nvSpPr>
        <p:spPr>
          <a:xfrm>
            <a:off x="3770065" y="2020337"/>
            <a:ext cx="2463190" cy="266182"/>
          </a:xfrm>
        </p:spPr>
        <p:txBody>
          <a:bodyPr lIns="0" tIns="0" rIns="0" bIns="0" anchor="b" anchorCtr="0"/>
          <a:lstStyle>
            <a:lvl1pPr marL="0" indent="0" algn="l">
              <a:lnSpc>
                <a:spcPct val="100000"/>
              </a:lnSpc>
              <a:buNone/>
              <a:defRPr sz="1400" b="1" baseline="0">
                <a:solidFill>
                  <a:schemeClr val="tx2"/>
                </a:solidFill>
              </a:defRPr>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Name, Surname</a:t>
            </a:r>
          </a:p>
        </p:txBody>
      </p:sp>
      <p:sp>
        <p:nvSpPr>
          <p:cNvPr id="27" name="Text Placeholder 5"/>
          <p:cNvSpPr>
            <a:spLocks noGrp="1"/>
          </p:cNvSpPr>
          <p:nvPr>
            <p:ph type="body" sz="quarter" idx="21" hasCustomPrompt="1"/>
          </p:nvPr>
        </p:nvSpPr>
        <p:spPr>
          <a:xfrm>
            <a:off x="3770065" y="2316912"/>
            <a:ext cx="2463190"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Job Position</a:t>
            </a:r>
          </a:p>
        </p:txBody>
      </p:sp>
      <p:sp>
        <p:nvSpPr>
          <p:cNvPr id="28" name="Text Placeholder 5"/>
          <p:cNvSpPr>
            <a:spLocks noGrp="1"/>
          </p:cNvSpPr>
          <p:nvPr>
            <p:ph type="body" sz="quarter" idx="22" hasCustomPrompt="1"/>
          </p:nvPr>
        </p:nvSpPr>
        <p:spPr>
          <a:xfrm>
            <a:off x="4014948" y="2845588"/>
            <a:ext cx="2218307"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Phone number</a:t>
            </a:r>
          </a:p>
        </p:txBody>
      </p:sp>
      <p:sp>
        <p:nvSpPr>
          <p:cNvPr id="29" name="Text Placeholder 5"/>
          <p:cNvSpPr>
            <a:spLocks noGrp="1"/>
          </p:cNvSpPr>
          <p:nvPr>
            <p:ph type="body" sz="quarter" idx="23" hasCustomPrompt="1"/>
          </p:nvPr>
        </p:nvSpPr>
        <p:spPr>
          <a:xfrm>
            <a:off x="4014948" y="3128395"/>
            <a:ext cx="2218307"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Email address</a:t>
            </a:r>
          </a:p>
        </p:txBody>
      </p:sp>
      <p:sp>
        <p:nvSpPr>
          <p:cNvPr id="30" name="Text Placeholder 5"/>
          <p:cNvSpPr>
            <a:spLocks noGrp="1"/>
          </p:cNvSpPr>
          <p:nvPr>
            <p:ph type="body" sz="quarter" idx="24" hasCustomPrompt="1"/>
          </p:nvPr>
        </p:nvSpPr>
        <p:spPr>
          <a:xfrm>
            <a:off x="8701917" y="1808521"/>
            <a:ext cx="2463190" cy="192360"/>
          </a:xfrm>
        </p:spPr>
        <p:txBody>
          <a:bodyPr lIns="0" tIns="0" rIns="0" bIns="0" anchor="ctr" anchorCtr="0"/>
          <a:lstStyle>
            <a:lvl1pPr marL="0" indent="0" algn="l">
              <a:lnSpc>
                <a:spcPct val="100000"/>
              </a:lnSpc>
              <a:buNone/>
              <a:defRPr sz="100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Country</a:t>
            </a:r>
          </a:p>
        </p:txBody>
      </p:sp>
      <p:sp>
        <p:nvSpPr>
          <p:cNvPr id="31" name="Text Placeholder 5"/>
          <p:cNvSpPr>
            <a:spLocks noGrp="1"/>
          </p:cNvSpPr>
          <p:nvPr>
            <p:ph type="body" sz="quarter" idx="25" hasCustomPrompt="1"/>
          </p:nvPr>
        </p:nvSpPr>
        <p:spPr>
          <a:xfrm>
            <a:off x="8701917" y="2020337"/>
            <a:ext cx="2463190" cy="266182"/>
          </a:xfrm>
        </p:spPr>
        <p:txBody>
          <a:bodyPr lIns="0" tIns="0" rIns="0" bIns="0" anchor="b" anchorCtr="0"/>
          <a:lstStyle>
            <a:lvl1pPr marL="0" indent="0" algn="l">
              <a:lnSpc>
                <a:spcPct val="100000"/>
              </a:lnSpc>
              <a:buNone/>
              <a:defRPr sz="1400" b="1" baseline="0">
                <a:solidFill>
                  <a:schemeClr val="tx2"/>
                </a:solidFill>
              </a:defRPr>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Name, Surname</a:t>
            </a:r>
          </a:p>
        </p:txBody>
      </p:sp>
      <p:sp>
        <p:nvSpPr>
          <p:cNvPr id="32" name="Text Placeholder 5"/>
          <p:cNvSpPr>
            <a:spLocks noGrp="1"/>
          </p:cNvSpPr>
          <p:nvPr>
            <p:ph type="body" sz="quarter" idx="26" hasCustomPrompt="1"/>
          </p:nvPr>
        </p:nvSpPr>
        <p:spPr>
          <a:xfrm>
            <a:off x="8701917" y="2316912"/>
            <a:ext cx="2463190"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Job Position</a:t>
            </a:r>
          </a:p>
        </p:txBody>
      </p:sp>
      <p:sp>
        <p:nvSpPr>
          <p:cNvPr id="33" name="Text Placeholder 5"/>
          <p:cNvSpPr>
            <a:spLocks noGrp="1"/>
          </p:cNvSpPr>
          <p:nvPr>
            <p:ph type="body" sz="quarter" idx="27" hasCustomPrompt="1"/>
          </p:nvPr>
        </p:nvSpPr>
        <p:spPr>
          <a:xfrm>
            <a:off x="8946800" y="2845588"/>
            <a:ext cx="2218307"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Phone number</a:t>
            </a:r>
          </a:p>
        </p:txBody>
      </p:sp>
      <p:sp>
        <p:nvSpPr>
          <p:cNvPr id="34" name="Text Placeholder 5"/>
          <p:cNvSpPr>
            <a:spLocks noGrp="1"/>
          </p:cNvSpPr>
          <p:nvPr>
            <p:ph type="body" sz="quarter" idx="28" hasCustomPrompt="1"/>
          </p:nvPr>
        </p:nvSpPr>
        <p:spPr>
          <a:xfrm>
            <a:off x="8946800" y="3128395"/>
            <a:ext cx="2218307"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Email address</a:t>
            </a:r>
          </a:p>
        </p:txBody>
      </p:sp>
    </p:spTree>
    <p:extLst>
      <p:ext uri="{BB962C8B-B14F-4D97-AF65-F5344CB8AC3E}">
        <p14:creationId xmlns:p14="http://schemas.microsoft.com/office/powerpoint/2010/main" val="3557732340"/>
      </p:ext>
    </p:extLst>
  </p:cSld>
  <p:clrMapOvr>
    <a:masterClrMapping/>
  </p:clrMapOvr>
</p:sldLayout>
</file>

<file path=ppt/slideLayouts/slideLayout493.xml><?xml version="1.0" encoding="utf-8"?>
<p:sldLayout xmlns:a="http://schemas.openxmlformats.org/drawingml/2006/main" xmlns:r="http://schemas.openxmlformats.org/officeDocument/2006/relationships" xmlns:p="http://schemas.openxmlformats.org/presentationml/2006/main" preserve="1">
  <p:cSld name="Three contacts">
    <p:spTree>
      <p:nvGrpSpPr>
        <p:cNvPr id="1" name=""/>
        <p:cNvGrpSpPr/>
        <p:nvPr/>
      </p:nvGrpSpPr>
      <p:grpSpPr>
        <a:xfrm>
          <a:off x="0" y="0"/>
          <a:ext cx="0" cy="0"/>
          <a:chOff x="0" y="0"/>
          <a:chExt cx="0" cy="0"/>
        </a:xfrm>
      </p:grpSpPr>
      <p:sp>
        <p:nvSpPr>
          <p:cNvPr id="21" name="Date Placeholder 20"/>
          <p:cNvSpPr>
            <a:spLocks noGrp="1"/>
          </p:cNvSpPr>
          <p:nvPr>
            <p:ph type="dt" sz="half" idx="14"/>
          </p:nvPr>
        </p:nvSpPr>
        <p:spPr/>
        <p:txBody>
          <a:bodyPr/>
          <a:lstStyle/>
          <a:p>
            <a:fld id="{6580B400-49DF-489E-B82C-8D138BFCC234}" type="datetime5">
              <a:rPr lang="en-US" smtClean="0"/>
              <a:t>26-Jun-20</a:t>
            </a:fld>
            <a:endParaRPr lang="en-US"/>
          </a:p>
        </p:txBody>
      </p:sp>
      <p:sp>
        <p:nvSpPr>
          <p:cNvPr id="22" name="Footer Placeholder 21"/>
          <p:cNvSpPr>
            <a:spLocks noGrp="1"/>
          </p:cNvSpPr>
          <p:nvPr>
            <p:ph type="ftr" sz="quarter" idx="15"/>
          </p:nvPr>
        </p:nvSpPr>
        <p:spPr/>
        <p:txBody>
          <a:bodyPr/>
          <a:lstStyle/>
          <a:p>
            <a:r>
              <a:rPr lang="en-US"/>
              <a:t>Title of presentation (Insert / Header &amp; Footer / Apply to All)</a:t>
            </a:r>
          </a:p>
        </p:txBody>
      </p:sp>
      <p:sp>
        <p:nvSpPr>
          <p:cNvPr id="23" name="Slide Number Placeholder 22"/>
          <p:cNvSpPr>
            <a:spLocks noGrp="1"/>
          </p:cNvSpPr>
          <p:nvPr>
            <p:ph type="sldNum" sz="quarter" idx="16"/>
          </p:nvPr>
        </p:nvSpPr>
        <p:spPr/>
        <p:txBody>
          <a:bodyPr/>
          <a:lstStyle/>
          <a:p>
            <a:fld id="{5F3E29E4-0979-4FCA-B4C5-5FC6044C982A}" type="slidenum">
              <a:rPr lang="en-US" smtClean="0"/>
              <a:t>‹#›</a:t>
            </a:fld>
            <a:endParaRPr lang="en-US"/>
          </a:p>
        </p:txBody>
      </p:sp>
      <p:sp>
        <p:nvSpPr>
          <p:cNvPr id="2" name="Title 1"/>
          <p:cNvSpPr>
            <a:spLocks noGrp="1"/>
          </p:cNvSpPr>
          <p:nvPr>
            <p:ph type="title" hasCustomPrompt="1"/>
          </p:nvPr>
        </p:nvSpPr>
        <p:spPr/>
        <p:txBody>
          <a:bodyPr/>
          <a:lstStyle>
            <a:lvl1pPr>
              <a:defRPr/>
            </a:lvl1pPr>
          </a:lstStyle>
          <a:p>
            <a:r>
              <a:rPr lang="en-US"/>
              <a:t>Click to add contact title</a:t>
            </a:r>
          </a:p>
        </p:txBody>
      </p:sp>
      <p:sp>
        <p:nvSpPr>
          <p:cNvPr id="7" name="Subtitle 2"/>
          <p:cNvSpPr>
            <a:spLocks noGrp="1"/>
          </p:cNvSpPr>
          <p:nvPr>
            <p:ph type="subTitle" idx="13" hasCustomPrompt="1"/>
          </p:nvPr>
        </p:nvSpPr>
        <p:spPr>
          <a:xfrm>
            <a:off x="1075061" y="964671"/>
            <a:ext cx="7910158" cy="490042"/>
          </a:xfrm>
        </p:spPr>
        <p:txBody>
          <a:bodyPr wrap="none"/>
          <a:lstStyle>
            <a:lvl1pPr marL="0" indent="0" algn="l">
              <a:spcBef>
                <a:spcPts val="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grpSp>
        <p:nvGrpSpPr>
          <p:cNvPr id="8" name="Gruppieren 80">
            <a:extLst>
              <a:ext uri="{FF2B5EF4-FFF2-40B4-BE49-F238E27FC236}">
                <a16:creationId xmlns:a16="http://schemas.microsoft.com/office/drawing/2014/main" id="{6B969E7B-9C39-4443-9B02-74C1E7C5CCAC}"/>
              </a:ext>
            </a:extLst>
          </p:cNvPr>
          <p:cNvGrpSpPr/>
          <p:nvPr/>
        </p:nvGrpSpPr>
        <p:grpSpPr>
          <a:xfrm>
            <a:off x="3770065" y="2868319"/>
            <a:ext cx="171180" cy="171180"/>
            <a:chOff x="3392092" y="1841122"/>
            <a:chExt cx="646508" cy="646508"/>
          </a:xfrm>
        </p:grpSpPr>
        <p:sp>
          <p:nvSpPr>
            <p:cNvPr id="9" name="Rechteck 14">
              <a:extLst>
                <a:ext uri="{FF2B5EF4-FFF2-40B4-BE49-F238E27FC236}">
                  <a16:creationId xmlns:a16="http://schemas.microsoft.com/office/drawing/2014/main" id="{D78F58EA-5525-8D43-8295-FEA52ECF6BFA}"/>
                </a:ext>
              </a:extLst>
            </p:cNvPr>
            <p:cNvSpPr>
              <a:spLocks noChangeAspect="1"/>
            </p:cNvSpPr>
            <p:nvPr/>
          </p:nvSpPr>
          <p:spPr bwMode="gray">
            <a:xfrm>
              <a:off x="3392092" y="1841122"/>
              <a:ext cx="646508" cy="646508"/>
            </a:xfrm>
            <a:prstGeom prst="rect">
              <a:avLst/>
            </a:prstGeom>
            <a:solidFill>
              <a:srgbClr val="E55A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pPr>
              <a:endParaRPr lang="en-US" sz="1000">
                <a:solidFill>
                  <a:schemeClr val="tx1"/>
                </a:solidFill>
                <a:latin typeface="Arial" pitchFamily="34" charset="0"/>
                <a:cs typeface="Arial" pitchFamily="34" charset="0"/>
              </a:endParaRPr>
            </a:p>
          </p:txBody>
        </p:sp>
        <p:sp>
          <p:nvSpPr>
            <p:cNvPr id="10" name="Freeform 67">
              <a:extLst>
                <a:ext uri="{FF2B5EF4-FFF2-40B4-BE49-F238E27FC236}">
                  <a16:creationId xmlns:a16="http://schemas.microsoft.com/office/drawing/2014/main" id="{D01A6292-2776-4945-B828-483D79DC4908}"/>
                </a:ext>
              </a:extLst>
            </p:cNvPr>
            <p:cNvSpPr>
              <a:spLocks noChangeAspect="1"/>
            </p:cNvSpPr>
            <p:nvPr/>
          </p:nvSpPr>
          <p:spPr bwMode="auto">
            <a:xfrm>
              <a:off x="3546638" y="1970424"/>
              <a:ext cx="337415" cy="387905"/>
            </a:xfrm>
            <a:custGeom>
              <a:avLst/>
              <a:gdLst>
                <a:gd name="T0" fmla="*/ 573 w 1624"/>
                <a:gd name="T1" fmla="*/ 1257 h 1867"/>
                <a:gd name="T2" fmla="*/ 662 w 1624"/>
                <a:gd name="T3" fmla="*/ 1288 h 1867"/>
                <a:gd name="T4" fmla="*/ 938 w 1624"/>
                <a:gd name="T5" fmla="*/ 1051 h 1867"/>
                <a:gd name="T6" fmla="*/ 1106 w 1624"/>
                <a:gd name="T7" fmla="*/ 731 h 1867"/>
                <a:gd name="T8" fmla="*/ 1059 w 1624"/>
                <a:gd name="T9" fmla="*/ 645 h 1867"/>
                <a:gd name="T10" fmla="*/ 1001 w 1624"/>
                <a:gd name="T11" fmla="*/ 613 h 1867"/>
                <a:gd name="T12" fmla="*/ 924 w 1624"/>
                <a:gd name="T13" fmla="*/ 432 h 1867"/>
                <a:gd name="T14" fmla="*/ 1114 w 1624"/>
                <a:gd name="T15" fmla="*/ 81 h 1867"/>
                <a:gd name="T16" fmla="*/ 1287 w 1624"/>
                <a:gd name="T17" fmla="*/ 35 h 1867"/>
                <a:gd name="T18" fmla="*/ 1350 w 1624"/>
                <a:gd name="T19" fmla="*/ 69 h 1867"/>
                <a:gd name="T20" fmla="*/ 1527 w 1624"/>
                <a:gd name="T21" fmla="*/ 235 h 1867"/>
                <a:gd name="T22" fmla="*/ 1583 w 1624"/>
                <a:gd name="T23" fmla="*/ 555 h 1867"/>
                <a:gd name="T24" fmla="*/ 1172 w 1624"/>
                <a:gd name="T25" fmla="*/ 1253 h 1867"/>
                <a:gd name="T26" fmla="*/ 586 w 1624"/>
                <a:gd name="T27" fmla="*/ 1803 h 1867"/>
                <a:gd name="T28" fmla="*/ 269 w 1624"/>
                <a:gd name="T29" fmla="*/ 1807 h 1867"/>
                <a:gd name="T30" fmla="*/ 33 w 1624"/>
                <a:gd name="T31" fmla="*/ 1602 h 1867"/>
                <a:gd name="T32" fmla="*/ 2 w 1624"/>
                <a:gd name="T33" fmla="*/ 1508 h 1867"/>
                <a:gd name="T34" fmla="*/ 45 w 1624"/>
                <a:gd name="T35" fmla="*/ 1421 h 1867"/>
                <a:gd name="T36" fmla="*/ 346 w 1624"/>
                <a:gd name="T37" fmla="*/ 1158 h 1867"/>
                <a:gd name="T38" fmla="*/ 448 w 1624"/>
                <a:gd name="T39" fmla="*/ 1145 h 1867"/>
                <a:gd name="T40" fmla="*/ 573 w 1624"/>
                <a:gd name="T41" fmla="*/ 1257 h 18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24" h="1867">
                  <a:moveTo>
                    <a:pt x="573" y="1257"/>
                  </a:moveTo>
                  <a:cubicBezTo>
                    <a:pt x="592" y="1282"/>
                    <a:pt x="630" y="1303"/>
                    <a:pt x="662" y="1288"/>
                  </a:cubicBezTo>
                  <a:cubicBezTo>
                    <a:pt x="753" y="1245"/>
                    <a:pt x="854" y="1156"/>
                    <a:pt x="938" y="1051"/>
                  </a:cubicBezTo>
                  <a:cubicBezTo>
                    <a:pt x="1020" y="948"/>
                    <a:pt x="1084" y="831"/>
                    <a:pt x="1106" y="731"/>
                  </a:cubicBezTo>
                  <a:cubicBezTo>
                    <a:pt x="1113" y="696"/>
                    <a:pt x="1089" y="661"/>
                    <a:pt x="1059" y="645"/>
                  </a:cubicBezTo>
                  <a:cubicBezTo>
                    <a:pt x="1001" y="613"/>
                    <a:pt x="1001" y="613"/>
                    <a:pt x="1001" y="613"/>
                  </a:cubicBezTo>
                  <a:cubicBezTo>
                    <a:pt x="942" y="580"/>
                    <a:pt x="888" y="499"/>
                    <a:pt x="924" y="432"/>
                  </a:cubicBezTo>
                  <a:cubicBezTo>
                    <a:pt x="1114" y="81"/>
                    <a:pt x="1114" y="81"/>
                    <a:pt x="1114" y="81"/>
                  </a:cubicBezTo>
                  <a:cubicBezTo>
                    <a:pt x="1150" y="16"/>
                    <a:pt x="1224" y="0"/>
                    <a:pt x="1287" y="35"/>
                  </a:cubicBezTo>
                  <a:cubicBezTo>
                    <a:pt x="1350" y="69"/>
                    <a:pt x="1350" y="69"/>
                    <a:pt x="1350" y="69"/>
                  </a:cubicBezTo>
                  <a:cubicBezTo>
                    <a:pt x="1415" y="105"/>
                    <a:pt x="1479" y="165"/>
                    <a:pt x="1527" y="235"/>
                  </a:cubicBezTo>
                  <a:cubicBezTo>
                    <a:pt x="1593" y="332"/>
                    <a:pt x="1624" y="442"/>
                    <a:pt x="1583" y="555"/>
                  </a:cubicBezTo>
                  <a:cubicBezTo>
                    <a:pt x="1500" y="781"/>
                    <a:pt x="1351" y="1030"/>
                    <a:pt x="1172" y="1253"/>
                  </a:cubicBezTo>
                  <a:cubicBezTo>
                    <a:pt x="994" y="1477"/>
                    <a:pt x="786" y="1676"/>
                    <a:pt x="586" y="1803"/>
                  </a:cubicBezTo>
                  <a:cubicBezTo>
                    <a:pt x="486" y="1867"/>
                    <a:pt x="375" y="1856"/>
                    <a:pt x="269" y="1807"/>
                  </a:cubicBezTo>
                  <a:cubicBezTo>
                    <a:pt x="157" y="1755"/>
                    <a:pt x="106" y="1695"/>
                    <a:pt x="33" y="1602"/>
                  </a:cubicBezTo>
                  <a:cubicBezTo>
                    <a:pt x="11" y="1573"/>
                    <a:pt x="0" y="1540"/>
                    <a:pt x="2" y="1508"/>
                  </a:cubicBezTo>
                  <a:cubicBezTo>
                    <a:pt x="4" y="1475"/>
                    <a:pt x="18" y="1444"/>
                    <a:pt x="45" y="1421"/>
                  </a:cubicBezTo>
                  <a:cubicBezTo>
                    <a:pt x="70" y="1399"/>
                    <a:pt x="346" y="1158"/>
                    <a:pt x="346" y="1158"/>
                  </a:cubicBezTo>
                  <a:cubicBezTo>
                    <a:pt x="376" y="1134"/>
                    <a:pt x="413" y="1133"/>
                    <a:pt x="448" y="1145"/>
                  </a:cubicBezTo>
                  <a:cubicBezTo>
                    <a:pt x="510" y="1166"/>
                    <a:pt x="536" y="1210"/>
                    <a:pt x="573" y="1257"/>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351"/>
            </a:p>
          </p:txBody>
        </p:sp>
      </p:grpSp>
      <p:grpSp>
        <p:nvGrpSpPr>
          <p:cNvPr id="11" name="Group 3">
            <a:extLst>
              <a:ext uri="{FF2B5EF4-FFF2-40B4-BE49-F238E27FC236}">
                <a16:creationId xmlns:a16="http://schemas.microsoft.com/office/drawing/2014/main" id="{DED6A25A-5DE2-1441-8BA2-C68D3B4F9209}"/>
              </a:ext>
            </a:extLst>
          </p:cNvPr>
          <p:cNvGrpSpPr>
            <a:grpSpLocks noChangeAspect="1"/>
          </p:cNvGrpSpPr>
          <p:nvPr>
            <p:custDataLst>
              <p:tags r:id="rId1"/>
            </p:custDataLst>
          </p:nvPr>
        </p:nvGrpSpPr>
        <p:grpSpPr>
          <a:xfrm>
            <a:off x="3770066" y="3153207"/>
            <a:ext cx="171180" cy="171180"/>
            <a:chOff x="328396" y="5313940"/>
            <a:chExt cx="720000" cy="720000"/>
          </a:xfrm>
        </p:grpSpPr>
        <p:sp>
          <p:nvSpPr>
            <p:cNvPr id="12" name="Rectangle 4">
              <a:extLst>
                <a:ext uri="{FF2B5EF4-FFF2-40B4-BE49-F238E27FC236}">
                  <a16:creationId xmlns:a16="http://schemas.microsoft.com/office/drawing/2014/main" id="{5F49E67F-D4FA-9D48-96BC-59AE946ECD15}"/>
                </a:ext>
              </a:extLst>
            </p:cNvPr>
            <p:cNvSpPr/>
            <p:nvPr/>
          </p:nvSpPr>
          <p:spPr bwMode="gray">
            <a:xfrm>
              <a:off x="328396" y="5313940"/>
              <a:ext cx="720000" cy="720000"/>
            </a:xfrm>
            <a:prstGeom prst="rect">
              <a:avLst/>
            </a:prstGeom>
            <a:solidFill>
              <a:srgbClr val="E55A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pPr>
              <a:endParaRPr lang="en-US" sz="1000">
                <a:solidFill>
                  <a:schemeClr val="tx1"/>
                </a:solidFill>
                <a:latin typeface="Arial" pitchFamily="34" charset="0"/>
                <a:cs typeface="Arial" pitchFamily="34" charset="0"/>
              </a:endParaRPr>
            </a:p>
          </p:txBody>
        </p:sp>
        <p:sp>
          <p:nvSpPr>
            <p:cNvPr id="13" name="Freeform 76">
              <a:extLst>
                <a:ext uri="{FF2B5EF4-FFF2-40B4-BE49-F238E27FC236}">
                  <a16:creationId xmlns:a16="http://schemas.microsoft.com/office/drawing/2014/main" id="{187E70E6-AF3F-2549-908E-DF4BA61040AA}"/>
                </a:ext>
              </a:extLst>
            </p:cNvPr>
            <p:cNvSpPr>
              <a:spLocks noChangeAspect="1" noEditPoints="1"/>
            </p:cNvSpPr>
            <p:nvPr/>
          </p:nvSpPr>
          <p:spPr bwMode="auto">
            <a:xfrm>
              <a:off x="456202" y="5509222"/>
              <a:ext cx="504000" cy="329436"/>
            </a:xfrm>
            <a:custGeom>
              <a:avLst/>
              <a:gdLst>
                <a:gd name="T0" fmla="*/ 0 w 2080"/>
                <a:gd name="T1" fmla="*/ 65 h 1360"/>
                <a:gd name="T2" fmla="*/ 0 w 2080"/>
                <a:gd name="T3" fmla="*/ 0 h 1360"/>
                <a:gd name="T4" fmla="*/ 2080 w 2080"/>
                <a:gd name="T5" fmla="*/ 0 h 1360"/>
                <a:gd name="T6" fmla="*/ 2080 w 2080"/>
                <a:gd name="T7" fmla="*/ 65 h 1360"/>
                <a:gd name="T8" fmla="*/ 1089 w 2080"/>
                <a:gd name="T9" fmla="*/ 862 h 1360"/>
                <a:gd name="T10" fmla="*/ 991 w 2080"/>
                <a:gd name="T11" fmla="*/ 862 h 1360"/>
                <a:gd name="T12" fmla="*/ 0 w 2080"/>
                <a:gd name="T13" fmla="*/ 65 h 1360"/>
                <a:gd name="T14" fmla="*/ 1139 w 2080"/>
                <a:gd name="T15" fmla="*/ 924 h 1360"/>
                <a:gd name="T16" fmla="*/ 1282 w 2080"/>
                <a:gd name="T17" fmla="*/ 810 h 1360"/>
                <a:gd name="T18" fmla="*/ 2076 w 2080"/>
                <a:gd name="T19" fmla="*/ 1360 h 1360"/>
                <a:gd name="T20" fmla="*/ 4 w 2080"/>
                <a:gd name="T21" fmla="*/ 1360 h 1360"/>
                <a:gd name="T22" fmla="*/ 798 w 2080"/>
                <a:gd name="T23" fmla="*/ 810 h 1360"/>
                <a:gd name="T24" fmla="*/ 941 w 2080"/>
                <a:gd name="T25" fmla="*/ 924 h 1360"/>
                <a:gd name="T26" fmla="*/ 1139 w 2080"/>
                <a:gd name="T27" fmla="*/ 924 h 1360"/>
                <a:gd name="T28" fmla="*/ 2 w 2080"/>
                <a:gd name="T29" fmla="*/ 137 h 1360"/>
                <a:gd name="T30" fmla="*/ 42 w 2080"/>
                <a:gd name="T31" fmla="*/ 201 h 1360"/>
                <a:gd name="T32" fmla="*/ 734 w 2080"/>
                <a:gd name="T33" fmla="*/ 758 h 1360"/>
                <a:gd name="T34" fmla="*/ 0 w 2080"/>
                <a:gd name="T35" fmla="*/ 1266 h 1360"/>
                <a:gd name="T36" fmla="*/ 0 w 2080"/>
                <a:gd name="T37" fmla="*/ 135 h 1360"/>
                <a:gd name="T38" fmla="*/ 2 w 2080"/>
                <a:gd name="T39" fmla="*/ 137 h 1360"/>
                <a:gd name="T40" fmla="*/ 2080 w 2080"/>
                <a:gd name="T41" fmla="*/ 136 h 1360"/>
                <a:gd name="T42" fmla="*/ 2080 w 2080"/>
                <a:gd name="T43" fmla="*/ 1265 h 1360"/>
                <a:gd name="T44" fmla="*/ 1346 w 2080"/>
                <a:gd name="T45" fmla="*/ 758 h 1360"/>
                <a:gd name="T46" fmla="*/ 2038 w 2080"/>
                <a:gd name="T47" fmla="*/ 201 h 1360"/>
                <a:gd name="T48" fmla="*/ 2080 w 2080"/>
                <a:gd name="T49" fmla="*/ 136 h 1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080" h="1360">
                  <a:moveTo>
                    <a:pt x="0" y="65"/>
                  </a:moveTo>
                  <a:cubicBezTo>
                    <a:pt x="0" y="0"/>
                    <a:pt x="0" y="0"/>
                    <a:pt x="0" y="0"/>
                  </a:cubicBezTo>
                  <a:cubicBezTo>
                    <a:pt x="2080" y="0"/>
                    <a:pt x="2080" y="0"/>
                    <a:pt x="2080" y="0"/>
                  </a:cubicBezTo>
                  <a:cubicBezTo>
                    <a:pt x="2080" y="65"/>
                    <a:pt x="2080" y="65"/>
                    <a:pt x="2080" y="65"/>
                  </a:cubicBezTo>
                  <a:cubicBezTo>
                    <a:pt x="1089" y="862"/>
                    <a:pt x="1089" y="862"/>
                    <a:pt x="1089" y="862"/>
                  </a:cubicBezTo>
                  <a:cubicBezTo>
                    <a:pt x="1060" y="886"/>
                    <a:pt x="1020" y="886"/>
                    <a:pt x="991" y="862"/>
                  </a:cubicBezTo>
                  <a:lnTo>
                    <a:pt x="0" y="65"/>
                  </a:lnTo>
                  <a:close/>
                  <a:moveTo>
                    <a:pt x="1139" y="924"/>
                  </a:moveTo>
                  <a:cubicBezTo>
                    <a:pt x="1282" y="810"/>
                    <a:pt x="1282" y="810"/>
                    <a:pt x="1282" y="810"/>
                  </a:cubicBezTo>
                  <a:cubicBezTo>
                    <a:pt x="2076" y="1360"/>
                    <a:pt x="2076" y="1360"/>
                    <a:pt x="2076" y="1360"/>
                  </a:cubicBezTo>
                  <a:cubicBezTo>
                    <a:pt x="4" y="1360"/>
                    <a:pt x="4" y="1360"/>
                    <a:pt x="4" y="1360"/>
                  </a:cubicBezTo>
                  <a:cubicBezTo>
                    <a:pt x="798" y="810"/>
                    <a:pt x="798" y="810"/>
                    <a:pt x="798" y="810"/>
                  </a:cubicBezTo>
                  <a:cubicBezTo>
                    <a:pt x="941" y="924"/>
                    <a:pt x="941" y="924"/>
                    <a:pt x="941" y="924"/>
                  </a:cubicBezTo>
                  <a:cubicBezTo>
                    <a:pt x="1000" y="972"/>
                    <a:pt x="1080" y="972"/>
                    <a:pt x="1139" y="924"/>
                  </a:cubicBezTo>
                  <a:close/>
                  <a:moveTo>
                    <a:pt x="2" y="137"/>
                  </a:moveTo>
                  <a:cubicBezTo>
                    <a:pt x="8" y="163"/>
                    <a:pt x="22" y="185"/>
                    <a:pt x="42" y="201"/>
                  </a:cubicBezTo>
                  <a:cubicBezTo>
                    <a:pt x="734" y="758"/>
                    <a:pt x="734" y="758"/>
                    <a:pt x="734" y="758"/>
                  </a:cubicBezTo>
                  <a:cubicBezTo>
                    <a:pt x="0" y="1266"/>
                    <a:pt x="0" y="1266"/>
                    <a:pt x="0" y="1266"/>
                  </a:cubicBezTo>
                  <a:cubicBezTo>
                    <a:pt x="0" y="135"/>
                    <a:pt x="0" y="135"/>
                    <a:pt x="0" y="135"/>
                  </a:cubicBezTo>
                  <a:lnTo>
                    <a:pt x="2" y="137"/>
                  </a:lnTo>
                  <a:close/>
                  <a:moveTo>
                    <a:pt x="2080" y="136"/>
                  </a:moveTo>
                  <a:cubicBezTo>
                    <a:pt x="2080" y="1265"/>
                    <a:pt x="2080" y="1265"/>
                    <a:pt x="2080" y="1265"/>
                  </a:cubicBezTo>
                  <a:cubicBezTo>
                    <a:pt x="1346" y="758"/>
                    <a:pt x="1346" y="758"/>
                    <a:pt x="1346" y="758"/>
                  </a:cubicBezTo>
                  <a:cubicBezTo>
                    <a:pt x="2038" y="201"/>
                    <a:pt x="2038" y="201"/>
                    <a:pt x="2038" y="201"/>
                  </a:cubicBezTo>
                  <a:cubicBezTo>
                    <a:pt x="2060" y="182"/>
                    <a:pt x="2072" y="162"/>
                    <a:pt x="2080" y="13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000"/>
            </a:p>
          </p:txBody>
        </p:sp>
      </p:grpSp>
      <p:grpSp>
        <p:nvGrpSpPr>
          <p:cNvPr id="14" name="Gruppieren 2">
            <a:extLst>
              <a:ext uri="{FF2B5EF4-FFF2-40B4-BE49-F238E27FC236}">
                <a16:creationId xmlns:a16="http://schemas.microsoft.com/office/drawing/2014/main" id="{BE697CE9-EBDE-6B4A-BE70-582D92A8A831}"/>
              </a:ext>
            </a:extLst>
          </p:cNvPr>
          <p:cNvGrpSpPr/>
          <p:nvPr/>
        </p:nvGrpSpPr>
        <p:grpSpPr>
          <a:xfrm>
            <a:off x="8701917" y="2868319"/>
            <a:ext cx="171180" cy="171180"/>
            <a:chOff x="3392092" y="1841122"/>
            <a:chExt cx="646508" cy="646508"/>
          </a:xfrm>
        </p:grpSpPr>
        <p:sp>
          <p:nvSpPr>
            <p:cNvPr id="15" name="Rechteck 14">
              <a:extLst>
                <a:ext uri="{FF2B5EF4-FFF2-40B4-BE49-F238E27FC236}">
                  <a16:creationId xmlns:a16="http://schemas.microsoft.com/office/drawing/2014/main" id="{E142A731-19B7-C34D-9534-9E05108F895F}"/>
                </a:ext>
              </a:extLst>
            </p:cNvPr>
            <p:cNvSpPr>
              <a:spLocks noChangeAspect="1"/>
            </p:cNvSpPr>
            <p:nvPr/>
          </p:nvSpPr>
          <p:spPr bwMode="gray">
            <a:xfrm>
              <a:off x="3392092" y="1841122"/>
              <a:ext cx="646508" cy="646508"/>
            </a:xfrm>
            <a:prstGeom prst="rect">
              <a:avLst/>
            </a:prstGeom>
            <a:solidFill>
              <a:srgbClr val="E55A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pPr>
              <a:endParaRPr lang="en-US" sz="1000">
                <a:solidFill>
                  <a:schemeClr val="tx1"/>
                </a:solidFill>
                <a:latin typeface="Arial" pitchFamily="34" charset="0"/>
                <a:cs typeface="Arial" pitchFamily="34" charset="0"/>
              </a:endParaRPr>
            </a:p>
          </p:txBody>
        </p:sp>
        <p:sp>
          <p:nvSpPr>
            <p:cNvPr id="16" name="Freeform 15">
              <a:extLst>
                <a:ext uri="{FF2B5EF4-FFF2-40B4-BE49-F238E27FC236}">
                  <a16:creationId xmlns:a16="http://schemas.microsoft.com/office/drawing/2014/main" id="{F97E84AE-4AD9-4B44-9AA1-F797FC373809}"/>
                </a:ext>
              </a:extLst>
            </p:cNvPr>
            <p:cNvSpPr>
              <a:spLocks noChangeAspect="1"/>
            </p:cNvSpPr>
            <p:nvPr/>
          </p:nvSpPr>
          <p:spPr bwMode="auto">
            <a:xfrm>
              <a:off x="3546638" y="1970424"/>
              <a:ext cx="337415" cy="387905"/>
            </a:xfrm>
            <a:custGeom>
              <a:avLst/>
              <a:gdLst>
                <a:gd name="T0" fmla="*/ 573 w 1624"/>
                <a:gd name="T1" fmla="*/ 1257 h 1867"/>
                <a:gd name="T2" fmla="*/ 662 w 1624"/>
                <a:gd name="T3" fmla="*/ 1288 h 1867"/>
                <a:gd name="T4" fmla="*/ 938 w 1624"/>
                <a:gd name="T5" fmla="*/ 1051 h 1867"/>
                <a:gd name="T6" fmla="*/ 1106 w 1624"/>
                <a:gd name="T7" fmla="*/ 731 h 1867"/>
                <a:gd name="T8" fmla="*/ 1059 w 1624"/>
                <a:gd name="T9" fmla="*/ 645 h 1867"/>
                <a:gd name="T10" fmla="*/ 1001 w 1624"/>
                <a:gd name="T11" fmla="*/ 613 h 1867"/>
                <a:gd name="T12" fmla="*/ 924 w 1624"/>
                <a:gd name="T13" fmla="*/ 432 h 1867"/>
                <a:gd name="T14" fmla="*/ 1114 w 1624"/>
                <a:gd name="T15" fmla="*/ 81 h 1867"/>
                <a:gd name="T16" fmla="*/ 1287 w 1624"/>
                <a:gd name="T17" fmla="*/ 35 h 1867"/>
                <a:gd name="T18" fmla="*/ 1350 w 1624"/>
                <a:gd name="T19" fmla="*/ 69 h 1867"/>
                <a:gd name="T20" fmla="*/ 1527 w 1624"/>
                <a:gd name="T21" fmla="*/ 235 h 1867"/>
                <a:gd name="T22" fmla="*/ 1583 w 1624"/>
                <a:gd name="T23" fmla="*/ 555 h 1867"/>
                <a:gd name="T24" fmla="*/ 1172 w 1624"/>
                <a:gd name="T25" fmla="*/ 1253 h 1867"/>
                <a:gd name="T26" fmla="*/ 586 w 1624"/>
                <a:gd name="T27" fmla="*/ 1803 h 1867"/>
                <a:gd name="T28" fmla="*/ 269 w 1624"/>
                <a:gd name="T29" fmla="*/ 1807 h 1867"/>
                <a:gd name="T30" fmla="*/ 33 w 1624"/>
                <a:gd name="T31" fmla="*/ 1602 h 1867"/>
                <a:gd name="T32" fmla="*/ 2 w 1624"/>
                <a:gd name="T33" fmla="*/ 1508 h 1867"/>
                <a:gd name="T34" fmla="*/ 45 w 1624"/>
                <a:gd name="T35" fmla="*/ 1421 h 1867"/>
                <a:gd name="T36" fmla="*/ 346 w 1624"/>
                <a:gd name="T37" fmla="*/ 1158 h 1867"/>
                <a:gd name="T38" fmla="*/ 448 w 1624"/>
                <a:gd name="T39" fmla="*/ 1145 h 1867"/>
                <a:gd name="T40" fmla="*/ 573 w 1624"/>
                <a:gd name="T41" fmla="*/ 1257 h 18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24" h="1867">
                  <a:moveTo>
                    <a:pt x="573" y="1257"/>
                  </a:moveTo>
                  <a:cubicBezTo>
                    <a:pt x="592" y="1282"/>
                    <a:pt x="630" y="1303"/>
                    <a:pt x="662" y="1288"/>
                  </a:cubicBezTo>
                  <a:cubicBezTo>
                    <a:pt x="753" y="1245"/>
                    <a:pt x="854" y="1156"/>
                    <a:pt x="938" y="1051"/>
                  </a:cubicBezTo>
                  <a:cubicBezTo>
                    <a:pt x="1020" y="948"/>
                    <a:pt x="1084" y="831"/>
                    <a:pt x="1106" y="731"/>
                  </a:cubicBezTo>
                  <a:cubicBezTo>
                    <a:pt x="1113" y="696"/>
                    <a:pt x="1089" y="661"/>
                    <a:pt x="1059" y="645"/>
                  </a:cubicBezTo>
                  <a:cubicBezTo>
                    <a:pt x="1001" y="613"/>
                    <a:pt x="1001" y="613"/>
                    <a:pt x="1001" y="613"/>
                  </a:cubicBezTo>
                  <a:cubicBezTo>
                    <a:pt x="942" y="580"/>
                    <a:pt x="888" y="499"/>
                    <a:pt x="924" y="432"/>
                  </a:cubicBezTo>
                  <a:cubicBezTo>
                    <a:pt x="1114" y="81"/>
                    <a:pt x="1114" y="81"/>
                    <a:pt x="1114" y="81"/>
                  </a:cubicBezTo>
                  <a:cubicBezTo>
                    <a:pt x="1150" y="16"/>
                    <a:pt x="1224" y="0"/>
                    <a:pt x="1287" y="35"/>
                  </a:cubicBezTo>
                  <a:cubicBezTo>
                    <a:pt x="1350" y="69"/>
                    <a:pt x="1350" y="69"/>
                    <a:pt x="1350" y="69"/>
                  </a:cubicBezTo>
                  <a:cubicBezTo>
                    <a:pt x="1415" y="105"/>
                    <a:pt x="1479" y="165"/>
                    <a:pt x="1527" y="235"/>
                  </a:cubicBezTo>
                  <a:cubicBezTo>
                    <a:pt x="1593" y="332"/>
                    <a:pt x="1624" y="442"/>
                    <a:pt x="1583" y="555"/>
                  </a:cubicBezTo>
                  <a:cubicBezTo>
                    <a:pt x="1500" y="781"/>
                    <a:pt x="1351" y="1030"/>
                    <a:pt x="1172" y="1253"/>
                  </a:cubicBezTo>
                  <a:cubicBezTo>
                    <a:pt x="994" y="1477"/>
                    <a:pt x="786" y="1676"/>
                    <a:pt x="586" y="1803"/>
                  </a:cubicBezTo>
                  <a:cubicBezTo>
                    <a:pt x="486" y="1867"/>
                    <a:pt x="375" y="1856"/>
                    <a:pt x="269" y="1807"/>
                  </a:cubicBezTo>
                  <a:cubicBezTo>
                    <a:pt x="157" y="1755"/>
                    <a:pt x="106" y="1695"/>
                    <a:pt x="33" y="1602"/>
                  </a:cubicBezTo>
                  <a:cubicBezTo>
                    <a:pt x="11" y="1573"/>
                    <a:pt x="0" y="1540"/>
                    <a:pt x="2" y="1508"/>
                  </a:cubicBezTo>
                  <a:cubicBezTo>
                    <a:pt x="4" y="1475"/>
                    <a:pt x="18" y="1444"/>
                    <a:pt x="45" y="1421"/>
                  </a:cubicBezTo>
                  <a:cubicBezTo>
                    <a:pt x="70" y="1399"/>
                    <a:pt x="346" y="1158"/>
                    <a:pt x="346" y="1158"/>
                  </a:cubicBezTo>
                  <a:cubicBezTo>
                    <a:pt x="376" y="1134"/>
                    <a:pt x="413" y="1133"/>
                    <a:pt x="448" y="1145"/>
                  </a:cubicBezTo>
                  <a:cubicBezTo>
                    <a:pt x="510" y="1166"/>
                    <a:pt x="536" y="1210"/>
                    <a:pt x="573" y="1257"/>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351"/>
            </a:p>
          </p:txBody>
        </p:sp>
      </p:grpSp>
      <p:grpSp>
        <p:nvGrpSpPr>
          <p:cNvPr id="17" name="Group 3">
            <a:extLst>
              <a:ext uri="{FF2B5EF4-FFF2-40B4-BE49-F238E27FC236}">
                <a16:creationId xmlns:a16="http://schemas.microsoft.com/office/drawing/2014/main" id="{7104BADD-8CD1-6F4A-B894-869C3BDB3EEB}"/>
              </a:ext>
            </a:extLst>
          </p:cNvPr>
          <p:cNvGrpSpPr>
            <a:grpSpLocks noChangeAspect="1"/>
          </p:cNvGrpSpPr>
          <p:nvPr>
            <p:custDataLst>
              <p:tags r:id="rId2"/>
            </p:custDataLst>
          </p:nvPr>
        </p:nvGrpSpPr>
        <p:grpSpPr>
          <a:xfrm>
            <a:off x="8701918" y="3153207"/>
            <a:ext cx="171180" cy="171180"/>
            <a:chOff x="328396" y="5313940"/>
            <a:chExt cx="720000" cy="720000"/>
          </a:xfrm>
        </p:grpSpPr>
        <p:sp>
          <p:nvSpPr>
            <p:cNvPr id="18" name="Rectangle 4">
              <a:extLst>
                <a:ext uri="{FF2B5EF4-FFF2-40B4-BE49-F238E27FC236}">
                  <a16:creationId xmlns:a16="http://schemas.microsoft.com/office/drawing/2014/main" id="{74BE3D5F-1445-6E40-8B49-72E15568383B}"/>
                </a:ext>
              </a:extLst>
            </p:cNvPr>
            <p:cNvSpPr/>
            <p:nvPr/>
          </p:nvSpPr>
          <p:spPr bwMode="gray">
            <a:xfrm>
              <a:off x="328396" y="5313940"/>
              <a:ext cx="720000" cy="720000"/>
            </a:xfrm>
            <a:prstGeom prst="rect">
              <a:avLst/>
            </a:prstGeom>
            <a:solidFill>
              <a:srgbClr val="E55A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pPr>
              <a:endParaRPr lang="en-US" sz="1000">
                <a:solidFill>
                  <a:schemeClr val="tx1"/>
                </a:solidFill>
                <a:latin typeface="Arial" pitchFamily="34" charset="0"/>
                <a:cs typeface="Arial" pitchFamily="34" charset="0"/>
              </a:endParaRPr>
            </a:p>
          </p:txBody>
        </p:sp>
        <p:sp>
          <p:nvSpPr>
            <p:cNvPr id="19" name="Freeform 76">
              <a:extLst>
                <a:ext uri="{FF2B5EF4-FFF2-40B4-BE49-F238E27FC236}">
                  <a16:creationId xmlns:a16="http://schemas.microsoft.com/office/drawing/2014/main" id="{55DB3C95-7D0C-D141-901E-96D692794D2B}"/>
                </a:ext>
              </a:extLst>
            </p:cNvPr>
            <p:cNvSpPr>
              <a:spLocks noChangeAspect="1" noEditPoints="1"/>
            </p:cNvSpPr>
            <p:nvPr/>
          </p:nvSpPr>
          <p:spPr bwMode="auto">
            <a:xfrm>
              <a:off x="456202" y="5509222"/>
              <a:ext cx="504000" cy="329436"/>
            </a:xfrm>
            <a:custGeom>
              <a:avLst/>
              <a:gdLst>
                <a:gd name="T0" fmla="*/ 0 w 2080"/>
                <a:gd name="T1" fmla="*/ 65 h 1360"/>
                <a:gd name="T2" fmla="*/ 0 w 2080"/>
                <a:gd name="T3" fmla="*/ 0 h 1360"/>
                <a:gd name="T4" fmla="*/ 2080 w 2080"/>
                <a:gd name="T5" fmla="*/ 0 h 1360"/>
                <a:gd name="T6" fmla="*/ 2080 w 2080"/>
                <a:gd name="T7" fmla="*/ 65 h 1360"/>
                <a:gd name="T8" fmla="*/ 1089 w 2080"/>
                <a:gd name="T9" fmla="*/ 862 h 1360"/>
                <a:gd name="T10" fmla="*/ 991 w 2080"/>
                <a:gd name="T11" fmla="*/ 862 h 1360"/>
                <a:gd name="T12" fmla="*/ 0 w 2080"/>
                <a:gd name="T13" fmla="*/ 65 h 1360"/>
                <a:gd name="T14" fmla="*/ 1139 w 2080"/>
                <a:gd name="T15" fmla="*/ 924 h 1360"/>
                <a:gd name="T16" fmla="*/ 1282 w 2080"/>
                <a:gd name="T17" fmla="*/ 810 h 1360"/>
                <a:gd name="T18" fmla="*/ 2076 w 2080"/>
                <a:gd name="T19" fmla="*/ 1360 h 1360"/>
                <a:gd name="T20" fmla="*/ 4 w 2080"/>
                <a:gd name="T21" fmla="*/ 1360 h 1360"/>
                <a:gd name="T22" fmla="*/ 798 w 2080"/>
                <a:gd name="T23" fmla="*/ 810 h 1360"/>
                <a:gd name="T24" fmla="*/ 941 w 2080"/>
                <a:gd name="T25" fmla="*/ 924 h 1360"/>
                <a:gd name="T26" fmla="*/ 1139 w 2080"/>
                <a:gd name="T27" fmla="*/ 924 h 1360"/>
                <a:gd name="T28" fmla="*/ 2 w 2080"/>
                <a:gd name="T29" fmla="*/ 137 h 1360"/>
                <a:gd name="T30" fmla="*/ 42 w 2080"/>
                <a:gd name="T31" fmla="*/ 201 h 1360"/>
                <a:gd name="T32" fmla="*/ 734 w 2080"/>
                <a:gd name="T33" fmla="*/ 758 h 1360"/>
                <a:gd name="T34" fmla="*/ 0 w 2080"/>
                <a:gd name="T35" fmla="*/ 1266 h 1360"/>
                <a:gd name="T36" fmla="*/ 0 w 2080"/>
                <a:gd name="T37" fmla="*/ 135 h 1360"/>
                <a:gd name="T38" fmla="*/ 2 w 2080"/>
                <a:gd name="T39" fmla="*/ 137 h 1360"/>
                <a:gd name="T40" fmla="*/ 2080 w 2080"/>
                <a:gd name="T41" fmla="*/ 136 h 1360"/>
                <a:gd name="T42" fmla="*/ 2080 w 2080"/>
                <a:gd name="T43" fmla="*/ 1265 h 1360"/>
                <a:gd name="T44" fmla="*/ 1346 w 2080"/>
                <a:gd name="T45" fmla="*/ 758 h 1360"/>
                <a:gd name="T46" fmla="*/ 2038 w 2080"/>
                <a:gd name="T47" fmla="*/ 201 h 1360"/>
                <a:gd name="T48" fmla="*/ 2080 w 2080"/>
                <a:gd name="T49" fmla="*/ 136 h 1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080" h="1360">
                  <a:moveTo>
                    <a:pt x="0" y="65"/>
                  </a:moveTo>
                  <a:cubicBezTo>
                    <a:pt x="0" y="0"/>
                    <a:pt x="0" y="0"/>
                    <a:pt x="0" y="0"/>
                  </a:cubicBezTo>
                  <a:cubicBezTo>
                    <a:pt x="2080" y="0"/>
                    <a:pt x="2080" y="0"/>
                    <a:pt x="2080" y="0"/>
                  </a:cubicBezTo>
                  <a:cubicBezTo>
                    <a:pt x="2080" y="65"/>
                    <a:pt x="2080" y="65"/>
                    <a:pt x="2080" y="65"/>
                  </a:cubicBezTo>
                  <a:cubicBezTo>
                    <a:pt x="1089" y="862"/>
                    <a:pt x="1089" y="862"/>
                    <a:pt x="1089" y="862"/>
                  </a:cubicBezTo>
                  <a:cubicBezTo>
                    <a:pt x="1060" y="886"/>
                    <a:pt x="1020" y="886"/>
                    <a:pt x="991" y="862"/>
                  </a:cubicBezTo>
                  <a:lnTo>
                    <a:pt x="0" y="65"/>
                  </a:lnTo>
                  <a:close/>
                  <a:moveTo>
                    <a:pt x="1139" y="924"/>
                  </a:moveTo>
                  <a:cubicBezTo>
                    <a:pt x="1282" y="810"/>
                    <a:pt x="1282" y="810"/>
                    <a:pt x="1282" y="810"/>
                  </a:cubicBezTo>
                  <a:cubicBezTo>
                    <a:pt x="2076" y="1360"/>
                    <a:pt x="2076" y="1360"/>
                    <a:pt x="2076" y="1360"/>
                  </a:cubicBezTo>
                  <a:cubicBezTo>
                    <a:pt x="4" y="1360"/>
                    <a:pt x="4" y="1360"/>
                    <a:pt x="4" y="1360"/>
                  </a:cubicBezTo>
                  <a:cubicBezTo>
                    <a:pt x="798" y="810"/>
                    <a:pt x="798" y="810"/>
                    <a:pt x="798" y="810"/>
                  </a:cubicBezTo>
                  <a:cubicBezTo>
                    <a:pt x="941" y="924"/>
                    <a:pt x="941" y="924"/>
                    <a:pt x="941" y="924"/>
                  </a:cubicBezTo>
                  <a:cubicBezTo>
                    <a:pt x="1000" y="972"/>
                    <a:pt x="1080" y="972"/>
                    <a:pt x="1139" y="924"/>
                  </a:cubicBezTo>
                  <a:close/>
                  <a:moveTo>
                    <a:pt x="2" y="137"/>
                  </a:moveTo>
                  <a:cubicBezTo>
                    <a:pt x="8" y="163"/>
                    <a:pt x="22" y="185"/>
                    <a:pt x="42" y="201"/>
                  </a:cubicBezTo>
                  <a:cubicBezTo>
                    <a:pt x="734" y="758"/>
                    <a:pt x="734" y="758"/>
                    <a:pt x="734" y="758"/>
                  </a:cubicBezTo>
                  <a:cubicBezTo>
                    <a:pt x="0" y="1266"/>
                    <a:pt x="0" y="1266"/>
                    <a:pt x="0" y="1266"/>
                  </a:cubicBezTo>
                  <a:cubicBezTo>
                    <a:pt x="0" y="135"/>
                    <a:pt x="0" y="135"/>
                    <a:pt x="0" y="135"/>
                  </a:cubicBezTo>
                  <a:lnTo>
                    <a:pt x="2" y="137"/>
                  </a:lnTo>
                  <a:close/>
                  <a:moveTo>
                    <a:pt x="2080" y="136"/>
                  </a:moveTo>
                  <a:cubicBezTo>
                    <a:pt x="2080" y="1265"/>
                    <a:pt x="2080" y="1265"/>
                    <a:pt x="2080" y="1265"/>
                  </a:cubicBezTo>
                  <a:cubicBezTo>
                    <a:pt x="1346" y="758"/>
                    <a:pt x="1346" y="758"/>
                    <a:pt x="1346" y="758"/>
                  </a:cubicBezTo>
                  <a:cubicBezTo>
                    <a:pt x="2038" y="201"/>
                    <a:pt x="2038" y="201"/>
                    <a:pt x="2038" y="201"/>
                  </a:cubicBezTo>
                  <a:cubicBezTo>
                    <a:pt x="2060" y="182"/>
                    <a:pt x="2072" y="162"/>
                    <a:pt x="2080" y="13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000"/>
            </a:p>
          </p:txBody>
        </p:sp>
      </p:grpSp>
      <p:cxnSp>
        <p:nvCxnSpPr>
          <p:cNvPr id="20" name="Straight Connector 19"/>
          <p:cNvCxnSpPr/>
          <p:nvPr/>
        </p:nvCxnSpPr>
        <p:spPr>
          <a:xfrm>
            <a:off x="2371725" y="3478213"/>
            <a:ext cx="3888000" cy="0"/>
          </a:xfrm>
          <a:prstGeom prst="line">
            <a:avLst/>
          </a:prstGeom>
          <a:ln w="6350">
            <a:solidFill>
              <a:schemeClr val="tx2"/>
            </a:solidFill>
            <a:prstDash val="dash"/>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p:nvCxnSpPr>
        <p:spPr>
          <a:xfrm>
            <a:off x="7287766" y="3478213"/>
            <a:ext cx="3888000" cy="0"/>
          </a:xfrm>
          <a:prstGeom prst="line">
            <a:avLst/>
          </a:prstGeom>
          <a:ln w="6350">
            <a:solidFill>
              <a:schemeClr val="tx2"/>
            </a:solidFill>
            <a:prstDash val="dash"/>
          </a:ln>
        </p:spPr>
        <p:style>
          <a:lnRef idx="1">
            <a:schemeClr val="accent1"/>
          </a:lnRef>
          <a:fillRef idx="0">
            <a:schemeClr val="accent1"/>
          </a:fillRef>
          <a:effectRef idx="0">
            <a:schemeClr val="accent1"/>
          </a:effectRef>
          <a:fontRef idx="minor">
            <a:schemeClr val="tx1"/>
          </a:fontRef>
        </p:style>
      </p:cxnSp>
      <p:sp>
        <p:nvSpPr>
          <p:cNvPr id="4" name="Picture Placeholder 3"/>
          <p:cNvSpPr>
            <a:spLocks noGrp="1"/>
          </p:cNvSpPr>
          <p:nvPr>
            <p:ph type="pic" sz="quarter" idx="17" hasCustomPrompt="1"/>
          </p:nvPr>
        </p:nvSpPr>
        <p:spPr>
          <a:xfrm>
            <a:off x="2355914" y="1808984"/>
            <a:ext cx="1188677" cy="1547840"/>
          </a:xfrm>
          <a:solidFill>
            <a:srgbClr val="D9DADB"/>
          </a:solidFill>
        </p:spPr>
        <p:txBody>
          <a:bodyPr/>
          <a:lstStyle>
            <a:lvl1pPr marL="0" indent="0">
              <a:buNone/>
              <a:defRPr sz="1400"/>
            </a:lvl1pPr>
          </a:lstStyle>
          <a:p>
            <a:r>
              <a:rPr lang="en-US"/>
              <a:t>Insert picture</a:t>
            </a:r>
          </a:p>
        </p:txBody>
      </p:sp>
      <p:sp>
        <p:nvSpPr>
          <p:cNvPr id="25" name="Picture Placeholder 3"/>
          <p:cNvSpPr>
            <a:spLocks noGrp="1"/>
          </p:cNvSpPr>
          <p:nvPr>
            <p:ph type="pic" sz="quarter" idx="18" hasCustomPrompt="1"/>
          </p:nvPr>
        </p:nvSpPr>
        <p:spPr>
          <a:xfrm>
            <a:off x="7287766" y="1808984"/>
            <a:ext cx="1188677" cy="1547840"/>
          </a:xfrm>
          <a:solidFill>
            <a:srgbClr val="D9DADB"/>
          </a:solidFill>
        </p:spPr>
        <p:txBody>
          <a:bodyPr/>
          <a:lstStyle>
            <a:lvl1pPr marL="0" indent="0">
              <a:buNone/>
              <a:defRPr sz="1400"/>
            </a:lvl1pPr>
          </a:lstStyle>
          <a:p>
            <a:r>
              <a:rPr lang="en-US"/>
              <a:t>Insert picture</a:t>
            </a:r>
          </a:p>
        </p:txBody>
      </p:sp>
      <p:sp>
        <p:nvSpPr>
          <p:cNvPr id="6" name="Text Placeholder 5"/>
          <p:cNvSpPr>
            <a:spLocks noGrp="1"/>
          </p:cNvSpPr>
          <p:nvPr>
            <p:ph type="body" sz="quarter" idx="19" hasCustomPrompt="1"/>
          </p:nvPr>
        </p:nvSpPr>
        <p:spPr>
          <a:xfrm>
            <a:off x="3770065" y="1808521"/>
            <a:ext cx="2463190" cy="192360"/>
          </a:xfrm>
        </p:spPr>
        <p:txBody>
          <a:bodyPr lIns="0" tIns="0" rIns="0" bIns="0" anchor="ctr" anchorCtr="0"/>
          <a:lstStyle>
            <a:lvl1pPr marL="0" indent="0" algn="l">
              <a:lnSpc>
                <a:spcPct val="100000"/>
              </a:lnSpc>
              <a:buNone/>
              <a:defRPr sz="100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Country</a:t>
            </a:r>
          </a:p>
        </p:txBody>
      </p:sp>
      <p:sp>
        <p:nvSpPr>
          <p:cNvPr id="26" name="Text Placeholder 5"/>
          <p:cNvSpPr>
            <a:spLocks noGrp="1"/>
          </p:cNvSpPr>
          <p:nvPr>
            <p:ph type="body" sz="quarter" idx="20" hasCustomPrompt="1"/>
          </p:nvPr>
        </p:nvSpPr>
        <p:spPr>
          <a:xfrm>
            <a:off x="3770065" y="2020337"/>
            <a:ext cx="2463190" cy="266182"/>
          </a:xfrm>
        </p:spPr>
        <p:txBody>
          <a:bodyPr lIns="0" tIns="0" rIns="0" bIns="0" anchor="b" anchorCtr="0"/>
          <a:lstStyle>
            <a:lvl1pPr marL="0" indent="0" algn="l">
              <a:lnSpc>
                <a:spcPct val="100000"/>
              </a:lnSpc>
              <a:buNone/>
              <a:defRPr sz="1400" b="1" baseline="0">
                <a:solidFill>
                  <a:schemeClr val="tx2"/>
                </a:solidFill>
              </a:defRPr>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Name, Surname</a:t>
            </a:r>
          </a:p>
        </p:txBody>
      </p:sp>
      <p:sp>
        <p:nvSpPr>
          <p:cNvPr id="27" name="Text Placeholder 5"/>
          <p:cNvSpPr>
            <a:spLocks noGrp="1"/>
          </p:cNvSpPr>
          <p:nvPr>
            <p:ph type="body" sz="quarter" idx="21" hasCustomPrompt="1"/>
          </p:nvPr>
        </p:nvSpPr>
        <p:spPr>
          <a:xfrm>
            <a:off x="3770065" y="2316912"/>
            <a:ext cx="2463190"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Job Position</a:t>
            </a:r>
          </a:p>
        </p:txBody>
      </p:sp>
      <p:sp>
        <p:nvSpPr>
          <p:cNvPr id="28" name="Text Placeholder 5"/>
          <p:cNvSpPr>
            <a:spLocks noGrp="1"/>
          </p:cNvSpPr>
          <p:nvPr>
            <p:ph type="body" sz="quarter" idx="22" hasCustomPrompt="1"/>
          </p:nvPr>
        </p:nvSpPr>
        <p:spPr>
          <a:xfrm>
            <a:off x="4014948" y="2845588"/>
            <a:ext cx="2218307"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Phone number</a:t>
            </a:r>
          </a:p>
        </p:txBody>
      </p:sp>
      <p:sp>
        <p:nvSpPr>
          <p:cNvPr id="29" name="Text Placeholder 5"/>
          <p:cNvSpPr>
            <a:spLocks noGrp="1"/>
          </p:cNvSpPr>
          <p:nvPr>
            <p:ph type="body" sz="quarter" idx="23" hasCustomPrompt="1"/>
          </p:nvPr>
        </p:nvSpPr>
        <p:spPr>
          <a:xfrm>
            <a:off x="4014948" y="3128395"/>
            <a:ext cx="2218307"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Email address</a:t>
            </a:r>
          </a:p>
        </p:txBody>
      </p:sp>
      <p:sp>
        <p:nvSpPr>
          <p:cNvPr id="30" name="Text Placeholder 5"/>
          <p:cNvSpPr>
            <a:spLocks noGrp="1"/>
          </p:cNvSpPr>
          <p:nvPr>
            <p:ph type="body" sz="quarter" idx="24" hasCustomPrompt="1"/>
          </p:nvPr>
        </p:nvSpPr>
        <p:spPr>
          <a:xfrm>
            <a:off x="8701917" y="1808521"/>
            <a:ext cx="2463190" cy="192360"/>
          </a:xfrm>
        </p:spPr>
        <p:txBody>
          <a:bodyPr lIns="0" tIns="0" rIns="0" bIns="0" anchor="ctr" anchorCtr="0"/>
          <a:lstStyle>
            <a:lvl1pPr marL="0" indent="0" algn="l">
              <a:lnSpc>
                <a:spcPct val="100000"/>
              </a:lnSpc>
              <a:buNone/>
              <a:defRPr sz="100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Country</a:t>
            </a:r>
          </a:p>
        </p:txBody>
      </p:sp>
      <p:sp>
        <p:nvSpPr>
          <p:cNvPr id="31" name="Text Placeholder 5"/>
          <p:cNvSpPr>
            <a:spLocks noGrp="1"/>
          </p:cNvSpPr>
          <p:nvPr>
            <p:ph type="body" sz="quarter" idx="25" hasCustomPrompt="1"/>
          </p:nvPr>
        </p:nvSpPr>
        <p:spPr>
          <a:xfrm>
            <a:off x="8701917" y="2020337"/>
            <a:ext cx="2463190" cy="266182"/>
          </a:xfrm>
        </p:spPr>
        <p:txBody>
          <a:bodyPr lIns="0" tIns="0" rIns="0" bIns="0" anchor="b" anchorCtr="0"/>
          <a:lstStyle>
            <a:lvl1pPr marL="0" indent="0" algn="l">
              <a:lnSpc>
                <a:spcPct val="100000"/>
              </a:lnSpc>
              <a:buNone/>
              <a:defRPr sz="1400" b="1" baseline="0">
                <a:solidFill>
                  <a:schemeClr val="tx2"/>
                </a:solidFill>
              </a:defRPr>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Name, Surname</a:t>
            </a:r>
          </a:p>
        </p:txBody>
      </p:sp>
      <p:sp>
        <p:nvSpPr>
          <p:cNvPr id="32" name="Text Placeholder 5"/>
          <p:cNvSpPr>
            <a:spLocks noGrp="1"/>
          </p:cNvSpPr>
          <p:nvPr>
            <p:ph type="body" sz="quarter" idx="26" hasCustomPrompt="1"/>
          </p:nvPr>
        </p:nvSpPr>
        <p:spPr>
          <a:xfrm>
            <a:off x="8701917" y="2316912"/>
            <a:ext cx="2463190"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Job Position</a:t>
            </a:r>
          </a:p>
        </p:txBody>
      </p:sp>
      <p:sp>
        <p:nvSpPr>
          <p:cNvPr id="33" name="Text Placeholder 5"/>
          <p:cNvSpPr>
            <a:spLocks noGrp="1"/>
          </p:cNvSpPr>
          <p:nvPr>
            <p:ph type="body" sz="quarter" idx="27" hasCustomPrompt="1"/>
          </p:nvPr>
        </p:nvSpPr>
        <p:spPr>
          <a:xfrm>
            <a:off x="8946800" y="2845588"/>
            <a:ext cx="2218307"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Phone number</a:t>
            </a:r>
          </a:p>
        </p:txBody>
      </p:sp>
      <p:sp>
        <p:nvSpPr>
          <p:cNvPr id="34" name="Text Placeholder 5"/>
          <p:cNvSpPr>
            <a:spLocks noGrp="1"/>
          </p:cNvSpPr>
          <p:nvPr>
            <p:ph type="body" sz="quarter" idx="28" hasCustomPrompt="1"/>
          </p:nvPr>
        </p:nvSpPr>
        <p:spPr>
          <a:xfrm>
            <a:off x="8946800" y="3128395"/>
            <a:ext cx="2218307"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Email address</a:t>
            </a:r>
          </a:p>
        </p:txBody>
      </p:sp>
      <p:grpSp>
        <p:nvGrpSpPr>
          <p:cNvPr id="35" name="Gruppieren 2">
            <a:extLst>
              <a:ext uri="{FF2B5EF4-FFF2-40B4-BE49-F238E27FC236}">
                <a16:creationId xmlns:a16="http://schemas.microsoft.com/office/drawing/2014/main" id="{BE697CE9-EBDE-6B4A-BE70-582D92A8A831}"/>
              </a:ext>
            </a:extLst>
          </p:cNvPr>
          <p:cNvGrpSpPr/>
          <p:nvPr/>
        </p:nvGrpSpPr>
        <p:grpSpPr>
          <a:xfrm>
            <a:off x="3770065" y="5045939"/>
            <a:ext cx="171180" cy="171180"/>
            <a:chOff x="3392092" y="1841122"/>
            <a:chExt cx="646508" cy="646508"/>
          </a:xfrm>
        </p:grpSpPr>
        <p:sp>
          <p:nvSpPr>
            <p:cNvPr id="36" name="Rechteck 14">
              <a:extLst>
                <a:ext uri="{FF2B5EF4-FFF2-40B4-BE49-F238E27FC236}">
                  <a16:creationId xmlns:a16="http://schemas.microsoft.com/office/drawing/2014/main" id="{E142A731-19B7-C34D-9534-9E05108F895F}"/>
                </a:ext>
              </a:extLst>
            </p:cNvPr>
            <p:cNvSpPr>
              <a:spLocks noChangeAspect="1"/>
            </p:cNvSpPr>
            <p:nvPr/>
          </p:nvSpPr>
          <p:spPr bwMode="gray">
            <a:xfrm>
              <a:off x="3392092" y="1841122"/>
              <a:ext cx="646508" cy="646508"/>
            </a:xfrm>
            <a:prstGeom prst="rect">
              <a:avLst/>
            </a:prstGeom>
            <a:solidFill>
              <a:srgbClr val="E55A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pPr>
              <a:endParaRPr lang="en-US" sz="1000">
                <a:solidFill>
                  <a:schemeClr val="tx1"/>
                </a:solidFill>
                <a:latin typeface="Arial" pitchFamily="34" charset="0"/>
                <a:cs typeface="Arial" pitchFamily="34" charset="0"/>
              </a:endParaRPr>
            </a:p>
          </p:txBody>
        </p:sp>
        <p:sp>
          <p:nvSpPr>
            <p:cNvPr id="37" name="Freeform 36">
              <a:extLst>
                <a:ext uri="{FF2B5EF4-FFF2-40B4-BE49-F238E27FC236}">
                  <a16:creationId xmlns:a16="http://schemas.microsoft.com/office/drawing/2014/main" id="{F97E84AE-4AD9-4B44-9AA1-F797FC373809}"/>
                </a:ext>
              </a:extLst>
            </p:cNvPr>
            <p:cNvSpPr>
              <a:spLocks noChangeAspect="1"/>
            </p:cNvSpPr>
            <p:nvPr/>
          </p:nvSpPr>
          <p:spPr bwMode="auto">
            <a:xfrm>
              <a:off x="3546638" y="1970424"/>
              <a:ext cx="337415" cy="387905"/>
            </a:xfrm>
            <a:custGeom>
              <a:avLst/>
              <a:gdLst>
                <a:gd name="T0" fmla="*/ 573 w 1624"/>
                <a:gd name="T1" fmla="*/ 1257 h 1867"/>
                <a:gd name="T2" fmla="*/ 662 w 1624"/>
                <a:gd name="T3" fmla="*/ 1288 h 1867"/>
                <a:gd name="T4" fmla="*/ 938 w 1624"/>
                <a:gd name="T5" fmla="*/ 1051 h 1867"/>
                <a:gd name="T6" fmla="*/ 1106 w 1624"/>
                <a:gd name="T7" fmla="*/ 731 h 1867"/>
                <a:gd name="T8" fmla="*/ 1059 w 1624"/>
                <a:gd name="T9" fmla="*/ 645 h 1867"/>
                <a:gd name="T10" fmla="*/ 1001 w 1624"/>
                <a:gd name="T11" fmla="*/ 613 h 1867"/>
                <a:gd name="T12" fmla="*/ 924 w 1624"/>
                <a:gd name="T13" fmla="*/ 432 h 1867"/>
                <a:gd name="T14" fmla="*/ 1114 w 1624"/>
                <a:gd name="T15" fmla="*/ 81 h 1867"/>
                <a:gd name="T16" fmla="*/ 1287 w 1624"/>
                <a:gd name="T17" fmla="*/ 35 h 1867"/>
                <a:gd name="T18" fmla="*/ 1350 w 1624"/>
                <a:gd name="T19" fmla="*/ 69 h 1867"/>
                <a:gd name="T20" fmla="*/ 1527 w 1624"/>
                <a:gd name="T21" fmla="*/ 235 h 1867"/>
                <a:gd name="T22" fmla="*/ 1583 w 1624"/>
                <a:gd name="T23" fmla="*/ 555 h 1867"/>
                <a:gd name="T24" fmla="*/ 1172 w 1624"/>
                <a:gd name="T25" fmla="*/ 1253 h 1867"/>
                <a:gd name="T26" fmla="*/ 586 w 1624"/>
                <a:gd name="T27" fmla="*/ 1803 h 1867"/>
                <a:gd name="T28" fmla="*/ 269 w 1624"/>
                <a:gd name="T29" fmla="*/ 1807 h 1867"/>
                <a:gd name="T30" fmla="*/ 33 w 1624"/>
                <a:gd name="T31" fmla="*/ 1602 h 1867"/>
                <a:gd name="T32" fmla="*/ 2 w 1624"/>
                <a:gd name="T33" fmla="*/ 1508 h 1867"/>
                <a:gd name="T34" fmla="*/ 45 w 1624"/>
                <a:gd name="T35" fmla="*/ 1421 h 1867"/>
                <a:gd name="T36" fmla="*/ 346 w 1624"/>
                <a:gd name="T37" fmla="*/ 1158 h 1867"/>
                <a:gd name="T38" fmla="*/ 448 w 1624"/>
                <a:gd name="T39" fmla="*/ 1145 h 1867"/>
                <a:gd name="T40" fmla="*/ 573 w 1624"/>
                <a:gd name="T41" fmla="*/ 1257 h 18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24" h="1867">
                  <a:moveTo>
                    <a:pt x="573" y="1257"/>
                  </a:moveTo>
                  <a:cubicBezTo>
                    <a:pt x="592" y="1282"/>
                    <a:pt x="630" y="1303"/>
                    <a:pt x="662" y="1288"/>
                  </a:cubicBezTo>
                  <a:cubicBezTo>
                    <a:pt x="753" y="1245"/>
                    <a:pt x="854" y="1156"/>
                    <a:pt x="938" y="1051"/>
                  </a:cubicBezTo>
                  <a:cubicBezTo>
                    <a:pt x="1020" y="948"/>
                    <a:pt x="1084" y="831"/>
                    <a:pt x="1106" y="731"/>
                  </a:cubicBezTo>
                  <a:cubicBezTo>
                    <a:pt x="1113" y="696"/>
                    <a:pt x="1089" y="661"/>
                    <a:pt x="1059" y="645"/>
                  </a:cubicBezTo>
                  <a:cubicBezTo>
                    <a:pt x="1001" y="613"/>
                    <a:pt x="1001" y="613"/>
                    <a:pt x="1001" y="613"/>
                  </a:cubicBezTo>
                  <a:cubicBezTo>
                    <a:pt x="942" y="580"/>
                    <a:pt x="888" y="499"/>
                    <a:pt x="924" y="432"/>
                  </a:cubicBezTo>
                  <a:cubicBezTo>
                    <a:pt x="1114" y="81"/>
                    <a:pt x="1114" y="81"/>
                    <a:pt x="1114" y="81"/>
                  </a:cubicBezTo>
                  <a:cubicBezTo>
                    <a:pt x="1150" y="16"/>
                    <a:pt x="1224" y="0"/>
                    <a:pt x="1287" y="35"/>
                  </a:cubicBezTo>
                  <a:cubicBezTo>
                    <a:pt x="1350" y="69"/>
                    <a:pt x="1350" y="69"/>
                    <a:pt x="1350" y="69"/>
                  </a:cubicBezTo>
                  <a:cubicBezTo>
                    <a:pt x="1415" y="105"/>
                    <a:pt x="1479" y="165"/>
                    <a:pt x="1527" y="235"/>
                  </a:cubicBezTo>
                  <a:cubicBezTo>
                    <a:pt x="1593" y="332"/>
                    <a:pt x="1624" y="442"/>
                    <a:pt x="1583" y="555"/>
                  </a:cubicBezTo>
                  <a:cubicBezTo>
                    <a:pt x="1500" y="781"/>
                    <a:pt x="1351" y="1030"/>
                    <a:pt x="1172" y="1253"/>
                  </a:cubicBezTo>
                  <a:cubicBezTo>
                    <a:pt x="994" y="1477"/>
                    <a:pt x="786" y="1676"/>
                    <a:pt x="586" y="1803"/>
                  </a:cubicBezTo>
                  <a:cubicBezTo>
                    <a:pt x="486" y="1867"/>
                    <a:pt x="375" y="1856"/>
                    <a:pt x="269" y="1807"/>
                  </a:cubicBezTo>
                  <a:cubicBezTo>
                    <a:pt x="157" y="1755"/>
                    <a:pt x="106" y="1695"/>
                    <a:pt x="33" y="1602"/>
                  </a:cubicBezTo>
                  <a:cubicBezTo>
                    <a:pt x="11" y="1573"/>
                    <a:pt x="0" y="1540"/>
                    <a:pt x="2" y="1508"/>
                  </a:cubicBezTo>
                  <a:cubicBezTo>
                    <a:pt x="4" y="1475"/>
                    <a:pt x="18" y="1444"/>
                    <a:pt x="45" y="1421"/>
                  </a:cubicBezTo>
                  <a:cubicBezTo>
                    <a:pt x="70" y="1399"/>
                    <a:pt x="346" y="1158"/>
                    <a:pt x="346" y="1158"/>
                  </a:cubicBezTo>
                  <a:cubicBezTo>
                    <a:pt x="376" y="1134"/>
                    <a:pt x="413" y="1133"/>
                    <a:pt x="448" y="1145"/>
                  </a:cubicBezTo>
                  <a:cubicBezTo>
                    <a:pt x="510" y="1166"/>
                    <a:pt x="536" y="1210"/>
                    <a:pt x="573" y="1257"/>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351"/>
            </a:p>
          </p:txBody>
        </p:sp>
      </p:grpSp>
      <p:grpSp>
        <p:nvGrpSpPr>
          <p:cNvPr id="38" name="Group 3">
            <a:extLst>
              <a:ext uri="{FF2B5EF4-FFF2-40B4-BE49-F238E27FC236}">
                <a16:creationId xmlns:a16="http://schemas.microsoft.com/office/drawing/2014/main" id="{7104BADD-8CD1-6F4A-B894-869C3BDB3EEB}"/>
              </a:ext>
            </a:extLst>
          </p:cNvPr>
          <p:cNvGrpSpPr>
            <a:grpSpLocks noChangeAspect="1"/>
          </p:cNvGrpSpPr>
          <p:nvPr>
            <p:custDataLst>
              <p:tags r:id="rId3"/>
            </p:custDataLst>
          </p:nvPr>
        </p:nvGrpSpPr>
        <p:grpSpPr>
          <a:xfrm>
            <a:off x="3770066" y="5330827"/>
            <a:ext cx="171180" cy="171180"/>
            <a:chOff x="328396" y="5313940"/>
            <a:chExt cx="720000" cy="720000"/>
          </a:xfrm>
        </p:grpSpPr>
        <p:sp>
          <p:nvSpPr>
            <p:cNvPr id="39" name="Rectangle 4">
              <a:extLst>
                <a:ext uri="{FF2B5EF4-FFF2-40B4-BE49-F238E27FC236}">
                  <a16:creationId xmlns:a16="http://schemas.microsoft.com/office/drawing/2014/main" id="{74BE3D5F-1445-6E40-8B49-72E15568383B}"/>
                </a:ext>
              </a:extLst>
            </p:cNvPr>
            <p:cNvSpPr/>
            <p:nvPr/>
          </p:nvSpPr>
          <p:spPr bwMode="gray">
            <a:xfrm>
              <a:off x="328396" y="5313940"/>
              <a:ext cx="720000" cy="720000"/>
            </a:xfrm>
            <a:prstGeom prst="rect">
              <a:avLst/>
            </a:prstGeom>
            <a:solidFill>
              <a:srgbClr val="E55A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pPr>
              <a:endParaRPr lang="en-US" sz="1000">
                <a:solidFill>
                  <a:schemeClr val="tx1"/>
                </a:solidFill>
                <a:latin typeface="Arial" pitchFamily="34" charset="0"/>
                <a:cs typeface="Arial" pitchFamily="34" charset="0"/>
              </a:endParaRPr>
            </a:p>
          </p:txBody>
        </p:sp>
        <p:sp>
          <p:nvSpPr>
            <p:cNvPr id="40" name="Freeform 76">
              <a:extLst>
                <a:ext uri="{FF2B5EF4-FFF2-40B4-BE49-F238E27FC236}">
                  <a16:creationId xmlns:a16="http://schemas.microsoft.com/office/drawing/2014/main" id="{55DB3C95-7D0C-D141-901E-96D692794D2B}"/>
                </a:ext>
              </a:extLst>
            </p:cNvPr>
            <p:cNvSpPr>
              <a:spLocks noChangeAspect="1" noEditPoints="1"/>
            </p:cNvSpPr>
            <p:nvPr/>
          </p:nvSpPr>
          <p:spPr bwMode="auto">
            <a:xfrm>
              <a:off x="456202" y="5509222"/>
              <a:ext cx="504000" cy="329436"/>
            </a:xfrm>
            <a:custGeom>
              <a:avLst/>
              <a:gdLst>
                <a:gd name="T0" fmla="*/ 0 w 2080"/>
                <a:gd name="T1" fmla="*/ 65 h 1360"/>
                <a:gd name="T2" fmla="*/ 0 w 2080"/>
                <a:gd name="T3" fmla="*/ 0 h 1360"/>
                <a:gd name="T4" fmla="*/ 2080 w 2080"/>
                <a:gd name="T5" fmla="*/ 0 h 1360"/>
                <a:gd name="T6" fmla="*/ 2080 w 2080"/>
                <a:gd name="T7" fmla="*/ 65 h 1360"/>
                <a:gd name="T8" fmla="*/ 1089 w 2080"/>
                <a:gd name="T9" fmla="*/ 862 h 1360"/>
                <a:gd name="T10" fmla="*/ 991 w 2080"/>
                <a:gd name="T11" fmla="*/ 862 h 1360"/>
                <a:gd name="T12" fmla="*/ 0 w 2080"/>
                <a:gd name="T13" fmla="*/ 65 h 1360"/>
                <a:gd name="T14" fmla="*/ 1139 w 2080"/>
                <a:gd name="T15" fmla="*/ 924 h 1360"/>
                <a:gd name="T16" fmla="*/ 1282 w 2080"/>
                <a:gd name="T17" fmla="*/ 810 h 1360"/>
                <a:gd name="T18" fmla="*/ 2076 w 2080"/>
                <a:gd name="T19" fmla="*/ 1360 h 1360"/>
                <a:gd name="T20" fmla="*/ 4 w 2080"/>
                <a:gd name="T21" fmla="*/ 1360 h 1360"/>
                <a:gd name="T22" fmla="*/ 798 w 2080"/>
                <a:gd name="T23" fmla="*/ 810 h 1360"/>
                <a:gd name="T24" fmla="*/ 941 w 2080"/>
                <a:gd name="T25" fmla="*/ 924 h 1360"/>
                <a:gd name="T26" fmla="*/ 1139 w 2080"/>
                <a:gd name="T27" fmla="*/ 924 h 1360"/>
                <a:gd name="T28" fmla="*/ 2 w 2080"/>
                <a:gd name="T29" fmla="*/ 137 h 1360"/>
                <a:gd name="T30" fmla="*/ 42 w 2080"/>
                <a:gd name="T31" fmla="*/ 201 h 1360"/>
                <a:gd name="T32" fmla="*/ 734 w 2080"/>
                <a:gd name="T33" fmla="*/ 758 h 1360"/>
                <a:gd name="T34" fmla="*/ 0 w 2080"/>
                <a:gd name="T35" fmla="*/ 1266 h 1360"/>
                <a:gd name="T36" fmla="*/ 0 w 2080"/>
                <a:gd name="T37" fmla="*/ 135 h 1360"/>
                <a:gd name="T38" fmla="*/ 2 w 2080"/>
                <a:gd name="T39" fmla="*/ 137 h 1360"/>
                <a:gd name="T40" fmla="*/ 2080 w 2080"/>
                <a:gd name="T41" fmla="*/ 136 h 1360"/>
                <a:gd name="T42" fmla="*/ 2080 w 2080"/>
                <a:gd name="T43" fmla="*/ 1265 h 1360"/>
                <a:gd name="T44" fmla="*/ 1346 w 2080"/>
                <a:gd name="T45" fmla="*/ 758 h 1360"/>
                <a:gd name="T46" fmla="*/ 2038 w 2080"/>
                <a:gd name="T47" fmla="*/ 201 h 1360"/>
                <a:gd name="T48" fmla="*/ 2080 w 2080"/>
                <a:gd name="T49" fmla="*/ 136 h 1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080" h="1360">
                  <a:moveTo>
                    <a:pt x="0" y="65"/>
                  </a:moveTo>
                  <a:cubicBezTo>
                    <a:pt x="0" y="0"/>
                    <a:pt x="0" y="0"/>
                    <a:pt x="0" y="0"/>
                  </a:cubicBezTo>
                  <a:cubicBezTo>
                    <a:pt x="2080" y="0"/>
                    <a:pt x="2080" y="0"/>
                    <a:pt x="2080" y="0"/>
                  </a:cubicBezTo>
                  <a:cubicBezTo>
                    <a:pt x="2080" y="65"/>
                    <a:pt x="2080" y="65"/>
                    <a:pt x="2080" y="65"/>
                  </a:cubicBezTo>
                  <a:cubicBezTo>
                    <a:pt x="1089" y="862"/>
                    <a:pt x="1089" y="862"/>
                    <a:pt x="1089" y="862"/>
                  </a:cubicBezTo>
                  <a:cubicBezTo>
                    <a:pt x="1060" y="886"/>
                    <a:pt x="1020" y="886"/>
                    <a:pt x="991" y="862"/>
                  </a:cubicBezTo>
                  <a:lnTo>
                    <a:pt x="0" y="65"/>
                  </a:lnTo>
                  <a:close/>
                  <a:moveTo>
                    <a:pt x="1139" y="924"/>
                  </a:moveTo>
                  <a:cubicBezTo>
                    <a:pt x="1282" y="810"/>
                    <a:pt x="1282" y="810"/>
                    <a:pt x="1282" y="810"/>
                  </a:cubicBezTo>
                  <a:cubicBezTo>
                    <a:pt x="2076" y="1360"/>
                    <a:pt x="2076" y="1360"/>
                    <a:pt x="2076" y="1360"/>
                  </a:cubicBezTo>
                  <a:cubicBezTo>
                    <a:pt x="4" y="1360"/>
                    <a:pt x="4" y="1360"/>
                    <a:pt x="4" y="1360"/>
                  </a:cubicBezTo>
                  <a:cubicBezTo>
                    <a:pt x="798" y="810"/>
                    <a:pt x="798" y="810"/>
                    <a:pt x="798" y="810"/>
                  </a:cubicBezTo>
                  <a:cubicBezTo>
                    <a:pt x="941" y="924"/>
                    <a:pt x="941" y="924"/>
                    <a:pt x="941" y="924"/>
                  </a:cubicBezTo>
                  <a:cubicBezTo>
                    <a:pt x="1000" y="972"/>
                    <a:pt x="1080" y="972"/>
                    <a:pt x="1139" y="924"/>
                  </a:cubicBezTo>
                  <a:close/>
                  <a:moveTo>
                    <a:pt x="2" y="137"/>
                  </a:moveTo>
                  <a:cubicBezTo>
                    <a:pt x="8" y="163"/>
                    <a:pt x="22" y="185"/>
                    <a:pt x="42" y="201"/>
                  </a:cubicBezTo>
                  <a:cubicBezTo>
                    <a:pt x="734" y="758"/>
                    <a:pt x="734" y="758"/>
                    <a:pt x="734" y="758"/>
                  </a:cubicBezTo>
                  <a:cubicBezTo>
                    <a:pt x="0" y="1266"/>
                    <a:pt x="0" y="1266"/>
                    <a:pt x="0" y="1266"/>
                  </a:cubicBezTo>
                  <a:cubicBezTo>
                    <a:pt x="0" y="135"/>
                    <a:pt x="0" y="135"/>
                    <a:pt x="0" y="135"/>
                  </a:cubicBezTo>
                  <a:lnTo>
                    <a:pt x="2" y="137"/>
                  </a:lnTo>
                  <a:close/>
                  <a:moveTo>
                    <a:pt x="2080" y="136"/>
                  </a:moveTo>
                  <a:cubicBezTo>
                    <a:pt x="2080" y="1265"/>
                    <a:pt x="2080" y="1265"/>
                    <a:pt x="2080" y="1265"/>
                  </a:cubicBezTo>
                  <a:cubicBezTo>
                    <a:pt x="1346" y="758"/>
                    <a:pt x="1346" y="758"/>
                    <a:pt x="1346" y="758"/>
                  </a:cubicBezTo>
                  <a:cubicBezTo>
                    <a:pt x="2038" y="201"/>
                    <a:pt x="2038" y="201"/>
                    <a:pt x="2038" y="201"/>
                  </a:cubicBezTo>
                  <a:cubicBezTo>
                    <a:pt x="2060" y="182"/>
                    <a:pt x="2072" y="162"/>
                    <a:pt x="2080" y="13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000"/>
            </a:p>
          </p:txBody>
        </p:sp>
      </p:grpSp>
      <p:cxnSp>
        <p:nvCxnSpPr>
          <p:cNvPr id="41" name="Straight Connector 40"/>
          <p:cNvCxnSpPr/>
          <p:nvPr/>
        </p:nvCxnSpPr>
        <p:spPr>
          <a:xfrm>
            <a:off x="2355914" y="5655833"/>
            <a:ext cx="3888000" cy="0"/>
          </a:xfrm>
          <a:prstGeom prst="line">
            <a:avLst/>
          </a:prstGeom>
          <a:ln w="6350">
            <a:solidFill>
              <a:schemeClr val="tx2"/>
            </a:solidFill>
            <a:prstDash val="dash"/>
          </a:ln>
        </p:spPr>
        <p:style>
          <a:lnRef idx="1">
            <a:schemeClr val="accent1"/>
          </a:lnRef>
          <a:fillRef idx="0">
            <a:schemeClr val="accent1"/>
          </a:fillRef>
          <a:effectRef idx="0">
            <a:schemeClr val="accent1"/>
          </a:effectRef>
          <a:fontRef idx="minor">
            <a:schemeClr val="tx1"/>
          </a:fontRef>
        </p:style>
      </p:cxnSp>
      <p:sp>
        <p:nvSpPr>
          <p:cNvPr id="42" name="Picture Placeholder 3"/>
          <p:cNvSpPr>
            <a:spLocks noGrp="1"/>
          </p:cNvSpPr>
          <p:nvPr>
            <p:ph type="pic" sz="quarter" idx="29" hasCustomPrompt="1"/>
          </p:nvPr>
        </p:nvSpPr>
        <p:spPr>
          <a:xfrm>
            <a:off x="2355914" y="3986604"/>
            <a:ext cx="1188677" cy="1547840"/>
          </a:xfrm>
          <a:solidFill>
            <a:srgbClr val="D9DADB"/>
          </a:solidFill>
        </p:spPr>
        <p:txBody>
          <a:bodyPr/>
          <a:lstStyle>
            <a:lvl1pPr marL="0" indent="0">
              <a:buNone/>
              <a:defRPr sz="1400"/>
            </a:lvl1pPr>
          </a:lstStyle>
          <a:p>
            <a:r>
              <a:rPr lang="en-US"/>
              <a:t>Insert picture</a:t>
            </a:r>
          </a:p>
        </p:txBody>
      </p:sp>
      <p:sp>
        <p:nvSpPr>
          <p:cNvPr id="43" name="Text Placeholder 5"/>
          <p:cNvSpPr>
            <a:spLocks noGrp="1"/>
          </p:cNvSpPr>
          <p:nvPr>
            <p:ph type="body" sz="quarter" idx="30" hasCustomPrompt="1"/>
          </p:nvPr>
        </p:nvSpPr>
        <p:spPr>
          <a:xfrm>
            <a:off x="3770065" y="3986141"/>
            <a:ext cx="2463190" cy="192360"/>
          </a:xfrm>
        </p:spPr>
        <p:txBody>
          <a:bodyPr lIns="0" tIns="0" rIns="0" bIns="0" anchor="ctr" anchorCtr="0"/>
          <a:lstStyle>
            <a:lvl1pPr marL="0" indent="0" algn="l">
              <a:lnSpc>
                <a:spcPct val="100000"/>
              </a:lnSpc>
              <a:buNone/>
              <a:defRPr sz="100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Country</a:t>
            </a:r>
          </a:p>
        </p:txBody>
      </p:sp>
      <p:sp>
        <p:nvSpPr>
          <p:cNvPr id="44" name="Text Placeholder 5"/>
          <p:cNvSpPr>
            <a:spLocks noGrp="1"/>
          </p:cNvSpPr>
          <p:nvPr>
            <p:ph type="body" sz="quarter" idx="31" hasCustomPrompt="1"/>
          </p:nvPr>
        </p:nvSpPr>
        <p:spPr>
          <a:xfrm>
            <a:off x="3770065" y="4197957"/>
            <a:ext cx="2463190" cy="266182"/>
          </a:xfrm>
        </p:spPr>
        <p:txBody>
          <a:bodyPr lIns="0" tIns="0" rIns="0" bIns="0" anchor="b" anchorCtr="0"/>
          <a:lstStyle>
            <a:lvl1pPr marL="0" indent="0" algn="l">
              <a:lnSpc>
                <a:spcPct val="100000"/>
              </a:lnSpc>
              <a:buNone/>
              <a:defRPr sz="1400" b="1" baseline="0">
                <a:solidFill>
                  <a:schemeClr val="tx2"/>
                </a:solidFill>
              </a:defRPr>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Name, Surname</a:t>
            </a:r>
          </a:p>
        </p:txBody>
      </p:sp>
      <p:sp>
        <p:nvSpPr>
          <p:cNvPr id="45" name="Text Placeholder 5"/>
          <p:cNvSpPr>
            <a:spLocks noGrp="1"/>
          </p:cNvSpPr>
          <p:nvPr>
            <p:ph type="body" sz="quarter" idx="32" hasCustomPrompt="1"/>
          </p:nvPr>
        </p:nvSpPr>
        <p:spPr>
          <a:xfrm>
            <a:off x="3770065" y="4494532"/>
            <a:ext cx="2463190"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Job Position</a:t>
            </a:r>
          </a:p>
        </p:txBody>
      </p:sp>
      <p:sp>
        <p:nvSpPr>
          <p:cNvPr id="46" name="Text Placeholder 5"/>
          <p:cNvSpPr>
            <a:spLocks noGrp="1"/>
          </p:cNvSpPr>
          <p:nvPr>
            <p:ph type="body" sz="quarter" idx="33" hasCustomPrompt="1"/>
          </p:nvPr>
        </p:nvSpPr>
        <p:spPr>
          <a:xfrm>
            <a:off x="4014948" y="5023208"/>
            <a:ext cx="2218307"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Phone number</a:t>
            </a:r>
          </a:p>
        </p:txBody>
      </p:sp>
      <p:sp>
        <p:nvSpPr>
          <p:cNvPr id="47" name="Text Placeholder 5"/>
          <p:cNvSpPr>
            <a:spLocks noGrp="1"/>
          </p:cNvSpPr>
          <p:nvPr>
            <p:ph type="body" sz="quarter" idx="34" hasCustomPrompt="1"/>
          </p:nvPr>
        </p:nvSpPr>
        <p:spPr>
          <a:xfrm>
            <a:off x="4014948" y="5306015"/>
            <a:ext cx="2218307"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Email address</a:t>
            </a:r>
          </a:p>
        </p:txBody>
      </p:sp>
    </p:spTree>
    <p:extLst>
      <p:ext uri="{BB962C8B-B14F-4D97-AF65-F5344CB8AC3E}">
        <p14:creationId xmlns:p14="http://schemas.microsoft.com/office/powerpoint/2010/main" val="4060116971"/>
      </p:ext>
    </p:extLst>
  </p:cSld>
  <p:clrMapOvr>
    <a:masterClrMapping/>
  </p:clrMapOvr>
</p:sldLayout>
</file>

<file path=ppt/slideLayouts/slideLayout494.xml><?xml version="1.0" encoding="utf-8"?>
<p:sldLayout xmlns:a="http://schemas.openxmlformats.org/drawingml/2006/main" xmlns:r="http://schemas.openxmlformats.org/officeDocument/2006/relationships" xmlns:p="http://schemas.openxmlformats.org/presentationml/2006/main" preserve="1">
  <p:cSld name="Four contacts">
    <p:spTree>
      <p:nvGrpSpPr>
        <p:cNvPr id="1" name=""/>
        <p:cNvGrpSpPr/>
        <p:nvPr/>
      </p:nvGrpSpPr>
      <p:grpSpPr>
        <a:xfrm>
          <a:off x="0" y="0"/>
          <a:ext cx="0" cy="0"/>
          <a:chOff x="0" y="0"/>
          <a:chExt cx="0" cy="0"/>
        </a:xfrm>
      </p:grpSpPr>
      <p:sp>
        <p:nvSpPr>
          <p:cNvPr id="21" name="Date Placeholder 20"/>
          <p:cNvSpPr>
            <a:spLocks noGrp="1"/>
          </p:cNvSpPr>
          <p:nvPr>
            <p:ph type="dt" sz="half" idx="14"/>
          </p:nvPr>
        </p:nvSpPr>
        <p:spPr/>
        <p:txBody>
          <a:bodyPr/>
          <a:lstStyle/>
          <a:p>
            <a:fld id="{279C7CF9-AE45-4637-9DF5-AFC713D6D2FE}" type="datetime5">
              <a:rPr lang="en-US" smtClean="0"/>
              <a:t>26-Jun-20</a:t>
            </a:fld>
            <a:endParaRPr lang="en-US"/>
          </a:p>
        </p:txBody>
      </p:sp>
      <p:sp>
        <p:nvSpPr>
          <p:cNvPr id="22" name="Footer Placeholder 21"/>
          <p:cNvSpPr>
            <a:spLocks noGrp="1"/>
          </p:cNvSpPr>
          <p:nvPr>
            <p:ph type="ftr" sz="quarter" idx="15"/>
          </p:nvPr>
        </p:nvSpPr>
        <p:spPr/>
        <p:txBody>
          <a:bodyPr/>
          <a:lstStyle/>
          <a:p>
            <a:r>
              <a:rPr lang="en-US"/>
              <a:t>Title of presentation (Insert / Header &amp; Footer / Apply to All)</a:t>
            </a:r>
          </a:p>
        </p:txBody>
      </p:sp>
      <p:sp>
        <p:nvSpPr>
          <p:cNvPr id="23" name="Slide Number Placeholder 22"/>
          <p:cNvSpPr>
            <a:spLocks noGrp="1"/>
          </p:cNvSpPr>
          <p:nvPr>
            <p:ph type="sldNum" sz="quarter" idx="16"/>
          </p:nvPr>
        </p:nvSpPr>
        <p:spPr/>
        <p:txBody>
          <a:bodyPr/>
          <a:lstStyle/>
          <a:p>
            <a:fld id="{5F3E29E4-0979-4FCA-B4C5-5FC6044C982A}" type="slidenum">
              <a:rPr lang="en-US" smtClean="0"/>
              <a:t>‹#›</a:t>
            </a:fld>
            <a:endParaRPr lang="en-US"/>
          </a:p>
        </p:txBody>
      </p:sp>
      <p:sp>
        <p:nvSpPr>
          <p:cNvPr id="2" name="Title 1"/>
          <p:cNvSpPr>
            <a:spLocks noGrp="1"/>
          </p:cNvSpPr>
          <p:nvPr>
            <p:ph type="title" hasCustomPrompt="1"/>
          </p:nvPr>
        </p:nvSpPr>
        <p:spPr/>
        <p:txBody>
          <a:bodyPr/>
          <a:lstStyle>
            <a:lvl1pPr>
              <a:defRPr/>
            </a:lvl1pPr>
          </a:lstStyle>
          <a:p>
            <a:r>
              <a:rPr lang="en-US"/>
              <a:t>Click to add contact title</a:t>
            </a:r>
          </a:p>
        </p:txBody>
      </p:sp>
      <p:sp>
        <p:nvSpPr>
          <p:cNvPr id="7" name="Subtitle 2"/>
          <p:cNvSpPr>
            <a:spLocks noGrp="1"/>
          </p:cNvSpPr>
          <p:nvPr>
            <p:ph type="subTitle" idx="13" hasCustomPrompt="1"/>
          </p:nvPr>
        </p:nvSpPr>
        <p:spPr>
          <a:xfrm>
            <a:off x="1075061" y="964671"/>
            <a:ext cx="7910158" cy="490042"/>
          </a:xfrm>
        </p:spPr>
        <p:txBody>
          <a:bodyPr wrap="none"/>
          <a:lstStyle>
            <a:lvl1pPr marL="0" indent="0" algn="l">
              <a:spcBef>
                <a:spcPts val="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grpSp>
        <p:nvGrpSpPr>
          <p:cNvPr id="8" name="Gruppieren 80">
            <a:extLst>
              <a:ext uri="{FF2B5EF4-FFF2-40B4-BE49-F238E27FC236}">
                <a16:creationId xmlns:a16="http://schemas.microsoft.com/office/drawing/2014/main" id="{6B969E7B-9C39-4443-9B02-74C1E7C5CCAC}"/>
              </a:ext>
            </a:extLst>
          </p:cNvPr>
          <p:cNvGrpSpPr/>
          <p:nvPr/>
        </p:nvGrpSpPr>
        <p:grpSpPr>
          <a:xfrm>
            <a:off x="3770065" y="2868319"/>
            <a:ext cx="171180" cy="171180"/>
            <a:chOff x="3392092" y="1841122"/>
            <a:chExt cx="646508" cy="646508"/>
          </a:xfrm>
        </p:grpSpPr>
        <p:sp>
          <p:nvSpPr>
            <p:cNvPr id="9" name="Rechteck 14">
              <a:extLst>
                <a:ext uri="{FF2B5EF4-FFF2-40B4-BE49-F238E27FC236}">
                  <a16:creationId xmlns:a16="http://schemas.microsoft.com/office/drawing/2014/main" id="{D78F58EA-5525-8D43-8295-FEA52ECF6BFA}"/>
                </a:ext>
              </a:extLst>
            </p:cNvPr>
            <p:cNvSpPr>
              <a:spLocks noChangeAspect="1"/>
            </p:cNvSpPr>
            <p:nvPr/>
          </p:nvSpPr>
          <p:spPr bwMode="gray">
            <a:xfrm>
              <a:off x="3392092" y="1841122"/>
              <a:ext cx="646508" cy="646508"/>
            </a:xfrm>
            <a:prstGeom prst="rect">
              <a:avLst/>
            </a:prstGeom>
            <a:solidFill>
              <a:srgbClr val="E55A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pPr>
              <a:endParaRPr lang="en-US" sz="1000">
                <a:solidFill>
                  <a:schemeClr val="tx1"/>
                </a:solidFill>
                <a:latin typeface="Arial" pitchFamily="34" charset="0"/>
                <a:cs typeface="Arial" pitchFamily="34" charset="0"/>
              </a:endParaRPr>
            </a:p>
          </p:txBody>
        </p:sp>
        <p:sp>
          <p:nvSpPr>
            <p:cNvPr id="10" name="Freeform 67">
              <a:extLst>
                <a:ext uri="{FF2B5EF4-FFF2-40B4-BE49-F238E27FC236}">
                  <a16:creationId xmlns:a16="http://schemas.microsoft.com/office/drawing/2014/main" id="{D01A6292-2776-4945-B828-483D79DC4908}"/>
                </a:ext>
              </a:extLst>
            </p:cNvPr>
            <p:cNvSpPr>
              <a:spLocks noChangeAspect="1"/>
            </p:cNvSpPr>
            <p:nvPr/>
          </p:nvSpPr>
          <p:spPr bwMode="auto">
            <a:xfrm>
              <a:off x="3546638" y="1970424"/>
              <a:ext cx="337415" cy="387905"/>
            </a:xfrm>
            <a:custGeom>
              <a:avLst/>
              <a:gdLst>
                <a:gd name="T0" fmla="*/ 573 w 1624"/>
                <a:gd name="T1" fmla="*/ 1257 h 1867"/>
                <a:gd name="T2" fmla="*/ 662 w 1624"/>
                <a:gd name="T3" fmla="*/ 1288 h 1867"/>
                <a:gd name="T4" fmla="*/ 938 w 1624"/>
                <a:gd name="T5" fmla="*/ 1051 h 1867"/>
                <a:gd name="T6" fmla="*/ 1106 w 1624"/>
                <a:gd name="T7" fmla="*/ 731 h 1867"/>
                <a:gd name="T8" fmla="*/ 1059 w 1624"/>
                <a:gd name="T9" fmla="*/ 645 h 1867"/>
                <a:gd name="T10" fmla="*/ 1001 w 1624"/>
                <a:gd name="T11" fmla="*/ 613 h 1867"/>
                <a:gd name="T12" fmla="*/ 924 w 1624"/>
                <a:gd name="T13" fmla="*/ 432 h 1867"/>
                <a:gd name="T14" fmla="*/ 1114 w 1624"/>
                <a:gd name="T15" fmla="*/ 81 h 1867"/>
                <a:gd name="T16" fmla="*/ 1287 w 1624"/>
                <a:gd name="T17" fmla="*/ 35 h 1867"/>
                <a:gd name="T18" fmla="*/ 1350 w 1624"/>
                <a:gd name="T19" fmla="*/ 69 h 1867"/>
                <a:gd name="T20" fmla="*/ 1527 w 1624"/>
                <a:gd name="T21" fmla="*/ 235 h 1867"/>
                <a:gd name="T22" fmla="*/ 1583 w 1624"/>
                <a:gd name="T23" fmla="*/ 555 h 1867"/>
                <a:gd name="T24" fmla="*/ 1172 w 1624"/>
                <a:gd name="T25" fmla="*/ 1253 h 1867"/>
                <a:gd name="T26" fmla="*/ 586 w 1624"/>
                <a:gd name="T27" fmla="*/ 1803 h 1867"/>
                <a:gd name="T28" fmla="*/ 269 w 1624"/>
                <a:gd name="T29" fmla="*/ 1807 h 1867"/>
                <a:gd name="T30" fmla="*/ 33 w 1624"/>
                <a:gd name="T31" fmla="*/ 1602 h 1867"/>
                <a:gd name="T32" fmla="*/ 2 w 1624"/>
                <a:gd name="T33" fmla="*/ 1508 h 1867"/>
                <a:gd name="T34" fmla="*/ 45 w 1624"/>
                <a:gd name="T35" fmla="*/ 1421 h 1867"/>
                <a:gd name="T36" fmla="*/ 346 w 1624"/>
                <a:gd name="T37" fmla="*/ 1158 h 1867"/>
                <a:gd name="T38" fmla="*/ 448 w 1624"/>
                <a:gd name="T39" fmla="*/ 1145 h 1867"/>
                <a:gd name="T40" fmla="*/ 573 w 1624"/>
                <a:gd name="T41" fmla="*/ 1257 h 18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24" h="1867">
                  <a:moveTo>
                    <a:pt x="573" y="1257"/>
                  </a:moveTo>
                  <a:cubicBezTo>
                    <a:pt x="592" y="1282"/>
                    <a:pt x="630" y="1303"/>
                    <a:pt x="662" y="1288"/>
                  </a:cubicBezTo>
                  <a:cubicBezTo>
                    <a:pt x="753" y="1245"/>
                    <a:pt x="854" y="1156"/>
                    <a:pt x="938" y="1051"/>
                  </a:cubicBezTo>
                  <a:cubicBezTo>
                    <a:pt x="1020" y="948"/>
                    <a:pt x="1084" y="831"/>
                    <a:pt x="1106" y="731"/>
                  </a:cubicBezTo>
                  <a:cubicBezTo>
                    <a:pt x="1113" y="696"/>
                    <a:pt x="1089" y="661"/>
                    <a:pt x="1059" y="645"/>
                  </a:cubicBezTo>
                  <a:cubicBezTo>
                    <a:pt x="1001" y="613"/>
                    <a:pt x="1001" y="613"/>
                    <a:pt x="1001" y="613"/>
                  </a:cubicBezTo>
                  <a:cubicBezTo>
                    <a:pt x="942" y="580"/>
                    <a:pt x="888" y="499"/>
                    <a:pt x="924" y="432"/>
                  </a:cubicBezTo>
                  <a:cubicBezTo>
                    <a:pt x="1114" y="81"/>
                    <a:pt x="1114" y="81"/>
                    <a:pt x="1114" y="81"/>
                  </a:cubicBezTo>
                  <a:cubicBezTo>
                    <a:pt x="1150" y="16"/>
                    <a:pt x="1224" y="0"/>
                    <a:pt x="1287" y="35"/>
                  </a:cubicBezTo>
                  <a:cubicBezTo>
                    <a:pt x="1350" y="69"/>
                    <a:pt x="1350" y="69"/>
                    <a:pt x="1350" y="69"/>
                  </a:cubicBezTo>
                  <a:cubicBezTo>
                    <a:pt x="1415" y="105"/>
                    <a:pt x="1479" y="165"/>
                    <a:pt x="1527" y="235"/>
                  </a:cubicBezTo>
                  <a:cubicBezTo>
                    <a:pt x="1593" y="332"/>
                    <a:pt x="1624" y="442"/>
                    <a:pt x="1583" y="555"/>
                  </a:cubicBezTo>
                  <a:cubicBezTo>
                    <a:pt x="1500" y="781"/>
                    <a:pt x="1351" y="1030"/>
                    <a:pt x="1172" y="1253"/>
                  </a:cubicBezTo>
                  <a:cubicBezTo>
                    <a:pt x="994" y="1477"/>
                    <a:pt x="786" y="1676"/>
                    <a:pt x="586" y="1803"/>
                  </a:cubicBezTo>
                  <a:cubicBezTo>
                    <a:pt x="486" y="1867"/>
                    <a:pt x="375" y="1856"/>
                    <a:pt x="269" y="1807"/>
                  </a:cubicBezTo>
                  <a:cubicBezTo>
                    <a:pt x="157" y="1755"/>
                    <a:pt x="106" y="1695"/>
                    <a:pt x="33" y="1602"/>
                  </a:cubicBezTo>
                  <a:cubicBezTo>
                    <a:pt x="11" y="1573"/>
                    <a:pt x="0" y="1540"/>
                    <a:pt x="2" y="1508"/>
                  </a:cubicBezTo>
                  <a:cubicBezTo>
                    <a:pt x="4" y="1475"/>
                    <a:pt x="18" y="1444"/>
                    <a:pt x="45" y="1421"/>
                  </a:cubicBezTo>
                  <a:cubicBezTo>
                    <a:pt x="70" y="1399"/>
                    <a:pt x="346" y="1158"/>
                    <a:pt x="346" y="1158"/>
                  </a:cubicBezTo>
                  <a:cubicBezTo>
                    <a:pt x="376" y="1134"/>
                    <a:pt x="413" y="1133"/>
                    <a:pt x="448" y="1145"/>
                  </a:cubicBezTo>
                  <a:cubicBezTo>
                    <a:pt x="510" y="1166"/>
                    <a:pt x="536" y="1210"/>
                    <a:pt x="573" y="1257"/>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351"/>
            </a:p>
          </p:txBody>
        </p:sp>
      </p:grpSp>
      <p:grpSp>
        <p:nvGrpSpPr>
          <p:cNvPr id="11" name="Group 3">
            <a:extLst>
              <a:ext uri="{FF2B5EF4-FFF2-40B4-BE49-F238E27FC236}">
                <a16:creationId xmlns:a16="http://schemas.microsoft.com/office/drawing/2014/main" id="{DED6A25A-5DE2-1441-8BA2-C68D3B4F9209}"/>
              </a:ext>
            </a:extLst>
          </p:cNvPr>
          <p:cNvGrpSpPr>
            <a:grpSpLocks noChangeAspect="1"/>
          </p:cNvGrpSpPr>
          <p:nvPr>
            <p:custDataLst>
              <p:tags r:id="rId1"/>
            </p:custDataLst>
          </p:nvPr>
        </p:nvGrpSpPr>
        <p:grpSpPr>
          <a:xfrm>
            <a:off x="3770066" y="3153207"/>
            <a:ext cx="171180" cy="171180"/>
            <a:chOff x="328396" y="5313940"/>
            <a:chExt cx="720000" cy="720000"/>
          </a:xfrm>
        </p:grpSpPr>
        <p:sp>
          <p:nvSpPr>
            <p:cNvPr id="12" name="Rectangle 4">
              <a:extLst>
                <a:ext uri="{FF2B5EF4-FFF2-40B4-BE49-F238E27FC236}">
                  <a16:creationId xmlns:a16="http://schemas.microsoft.com/office/drawing/2014/main" id="{5F49E67F-D4FA-9D48-96BC-59AE946ECD15}"/>
                </a:ext>
              </a:extLst>
            </p:cNvPr>
            <p:cNvSpPr/>
            <p:nvPr/>
          </p:nvSpPr>
          <p:spPr bwMode="gray">
            <a:xfrm>
              <a:off x="328396" y="5313940"/>
              <a:ext cx="720000" cy="720000"/>
            </a:xfrm>
            <a:prstGeom prst="rect">
              <a:avLst/>
            </a:prstGeom>
            <a:solidFill>
              <a:srgbClr val="E55A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pPr>
              <a:endParaRPr lang="en-US" sz="1000">
                <a:solidFill>
                  <a:schemeClr val="tx1"/>
                </a:solidFill>
                <a:latin typeface="Arial" pitchFamily="34" charset="0"/>
                <a:cs typeface="Arial" pitchFamily="34" charset="0"/>
              </a:endParaRPr>
            </a:p>
          </p:txBody>
        </p:sp>
        <p:sp>
          <p:nvSpPr>
            <p:cNvPr id="13" name="Freeform 76">
              <a:extLst>
                <a:ext uri="{FF2B5EF4-FFF2-40B4-BE49-F238E27FC236}">
                  <a16:creationId xmlns:a16="http://schemas.microsoft.com/office/drawing/2014/main" id="{187E70E6-AF3F-2549-908E-DF4BA61040AA}"/>
                </a:ext>
              </a:extLst>
            </p:cNvPr>
            <p:cNvSpPr>
              <a:spLocks noChangeAspect="1" noEditPoints="1"/>
            </p:cNvSpPr>
            <p:nvPr/>
          </p:nvSpPr>
          <p:spPr bwMode="auto">
            <a:xfrm>
              <a:off x="456202" y="5509222"/>
              <a:ext cx="504000" cy="329436"/>
            </a:xfrm>
            <a:custGeom>
              <a:avLst/>
              <a:gdLst>
                <a:gd name="T0" fmla="*/ 0 w 2080"/>
                <a:gd name="T1" fmla="*/ 65 h 1360"/>
                <a:gd name="T2" fmla="*/ 0 w 2080"/>
                <a:gd name="T3" fmla="*/ 0 h 1360"/>
                <a:gd name="T4" fmla="*/ 2080 w 2080"/>
                <a:gd name="T5" fmla="*/ 0 h 1360"/>
                <a:gd name="T6" fmla="*/ 2080 w 2080"/>
                <a:gd name="T7" fmla="*/ 65 h 1360"/>
                <a:gd name="T8" fmla="*/ 1089 w 2080"/>
                <a:gd name="T9" fmla="*/ 862 h 1360"/>
                <a:gd name="T10" fmla="*/ 991 w 2080"/>
                <a:gd name="T11" fmla="*/ 862 h 1360"/>
                <a:gd name="T12" fmla="*/ 0 w 2080"/>
                <a:gd name="T13" fmla="*/ 65 h 1360"/>
                <a:gd name="T14" fmla="*/ 1139 w 2080"/>
                <a:gd name="T15" fmla="*/ 924 h 1360"/>
                <a:gd name="T16" fmla="*/ 1282 w 2080"/>
                <a:gd name="T17" fmla="*/ 810 h 1360"/>
                <a:gd name="T18" fmla="*/ 2076 w 2080"/>
                <a:gd name="T19" fmla="*/ 1360 h 1360"/>
                <a:gd name="T20" fmla="*/ 4 w 2080"/>
                <a:gd name="T21" fmla="*/ 1360 h 1360"/>
                <a:gd name="T22" fmla="*/ 798 w 2080"/>
                <a:gd name="T23" fmla="*/ 810 h 1360"/>
                <a:gd name="T24" fmla="*/ 941 w 2080"/>
                <a:gd name="T25" fmla="*/ 924 h 1360"/>
                <a:gd name="T26" fmla="*/ 1139 w 2080"/>
                <a:gd name="T27" fmla="*/ 924 h 1360"/>
                <a:gd name="T28" fmla="*/ 2 w 2080"/>
                <a:gd name="T29" fmla="*/ 137 h 1360"/>
                <a:gd name="T30" fmla="*/ 42 w 2080"/>
                <a:gd name="T31" fmla="*/ 201 h 1360"/>
                <a:gd name="T32" fmla="*/ 734 w 2080"/>
                <a:gd name="T33" fmla="*/ 758 h 1360"/>
                <a:gd name="T34" fmla="*/ 0 w 2080"/>
                <a:gd name="T35" fmla="*/ 1266 h 1360"/>
                <a:gd name="T36" fmla="*/ 0 w 2080"/>
                <a:gd name="T37" fmla="*/ 135 h 1360"/>
                <a:gd name="T38" fmla="*/ 2 w 2080"/>
                <a:gd name="T39" fmla="*/ 137 h 1360"/>
                <a:gd name="T40" fmla="*/ 2080 w 2080"/>
                <a:gd name="T41" fmla="*/ 136 h 1360"/>
                <a:gd name="T42" fmla="*/ 2080 w 2080"/>
                <a:gd name="T43" fmla="*/ 1265 h 1360"/>
                <a:gd name="T44" fmla="*/ 1346 w 2080"/>
                <a:gd name="T45" fmla="*/ 758 h 1360"/>
                <a:gd name="T46" fmla="*/ 2038 w 2080"/>
                <a:gd name="T47" fmla="*/ 201 h 1360"/>
                <a:gd name="T48" fmla="*/ 2080 w 2080"/>
                <a:gd name="T49" fmla="*/ 136 h 1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080" h="1360">
                  <a:moveTo>
                    <a:pt x="0" y="65"/>
                  </a:moveTo>
                  <a:cubicBezTo>
                    <a:pt x="0" y="0"/>
                    <a:pt x="0" y="0"/>
                    <a:pt x="0" y="0"/>
                  </a:cubicBezTo>
                  <a:cubicBezTo>
                    <a:pt x="2080" y="0"/>
                    <a:pt x="2080" y="0"/>
                    <a:pt x="2080" y="0"/>
                  </a:cubicBezTo>
                  <a:cubicBezTo>
                    <a:pt x="2080" y="65"/>
                    <a:pt x="2080" y="65"/>
                    <a:pt x="2080" y="65"/>
                  </a:cubicBezTo>
                  <a:cubicBezTo>
                    <a:pt x="1089" y="862"/>
                    <a:pt x="1089" y="862"/>
                    <a:pt x="1089" y="862"/>
                  </a:cubicBezTo>
                  <a:cubicBezTo>
                    <a:pt x="1060" y="886"/>
                    <a:pt x="1020" y="886"/>
                    <a:pt x="991" y="862"/>
                  </a:cubicBezTo>
                  <a:lnTo>
                    <a:pt x="0" y="65"/>
                  </a:lnTo>
                  <a:close/>
                  <a:moveTo>
                    <a:pt x="1139" y="924"/>
                  </a:moveTo>
                  <a:cubicBezTo>
                    <a:pt x="1282" y="810"/>
                    <a:pt x="1282" y="810"/>
                    <a:pt x="1282" y="810"/>
                  </a:cubicBezTo>
                  <a:cubicBezTo>
                    <a:pt x="2076" y="1360"/>
                    <a:pt x="2076" y="1360"/>
                    <a:pt x="2076" y="1360"/>
                  </a:cubicBezTo>
                  <a:cubicBezTo>
                    <a:pt x="4" y="1360"/>
                    <a:pt x="4" y="1360"/>
                    <a:pt x="4" y="1360"/>
                  </a:cubicBezTo>
                  <a:cubicBezTo>
                    <a:pt x="798" y="810"/>
                    <a:pt x="798" y="810"/>
                    <a:pt x="798" y="810"/>
                  </a:cubicBezTo>
                  <a:cubicBezTo>
                    <a:pt x="941" y="924"/>
                    <a:pt x="941" y="924"/>
                    <a:pt x="941" y="924"/>
                  </a:cubicBezTo>
                  <a:cubicBezTo>
                    <a:pt x="1000" y="972"/>
                    <a:pt x="1080" y="972"/>
                    <a:pt x="1139" y="924"/>
                  </a:cubicBezTo>
                  <a:close/>
                  <a:moveTo>
                    <a:pt x="2" y="137"/>
                  </a:moveTo>
                  <a:cubicBezTo>
                    <a:pt x="8" y="163"/>
                    <a:pt x="22" y="185"/>
                    <a:pt x="42" y="201"/>
                  </a:cubicBezTo>
                  <a:cubicBezTo>
                    <a:pt x="734" y="758"/>
                    <a:pt x="734" y="758"/>
                    <a:pt x="734" y="758"/>
                  </a:cubicBezTo>
                  <a:cubicBezTo>
                    <a:pt x="0" y="1266"/>
                    <a:pt x="0" y="1266"/>
                    <a:pt x="0" y="1266"/>
                  </a:cubicBezTo>
                  <a:cubicBezTo>
                    <a:pt x="0" y="135"/>
                    <a:pt x="0" y="135"/>
                    <a:pt x="0" y="135"/>
                  </a:cubicBezTo>
                  <a:lnTo>
                    <a:pt x="2" y="137"/>
                  </a:lnTo>
                  <a:close/>
                  <a:moveTo>
                    <a:pt x="2080" y="136"/>
                  </a:moveTo>
                  <a:cubicBezTo>
                    <a:pt x="2080" y="1265"/>
                    <a:pt x="2080" y="1265"/>
                    <a:pt x="2080" y="1265"/>
                  </a:cubicBezTo>
                  <a:cubicBezTo>
                    <a:pt x="1346" y="758"/>
                    <a:pt x="1346" y="758"/>
                    <a:pt x="1346" y="758"/>
                  </a:cubicBezTo>
                  <a:cubicBezTo>
                    <a:pt x="2038" y="201"/>
                    <a:pt x="2038" y="201"/>
                    <a:pt x="2038" y="201"/>
                  </a:cubicBezTo>
                  <a:cubicBezTo>
                    <a:pt x="2060" y="182"/>
                    <a:pt x="2072" y="162"/>
                    <a:pt x="2080" y="13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000"/>
            </a:p>
          </p:txBody>
        </p:sp>
      </p:grpSp>
      <p:grpSp>
        <p:nvGrpSpPr>
          <p:cNvPr id="14" name="Gruppieren 2">
            <a:extLst>
              <a:ext uri="{FF2B5EF4-FFF2-40B4-BE49-F238E27FC236}">
                <a16:creationId xmlns:a16="http://schemas.microsoft.com/office/drawing/2014/main" id="{BE697CE9-EBDE-6B4A-BE70-582D92A8A831}"/>
              </a:ext>
            </a:extLst>
          </p:cNvPr>
          <p:cNvGrpSpPr/>
          <p:nvPr/>
        </p:nvGrpSpPr>
        <p:grpSpPr>
          <a:xfrm>
            <a:off x="8701917" y="2868319"/>
            <a:ext cx="171180" cy="171180"/>
            <a:chOff x="3392092" y="1841122"/>
            <a:chExt cx="646508" cy="646508"/>
          </a:xfrm>
        </p:grpSpPr>
        <p:sp>
          <p:nvSpPr>
            <p:cNvPr id="15" name="Rechteck 14">
              <a:extLst>
                <a:ext uri="{FF2B5EF4-FFF2-40B4-BE49-F238E27FC236}">
                  <a16:creationId xmlns:a16="http://schemas.microsoft.com/office/drawing/2014/main" id="{E142A731-19B7-C34D-9534-9E05108F895F}"/>
                </a:ext>
              </a:extLst>
            </p:cNvPr>
            <p:cNvSpPr>
              <a:spLocks noChangeAspect="1"/>
            </p:cNvSpPr>
            <p:nvPr/>
          </p:nvSpPr>
          <p:spPr bwMode="gray">
            <a:xfrm>
              <a:off x="3392092" y="1841122"/>
              <a:ext cx="646508" cy="646508"/>
            </a:xfrm>
            <a:prstGeom prst="rect">
              <a:avLst/>
            </a:prstGeom>
            <a:solidFill>
              <a:srgbClr val="E55A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pPr>
              <a:endParaRPr lang="en-US" sz="1000">
                <a:solidFill>
                  <a:schemeClr val="tx1"/>
                </a:solidFill>
                <a:latin typeface="Arial" pitchFamily="34" charset="0"/>
                <a:cs typeface="Arial" pitchFamily="34" charset="0"/>
              </a:endParaRPr>
            </a:p>
          </p:txBody>
        </p:sp>
        <p:sp>
          <p:nvSpPr>
            <p:cNvPr id="16" name="Freeform 15">
              <a:extLst>
                <a:ext uri="{FF2B5EF4-FFF2-40B4-BE49-F238E27FC236}">
                  <a16:creationId xmlns:a16="http://schemas.microsoft.com/office/drawing/2014/main" id="{F97E84AE-4AD9-4B44-9AA1-F797FC373809}"/>
                </a:ext>
              </a:extLst>
            </p:cNvPr>
            <p:cNvSpPr>
              <a:spLocks noChangeAspect="1"/>
            </p:cNvSpPr>
            <p:nvPr/>
          </p:nvSpPr>
          <p:spPr bwMode="auto">
            <a:xfrm>
              <a:off x="3546638" y="1970424"/>
              <a:ext cx="337415" cy="387905"/>
            </a:xfrm>
            <a:custGeom>
              <a:avLst/>
              <a:gdLst>
                <a:gd name="T0" fmla="*/ 573 w 1624"/>
                <a:gd name="T1" fmla="*/ 1257 h 1867"/>
                <a:gd name="T2" fmla="*/ 662 w 1624"/>
                <a:gd name="T3" fmla="*/ 1288 h 1867"/>
                <a:gd name="T4" fmla="*/ 938 w 1624"/>
                <a:gd name="T5" fmla="*/ 1051 h 1867"/>
                <a:gd name="T6" fmla="*/ 1106 w 1624"/>
                <a:gd name="T7" fmla="*/ 731 h 1867"/>
                <a:gd name="T8" fmla="*/ 1059 w 1624"/>
                <a:gd name="T9" fmla="*/ 645 h 1867"/>
                <a:gd name="T10" fmla="*/ 1001 w 1624"/>
                <a:gd name="T11" fmla="*/ 613 h 1867"/>
                <a:gd name="T12" fmla="*/ 924 w 1624"/>
                <a:gd name="T13" fmla="*/ 432 h 1867"/>
                <a:gd name="T14" fmla="*/ 1114 w 1624"/>
                <a:gd name="T15" fmla="*/ 81 h 1867"/>
                <a:gd name="T16" fmla="*/ 1287 w 1624"/>
                <a:gd name="T17" fmla="*/ 35 h 1867"/>
                <a:gd name="T18" fmla="*/ 1350 w 1624"/>
                <a:gd name="T19" fmla="*/ 69 h 1867"/>
                <a:gd name="T20" fmla="*/ 1527 w 1624"/>
                <a:gd name="T21" fmla="*/ 235 h 1867"/>
                <a:gd name="T22" fmla="*/ 1583 w 1624"/>
                <a:gd name="T23" fmla="*/ 555 h 1867"/>
                <a:gd name="T24" fmla="*/ 1172 w 1624"/>
                <a:gd name="T25" fmla="*/ 1253 h 1867"/>
                <a:gd name="T26" fmla="*/ 586 w 1624"/>
                <a:gd name="T27" fmla="*/ 1803 h 1867"/>
                <a:gd name="T28" fmla="*/ 269 w 1624"/>
                <a:gd name="T29" fmla="*/ 1807 h 1867"/>
                <a:gd name="T30" fmla="*/ 33 w 1624"/>
                <a:gd name="T31" fmla="*/ 1602 h 1867"/>
                <a:gd name="T32" fmla="*/ 2 w 1624"/>
                <a:gd name="T33" fmla="*/ 1508 h 1867"/>
                <a:gd name="T34" fmla="*/ 45 w 1624"/>
                <a:gd name="T35" fmla="*/ 1421 h 1867"/>
                <a:gd name="T36" fmla="*/ 346 w 1624"/>
                <a:gd name="T37" fmla="*/ 1158 h 1867"/>
                <a:gd name="T38" fmla="*/ 448 w 1624"/>
                <a:gd name="T39" fmla="*/ 1145 h 1867"/>
                <a:gd name="T40" fmla="*/ 573 w 1624"/>
                <a:gd name="T41" fmla="*/ 1257 h 18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24" h="1867">
                  <a:moveTo>
                    <a:pt x="573" y="1257"/>
                  </a:moveTo>
                  <a:cubicBezTo>
                    <a:pt x="592" y="1282"/>
                    <a:pt x="630" y="1303"/>
                    <a:pt x="662" y="1288"/>
                  </a:cubicBezTo>
                  <a:cubicBezTo>
                    <a:pt x="753" y="1245"/>
                    <a:pt x="854" y="1156"/>
                    <a:pt x="938" y="1051"/>
                  </a:cubicBezTo>
                  <a:cubicBezTo>
                    <a:pt x="1020" y="948"/>
                    <a:pt x="1084" y="831"/>
                    <a:pt x="1106" y="731"/>
                  </a:cubicBezTo>
                  <a:cubicBezTo>
                    <a:pt x="1113" y="696"/>
                    <a:pt x="1089" y="661"/>
                    <a:pt x="1059" y="645"/>
                  </a:cubicBezTo>
                  <a:cubicBezTo>
                    <a:pt x="1001" y="613"/>
                    <a:pt x="1001" y="613"/>
                    <a:pt x="1001" y="613"/>
                  </a:cubicBezTo>
                  <a:cubicBezTo>
                    <a:pt x="942" y="580"/>
                    <a:pt x="888" y="499"/>
                    <a:pt x="924" y="432"/>
                  </a:cubicBezTo>
                  <a:cubicBezTo>
                    <a:pt x="1114" y="81"/>
                    <a:pt x="1114" y="81"/>
                    <a:pt x="1114" y="81"/>
                  </a:cubicBezTo>
                  <a:cubicBezTo>
                    <a:pt x="1150" y="16"/>
                    <a:pt x="1224" y="0"/>
                    <a:pt x="1287" y="35"/>
                  </a:cubicBezTo>
                  <a:cubicBezTo>
                    <a:pt x="1350" y="69"/>
                    <a:pt x="1350" y="69"/>
                    <a:pt x="1350" y="69"/>
                  </a:cubicBezTo>
                  <a:cubicBezTo>
                    <a:pt x="1415" y="105"/>
                    <a:pt x="1479" y="165"/>
                    <a:pt x="1527" y="235"/>
                  </a:cubicBezTo>
                  <a:cubicBezTo>
                    <a:pt x="1593" y="332"/>
                    <a:pt x="1624" y="442"/>
                    <a:pt x="1583" y="555"/>
                  </a:cubicBezTo>
                  <a:cubicBezTo>
                    <a:pt x="1500" y="781"/>
                    <a:pt x="1351" y="1030"/>
                    <a:pt x="1172" y="1253"/>
                  </a:cubicBezTo>
                  <a:cubicBezTo>
                    <a:pt x="994" y="1477"/>
                    <a:pt x="786" y="1676"/>
                    <a:pt x="586" y="1803"/>
                  </a:cubicBezTo>
                  <a:cubicBezTo>
                    <a:pt x="486" y="1867"/>
                    <a:pt x="375" y="1856"/>
                    <a:pt x="269" y="1807"/>
                  </a:cubicBezTo>
                  <a:cubicBezTo>
                    <a:pt x="157" y="1755"/>
                    <a:pt x="106" y="1695"/>
                    <a:pt x="33" y="1602"/>
                  </a:cubicBezTo>
                  <a:cubicBezTo>
                    <a:pt x="11" y="1573"/>
                    <a:pt x="0" y="1540"/>
                    <a:pt x="2" y="1508"/>
                  </a:cubicBezTo>
                  <a:cubicBezTo>
                    <a:pt x="4" y="1475"/>
                    <a:pt x="18" y="1444"/>
                    <a:pt x="45" y="1421"/>
                  </a:cubicBezTo>
                  <a:cubicBezTo>
                    <a:pt x="70" y="1399"/>
                    <a:pt x="346" y="1158"/>
                    <a:pt x="346" y="1158"/>
                  </a:cubicBezTo>
                  <a:cubicBezTo>
                    <a:pt x="376" y="1134"/>
                    <a:pt x="413" y="1133"/>
                    <a:pt x="448" y="1145"/>
                  </a:cubicBezTo>
                  <a:cubicBezTo>
                    <a:pt x="510" y="1166"/>
                    <a:pt x="536" y="1210"/>
                    <a:pt x="573" y="1257"/>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351"/>
            </a:p>
          </p:txBody>
        </p:sp>
      </p:grpSp>
      <p:grpSp>
        <p:nvGrpSpPr>
          <p:cNvPr id="17" name="Group 3">
            <a:extLst>
              <a:ext uri="{FF2B5EF4-FFF2-40B4-BE49-F238E27FC236}">
                <a16:creationId xmlns:a16="http://schemas.microsoft.com/office/drawing/2014/main" id="{7104BADD-8CD1-6F4A-B894-869C3BDB3EEB}"/>
              </a:ext>
            </a:extLst>
          </p:cNvPr>
          <p:cNvGrpSpPr>
            <a:grpSpLocks noChangeAspect="1"/>
          </p:cNvGrpSpPr>
          <p:nvPr>
            <p:custDataLst>
              <p:tags r:id="rId2"/>
            </p:custDataLst>
          </p:nvPr>
        </p:nvGrpSpPr>
        <p:grpSpPr>
          <a:xfrm>
            <a:off x="8701918" y="3153207"/>
            <a:ext cx="171180" cy="171180"/>
            <a:chOff x="328396" y="5313940"/>
            <a:chExt cx="720000" cy="720000"/>
          </a:xfrm>
        </p:grpSpPr>
        <p:sp>
          <p:nvSpPr>
            <p:cNvPr id="18" name="Rectangle 4">
              <a:extLst>
                <a:ext uri="{FF2B5EF4-FFF2-40B4-BE49-F238E27FC236}">
                  <a16:creationId xmlns:a16="http://schemas.microsoft.com/office/drawing/2014/main" id="{74BE3D5F-1445-6E40-8B49-72E15568383B}"/>
                </a:ext>
              </a:extLst>
            </p:cNvPr>
            <p:cNvSpPr/>
            <p:nvPr/>
          </p:nvSpPr>
          <p:spPr bwMode="gray">
            <a:xfrm>
              <a:off x="328396" y="5313940"/>
              <a:ext cx="720000" cy="720000"/>
            </a:xfrm>
            <a:prstGeom prst="rect">
              <a:avLst/>
            </a:prstGeom>
            <a:solidFill>
              <a:srgbClr val="E55A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pPr>
              <a:endParaRPr lang="en-US" sz="1000">
                <a:solidFill>
                  <a:schemeClr val="tx1"/>
                </a:solidFill>
                <a:latin typeface="Arial" pitchFamily="34" charset="0"/>
                <a:cs typeface="Arial" pitchFamily="34" charset="0"/>
              </a:endParaRPr>
            </a:p>
          </p:txBody>
        </p:sp>
        <p:sp>
          <p:nvSpPr>
            <p:cNvPr id="19" name="Freeform 76">
              <a:extLst>
                <a:ext uri="{FF2B5EF4-FFF2-40B4-BE49-F238E27FC236}">
                  <a16:creationId xmlns:a16="http://schemas.microsoft.com/office/drawing/2014/main" id="{55DB3C95-7D0C-D141-901E-96D692794D2B}"/>
                </a:ext>
              </a:extLst>
            </p:cNvPr>
            <p:cNvSpPr>
              <a:spLocks noChangeAspect="1" noEditPoints="1"/>
            </p:cNvSpPr>
            <p:nvPr/>
          </p:nvSpPr>
          <p:spPr bwMode="auto">
            <a:xfrm>
              <a:off x="456202" y="5509222"/>
              <a:ext cx="504000" cy="329436"/>
            </a:xfrm>
            <a:custGeom>
              <a:avLst/>
              <a:gdLst>
                <a:gd name="T0" fmla="*/ 0 w 2080"/>
                <a:gd name="T1" fmla="*/ 65 h 1360"/>
                <a:gd name="T2" fmla="*/ 0 w 2080"/>
                <a:gd name="T3" fmla="*/ 0 h 1360"/>
                <a:gd name="T4" fmla="*/ 2080 w 2080"/>
                <a:gd name="T5" fmla="*/ 0 h 1360"/>
                <a:gd name="T6" fmla="*/ 2080 w 2080"/>
                <a:gd name="T7" fmla="*/ 65 h 1360"/>
                <a:gd name="T8" fmla="*/ 1089 w 2080"/>
                <a:gd name="T9" fmla="*/ 862 h 1360"/>
                <a:gd name="T10" fmla="*/ 991 w 2080"/>
                <a:gd name="T11" fmla="*/ 862 h 1360"/>
                <a:gd name="T12" fmla="*/ 0 w 2080"/>
                <a:gd name="T13" fmla="*/ 65 h 1360"/>
                <a:gd name="T14" fmla="*/ 1139 w 2080"/>
                <a:gd name="T15" fmla="*/ 924 h 1360"/>
                <a:gd name="T16" fmla="*/ 1282 w 2080"/>
                <a:gd name="T17" fmla="*/ 810 h 1360"/>
                <a:gd name="T18" fmla="*/ 2076 w 2080"/>
                <a:gd name="T19" fmla="*/ 1360 h 1360"/>
                <a:gd name="T20" fmla="*/ 4 w 2080"/>
                <a:gd name="T21" fmla="*/ 1360 h 1360"/>
                <a:gd name="T22" fmla="*/ 798 w 2080"/>
                <a:gd name="T23" fmla="*/ 810 h 1360"/>
                <a:gd name="T24" fmla="*/ 941 w 2080"/>
                <a:gd name="T25" fmla="*/ 924 h 1360"/>
                <a:gd name="T26" fmla="*/ 1139 w 2080"/>
                <a:gd name="T27" fmla="*/ 924 h 1360"/>
                <a:gd name="T28" fmla="*/ 2 w 2080"/>
                <a:gd name="T29" fmla="*/ 137 h 1360"/>
                <a:gd name="T30" fmla="*/ 42 w 2080"/>
                <a:gd name="T31" fmla="*/ 201 h 1360"/>
                <a:gd name="T32" fmla="*/ 734 w 2080"/>
                <a:gd name="T33" fmla="*/ 758 h 1360"/>
                <a:gd name="T34" fmla="*/ 0 w 2080"/>
                <a:gd name="T35" fmla="*/ 1266 h 1360"/>
                <a:gd name="T36" fmla="*/ 0 w 2080"/>
                <a:gd name="T37" fmla="*/ 135 h 1360"/>
                <a:gd name="T38" fmla="*/ 2 w 2080"/>
                <a:gd name="T39" fmla="*/ 137 h 1360"/>
                <a:gd name="T40" fmla="*/ 2080 w 2080"/>
                <a:gd name="T41" fmla="*/ 136 h 1360"/>
                <a:gd name="T42" fmla="*/ 2080 w 2080"/>
                <a:gd name="T43" fmla="*/ 1265 h 1360"/>
                <a:gd name="T44" fmla="*/ 1346 w 2080"/>
                <a:gd name="T45" fmla="*/ 758 h 1360"/>
                <a:gd name="T46" fmla="*/ 2038 w 2080"/>
                <a:gd name="T47" fmla="*/ 201 h 1360"/>
                <a:gd name="T48" fmla="*/ 2080 w 2080"/>
                <a:gd name="T49" fmla="*/ 136 h 1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080" h="1360">
                  <a:moveTo>
                    <a:pt x="0" y="65"/>
                  </a:moveTo>
                  <a:cubicBezTo>
                    <a:pt x="0" y="0"/>
                    <a:pt x="0" y="0"/>
                    <a:pt x="0" y="0"/>
                  </a:cubicBezTo>
                  <a:cubicBezTo>
                    <a:pt x="2080" y="0"/>
                    <a:pt x="2080" y="0"/>
                    <a:pt x="2080" y="0"/>
                  </a:cubicBezTo>
                  <a:cubicBezTo>
                    <a:pt x="2080" y="65"/>
                    <a:pt x="2080" y="65"/>
                    <a:pt x="2080" y="65"/>
                  </a:cubicBezTo>
                  <a:cubicBezTo>
                    <a:pt x="1089" y="862"/>
                    <a:pt x="1089" y="862"/>
                    <a:pt x="1089" y="862"/>
                  </a:cubicBezTo>
                  <a:cubicBezTo>
                    <a:pt x="1060" y="886"/>
                    <a:pt x="1020" y="886"/>
                    <a:pt x="991" y="862"/>
                  </a:cubicBezTo>
                  <a:lnTo>
                    <a:pt x="0" y="65"/>
                  </a:lnTo>
                  <a:close/>
                  <a:moveTo>
                    <a:pt x="1139" y="924"/>
                  </a:moveTo>
                  <a:cubicBezTo>
                    <a:pt x="1282" y="810"/>
                    <a:pt x="1282" y="810"/>
                    <a:pt x="1282" y="810"/>
                  </a:cubicBezTo>
                  <a:cubicBezTo>
                    <a:pt x="2076" y="1360"/>
                    <a:pt x="2076" y="1360"/>
                    <a:pt x="2076" y="1360"/>
                  </a:cubicBezTo>
                  <a:cubicBezTo>
                    <a:pt x="4" y="1360"/>
                    <a:pt x="4" y="1360"/>
                    <a:pt x="4" y="1360"/>
                  </a:cubicBezTo>
                  <a:cubicBezTo>
                    <a:pt x="798" y="810"/>
                    <a:pt x="798" y="810"/>
                    <a:pt x="798" y="810"/>
                  </a:cubicBezTo>
                  <a:cubicBezTo>
                    <a:pt x="941" y="924"/>
                    <a:pt x="941" y="924"/>
                    <a:pt x="941" y="924"/>
                  </a:cubicBezTo>
                  <a:cubicBezTo>
                    <a:pt x="1000" y="972"/>
                    <a:pt x="1080" y="972"/>
                    <a:pt x="1139" y="924"/>
                  </a:cubicBezTo>
                  <a:close/>
                  <a:moveTo>
                    <a:pt x="2" y="137"/>
                  </a:moveTo>
                  <a:cubicBezTo>
                    <a:pt x="8" y="163"/>
                    <a:pt x="22" y="185"/>
                    <a:pt x="42" y="201"/>
                  </a:cubicBezTo>
                  <a:cubicBezTo>
                    <a:pt x="734" y="758"/>
                    <a:pt x="734" y="758"/>
                    <a:pt x="734" y="758"/>
                  </a:cubicBezTo>
                  <a:cubicBezTo>
                    <a:pt x="0" y="1266"/>
                    <a:pt x="0" y="1266"/>
                    <a:pt x="0" y="1266"/>
                  </a:cubicBezTo>
                  <a:cubicBezTo>
                    <a:pt x="0" y="135"/>
                    <a:pt x="0" y="135"/>
                    <a:pt x="0" y="135"/>
                  </a:cubicBezTo>
                  <a:lnTo>
                    <a:pt x="2" y="137"/>
                  </a:lnTo>
                  <a:close/>
                  <a:moveTo>
                    <a:pt x="2080" y="136"/>
                  </a:moveTo>
                  <a:cubicBezTo>
                    <a:pt x="2080" y="1265"/>
                    <a:pt x="2080" y="1265"/>
                    <a:pt x="2080" y="1265"/>
                  </a:cubicBezTo>
                  <a:cubicBezTo>
                    <a:pt x="1346" y="758"/>
                    <a:pt x="1346" y="758"/>
                    <a:pt x="1346" y="758"/>
                  </a:cubicBezTo>
                  <a:cubicBezTo>
                    <a:pt x="2038" y="201"/>
                    <a:pt x="2038" y="201"/>
                    <a:pt x="2038" y="201"/>
                  </a:cubicBezTo>
                  <a:cubicBezTo>
                    <a:pt x="2060" y="182"/>
                    <a:pt x="2072" y="162"/>
                    <a:pt x="2080" y="13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000"/>
            </a:p>
          </p:txBody>
        </p:sp>
      </p:grpSp>
      <p:cxnSp>
        <p:nvCxnSpPr>
          <p:cNvPr id="20" name="Straight Connector 19"/>
          <p:cNvCxnSpPr/>
          <p:nvPr/>
        </p:nvCxnSpPr>
        <p:spPr>
          <a:xfrm>
            <a:off x="2371725" y="3478213"/>
            <a:ext cx="3888000" cy="0"/>
          </a:xfrm>
          <a:prstGeom prst="line">
            <a:avLst/>
          </a:prstGeom>
          <a:ln w="6350">
            <a:solidFill>
              <a:schemeClr val="tx2"/>
            </a:solidFill>
            <a:prstDash val="dash"/>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p:nvCxnSpPr>
        <p:spPr>
          <a:xfrm>
            <a:off x="7287766" y="3478213"/>
            <a:ext cx="3888000" cy="0"/>
          </a:xfrm>
          <a:prstGeom prst="line">
            <a:avLst/>
          </a:prstGeom>
          <a:ln w="6350">
            <a:solidFill>
              <a:schemeClr val="tx2"/>
            </a:solidFill>
            <a:prstDash val="dash"/>
          </a:ln>
        </p:spPr>
        <p:style>
          <a:lnRef idx="1">
            <a:schemeClr val="accent1"/>
          </a:lnRef>
          <a:fillRef idx="0">
            <a:schemeClr val="accent1"/>
          </a:fillRef>
          <a:effectRef idx="0">
            <a:schemeClr val="accent1"/>
          </a:effectRef>
          <a:fontRef idx="minor">
            <a:schemeClr val="tx1"/>
          </a:fontRef>
        </p:style>
      </p:cxnSp>
      <p:sp>
        <p:nvSpPr>
          <p:cNvPr id="4" name="Picture Placeholder 3"/>
          <p:cNvSpPr>
            <a:spLocks noGrp="1"/>
          </p:cNvSpPr>
          <p:nvPr>
            <p:ph type="pic" sz="quarter" idx="17" hasCustomPrompt="1"/>
          </p:nvPr>
        </p:nvSpPr>
        <p:spPr>
          <a:xfrm>
            <a:off x="2355914" y="1808984"/>
            <a:ext cx="1188677" cy="1547840"/>
          </a:xfrm>
          <a:solidFill>
            <a:srgbClr val="D9DADB"/>
          </a:solidFill>
        </p:spPr>
        <p:txBody>
          <a:bodyPr/>
          <a:lstStyle>
            <a:lvl1pPr marL="0" indent="0">
              <a:buNone/>
              <a:defRPr sz="1400"/>
            </a:lvl1pPr>
          </a:lstStyle>
          <a:p>
            <a:r>
              <a:rPr lang="en-US"/>
              <a:t>Insert picture</a:t>
            </a:r>
          </a:p>
        </p:txBody>
      </p:sp>
      <p:sp>
        <p:nvSpPr>
          <p:cNvPr id="25" name="Picture Placeholder 3"/>
          <p:cNvSpPr>
            <a:spLocks noGrp="1"/>
          </p:cNvSpPr>
          <p:nvPr>
            <p:ph type="pic" sz="quarter" idx="18" hasCustomPrompt="1"/>
          </p:nvPr>
        </p:nvSpPr>
        <p:spPr>
          <a:xfrm>
            <a:off x="7287766" y="1808984"/>
            <a:ext cx="1188677" cy="1547840"/>
          </a:xfrm>
          <a:solidFill>
            <a:srgbClr val="D9DADB"/>
          </a:solidFill>
        </p:spPr>
        <p:txBody>
          <a:bodyPr/>
          <a:lstStyle>
            <a:lvl1pPr marL="0" indent="0">
              <a:buNone/>
              <a:defRPr sz="1400"/>
            </a:lvl1pPr>
          </a:lstStyle>
          <a:p>
            <a:r>
              <a:rPr lang="en-US"/>
              <a:t>Insert picture</a:t>
            </a:r>
          </a:p>
        </p:txBody>
      </p:sp>
      <p:sp>
        <p:nvSpPr>
          <p:cNvPr id="6" name="Text Placeholder 5"/>
          <p:cNvSpPr>
            <a:spLocks noGrp="1"/>
          </p:cNvSpPr>
          <p:nvPr>
            <p:ph type="body" sz="quarter" idx="19" hasCustomPrompt="1"/>
          </p:nvPr>
        </p:nvSpPr>
        <p:spPr>
          <a:xfrm>
            <a:off x="3770065" y="1808521"/>
            <a:ext cx="2463190" cy="192360"/>
          </a:xfrm>
        </p:spPr>
        <p:txBody>
          <a:bodyPr lIns="0" tIns="0" rIns="0" bIns="0" anchor="ctr" anchorCtr="0"/>
          <a:lstStyle>
            <a:lvl1pPr marL="0" indent="0" algn="l">
              <a:lnSpc>
                <a:spcPct val="100000"/>
              </a:lnSpc>
              <a:buNone/>
              <a:defRPr sz="100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Country</a:t>
            </a:r>
          </a:p>
        </p:txBody>
      </p:sp>
      <p:sp>
        <p:nvSpPr>
          <p:cNvPr id="26" name="Text Placeholder 5"/>
          <p:cNvSpPr>
            <a:spLocks noGrp="1"/>
          </p:cNvSpPr>
          <p:nvPr>
            <p:ph type="body" sz="quarter" idx="20" hasCustomPrompt="1"/>
          </p:nvPr>
        </p:nvSpPr>
        <p:spPr>
          <a:xfrm>
            <a:off x="3770065" y="2020337"/>
            <a:ext cx="2463190" cy="266182"/>
          </a:xfrm>
        </p:spPr>
        <p:txBody>
          <a:bodyPr lIns="0" tIns="0" rIns="0" bIns="0" anchor="b" anchorCtr="0"/>
          <a:lstStyle>
            <a:lvl1pPr marL="0" indent="0" algn="l">
              <a:lnSpc>
                <a:spcPct val="100000"/>
              </a:lnSpc>
              <a:buNone/>
              <a:defRPr sz="1400" b="1" baseline="0">
                <a:solidFill>
                  <a:schemeClr val="tx2"/>
                </a:solidFill>
              </a:defRPr>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Name, Surname</a:t>
            </a:r>
          </a:p>
        </p:txBody>
      </p:sp>
      <p:sp>
        <p:nvSpPr>
          <p:cNvPr id="27" name="Text Placeholder 5"/>
          <p:cNvSpPr>
            <a:spLocks noGrp="1"/>
          </p:cNvSpPr>
          <p:nvPr>
            <p:ph type="body" sz="quarter" idx="21" hasCustomPrompt="1"/>
          </p:nvPr>
        </p:nvSpPr>
        <p:spPr>
          <a:xfrm>
            <a:off x="3770065" y="2316912"/>
            <a:ext cx="2463190"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Job Position</a:t>
            </a:r>
          </a:p>
        </p:txBody>
      </p:sp>
      <p:sp>
        <p:nvSpPr>
          <p:cNvPr id="28" name="Text Placeholder 5"/>
          <p:cNvSpPr>
            <a:spLocks noGrp="1"/>
          </p:cNvSpPr>
          <p:nvPr>
            <p:ph type="body" sz="quarter" idx="22" hasCustomPrompt="1"/>
          </p:nvPr>
        </p:nvSpPr>
        <p:spPr>
          <a:xfrm>
            <a:off x="4014948" y="2845588"/>
            <a:ext cx="2218307"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Phone number</a:t>
            </a:r>
          </a:p>
        </p:txBody>
      </p:sp>
      <p:sp>
        <p:nvSpPr>
          <p:cNvPr id="29" name="Text Placeholder 5"/>
          <p:cNvSpPr>
            <a:spLocks noGrp="1"/>
          </p:cNvSpPr>
          <p:nvPr>
            <p:ph type="body" sz="quarter" idx="23" hasCustomPrompt="1"/>
          </p:nvPr>
        </p:nvSpPr>
        <p:spPr>
          <a:xfrm>
            <a:off x="4014948" y="3128395"/>
            <a:ext cx="2218307"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Email address</a:t>
            </a:r>
          </a:p>
        </p:txBody>
      </p:sp>
      <p:sp>
        <p:nvSpPr>
          <p:cNvPr id="30" name="Text Placeholder 5"/>
          <p:cNvSpPr>
            <a:spLocks noGrp="1"/>
          </p:cNvSpPr>
          <p:nvPr>
            <p:ph type="body" sz="quarter" idx="24" hasCustomPrompt="1"/>
          </p:nvPr>
        </p:nvSpPr>
        <p:spPr>
          <a:xfrm>
            <a:off x="8701917" y="1808521"/>
            <a:ext cx="2463190" cy="192360"/>
          </a:xfrm>
        </p:spPr>
        <p:txBody>
          <a:bodyPr lIns="0" tIns="0" rIns="0" bIns="0" anchor="ctr" anchorCtr="0"/>
          <a:lstStyle>
            <a:lvl1pPr marL="0" indent="0" algn="l">
              <a:lnSpc>
                <a:spcPct val="100000"/>
              </a:lnSpc>
              <a:buNone/>
              <a:defRPr sz="100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Country</a:t>
            </a:r>
          </a:p>
        </p:txBody>
      </p:sp>
      <p:sp>
        <p:nvSpPr>
          <p:cNvPr id="31" name="Text Placeholder 5"/>
          <p:cNvSpPr>
            <a:spLocks noGrp="1"/>
          </p:cNvSpPr>
          <p:nvPr>
            <p:ph type="body" sz="quarter" idx="25" hasCustomPrompt="1"/>
          </p:nvPr>
        </p:nvSpPr>
        <p:spPr>
          <a:xfrm>
            <a:off x="8701917" y="2020337"/>
            <a:ext cx="2463190" cy="266182"/>
          </a:xfrm>
        </p:spPr>
        <p:txBody>
          <a:bodyPr lIns="0" tIns="0" rIns="0" bIns="0" anchor="b" anchorCtr="0"/>
          <a:lstStyle>
            <a:lvl1pPr marL="0" indent="0" algn="l">
              <a:lnSpc>
                <a:spcPct val="100000"/>
              </a:lnSpc>
              <a:buNone/>
              <a:defRPr sz="1400" b="1" baseline="0">
                <a:solidFill>
                  <a:schemeClr val="tx2"/>
                </a:solidFill>
              </a:defRPr>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Name, Surname</a:t>
            </a:r>
          </a:p>
        </p:txBody>
      </p:sp>
      <p:sp>
        <p:nvSpPr>
          <p:cNvPr id="32" name="Text Placeholder 5"/>
          <p:cNvSpPr>
            <a:spLocks noGrp="1"/>
          </p:cNvSpPr>
          <p:nvPr>
            <p:ph type="body" sz="quarter" idx="26" hasCustomPrompt="1"/>
          </p:nvPr>
        </p:nvSpPr>
        <p:spPr>
          <a:xfrm>
            <a:off x="8701917" y="2316912"/>
            <a:ext cx="2463190"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Job Position</a:t>
            </a:r>
          </a:p>
        </p:txBody>
      </p:sp>
      <p:sp>
        <p:nvSpPr>
          <p:cNvPr id="33" name="Text Placeholder 5"/>
          <p:cNvSpPr>
            <a:spLocks noGrp="1"/>
          </p:cNvSpPr>
          <p:nvPr>
            <p:ph type="body" sz="quarter" idx="27" hasCustomPrompt="1"/>
          </p:nvPr>
        </p:nvSpPr>
        <p:spPr>
          <a:xfrm>
            <a:off x="8946800" y="2845588"/>
            <a:ext cx="2218307"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Phone number</a:t>
            </a:r>
          </a:p>
        </p:txBody>
      </p:sp>
      <p:sp>
        <p:nvSpPr>
          <p:cNvPr id="34" name="Text Placeholder 5"/>
          <p:cNvSpPr>
            <a:spLocks noGrp="1"/>
          </p:cNvSpPr>
          <p:nvPr>
            <p:ph type="body" sz="quarter" idx="28" hasCustomPrompt="1"/>
          </p:nvPr>
        </p:nvSpPr>
        <p:spPr>
          <a:xfrm>
            <a:off x="8946800" y="3128395"/>
            <a:ext cx="2218307"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Email address</a:t>
            </a:r>
          </a:p>
        </p:txBody>
      </p:sp>
      <p:grpSp>
        <p:nvGrpSpPr>
          <p:cNvPr id="35" name="Gruppieren 2">
            <a:extLst>
              <a:ext uri="{FF2B5EF4-FFF2-40B4-BE49-F238E27FC236}">
                <a16:creationId xmlns:a16="http://schemas.microsoft.com/office/drawing/2014/main" id="{BE697CE9-EBDE-6B4A-BE70-582D92A8A831}"/>
              </a:ext>
            </a:extLst>
          </p:cNvPr>
          <p:cNvGrpSpPr/>
          <p:nvPr/>
        </p:nvGrpSpPr>
        <p:grpSpPr>
          <a:xfrm>
            <a:off x="3770065" y="5045939"/>
            <a:ext cx="171180" cy="171180"/>
            <a:chOff x="3392092" y="1841122"/>
            <a:chExt cx="646508" cy="646508"/>
          </a:xfrm>
        </p:grpSpPr>
        <p:sp>
          <p:nvSpPr>
            <p:cNvPr id="36" name="Rechteck 14">
              <a:extLst>
                <a:ext uri="{FF2B5EF4-FFF2-40B4-BE49-F238E27FC236}">
                  <a16:creationId xmlns:a16="http://schemas.microsoft.com/office/drawing/2014/main" id="{E142A731-19B7-C34D-9534-9E05108F895F}"/>
                </a:ext>
              </a:extLst>
            </p:cNvPr>
            <p:cNvSpPr>
              <a:spLocks noChangeAspect="1"/>
            </p:cNvSpPr>
            <p:nvPr/>
          </p:nvSpPr>
          <p:spPr bwMode="gray">
            <a:xfrm>
              <a:off x="3392092" y="1841122"/>
              <a:ext cx="646508" cy="646508"/>
            </a:xfrm>
            <a:prstGeom prst="rect">
              <a:avLst/>
            </a:prstGeom>
            <a:solidFill>
              <a:srgbClr val="E55A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pPr>
              <a:endParaRPr lang="en-US" sz="1000">
                <a:solidFill>
                  <a:schemeClr val="tx1"/>
                </a:solidFill>
                <a:latin typeface="Arial" pitchFamily="34" charset="0"/>
                <a:cs typeface="Arial" pitchFamily="34" charset="0"/>
              </a:endParaRPr>
            </a:p>
          </p:txBody>
        </p:sp>
        <p:sp>
          <p:nvSpPr>
            <p:cNvPr id="37" name="Freeform 36">
              <a:extLst>
                <a:ext uri="{FF2B5EF4-FFF2-40B4-BE49-F238E27FC236}">
                  <a16:creationId xmlns:a16="http://schemas.microsoft.com/office/drawing/2014/main" id="{F97E84AE-4AD9-4B44-9AA1-F797FC373809}"/>
                </a:ext>
              </a:extLst>
            </p:cNvPr>
            <p:cNvSpPr>
              <a:spLocks noChangeAspect="1"/>
            </p:cNvSpPr>
            <p:nvPr/>
          </p:nvSpPr>
          <p:spPr bwMode="auto">
            <a:xfrm>
              <a:off x="3546638" y="1970424"/>
              <a:ext cx="337415" cy="387905"/>
            </a:xfrm>
            <a:custGeom>
              <a:avLst/>
              <a:gdLst>
                <a:gd name="T0" fmla="*/ 573 w 1624"/>
                <a:gd name="T1" fmla="*/ 1257 h 1867"/>
                <a:gd name="T2" fmla="*/ 662 w 1624"/>
                <a:gd name="T3" fmla="*/ 1288 h 1867"/>
                <a:gd name="T4" fmla="*/ 938 w 1624"/>
                <a:gd name="T5" fmla="*/ 1051 h 1867"/>
                <a:gd name="T6" fmla="*/ 1106 w 1624"/>
                <a:gd name="T7" fmla="*/ 731 h 1867"/>
                <a:gd name="T8" fmla="*/ 1059 w 1624"/>
                <a:gd name="T9" fmla="*/ 645 h 1867"/>
                <a:gd name="T10" fmla="*/ 1001 w 1624"/>
                <a:gd name="T11" fmla="*/ 613 h 1867"/>
                <a:gd name="T12" fmla="*/ 924 w 1624"/>
                <a:gd name="T13" fmla="*/ 432 h 1867"/>
                <a:gd name="T14" fmla="*/ 1114 w 1624"/>
                <a:gd name="T15" fmla="*/ 81 h 1867"/>
                <a:gd name="T16" fmla="*/ 1287 w 1624"/>
                <a:gd name="T17" fmla="*/ 35 h 1867"/>
                <a:gd name="T18" fmla="*/ 1350 w 1624"/>
                <a:gd name="T19" fmla="*/ 69 h 1867"/>
                <a:gd name="T20" fmla="*/ 1527 w 1624"/>
                <a:gd name="T21" fmla="*/ 235 h 1867"/>
                <a:gd name="T22" fmla="*/ 1583 w 1624"/>
                <a:gd name="T23" fmla="*/ 555 h 1867"/>
                <a:gd name="T24" fmla="*/ 1172 w 1624"/>
                <a:gd name="T25" fmla="*/ 1253 h 1867"/>
                <a:gd name="T26" fmla="*/ 586 w 1624"/>
                <a:gd name="T27" fmla="*/ 1803 h 1867"/>
                <a:gd name="T28" fmla="*/ 269 w 1624"/>
                <a:gd name="T29" fmla="*/ 1807 h 1867"/>
                <a:gd name="T30" fmla="*/ 33 w 1624"/>
                <a:gd name="T31" fmla="*/ 1602 h 1867"/>
                <a:gd name="T32" fmla="*/ 2 w 1624"/>
                <a:gd name="T33" fmla="*/ 1508 h 1867"/>
                <a:gd name="T34" fmla="*/ 45 w 1624"/>
                <a:gd name="T35" fmla="*/ 1421 h 1867"/>
                <a:gd name="T36" fmla="*/ 346 w 1624"/>
                <a:gd name="T37" fmla="*/ 1158 h 1867"/>
                <a:gd name="T38" fmla="*/ 448 w 1624"/>
                <a:gd name="T39" fmla="*/ 1145 h 1867"/>
                <a:gd name="T40" fmla="*/ 573 w 1624"/>
                <a:gd name="T41" fmla="*/ 1257 h 18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24" h="1867">
                  <a:moveTo>
                    <a:pt x="573" y="1257"/>
                  </a:moveTo>
                  <a:cubicBezTo>
                    <a:pt x="592" y="1282"/>
                    <a:pt x="630" y="1303"/>
                    <a:pt x="662" y="1288"/>
                  </a:cubicBezTo>
                  <a:cubicBezTo>
                    <a:pt x="753" y="1245"/>
                    <a:pt x="854" y="1156"/>
                    <a:pt x="938" y="1051"/>
                  </a:cubicBezTo>
                  <a:cubicBezTo>
                    <a:pt x="1020" y="948"/>
                    <a:pt x="1084" y="831"/>
                    <a:pt x="1106" y="731"/>
                  </a:cubicBezTo>
                  <a:cubicBezTo>
                    <a:pt x="1113" y="696"/>
                    <a:pt x="1089" y="661"/>
                    <a:pt x="1059" y="645"/>
                  </a:cubicBezTo>
                  <a:cubicBezTo>
                    <a:pt x="1001" y="613"/>
                    <a:pt x="1001" y="613"/>
                    <a:pt x="1001" y="613"/>
                  </a:cubicBezTo>
                  <a:cubicBezTo>
                    <a:pt x="942" y="580"/>
                    <a:pt x="888" y="499"/>
                    <a:pt x="924" y="432"/>
                  </a:cubicBezTo>
                  <a:cubicBezTo>
                    <a:pt x="1114" y="81"/>
                    <a:pt x="1114" y="81"/>
                    <a:pt x="1114" y="81"/>
                  </a:cubicBezTo>
                  <a:cubicBezTo>
                    <a:pt x="1150" y="16"/>
                    <a:pt x="1224" y="0"/>
                    <a:pt x="1287" y="35"/>
                  </a:cubicBezTo>
                  <a:cubicBezTo>
                    <a:pt x="1350" y="69"/>
                    <a:pt x="1350" y="69"/>
                    <a:pt x="1350" y="69"/>
                  </a:cubicBezTo>
                  <a:cubicBezTo>
                    <a:pt x="1415" y="105"/>
                    <a:pt x="1479" y="165"/>
                    <a:pt x="1527" y="235"/>
                  </a:cubicBezTo>
                  <a:cubicBezTo>
                    <a:pt x="1593" y="332"/>
                    <a:pt x="1624" y="442"/>
                    <a:pt x="1583" y="555"/>
                  </a:cubicBezTo>
                  <a:cubicBezTo>
                    <a:pt x="1500" y="781"/>
                    <a:pt x="1351" y="1030"/>
                    <a:pt x="1172" y="1253"/>
                  </a:cubicBezTo>
                  <a:cubicBezTo>
                    <a:pt x="994" y="1477"/>
                    <a:pt x="786" y="1676"/>
                    <a:pt x="586" y="1803"/>
                  </a:cubicBezTo>
                  <a:cubicBezTo>
                    <a:pt x="486" y="1867"/>
                    <a:pt x="375" y="1856"/>
                    <a:pt x="269" y="1807"/>
                  </a:cubicBezTo>
                  <a:cubicBezTo>
                    <a:pt x="157" y="1755"/>
                    <a:pt x="106" y="1695"/>
                    <a:pt x="33" y="1602"/>
                  </a:cubicBezTo>
                  <a:cubicBezTo>
                    <a:pt x="11" y="1573"/>
                    <a:pt x="0" y="1540"/>
                    <a:pt x="2" y="1508"/>
                  </a:cubicBezTo>
                  <a:cubicBezTo>
                    <a:pt x="4" y="1475"/>
                    <a:pt x="18" y="1444"/>
                    <a:pt x="45" y="1421"/>
                  </a:cubicBezTo>
                  <a:cubicBezTo>
                    <a:pt x="70" y="1399"/>
                    <a:pt x="346" y="1158"/>
                    <a:pt x="346" y="1158"/>
                  </a:cubicBezTo>
                  <a:cubicBezTo>
                    <a:pt x="376" y="1134"/>
                    <a:pt x="413" y="1133"/>
                    <a:pt x="448" y="1145"/>
                  </a:cubicBezTo>
                  <a:cubicBezTo>
                    <a:pt x="510" y="1166"/>
                    <a:pt x="536" y="1210"/>
                    <a:pt x="573" y="1257"/>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351"/>
            </a:p>
          </p:txBody>
        </p:sp>
      </p:grpSp>
      <p:grpSp>
        <p:nvGrpSpPr>
          <p:cNvPr id="38" name="Group 3">
            <a:extLst>
              <a:ext uri="{FF2B5EF4-FFF2-40B4-BE49-F238E27FC236}">
                <a16:creationId xmlns:a16="http://schemas.microsoft.com/office/drawing/2014/main" id="{7104BADD-8CD1-6F4A-B894-869C3BDB3EEB}"/>
              </a:ext>
            </a:extLst>
          </p:cNvPr>
          <p:cNvGrpSpPr>
            <a:grpSpLocks noChangeAspect="1"/>
          </p:cNvGrpSpPr>
          <p:nvPr>
            <p:custDataLst>
              <p:tags r:id="rId3"/>
            </p:custDataLst>
          </p:nvPr>
        </p:nvGrpSpPr>
        <p:grpSpPr>
          <a:xfrm>
            <a:off x="3770066" y="5330827"/>
            <a:ext cx="171180" cy="171180"/>
            <a:chOff x="328396" y="5313940"/>
            <a:chExt cx="720000" cy="720000"/>
          </a:xfrm>
        </p:grpSpPr>
        <p:sp>
          <p:nvSpPr>
            <p:cNvPr id="39" name="Rectangle 4">
              <a:extLst>
                <a:ext uri="{FF2B5EF4-FFF2-40B4-BE49-F238E27FC236}">
                  <a16:creationId xmlns:a16="http://schemas.microsoft.com/office/drawing/2014/main" id="{74BE3D5F-1445-6E40-8B49-72E15568383B}"/>
                </a:ext>
              </a:extLst>
            </p:cNvPr>
            <p:cNvSpPr/>
            <p:nvPr/>
          </p:nvSpPr>
          <p:spPr bwMode="gray">
            <a:xfrm>
              <a:off x="328396" y="5313940"/>
              <a:ext cx="720000" cy="720000"/>
            </a:xfrm>
            <a:prstGeom prst="rect">
              <a:avLst/>
            </a:prstGeom>
            <a:solidFill>
              <a:srgbClr val="E55A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pPr>
              <a:endParaRPr lang="en-US" sz="1000">
                <a:solidFill>
                  <a:schemeClr val="tx1"/>
                </a:solidFill>
                <a:latin typeface="Arial" pitchFamily="34" charset="0"/>
                <a:cs typeface="Arial" pitchFamily="34" charset="0"/>
              </a:endParaRPr>
            </a:p>
          </p:txBody>
        </p:sp>
        <p:sp>
          <p:nvSpPr>
            <p:cNvPr id="40" name="Freeform 76">
              <a:extLst>
                <a:ext uri="{FF2B5EF4-FFF2-40B4-BE49-F238E27FC236}">
                  <a16:creationId xmlns:a16="http://schemas.microsoft.com/office/drawing/2014/main" id="{55DB3C95-7D0C-D141-901E-96D692794D2B}"/>
                </a:ext>
              </a:extLst>
            </p:cNvPr>
            <p:cNvSpPr>
              <a:spLocks noChangeAspect="1" noEditPoints="1"/>
            </p:cNvSpPr>
            <p:nvPr/>
          </p:nvSpPr>
          <p:spPr bwMode="auto">
            <a:xfrm>
              <a:off x="456202" y="5509222"/>
              <a:ext cx="504000" cy="329436"/>
            </a:xfrm>
            <a:custGeom>
              <a:avLst/>
              <a:gdLst>
                <a:gd name="T0" fmla="*/ 0 w 2080"/>
                <a:gd name="T1" fmla="*/ 65 h 1360"/>
                <a:gd name="T2" fmla="*/ 0 w 2080"/>
                <a:gd name="T3" fmla="*/ 0 h 1360"/>
                <a:gd name="T4" fmla="*/ 2080 w 2080"/>
                <a:gd name="T5" fmla="*/ 0 h 1360"/>
                <a:gd name="T6" fmla="*/ 2080 w 2080"/>
                <a:gd name="T7" fmla="*/ 65 h 1360"/>
                <a:gd name="T8" fmla="*/ 1089 w 2080"/>
                <a:gd name="T9" fmla="*/ 862 h 1360"/>
                <a:gd name="T10" fmla="*/ 991 w 2080"/>
                <a:gd name="T11" fmla="*/ 862 h 1360"/>
                <a:gd name="T12" fmla="*/ 0 w 2080"/>
                <a:gd name="T13" fmla="*/ 65 h 1360"/>
                <a:gd name="T14" fmla="*/ 1139 w 2080"/>
                <a:gd name="T15" fmla="*/ 924 h 1360"/>
                <a:gd name="T16" fmla="*/ 1282 w 2080"/>
                <a:gd name="T17" fmla="*/ 810 h 1360"/>
                <a:gd name="T18" fmla="*/ 2076 w 2080"/>
                <a:gd name="T19" fmla="*/ 1360 h 1360"/>
                <a:gd name="T20" fmla="*/ 4 w 2080"/>
                <a:gd name="T21" fmla="*/ 1360 h 1360"/>
                <a:gd name="T22" fmla="*/ 798 w 2080"/>
                <a:gd name="T23" fmla="*/ 810 h 1360"/>
                <a:gd name="T24" fmla="*/ 941 w 2080"/>
                <a:gd name="T25" fmla="*/ 924 h 1360"/>
                <a:gd name="T26" fmla="*/ 1139 w 2080"/>
                <a:gd name="T27" fmla="*/ 924 h 1360"/>
                <a:gd name="T28" fmla="*/ 2 w 2080"/>
                <a:gd name="T29" fmla="*/ 137 h 1360"/>
                <a:gd name="T30" fmla="*/ 42 w 2080"/>
                <a:gd name="T31" fmla="*/ 201 h 1360"/>
                <a:gd name="T32" fmla="*/ 734 w 2080"/>
                <a:gd name="T33" fmla="*/ 758 h 1360"/>
                <a:gd name="T34" fmla="*/ 0 w 2080"/>
                <a:gd name="T35" fmla="*/ 1266 h 1360"/>
                <a:gd name="T36" fmla="*/ 0 w 2080"/>
                <a:gd name="T37" fmla="*/ 135 h 1360"/>
                <a:gd name="T38" fmla="*/ 2 w 2080"/>
                <a:gd name="T39" fmla="*/ 137 h 1360"/>
                <a:gd name="T40" fmla="*/ 2080 w 2080"/>
                <a:gd name="T41" fmla="*/ 136 h 1360"/>
                <a:gd name="T42" fmla="*/ 2080 w 2080"/>
                <a:gd name="T43" fmla="*/ 1265 h 1360"/>
                <a:gd name="T44" fmla="*/ 1346 w 2080"/>
                <a:gd name="T45" fmla="*/ 758 h 1360"/>
                <a:gd name="T46" fmla="*/ 2038 w 2080"/>
                <a:gd name="T47" fmla="*/ 201 h 1360"/>
                <a:gd name="T48" fmla="*/ 2080 w 2080"/>
                <a:gd name="T49" fmla="*/ 136 h 1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080" h="1360">
                  <a:moveTo>
                    <a:pt x="0" y="65"/>
                  </a:moveTo>
                  <a:cubicBezTo>
                    <a:pt x="0" y="0"/>
                    <a:pt x="0" y="0"/>
                    <a:pt x="0" y="0"/>
                  </a:cubicBezTo>
                  <a:cubicBezTo>
                    <a:pt x="2080" y="0"/>
                    <a:pt x="2080" y="0"/>
                    <a:pt x="2080" y="0"/>
                  </a:cubicBezTo>
                  <a:cubicBezTo>
                    <a:pt x="2080" y="65"/>
                    <a:pt x="2080" y="65"/>
                    <a:pt x="2080" y="65"/>
                  </a:cubicBezTo>
                  <a:cubicBezTo>
                    <a:pt x="1089" y="862"/>
                    <a:pt x="1089" y="862"/>
                    <a:pt x="1089" y="862"/>
                  </a:cubicBezTo>
                  <a:cubicBezTo>
                    <a:pt x="1060" y="886"/>
                    <a:pt x="1020" y="886"/>
                    <a:pt x="991" y="862"/>
                  </a:cubicBezTo>
                  <a:lnTo>
                    <a:pt x="0" y="65"/>
                  </a:lnTo>
                  <a:close/>
                  <a:moveTo>
                    <a:pt x="1139" y="924"/>
                  </a:moveTo>
                  <a:cubicBezTo>
                    <a:pt x="1282" y="810"/>
                    <a:pt x="1282" y="810"/>
                    <a:pt x="1282" y="810"/>
                  </a:cubicBezTo>
                  <a:cubicBezTo>
                    <a:pt x="2076" y="1360"/>
                    <a:pt x="2076" y="1360"/>
                    <a:pt x="2076" y="1360"/>
                  </a:cubicBezTo>
                  <a:cubicBezTo>
                    <a:pt x="4" y="1360"/>
                    <a:pt x="4" y="1360"/>
                    <a:pt x="4" y="1360"/>
                  </a:cubicBezTo>
                  <a:cubicBezTo>
                    <a:pt x="798" y="810"/>
                    <a:pt x="798" y="810"/>
                    <a:pt x="798" y="810"/>
                  </a:cubicBezTo>
                  <a:cubicBezTo>
                    <a:pt x="941" y="924"/>
                    <a:pt x="941" y="924"/>
                    <a:pt x="941" y="924"/>
                  </a:cubicBezTo>
                  <a:cubicBezTo>
                    <a:pt x="1000" y="972"/>
                    <a:pt x="1080" y="972"/>
                    <a:pt x="1139" y="924"/>
                  </a:cubicBezTo>
                  <a:close/>
                  <a:moveTo>
                    <a:pt x="2" y="137"/>
                  </a:moveTo>
                  <a:cubicBezTo>
                    <a:pt x="8" y="163"/>
                    <a:pt x="22" y="185"/>
                    <a:pt x="42" y="201"/>
                  </a:cubicBezTo>
                  <a:cubicBezTo>
                    <a:pt x="734" y="758"/>
                    <a:pt x="734" y="758"/>
                    <a:pt x="734" y="758"/>
                  </a:cubicBezTo>
                  <a:cubicBezTo>
                    <a:pt x="0" y="1266"/>
                    <a:pt x="0" y="1266"/>
                    <a:pt x="0" y="1266"/>
                  </a:cubicBezTo>
                  <a:cubicBezTo>
                    <a:pt x="0" y="135"/>
                    <a:pt x="0" y="135"/>
                    <a:pt x="0" y="135"/>
                  </a:cubicBezTo>
                  <a:lnTo>
                    <a:pt x="2" y="137"/>
                  </a:lnTo>
                  <a:close/>
                  <a:moveTo>
                    <a:pt x="2080" y="136"/>
                  </a:moveTo>
                  <a:cubicBezTo>
                    <a:pt x="2080" y="1265"/>
                    <a:pt x="2080" y="1265"/>
                    <a:pt x="2080" y="1265"/>
                  </a:cubicBezTo>
                  <a:cubicBezTo>
                    <a:pt x="1346" y="758"/>
                    <a:pt x="1346" y="758"/>
                    <a:pt x="1346" y="758"/>
                  </a:cubicBezTo>
                  <a:cubicBezTo>
                    <a:pt x="2038" y="201"/>
                    <a:pt x="2038" y="201"/>
                    <a:pt x="2038" y="201"/>
                  </a:cubicBezTo>
                  <a:cubicBezTo>
                    <a:pt x="2060" y="182"/>
                    <a:pt x="2072" y="162"/>
                    <a:pt x="2080" y="13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000"/>
            </a:p>
          </p:txBody>
        </p:sp>
      </p:grpSp>
      <p:cxnSp>
        <p:nvCxnSpPr>
          <p:cNvPr id="41" name="Straight Connector 40"/>
          <p:cNvCxnSpPr/>
          <p:nvPr/>
        </p:nvCxnSpPr>
        <p:spPr>
          <a:xfrm>
            <a:off x="2355914" y="5655833"/>
            <a:ext cx="3888000" cy="0"/>
          </a:xfrm>
          <a:prstGeom prst="line">
            <a:avLst/>
          </a:prstGeom>
          <a:ln w="6350">
            <a:solidFill>
              <a:schemeClr val="tx2"/>
            </a:solidFill>
            <a:prstDash val="dash"/>
          </a:ln>
        </p:spPr>
        <p:style>
          <a:lnRef idx="1">
            <a:schemeClr val="accent1"/>
          </a:lnRef>
          <a:fillRef idx="0">
            <a:schemeClr val="accent1"/>
          </a:fillRef>
          <a:effectRef idx="0">
            <a:schemeClr val="accent1"/>
          </a:effectRef>
          <a:fontRef idx="minor">
            <a:schemeClr val="tx1"/>
          </a:fontRef>
        </p:style>
      </p:cxnSp>
      <p:sp>
        <p:nvSpPr>
          <p:cNvPr id="42" name="Picture Placeholder 3"/>
          <p:cNvSpPr>
            <a:spLocks noGrp="1"/>
          </p:cNvSpPr>
          <p:nvPr>
            <p:ph type="pic" sz="quarter" idx="29" hasCustomPrompt="1"/>
          </p:nvPr>
        </p:nvSpPr>
        <p:spPr>
          <a:xfrm>
            <a:off x="2355914" y="3986604"/>
            <a:ext cx="1188677" cy="1547840"/>
          </a:xfrm>
          <a:solidFill>
            <a:srgbClr val="D9DADB"/>
          </a:solidFill>
        </p:spPr>
        <p:txBody>
          <a:bodyPr/>
          <a:lstStyle>
            <a:lvl1pPr marL="0" indent="0">
              <a:buNone/>
              <a:defRPr sz="1400"/>
            </a:lvl1pPr>
          </a:lstStyle>
          <a:p>
            <a:r>
              <a:rPr lang="en-US"/>
              <a:t>Insert picture</a:t>
            </a:r>
          </a:p>
        </p:txBody>
      </p:sp>
      <p:sp>
        <p:nvSpPr>
          <p:cNvPr id="43" name="Text Placeholder 5"/>
          <p:cNvSpPr>
            <a:spLocks noGrp="1"/>
          </p:cNvSpPr>
          <p:nvPr>
            <p:ph type="body" sz="quarter" idx="30" hasCustomPrompt="1"/>
          </p:nvPr>
        </p:nvSpPr>
        <p:spPr>
          <a:xfrm>
            <a:off x="3770065" y="3986141"/>
            <a:ext cx="2463190" cy="192360"/>
          </a:xfrm>
        </p:spPr>
        <p:txBody>
          <a:bodyPr lIns="0" tIns="0" rIns="0" bIns="0" anchor="ctr" anchorCtr="0"/>
          <a:lstStyle>
            <a:lvl1pPr marL="0" indent="0" algn="l">
              <a:lnSpc>
                <a:spcPct val="100000"/>
              </a:lnSpc>
              <a:buNone/>
              <a:defRPr sz="100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Country</a:t>
            </a:r>
          </a:p>
        </p:txBody>
      </p:sp>
      <p:sp>
        <p:nvSpPr>
          <p:cNvPr id="44" name="Text Placeholder 5"/>
          <p:cNvSpPr>
            <a:spLocks noGrp="1"/>
          </p:cNvSpPr>
          <p:nvPr>
            <p:ph type="body" sz="quarter" idx="31" hasCustomPrompt="1"/>
          </p:nvPr>
        </p:nvSpPr>
        <p:spPr>
          <a:xfrm>
            <a:off x="3770065" y="4197957"/>
            <a:ext cx="2463190" cy="266182"/>
          </a:xfrm>
        </p:spPr>
        <p:txBody>
          <a:bodyPr lIns="0" tIns="0" rIns="0" bIns="0" anchor="b" anchorCtr="0"/>
          <a:lstStyle>
            <a:lvl1pPr marL="0" indent="0" algn="l">
              <a:lnSpc>
                <a:spcPct val="100000"/>
              </a:lnSpc>
              <a:buNone/>
              <a:defRPr sz="1400" b="1" baseline="0">
                <a:solidFill>
                  <a:schemeClr val="tx2"/>
                </a:solidFill>
              </a:defRPr>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Name, Surname</a:t>
            </a:r>
          </a:p>
        </p:txBody>
      </p:sp>
      <p:sp>
        <p:nvSpPr>
          <p:cNvPr id="45" name="Text Placeholder 5"/>
          <p:cNvSpPr>
            <a:spLocks noGrp="1"/>
          </p:cNvSpPr>
          <p:nvPr>
            <p:ph type="body" sz="quarter" idx="32" hasCustomPrompt="1"/>
          </p:nvPr>
        </p:nvSpPr>
        <p:spPr>
          <a:xfrm>
            <a:off x="3770065" y="4494532"/>
            <a:ext cx="2463190"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Job Position</a:t>
            </a:r>
          </a:p>
        </p:txBody>
      </p:sp>
      <p:sp>
        <p:nvSpPr>
          <p:cNvPr id="46" name="Text Placeholder 5"/>
          <p:cNvSpPr>
            <a:spLocks noGrp="1"/>
          </p:cNvSpPr>
          <p:nvPr>
            <p:ph type="body" sz="quarter" idx="33" hasCustomPrompt="1"/>
          </p:nvPr>
        </p:nvSpPr>
        <p:spPr>
          <a:xfrm>
            <a:off x="4014948" y="5023208"/>
            <a:ext cx="2218307"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Phone number</a:t>
            </a:r>
          </a:p>
        </p:txBody>
      </p:sp>
      <p:sp>
        <p:nvSpPr>
          <p:cNvPr id="47" name="Text Placeholder 5"/>
          <p:cNvSpPr>
            <a:spLocks noGrp="1"/>
          </p:cNvSpPr>
          <p:nvPr>
            <p:ph type="body" sz="quarter" idx="34" hasCustomPrompt="1"/>
          </p:nvPr>
        </p:nvSpPr>
        <p:spPr>
          <a:xfrm>
            <a:off x="4014948" y="5306015"/>
            <a:ext cx="2218307"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Email address</a:t>
            </a:r>
          </a:p>
        </p:txBody>
      </p:sp>
      <p:grpSp>
        <p:nvGrpSpPr>
          <p:cNvPr id="48" name="Gruppieren 2">
            <a:extLst>
              <a:ext uri="{FF2B5EF4-FFF2-40B4-BE49-F238E27FC236}">
                <a16:creationId xmlns:a16="http://schemas.microsoft.com/office/drawing/2014/main" id="{BE697CE9-EBDE-6B4A-BE70-582D92A8A831}"/>
              </a:ext>
            </a:extLst>
          </p:cNvPr>
          <p:cNvGrpSpPr/>
          <p:nvPr/>
        </p:nvGrpSpPr>
        <p:grpSpPr>
          <a:xfrm>
            <a:off x="8701917" y="5043528"/>
            <a:ext cx="171180" cy="171180"/>
            <a:chOff x="3392092" y="1841122"/>
            <a:chExt cx="646508" cy="646508"/>
          </a:xfrm>
        </p:grpSpPr>
        <p:sp>
          <p:nvSpPr>
            <p:cNvPr id="49" name="Rechteck 14">
              <a:extLst>
                <a:ext uri="{FF2B5EF4-FFF2-40B4-BE49-F238E27FC236}">
                  <a16:creationId xmlns:a16="http://schemas.microsoft.com/office/drawing/2014/main" id="{E142A731-19B7-C34D-9534-9E05108F895F}"/>
                </a:ext>
              </a:extLst>
            </p:cNvPr>
            <p:cNvSpPr>
              <a:spLocks noChangeAspect="1"/>
            </p:cNvSpPr>
            <p:nvPr/>
          </p:nvSpPr>
          <p:spPr bwMode="gray">
            <a:xfrm>
              <a:off x="3392092" y="1841122"/>
              <a:ext cx="646508" cy="646508"/>
            </a:xfrm>
            <a:prstGeom prst="rect">
              <a:avLst/>
            </a:prstGeom>
            <a:solidFill>
              <a:srgbClr val="E55A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pPr>
              <a:endParaRPr lang="en-US" sz="1000">
                <a:solidFill>
                  <a:schemeClr val="tx1"/>
                </a:solidFill>
                <a:latin typeface="Arial" pitchFamily="34" charset="0"/>
                <a:cs typeface="Arial" pitchFamily="34" charset="0"/>
              </a:endParaRPr>
            </a:p>
          </p:txBody>
        </p:sp>
        <p:sp>
          <p:nvSpPr>
            <p:cNvPr id="50" name="Freeform 49">
              <a:extLst>
                <a:ext uri="{FF2B5EF4-FFF2-40B4-BE49-F238E27FC236}">
                  <a16:creationId xmlns:a16="http://schemas.microsoft.com/office/drawing/2014/main" id="{F97E84AE-4AD9-4B44-9AA1-F797FC373809}"/>
                </a:ext>
              </a:extLst>
            </p:cNvPr>
            <p:cNvSpPr>
              <a:spLocks noChangeAspect="1"/>
            </p:cNvSpPr>
            <p:nvPr/>
          </p:nvSpPr>
          <p:spPr bwMode="auto">
            <a:xfrm>
              <a:off x="3546638" y="1970424"/>
              <a:ext cx="337415" cy="387905"/>
            </a:xfrm>
            <a:custGeom>
              <a:avLst/>
              <a:gdLst>
                <a:gd name="T0" fmla="*/ 573 w 1624"/>
                <a:gd name="T1" fmla="*/ 1257 h 1867"/>
                <a:gd name="T2" fmla="*/ 662 w 1624"/>
                <a:gd name="T3" fmla="*/ 1288 h 1867"/>
                <a:gd name="T4" fmla="*/ 938 w 1624"/>
                <a:gd name="T5" fmla="*/ 1051 h 1867"/>
                <a:gd name="T6" fmla="*/ 1106 w 1624"/>
                <a:gd name="T7" fmla="*/ 731 h 1867"/>
                <a:gd name="T8" fmla="*/ 1059 w 1624"/>
                <a:gd name="T9" fmla="*/ 645 h 1867"/>
                <a:gd name="T10" fmla="*/ 1001 w 1624"/>
                <a:gd name="T11" fmla="*/ 613 h 1867"/>
                <a:gd name="T12" fmla="*/ 924 w 1624"/>
                <a:gd name="T13" fmla="*/ 432 h 1867"/>
                <a:gd name="T14" fmla="*/ 1114 w 1624"/>
                <a:gd name="T15" fmla="*/ 81 h 1867"/>
                <a:gd name="T16" fmla="*/ 1287 w 1624"/>
                <a:gd name="T17" fmla="*/ 35 h 1867"/>
                <a:gd name="T18" fmla="*/ 1350 w 1624"/>
                <a:gd name="T19" fmla="*/ 69 h 1867"/>
                <a:gd name="T20" fmla="*/ 1527 w 1624"/>
                <a:gd name="T21" fmla="*/ 235 h 1867"/>
                <a:gd name="T22" fmla="*/ 1583 w 1624"/>
                <a:gd name="T23" fmla="*/ 555 h 1867"/>
                <a:gd name="T24" fmla="*/ 1172 w 1624"/>
                <a:gd name="T25" fmla="*/ 1253 h 1867"/>
                <a:gd name="T26" fmla="*/ 586 w 1624"/>
                <a:gd name="T27" fmla="*/ 1803 h 1867"/>
                <a:gd name="T28" fmla="*/ 269 w 1624"/>
                <a:gd name="T29" fmla="*/ 1807 h 1867"/>
                <a:gd name="T30" fmla="*/ 33 w 1624"/>
                <a:gd name="T31" fmla="*/ 1602 h 1867"/>
                <a:gd name="T32" fmla="*/ 2 w 1624"/>
                <a:gd name="T33" fmla="*/ 1508 h 1867"/>
                <a:gd name="T34" fmla="*/ 45 w 1624"/>
                <a:gd name="T35" fmla="*/ 1421 h 1867"/>
                <a:gd name="T36" fmla="*/ 346 w 1624"/>
                <a:gd name="T37" fmla="*/ 1158 h 1867"/>
                <a:gd name="T38" fmla="*/ 448 w 1624"/>
                <a:gd name="T39" fmla="*/ 1145 h 1867"/>
                <a:gd name="T40" fmla="*/ 573 w 1624"/>
                <a:gd name="T41" fmla="*/ 1257 h 18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24" h="1867">
                  <a:moveTo>
                    <a:pt x="573" y="1257"/>
                  </a:moveTo>
                  <a:cubicBezTo>
                    <a:pt x="592" y="1282"/>
                    <a:pt x="630" y="1303"/>
                    <a:pt x="662" y="1288"/>
                  </a:cubicBezTo>
                  <a:cubicBezTo>
                    <a:pt x="753" y="1245"/>
                    <a:pt x="854" y="1156"/>
                    <a:pt x="938" y="1051"/>
                  </a:cubicBezTo>
                  <a:cubicBezTo>
                    <a:pt x="1020" y="948"/>
                    <a:pt x="1084" y="831"/>
                    <a:pt x="1106" y="731"/>
                  </a:cubicBezTo>
                  <a:cubicBezTo>
                    <a:pt x="1113" y="696"/>
                    <a:pt x="1089" y="661"/>
                    <a:pt x="1059" y="645"/>
                  </a:cubicBezTo>
                  <a:cubicBezTo>
                    <a:pt x="1001" y="613"/>
                    <a:pt x="1001" y="613"/>
                    <a:pt x="1001" y="613"/>
                  </a:cubicBezTo>
                  <a:cubicBezTo>
                    <a:pt x="942" y="580"/>
                    <a:pt x="888" y="499"/>
                    <a:pt x="924" y="432"/>
                  </a:cubicBezTo>
                  <a:cubicBezTo>
                    <a:pt x="1114" y="81"/>
                    <a:pt x="1114" y="81"/>
                    <a:pt x="1114" y="81"/>
                  </a:cubicBezTo>
                  <a:cubicBezTo>
                    <a:pt x="1150" y="16"/>
                    <a:pt x="1224" y="0"/>
                    <a:pt x="1287" y="35"/>
                  </a:cubicBezTo>
                  <a:cubicBezTo>
                    <a:pt x="1350" y="69"/>
                    <a:pt x="1350" y="69"/>
                    <a:pt x="1350" y="69"/>
                  </a:cubicBezTo>
                  <a:cubicBezTo>
                    <a:pt x="1415" y="105"/>
                    <a:pt x="1479" y="165"/>
                    <a:pt x="1527" y="235"/>
                  </a:cubicBezTo>
                  <a:cubicBezTo>
                    <a:pt x="1593" y="332"/>
                    <a:pt x="1624" y="442"/>
                    <a:pt x="1583" y="555"/>
                  </a:cubicBezTo>
                  <a:cubicBezTo>
                    <a:pt x="1500" y="781"/>
                    <a:pt x="1351" y="1030"/>
                    <a:pt x="1172" y="1253"/>
                  </a:cubicBezTo>
                  <a:cubicBezTo>
                    <a:pt x="994" y="1477"/>
                    <a:pt x="786" y="1676"/>
                    <a:pt x="586" y="1803"/>
                  </a:cubicBezTo>
                  <a:cubicBezTo>
                    <a:pt x="486" y="1867"/>
                    <a:pt x="375" y="1856"/>
                    <a:pt x="269" y="1807"/>
                  </a:cubicBezTo>
                  <a:cubicBezTo>
                    <a:pt x="157" y="1755"/>
                    <a:pt x="106" y="1695"/>
                    <a:pt x="33" y="1602"/>
                  </a:cubicBezTo>
                  <a:cubicBezTo>
                    <a:pt x="11" y="1573"/>
                    <a:pt x="0" y="1540"/>
                    <a:pt x="2" y="1508"/>
                  </a:cubicBezTo>
                  <a:cubicBezTo>
                    <a:pt x="4" y="1475"/>
                    <a:pt x="18" y="1444"/>
                    <a:pt x="45" y="1421"/>
                  </a:cubicBezTo>
                  <a:cubicBezTo>
                    <a:pt x="70" y="1399"/>
                    <a:pt x="346" y="1158"/>
                    <a:pt x="346" y="1158"/>
                  </a:cubicBezTo>
                  <a:cubicBezTo>
                    <a:pt x="376" y="1134"/>
                    <a:pt x="413" y="1133"/>
                    <a:pt x="448" y="1145"/>
                  </a:cubicBezTo>
                  <a:cubicBezTo>
                    <a:pt x="510" y="1166"/>
                    <a:pt x="536" y="1210"/>
                    <a:pt x="573" y="1257"/>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351"/>
            </a:p>
          </p:txBody>
        </p:sp>
      </p:grpSp>
      <p:grpSp>
        <p:nvGrpSpPr>
          <p:cNvPr id="51" name="Group 3">
            <a:extLst>
              <a:ext uri="{FF2B5EF4-FFF2-40B4-BE49-F238E27FC236}">
                <a16:creationId xmlns:a16="http://schemas.microsoft.com/office/drawing/2014/main" id="{7104BADD-8CD1-6F4A-B894-869C3BDB3EEB}"/>
              </a:ext>
            </a:extLst>
          </p:cNvPr>
          <p:cNvGrpSpPr>
            <a:grpSpLocks noChangeAspect="1"/>
          </p:cNvGrpSpPr>
          <p:nvPr>
            <p:custDataLst>
              <p:tags r:id="rId4"/>
            </p:custDataLst>
          </p:nvPr>
        </p:nvGrpSpPr>
        <p:grpSpPr>
          <a:xfrm>
            <a:off x="8701918" y="5328416"/>
            <a:ext cx="171180" cy="171180"/>
            <a:chOff x="328396" y="5313940"/>
            <a:chExt cx="720000" cy="720000"/>
          </a:xfrm>
        </p:grpSpPr>
        <p:sp>
          <p:nvSpPr>
            <p:cNvPr id="52" name="Rectangle 4">
              <a:extLst>
                <a:ext uri="{FF2B5EF4-FFF2-40B4-BE49-F238E27FC236}">
                  <a16:creationId xmlns:a16="http://schemas.microsoft.com/office/drawing/2014/main" id="{74BE3D5F-1445-6E40-8B49-72E15568383B}"/>
                </a:ext>
              </a:extLst>
            </p:cNvPr>
            <p:cNvSpPr/>
            <p:nvPr/>
          </p:nvSpPr>
          <p:spPr bwMode="gray">
            <a:xfrm>
              <a:off x="328396" y="5313940"/>
              <a:ext cx="720000" cy="720000"/>
            </a:xfrm>
            <a:prstGeom prst="rect">
              <a:avLst/>
            </a:prstGeom>
            <a:solidFill>
              <a:srgbClr val="E55A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pPr>
              <a:endParaRPr lang="en-US" sz="1000">
                <a:solidFill>
                  <a:schemeClr val="tx1"/>
                </a:solidFill>
                <a:latin typeface="Arial" pitchFamily="34" charset="0"/>
                <a:cs typeface="Arial" pitchFamily="34" charset="0"/>
              </a:endParaRPr>
            </a:p>
          </p:txBody>
        </p:sp>
        <p:sp>
          <p:nvSpPr>
            <p:cNvPr id="53" name="Freeform 76">
              <a:extLst>
                <a:ext uri="{FF2B5EF4-FFF2-40B4-BE49-F238E27FC236}">
                  <a16:creationId xmlns:a16="http://schemas.microsoft.com/office/drawing/2014/main" id="{55DB3C95-7D0C-D141-901E-96D692794D2B}"/>
                </a:ext>
              </a:extLst>
            </p:cNvPr>
            <p:cNvSpPr>
              <a:spLocks noChangeAspect="1" noEditPoints="1"/>
            </p:cNvSpPr>
            <p:nvPr/>
          </p:nvSpPr>
          <p:spPr bwMode="auto">
            <a:xfrm>
              <a:off x="456202" y="5509222"/>
              <a:ext cx="504000" cy="329436"/>
            </a:xfrm>
            <a:custGeom>
              <a:avLst/>
              <a:gdLst>
                <a:gd name="T0" fmla="*/ 0 w 2080"/>
                <a:gd name="T1" fmla="*/ 65 h 1360"/>
                <a:gd name="T2" fmla="*/ 0 w 2080"/>
                <a:gd name="T3" fmla="*/ 0 h 1360"/>
                <a:gd name="T4" fmla="*/ 2080 w 2080"/>
                <a:gd name="T5" fmla="*/ 0 h 1360"/>
                <a:gd name="T6" fmla="*/ 2080 w 2080"/>
                <a:gd name="T7" fmla="*/ 65 h 1360"/>
                <a:gd name="T8" fmla="*/ 1089 w 2080"/>
                <a:gd name="T9" fmla="*/ 862 h 1360"/>
                <a:gd name="T10" fmla="*/ 991 w 2080"/>
                <a:gd name="T11" fmla="*/ 862 h 1360"/>
                <a:gd name="T12" fmla="*/ 0 w 2080"/>
                <a:gd name="T13" fmla="*/ 65 h 1360"/>
                <a:gd name="T14" fmla="*/ 1139 w 2080"/>
                <a:gd name="T15" fmla="*/ 924 h 1360"/>
                <a:gd name="T16" fmla="*/ 1282 w 2080"/>
                <a:gd name="T17" fmla="*/ 810 h 1360"/>
                <a:gd name="T18" fmla="*/ 2076 w 2080"/>
                <a:gd name="T19" fmla="*/ 1360 h 1360"/>
                <a:gd name="T20" fmla="*/ 4 w 2080"/>
                <a:gd name="T21" fmla="*/ 1360 h 1360"/>
                <a:gd name="T22" fmla="*/ 798 w 2080"/>
                <a:gd name="T23" fmla="*/ 810 h 1360"/>
                <a:gd name="T24" fmla="*/ 941 w 2080"/>
                <a:gd name="T25" fmla="*/ 924 h 1360"/>
                <a:gd name="T26" fmla="*/ 1139 w 2080"/>
                <a:gd name="T27" fmla="*/ 924 h 1360"/>
                <a:gd name="T28" fmla="*/ 2 w 2080"/>
                <a:gd name="T29" fmla="*/ 137 h 1360"/>
                <a:gd name="T30" fmla="*/ 42 w 2080"/>
                <a:gd name="T31" fmla="*/ 201 h 1360"/>
                <a:gd name="T32" fmla="*/ 734 w 2080"/>
                <a:gd name="T33" fmla="*/ 758 h 1360"/>
                <a:gd name="T34" fmla="*/ 0 w 2080"/>
                <a:gd name="T35" fmla="*/ 1266 h 1360"/>
                <a:gd name="T36" fmla="*/ 0 w 2080"/>
                <a:gd name="T37" fmla="*/ 135 h 1360"/>
                <a:gd name="T38" fmla="*/ 2 w 2080"/>
                <a:gd name="T39" fmla="*/ 137 h 1360"/>
                <a:gd name="T40" fmla="*/ 2080 w 2080"/>
                <a:gd name="T41" fmla="*/ 136 h 1360"/>
                <a:gd name="T42" fmla="*/ 2080 w 2080"/>
                <a:gd name="T43" fmla="*/ 1265 h 1360"/>
                <a:gd name="T44" fmla="*/ 1346 w 2080"/>
                <a:gd name="T45" fmla="*/ 758 h 1360"/>
                <a:gd name="T46" fmla="*/ 2038 w 2080"/>
                <a:gd name="T47" fmla="*/ 201 h 1360"/>
                <a:gd name="T48" fmla="*/ 2080 w 2080"/>
                <a:gd name="T49" fmla="*/ 136 h 1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080" h="1360">
                  <a:moveTo>
                    <a:pt x="0" y="65"/>
                  </a:moveTo>
                  <a:cubicBezTo>
                    <a:pt x="0" y="0"/>
                    <a:pt x="0" y="0"/>
                    <a:pt x="0" y="0"/>
                  </a:cubicBezTo>
                  <a:cubicBezTo>
                    <a:pt x="2080" y="0"/>
                    <a:pt x="2080" y="0"/>
                    <a:pt x="2080" y="0"/>
                  </a:cubicBezTo>
                  <a:cubicBezTo>
                    <a:pt x="2080" y="65"/>
                    <a:pt x="2080" y="65"/>
                    <a:pt x="2080" y="65"/>
                  </a:cubicBezTo>
                  <a:cubicBezTo>
                    <a:pt x="1089" y="862"/>
                    <a:pt x="1089" y="862"/>
                    <a:pt x="1089" y="862"/>
                  </a:cubicBezTo>
                  <a:cubicBezTo>
                    <a:pt x="1060" y="886"/>
                    <a:pt x="1020" y="886"/>
                    <a:pt x="991" y="862"/>
                  </a:cubicBezTo>
                  <a:lnTo>
                    <a:pt x="0" y="65"/>
                  </a:lnTo>
                  <a:close/>
                  <a:moveTo>
                    <a:pt x="1139" y="924"/>
                  </a:moveTo>
                  <a:cubicBezTo>
                    <a:pt x="1282" y="810"/>
                    <a:pt x="1282" y="810"/>
                    <a:pt x="1282" y="810"/>
                  </a:cubicBezTo>
                  <a:cubicBezTo>
                    <a:pt x="2076" y="1360"/>
                    <a:pt x="2076" y="1360"/>
                    <a:pt x="2076" y="1360"/>
                  </a:cubicBezTo>
                  <a:cubicBezTo>
                    <a:pt x="4" y="1360"/>
                    <a:pt x="4" y="1360"/>
                    <a:pt x="4" y="1360"/>
                  </a:cubicBezTo>
                  <a:cubicBezTo>
                    <a:pt x="798" y="810"/>
                    <a:pt x="798" y="810"/>
                    <a:pt x="798" y="810"/>
                  </a:cubicBezTo>
                  <a:cubicBezTo>
                    <a:pt x="941" y="924"/>
                    <a:pt x="941" y="924"/>
                    <a:pt x="941" y="924"/>
                  </a:cubicBezTo>
                  <a:cubicBezTo>
                    <a:pt x="1000" y="972"/>
                    <a:pt x="1080" y="972"/>
                    <a:pt x="1139" y="924"/>
                  </a:cubicBezTo>
                  <a:close/>
                  <a:moveTo>
                    <a:pt x="2" y="137"/>
                  </a:moveTo>
                  <a:cubicBezTo>
                    <a:pt x="8" y="163"/>
                    <a:pt x="22" y="185"/>
                    <a:pt x="42" y="201"/>
                  </a:cubicBezTo>
                  <a:cubicBezTo>
                    <a:pt x="734" y="758"/>
                    <a:pt x="734" y="758"/>
                    <a:pt x="734" y="758"/>
                  </a:cubicBezTo>
                  <a:cubicBezTo>
                    <a:pt x="0" y="1266"/>
                    <a:pt x="0" y="1266"/>
                    <a:pt x="0" y="1266"/>
                  </a:cubicBezTo>
                  <a:cubicBezTo>
                    <a:pt x="0" y="135"/>
                    <a:pt x="0" y="135"/>
                    <a:pt x="0" y="135"/>
                  </a:cubicBezTo>
                  <a:lnTo>
                    <a:pt x="2" y="137"/>
                  </a:lnTo>
                  <a:close/>
                  <a:moveTo>
                    <a:pt x="2080" y="136"/>
                  </a:moveTo>
                  <a:cubicBezTo>
                    <a:pt x="2080" y="1265"/>
                    <a:pt x="2080" y="1265"/>
                    <a:pt x="2080" y="1265"/>
                  </a:cubicBezTo>
                  <a:cubicBezTo>
                    <a:pt x="1346" y="758"/>
                    <a:pt x="1346" y="758"/>
                    <a:pt x="1346" y="758"/>
                  </a:cubicBezTo>
                  <a:cubicBezTo>
                    <a:pt x="2038" y="201"/>
                    <a:pt x="2038" y="201"/>
                    <a:pt x="2038" y="201"/>
                  </a:cubicBezTo>
                  <a:cubicBezTo>
                    <a:pt x="2060" y="182"/>
                    <a:pt x="2072" y="162"/>
                    <a:pt x="2080" y="13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000"/>
            </a:p>
          </p:txBody>
        </p:sp>
      </p:grpSp>
      <p:cxnSp>
        <p:nvCxnSpPr>
          <p:cNvPr id="54" name="Straight Connector 53"/>
          <p:cNvCxnSpPr/>
          <p:nvPr/>
        </p:nvCxnSpPr>
        <p:spPr>
          <a:xfrm>
            <a:off x="7287766" y="5653422"/>
            <a:ext cx="3888000" cy="0"/>
          </a:xfrm>
          <a:prstGeom prst="line">
            <a:avLst/>
          </a:prstGeom>
          <a:ln w="6350">
            <a:solidFill>
              <a:schemeClr val="tx2"/>
            </a:solidFill>
            <a:prstDash val="dash"/>
          </a:ln>
        </p:spPr>
        <p:style>
          <a:lnRef idx="1">
            <a:schemeClr val="accent1"/>
          </a:lnRef>
          <a:fillRef idx="0">
            <a:schemeClr val="accent1"/>
          </a:fillRef>
          <a:effectRef idx="0">
            <a:schemeClr val="accent1"/>
          </a:effectRef>
          <a:fontRef idx="minor">
            <a:schemeClr val="tx1"/>
          </a:fontRef>
        </p:style>
      </p:cxnSp>
      <p:sp>
        <p:nvSpPr>
          <p:cNvPr id="55" name="Picture Placeholder 3"/>
          <p:cNvSpPr>
            <a:spLocks noGrp="1"/>
          </p:cNvSpPr>
          <p:nvPr>
            <p:ph type="pic" sz="quarter" idx="35" hasCustomPrompt="1"/>
          </p:nvPr>
        </p:nvSpPr>
        <p:spPr>
          <a:xfrm>
            <a:off x="7287766" y="3984193"/>
            <a:ext cx="1188677" cy="1547840"/>
          </a:xfrm>
          <a:solidFill>
            <a:srgbClr val="D9DADB"/>
          </a:solidFill>
        </p:spPr>
        <p:txBody>
          <a:bodyPr/>
          <a:lstStyle>
            <a:lvl1pPr marL="0" indent="0">
              <a:buNone/>
              <a:defRPr sz="1400"/>
            </a:lvl1pPr>
          </a:lstStyle>
          <a:p>
            <a:r>
              <a:rPr lang="en-US"/>
              <a:t>Insert picture</a:t>
            </a:r>
          </a:p>
        </p:txBody>
      </p:sp>
      <p:sp>
        <p:nvSpPr>
          <p:cNvPr id="56" name="Text Placeholder 5"/>
          <p:cNvSpPr>
            <a:spLocks noGrp="1"/>
          </p:cNvSpPr>
          <p:nvPr>
            <p:ph type="body" sz="quarter" idx="36" hasCustomPrompt="1"/>
          </p:nvPr>
        </p:nvSpPr>
        <p:spPr>
          <a:xfrm>
            <a:off x="8701917" y="3983730"/>
            <a:ext cx="2463190" cy="192360"/>
          </a:xfrm>
        </p:spPr>
        <p:txBody>
          <a:bodyPr lIns="0" tIns="0" rIns="0" bIns="0" anchor="ctr" anchorCtr="0"/>
          <a:lstStyle>
            <a:lvl1pPr marL="0" indent="0" algn="l">
              <a:lnSpc>
                <a:spcPct val="100000"/>
              </a:lnSpc>
              <a:buNone/>
              <a:defRPr sz="100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Country</a:t>
            </a:r>
          </a:p>
        </p:txBody>
      </p:sp>
      <p:sp>
        <p:nvSpPr>
          <p:cNvPr id="57" name="Text Placeholder 5"/>
          <p:cNvSpPr>
            <a:spLocks noGrp="1"/>
          </p:cNvSpPr>
          <p:nvPr>
            <p:ph type="body" sz="quarter" idx="37" hasCustomPrompt="1"/>
          </p:nvPr>
        </p:nvSpPr>
        <p:spPr>
          <a:xfrm>
            <a:off x="8701917" y="4195546"/>
            <a:ext cx="2463190" cy="266182"/>
          </a:xfrm>
        </p:spPr>
        <p:txBody>
          <a:bodyPr lIns="0" tIns="0" rIns="0" bIns="0" anchor="b" anchorCtr="0"/>
          <a:lstStyle>
            <a:lvl1pPr marL="0" indent="0" algn="l">
              <a:lnSpc>
                <a:spcPct val="100000"/>
              </a:lnSpc>
              <a:buNone/>
              <a:defRPr sz="1400" b="1" baseline="0">
                <a:solidFill>
                  <a:schemeClr val="tx2"/>
                </a:solidFill>
              </a:defRPr>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Name, Surname</a:t>
            </a:r>
          </a:p>
        </p:txBody>
      </p:sp>
      <p:sp>
        <p:nvSpPr>
          <p:cNvPr id="58" name="Text Placeholder 5"/>
          <p:cNvSpPr>
            <a:spLocks noGrp="1"/>
          </p:cNvSpPr>
          <p:nvPr>
            <p:ph type="body" sz="quarter" idx="38" hasCustomPrompt="1"/>
          </p:nvPr>
        </p:nvSpPr>
        <p:spPr>
          <a:xfrm>
            <a:off x="8701917" y="4492121"/>
            <a:ext cx="2463190"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Job Position</a:t>
            </a:r>
          </a:p>
        </p:txBody>
      </p:sp>
      <p:sp>
        <p:nvSpPr>
          <p:cNvPr id="59" name="Text Placeholder 5"/>
          <p:cNvSpPr>
            <a:spLocks noGrp="1"/>
          </p:cNvSpPr>
          <p:nvPr>
            <p:ph type="body" sz="quarter" idx="39" hasCustomPrompt="1"/>
          </p:nvPr>
        </p:nvSpPr>
        <p:spPr>
          <a:xfrm>
            <a:off x="8946800" y="5020797"/>
            <a:ext cx="2218307"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Phone number</a:t>
            </a:r>
          </a:p>
        </p:txBody>
      </p:sp>
      <p:sp>
        <p:nvSpPr>
          <p:cNvPr id="60" name="Text Placeholder 5"/>
          <p:cNvSpPr>
            <a:spLocks noGrp="1"/>
          </p:cNvSpPr>
          <p:nvPr>
            <p:ph type="body" sz="quarter" idx="40" hasCustomPrompt="1"/>
          </p:nvPr>
        </p:nvSpPr>
        <p:spPr>
          <a:xfrm>
            <a:off x="8946800" y="5303604"/>
            <a:ext cx="2218307"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Email address</a:t>
            </a:r>
          </a:p>
        </p:txBody>
      </p:sp>
    </p:spTree>
    <p:extLst>
      <p:ext uri="{BB962C8B-B14F-4D97-AF65-F5344CB8AC3E}">
        <p14:creationId xmlns:p14="http://schemas.microsoft.com/office/powerpoint/2010/main" val="4237799832"/>
      </p:ext>
    </p:extLst>
  </p:cSld>
  <p:clrMapOvr>
    <a:masterClrMapping/>
  </p:clrMapOvr>
</p:sldLayout>
</file>

<file path=ppt/slideLayouts/slideLayout495.xml><?xml version="1.0" encoding="utf-8"?>
<p:sldLayout xmlns:a="http://schemas.openxmlformats.org/drawingml/2006/main" xmlns:r="http://schemas.openxmlformats.org/officeDocument/2006/relationships" xmlns:p="http://schemas.openxmlformats.org/presentationml/2006/main" preserve="1">
  <p:cSld name="End slide">
    <p:spTree>
      <p:nvGrpSpPr>
        <p:cNvPr id="1" name=""/>
        <p:cNvGrpSpPr/>
        <p:nvPr/>
      </p:nvGrpSpPr>
      <p:grpSpPr>
        <a:xfrm>
          <a:off x="0" y="0"/>
          <a:ext cx="0" cy="0"/>
          <a:chOff x="0" y="0"/>
          <a:chExt cx="0" cy="0"/>
        </a:xfrm>
      </p:grpSpPr>
      <p:pic>
        <p:nvPicPr>
          <p:cNvPr id="30" name="picture">
            <a:extLst>
              <a:ext uri="{FF2B5EF4-FFF2-40B4-BE49-F238E27FC236}">
                <a16:creationId xmlns:a16="http://schemas.microsoft.com/office/drawing/2014/main" id="{8BF907F5-A9CD-2740-AF54-6BACB62334AE}"/>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2620212" y="-8808"/>
            <a:ext cx="9697299" cy="6866807"/>
          </a:xfrm>
          <a:prstGeom prst="rect">
            <a:avLst/>
          </a:prstGeom>
        </p:spPr>
      </p:pic>
      <p:sp>
        <p:nvSpPr>
          <p:cNvPr id="29" name="shpPicture"/>
          <p:cNvSpPr/>
          <p:nvPr/>
        </p:nvSpPr>
        <p:spPr>
          <a:xfrm>
            <a:off x="0" y="0"/>
            <a:ext cx="4347306" cy="6858000"/>
          </a:xfrm>
          <a:custGeom>
            <a:avLst/>
            <a:gdLst>
              <a:gd name="connsiteX0" fmla="*/ 0 w 4347306"/>
              <a:gd name="connsiteY0" fmla="*/ 0 h 6858000"/>
              <a:gd name="connsiteX1" fmla="*/ 3252806 w 4347306"/>
              <a:gd name="connsiteY1" fmla="*/ 0 h 6858000"/>
              <a:gd name="connsiteX2" fmla="*/ 4347306 w 4347306"/>
              <a:gd name="connsiteY2" fmla="*/ 4140909 h 6858000"/>
              <a:gd name="connsiteX3" fmla="*/ 2943442 w 4347306"/>
              <a:gd name="connsiteY3" fmla="*/ 6858000 h 6858000"/>
              <a:gd name="connsiteX4" fmla="*/ 0 w 4347306"/>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47306" h="6858000">
                <a:moveTo>
                  <a:pt x="0" y="0"/>
                </a:moveTo>
                <a:lnTo>
                  <a:pt x="3252806" y="0"/>
                </a:lnTo>
                <a:lnTo>
                  <a:pt x="4347306" y="4140909"/>
                </a:lnTo>
                <a:lnTo>
                  <a:pt x="2943442"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US" sz="1600"/>
          </a:p>
        </p:txBody>
      </p:sp>
      <p:grpSp>
        <p:nvGrpSpPr>
          <p:cNvPr id="14" name="logo">
            <a:extLst>
              <a:ext uri="{FF2B5EF4-FFF2-40B4-BE49-F238E27FC236}">
                <a16:creationId xmlns:a16="http://schemas.microsoft.com/office/drawing/2014/main" id="{18C26D95-70F8-8A4D-9F18-DCCB92522AF8}"/>
              </a:ext>
            </a:extLst>
          </p:cNvPr>
          <p:cNvGrpSpPr/>
          <p:nvPr/>
        </p:nvGrpSpPr>
        <p:grpSpPr bwMode="gray">
          <a:xfrm>
            <a:off x="417363" y="407485"/>
            <a:ext cx="1518585" cy="646507"/>
            <a:chOff x="334963" y="296652"/>
            <a:chExt cx="1268411" cy="540000"/>
          </a:xfrm>
        </p:grpSpPr>
        <p:sp>
          <p:nvSpPr>
            <p:cNvPr id="17" name="Freeform 6">
              <a:extLst>
                <a:ext uri="{FF2B5EF4-FFF2-40B4-BE49-F238E27FC236}">
                  <a16:creationId xmlns:a16="http://schemas.microsoft.com/office/drawing/2014/main" id="{08737AD0-E375-E445-97E6-CD2E2DF60620}"/>
                </a:ext>
              </a:extLst>
            </p:cNvPr>
            <p:cNvSpPr>
              <a:spLocks noEditPoints="1"/>
            </p:cNvSpPr>
            <p:nvPr/>
          </p:nvSpPr>
          <p:spPr bwMode="gray">
            <a:xfrm>
              <a:off x="982662" y="360462"/>
              <a:ext cx="620712" cy="431800"/>
            </a:xfrm>
            <a:custGeom>
              <a:avLst/>
              <a:gdLst>
                <a:gd name="T0" fmla="*/ 19 w 1809"/>
                <a:gd name="T1" fmla="*/ 97 h 1253"/>
                <a:gd name="T2" fmla="*/ 165 w 1809"/>
                <a:gd name="T3" fmla="*/ 41 h 1253"/>
                <a:gd name="T4" fmla="*/ 211 w 1809"/>
                <a:gd name="T5" fmla="*/ 224 h 1253"/>
                <a:gd name="T6" fmla="*/ 248 w 1809"/>
                <a:gd name="T7" fmla="*/ 155 h 1253"/>
                <a:gd name="T8" fmla="*/ 931 w 1809"/>
                <a:gd name="T9" fmla="*/ 995 h 1253"/>
                <a:gd name="T10" fmla="*/ 858 w 1809"/>
                <a:gd name="T11" fmla="*/ 1115 h 1253"/>
                <a:gd name="T12" fmla="*/ 749 w 1809"/>
                <a:gd name="T13" fmla="*/ 1117 h 1253"/>
                <a:gd name="T14" fmla="*/ 681 w 1809"/>
                <a:gd name="T15" fmla="*/ 1055 h 1253"/>
                <a:gd name="T16" fmla="*/ 800 w 1809"/>
                <a:gd name="T17" fmla="*/ 1054 h 1253"/>
                <a:gd name="T18" fmla="*/ 884 w 1809"/>
                <a:gd name="T19" fmla="*/ 1181 h 1253"/>
                <a:gd name="T20" fmla="*/ 118 w 1809"/>
                <a:gd name="T21" fmla="*/ 1086 h 1253"/>
                <a:gd name="T22" fmla="*/ 147 w 1809"/>
                <a:gd name="T23" fmla="*/ 1026 h 1253"/>
                <a:gd name="T24" fmla="*/ 102 w 1809"/>
                <a:gd name="T25" fmla="*/ 1026 h 1253"/>
                <a:gd name="T26" fmla="*/ 639 w 1809"/>
                <a:gd name="T27" fmla="*/ 84 h 1253"/>
                <a:gd name="T28" fmla="*/ 763 w 1809"/>
                <a:gd name="T29" fmla="*/ 145 h 1253"/>
                <a:gd name="T30" fmla="*/ 863 w 1809"/>
                <a:gd name="T31" fmla="*/ 221 h 1253"/>
                <a:gd name="T32" fmla="*/ 834 w 1809"/>
                <a:gd name="T33" fmla="*/ 208 h 1253"/>
                <a:gd name="T34" fmla="*/ 719 w 1809"/>
                <a:gd name="T35" fmla="*/ 182 h 1253"/>
                <a:gd name="T36" fmla="*/ 507 w 1809"/>
                <a:gd name="T37" fmla="*/ 711 h 1253"/>
                <a:gd name="T38" fmla="*/ 614 w 1809"/>
                <a:gd name="T39" fmla="*/ 706 h 1253"/>
                <a:gd name="T40" fmla="*/ 736 w 1809"/>
                <a:gd name="T41" fmla="*/ 730 h 1253"/>
                <a:gd name="T42" fmla="*/ 607 w 1809"/>
                <a:gd name="T43" fmla="*/ 539 h 1253"/>
                <a:gd name="T44" fmla="*/ 1505 w 1809"/>
                <a:gd name="T45" fmla="*/ 1136 h 1253"/>
                <a:gd name="T46" fmla="*/ 1613 w 1809"/>
                <a:gd name="T47" fmla="*/ 1002 h 1253"/>
                <a:gd name="T48" fmla="*/ 1472 w 1809"/>
                <a:gd name="T49" fmla="*/ 1164 h 1253"/>
                <a:gd name="T50" fmla="*/ 1525 w 1809"/>
                <a:gd name="T51" fmla="*/ 1142 h 1253"/>
                <a:gd name="T52" fmla="*/ 1556 w 1809"/>
                <a:gd name="T53" fmla="*/ 1172 h 1253"/>
                <a:gd name="T54" fmla="*/ 1387 w 1809"/>
                <a:gd name="T55" fmla="*/ 910 h 1253"/>
                <a:gd name="T56" fmla="*/ 1261 w 1809"/>
                <a:gd name="T57" fmla="*/ 1157 h 1253"/>
                <a:gd name="T58" fmla="*/ 1413 w 1809"/>
                <a:gd name="T59" fmla="*/ 934 h 1253"/>
                <a:gd name="T60" fmla="*/ 1378 w 1809"/>
                <a:gd name="T61" fmla="*/ 1052 h 1253"/>
                <a:gd name="T62" fmla="*/ 488 w 1809"/>
                <a:gd name="T63" fmla="*/ 85 h 1253"/>
                <a:gd name="T64" fmla="*/ 509 w 1809"/>
                <a:gd name="T65" fmla="*/ 112 h 1253"/>
                <a:gd name="T66" fmla="*/ 548 w 1809"/>
                <a:gd name="T67" fmla="*/ 1187 h 1253"/>
                <a:gd name="T68" fmla="*/ 472 w 1809"/>
                <a:gd name="T69" fmla="*/ 1122 h 1253"/>
                <a:gd name="T70" fmla="*/ 558 w 1809"/>
                <a:gd name="T71" fmla="*/ 1157 h 1253"/>
                <a:gd name="T72" fmla="*/ 287 w 1809"/>
                <a:gd name="T73" fmla="*/ 654 h 1253"/>
                <a:gd name="T74" fmla="*/ 416 w 1809"/>
                <a:gd name="T75" fmla="*/ 684 h 1253"/>
                <a:gd name="T76" fmla="*/ 1106 w 1809"/>
                <a:gd name="T77" fmla="*/ 147 h 1253"/>
                <a:gd name="T78" fmla="*/ 1229 w 1809"/>
                <a:gd name="T79" fmla="*/ 258 h 1253"/>
                <a:gd name="T80" fmla="*/ 1106 w 1809"/>
                <a:gd name="T81" fmla="*/ 96 h 1253"/>
                <a:gd name="T82" fmla="*/ 1219 w 1809"/>
                <a:gd name="T83" fmla="*/ 1077 h 1253"/>
                <a:gd name="T84" fmla="*/ 1214 w 1809"/>
                <a:gd name="T85" fmla="*/ 1157 h 1253"/>
                <a:gd name="T86" fmla="*/ 1150 w 1809"/>
                <a:gd name="T87" fmla="*/ 1092 h 1253"/>
                <a:gd name="T88" fmla="*/ 1139 w 1809"/>
                <a:gd name="T89" fmla="*/ 1070 h 1253"/>
                <a:gd name="T90" fmla="*/ 1659 w 1809"/>
                <a:gd name="T91" fmla="*/ 1031 h 1253"/>
                <a:gd name="T92" fmla="*/ 1714 w 1809"/>
                <a:gd name="T93" fmla="*/ 1155 h 1253"/>
                <a:gd name="T94" fmla="*/ 1760 w 1809"/>
                <a:gd name="T95" fmla="*/ 1030 h 1253"/>
                <a:gd name="T96" fmla="*/ 111 w 1809"/>
                <a:gd name="T97" fmla="*/ 569 h 1253"/>
                <a:gd name="T98" fmla="*/ 109 w 1809"/>
                <a:gd name="T99" fmla="*/ 460 h 1253"/>
                <a:gd name="T100" fmla="*/ 32 w 1809"/>
                <a:gd name="T101" fmla="*/ 704 h 1253"/>
                <a:gd name="T102" fmla="*/ 310 w 1809"/>
                <a:gd name="T103" fmla="*/ 1058 h 1253"/>
                <a:gd name="T104" fmla="*/ 431 w 1809"/>
                <a:gd name="T105" fmla="*/ 1044 h 1253"/>
                <a:gd name="T106" fmla="*/ 278 w 1809"/>
                <a:gd name="T107" fmla="*/ 1165 h 1253"/>
                <a:gd name="T108" fmla="*/ 261 w 1809"/>
                <a:gd name="T109" fmla="*/ 540 h 1253"/>
                <a:gd name="T110" fmla="*/ 150 w 1809"/>
                <a:gd name="T111" fmla="*/ 635 h 1253"/>
                <a:gd name="T112" fmla="*/ 994 w 1809"/>
                <a:gd name="T113" fmla="*/ 1185 h 1253"/>
                <a:gd name="T114" fmla="*/ 331 w 1809"/>
                <a:gd name="T115" fmla="*/ 176 h 1253"/>
                <a:gd name="T116" fmla="*/ 333 w 1809"/>
                <a:gd name="T117" fmla="*/ 109 h 1253"/>
                <a:gd name="T118" fmla="*/ 946 w 1809"/>
                <a:gd name="T119" fmla="*/ 234 h 1253"/>
                <a:gd name="T120" fmla="*/ 1022 w 1809"/>
                <a:gd name="T121" fmla="*/ 113 h 1253"/>
                <a:gd name="T122" fmla="*/ 949 w 1809"/>
                <a:gd name="T123" fmla="*/ 65 h 1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09" h="1253">
                  <a:moveTo>
                    <a:pt x="248" y="198"/>
                  </a:moveTo>
                  <a:cubicBezTo>
                    <a:pt x="248" y="211"/>
                    <a:pt x="248" y="224"/>
                    <a:pt x="249" y="237"/>
                  </a:cubicBezTo>
                  <a:cubicBezTo>
                    <a:pt x="249" y="245"/>
                    <a:pt x="246" y="249"/>
                    <a:pt x="240" y="253"/>
                  </a:cubicBezTo>
                  <a:cubicBezTo>
                    <a:pt x="231" y="260"/>
                    <a:pt x="220" y="264"/>
                    <a:pt x="209" y="268"/>
                  </a:cubicBezTo>
                  <a:cubicBezTo>
                    <a:pt x="179" y="279"/>
                    <a:pt x="148" y="280"/>
                    <a:pt x="118" y="275"/>
                  </a:cubicBezTo>
                  <a:cubicBezTo>
                    <a:pt x="86" y="269"/>
                    <a:pt x="58" y="252"/>
                    <a:pt x="39" y="224"/>
                  </a:cubicBezTo>
                  <a:cubicBezTo>
                    <a:pt x="24" y="203"/>
                    <a:pt x="18" y="180"/>
                    <a:pt x="15" y="155"/>
                  </a:cubicBezTo>
                  <a:cubicBezTo>
                    <a:pt x="11" y="135"/>
                    <a:pt x="15" y="115"/>
                    <a:pt x="19" y="97"/>
                  </a:cubicBezTo>
                  <a:cubicBezTo>
                    <a:pt x="26" y="68"/>
                    <a:pt x="42" y="44"/>
                    <a:pt x="68" y="27"/>
                  </a:cubicBezTo>
                  <a:cubicBezTo>
                    <a:pt x="87" y="14"/>
                    <a:pt x="109" y="6"/>
                    <a:pt x="133" y="5"/>
                  </a:cubicBezTo>
                  <a:cubicBezTo>
                    <a:pt x="149" y="4"/>
                    <a:pt x="165" y="5"/>
                    <a:pt x="181" y="6"/>
                  </a:cubicBezTo>
                  <a:cubicBezTo>
                    <a:pt x="204" y="8"/>
                    <a:pt x="225" y="20"/>
                    <a:pt x="243" y="35"/>
                  </a:cubicBezTo>
                  <a:cubicBezTo>
                    <a:pt x="246" y="37"/>
                    <a:pt x="246" y="40"/>
                    <a:pt x="244" y="43"/>
                  </a:cubicBezTo>
                  <a:cubicBezTo>
                    <a:pt x="242" y="47"/>
                    <a:pt x="239" y="52"/>
                    <a:pt x="236" y="55"/>
                  </a:cubicBezTo>
                  <a:cubicBezTo>
                    <a:pt x="226" y="65"/>
                    <a:pt x="224" y="65"/>
                    <a:pt x="206" y="54"/>
                  </a:cubicBezTo>
                  <a:cubicBezTo>
                    <a:pt x="193" y="46"/>
                    <a:pt x="180" y="40"/>
                    <a:pt x="165" y="41"/>
                  </a:cubicBezTo>
                  <a:cubicBezTo>
                    <a:pt x="151" y="41"/>
                    <a:pt x="137" y="39"/>
                    <a:pt x="124" y="42"/>
                  </a:cubicBezTo>
                  <a:cubicBezTo>
                    <a:pt x="104" y="46"/>
                    <a:pt x="87" y="57"/>
                    <a:pt x="75" y="74"/>
                  </a:cubicBezTo>
                  <a:cubicBezTo>
                    <a:pt x="56" y="99"/>
                    <a:pt x="51" y="129"/>
                    <a:pt x="55" y="159"/>
                  </a:cubicBezTo>
                  <a:cubicBezTo>
                    <a:pt x="60" y="189"/>
                    <a:pt x="73" y="214"/>
                    <a:pt x="98" y="230"/>
                  </a:cubicBezTo>
                  <a:cubicBezTo>
                    <a:pt x="109" y="237"/>
                    <a:pt x="121" y="242"/>
                    <a:pt x="135" y="241"/>
                  </a:cubicBezTo>
                  <a:cubicBezTo>
                    <a:pt x="146" y="241"/>
                    <a:pt x="158" y="241"/>
                    <a:pt x="169" y="241"/>
                  </a:cubicBezTo>
                  <a:cubicBezTo>
                    <a:pt x="182" y="242"/>
                    <a:pt x="193" y="235"/>
                    <a:pt x="205" y="232"/>
                  </a:cubicBezTo>
                  <a:cubicBezTo>
                    <a:pt x="210" y="231"/>
                    <a:pt x="211" y="227"/>
                    <a:pt x="211" y="224"/>
                  </a:cubicBezTo>
                  <a:cubicBezTo>
                    <a:pt x="211" y="210"/>
                    <a:pt x="211" y="196"/>
                    <a:pt x="211" y="183"/>
                  </a:cubicBezTo>
                  <a:cubicBezTo>
                    <a:pt x="211" y="177"/>
                    <a:pt x="207" y="175"/>
                    <a:pt x="202" y="175"/>
                  </a:cubicBezTo>
                  <a:cubicBezTo>
                    <a:pt x="193" y="175"/>
                    <a:pt x="184" y="175"/>
                    <a:pt x="175" y="175"/>
                  </a:cubicBezTo>
                  <a:cubicBezTo>
                    <a:pt x="171" y="175"/>
                    <a:pt x="168" y="174"/>
                    <a:pt x="166" y="171"/>
                  </a:cubicBezTo>
                  <a:cubicBezTo>
                    <a:pt x="163" y="163"/>
                    <a:pt x="164" y="154"/>
                    <a:pt x="166" y="146"/>
                  </a:cubicBezTo>
                  <a:cubicBezTo>
                    <a:pt x="167" y="142"/>
                    <a:pt x="171" y="142"/>
                    <a:pt x="175" y="142"/>
                  </a:cubicBezTo>
                  <a:cubicBezTo>
                    <a:pt x="196" y="142"/>
                    <a:pt x="217" y="142"/>
                    <a:pt x="238" y="142"/>
                  </a:cubicBezTo>
                  <a:cubicBezTo>
                    <a:pt x="247" y="142"/>
                    <a:pt x="248" y="148"/>
                    <a:pt x="248" y="155"/>
                  </a:cubicBezTo>
                  <a:cubicBezTo>
                    <a:pt x="249" y="169"/>
                    <a:pt x="248" y="183"/>
                    <a:pt x="248" y="198"/>
                  </a:cubicBezTo>
                  <a:close/>
                  <a:moveTo>
                    <a:pt x="884" y="1181"/>
                  </a:moveTo>
                  <a:cubicBezTo>
                    <a:pt x="889" y="1167"/>
                    <a:pt x="894" y="1152"/>
                    <a:pt x="898" y="1137"/>
                  </a:cubicBezTo>
                  <a:cubicBezTo>
                    <a:pt x="901" y="1127"/>
                    <a:pt x="905" y="1116"/>
                    <a:pt x="908" y="1106"/>
                  </a:cubicBezTo>
                  <a:cubicBezTo>
                    <a:pt x="911" y="1098"/>
                    <a:pt x="912" y="1089"/>
                    <a:pt x="916" y="1081"/>
                  </a:cubicBezTo>
                  <a:cubicBezTo>
                    <a:pt x="921" y="1072"/>
                    <a:pt x="923" y="1060"/>
                    <a:pt x="927" y="1050"/>
                  </a:cubicBezTo>
                  <a:cubicBezTo>
                    <a:pt x="932" y="1037"/>
                    <a:pt x="934" y="1023"/>
                    <a:pt x="940" y="1010"/>
                  </a:cubicBezTo>
                  <a:cubicBezTo>
                    <a:pt x="945" y="1001"/>
                    <a:pt x="941" y="995"/>
                    <a:pt x="931" y="995"/>
                  </a:cubicBezTo>
                  <a:cubicBezTo>
                    <a:pt x="927" y="995"/>
                    <a:pt x="922" y="995"/>
                    <a:pt x="918" y="995"/>
                  </a:cubicBezTo>
                  <a:cubicBezTo>
                    <a:pt x="913" y="995"/>
                    <a:pt x="908" y="997"/>
                    <a:pt x="907" y="1001"/>
                  </a:cubicBezTo>
                  <a:cubicBezTo>
                    <a:pt x="904" y="1008"/>
                    <a:pt x="900" y="1015"/>
                    <a:pt x="899" y="1023"/>
                  </a:cubicBezTo>
                  <a:cubicBezTo>
                    <a:pt x="897" y="1034"/>
                    <a:pt x="893" y="1045"/>
                    <a:pt x="889" y="1055"/>
                  </a:cubicBezTo>
                  <a:cubicBezTo>
                    <a:pt x="887" y="1064"/>
                    <a:pt x="885" y="1072"/>
                    <a:pt x="882" y="1080"/>
                  </a:cubicBezTo>
                  <a:cubicBezTo>
                    <a:pt x="878" y="1091"/>
                    <a:pt x="874" y="1103"/>
                    <a:pt x="871" y="1115"/>
                  </a:cubicBezTo>
                  <a:cubicBezTo>
                    <a:pt x="870" y="1118"/>
                    <a:pt x="871" y="1124"/>
                    <a:pt x="866" y="1124"/>
                  </a:cubicBezTo>
                  <a:cubicBezTo>
                    <a:pt x="861" y="1125"/>
                    <a:pt x="859" y="1120"/>
                    <a:pt x="858" y="1115"/>
                  </a:cubicBezTo>
                  <a:cubicBezTo>
                    <a:pt x="856" y="1110"/>
                    <a:pt x="856" y="1104"/>
                    <a:pt x="854" y="1099"/>
                  </a:cubicBezTo>
                  <a:cubicBezTo>
                    <a:pt x="848" y="1080"/>
                    <a:pt x="841" y="1062"/>
                    <a:pt x="835" y="1044"/>
                  </a:cubicBezTo>
                  <a:cubicBezTo>
                    <a:pt x="831" y="1030"/>
                    <a:pt x="828" y="1016"/>
                    <a:pt x="822" y="1003"/>
                  </a:cubicBezTo>
                  <a:cubicBezTo>
                    <a:pt x="819" y="997"/>
                    <a:pt x="814" y="994"/>
                    <a:pt x="808" y="994"/>
                  </a:cubicBezTo>
                  <a:cubicBezTo>
                    <a:pt x="799" y="993"/>
                    <a:pt x="791" y="993"/>
                    <a:pt x="787" y="1001"/>
                  </a:cubicBezTo>
                  <a:cubicBezTo>
                    <a:pt x="783" y="1008"/>
                    <a:pt x="780" y="1015"/>
                    <a:pt x="779" y="1022"/>
                  </a:cubicBezTo>
                  <a:cubicBezTo>
                    <a:pt x="778" y="1034"/>
                    <a:pt x="772" y="1044"/>
                    <a:pt x="769" y="1055"/>
                  </a:cubicBezTo>
                  <a:cubicBezTo>
                    <a:pt x="762" y="1076"/>
                    <a:pt x="754" y="1096"/>
                    <a:pt x="749" y="1117"/>
                  </a:cubicBezTo>
                  <a:cubicBezTo>
                    <a:pt x="748" y="1120"/>
                    <a:pt x="747" y="1124"/>
                    <a:pt x="742" y="1124"/>
                  </a:cubicBezTo>
                  <a:cubicBezTo>
                    <a:pt x="737" y="1124"/>
                    <a:pt x="737" y="1120"/>
                    <a:pt x="736" y="1116"/>
                  </a:cubicBezTo>
                  <a:cubicBezTo>
                    <a:pt x="734" y="1104"/>
                    <a:pt x="730" y="1092"/>
                    <a:pt x="726" y="1080"/>
                  </a:cubicBezTo>
                  <a:cubicBezTo>
                    <a:pt x="720" y="1061"/>
                    <a:pt x="714" y="1040"/>
                    <a:pt x="708" y="1020"/>
                  </a:cubicBezTo>
                  <a:cubicBezTo>
                    <a:pt x="703" y="1000"/>
                    <a:pt x="698" y="994"/>
                    <a:pt x="676" y="995"/>
                  </a:cubicBezTo>
                  <a:cubicBezTo>
                    <a:pt x="665" y="996"/>
                    <a:pt x="661" y="1001"/>
                    <a:pt x="667" y="1011"/>
                  </a:cubicBezTo>
                  <a:cubicBezTo>
                    <a:pt x="669" y="1016"/>
                    <a:pt x="670" y="1021"/>
                    <a:pt x="672" y="1025"/>
                  </a:cubicBezTo>
                  <a:cubicBezTo>
                    <a:pt x="675" y="1035"/>
                    <a:pt x="678" y="1046"/>
                    <a:pt x="681" y="1055"/>
                  </a:cubicBezTo>
                  <a:cubicBezTo>
                    <a:pt x="685" y="1068"/>
                    <a:pt x="689" y="1080"/>
                    <a:pt x="693" y="1092"/>
                  </a:cubicBezTo>
                  <a:cubicBezTo>
                    <a:pt x="697" y="1103"/>
                    <a:pt x="699" y="1113"/>
                    <a:pt x="703" y="1124"/>
                  </a:cubicBezTo>
                  <a:cubicBezTo>
                    <a:pt x="707" y="1136"/>
                    <a:pt x="711" y="1147"/>
                    <a:pt x="715" y="1160"/>
                  </a:cubicBezTo>
                  <a:cubicBezTo>
                    <a:pt x="717" y="1168"/>
                    <a:pt x="720" y="1176"/>
                    <a:pt x="724" y="1183"/>
                  </a:cubicBezTo>
                  <a:cubicBezTo>
                    <a:pt x="728" y="1189"/>
                    <a:pt x="752" y="1185"/>
                    <a:pt x="757" y="1180"/>
                  </a:cubicBezTo>
                  <a:cubicBezTo>
                    <a:pt x="764" y="1173"/>
                    <a:pt x="762" y="1163"/>
                    <a:pt x="766" y="1156"/>
                  </a:cubicBezTo>
                  <a:cubicBezTo>
                    <a:pt x="774" y="1140"/>
                    <a:pt x="778" y="1122"/>
                    <a:pt x="784" y="1105"/>
                  </a:cubicBezTo>
                  <a:cubicBezTo>
                    <a:pt x="789" y="1088"/>
                    <a:pt x="796" y="1072"/>
                    <a:pt x="800" y="1054"/>
                  </a:cubicBezTo>
                  <a:cubicBezTo>
                    <a:pt x="800" y="1053"/>
                    <a:pt x="801" y="1050"/>
                    <a:pt x="803" y="1050"/>
                  </a:cubicBezTo>
                  <a:cubicBezTo>
                    <a:pt x="806" y="1050"/>
                    <a:pt x="806" y="1052"/>
                    <a:pt x="807" y="1055"/>
                  </a:cubicBezTo>
                  <a:cubicBezTo>
                    <a:pt x="807" y="1060"/>
                    <a:pt x="810" y="1066"/>
                    <a:pt x="811" y="1071"/>
                  </a:cubicBezTo>
                  <a:cubicBezTo>
                    <a:pt x="814" y="1081"/>
                    <a:pt x="818" y="1090"/>
                    <a:pt x="821" y="1099"/>
                  </a:cubicBezTo>
                  <a:cubicBezTo>
                    <a:pt x="824" y="1110"/>
                    <a:pt x="827" y="1120"/>
                    <a:pt x="831" y="1131"/>
                  </a:cubicBezTo>
                  <a:cubicBezTo>
                    <a:pt x="834" y="1142"/>
                    <a:pt x="839" y="1153"/>
                    <a:pt x="842" y="1164"/>
                  </a:cubicBezTo>
                  <a:cubicBezTo>
                    <a:pt x="846" y="1179"/>
                    <a:pt x="850" y="1188"/>
                    <a:pt x="869" y="1185"/>
                  </a:cubicBezTo>
                  <a:cubicBezTo>
                    <a:pt x="873" y="1184"/>
                    <a:pt x="881" y="1189"/>
                    <a:pt x="884" y="1181"/>
                  </a:cubicBezTo>
                  <a:close/>
                  <a:moveTo>
                    <a:pt x="33" y="1051"/>
                  </a:moveTo>
                  <a:cubicBezTo>
                    <a:pt x="33" y="1087"/>
                    <a:pt x="33" y="1124"/>
                    <a:pt x="33" y="1160"/>
                  </a:cubicBezTo>
                  <a:cubicBezTo>
                    <a:pt x="33" y="1188"/>
                    <a:pt x="29" y="1184"/>
                    <a:pt x="58" y="1185"/>
                  </a:cubicBezTo>
                  <a:cubicBezTo>
                    <a:pt x="72" y="1185"/>
                    <a:pt x="73" y="1184"/>
                    <a:pt x="73" y="1170"/>
                  </a:cubicBezTo>
                  <a:cubicBezTo>
                    <a:pt x="73" y="1138"/>
                    <a:pt x="73" y="1107"/>
                    <a:pt x="73" y="1076"/>
                  </a:cubicBezTo>
                  <a:cubicBezTo>
                    <a:pt x="73" y="1071"/>
                    <a:pt x="72" y="1067"/>
                    <a:pt x="78" y="1065"/>
                  </a:cubicBezTo>
                  <a:cubicBezTo>
                    <a:pt x="91" y="1062"/>
                    <a:pt x="102" y="1067"/>
                    <a:pt x="110" y="1076"/>
                  </a:cubicBezTo>
                  <a:cubicBezTo>
                    <a:pt x="112" y="1080"/>
                    <a:pt x="115" y="1083"/>
                    <a:pt x="118" y="1086"/>
                  </a:cubicBezTo>
                  <a:cubicBezTo>
                    <a:pt x="132" y="1103"/>
                    <a:pt x="146" y="1119"/>
                    <a:pt x="161" y="1136"/>
                  </a:cubicBezTo>
                  <a:cubicBezTo>
                    <a:pt x="173" y="1150"/>
                    <a:pt x="186" y="1165"/>
                    <a:pt x="198" y="1179"/>
                  </a:cubicBezTo>
                  <a:cubicBezTo>
                    <a:pt x="207" y="1188"/>
                    <a:pt x="218" y="1184"/>
                    <a:pt x="228" y="1185"/>
                  </a:cubicBezTo>
                  <a:cubicBezTo>
                    <a:pt x="233" y="1185"/>
                    <a:pt x="241" y="1188"/>
                    <a:pt x="244" y="1182"/>
                  </a:cubicBezTo>
                  <a:cubicBezTo>
                    <a:pt x="246" y="1178"/>
                    <a:pt x="239" y="1173"/>
                    <a:pt x="235" y="1169"/>
                  </a:cubicBezTo>
                  <a:cubicBezTo>
                    <a:pt x="206" y="1133"/>
                    <a:pt x="176" y="1098"/>
                    <a:pt x="146" y="1062"/>
                  </a:cubicBezTo>
                  <a:cubicBezTo>
                    <a:pt x="141" y="1056"/>
                    <a:pt x="131" y="1052"/>
                    <a:pt x="132" y="1044"/>
                  </a:cubicBezTo>
                  <a:cubicBezTo>
                    <a:pt x="132" y="1036"/>
                    <a:pt x="142" y="1032"/>
                    <a:pt x="147" y="1026"/>
                  </a:cubicBezTo>
                  <a:cubicBezTo>
                    <a:pt x="164" y="1006"/>
                    <a:pt x="182" y="988"/>
                    <a:pt x="198" y="968"/>
                  </a:cubicBezTo>
                  <a:cubicBezTo>
                    <a:pt x="209" y="954"/>
                    <a:pt x="221" y="942"/>
                    <a:pt x="234" y="929"/>
                  </a:cubicBezTo>
                  <a:cubicBezTo>
                    <a:pt x="236" y="926"/>
                    <a:pt x="238" y="923"/>
                    <a:pt x="237" y="920"/>
                  </a:cubicBezTo>
                  <a:cubicBezTo>
                    <a:pt x="235" y="915"/>
                    <a:pt x="231" y="917"/>
                    <a:pt x="228" y="917"/>
                  </a:cubicBezTo>
                  <a:cubicBezTo>
                    <a:pt x="224" y="918"/>
                    <a:pt x="221" y="918"/>
                    <a:pt x="217" y="918"/>
                  </a:cubicBezTo>
                  <a:cubicBezTo>
                    <a:pt x="204" y="917"/>
                    <a:pt x="193" y="922"/>
                    <a:pt x="185" y="931"/>
                  </a:cubicBezTo>
                  <a:cubicBezTo>
                    <a:pt x="172" y="946"/>
                    <a:pt x="158" y="961"/>
                    <a:pt x="145" y="977"/>
                  </a:cubicBezTo>
                  <a:cubicBezTo>
                    <a:pt x="131" y="993"/>
                    <a:pt x="117" y="1010"/>
                    <a:pt x="102" y="1026"/>
                  </a:cubicBezTo>
                  <a:cubicBezTo>
                    <a:pt x="96" y="1032"/>
                    <a:pt x="87" y="1037"/>
                    <a:pt x="78" y="1034"/>
                  </a:cubicBezTo>
                  <a:cubicBezTo>
                    <a:pt x="70" y="1030"/>
                    <a:pt x="73" y="1021"/>
                    <a:pt x="73" y="1015"/>
                  </a:cubicBezTo>
                  <a:cubicBezTo>
                    <a:pt x="73" y="991"/>
                    <a:pt x="73" y="967"/>
                    <a:pt x="73" y="944"/>
                  </a:cubicBezTo>
                  <a:cubicBezTo>
                    <a:pt x="73" y="916"/>
                    <a:pt x="75" y="917"/>
                    <a:pt x="46" y="918"/>
                  </a:cubicBezTo>
                  <a:cubicBezTo>
                    <a:pt x="33" y="918"/>
                    <a:pt x="33" y="918"/>
                    <a:pt x="33" y="931"/>
                  </a:cubicBezTo>
                  <a:cubicBezTo>
                    <a:pt x="33" y="971"/>
                    <a:pt x="33" y="1011"/>
                    <a:pt x="33" y="1051"/>
                  </a:cubicBezTo>
                  <a:cubicBezTo>
                    <a:pt x="33" y="1051"/>
                    <a:pt x="33" y="1051"/>
                    <a:pt x="33" y="1051"/>
                  </a:cubicBezTo>
                  <a:close/>
                  <a:moveTo>
                    <a:pt x="639" y="84"/>
                  </a:moveTo>
                  <a:cubicBezTo>
                    <a:pt x="627" y="84"/>
                    <a:pt x="626" y="84"/>
                    <a:pt x="629" y="95"/>
                  </a:cubicBezTo>
                  <a:cubicBezTo>
                    <a:pt x="634" y="113"/>
                    <a:pt x="640" y="131"/>
                    <a:pt x="646" y="148"/>
                  </a:cubicBezTo>
                  <a:cubicBezTo>
                    <a:pt x="652" y="166"/>
                    <a:pt x="658" y="185"/>
                    <a:pt x="664" y="203"/>
                  </a:cubicBezTo>
                  <a:cubicBezTo>
                    <a:pt x="671" y="223"/>
                    <a:pt x="676" y="244"/>
                    <a:pt x="684" y="264"/>
                  </a:cubicBezTo>
                  <a:cubicBezTo>
                    <a:pt x="688" y="274"/>
                    <a:pt x="694" y="274"/>
                    <a:pt x="702" y="274"/>
                  </a:cubicBezTo>
                  <a:cubicBezTo>
                    <a:pt x="711" y="274"/>
                    <a:pt x="719" y="272"/>
                    <a:pt x="723" y="263"/>
                  </a:cubicBezTo>
                  <a:cubicBezTo>
                    <a:pt x="733" y="236"/>
                    <a:pt x="741" y="208"/>
                    <a:pt x="750" y="181"/>
                  </a:cubicBezTo>
                  <a:cubicBezTo>
                    <a:pt x="754" y="169"/>
                    <a:pt x="757" y="156"/>
                    <a:pt x="763" y="145"/>
                  </a:cubicBezTo>
                  <a:cubicBezTo>
                    <a:pt x="764" y="143"/>
                    <a:pt x="764" y="140"/>
                    <a:pt x="767" y="140"/>
                  </a:cubicBezTo>
                  <a:cubicBezTo>
                    <a:pt x="770" y="140"/>
                    <a:pt x="770" y="143"/>
                    <a:pt x="771" y="145"/>
                  </a:cubicBezTo>
                  <a:cubicBezTo>
                    <a:pt x="771" y="156"/>
                    <a:pt x="777" y="165"/>
                    <a:pt x="780" y="175"/>
                  </a:cubicBezTo>
                  <a:cubicBezTo>
                    <a:pt x="782" y="184"/>
                    <a:pt x="785" y="193"/>
                    <a:pt x="788" y="201"/>
                  </a:cubicBezTo>
                  <a:cubicBezTo>
                    <a:pt x="794" y="219"/>
                    <a:pt x="801" y="237"/>
                    <a:pt x="806" y="255"/>
                  </a:cubicBezTo>
                  <a:cubicBezTo>
                    <a:pt x="811" y="272"/>
                    <a:pt x="825" y="280"/>
                    <a:pt x="842" y="273"/>
                  </a:cubicBezTo>
                  <a:cubicBezTo>
                    <a:pt x="845" y="271"/>
                    <a:pt x="847" y="269"/>
                    <a:pt x="848" y="266"/>
                  </a:cubicBezTo>
                  <a:cubicBezTo>
                    <a:pt x="853" y="251"/>
                    <a:pt x="859" y="236"/>
                    <a:pt x="863" y="221"/>
                  </a:cubicBezTo>
                  <a:cubicBezTo>
                    <a:pt x="867" y="202"/>
                    <a:pt x="875" y="185"/>
                    <a:pt x="880" y="166"/>
                  </a:cubicBezTo>
                  <a:cubicBezTo>
                    <a:pt x="886" y="144"/>
                    <a:pt x="895" y="123"/>
                    <a:pt x="900" y="101"/>
                  </a:cubicBezTo>
                  <a:cubicBezTo>
                    <a:pt x="901" y="96"/>
                    <a:pt x="909" y="91"/>
                    <a:pt x="904" y="86"/>
                  </a:cubicBezTo>
                  <a:cubicBezTo>
                    <a:pt x="900" y="81"/>
                    <a:pt x="892" y="84"/>
                    <a:pt x="886" y="84"/>
                  </a:cubicBezTo>
                  <a:cubicBezTo>
                    <a:pt x="885" y="84"/>
                    <a:pt x="883" y="84"/>
                    <a:pt x="881" y="84"/>
                  </a:cubicBezTo>
                  <a:cubicBezTo>
                    <a:pt x="875" y="84"/>
                    <a:pt x="872" y="86"/>
                    <a:pt x="869" y="91"/>
                  </a:cubicBezTo>
                  <a:cubicBezTo>
                    <a:pt x="860" y="110"/>
                    <a:pt x="856" y="131"/>
                    <a:pt x="850" y="151"/>
                  </a:cubicBezTo>
                  <a:cubicBezTo>
                    <a:pt x="844" y="170"/>
                    <a:pt x="836" y="188"/>
                    <a:pt x="834" y="208"/>
                  </a:cubicBezTo>
                  <a:cubicBezTo>
                    <a:pt x="833" y="211"/>
                    <a:pt x="831" y="214"/>
                    <a:pt x="827" y="214"/>
                  </a:cubicBezTo>
                  <a:cubicBezTo>
                    <a:pt x="823" y="214"/>
                    <a:pt x="822" y="210"/>
                    <a:pt x="822" y="207"/>
                  </a:cubicBezTo>
                  <a:cubicBezTo>
                    <a:pt x="817" y="188"/>
                    <a:pt x="811" y="170"/>
                    <a:pt x="805" y="152"/>
                  </a:cubicBezTo>
                  <a:cubicBezTo>
                    <a:pt x="799" y="133"/>
                    <a:pt x="794" y="114"/>
                    <a:pt x="786" y="96"/>
                  </a:cubicBezTo>
                  <a:cubicBezTo>
                    <a:pt x="783" y="87"/>
                    <a:pt x="779" y="84"/>
                    <a:pt x="770" y="84"/>
                  </a:cubicBezTo>
                  <a:cubicBezTo>
                    <a:pt x="761" y="84"/>
                    <a:pt x="752" y="82"/>
                    <a:pt x="748" y="94"/>
                  </a:cubicBezTo>
                  <a:cubicBezTo>
                    <a:pt x="744" y="109"/>
                    <a:pt x="738" y="123"/>
                    <a:pt x="734" y="138"/>
                  </a:cubicBezTo>
                  <a:cubicBezTo>
                    <a:pt x="729" y="153"/>
                    <a:pt x="724" y="167"/>
                    <a:pt x="719" y="182"/>
                  </a:cubicBezTo>
                  <a:cubicBezTo>
                    <a:pt x="716" y="192"/>
                    <a:pt x="715" y="203"/>
                    <a:pt x="708" y="212"/>
                  </a:cubicBezTo>
                  <a:cubicBezTo>
                    <a:pt x="707" y="214"/>
                    <a:pt x="707" y="217"/>
                    <a:pt x="704" y="217"/>
                  </a:cubicBezTo>
                  <a:cubicBezTo>
                    <a:pt x="701" y="217"/>
                    <a:pt x="701" y="213"/>
                    <a:pt x="700" y="211"/>
                  </a:cubicBezTo>
                  <a:cubicBezTo>
                    <a:pt x="699" y="198"/>
                    <a:pt x="694" y="186"/>
                    <a:pt x="690" y="174"/>
                  </a:cubicBezTo>
                  <a:cubicBezTo>
                    <a:pt x="684" y="153"/>
                    <a:pt x="677" y="131"/>
                    <a:pt x="672" y="110"/>
                  </a:cubicBezTo>
                  <a:cubicBezTo>
                    <a:pt x="667" y="88"/>
                    <a:pt x="663" y="84"/>
                    <a:pt x="645" y="84"/>
                  </a:cubicBezTo>
                  <a:cubicBezTo>
                    <a:pt x="643" y="84"/>
                    <a:pt x="641" y="84"/>
                    <a:pt x="639" y="84"/>
                  </a:cubicBezTo>
                  <a:close/>
                  <a:moveTo>
                    <a:pt x="507" y="711"/>
                  </a:moveTo>
                  <a:cubicBezTo>
                    <a:pt x="507" y="730"/>
                    <a:pt x="507" y="730"/>
                    <a:pt x="526" y="730"/>
                  </a:cubicBezTo>
                  <a:cubicBezTo>
                    <a:pt x="539" y="730"/>
                    <a:pt x="541" y="729"/>
                    <a:pt x="541" y="715"/>
                  </a:cubicBezTo>
                  <a:cubicBezTo>
                    <a:pt x="541" y="677"/>
                    <a:pt x="541" y="638"/>
                    <a:pt x="540" y="600"/>
                  </a:cubicBezTo>
                  <a:cubicBezTo>
                    <a:pt x="540" y="593"/>
                    <a:pt x="543" y="587"/>
                    <a:pt x="548" y="582"/>
                  </a:cubicBezTo>
                  <a:cubicBezTo>
                    <a:pt x="553" y="576"/>
                    <a:pt x="559" y="573"/>
                    <a:pt x="564" y="569"/>
                  </a:cubicBezTo>
                  <a:cubicBezTo>
                    <a:pt x="574" y="564"/>
                    <a:pt x="594" y="566"/>
                    <a:pt x="602" y="574"/>
                  </a:cubicBezTo>
                  <a:cubicBezTo>
                    <a:pt x="611" y="582"/>
                    <a:pt x="614" y="592"/>
                    <a:pt x="614" y="604"/>
                  </a:cubicBezTo>
                  <a:cubicBezTo>
                    <a:pt x="614" y="638"/>
                    <a:pt x="614" y="672"/>
                    <a:pt x="614" y="706"/>
                  </a:cubicBezTo>
                  <a:cubicBezTo>
                    <a:pt x="614" y="730"/>
                    <a:pt x="614" y="730"/>
                    <a:pt x="638" y="730"/>
                  </a:cubicBezTo>
                  <a:cubicBezTo>
                    <a:pt x="650" y="730"/>
                    <a:pt x="650" y="730"/>
                    <a:pt x="650" y="717"/>
                  </a:cubicBezTo>
                  <a:cubicBezTo>
                    <a:pt x="650" y="684"/>
                    <a:pt x="650" y="650"/>
                    <a:pt x="650" y="617"/>
                  </a:cubicBezTo>
                  <a:cubicBezTo>
                    <a:pt x="650" y="606"/>
                    <a:pt x="651" y="597"/>
                    <a:pt x="657" y="586"/>
                  </a:cubicBezTo>
                  <a:cubicBezTo>
                    <a:pt x="667" y="565"/>
                    <a:pt x="703" y="560"/>
                    <a:pt x="716" y="579"/>
                  </a:cubicBezTo>
                  <a:cubicBezTo>
                    <a:pt x="723" y="588"/>
                    <a:pt x="724" y="598"/>
                    <a:pt x="724" y="609"/>
                  </a:cubicBezTo>
                  <a:cubicBezTo>
                    <a:pt x="724" y="645"/>
                    <a:pt x="724" y="682"/>
                    <a:pt x="724" y="718"/>
                  </a:cubicBezTo>
                  <a:cubicBezTo>
                    <a:pt x="724" y="727"/>
                    <a:pt x="727" y="731"/>
                    <a:pt x="736" y="730"/>
                  </a:cubicBezTo>
                  <a:cubicBezTo>
                    <a:pt x="738" y="730"/>
                    <a:pt x="741" y="730"/>
                    <a:pt x="743" y="730"/>
                  </a:cubicBezTo>
                  <a:cubicBezTo>
                    <a:pt x="758" y="730"/>
                    <a:pt x="759" y="729"/>
                    <a:pt x="759" y="715"/>
                  </a:cubicBezTo>
                  <a:cubicBezTo>
                    <a:pt x="759" y="677"/>
                    <a:pt x="758" y="639"/>
                    <a:pt x="759" y="601"/>
                  </a:cubicBezTo>
                  <a:cubicBezTo>
                    <a:pt x="759" y="571"/>
                    <a:pt x="742" y="540"/>
                    <a:pt x="704" y="538"/>
                  </a:cubicBezTo>
                  <a:cubicBezTo>
                    <a:pt x="681" y="536"/>
                    <a:pt x="661" y="542"/>
                    <a:pt x="646" y="560"/>
                  </a:cubicBezTo>
                  <a:cubicBezTo>
                    <a:pt x="638" y="569"/>
                    <a:pt x="638" y="569"/>
                    <a:pt x="631" y="559"/>
                  </a:cubicBezTo>
                  <a:cubicBezTo>
                    <a:pt x="630" y="558"/>
                    <a:pt x="630" y="557"/>
                    <a:pt x="629" y="556"/>
                  </a:cubicBezTo>
                  <a:cubicBezTo>
                    <a:pt x="623" y="548"/>
                    <a:pt x="616" y="541"/>
                    <a:pt x="607" y="539"/>
                  </a:cubicBezTo>
                  <a:cubicBezTo>
                    <a:pt x="584" y="534"/>
                    <a:pt x="563" y="539"/>
                    <a:pt x="545" y="555"/>
                  </a:cubicBezTo>
                  <a:cubicBezTo>
                    <a:pt x="540" y="559"/>
                    <a:pt x="537" y="561"/>
                    <a:pt x="537" y="552"/>
                  </a:cubicBezTo>
                  <a:cubicBezTo>
                    <a:pt x="536" y="543"/>
                    <a:pt x="526" y="538"/>
                    <a:pt x="515" y="539"/>
                  </a:cubicBezTo>
                  <a:cubicBezTo>
                    <a:pt x="506" y="540"/>
                    <a:pt x="507" y="546"/>
                    <a:pt x="507" y="552"/>
                  </a:cubicBezTo>
                  <a:cubicBezTo>
                    <a:pt x="507" y="580"/>
                    <a:pt x="507" y="607"/>
                    <a:pt x="507" y="634"/>
                  </a:cubicBezTo>
                  <a:cubicBezTo>
                    <a:pt x="507" y="660"/>
                    <a:pt x="507" y="685"/>
                    <a:pt x="507" y="711"/>
                  </a:cubicBezTo>
                  <a:close/>
                  <a:moveTo>
                    <a:pt x="1525" y="1142"/>
                  </a:moveTo>
                  <a:cubicBezTo>
                    <a:pt x="1517" y="1143"/>
                    <a:pt x="1511" y="1141"/>
                    <a:pt x="1505" y="1136"/>
                  </a:cubicBezTo>
                  <a:cubicBezTo>
                    <a:pt x="1501" y="1133"/>
                    <a:pt x="1495" y="1130"/>
                    <a:pt x="1498" y="1124"/>
                  </a:cubicBezTo>
                  <a:cubicBezTo>
                    <a:pt x="1500" y="1118"/>
                    <a:pt x="1504" y="1114"/>
                    <a:pt x="1512" y="1114"/>
                  </a:cubicBezTo>
                  <a:cubicBezTo>
                    <a:pt x="1521" y="1115"/>
                    <a:pt x="1530" y="1114"/>
                    <a:pt x="1538" y="1115"/>
                  </a:cubicBezTo>
                  <a:cubicBezTo>
                    <a:pt x="1573" y="1117"/>
                    <a:pt x="1610" y="1084"/>
                    <a:pt x="1602" y="1044"/>
                  </a:cubicBezTo>
                  <a:cubicBezTo>
                    <a:pt x="1600" y="1035"/>
                    <a:pt x="1599" y="1028"/>
                    <a:pt x="1611" y="1027"/>
                  </a:cubicBezTo>
                  <a:cubicBezTo>
                    <a:pt x="1614" y="1027"/>
                    <a:pt x="1617" y="1024"/>
                    <a:pt x="1619" y="1023"/>
                  </a:cubicBezTo>
                  <a:cubicBezTo>
                    <a:pt x="1626" y="1019"/>
                    <a:pt x="1624" y="1013"/>
                    <a:pt x="1623" y="1008"/>
                  </a:cubicBezTo>
                  <a:cubicBezTo>
                    <a:pt x="1623" y="1002"/>
                    <a:pt x="1618" y="1003"/>
                    <a:pt x="1613" y="1002"/>
                  </a:cubicBezTo>
                  <a:cubicBezTo>
                    <a:pt x="1598" y="1002"/>
                    <a:pt x="1582" y="1004"/>
                    <a:pt x="1567" y="1000"/>
                  </a:cubicBezTo>
                  <a:cubicBezTo>
                    <a:pt x="1560" y="999"/>
                    <a:pt x="1554" y="993"/>
                    <a:pt x="1546" y="993"/>
                  </a:cubicBezTo>
                  <a:cubicBezTo>
                    <a:pt x="1536" y="994"/>
                    <a:pt x="1525" y="992"/>
                    <a:pt x="1515" y="993"/>
                  </a:cubicBezTo>
                  <a:cubicBezTo>
                    <a:pt x="1490" y="997"/>
                    <a:pt x="1469" y="1010"/>
                    <a:pt x="1462" y="1034"/>
                  </a:cubicBezTo>
                  <a:cubicBezTo>
                    <a:pt x="1455" y="1056"/>
                    <a:pt x="1457" y="1079"/>
                    <a:pt x="1476" y="1096"/>
                  </a:cubicBezTo>
                  <a:cubicBezTo>
                    <a:pt x="1483" y="1103"/>
                    <a:pt x="1483" y="1107"/>
                    <a:pt x="1476" y="1113"/>
                  </a:cubicBezTo>
                  <a:cubicBezTo>
                    <a:pt x="1462" y="1126"/>
                    <a:pt x="1462" y="1142"/>
                    <a:pt x="1473" y="1157"/>
                  </a:cubicBezTo>
                  <a:cubicBezTo>
                    <a:pt x="1476" y="1160"/>
                    <a:pt x="1476" y="1162"/>
                    <a:pt x="1472" y="1164"/>
                  </a:cubicBezTo>
                  <a:cubicBezTo>
                    <a:pt x="1470" y="1166"/>
                    <a:pt x="1468" y="1168"/>
                    <a:pt x="1466" y="1170"/>
                  </a:cubicBezTo>
                  <a:cubicBezTo>
                    <a:pt x="1449" y="1183"/>
                    <a:pt x="1444" y="1201"/>
                    <a:pt x="1454" y="1218"/>
                  </a:cubicBezTo>
                  <a:cubicBezTo>
                    <a:pt x="1464" y="1235"/>
                    <a:pt x="1479" y="1246"/>
                    <a:pt x="1499" y="1249"/>
                  </a:cubicBezTo>
                  <a:cubicBezTo>
                    <a:pt x="1517" y="1252"/>
                    <a:pt x="1535" y="1253"/>
                    <a:pt x="1553" y="1250"/>
                  </a:cubicBezTo>
                  <a:cubicBezTo>
                    <a:pt x="1584" y="1245"/>
                    <a:pt x="1607" y="1232"/>
                    <a:pt x="1619" y="1200"/>
                  </a:cubicBezTo>
                  <a:cubicBezTo>
                    <a:pt x="1627" y="1180"/>
                    <a:pt x="1611" y="1155"/>
                    <a:pt x="1593" y="1148"/>
                  </a:cubicBezTo>
                  <a:cubicBezTo>
                    <a:pt x="1578" y="1142"/>
                    <a:pt x="1563" y="1143"/>
                    <a:pt x="1549" y="1142"/>
                  </a:cubicBezTo>
                  <a:cubicBezTo>
                    <a:pt x="1540" y="1142"/>
                    <a:pt x="1532" y="1142"/>
                    <a:pt x="1525" y="1142"/>
                  </a:cubicBezTo>
                  <a:close/>
                  <a:moveTo>
                    <a:pt x="1556" y="1172"/>
                  </a:moveTo>
                  <a:cubicBezTo>
                    <a:pt x="1566" y="1172"/>
                    <a:pt x="1576" y="1176"/>
                    <a:pt x="1583" y="1183"/>
                  </a:cubicBezTo>
                  <a:cubicBezTo>
                    <a:pt x="1589" y="1190"/>
                    <a:pt x="1589" y="1198"/>
                    <a:pt x="1583" y="1205"/>
                  </a:cubicBezTo>
                  <a:cubicBezTo>
                    <a:pt x="1575" y="1215"/>
                    <a:pt x="1565" y="1220"/>
                    <a:pt x="1553" y="1223"/>
                  </a:cubicBezTo>
                  <a:cubicBezTo>
                    <a:pt x="1534" y="1228"/>
                    <a:pt x="1516" y="1225"/>
                    <a:pt x="1499" y="1219"/>
                  </a:cubicBezTo>
                  <a:cubicBezTo>
                    <a:pt x="1486" y="1214"/>
                    <a:pt x="1479" y="1203"/>
                    <a:pt x="1482" y="1193"/>
                  </a:cubicBezTo>
                  <a:cubicBezTo>
                    <a:pt x="1485" y="1182"/>
                    <a:pt x="1496" y="1168"/>
                    <a:pt x="1514" y="1171"/>
                  </a:cubicBezTo>
                  <a:cubicBezTo>
                    <a:pt x="1526" y="1173"/>
                    <a:pt x="1541" y="1171"/>
                    <a:pt x="1556" y="1172"/>
                  </a:cubicBezTo>
                  <a:close/>
                  <a:moveTo>
                    <a:pt x="1531" y="1019"/>
                  </a:moveTo>
                  <a:cubicBezTo>
                    <a:pt x="1553" y="1017"/>
                    <a:pt x="1570" y="1033"/>
                    <a:pt x="1570" y="1052"/>
                  </a:cubicBezTo>
                  <a:cubicBezTo>
                    <a:pt x="1570" y="1075"/>
                    <a:pt x="1554" y="1093"/>
                    <a:pt x="1532" y="1091"/>
                  </a:cubicBezTo>
                  <a:cubicBezTo>
                    <a:pt x="1508" y="1089"/>
                    <a:pt x="1494" y="1082"/>
                    <a:pt x="1493" y="1053"/>
                  </a:cubicBezTo>
                  <a:cubicBezTo>
                    <a:pt x="1494" y="1029"/>
                    <a:pt x="1508" y="1020"/>
                    <a:pt x="1531" y="1019"/>
                  </a:cubicBezTo>
                  <a:close/>
                  <a:moveTo>
                    <a:pt x="1413" y="934"/>
                  </a:moveTo>
                  <a:cubicBezTo>
                    <a:pt x="1413" y="909"/>
                    <a:pt x="1413" y="909"/>
                    <a:pt x="1389" y="910"/>
                  </a:cubicBezTo>
                  <a:cubicBezTo>
                    <a:pt x="1388" y="910"/>
                    <a:pt x="1387" y="910"/>
                    <a:pt x="1387" y="910"/>
                  </a:cubicBezTo>
                  <a:cubicBezTo>
                    <a:pt x="1379" y="910"/>
                    <a:pt x="1376" y="915"/>
                    <a:pt x="1376" y="921"/>
                  </a:cubicBezTo>
                  <a:cubicBezTo>
                    <a:pt x="1376" y="939"/>
                    <a:pt x="1377" y="956"/>
                    <a:pt x="1377" y="974"/>
                  </a:cubicBezTo>
                  <a:cubicBezTo>
                    <a:pt x="1377" y="983"/>
                    <a:pt x="1377" y="991"/>
                    <a:pt x="1377" y="1000"/>
                  </a:cubicBezTo>
                  <a:cubicBezTo>
                    <a:pt x="1377" y="1005"/>
                    <a:pt x="1374" y="1009"/>
                    <a:pt x="1369" y="1005"/>
                  </a:cubicBezTo>
                  <a:cubicBezTo>
                    <a:pt x="1352" y="990"/>
                    <a:pt x="1332" y="993"/>
                    <a:pt x="1312" y="993"/>
                  </a:cubicBezTo>
                  <a:cubicBezTo>
                    <a:pt x="1303" y="994"/>
                    <a:pt x="1294" y="998"/>
                    <a:pt x="1287" y="1003"/>
                  </a:cubicBezTo>
                  <a:cubicBezTo>
                    <a:pt x="1265" y="1017"/>
                    <a:pt x="1252" y="1039"/>
                    <a:pt x="1248" y="1065"/>
                  </a:cubicBezTo>
                  <a:cubicBezTo>
                    <a:pt x="1244" y="1096"/>
                    <a:pt x="1244" y="1128"/>
                    <a:pt x="1261" y="1157"/>
                  </a:cubicBezTo>
                  <a:cubicBezTo>
                    <a:pt x="1270" y="1170"/>
                    <a:pt x="1281" y="1181"/>
                    <a:pt x="1296" y="1185"/>
                  </a:cubicBezTo>
                  <a:cubicBezTo>
                    <a:pt x="1323" y="1191"/>
                    <a:pt x="1349" y="1188"/>
                    <a:pt x="1370" y="1167"/>
                  </a:cubicBezTo>
                  <a:cubicBezTo>
                    <a:pt x="1372" y="1165"/>
                    <a:pt x="1375" y="1162"/>
                    <a:pt x="1379" y="1163"/>
                  </a:cubicBezTo>
                  <a:cubicBezTo>
                    <a:pt x="1382" y="1165"/>
                    <a:pt x="1381" y="1169"/>
                    <a:pt x="1381" y="1172"/>
                  </a:cubicBezTo>
                  <a:cubicBezTo>
                    <a:pt x="1383" y="1181"/>
                    <a:pt x="1390" y="1186"/>
                    <a:pt x="1403" y="1186"/>
                  </a:cubicBezTo>
                  <a:cubicBezTo>
                    <a:pt x="1413" y="1185"/>
                    <a:pt x="1413" y="1178"/>
                    <a:pt x="1413" y="1172"/>
                  </a:cubicBezTo>
                  <a:cubicBezTo>
                    <a:pt x="1413" y="1131"/>
                    <a:pt x="1413" y="1090"/>
                    <a:pt x="1413" y="1049"/>
                  </a:cubicBezTo>
                  <a:cubicBezTo>
                    <a:pt x="1413" y="1010"/>
                    <a:pt x="1413" y="972"/>
                    <a:pt x="1413" y="934"/>
                  </a:cubicBezTo>
                  <a:close/>
                  <a:moveTo>
                    <a:pt x="1378" y="1113"/>
                  </a:moveTo>
                  <a:cubicBezTo>
                    <a:pt x="1378" y="1136"/>
                    <a:pt x="1360" y="1155"/>
                    <a:pt x="1337" y="1157"/>
                  </a:cubicBezTo>
                  <a:cubicBezTo>
                    <a:pt x="1319" y="1159"/>
                    <a:pt x="1304" y="1154"/>
                    <a:pt x="1294" y="1139"/>
                  </a:cubicBezTo>
                  <a:cubicBezTo>
                    <a:pt x="1286" y="1128"/>
                    <a:pt x="1283" y="1116"/>
                    <a:pt x="1283" y="1102"/>
                  </a:cubicBezTo>
                  <a:cubicBezTo>
                    <a:pt x="1282" y="1085"/>
                    <a:pt x="1282" y="1067"/>
                    <a:pt x="1290" y="1051"/>
                  </a:cubicBezTo>
                  <a:cubicBezTo>
                    <a:pt x="1297" y="1036"/>
                    <a:pt x="1308" y="1024"/>
                    <a:pt x="1325" y="1022"/>
                  </a:cubicBezTo>
                  <a:cubicBezTo>
                    <a:pt x="1342" y="1020"/>
                    <a:pt x="1358" y="1021"/>
                    <a:pt x="1371" y="1035"/>
                  </a:cubicBezTo>
                  <a:cubicBezTo>
                    <a:pt x="1376" y="1041"/>
                    <a:pt x="1378" y="1046"/>
                    <a:pt x="1378" y="1052"/>
                  </a:cubicBezTo>
                  <a:cubicBezTo>
                    <a:pt x="1378" y="1064"/>
                    <a:pt x="1378" y="1075"/>
                    <a:pt x="1378" y="1086"/>
                  </a:cubicBezTo>
                  <a:cubicBezTo>
                    <a:pt x="1378" y="1086"/>
                    <a:pt x="1378" y="1086"/>
                    <a:pt x="1378" y="1086"/>
                  </a:cubicBezTo>
                  <a:cubicBezTo>
                    <a:pt x="1378" y="1095"/>
                    <a:pt x="1378" y="1104"/>
                    <a:pt x="1378" y="1113"/>
                  </a:cubicBezTo>
                  <a:close/>
                  <a:moveTo>
                    <a:pt x="578" y="259"/>
                  </a:moveTo>
                  <a:cubicBezTo>
                    <a:pt x="603" y="241"/>
                    <a:pt x="611" y="213"/>
                    <a:pt x="614" y="183"/>
                  </a:cubicBezTo>
                  <a:cubicBezTo>
                    <a:pt x="615" y="171"/>
                    <a:pt x="610" y="159"/>
                    <a:pt x="609" y="147"/>
                  </a:cubicBezTo>
                  <a:cubicBezTo>
                    <a:pt x="608" y="137"/>
                    <a:pt x="603" y="129"/>
                    <a:pt x="599" y="121"/>
                  </a:cubicBezTo>
                  <a:cubicBezTo>
                    <a:pt x="579" y="87"/>
                    <a:pt x="527" y="70"/>
                    <a:pt x="488" y="85"/>
                  </a:cubicBezTo>
                  <a:cubicBezTo>
                    <a:pt x="453" y="99"/>
                    <a:pt x="436" y="127"/>
                    <a:pt x="431" y="163"/>
                  </a:cubicBezTo>
                  <a:cubicBezTo>
                    <a:pt x="429" y="180"/>
                    <a:pt x="430" y="196"/>
                    <a:pt x="436" y="213"/>
                  </a:cubicBezTo>
                  <a:cubicBezTo>
                    <a:pt x="439" y="222"/>
                    <a:pt x="442" y="232"/>
                    <a:pt x="447" y="239"/>
                  </a:cubicBezTo>
                  <a:cubicBezTo>
                    <a:pt x="465" y="265"/>
                    <a:pt x="491" y="277"/>
                    <a:pt x="525" y="276"/>
                  </a:cubicBezTo>
                  <a:cubicBezTo>
                    <a:pt x="543" y="278"/>
                    <a:pt x="562" y="271"/>
                    <a:pt x="578" y="259"/>
                  </a:cubicBezTo>
                  <a:close/>
                  <a:moveTo>
                    <a:pt x="471" y="205"/>
                  </a:moveTo>
                  <a:cubicBezTo>
                    <a:pt x="466" y="185"/>
                    <a:pt x="468" y="167"/>
                    <a:pt x="472" y="147"/>
                  </a:cubicBezTo>
                  <a:cubicBezTo>
                    <a:pt x="477" y="130"/>
                    <a:pt x="493" y="116"/>
                    <a:pt x="509" y="112"/>
                  </a:cubicBezTo>
                  <a:cubicBezTo>
                    <a:pt x="525" y="108"/>
                    <a:pt x="539" y="110"/>
                    <a:pt x="553" y="119"/>
                  </a:cubicBezTo>
                  <a:cubicBezTo>
                    <a:pt x="563" y="125"/>
                    <a:pt x="568" y="135"/>
                    <a:pt x="571" y="146"/>
                  </a:cubicBezTo>
                  <a:cubicBezTo>
                    <a:pt x="577" y="167"/>
                    <a:pt x="578" y="189"/>
                    <a:pt x="571" y="211"/>
                  </a:cubicBezTo>
                  <a:cubicBezTo>
                    <a:pt x="565" y="231"/>
                    <a:pt x="549" y="249"/>
                    <a:pt x="521" y="247"/>
                  </a:cubicBezTo>
                  <a:cubicBezTo>
                    <a:pt x="496" y="247"/>
                    <a:pt x="478" y="230"/>
                    <a:pt x="471" y="205"/>
                  </a:cubicBezTo>
                  <a:close/>
                  <a:moveTo>
                    <a:pt x="472" y="1122"/>
                  </a:moveTo>
                  <a:cubicBezTo>
                    <a:pt x="475" y="1136"/>
                    <a:pt x="481" y="1148"/>
                    <a:pt x="491" y="1158"/>
                  </a:cubicBezTo>
                  <a:cubicBezTo>
                    <a:pt x="506" y="1176"/>
                    <a:pt x="524" y="1185"/>
                    <a:pt x="548" y="1187"/>
                  </a:cubicBezTo>
                  <a:cubicBezTo>
                    <a:pt x="568" y="1188"/>
                    <a:pt x="587" y="1187"/>
                    <a:pt x="605" y="1177"/>
                  </a:cubicBezTo>
                  <a:cubicBezTo>
                    <a:pt x="632" y="1162"/>
                    <a:pt x="644" y="1136"/>
                    <a:pt x="649" y="1107"/>
                  </a:cubicBezTo>
                  <a:cubicBezTo>
                    <a:pt x="652" y="1089"/>
                    <a:pt x="649" y="1072"/>
                    <a:pt x="644" y="1054"/>
                  </a:cubicBezTo>
                  <a:cubicBezTo>
                    <a:pt x="638" y="1034"/>
                    <a:pt x="627" y="1019"/>
                    <a:pt x="610" y="1007"/>
                  </a:cubicBezTo>
                  <a:cubicBezTo>
                    <a:pt x="589" y="992"/>
                    <a:pt x="566" y="991"/>
                    <a:pt x="541" y="994"/>
                  </a:cubicBezTo>
                  <a:cubicBezTo>
                    <a:pt x="526" y="995"/>
                    <a:pt x="512" y="1002"/>
                    <a:pt x="500" y="1012"/>
                  </a:cubicBezTo>
                  <a:cubicBezTo>
                    <a:pt x="476" y="1032"/>
                    <a:pt x="469" y="1060"/>
                    <a:pt x="466" y="1095"/>
                  </a:cubicBezTo>
                  <a:cubicBezTo>
                    <a:pt x="465" y="1101"/>
                    <a:pt x="470" y="1111"/>
                    <a:pt x="472" y="1122"/>
                  </a:cubicBezTo>
                  <a:close/>
                  <a:moveTo>
                    <a:pt x="508" y="1113"/>
                  </a:moveTo>
                  <a:cubicBezTo>
                    <a:pt x="505" y="1095"/>
                    <a:pt x="506" y="1078"/>
                    <a:pt x="508" y="1061"/>
                  </a:cubicBezTo>
                  <a:cubicBezTo>
                    <a:pt x="511" y="1042"/>
                    <a:pt x="538" y="1021"/>
                    <a:pt x="554" y="1022"/>
                  </a:cubicBezTo>
                  <a:cubicBezTo>
                    <a:pt x="570" y="1022"/>
                    <a:pt x="586" y="1024"/>
                    <a:pt x="596" y="1037"/>
                  </a:cubicBezTo>
                  <a:cubicBezTo>
                    <a:pt x="602" y="1044"/>
                    <a:pt x="607" y="1052"/>
                    <a:pt x="608" y="1061"/>
                  </a:cubicBezTo>
                  <a:cubicBezTo>
                    <a:pt x="608" y="1064"/>
                    <a:pt x="609" y="1067"/>
                    <a:pt x="610" y="1070"/>
                  </a:cubicBezTo>
                  <a:cubicBezTo>
                    <a:pt x="618" y="1089"/>
                    <a:pt x="612" y="1107"/>
                    <a:pt x="607" y="1125"/>
                  </a:cubicBezTo>
                  <a:cubicBezTo>
                    <a:pt x="601" y="1143"/>
                    <a:pt x="588" y="1160"/>
                    <a:pt x="558" y="1157"/>
                  </a:cubicBezTo>
                  <a:cubicBezTo>
                    <a:pt x="530" y="1157"/>
                    <a:pt x="512" y="1141"/>
                    <a:pt x="508" y="1113"/>
                  </a:cubicBezTo>
                  <a:close/>
                  <a:moveTo>
                    <a:pt x="430" y="716"/>
                  </a:moveTo>
                  <a:cubicBezTo>
                    <a:pt x="450" y="703"/>
                    <a:pt x="459" y="683"/>
                    <a:pt x="464" y="661"/>
                  </a:cubicBezTo>
                  <a:cubicBezTo>
                    <a:pt x="468" y="648"/>
                    <a:pt x="467" y="635"/>
                    <a:pt x="466" y="621"/>
                  </a:cubicBezTo>
                  <a:cubicBezTo>
                    <a:pt x="463" y="592"/>
                    <a:pt x="453" y="567"/>
                    <a:pt x="427" y="550"/>
                  </a:cubicBezTo>
                  <a:cubicBezTo>
                    <a:pt x="401" y="534"/>
                    <a:pt x="372" y="532"/>
                    <a:pt x="345" y="541"/>
                  </a:cubicBezTo>
                  <a:cubicBezTo>
                    <a:pt x="310" y="552"/>
                    <a:pt x="291" y="580"/>
                    <a:pt x="287" y="617"/>
                  </a:cubicBezTo>
                  <a:cubicBezTo>
                    <a:pt x="286" y="629"/>
                    <a:pt x="286" y="641"/>
                    <a:pt x="287" y="654"/>
                  </a:cubicBezTo>
                  <a:cubicBezTo>
                    <a:pt x="289" y="671"/>
                    <a:pt x="295" y="686"/>
                    <a:pt x="306" y="700"/>
                  </a:cubicBezTo>
                  <a:cubicBezTo>
                    <a:pt x="324" y="722"/>
                    <a:pt x="348" y="733"/>
                    <a:pt x="378" y="731"/>
                  </a:cubicBezTo>
                  <a:cubicBezTo>
                    <a:pt x="396" y="733"/>
                    <a:pt x="414" y="727"/>
                    <a:pt x="430" y="716"/>
                  </a:cubicBezTo>
                  <a:close/>
                  <a:moveTo>
                    <a:pt x="331" y="592"/>
                  </a:moveTo>
                  <a:cubicBezTo>
                    <a:pt x="339" y="580"/>
                    <a:pt x="349" y="569"/>
                    <a:pt x="365" y="567"/>
                  </a:cubicBezTo>
                  <a:cubicBezTo>
                    <a:pt x="387" y="564"/>
                    <a:pt x="406" y="568"/>
                    <a:pt x="419" y="588"/>
                  </a:cubicBezTo>
                  <a:cubicBezTo>
                    <a:pt x="423" y="595"/>
                    <a:pt x="426" y="603"/>
                    <a:pt x="427" y="610"/>
                  </a:cubicBezTo>
                  <a:cubicBezTo>
                    <a:pt x="433" y="635"/>
                    <a:pt x="431" y="661"/>
                    <a:pt x="416" y="684"/>
                  </a:cubicBezTo>
                  <a:cubicBezTo>
                    <a:pt x="403" y="706"/>
                    <a:pt x="362" y="708"/>
                    <a:pt x="345" y="692"/>
                  </a:cubicBezTo>
                  <a:cubicBezTo>
                    <a:pt x="329" y="678"/>
                    <a:pt x="323" y="661"/>
                    <a:pt x="323" y="631"/>
                  </a:cubicBezTo>
                  <a:cubicBezTo>
                    <a:pt x="323" y="619"/>
                    <a:pt x="323" y="605"/>
                    <a:pt x="331" y="592"/>
                  </a:cubicBezTo>
                  <a:close/>
                  <a:moveTo>
                    <a:pt x="1073" y="259"/>
                  </a:moveTo>
                  <a:cubicBezTo>
                    <a:pt x="1073" y="269"/>
                    <a:pt x="1075" y="272"/>
                    <a:pt x="1086" y="272"/>
                  </a:cubicBezTo>
                  <a:cubicBezTo>
                    <a:pt x="1088" y="272"/>
                    <a:pt x="1090" y="272"/>
                    <a:pt x="1092" y="272"/>
                  </a:cubicBezTo>
                  <a:cubicBezTo>
                    <a:pt x="1105" y="272"/>
                    <a:pt x="1106" y="271"/>
                    <a:pt x="1106" y="258"/>
                  </a:cubicBezTo>
                  <a:cubicBezTo>
                    <a:pt x="1106" y="221"/>
                    <a:pt x="1106" y="184"/>
                    <a:pt x="1106" y="147"/>
                  </a:cubicBezTo>
                  <a:cubicBezTo>
                    <a:pt x="1106" y="143"/>
                    <a:pt x="1106" y="140"/>
                    <a:pt x="1107" y="137"/>
                  </a:cubicBezTo>
                  <a:cubicBezTo>
                    <a:pt x="1117" y="117"/>
                    <a:pt x="1157" y="104"/>
                    <a:pt x="1177" y="114"/>
                  </a:cubicBezTo>
                  <a:cubicBezTo>
                    <a:pt x="1179" y="115"/>
                    <a:pt x="1180" y="117"/>
                    <a:pt x="1182" y="118"/>
                  </a:cubicBezTo>
                  <a:cubicBezTo>
                    <a:pt x="1194" y="131"/>
                    <a:pt x="1196" y="147"/>
                    <a:pt x="1196" y="163"/>
                  </a:cubicBezTo>
                  <a:cubicBezTo>
                    <a:pt x="1197" y="195"/>
                    <a:pt x="1196" y="226"/>
                    <a:pt x="1196" y="258"/>
                  </a:cubicBezTo>
                  <a:cubicBezTo>
                    <a:pt x="1196" y="271"/>
                    <a:pt x="1197" y="272"/>
                    <a:pt x="1210" y="272"/>
                  </a:cubicBezTo>
                  <a:cubicBezTo>
                    <a:pt x="1212" y="272"/>
                    <a:pt x="1213" y="272"/>
                    <a:pt x="1215" y="272"/>
                  </a:cubicBezTo>
                  <a:cubicBezTo>
                    <a:pt x="1227" y="272"/>
                    <a:pt x="1229" y="270"/>
                    <a:pt x="1229" y="258"/>
                  </a:cubicBezTo>
                  <a:cubicBezTo>
                    <a:pt x="1229" y="222"/>
                    <a:pt x="1229" y="187"/>
                    <a:pt x="1229" y="151"/>
                  </a:cubicBezTo>
                  <a:cubicBezTo>
                    <a:pt x="1229" y="142"/>
                    <a:pt x="1228" y="132"/>
                    <a:pt x="1225" y="123"/>
                  </a:cubicBezTo>
                  <a:cubicBezTo>
                    <a:pt x="1219" y="105"/>
                    <a:pt x="1208" y="91"/>
                    <a:pt x="1189" y="85"/>
                  </a:cubicBezTo>
                  <a:cubicBezTo>
                    <a:pt x="1173" y="80"/>
                    <a:pt x="1156" y="84"/>
                    <a:pt x="1139" y="84"/>
                  </a:cubicBezTo>
                  <a:cubicBezTo>
                    <a:pt x="1137" y="84"/>
                    <a:pt x="1136" y="86"/>
                    <a:pt x="1134" y="87"/>
                  </a:cubicBezTo>
                  <a:cubicBezTo>
                    <a:pt x="1128" y="91"/>
                    <a:pt x="1121" y="96"/>
                    <a:pt x="1115" y="100"/>
                  </a:cubicBezTo>
                  <a:cubicBezTo>
                    <a:pt x="1113" y="102"/>
                    <a:pt x="1111" y="105"/>
                    <a:pt x="1108" y="103"/>
                  </a:cubicBezTo>
                  <a:cubicBezTo>
                    <a:pt x="1105" y="102"/>
                    <a:pt x="1106" y="98"/>
                    <a:pt x="1106" y="96"/>
                  </a:cubicBezTo>
                  <a:cubicBezTo>
                    <a:pt x="1106" y="69"/>
                    <a:pt x="1106" y="43"/>
                    <a:pt x="1106" y="17"/>
                  </a:cubicBezTo>
                  <a:cubicBezTo>
                    <a:pt x="1106" y="0"/>
                    <a:pt x="1106" y="0"/>
                    <a:pt x="1089" y="0"/>
                  </a:cubicBezTo>
                  <a:cubicBezTo>
                    <a:pt x="1074" y="0"/>
                    <a:pt x="1073" y="1"/>
                    <a:pt x="1073" y="16"/>
                  </a:cubicBezTo>
                  <a:cubicBezTo>
                    <a:pt x="1073" y="56"/>
                    <a:pt x="1073" y="96"/>
                    <a:pt x="1073" y="136"/>
                  </a:cubicBezTo>
                  <a:cubicBezTo>
                    <a:pt x="1073" y="177"/>
                    <a:pt x="1073" y="218"/>
                    <a:pt x="1073" y="259"/>
                  </a:cubicBezTo>
                  <a:close/>
                  <a:moveTo>
                    <a:pt x="1150" y="1092"/>
                  </a:moveTo>
                  <a:cubicBezTo>
                    <a:pt x="1168" y="1092"/>
                    <a:pt x="1186" y="1092"/>
                    <a:pt x="1204" y="1092"/>
                  </a:cubicBezTo>
                  <a:cubicBezTo>
                    <a:pt x="1215" y="1092"/>
                    <a:pt x="1218" y="1087"/>
                    <a:pt x="1219" y="1077"/>
                  </a:cubicBezTo>
                  <a:cubicBezTo>
                    <a:pt x="1220" y="1062"/>
                    <a:pt x="1216" y="1049"/>
                    <a:pt x="1210" y="1036"/>
                  </a:cubicBezTo>
                  <a:cubicBezTo>
                    <a:pt x="1204" y="1020"/>
                    <a:pt x="1193" y="1008"/>
                    <a:pt x="1177" y="1001"/>
                  </a:cubicBezTo>
                  <a:cubicBezTo>
                    <a:pt x="1155" y="992"/>
                    <a:pt x="1133" y="991"/>
                    <a:pt x="1109" y="999"/>
                  </a:cubicBezTo>
                  <a:cubicBezTo>
                    <a:pt x="1079" y="1010"/>
                    <a:pt x="1062" y="1031"/>
                    <a:pt x="1056" y="1061"/>
                  </a:cubicBezTo>
                  <a:cubicBezTo>
                    <a:pt x="1051" y="1090"/>
                    <a:pt x="1052" y="1120"/>
                    <a:pt x="1069" y="1148"/>
                  </a:cubicBezTo>
                  <a:cubicBezTo>
                    <a:pt x="1081" y="1169"/>
                    <a:pt x="1100" y="1180"/>
                    <a:pt x="1122" y="1185"/>
                  </a:cubicBezTo>
                  <a:cubicBezTo>
                    <a:pt x="1149" y="1190"/>
                    <a:pt x="1176" y="1186"/>
                    <a:pt x="1200" y="1171"/>
                  </a:cubicBezTo>
                  <a:cubicBezTo>
                    <a:pt x="1206" y="1168"/>
                    <a:pt x="1213" y="1165"/>
                    <a:pt x="1214" y="1157"/>
                  </a:cubicBezTo>
                  <a:cubicBezTo>
                    <a:pt x="1215" y="1147"/>
                    <a:pt x="1202" y="1139"/>
                    <a:pt x="1193" y="1144"/>
                  </a:cubicBezTo>
                  <a:cubicBezTo>
                    <a:pt x="1187" y="1147"/>
                    <a:pt x="1180" y="1150"/>
                    <a:pt x="1174" y="1153"/>
                  </a:cubicBezTo>
                  <a:cubicBezTo>
                    <a:pt x="1158" y="1161"/>
                    <a:pt x="1140" y="1161"/>
                    <a:pt x="1124" y="1155"/>
                  </a:cubicBezTo>
                  <a:cubicBezTo>
                    <a:pt x="1112" y="1151"/>
                    <a:pt x="1102" y="1142"/>
                    <a:pt x="1096" y="1129"/>
                  </a:cubicBezTo>
                  <a:cubicBezTo>
                    <a:pt x="1092" y="1121"/>
                    <a:pt x="1091" y="1112"/>
                    <a:pt x="1089" y="1104"/>
                  </a:cubicBezTo>
                  <a:cubicBezTo>
                    <a:pt x="1087" y="1093"/>
                    <a:pt x="1087" y="1092"/>
                    <a:pt x="1099" y="1092"/>
                  </a:cubicBezTo>
                  <a:cubicBezTo>
                    <a:pt x="1116" y="1092"/>
                    <a:pt x="1133" y="1092"/>
                    <a:pt x="1150" y="1092"/>
                  </a:cubicBezTo>
                  <a:cubicBezTo>
                    <a:pt x="1150" y="1092"/>
                    <a:pt x="1150" y="1092"/>
                    <a:pt x="1150" y="1092"/>
                  </a:cubicBezTo>
                  <a:close/>
                  <a:moveTo>
                    <a:pt x="1099" y="1070"/>
                  </a:moveTo>
                  <a:cubicBezTo>
                    <a:pt x="1092" y="1071"/>
                    <a:pt x="1089" y="1067"/>
                    <a:pt x="1091" y="1060"/>
                  </a:cubicBezTo>
                  <a:cubicBezTo>
                    <a:pt x="1094" y="1045"/>
                    <a:pt x="1108" y="1023"/>
                    <a:pt x="1128" y="1022"/>
                  </a:cubicBezTo>
                  <a:cubicBezTo>
                    <a:pt x="1142" y="1021"/>
                    <a:pt x="1156" y="1018"/>
                    <a:pt x="1168" y="1029"/>
                  </a:cubicBezTo>
                  <a:cubicBezTo>
                    <a:pt x="1181" y="1038"/>
                    <a:pt x="1185" y="1051"/>
                    <a:pt x="1187" y="1066"/>
                  </a:cubicBezTo>
                  <a:cubicBezTo>
                    <a:pt x="1188" y="1071"/>
                    <a:pt x="1183" y="1070"/>
                    <a:pt x="1180" y="1070"/>
                  </a:cubicBezTo>
                  <a:cubicBezTo>
                    <a:pt x="1166" y="1070"/>
                    <a:pt x="1153" y="1070"/>
                    <a:pt x="1139" y="1070"/>
                  </a:cubicBezTo>
                  <a:cubicBezTo>
                    <a:pt x="1139" y="1070"/>
                    <a:pt x="1139" y="1070"/>
                    <a:pt x="1139" y="1070"/>
                  </a:cubicBezTo>
                  <a:cubicBezTo>
                    <a:pt x="1126" y="1070"/>
                    <a:pt x="1113" y="1070"/>
                    <a:pt x="1099" y="1070"/>
                  </a:cubicBezTo>
                  <a:close/>
                  <a:moveTo>
                    <a:pt x="1741" y="1092"/>
                  </a:moveTo>
                  <a:cubicBezTo>
                    <a:pt x="1759" y="1092"/>
                    <a:pt x="1776" y="1092"/>
                    <a:pt x="1793" y="1092"/>
                  </a:cubicBezTo>
                  <a:cubicBezTo>
                    <a:pt x="1806" y="1092"/>
                    <a:pt x="1808" y="1089"/>
                    <a:pt x="1808" y="1076"/>
                  </a:cubicBezTo>
                  <a:cubicBezTo>
                    <a:pt x="1809" y="1063"/>
                    <a:pt x="1807" y="1051"/>
                    <a:pt x="1802" y="1038"/>
                  </a:cubicBezTo>
                  <a:cubicBezTo>
                    <a:pt x="1794" y="1021"/>
                    <a:pt x="1782" y="1008"/>
                    <a:pt x="1764" y="1000"/>
                  </a:cubicBezTo>
                  <a:cubicBezTo>
                    <a:pt x="1742" y="991"/>
                    <a:pt x="1720" y="991"/>
                    <a:pt x="1698" y="1000"/>
                  </a:cubicBezTo>
                  <a:cubicBezTo>
                    <a:pt x="1681" y="1006"/>
                    <a:pt x="1668" y="1016"/>
                    <a:pt x="1659" y="1031"/>
                  </a:cubicBezTo>
                  <a:cubicBezTo>
                    <a:pt x="1646" y="1050"/>
                    <a:pt x="1643" y="1071"/>
                    <a:pt x="1644" y="1094"/>
                  </a:cubicBezTo>
                  <a:cubicBezTo>
                    <a:pt x="1644" y="1110"/>
                    <a:pt x="1647" y="1127"/>
                    <a:pt x="1655" y="1141"/>
                  </a:cubicBezTo>
                  <a:cubicBezTo>
                    <a:pt x="1669" y="1168"/>
                    <a:pt x="1691" y="1183"/>
                    <a:pt x="1722" y="1186"/>
                  </a:cubicBezTo>
                  <a:cubicBezTo>
                    <a:pt x="1750" y="1188"/>
                    <a:pt x="1775" y="1183"/>
                    <a:pt x="1798" y="1165"/>
                  </a:cubicBezTo>
                  <a:cubicBezTo>
                    <a:pt x="1803" y="1161"/>
                    <a:pt x="1806" y="1157"/>
                    <a:pt x="1802" y="1151"/>
                  </a:cubicBezTo>
                  <a:cubicBezTo>
                    <a:pt x="1798" y="1144"/>
                    <a:pt x="1791" y="1140"/>
                    <a:pt x="1783" y="1144"/>
                  </a:cubicBezTo>
                  <a:cubicBezTo>
                    <a:pt x="1778" y="1147"/>
                    <a:pt x="1771" y="1149"/>
                    <a:pt x="1766" y="1152"/>
                  </a:cubicBezTo>
                  <a:cubicBezTo>
                    <a:pt x="1749" y="1161"/>
                    <a:pt x="1730" y="1162"/>
                    <a:pt x="1714" y="1155"/>
                  </a:cubicBezTo>
                  <a:cubicBezTo>
                    <a:pt x="1692" y="1145"/>
                    <a:pt x="1680" y="1127"/>
                    <a:pt x="1679" y="1102"/>
                  </a:cubicBezTo>
                  <a:cubicBezTo>
                    <a:pt x="1678" y="1095"/>
                    <a:pt x="1681" y="1092"/>
                    <a:pt x="1689" y="1092"/>
                  </a:cubicBezTo>
                  <a:cubicBezTo>
                    <a:pt x="1706" y="1092"/>
                    <a:pt x="1724" y="1092"/>
                    <a:pt x="1741" y="1092"/>
                  </a:cubicBezTo>
                  <a:cubicBezTo>
                    <a:pt x="1741" y="1092"/>
                    <a:pt x="1741" y="1092"/>
                    <a:pt x="1741" y="1092"/>
                  </a:cubicBezTo>
                  <a:close/>
                  <a:moveTo>
                    <a:pt x="1690" y="1070"/>
                  </a:moveTo>
                  <a:cubicBezTo>
                    <a:pt x="1683" y="1071"/>
                    <a:pt x="1680" y="1068"/>
                    <a:pt x="1681" y="1062"/>
                  </a:cubicBezTo>
                  <a:cubicBezTo>
                    <a:pt x="1683" y="1048"/>
                    <a:pt x="1697" y="1024"/>
                    <a:pt x="1716" y="1022"/>
                  </a:cubicBezTo>
                  <a:cubicBezTo>
                    <a:pt x="1731" y="1020"/>
                    <a:pt x="1747" y="1018"/>
                    <a:pt x="1760" y="1030"/>
                  </a:cubicBezTo>
                  <a:cubicBezTo>
                    <a:pt x="1771" y="1038"/>
                    <a:pt x="1775" y="1050"/>
                    <a:pt x="1778" y="1062"/>
                  </a:cubicBezTo>
                  <a:cubicBezTo>
                    <a:pt x="1780" y="1068"/>
                    <a:pt x="1775" y="1070"/>
                    <a:pt x="1769" y="1070"/>
                  </a:cubicBezTo>
                  <a:cubicBezTo>
                    <a:pt x="1756" y="1070"/>
                    <a:pt x="1742" y="1070"/>
                    <a:pt x="1729" y="1070"/>
                  </a:cubicBezTo>
                  <a:cubicBezTo>
                    <a:pt x="1729" y="1070"/>
                    <a:pt x="1729" y="1070"/>
                    <a:pt x="1729" y="1070"/>
                  </a:cubicBezTo>
                  <a:cubicBezTo>
                    <a:pt x="1716" y="1070"/>
                    <a:pt x="1703" y="1070"/>
                    <a:pt x="1690" y="1070"/>
                  </a:cubicBezTo>
                  <a:close/>
                  <a:moveTo>
                    <a:pt x="68" y="581"/>
                  </a:moveTo>
                  <a:cubicBezTo>
                    <a:pt x="68" y="573"/>
                    <a:pt x="70" y="568"/>
                    <a:pt x="80" y="569"/>
                  </a:cubicBezTo>
                  <a:cubicBezTo>
                    <a:pt x="90" y="570"/>
                    <a:pt x="101" y="570"/>
                    <a:pt x="111" y="569"/>
                  </a:cubicBezTo>
                  <a:cubicBezTo>
                    <a:pt x="120" y="569"/>
                    <a:pt x="120" y="563"/>
                    <a:pt x="120" y="556"/>
                  </a:cubicBezTo>
                  <a:cubicBezTo>
                    <a:pt x="120" y="549"/>
                    <a:pt x="119" y="544"/>
                    <a:pt x="111" y="544"/>
                  </a:cubicBezTo>
                  <a:cubicBezTo>
                    <a:pt x="104" y="544"/>
                    <a:pt x="97" y="544"/>
                    <a:pt x="91" y="544"/>
                  </a:cubicBezTo>
                  <a:cubicBezTo>
                    <a:pt x="66" y="544"/>
                    <a:pt x="65" y="543"/>
                    <a:pt x="68" y="518"/>
                  </a:cubicBezTo>
                  <a:cubicBezTo>
                    <a:pt x="69" y="504"/>
                    <a:pt x="83" y="487"/>
                    <a:pt x="99" y="489"/>
                  </a:cubicBezTo>
                  <a:cubicBezTo>
                    <a:pt x="103" y="489"/>
                    <a:pt x="107" y="489"/>
                    <a:pt x="110" y="488"/>
                  </a:cubicBezTo>
                  <a:cubicBezTo>
                    <a:pt x="118" y="487"/>
                    <a:pt x="123" y="479"/>
                    <a:pt x="123" y="471"/>
                  </a:cubicBezTo>
                  <a:cubicBezTo>
                    <a:pt x="123" y="461"/>
                    <a:pt x="116" y="462"/>
                    <a:pt x="109" y="460"/>
                  </a:cubicBezTo>
                  <a:cubicBezTo>
                    <a:pt x="100" y="458"/>
                    <a:pt x="92" y="460"/>
                    <a:pt x="84" y="460"/>
                  </a:cubicBezTo>
                  <a:cubicBezTo>
                    <a:pt x="68" y="461"/>
                    <a:pt x="56" y="469"/>
                    <a:pt x="47" y="480"/>
                  </a:cubicBezTo>
                  <a:cubicBezTo>
                    <a:pt x="34" y="493"/>
                    <a:pt x="32" y="511"/>
                    <a:pt x="32" y="529"/>
                  </a:cubicBezTo>
                  <a:cubicBezTo>
                    <a:pt x="32" y="544"/>
                    <a:pt x="32" y="544"/>
                    <a:pt x="17" y="544"/>
                  </a:cubicBezTo>
                  <a:cubicBezTo>
                    <a:pt x="4" y="543"/>
                    <a:pt x="0" y="548"/>
                    <a:pt x="4" y="561"/>
                  </a:cubicBezTo>
                  <a:cubicBezTo>
                    <a:pt x="6" y="569"/>
                    <a:pt x="13" y="568"/>
                    <a:pt x="19" y="569"/>
                  </a:cubicBezTo>
                  <a:cubicBezTo>
                    <a:pt x="32" y="571"/>
                    <a:pt x="32" y="571"/>
                    <a:pt x="32" y="584"/>
                  </a:cubicBezTo>
                  <a:cubicBezTo>
                    <a:pt x="32" y="624"/>
                    <a:pt x="32" y="664"/>
                    <a:pt x="32" y="704"/>
                  </a:cubicBezTo>
                  <a:cubicBezTo>
                    <a:pt x="32" y="731"/>
                    <a:pt x="32" y="730"/>
                    <a:pt x="57" y="731"/>
                  </a:cubicBezTo>
                  <a:cubicBezTo>
                    <a:pt x="66" y="731"/>
                    <a:pt x="68" y="727"/>
                    <a:pt x="68" y="720"/>
                  </a:cubicBezTo>
                  <a:cubicBezTo>
                    <a:pt x="68" y="697"/>
                    <a:pt x="68" y="674"/>
                    <a:pt x="68" y="651"/>
                  </a:cubicBezTo>
                  <a:cubicBezTo>
                    <a:pt x="68" y="628"/>
                    <a:pt x="68" y="605"/>
                    <a:pt x="68" y="581"/>
                  </a:cubicBezTo>
                  <a:close/>
                  <a:moveTo>
                    <a:pt x="278" y="1165"/>
                  </a:moveTo>
                  <a:cubicBezTo>
                    <a:pt x="278" y="1183"/>
                    <a:pt x="278" y="1183"/>
                    <a:pt x="296" y="1184"/>
                  </a:cubicBezTo>
                  <a:cubicBezTo>
                    <a:pt x="310" y="1184"/>
                    <a:pt x="310" y="1184"/>
                    <a:pt x="310" y="1169"/>
                  </a:cubicBezTo>
                  <a:cubicBezTo>
                    <a:pt x="310" y="1132"/>
                    <a:pt x="310" y="1095"/>
                    <a:pt x="310" y="1058"/>
                  </a:cubicBezTo>
                  <a:cubicBezTo>
                    <a:pt x="310" y="1052"/>
                    <a:pt x="312" y="1047"/>
                    <a:pt x="316" y="1042"/>
                  </a:cubicBezTo>
                  <a:cubicBezTo>
                    <a:pt x="324" y="1033"/>
                    <a:pt x="334" y="1027"/>
                    <a:pt x="345" y="1024"/>
                  </a:cubicBezTo>
                  <a:cubicBezTo>
                    <a:pt x="357" y="1020"/>
                    <a:pt x="371" y="1018"/>
                    <a:pt x="383" y="1028"/>
                  </a:cubicBezTo>
                  <a:cubicBezTo>
                    <a:pt x="397" y="1039"/>
                    <a:pt x="401" y="1054"/>
                    <a:pt x="401" y="1071"/>
                  </a:cubicBezTo>
                  <a:cubicBezTo>
                    <a:pt x="401" y="1102"/>
                    <a:pt x="401" y="1132"/>
                    <a:pt x="401" y="1163"/>
                  </a:cubicBezTo>
                  <a:cubicBezTo>
                    <a:pt x="401" y="1183"/>
                    <a:pt x="401" y="1182"/>
                    <a:pt x="420" y="1184"/>
                  </a:cubicBezTo>
                  <a:cubicBezTo>
                    <a:pt x="429" y="1185"/>
                    <a:pt x="433" y="1181"/>
                    <a:pt x="433" y="1173"/>
                  </a:cubicBezTo>
                  <a:cubicBezTo>
                    <a:pt x="432" y="1130"/>
                    <a:pt x="435" y="1087"/>
                    <a:pt x="431" y="1044"/>
                  </a:cubicBezTo>
                  <a:cubicBezTo>
                    <a:pt x="427" y="1014"/>
                    <a:pt x="404" y="996"/>
                    <a:pt x="376" y="994"/>
                  </a:cubicBezTo>
                  <a:cubicBezTo>
                    <a:pt x="353" y="992"/>
                    <a:pt x="333" y="1000"/>
                    <a:pt x="317" y="1017"/>
                  </a:cubicBezTo>
                  <a:cubicBezTo>
                    <a:pt x="312" y="1021"/>
                    <a:pt x="311" y="1019"/>
                    <a:pt x="309" y="1015"/>
                  </a:cubicBezTo>
                  <a:cubicBezTo>
                    <a:pt x="309" y="1013"/>
                    <a:pt x="308" y="1011"/>
                    <a:pt x="308" y="1008"/>
                  </a:cubicBezTo>
                  <a:cubicBezTo>
                    <a:pt x="306" y="1001"/>
                    <a:pt x="298" y="997"/>
                    <a:pt x="287" y="998"/>
                  </a:cubicBezTo>
                  <a:cubicBezTo>
                    <a:pt x="279" y="999"/>
                    <a:pt x="278" y="1004"/>
                    <a:pt x="278" y="1011"/>
                  </a:cubicBezTo>
                  <a:cubicBezTo>
                    <a:pt x="278" y="1037"/>
                    <a:pt x="278" y="1064"/>
                    <a:pt x="278" y="1091"/>
                  </a:cubicBezTo>
                  <a:cubicBezTo>
                    <a:pt x="278" y="1115"/>
                    <a:pt x="278" y="1140"/>
                    <a:pt x="278" y="1165"/>
                  </a:cubicBezTo>
                  <a:close/>
                  <a:moveTo>
                    <a:pt x="150" y="705"/>
                  </a:moveTo>
                  <a:cubicBezTo>
                    <a:pt x="150" y="734"/>
                    <a:pt x="145" y="730"/>
                    <a:pt x="176" y="731"/>
                  </a:cubicBezTo>
                  <a:cubicBezTo>
                    <a:pt x="185" y="731"/>
                    <a:pt x="187" y="727"/>
                    <a:pt x="187" y="719"/>
                  </a:cubicBezTo>
                  <a:cubicBezTo>
                    <a:pt x="187" y="685"/>
                    <a:pt x="187" y="651"/>
                    <a:pt x="187" y="618"/>
                  </a:cubicBezTo>
                  <a:cubicBezTo>
                    <a:pt x="187" y="597"/>
                    <a:pt x="204" y="578"/>
                    <a:pt x="225" y="574"/>
                  </a:cubicBezTo>
                  <a:cubicBezTo>
                    <a:pt x="232" y="572"/>
                    <a:pt x="240" y="574"/>
                    <a:pt x="247" y="575"/>
                  </a:cubicBezTo>
                  <a:cubicBezTo>
                    <a:pt x="257" y="576"/>
                    <a:pt x="261" y="572"/>
                    <a:pt x="265" y="564"/>
                  </a:cubicBezTo>
                  <a:cubicBezTo>
                    <a:pt x="269" y="556"/>
                    <a:pt x="267" y="542"/>
                    <a:pt x="261" y="540"/>
                  </a:cubicBezTo>
                  <a:cubicBezTo>
                    <a:pt x="253" y="538"/>
                    <a:pt x="244" y="534"/>
                    <a:pt x="237" y="536"/>
                  </a:cubicBezTo>
                  <a:cubicBezTo>
                    <a:pt x="228" y="537"/>
                    <a:pt x="217" y="537"/>
                    <a:pt x="209" y="544"/>
                  </a:cubicBezTo>
                  <a:cubicBezTo>
                    <a:pt x="204" y="549"/>
                    <a:pt x="198" y="553"/>
                    <a:pt x="194" y="558"/>
                  </a:cubicBezTo>
                  <a:cubicBezTo>
                    <a:pt x="192" y="561"/>
                    <a:pt x="189" y="563"/>
                    <a:pt x="185" y="562"/>
                  </a:cubicBezTo>
                  <a:cubicBezTo>
                    <a:pt x="182" y="561"/>
                    <a:pt x="182" y="558"/>
                    <a:pt x="182" y="556"/>
                  </a:cubicBezTo>
                  <a:cubicBezTo>
                    <a:pt x="180" y="539"/>
                    <a:pt x="179" y="539"/>
                    <a:pt x="162" y="539"/>
                  </a:cubicBezTo>
                  <a:cubicBezTo>
                    <a:pt x="151" y="539"/>
                    <a:pt x="150" y="540"/>
                    <a:pt x="150" y="551"/>
                  </a:cubicBezTo>
                  <a:cubicBezTo>
                    <a:pt x="150" y="579"/>
                    <a:pt x="150" y="607"/>
                    <a:pt x="150" y="635"/>
                  </a:cubicBezTo>
                  <a:cubicBezTo>
                    <a:pt x="150" y="658"/>
                    <a:pt x="149" y="682"/>
                    <a:pt x="150" y="705"/>
                  </a:cubicBezTo>
                  <a:close/>
                  <a:moveTo>
                    <a:pt x="1011" y="1049"/>
                  </a:moveTo>
                  <a:cubicBezTo>
                    <a:pt x="1011" y="1008"/>
                    <a:pt x="1011" y="966"/>
                    <a:pt x="1011" y="924"/>
                  </a:cubicBezTo>
                  <a:cubicBezTo>
                    <a:pt x="1011" y="913"/>
                    <a:pt x="1008" y="910"/>
                    <a:pt x="997" y="910"/>
                  </a:cubicBezTo>
                  <a:cubicBezTo>
                    <a:pt x="995" y="910"/>
                    <a:pt x="992" y="910"/>
                    <a:pt x="990" y="910"/>
                  </a:cubicBezTo>
                  <a:cubicBezTo>
                    <a:pt x="976" y="910"/>
                    <a:pt x="975" y="911"/>
                    <a:pt x="975" y="926"/>
                  </a:cubicBezTo>
                  <a:cubicBezTo>
                    <a:pt x="975" y="1006"/>
                    <a:pt x="975" y="1085"/>
                    <a:pt x="975" y="1165"/>
                  </a:cubicBezTo>
                  <a:cubicBezTo>
                    <a:pt x="975" y="1185"/>
                    <a:pt x="975" y="1185"/>
                    <a:pt x="994" y="1185"/>
                  </a:cubicBezTo>
                  <a:cubicBezTo>
                    <a:pt x="1009" y="1185"/>
                    <a:pt x="1011" y="1184"/>
                    <a:pt x="1011" y="1169"/>
                  </a:cubicBezTo>
                  <a:cubicBezTo>
                    <a:pt x="1011" y="1129"/>
                    <a:pt x="1011" y="1089"/>
                    <a:pt x="1011" y="1049"/>
                  </a:cubicBezTo>
                  <a:cubicBezTo>
                    <a:pt x="1011" y="1049"/>
                    <a:pt x="1011" y="1049"/>
                    <a:pt x="1011" y="1049"/>
                  </a:cubicBezTo>
                  <a:close/>
                  <a:moveTo>
                    <a:pt x="296" y="176"/>
                  </a:moveTo>
                  <a:cubicBezTo>
                    <a:pt x="296" y="201"/>
                    <a:pt x="296" y="226"/>
                    <a:pt x="296" y="251"/>
                  </a:cubicBezTo>
                  <a:cubicBezTo>
                    <a:pt x="295" y="276"/>
                    <a:pt x="296" y="274"/>
                    <a:pt x="318" y="274"/>
                  </a:cubicBezTo>
                  <a:cubicBezTo>
                    <a:pt x="330" y="274"/>
                    <a:pt x="331" y="274"/>
                    <a:pt x="331" y="260"/>
                  </a:cubicBezTo>
                  <a:cubicBezTo>
                    <a:pt x="331" y="232"/>
                    <a:pt x="331" y="204"/>
                    <a:pt x="331" y="176"/>
                  </a:cubicBezTo>
                  <a:cubicBezTo>
                    <a:pt x="331" y="165"/>
                    <a:pt x="331" y="155"/>
                    <a:pt x="337" y="145"/>
                  </a:cubicBezTo>
                  <a:cubicBezTo>
                    <a:pt x="349" y="123"/>
                    <a:pt x="359" y="117"/>
                    <a:pt x="377" y="118"/>
                  </a:cubicBezTo>
                  <a:cubicBezTo>
                    <a:pt x="383" y="118"/>
                    <a:pt x="389" y="119"/>
                    <a:pt x="395" y="120"/>
                  </a:cubicBezTo>
                  <a:cubicBezTo>
                    <a:pt x="401" y="120"/>
                    <a:pt x="407" y="118"/>
                    <a:pt x="408" y="112"/>
                  </a:cubicBezTo>
                  <a:cubicBezTo>
                    <a:pt x="409" y="103"/>
                    <a:pt x="415" y="93"/>
                    <a:pt x="407" y="85"/>
                  </a:cubicBezTo>
                  <a:cubicBezTo>
                    <a:pt x="406" y="84"/>
                    <a:pt x="404" y="84"/>
                    <a:pt x="402" y="84"/>
                  </a:cubicBezTo>
                  <a:cubicBezTo>
                    <a:pt x="376" y="78"/>
                    <a:pt x="353" y="82"/>
                    <a:pt x="337" y="106"/>
                  </a:cubicBezTo>
                  <a:cubicBezTo>
                    <a:pt x="336" y="108"/>
                    <a:pt x="335" y="110"/>
                    <a:pt x="333" y="109"/>
                  </a:cubicBezTo>
                  <a:cubicBezTo>
                    <a:pt x="331" y="109"/>
                    <a:pt x="330" y="107"/>
                    <a:pt x="330" y="105"/>
                  </a:cubicBezTo>
                  <a:cubicBezTo>
                    <a:pt x="329" y="101"/>
                    <a:pt x="329" y="97"/>
                    <a:pt x="328" y="94"/>
                  </a:cubicBezTo>
                  <a:cubicBezTo>
                    <a:pt x="325" y="85"/>
                    <a:pt x="318" y="82"/>
                    <a:pt x="303" y="84"/>
                  </a:cubicBezTo>
                  <a:cubicBezTo>
                    <a:pt x="297" y="84"/>
                    <a:pt x="295" y="86"/>
                    <a:pt x="295" y="92"/>
                  </a:cubicBezTo>
                  <a:cubicBezTo>
                    <a:pt x="296" y="120"/>
                    <a:pt x="295" y="148"/>
                    <a:pt x="295" y="176"/>
                  </a:cubicBezTo>
                  <a:cubicBezTo>
                    <a:pt x="296" y="176"/>
                    <a:pt x="296" y="176"/>
                    <a:pt x="296" y="176"/>
                  </a:cubicBezTo>
                  <a:close/>
                  <a:moveTo>
                    <a:pt x="946" y="179"/>
                  </a:moveTo>
                  <a:cubicBezTo>
                    <a:pt x="946" y="197"/>
                    <a:pt x="946" y="215"/>
                    <a:pt x="946" y="234"/>
                  </a:cubicBezTo>
                  <a:cubicBezTo>
                    <a:pt x="946" y="248"/>
                    <a:pt x="951" y="260"/>
                    <a:pt x="963" y="268"/>
                  </a:cubicBezTo>
                  <a:cubicBezTo>
                    <a:pt x="982" y="280"/>
                    <a:pt x="1011" y="277"/>
                    <a:pt x="1029" y="264"/>
                  </a:cubicBezTo>
                  <a:cubicBezTo>
                    <a:pt x="1036" y="259"/>
                    <a:pt x="1036" y="254"/>
                    <a:pt x="1032" y="248"/>
                  </a:cubicBezTo>
                  <a:cubicBezTo>
                    <a:pt x="1026" y="239"/>
                    <a:pt x="1020" y="238"/>
                    <a:pt x="1013" y="242"/>
                  </a:cubicBezTo>
                  <a:cubicBezTo>
                    <a:pt x="996" y="252"/>
                    <a:pt x="978" y="243"/>
                    <a:pt x="978" y="223"/>
                  </a:cubicBezTo>
                  <a:cubicBezTo>
                    <a:pt x="978" y="190"/>
                    <a:pt x="978" y="157"/>
                    <a:pt x="978" y="123"/>
                  </a:cubicBezTo>
                  <a:cubicBezTo>
                    <a:pt x="978" y="116"/>
                    <a:pt x="981" y="113"/>
                    <a:pt x="988" y="113"/>
                  </a:cubicBezTo>
                  <a:cubicBezTo>
                    <a:pt x="999" y="114"/>
                    <a:pt x="1011" y="113"/>
                    <a:pt x="1022" y="113"/>
                  </a:cubicBezTo>
                  <a:cubicBezTo>
                    <a:pt x="1028" y="113"/>
                    <a:pt x="1033" y="112"/>
                    <a:pt x="1033" y="104"/>
                  </a:cubicBezTo>
                  <a:cubicBezTo>
                    <a:pt x="1033" y="96"/>
                    <a:pt x="1032" y="90"/>
                    <a:pt x="1022" y="90"/>
                  </a:cubicBezTo>
                  <a:cubicBezTo>
                    <a:pt x="1011" y="90"/>
                    <a:pt x="1001" y="90"/>
                    <a:pt x="990" y="90"/>
                  </a:cubicBezTo>
                  <a:cubicBezTo>
                    <a:pt x="981" y="91"/>
                    <a:pt x="977" y="88"/>
                    <a:pt x="978" y="78"/>
                  </a:cubicBezTo>
                  <a:cubicBezTo>
                    <a:pt x="978" y="64"/>
                    <a:pt x="978" y="49"/>
                    <a:pt x="978" y="35"/>
                  </a:cubicBezTo>
                  <a:cubicBezTo>
                    <a:pt x="978" y="30"/>
                    <a:pt x="978" y="25"/>
                    <a:pt x="971" y="24"/>
                  </a:cubicBezTo>
                  <a:cubicBezTo>
                    <a:pt x="964" y="24"/>
                    <a:pt x="956" y="24"/>
                    <a:pt x="955" y="32"/>
                  </a:cubicBezTo>
                  <a:cubicBezTo>
                    <a:pt x="952" y="43"/>
                    <a:pt x="949" y="54"/>
                    <a:pt x="949" y="65"/>
                  </a:cubicBezTo>
                  <a:cubicBezTo>
                    <a:pt x="948" y="88"/>
                    <a:pt x="947" y="88"/>
                    <a:pt x="924" y="91"/>
                  </a:cubicBezTo>
                  <a:cubicBezTo>
                    <a:pt x="919" y="92"/>
                    <a:pt x="914" y="92"/>
                    <a:pt x="914" y="99"/>
                  </a:cubicBezTo>
                  <a:cubicBezTo>
                    <a:pt x="915" y="107"/>
                    <a:pt x="917" y="113"/>
                    <a:pt x="926" y="113"/>
                  </a:cubicBezTo>
                  <a:cubicBezTo>
                    <a:pt x="929" y="114"/>
                    <a:pt x="932" y="113"/>
                    <a:pt x="935" y="113"/>
                  </a:cubicBezTo>
                  <a:cubicBezTo>
                    <a:pt x="943" y="113"/>
                    <a:pt x="946" y="116"/>
                    <a:pt x="946" y="124"/>
                  </a:cubicBezTo>
                  <a:cubicBezTo>
                    <a:pt x="946" y="142"/>
                    <a:pt x="946" y="161"/>
                    <a:pt x="946" y="179"/>
                  </a:cubicBezTo>
                  <a:cubicBezTo>
                    <a:pt x="946" y="179"/>
                    <a:pt x="946" y="179"/>
                    <a:pt x="946" y="179"/>
                  </a:cubicBezTo>
                  <a:close/>
                </a:path>
              </a:pathLst>
            </a:custGeom>
            <a:solidFill>
              <a:srgbClr val="4C505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grpSp>
          <p:nvGrpSpPr>
            <p:cNvPr id="18" name="Group 4">
              <a:extLst>
                <a:ext uri="{FF2B5EF4-FFF2-40B4-BE49-F238E27FC236}">
                  <a16:creationId xmlns:a16="http://schemas.microsoft.com/office/drawing/2014/main" id="{57BD2C4C-DC67-B843-B26C-309622FC75F7}"/>
                </a:ext>
              </a:extLst>
            </p:cNvPr>
            <p:cNvGrpSpPr>
              <a:grpSpLocks noChangeAspect="1"/>
            </p:cNvGrpSpPr>
            <p:nvPr/>
          </p:nvGrpSpPr>
          <p:grpSpPr bwMode="gray">
            <a:xfrm>
              <a:off x="334963" y="296652"/>
              <a:ext cx="538094" cy="540000"/>
              <a:chOff x="2711" y="1027"/>
              <a:chExt cx="2258" cy="2266"/>
            </a:xfrm>
          </p:grpSpPr>
          <p:sp>
            <p:nvSpPr>
              <p:cNvPr id="19" name="AutoShape 3">
                <a:extLst>
                  <a:ext uri="{FF2B5EF4-FFF2-40B4-BE49-F238E27FC236}">
                    <a16:creationId xmlns:a16="http://schemas.microsoft.com/office/drawing/2014/main" id="{FE1DC41B-291E-574C-9F2C-874E70A40758}"/>
                  </a:ext>
                </a:extLst>
              </p:cNvPr>
              <p:cNvSpPr>
                <a:spLocks noChangeAspect="1" noChangeArrowheads="1" noTextEdit="1"/>
              </p:cNvSpPr>
              <p:nvPr/>
            </p:nvSpPr>
            <p:spPr bwMode="gray">
              <a:xfrm>
                <a:off x="2711" y="1027"/>
                <a:ext cx="2258" cy="22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20" name="Freeform 5">
                <a:extLst>
                  <a:ext uri="{FF2B5EF4-FFF2-40B4-BE49-F238E27FC236}">
                    <a16:creationId xmlns:a16="http://schemas.microsoft.com/office/drawing/2014/main" id="{D4B633C8-F761-C54B-9BD2-EB59D49A2DBC}"/>
                  </a:ext>
                </a:extLst>
              </p:cNvPr>
              <p:cNvSpPr>
                <a:spLocks/>
              </p:cNvSpPr>
              <p:nvPr/>
            </p:nvSpPr>
            <p:spPr bwMode="gray">
              <a:xfrm>
                <a:off x="2709" y="1029"/>
                <a:ext cx="2260" cy="2262"/>
              </a:xfrm>
              <a:custGeom>
                <a:avLst/>
                <a:gdLst>
                  <a:gd name="T0" fmla="*/ 2260 w 2260"/>
                  <a:gd name="T1" fmla="*/ 0 h 2262"/>
                  <a:gd name="T2" fmla="*/ 1612 w 2260"/>
                  <a:gd name="T3" fmla="*/ 649 h 2262"/>
                  <a:gd name="T4" fmla="*/ 1612 w 2260"/>
                  <a:gd name="T5" fmla="*/ 649 h 2262"/>
                  <a:gd name="T6" fmla="*/ 2035 w 2260"/>
                  <a:gd name="T7" fmla="*/ 0 h 2262"/>
                  <a:gd name="T8" fmla="*/ 0 w 2260"/>
                  <a:gd name="T9" fmla="*/ 0 h 2262"/>
                  <a:gd name="T10" fmla="*/ 0 w 2260"/>
                  <a:gd name="T11" fmla="*/ 2262 h 2262"/>
                  <a:gd name="T12" fmla="*/ 2260 w 2260"/>
                  <a:gd name="T13" fmla="*/ 2262 h 2262"/>
                  <a:gd name="T14" fmla="*/ 2260 w 2260"/>
                  <a:gd name="T15" fmla="*/ 0 h 2262"/>
                  <a:gd name="T16" fmla="*/ 2260 w 2260"/>
                  <a:gd name="T17" fmla="*/ 0 h 2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0" h="2262">
                    <a:moveTo>
                      <a:pt x="2260" y="0"/>
                    </a:moveTo>
                    <a:lnTo>
                      <a:pt x="1612" y="649"/>
                    </a:lnTo>
                    <a:lnTo>
                      <a:pt x="1612" y="649"/>
                    </a:lnTo>
                    <a:lnTo>
                      <a:pt x="2035" y="0"/>
                    </a:lnTo>
                    <a:lnTo>
                      <a:pt x="0" y="0"/>
                    </a:lnTo>
                    <a:lnTo>
                      <a:pt x="0" y="2262"/>
                    </a:lnTo>
                    <a:lnTo>
                      <a:pt x="2260" y="2262"/>
                    </a:lnTo>
                    <a:lnTo>
                      <a:pt x="2260" y="0"/>
                    </a:lnTo>
                    <a:lnTo>
                      <a:pt x="2260" y="0"/>
                    </a:lnTo>
                    <a:close/>
                  </a:path>
                </a:pathLst>
              </a:custGeom>
              <a:solidFill>
                <a:srgbClr val="E55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21" name="Freeform 6">
                <a:extLst>
                  <a:ext uri="{FF2B5EF4-FFF2-40B4-BE49-F238E27FC236}">
                    <a16:creationId xmlns:a16="http://schemas.microsoft.com/office/drawing/2014/main" id="{B16BAAE4-1A41-C843-9754-490F7A1E1270}"/>
                  </a:ext>
                </a:extLst>
              </p:cNvPr>
              <p:cNvSpPr>
                <a:spLocks noEditPoints="1"/>
              </p:cNvSpPr>
              <p:nvPr/>
            </p:nvSpPr>
            <p:spPr bwMode="gray">
              <a:xfrm>
                <a:off x="3623" y="1696"/>
                <a:ext cx="1167" cy="922"/>
              </a:xfrm>
              <a:custGeom>
                <a:avLst/>
                <a:gdLst>
                  <a:gd name="T0" fmla="*/ 411 w 580"/>
                  <a:gd name="T1" fmla="*/ 213 h 458"/>
                  <a:gd name="T2" fmla="*/ 570 w 580"/>
                  <a:gd name="T3" fmla="*/ 37 h 458"/>
                  <a:gd name="T4" fmla="*/ 580 w 580"/>
                  <a:gd name="T5" fmla="*/ 20 h 458"/>
                  <a:gd name="T6" fmla="*/ 545 w 580"/>
                  <a:gd name="T7" fmla="*/ 0 h 458"/>
                  <a:gd name="T8" fmla="*/ 519 w 580"/>
                  <a:gd name="T9" fmla="*/ 16 h 458"/>
                  <a:gd name="T10" fmla="*/ 344 w 580"/>
                  <a:gd name="T11" fmla="*/ 210 h 458"/>
                  <a:gd name="T12" fmla="*/ 334 w 580"/>
                  <a:gd name="T13" fmla="*/ 229 h 458"/>
                  <a:gd name="T14" fmla="*/ 344 w 580"/>
                  <a:gd name="T15" fmla="*/ 248 h 458"/>
                  <a:gd name="T16" fmla="*/ 519 w 580"/>
                  <a:gd name="T17" fmla="*/ 442 h 458"/>
                  <a:gd name="T18" fmla="*/ 545 w 580"/>
                  <a:gd name="T19" fmla="*/ 458 h 458"/>
                  <a:gd name="T20" fmla="*/ 580 w 580"/>
                  <a:gd name="T21" fmla="*/ 438 h 458"/>
                  <a:gd name="T22" fmla="*/ 570 w 580"/>
                  <a:gd name="T23" fmla="*/ 421 h 458"/>
                  <a:gd name="T24" fmla="*/ 411 w 580"/>
                  <a:gd name="T25" fmla="*/ 245 h 458"/>
                  <a:gd name="T26" fmla="*/ 399 w 580"/>
                  <a:gd name="T27" fmla="*/ 229 h 458"/>
                  <a:gd name="T28" fmla="*/ 411 w 580"/>
                  <a:gd name="T29" fmla="*/ 213 h 458"/>
                  <a:gd name="T30" fmla="*/ 252 w 580"/>
                  <a:gd name="T31" fmla="*/ 439 h 458"/>
                  <a:gd name="T32" fmla="*/ 281 w 580"/>
                  <a:gd name="T33" fmla="*/ 454 h 458"/>
                  <a:gd name="T34" fmla="*/ 309 w 580"/>
                  <a:gd name="T35" fmla="*/ 439 h 458"/>
                  <a:gd name="T36" fmla="*/ 309 w 580"/>
                  <a:gd name="T37" fmla="*/ 19 h 458"/>
                  <a:gd name="T38" fmla="*/ 281 w 580"/>
                  <a:gd name="T39" fmla="*/ 4 h 458"/>
                  <a:gd name="T40" fmla="*/ 252 w 580"/>
                  <a:gd name="T41" fmla="*/ 19 h 458"/>
                  <a:gd name="T42" fmla="*/ 252 w 580"/>
                  <a:gd name="T43" fmla="*/ 439 h 458"/>
                  <a:gd name="T44" fmla="*/ 0 w 580"/>
                  <a:gd name="T45" fmla="*/ 439 h 458"/>
                  <a:gd name="T46" fmla="*/ 28 w 580"/>
                  <a:gd name="T47" fmla="*/ 454 h 458"/>
                  <a:gd name="T48" fmla="*/ 56 w 580"/>
                  <a:gd name="T49" fmla="*/ 439 h 458"/>
                  <a:gd name="T50" fmla="*/ 56 w 580"/>
                  <a:gd name="T51" fmla="*/ 157 h 458"/>
                  <a:gd name="T52" fmla="*/ 165 w 580"/>
                  <a:gd name="T53" fmla="*/ 53 h 458"/>
                  <a:gd name="T54" fmla="*/ 180 w 580"/>
                  <a:gd name="T55" fmla="*/ 53 h 458"/>
                  <a:gd name="T56" fmla="*/ 196 w 580"/>
                  <a:gd name="T57" fmla="*/ 27 h 458"/>
                  <a:gd name="T58" fmla="*/ 154 w 580"/>
                  <a:gd name="T59" fmla="*/ 4 h 458"/>
                  <a:gd name="T60" fmla="*/ 0 w 580"/>
                  <a:gd name="T61" fmla="*/ 152 h 458"/>
                  <a:gd name="T62" fmla="*/ 0 w 580"/>
                  <a:gd name="T63" fmla="*/ 439 h 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80" h="458">
                    <a:moveTo>
                      <a:pt x="411" y="213"/>
                    </a:moveTo>
                    <a:cubicBezTo>
                      <a:pt x="570" y="37"/>
                      <a:pt x="570" y="37"/>
                      <a:pt x="570" y="37"/>
                    </a:cubicBezTo>
                    <a:cubicBezTo>
                      <a:pt x="576" y="30"/>
                      <a:pt x="580" y="25"/>
                      <a:pt x="580" y="20"/>
                    </a:cubicBezTo>
                    <a:cubicBezTo>
                      <a:pt x="580" y="10"/>
                      <a:pt x="559" y="0"/>
                      <a:pt x="545" y="0"/>
                    </a:cubicBezTo>
                    <a:cubicBezTo>
                      <a:pt x="535" y="0"/>
                      <a:pt x="526" y="8"/>
                      <a:pt x="519" y="16"/>
                    </a:cubicBezTo>
                    <a:cubicBezTo>
                      <a:pt x="344" y="210"/>
                      <a:pt x="344" y="210"/>
                      <a:pt x="344" y="210"/>
                    </a:cubicBezTo>
                    <a:cubicBezTo>
                      <a:pt x="336" y="219"/>
                      <a:pt x="334" y="224"/>
                      <a:pt x="334" y="229"/>
                    </a:cubicBezTo>
                    <a:cubicBezTo>
                      <a:pt x="334" y="234"/>
                      <a:pt x="336" y="239"/>
                      <a:pt x="344" y="248"/>
                    </a:cubicBezTo>
                    <a:cubicBezTo>
                      <a:pt x="519" y="442"/>
                      <a:pt x="519" y="442"/>
                      <a:pt x="519" y="442"/>
                    </a:cubicBezTo>
                    <a:cubicBezTo>
                      <a:pt x="526" y="450"/>
                      <a:pt x="535" y="458"/>
                      <a:pt x="545" y="458"/>
                    </a:cubicBezTo>
                    <a:cubicBezTo>
                      <a:pt x="559" y="458"/>
                      <a:pt x="580" y="448"/>
                      <a:pt x="580" y="438"/>
                    </a:cubicBezTo>
                    <a:cubicBezTo>
                      <a:pt x="580" y="433"/>
                      <a:pt x="576" y="428"/>
                      <a:pt x="570" y="421"/>
                    </a:cubicBezTo>
                    <a:cubicBezTo>
                      <a:pt x="411" y="245"/>
                      <a:pt x="411" y="245"/>
                      <a:pt x="411" y="245"/>
                    </a:cubicBezTo>
                    <a:cubicBezTo>
                      <a:pt x="403" y="236"/>
                      <a:pt x="399" y="232"/>
                      <a:pt x="399" y="229"/>
                    </a:cubicBezTo>
                    <a:cubicBezTo>
                      <a:pt x="399" y="226"/>
                      <a:pt x="403" y="222"/>
                      <a:pt x="411" y="213"/>
                    </a:cubicBezTo>
                    <a:moveTo>
                      <a:pt x="252" y="439"/>
                    </a:moveTo>
                    <a:cubicBezTo>
                      <a:pt x="252" y="449"/>
                      <a:pt x="261" y="454"/>
                      <a:pt x="281" y="454"/>
                    </a:cubicBezTo>
                    <a:cubicBezTo>
                      <a:pt x="300" y="454"/>
                      <a:pt x="309" y="449"/>
                      <a:pt x="309" y="439"/>
                    </a:cubicBezTo>
                    <a:cubicBezTo>
                      <a:pt x="309" y="19"/>
                      <a:pt x="309" y="19"/>
                      <a:pt x="309" y="19"/>
                    </a:cubicBezTo>
                    <a:cubicBezTo>
                      <a:pt x="309" y="9"/>
                      <a:pt x="300" y="4"/>
                      <a:pt x="281" y="4"/>
                    </a:cubicBezTo>
                    <a:cubicBezTo>
                      <a:pt x="261" y="4"/>
                      <a:pt x="252" y="9"/>
                      <a:pt x="252" y="19"/>
                    </a:cubicBezTo>
                    <a:lnTo>
                      <a:pt x="252" y="439"/>
                    </a:lnTo>
                    <a:close/>
                    <a:moveTo>
                      <a:pt x="0" y="439"/>
                    </a:moveTo>
                    <a:cubicBezTo>
                      <a:pt x="0" y="449"/>
                      <a:pt x="8" y="454"/>
                      <a:pt x="28" y="454"/>
                    </a:cubicBezTo>
                    <a:cubicBezTo>
                      <a:pt x="48" y="454"/>
                      <a:pt x="56" y="449"/>
                      <a:pt x="56" y="439"/>
                    </a:cubicBezTo>
                    <a:cubicBezTo>
                      <a:pt x="56" y="157"/>
                      <a:pt x="56" y="157"/>
                      <a:pt x="56" y="157"/>
                    </a:cubicBezTo>
                    <a:cubicBezTo>
                      <a:pt x="56" y="83"/>
                      <a:pt x="85" y="53"/>
                      <a:pt x="165" y="53"/>
                    </a:cubicBezTo>
                    <a:cubicBezTo>
                      <a:pt x="180" y="53"/>
                      <a:pt x="180" y="53"/>
                      <a:pt x="180" y="53"/>
                    </a:cubicBezTo>
                    <a:cubicBezTo>
                      <a:pt x="192" y="53"/>
                      <a:pt x="196" y="43"/>
                      <a:pt x="196" y="27"/>
                    </a:cubicBezTo>
                    <a:cubicBezTo>
                      <a:pt x="196" y="8"/>
                      <a:pt x="185" y="4"/>
                      <a:pt x="154" y="4"/>
                    </a:cubicBezTo>
                    <a:cubicBezTo>
                      <a:pt x="64" y="4"/>
                      <a:pt x="0" y="43"/>
                      <a:pt x="0" y="152"/>
                    </a:cubicBezTo>
                    <a:lnTo>
                      <a:pt x="0" y="43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22" name="Freeform 7">
                <a:extLst>
                  <a:ext uri="{FF2B5EF4-FFF2-40B4-BE49-F238E27FC236}">
                    <a16:creationId xmlns:a16="http://schemas.microsoft.com/office/drawing/2014/main" id="{2F32DCBD-8628-F245-85CD-97686A20ECFD}"/>
                  </a:ext>
                </a:extLst>
              </p:cNvPr>
              <p:cNvSpPr>
                <a:spLocks/>
              </p:cNvSpPr>
              <p:nvPr/>
            </p:nvSpPr>
            <p:spPr bwMode="gray">
              <a:xfrm>
                <a:off x="2880" y="1704"/>
                <a:ext cx="618" cy="916"/>
              </a:xfrm>
              <a:custGeom>
                <a:avLst/>
                <a:gdLst>
                  <a:gd name="T0" fmla="*/ 307 w 307"/>
                  <a:gd name="T1" fmla="*/ 405 h 455"/>
                  <a:gd name="T2" fmla="*/ 307 w 307"/>
                  <a:gd name="T3" fmla="*/ 244 h 455"/>
                  <a:gd name="T4" fmla="*/ 279 w 307"/>
                  <a:gd name="T5" fmla="*/ 229 h 455"/>
                  <a:gd name="T6" fmla="*/ 250 w 307"/>
                  <a:gd name="T7" fmla="*/ 244 h 455"/>
                  <a:gd name="T8" fmla="*/ 250 w 307"/>
                  <a:gd name="T9" fmla="*/ 378 h 455"/>
                  <a:gd name="T10" fmla="*/ 199 w 307"/>
                  <a:gd name="T11" fmla="*/ 408 h 455"/>
                  <a:gd name="T12" fmla="*/ 61 w 307"/>
                  <a:gd name="T13" fmla="*/ 231 h 455"/>
                  <a:gd name="T14" fmla="*/ 238 w 307"/>
                  <a:gd name="T15" fmla="*/ 49 h 455"/>
                  <a:gd name="T16" fmla="*/ 270 w 307"/>
                  <a:gd name="T17" fmla="*/ 49 h 455"/>
                  <a:gd name="T18" fmla="*/ 286 w 307"/>
                  <a:gd name="T19" fmla="*/ 23 h 455"/>
                  <a:gd name="T20" fmla="*/ 244 w 307"/>
                  <a:gd name="T21" fmla="*/ 0 h 455"/>
                  <a:gd name="T22" fmla="*/ 231 w 307"/>
                  <a:gd name="T23" fmla="*/ 0 h 455"/>
                  <a:gd name="T24" fmla="*/ 0 w 307"/>
                  <a:gd name="T25" fmla="*/ 232 h 455"/>
                  <a:gd name="T26" fmla="*/ 198 w 307"/>
                  <a:gd name="T27" fmla="*/ 455 h 455"/>
                  <a:gd name="T28" fmla="*/ 307 w 307"/>
                  <a:gd name="T29" fmla="*/ 405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7" h="455">
                    <a:moveTo>
                      <a:pt x="307" y="405"/>
                    </a:moveTo>
                    <a:cubicBezTo>
                      <a:pt x="307" y="244"/>
                      <a:pt x="307" y="244"/>
                      <a:pt x="307" y="244"/>
                    </a:cubicBezTo>
                    <a:cubicBezTo>
                      <a:pt x="307" y="234"/>
                      <a:pt x="298" y="229"/>
                      <a:pt x="279" y="229"/>
                    </a:cubicBezTo>
                    <a:cubicBezTo>
                      <a:pt x="259" y="229"/>
                      <a:pt x="250" y="234"/>
                      <a:pt x="250" y="244"/>
                    </a:cubicBezTo>
                    <a:cubicBezTo>
                      <a:pt x="250" y="378"/>
                      <a:pt x="250" y="378"/>
                      <a:pt x="250" y="378"/>
                    </a:cubicBezTo>
                    <a:cubicBezTo>
                      <a:pt x="250" y="399"/>
                      <a:pt x="241" y="408"/>
                      <a:pt x="199" y="408"/>
                    </a:cubicBezTo>
                    <a:cubicBezTo>
                      <a:pt x="114" y="408"/>
                      <a:pt x="61" y="342"/>
                      <a:pt x="61" y="231"/>
                    </a:cubicBezTo>
                    <a:cubicBezTo>
                      <a:pt x="61" y="115"/>
                      <a:pt x="126" y="49"/>
                      <a:pt x="238" y="49"/>
                    </a:cubicBezTo>
                    <a:cubicBezTo>
                      <a:pt x="270" y="49"/>
                      <a:pt x="270" y="49"/>
                      <a:pt x="270" y="49"/>
                    </a:cubicBezTo>
                    <a:cubicBezTo>
                      <a:pt x="282" y="49"/>
                      <a:pt x="286" y="39"/>
                      <a:pt x="286" y="23"/>
                    </a:cubicBezTo>
                    <a:cubicBezTo>
                      <a:pt x="286" y="4"/>
                      <a:pt x="275" y="0"/>
                      <a:pt x="244" y="0"/>
                    </a:cubicBezTo>
                    <a:cubicBezTo>
                      <a:pt x="231" y="0"/>
                      <a:pt x="231" y="0"/>
                      <a:pt x="231" y="0"/>
                    </a:cubicBezTo>
                    <a:cubicBezTo>
                      <a:pt x="101" y="0"/>
                      <a:pt x="0" y="71"/>
                      <a:pt x="0" y="232"/>
                    </a:cubicBezTo>
                    <a:cubicBezTo>
                      <a:pt x="0" y="386"/>
                      <a:pt x="88" y="455"/>
                      <a:pt x="198" y="455"/>
                    </a:cubicBezTo>
                    <a:cubicBezTo>
                      <a:pt x="286" y="455"/>
                      <a:pt x="307" y="430"/>
                      <a:pt x="307" y="40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23" name="Oval 8">
                <a:extLst>
                  <a:ext uri="{FF2B5EF4-FFF2-40B4-BE49-F238E27FC236}">
                    <a16:creationId xmlns:a16="http://schemas.microsoft.com/office/drawing/2014/main" id="{60D97C11-1A3B-5449-A48D-98A3E79B3810}"/>
                  </a:ext>
                </a:extLst>
              </p:cNvPr>
              <p:cNvSpPr>
                <a:spLocks noChangeArrowheads="1"/>
              </p:cNvSpPr>
              <p:nvPr/>
            </p:nvSpPr>
            <p:spPr bwMode="gray">
              <a:xfrm>
                <a:off x="3778" y="2099"/>
                <a:ext cx="122" cy="12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24" name="Freeform 9">
                <a:extLst>
                  <a:ext uri="{FF2B5EF4-FFF2-40B4-BE49-F238E27FC236}">
                    <a16:creationId xmlns:a16="http://schemas.microsoft.com/office/drawing/2014/main" id="{5856770D-B8F0-244E-A05D-AED190086F10}"/>
                  </a:ext>
                </a:extLst>
              </p:cNvPr>
              <p:cNvSpPr>
                <a:spLocks noEditPoints="1"/>
              </p:cNvSpPr>
              <p:nvPr/>
            </p:nvSpPr>
            <p:spPr bwMode="gray">
              <a:xfrm>
                <a:off x="3623" y="1696"/>
                <a:ext cx="1167" cy="922"/>
              </a:xfrm>
              <a:custGeom>
                <a:avLst/>
                <a:gdLst>
                  <a:gd name="T0" fmla="*/ 411 w 580"/>
                  <a:gd name="T1" fmla="*/ 213 h 458"/>
                  <a:gd name="T2" fmla="*/ 570 w 580"/>
                  <a:gd name="T3" fmla="*/ 37 h 458"/>
                  <a:gd name="T4" fmla="*/ 580 w 580"/>
                  <a:gd name="T5" fmla="*/ 20 h 458"/>
                  <a:gd name="T6" fmla="*/ 545 w 580"/>
                  <a:gd name="T7" fmla="*/ 0 h 458"/>
                  <a:gd name="T8" fmla="*/ 519 w 580"/>
                  <a:gd name="T9" fmla="*/ 16 h 458"/>
                  <a:gd name="T10" fmla="*/ 344 w 580"/>
                  <a:gd name="T11" fmla="*/ 210 h 458"/>
                  <a:gd name="T12" fmla="*/ 334 w 580"/>
                  <a:gd name="T13" fmla="*/ 229 h 458"/>
                  <a:gd name="T14" fmla="*/ 344 w 580"/>
                  <a:gd name="T15" fmla="*/ 248 h 458"/>
                  <a:gd name="T16" fmla="*/ 519 w 580"/>
                  <a:gd name="T17" fmla="*/ 442 h 458"/>
                  <a:gd name="T18" fmla="*/ 545 w 580"/>
                  <a:gd name="T19" fmla="*/ 458 h 458"/>
                  <a:gd name="T20" fmla="*/ 580 w 580"/>
                  <a:gd name="T21" fmla="*/ 438 h 458"/>
                  <a:gd name="T22" fmla="*/ 570 w 580"/>
                  <a:gd name="T23" fmla="*/ 421 h 458"/>
                  <a:gd name="T24" fmla="*/ 411 w 580"/>
                  <a:gd name="T25" fmla="*/ 245 h 458"/>
                  <a:gd name="T26" fmla="*/ 399 w 580"/>
                  <a:gd name="T27" fmla="*/ 229 h 458"/>
                  <a:gd name="T28" fmla="*/ 411 w 580"/>
                  <a:gd name="T29" fmla="*/ 213 h 458"/>
                  <a:gd name="T30" fmla="*/ 252 w 580"/>
                  <a:gd name="T31" fmla="*/ 439 h 458"/>
                  <a:gd name="T32" fmla="*/ 281 w 580"/>
                  <a:gd name="T33" fmla="*/ 454 h 458"/>
                  <a:gd name="T34" fmla="*/ 309 w 580"/>
                  <a:gd name="T35" fmla="*/ 439 h 458"/>
                  <a:gd name="T36" fmla="*/ 309 w 580"/>
                  <a:gd name="T37" fmla="*/ 19 h 458"/>
                  <a:gd name="T38" fmla="*/ 281 w 580"/>
                  <a:gd name="T39" fmla="*/ 4 h 458"/>
                  <a:gd name="T40" fmla="*/ 252 w 580"/>
                  <a:gd name="T41" fmla="*/ 19 h 458"/>
                  <a:gd name="T42" fmla="*/ 252 w 580"/>
                  <a:gd name="T43" fmla="*/ 439 h 458"/>
                  <a:gd name="T44" fmla="*/ 0 w 580"/>
                  <a:gd name="T45" fmla="*/ 439 h 458"/>
                  <a:gd name="T46" fmla="*/ 28 w 580"/>
                  <a:gd name="T47" fmla="*/ 454 h 458"/>
                  <a:gd name="T48" fmla="*/ 56 w 580"/>
                  <a:gd name="T49" fmla="*/ 439 h 458"/>
                  <a:gd name="T50" fmla="*/ 56 w 580"/>
                  <a:gd name="T51" fmla="*/ 157 h 458"/>
                  <a:gd name="T52" fmla="*/ 165 w 580"/>
                  <a:gd name="T53" fmla="*/ 53 h 458"/>
                  <a:gd name="T54" fmla="*/ 180 w 580"/>
                  <a:gd name="T55" fmla="*/ 53 h 458"/>
                  <a:gd name="T56" fmla="*/ 196 w 580"/>
                  <a:gd name="T57" fmla="*/ 27 h 458"/>
                  <a:gd name="T58" fmla="*/ 154 w 580"/>
                  <a:gd name="T59" fmla="*/ 4 h 458"/>
                  <a:gd name="T60" fmla="*/ 0 w 580"/>
                  <a:gd name="T61" fmla="*/ 152 h 458"/>
                  <a:gd name="T62" fmla="*/ 0 w 580"/>
                  <a:gd name="T63" fmla="*/ 439 h 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80" h="458">
                    <a:moveTo>
                      <a:pt x="411" y="213"/>
                    </a:moveTo>
                    <a:cubicBezTo>
                      <a:pt x="570" y="37"/>
                      <a:pt x="570" y="37"/>
                      <a:pt x="570" y="37"/>
                    </a:cubicBezTo>
                    <a:cubicBezTo>
                      <a:pt x="576" y="30"/>
                      <a:pt x="580" y="25"/>
                      <a:pt x="580" y="20"/>
                    </a:cubicBezTo>
                    <a:cubicBezTo>
                      <a:pt x="580" y="10"/>
                      <a:pt x="559" y="0"/>
                      <a:pt x="545" y="0"/>
                    </a:cubicBezTo>
                    <a:cubicBezTo>
                      <a:pt x="535" y="0"/>
                      <a:pt x="526" y="8"/>
                      <a:pt x="519" y="16"/>
                    </a:cubicBezTo>
                    <a:cubicBezTo>
                      <a:pt x="344" y="210"/>
                      <a:pt x="344" y="210"/>
                      <a:pt x="344" y="210"/>
                    </a:cubicBezTo>
                    <a:cubicBezTo>
                      <a:pt x="336" y="219"/>
                      <a:pt x="334" y="224"/>
                      <a:pt x="334" y="229"/>
                    </a:cubicBezTo>
                    <a:cubicBezTo>
                      <a:pt x="334" y="234"/>
                      <a:pt x="336" y="239"/>
                      <a:pt x="344" y="248"/>
                    </a:cubicBezTo>
                    <a:cubicBezTo>
                      <a:pt x="519" y="442"/>
                      <a:pt x="519" y="442"/>
                      <a:pt x="519" y="442"/>
                    </a:cubicBezTo>
                    <a:cubicBezTo>
                      <a:pt x="526" y="450"/>
                      <a:pt x="535" y="458"/>
                      <a:pt x="545" y="458"/>
                    </a:cubicBezTo>
                    <a:cubicBezTo>
                      <a:pt x="559" y="458"/>
                      <a:pt x="580" y="448"/>
                      <a:pt x="580" y="438"/>
                    </a:cubicBezTo>
                    <a:cubicBezTo>
                      <a:pt x="580" y="433"/>
                      <a:pt x="576" y="428"/>
                      <a:pt x="570" y="421"/>
                    </a:cubicBezTo>
                    <a:cubicBezTo>
                      <a:pt x="411" y="245"/>
                      <a:pt x="411" y="245"/>
                      <a:pt x="411" y="245"/>
                    </a:cubicBezTo>
                    <a:cubicBezTo>
                      <a:pt x="403" y="236"/>
                      <a:pt x="399" y="232"/>
                      <a:pt x="399" y="229"/>
                    </a:cubicBezTo>
                    <a:cubicBezTo>
                      <a:pt x="399" y="226"/>
                      <a:pt x="403" y="222"/>
                      <a:pt x="411" y="213"/>
                    </a:cubicBezTo>
                    <a:moveTo>
                      <a:pt x="252" y="439"/>
                    </a:moveTo>
                    <a:cubicBezTo>
                      <a:pt x="252" y="449"/>
                      <a:pt x="261" y="454"/>
                      <a:pt x="281" y="454"/>
                    </a:cubicBezTo>
                    <a:cubicBezTo>
                      <a:pt x="300" y="454"/>
                      <a:pt x="309" y="449"/>
                      <a:pt x="309" y="439"/>
                    </a:cubicBezTo>
                    <a:cubicBezTo>
                      <a:pt x="309" y="19"/>
                      <a:pt x="309" y="19"/>
                      <a:pt x="309" y="19"/>
                    </a:cubicBezTo>
                    <a:cubicBezTo>
                      <a:pt x="309" y="9"/>
                      <a:pt x="300" y="4"/>
                      <a:pt x="281" y="4"/>
                    </a:cubicBezTo>
                    <a:cubicBezTo>
                      <a:pt x="261" y="4"/>
                      <a:pt x="252" y="9"/>
                      <a:pt x="252" y="19"/>
                    </a:cubicBezTo>
                    <a:lnTo>
                      <a:pt x="252" y="439"/>
                    </a:lnTo>
                    <a:close/>
                    <a:moveTo>
                      <a:pt x="0" y="439"/>
                    </a:moveTo>
                    <a:cubicBezTo>
                      <a:pt x="0" y="449"/>
                      <a:pt x="8" y="454"/>
                      <a:pt x="28" y="454"/>
                    </a:cubicBezTo>
                    <a:cubicBezTo>
                      <a:pt x="48" y="454"/>
                      <a:pt x="56" y="449"/>
                      <a:pt x="56" y="439"/>
                    </a:cubicBezTo>
                    <a:cubicBezTo>
                      <a:pt x="56" y="157"/>
                      <a:pt x="56" y="157"/>
                      <a:pt x="56" y="157"/>
                    </a:cubicBezTo>
                    <a:cubicBezTo>
                      <a:pt x="56" y="83"/>
                      <a:pt x="85" y="53"/>
                      <a:pt x="165" y="53"/>
                    </a:cubicBezTo>
                    <a:cubicBezTo>
                      <a:pt x="180" y="53"/>
                      <a:pt x="180" y="53"/>
                      <a:pt x="180" y="53"/>
                    </a:cubicBezTo>
                    <a:cubicBezTo>
                      <a:pt x="192" y="53"/>
                      <a:pt x="196" y="43"/>
                      <a:pt x="196" y="27"/>
                    </a:cubicBezTo>
                    <a:cubicBezTo>
                      <a:pt x="196" y="8"/>
                      <a:pt x="185" y="4"/>
                      <a:pt x="154" y="4"/>
                    </a:cubicBezTo>
                    <a:cubicBezTo>
                      <a:pt x="64" y="4"/>
                      <a:pt x="0" y="43"/>
                      <a:pt x="0" y="152"/>
                    </a:cubicBezTo>
                    <a:lnTo>
                      <a:pt x="0" y="43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25" name="Freeform 10">
                <a:extLst>
                  <a:ext uri="{FF2B5EF4-FFF2-40B4-BE49-F238E27FC236}">
                    <a16:creationId xmlns:a16="http://schemas.microsoft.com/office/drawing/2014/main" id="{2B91B16B-BC11-E547-8FAC-B9B8D18EA449}"/>
                  </a:ext>
                </a:extLst>
              </p:cNvPr>
              <p:cNvSpPr>
                <a:spLocks/>
              </p:cNvSpPr>
              <p:nvPr/>
            </p:nvSpPr>
            <p:spPr bwMode="gray">
              <a:xfrm>
                <a:off x="2880" y="1704"/>
                <a:ext cx="618" cy="916"/>
              </a:xfrm>
              <a:custGeom>
                <a:avLst/>
                <a:gdLst>
                  <a:gd name="T0" fmla="*/ 307 w 307"/>
                  <a:gd name="T1" fmla="*/ 405 h 455"/>
                  <a:gd name="T2" fmla="*/ 307 w 307"/>
                  <a:gd name="T3" fmla="*/ 244 h 455"/>
                  <a:gd name="T4" fmla="*/ 279 w 307"/>
                  <a:gd name="T5" fmla="*/ 229 h 455"/>
                  <a:gd name="T6" fmla="*/ 250 w 307"/>
                  <a:gd name="T7" fmla="*/ 244 h 455"/>
                  <a:gd name="T8" fmla="*/ 250 w 307"/>
                  <a:gd name="T9" fmla="*/ 378 h 455"/>
                  <a:gd name="T10" fmla="*/ 199 w 307"/>
                  <a:gd name="T11" fmla="*/ 408 h 455"/>
                  <a:gd name="T12" fmla="*/ 61 w 307"/>
                  <a:gd name="T13" fmla="*/ 231 h 455"/>
                  <a:gd name="T14" fmla="*/ 238 w 307"/>
                  <a:gd name="T15" fmla="*/ 49 h 455"/>
                  <a:gd name="T16" fmla="*/ 270 w 307"/>
                  <a:gd name="T17" fmla="*/ 49 h 455"/>
                  <a:gd name="T18" fmla="*/ 286 w 307"/>
                  <a:gd name="T19" fmla="*/ 23 h 455"/>
                  <a:gd name="T20" fmla="*/ 244 w 307"/>
                  <a:gd name="T21" fmla="*/ 0 h 455"/>
                  <a:gd name="T22" fmla="*/ 231 w 307"/>
                  <a:gd name="T23" fmla="*/ 0 h 455"/>
                  <a:gd name="T24" fmla="*/ 0 w 307"/>
                  <a:gd name="T25" fmla="*/ 232 h 455"/>
                  <a:gd name="T26" fmla="*/ 198 w 307"/>
                  <a:gd name="T27" fmla="*/ 455 h 455"/>
                  <a:gd name="T28" fmla="*/ 307 w 307"/>
                  <a:gd name="T29" fmla="*/ 405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7" h="455">
                    <a:moveTo>
                      <a:pt x="307" y="405"/>
                    </a:moveTo>
                    <a:cubicBezTo>
                      <a:pt x="307" y="244"/>
                      <a:pt x="307" y="244"/>
                      <a:pt x="307" y="244"/>
                    </a:cubicBezTo>
                    <a:cubicBezTo>
                      <a:pt x="307" y="234"/>
                      <a:pt x="298" y="229"/>
                      <a:pt x="279" y="229"/>
                    </a:cubicBezTo>
                    <a:cubicBezTo>
                      <a:pt x="259" y="229"/>
                      <a:pt x="250" y="234"/>
                      <a:pt x="250" y="244"/>
                    </a:cubicBezTo>
                    <a:cubicBezTo>
                      <a:pt x="250" y="378"/>
                      <a:pt x="250" y="378"/>
                      <a:pt x="250" y="378"/>
                    </a:cubicBezTo>
                    <a:cubicBezTo>
                      <a:pt x="250" y="399"/>
                      <a:pt x="241" y="408"/>
                      <a:pt x="199" y="408"/>
                    </a:cubicBezTo>
                    <a:cubicBezTo>
                      <a:pt x="114" y="408"/>
                      <a:pt x="61" y="342"/>
                      <a:pt x="61" y="231"/>
                    </a:cubicBezTo>
                    <a:cubicBezTo>
                      <a:pt x="61" y="115"/>
                      <a:pt x="126" y="49"/>
                      <a:pt x="238" y="49"/>
                    </a:cubicBezTo>
                    <a:cubicBezTo>
                      <a:pt x="270" y="49"/>
                      <a:pt x="270" y="49"/>
                      <a:pt x="270" y="49"/>
                    </a:cubicBezTo>
                    <a:cubicBezTo>
                      <a:pt x="282" y="49"/>
                      <a:pt x="286" y="39"/>
                      <a:pt x="286" y="23"/>
                    </a:cubicBezTo>
                    <a:cubicBezTo>
                      <a:pt x="286" y="4"/>
                      <a:pt x="275" y="0"/>
                      <a:pt x="244" y="0"/>
                    </a:cubicBezTo>
                    <a:cubicBezTo>
                      <a:pt x="231" y="0"/>
                      <a:pt x="231" y="0"/>
                      <a:pt x="231" y="0"/>
                    </a:cubicBezTo>
                    <a:cubicBezTo>
                      <a:pt x="101" y="0"/>
                      <a:pt x="0" y="71"/>
                      <a:pt x="0" y="232"/>
                    </a:cubicBezTo>
                    <a:cubicBezTo>
                      <a:pt x="0" y="386"/>
                      <a:pt x="88" y="455"/>
                      <a:pt x="198" y="455"/>
                    </a:cubicBezTo>
                    <a:cubicBezTo>
                      <a:pt x="286" y="455"/>
                      <a:pt x="307" y="430"/>
                      <a:pt x="307" y="40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26" name="Oval 11">
                <a:extLst>
                  <a:ext uri="{FF2B5EF4-FFF2-40B4-BE49-F238E27FC236}">
                    <a16:creationId xmlns:a16="http://schemas.microsoft.com/office/drawing/2014/main" id="{14F8C3C8-4888-7646-B9B4-64EB46A1DA23}"/>
                  </a:ext>
                </a:extLst>
              </p:cNvPr>
              <p:cNvSpPr>
                <a:spLocks noChangeArrowheads="1"/>
              </p:cNvSpPr>
              <p:nvPr/>
            </p:nvSpPr>
            <p:spPr bwMode="gray">
              <a:xfrm>
                <a:off x="3778" y="2099"/>
                <a:ext cx="122" cy="12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27" name="Freeform 12">
                <a:extLst>
                  <a:ext uri="{FF2B5EF4-FFF2-40B4-BE49-F238E27FC236}">
                    <a16:creationId xmlns:a16="http://schemas.microsoft.com/office/drawing/2014/main" id="{D79D01D1-4E3E-F34B-97D7-2D387E68746E}"/>
                  </a:ext>
                </a:extLst>
              </p:cNvPr>
              <p:cNvSpPr>
                <a:spLocks/>
              </p:cNvSpPr>
              <p:nvPr/>
            </p:nvSpPr>
            <p:spPr bwMode="gray">
              <a:xfrm>
                <a:off x="4321" y="1029"/>
                <a:ext cx="648" cy="649"/>
              </a:xfrm>
              <a:custGeom>
                <a:avLst/>
                <a:gdLst>
                  <a:gd name="T0" fmla="*/ 0 w 648"/>
                  <a:gd name="T1" fmla="*/ 649 h 649"/>
                  <a:gd name="T2" fmla="*/ 2 w 648"/>
                  <a:gd name="T3" fmla="*/ 649 h 649"/>
                  <a:gd name="T4" fmla="*/ 648 w 648"/>
                  <a:gd name="T5" fmla="*/ 0 h 649"/>
                  <a:gd name="T6" fmla="*/ 423 w 648"/>
                  <a:gd name="T7" fmla="*/ 0 h 649"/>
                  <a:gd name="T8" fmla="*/ 0 w 648"/>
                  <a:gd name="T9" fmla="*/ 649 h 649"/>
                </a:gdLst>
                <a:ahLst/>
                <a:cxnLst>
                  <a:cxn ang="0">
                    <a:pos x="T0" y="T1"/>
                  </a:cxn>
                  <a:cxn ang="0">
                    <a:pos x="T2" y="T3"/>
                  </a:cxn>
                  <a:cxn ang="0">
                    <a:pos x="T4" y="T5"/>
                  </a:cxn>
                  <a:cxn ang="0">
                    <a:pos x="T6" y="T7"/>
                  </a:cxn>
                  <a:cxn ang="0">
                    <a:pos x="T8" y="T9"/>
                  </a:cxn>
                </a:cxnLst>
                <a:rect l="0" t="0" r="r" b="b"/>
                <a:pathLst>
                  <a:path w="648" h="649">
                    <a:moveTo>
                      <a:pt x="0" y="649"/>
                    </a:moveTo>
                    <a:lnTo>
                      <a:pt x="2" y="649"/>
                    </a:lnTo>
                    <a:lnTo>
                      <a:pt x="648" y="0"/>
                    </a:lnTo>
                    <a:lnTo>
                      <a:pt x="423" y="0"/>
                    </a:lnTo>
                    <a:lnTo>
                      <a:pt x="0" y="64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28" name="Freeform 13">
                <a:extLst>
                  <a:ext uri="{FF2B5EF4-FFF2-40B4-BE49-F238E27FC236}">
                    <a16:creationId xmlns:a16="http://schemas.microsoft.com/office/drawing/2014/main" id="{46549898-6C52-B147-A8F6-A73FDBE6163B}"/>
                  </a:ext>
                </a:extLst>
              </p:cNvPr>
              <p:cNvSpPr>
                <a:spLocks/>
              </p:cNvSpPr>
              <p:nvPr/>
            </p:nvSpPr>
            <p:spPr bwMode="gray">
              <a:xfrm>
                <a:off x="4321" y="1029"/>
                <a:ext cx="648" cy="649"/>
              </a:xfrm>
              <a:custGeom>
                <a:avLst/>
                <a:gdLst>
                  <a:gd name="T0" fmla="*/ 0 w 648"/>
                  <a:gd name="T1" fmla="*/ 649 h 649"/>
                  <a:gd name="T2" fmla="*/ 2 w 648"/>
                  <a:gd name="T3" fmla="*/ 649 h 649"/>
                  <a:gd name="T4" fmla="*/ 648 w 648"/>
                  <a:gd name="T5" fmla="*/ 0 h 649"/>
                  <a:gd name="T6" fmla="*/ 423 w 648"/>
                  <a:gd name="T7" fmla="*/ 0 h 649"/>
                  <a:gd name="T8" fmla="*/ 0 w 648"/>
                  <a:gd name="T9" fmla="*/ 649 h 649"/>
                </a:gdLst>
                <a:ahLst/>
                <a:cxnLst>
                  <a:cxn ang="0">
                    <a:pos x="T0" y="T1"/>
                  </a:cxn>
                  <a:cxn ang="0">
                    <a:pos x="T2" y="T3"/>
                  </a:cxn>
                  <a:cxn ang="0">
                    <a:pos x="T4" y="T5"/>
                  </a:cxn>
                  <a:cxn ang="0">
                    <a:pos x="T6" y="T7"/>
                  </a:cxn>
                  <a:cxn ang="0">
                    <a:pos x="T8" y="T9"/>
                  </a:cxn>
                </a:cxnLst>
                <a:rect l="0" t="0" r="r" b="b"/>
                <a:pathLst>
                  <a:path w="648" h="649">
                    <a:moveTo>
                      <a:pt x="0" y="649"/>
                    </a:moveTo>
                    <a:lnTo>
                      <a:pt x="2" y="649"/>
                    </a:lnTo>
                    <a:lnTo>
                      <a:pt x="648" y="0"/>
                    </a:lnTo>
                    <a:lnTo>
                      <a:pt x="423" y="0"/>
                    </a:lnTo>
                    <a:lnTo>
                      <a:pt x="0" y="64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grpSp>
      </p:grpSp>
      <p:sp>
        <p:nvSpPr>
          <p:cNvPr id="7" name="Date Placeholder 6"/>
          <p:cNvSpPr>
            <a:spLocks noGrp="1"/>
          </p:cNvSpPr>
          <p:nvPr>
            <p:ph type="dt" sz="half" idx="10"/>
          </p:nvPr>
        </p:nvSpPr>
        <p:spPr>
          <a:xfrm>
            <a:off x="0" y="0"/>
            <a:ext cx="0" cy="0"/>
          </a:xfrm>
          <a:prstGeom prst="rect">
            <a:avLst/>
          </a:prstGeom>
        </p:spPr>
        <p:txBody>
          <a:bodyPr/>
          <a:lstStyle>
            <a:lvl1pPr>
              <a:defRPr sz="100">
                <a:noFill/>
              </a:defRPr>
            </a:lvl1pPr>
          </a:lstStyle>
          <a:p>
            <a:fld id="{D76217CC-534C-41BF-930C-27B1184E95F2}" type="datetime5">
              <a:rPr lang="en-US" smtClean="0"/>
              <a:t>26-Jun-20</a:t>
            </a:fld>
            <a:endParaRPr lang="en-US"/>
          </a:p>
        </p:txBody>
      </p:sp>
      <p:sp>
        <p:nvSpPr>
          <p:cNvPr id="8" name="Footer Placeholder 7"/>
          <p:cNvSpPr>
            <a:spLocks noGrp="1"/>
          </p:cNvSpPr>
          <p:nvPr>
            <p:ph type="ftr" sz="quarter" idx="11"/>
          </p:nvPr>
        </p:nvSpPr>
        <p:spPr>
          <a:xfrm>
            <a:off x="0" y="0"/>
            <a:ext cx="0" cy="0"/>
          </a:xfrm>
          <a:prstGeom prst="rect">
            <a:avLst/>
          </a:prstGeom>
        </p:spPr>
        <p:txBody>
          <a:bodyPr/>
          <a:lstStyle>
            <a:lvl1pPr marL="0" indent="0">
              <a:buNone/>
              <a:defRPr sz="100">
                <a:noFill/>
              </a:defRPr>
            </a:lvl1pPr>
          </a:lstStyle>
          <a:p>
            <a:r>
              <a:rPr lang="en-US"/>
              <a:t>Title of presentation (Insert / Header &amp; Footer / Apply to All)</a:t>
            </a:r>
          </a:p>
        </p:txBody>
      </p:sp>
      <p:sp>
        <p:nvSpPr>
          <p:cNvPr id="9" name="Slide Number Placeholder 8"/>
          <p:cNvSpPr>
            <a:spLocks noGrp="1"/>
          </p:cNvSpPr>
          <p:nvPr>
            <p:ph type="sldNum" sz="quarter" idx="12"/>
          </p:nvPr>
        </p:nvSpPr>
        <p:spPr>
          <a:xfrm>
            <a:off x="0" y="0"/>
            <a:ext cx="0" cy="0"/>
          </a:xfrm>
          <a:prstGeom prst="rect">
            <a:avLst/>
          </a:prstGeom>
        </p:spPr>
        <p:txBody>
          <a:bodyPr/>
          <a:lstStyle>
            <a:lvl1pPr>
              <a:defRPr sz="100">
                <a:noFill/>
              </a:defRPr>
            </a:lvl1pPr>
          </a:lstStyle>
          <a:p>
            <a:fld id="{8E3B25F7-8D1F-44B5-B485-EE3C438CFD7B}" type="slidenum">
              <a:rPr lang="en-US" smtClean="0"/>
              <a:pPr/>
              <a:t>‹#›</a:t>
            </a:fld>
            <a:endParaRPr lang="en-US"/>
          </a:p>
        </p:txBody>
      </p:sp>
      <p:sp>
        <p:nvSpPr>
          <p:cNvPr id="2" name="Title 1"/>
          <p:cNvSpPr>
            <a:spLocks noGrp="1"/>
          </p:cNvSpPr>
          <p:nvPr>
            <p:ph type="ctrTitle" hasCustomPrompt="1"/>
          </p:nvPr>
        </p:nvSpPr>
        <p:spPr>
          <a:xfrm>
            <a:off x="4777671" y="2019727"/>
            <a:ext cx="3816000" cy="2236264"/>
          </a:xfrm>
        </p:spPr>
        <p:txBody>
          <a:bodyPr anchor="b"/>
          <a:lstStyle>
            <a:lvl1pPr algn="l">
              <a:defRPr sz="3600"/>
            </a:lvl1pPr>
          </a:lstStyle>
          <a:p>
            <a:r>
              <a:rPr lang="en-US"/>
              <a:t>Click to add thank you</a:t>
            </a:r>
          </a:p>
        </p:txBody>
      </p:sp>
    </p:spTree>
    <p:extLst>
      <p:ext uri="{BB962C8B-B14F-4D97-AF65-F5344CB8AC3E}">
        <p14:creationId xmlns:p14="http://schemas.microsoft.com/office/powerpoint/2010/main" val="2414066226"/>
      </p:ext>
    </p:extLst>
  </p:cSld>
  <p:clrMapOvr>
    <a:masterClrMapping/>
  </p:clrMapOvr>
</p:sldLayout>
</file>

<file path=ppt/slideLayouts/slideLayout496.xml><?xml version="1.0" encoding="utf-8"?>
<p:sldLayout xmlns:a="http://schemas.openxmlformats.org/drawingml/2006/main" xmlns:r="http://schemas.openxmlformats.org/officeDocument/2006/relationships" xmlns:p="http://schemas.openxmlformats.org/presentationml/2006/main" preserve="1">
  <p:cSld name="Empty">
    <p:spTree>
      <p:nvGrpSpPr>
        <p:cNvPr id="1" name=""/>
        <p:cNvGrpSpPr/>
        <p:nvPr/>
      </p:nvGrpSpPr>
      <p:grpSpPr>
        <a:xfrm>
          <a:off x="0" y="0"/>
          <a:ext cx="0" cy="0"/>
          <a:chOff x="0" y="0"/>
          <a:chExt cx="0" cy="0"/>
        </a:xfrm>
      </p:grpSpPr>
      <p:sp>
        <p:nvSpPr>
          <p:cNvPr id="5" name="Rectangle 4"/>
          <p:cNvSpPr/>
          <p:nvPr/>
        </p:nvSpPr>
        <p:spPr bwMode="white">
          <a:xfrm>
            <a:off x="0" y="0"/>
            <a:ext cx="514350" cy="16287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Date Placeholder 5"/>
          <p:cNvSpPr>
            <a:spLocks noGrp="1"/>
          </p:cNvSpPr>
          <p:nvPr>
            <p:ph type="dt" sz="half" idx="10"/>
          </p:nvPr>
        </p:nvSpPr>
        <p:spPr/>
        <p:txBody>
          <a:bodyPr/>
          <a:lstStyle/>
          <a:p>
            <a:fld id="{2DD22AFC-145E-4433-8756-926F8A0E61FA}" type="datetime5">
              <a:rPr lang="en-US" smtClean="0"/>
              <a:t>26-Jun-20</a:t>
            </a:fld>
            <a:endParaRPr lang="en-US"/>
          </a:p>
        </p:txBody>
      </p:sp>
      <p:sp>
        <p:nvSpPr>
          <p:cNvPr id="7" name="Footer Placeholder 6"/>
          <p:cNvSpPr>
            <a:spLocks noGrp="1"/>
          </p:cNvSpPr>
          <p:nvPr>
            <p:ph type="ftr" sz="quarter" idx="11"/>
          </p:nvPr>
        </p:nvSpPr>
        <p:spPr/>
        <p:txBody>
          <a:bodyPr/>
          <a:lstStyle/>
          <a:p>
            <a:r>
              <a:rPr lang="en-US"/>
              <a:t>Title of presentation (Insert / Header &amp; Footer / Apply to All)</a:t>
            </a:r>
          </a:p>
        </p:txBody>
      </p:sp>
      <p:sp>
        <p:nvSpPr>
          <p:cNvPr id="8" name="Slide Number Placeholder 7"/>
          <p:cNvSpPr>
            <a:spLocks noGrp="1"/>
          </p:cNvSpPr>
          <p:nvPr>
            <p:ph type="sldNum" sz="quarter" idx="12"/>
          </p:nvPr>
        </p:nvSpPr>
        <p:spPr/>
        <p:txBody>
          <a:bodyPr/>
          <a:lstStyle/>
          <a:p>
            <a:fld id="{5F3E29E4-0979-4FCA-B4C5-5FC6044C982A}" type="slidenum">
              <a:rPr lang="en-US" smtClean="0"/>
              <a:pPr/>
              <a:t>‹#›</a:t>
            </a:fld>
            <a:endParaRPr lang="en-US"/>
          </a:p>
        </p:txBody>
      </p:sp>
      <p:sp>
        <p:nvSpPr>
          <p:cNvPr id="10" name="Text Placeholder 4"/>
          <p:cNvSpPr>
            <a:spLocks noGrp="1"/>
          </p:cNvSpPr>
          <p:nvPr>
            <p:ph type="body" sz="quarter" idx="17" hasCustomPrompt="1"/>
          </p:nvPr>
        </p:nvSpPr>
        <p:spPr>
          <a:xfrm>
            <a:off x="1075063" y="6307665"/>
            <a:ext cx="8162717" cy="133200"/>
          </a:xfrm>
        </p:spPr>
        <p:txBody>
          <a:bodyPr lIns="0" tIns="0" rIns="0" bIns="0" anchor="b" anchorCtr="0"/>
          <a:lstStyle>
            <a:lvl1pPr marL="0" indent="0" algn="l">
              <a:lnSpc>
                <a:spcPct val="100000"/>
              </a:lnSpc>
              <a:spcBef>
                <a:spcPts val="0"/>
              </a:spcBef>
              <a:buNone/>
              <a:defRPr sz="800" baseline="0"/>
            </a:lvl1pPr>
            <a:lvl2pPr marL="0" indent="0" algn="l">
              <a:lnSpc>
                <a:spcPct val="100000"/>
              </a:lnSpc>
              <a:spcBef>
                <a:spcPts val="0"/>
              </a:spcBef>
              <a:buNone/>
              <a:defRPr sz="800"/>
            </a:lvl2pPr>
            <a:lvl3pPr marL="0" indent="0" algn="l">
              <a:lnSpc>
                <a:spcPct val="100000"/>
              </a:lnSpc>
              <a:spcBef>
                <a:spcPts val="0"/>
              </a:spcBef>
              <a:buNone/>
              <a:defRPr sz="800"/>
            </a:lvl3pPr>
            <a:lvl4pPr marL="0" algn="l">
              <a:lnSpc>
                <a:spcPct val="100000"/>
              </a:lnSpc>
              <a:spcBef>
                <a:spcPts val="0"/>
              </a:spcBef>
              <a:buNone/>
              <a:defRPr sz="800"/>
            </a:lvl4pPr>
            <a:lvl5pPr marL="0" indent="0" algn="l">
              <a:lnSpc>
                <a:spcPct val="100000"/>
              </a:lnSpc>
              <a:spcBef>
                <a:spcPts val="0"/>
              </a:spcBef>
              <a:buNone/>
              <a:defRPr sz="800"/>
            </a:lvl5pPr>
          </a:lstStyle>
          <a:p>
            <a:pPr lvl="0"/>
            <a:r>
              <a:rPr lang="en-US"/>
              <a:t>Source line</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46784944"/>
      </p:ext>
    </p:extLst>
  </p:cSld>
  <p:clrMapOvr>
    <a:masterClrMapping/>
  </p:clrMapOvr>
</p:sldLayout>
</file>

<file path=ppt/slideLayouts/slideLayout497.xml><?xml version="1.0" encoding="utf-8"?>
<p:sldLayout xmlns:a="http://schemas.openxmlformats.org/drawingml/2006/main" xmlns:r="http://schemas.openxmlformats.org/officeDocument/2006/relationships" xmlns:p="http://schemas.openxmlformats.org/presentationml/2006/main" type="vertTx" preserve="1">
  <p:cSld name="Заголовок и вертикальный текст">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ru-RU"/>
              <a:t>Образец заголовка</a:t>
            </a:r>
            <a:endParaRPr lang="en-US"/>
          </a:p>
        </p:txBody>
      </p:sp>
      <p:sp>
        <p:nvSpPr>
          <p:cNvPr id="3" name="Vertical Text Placeholder 2"/>
          <p:cNvSpPr>
            <a:spLocks noGrp="1"/>
          </p:cNvSpPr>
          <p:nvPr>
            <p:ph type="body" orient="vert" idx="1"/>
          </p:nvPr>
        </p:nvSpPr>
        <p:spPr/>
        <p:txBody>
          <a:bodyPr vert="eaVert"/>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endParaRPr lang="en-US"/>
          </a:p>
        </p:txBody>
      </p:sp>
      <p:sp>
        <p:nvSpPr>
          <p:cNvPr id="7" name="Date Placeholder 6"/>
          <p:cNvSpPr>
            <a:spLocks noGrp="1"/>
          </p:cNvSpPr>
          <p:nvPr>
            <p:ph type="dt" sz="half" idx="10"/>
          </p:nvPr>
        </p:nvSpPr>
        <p:spPr/>
        <p:txBody>
          <a:bodyPr/>
          <a:lstStyle/>
          <a:p>
            <a:fld id="{AF5B2FD7-A1C3-4F99-9996-6254468DC4CB}" type="datetime5">
              <a:rPr lang="en-US" smtClean="0"/>
              <a:t>26-Jun-20</a:t>
            </a:fld>
            <a:endParaRPr lang="en-US"/>
          </a:p>
        </p:txBody>
      </p:sp>
      <p:sp>
        <p:nvSpPr>
          <p:cNvPr id="8" name="Footer Placeholder 7"/>
          <p:cNvSpPr>
            <a:spLocks noGrp="1"/>
          </p:cNvSpPr>
          <p:nvPr>
            <p:ph type="ftr" sz="quarter" idx="11"/>
          </p:nvPr>
        </p:nvSpPr>
        <p:spPr/>
        <p:txBody>
          <a:bodyPr/>
          <a:lstStyle/>
          <a:p>
            <a:r>
              <a:rPr lang="en-US"/>
              <a:t>Title of presentation (Insert / Header &amp; Footer / Apply to All)</a:t>
            </a:r>
          </a:p>
        </p:txBody>
      </p:sp>
      <p:sp>
        <p:nvSpPr>
          <p:cNvPr id="9" name="Slide Number Placeholder 8"/>
          <p:cNvSpPr>
            <a:spLocks noGrp="1"/>
          </p:cNvSpPr>
          <p:nvPr>
            <p:ph type="sldNum" sz="quarter" idx="12"/>
          </p:nvPr>
        </p:nvSpPr>
        <p:spPr/>
        <p:txBody>
          <a:bodyPr/>
          <a:lstStyle/>
          <a:p>
            <a:fld id="{5F3E29E4-0979-4FCA-B4C5-5FC6044C982A}" type="slidenum">
              <a:rPr lang="en-US" smtClean="0"/>
              <a:pPr/>
              <a:t>‹#›</a:t>
            </a:fld>
            <a:endParaRPr lang="en-US"/>
          </a:p>
        </p:txBody>
      </p:sp>
    </p:spTree>
    <p:extLst>
      <p:ext uri="{BB962C8B-B14F-4D97-AF65-F5344CB8AC3E}">
        <p14:creationId xmlns:p14="http://schemas.microsoft.com/office/powerpoint/2010/main" val="1025525599"/>
      </p:ext>
    </p:extLst>
  </p:cSld>
  <p:clrMapOvr>
    <a:masterClrMapping/>
  </p:clrMapOvr>
</p:sldLayout>
</file>

<file path=ppt/slideLayouts/slideLayout498.xml><?xml version="1.0" encoding="utf-8"?>
<p:sldLayout xmlns:a="http://schemas.openxmlformats.org/drawingml/2006/main" xmlns:r="http://schemas.openxmlformats.org/officeDocument/2006/relationships" xmlns:p="http://schemas.openxmlformats.org/presentationml/2006/main" type="vertTitleAndTx" preserve="1">
  <p:cSld name="Вертикальный заголовок и текст">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196278" y="404813"/>
            <a:ext cx="1400175" cy="5832474"/>
          </a:xfrm>
        </p:spPr>
        <p:txBody>
          <a:bodyPr vert="eaVert"/>
          <a:lstStyle/>
          <a:p>
            <a:r>
              <a:rPr lang="ru-RU"/>
              <a:t>Образец заголовка</a:t>
            </a:r>
            <a:endParaRPr lang="en-US"/>
          </a:p>
        </p:txBody>
      </p:sp>
      <p:sp>
        <p:nvSpPr>
          <p:cNvPr id="3" name="Vertical Text Placeholder 2"/>
          <p:cNvSpPr>
            <a:spLocks noGrp="1"/>
          </p:cNvSpPr>
          <p:nvPr>
            <p:ph type="body" orient="vert" idx="1"/>
          </p:nvPr>
        </p:nvSpPr>
        <p:spPr>
          <a:xfrm>
            <a:off x="1076400" y="404813"/>
            <a:ext cx="5943525" cy="5832474"/>
          </a:xfrm>
        </p:spPr>
        <p:txBody>
          <a:bodyPr vert="eaVert"/>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endParaRPr lang="en-US"/>
          </a:p>
        </p:txBody>
      </p:sp>
      <p:sp>
        <p:nvSpPr>
          <p:cNvPr id="7" name="Date Placeholder 6"/>
          <p:cNvSpPr>
            <a:spLocks noGrp="1"/>
          </p:cNvSpPr>
          <p:nvPr>
            <p:ph type="dt" sz="half" idx="10"/>
          </p:nvPr>
        </p:nvSpPr>
        <p:spPr/>
        <p:txBody>
          <a:bodyPr/>
          <a:lstStyle/>
          <a:p>
            <a:fld id="{A1079567-0E61-4D85-B570-3273C3AD246A}" type="datetime5">
              <a:rPr lang="en-US" smtClean="0"/>
              <a:t>26-Jun-20</a:t>
            </a:fld>
            <a:endParaRPr lang="en-US"/>
          </a:p>
        </p:txBody>
      </p:sp>
      <p:sp>
        <p:nvSpPr>
          <p:cNvPr id="8" name="Footer Placeholder 7"/>
          <p:cNvSpPr>
            <a:spLocks noGrp="1"/>
          </p:cNvSpPr>
          <p:nvPr>
            <p:ph type="ftr" sz="quarter" idx="11"/>
          </p:nvPr>
        </p:nvSpPr>
        <p:spPr/>
        <p:txBody>
          <a:bodyPr/>
          <a:lstStyle/>
          <a:p>
            <a:r>
              <a:rPr lang="en-US"/>
              <a:t>Title of presentation (Insert / Header &amp; Footer / Apply to All)</a:t>
            </a:r>
          </a:p>
        </p:txBody>
      </p:sp>
      <p:sp>
        <p:nvSpPr>
          <p:cNvPr id="9" name="Slide Number Placeholder 8"/>
          <p:cNvSpPr>
            <a:spLocks noGrp="1"/>
          </p:cNvSpPr>
          <p:nvPr>
            <p:ph type="sldNum" sz="quarter" idx="12"/>
          </p:nvPr>
        </p:nvSpPr>
        <p:spPr/>
        <p:txBody>
          <a:bodyPr/>
          <a:lstStyle/>
          <a:p>
            <a:fld id="{5F3E29E4-0979-4FCA-B4C5-5FC6044C982A}" type="slidenum">
              <a:rPr lang="en-US" smtClean="0"/>
              <a:pPr/>
              <a:t>‹#›</a:t>
            </a:fld>
            <a:endParaRPr lang="en-US"/>
          </a:p>
        </p:txBody>
      </p:sp>
    </p:spTree>
    <p:extLst>
      <p:ext uri="{BB962C8B-B14F-4D97-AF65-F5344CB8AC3E}">
        <p14:creationId xmlns:p14="http://schemas.microsoft.com/office/powerpoint/2010/main" val="2574029813"/>
      </p:ext>
    </p:extLst>
  </p:cSld>
  <p:clrMapOvr>
    <a:masterClrMapping/>
  </p:clrMapOvr>
</p:sldLayout>
</file>

<file path=ppt/slideLayouts/slideLayout499.xml><?xml version="1.0" encoding="utf-8"?>
<p:sldLayout xmlns:a="http://schemas.openxmlformats.org/drawingml/2006/main" xmlns:r="http://schemas.openxmlformats.org/officeDocument/2006/relationships" xmlns:p="http://schemas.openxmlformats.org/presentationml/2006/main" userDrawn="1">
  <p:cSld name="Только заголовок">
    <p:spTree>
      <p:nvGrpSpPr>
        <p:cNvPr id="1" name=""/>
        <p:cNvGrpSpPr/>
        <p:nvPr/>
      </p:nvGrpSpPr>
      <p:grpSpPr>
        <a:xfrm>
          <a:off x="0" y="0"/>
          <a:ext cx="0" cy="0"/>
          <a:chOff x="0" y="0"/>
          <a:chExt cx="0" cy="0"/>
        </a:xfrm>
      </p:grpSpPr>
      <p:sp>
        <p:nvSpPr>
          <p:cNvPr id="5" name="Textplatzhalter 6"/>
          <p:cNvSpPr>
            <a:spLocks noGrp="1"/>
          </p:cNvSpPr>
          <p:nvPr>
            <p:ph type="body" sz="quarter" idx="12" hasCustomPrompt="1"/>
          </p:nvPr>
        </p:nvSpPr>
        <p:spPr bwMode="gray">
          <a:xfrm>
            <a:off x="431800" y="6453207"/>
            <a:ext cx="11328400" cy="144463"/>
          </a:xfrm>
        </p:spPr>
        <p:txBody>
          <a:bodyPr tIns="0" bIns="47990" anchor="b" anchorCtr="0"/>
          <a:lstStyle>
            <a:lvl1pPr marL="0" marR="0" indent="0" algn="l" defTabSz="1625158" rtl="0" eaLnBrk="1" fontAlgn="auto" latinLnBrk="0" hangingPunct="1">
              <a:lnSpc>
                <a:spcPct val="100000"/>
              </a:lnSpc>
              <a:spcBef>
                <a:spcPts val="0"/>
              </a:spcBef>
              <a:spcAft>
                <a:spcPts val="0"/>
              </a:spcAft>
              <a:buClrTx/>
              <a:buSzTx/>
              <a:buFont typeface="Arial" pitchFamily="34" charset="0"/>
              <a:buNone/>
              <a:tabLst/>
              <a:defRPr sz="1467">
                <a:solidFill>
                  <a:schemeClr val="bg2"/>
                </a:solidFill>
              </a:defRPr>
            </a:lvl1pPr>
            <a:lvl2pPr marL="0" indent="0">
              <a:spcBef>
                <a:spcPts val="533"/>
              </a:spcBef>
              <a:spcAft>
                <a:spcPts val="0"/>
              </a:spcAft>
              <a:buFont typeface="Arial" pitchFamily="34" charset="0"/>
              <a:buNone/>
              <a:defRPr sz="1600">
                <a:solidFill>
                  <a:schemeClr val="bg2"/>
                </a:solidFill>
              </a:defRPr>
            </a:lvl2pPr>
            <a:lvl3pPr marL="0" indent="0">
              <a:spcBef>
                <a:spcPts val="533"/>
              </a:spcBef>
              <a:spcAft>
                <a:spcPts val="0"/>
              </a:spcAft>
              <a:buFont typeface="Arial" pitchFamily="34" charset="0"/>
              <a:buNone/>
              <a:defRPr sz="1600">
                <a:solidFill>
                  <a:schemeClr val="bg2"/>
                </a:solidFill>
              </a:defRPr>
            </a:lvl3pPr>
            <a:lvl4pPr marL="0" indent="0">
              <a:spcBef>
                <a:spcPts val="533"/>
              </a:spcBef>
              <a:spcAft>
                <a:spcPts val="0"/>
              </a:spcAft>
              <a:buNone/>
              <a:defRPr sz="1600">
                <a:solidFill>
                  <a:schemeClr val="bg2"/>
                </a:solidFill>
              </a:defRPr>
            </a:lvl4pPr>
            <a:lvl5pPr marL="0" indent="0">
              <a:spcBef>
                <a:spcPts val="533"/>
              </a:spcBef>
              <a:spcAft>
                <a:spcPts val="0"/>
              </a:spcAft>
              <a:buNone/>
              <a:defRPr sz="1600" b="0">
                <a:solidFill>
                  <a:schemeClr val="bg2"/>
                </a:solidFill>
              </a:defRPr>
            </a:lvl5pPr>
            <a:lvl6pPr marL="0" indent="0">
              <a:spcBef>
                <a:spcPts val="533"/>
              </a:spcBef>
              <a:buFont typeface="Arial" pitchFamily="34" charset="0"/>
              <a:buNone/>
              <a:defRPr sz="1600">
                <a:solidFill>
                  <a:schemeClr val="bg2"/>
                </a:solidFill>
              </a:defRPr>
            </a:lvl6pPr>
            <a:lvl7pPr marL="0" indent="0">
              <a:spcBef>
                <a:spcPts val="533"/>
              </a:spcBef>
              <a:buFont typeface="Arial" pitchFamily="34" charset="0"/>
              <a:buNone/>
              <a:defRPr sz="1600">
                <a:solidFill>
                  <a:schemeClr val="bg2"/>
                </a:solidFill>
              </a:defRPr>
            </a:lvl7pPr>
            <a:lvl8pPr marL="0" indent="0">
              <a:spcBef>
                <a:spcPts val="533"/>
              </a:spcBef>
              <a:buFont typeface="Arial" pitchFamily="34" charset="0"/>
              <a:buNone/>
              <a:defRPr sz="1600">
                <a:solidFill>
                  <a:schemeClr val="bg2"/>
                </a:solidFill>
              </a:defRPr>
            </a:lvl8pPr>
            <a:lvl9pPr marL="0" indent="0">
              <a:spcBef>
                <a:spcPts val="533"/>
              </a:spcBef>
              <a:buFont typeface="Arial" pitchFamily="34" charset="0"/>
              <a:buNone/>
              <a:defRPr sz="1600">
                <a:solidFill>
                  <a:schemeClr val="bg2"/>
                </a:solidFill>
              </a:defRPr>
            </a:lvl9pPr>
          </a:lstStyle>
          <a:p>
            <a:pPr lvl="0"/>
            <a:r>
              <a:rPr lang="en-US" noProof="0"/>
              <a:t>[Source information]</a:t>
            </a:r>
          </a:p>
        </p:txBody>
      </p:sp>
      <p:sp>
        <p:nvSpPr>
          <p:cNvPr id="6" name="Title 5"/>
          <p:cNvSpPr>
            <a:spLocks noGrp="1"/>
          </p:cNvSpPr>
          <p:nvPr>
            <p:ph type="title" hasCustomPrompt="1"/>
          </p:nvPr>
        </p:nvSpPr>
        <p:spPr bwMode="gray"/>
        <p:txBody>
          <a:bodyPr/>
          <a:lstStyle>
            <a:lvl1pPr>
              <a:defRPr>
                <a:latin typeface="Arial" pitchFamily="34" charset="0"/>
              </a:defRPr>
            </a:lvl1pPr>
          </a:lstStyle>
          <a:p>
            <a:r>
              <a:rPr lang="en-US"/>
              <a:t>Click to add text</a:t>
            </a:r>
            <a:endParaRPr lang="en-GB"/>
          </a:p>
        </p:txBody>
      </p:sp>
    </p:spTree>
    <p:extLst>
      <p:ext uri="{BB962C8B-B14F-4D97-AF65-F5344CB8AC3E}">
        <p14:creationId xmlns:p14="http://schemas.microsoft.com/office/powerpoint/2010/main" val="14702768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Divider (1)">
    <p:bg>
      <p:bgPr>
        <a:solidFill>
          <a:schemeClr val="bg1"/>
        </a:solidFill>
        <a:effectLst/>
      </p:bgPr>
    </p:bg>
    <p:spTree>
      <p:nvGrpSpPr>
        <p:cNvPr id="1" name=""/>
        <p:cNvGrpSpPr/>
        <p:nvPr/>
      </p:nvGrpSpPr>
      <p:grpSpPr>
        <a:xfrm>
          <a:off x="0" y="0"/>
          <a:ext cx="0" cy="0"/>
          <a:chOff x="0" y="0"/>
          <a:chExt cx="0" cy="0"/>
        </a:xfrm>
      </p:grpSpPr>
      <p:sp>
        <p:nvSpPr>
          <p:cNvPr id="2" name="Titel 1"/>
          <p:cNvSpPr>
            <a:spLocks noGrp="1"/>
          </p:cNvSpPr>
          <p:nvPr>
            <p:ph type="title" hasCustomPrompt="1"/>
          </p:nvPr>
        </p:nvSpPr>
        <p:spPr bwMode="gray">
          <a:xfrm>
            <a:off x="431215" y="2372887"/>
            <a:ext cx="11329573" cy="1919747"/>
          </a:xfrm>
          <a:gradFill>
            <a:gsLst>
              <a:gs pos="2000">
                <a:schemeClr val="accent6"/>
              </a:gs>
              <a:gs pos="100000">
                <a:srgbClr val="F9B200"/>
              </a:gs>
            </a:gsLst>
            <a:lin ang="0" scaled="0"/>
          </a:gra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24000" tIns="0" rIns="324000" bIns="0" numCol="1" spcCol="0" rtlCol="0" fromWordArt="0" anchor="ctr" anchorCtr="0" forceAA="0" compatLnSpc="1">
            <a:prstTxWarp prst="textNoShape">
              <a:avLst/>
            </a:prstTxWarp>
            <a:noAutofit/>
          </a:bodyPr>
          <a:lstStyle>
            <a:lvl1pPr>
              <a:defRPr lang="de-DE" sz="3996" kern="1200" dirty="0">
                <a:solidFill>
                  <a:schemeClr val="bg1"/>
                </a:solidFill>
                <a:latin typeface="Arial" pitchFamily="34" charset="0"/>
                <a:ea typeface="+mn-ea"/>
                <a:cs typeface="+mn-cs"/>
              </a:defRPr>
            </a:lvl1pPr>
          </a:lstStyle>
          <a:p>
            <a:pPr lvl="0"/>
            <a:r>
              <a:rPr lang="en-US"/>
              <a:t>Click to add text for divider slide</a:t>
            </a:r>
          </a:p>
        </p:txBody>
      </p:sp>
      <p:sp>
        <p:nvSpPr>
          <p:cNvPr id="3" name="Rechteck 2"/>
          <p:cNvSpPr/>
          <p:nvPr/>
        </p:nvSpPr>
        <p:spPr bwMode="gray">
          <a:xfrm>
            <a:off x="0" y="0"/>
            <a:ext cx="12192000" cy="2180167"/>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802" tIns="60901" rIns="121802" bIns="60901" numCol="1" spcCol="0" rtlCol="0" fromWordArt="0" anchor="ctr" anchorCtr="0" forceAA="0" compatLnSpc="1">
            <a:prstTxWarp prst="textNoShape">
              <a:avLst/>
            </a:prstTxWarp>
            <a:noAutofit/>
          </a:bodyPr>
          <a:lstStyle/>
          <a:p>
            <a:pPr marL="0" indent="0" algn="ctr">
              <a:buFont typeface="Courier New" pitchFamily="49" charset="0"/>
              <a:buNone/>
            </a:pPr>
            <a:endParaRPr lang="en-US" sz="2133">
              <a:solidFill>
                <a:schemeClr val="tx1"/>
              </a:solidFill>
              <a:latin typeface="Arial" pitchFamily="34" charset="0"/>
            </a:endParaRPr>
          </a:p>
        </p:txBody>
      </p:sp>
    </p:spTree>
    <p:extLst>
      <p:ext uri="{BB962C8B-B14F-4D97-AF65-F5344CB8AC3E}">
        <p14:creationId xmlns:p14="http://schemas.microsoft.com/office/powerpoint/2010/main" val="345405902"/>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Divider Slide for presentation">
    <p:bg>
      <p:bgPr>
        <a:solidFill>
          <a:schemeClr val="bg1"/>
        </a:solidFill>
        <a:effectLst/>
      </p:bgPr>
    </p:bg>
    <p:spTree>
      <p:nvGrpSpPr>
        <p:cNvPr id="1" name=""/>
        <p:cNvGrpSpPr/>
        <p:nvPr/>
      </p:nvGrpSpPr>
      <p:grpSpPr>
        <a:xfrm>
          <a:off x="0" y="0"/>
          <a:ext cx="0" cy="0"/>
          <a:chOff x="0" y="0"/>
          <a:chExt cx="0" cy="0"/>
        </a:xfrm>
      </p:grpSpPr>
      <p:sp>
        <p:nvSpPr>
          <p:cNvPr id="2" name="Titel 1"/>
          <p:cNvSpPr>
            <a:spLocks noGrp="1"/>
          </p:cNvSpPr>
          <p:nvPr>
            <p:ph type="title" hasCustomPrompt="1"/>
          </p:nvPr>
        </p:nvSpPr>
        <p:spPr bwMode="gray">
          <a:xfrm>
            <a:off x="431214" y="2372883"/>
            <a:ext cx="11329573" cy="1919747"/>
          </a:xfrm>
          <a:gradFill>
            <a:gsLst>
              <a:gs pos="2000">
                <a:schemeClr val="accent6"/>
              </a:gs>
              <a:gs pos="100000">
                <a:srgbClr val="F9B200"/>
              </a:gs>
            </a:gsLst>
            <a:lin ang="0" scaled="0"/>
          </a:gra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24000" tIns="0" rIns="324000" bIns="0" numCol="1" spcCol="0" rtlCol="0" fromWordArt="0" anchor="ctr" anchorCtr="0" forceAA="0" compatLnSpc="1">
            <a:prstTxWarp prst="textNoShape">
              <a:avLst/>
            </a:prstTxWarp>
            <a:noAutofit/>
          </a:bodyPr>
          <a:lstStyle>
            <a:lvl1pPr>
              <a:defRPr lang="de-DE" sz="4000" kern="1200" dirty="0">
                <a:solidFill>
                  <a:schemeClr val="bg1"/>
                </a:solidFill>
                <a:latin typeface="Arial" pitchFamily="34" charset="0"/>
                <a:ea typeface="+mn-ea"/>
                <a:cs typeface="+mn-cs"/>
              </a:defRPr>
            </a:lvl1pPr>
          </a:lstStyle>
          <a:p>
            <a:pPr lvl="0"/>
            <a:r>
              <a:rPr lang="en-US"/>
              <a:t>Click to add text for divider slide</a:t>
            </a:r>
          </a:p>
        </p:txBody>
      </p:sp>
      <p:sp>
        <p:nvSpPr>
          <p:cNvPr id="3" name="Rechteck 2"/>
          <p:cNvSpPr/>
          <p:nvPr userDrawn="1"/>
        </p:nvSpPr>
        <p:spPr bwMode="gray">
          <a:xfrm>
            <a:off x="0" y="1"/>
            <a:ext cx="12192000" cy="2180167"/>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indent="0" algn="ctr">
              <a:buFont typeface="Courier New" pitchFamily="49" charset="0"/>
              <a:buNone/>
            </a:pPr>
            <a:endParaRPr lang="en-US" sz="2133">
              <a:solidFill>
                <a:schemeClr val="tx1"/>
              </a:solidFill>
              <a:latin typeface="Arial" pitchFamily="34" charset="0"/>
            </a:endParaRPr>
          </a:p>
        </p:txBody>
      </p:sp>
    </p:spTree>
    <p:extLst>
      <p:ext uri="{BB962C8B-B14F-4D97-AF65-F5344CB8AC3E}">
        <p14:creationId xmlns:p14="http://schemas.microsoft.com/office/powerpoint/2010/main" val="462025817"/>
      </p:ext>
    </p:extLst>
  </p:cSld>
  <p:clrMapOvr>
    <a:masterClrMapping/>
  </p:clrMapOvr>
</p:sldLayout>
</file>

<file path=ppt/slideLayouts/slideLayout500.xml><?xml version="1.0" encoding="utf-8"?>
<p:sldLayout xmlns:a="http://schemas.openxmlformats.org/drawingml/2006/main" xmlns:r="http://schemas.openxmlformats.org/officeDocument/2006/relationships" xmlns:p="http://schemas.openxmlformats.org/presentationml/2006/main" userDrawn="1">
  <p:cSld name="Titel und Inhalt">
    <p:spTree>
      <p:nvGrpSpPr>
        <p:cNvPr id="1" name=""/>
        <p:cNvGrpSpPr/>
        <p:nvPr/>
      </p:nvGrpSpPr>
      <p:grpSpPr>
        <a:xfrm>
          <a:off x="0" y="0"/>
          <a:ext cx="0" cy="0"/>
          <a:chOff x="0" y="0"/>
          <a:chExt cx="0" cy="0"/>
        </a:xfrm>
      </p:grpSpPr>
      <p:sp>
        <p:nvSpPr>
          <p:cNvPr id="2" name="Titel 1"/>
          <p:cNvSpPr>
            <a:spLocks noGrp="1"/>
          </p:cNvSpPr>
          <p:nvPr>
            <p:ph type="title" hasCustomPrompt="1"/>
          </p:nvPr>
        </p:nvSpPr>
        <p:spPr bwMode="gray">
          <a:xfrm>
            <a:off x="335360" y="296652"/>
            <a:ext cx="9577062" cy="576000"/>
          </a:xfrm>
        </p:spPr>
        <p:txBody>
          <a:bodyPr/>
          <a:lstStyle>
            <a:lvl1pPr>
              <a:defRPr/>
            </a:lvl1pPr>
          </a:lstStyle>
          <a:p>
            <a:r>
              <a:rPr lang="en-US"/>
              <a:t>Click to add headline</a:t>
            </a:r>
          </a:p>
        </p:txBody>
      </p:sp>
      <p:sp>
        <p:nvSpPr>
          <p:cNvPr id="4" name="Datumsplatzhalter 3"/>
          <p:cNvSpPr>
            <a:spLocks noGrp="1"/>
          </p:cNvSpPr>
          <p:nvPr>
            <p:ph type="dt" sz="half" idx="10"/>
          </p:nvPr>
        </p:nvSpPr>
        <p:spPr bwMode="gray"/>
        <p:txBody>
          <a:bodyPr/>
          <a:lstStyle/>
          <a:p>
            <a:fld id="{DC514865-79A3-4D1D-A4E4-8A101BD68FD5}" type="datetime1">
              <a:rPr lang="en-GB" smtClean="0"/>
              <a:t>26/06/2020</a:t>
            </a:fld>
            <a:endParaRPr lang="en-US"/>
          </a:p>
        </p:txBody>
      </p:sp>
      <p:sp>
        <p:nvSpPr>
          <p:cNvPr id="6" name="Foliennummernplatzhalter 5"/>
          <p:cNvSpPr>
            <a:spLocks noGrp="1"/>
          </p:cNvSpPr>
          <p:nvPr>
            <p:ph type="sldNum" sz="quarter" idx="12"/>
          </p:nvPr>
        </p:nvSpPr>
        <p:spPr bwMode="gray"/>
        <p:txBody>
          <a:bodyPr/>
          <a:lstStyle/>
          <a:p>
            <a:fld id="{9B03EF59-7151-FE47-8F89-F91E474DC3E5}" type="slidenum">
              <a:rPr lang="en-US" smtClean="0"/>
              <a:t>‹#›</a:t>
            </a:fld>
            <a:endParaRPr lang="en-US"/>
          </a:p>
        </p:txBody>
      </p:sp>
      <p:sp>
        <p:nvSpPr>
          <p:cNvPr id="7" name="Textplatzhalter 5">
            <a:extLst>
              <a:ext uri="{FF2B5EF4-FFF2-40B4-BE49-F238E27FC236}">
                <a16:creationId xmlns:a16="http://schemas.microsoft.com/office/drawing/2014/main" id="{CAD5373F-2694-4D2C-80B5-BCE4953F12AC}"/>
              </a:ext>
            </a:extLst>
          </p:cNvPr>
          <p:cNvSpPr>
            <a:spLocks noGrp="1"/>
          </p:cNvSpPr>
          <p:nvPr>
            <p:ph type="body" sz="quarter" idx="13" hasCustomPrompt="1"/>
          </p:nvPr>
        </p:nvSpPr>
        <p:spPr bwMode="gray">
          <a:xfrm>
            <a:off x="334963" y="6201308"/>
            <a:ext cx="11520000" cy="180000"/>
          </a:xfrm>
        </p:spPr>
        <p:txBody>
          <a:bodyPr anchor="b" anchorCtr="0"/>
          <a:lstStyle>
            <a:lvl1pPr>
              <a:defRPr sz="800"/>
            </a:lvl1pPr>
            <a:lvl2pPr>
              <a:defRPr sz="800"/>
            </a:lvl2pPr>
            <a:lvl3pPr>
              <a:defRPr sz="800"/>
            </a:lvl3pPr>
            <a:lvl4pPr>
              <a:defRPr sz="800"/>
            </a:lvl4pPr>
            <a:lvl5pPr>
              <a:defRPr sz="800"/>
            </a:lvl5pPr>
          </a:lstStyle>
          <a:p>
            <a:pPr lvl="0"/>
            <a:r>
              <a:rPr lang="en-US"/>
              <a:t>Source</a:t>
            </a:r>
          </a:p>
        </p:txBody>
      </p:sp>
      <p:sp>
        <p:nvSpPr>
          <p:cNvPr id="8" name="Textplatzhalter 2">
            <a:extLst>
              <a:ext uri="{FF2B5EF4-FFF2-40B4-BE49-F238E27FC236}">
                <a16:creationId xmlns:a16="http://schemas.microsoft.com/office/drawing/2014/main" id="{2F718170-980F-41B0-A980-3FDD4F23719A}"/>
              </a:ext>
            </a:extLst>
          </p:cNvPr>
          <p:cNvSpPr>
            <a:spLocks noGrp="1"/>
          </p:cNvSpPr>
          <p:nvPr>
            <p:ph idx="1" hasCustomPrompt="1"/>
          </p:nvPr>
        </p:nvSpPr>
        <p:spPr bwMode="gray">
          <a:xfrm>
            <a:off x="334963" y="1773237"/>
            <a:ext cx="11520000" cy="4427537"/>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platzhalter 7">
            <a:extLst>
              <a:ext uri="{FF2B5EF4-FFF2-40B4-BE49-F238E27FC236}">
                <a16:creationId xmlns:a16="http://schemas.microsoft.com/office/drawing/2014/main" id="{D71D455A-6FD5-4AE8-A6F9-02E6D232C567}"/>
              </a:ext>
            </a:extLst>
          </p:cNvPr>
          <p:cNvSpPr>
            <a:spLocks noGrp="1"/>
          </p:cNvSpPr>
          <p:nvPr>
            <p:ph type="body" sz="quarter" idx="14" hasCustomPrompt="1"/>
          </p:nvPr>
        </p:nvSpPr>
        <p:spPr bwMode="gray">
          <a:xfrm>
            <a:off x="334962" y="1307046"/>
            <a:ext cx="11520000" cy="360000"/>
          </a:xfrm>
        </p:spPr>
        <p:txBody>
          <a:bodyPr/>
          <a:lstStyle>
            <a:lvl1pPr>
              <a:defRPr>
                <a:solidFill>
                  <a:schemeClr val="bg2"/>
                </a:solidFill>
              </a:defRPr>
            </a:lvl1pPr>
          </a:lstStyle>
          <a:p>
            <a:pPr lvl="0"/>
            <a:r>
              <a:rPr lang="en-US"/>
              <a:t>Click to add </a:t>
            </a:r>
            <a:r>
              <a:rPr lang="en-US" err="1"/>
              <a:t>subheadline</a:t>
            </a:r>
            <a:endParaRPr lang="en-US"/>
          </a:p>
        </p:txBody>
      </p:sp>
    </p:spTree>
    <p:extLst>
      <p:ext uri="{BB962C8B-B14F-4D97-AF65-F5344CB8AC3E}">
        <p14:creationId xmlns:p14="http://schemas.microsoft.com/office/powerpoint/2010/main" val="1586086415"/>
      </p:ext>
    </p:extLst>
  </p:cSld>
  <p:clrMapOvr>
    <a:masterClrMapping/>
  </p:clrMapOvr>
</p:sldLayout>
</file>

<file path=ppt/slideLayouts/slideLayout501.xml><?xml version="1.0" encoding="utf-8"?>
<p:sldLayout xmlns:a="http://schemas.openxmlformats.org/drawingml/2006/main" xmlns:r="http://schemas.openxmlformats.org/officeDocument/2006/relationships" xmlns:p="http://schemas.openxmlformats.org/presentationml/2006/main" type="blank">
  <p:cSld name="Leer">
    <p:spTree>
      <p:nvGrpSpPr>
        <p:cNvPr id="1" name=""/>
        <p:cNvGrpSpPr/>
        <p:nvPr/>
      </p:nvGrpSpPr>
      <p:grpSpPr>
        <a:xfrm>
          <a:off x="0" y="0"/>
          <a:ext cx="0" cy="0"/>
          <a:chOff x="0" y="0"/>
          <a:chExt cx="0" cy="0"/>
        </a:xfrm>
      </p:grpSpPr>
      <p:sp>
        <p:nvSpPr>
          <p:cNvPr id="2" name="Datumsplatzhalter 1"/>
          <p:cNvSpPr>
            <a:spLocks noGrp="1"/>
          </p:cNvSpPr>
          <p:nvPr>
            <p:ph type="dt" sz="half" idx="10"/>
          </p:nvPr>
        </p:nvSpPr>
        <p:spPr bwMode="gray"/>
        <p:txBody>
          <a:bodyPr/>
          <a:lstStyle/>
          <a:p>
            <a:fld id="{4AD6FEBB-4F17-4D22-BAED-5D319AD948DB}" type="datetime1">
              <a:rPr lang="en-GB" smtClean="0"/>
              <a:t>26/06/2020</a:t>
            </a:fld>
            <a:endParaRPr lang="en-US"/>
          </a:p>
        </p:txBody>
      </p:sp>
      <p:sp>
        <p:nvSpPr>
          <p:cNvPr id="4" name="Foliennummernplatzhalter 3"/>
          <p:cNvSpPr>
            <a:spLocks noGrp="1"/>
          </p:cNvSpPr>
          <p:nvPr>
            <p:ph type="sldNum" sz="quarter" idx="12"/>
          </p:nvPr>
        </p:nvSpPr>
        <p:spPr bwMode="gray"/>
        <p:txBody>
          <a:bodyPr/>
          <a:lstStyle/>
          <a:p>
            <a:fld id="{9B03EF59-7151-FE47-8F89-F91E474DC3E5}" type="slidenum">
              <a:rPr lang="en-US" smtClean="0"/>
              <a:t>‹#›</a:t>
            </a:fld>
            <a:endParaRPr lang="en-US"/>
          </a:p>
        </p:txBody>
      </p:sp>
    </p:spTree>
    <p:extLst>
      <p:ext uri="{BB962C8B-B14F-4D97-AF65-F5344CB8AC3E}">
        <p14:creationId xmlns:p14="http://schemas.microsoft.com/office/powerpoint/2010/main" val="1094728676"/>
      </p:ext>
    </p:extLst>
  </p:cSld>
  <p:clrMapOvr>
    <a:masterClrMapping/>
  </p:clrMapOvr>
</p:sldLayout>
</file>

<file path=ppt/slideLayouts/slideLayout502.xml><?xml version="1.0" encoding="utf-8"?>
<p:sldLayout xmlns:a="http://schemas.openxmlformats.org/drawingml/2006/main" xmlns:r="http://schemas.openxmlformats.org/officeDocument/2006/relationships" xmlns:p="http://schemas.openxmlformats.org/presentationml/2006/main">
  <p:cSld name="1_Headline only">
    <p:spTree>
      <p:nvGrpSpPr>
        <p:cNvPr id="1" name=""/>
        <p:cNvGrpSpPr/>
        <p:nvPr/>
      </p:nvGrpSpPr>
      <p:grpSpPr>
        <a:xfrm>
          <a:off x="0" y="0"/>
          <a:ext cx="0" cy="0"/>
          <a:chOff x="0" y="0"/>
          <a:chExt cx="0" cy="0"/>
        </a:xfrm>
      </p:grpSpPr>
      <p:sp>
        <p:nvSpPr>
          <p:cNvPr id="21" name="Date Placeholder 20"/>
          <p:cNvSpPr>
            <a:spLocks noGrp="1"/>
          </p:cNvSpPr>
          <p:nvPr>
            <p:ph type="dt" sz="half" idx="14"/>
          </p:nvPr>
        </p:nvSpPr>
        <p:spPr>
          <a:xfrm>
            <a:off x="192089" y="6237288"/>
            <a:ext cx="648000" cy="358173"/>
          </a:xfrm>
          <a:prstGeom prst="rect">
            <a:avLst/>
          </a:prstGeom>
        </p:spPr>
        <p:txBody>
          <a:bodyPr/>
          <a:lstStyle/>
          <a:p>
            <a:fld id="{F85A3EBA-DF8F-4753-85D7-188E40EA0C82}" type="datetime1">
              <a:rPr lang="en-GB" smtClean="0"/>
              <a:t>26/06/2020</a:t>
            </a:fld>
            <a:endParaRPr lang="en-GB"/>
          </a:p>
        </p:txBody>
      </p:sp>
      <p:sp>
        <p:nvSpPr>
          <p:cNvPr id="22" name="Footer Placeholder 21"/>
          <p:cNvSpPr>
            <a:spLocks noGrp="1"/>
          </p:cNvSpPr>
          <p:nvPr>
            <p:ph type="ftr" sz="quarter" idx="15"/>
          </p:nvPr>
        </p:nvSpPr>
        <p:spPr/>
        <p:txBody>
          <a:bodyPr/>
          <a:lstStyle/>
          <a:p>
            <a:r>
              <a:rPr lang="en-GB"/>
              <a:t>The GfK Consumer Insights Engine</a:t>
            </a:r>
          </a:p>
        </p:txBody>
      </p:sp>
      <p:sp>
        <p:nvSpPr>
          <p:cNvPr id="23" name="Slide Number Placeholder 22"/>
          <p:cNvSpPr>
            <a:spLocks noGrp="1"/>
          </p:cNvSpPr>
          <p:nvPr>
            <p:ph type="sldNum" sz="quarter" idx="16"/>
          </p:nvPr>
        </p:nvSpPr>
        <p:spPr/>
        <p:txBody>
          <a:bodyPr/>
          <a:lstStyle/>
          <a:p>
            <a:fld id="{5F3E29E4-0979-4FCA-B4C5-5FC6044C982A}" type="slidenum">
              <a:rPr lang="en-GB" smtClean="0"/>
              <a:t>‹#›</a:t>
            </a:fld>
            <a:endParaRPr lang="en-GB"/>
          </a:p>
        </p:txBody>
      </p:sp>
      <p:sp>
        <p:nvSpPr>
          <p:cNvPr id="2" name="Title 1"/>
          <p:cNvSpPr>
            <a:spLocks noGrp="1"/>
          </p:cNvSpPr>
          <p:nvPr>
            <p:ph type="title" hasCustomPrompt="1"/>
          </p:nvPr>
        </p:nvSpPr>
        <p:spPr>
          <a:xfrm>
            <a:off x="1055440" y="288922"/>
            <a:ext cx="7920000" cy="648000"/>
          </a:xfrm>
        </p:spPr>
        <p:txBody>
          <a:bodyPr/>
          <a:lstStyle>
            <a:lvl1pPr>
              <a:defRPr/>
            </a:lvl1pPr>
          </a:lstStyle>
          <a:p>
            <a:r>
              <a:rPr lang="en-GB"/>
              <a:t>Click to add slide title</a:t>
            </a:r>
          </a:p>
        </p:txBody>
      </p:sp>
      <p:sp>
        <p:nvSpPr>
          <p:cNvPr id="7" name="Subtitle 2"/>
          <p:cNvSpPr>
            <a:spLocks noGrp="1"/>
          </p:cNvSpPr>
          <p:nvPr>
            <p:ph type="subTitle" idx="13" hasCustomPrompt="1"/>
          </p:nvPr>
        </p:nvSpPr>
        <p:spPr>
          <a:xfrm>
            <a:off x="1055440" y="964671"/>
            <a:ext cx="7920000" cy="490042"/>
          </a:xfrm>
        </p:spPr>
        <p:txBody>
          <a:bodyPr wrap="none"/>
          <a:lstStyle>
            <a:lvl1pPr marL="0" indent="0" algn="l">
              <a:spcBef>
                <a:spcPts val="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add subtitle</a:t>
            </a:r>
          </a:p>
        </p:txBody>
      </p:sp>
    </p:spTree>
    <p:extLst>
      <p:ext uri="{BB962C8B-B14F-4D97-AF65-F5344CB8AC3E}">
        <p14:creationId xmlns:p14="http://schemas.microsoft.com/office/powerpoint/2010/main" val="550177553"/>
      </p:ext>
    </p:extLst>
  </p:cSld>
  <p:clrMapOvr>
    <a:masterClrMapping/>
  </p:clrMapOvr>
</p:sldLayout>
</file>

<file path=ppt/slideLayouts/slideLayout503.xml><?xml version="1.0" encoding="utf-8"?>
<p:sldLayout xmlns:a="http://schemas.openxmlformats.org/drawingml/2006/main" xmlns:r="http://schemas.openxmlformats.org/officeDocument/2006/relationships" xmlns:p="http://schemas.openxmlformats.org/presentationml/2006/main" userDrawn="1">
  <p:cSld name="2_Headline only">
    <p:spTree>
      <p:nvGrpSpPr>
        <p:cNvPr id="1" name=""/>
        <p:cNvGrpSpPr/>
        <p:nvPr/>
      </p:nvGrpSpPr>
      <p:grpSpPr>
        <a:xfrm>
          <a:off x="0" y="0"/>
          <a:ext cx="0" cy="0"/>
          <a:chOff x="0" y="0"/>
          <a:chExt cx="0" cy="0"/>
        </a:xfrm>
      </p:grpSpPr>
      <p:sp>
        <p:nvSpPr>
          <p:cNvPr id="3" name="Textplatzhalter 2"/>
          <p:cNvSpPr>
            <a:spLocks noGrp="1"/>
          </p:cNvSpPr>
          <p:nvPr>
            <p:ph type="body" sz="quarter" idx="10" hasCustomPrompt="1"/>
          </p:nvPr>
        </p:nvSpPr>
        <p:spPr bwMode="gray">
          <a:xfrm>
            <a:off x="431213" y="1220755"/>
            <a:ext cx="11328987" cy="384340"/>
          </a:xfrm>
        </p:spPr>
        <p:txBody>
          <a:bodyPr>
            <a:noAutofit/>
          </a:bodyPr>
          <a:lstStyle>
            <a:lvl1pPr marL="0" indent="0">
              <a:lnSpc>
                <a:spcPct val="100000"/>
              </a:lnSpc>
              <a:spcBef>
                <a:spcPts val="800"/>
              </a:spcBef>
              <a:buFont typeface="Arial" panose="020B0604020202020204" pitchFamily="34" charset="0"/>
              <a:buNone/>
              <a:defRPr lang="en-GB" sz="2400" b="0" i="0" kern="1200" noProof="0" smtClean="0">
                <a:solidFill>
                  <a:schemeClr val="tx1"/>
                </a:solidFill>
                <a:latin typeface="+mn-lt"/>
                <a:ea typeface="+mn-ea"/>
                <a:cs typeface="Arial" pitchFamily="34" charset="0"/>
              </a:defRPr>
            </a:lvl1pPr>
            <a:lvl2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2pPr>
            <a:lvl3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3pPr>
            <a:lvl4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4pPr>
            <a:lvl5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5pPr>
            <a:lvl6pPr marL="0" indent="0">
              <a:lnSpc>
                <a:spcPct val="100000"/>
              </a:lnSpc>
              <a:spcBef>
                <a:spcPts val="800"/>
              </a:spcBef>
              <a:buNone/>
              <a:defRPr lang="en-GB" sz="2400" kern="1200" noProof="0" smtClean="0">
                <a:solidFill>
                  <a:schemeClr val="tx2"/>
                </a:solidFill>
                <a:latin typeface="Arial" pitchFamily="34" charset="0"/>
                <a:ea typeface="+mn-ea"/>
                <a:cs typeface="Arial" pitchFamily="34" charset="0"/>
              </a:defRPr>
            </a:lvl6pPr>
            <a:lvl7pPr marL="0" indent="0">
              <a:lnSpc>
                <a:spcPct val="100000"/>
              </a:lnSpc>
              <a:spcBef>
                <a:spcPts val="800"/>
              </a:spcBef>
              <a:buNone/>
              <a:defRPr lang="en-GB" sz="2400" kern="1200" noProof="0" smtClean="0">
                <a:solidFill>
                  <a:schemeClr val="tx2"/>
                </a:solidFill>
                <a:latin typeface="Arial" pitchFamily="34" charset="0"/>
                <a:ea typeface="+mn-ea"/>
                <a:cs typeface="Arial" pitchFamily="34" charset="0"/>
              </a:defRPr>
            </a:lvl7pPr>
            <a:lvl8pPr marL="0" indent="0">
              <a:lnSpc>
                <a:spcPct val="100000"/>
              </a:lnSpc>
              <a:spcBef>
                <a:spcPts val="800"/>
              </a:spcBef>
              <a:buNone/>
              <a:defRPr lang="en-GB" sz="2400" kern="1200" noProof="0" smtClean="0">
                <a:solidFill>
                  <a:schemeClr val="tx2"/>
                </a:solidFill>
                <a:latin typeface="Arial" pitchFamily="34" charset="0"/>
                <a:ea typeface="+mn-ea"/>
                <a:cs typeface="Arial" pitchFamily="34" charset="0"/>
              </a:defRPr>
            </a:lvl8pPr>
            <a:lvl9pPr marL="0" indent="0">
              <a:lnSpc>
                <a:spcPct val="100000"/>
              </a:lnSpc>
              <a:spcBef>
                <a:spcPts val="800"/>
              </a:spcBef>
              <a:buNone/>
              <a:defRPr lang="de-DE" sz="2400" kern="1200" noProof="0" smtClean="0">
                <a:solidFill>
                  <a:schemeClr val="tx2"/>
                </a:solidFill>
                <a:latin typeface="Arial" pitchFamily="34" charset="0"/>
                <a:ea typeface="+mn-ea"/>
                <a:cs typeface="Arial" pitchFamily="34" charset="0"/>
              </a:defRPr>
            </a:lvl9pPr>
          </a:lstStyle>
          <a:p>
            <a:pPr lvl="0"/>
            <a:r>
              <a:rPr lang="en-US"/>
              <a:t>Click to add </a:t>
            </a:r>
            <a:r>
              <a:rPr lang="en-US" err="1"/>
              <a:t>subheadline</a:t>
            </a:r>
            <a:endParaRPr lang="en-US"/>
          </a:p>
        </p:txBody>
      </p:sp>
      <p:sp>
        <p:nvSpPr>
          <p:cNvPr id="4" name="Textplatzhalter 3"/>
          <p:cNvSpPr>
            <a:spLocks noGrp="1"/>
          </p:cNvSpPr>
          <p:nvPr>
            <p:ph type="body" sz="quarter" idx="11" hasCustomPrompt="1"/>
          </p:nvPr>
        </p:nvSpPr>
        <p:spPr bwMode="gray">
          <a:xfrm>
            <a:off x="431371" y="6404736"/>
            <a:ext cx="11328400" cy="192616"/>
          </a:xfrm>
        </p:spPr>
        <p:txBody>
          <a:bodyPr tIns="0" bIns="36000" anchor="b" anchorCtr="0">
            <a:noAutofit/>
          </a:bodyPr>
          <a:lstStyle>
            <a:lvl1pPr marL="0" marR="0" indent="0" algn="l" defTabSz="1219170" rtl="0" eaLnBrk="1" fontAlgn="auto" latinLnBrk="0" hangingPunct="1">
              <a:lnSpc>
                <a:spcPct val="100000"/>
              </a:lnSpc>
              <a:spcBef>
                <a:spcPts val="0"/>
              </a:spcBef>
              <a:spcAft>
                <a:spcPts val="0"/>
              </a:spcAft>
              <a:buClrTx/>
              <a:buSzTx/>
              <a:buFont typeface="Arial" pitchFamily="34" charset="0"/>
              <a:buNone/>
              <a:tabLst/>
              <a:defRPr lang="de-DE" sz="1067" kern="1200" baseline="0" noProof="0" smtClean="0">
                <a:solidFill>
                  <a:schemeClr val="tx1"/>
                </a:solidFill>
                <a:latin typeface="+mn-lt"/>
                <a:ea typeface="+mn-ea"/>
                <a:cs typeface="Arial" pitchFamily="34" charset="0"/>
              </a:defRPr>
            </a:lvl1pPr>
            <a:lvl2pPr marL="0" indent="0">
              <a:lnSpc>
                <a:spcPct val="100000"/>
              </a:lnSpc>
              <a:spcBef>
                <a:spcPts val="0"/>
              </a:spcBef>
              <a:buFont typeface="Arial" panose="020B0604020202020204" pitchFamily="34" charset="0"/>
              <a:buNone/>
              <a:defRPr lang="de-DE" sz="1067" kern="1200" baseline="0" noProof="0" smtClean="0">
                <a:solidFill>
                  <a:schemeClr val="bg2"/>
                </a:solidFill>
                <a:latin typeface="Arial" pitchFamily="34" charset="0"/>
                <a:ea typeface="+mn-ea"/>
                <a:cs typeface="Arial" pitchFamily="34" charset="0"/>
              </a:defRPr>
            </a:lvl2pPr>
            <a:lvl3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3pPr>
            <a:lvl4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4pPr>
            <a:lvl5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5pPr>
            <a:lvl6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6pPr>
            <a:lvl7pPr marL="0" indent="0">
              <a:lnSpc>
                <a:spcPct val="100000"/>
              </a:lnSpc>
              <a:spcBef>
                <a:spcPts val="0"/>
              </a:spcBef>
              <a:buNone/>
              <a:defRPr lang="de-DE" sz="1067" kern="1200" baseline="0" noProof="0" dirty="0" smtClean="0">
                <a:solidFill>
                  <a:schemeClr val="bg2"/>
                </a:solidFill>
                <a:latin typeface="Arial" pitchFamily="34" charset="0"/>
                <a:ea typeface="+mn-ea"/>
                <a:cs typeface="Arial" pitchFamily="34" charset="0"/>
              </a:defRPr>
            </a:lvl7pPr>
            <a:lvl8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8pPr>
            <a:lvl9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9pPr>
          </a:lstStyle>
          <a:p>
            <a:pPr lvl="0"/>
            <a:r>
              <a:rPr lang="en-US"/>
              <a:t>Click to add source information</a:t>
            </a:r>
          </a:p>
        </p:txBody>
      </p:sp>
      <p:sp>
        <p:nvSpPr>
          <p:cNvPr id="5" name="Title 4"/>
          <p:cNvSpPr>
            <a:spLocks noGrp="1"/>
          </p:cNvSpPr>
          <p:nvPr>
            <p:ph type="title" hasCustomPrompt="1"/>
          </p:nvPr>
        </p:nvSpPr>
        <p:spPr/>
        <p:txBody>
          <a:bodyPr/>
          <a:lstStyle/>
          <a:p>
            <a:r>
              <a:rPr lang="en-US"/>
              <a:t>Click to add headline</a:t>
            </a:r>
          </a:p>
        </p:txBody>
      </p:sp>
    </p:spTree>
    <p:extLst>
      <p:ext uri="{BB962C8B-B14F-4D97-AF65-F5344CB8AC3E}">
        <p14:creationId xmlns:p14="http://schemas.microsoft.com/office/powerpoint/2010/main" val="427638379"/>
      </p:ext>
    </p:extLst>
  </p:cSld>
  <p:clrMapOvr>
    <a:masterClrMapping/>
  </p:clrMapOvr>
</p:sldLayout>
</file>

<file path=ppt/slideLayouts/slideLayout504.xml><?xml version="1.0" encoding="utf-8"?>
<p:sldLayout xmlns:a="http://schemas.openxmlformats.org/drawingml/2006/main" xmlns:r="http://schemas.openxmlformats.org/officeDocument/2006/relationships" xmlns:p="http://schemas.openxmlformats.org/presentationml/2006/main" userDrawn="1">
  <p:cSld name="Agenda">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p>
            <a:r>
              <a:rPr lang="en-US"/>
              <a:t>Click to add headline</a:t>
            </a:r>
          </a:p>
        </p:txBody>
      </p:sp>
      <p:sp>
        <p:nvSpPr>
          <p:cNvPr id="3" name="Content Placeholder 2"/>
          <p:cNvSpPr>
            <a:spLocks noGrp="1"/>
          </p:cNvSpPr>
          <p:nvPr>
            <p:ph idx="1" hasCustomPrompt="1"/>
          </p:nvPr>
        </p:nvSpPr>
        <p:spPr bwMode="gray"/>
        <p:txBody>
          <a:bodyPr/>
          <a:lstStyle>
            <a:lvl1pPr marL="476946" indent="-476946">
              <a:spcBef>
                <a:spcPts val="1590"/>
              </a:spcBef>
              <a:spcAft>
                <a:spcPts val="0"/>
              </a:spcAft>
              <a:buClr>
                <a:schemeClr val="tx2"/>
              </a:buClr>
              <a:buFont typeface="+mj-lt"/>
              <a:buAutoNum type="arabicPeriod"/>
              <a:tabLst>
                <a:tab pos="11255926" algn="r"/>
              </a:tabLst>
              <a:defRPr sz="2385">
                <a:solidFill>
                  <a:schemeClr val="tx1"/>
                </a:solidFill>
              </a:defRPr>
            </a:lvl1pPr>
            <a:lvl2pPr marL="475323" indent="0">
              <a:spcBef>
                <a:spcPts val="1590"/>
              </a:spcBef>
              <a:spcAft>
                <a:spcPts val="0"/>
              </a:spcAft>
              <a:buClr>
                <a:schemeClr val="bg2"/>
              </a:buClr>
              <a:buFont typeface="+mj-lt"/>
              <a:buNone/>
              <a:tabLst>
                <a:tab pos="10969758" algn="r"/>
              </a:tabLst>
              <a:defRPr sz="2385">
                <a:solidFill>
                  <a:schemeClr val="bg2"/>
                </a:solidFill>
              </a:defRPr>
            </a:lvl2pPr>
            <a:lvl3pPr marL="476946" indent="0">
              <a:spcBef>
                <a:spcPts val="1590"/>
              </a:spcBef>
              <a:spcAft>
                <a:spcPts val="0"/>
              </a:spcAft>
              <a:buFontTx/>
              <a:buNone/>
              <a:defRPr sz="2385">
                <a:solidFill>
                  <a:schemeClr val="bg2"/>
                </a:solidFill>
              </a:defRPr>
            </a:lvl3pPr>
            <a:lvl4pPr marL="476946" indent="0">
              <a:spcBef>
                <a:spcPts val="1590"/>
              </a:spcBef>
              <a:spcAft>
                <a:spcPts val="0"/>
              </a:spcAft>
              <a:buFontTx/>
              <a:buNone/>
              <a:defRPr sz="2385">
                <a:solidFill>
                  <a:schemeClr val="bg2"/>
                </a:solidFill>
              </a:defRPr>
            </a:lvl4pPr>
            <a:lvl5pPr marL="476946" indent="0">
              <a:spcBef>
                <a:spcPts val="1590"/>
              </a:spcBef>
              <a:spcAft>
                <a:spcPts val="0"/>
              </a:spcAft>
              <a:buFontTx/>
              <a:buNone/>
              <a:defRPr sz="2385">
                <a:solidFill>
                  <a:schemeClr val="bg2"/>
                </a:solidFill>
              </a:defRPr>
            </a:lvl5pPr>
            <a:lvl6pPr marL="476946" indent="0">
              <a:spcBef>
                <a:spcPts val="1590"/>
              </a:spcBef>
              <a:spcAft>
                <a:spcPts val="0"/>
              </a:spcAft>
              <a:buFontTx/>
              <a:buNone/>
              <a:defRPr sz="2385">
                <a:solidFill>
                  <a:schemeClr val="bg2"/>
                </a:solidFill>
              </a:defRPr>
            </a:lvl6pPr>
            <a:lvl7pPr marL="476946" indent="0">
              <a:spcBef>
                <a:spcPts val="1590"/>
              </a:spcBef>
              <a:spcAft>
                <a:spcPts val="0"/>
              </a:spcAft>
              <a:buFontTx/>
              <a:buNone/>
              <a:defRPr sz="2385">
                <a:solidFill>
                  <a:schemeClr val="bg2"/>
                </a:solidFill>
              </a:defRPr>
            </a:lvl7pPr>
            <a:lvl8pPr marL="476946" indent="0">
              <a:spcBef>
                <a:spcPts val="1590"/>
              </a:spcBef>
              <a:spcAft>
                <a:spcPts val="0"/>
              </a:spcAft>
              <a:buFontTx/>
              <a:buNone/>
              <a:defRPr sz="2385">
                <a:solidFill>
                  <a:schemeClr val="bg2"/>
                </a:solidFill>
              </a:defRPr>
            </a:lvl8pPr>
            <a:lvl9pPr marL="476946" indent="0">
              <a:spcBef>
                <a:spcPts val="1590"/>
              </a:spcBef>
              <a:spcAft>
                <a:spcPts val="0"/>
              </a:spcAft>
              <a:buFontTx/>
              <a:buNone/>
              <a:defRPr sz="2385">
                <a:solidFill>
                  <a:schemeClr val="bg2"/>
                </a:solidFill>
              </a:defRPr>
            </a:lvl9pPr>
          </a:lstStyle>
          <a:p>
            <a:pPr lvl="0"/>
            <a:r>
              <a:rPr lang="en-US"/>
              <a:t>Click to add agenda</a:t>
            </a:r>
          </a:p>
        </p:txBody>
      </p:sp>
    </p:spTree>
    <p:extLst>
      <p:ext uri="{BB962C8B-B14F-4D97-AF65-F5344CB8AC3E}">
        <p14:creationId xmlns:p14="http://schemas.microsoft.com/office/powerpoint/2010/main" val="2025691264"/>
      </p:ext>
    </p:extLst>
  </p:cSld>
  <p:clrMapOvr>
    <a:masterClrMapping/>
  </p:clrMapOvr>
</p:sldLayout>
</file>

<file path=ppt/slideLayouts/slideLayout505.xml><?xml version="1.0" encoding="utf-8"?>
<p:sldLayout xmlns:a="http://schemas.openxmlformats.org/drawingml/2006/main" xmlns:r="http://schemas.openxmlformats.org/officeDocument/2006/relationships" xmlns:p="http://schemas.openxmlformats.org/presentationml/2006/main" userDrawn="1">
  <p:cSld name="1_Только заголовок">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a:xfrm>
            <a:off x="431801" y="260559"/>
            <a:ext cx="7920000" cy="768140"/>
          </a:xfrm>
        </p:spPr>
        <p:txBody>
          <a:bodyPr anchor="t"/>
          <a:lstStyle>
            <a:lvl1pPr>
              <a:defRPr sz="1867"/>
            </a:lvl1pPr>
          </a:lstStyle>
          <a:p>
            <a:r>
              <a:rPr lang="en-US"/>
              <a:t>Click to add text</a:t>
            </a:r>
          </a:p>
        </p:txBody>
      </p:sp>
      <p:sp>
        <p:nvSpPr>
          <p:cNvPr id="5" name="Textplatzhalter 6"/>
          <p:cNvSpPr>
            <a:spLocks noGrp="1"/>
          </p:cNvSpPr>
          <p:nvPr>
            <p:ph type="body" sz="quarter" idx="12" hasCustomPrompt="1"/>
          </p:nvPr>
        </p:nvSpPr>
        <p:spPr bwMode="gray">
          <a:xfrm>
            <a:off x="431800" y="6405033"/>
            <a:ext cx="11328400" cy="192616"/>
          </a:xfrm>
        </p:spPr>
        <p:txBody>
          <a:bodyPr tIns="0" bIns="36000" anchor="b" anchorCtr="0"/>
          <a:lstStyle>
            <a:lvl1pPr marL="0" marR="0" indent="0" algn="l" defTabSz="1219170" rtl="0" eaLnBrk="1" fontAlgn="auto" latinLnBrk="0" hangingPunct="1">
              <a:lnSpc>
                <a:spcPct val="100000"/>
              </a:lnSpc>
              <a:spcBef>
                <a:spcPts val="0"/>
              </a:spcBef>
              <a:spcAft>
                <a:spcPts val="0"/>
              </a:spcAft>
              <a:buClrTx/>
              <a:buSzTx/>
              <a:buFont typeface="Arial" pitchFamily="34" charset="0"/>
              <a:buNone/>
              <a:tabLst/>
              <a:defRPr sz="1067">
                <a:solidFill>
                  <a:schemeClr val="bg2"/>
                </a:solidFill>
              </a:defRPr>
            </a:lvl1pPr>
            <a:lvl2pPr marL="0" indent="0">
              <a:spcBef>
                <a:spcPts val="400"/>
              </a:spcBef>
              <a:spcAft>
                <a:spcPts val="0"/>
              </a:spcAft>
              <a:buFont typeface="Arial" pitchFamily="34" charset="0"/>
              <a:buNone/>
              <a:defRPr sz="1200">
                <a:solidFill>
                  <a:schemeClr val="bg2"/>
                </a:solidFill>
              </a:defRPr>
            </a:lvl2pPr>
            <a:lvl3pPr marL="0" indent="0">
              <a:spcBef>
                <a:spcPts val="400"/>
              </a:spcBef>
              <a:spcAft>
                <a:spcPts val="0"/>
              </a:spcAft>
              <a:buFont typeface="Arial" pitchFamily="34" charset="0"/>
              <a:buNone/>
              <a:defRPr sz="1200">
                <a:solidFill>
                  <a:schemeClr val="bg2"/>
                </a:solidFill>
              </a:defRPr>
            </a:lvl3pPr>
            <a:lvl4pPr marL="0" indent="0">
              <a:spcBef>
                <a:spcPts val="400"/>
              </a:spcBef>
              <a:spcAft>
                <a:spcPts val="0"/>
              </a:spcAft>
              <a:buNone/>
              <a:defRPr sz="1200">
                <a:solidFill>
                  <a:schemeClr val="bg2"/>
                </a:solidFill>
              </a:defRPr>
            </a:lvl4pPr>
            <a:lvl5pPr marL="0" indent="0">
              <a:spcBef>
                <a:spcPts val="400"/>
              </a:spcBef>
              <a:spcAft>
                <a:spcPts val="0"/>
              </a:spcAft>
              <a:buNone/>
              <a:defRPr sz="1200" b="0">
                <a:solidFill>
                  <a:schemeClr val="bg2"/>
                </a:solidFill>
              </a:defRPr>
            </a:lvl5pPr>
            <a:lvl6pPr marL="0" indent="0">
              <a:spcBef>
                <a:spcPts val="400"/>
              </a:spcBef>
              <a:buFont typeface="Arial" pitchFamily="34" charset="0"/>
              <a:buNone/>
              <a:defRPr sz="1200">
                <a:solidFill>
                  <a:schemeClr val="bg2"/>
                </a:solidFill>
              </a:defRPr>
            </a:lvl6pPr>
            <a:lvl7pPr marL="0" indent="0">
              <a:spcBef>
                <a:spcPts val="400"/>
              </a:spcBef>
              <a:buFont typeface="Arial" pitchFamily="34" charset="0"/>
              <a:buNone/>
              <a:defRPr sz="1200">
                <a:solidFill>
                  <a:schemeClr val="bg2"/>
                </a:solidFill>
              </a:defRPr>
            </a:lvl7pPr>
            <a:lvl8pPr marL="0" indent="0">
              <a:spcBef>
                <a:spcPts val="400"/>
              </a:spcBef>
              <a:buFont typeface="Arial" pitchFamily="34" charset="0"/>
              <a:buNone/>
              <a:defRPr sz="1200">
                <a:solidFill>
                  <a:schemeClr val="bg2"/>
                </a:solidFill>
              </a:defRPr>
            </a:lvl8pPr>
            <a:lvl9pPr marL="0" indent="0">
              <a:spcBef>
                <a:spcPts val="400"/>
              </a:spcBef>
              <a:buFont typeface="Arial" pitchFamily="34" charset="0"/>
              <a:buNone/>
              <a:defRPr sz="1200">
                <a:solidFill>
                  <a:schemeClr val="bg2"/>
                </a:solidFill>
              </a:defRPr>
            </a:lvl9pPr>
          </a:lstStyle>
          <a:p>
            <a:pPr lvl="0"/>
            <a:r>
              <a:rPr lang="en-US" noProof="0"/>
              <a:t>[Base]</a:t>
            </a:r>
          </a:p>
        </p:txBody>
      </p:sp>
      <p:sp>
        <p:nvSpPr>
          <p:cNvPr id="4" name="Textplatzhalter 6"/>
          <p:cNvSpPr>
            <a:spLocks noGrp="1"/>
          </p:cNvSpPr>
          <p:nvPr>
            <p:ph type="body" sz="quarter" idx="13" hasCustomPrompt="1"/>
          </p:nvPr>
        </p:nvSpPr>
        <p:spPr bwMode="gray">
          <a:xfrm>
            <a:off x="431800" y="6179371"/>
            <a:ext cx="11328400" cy="192616"/>
          </a:xfrm>
        </p:spPr>
        <p:txBody>
          <a:bodyPr tIns="0" bIns="36000" anchor="b" anchorCtr="0"/>
          <a:lstStyle>
            <a:lvl1pPr marL="0" marR="0" indent="0" algn="l" defTabSz="1219170" rtl="0" eaLnBrk="1" fontAlgn="auto" latinLnBrk="0" hangingPunct="1">
              <a:lnSpc>
                <a:spcPct val="100000"/>
              </a:lnSpc>
              <a:spcBef>
                <a:spcPts val="0"/>
              </a:spcBef>
              <a:spcAft>
                <a:spcPts val="0"/>
              </a:spcAft>
              <a:buClrTx/>
              <a:buSzTx/>
              <a:buFont typeface="Arial" pitchFamily="34" charset="0"/>
              <a:buNone/>
              <a:tabLst/>
              <a:defRPr sz="1067">
                <a:solidFill>
                  <a:schemeClr val="bg2"/>
                </a:solidFill>
              </a:defRPr>
            </a:lvl1pPr>
            <a:lvl2pPr marL="0" indent="0">
              <a:spcBef>
                <a:spcPts val="400"/>
              </a:spcBef>
              <a:spcAft>
                <a:spcPts val="0"/>
              </a:spcAft>
              <a:buFont typeface="Arial" pitchFamily="34" charset="0"/>
              <a:buNone/>
              <a:defRPr sz="1200">
                <a:solidFill>
                  <a:schemeClr val="bg2"/>
                </a:solidFill>
              </a:defRPr>
            </a:lvl2pPr>
            <a:lvl3pPr marL="0" indent="0">
              <a:spcBef>
                <a:spcPts val="400"/>
              </a:spcBef>
              <a:spcAft>
                <a:spcPts val="0"/>
              </a:spcAft>
              <a:buFont typeface="Arial" pitchFamily="34" charset="0"/>
              <a:buNone/>
              <a:defRPr sz="1200">
                <a:solidFill>
                  <a:schemeClr val="bg2"/>
                </a:solidFill>
              </a:defRPr>
            </a:lvl3pPr>
            <a:lvl4pPr marL="0" indent="0">
              <a:spcBef>
                <a:spcPts val="400"/>
              </a:spcBef>
              <a:spcAft>
                <a:spcPts val="0"/>
              </a:spcAft>
              <a:buNone/>
              <a:defRPr sz="1200">
                <a:solidFill>
                  <a:schemeClr val="bg2"/>
                </a:solidFill>
              </a:defRPr>
            </a:lvl4pPr>
            <a:lvl5pPr marL="0" indent="0">
              <a:spcBef>
                <a:spcPts val="400"/>
              </a:spcBef>
              <a:spcAft>
                <a:spcPts val="0"/>
              </a:spcAft>
              <a:buNone/>
              <a:defRPr sz="1200" b="0">
                <a:solidFill>
                  <a:schemeClr val="bg2"/>
                </a:solidFill>
              </a:defRPr>
            </a:lvl5pPr>
            <a:lvl6pPr marL="0" indent="0">
              <a:spcBef>
                <a:spcPts val="400"/>
              </a:spcBef>
              <a:buFont typeface="Arial" pitchFamily="34" charset="0"/>
              <a:buNone/>
              <a:defRPr sz="1200">
                <a:solidFill>
                  <a:schemeClr val="bg2"/>
                </a:solidFill>
              </a:defRPr>
            </a:lvl6pPr>
            <a:lvl7pPr marL="0" indent="0">
              <a:spcBef>
                <a:spcPts val="400"/>
              </a:spcBef>
              <a:buFont typeface="Arial" pitchFamily="34" charset="0"/>
              <a:buNone/>
              <a:defRPr sz="1200">
                <a:solidFill>
                  <a:schemeClr val="bg2"/>
                </a:solidFill>
              </a:defRPr>
            </a:lvl7pPr>
            <a:lvl8pPr marL="0" indent="0">
              <a:spcBef>
                <a:spcPts val="400"/>
              </a:spcBef>
              <a:buFont typeface="Arial" pitchFamily="34" charset="0"/>
              <a:buNone/>
              <a:defRPr sz="1200">
                <a:solidFill>
                  <a:schemeClr val="bg2"/>
                </a:solidFill>
              </a:defRPr>
            </a:lvl8pPr>
            <a:lvl9pPr marL="0" indent="0">
              <a:spcBef>
                <a:spcPts val="400"/>
              </a:spcBef>
              <a:buFont typeface="Arial" pitchFamily="34" charset="0"/>
              <a:buNone/>
              <a:defRPr sz="1200">
                <a:solidFill>
                  <a:schemeClr val="bg2"/>
                </a:solidFill>
              </a:defRPr>
            </a:lvl9pPr>
          </a:lstStyle>
          <a:p>
            <a:pPr lvl="0"/>
            <a:r>
              <a:rPr lang="en-US" noProof="0"/>
              <a:t>[Question]</a:t>
            </a:r>
          </a:p>
        </p:txBody>
      </p:sp>
      <p:sp>
        <p:nvSpPr>
          <p:cNvPr id="6" name="Content Placeholder 2"/>
          <p:cNvSpPr>
            <a:spLocks noGrp="1"/>
          </p:cNvSpPr>
          <p:nvPr>
            <p:ph idx="14" hasCustomPrompt="1"/>
          </p:nvPr>
        </p:nvSpPr>
        <p:spPr bwMode="gray">
          <a:xfrm>
            <a:off x="431800" y="1200000"/>
            <a:ext cx="11328400" cy="480000"/>
          </a:xfrm>
        </p:spPr>
        <p:txBody>
          <a:bodyPr vert="horz" lIns="0" tIns="18000" rIns="0" bIns="0" rtlCol="0" anchor="ctr" anchorCtr="0">
            <a:noAutofit/>
          </a:bodyPr>
          <a:lstStyle>
            <a:lvl1pPr algn="ctr">
              <a:defRPr lang="en-US" sz="1867" noProof="0" dirty="0">
                <a:solidFill>
                  <a:schemeClr val="accent1"/>
                </a:solidFill>
              </a:defRPr>
            </a:lvl1pPr>
          </a:lstStyle>
          <a:p>
            <a:pPr lvl="0">
              <a:lnSpc>
                <a:spcPct val="90000"/>
              </a:lnSpc>
              <a:spcBef>
                <a:spcPts val="0"/>
              </a:spcBef>
            </a:pPr>
            <a:r>
              <a:rPr lang="en-US" noProof="0"/>
              <a:t>Click o add text</a:t>
            </a:r>
          </a:p>
        </p:txBody>
      </p:sp>
    </p:spTree>
    <p:extLst>
      <p:ext uri="{BB962C8B-B14F-4D97-AF65-F5344CB8AC3E}">
        <p14:creationId xmlns:p14="http://schemas.microsoft.com/office/powerpoint/2010/main" val="3855671817"/>
      </p:ext>
    </p:extLst>
  </p:cSld>
  <p:clrMapOvr>
    <a:masterClrMapping/>
  </p:clrMapOvr>
</p:sldLayout>
</file>

<file path=ppt/slideLayouts/slideLayout506.xml><?xml version="1.0" encoding="utf-8"?>
<p:sldLayout xmlns:a="http://schemas.openxmlformats.org/drawingml/2006/main" xmlns:r="http://schemas.openxmlformats.org/officeDocument/2006/relationships" xmlns:p="http://schemas.openxmlformats.org/presentationml/2006/main" userDrawn="1">
  <p:cSld name="Заголовок и объект">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a:xfrm>
            <a:off x="431801" y="260559"/>
            <a:ext cx="7920000" cy="768140"/>
          </a:xfrm>
        </p:spPr>
        <p:txBody>
          <a:bodyPr anchor="t"/>
          <a:lstStyle>
            <a:lvl1pPr>
              <a:defRPr sz="1867"/>
            </a:lvl1pPr>
          </a:lstStyle>
          <a:p>
            <a:r>
              <a:rPr lang="en-US"/>
              <a:t>Click to add text</a:t>
            </a:r>
          </a:p>
        </p:txBody>
      </p:sp>
      <p:sp>
        <p:nvSpPr>
          <p:cNvPr id="3" name="Content Placeholder 2"/>
          <p:cNvSpPr>
            <a:spLocks noGrp="1"/>
          </p:cNvSpPr>
          <p:nvPr>
            <p:ph idx="1" hasCustomPrompt="1"/>
          </p:nvPr>
        </p:nvSpPr>
        <p:spPr bwMode="gray">
          <a:xfrm>
            <a:off x="431800" y="1872000"/>
            <a:ext cx="11328400" cy="4128000"/>
          </a:xfrm>
        </p:spPr>
        <p:txBody>
          <a:bodyPr/>
          <a:lstStyle>
            <a:lvl1pPr marL="0" marR="0" indent="0" algn="l" defTabSz="1219170" rtl="0" eaLnBrk="1" fontAlgn="auto" latinLnBrk="0" hangingPunct="1">
              <a:lnSpc>
                <a:spcPct val="100000"/>
              </a:lnSpc>
              <a:spcBef>
                <a:spcPts val="800"/>
              </a:spcBef>
              <a:spcAft>
                <a:spcPts val="0"/>
              </a:spcAft>
              <a:buClrTx/>
              <a:buSzTx/>
              <a:buFont typeface="Arial" pitchFamily="34" charset="0"/>
              <a:buNone/>
              <a:tabLst/>
              <a:defRPr sz="1867"/>
            </a:lvl1pPr>
            <a:lvl2pPr marL="0" marR="0" indent="0" algn="l" defTabSz="1219170" rtl="0" eaLnBrk="1" fontAlgn="auto" latinLnBrk="0" hangingPunct="1">
              <a:lnSpc>
                <a:spcPct val="100000"/>
              </a:lnSpc>
              <a:spcBef>
                <a:spcPts val="800"/>
              </a:spcBef>
              <a:spcAft>
                <a:spcPts val="0"/>
              </a:spcAft>
              <a:buClrTx/>
              <a:buSzTx/>
              <a:buFont typeface="Arial" pitchFamily="34" charset="0"/>
              <a:buNone/>
              <a:tabLst/>
              <a:defRPr sz="1867"/>
            </a:lvl2pPr>
            <a:lvl3pPr marL="241294" marR="0" indent="-241294" algn="l" defTabSz="1219170" rtl="0" eaLnBrk="1" fontAlgn="auto" latinLnBrk="0" hangingPunct="1">
              <a:lnSpc>
                <a:spcPct val="100000"/>
              </a:lnSpc>
              <a:spcBef>
                <a:spcPts val="400"/>
              </a:spcBef>
              <a:spcAft>
                <a:spcPts val="0"/>
              </a:spcAft>
              <a:buClrTx/>
              <a:buSzTx/>
              <a:buFont typeface="Arial" pitchFamily="34" charset="0"/>
              <a:buChar char="•"/>
              <a:tabLst/>
              <a:defRPr sz="1867"/>
            </a:lvl3pPr>
            <a:lvl4pPr marL="479988" marR="0" indent="-241294" algn="l" defTabSz="1219170" rtl="0" eaLnBrk="1" fontAlgn="auto" latinLnBrk="0" hangingPunct="1">
              <a:lnSpc>
                <a:spcPct val="100000"/>
              </a:lnSpc>
              <a:spcBef>
                <a:spcPts val="400"/>
              </a:spcBef>
              <a:spcAft>
                <a:spcPts val="0"/>
              </a:spcAft>
              <a:buClrTx/>
              <a:buSzTx/>
              <a:buFont typeface="Arial" pitchFamily="34" charset="0"/>
              <a:buChar char="•"/>
              <a:tabLst/>
              <a:defRPr sz="1867"/>
            </a:lvl4pPr>
            <a:lvl5pPr marL="719982" marR="0" indent="-241294" algn="l" defTabSz="1219170" rtl="0" eaLnBrk="1" fontAlgn="auto" latinLnBrk="0" hangingPunct="1">
              <a:lnSpc>
                <a:spcPct val="100000"/>
              </a:lnSpc>
              <a:spcBef>
                <a:spcPts val="400"/>
              </a:spcBef>
              <a:spcAft>
                <a:spcPts val="0"/>
              </a:spcAft>
              <a:buClrTx/>
              <a:buSzTx/>
              <a:buFont typeface="Arial" pitchFamily="34" charset="0"/>
              <a:buChar char="•"/>
              <a:tabLst/>
              <a:defRPr sz="1867"/>
            </a:lvl5pPr>
            <a:lvl6pPr marL="719982" marR="0" indent="-241294" algn="l" defTabSz="1219170" rtl="0" eaLnBrk="1" fontAlgn="auto" latinLnBrk="0" hangingPunct="1">
              <a:lnSpc>
                <a:spcPct val="100000"/>
              </a:lnSpc>
              <a:spcBef>
                <a:spcPts val="400"/>
              </a:spcBef>
              <a:spcAft>
                <a:spcPts val="0"/>
              </a:spcAft>
              <a:buClrTx/>
              <a:buSzTx/>
              <a:buFont typeface="Arial" pitchFamily="34" charset="0"/>
              <a:buChar char="•"/>
              <a:tabLst/>
              <a:defRPr sz="1867"/>
            </a:lvl6pPr>
            <a:lvl7pPr marL="719982" marR="0" indent="-241294" algn="l" defTabSz="1219170" rtl="0" eaLnBrk="1" fontAlgn="auto" latinLnBrk="0" hangingPunct="1">
              <a:lnSpc>
                <a:spcPct val="100000"/>
              </a:lnSpc>
              <a:spcBef>
                <a:spcPts val="400"/>
              </a:spcBef>
              <a:spcAft>
                <a:spcPts val="0"/>
              </a:spcAft>
              <a:buClrTx/>
              <a:buSzTx/>
              <a:buFont typeface="Arial" pitchFamily="34" charset="0"/>
              <a:buChar char="•"/>
              <a:tabLst/>
              <a:defRPr sz="1867"/>
            </a:lvl7pPr>
            <a:lvl8pPr>
              <a:defRPr sz="2133"/>
            </a:lvl8pPr>
            <a:lvl9pPr marL="719982" marR="0" indent="-241294" algn="l" defTabSz="1219170" rtl="0" eaLnBrk="1" fontAlgn="auto" latinLnBrk="0" hangingPunct="1">
              <a:lnSpc>
                <a:spcPct val="100000"/>
              </a:lnSpc>
              <a:spcBef>
                <a:spcPts val="400"/>
              </a:spcBef>
              <a:spcAft>
                <a:spcPts val="0"/>
              </a:spcAft>
              <a:buClrTx/>
              <a:buSzTx/>
              <a:buFont typeface="Arial" pitchFamily="34" charset="0"/>
              <a:buChar char="•"/>
              <a:tabLst/>
              <a:defRPr sz="1867"/>
            </a:lvl9pPr>
          </a:lstStyle>
          <a:p>
            <a:pPr lvl="0"/>
            <a:r>
              <a:rPr lang="en-US" noProof="0"/>
              <a:t>Click to add text</a:t>
            </a:r>
          </a:p>
          <a:p>
            <a:pPr lvl="1"/>
            <a:r>
              <a:rPr lang="en-US" noProof="0"/>
              <a:t>Second level</a:t>
            </a:r>
          </a:p>
          <a:p>
            <a:pPr lvl="2"/>
            <a:r>
              <a:rPr lang="en-US" noProof="0"/>
              <a:t>Third level</a:t>
            </a:r>
          </a:p>
          <a:p>
            <a:pPr lvl="3"/>
            <a:r>
              <a:rPr lang="en-US" noProof="0"/>
              <a:t>Fourth level</a:t>
            </a:r>
          </a:p>
          <a:p>
            <a:pPr lvl="4"/>
            <a:r>
              <a:rPr lang="en-US" noProof="0"/>
              <a:t>Fifth level</a:t>
            </a:r>
          </a:p>
          <a:p>
            <a:pPr lvl="5"/>
            <a:r>
              <a:rPr lang="en-US" noProof="0"/>
              <a:t>Sixth level</a:t>
            </a:r>
          </a:p>
          <a:p>
            <a:pPr lvl="6"/>
            <a:r>
              <a:rPr lang="en-US" noProof="0"/>
              <a:t>Seventh level</a:t>
            </a:r>
          </a:p>
          <a:p>
            <a:pPr lvl="6"/>
            <a:r>
              <a:rPr lang="en-US" noProof="0"/>
              <a:t>Eighth level</a:t>
            </a:r>
          </a:p>
          <a:p>
            <a:pPr lvl="8"/>
            <a:r>
              <a:rPr lang="en-US" noProof="0"/>
              <a:t>Ninth level</a:t>
            </a:r>
          </a:p>
        </p:txBody>
      </p:sp>
      <p:sp>
        <p:nvSpPr>
          <p:cNvPr id="5" name="Textplatzhalter 6"/>
          <p:cNvSpPr>
            <a:spLocks noGrp="1"/>
          </p:cNvSpPr>
          <p:nvPr>
            <p:ph type="body" sz="quarter" idx="12" hasCustomPrompt="1"/>
          </p:nvPr>
        </p:nvSpPr>
        <p:spPr bwMode="gray">
          <a:xfrm>
            <a:off x="431800" y="6405413"/>
            <a:ext cx="11328400" cy="192616"/>
          </a:xfrm>
        </p:spPr>
        <p:txBody>
          <a:bodyPr tIns="0" bIns="36000" anchor="b" anchorCtr="0"/>
          <a:lstStyle>
            <a:lvl1pPr marL="0" indent="0">
              <a:spcBef>
                <a:spcPts val="0"/>
              </a:spcBef>
              <a:spcAft>
                <a:spcPts val="0"/>
              </a:spcAft>
              <a:buFont typeface="Arial" pitchFamily="34" charset="0"/>
              <a:buNone/>
              <a:defRPr sz="1067" baseline="0">
                <a:solidFill>
                  <a:schemeClr val="bg2"/>
                </a:solidFill>
              </a:defRPr>
            </a:lvl1pPr>
            <a:lvl2pPr marL="0" indent="0">
              <a:spcBef>
                <a:spcPts val="0"/>
              </a:spcBef>
              <a:spcAft>
                <a:spcPts val="0"/>
              </a:spcAft>
              <a:buFont typeface="Arial" pitchFamily="34" charset="0"/>
              <a:buNone/>
              <a:defRPr sz="1067">
                <a:solidFill>
                  <a:schemeClr val="bg2"/>
                </a:solidFill>
              </a:defRPr>
            </a:lvl2pPr>
            <a:lvl3pPr marL="0" indent="0">
              <a:spcBef>
                <a:spcPts val="0"/>
              </a:spcBef>
              <a:spcAft>
                <a:spcPts val="0"/>
              </a:spcAft>
              <a:buFont typeface="Arial" pitchFamily="34" charset="0"/>
              <a:buNone/>
              <a:defRPr sz="1067">
                <a:solidFill>
                  <a:schemeClr val="bg2"/>
                </a:solidFill>
              </a:defRPr>
            </a:lvl3pPr>
            <a:lvl4pPr marL="0" indent="0">
              <a:spcBef>
                <a:spcPts val="0"/>
              </a:spcBef>
              <a:spcAft>
                <a:spcPts val="0"/>
              </a:spcAft>
              <a:buNone/>
              <a:defRPr sz="1067">
                <a:solidFill>
                  <a:schemeClr val="bg2"/>
                </a:solidFill>
              </a:defRPr>
            </a:lvl4pPr>
            <a:lvl5pPr marL="0" indent="0">
              <a:spcBef>
                <a:spcPts val="400"/>
              </a:spcBef>
              <a:spcAft>
                <a:spcPts val="0"/>
              </a:spcAft>
              <a:buNone/>
              <a:defRPr sz="1200" b="0">
                <a:solidFill>
                  <a:schemeClr val="bg2"/>
                </a:solidFill>
              </a:defRPr>
            </a:lvl5pPr>
            <a:lvl6pPr marL="0" indent="0">
              <a:spcBef>
                <a:spcPts val="0"/>
              </a:spcBef>
              <a:buFont typeface="Arial" pitchFamily="34" charset="0"/>
              <a:buNone/>
              <a:defRPr sz="1067">
                <a:solidFill>
                  <a:schemeClr val="bg2"/>
                </a:solidFill>
              </a:defRPr>
            </a:lvl6pPr>
            <a:lvl7pPr marL="0" indent="0">
              <a:spcBef>
                <a:spcPts val="0"/>
              </a:spcBef>
              <a:buFont typeface="Arial" pitchFamily="34" charset="0"/>
              <a:buNone/>
              <a:defRPr sz="1067">
                <a:solidFill>
                  <a:schemeClr val="bg2"/>
                </a:solidFill>
              </a:defRPr>
            </a:lvl7pPr>
            <a:lvl8pPr marL="0" indent="0">
              <a:spcBef>
                <a:spcPts val="0"/>
              </a:spcBef>
              <a:buFont typeface="Arial" pitchFamily="34" charset="0"/>
              <a:buNone/>
              <a:defRPr sz="1067">
                <a:solidFill>
                  <a:schemeClr val="bg2"/>
                </a:solidFill>
              </a:defRPr>
            </a:lvl8pPr>
            <a:lvl9pPr marL="0" indent="0">
              <a:spcBef>
                <a:spcPts val="0"/>
              </a:spcBef>
              <a:buFont typeface="Arial" pitchFamily="34" charset="0"/>
              <a:buNone/>
              <a:defRPr sz="1067">
                <a:solidFill>
                  <a:schemeClr val="bg2"/>
                </a:solidFill>
              </a:defRPr>
            </a:lvl9pPr>
          </a:lstStyle>
          <a:p>
            <a:pPr lvl="0"/>
            <a:r>
              <a:rPr lang="en-US" noProof="0"/>
              <a:t>[Base]</a:t>
            </a:r>
          </a:p>
        </p:txBody>
      </p:sp>
      <p:sp>
        <p:nvSpPr>
          <p:cNvPr id="6" name="Textplatzhalter 6"/>
          <p:cNvSpPr>
            <a:spLocks noGrp="1"/>
          </p:cNvSpPr>
          <p:nvPr>
            <p:ph type="body" sz="quarter" idx="13" hasCustomPrompt="1"/>
          </p:nvPr>
        </p:nvSpPr>
        <p:spPr bwMode="gray">
          <a:xfrm>
            <a:off x="431800" y="6179371"/>
            <a:ext cx="11328400" cy="192616"/>
          </a:xfrm>
        </p:spPr>
        <p:txBody>
          <a:bodyPr tIns="0" bIns="36000" anchor="b" anchorCtr="0"/>
          <a:lstStyle>
            <a:lvl1pPr marL="0" marR="0" indent="0" algn="l" defTabSz="1219170" rtl="0" eaLnBrk="1" fontAlgn="auto" latinLnBrk="0" hangingPunct="1">
              <a:lnSpc>
                <a:spcPct val="100000"/>
              </a:lnSpc>
              <a:spcBef>
                <a:spcPts val="0"/>
              </a:spcBef>
              <a:spcAft>
                <a:spcPts val="0"/>
              </a:spcAft>
              <a:buClrTx/>
              <a:buSzTx/>
              <a:buFont typeface="Arial" pitchFamily="34" charset="0"/>
              <a:buNone/>
              <a:tabLst/>
              <a:defRPr sz="1067">
                <a:solidFill>
                  <a:schemeClr val="bg2"/>
                </a:solidFill>
              </a:defRPr>
            </a:lvl1pPr>
            <a:lvl2pPr marL="0" indent="0">
              <a:spcBef>
                <a:spcPts val="400"/>
              </a:spcBef>
              <a:spcAft>
                <a:spcPts val="0"/>
              </a:spcAft>
              <a:buFont typeface="Arial" pitchFamily="34" charset="0"/>
              <a:buNone/>
              <a:defRPr sz="1200">
                <a:solidFill>
                  <a:schemeClr val="bg2"/>
                </a:solidFill>
              </a:defRPr>
            </a:lvl2pPr>
            <a:lvl3pPr marL="0" indent="0">
              <a:spcBef>
                <a:spcPts val="400"/>
              </a:spcBef>
              <a:spcAft>
                <a:spcPts val="0"/>
              </a:spcAft>
              <a:buFont typeface="Arial" pitchFamily="34" charset="0"/>
              <a:buNone/>
              <a:defRPr sz="1200">
                <a:solidFill>
                  <a:schemeClr val="bg2"/>
                </a:solidFill>
              </a:defRPr>
            </a:lvl3pPr>
            <a:lvl4pPr marL="0" indent="0">
              <a:spcBef>
                <a:spcPts val="400"/>
              </a:spcBef>
              <a:spcAft>
                <a:spcPts val="0"/>
              </a:spcAft>
              <a:buNone/>
              <a:defRPr sz="1200">
                <a:solidFill>
                  <a:schemeClr val="bg2"/>
                </a:solidFill>
              </a:defRPr>
            </a:lvl4pPr>
            <a:lvl5pPr marL="0" indent="0">
              <a:spcBef>
                <a:spcPts val="400"/>
              </a:spcBef>
              <a:spcAft>
                <a:spcPts val="0"/>
              </a:spcAft>
              <a:buNone/>
              <a:defRPr sz="1200" b="0">
                <a:solidFill>
                  <a:schemeClr val="bg2"/>
                </a:solidFill>
              </a:defRPr>
            </a:lvl5pPr>
            <a:lvl6pPr marL="0" indent="0">
              <a:spcBef>
                <a:spcPts val="400"/>
              </a:spcBef>
              <a:buFont typeface="Arial" pitchFamily="34" charset="0"/>
              <a:buNone/>
              <a:defRPr sz="1200">
                <a:solidFill>
                  <a:schemeClr val="bg2"/>
                </a:solidFill>
              </a:defRPr>
            </a:lvl6pPr>
            <a:lvl7pPr marL="0" indent="0">
              <a:spcBef>
                <a:spcPts val="400"/>
              </a:spcBef>
              <a:buFont typeface="Arial" pitchFamily="34" charset="0"/>
              <a:buNone/>
              <a:defRPr sz="1200">
                <a:solidFill>
                  <a:schemeClr val="bg2"/>
                </a:solidFill>
              </a:defRPr>
            </a:lvl7pPr>
            <a:lvl8pPr marL="0" indent="0">
              <a:spcBef>
                <a:spcPts val="400"/>
              </a:spcBef>
              <a:buFont typeface="Arial" pitchFamily="34" charset="0"/>
              <a:buNone/>
              <a:defRPr sz="1200">
                <a:solidFill>
                  <a:schemeClr val="bg2"/>
                </a:solidFill>
              </a:defRPr>
            </a:lvl8pPr>
            <a:lvl9pPr marL="0" indent="0">
              <a:spcBef>
                <a:spcPts val="400"/>
              </a:spcBef>
              <a:buFont typeface="Arial" pitchFamily="34" charset="0"/>
              <a:buNone/>
              <a:defRPr sz="1200">
                <a:solidFill>
                  <a:schemeClr val="bg2"/>
                </a:solidFill>
              </a:defRPr>
            </a:lvl9pPr>
          </a:lstStyle>
          <a:p>
            <a:pPr lvl="0"/>
            <a:r>
              <a:rPr lang="en-US" noProof="0"/>
              <a:t>[Question]</a:t>
            </a:r>
          </a:p>
        </p:txBody>
      </p:sp>
      <p:sp>
        <p:nvSpPr>
          <p:cNvPr id="9" name="Content Placeholder 2"/>
          <p:cNvSpPr>
            <a:spLocks noGrp="1"/>
          </p:cNvSpPr>
          <p:nvPr>
            <p:ph idx="14" hasCustomPrompt="1"/>
          </p:nvPr>
        </p:nvSpPr>
        <p:spPr bwMode="gray">
          <a:xfrm>
            <a:off x="431800" y="1200000"/>
            <a:ext cx="11328400" cy="480000"/>
          </a:xfrm>
        </p:spPr>
        <p:txBody>
          <a:bodyPr anchor="ctr"/>
          <a:lstStyle>
            <a:lvl1pPr marL="0" marR="0" indent="0" algn="ctr" defTabSz="1219170" rtl="0" eaLnBrk="1" fontAlgn="auto" latinLnBrk="0" hangingPunct="1">
              <a:lnSpc>
                <a:spcPct val="90000"/>
              </a:lnSpc>
              <a:spcBef>
                <a:spcPts val="0"/>
              </a:spcBef>
              <a:spcAft>
                <a:spcPts val="0"/>
              </a:spcAft>
              <a:buClrTx/>
              <a:buSzTx/>
              <a:buFont typeface="Arial" pitchFamily="34" charset="0"/>
              <a:buNone/>
              <a:tabLst/>
              <a:defRPr sz="1867">
                <a:solidFill>
                  <a:schemeClr val="accent1"/>
                </a:solidFill>
              </a:defRPr>
            </a:lvl1pPr>
            <a:lvl2pPr marL="0" marR="0" indent="0" algn="ctr" defTabSz="1219170" rtl="0" eaLnBrk="1" fontAlgn="auto" latinLnBrk="0" hangingPunct="1">
              <a:lnSpc>
                <a:spcPct val="100000"/>
              </a:lnSpc>
              <a:spcBef>
                <a:spcPts val="800"/>
              </a:spcBef>
              <a:spcAft>
                <a:spcPts val="0"/>
              </a:spcAft>
              <a:buClrTx/>
              <a:buSzTx/>
              <a:buFont typeface="Arial" pitchFamily="34" charset="0"/>
              <a:buNone/>
              <a:tabLst/>
              <a:defRPr sz="2133">
                <a:solidFill>
                  <a:schemeClr val="accent1"/>
                </a:solidFill>
              </a:defRPr>
            </a:lvl2pPr>
            <a:lvl3pPr marL="241294" marR="0" indent="-241294" algn="ctr" defTabSz="1219170" rtl="0" eaLnBrk="1" fontAlgn="auto" latinLnBrk="0" hangingPunct="1">
              <a:lnSpc>
                <a:spcPct val="100000"/>
              </a:lnSpc>
              <a:spcBef>
                <a:spcPts val="400"/>
              </a:spcBef>
              <a:spcAft>
                <a:spcPts val="0"/>
              </a:spcAft>
              <a:buClrTx/>
              <a:buSzTx/>
              <a:buFont typeface="Arial" pitchFamily="34" charset="0"/>
              <a:buChar char="•"/>
              <a:tabLst/>
              <a:defRPr sz="2133">
                <a:solidFill>
                  <a:schemeClr val="accent1"/>
                </a:solidFill>
              </a:defRPr>
            </a:lvl3pPr>
            <a:lvl4pPr marL="479988" marR="0" indent="-241294" algn="ctr" defTabSz="1219170" rtl="0" eaLnBrk="1" fontAlgn="auto" latinLnBrk="0" hangingPunct="1">
              <a:lnSpc>
                <a:spcPct val="100000"/>
              </a:lnSpc>
              <a:spcBef>
                <a:spcPts val="400"/>
              </a:spcBef>
              <a:spcAft>
                <a:spcPts val="0"/>
              </a:spcAft>
              <a:buClrTx/>
              <a:buSzTx/>
              <a:buFont typeface="Arial" pitchFamily="34" charset="0"/>
              <a:buChar char="•"/>
              <a:tabLst/>
              <a:defRPr sz="2133">
                <a:solidFill>
                  <a:schemeClr val="accent1"/>
                </a:solidFill>
              </a:defRPr>
            </a:lvl4pPr>
            <a:lvl5pPr marL="719982" marR="0" indent="-241294" algn="ctr" defTabSz="1219170" rtl="0" eaLnBrk="1" fontAlgn="auto" latinLnBrk="0" hangingPunct="1">
              <a:lnSpc>
                <a:spcPct val="100000"/>
              </a:lnSpc>
              <a:spcBef>
                <a:spcPts val="400"/>
              </a:spcBef>
              <a:spcAft>
                <a:spcPts val="0"/>
              </a:spcAft>
              <a:buClrTx/>
              <a:buSzTx/>
              <a:buFont typeface="Arial" pitchFamily="34" charset="0"/>
              <a:buChar char="•"/>
              <a:tabLst/>
              <a:defRPr sz="2133">
                <a:solidFill>
                  <a:schemeClr val="accent1"/>
                </a:solidFill>
              </a:defRPr>
            </a:lvl5pPr>
            <a:lvl6pPr marL="719982" marR="0" indent="-241294" algn="ctr" defTabSz="1219170" rtl="0" eaLnBrk="1" fontAlgn="auto" latinLnBrk="0" hangingPunct="1">
              <a:lnSpc>
                <a:spcPct val="100000"/>
              </a:lnSpc>
              <a:spcBef>
                <a:spcPts val="400"/>
              </a:spcBef>
              <a:spcAft>
                <a:spcPts val="0"/>
              </a:spcAft>
              <a:buClrTx/>
              <a:buSzTx/>
              <a:buFont typeface="Arial" pitchFamily="34" charset="0"/>
              <a:buChar char="•"/>
              <a:tabLst/>
              <a:defRPr sz="2133">
                <a:solidFill>
                  <a:schemeClr val="accent1"/>
                </a:solidFill>
              </a:defRPr>
            </a:lvl6pPr>
            <a:lvl7pPr marL="719982" marR="0" indent="-241294" algn="ctr" defTabSz="1219170" rtl="0" eaLnBrk="1" fontAlgn="auto" latinLnBrk="0" hangingPunct="1">
              <a:lnSpc>
                <a:spcPct val="100000"/>
              </a:lnSpc>
              <a:spcBef>
                <a:spcPts val="400"/>
              </a:spcBef>
              <a:spcAft>
                <a:spcPts val="0"/>
              </a:spcAft>
              <a:buClrTx/>
              <a:buSzTx/>
              <a:buFont typeface="Arial" pitchFamily="34" charset="0"/>
              <a:buChar char="•"/>
              <a:tabLst/>
              <a:defRPr sz="2133">
                <a:solidFill>
                  <a:schemeClr val="accent1"/>
                </a:solidFill>
              </a:defRPr>
            </a:lvl7pPr>
            <a:lvl8pPr>
              <a:defRPr sz="2133"/>
            </a:lvl8pPr>
            <a:lvl9pPr marL="719982" marR="0" indent="-241294" algn="ctr" defTabSz="1219170" rtl="0" eaLnBrk="1" fontAlgn="auto" latinLnBrk="0" hangingPunct="1">
              <a:lnSpc>
                <a:spcPct val="100000"/>
              </a:lnSpc>
              <a:spcBef>
                <a:spcPts val="400"/>
              </a:spcBef>
              <a:spcAft>
                <a:spcPts val="0"/>
              </a:spcAft>
              <a:buClrTx/>
              <a:buSzTx/>
              <a:buFont typeface="Arial" pitchFamily="34" charset="0"/>
              <a:buChar char="•"/>
              <a:tabLst/>
              <a:defRPr sz="2133">
                <a:solidFill>
                  <a:schemeClr val="accent1"/>
                </a:solidFill>
              </a:defRPr>
            </a:lvl9pPr>
          </a:lstStyle>
          <a:p>
            <a:pPr lvl="0"/>
            <a:r>
              <a:rPr lang="en-US" noProof="0"/>
              <a:t>Click o add text</a:t>
            </a:r>
          </a:p>
        </p:txBody>
      </p:sp>
    </p:spTree>
    <p:extLst>
      <p:ext uri="{BB962C8B-B14F-4D97-AF65-F5344CB8AC3E}">
        <p14:creationId xmlns:p14="http://schemas.microsoft.com/office/powerpoint/2010/main" val="2569800082"/>
      </p:ext>
    </p:extLst>
  </p:cSld>
  <p:clrMapOvr>
    <a:masterClrMapping/>
  </p:clrMapOvr>
</p:sldLayout>
</file>

<file path=ppt/slideLayouts/slideLayout507.xml><?xml version="1.0" encoding="utf-8"?>
<p:sldLayout xmlns:a="http://schemas.openxmlformats.org/drawingml/2006/main" xmlns:r="http://schemas.openxmlformats.org/officeDocument/2006/relationships" xmlns:p="http://schemas.openxmlformats.org/presentationml/2006/main" showMasterSp="0" preserve="1">
  <p:cSld name="Title 1">
    <p:spTree>
      <p:nvGrpSpPr>
        <p:cNvPr id="1" name=""/>
        <p:cNvGrpSpPr/>
        <p:nvPr/>
      </p:nvGrpSpPr>
      <p:grpSpPr>
        <a:xfrm>
          <a:off x="0" y="0"/>
          <a:ext cx="0" cy="0"/>
          <a:chOff x="0" y="0"/>
          <a:chExt cx="0" cy="0"/>
        </a:xfrm>
      </p:grpSpPr>
      <p:pic>
        <p:nvPicPr>
          <p:cNvPr id="32" name="picture">
            <a:extLst>
              <a:ext uri="{FF2B5EF4-FFF2-40B4-BE49-F238E27FC236}">
                <a16:creationId xmlns:a16="http://schemas.microsoft.com/office/drawing/2014/main" id="{4F153214-AFE7-D540-937D-96E89FDAD54B}"/>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2620212" y="-8808"/>
            <a:ext cx="9697299" cy="6866807"/>
          </a:xfrm>
          <a:prstGeom prst="rect">
            <a:avLst/>
          </a:prstGeom>
        </p:spPr>
      </p:pic>
      <p:sp>
        <p:nvSpPr>
          <p:cNvPr id="29" name="shpPicture"/>
          <p:cNvSpPr/>
          <p:nvPr/>
        </p:nvSpPr>
        <p:spPr>
          <a:xfrm>
            <a:off x="0" y="0"/>
            <a:ext cx="4956718" cy="6858000"/>
          </a:xfrm>
          <a:custGeom>
            <a:avLst/>
            <a:gdLst>
              <a:gd name="connsiteX0" fmla="*/ 0 w 4956718"/>
              <a:gd name="connsiteY0" fmla="*/ 0 h 6858000"/>
              <a:gd name="connsiteX1" fmla="*/ 3707268 w 4956718"/>
              <a:gd name="connsiteY1" fmla="*/ 0 h 6858000"/>
              <a:gd name="connsiteX2" fmla="*/ 4956718 w 4956718"/>
              <a:gd name="connsiteY2" fmla="*/ 4163677 h 6858000"/>
              <a:gd name="connsiteX3" fmla="*/ 3376226 w 4956718"/>
              <a:gd name="connsiteY3" fmla="*/ 6858000 h 6858000"/>
              <a:gd name="connsiteX4" fmla="*/ 0 w 4956718"/>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56718" h="6858000">
                <a:moveTo>
                  <a:pt x="0" y="0"/>
                </a:moveTo>
                <a:lnTo>
                  <a:pt x="3707268" y="0"/>
                </a:lnTo>
                <a:lnTo>
                  <a:pt x="4956718" y="4163677"/>
                </a:lnTo>
                <a:lnTo>
                  <a:pt x="3376226"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125000"/>
              </a:lnSpc>
            </a:pPr>
            <a:endParaRPr lang="en-US" sz="1600" dirty="0"/>
          </a:p>
        </p:txBody>
      </p:sp>
      <p:grpSp>
        <p:nvGrpSpPr>
          <p:cNvPr id="14" name="logo">
            <a:extLst>
              <a:ext uri="{FF2B5EF4-FFF2-40B4-BE49-F238E27FC236}">
                <a16:creationId xmlns:a16="http://schemas.microsoft.com/office/drawing/2014/main" id="{18C26D95-70F8-8A4D-9F18-DCCB92522AF8}"/>
              </a:ext>
            </a:extLst>
          </p:cNvPr>
          <p:cNvGrpSpPr/>
          <p:nvPr/>
        </p:nvGrpSpPr>
        <p:grpSpPr bwMode="gray">
          <a:xfrm>
            <a:off x="417363" y="407485"/>
            <a:ext cx="1518585" cy="646507"/>
            <a:chOff x="334963" y="296652"/>
            <a:chExt cx="1268411" cy="540000"/>
          </a:xfrm>
        </p:grpSpPr>
        <p:sp>
          <p:nvSpPr>
            <p:cNvPr id="17" name="Freeform 6">
              <a:extLst>
                <a:ext uri="{FF2B5EF4-FFF2-40B4-BE49-F238E27FC236}">
                  <a16:creationId xmlns:a16="http://schemas.microsoft.com/office/drawing/2014/main" id="{08737AD0-E375-E445-97E6-CD2E2DF60620}"/>
                </a:ext>
              </a:extLst>
            </p:cNvPr>
            <p:cNvSpPr>
              <a:spLocks noEditPoints="1"/>
            </p:cNvSpPr>
            <p:nvPr/>
          </p:nvSpPr>
          <p:spPr bwMode="gray">
            <a:xfrm>
              <a:off x="982662" y="360462"/>
              <a:ext cx="620712" cy="431800"/>
            </a:xfrm>
            <a:custGeom>
              <a:avLst/>
              <a:gdLst>
                <a:gd name="T0" fmla="*/ 19 w 1809"/>
                <a:gd name="T1" fmla="*/ 97 h 1253"/>
                <a:gd name="T2" fmla="*/ 165 w 1809"/>
                <a:gd name="T3" fmla="*/ 41 h 1253"/>
                <a:gd name="T4" fmla="*/ 211 w 1809"/>
                <a:gd name="T5" fmla="*/ 224 h 1253"/>
                <a:gd name="T6" fmla="*/ 248 w 1809"/>
                <a:gd name="T7" fmla="*/ 155 h 1253"/>
                <a:gd name="T8" fmla="*/ 931 w 1809"/>
                <a:gd name="T9" fmla="*/ 995 h 1253"/>
                <a:gd name="T10" fmla="*/ 858 w 1809"/>
                <a:gd name="T11" fmla="*/ 1115 h 1253"/>
                <a:gd name="T12" fmla="*/ 749 w 1809"/>
                <a:gd name="T13" fmla="*/ 1117 h 1253"/>
                <a:gd name="T14" fmla="*/ 681 w 1809"/>
                <a:gd name="T15" fmla="*/ 1055 h 1253"/>
                <a:gd name="T16" fmla="*/ 800 w 1809"/>
                <a:gd name="T17" fmla="*/ 1054 h 1253"/>
                <a:gd name="T18" fmla="*/ 884 w 1809"/>
                <a:gd name="T19" fmla="*/ 1181 h 1253"/>
                <a:gd name="T20" fmla="*/ 118 w 1809"/>
                <a:gd name="T21" fmla="*/ 1086 h 1253"/>
                <a:gd name="T22" fmla="*/ 147 w 1809"/>
                <a:gd name="T23" fmla="*/ 1026 h 1253"/>
                <a:gd name="T24" fmla="*/ 102 w 1809"/>
                <a:gd name="T25" fmla="*/ 1026 h 1253"/>
                <a:gd name="T26" fmla="*/ 639 w 1809"/>
                <a:gd name="T27" fmla="*/ 84 h 1253"/>
                <a:gd name="T28" fmla="*/ 763 w 1809"/>
                <a:gd name="T29" fmla="*/ 145 h 1253"/>
                <a:gd name="T30" fmla="*/ 863 w 1809"/>
                <a:gd name="T31" fmla="*/ 221 h 1253"/>
                <a:gd name="T32" fmla="*/ 834 w 1809"/>
                <a:gd name="T33" fmla="*/ 208 h 1253"/>
                <a:gd name="T34" fmla="*/ 719 w 1809"/>
                <a:gd name="T35" fmla="*/ 182 h 1253"/>
                <a:gd name="T36" fmla="*/ 507 w 1809"/>
                <a:gd name="T37" fmla="*/ 711 h 1253"/>
                <a:gd name="T38" fmla="*/ 614 w 1809"/>
                <a:gd name="T39" fmla="*/ 706 h 1253"/>
                <a:gd name="T40" fmla="*/ 736 w 1809"/>
                <a:gd name="T41" fmla="*/ 730 h 1253"/>
                <a:gd name="T42" fmla="*/ 607 w 1809"/>
                <a:gd name="T43" fmla="*/ 539 h 1253"/>
                <a:gd name="T44" fmla="*/ 1505 w 1809"/>
                <a:gd name="T45" fmla="*/ 1136 h 1253"/>
                <a:gd name="T46" fmla="*/ 1613 w 1809"/>
                <a:gd name="T47" fmla="*/ 1002 h 1253"/>
                <a:gd name="T48" fmla="*/ 1472 w 1809"/>
                <a:gd name="T49" fmla="*/ 1164 h 1253"/>
                <a:gd name="T50" fmla="*/ 1525 w 1809"/>
                <a:gd name="T51" fmla="*/ 1142 h 1253"/>
                <a:gd name="T52" fmla="*/ 1556 w 1809"/>
                <a:gd name="T53" fmla="*/ 1172 h 1253"/>
                <a:gd name="T54" fmla="*/ 1387 w 1809"/>
                <a:gd name="T55" fmla="*/ 910 h 1253"/>
                <a:gd name="T56" fmla="*/ 1261 w 1809"/>
                <a:gd name="T57" fmla="*/ 1157 h 1253"/>
                <a:gd name="T58" fmla="*/ 1413 w 1809"/>
                <a:gd name="T59" fmla="*/ 934 h 1253"/>
                <a:gd name="T60" fmla="*/ 1378 w 1809"/>
                <a:gd name="T61" fmla="*/ 1052 h 1253"/>
                <a:gd name="T62" fmla="*/ 488 w 1809"/>
                <a:gd name="T63" fmla="*/ 85 h 1253"/>
                <a:gd name="T64" fmla="*/ 509 w 1809"/>
                <a:gd name="T65" fmla="*/ 112 h 1253"/>
                <a:gd name="T66" fmla="*/ 548 w 1809"/>
                <a:gd name="T67" fmla="*/ 1187 h 1253"/>
                <a:gd name="T68" fmla="*/ 472 w 1809"/>
                <a:gd name="T69" fmla="*/ 1122 h 1253"/>
                <a:gd name="T70" fmla="*/ 558 w 1809"/>
                <a:gd name="T71" fmla="*/ 1157 h 1253"/>
                <a:gd name="T72" fmla="*/ 287 w 1809"/>
                <a:gd name="T73" fmla="*/ 654 h 1253"/>
                <a:gd name="T74" fmla="*/ 416 w 1809"/>
                <a:gd name="T75" fmla="*/ 684 h 1253"/>
                <a:gd name="T76" fmla="*/ 1106 w 1809"/>
                <a:gd name="T77" fmla="*/ 147 h 1253"/>
                <a:gd name="T78" fmla="*/ 1229 w 1809"/>
                <a:gd name="T79" fmla="*/ 258 h 1253"/>
                <a:gd name="T80" fmla="*/ 1106 w 1809"/>
                <a:gd name="T81" fmla="*/ 96 h 1253"/>
                <a:gd name="T82" fmla="*/ 1219 w 1809"/>
                <a:gd name="T83" fmla="*/ 1077 h 1253"/>
                <a:gd name="T84" fmla="*/ 1214 w 1809"/>
                <a:gd name="T85" fmla="*/ 1157 h 1253"/>
                <a:gd name="T86" fmla="*/ 1150 w 1809"/>
                <a:gd name="T87" fmla="*/ 1092 h 1253"/>
                <a:gd name="T88" fmla="*/ 1139 w 1809"/>
                <a:gd name="T89" fmla="*/ 1070 h 1253"/>
                <a:gd name="T90" fmla="*/ 1659 w 1809"/>
                <a:gd name="T91" fmla="*/ 1031 h 1253"/>
                <a:gd name="T92" fmla="*/ 1714 w 1809"/>
                <a:gd name="T93" fmla="*/ 1155 h 1253"/>
                <a:gd name="T94" fmla="*/ 1760 w 1809"/>
                <a:gd name="T95" fmla="*/ 1030 h 1253"/>
                <a:gd name="T96" fmla="*/ 111 w 1809"/>
                <a:gd name="T97" fmla="*/ 569 h 1253"/>
                <a:gd name="T98" fmla="*/ 109 w 1809"/>
                <a:gd name="T99" fmla="*/ 460 h 1253"/>
                <a:gd name="T100" fmla="*/ 32 w 1809"/>
                <a:gd name="T101" fmla="*/ 704 h 1253"/>
                <a:gd name="T102" fmla="*/ 310 w 1809"/>
                <a:gd name="T103" fmla="*/ 1058 h 1253"/>
                <a:gd name="T104" fmla="*/ 431 w 1809"/>
                <a:gd name="T105" fmla="*/ 1044 h 1253"/>
                <a:gd name="T106" fmla="*/ 278 w 1809"/>
                <a:gd name="T107" fmla="*/ 1165 h 1253"/>
                <a:gd name="T108" fmla="*/ 261 w 1809"/>
                <a:gd name="T109" fmla="*/ 540 h 1253"/>
                <a:gd name="T110" fmla="*/ 150 w 1809"/>
                <a:gd name="T111" fmla="*/ 635 h 1253"/>
                <a:gd name="T112" fmla="*/ 994 w 1809"/>
                <a:gd name="T113" fmla="*/ 1185 h 1253"/>
                <a:gd name="T114" fmla="*/ 331 w 1809"/>
                <a:gd name="T115" fmla="*/ 176 h 1253"/>
                <a:gd name="T116" fmla="*/ 333 w 1809"/>
                <a:gd name="T117" fmla="*/ 109 h 1253"/>
                <a:gd name="T118" fmla="*/ 946 w 1809"/>
                <a:gd name="T119" fmla="*/ 234 h 1253"/>
                <a:gd name="T120" fmla="*/ 1022 w 1809"/>
                <a:gd name="T121" fmla="*/ 113 h 1253"/>
                <a:gd name="T122" fmla="*/ 949 w 1809"/>
                <a:gd name="T123" fmla="*/ 65 h 1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09" h="1253">
                  <a:moveTo>
                    <a:pt x="248" y="198"/>
                  </a:moveTo>
                  <a:cubicBezTo>
                    <a:pt x="248" y="211"/>
                    <a:pt x="248" y="224"/>
                    <a:pt x="249" y="237"/>
                  </a:cubicBezTo>
                  <a:cubicBezTo>
                    <a:pt x="249" y="245"/>
                    <a:pt x="246" y="249"/>
                    <a:pt x="240" y="253"/>
                  </a:cubicBezTo>
                  <a:cubicBezTo>
                    <a:pt x="231" y="260"/>
                    <a:pt x="220" y="264"/>
                    <a:pt x="209" y="268"/>
                  </a:cubicBezTo>
                  <a:cubicBezTo>
                    <a:pt x="179" y="279"/>
                    <a:pt x="148" y="280"/>
                    <a:pt x="118" y="275"/>
                  </a:cubicBezTo>
                  <a:cubicBezTo>
                    <a:pt x="86" y="269"/>
                    <a:pt x="58" y="252"/>
                    <a:pt x="39" y="224"/>
                  </a:cubicBezTo>
                  <a:cubicBezTo>
                    <a:pt x="24" y="203"/>
                    <a:pt x="18" y="180"/>
                    <a:pt x="15" y="155"/>
                  </a:cubicBezTo>
                  <a:cubicBezTo>
                    <a:pt x="11" y="135"/>
                    <a:pt x="15" y="115"/>
                    <a:pt x="19" y="97"/>
                  </a:cubicBezTo>
                  <a:cubicBezTo>
                    <a:pt x="26" y="68"/>
                    <a:pt x="42" y="44"/>
                    <a:pt x="68" y="27"/>
                  </a:cubicBezTo>
                  <a:cubicBezTo>
                    <a:pt x="87" y="14"/>
                    <a:pt x="109" y="6"/>
                    <a:pt x="133" y="5"/>
                  </a:cubicBezTo>
                  <a:cubicBezTo>
                    <a:pt x="149" y="4"/>
                    <a:pt x="165" y="5"/>
                    <a:pt x="181" y="6"/>
                  </a:cubicBezTo>
                  <a:cubicBezTo>
                    <a:pt x="204" y="8"/>
                    <a:pt x="225" y="20"/>
                    <a:pt x="243" y="35"/>
                  </a:cubicBezTo>
                  <a:cubicBezTo>
                    <a:pt x="246" y="37"/>
                    <a:pt x="246" y="40"/>
                    <a:pt x="244" y="43"/>
                  </a:cubicBezTo>
                  <a:cubicBezTo>
                    <a:pt x="242" y="47"/>
                    <a:pt x="239" y="52"/>
                    <a:pt x="236" y="55"/>
                  </a:cubicBezTo>
                  <a:cubicBezTo>
                    <a:pt x="226" y="65"/>
                    <a:pt x="224" y="65"/>
                    <a:pt x="206" y="54"/>
                  </a:cubicBezTo>
                  <a:cubicBezTo>
                    <a:pt x="193" y="46"/>
                    <a:pt x="180" y="40"/>
                    <a:pt x="165" y="41"/>
                  </a:cubicBezTo>
                  <a:cubicBezTo>
                    <a:pt x="151" y="41"/>
                    <a:pt x="137" y="39"/>
                    <a:pt x="124" y="42"/>
                  </a:cubicBezTo>
                  <a:cubicBezTo>
                    <a:pt x="104" y="46"/>
                    <a:pt x="87" y="57"/>
                    <a:pt x="75" y="74"/>
                  </a:cubicBezTo>
                  <a:cubicBezTo>
                    <a:pt x="56" y="99"/>
                    <a:pt x="51" y="129"/>
                    <a:pt x="55" y="159"/>
                  </a:cubicBezTo>
                  <a:cubicBezTo>
                    <a:pt x="60" y="189"/>
                    <a:pt x="73" y="214"/>
                    <a:pt x="98" y="230"/>
                  </a:cubicBezTo>
                  <a:cubicBezTo>
                    <a:pt x="109" y="237"/>
                    <a:pt x="121" y="242"/>
                    <a:pt x="135" y="241"/>
                  </a:cubicBezTo>
                  <a:cubicBezTo>
                    <a:pt x="146" y="241"/>
                    <a:pt x="158" y="241"/>
                    <a:pt x="169" y="241"/>
                  </a:cubicBezTo>
                  <a:cubicBezTo>
                    <a:pt x="182" y="242"/>
                    <a:pt x="193" y="235"/>
                    <a:pt x="205" y="232"/>
                  </a:cubicBezTo>
                  <a:cubicBezTo>
                    <a:pt x="210" y="231"/>
                    <a:pt x="211" y="227"/>
                    <a:pt x="211" y="224"/>
                  </a:cubicBezTo>
                  <a:cubicBezTo>
                    <a:pt x="211" y="210"/>
                    <a:pt x="211" y="196"/>
                    <a:pt x="211" y="183"/>
                  </a:cubicBezTo>
                  <a:cubicBezTo>
                    <a:pt x="211" y="177"/>
                    <a:pt x="207" y="175"/>
                    <a:pt x="202" y="175"/>
                  </a:cubicBezTo>
                  <a:cubicBezTo>
                    <a:pt x="193" y="175"/>
                    <a:pt x="184" y="175"/>
                    <a:pt x="175" y="175"/>
                  </a:cubicBezTo>
                  <a:cubicBezTo>
                    <a:pt x="171" y="175"/>
                    <a:pt x="168" y="174"/>
                    <a:pt x="166" y="171"/>
                  </a:cubicBezTo>
                  <a:cubicBezTo>
                    <a:pt x="163" y="163"/>
                    <a:pt x="164" y="154"/>
                    <a:pt x="166" y="146"/>
                  </a:cubicBezTo>
                  <a:cubicBezTo>
                    <a:pt x="167" y="142"/>
                    <a:pt x="171" y="142"/>
                    <a:pt x="175" y="142"/>
                  </a:cubicBezTo>
                  <a:cubicBezTo>
                    <a:pt x="196" y="142"/>
                    <a:pt x="217" y="142"/>
                    <a:pt x="238" y="142"/>
                  </a:cubicBezTo>
                  <a:cubicBezTo>
                    <a:pt x="247" y="142"/>
                    <a:pt x="248" y="148"/>
                    <a:pt x="248" y="155"/>
                  </a:cubicBezTo>
                  <a:cubicBezTo>
                    <a:pt x="249" y="169"/>
                    <a:pt x="248" y="183"/>
                    <a:pt x="248" y="198"/>
                  </a:cubicBezTo>
                  <a:close/>
                  <a:moveTo>
                    <a:pt x="884" y="1181"/>
                  </a:moveTo>
                  <a:cubicBezTo>
                    <a:pt x="889" y="1167"/>
                    <a:pt x="894" y="1152"/>
                    <a:pt x="898" y="1137"/>
                  </a:cubicBezTo>
                  <a:cubicBezTo>
                    <a:pt x="901" y="1127"/>
                    <a:pt x="905" y="1116"/>
                    <a:pt x="908" y="1106"/>
                  </a:cubicBezTo>
                  <a:cubicBezTo>
                    <a:pt x="911" y="1098"/>
                    <a:pt x="912" y="1089"/>
                    <a:pt x="916" y="1081"/>
                  </a:cubicBezTo>
                  <a:cubicBezTo>
                    <a:pt x="921" y="1072"/>
                    <a:pt x="923" y="1060"/>
                    <a:pt x="927" y="1050"/>
                  </a:cubicBezTo>
                  <a:cubicBezTo>
                    <a:pt x="932" y="1037"/>
                    <a:pt x="934" y="1023"/>
                    <a:pt x="940" y="1010"/>
                  </a:cubicBezTo>
                  <a:cubicBezTo>
                    <a:pt x="945" y="1001"/>
                    <a:pt x="941" y="995"/>
                    <a:pt x="931" y="995"/>
                  </a:cubicBezTo>
                  <a:cubicBezTo>
                    <a:pt x="927" y="995"/>
                    <a:pt x="922" y="995"/>
                    <a:pt x="918" y="995"/>
                  </a:cubicBezTo>
                  <a:cubicBezTo>
                    <a:pt x="913" y="995"/>
                    <a:pt x="908" y="997"/>
                    <a:pt x="907" y="1001"/>
                  </a:cubicBezTo>
                  <a:cubicBezTo>
                    <a:pt x="904" y="1008"/>
                    <a:pt x="900" y="1015"/>
                    <a:pt x="899" y="1023"/>
                  </a:cubicBezTo>
                  <a:cubicBezTo>
                    <a:pt x="897" y="1034"/>
                    <a:pt x="893" y="1045"/>
                    <a:pt x="889" y="1055"/>
                  </a:cubicBezTo>
                  <a:cubicBezTo>
                    <a:pt x="887" y="1064"/>
                    <a:pt x="885" y="1072"/>
                    <a:pt x="882" y="1080"/>
                  </a:cubicBezTo>
                  <a:cubicBezTo>
                    <a:pt x="878" y="1091"/>
                    <a:pt x="874" y="1103"/>
                    <a:pt x="871" y="1115"/>
                  </a:cubicBezTo>
                  <a:cubicBezTo>
                    <a:pt x="870" y="1118"/>
                    <a:pt x="871" y="1124"/>
                    <a:pt x="866" y="1124"/>
                  </a:cubicBezTo>
                  <a:cubicBezTo>
                    <a:pt x="861" y="1125"/>
                    <a:pt x="859" y="1120"/>
                    <a:pt x="858" y="1115"/>
                  </a:cubicBezTo>
                  <a:cubicBezTo>
                    <a:pt x="856" y="1110"/>
                    <a:pt x="856" y="1104"/>
                    <a:pt x="854" y="1099"/>
                  </a:cubicBezTo>
                  <a:cubicBezTo>
                    <a:pt x="848" y="1080"/>
                    <a:pt x="841" y="1062"/>
                    <a:pt x="835" y="1044"/>
                  </a:cubicBezTo>
                  <a:cubicBezTo>
                    <a:pt x="831" y="1030"/>
                    <a:pt x="828" y="1016"/>
                    <a:pt x="822" y="1003"/>
                  </a:cubicBezTo>
                  <a:cubicBezTo>
                    <a:pt x="819" y="997"/>
                    <a:pt x="814" y="994"/>
                    <a:pt x="808" y="994"/>
                  </a:cubicBezTo>
                  <a:cubicBezTo>
                    <a:pt x="799" y="993"/>
                    <a:pt x="791" y="993"/>
                    <a:pt x="787" y="1001"/>
                  </a:cubicBezTo>
                  <a:cubicBezTo>
                    <a:pt x="783" y="1008"/>
                    <a:pt x="780" y="1015"/>
                    <a:pt x="779" y="1022"/>
                  </a:cubicBezTo>
                  <a:cubicBezTo>
                    <a:pt x="778" y="1034"/>
                    <a:pt x="772" y="1044"/>
                    <a:pt x="769" y="1055"/>
                  </a:cubicBezTo>
                  <a:cubicBezTo>
                    <a:pt x="762" y="1076"/>
                    <a:pt x="754" y="1096"/>
                    <a:pt x="749" y="1117"/>
                  </a:cubicBezTo>
                  <a:cubicBezTo>
                    <a:pt x="748" y="1120"/>
                    <a:pt x="747" y="1124"/>
                    <a:pt x="742" y="1124"/>
                  </a:cubicBezTo>
                  <a:cubicBezTo>
                    <a:pt x="737" y="1124"/>
                    <a:pt x="737" y="1120"/>
                    <a:pt x="736" y="1116"/>
                  </a:cubicBezTo>
                  <a:cubicBezTo>
                    <a:pt x="734" y="1104"/>
                    <a:pt x="730" y="1092"/>
                    <a:pt x="726" y="1080"/>
                  </a:cubicBezTo>
                  <a:cubicBezTo>
                    <a:pt x="720" y="1061"/>
                    <a:pt x="714" y="1040"/>
                    <a:pt x="708" y="1020"/>
                  </a:cubicBezTo>
                  <a:cubicBezTo>
                    <a:pt x="703" y="1000"/>
                    <a:pt x="698" y="994"/>
                    <a:pt x="676" y="995"/>
                  </a:cubicBezTo>
                  <a:cubicBezTo>
                    <a:pt x="665" y="996"/>
                    <a:pt x="661" y="1001"/>
                    <a:pt x="667" y="1011"/>
                  </a:cubicBezTo>
                  <a:cubicBezTo>
                    <a:pt x="669" y="1016"/>
                    <a:pt x="670" y="1021"/>
                    <a:pt x="672" y="1025"/>
                  </a:cubicBezTo>
                  <a:cubicBezTo>
                    <a:pt x="675" y="1035"/>
                    <a:pt x="678" y="1046"/>
                    <a:pt x="681" y="1055"/>
                  </a:cubicBezTo>
                  <a:cubicBezTo>
                    <a:pt x="685" y="1068"/>
                    <a:pt x="689" y="1080"/>
                    <a:pt x="693" y="1092"/>
                  </a:cubicBezTo>
                  <a:cubicBezTo>
                    <a:pt x="697" y="1103"/>
                    <a:pt x="699" y="1113"/>
                    <a:pt x="703" y="1124"/>
                  </a:cubicBezTo>
                  <a:cubicBezTo>
                    <a:pt x="707" y="1136"/>
                    <a:pt x="711" y="1147"/>
                    <a:pt x="715" y="1160"/>
                  </a:cubicBezTo>
                  <a:cubicBezTo>
                    <a:pt x="717" y="1168"/>
                    <a:pt x="720" y="1176"/>
                    <a:pt x="724" y="1183"/>
                  </a:cubicBezTo>
                  <a:cubicBezTo>
                    <a:pt x="728" y="1189"/>
                    <a:pt x="752" y="1185"/>
                    <a:pt x="757" y="1180"/>
                  </a:cubicBezTo>
                  <a:cubicBezTo>
                    <a:pt x="764" y="1173"/>
                    <a:pt x="762" y="1163"/>
                    <a:pt x="766" y="1156"/>
                  </a:cubicBezTo>
                  <a:cubicBezTo>
                    <a:pt x="774" y="1140"/>
                    <a:pt x="778" y="1122"/>
                    <a:pt x="784" y="1105"/>
                  </a:cubicBezTo>
                  <a:cubicBezTo>
                    <a:pt x="789" y="1088"/>
                    <a:pt x="796" y="1072"/>
                    <a:pt x="800" y="1054"/>
                  </a:cubicBezTo>
                  <a:cubicBezTo>
                    <a:pt x="800" y="1053"/>
                    <a:pt x="801" y="1050"/>
                    <a:pt x="803" y="1050"/>
                  </a:cubicBezTo>
                  <a:cubicBezTo>
                    <a:pt x="806" y="1050"/>
                    <a:pt x="806" y="1052"/>
                    <a:pt x="807" y="1055"/>
                  </a:cubicBezTo>
                  <a:cubicBezTo>
                    <a:pt x="807" y="1060"/>
                    <a:pt x="810" y="1066"/>
                    <a:pt x="811" y="1071"/>
                  </a:cubicBezTo>
                  <a:cubicBezTo>
                    <a:pt x="814" y="1081"/>
                    <a:pt x="818" y="1090"/>
                    <a:pt x="821" y="1099"/>
                  </a:cubicBezTo>
                  <a:cubicBezTo>
                    <a:pt x="824" y="1110"/>
                    <a:pt x="827" y="1120"/>
                    <a:pt x="831" y="1131"/>
                  </a:cubicBezTo>
                  <a:cubicBezTo>
                    <a:pt x="834" y="1142"/>
                    <a:pt x="839" y="1153"/>
                    <a:pt x="842" y="1164"/>
                  </a:cubicBezTo>
                  <a:cubicBezTo>
                    <a:pt x="846" y="1179"/>
                    <a:pt x="850" y="1188"/>
                    <a:pt x="869" y="1185"/>
                  </a:cubicBezTo>
                  <a:cubicBezTo>
                    <a:pt x="873" y="1184"/>
                    <a:pt x="881" y="1189"/>
                    <a:pt x="884" y="1181"/>
                  </a:cubicBezTo>
                  <a:close/>
                  <a:moveTo>
                    <a:pt x="33" y="1051"/>
                  </a:moveTo>
                  <a:cubicBezTo>
                    <a:pt x="33" y="1087"/>
                    <a:pt x="33" y="1124"/>
                    <a:pt x="33" y="1160"/>
                  </a:cubicBezTo>
                  <a:cubicBezTo>
                    <a:pt x="33" y="1188"/>
                    <a:pt x="29" y="1184"/>
                    <a:pt x="58" y="1185"/>
                  </a:cubicBezTo>
                  <a:cubicBezTo>
                    <a:pt x="72" y="1185"/>
                    <a:pt x="73" y="1184"/>
                    <a:pt x="73" y="1170"/>
                  </a:cubicBezTo>
                  <a:cubicBezTo>
                    <a:pt x="73" y="1138"/>
                    <a:pt x="73" y="1107"/>
                    <a:pt x="73" y="1076"/>
                  </a:cubicBezTo>
                  <a:cubicBezTo>
                    <a:pt x="73" y="1071"/>
                    <a:pt x="72" y="1067"/>
                    <a:pt x="78" y="1065"/>
                  </a:cubicBezTo>
                  <a:cubicBezTo>
                    <a:pt x="91" y="1062"/>
                    <a:pt x="102" y="1067"/>
                    <a:pt x="110" y="1076"/>
                  </a:cubicBezTo>
                  <a:cubicBezTo>
                    <a:pt x="112" y="1080"/>
                    <a:pt x="115" y="1083"/>
                    <a:pt x="118" y="1086"/>
                  </a:cubicBezTo>
                  <a:cubicBezTo>
                    <a:pt x="132" y="1103"/>
                    <a:pt x="146" y="1119"/>
                    <a:pt x="161" y="1136"/>
                  </a:cubicBezTo>
                  <a:cubicBezTo>
                    <a:pt x="173" y="1150"/>
                    <a:pt x="186" y="1165"/>
                    <a:pt x="198" y="1179"/>
                  </a:cubicBezTo>
                  <a:cubicBezTo>
                    <a:pt x="207" y="1188"/>
                    <a:pt x="218" y="1184"/>
                    <a:pt x="228" y="1185"/>
                  </a:cubicBezTo>
                  <a:cubicBezTo>
                    <a:pt x="233" y="1185"/>
                    <a:pt x="241" y="1188"/>
                    <a:pt x="244" y="1182"/>
                  </a:cubicBezTo>
                  <a:cubicBezTo>
                    <a:pt x="246" y="1178"/>
                    <a:pt x="239" y="1173"/>
                    <a:pt x="235" y="1169"/>
                  </a:cubicBezTo>
                  <a:cubicBezTo>
                    <a:pt x="206" y="1133"/>
                    <a:pt x="176" y="1098"/>
                    <a:pt x="146" y="1062"/>
                  </a:cubicBezTo>
                  <a:cubicBezTo>
                    <a:pt x="141" y="1056"/>
                    <a:pt x="131" y="1052"/>
                    <a:pt x="132" y="1044"/>
                  </a:cubicBezTo>
                  <a:cubicBezTo>
                    <a:pt x="132" y="1036"/>
                    <a:pt x="142" y="1032"/>
                    <a:pt x="147" y="1026"/>
                  </a:cubicBezTo>
                  <a:cubicBezTo>
                    <a:pt x="164" y="1006"/>
                    <a:pt x="182" y="988"/>
                    <a:pt x="198" y="968"/>
                  </a:cubicBezTo>
                  <a:cubicBezTo>
                    <a:pt x="209" y="954"/>
                    <a:pt x="221" y="942"/>
                    <a:pt x="234" y="929"/>
                  </a:cubicBezTo>
                  <a:cubicBezTo>
                    <a:pt x="236" y="926"/>
                    <a:pt x="238" y="923"/>
                    <a:pt x="237" y="920"/>
                  </a:cubicBezTo>
                  <a:cubicBezTo>
                    <a:pt x="235" y="915"/>
                    <a:pt x="231" y="917"/>
                    <a:pt x="228" y="917"/>
                  </a:cubicBezTo>
                  <a:cubicBezTo>
                    <a:pt x="224" y="918"/>
                    <a:pt x="221" y="918"/>
                    <a:pt x="217" y="918"/>
                  </a:cubicBezTo>
                  <a:cubicBezTo>
                    <a:pt x="204" y="917"/>
                    <a:pt x="193" y="922"/>
                    <a:pt x="185" y="931"/>
                  </a:cubicBezTo>
                  <a:cubicBezTo>
                    <a:pt x="172" y="946"/>
                    <a:pt x="158" y="961"/>
                    <a:pt x="145" y="977"/>
                  </a:cubicBezTo>
                  <a:cubicBezTo>
                    <a:pt x="131" y="993"/>
                    <a:pt x="117" y="1010"/>
                    <a:pt x="102" y="1026"/>
                  </a:cubicBezTo>
                  <a:cubicBezTo>
                    <a:pt x="96" y="1032"/>
                    <a:pt x="87" y="1037"/>
                    <a:pt x="78" y="1034"/>
                  </a:cubicBezTo>
                  <a:cubicBezTo>
                    <a:pt x="70" y="1030"/>
                    <a:pt x="73" y="1021"/>
                    <a:pt x="73" y="1015"/>
                  </a:cubicBezTo>
                  <a:cubicBezTo>
                    <a:pt x="73" y="991"/>
                    <a:pt x="73" y="967"/>
                    <a:pt x="73" y="944"/>
                  </a:cubicBezTo>
                  <a:cubicBezTo>
                    <a:pt x="73" y="916"/>
                    <a:pt x="75" y="917"/>
                    <a:pt x="46" y="918"/>
                  </a:cubicBezTo>
                  <a:cubicBezTo>
                    <a:pt x="33" y="918"/>
                    <a:pt x="33" y="918"/>
                    <a:pt x="33" y="931"/>
                  </a:cubicBezTo>
                  <a:cubicBezTo>
                    <a:pt x="33" y="971"/>
                    <a:pt x="33" y="1011"/>
                    <a:pt x="33" y="1051"/>
                  </a:cubicBezTo>
                  <a:cubicBezTo>
                    <a:pt x="33" y="1051"/>
                    <a:pt x="33" y="1051"/>
                    <a:pt x="33" y="1051"/>
                  </a:cubicBezTo>
                  <a:close/>
                  <a:moveTo>
                    <a:pt x="639" y="84"/>
                  </a:moveTo>
                  <a:cubicBezTo>
                    <a:pt x="627" y="84"/>
                    <a:pt x="626" y="84"/>
                    <a:pt x="629" y="95"/>
                  </a:cubicBezTo>
                  <a:cubicBezTo>
                    <a:pt x="634" y="113"/>
                    <a:pt x="640" y="131"/>
                    <a:pt x="646" y="148"/>
                  </a:cubicBezTo>
                  <a:cubicBezTo>
                    <a:pt x="652" y="166"/>
                    <a:pt x="658" y="185"/>
                    <a:pt x="664" y="203"/>
                  </a:cubicBezTo>
                  <a:cubicBezTo>
                    <a:pt x="671" y="223"/>
                    <a:pt x="676" y="244"/>
                    <a:pt x="684" y="264"/>
                  </a:cubicBezTo>
                  <a:cubicBezTo>
                    <a:pt x="688" y="274"/>
                    <a:pt x="694" y="274"/>
                    <a:pt x="702" y="274"/>
                  </a:cubicBezTo>
                  <a:cubicBezTo>
                    <a:pt x="711" y="274"/>
                    <a:pt x="719" y="272"/>
                    <a:pt x="723" y="263"/>
                  </a:cubicBezTo>
                  <a:cubicBezTo>
                    <a:pt x="733" y="236"/>
                    <a:pt x="741" y="208"/>
                    <a:pt x="750" y="181"/>
                  </a:cubicBezTo>
                  <a:cubicBezTo>
                    <a:pt x="754" y="169"/>
                    <a:pt x="757" y="156"/>
                    <a:pt x="763" y="145"/>
                  </a:cubicBezTo>
                  <a:cubicBezTo>
                    <a:pt x="764" y="143"/>
                    <a:pt x="764" y="140"/>
                    <a:pt x="767" y="140"/>
                  </a:cubicBezTo>
                  <a:cubicBezTo>
                    <a:pt x="770" y="140"/>
                    <a:pt x="770" y="143"/>
                    <a:pt x="771" y="145"/>
                  </a:cubicBezTo>
                  <a:cubicBezTo>
                    <a:pt x="771" y="156"/>
                    <a:pt x="777" y="165"/>
                    <a:pt x="780" y="175"/>
                  </a:cubicBezTo>
                  <a:cubicBezTo>
                    <a:pt x="782" y="184"/>
                    <a:pt x="785" y="193"/>
                    <a:pt x="788" y="201"/>
                  </a:cubicBezTo>
                  <a:cubicBezTo>
                    <a:pt x="794" y="219"/>
                    <a:pt x="801" y="237"/>
                    <a:pt x="806" y="255"/>
                  </a:cubicBezTo>
                  <a:cubicBezTo>
                    <a:pt x="811" y="272"/>
                    <a:pt x="825" y="280"/>
                    <a:pt x="842" y="273"/>
                  </a:cubicBezTo>
                  <a:cubicBezTo>
                    <a:pt x="845" y="271"/>
                    <a:pt x="847" y="269"/>
                    <a:pt x="848" y="266"/>
                  </a:cubicBezTo>
                  <a:cubicBezTo>
                    <a:pt x="853" y="251"/>
                    <a:pt x="859" y="236"/>
                    <a:pt x="863" y="221"/>
                  </a:cubicBezTo>
                  <a:cubicBezTo>
                    <a:pt x="867" y="202"/>
                    <a:pt x="875" y="185"/>
                    <a:pt x="880" y="166"/>
                  </a:cubicBezTo>
                  <a:cubicBezTo>
                    <a:pt x="886" y="144"/>
                    <a:pt x="895" y="123"/>
                    <a:pt x="900" y="101"/>
                  </a:cubicBezTo>
                  <a:cubicBezTo>
                    <a:pt x="901" y="96"/>
                    <a:pt x="909" y="91"/>
                    <a:pt x="904" y="86"/>
                  </a:cubicBezTo>
                  <a:cubicBezTo>
                    <a:pt x="900" y="81"/>
                    <a:pt x="892" y="84"/>
                    <a:pt x="886" y="84"/>
                  </a:cubicBezTo>
                  <a:cubicBezTo>
                    <a:pt x="885" y="84"/>
                    <a:pt x="883" y="84"/>
                    <a:pt x="881" y="84"/>
                  </a:cubicBezTo>
                  <a:cubicBezTo>
                    <a:pt x="875" y="84"/>
                    <a:pt x="872" y="86"/>
                    <a:pt x="869" y="91"/>
                  </a:cubicBezTo>
                  <a:cubicBezTo>
                    <a:pt x="860" y="110"/>
                    <a:pt x="856" y="131"/>
                    <a:pt x="850" y="151"/>
                  </a:cubicBezTo>
                  <a:cubicBezTo>
                    <a:pt x="844" y="170"/>
                    <a:pt x="836" y="188"/>
                    <a:pt x="834" y="208"/>
                  </a:cubicBezTo>
                  <a:cubicBezTo>
                    <a:pt x="833" y="211"/>
                    <a:pt x="831" y="214"/>
                    <a:pt x="827" y="214"/>
                  </a:cubicBezTo>
                  <a:cubicBezTo>
                    <a:pt x="823" y="214"/>
                    <a:pt x="822" y="210"/>
                    <a:pt x="822" y="207"/>
                  </a:cubicBezTo>
                  <a:cubicBezTo>
                    <a:pt x="817" y="188"/>
                    <a:pt x="811" y="170"/>
                    <a:pt x="805" y="152"/>
                  </a:cubicBezTo>
                  <a:cubicBezTo>
                    <a:pt x="799" y="133"/>
                    <a:pt x="794" y="114"/>
                    <a:pt x="786" y="96"/>
                  </a:cubicBezTo>
                  <a:cubicBezTo>
                    <a:pt x="783" y="87"/>
                    <a:pt x="779" y="84"/>
                    <a:pt x="770" y="84"/>
                  </a:cubicBezTo>
                  <a:cubicBezTo>
                    <a:pt x="761" y="84"/>
                    <a:pt x="752" y="82"/>
                    <a:pt x="748" y="94"/>
                  </a:cubicBezTo>
                  <a:cubicBezTo>
                    <a:pt x="744" y="109"/>
                    <a:pt x="738" y="123"/>
                    <a:pt x="734" y="138"/>
                  </a:cubicBezTo>
                  <a:cubicBezTo>
                    <a:pt x="729" y="153"/>
                    <a:pt x="724" y="167"/>
                    <a:pt x="719" y="182"/>
                  </a:cubicBezTo>
                  <a:cubicBezTo>
                    <a:pt x="716" y="192"/>
                    <a:pt x="715" y="203"/>
                    <a:pt x="708" y="212"/>
                  </a:cubicBezTo>
                  <a:cubicBezTo>
                    <a:pt x="707" y="214"/>
                    <a:pt x="707" y="217"/>
                    <a:pt x="704" y="217"/>
                  </a:cubicBezTo>
                  <a:cubicBezTo>
                    <a:pt x="701" y="217"/>
                    <a:pt x="701" y="213"/>
                    <a:pt x="700" y="211"/>
                  </a:cubicBezTo>
                  <a:cubicBezTo>
                    <a:pt x="699" y="198"/>
                    <a:pt x="694" y="186"/>
                    <a:pt x="690" y="174"/>
                  </a:cubicBezTo>
                  <a:cubicBezTo>
                    <a:pt x="684" y="153"/>
                    <a:pt x="677" y="131"/>
                    <a:pt x="672" y="110"/>
                  </a:cubicBezTo>
                  <a:cubicBezTo>
                    <a:pt x="667" y="88"/>
                    <a:pt x="663" y="84"/>
                    <a:pt x="645" y="84"/>
                  </a:cubicBezTo>
                  <a:cubicBezTo>
                    <a:pt x="643" y="84"/>
                    <a:pt x="641" y="84"/>
                    <a:pt x="639" y="84"/>
                  </a:cubicBezTo>
                  <a:close/>
                  <a:moveTo>
                    <a:pt x="507" y="711"/>
                  </a:moveTo>
                  <a:cubicBezTo>
                    <a:pt x="507" y="730"/>
                    <a:pt x="507" y="730"/>
                    <a:pt x="526" y="730"/>
                  </a:cubicBezTo>
                  <a:cubicBezTo>
                    <a:pt x="539" y="730"/>
                    <a:pt x="541" y="729"/>
                    <a:pt x="541" y="715"/>
                  </a:cubicBezTo>
                  <a:cubicBezTo>
                    <a:pt x="541" y="677"/>
                    <a:pt x="541" y="638"/>
                    <a:pt x="540" y="600"/>
                  </a:cubicBezTo>
                  <a:cubicBezTo>
                    <a:pt x="540" y="593"/>
                    <a:pt x="543" y="587"/>
                    <a:pt x="548" y="582"/>
                  </a:cubicBezTo>
                  <a:cubicBezTo>
                    <a:pt x="553" y="576"/>
                    <a:pt x="559" y="573"/>
                    <a:pt x="564" y="569"/>
                  </a:cubicBezTo>
                  <a:cubicBezTo>
                    <a:pt x="574" y="564"/>
                    <a:pt x="594" y="566"/>
                    <a:pt x="602" y="574"/>
                  </a:cubicBezTo>
                  <a:cubicBezTo>
                    <a:pt x="611" y="582"/>
                    <a:pt x="614" y="592"/>
                    <a:pt x="614" y="604"/>
                  </a:cubicBezTo>
                  <a:cubicBezTo>
                    <a:pt x="614" y="638"/>
                    <a:pt x="614" y="672"/>
                    <a:pt x="614" y="706"/>
                  </a:cubicBezTo>
                  <a:cubicBezTo>
                    <a:pt x="614" y="730"/>
                    <a:pt x="614" y="730"/>
                    <a:pt x="638" y="730"/>
                  </a:cubicBezTo>
                  <a:cubicBezTo>
                    <a:pt x="650" y="730"/>
                    <a:pt x="650" y="730"/>
                    <a:pt x="650" y="717"/>
                  </a:cubicBezTo>
                  <a:cubicBezTo>
                    <a:pt x="650" y="684"/>
                    <a:pt x="650" y="650"/>
                    <a:pt x="650" y="617"/>
                  </a:cubicBezTo>
                  <a:cubicBezTo>
                    <a:pt x="650" y="606"/>
                    <a:pt x="651" y="597"/>
                    <a:pt x="657" y="586"/>
                  </a:cubicBezTo>
                  <a:cubicBezTo>
                    <a:pt x="667" y="565"/>
                    <a:pt x="703" y="560"/>
                    <a:pt x="716" y="579"/>
                  </a:cubicBezTo>
                  <a:cubicBezTo>
                    <a:pt x="723" y="588"/>
                    <a:pt x="724" y="598"/>
                    <a:pt x="724" y="609"/>
                  </a:cubicBezTo>
                  <a:cubicBezTo>
                    <a:pt x="724" y="645"/>
                    <a:pt x="724" y="682"/>
                    <a:pt x="724" y="718"/>
                  </a:cubicBezTo>
                  <a:cubicBezTo>
                    <a:pt x="724" y="727"/>
                    <a:pt x="727" y="731"/>
                    <a:pt x="736" y="730"/>
                  </a:cubicBezTo>
                  <a:cubicBezTo>
                    <a:pt x="738" y="730"/>
                    <a:pt x="741" y="730"/>
                    <a:pt x="743" y="730"/>
                  </a:cubicBezTo>
                  <a:cubicBezTo>
                    <a:pt x="758" y="730"/>
                    <a:pt x="759" y="729"/>
                    <a:pt x="759" y="715"/>
                  </a:cubicBezTo>
                  <a:cubicBezTo>
                    <a:pt x="759" y="677"/>
                    <a:pt x="758" y="639"/>
                    <a:pt x="759" y="601"/>
                  </a:cubicBezTo>
                  <a:cubicBezTo>
                    <a:pt x="759" y="571"/>
                    <a:pt x="742" y="540"/>
                    <a:pt x="704" y="538"/>
                  </a:cubicBezTo>
                  <a:cubicBezTo>
                    <a:pt x="681" y="536"/>
                    <a:pt x="661" y="542"/>
                    <a:pt x="646" y="560"/>
                  </a:cubicBezTo>
                  <a:cubicBezTo>
                    <a:pt x="638" y="569"/>
                    <a:pt x="638" y="569"/>
                    <a:pt x="631" y="559"/>
                  </a:cubicBezTo>
                  <a:cubicBezTo>
                    <a:pt x="630" y="558"/>
                    <a:pt x="630" y="557"/>
                    <a:pt x="629" y="556"/>
                  </a:cubicBezTo>
                  <a:cubicBezTo>
                    <a:pt x="623" y="548"/>
                    <a:pt x="616" y="541"/>
                    <a:pt x="607" y="539"/>
                  </a:cubicBezTo>
                  <a:cubicBezTo>
                    <a:pt x="584" y="534"/>
                    <a:pt x="563" y="539"/>
                    <a:pt x="545" y="555"/>
                  </a:cubicBezTo>
                  <a:cubicBezTo>
                    <a:pt x="540" y="559"/>
                    <a:pt x="537" y="561"/>
                    <a:pt x="537" y="552"/>
                  </a:cubicBezTo>
                  <a:cubicBezTo>
                    <a:pt x="536" y="543"/>
                    <a:pt x="526" y="538"/>
                    <a:pt x="515" y="539"/>
                  </a:cubicBezTo>
                  <a:cubicBezTo>
                    <a:pt x="506" y="540"/>
                    <a:pt x="507" y="546"/>
                    <a:pt x="507" y="552"/>
                  </a:cubicBezTo>
                  <a:cubicBezTo>
                    <a:pt x="507" y="580"/>
                    <a:pt x="507" y="607"/>
                    <a:pt x="507" y="634"/>
                  </a:cubicBezTo>
                  <a:cubicBezTo>
                    <a:pt x="507" y="660"/>
                    <a:pt x="507" y="685"/>
                    <a:pt x="507" y="711"/>
                  </a:cubicBezTo>
                  <a:close/>
                  <a:moveTo>
                    <a:pt x="1525" y="1142"/>
                  </a:moveTo>
                  <a:cubicBezTo>
                    <a:pt x="1517" y="1143"/>
                    <a:pt x="1511" y="1141"/>
                    <a:pt x="1505" y="1136"/>
                  </a:cubicBezTo>
                  <a:cubicBezTo>
                    <a:pt x="1501" y="1133"/>
                    <a:pt x="1495" y="1130"/>
                    <a:pt x="1498" y="1124"/>
                  </a:cubicBezTo>
                  <a:cubicBezTo>
                    <a:pt x="1500" y="1118"/>
                    <a:pt x="1504" y="1114"/>
                    <a:pt x="1512" y="1114"/>
                  </a:cubicBezTo>
                  <a:cubicBezTo>
                    <a:pt x="1521" y="1115"/>
                    <a:pt x="1530" y="1114"/>
                    <a:pt x="1538" y="1115"/>
                  </a:cubicBezTo>
                  <a:cubicBezTo>
                    <a:pt x="1573" y="1117"/>
                    <a:pt x="1610" y="1084"/>
                    <a:pt x="1602" y="1044"/>
                  </a:cubicBezTo>
                  <a:cubicBezTo>
                    <a:pt x="1600" y="1035"/>
                    <a:pt x="1599" y="1028"/>
                    <a:pt x="1611" y="1027"/>
                  </a:cubicBezTo>
                  <a:cubicBezTo>
                    <a:pt x="1614" y="1027"/>
                    <a:pt x="1617" y="1024"/>
                    <a:pt x="1619" y="1023"/>
                  </a:cubicBezTo>
                  <a:cubicBezTo>
                    <a:pt x="1626" y="1019"/>
                    <a:pt x="1624" y="1013"/>
                    <a:pt x="1623" y="1008"/>
                  </a:cubicBezTo>
                  <a:cubicBezTo>
                    <a:pt x="1623" y="1002"/>
                    <a:pt x="1618" y="1003"/>
                    <a:pt x="1613" y="1002"/>
                  </a:cubicBezTo>
                  <a:cubicBezTo>
                    <a:pt x="1598" y="1002"/>
                    <a:pt x="1582" y="1004"/>
                    <a:pt x="1567" y="1000"/>
                  </a:cubicBezTo>
                  <a:cubicBezTo>
                    <a:pt x="1560" y="999"/>
                    <a:pt x="1554" y="993"/>
                    <a:pt x="1546" y="993"/>
                  </a:cubicBezTo>
                  <a:cubicBezTo>
                    <a:pt x="1536" y="994"/>
                    <a:pt x="1525" y="992"/>
                    <a:pt x="1515" y="993"/>
                  </a:cubicBezTo>
                  <a:cubicBezTo>
                    <a:pt x="1490" y="997"/>
                    <a:pt x="1469" y="1010"/>
                    <a:pt x="1462" y="1034"/>
                  </a:cubicBezTo>
                  <a:cubicBezTo>
                    <a:pt x="1455" y="1056"/>
                    <a:pt x="1457" y="1079"/>
                    <a:pt x="1476" y="1096"/>
                  </a:cubicBezTo>
                  <a:cubicBezTo>
                    <a:pt x="1483" y="1103"/>
                    <a:pt x="1483" y="1107"/>
                    <a:pt x="1476" y="1113"/>
                  </a:cubicBezTo>
                  <a:cubicBezTo>
                    <a:pt x="1462" y="1126"/>
                    <a:pt x="1462" y="1142"/>
                    <a:pt x="1473" y="1157"/>
                  </a:cubicBezTo>
                  <a:cubicBezTo>
                    <a:pt x="1476" y="1160"/>
                    <a:pt x="1476" y="1162"/>
                    <a:pt x="1472" y="1164"/>
                  </a:cubicBezTo>
                  <a:cubicBezTo>
                    <a:pt x="1470" y="1166"/>
                    <a:pt x="1468" y="1168"/>
                    <a:pt x="1466" y="1170"/>
                  </a:cubicBezTo>
                  <a:cubicBezTo>
                    <a:pt x="1449" y="1183"/>
                    <a:pt x="1444" y="1201"/>
                    <a:pt x="1454" y="1218"/>
                  </a:cubicBezTo>
                  <a:cubicBezTo>
                    <a:pt x="1464" y="1235"/>
                    <a:pt x="1479" y="1246"/>
                    <a:pt x="1499" y="1249"/>
                  </a:cubicBezTo>
                  <a:cubicBezTo>
                    <a:pt x="1517" y="1252"/>
                    <a:pt x="1535" y="1253"/>
                    <a:pt x="1553" y="1250"/>
                  </a:cubicBezTo>
                  <a:cubicBezTo>
                    <a:pt x="1584" y="1245"/>
                    <a:pt x="1607" y="1232"/>
                    <a:pt x="1619" y="1200"/>
                  </a:cubicBezTo>
                  <a:cubicBezTo>
                    <a:pt x="1627" y="1180"/>
                    <a:pt x="1611" y="1155"/>
                    <a:pt x="1593" y="1148"/>
                  </a:cubicBezTo>
                  <a:cubicBezTo>
                    <a:pt x="1578" y="1142"/>
                    <a:pt x="1563" y="1143"/>
                    <a:pt x="1549" y="1142"/>
                  </a:cubicBezTo>
                  <a:cubicBezTo>
                    <a:pt x="1540" y="1142"/>
                    <a:pt x="1532" y="1142"/>
                    <a:pt x="1525" y="1142"/>
                  </a:cubicBezTo>
                  <a:close/>
                  <a:moveTo>
                    <a:pt x="1556" y="1172"/>
                  </a:moveTo>
                  <a:cubicBezTo>
                    <a:pt x="1566" y="1172"/>
                    <a:pt x="1576" y="1176"/>
                    <a:pt x="1583" y="1183"/>
                  </a:cubicBezTo>
                  <a:cubicBezTo>
                    <a:pt x="1589" y="1190"/>
                    <a:pt x="1589" y="1198"/>
                    <a:pt x="1583" y="1205"/>
                  </a:cubicBezTo>
                  <a:cubicBezTo>
                    <a:pt x="1575" y="1215"/>
                    <a:pt x="1565" y="1220"/>
                    <a:pt x="1553" y="1223"/>
                  </a:cubicBezTo>
                  <a:cubicBezTo>
                    <a:pt x="1534" y="1228"/>
                    <a:pt x="1516" y="1225"/>
                    <a:pt x="1499" y="1219"/>
                  </a:cubicBezTo>
                  <a:cubicBezTo>
                    <a:pt x="1486" y="1214"/>
                    <a:pt x="1479" y="1203"/>
                    <a:pt x="1482" y="1193"/>
                  </a:cubicBezTo>
                  <a:cubicBezTo>
                    <a:pt x="1485" y="1182"/>
                    <a:pt x="1496" y="1168"/>
                    <a:pt x="1514" y="1171"/>
                  </a:cubicBezTo>
                  <a:cubicBezTo>
                    <a:pt x="1526" y="1173"/>
                    <a:pt x="1541" y="1171"/>
                    <a:pt x="1556" y="1172"/>
                  </a:cubicBezTo>
                  <a:close/>
                  <a:moveTo>
                    <a:pt x="1531" y="1019"/>
                  </a:moveTo>
                  <a:cubicBezTo>
                    <a:pt x="1553" y="1017"/>
                    <a:pt x="1570" y="1033"/>
                    <a:pt x="1570" y="1052"/>
                  </a:cubicBezTo>
                  <a:cubicBezTo>
                    <a:pt x="1570" y="1075"/>
                    <a:pt x="1554" y="1093"/>
                    <a:pt x="1532" y="1091"/>
                  </a:cubicBezTo>
                  <a:cubicBezTo>
                    <a:pt x="1508" y="1089"/>
                    <a:pt x="1494" y="1082"/>
                    <a:pt x="1493" y="1053"/>
                  </a:cubicBezTo>
                  <a:cubicBezTo>
                    <a:pt x="1494" y="1029"/>
                    <a:pt x="1508" y="1020"/>
                    <a:pt x="1531" y="1019"/>
                  </a:cubicBezTo>
                  <a:close/>
                  <a:moveTo>
                    <a:pt x="1413" y="934"/>
                  </a:moveTo>
                  <a:cubicBezTo>
                    <a:pt x="1413" y="909"/>
                    <a:pt x="1413" y="909"/>
                    <a:pt x="1389" y="910"/>
                  </a:cubicBezTo>
                  <a:cubicBezTo>
                    <a:pt x="1388" y="910"/>
                    <a:pt x="1387" y="910"/>
                    <a:pt x="1387" y="910"/>
                  </a:cubicBezTo>
                  <a:cubicBezTo>
                    <a:pt x="1379" y="910"/>
                    <a:pt x="1376" y="915"/>
                    <a:pt x="1376" y="921"/>
                  </a:cubicBezTo>
                  <a:cubicBezTo>
                    <a:pt x="1376" y="939"/>
                    <a:pt x="1377" y="956"/>
                    <a:pt x="1377" y="974"/>
                  </a:cubicBezTo>
                  <a:cubicBezTo>
                    <a:pt x="1377" y="983"/>
                    <a:pt x="1377" y="991"/>
                    <a:pt x="1377" y="1000"/>
                  </a:cubicBezTo>
                  <a:cubicBezTo>
                    <a:pt x="1377" y="1005"/>
                    <a:pt x="1374" y="1009"/>
                    <a:pt x="1369" y="1005"/>
                  </a:cubicBezTo>
                  <a:cubicBezTo>
                    <a:pt x="1352" y="990"/>
                    <a:pt x="1332" y="993"/>
                    <a:pt x="1312" y="993"/>
                  </a:cubicBezTo>
                  <a:cubicBezTo>
                    <a:pt x="1303" y="994"/>
                    <a:pt x="1294" y="998"/>
                    <a:pt x="1287" y="1003"/>
                  </a:cubicBezTo>
                  <a:cubicBezTo>
                    <a:pt x="1265" y="1017"/>
                    <a:pt x="1252" y="1039"/>
                    <a:pt x="1248" y="1065"/>
                  </a:cubicBezTo>
                  <a:cubicBezTo>
                    <a:pt x="1244" y="1096"/>
                    <a:pt x="1244" y="1128"/>
                    <a:pt x="1261" y="1157"/>
                  </a:cubicBezTo>
                  <a:cubicBezTo>
                    <a:pt x="1270" y="1170"/>
                    <a:pt x="1281" y="1181"/>
                    <a:pt x="1296" y="1185"/>
                  </a:cubicBezTo>
                  <a:cubicBezTo>
                    <a:pt x="1323" y="1191"/>
                    <a:pt x="1349" y="1188"/>
                    <a:pt x="1370" y="1167"/>
                  </a:cubicBezTo>
                  <a:cubicBezTo>
                    <a:pt x="1372" y="1165"/>
                    <a:pt x="1375" y="1162"/>
                    <a:pt x="1379" y="1163"/>
                  </a:cubicBezTo>
                  <a:cubicBezTo>
                    <a:pt x="1382" y="1165"/>
                    <a:pt x="1381" y="1169"/>
                    <a:pt x="1381" y="1172"/>
                  </a:cubicBezTo>
                  <a:cubicBezTo>
                    <a:pt x="1383" y="1181"/>
                    <a:pt x="1390" y="1186"/>
                    <a:pt x="1403" y="1186"/>
                  </a:cubicBezTo>
                  <a:cubicBezTo>
                    <a:pt x="1413" y="1185"/>
                    <a:pt x="1413" y="1178"/>
                    <a:pt x="1413" y="1172"/>
                  </a:cubicBezTo>
                  <a:cubicBezTo>
                    <a:pt x="1413" y="1131"/>
                    <a:pt x="1413" y="1090"/>
                    <a:pt x="1413" y="1049"/>
                  </a:cubicBezTo>
                  <a:cubicBezTo>
                    <a:pt x="1413" y="1010"/>
                    <a:pt x="1413" y="972"/>
                    <a:pt x="1413" y="934"/>
                  </a:cubicBezTo>
                  <a:close/>
                  <a:moveTo>
                    <a:pt x="1378" y="1113"/>
                  </a:moveTo>
                  <a:cubicBezTo>
                    <a:pt x="1378" y="1136"/>
                    <a:pt x="1360" y="1155"/>
                    <a:pt x="1337" y="1157"/>
                  </a:cubicBezTo>
                  <a:cubicBezTo>
                    <a:pt x="1319" y="1159"/>
                    <a:pt x="1304" y="1154"/>
                    <a:pt x="1294" y="1139"/>
                  </a:cubicBezTo>
                  <a:cubicBezTo>
                    <a:pt x="1286" y="1128"/>
                    <a:pt x="1283" y="1116"/>
                    <a:pt x="1283" y="1102"/>
                  </a:cubicBezTo>
                  <a:cubicBezTo>
                    <a:pt x="1282" y="1085"/>
                    <a:pt x="1282" y="1067"/>
                    <a:pt x="1290" y="1051"/>
                  </a:cubicBezTo>
                  <a:cubicBezTo>
                    <a:pt x="1297" y="1036"/>
                    <a:pt x="1308" y="1024"/>
                    <a:pt x="1325" y="1022"/>
                  </a:cubicBezTo>
                  <a:cubicBezTo>
                    <a:pt x="1342" y="1020"/>
                    <a:pt x="1358" y="1021"/>
                    <a:pt x="1371" y="1035"/>
                  </a:cubicBezTo>
                  <a:cubicBezTo>
                    <a:pt x="1376" y="1041"/>
                    <a:pt x="1378" y="1046"/>
                    <a:pt x="1378" y="1052"/>
                  </a:cubicBezTo>
                  <a:cubicBezTo>
                    <a:pt x="1378" y="1064"/>
                    <a:pt x="1378" y="1075"/>
                    <a:pt x="1378" y="1086"/>
                  </a:cubicBezTo>
                  <a:cubicBezTo>
                    <a:pt x="1378" y="1086"/>
                    <a:pt x="1378" y="1086"/>
                    <a:pt x="1378" y="1086"/>
                  </a:cubicBezTo>
                  <a:cubicBezTo>
                    <a:pt x="1378" y="1095"/>
                    <a:pt x="1378" y="1104"/>
                    <a:pt x="1378" y="1113"/>
                  </a:cubicBezTo>
                  <a:close/>
                  <a:moveTo>
                    <a:pt x="578" y="259"/>
                  </a:moveTo>
                  <a:cubicBezTo>
                    <a:pt x="603" y="241"/>
                    <a:pt x="611" y="213"/>
                    <a:pt x="614" y="183"/>
                  </a:cubicBezTo>
                  <a:cubicBezTo>
                    <a:pt x="615" y="171"/>
                    <a:pt x="610" y="159"/>
                    <a:pt x="609" y="147"/>
                  </a:cubicBezTo>
                  <a:cubicBezTo>
                    <a:pt x="608" y="137"/>
                    <a:pt x="603" y="129"/>
                    <a:pt x="599" y="121"/>
                  </a:cubicBezTo>
                  <a:cubicBezTo>
                    <a:pt x="579" y="87"/>
                    <a:pt x="527" y="70"/>
                    <a:pt x="488" y="85"/>
                  </a:cubicBezTo>
                  <a:cubicBezTo>
                    <a:pt x="453" y="99"/>
                    <a:pt x="436" y="127"/>
                    <a:pt x="431" y="163"/>
                  </a:cubicBezTo>
                  <a:cubicBezTo>
                    <a:pt x="429" y="180"/>
                    <a:pt x="430" y="196"/>
                    <a:pt x="436" y="213"/>
                  </a:cubicBezTo>
                  <a:cubicBezTo>
                    <a:pt x="439" y="222"/>
                    <a:pt x="442" y="232"/>
                    <a:pt x="447" y="239"/>
                  </a:cubicBezTo>
                  <a:cubicBezTo>
                    <a:pt x="465" y="265"/>
                    <a:pt x="491" y="277"/>
                    <a:pt x="525" y="276"/>
                  </a:cubicBezTo>
                  <a:cubicBezTo>
                    <a:pt x="543" y="278"/>
                    <a:pt x="562" y="271"/>
                    <a:pt x="578" y="259"/>
                  </a:cubicBezTo>
                  <a:close/>
                  <a:moveTo>
                    <a:pt x="471" y="205"/>
                  </a:moveTo>
                  <a:cubicBezTo>
                    <a:pt x="466" y="185"/>
                    <a:pt x="468" y="167"/>
                    <a:pt x="472" y="147"/>
                  </a:cubicBezTo>
                  <a:cubicBezTo>
                    <a:pt x="477" y="130"/>
                    <a:pt x="493" y="116"/>
                    <a:pt x="509" y="112"/>
                  </a:cubicBezTo>
                  <a:cubicBezTo>
                    <a:pt x="525" y="108"/>
                    <a:pt x="539" y="110"/>
                    <a:pt x="553" y="119"/>
                  </a:cubicBezTo>
                  <a:cubicBezTo>
                    <a:pt x="563" y="125"/>
                    <a:pt x="568" y="135"/>
                    <a:pt x="571" y="146"/>
                  </a:cubicBezTo>
                  <a:cubicBezTo>
                    <a:pt x="577" y="167"/>
                    <a:pt x="578" y="189"/>
                    <a:pt x="571" y="211"/>
                  </a:cubicBezTo>
                  <a:cubicBezTo>
                    <a:pt x="565" y="231"/>
                    <a:pt x="549" y="249"/>
                    <a:pt x="521" y="247"/>
                  </a:cubicBezTo>
                  <a:cubicBezTo>
                    <a:pt x="496" y="247"/>
                    <a:pt x="478" y="230"/>
                    <a:pt x="471" y="205"/>
                  </a:cubicBezTo>
                  <a:close/>
                  <a:moveTo>
                    <a:pt x="472" y="1122"/>
                  </a:moveTo>
                  <a:cubicBezTo>
                    <a:pt x="475" y="1136"/>
                    <a:pt x="481" y="1148"/>
                    <a:pt x="491" y="1158"/>
                  </a:cubicBezTo>
                  <a:cubicBezTo>
                    <a:pt x="506" y="1176"/>
                    <a:pt x="524" y="1185"/>
                    <a:pt x="548" y="1187"/>
                  </a:cubicBezTo>
                  <a:cubicBezTo>
                    <a:pt x="568" y="1188"/>
                    <a:pt x="587" y="1187"/>
                    <a:pt x="605" y="1177"/>
                  </a:cubicBezTo>
                  <a:cubicBezTo>
                    <a:pt x="632" y="1162"/>
                    <a:pt x="644" y="1136"/>
                    <a:pt x="649" y="1107"/>
                  </a:cubicBezTo>
                  <a:cubicBezTo>
                    <a:pt x="652" y="1089"/>
                    <a:pt x="649" y="1072"/>
                    <a:pt x="644" y="1054"/>
                  </a:cubicBezTo>
                  <a:cubicBezTo>
                    <a:pt x="638" y="1034"/>
                    <a:pt x="627" y="1019"/>
                    <a:pt x="610" y="1007"/>
                  </a:cubicBezTo>
                  <a:cubicBezTo>
                    <a:pt x="589" y="992"/>
                    <a:pt x="566" y="991"/>
                    <a:pt x="541" y="994"/>
                  </a:cubicBezTo>
                  <a:cubicBezTo>
                    <a:pt x="526" y="995"/>
                    <a:pt x="512" y="1002"/>
                    <a:pt x="500" y="1012"/>
                  </a:cubicBezTo>
                  <a:cubicBezTo>
                    <a:pt x="476" y="1032"/>
                    <a:pt x="469" y="1060"/>
                    <a:pt x="466" y="1095"/>
                  </a:cubicBezTo>
                  <a:cubicBezTo>
                    <a:pt x="465" y="1101"/>
                    <a:pt x="470" y="1111"/>
                    <a:pt x="472" y="1122"/>
                  </a:cubicBezTo>
                  <a:close/>
                  <a:moveTo>
                    <a:pt x="508" y="1113"/>
                  </a:moveTo>
                  <a:cubicBezTo>
                    <a:pt x="505" y="1095"/>
                    <a:pt x="506" y="1078"/>
                    <a:pt x="508" y="1061"/>
                  </a:cubicBezTo>
                  <a:cubicBezTo>
                    <a:pt x="511" y="1042"/>
                    <a:pt x="538" y="1021"/>
                    <a:pt x="554" y="1022"/>
                  </a:cubicBezTo>
                  <a:cubicBezTo>
                    <a:pt x="570" y="1022"/>
                    <a:pt x="586" y="1024"/>
                    <a:pt x="596" y="1037"/>
                  </a:cubicBezTo>
                  <a:cubicBezTo>
                    <a:pt x="602" y="1044"/>
                    <a:pt x="607" y="1052"/>
                    <a:pt x="608" y="1061"/>
                  </a:cubicBezTo>
                  <a:cubicBezTo>
                    <a:pt x="608" y="1064"/>
                    <a:pt x="609" y="1067"/>
                    <a:pt x="610" y="1070"/>
                  </a:cubicBezTo>
                  <a:cubicBezTo>
                    <a:pt x="618" y="1089"/>
                    <a:pt x="612" y="1107"/>
                    <a:pt x="607" y="1125"/>
                  </a:cubicBezTo>
                  <a:cubicBezTo>
                    <a:pt x="601" y="1143"/>
                    <a:pt x="588" y="1160"/>
                    <a:pt x="558" y="1157"/>
                  </a:cubicBezTo>
                  <a:cubicBezTo>
                    <a:pt x="530" y="1157"/>
                    <a:pt x="512" y="1141"/>
                    <a:pt x="508" y="1113"/>
                  </a:cubicBezTo>
                  <a:close/>
                  <a:moveTo>
                    <a:pt x="430" y="716"/>
                  </a:moveTo>
                  <a:cubicBezTo>
                    <a:pt x="450" y="703"/>
                    <a:pt x="459" y="683"/>
                    <a:pt x="464" y="661"/>
                  </a:cubicBezTo>
                  <a:cubicBezTo>
                    <a:pt x="468" y="648"/>
                    <a:pt x="467" y="635"/>
                    <a:pt x="466" y="621"/>
                  </a:cubicBezTo>
                  <a:cubicBezTo>
                    <a:pt x="463" y="592"/>
                    <a:pt x="453" y="567"/>
                    <a:pt x="427" y="550"/>
                  </a:cubicBezTo>
                  <a:cubicBezTo>
                    <a:pt x="401" y="534"/>
                    <a:pt x="372" y="532"/>
                    <a:pt x="345" y="541"/>
                  </a:cubicBezTo>
                  <a:cubicBezTo>
                    <a:pt x="310" y="552"/>
                    <a:pt x="291" y="580"/>
                    <a:pt x="287" y="617"/>
                  </a:cubicBezTo>
                  <a:cubicBezTo>
                    <a:pt x="286" y="629"/>
                    <a:pt x="286" y="641"/>
                    <a:pt x="287" y="654"/>
                  </a:cubicBezTo>
                  <a:cubicBezTo>
                    <a:pt x="289" y="671"/>
                    <a:pt x="295" y="686"/>
                    <a:pt x="306" y="700"/>
                  </a:cubicBezTo>
                  <a:cubicBezTo>
                    <a:pt x="324" y="722"/>
                    <a:pt x="348" y="733"/>
                    <a:pt x="378" y="731"/>
                  </a:cubicBezTo>
                  <a:cubicBezTo>
                    <a:pt x="396" y="733"/>
                    <a:pt x="414" y="727"/>
                    <a:pt x="430" y="716"/>
                  </a:cubicBezTo>
                  <a:close/>
                  <a:moveTo>
                    <a:pt x="331" y="592"/>
                  </a:moveTo>
                  <a:cubicBezTo>
                    <a:pt x="339" y="580"/>
                    <a:pt x="349" y="569"/>
                    <a:pt x="365" y="567"/>
                  </a:cubicBezTo>
                  <a:cubicBezTo>
                    <a:pt x="387" y="564"/>
                    <a:pt x="406" y="568"/>
                    <a:pt x="419" y="588"/>
                  </a:cubicBezTo>
                  <a:cubicBezTo>
                    <a:pt x="423" y="595"/>
                    <a:pt x="426" y="603"/>
                    <a:pt x="427" y="610"/>
                  </a:cubicBezTo>
                  <a:cubicBezTo>
                    <a:pt x="433" y="635"/>
                    <a:pt x="431" y="661"/>
                    <a:pt x="416" y="684"/>
                  </a:cubicBezTo>
                  <a:cubicBezTo>
                    <a:pt x="403" y="706"/>
                    <a:pt x="362" y="708"/>
                    <a:pt x="345" y="692"/>
                  </a:cubicBezTo>
                  <a:cubicBezTo>
                    <a:pt x="329" y="678"/>
                    <a:pt x="323" y="661"/>
                    <a:pt x="323" y="631"/>
                  </a:cubicBezTo>
                  <a:cubicBezTo>
                    <a:pt x="323" y="619"/>
                    <a:pt x="323" y="605"/>
                    <a:pt x="331" y="592"/>
                  </a:cubicBezTo>
                  <a:close/>
                  <a:moveTo>
                    <a:pt x="1073" y="259"/>
                  </a:moveTo>
                  <a:cubicBezTo>
                    <a:pt x="1073" y="269"/>
                    <a:pt x="1075" y="272"/>
                    <a:pt x="1086" y="272"/>
                  </a:cubicBezTo>
                  <a:cubicBezTo>
                    <a:pt x="1088" y="272"/>
                    <a:pt x="1090" y="272"/>
                    <a:pt x="1092" y="272"/>
                  </a:cubicBezTo>
                  <a:cubicBezTo>
                    <a:pt x="1105" y="272"/>
                    <a:pt x="1106" y="271"/>
                    <a:pt x="1106" y="258"/>
                  </a:cubicBezTo>
                  <a:cubicBezTo>
                    <a:pt x="1106" y="221"/>
                    <a:pt x="1106" y="184"/>
                    <a:pt x="1106" y="147"/>
                  </a:cubicBezTo>
                  <a:cubicBezTo>
                    <a:pt x="1106" y="143"/>
                    <a:pt x="1106" y="140"/>
                    <a:pt x="1107" y="137"/>
                  </a:cubicBezTo>
                  <a:cubicBezTo>
                    <a:pt x="1117" y="117"/>
                    <a:pt x="1157" y="104"/>
                    <a:pt x="1177" y="114"/>
                  </a:cubicBezTo>
                  <a:cubicBezTo>
                    <a:pt x="1179" y="115"/>
                    <a:pt x="1180" y="117"/>
                    <a:pt x="1182" y="118"/>
                  </a:cubicBezTo>
                  <a:cubicBezTo>
                    <a:pt x="1194" y="131"/>
                    <a:pt x="1196" y="147"/>
                    <a:pt x="1196" y="163"/>
                  </a:cubicBezTo>
                  <a:cubicBezTo>
                    <a:pt x="1197" y="195"/>
                    <a:pt x="1196" y="226"/>
                    <a:pt x="1196" y="258"/>
                  </a:cubicBezTo>
                  <a:cubicBezTo>
                    <a:pt x="1196" y="271"/>
                    <a:pt x="1197" y="272"/>
                    <a:pt x="1210" y="272"/>
                  </a:cubicBezTo>
                  <a:cubicBezTo>
                    <a:pt x="1212" y="272"/>
                    <a:pt x="1213" y="272"/>
                    <a:pt x="1215" y="272"/>
                  </a:cubicBezTo>
                  <a:cubicBezTo>
                    <a:pt x="1227" y="272"/>
                    <a:pt x="1229" y="270"/>
                    <a:pt x="1229" y="258"/>
                  </a:cubicBezTo>
                  <a:cubicBezTo>
                    <a:pt x="1229" y="222"/>
                    <a:pt x="1229" y="187"/>
                    <a:pt x="1229" y="151"/>
                  </a:cubicBezTo>
                  <a:cubicBezTo>
                    <a:pt x="1229" y="142"/>
                    <a:pt x="1228" y="132"/>
                    <a:pt x="1225" y="123"/>
                  </a:cubicBezTo>
                  <a:cubicBezTo>
                    <a:pt x="1219" y="105"/>
                    <a:pt x="1208" y="91"/>
                    <a:pt x="1189" y="85"/>
                  </a:cubicBezTo>
                  <a:cubicBezTo>
                    <a:pt x="1173" y="80"/>
                    <a:pt x="1156" y="84"/>
                    <a:pt x="1139" y="84"/>
                  </a:cubicBezTo>
                  <a:cubicBezTo>
                    <a:pt x="1137" y="84"/>
                    <a:pt x="1136" y="86"/>
                    <a:pt x="1134" y="87"/>
                  </a:cubicBezTo>
                  <a:cubicBezTo>
                    <a:pt x="1128" y="91"/>
                    <a:pt x="1121" y="96"/>
                    <a:pt x="1115" y="100"/>
                  </a:cubicBezTo>
                  <a:cubicBezTo>
                    <a:pt x="1113" y="102"/>
                    <a:pt x="1111" y="105"/>
                    <a:pt x="1108" y="103"/>
                  </a:cubicBezTo>
                  <a:cubicBezTo>
                    <a:pt x="1105" y="102"/>
                    <a:pt x="1106" y="98"/>
                    <a:pt x="1106" y="96"/>
                  </a:cubicBezTo>
                  <a:cubicBezTo>
                    <a:pt x="1106" y="69"/>
                    <a:pt x="1106" y="43"/>
                    <a:pt x="1106" y="17"/>
                  </a:cubicBezTo>
                  <a:cubicBezTo>
                    <a:pt x="1106" y="0"/>
                    <a:pt x="1106" y="0"/>
                    <a:pt x="1089" y="0"/>
                  </a:cubicBezTo>
                  <a:cubicBezTo>
                    <a:pt x="1074" y="0"/>
                    <a:pt x="1073" y="1"/>
                    <a:pt x="1073" y="16"/>
                  </a:cubicBezTo>
                  <a:cubicBezTo>
                    <a:pt x="1073" y="56"/>
                    <a:pt x="1073" y="96"/>
                    <a:pt x="1073" y="136"/>
                  </a:cubicBezTo>
                  <a:cubicBezTo>
                    <a:pt x="1073" y="177"/>
                    <a:pt x="1073" y="218"/>
                    <a:pt x="1073" y="259"/>
                  </a:cubicBezTo>
                  <a:close/>
                  <a:moveTo>
                    <a:pt x="1150" y="1092"/>
                  </a:moveTo>
                  <a:cubicBezTo>
                    <a:pt x="1168" y="1092"/>
                    <a:pt x="1186" y="1092"/>
                    <a:pt x="1204" y="1092"/>
                  </a:cubicBezTo>
                  <a:cubicBezTo>
                    <a:pt x="1215" y="1092"/>
                    <a:pt x="1218" y="1087"/>
                    <a:pt x="1219" y="1077"/>
                  </a:cubicBezTo>
                  <a:cubicBezTo>
                    <a:pt x="1220" y="1062"/>
                    <a:pt x="1216" y="1049"/>
                    <a:pt x="1210" y="1036"/>
                  </a:cubicBezTo>
                  <a:cubicBezTo>
                    <a:pt x="1204" y="1020"/>
                    <a:pt x="1193" y="1008"/>
                    <a:pt x="1177" y="1001"/>
                  </a:cubicBezTo>
                  <a:cubicBezTo>
                    <a:pt x="1155" y="992"/>
                    <a:pt x="1133" y="991"/>
                    <a:pt x="1109" y="999"/>
                  </a:cubicBezTo>
                  <a:cubicBezTo>
                    <a:pt x="1079" y="1010"/>
                    <a:pt x="1062" y="1031"/>
                    <a:pt x="1056" y="1061"/>
                  </a:cubicBezTo>
                  <a:cubicBezTo>
                    <a:pt x="1051" y="1090"/>
                    <a:pt x="1052" y="1120"/>
                    <a:pt x="1069" y="1148"/>
                  </a:cubicBezTo>
                  <a:cubicBezTo>
                    <a:pt x="1081" y="1169"/>
                    <a:pt x="1100" y="1180"/>
                    <a:pt x="1122" y="1185"/>
                  </a:cubicBezTo>
                  <a:cubicBezTo>
                    <a:pt x="1149" y="1190"/>
                    <a:pt x="1176" y="1186"/>
                    <a:pt x="1200" y="1171"/>
                  </a:cubicBezTo>
                  <a:cubicBezTo>
                    <a:pt x="1206" y="1168"/>
                    <a:pt x="1213" y="1165"/>
                    <a:pt x="1214" y="1157"/>
                  </a:cubicBezTo>
                  <a:cubicBezTo>
                    <a:pt x="1215" y="1147"/>
                    <a:pt x="1202" y="1139"/>
                    <a:pt x="1193" y="1144"/>
                  </a:cubicBezTo>
                  <a:cubicBezTo>
                    <a:pt x="1187" y="1147"/>
                    <a:pt x="1180" y="1150"/>
                    <a:pt x="1174" y="1153"/>
                  </a:cubicBezTo>
                  <a:cubicBezTo>
                    <a:pt x="1158" y="1161"/>
                    <a:pt x="1140" y="1161"/>
                    <a:pt x="1124" y="1155"/>
                  </a:cubicBezTo>
                  <a:cubicBezTo>
                    <a:pt x="1112" y="1151"/>
                    <a:pt x="1102" y="1142"/>
                    <a:pt x="1096" y="1129"/>
                  </a:cubicBezTo>
                  <a:cubicBezTo>
                    <a:pt x="1092" y="1121"/>
                    <a:pt x="1091" y="1112"/>
                    <a:pt x="1089" y="1104"/>
                  </a:cubicBezTo>
                  <a:cubicBezTo>
                    <a:pt x="1087" y="1093"/>
                    <a:pt x="1087" y="1092"/>
                    <a:pt x="1099" y="1092"/>
                  </a:cubicBezTo>
                  <a:cubicBezTo>
                    <a:pt x="1116" y="1092"/>
                    <a:pt x="1133" y="1092"/>
                    <a:pt x="1150" y="1092"/>
                  </a:cubicBezTo>
                  <a:cubicBezTo>
                    <a:pt x="1150" y="1092"/>
                    <a:pt x="1150" y="1092"/>
                    <a:pt x="1150" y="1092"/>
                  </a:cubicBezTo>
                  <a:close/>
                  <a:moveTo>
                    <a:pt x="1099" y="1070"/>
                  </a:moveTo>
                  <a:cubicBezTo>
                    <a:pt x="1092" y="1071"/>
                    <a:pt x="1089" y="1067"/>
                    <a:pt x="1091" y="1060"/>
                  </a:cubicBezTo>
                  <a:cubicBezTo>
                    <a:pt x="1094" y="1045"/>
                    <a:pt x="1108" y="1023"/>
                    <a:pt x="1128" y="1022"/>
                  </a:cubicBezTo>
                  <a:cubicBezTo>
                    <a:pt x="1142" y="1021"/>
                    <a:pt x="1156" y="1018"/>
                    <a:pt x="1168" y="1029"/>
                  </a:cubicBezTo>
                  <a:cubicBezTo>
                    <a:pt x="1181" y="1038"/>
                    <a:pt x="1185" y="1051"/>
                    <a:pt x="1187" y="1066"/>
                  </a:cubicBezTo>
                  <a:cubicBezTo>
                    <a:pt x="1188" y="1071"/>
                    <a:pt x="1183" y="1070"/>
                    <a:pt x="1180" y="1070"/>
                  </a:cubicBezTo>
                  <a:cubicBezTo>
                    <a:pt x="1166" y="1070"/>
                    <a:pt x="1153" y="1070"/>
                    <a:pt x="1139" y="1070"/>
                  </a:cubicBezTo>
                  <a:cubicBezTo>
                    <a:pt x="1139" y="1070"/>
                    <a:pt x="1139" y="1070"/>
                    <a:pt x="1139" y="1070"/>
                  </a:cubicBezTo>
                  <a:cubicBezTo>
                    <a:pt x="1126" y="1070"/>
                    <a:pt x="1113" y="1070"/>
                    <a:pt x="1099" y="1070"/>
                  </a:cubicBezTo>
                  <a:close/>
                  <a:moveTo>
                    <a:pt x="1741" y="1092"/>
                  </a:moveTo>
                  <a:cubicBezTo>
                    <a:pt x="1759" y="1092"/>
                    <a:pt x="1776" y="1092"/>
                    <a:pt x="1793" y="1092"/>
                  </a:cubicBezTo>
                  <a:cubicBezTo>
                    <a:pt x="1806" y="1092"/>
                    <a:pt x="1808" y="1089"/>
                    <a:pt x="1808" y="1076"/>
                  </a:cubicBezTo>
                  <a:cubicBezTo>
                    <a:pt x="1809" y="1063"/>
                    <a:pt x="1807" y="1051"/>
                    <a:pt x="1802" y="1038"/>
                  </a:cubicBezTo>
                  <a:cubicBezTo>
                    <a:pt x="1794" y="1021"/>
                    <a:pt x="1782" y="1008"/>
                    <a:pt x="1764" y="1000"/>
                  </a:cubicBezTo>
                  <a:cubicBezTo>
                    <a:pt x="1742" y="991"/>
                    <a:pt x="1720" y="991"/>
                    <a:pt x="1698" y="1000"/>
                  </a:cubicBezTo>
                  <a:cubicBezTo>
                    <a:pt x="1681" y="1006"/>
                    <a:pt x="1668" y="1016"/>
                    <a:pt x="1659" y="1031"/>
                  </a:cubicBezTo>
                  <a:cubicBezTo>
                    <a:pt x="1646" y="1050"/>
                    <a:pt x="1643" y="1071"/>
                    <a:pt x="1644" y="1094"/>
                  </a:cubicBezTo>
                  <a:cubicBezTo>
                    <a:pt x="1644" y="1110"/>
                    <a:pt x="1647" y="1127"/>
                    <a:pt x="1655" y="1141"/>
                  </a:cubicBezTo>
                  <a:cubicBezTo>
                    <a:pt x="1669" y="1168"/>
                    <a:pt x="1691" y="1183"/>
                    <a:pt x="1722" y="1186"/>
                  </a:cubicBezTo>
                  <a:cubicBezTo>
                    <a:pt x="1750" y="1188"/>
                    <a:pt x="1775" y="1183"/>
                    <a:pt x="1798" y="1165"/>
                  </a:cubicBezTo>
                  <a:cubicBezTo>
                    <a:pt x="1803" y="1161"/>
                    <a:pt x="1806" y="1157"/>
                    <a:pt x="1802" y="1151"/>
                  </a:cubicBezTo>
                  <a:cubicBezTo>
                    <a:pt x="1798" y="1144"/>
                    <a:pt x="1791" y="1140"/>
                    <a:pt x="1783" y="1144"/>
                  </a:cubicBezTo>
                  <a:cubicBezTo>
                    <a:pt x="1778" y="1147"/>
                    <a:pt x="1771" y="1149"/>
                    <a:pt x="1766" y="1152"/>
                  </a:cubicBezTo>
                  <a:cubicBezTo>
                    <a:pt x="1749" y="1161"/>
                    <a:pt x="1730" y="1162"/>
                    <a:pt x="1714" y="1155"/>
                  </a:cubicBezTo>
                  <a:cubicBezTo>
                    <a:pt x="1692" y="1145"/>
                    <a:pt x="1680" y="1127"/>
                    <a:pt x="1679" y="1102"/>
                  </a:cubicBezTo>
                  <a:cubicBezTo>
                    <a:pt x="1678" y="1095"/>
                    <a:pt x="1681" y="1092"/>
                    <a:pt x="1689" y="1092"/>
                  </a:cubicBezTo>
                  <a:cubicBezTo>
                    <a:pt x="1706" y="1092"/>
                    <a:pt x="1724" y="1092"/>
                    <a:pt x="1741" y="1092"/>
                  </a:cubicBezTo>
                  <a:cubicBezTo>
                    <a:pt x="1741" y="1092"/>
                    <a:pt x="1741" y="1092"/>
                    <a:pt x="1741" y="1092"/>
                  </a:cubicBezTo>
                  <a:close/>
                  <a:moveTo>
                    <a:pt x="1690" y="1070"/>
                  </a:moveTo>
                  <a:cubicBezTo>
                    <a:pt x="1683" y="1071"/>
                    <a:pt x="1680" y="1068"/>
                    <a:pt x="1681" y="1062"/>
                  </a:cubicBezTo>
                  <a:cubicBezTo>
                    <a:pt x="1683" y="1048"/>
                    <a:pt x="1697" y="1024"/>
                    <a:pt x="1716" y="1022"/>
                  </a:cubicBezTo>
                  <a:cubicBezTo>
                    <a:pt x="1731" y="1020"/>
                    <a:pt x="1747" y="1018"/>
                    <a:pt x="1760" y="1030"/>
                  </a:cubicBezTo>
                  <a:cubicBezTo>
                    <a:pt x="1771" y="1038"/>
                    <a:pt x="1775" y="1050"/>
                    <a:pt x="1778" y="1062"/>
                  </a:cubicBezTo>
                  <a:cubicBezTo>
                    <a:pt x="1780" y="1068"/>
                    <a:pt x="1775" y="1070"/>
                    <a:pt x="1769" y="1070"/>
                  </a:cubicBezTo>
                  <a:cubicBezTo>
                    <a:pt x="1756" y="1070"/>
                    <a:pt x="1742" y="1070"/>
                    <a:pt x="1729" y="1070"/>
                  </a:cubicBezTo>
                  <a:cubicBezTo>
                    <a:pt x="1729" y="1070"/>
                    <a:pt x="1729" y="1070"/>
                    <a:pt x="1729" y="1070"/>
                  </a:cubicBezTo>
                  <a:cubicBezTo>
                    <a:pt x="1716" y="1070"/>
                    <a:pt x="1703" y="1070"/>
                    <a:pt x="1690" y="1070"/>
                  </a:cubicBezTo>
                  <a:close/>
                  <a:moveTo>
                    <a:pt x="68" y="581"/>
                  </a:moveTo>
                  <a:cubicBezTo>
                    <a:pt x="68" y="573"/>
                    <a:pt x="70" y="568"/>
                    <a:pt x="80" y="569"/>
                  </a:cubicBezTo>
                  <a:cubicBezTo>
                    <a:pt x="90" y="570"/>
                    <a:pt x="101" y="570"/>
                    <a:pt x="111" y="569"/>
                  </a:cubicBezTo>
                  <a:cubicBezTo>
                    <a:pt x="120" y="569"/>
                    <a:pt x="120" y="563"/>
                    <a:pt x="120" y="556"/>
                  </a:cubicBezTo>
                  <a:cubicBezTo>
                    <a:pt x="120" y="549"/>
                    <a:pt x="119" y="544"/>
                    <a:pt x="111" y="544"/>
                  </a:cubicBezTo>
                  <a:cubicBezTo>
                    <a:pt x="104" y="544"/>
                    <a:pt x="97" y="544"/>
                    <a:pt x="91" y="544"/>
                  </a:cubicBezTo>
                  <a:cubicBezTo>
                    <a:pt x="66" y="544"/>
                    <a:pt x="65" y="543"/>
                    <a:pt x="68" y="518"/>
                  </a:cubicBezTo>
                  <a:cubicBezTo>
                    <a:pt x="69" y="504"/>
                    <a:pt x="83" y="487"/>
                    <a:pt x="99" y="489"/>
                  </a:cubicBezTo>
                  <a:cubicBezTo>
                    <a:pt x="103" y="489"/>
                    <a:pt x="107" y="489"/>
                    <a:pt x="110" y="488"/>
                  </a:cubicBezTo>
                  <a:cubicBezTo>
                    <a:pt x="118" y="487"/>
                    <a:pt x="123" y="479"/>
                    <a:pt x="123" y="471"/>
                  </a:cubicBezTo>
                  <a:cubicBezTo>
                    <a:pt x="123" y="461"/>
                    <a:pt x="116" y="462"/>
                    <a:pt x="109" y="460"/>
                  </a:cubicBezTo>
                  <a:cubicBezTo>
                    <a:pt x="100" y="458"/>
                    <a:pt x="92" y="460"/>
                    <a:pt x="84" y="460"/>
                  </a:cubicBezTo>
                  <a:cubicBezTo>
                    <a:pt x="68" y="461"/>
                    <a:pt x="56" y="469"/>
                    <a:pt x="47" y="480"/>
                  </a:cubicBezTo>
                  <a:cubicBezTo>
                    <a:pt x="34" y="493"/>
                    <a:pt x="32" y="511"/>
                    <a:pt x="32" y="529"/>
                  </a:cubicBezTo>
                  <a:cubicBezTo>
                    <a:pt x="32" y="544"/>
                    <a:pt x="32" y="544"/>
                    <a:pt x="17" y="544"/>
                  </a:cubicBezTo>
                  <a:cubicBezTo>
                    <a:pt x="4" y="543"/>
                    <a:pt x="0" y="548"/>
                    <a:pt x="4" y="561"/>
                  </a:cubicBezTo>
                  <a:cubicBezTo>
                    <a:pt x="6" y="569"/>
                    <a:pt x="13" y="568"/>
                    <a:pt x="19" y="569"/>
                  </a:cubicBezTo>
                  <a:cubicBezTo>
                    <a:pt x="32" y="571"/>
                    <a:pt x="32" y="571"/>
                    <a:pt x="32" y="584"/>
                  </a:cubicBezTo>
                  <a:cubicBezTo>
                    <a:pt x="32" y="624"/>
                    <a:pt x="32" y="664"/>
                    <a:pt x="32" y="704"/>
                  </a:cubicBezTo>
                  <a:cubicBezTo>
                    <a:pt x="32" y="731"/>
                    <a:pt x="32" y="730"/>
                    <a:pt x="57" y="731"/>
                  </a:cubicBezTo>
                  <a:cubicBezTo>
                    <a:pt x="66" y="731"/>
                    <a:pt x="68" y="727"/>
                    <a:pt x="68" y="720"/>
                  </a:cubicBezTo>
                  <a:cubicBezTo>
                    <a:pt x="68" y="697"/>
                    <a:pt x="68" y="674"/>
                    <a:pt x="68" y="651"/>
                  </a:cubicBezTo>
                  <a:cubicBezTo>
                    <a:pt x="68" y="628"/>
                    <a:pt x="68" y="605"/>
                    <a:pt x="68" y="581"/>
                  </a:cubicBezTo>
                  <a:close/>
                  <a:moveTo>
                    <a:pt x="278" y="1165"/>
                  </a:moveTo>
                  <a:cubicBezTo>
                    <a:pt x="278" y="1183"/>
                    <a:pt x="278" y="1183"/>
                    <a:pt x="296" y="1184"/>
                  </a:cubicBezTo>
                  <a:cubicBezTo>
                    <a:pt x="310" y="1184"/>
                    <a:pt x="310" y="1184"/>
                    <a:pt x="310" y="1169"/>
                  </a:cubicBezTo>
                  <a:cubicBezTo>
                    <a:pt x="310" y="1132"/>
                    <a:pt x="310" y="1095"/>
                    <a:pt x="310" y="1058"/>
                  </a:cubicBezTo>
                  <a:cubicBezTo>
                    <a:pt x="310" y="1052"/>
                    <a:pt x="312" y="1047"/>
                    <a:pt x="316" y="1042"/>
                  </a:cubicBezTo>
                  <a:cubicBezTo>
                    <a:pt x="324" y="1033"/>
                    <a:pt x="334" y="1027"/>
                    <a:pt x="345" y="1024"/>
                  </a:cubicBezTo>
                  <a:cubicBezTo>
                    <a:pt x="357" y="1020"/>
                    <a:pt x="371" y="1018"/>
                    <a:pt x="383" y="1028"/>
                  </a:cubicBezTo>
                  <a:cubicBezTo>
                    <a:pt x="397" y="1039"/>
                    <a:pt x="401" y="1054"/>
                    <a:pt x="401" y="1071"/>
                  </a:cubicBezTo>
                  <a:cubicBezTo>
                    <a:pt x="401" y="1102"/>
                    <a:pt x="401" y="1132"/>
                    <a:pt x="401" y="1163"/>
                  </a:cubicBezTo>
                  <a:cubicBezTo>
                    <a:pt x="401" y="1183"/>
                    <a:pt x="401" y="1182"/>
                    <a:pt x="420" y="1184"/>
                  </a:cubicBezTo>
                  <a:cubicBezTo>
                    <a:pt x="429" y="1185"/>
                    <a:pt x="433" y="1181"/>
                    <a:pt x="433" y="1173"/>
                  </a:cubicBezTo>
                  <a:cubicBezTo>
                    <a:pt x="432" y="1130"/>
                    <a:pt x="435" y="1087"/>
                    <a:pt x="431" y="1044"/>
                  </a:cubicBezTo>
                  <a:cubicBezTo>
                    <a:pt x="427" y="1014"/>
                    <a:pt x="404" y="996"/>
                    <a:pt x="376" y="994"/>
                  </a:cubicBezTo>
                  <a:cubicBezTo>
                    <a:pt x="353" y="992"/>
                    <a:pt x="333" y="1000"/>
                    <a:pt x="317" y="1017"/>
                  </a:cubicBezTo>
                  <a:cubicBezTo>
                    <a:pt x="312" y="1021"/>
                    <a:pt x="311" y="1019"/>
                    <a:pt x="309" y="1015"/>
                  </a:cubicBezTo>
                  <a:cubicBezTo>
                    <a:pt x="309" y="1013"/>
                    <a:pt x="308" y="1011"/>
                    <a:pt x="308" y="1008"/>
                  </a:cubicBezTo>
                  <a:cubicBezTo>
                    <a:pt x="306" y="1001"/>
                    <a:pt x="298" y="997"/>
                    <a:pt x="287" y="998"/>
                  </a:cubicBezTo>
                  <a:cubicBezTo>
                    <a:pt x="279" y="999"/>
                    <a:pt x="278" y="1004"/>
                    <a:pt x="278" y="1011"/>
                  </a:cubicBezTo>
                  <a:cubicBezTo>
                    <a:pt x="278" y="1037"/>
                    <a:pt x="278" y="1064"/>
                    <a:pt x="278" y="1091"/>
                  </a:cubicBezTo>
                  <a:cubicBezTo>
                    <a:pt x="278" y="1115"/>
                    <a:pt x="278" y="1140"/>
                    <a:pt x="278" y="1165"/>
                  </a:cubicBezTo>
                  <a:close/>
                  <a:moveTo>
                    <a:pt x="150" y="705"/>
                  </a:moveTo>
                  <a:cubicBezTo>
                    <a:pt x="150" y="734"/>
                    <a:pt x="145" y="730"/>
                    <a:pt x="176" y="731"/>
                  </a:cubicBezTo>
                  <a:cubicBezTo>
                    <a:pt x="185" y="731"/>
                    <a:pt x="187" y="727"/>
                    <a:pt x="187" y="719"/>
                  </a:cubicBezTo>
                  <a:cubicBezTo>
                    <a:pt x="187" y="685"/>
                    <a:pt x="187" y="651"/>
                    <a:pt x="187" y="618"/>
                  </a:cubicBezTo>
                  <a:cubicBezTo>
                    <a:pt x="187" y="597"/>
                    <a:pt x="204" y="578"/>
                    <a:pt x="225" y="574"/>
                  </a:cubicBezTo>
                  <a:cubicBezTo>
                    <a:pt x="232" y="572"/>
                    <a:pt x="240" y="574"/>
                    <a:pt x="247" y="575"/>
                  </a:cubicBezTo>
                  <a:cubicBezTo>
                    <a:pt x="257" y="576"/>
                    <a:pt x="261" y="572"/>
                    <a:pt x="265" y="564"/>
                  </a:cubicBezTo>
                  <a:cubicBezTo>
                    <a:pt x="269" y="556"/>
                    <a:pt x="267" y="542"/>
                    <a:pt x="261" y="540"/>
                  </a:cubicBezTo>
                  <a:cubicBezTo>
                    <a:pt x="253" y="538"/>
                    <a:pt x="244" y="534"/>
                    <a:pt x="237" y="536"/>
                  </a:cubicBezTo>
                  <a:cubicBezTo>
                    <a:pt x="228" y="537"/>
                    <a:pt x="217" y="537"/>
                    <a:pt x="209" y="544"/>
                  </a:cubicBezTo>
                  <a:cubicBezTo>
                    <a:pt x="204" y="549"/>
                    <a:pt x="198" y="553"/>
                    <a:pt x="194" y="558"/>
                  </a:cubicBezTo>
                  <a:cubicBezTo>
                    <a:pt x="192" y="561"/>
                    <a:pt x="189" y="563"/>
                    <a:pt x="185" y="562"/>
                  </a:cubicBezTo>
                  <a:cubicBezTo>
                    <a:pt x="182" y="561"/>
                    <a:pt x="182" y="558"/>
                    <a:pt x="182" y="556"/>
                  </a:cubicBezTo>
                  <a:cubicBezTo>
                    <a:pt x="180" y="539"/>
                    <a:pt x="179" y="539"/>
                    <a:pt x="162" y="539"/>
                  </a:cubicBezTo>
                  <a:cubicBezTo>
                    <a:pt x="151" y="539"/>
                    <a:pt x="150" y="540"/>
                    <a:pt x="150" y="551"/>
                  </a:cubicBezTo>
                  <a:cubicBezTo>
                    <a:pt x="150" y="579"/>
                    <a:pt x="150" y="607"/>
                    <a:pt x="150" y="635"/>
                  </a:cubicBezTo>
                  <a:cubicBezTo>
                    <a:pt x="150" y="658"/>
                    <a:pt x="149" y="682"/>
                    <a:pt x="150" y="705"/>
                  </a:cubicBezTo>
                  <a:close/>
                  <a:moveTo>
                    <a:pt x="1011" y="1049"/>
                  </a:moveTo>
                  <a:cubicBezTo>
                    <a:pt x="1011" y="1008"/>
                    <a:pt x="1011" y="966"/>
                    <a:pt x="1011" y="924"/>
                  </a:cubicBezTo>
                  <a:cubicBezTo>
                    <a:pt x="1011" y="913"/>
                    <a:pt x="1008" y="910"/>
                    <a:pt x="997" y="910"/>
                  </a:cubicBezTo>
                  <a:cubicBezTo>
                    <a:pt x="995" y="910"/>
                    <a:pt x="992" y="910"/>
                    <a:pt x="990" y="910"/>
                  </a:cubicBezTo>
                  <a:cubicBezTo>
                    <a:pt x="976" y="910"/>
                    <a:pt x="975" y="911"/>
                    <a:pt x="975" y="926"/>
                  </a:cubicBezTo>
                  <a:cubicBezTo>
                    <a:pt x="975" y="1006"/>
                    <a:pt x="975" y="1085"/>
                    <a:pt x="975" y="1165"/>
                  </a:cubicBezTo>
                  <a:cubicBezTo>
                    <a:pt x="975" y="1185"/>
                    <a:pt x="975" y="1185"/>
                    <a:pt x="994" y="1185"/>
                  </a:cubicBezTo>
                  <a:cubicBezTo>
                    <a:pt x="1009" y="1185"/>
                    <a:pt x="1011" y="1184"/>
                    <a:pt x="1011" y="1169"/>
                  </a:cubicBezTo>
                  <a:cubicBezTo>
                    <a:pt x="1011" y="1129"/>
                    <a:pt x="1011" y="1089"/>
                    <a:pt x="1011" y="1049"/>
                  </a:cubicBezTo>
                  <a:cubicBezTo>
                    <a:pt x="1011" y="1049"/>
                    <a:pt x="1011" y="1049"/>
                    <a:pt x="1011" y="1049"/>
                  </a:cubicBezTo>
                  <a:close/>
                  <a:moveTo>
                    <a:pt x="296" y="176"/>
                  </a:moveTo>
                  <a:cubicBezTo>
                    <a:pt x="296" y="201"/>
                    <a:pt x="296" y="226"/>
                    <a:pt x="296" y="251"/>
                  </a:cubicBezTo>
                  <a:cubicBezTo>
                    <a:pt x="295" y="276"/>
                    <a:pt x="296" y="274"/>
                    <a:pt x="318" y="274"/>
                  </a:cubicBezTo>
                  <a:cubicBezTo>
                    <a:pt x="330" y="274"/>
                    <a:pt x="331" y="274"/>
                    <a:pt x="331" y="260"/>
                  </a:cubicBezTo>
                  <a:cubicBezTo>
                    <a:pt x="331" y="232"/>
                    <a:pt x="331" y="204"/>
                    <a:pt x="331" y="176"/>
                  </a:cubicBezTo>
                  <a:cubicBezTo>
                    <a:pt x="331" y="165"/>
                    <a:pt x="331" y="155"/>
                    <a:pt x="337" y="145"/>
                  </a:cubicBezTo>
                  <a:cubicBezTo>
                    <a:pt x="349" y="123"/>
                    <a:pt x="359" y="117"/>
                    <a:pt x="377" y="118"/>
                  </a:cubicBezTo>
                  <a:cubicBezTo>
                    <a:pt x="383" y="118"/>
                    <a:pt x="389" y="119"/>
                    <a:pt x="395" y="120"/>
                  </a:cubicBezTo>
                  <a:cubicBezTo>
                    <a:pt x="401" y="120"/>
                    <a:pt x="407" y="118"/>
                    <a:pt x="408" y="112"/>
                  </a:cubicBezTo>
                  <a:cubicBezTo>
                    <a:pt x="409" y="103"/>
                    <a:pt x="415" y="93"/>
                    <a:pt x="407" y="85"/>
                  </a:cubicBezTo>
                  <a:cubicBezTo>
                    <a:pt x="406" y="84"/>
                    <a:pt x="404" y="84"/>
                    <a:pt x="402" y="84"/>
                  </a:cubicBezTo>
                  <a:cubicBezTo>
                    <a:pt x="376" y="78"/>
                    <a:pt x="353" y="82"/>
                    <a:pt x="337" y="106"/>
                  </a:cubicBezTo>
                  <a:cubicBezTo>
                    <a:pt x="336" y="108"/>
                    <a:pt x="335" y="110"/>
                    <a:pt x="333" y="109"/>
                  </a:cubicBezTo>
                  <a:cubicBezTo>
                    <a:pt x="331" y="109"/>
                    <a:pt x="330" y="107"/>
                    <a:pt x="330" y="105"/>
                  </a:cubicBezTo>
                  <a:cubicBezTo>
                    <a:pt x="329" y="101"/>
                    <a:pt x="329" y="97"/>
                    <a:pt x="328" y="94"/>
                  </a:cubicBezTo>
                  <a:cubicBezTo>
                    <a:pt x="325" y="85"/>
                    <a:pt x="318" y="82"/>
                    <a:pt x="303" y="84"/>
                  </a:cubicBezTo>
                  <a:cubicBezTo>
                    <a:pt x="297" y="84"/>
                    <a:pt x="295" y="86"/>
                    <a:pt x="295" y="92"/>
                  </a:cubicBezTo>
                  <a:cubicBezTo>
                    <a:pt x="296" y="120"/>
                    <a:pt x="295" y="148"/>
                    <a:pt x="295" y="176"/>
                  </a:cubicBezTo>
                  <a:cubicBezTo>
                    <a:pt x="296" y="176"/>
                    <a:pt x="296" y="176"/>
                    <a:pt x="296" y="176"/>
                  </a:cubicBezTo>
                  <a:close/>
                  <a:moveTo>
                    <a:pt x="946" y="179"/>
                  </a:moveTo>
                  <a:cubicBezTo>
                    <a:pt x="946" y="197"/>
                    <a:pt x="946" y="215"/>
                    <a:pt x="946" y="234"/>
                  </a:cubicBezTo>
                  <a:cubicBezTo>
                    <a:pt x="946" y="248"/>
                    <a:pt x="951" y="260"/>
                    <a:pt x="963" y="268"/>
                  </a:cubicBezTo>
                  <a:cubicBezTo>
                    <a:pt x="982" y="280"/>
                    <a:pt x="1011" y="277"/>
                    <a:pt x="1029" y="264"/>
                  </a:cubicBezTo>
                  <a:cubicBezTo>
                    <a:pt x="1036" y="259"/>
                    <a:pt x="1036" y="254"/>
                    <a:pt x="1032" y="248"/>
                  </a:cubicBezTo>
                  <a:cubicBezTo>
                    <a:pt x="1026" y="239"/>
                    <a:pt x="1020" y="238"/>
                    <a:pt x="1013" y="242"/>
                  </a:cubicBezTo>
                  <a:cubicBezTo>
                    <a:pt x="996" y="252"/>
                    <a:pt x="978" y="243"/>
                    <a:pt x="978" y="223"/>
                  </a:cubicBezTo>
                  <a:cubicBezTo>
                    <a:pt x="978" y="190"/>
                    <a:pt x="978" y="157"/>
                    <a:pt x="978" y="123"/>
                  </a:cubicBezTo>
                  <a:cubicBezTo>
                    <a:pt x="978" y="116"/>
                    <a:pt x="981" y="113"/>
                    <a:pt x="988" y="113"/>
                  </a:cubicBezTo>
                  <a:cubicBezTo>
                    <a:pt x="999" y="114"/>
                    <a:pt x="1011" y="113"/>
                    <a:pt x="1022" y="113"/>
                  </a:cubicBezTo>
                  <a:cubicBezTo>
                    <a:pt x="1028" y="113"/>
                    <a:pt x="1033" y="112"/>
                    <a:pt x="1033" y="104"/>
                  </a:cubicBezTo>
                  <a:cubicBezTo>
                    <a:pt x="1033" y="96"/>
                    <a:pt x="1032" y="90"/>
                    <a:pt x="1022" y="90"/>
                  </a:cubicBezTo>
                  <a:cubicBezTo>
                    <a:pt x="1011" y="90"/>
                    <a:pt x="1001" y="90"/>
                    <a:pt x="990" y="90"/>
                  </a:cubicBezTo>
                  <a:cubicBezTo>
                    <a:pt x="981" y="91"/>
                    <a:pt x="977" y="88"/>
                    <a:pt x="978" y="78"/>
                  </a:cubicBezTo>
                  <a:cubicBezTo>
                    <a:pt x="978" y="64"/>
                    <a:pt x="978" y="49"/>
                    <a:pt x="978" y="35"/>
                  </a:cubicBezTo>
                  <a:cubicBezTo>
                    <a:pt x="978" y="30"/>
                    <a:pt x="978" y="25"/>
                    <a:pt x="971" y="24"/>
                  </a:cubicBezTo>
                  <a:cubicBezTo>
                    <a:pt x="964" y="24"/>
                    <a:pt x="956" y="24"/>
                    <a:pt x="955" y="32"/>
                  </a:cubicBezTo>
                  <a:cubicBezTo>
                    <a:pt x="952" y="43"/>
                    <a:pt x="949" y="54"/>
                    <a:pt x="949" y="65"/>
                  </a:cubicBezTo>
                  <a:cubicBezTo>
                    <a:pt x="948" y="88"/>
                    <a:pt x="947" y="88"/>
                    <a:pt x="924" y="91"/>
                  </a:cubicBezTo>
                  <a:cubicBezTo>
                    <a:pt x="919" y="92"/>
                    <a:pt x="914" y="92"/>
                    <a:pt x="914" y="99"/>
                  </a:cubicBezTo>
                  <a:cubicBezTo>
                    <a:pt x="915" y="107"/>
                    <a:pt x="917" y="113"/>
                    <a:pt x="926" y="113"/>
                  </a:cubicBezTo>
                  <a:cubicBezTo>
                    <a:pt x="929" y="114"/>
                    <a:pt x="932" y="113"/>
                    <a:pt x="935" y="113"/>
                  </a:cubicBezTo>
                  <a:cubicBezTo>
                    <a:pt x="943" y="113"/>
                    <a:pt x="946" y="116"/>
                    <a:pt x="946" y="124"/>
                  </a:cubicBezTo>
                  <a:cubicBezTo>
                    <a:pt x="946" y="142"/>
                    <a:pt x="946" y="161"/>
                    <a:pt x="946" y="179"/>
                  </a:cubicBezTo>
                  <a:cubicBezTo>
                    <a:pt x="946" y="179"/>
                    <a:pt x="946" y="179"/>
                    <a:pt x="946" y="179"/>
                  </a:cubicBezTo>
                  <a:close/>
                </a:path>
              </a:pathLst>
            </a:custGeom>
            <a:solidFill>
              <a:srgbClr val="4C505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grpSp>
          <p:nvGrpSpPr>
            <p:cNvPr id="18" name="Group 4">
              <a:extLst>
                <a:ext uri="{FF2B5EF4-FFF2-40B4-BE49-F238E27FC236}">
                  <a16:creationId xmlns:a16="http://schemas.microsoft.com/office/drawing/2014/main" id="{57BD2C4C-DC67-B843-B26C-309622FC75F7}"/>
                </a:ext>
              </a:extLst>
            </p:cNvPr>
            <p:cNvGrpSpPr>
              <a:grpSpLocks noChangeAspect="1"/>
            </p:cNvGrpSpPr>
            <p:nvPr/>
          </p:nvGrpSpPr>
          <p:grpSpPr bwMode="gray">
            <a:xfrm>
              <a:off x="334963" y="296652"/>
              <a:ext cx="538094" cy="540000"/>
              <a:chOff x="2711" y="1027"/>
              <a:chExt cx="2258" cy="2266"/>
            </a:xfrm>
          </p:grpSpPr>
          <p:sp>
            <p:nvSpPr>
              <p:cNvPr id="19" name="AutoShape 3">
                <a:extLst>
                  <a:ext uri="{FF2B5EF4-FFF2-40B4-BE49-F238E27FC236}">
                    <a16:creationId xmlns:a16="http://schemas.microsoft.com/office/drawing/2014/main" id="{FE1DC41B-291E-574C-9F2C-874E70A40758}"/>
                  </a:ext>
                </a:extLst>
              </p:cNvPr>
              <p:cNvSpPr>
                <a:spLocks noChangeAspect="1" noChangeArrowheads="1" noTextEdit="1"/>
              </p:cNvSpPr>
              <p:nvPr/>
            </p:nvSpPr>
            <p:spPr bwMode="gray">
              <a:xfrm>
                <a:off x="2711" y="1027"/>
                <a:ext cx="2258" cy="22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sp>
            <p:nvSpPr>
              <p:cNvPr id="20" name="Freeform 5">
                <a:extLst>
                  <a:ext uri="{FF2B5EF4-FFF2-40B4-BE49-F238E27FC236}">
                    <a16:creationId xmlns:a16="http://schemas.microsoft.com/office/drawing/2014/main" id="{D4B633C8-F761-C54B-9BD2-EB59D49A2DBC}"/>
                  </a:ext>
                </a:extLst>
              </p:cNvPr>
              <p:cNvSpPr>
                <a:spLocks/>
              </p:cNvSpPr>
              <p:nvPr/>
            </p:nvSpPr>
            <p:spPr bwMode="gray">
              <a:xfrm>
                <a:off x="2709" y="1029"/>
                <a:ext cx="2260" cy="2262"/>
              </a:xfrm>
              <a:custGeom>
                <a:avLst/>
                <a:gdLst>
                  <a:gd name="T0" fmla="*/ 2260 w 2260"/>
                  <a:gd name="T1" fmla="*/ 0 h 2262"/>
                  <a:gd name="T2" fmla="*/ 1612 w 2260"/>
                  <a:gd name="T3" fmla="*/ 649 h 2262"/>
                  <a:gd name="T4" fmla="*/ 1612 w 2260"/>
                  <a:gd name="T5" fmla="*/ 649 h 2262"/>
                  <a:gd name="T6" fmla="*/ 2035 w 2260"/>
                  <a:gd name="T7" fmla="*/ 0 h 2262"/>
                  <a:gd name="T8" fmla="*/ 0 w 2260"/>
                  <a:gd name="T9" fmla="*/ 0 h 2262"/>
                  <a:gd name="T10" fmla="*/ 0 w 2260"/>
                  <a:gd name="T11" fmla="*/ 2262 h 2262"/>
                  <a:gd name="T12" fmla="*/ 2260 w 2260"/>
                  <a:gd name="T13" fmla="*/ 2262 h 2262"/>
                  <a:gd name="T14" fmla="*/ 2260 w 2260"/>
                  <a:gd name="T15" fmla="*/ 0 h 2262"/>
                  <a:gd name="T16" fmla="*/ 2260 w 2260"/>
                  <a:gd name="T17" fmla="*/ 0 h 2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0" h="2262">
                    <a:moveTo>
                      <a:pt x="2260" y="0"/>
                    </a:moveTo>
                    <a:lnTo>
                      <a:pt x="1612" y="649"/>
                    </a:lnTo>
                    <a:lnTo>
                      <a:pt x="1612" y="649"/>
                    </a:lnTo>
                    <a:lnTo>
                      <a:pt x="2035" y="0"/>
                    </a:lnTo>
                    <a:lnTo>
                      <a:pt x="0" y="0"/>
                    </a:lnTo>
                    <a:lnTo>
                      <a:pt x="0" y="2262"/>
                    </a:lnTo>
                    <a:lnTo>
                      <a:pt x="2260" y="2262"/>
                    </a:lnTo>
                    <a:lnTo>
                      <a:pt x="2260" y="0"/>
                    </a:lnTo>
                    <a:lnTo>
                      <a:pt x="2260" y="0"/>
                    </a:lnTo>
                    <a:close/>
                  </a:path>
                </a:pathLst>
              </a:custGeom>
              <a:solidFill>
                <a:srgbClr val="E55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sp>
            <p:nvSpPr>
              <p:cNvPr id="21" name="Freeform 6">
                <a:extLst>
                  <a:ext uri="{FF2B5EF4-FFF2-40B4-BE49-F238E27FC236}">
                    <a16:creationId xmlns:a16="http://schemas.microsoft.com/office/drawing/2014/main" id="{B16BAAE4-1A41-C843-9754-490F7A1E1270}"/>
                  </a:ext>
                </a:extLst>
              </p:cNvPr>
              <p:cNvSpPr>
                <a:spLocks noEditPoints="1"/>
              </p:cNvSpPr>
              <p:nvPr/>
            </p:nvSpPr>
            <p:spPr bwMode="gray">
              <a:xfrm>
                <a:off x="3623" y="1696"/>
                <a:ext cx="1167" cy="922"/>
              </a:xfrm>
              <a:custGeom>
                <a:avLst/>
                <a:gdLst>
                  <a:gd name="T0" fmla="*/ 411 w 580"/>
                  <a:gd name="T1" fmla="*/ 213 h 458"/>
                  <a:gd name="T2" fmla="*/ 570 w 580"/>
                  <a:gd name="T3" fmla="*/ 37 h 458"/>
                  <a:gd name="T4" fmla="*/ 580 w 580"/>
                  <a:gd name="T5" fmla="*/ 20 h 458"/>
                  <a:gd name="T6" fmla="*/ 545 w 580"/>
                  <a:gd name="T7" fmla="*/ 0 h 458"/>
                  <a:gd name="T8" fmla="*/ 519 w 580"/>
                  <a:gd name="T9" fmla="*/ 16 h 458"/>
                  <a:gd name="T10" fmla="*/ 344 w 580"/>
                  <a:gd name="T11" fmla="*/ 210 h 458"/>
                  <a:gd name="T12" fmla="*/ 334 w 580"/>
                  <a:gd name="T13" fmla="*/ 229 h 458"/>
                  <a:gd name="T14" fmla="*/ 344 w 580"/>
                  <a:gd name="T15" fmla="*/ 248 h 458"/>
                  <a:gd name="T16" fmla="*/ 519 w 580"/>
                  <a:gd name="T17" fmla="*/ 442 h 458"/>
                  <a:gd name="T18" fmla="*/ 545 w 580"/>
                  <a:gd name="T19" fmla="*/ 458 h 458"/>
                  <a:gd name="T20" fmla="*/ 580 w 580"/>
                  <a:gd name="T21" fmla="*/ 438 h 458"/>
                  <a:gd name="T22" fmla="*/ 570 w 580"/>
                  <a:gd name="T23" fmla="*/ 421 h 458"/>
                  <a:gd name="T24" fmla="*/ 411 w 580"/>
                  <a:gd name="T25" fmla="*/ 245 h 458"/>
                  <a:gd name="T26" fmla="*/ 399 w 580"/>
                  <a:gd name="T27" fmla="*/ 229 h 458"/>
                  <a:gd name="T28" fmla="*/ 411 w 580"/>
                  <a:gd name="T29" fmla="*/ 213 h 458"/>
                  <a:gd name="T30" fmla="*/ 252 w 580"/>
                  <a:gd name="T31" fmla="*/ 439 h 458"/>
                  <a:gd name="T32" fmla="*/ 281 w 580"/>
                  <a:gd name="T33" fmla="*/ 454 h 458"/>
                  <a:gd name="T34" fmla="*/ 309 w 580"/>
                  <a:gd name="T35" fmla="*/ 439 h 458"/>
                  <a:gd name="T36" fmla="*/ 309 w 580"/>
                  <a:gd name="T37" fmla="*/ 19 h 458"/>
                  <a:gd name="T38" fmla="*/ 281 w 580"/>
                  <a:gd name="T39" fmla="*/ 4 h 458"/>
                  <a:gd name="T40" fmla="*/ 252 w 580"/>
                  <a:gd name="T41" fmla="*/ 19 h 458"/>
                  <a:gd name="T42" fmla="*/ 252 w 580"/>
                  <a:gd name="T43" fmla="*/ 439 h 458"/>
                  <a:gd name="T44" fmla="*/ 0 w 580"/>
                  <a:gd name="T45" fmla="*/ 439 h 458"/>
                  <a:gd name="T46" fmla="*/ 28 w 580"/>
                  <a:gd name="T47" fmla="*/ 454 h 458"/>
                  <a:gd name="T48" fmla="*/ 56 w 580"/>
                  <a:gd name="T49" fmla="*/ 439 h 458"/>
                  <a:gd name="T50" fmla="*/ 56 w 580"/>
                  <a:gd name="T51" fmla="*/ 157 h 458"/>
                  <a:gd name="T52" fmla="*/ 165 w 580"/>
                  <a:gd name="T53" fmla="*/ 53 h 458"/>
                  <a:gd name="T54" fmla="*/ 180 w 580"/>
                  <a:gd name="T55" fmla="*/ 53 h 458"/>
                  <a:gd name="T56" fmla="*/ 196 w 580"/>
                  <a:gd name="T57" fmla="*/ 27 h 458"/>
                  <a:gd name="T58" fmla="*/ 154 w 580"/>
                  <a:gd name="T59" fmla="*/ 4 h 458"/>
                  <a:gd name="T60" fmla="*/ 0 w 580"/>
                  <a:gd name="T61" fmla="*/ 152 h 458"/>
                  <a:gd name="T62" fmla="*/ 0 w 580"/>
                  <a:gd name="T63" fmla="*/ 439 h 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80" h="458">
                    <a:moveTo>
                      <a:pt x="411" y="213"/>
                    </a:moveTo>
                    <a:cubicBezTo>
                      <a:pt x="570" y="37"/>
                      <a:pt x="570" y="37"/>
                      <a:pt x="570" y="37"/>
                    </a:cubicBezTo>
                    <a:cubicBezTo>
                      <a:pt x="576" y="30"/>
                      <a:pt x="580" y="25"/>
                      <a:pt x="580" y="20"/>
                    </a:cubicBezTo>
                    <a:cubicBezTo>
                      <a:pt x="580" y="10"/>
                      <a:pt x="559" y="0"/>
                      <a:pt x="545" y="0"/>
                    </a:cubicBezTo>
                    <a:cubicBezTo>
                      <a:pt x="535" y="0"/>
                      <a:pt x="526" y="8"/>
                      <a:pt x="519" y="16"/>
                    </a:cubicBezTo>
                    <a:cubicBezTo>
                      <a:pt x="344" y="210"/>
                      <a:pt x="344" y="210"/>
                      <a:pt x="344" y="210"/>
                    </a:cubicBezTo>
                    <a:cubicBezTo>
                      <a:pt x="336" y="219"/>
                      <a:pt x="334" y="224"/>
                      <a:pt x="334" y="229"/>
                    </a:cubicBezTo>
                    <a:cubicBezTo>
                      <a:pt x="334" y="234"/>
                      <a:pt x="336" y="239"/>
                      <a:pt x="344" y="248"/>
                    </a:cubicBezTo>
                    <a:cubicBezTo>
                      <a:pt x="519" y="442"/>
                      <a:pt x="519" y="442"/>
                      <a:pt x="519" y="442"/>
                    </a:cubicBezTo>
                    <a:cubicBezTo>
                      <a:pt x="526" y="450"/>
                      <a:pt x="535" y="458"/>
                      <a:pt x="545" y="458"/>
                    </a:cubicBezTo>
                    <a:cubicBezTo>
                      <a:pt x="559" y="458"/>
                      <a:pt x="580" y="448"/>
                      <a:pt x="580" y="438"/>
                    </a:cubicBezTo>
                    <a:cubicBezTo>
                      <a:pt x="580" y="433"/>
                      <a:pt x="576" y="428"/>
                      <a:pt x="570" y="421"/>
                    </a:cubicBezTo>
                    <a:cubicBezTo>
                      <a:pt x="411" y="245"/>
                      <a:pt x="411" y="245"/>
                      <a:pt x="411" y="245"/>
                    </a:cubicBezTo>
                    <a:cubicBezTo>
                      <a:pt x="403" y="236"/>
                      <a:pt x="399" y="232"/>
                      <a:pt x="399" y="229"/>
                    </a:cubicBezTo>
                    <a:cubicBezTo>
                      <a:pt x="399" y="226"/>
                      <a:pt x="403" y="222"/>
                      <a:pt x="411" y="213"/>
                    </a:cubicBezTo>
                    <a:moveTo>
                      <a:pt x="252" y="439"/>
                    </a:moveTo>
                    <a:cubicBezTo>
                      <a:pt x="252" y="449"/>
                      <a:pt x="261" y="454"/>
                      <a:pt x="281" y="454"/>
                    </a:cubicBezTo>
                    <a:cubicBezTo>
                      <a:pt x="300" y="454"/>
                      <a:pt x="309" y="449"/>
                      <a:pt x="309" y="439"/>
                    </a:cubicBezTo>
                    <a:cubicBezTo>
                      <a:pt x="309" y="19"/>
                      <a:pt x="309" y="19"/>
                      <a:pt x="309" y="19"/>
                    </a:cubicBezTo>
                    <a:cubicBezTo>
                      <a:pt x="309" y="9"/>
                      <a:pt x="300" y="4"/>
                      <a:pt x="281" y="4"/>
                    </a:cubicBezTo>
                    <a:cubicBezTo>
                      <a:pt x="261" y="4"/>
                      <a:pt x="252" y="9"/>
                      <a:pt x="252" y="19"/>
                    </a:cubicBezTo>
                    <a:lnTo>
                      <a:pt x="252" y="439"/>
                    </a:lnTo>
                    <a:close/>
                    <a:moveTo>
                      <a:pt x="0" y="439"/>
                    </a:moveTo>
                    <a:cubicBezTo>
                      <a:pt x="0" y="449"/>
                      <a:pt x="8" y="454"/>
                      <a:pt x="28" y="454"/>
                    </a:cubicBezTo>
                    <a:cubicBezTo>
                      <a:pt x="48" y="454"/>
                      <a:pt x="56" y="449"/>
                      <a:pt x="56" y="439"/>
                    </a:cubicBezTo>
                    <a:cubicBezTo>
                      <a:pt x="56" y="157"/>
                      <a:pt x="56" y="157"/>
                      <a:pt x="56" y="157"/>
                    </a:cubicBezTo>
                    <a:cubicBezTo>
                      <a:pt x="56" y="83"/>
                      <a:pt x="85" y="53"/>
                      <a:pt x="165" y="53"/>
                    </a:cubicBezTo>
                    <a:cubicBezTo>
                      <a:pt x="180" y="53"/>
                      <a:pt x="180" y="53"/>
                      <a:pt x="180" y="53"/>
                    </a:cubicBezTo>
                    <a:cubicBezTo>
                      <a:pt x="192" y="53"/>
                      <a:pt x="196" y="43"/>
                      <a:pt x="196" y="27"/>
                    </a:cubicBezTo>
                    <a:cubicBezTo>
                      <a:pt x="196" y="8"/>
                      <a:pt x="185" y="4"/>
                      <a:pt x="154" y="4"/>
                    </a:cubicBezTo>
                    <a:cubicBezTo>
                      <a:pt x="64" y="4"/>
                      <a:pt x="0" y="43"/>
                      <a:pt x="0" y="152"/>
                    </a:cubicBezTo>
                    <a:lnTo>
                      <a:pt x="0" y="43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sp>
            <p:nvSpPr>
              <p:cNvPr id="22" name="Freeform 7">
                <a:extLst>
                  <a:ext uri="{FF2B5EF4-FFF2-40B4-BE49-F238E27FC236}">
                    <a16:creationId xmlns:a16="http://schemas.microsoft.com/office/drawing/2014/main" id="{2F32DCBD-8628-F245-85CD-97686A20ECFD}"/>
                  </a:ext>
                </a:extLst>
              </p:cNvPr>
              <p:cNvSpPr>
                <a:spLocks/>
              </p:cNvSpPr>
              <p:nvPr/>
            </p:nvSpPr>
            <p:spPr bwMode="gray">
              <a:xfrm>
                <a:off x="2880" y="1704"/>
                <a:ext cx="618" cy="916"/>
              </a:xfrm>
              <a:custGeom>
                <a:avLst/>
                <a:gdLst>
                  <a:gd name="T0" fmla="*/ 307 w 307"/>
                  <a:gd name="T1" fmla="*/ 405 h 455"/>
                  <a:gd name="T2" fmla="*/ 307 w 307"/>
                  <a:gd name="T3" fmla="*/ 244 h 455"/>
                  <a:gd name="T4" fmla="*/ 279 w 307"/>
                  <a:gd name="T5" fmla="*/ 229 h 455"/>
                  <a:gd name="T6" fmla="*/ 250 w 307"/>
                  <a:gd name="T7" fmla="*/ 244 h 455"/>
                  <a:gd name="T8" fmla="*/ 250 w 307"/>
                  <a:gd name="T9" fmla="*/ 378 h 455"/>
                  <a:gd name="T10" fmla="*/ 199 w 307"/>
                  <a:gd name="T11" fmla="*/ 408 h 455"/>
                  <a:gd name="T12" fmla="*/ 61 w 307"/>
                  <a:gd name="T13" fmla="*/ 231 h 455"/>
                  <a:gd name="T14" fmla="*/ 238 w 307"/>
                  <a:gd name="T15" fmla="*/ 49 h 455"/>
                  <a:gd name="T16" fmla="*/ 270 w 307"/>
                  <a:gd name="T17" fmla="*/ 49 h 455"/>
                  <a:gd name="T18" fmla="*/ 286 w 307"/>
                  <a:gd name="T19" fmla="*/ 23 h 455"/>
                  <a:gd name="T20" fmla="*/ 244 w 307"/>
                  <a:gd name="T21" fmla="*/ 0 h 455"/>
                  <a:gd name="T22" fmla="*/ 231 w 307"/>
                  <a:gd name="T23" fmla="*/ 0 h 455"/>
                  <a:gd name="T24" fmla="*/ 0 w 307"/>
                  <a:gd name="T25" fmla="*/ 232 h 455"/>
                  <a:gd name="T26" fmla="*/ 198 w 307"/>
                  <a:gd name="T27" fmla="*/ 455 h 455"/>
                  <a:gd name="T28" fmla="*/ 307 w 307"/>
                  <a:gd name="T29" fmla="*/ 405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7" h="455">
                    <a:moveTo>
                      <a:pt x="307" y="405"/>
                    </a:moveTo>
                    <a:cubicBezTo>
                      <a:pt x="307" y="244"/>
                      <a:pt x="307" y="244"/>
                      <a:pt x="307" y="244"/>
                    </a:cubicBezTo>
                    <a:cubicBezTo>
                      <a:pt x="307" y="234"/>
                      <a:pt x="298" y="229"/>
                      <a:pt x="279" y="229"/>
                    </a:cubicBezTo>
                    <a:cubicBezTo>
                      <a:pt x="259" y="229"/>
                      <a:pt x="250" y="234"/>
                      <a:pt x="250" y="244"/>
                    </a:cubicBezTo>
                    <a:cubicBezTo>
                      <a:pt x="250" y="378"/>
                      <a:pt x="250" y="378"/>
                      <a:pt x="250" y="378"/>
                    </a:cubicBezTo>
                    <a:cubicBezTo>
                      <a:pt x="250" y="399"/>
                      <a:pt x="241" y="408"/>
                      <a:pt x="199" y="408"/>
                    </a:cubicBezTo>
                    <a:cubicBezTo>
                      <a:pt x="114" y="408"/>
                      <a:pt x="61" y="342"/>
                      <a:pt x="61" y="231"/>
                    </a:cubicBezTo>
                    <a:cubicBezTo>
                      <a:pt x="61" y="115"/>
                      <a:pt x="126" y="49"/>
                      <a:pt x="238" y="49"/>
                    </a:cubicBezTo>
                    <a:cubicBezTo>
                      <a:pt x="270" y="49"/>
                      <a:pt x="270" y="49"/>
                      <a:pt x="270" y="49"/>
                    </a:cubicBezTo>
                    <a:cubicBezTo>
                      <a:pt x="282" y="49"/>
                      <a:pt x="286" y="39"/>
                      <a:pt x="286" y="23"/>
                    </a:cubicBezTo>
                    <a:cubicBezTo>
                      <a:pt x="286" y="4"/>
                      <a:pt x="275" y="0"/>
                      <a:pt x="244" y="0"/>
                    </a:cubicBezTo>
                    <a:cubicBezTo>
                      <a:pt x="231" y="0"/>
                      <a:pt x="231" y="0"/>
                      <a:pt x="231" y="0"/>
                    </a:cubicBezTo>
                    <a:cubicBezTo>
                      <a:pt x="101" y="0"/>
                      <a:pt x="0" y="71"/>
                      <a:pt x="0" y="232"/>
                    </a:cubicBezTo>
                    <a:cubicBezTo>
                      <a:pt x="0" y="386"/>
                      <a:pt x="88" y="455"/>
                      <a:pt x="198" y="455"/>
                    </a:cubicBezTo>
                    <a:cubicBezTo>
                      <a:pt x="286" y="455"/>
                      <a:pt x="307" y="430"/>
                      <a:pt x="307" y="40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sp>
            <p:nvSpPr>
              <p:cNvPr id="23" name="Oval 8">
                <a:extLst>
                  <a:ext uri="{FF2B5EF4-FFF2-40B4-BE49-F238E27FC236}">
                    <a16:creationId xmlns:a16="http://schemas.microsoft.com/office/drawing/2014/main" id="{60D97C11-1A3B-5449-A48D-98A3E79B3810}"/>
                  </a:ext>
                </a:extLst>
              </p:cNvPr>
              <p:cNvSpPr>
                <a:spLocks noChangeArrowheads="1"/>
              </p:cNvSpPr>
              <p:nvPr/>
            </p:nvSpPr>
            <p:spPr bwMode="gray">
              <a:xfrm>
                <a:off x="3778" y="2099"/>
                <a:ext cx="122" cy="12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sp>
            <p:nvSpPr>
              <p:cNvPr id="24" name="Freeform 9">
                <a:extLst>
                  <a:ext uri="{FF2B5EF4-FFF2-40B4-BE49-F238E27FC236}">
                    <a16:creationId xmlns:a16="http://schemas.microsoft.com/office/drawing/2014/main" id="{5856770D-B8F0-244E-A05D-AED190086F10}"/>
                  </a:ext>
                </a:extLst>
              </p:cNvPr>
              <p:cNvSpPr>
                <a:spLocks noEditPoints="1"/>
              </p:cNvSpPr>
              <p:nvPr/>
            </p:nvSpPr>
            <p:spPr bwMode="gray">
              <a:xfrm>
                <a:off x="3623" y="1696"/>
                <a:ext cx="1167" cy="922"/>
              </a:xfrm>
              <a:custGeom>
                <a:avLst/>
                <a:gdLst>
                  <a:gd name="T0" fmla="*/ 411 w 580"/>
                  <a:gd name="T1" fmla="*/ 213 h 458"/>
                  <a:gd name="T2" fmla="*/ 570 w 580"/>
                  <a:gd name="T3" fmla="*/ 37 h 458"/>
                  <a:gd name="T4" fmla="*/ 580 w 580"/>
                  <a:gd name="T5" fmla="*/ 20 h 458"/>
                  <a:gd name="T6" fmla="*/ 545 w 580"/>
                  <a:gd name="T7" fmla="*/ 0 h 458"/>
                  <a:gd name="T8" fmla="*/ 519 w 580"/>
                  <a:gd name="T9" fmla="*/ 16 h 458"/>
                  <a:gd name="T10" fmla="*/ 344 w 580"/>
                  <a:gd name="T11" fmla="*/ 210 h 458"/>
                  <a:gd name="T12" fmla="*/ 334 w 580"/>
                  <a:gd name="T13" fmla="*/ 229 h 458"/>
                  <a:gd name="T14" fmla="*/ 344 w 580"/>
                  <a:gd name="T15" fmla="*/ 248 h 458"/>
                  <a:gd name="T16" fmla="*/ 519 w 580"/>
                  <a:gd name="T17" fmla="*/ 442 h 458"/>
                  <a:gd name="T18" fmla="*/ 545 w 580"/>
                  <a:gd name="T19" fmla="*/ 458 h 458"/>
                  <a:gd name="T20" fmla="*/ 580 w 580"/>
                  <a:gd name="T21" fmla="*/ 438 h 458"/>
                  <a:gd name="T22" fmla="*/ 570 w 580"/>
                  <a:gd name="T23" fmla="*/ 421 h 458"/>
                  <a:gd name="T24" fmla="*/ 411 w 580"/>
                  <a:gd name="T25" fmla="*/ 245 h 458"/>
                  <a:gd name="T26" fmla="*/ 399 w 580"/>
                  <a:gd name="T27" fmla="*/ 229 h 458"/>
                  <a:gd name="T28" fmla="*/ 411 w 580"/>
                  <a:gd name="T29" fmla="*/ 213 h 458"/>
                  <a:gd name="T30" fmla="*/ 252 w 580"/>
                  <a:gd name="T31" fmla="*/ 439 h 458"/>
                  <a:gd name="T32" fmla="*/ 281 w 580"/>
                  <a:gd name="T33" fmla="*/ 454 h 458"/>
                  <a:gd name="T34" fmla="*/ 309 w 580"/>
                  <a:gd name="T35" fmla="*/ 439 h 458"/>
                  <a:gd name="T36" fmla="*/ 309 w 580"/>
                  <a:gd name="T37" fmla="*/ 19 h 458"/>
                  <a:gd name="T38" fmla="*/ 281 w 580"/>
                  <a:gd name="T39" fmla="*/ 4 h 458"/>
                  <a:gd name="T40" fmla="*/ 252 w 580"/>
                  <a:gd name="T41" fmla="*/ 19 h 458"/>
                  <a:gd name="T42" fmla="*/ 252 w 580"/>
                  <a:gd name="T43" fmla="*/ 439 h 458"/>
                  <a:gd name="T44" fmla="*/ 0 w 580"/>
                  <a:gd name="T45" fmla="*/ 439 h 458"/>
                  <a:gd name="T46" fmla="*/ 28 w 580"/>
                  <a:gd name="T47" fmla="*/ 454 h 458"/>
                  <a:gd name="T48" fmla="*/ 56 w 580"/>
                  <a:gd name="T49" fmla="*/ 439 h 458"/>
                  <a:gd name="T50" fmla="*/ 56 w 580"/>
                  <a:gd name="T51" fmla="*/ 157 h 458"/>
                  <a:gd name="T52" fmla="*/ 165 w 580"/>
                  <a:gd name="T53" fmla="*/ 53 h 458"/>
                  <a:gd name="T54" fmla="*/ 180 w 580"/>
                  <a:gd name="T55" fmla="*/ 53 h 458"/>
                  <a:gd name="T56" fmla="*/ 196 w 580"/>
                  <a:gd name="T57" fmla="*/ 27 h 458"/>
                  <a:gd name="T58" fmla="*/ 154 w 580"/>
                  <a:gd name="T59" fmla="*/ 4 h 458"/>
                  <a:gd name="T60" fmla="*/ 0 w 580"/>
                  <a:gd name="T61" fmla="*/ 152 h 458"/>
                  <a:gd name="T62" fmla="*/ 0 w 580"/>
                  <a:gd name="T63" fmla="*/ 439 h 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80" h="458">
                    <a:moveTo>
                      <a:pt x="411" y="213"/>
                    </a:moveTo>
                    <a:cubicBezTo>
                      <a:pt x="570" y="37"/>
                      <a:pt x="570" y="37"/>
                      <a:pt x="570" y="37"/>
                    </a:cubicBezTo>
                    <a:cubicBezTo>
                      <a:pt x="576" y="30"/>
                      <a:pt x="580" y="25"/>
                      <a:pt x="580" y="20"/>
                    </a:cubicBezTo>
                    <a:cubicBezTo>
                      <a:pt x="580" y="10"/>
                      <a:pt x="559" y="0"/>
                      <a:pt x="545" y="0"/>
                    </a:cubicBezTo>
                    <a:cubicBezTo>
                      <a:pt x="535" y="0"/>
                      <a:pt x="526" y="8"/>
                      <a:pt x="519" y="16"/>
                    </a:cubicBezTo>
                    <a:cubicBezTo>
                      <a:pt x="344" y="210"/>
                      <a:pt x="344" y="210"/>
                      <a:pt x="344" y="210"/>
                    </a:cubicBezTo>
                    <a:cubicBezTo>
                      <a:pt x="336" y="219"/>
                      <a:pt x="334" y="224"/>
                      <a:pt x="334" y="229"/>
                    </a:cubicBezTo>
                    <a:cubicBezTo>
                      <a:pt x="334" y="234"/>
                      <a:pt x="336" y="239"/>
                      <a:pt x="344" y="248"/>
                    </a:cubicBezTo>
                    <a:cubicBezTo>
                      <a:pt x="519" y="442"/>
                      <a:pt x="519" y="442"/>
                      <a:pt x="519" y="442"/>
                    </a:cubicBezTo>
                    <a:cubicBezTo>
                      <a:pt x="526" y="450"/>
                      <a:pt x="535" y="458"/>
                      <a:pt x="545" y="458"/>
                    </a:cubicBezTo>
                    <a:cubicBezTo>
                      <a:pt x="559" y="458"/>
                      <a:pt x="580" y="448"/>
                      <a:pt x="580" y="438"/>
                    </a:cubicBezTo>
                    <a:cubicBezTo>
                      <a:pt x="580" y="433"/>
                      <a:pt x="576" y="428"/>
                      <a:pt x="570" y="421"/>
                    </a:cubicBezTo>
                    <a:cubicBezTo>
                      <a:pt x="411" y="245"/>
                      <a:pt x="411" y="245"/>
                      <a:pt x="411" y="245"/>
                    </a:cubicBezTo>
                    <a:cubicBezTo>
                      <a:pt x="403" y="236"/>
                      <a:pt x="399" y="232"/>
                      <a:pt x="399" y="229"/>
                    </a:cubicBezTo>
                    <a:cubicBezTo>
                      <a:pt x="399" y="226"/>
                      <a:pt x="403" y="222"/>
                      <a:pt x="411" y="213"/>
                    </a:cubicBezTo>
                    <a:moveTo>
                      <a:pt x="252" y="439"/>
                    </a:moveTo>
                    <a:cubicBezTo>
                      <a:pt x="252" y="449"/>
                      <a:pt x="261" y="454"/>
                      <a:pt x="281" y="454"/>
                    </a:cubicBezTo>
                    <a:cubicBezTo>
                      <a:pt x="300" y="454"/>
                      <a:pt x="309" y="449"/>
                      <a:pt x="309" y="439"/>
                    </a:cubicBezTo>
                    <a:cubicBezTo>
                      <a:pt x="309" y="19"/>
                      <a:pt x="309" y="19"/>
                      <a:pt x="309" y="19"/>
                    </a:cubicBezTo>
                    <a:cubicBezTo>
                      <a:pt x="309" y="9"/>
                      <a:pt x="300" y="4"/>
                      <a:pt x="281" y="4"/>
                    </a:cubicBezTo>
                    <a:cubicBezTo>
                      <a:pt x="261" y="4"/>
                      <a:pt x="252" y="9"/>
                      <a:pt x="252" y="19"/>
                    </a:cubicBezTo>
                    <a:lnTo>
                      <a:pt x="252" y="439"/>
                    </a:lnTo>
                    <a:close/>
                    <a:moveTo>
                      <a:pt x="0" y="439"/>
                    </a:moveTo>
                    <a:cubicBezTo>
                      <a:pt x="0" y="449"/>
                      <a:pt x="8" y="454"/>
                      <a:pt x="28" y="454"/>
                    </a:cubicBezTo>
                    <a:cubicBezTo>
                      <a:pt x="48" y="454"/>
                      <a:pt x="56" y="449"/>
                      <a:pt x="56" y="439"/>
                    </a:cubicBezTo>
                    <a:cubicBezTo>
                      <a:pt x="56" y="157"/>
                      <a:pt x="56" y="157"/>
                      <a:pt x="56" y="157"/>
                    </a:cubicBezTo>
                    <a:cubicBezTo>
                      <a:pt x="56" y="83"/>
                      <a:pt x="85" y="53"/>
                      <a:pt x="165" y="53"/>
                    </a:cubicBezTo>
                    <a:cubicBezTo>
                      <a:pt x="180" y="53"/>
                      <a:pt x="180" y="53"/>
                      <a:pt x="180" y="53"/>
                    </a:cubicBezTo>
                    <a:cubicBezTo>
                      <a:pt x="192" y="53"/>
                      <a:pt x="196" y="43"/>
                      <a:pt x="196" y="27"/>
                    </a:cubicBezTo>
                    <a:cubicBezTo>
                      <a:pt x="196" y="8"/>
                      <a:pt x="185" y="4"/>
                      <a:pt x="154" y="4"/>
                    </a:cubicBezTo>
                    <a:cubicBezTo>
                      <a:pt x="64" y="4"/>
                      <a:pt x="0" y="43"/>
                      <a:pt x="0" y="152"/>
                    </a:cubicBezTo>
                    <a:lnTo>
                      <a:pt x="0" y="43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sp>
            <p:nvSpPr>
              <p:cNvPr id="25" name="Freeform 10">
                <a:extLst>
                  <a:ext uri="{FF2B5EF4-FFF2-40B4-BE49-F238E27FC236}">
                    <a16:creationId xmlns:a16="http://schemas.microsoft.com/office/drawing/2014/main" id="{2B91B16B-BC11-E547-8FAC-B9B8D18EA449}"/>
                  </a:ext>
                </a:extLst>
              </p:cNvPr>
              <p:cNvSpPr>
                <a:spLocks/>
              </p:cNvSpPr>
              <p:nvPr/>
            </p:nvSpPr>
            <p:spPr bwMode="gray">
              <a:xfrm>
                <a:off x="2880" y="1704"/>
                <a:ext cx="618" cy="916"/>
              </a:xfrm>
              <a:custGeom>
                <a:avLst/>
                <a:gdLst>
                  <a:gd name="T0" fmla="*/ 307 w 307"/>
                  <a:gd name="T1" fmla="*/ 405 h 455"/>
                  <a:gd name="T2" fmla="*/ 307 w 307"/>
                  <a:gd name="T3" fmla="*/ 244 h 455"/>
                  <a:gd name="T4" fmla="*/ 279 w 307"/>
                  <a:gd name="T5" fmla="*/ 229 h 455"/>
                  <a:gd name="T6" fmla="*/ 250 w 307"/>
                  <a:gd name="T7" fmla="*/ 244 h 455"/>
                  <a:gd name="T8" fmla="*/ 250 w 307"/>
                  <a:gd name="T9" fmla="*/ 378 h 455"/>
                  <a:gd name="T10" fmla="*/ 199 w 307"/>
                  <a:gd name="T11" fmla="*/ 408 h 455"/>
                  <a:gd name="T12" fmla="*/ 61 w 307"/>
                  <a:gd name="T13" fmla="*/ 231 h 455"/>
                  <a:gd name="T14" fmla="*/ 238 w 307"/>
                  <a:gd name="T15" fmla="*/ 49 h 455"/>
                  <a:gd name="T16" fmla="*/ 270 w 307"/>
                  <a:gd name="T17" fmla="*/ 49 h 455"/>
                  <a:gd name="T18" fmla="*/ 286 w 307"/>
                  <a:gd name="T19" fmla="*/ 23 h 455"/>
                  <a:gd name="T20" fmla="*/ 244 w 307"/>
                  <a:gd name="T21" fmla="*/ 0 h 455"/>
                  <a:gd name="T22" fmla="*/ 231 w 307"/>
                  <a:gd name="T23" fmla="*/ 0 h 455"/>
                  <a:gd name="T24" fmla="*/ 0 w 307"/>
                  <a:gd name="T25" fmla="*/ 232 h 455"/>
                  <a:gd name="T26" fmla="*/ 198 w 307"/>
                  <a:gd name="T27" fmla="*/ 455 h 455"/>
                  <a:gd name="T28" fmla="*/ 307 w 307"/>
                  <a:gd name="T29" fmla="*/ 405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7" h="455">
                    <a:moveTo>
                      <a:pt x="307" y="405"/>
                    </a:moveTo>
                    <a:cubicBezTo>
                      <a:pt x="307" y="244"/>
                      <a:pt x="307" y="244"/>
                      <a:pt x="307" y="244"/>
                    </a:cubicBezTo>
                    <a:cubicBezTo>
                      <a:pt x="307" y="234"/>
                      <a:pt x="298" y="229"/>
                      <a:pt x="279" y="229"/>
                    </a:cubicBezTo>
                    <a:cubicBezTo>
                      <a:pt x="259" y="229"/>
                      <a:pt x="250" y="234"/>
                      <a:pt x="250" y="244"/>
                    </a:cubicBezTo>
                    <a:cubicBezTo>
                      <a:pt x="250" y="378"/>
                      <a:pt x="250" y="378"/>
                      <a:pt x="250" y="378"/>
                    </a:cubicBezTo>
                    <a:cubicBezTo>
                      <a:pt x="250" y="399"/>
                      <a:pt x="241" y="408"/>
                      <a:pt x="199" y="408"/>
                    </a:cubicBezTo>
                    <a:cubicBezTo>
                      <a:pt x="114" y="408"/>
                      <a:pt x="61" y="342"/>
                      <a:pt x="61" y="231"/>
                    </a:cubicBezTo>
                    <a:cubicBezTo>
                      <a:pt x="61" y="115"/>
                      <a:pt x="126" y="49"/>
                      <a:pt x="238" y="49"/>
                    </a:cubicBezTo>
                    <a:cubicBezTo>
                      <a:pt x="270" y="49"/>
                      <a:pt x="270" y="49"/>
                      <a:pt x="270" y="49"/>
                    </a:cubicBezTo>
                    <a:cubicBezTo>
                      <a:pt x="282" y="49"/>
                      <a:pt x="286" y="39"/>
                      <a:pt x="286" y="23"/>
                    </a:cubicBezTo>
                    <a:cubicBezTo>
                      <a:pt x="286" y="4"/>
                      <a:pt x="275" y="0"/>
                      <a:pt x="244" y="0"/>
                    </a:cubicBezTo>
                    <a:cubicBezTo>
                      <a:pt x="231" y="0"/>
                      <a:pt x="231" y="0"/>
                      <a:pt x="231" y="0"/>
                    </a:cubicBezTo>
                    <a:cubicBezTo>
                      <a:pt x="101" y="0"/>
                      <a:pt x="0" y="71"/>
                      <a:pt x="0" y="232"/>
                    </a:cubicBezTo>
                    <a:cubicBezTo>
                      <a:pt x="0" y="386"/>
                      <a:pt x="88" y="455"/>
                      <a:pt x="198" y="455"/>
                    </a:cubicBezTo>
                    <a:cubicBezTo>
                      <a:pt x="286" y="455"/>
                      <a:pt x="307" y="430"/>
                      <a:pt x="307" y="40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sp>
            <p:nvSpPr>
              <p:cNvPr id="26" name="Oval 11">
                <a:extLst>
                  <a:ext uri="{FF2B5EF4-FFF2-40B4-BE49-F238E27FC236}">
                    <a16:creationId xmlns:a16="http://schemas.microsoft.com/office/drawing/2014/main" id="{14F8C3C8-4888-7646-B9B4-64EB46A1DA23}"/>
                  </a:ext>
                </a:extLst>
              </p:cNvPr>
              <p:cNvSpPr>
                <a:spLocks noChangeArrowheads="1"/>
              </p:cNvSpPr>
              <p:nvPr/>
            </p:nvSpPr>
            <p:spPr bwMode="gray">
              <a:xfrm>
                <a:off x="3778" y="2099"/>
                <a:ext cx="122" cy="12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sp>
            <p:nvSpPr>
              <p:cNvPr id="27" name="Freeform 12">
                <a:extLst>
                  <a:ext uri="{FF2B5EF4-FFF2-40B4-BE49-F238E27FC236}">
                    <a16:creationId xmlns:a16="http://schemas.microsoft.com/office/drawing/2014/main" id="{D79D01D1-4E3E-F34B-97D7-2D387E68746E}"/>
                  </a:ext>
                </a:extLst>
              </p:cNvPr>
              <p:cNvSpPr>
                <a:spLocks/>
              </p:cNvSpPr>
              <p:nvPr/>
            </p:nvSpPr>
            <p:spPr bwMode="gray">
              <a:xfrm>
                <a:off x="4321" y="1029"/>
                <a:ext cx="648" cy="649"/>
              </a:xfrm>
              <a:custGeom>
                <a:avLst/>
                <a:gdLst>
                  <a:gd name="T0" fmla="*/ 0 w 648"/>
                  <a:gd name="T1" fmla="*/ 649 h 649"/>
                  <a:gd name="T2" fmla="*/ 2 w 648"/>
                  <a:gd name="T3" fmla="*/ 649 h 649"/>
                  <a:gd name="T4" fmla="*/ 648 w 648"/>
                  <a:gd name="T5" fmla="*/ 0 h 649"/>
                  <a:gd name="T6" fmla="*/ 423 w 648"/>
                  <a:gd name="T7" fmla="*/ 0 h 649"/>
                  <a:gd name="T8" fmla="*/ 0 w 648"/>
                  <a:gd name="T9" fmla="*/ 649 h 649"/>
                </a:gdLst>
                <a:ahLst/>
                <a:cxnLst>
                  <a:cxn ang="0">
                    <a:pos x="T0" y="T1"/>
                  </a:cxn>
                  <a:cxn ang="0">
                    <a:pos x="T2" y="T3"/>
                  </a:cxn>
                  <a:cxn ang="0">
                    <a:pos x="T4" y="T5"/>
                  </a:cxn>
                  <a:cxn ang="0">
                    <a:pos x="T6" y="T7"/>
                  </a:cxn>
                  <a:cxn ang="0">
                    <a:pos x="T8" y="T9"/>
                  </a:cxn>
                </a:cxnLst>
                <a:rect l="0" t="0" r="r" b="b"/>
                <a:pathLst>
                  <a:path w="648" h="649">
                    <a:moveTo>
                      <a:pt x="0" y="649"/>
                    </a:moveTo>
                    <a:lnTo>
                      <a:pt x="2" y="649"/>
                    </a:lnTo>
                    <a:lnTo>
                      <a:pt x="648" y="0"/>
                    </a:lnTo>
                    <a:lnTo>
                      <a:pt x="423" y="0"/>
                    </a:lnTo>
                    <a:lnTo>
                      <a:pt x="0" y="64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sp>
            <p:nvSpPr>
              <p:cNvPr id="28" name="Freeform 13">
                <a:extLst>
                  <a:ext uri="{FF2B5EF4-FFF2-40B4-BE49-F238E27FC236}">
                    <a16:creationId xmlns:a16="http://schemas.microsoft.com/office/drawing/2014/main" id="{46549898-6C52-B147-A8F6-A73FDBE6163B}"/>
                  </a:ext>
                </a:extLst>
              </p:cNvPr>
              <p:cNvSpPr>
                <a:spLocks/>
              </p:cNvSpPr>
              <p:nvPr/>
            </p:nvSpPr>
            <p:spPr bwMode="gray">
              <a:xfrm>
                <a:off x="4321" y="1029"/>
                <a:ext cx="648" cy="649"/>
              </a:xfrm>
              <a:custGeom>
                <a:avLst/>
                <a:gdLst>
                  <a:gd name="T0" fmla="*/ 0 w 648"/>
                  <a:gd name="T1" fmla="*/ 649 h 649"/>
                  <a:gd name="T2" fmla="*/ 2 w 648"/>
                  <a:gd name="T3" fmla="*/ 649 h 649"/>
                  <a:gd name="T4" fmla="*/ 648 w 648"/>
                  <a:gd name="T5" fmla="*/ 0 h 649"/>
                  <a:gd name="T6" fmla="*/ 423 w 648"/>
                  <a:gd name="T7" fmla="*/ 0 h 649"/>
                  <a:gd name="T8" fmla="*/ 0 w 648"/>
                  <a:gd name="T9" fmla="*/ 649 h 649"/>
                </a:gdLst>
                <a:ahLst/>
                <a:cxnLst>
                  <a:cxn ang="0">
                    <a:pos x="T0" y="T1"/>
                  </a:cxn>
                  <a:cxn ang="0">
                    <a:pos x="T2" y="T3"/>
                  </a:cxn>
                  <a:cxn ang="0">
                    <a:pos x="T4" y="T5"/>
                  </a:cxn>
                  <a:cxn ang="0">
                    <a:pos x="T6" y="T7"/>
                  </a:cxn>
                  <a:cxn ang="0">
                    <a:pos x="T8" y="T9"/>
                  </a:cxn>
                </a:cxnLst>
                <a:rect l="0" t="0" r="r" b="b"/>
                <a:pathLst>
                  <a:path w="648" h="649">
                    <a:moveTo>
                      <a:pt x="0" y="649"/>
                    </a:moveTo>
                    <a:lnTo>
                      <a:pt x="2" y="649"/>
                    </a:lnTo>
                    <a:lnTo>
                      <a:pt x="648" y="0"/>
                    </a:lnTo>
                    <a:lnTo>
                      <a:pt x="423" y="0"/>
                    </a:lnTo>
                    <a:lnTo>
                      <a:pt x="0" y="64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grpSp>
      </p:grpSp>
      <p:sp>
        <p:nvSpPr>
          <p:cNvPr id="7" name="Date Placeholder 6"/>
          <p:cNvSpPr>
            <a:spLocks noGrp="1"/>
          </p:cNvSpPr>
          <p:nvPr>
            <p:ph type="dt" sz="half" idx="10"/>
          </p:nvPr>
        </p:nvSpPr>
        <p:spPr>
          <a:xfrm>
            <a:off x="0" y="0"/>
            <a:ext cx="0" cy="0"/>
          </a:xfrm>
          <a:prstGeom prst="rect">
            <a:avLst/>
          </a:prstGeom>
        </p:spPr>
        <p:txBody>
          <a:bodyPr/>
          <a:lstStyle>
            <a:lvl1pPr>
              <a:defRPr sz="100">
                <a:noFill/>
              </a:defRPr>
            </a:lvl1pPr>
          </a:lstStyle>
          <a:p>
            <a:fld id="{3EA3BA3C-82AC-45BA-9659-DD8E28BB5C16}" type="datetime5">
              <a:rPr lang="en-US" smtClean="0"/>
              <a:t>26-Jun-20</a:t>
            </a:fld>
            <a:endParaRPr lang="en-US" dirty="0"/>
          </a:p>
        </p:txBody>
      </p:sp>
      <p:sp>
        <p:nvSpPr>
          <p:cNvPr id="8" name="Footer Placeholder 7"/>
          <p:cNvSpPr>
            <a:spLocks noGrp="1"/>
          </p:cNvSpPr>
          <p:nvPr>
            <p:ph type="ftr" sz="quarter" idx="11"/>
          </p:nvPr>
        </p:nvSpPr>
        <p:spPr>
          <a:xfrm>
            <a:off x="0" y="0"/>
            <a:ext cx="0" cy="0"/>
          </a:xfrm>
          <a:prstGeom prst="rect">
            <a:avLst/>
          </a:prstGeom>
        </p:spPr>
        <p:txBody>
          <a:bodyPr/>
          <a:lstStyle>
            <a:lvl1pPr marL="0" indent="0">
              <a:buNone/>
              <a:defRPr sz="100">
                <a:noFill/>
              </a:defRPr>
            </a:lvl1pPr>
          </a:lstStyle>
          <a:p>
            <a:r>
              <a:rPr lang="en-US"/>
              <a:t>Title of presentation (Insert / Header &amp; Footer / Apply to All)</a:t>
            </a:r>
            <a:endParaRPr lang="en-US" dirty="0"/>
          </a:p>
        </p:txBody>
      </p:sp>
      <p:sp>
        <p:nvSpPr>
          <p:cNvPr id="9" name="Slide Number Placeholder 8"/>
          <p:cNvSpPr>
            <a:spLocks noGrp="1"/>
          </p:cNvSpPr>
          <p:nvPr>
            <p:ph type="sldNum" sz="quarter" idx="12"/>
          </p:nvPr>
        </p:nvSpPr>
        <p:spPr>
          <a:xfrm>
            <a:off x="0" y="0"/>
            <a:ext cx="0" cy="0"/>
          </a:xfrm>
          <a:prstGeom prst="rect">
            <a:avLst/>
          </a:prstGeom>
        </p:spPr>
        <p:txBody>
          <a:bodyPr/>
          <a:lstStyle>
            <a:lvl1pPr>
              <a:defRPr sz="100">
                <a:noFill/>
              </a:defRPr>
            </a:lvl1pPr>
          </a:lstStyle>
          <a:p>
            <a:fld id="{8E3B25F7-8D1F-44B5-B485-EE3C438CFD7B}" type="slidenum">
              <a:rPr lang="en-US" smtClean="0"/>
              <a:pPr/>
              <a:t>‹#›</a:t>
            </a:fld>
            <a:endParaRPr lang="en-US"/>
          </a:p>
        </p:txBody>
      </p:sp>
      <p:sp>
        <p:nvSpPr>
          <p:cNvPr id="2" name="Title 1"/>
          <p:cNvSpPr>
            <a:spLocks noGrp="1"/>
          </p:cNvSpPr>
          <p:nvPr>
            <p:ph type="ctrTitle" hasCustomPrompt="1"/>
          </p:nvPr>
        </p:nvSpPr>
        <p:spPr>
          <a:xfrm>
            <a:off x="417600" y="1628775"/>
            <a:ext cx="3816000" cy="2236264"/>
          </a:xfrm>
        </p:spPr>
        <p:txBody>
          <a:bodyPr anchor="b"/>
          <a:lstStyle>
            <a:lvl1pPr algn="l">
              <a:defRPr sz="3600" baseline="0"/>
            </a:lvl1pPr>
          </a:lstStyle>
          <a:p>
            <a:r>
              <a:rPr lang="en-US" dirty="0"/>
              <a:t>Click to add presentation title</a:t>
            </a:r>
          </a:p>
        </p:txBody>
      </p:sp>
      <p:sp>
        <p:nvSpPr>
          <p:cNvPr id="3" name="Subtitle 2"/>
          <p:cNvSpPr>
            <a:spLocks noGrp="1"/>
          </p:cNvSpPr>
          <p:nvPr>
            <p:ph type="subTitle" idx="1" hasCustomPrompt="1"/>
          </p:nvPr>
        </p:nvSpPr>
        <p:spPr>
          <a:xfrm>
            <a:off x="417600" y="4094163"/>
            <a:ext cx="3816000" cy="1080000"/>
          </a:xfrm>
        </p:spPr>
        <p:txBody>
          <a:bodyPr/>
          <a:lstStyle>
            <a:lvl1pPr marL="0" indent="0" algn="l">
              <a:spcBef>
                <a:spcPts val="0"/>
              </a:spcBef>
              <a:buNone/>
              <a:defRPr sz="1800" b="1"/>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31" name="Text Placeholder 30"/>
          <p:cNvSpPr>
            <a:spLocks noGrp="1"/>
          </p:cNvSpPr>
          <p:nvPr>
            <p:ph type="body" sz="quarter" idx="14" hasCustomPrompt="1"/>
          </p:nvPr>
        </p:nvSpPr>
        <p:spPr>
          <a:xfrm>
            <a:off x="417600" y="5393268"/>
            <a:ext cx="3816000" cy="296332"/>
          </a:xfrm>
        </p:spPr>
        <p:txBody>
          <a:bodyPr wrap="none"/>
          <a:lstStyle>
            <a:lvl1pPr marL="0" indent="0">
              <a:spcBef>
                <a:spcPts val="0"/>
              </a:spcBef>
              <a:buNone/>
              <a:defRPr sz="1200"/>
            </a:lvl1pPr>
            <a:lvl2pPr marL="0" indent="0">
              <a:buNone/>
              <a:defRPr sz="1200"/>
            </a:lvl2pPr>
            <a:lvl3pPr marL="0" indent="0">
              <a:buNone/>
              <a:defRPr sz="1200"/>
            </a:lvl3pPr>
            <a:lvl4pPr marL="0">
              <a:buNone/>
              <a:defRPr sz="1200"/>
            </a:lvl4pPr>
            <a:lvl5pPr marL="0" indent="0">
              <a:buNone/>
              <a:defRPr sz="1200"/>
            </a:lvl5pPr>
          </a:lstStyle>
          <a:p>
            <a:pPr lvl="0"/>
            <a:r>
              <a:rPr lang="en-US" dirty="0"/>
              <a:t>Name</a:t>
            </a:r>
          </a:p>
        </p:txBody>
      </p:sp>
      <p:sp>
        <p:nvSpPr>
          <p:cNvPr id="34" name="Text Placeholder 30"/>
          <p:cNvSpPr>
            <a:spLocks noGrp="1"/>
          </p:cNvSpPr>
          <p:nvPr>
            <p:ph type="body" sz="quarter" idx="15" hasCustomPrompt="1"/>
          </p:nvPr>
        </p:nvSpPr>
        <p:spPr>
          <a:xfrm>
            <a:off x="417600" y="5691446"/>
            <a:ext cx="3816000" cy="296332"/>
          </a:xfrm>
        </p:spPr>
        <p:txBody>
          <a:bodyPr wrap="none"/>
          <a:lstStyle>
            <a:lvl1pPr marL="0" indent="0">
              <a:spcBef>
                <a:spcPts val="0"/>
              </a:spcBef>
              <a:buNone/>
              <a:defRPr sz="1200"/>
            </a:lvl1pPr>
            <a:lvl2pPr marL="0" indent="0">
              <a:buNone/>
              <a:defRPr sz="1200"/>
            </a:lvl2pPr>
            <a:lvl3pPr marL="0" indent="0">
              <a:buNone/>
              <a:defRPr sz="1200"/>
            </a:lvl3pPr>
            <a:lvl4pPr marL="0">
              <a:buNone/>
              <a:defRPr sz="1200"/>
            </a:lvl4pPr>
            <a:lvl5pPr marL="0" indent="0">
              <a:buNone/>
              <a:defRPr sz="1200"/>
            </a:lvl5pPr>
          </a:lstStyle>
          <a:p>
            <a:pPr lvl="0"/>
            <a:r>
              <a:rPr lang="en-US" dirty="0"/>
              <a:t>Department</a:t>
            </a:r>
          </a:p>
        </p:txBody>
      </p:sp>
    </p:spTree>
    <p:extLst>
      <p:ext uri="{BB962C8B-B14F-4D97-AF65-F5344CB8AC3E}">
        <p14:creationId xmlns:p14="http://schemas.microsoft.com/office/powerpoint/2010/main" val="3215905695"/>
      </p:ext>
    </p:extLst>
  </p:cSld>
  <p:clrMapOvr>
    <a:masterClrMapping/>
  </p:clrMapOvr>
</p:sldLayout>
</file>

<file path=ppt/slideLayouts/slideLayout508.xml><?xml version="1.0" encoding="utf-8"?>
<p:sldLayout xmlns:a="http://schemas.openxmlformats.org/drawingml/2006/main" xmlns:r="http://schemas.openxmlformats.org/officeDocument/2006/relationships" xmlns:p="http://schemas.openxmlformats.org/presentationml/2006/main" showMasterSp="0" preserve="1">
  <p:cSld name="Title 2">
    <p:spTree>
      <p:nvGrpSpPr>
        <p:cNvPr id="1" name=""/>
        <p:cNvGrpSpPr/>
        <p:nvPr/>
      </p:nvGrpSpPr>
      <p:grpSpPr>
        <a:xfrm>
          <a:off x="0" y="0"/>
          <a:ext cx="0" cy="0"/>
          <a:chOff x="0" y="0"/>
          <a:chExt cx="0" cy="0"/>
        </a:xfrm>
      </p:grpSpPr>
      <p:pic>
        <p:nvPicPr>
          <p:cNvPr id="29" name="picture">
            <a:extLst>
              <a:ext uri="{FF2B5EF4-FFF2-40B4-BE49-F238E27FC236}">
                <a16:creationId xmlns:a16="http://schemas.microsoft.com/office/drawing/2014/main" id="{8BF907F5-A9CD-2740-AF54-6BACB62334AE}"/>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2620212" y="-8808"/>
            <a:ext cx="9697299" cy="6866807"/>
          </a:xfrm>
          <a:prstGeom prst="rect">
            <a:avLst/>
          </a:prstGeom>
        </p:spPr>
      </p:pic>
      <p:sp>
        <p:nvSpPr>
          <p:cNvPr id="32" name="shpPicture"/>
          <p:cNvSpPr/>
          <p:nvPr/>
        </p:nvSpPr>
        <p:spPr>
          <a:xfrm>
            <a:off x="1" y="0"/>
            <a:ext cx="4112145" cy="6858000"/>
          </a:xfrm>
          <a:custGeom>
            <a:avLst/>
            <a:gdLst>
              <a:gd name="connsiteX0" fmla="*/ 0 w 4112145"/>
              <a:gd name="connsiteY0" fmla="*/ 0 h 6858000"/>
              <a:gd name="connsiteX1" fmla="*/ 2588964 w 4112145"/>
              <a:gd name="connsiteY1" fmla="*/ 0 h 6858000"/>
              <a:gd name="connsiteX2" fmla="*/ 4112145 w 4112145"/>
              <a:gd name="connsiteY2" fmla="*/ 3083531 h 6858000"/>
              <a:gd name="connsiteX3" fmla="*/ 2697661 w 4112145"/>
              <a:gd name="connsiteY3" fmla="*/ 6858000 h 6858000"/>
              <a:gd name="connsiteX4" fmla="*/ 0 w 4112145"/>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12145" h="6858000">
                <a:moveTo>
                  <a:pt x="0" y="0"/>
                </a:moveTo>
                <a:lnTo>
                  <a:pt x="2588964" y="0"/>
                </a:lnTo>
                <a:lnTo>
                  <a:pt x="4112145" y="3083531"/>
                </a:lnTo>
                <a:lnTo>
                  <a:pt x="2697661"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US" sz="1600" dirty="0"/>
          </a:p>
        </p:txBody>
      </p:sp>
      <p:grpSp>
        <p:nvGrpSpPr>
          <p:cNvPr id="14" name="logo">
            <a:extLst>
              <a:ext uri="{FF2B5EF4-FFF2-40B4-BE49-F238E27FC236}">
                <a16:creationId xmlns:a16="http://schemas.microsoft.com/office/drawing/2014/main" id="{18C26D95-70F8-8A4D-9F18-DCCB92522AF8}"/>
              </a:ext>
            </a:extLst>
          </p:cNvPr>
          <p:cNvGrpSpPr/>
          <p:nvPr/>
        </p:nvGrpSpPr>
        <p:grpSpPr bwMode="gray">
          <a:xfrm>
            <a:off x="417363" y="407485"/>
            <a:ext cx="1518585" cy="646507"/>
            <a:chOff x="334963" y="296652"/>
            <a:chExt cx="1268411" cy="540000"/>
          </a:xfrm>
        </p:grpSpPr>
        <p:sp>
          <p:nvSpPr>
            <p:cNvPr id="17" name="Freeform 6">
              <a:extLst>
                <a:ext uri="{FF2B5EF4-FFF2-40B4-BE49-F238E27FC236}">
                  <a16:creationId xmlns:a16="http://schemas.microsoft.com/office/drawing/2014/main" id="{08737AD0-E375-E445-97E6-CD2E2DF60620}"/>
                </a:ext>
              </a:extLst>
            </p:cNvPr>
            <p:cNvSpPr>
              <a:spLocks noEditPoints="1"/>
            </p:cNvSpPr>
            <p:nvPr/>
          </p:nvSpPr>
          <p:spPr bwMode="gray">
            <a:xfrm>
              <a:off x="982662" y="360462"/>
              <a:ext cx="620712" cy="431800"/>
            </a:xfrm>
            <a:custGeom>
              <a:avLst/>
              <a:gdLst>
                <a:gd name="T0" fmla="*/ 19 w 1809"/>
                <a:gd name="T1" fmla="*/ 97 h 1253"/>
                <a:gd name="T2" fmla="*/ 165 w 1809"/>
                <a:gd name="T3" fmla="*/ 41 h 1253"/>
                <a:gd name="T4" fmla="*/ 211 w 1809"/>
                <a:gd name="T5" fmla="*/ 224 h 1253"/>
                <a:gd name="T6" fmla="*/ 248 w 1809"/>
                <a:gd name="T7" fmla="*/ 155 h 1253"/>
                <a:gd name="T8" fmla="*/ 931 w 1809"/>
                <a:gd name="T9" fmla="*/ 995 h 1253"/>
                <a:gd name="T10" fmla="*/ 858 w 1809"/>
                <a:gd name="T11" fmla="*/ 1115 h 1253"/>
                <a:gd name="T12" fmla="*/ 749 w 1809"/>
                <a:gd name="T13" fmla="*/ 1117 h 1253"/>
                <a:gd name="T14" fmla="*/ 681 w 1809"/>
                <a:gd name="T15" fmla="*/ 1055 h 1253"/>
                <a:gd name="T16" fmla="*/ 800 w 1809"/>
                <a:gd name="T17" fmla="*/ 1054 h 1253"/>
                <a:gd name="T18" fmla="*/ 884 w 1809"/>
                <a:gd name="T19" fmla="*/ 1181 h 1253"/>
                <a:gd name="T20" fmla="*/ 118 w 1809"/>
                <a:gd name="T21" fmla="*/ 1086 h 1253"/>
                <a:gd name="T22" fmla="*/ 147 w 1809"/>
                <a:gd name="T23" fmla="*/ 1026 h 1253"/>
                <a:gd name="T24" fmla="*/ 102 w 1809"/>
                <a:gd name="T25" fmla="*/ 1026 h 1253"/>
                <a:gd name="T26" fmla="*/ 639 w 1809"/>
                <a:gd name="T27" fmla="*/ 84 h 1253"/>
                <a:gd name="T28" fmla="*/ 763 w 1809"/>
                <a:gd name="T29" fmla="*/ 145 h 1253"/>
                <a:gd name="T30" fmla="*/ 863 w 1809"/>
                <a:gd name="T31" fmla="*/ 221 h 1253"/>
                <a:gd name="T32" fmla="*/ 834 w 1809"/>
                <a:gd name="T33" fmla="*/ 208 h 1253"/>
                <a:gd name="T34" fmla="*/ 719 w 1809"/>
                <a:gd name="T35" fmla="*/ 182 h 1253"/>
                <a:gd name="T36" fmla="*/ 507 w 1809"/>
                <a:gd name="T37" fmla="*/ 711 h 1253"/>
                <a:gd name="T38" fmla="*/ 614 w 1809"/>
                <a:gd name="T39" fmla="*/ 706 h 1253"/>
                <a:gd name="T40" fmla="*/ 736 w 1809"/>
                <a:gd name="T41" fmla="*/ 730 h 1253"/>
                <a:gd name="T42" fmla="*/ 607 w 1809"/>
                <a:gd name="T43" fmla="*/ 539 h 1253"/>
                <a:gd name="T44" fmla="*/ 1505 w 1809"/>
                <a:gd name="T45" fmla="*/ 1136 h 1253"/>
                <a:gd name="T46" fmla="*/ 1613 w 1809"/>
                <a:gd name="T47" fmla="*/ 1002 h 1253"/>
                <a:gd name="T48" fmla="*/ 1472 w 1809"/>
                <a:gd name="T49" fmla="*/ 1164 h 1253"/>
                <a:gd name="T50" fmla="*/ 1525 w 1809"/>
                <a:gd name="T51" fmla="*/ 1142 h 1253"/>
                <a:gd name="T52" fmla="*/ 1556 w 1809"/>
                <a:gd name="T53" fmla="*/ 1172 h 1253"/>
                <a:gd name="T54" fmla="*/ 1387 w 1809"/>
                <a:gd name="T55" fmla="*/ 910 h 1253"/>
                <a:gd name="T56" fmla="*/ 1261 w 1809"/>
                <a:gd name="T57" fmla="*/ 1157 h 1253"/>
                <a:gd name="T58" fmla="*/ 1413 w 1809"/>
                <a:gd name="T59" fmla="*/ 934 h 1253"/>
                <a:gd name="T60" fmla="*/ 1378 w 1809"/>
                <a:gd name="T61" fmla="*/ 1052 h 1253"/>
                <a:gd name="T62" fmla="*/ 488 w 1809"/>
                <a:gd name="T63" fmla="*/ 85 h 1253"/>
                <a:gd name="T64" fmla="*/ 509 w 1809"/>
                <a:gd name="T65" fmla="*/ 112 h 1253"/>
                <a:gd name="T66" fmla="*/ 548 w 1809"/>
                <a:gd name="T67" fmla="*/ 1187 h 1253"/>
                <a:gd name="T68" fmla="*/ 472 w 1809"/>
                <a:gd name="T69" fmla="*/ 1122 h 1253"/>
                <a:gd name="T70" fmla="*/ 558 w 1809"/>
                <a:gd name="T71" fmla="*/ 1157 h 1253"/>
                <a:gd name="T72" fmla="*/ 287 w 1809"/>
                <a:gd name="T73" fmla="*/ 654 h 1253"/>
                <a:gd name="T74" fmla="*/ 416 w 1809"/>
                <a:gd name="T75" fmla="*/ 684 h 1253"/>
                <a:gd name="T76" fmla="*/ 1106 w 1809"/>
                <a:gd name="T77" fmla="*/ 147 h 1253"/>
                <a:gd name="T78" fmla="*/ 1229 w 1809"/>
                <a:gd name="T79" fmla="*/ 258 h 1253"/>
                <a:gd name="T80" fmla="*/ 1106 w 1809"/>
                <a:gd name="T81" fmla="*/ 96 h 1253"/>
                <a:gd name="T82" fmla="*/ 1219 w 1809"/>
                <a:gd name="T83" fmla="*/ 1077 h 1253"/>
                <a:gd name="T84" fmla="*/ 1214 w 1809"/>
                <a:gd name="T85" fmla="*/ 1157 h 1253"/>
                <a:gd name="T86" fmla="*/ 1150 w 1809"/>
                <a:gd name="T87" fmla="*/ 1092 h 1253"/>
                <a:gd name="T88" fmla="*/ 1139 w 1809"/>
                <a:gd name="T89" fmla="*/ 1070 h 1253"/>
                <a:gd name="T90" fmla="*/ 1659 w 1809"/>
                <a:gd name="T91" fmla="*/ 1031 h 1253"/>
                <a:gd name="T92" fmla="*/ 1714 w 1809"/>
                <a:gd name="T93" fmla="*/ 1155 h 1253"/>
                <a:gd name="T94" fmla="*/ 1760 w 1809"/>
                <a:gd name="T95" fmla="*/ 1030 h 1253"/>
                <a:gd name="T96" fmla="*/ 111 w 1809"/>
                <a:gd name="T97" fmla="*/ 569 h 1253"/>
                <a:gd name="T98" fmla="*/ 109 w 1809"/>
                <a:gd name="T99" fmla="*/ 460 h 1253"/>
                <a:gd name="T100" fmla="*/ 32 w 1809"/>
                <a:gd name="T101" fmla="*/ 704 h 1253"/>
                <a:gd name="T102" fmla="*/ 310 w 1809"/>
                <a:gd name="T103" fmla="*/ 1058 h 1253"/>
                <a:gd name="T104" fmla="*/ 431 w 1809"/>
                <a:gd name="T105" fmla="*/ 1044 h 1253"/>
                <a:gd name="T106" fmla="*/ 278 w 1809"/>
                <a:gd name="T107" fmla="*/ 1165 h 1253"/>
                <a:gd name="T108" fmla="*/ 261 w 1809"/>
                <a:gd name="T109" fmla="*/ 540 h 1253"/>
                <a:gd name="T110" fmla="*/ 150 w 1809"/>
                <a:gd name="T111" fmla="*/ 635 h 1253"/>
                <a:gd name="T112" fmla="*/ 994 w 1809"/>
                <a:gd name="T113" fmla="*/ 1185 h 1253"/>
                <a:gd name="T114" fmla="*/ 331 w 1809"/>
                <a:gd name="T115" fmla="*/ 176 h 1253"/>
                <a:gd name="T116" fmla="*/ 333 w 1809"/>
                <a:gd name="T117" fmla="*/ 109 h 1253"/>
                <a:gd name="T118" fmla="*/ 946 w 1809"/>
                <a:gd name="T119" fmla="*/ 234 h 1253"/>
                <a:gd name="T120" fmla="*/ 1022 w 1809"/>
                <a:gd name="T121" fmla="*/ 113 h 1253"/>
                <a:gd name="T122" fmla="*/ 949 w 1809"/>
                <a:gd name="T123" fmla="*/ 65 h 1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09" h="1253">
                  <a:moveTo>
                    <a:pt x="248" y="198"/>
                  </a:moveTo>
                  <a:cubicBezTo>
                    <a:pt x="248" y="211"/>
                    <a:pt x="248" y="224"/>
                    <a:pt x="249" y="237"/>
                  </a:cubicBezTo>
                  <a:cubicBezTo>
                    <a:pt x="249" y="245"/>
                    <a:pt x="246" y="249"/>
                    <a:pt x="240" y="253"/>
                  </a:cubicBezTo>
                  <a:cubicBezTo>
                    <a:pt x="231" y="260"/>
                    <a:pt x="220" y="264"/>
                    <a:pt x="209" y="268"/>
                  </a:cubicBezTo>
                  <a:cubicBezTo>
                    <a:pt x="179" y="279"/>
                    <a:pt x="148" y="280"/>
                    <a:pt x="118" y="275"/>
                  </a:cubicBezTo>
                  <a:cubicBezTo>
                    <a:pt x="86" y="269"/>
                    <a:pt x="58" y="252"/>
                    <a:pt x="39" y="224"/>
                  </a:cubicBezTo>
                  <a:cubicBezTo>
                    <a:pt x="24" y="203"/>
                    <a:pt x="18" y="180"/>
                    <a:pt x="15" y="155"/>
                  </a:cubicBezTo>
                  <a:cubicBezTo>
                    <a:pt x="11" y="135"/>
                    <a:pt x="15" y="115"/>
                    <a:pt x="19" y="97"/>
                  </a:cubicBezTo>
                  <a:cubicBezTo>
                    <a:pt x="26" y="68"/>
                    <a:pt x="42" y="44"/>
                    <a:pt x="68" y="27"/>
                  </a:cubicBezTo>
                  <a:cubicBezTo>
                    <a:pt x="87" y="14"/>
                    <a:pt x="109" y="6"/>
                    <a:pt x="133" y="5"/>
                  </a:cubicBezTo>
                  <a:cubicBezTo>
                    <a:pt x="149" y="4"/>
                    <a:pt x="165" y="5"/>
                    <a:pt x="181" y="6"/>
                  </a:cubicBezTo>
                  <a:cubicBezTo>
                    <a:pt x="204" y="8"/>
                    <a:pt x="225" y="20"/>
                    <a:pt x="243" y="35"/>
                  </a:cubicBezTo>
                  <a:cubicBezTo>
                    <a:pt x="246" y="37"/>
                    <a:pt x="246" y="40"/>
                    <a:pt x="244" y="43"/>
                  </a:cubicBezTo>
                  <a:cubicBezTo>
                    <a:pt x="242" y="47"/>
                    <a:pt x="239" y="52"/>
                    <a:pt x="236" y="55"/>
                  </a:cubicBezTo>
                  <a:cubicBezTo>
                    <a:pt x="226" y="65"/>
                    <a:pt x="224" y="65"/>
                    <a:pt x="206" y="54"/>
                  </a:cubicBezTo>
                  <a:cubicBezTo>
                    <a:pt x="193" y="46"/>
                    <a:pt x="180" y="40"/>
                    <a:pt x="165" y="41"/>
                  </a:cubicBezTo>
                  <a:cubicBezTo>
                    <a:pt x="151" y="41"/>
                    <a:pt x="137" y="39"/>
                    <a:pt x="124" y="42"/>
                  </a:cubicBezTo>
                  <a:cubicBezTo>
                    <a:pt x="104" y="46"/>
                    <a:pt x="87" y="57"/>
                    <a:pt x="75" y="74"/>
                  </a:cubicBezTo>
                  <a:cubicBezTo>
                    <a:pt x="56" y="99"/>
                    <a:pt x="51" y="129"/>
                    <a:pt x="55" y="159"/>
                  </a:cubicBezTo>
                  <a:cubicBezTo>
                    <a:pt x="60" y="189"/>
                    <a:pt x="73" y="214"/>
                    <a:pt x="98" y="230"/>
                  </a:cubicBezTo>
                  <a:cubicBezTo>
                    <a:pt x="109" y="237"/>
                    <a:pt x="121" y="242"/>
                    <a:pt x="135" y="241"/>
                  </a:cubicBezTo>
                  <a:cubicBezTo>
                    <a:pt x="146" y="241"/>
                    <a:pt x="158" y="241"/>
                    <a:pt x="169" y="241"/>
                  </a:cubicBezTo>
                  <a:cubicBezTo>
                    <a:pt x="182" y="242"/>
                    <a:pt x="193" y="235"/>
                    <a:pt x="205" y="232"/>
                  </a:cubicBezTo>
                  <a:cubicBezTo>
                    <a:pt x="210" y="231"/>
                    <a:pt x="211" y="227"/>
                    <a:pt x="211" y="224"/>
                  </a:cubicBezTo>
                  <a:cubicBezTo>
                    <a:pt x="211" y="210"/>
                    <a:pt x="211" y="196"/>
                    <a:pt x="211" y="183"/>
                  </a:cubicBezTo>
                  <a:cubicBezTo>
                    <a:pt x="211" y="177"/>
                    <a:pt x="207" y="175"/>
                    <a:pt x="202" y="175"/>
                  </a:cubicBezTo>
                  <a:cubicBezTo>
                    <a:pt x="193" y="175"/>
                    <a:pt x="184" y="175"/>
                    <a:pt x="175" y="175"/>
                  </a:cubicBezTo>
                  <a:cubicBezTo>
                    <a:pt x="171" y="175"/>
                    <a:pt x="168" y="174"/>
                    <a:pt x="166" y="171"/>
                  </a:cubicBezTo>
                  <a:cubicBezTo>
                    <a:pt x="163" y="163"/>
                    <a:pt x="164" y="154"/>
                    <a:pt x="166" y="146"/>
                  </a:cubicBezTo>
                  <a:cubicBezTo>
                    <a:pt x="167" y="142"/>
                    <a:pt x="171" y="142"/>
                    <a:pt x="175" y="142"/>
                  </a:cubicBezTo>
                  <a:cubicBezTo>
                    <a:pt x="196" y="142"/>
                    <a:pt x="217" y="142"/>
                    <a:pt x="238" y="142"/>
                  </a:cubicBezTo>
                  <a:cubicBezTo>
                    <a:pt x="247" y="142"/>
                    <a:pt x="248" y="148"/>
                    <a:pt x="248" y="155"/>
                  </a:cubicBezTo>
                  <a:cubicBezTo>
                    <a:pt x="249" y="169"/>
                    <a:pt x="248" y="183"/>
                    <a:pt x="248" y="198"/>
                  </a:cubicBezTo>
                  <a:close/>
                  <a:moveTo>
                    <a:pt x="884" y="1181"/>
                  </a:moveTo>
                  <a:cubicBezTo>
                    <a:pt x="889" y="1167"/>
                    <a:pt x="894" y="1152"/>
                    <a:pt x="898" y="1137"/>
                  </a:cubicBezTo>
                  <a:cubicBezTo>
                    <a:pt x="901" y="1127"/>
                    <a:pt x="905" y="1116"/>
                    <a:pt x="908" y="1106"/>
                  </a:cubicBezTo>
                  <a:cubicBezTo>
                    <a:pt x="911" y="1098"/>
                    <a:pt x="912" y="1089"/>
                    <a:pt x="916" y="1081"/>
                  </a:cubicBezTo>
                  <a:cubicBezTo>
                    <a:pt x="921" y="1072"/>
                    <a:pt x="923" y="1060"/>
                    <a:pt x="927" y="1050"/>
                  </a:cubicBezTo>
                  <a:cubicBezTo>
                    <a:pt x="932" y="1037"/>
                    <a:pt x="934" y="1023"/>
                    <a:pt x="940" y="1010"/>
                  </a:cubicBezTo>
                  <a:cubicBezTo>
                    <a:pt x="945" y="1001"/>
                    <a:pt x="941" y="995"/>
                    <a:pt x="931" y="995"/>
                  </a:cubicBezTo>
                  <a:cubicBezTo>
                    <a:pt x="927" y="995"/>
                    <a:pt x="922" y="995"/>
                    <a:pt x="918" y="995"/>
                  </a:cubicBezTo>
                  <a:cubicBezTo>
                    <a:pt x="913" y="995"/>
                    <a:pt x="908" y="997"/>
                    <a:pt x="907" y="1001"/>
                  </a:cubicBezTo>
                  <a:cubicBezTo>
                    <a:pt x="904" y="1008"/>
                    <a:pt x="900" y="1015"/>
                    <a:pt x="899" y="1023"/>
                  </a:cubicBezTo>
                  <a:cubicBezTo>
                    <a:pt x="897" y="1034"/>
                    <a:pt x="893" y="1045"/>
                    <a:pt x="889" y="1055"/>
                  </a:cubicBezTo>
                  <a:cubicBezTo>
                    <a:pt x="887" y="1064"/>
                    <a:pt x="885" y="1072"/>
                    <a:pt x="882" y="1080"/>
                  </a:cubicBezTo>
                  <a:cubicBezTo>
                    <a:pt x="878" y="1091"/>
                    <a:pt x="874" y="1103"/>
                    <a:pt x="871" y="1115"/>
                  </a:cubicBezTo>
                  <a:cubicBezTo>
                    <a:pt x="870" y="1118"/>
                    <a:pt x="871" y="1124"/>
                    <a:pt x="866" y="1124"/>
                  </a:cubicBezTo>
                  <a:cubicBezTo>
                    <a:pt x="861" y="1125"/>
                    <a:pt x="859" y="1120"/>
                    <a:pt x="858" y="1115"/>
                  </a:cubicBezTo>
                  <a:cubicBezTo>
                    <a:pt x="856" y="1110"/>
                    <a:pt x="856" y="1104"/>
                    <a:pt x="854" y="1099"/>
                  </a:cubicBezTo>
                  <a:cubicBezTo>
                    <a:pt x="848" y="1080"/>
                    <a:pt x="841" y="1062"/>
                    <a:pt x="835" y="1044"/>
                  </a:cubicBezTo>
                  <a:cubicBezTo>
                    <a:pt x="831" y="1030"/>
                    <a:pt x="828" y="1016"/>
                    <a:pt x="822" y="1003"/>
                  </a:cubicBezTo>
                  <a:cubicBezTo>
                    <a:pt x="819" y="997"/>
                    <a:pt x="814" y="994"/>
                    <a:pt x="808" y="994"/>
                  </a:cubicBezTo>
                  <a:cubicBezTo>
                    <a:pt x="799" y="993"/>
                    <a:pt x="791" y="993"/>
                    <a:pt x="787" y="1001"/>
                  </a:cubicBezTo>
                  <a:cubicBezTo>
                    <a:pt x="783" y="1008"/>
                    <a:pt x="780" y="1015"/>
                    <a:pt x="779" y="1022"/>
                  </a:cubicBezTo>
                  <a:cubicBezTo>
                    <a:pt x="778" y="1034"/>
                    <a:pt x="772" y="1044"/>
                    <a:pt x="769" y="1055"/>
                  </a:cubicBezTo>
                  <a:cubicBezTo>
                    <a:pt x="762" y="1076"/>
                    <a:pt x="754" y="1096"/>
                    <a:pt x="749" y="1117"/>
                  </a:cubicBezTo>
                  <a:cubicBezTo>
                    <a:pt x="748" y="1120"/>
                    <a:pt x="747" y="1124"/>
                    <a:pt x="742" y="1124"/>
                  </a:cubicBezTo>
                  <a:cubicBezTo>
                    <a:pt x="737" y="1124"/>
                    <a:pt x="737" y="1120"/>
                    <a:pt x="736" y="1116"/>
                  </a:cubicBezTo>
                  <a:cubicBezTo>
                    <a:pt x="734" y="1104"/>
                    <a:pt x="730" y="1092"/>
                    <a:pt x="726" y="1080"/>
                  </a:cubicBezTo>
                  <a:cubicBezTo>
                    <a:pt x="720" y="1061"/>
                    <a:pt x="714" y="1040"/>
                    <a:pt x="708" y="1020"/>
                  </a:cubicBezTo>
                  <a:cubicBezTo>
                    <a:pt x="703" y="1000"/>
                    <a:pt x="698" y="994"/>
                    <a:pt x="676" y="995"/>
                  </a:cubicBezTo>
                  <a:cubicBezTo>
                    <a:pt x="665" y="996"/>
                    <a:pt x="661" y="1001"/>
                    <a:pt x="667" y="1011"/>
                  </a:cubicBezTo>
                  <a:cubicBezTo>
                    <a:pt x="669" y="1016"/>
                    <a:pt x="670" y="1021"/>
                    <a:pt x="672" y="1025"/>
                  </a:cubicBezTo>
                  <a:cubicBezTo>
                    <a:pt x="675" y="1035"/>
                    <a:pt x="678" y="1046"/>
                    <a:pt x="681" y="1055"/>
                  </a:cubicBezTo>
                  <a:cubicBezTo>
                    <a:pt x="685" y="1068"/>
                    <a:pt x="689" y="1080"/>
                    <a:pt x="693" y="1092"/>
                  </a:cubicBezTo>
                  <a:cubicBezTo>
                    <a:pt x="697" y="1103"/>
                    <a:pt x="699" y="1113"/>
                    <a:pt x="703" y="1124"/>
                  </a:cubicBezTo>
                  <a:cubicBezTo>
                    <a:pt x="707" y="1136"/>
                    <a:pt x="711" y="1147"/>
                    <a:pt x="715" y="1160"/>
                  </a:cubicBezTo>
                  <a:cubicBezTo>
                    <a:pt x="717" y="1168"/>
                    <a:pt x="720" y="1176"/>
                    <a:pt x="724" y="1183"/>
                  </a:cubicBezTo>
                  <a:cubicBezTo>
                    <a:pt x="728" y="1189"/>
                    <a:pt x="752" y="1185"/>
                    <a:pt x="757" y="1180"/>
                  </a:cubicBezTo>
                  <a:cubicBezTo>
                    <a:pt x="764" y="1173"/>
                    <a:pt x="762" y="1163"/>
                    <a:pt x="766" y="1156"/>
                  </a:cubicBezTo>
                  <a:cubicBezTo>
                    <a:pt x="774" y="1140"/>
                    <a:pt x="778" y="1122"/>
                    <a:pt x="784" y="1105"/>
                  </a:cubicBezTo>
                  <a:cubicBezTo>
                    <a:pt x="789" y="1088"/>
                    <a:pt x="796" y="1072"/>
                    <a:pt x="800" y="1054"/>
                  </a:cubicBezTo>
                  <a:cubicBezTo>
                    <a:pt x="800" y="1053"/>
                    <a:pt x="801" y="1050"/>
                    <a:pt x="803" y="1050"/>
                  </a:cubicBezTo>
                  <a:cubicBezTo>
                    <a:pt x="806" y="1050"/>
                    <a:pt x="806" y="1052"/>
                    <a:pt x="807" y="1055"/>
                  </a:cubicBezTo>
                  <a:cubicBezTo>
                    <a:pt x="807" y="1060"/>
                    <a:pt x="810" y="1066"/>
                    <a:pt x="811" y="1071"/>
                  </a:cubicBezTo>
                  <a:cubicBezTo>
                    <a:pt x="814" y="1081"/>
                    <a:pt x="818" y="1090"/>
                    <a:pt x="821" y="1099"/>
                  </a:cubicBezTo>
                  <a:cubicBezTo>
                    <a:pt x="824" y="1110"/>
                    <a:pt x="827" y="1120"/>
                    <a:pt x="831" y="1131"/>
                  </a:cubicBezTo>
                  <a:cubicBezTo>
                    <a:pt x="834" y="1142"/>
                    <a:pt x="839" y="1153"/>
                    <a:pt x="842" y="1164"/>
                  </a:cubicBezTo>
                  <a:cubicBezTo>
                    <a:pt x="846" y="1179"/>
                    <a:pt x="850" y="1188"/>
                    <a:pt x="869" y="1185"/>
                  </a:cubicBezTo>
                  <a:cubicBezTo>
                    <a:pt x="873" y="1184"/>
                    <a:pt x="881" y="1189"/>
                    <a:pt x="884" y="1181"/>
                  </a:cubicBezTo>
                  <a:close/>
                  <a:moveTo>
                    <a:pt x="33" y="1051"/>
                  </a:moveTo>
                  <a:cubicBezTo>
                    <a:pt x="33" y="1087"/>
                    <a:pt x="33" y="1124"/>
                    <a:pt x="33" y="1160"/>
                  </a:cubicBezTo>
                  <a:cubicBezTo>
                    <a:pt x="33" y="1188"/>
                    <a:pt x="29" y="1184"/>
                    <a:pt x="58" y="1185"/>
                  </a:cubicBezTo>
                  <a:cubicBezTo>
                    <a:pt x="72" y="1185"/>
                    <a:pt x="73" y="1184"/>
                    <a:pt x="73" y="1170"/>
                  </a:cubicBezTo>
                  <a:cubicBezTo>
                    <a:pt x="73" y="1138"/>
                    <a:pt x="73" y="1107"/>
                    <a:pt x="73" y="1076"/>
                  </a:cubicBezTo>
                  <a:cubicBezTo>
                    <a:pt x="73" y="1071"/>
                    <a:pt x="72" y="1067"/>
                    <a:pt x="78" y="1065"/>
                  </a:cubicBezTo>
                  <a:cubicBezTo>
                    <a:pt x="91" y="1062"/>
                    <a:pt x="102" y="1067"/>
                    <a:pt x="110" y="1076"/>
                  </a:cubicBezTo>
                  <a:cubicBezTo>
                    <a:pt x="112" y="1080"/>
                    <a:pt x="115" y="1083"/>
                    <a:pt x="118" y="1086"/>
                  </a:cubicBezTo>
                  <a:cubicBezTo>
                    <a:pt x="132" y="1103"/>
                    <a:pt x="146" y="1119"/>
                    <a:pt x="161" y="1136"/>
                  </a:cubicBezTo>
                  <a:cubicBezTo>
                    <a:pt x="173" y="1150"/>
                    <a:pt x="186" y="1165"/>
                    <a:pt x="198" y="1179"/>
                  </a:cubicBezTo>
                  <a:cubicBezTo>
                    <a:pt x="207" y="1188"/>
                    <a:pt x="218" y="1184"/>
                    <a:pt x="228" y="1185"/>
                  </a:cubicBezTo>
                  <a:cubicBezTo>
                    <a:pt x="233" y="1185"/>
                    <a:pt x="241" y="1188"/>
                    <a:pt x="244" y="1182"/>
                  </a:cubicBezTo>
                  <a:cubicBezTo>
                    <a:pt x="246" y="1178"/>
                    <a:pt x="239" y="1173"/>
                    <a:pt x="235" y="1169"/>
                  </a:cubicBezTo>
                  <a:cubicBezTo>
                    <a:pt x="206" y="1133"/>
                    <a:pt x="176" y="1098"/>
                    <a:pt x="146" y="1062"/>
                  </a:cubicBezTo>
                  <a:cubicBezTo>
                    <a:pt x="141" y="1056"/>
                    <a:pt x="131" y="1052"/>
                    <a:pt x="132" y="1044"/>
                  </a:cubicBezTo>
                  <a:cubicBezTo>
                    <a:pt x="132" y="1036"/>
                    <a:pt x="142" y="1032"/>
                    <a:pt x="147" y="1026"/>
                  </a:cubicBezTo>
                  <a:cubicBezTo>
                    <a:pt x="164" y="1006"/>
                    <a:pt x="182" y="988"/>
                    <a:pt x="198" y="968"/>
                  </a:cubicBezTo>
                  <a:cubicBezTo>
                    <a:pt x="209" y="954"/>
                    <a:pt x="221" y="942"/>
                    <a:pt x="234" y="929"/>
                  </a:cubicBezTo>
                  <a:cubicBezTo>
                    <a:pt x="236" y="926"/>
                    <a:pt x="238" y="923"/>
                    <a:pt x="237" y="920"/>
                  </a:cubicBezTo>
                  <a:cubicBezTo>
                    <a:pt x="235" y="915"/>
                    <a:pt x="231" y="917"/>
                    <a:pt x="228" y="917"/>
                  </a:cubicBezTo>
                  <a:cubicBezTo>
                    <a:pt x="224" y="918"/>
                    <a:pt x="221" y="918"/>
                    <a:pt x="217" y="918"/>
                  </a:cubicBezTo>
                  <a:cubicBezTo>
                    <a:pt x="204" y="917"/>
                    <a:pt x="193" y="922"/>
                    <a:pt x="185" y="931"/>
                  </a:cubicBezTo>
                  <a:cubicBezTo>
                    <a:pt x="172" y="946"/>
                    <a:pt x="158" y="961"/>
                    <a:pt x="145" y="977"/>
                  </a:cubicBezTo>
                  <a:cubicBezTo>
                    <a:pt x="131" y="993"/>
                    <a:pt x="117" y="1010"/>
                    <a:pt x="102" y="1026"/>
                  </a:cubicBezTo>
                  <a:cubicBezTo>
                    <a:pt x="96" y="1032"/>
                    <a:pt x="87" y="1037"/>
                    <a:pt x="78" y="1034"/>
                  </a:cubicBezTo>
                  <a:cubicBezTo>
                    <a:pt x="70" y="1030"/>
                    <a:pt x="73" y="1021"/>
                    <a:pt x="73" y="1015"/>
                  </a:cubicBezTo>
                  <a:cubicBezTo>
                    <a:pt x="73" y="991"/>
                    <a:pt x="73" y="967"/>
                    <a:pt x="73" y="944"/>
                  </a:cubicBezTo>
                  <a:cubicBezTo>
                    <a:pt x="73" y="916"/>
                    <a:pt x="75" y="917"/>
                    <a:pt x="46" y="918"/>
                  </a:cubicBezTo>
                  <a:cubicBezTo>
                    <a:pt x="33" y="918"/>
                    <a:pt x="33" y="918"/>
                    <a:pt x="33" y="931"/>
                  </a:cubicBezTo>
                  <a:cubicBezTo>
                    <a:pt x="33" y="971"/>
                    <a:pt x="33" y="1011"/>
                    <a:pt x="33" y="1051"/>
                  </a:cubicBezTo>
                  <a:cubicBezTo>
                    <a:pt x="33" y="1051"/>
                    <a:pt x="33" y="1051"/>
                    <a:pt x="33" y="1051"/>
                  </a:cubicBezTo>
                  <a:close/>
                  <a:moveTo>
                    <a:pt x="639" y="84"/>
                  </a:moveTo>
                  <a:cubicBezTo>
                    <a:pt x="627" y="84"/>
                    <a:pt x="626" y="84"/>
                    <a:pt x="629" y="95"/>
                  </a:cubicBezTo>
                  <a:cubicBezTo>
                    <a:pt x="634" y="113"/>
                    <a:pt x="640" y="131"/>
                    <a:pt x="646" y="148"/>
                  </a:cubicBezTo>
                  <a:cubicBezTo>
                    <a:pt x="652" y="166"/>
                    <a:pt x="658" y="185"/>
                    <a:pt x="664" y="203"/>
                  </a:cubicBezTo>
                  <a:cubicBezTo>
                    <a:pt x="671" y="223"/>
                    <a:pt x="676" y="244"/>
                    <a:pt x="684" y="264"/>
                  </a:cubicBezTo>
                  <a:cubicBezTo>
                    <a:pt x="688" y="274"/>
                    <a:pt x="694" y="274"/>
                    <a:pt x="702" y="274"/>
                  </a:cubicBezTo>
                  <a:cubicBezTo>
                    <a:pt x="711" y="274"/>
                    <a:pt x="719" y="272"/>
                    <a:pt x="723" y="263"/>
                  </a:cubicBezTo>
                  <a:cubicBezTo>
                    <a:pt x="733" y="236"/>
                    <a:pt x="741" y="208"/>
                    <a:pt x="750" y="181"/>
                  </a:cubicBezTo>
                  <a:cubicBezTo>
                    <a:pt x="754" y="169"/>
                    <a:pt x="757" y="156"/>
                    <a:pt x="763" y="145"/>
                  </a:cubicBezTo>
                  <a:cubicBezTo>
                    <a:pt x="764" y="143"/>
                    <a:pt x="764" y="140"/>
                    <a:pt x="767" y="140"/>
                  </a:cubicBezTo>
                  <a:cubicBezTo>
                    <a:pt x="770" y="140"/>
                    <a:pt x="770" y="143"/>
                    <a:pt x="771" y="145"/>
                  </a:cubicBezTo>
                  <a:cubicBezTo>
                    <a:pt x="771" y="156"/>
                    <a:pt x="777" y="165"/>
                    <a:pt x="780" y="175"/>
                  </a:cubicBezTo>
                  <a:cubicBezTo>
                    <a:pt x="782" y="184"/>
                    <a:pt x="785" y="193"/>
                    <a:pt x="788" y="201"/>
                  </a:cubicBezTo>
                  <a:cubicBezTo>
                    <a:pt x="794" y="219"/>
                    <a:pt x="801" y="237"/>
                    <a:pt x="806" y="255"/>
                  </a:cubicBezTo>
                  <a:cubicBezTo>
                    <a:pt x="811" y="272"/>
                    <a:pt x="825" y="280"/>
                    <a:pt x="842" y="273"/>
                  </a:cubicBezTo>
                  <a:cubicBezTo>
                    <a:pt x="845" y="271"/>
                    <a:pt x="847" y="269"/>
                    <a:pt x="848" y="266"/>
                  </a:cubicBezTo>
                  <a:cubicBezTo>
                    <a:pt x="853" y="251"/>
                    <a:pt x="859" y="236"/>
                    <a:pt x="863" y="221"/>
                  </a:cubicBezTo>
                  <a:cubicBezTo>
                    <a:pt x="867" y="202"/>
                    <a:pt x="875" y="185"/>
                    <a:pt x="880" y="166"/>
                  </a:cubicBezTo>
                  <a:cubicBezTo>
                    <a:pt x="886" y="144"/>
                    <a:pt x="895" y="123"/>
                    <a:pt x="900" y="101"/>
                  </a:cubicBezTo>
                  <a:cubicBezTo>
                    <a:pt x="901" y="96"/>
                    <a:pt x="909" y="91"/>
                    <a:pt x="904" y="86"/>
                  </a:cubicBezTo>
                  <a:cubicBezTo>
                    <a:pt x="900" y="81"/>
                    <a:pt x="892" y="84"/>
                    <a:pt x="886" y="84"/>
                  </a:cubicBezTo>
                  <a:cubicBezTo>
                    <a:pt x="885" y="84"/>
                    <a:pt x="883" y="84"/>
                    <a:pt x="881" y="84"/>
                  </a:cubicBezTo>
                  <a:cubicBezTo>
                    <a:pt x="875" y="84"/>
                    <a:pt x="872" y="86"/>
                    <a:pt x="869" y="91"/>
                  </a:cubicBezTo>
                  <a:cubicBezTo>
                    <a:pt x="860" y="110"/>
                    <a:pt x="856" y="131"/>
                    <a:pt x="850" y="151"/>
                  </a:cubicBezTo>
                  <a:cubicBezTo>
                    <a:pt x="844" y="170"/>
                    <a:pt x="836" y="188"/>
                    <a:pt x="834" y="208"/>
                  </a:cubicBezTo>
                  <a:cubicBezTo>
                    <a:pt x="833" y="211"/>
                    <a:pt x="831" y="214"/>
                    <a:pt x="827" y="214"/>
                  </a:cubicBezTo>
                  <a:cubicBezTo>
                    <a:pt x="823" y="214"/>
                    <a:pt x="822" y="210"/>
                    <a:pt x="822" y="207"/>
                  </a:cubicBezTo>
                  <a:cubicBezTo>
                    <a:pt x="817" y="188"/>
                    <a:pt x="811" y="170"/>
                    <a:pt x="805" y="152"/>
                  </a:cubicBezTo>
                  <a:cubicBezTo>
                    <a:pt x="799" y="133"/>
                    <a:pt x="794" y="114"/>
                    <a:pt x="786" y="96"/>
                  </a:cubicBezTo>
                  <a:cubicBezTo>
                    <a:pt x="783" y="87"/>
                    <a:pt x="779" y="84"/>
                    <a:pt x="770" y="84"/>
                  </a:cubicBezTo>
                  <a:cubicBezTo>
                    <a:pt x="761" y="84"/>
                    <a:pt x="752" y="82"/>
                    <a:pt x="748" y="94"/>
                  </a:cubicBezTo>
                  <a:cubicBezTo>
                    <a:pt x="744" y="109"/>
                    <a:pt x="738" y="123"/>
                    <a:pt x="734" y="138"/>
                  </a:cubicBezTo>
                  <a:cubicBezTo>
                    <a:pt x="729" y="153"/>
                    <a:pt x="724" y="167"/>
                    <a:pt x="719" y="182"/>
                  </a:cubicBezTo>
                  <a:cubicBezTo>
                    <a:pt x="716" y="192"/>
                    <a:pt x="715" y="203"/>
                    <a:pt x="708" y="212"/>
                  </a:cubicBezTo>
                  <a:cubicBezTo>
                    <a:pt x="707" y="214"/>
                    <a:pt x="707" y="217"/>
                    <a:pt x="704" y="217"/>
                  </a:cubicBezTo>
                  <a:cubicBezTo>
                    <a:pt x="701" y="217"/>
                    <a:pt x="701" y="213"/>
                    <a:pt x="700" y="211"/>
                  </a:cubicBezTo>
                  <a:cubicBezTo>
                    <a:pt x="699" y="198"/>
                    <a:pt x="694" y="186"/>
                    <a:pt x="690" y="174"/>
                  </a:cubicBezTo>
                  <a:cubicBezTo>
                    <a:pt x="684" y="153"/>
                    <a:pt x="677" y="131"/>
                    <a:pt x="672" y="110"/>
                  </a:cubicBezTo>
                  <a:cubicBezTo>
                    <a:pt x="667" y="88"/>
                    <a:pt x="663" y="84"/>
                    <a:pt x="645" y="84"/>
                  </a:cubicBezTo>
                  <a:cubicBezTo>
                    <a:pt x="643" y="84"/>
                    <a:pt x="641" y="84"/>
                    <a:pt x="639" y="84"/>
                  </a:cubicBezTo>
                  <a:close/>
                  <a:moveTo>
                    <a:pt x="507" y="711"/>
                  </a:moveTo>
                  <a:cubicBezTo>
                    <a:pt x="507" y="730"/>
                    <a:pt x="507" y="730"/>
                    <a:pt x="526" y="730"/>
                  </a:cubicBezTo>
                  <a:cubicBezTo>
                    <a:pt x="539" y="730"/>
                    <a:pt x="541" y="729"/>
                    <a:pt x="541" y="715"/>
                  </a:cubicBezTo>
                  <a:cubicBezTo>
                    <a:pt x="541" y="677"/>
                    <a:pt x="541" y="638"/>
                    <a:pt x="540" y="600"/>
                  </a:cubicBezTo>
                  <a:cubicBezTo>
                    <a:pt x="540" y="593"/>
                    <a:pt x="543" y="587"/>
                    <a:pt x="548" y="582"/>
                  </a:cubicBezTo>
                  <a:cubicBezTo>
                    <a:pt x="553" y="576"/>
                    <a:pt x="559" y="573"/>
                    <a:pt x="564" y="569"/>
                  </a:cubicBezTo>
                  <a:cubicBezTo>
                    <a:pt x="574" y="564"/>
                    <a:pt x="594" y="566"/>
                    <a:pt x="602" y="574"/>
                  </a:cubicBezTo>
                  <a:cubicBezTo>
                    <a:pt x="611" y="582"/>
                    <a:pt x="614" y="592"/>
                    <a:pt x="614" y="604"/>
                  </a:cubicBezTo>
                  <a:cubicBezTo>
                    <a:pt x="614" y="638"/>
                    <a:pt x="614" y="672"/>
                    <a:pt x="614" y="706"/>
                  </a:cubicBezTo>
                  <a:cubicBezTo>
                    <a:pt x="614" y="730"/>
                    <a:pt x="614" y="730"/>
                    <a:pt x="638" y="730"/>
                  </a:cubicBezTo>
                  <a:cubicBezTo>
                    <a:pt x="650" y="730"/>
                    <a:pt x="650" y="730"/>
                    <a:pt x="650" y="717"/>
                  </a:cubicBezTo>
                  <a:cubicBezTo>
                    <a:pt x="650" y="684"/>
                    <a:pt x="650" y="650"/>
                    <a:pt x="650" y="617"/>
                  </a:cubicBezTo>
                  <a:cubicBezTo>
                    <a:pt x="650" y="606"/>
                    <a:pt x="651" y="597"/>
                    <a:pt x="657" y="586"/>
                  </a:cubicBezTo>
                  <a:cubicBezTo>
                    <a:pt x="667" y="565"/>
                    <a:pt x="703" y="560"/>
                    <a:pt x="716" y="579"/>
                  </a:cubicBezTo>
                  <a:cubicBezTo>
                    <a:pt x="723" y="588"/>
                    <a:pt x="724" y="598"/>
                    <a:pt x="724" y="609"/>
                  </a:cubicBezTo>
                  <a:cubicBezTo>
                    <a:pt x="724" y="645"/>
                    <a:pt x="724" y="682"/>
                    <a:pt x="724" y="718"/>
                  </a:cubicBezTo>
                  <a:cubicBezTo>
                    <a:pt x="724" y="727"/>
                    <a:pt x="727" y="731"/>
                    <a:pt x="736" y="730"/>
                  </a:cubicBezTo>
                  <a:cubicBezTo>
                    <a:pt x="738" y="730"/>
                    <a:pt x="741" y="730"/>
                    <a:pt x="743" y="730"/>
                  </a:cubicBezTo>
                  <a:cubicBezTo>
                    <a:pt x="758" y="730"/>
                    <a:pt x="759" y="729"/>
                    <a:pt x="759" y="715"/>
                  </a:cubicBezTo>
                  <a:cubicBezTo>
                    <a:pt x="759" y="677"/>
                    <a:pt x="758" y="639"/>
                    <a:pt x="759" y="601"/>
                  </a:cubicBezTo>
                  <a:cubicBezTo>
                    <a:pt x="759" y="571"/>
                    <a:pt x="742" y="540"/>
                    <a:pt x="704" y="538"/>
                  </a:cubicBezTo>
                  <a:cubicBezTo>
                    <a:pt x="681" y="536"/>
                    <a:pt x="661" y="542"/>
                    <a:pt x="646" y="560"/>
                  </a:cubicBezTo>
                  <a:cubicBezTo>
                    <a:pt x="638" y="569"/>
                    <a:pt x="638" y="569"/>
                    <a:pt x="631" y="559"/>
                  </a:cubicBezTo>
                  <a:cubicBezTo>
                    <a:pt x="630" y="558"/>
                    <a:pt x="630" y="557"/>
                    <a:pt x="629" y="556"/>
                  </a:cubicBezTo>
                  <a:cubicBezTo>
                    <a:pt x="623" y="548"/>
                    <a:pt x="616" y="541"/>
                    <a:pt x="607" y="539"/>
                  </a:cubicBezTo>
                  <a:cubicBezTo>
                    <a:pt x="584" y="534"/>
                    <a:pt x="563" y="539"/>
                    <a:pt x="545" y="555"/>
                  </a:cubicBezTo>
                  <a:cubicBezTo>
                    <a:pt x="540" y="559"/>
                    <a:pt x="537" y="561"/>
                    <a:pt x="537" y="552"/>
                  </a:cubicBezTo>
                  <a:cubicBezTo>
                    <a:pt x="536" y="543"/>
                    <a:pt x="526" y="538"/>
                    <a:pt x="515" y="539"/>
                  </a:cubicBezTo>
                  <a:cubicBezTo>
                    <a:pt x="506" y="540"/>
                    <a:pt x="507" y="546"/>
                    <a:pt x="507" y="552"/>
                  </a:cubicBezTo>
                  <a:cubicBezTo>
                    <a:pt x="507" y="580"/>
                    <a:pt x="507" y="607"/>
                    <a:pt x="507" y="634"/>
                  </a:cubicBezTo>
                  <a:cubicBezTo>
                    <a:pt x="507" y="660"/>
                    <a:pt x="507" y="685"/>
                    <a:pt x="507" y="711"/>
                  </a:cubicBezTo>
                  <a:close/>
                  <a:moveTo>
                    <a:pt x="1525" y="1142"/>
                  </a:moveTo>
                  <a:cubicBezTo>
                    <a:pt x="1517" y="1143"/>
                    <a:pt x="1511" y="1141"/>
                    <a:pt x="1505" y="1136"/>
                  </a:cubicBezTo>
                  <a:cubicBezTo>
                    <a:pt x="1501" y="1133"/>
                    <a:pt x="1495" y="1130"/>
                    <a:pt x="1498" y="1124"/>
                  </a:cubicBezTo>
                  <a:cubicBezTo>
                    <a:pt x="1500" y="1118"/>
                    <a:pt x="1504" y="1114"/>
                    <a:pt x="1512" y="1114"/>
                  </a:cubicBezTo>
                  <a:cubicBezTo>
                    <a:pt x="1521" y="1115"/>
                    <a:pt x="1530" y="1114"/>
                    <a:pt x="1538" y="1115"/>
                  </a:cubicBezTo>
                  <a:cubicBezTo>
                    <a:pt x="1573" y="1117"/>
                    <a:pt x="1610" y="1084"/>
                    <a:pt x="1602" y="1044"/>
                  </a:cubicBezTo>
                  <a:cubicBezTo>
                    <a:pt x="1600" y="1035"/>
                    <a:pt x="1599" y="1028"/>
                    <a:pt x="1611" y="1027"/>
                  </a:cubicBezTo>
                  <a:cubicBezTo>
                    <a:pt x="1614" y="1027"/>
                    <a:pt x="1617" y="1024"/>
                    <a:pt x="1619" y="1023"/>
                  </a:cubicBezTo>
                  <a:cubicBezTo>
                    <a:pt x="1626" y="1019"/>
                    <a:pt x="1624" y="1013"/>
                    <a:pt x="1623" y="1008"/>
                  </a:cubicBezTo>
                  <a:cubicBezTo>
                    <a:pt x="1623" y="1002"/>
                    <a:pt x="1618" y="1003"/>
                    <a:pt x="1613" y="1002"/>
                  </a:cubicBezTo>
                  <a:cubicBezTo>
                    <a:pt x="1598" y="1002"/>
                    <a:pt x="1582" y="1004"/>
                    <a:pt x="1567" y="1000"/>
                  </a:cubicBezTo>
                  <a:cubicBezTo>
                    <a:pt x="1560" y="999"/>
                    <a:pt x="1554" y="993"/>
                    <a:pt x="1546" y="993"/>
                  </a:cubicBezTo>
                  <a:cubicBezTo>
                    <a:pt x="1536" y="994"/>
                    <a:pt x="1525" y="992"/>
                    <a:pt x="1515" y="993"/>
                  </a:cubicBezTo>
                  <a:cubicBezTo>
                    <a:pt x="1490" y="997"/>
                    <a:pt x="1469" y="1010"/>
                    <a:pt x="1462" y="1034"/>
                  </a:cubicBezTo>
                  <a:cubicBezTo>
                    <a:pt x="1455" y="1056"/>
                    <a:pt x="1457" y="1079"/>
                    <a:pt x="1476" y="1096"/>
                  </a:cubicBezTo>
                  <a:cubicBezTo>
                    <a:pt x="1483" y="1103"/>
                    <a:pt x="1483" y="1107"/>
                    <a:pt x="1476" y="1113"/>
                  </a:cubicBezTo>
                  <a:cubicBezTo>
                    <a:pt x="1462" y="1126"/>
                    <a:pt x="1462" y="1142"/>
                    <a:pt x="1473" y="1157"/>
                  </a:cubicBezTo>
                  <a:cubicBezTo>
                    <a:pt x="1476" y="1160"/>
                    <a:pt x="1476" y="1162"/>
                    <a:pt x="1472" y="1164"/>
                  </a:cubicBezTo>
                  <a:cubicBezTo>
                    <a:pt x="1470" y="1166"/>
                    <a:pt x="1468" y="1168"/>
                    <a:pt x="1466" y="1170"/>
                  </a:cubicBezTo>
                  <a:cubicBezTo>
                    <a:pt x="1449" y="1183"/>
                    <a:pt x="1444" y="1201"/>
                    <a:pt x="1454" y="1218"/>
                  </a:cubicBezTo>
                  <a:cubicBezTo>
                    <a:pt x="1464" y="1235"/>
                    <a:pt x="1479" y="1246"/>
                    <a:pt x="1499" y="1249"/>
                  </a:cubicBezTo>
                  <a:cubicBezTo>
                    <a:pt x="1517" y="1252"/>
                    <a:pt x="1535" y="1253"/>
                    <a:pt x="1553" y="1250"/>
                  </a:cubicBezTo>
                  <a:cubicBezTo>
                    <a:pt x="1584" y="1245"/>
                    <a:pt x="1607" y="1232"/>
                    <a:pt x="1619" y="1200"/>
                  </a:cubicBezTo>
                  <a:cubicBezTo>
                    <a:pt x="1627" y="1180"/>
                    <a:pt x="1611" y="1155"/>
                    <a:pt x="1593" y="1148"/>
                  </a:cubicBezTo>
                  <a:cubicBezTo>
                    <a:pt x="1578" y="1142"/>
                    <a:pt x="1563" y="1143"/>
                    <a:pt x="1549" y="1142"/>
                  </a:cubicBezTo>
                  <a:cubicBezTo>
                    <a:pt x="1540" y="1142"/>
                    <a:pt x="1532" y="1142"/>
                    <a:pt x="1525" y="1142"/>
                  </a:cubicBezTo>
                  <a:close/>
                  <a:moveTo>
                    <a:pt x="1556" y="1172"/>
                  </a:moveTo>
                  <a:cubicBezTo>
                    <a:pt x="1566" y="1172"/>
                    <a:pt x="1576" y="1176"/>
                    <a:pt x="1583" y="1183"/>
                  </a:cubicBezTo>
                  <a:cubicBezTo>
                    <a:pt x="1589" y="1190"/>
                    <a:pt x="1589" y="1198"/>
                    <a:pt x="1583" y="1205"/>
                  </a:cubicBezTo>
                  <a:cubicBezTo>
                    <a:pt x="1575" y="1215"/>
                    <a:pt x="1565" y="1220"/>
                    <a:pt x="1553" y="1223"/>
                  </a:cubicBezTo>
                  <a:cubicBezTo>
                    <a:pt x="1534" y="1228"/>
                    <a:pt x="1516" y="1225"/>
                    <a:pt x="1499" y="1219"/>
                  </a:cubicBezTo>
                  <a:cubicBezTo>
                    <a:pt x="1486" y="1214"/>
                    <a:pt x="1479" y="1203"/>
                    <a:pt x="1482" y="1193"/>
                  </a:cubicBezTo>
                  <a:cubicBezTo>
                    <a:pt x="1485" y="1182"/>
                    <a:pt x="1496" y="1168"/>
                    <a:pt x="1514" y="1171"/>
                  </a:cubicBezTo>
                  <a:cubicBezTo>
                    <a:pt x="1526" y="1173"/>
                    <a:pt x="1541" y="1171"/>
                    <a:pt x="1556" y="1172"/>
                  </a:cubicBezTo>
                  <a:close/>
                  <a:moveTo>
                    <a:pt x="1531" y="1019"/>
                  </a:moveTo>
                  <a:cubicBezTo>
                    <a:pt x="1553" y="1017"/>
                    <a:pt x="1570" y="1033"/>
                    <a:pt x="1570" y="1052"/>
                  </a:cubicBezTo>
                  <a:cubicBezTo>
                    <a:pt x="1570" y="1075"/>
                    <a:pt x="1554" y="1093"/>
                    <a:pt x="1532" y="1091"/>
                  </a:cubicBezTo>
                  <a:cubicBezTo>
                    <a:pt x="1508" y="1089"/>
                    <a:pt x="1494" y="1082"/>
                    <a:pt x="1493" y="1053"/>
                  </a:cubicBezTo>
                  <a:cubicBezTo>
                    <a:pt x="1494" y="1029"/>
                    <a:pt x="1508" y="1020"/>
                    <a:pt x="1531" y="1019"/>
                  </a:cubicBezTo>
                  <a:close/>
                  <a:moveTo>
                    <a:pt x="1413" y="934"/>
                  </a:moveTo>
                  <a:cubicBezTo>
                    <a:pt x="1413" y="909"/>
                    <a:pt x="1413" y="909"/>
                    <a:pt x="1389" y="910"/>
                  </a:cubicBezTo>
                  <a:cubicBezTo>
                    <a:pt x="1388" y="910"/>
                    <a:pt x="1387" y="910"/>
                    <a:pt x="1387" y="910"/>
                  </a:cubicBezTo>
                  <a:cubicBezTo>
                    <a:pt x="1379" y="910"/>
                    <a:pt x="1376" y="915"/>
                    <a:pt x="1376" y="921"/>
                  </a:cubicBezTo>
                  <a:cubicBezTo>
                    <a:pt x="1376" y="939"/>
                    <a:pt x="1377" y="956"/>
                    <a:pt x="1377" y="974"/>
                  </a:cubicBezTo>
                  <a:cubicBezTo>
                    <a:pt x="1377" y="983"/>
                    <a:pt x="1377" y="991"/>
                    <a:pt x="1377" y="1000"/>
                  </a:cubicBezTo>
                  <a:cubicBezTo>
                    <a:pt x="1377" y="1005"/>
                    <a:pt x="1374" y="1009"/>
                    <a:pt x="1369" y="1005"/>
                  </a:cubicBezTo>
                  <a:cubicBezTo>
                    <a:pt x="1352" y="990"/>
                    <a:pt x="1332" y="993"/>
                    <a:pt x="1312" y="993"/>
                  </a:cubicBezTo>
                  <a:cubicBezTo>
                    <a:pt x="1303" y="994"/>
                    <a:pt x="1294" y="998"/>
                    <a:pt x="1287" y="1003"/>
                  </a:cubicBezTo>
                  <a:cubicBezTo>
                    <a:pt x="1265" y="1017"/>
                    <a:pt x="1252" y="1039"/>
                    <a:pt x="1248" y="1065"/>
                  </a:cubicBezTo>
                  <a:cubicBezTo>
                    <a:pt x="1244" y="1096"/>
                    <a:pt x="1244" y="1128"/>
                    <a:pt x="1261" y="1157"/>
                  </a:cubicBezTo>
                  <a:cubicBezTo>
                    <a:pt x="1270" y="1170"/>
                    <a:pt x="1281" y="1181"/>
                    <a:pt x="1296" y="1185"/>
                  </a:cubicBezTo>
                  <a:cubicBezTo>
                    <a:pt x="1323" y="1191"/>
                    <a:pt x="1349" y="1188"/>
                    <a:pt x="1370" y="1167"/>
                  </a:cubicBezTo>
                  <a:cubicBezTo>
                    <a:pt x="1372" y="1165"/>
                    <a:pt x="1375" y="1162"/>
                    <a:pt x="1379" y="1163"/>
                  </a:cubicBezTo>
                  <a:cubicBezTo>
                    <a:pt x="1382" y="1165"/>
                    <a:pt x="1381" y="1169"/>
                    <a:pt x="1381" y="1172"/>
                  </a:cubicBezTo>
                  <a:cubicBezTo>
                    <a:pt x="1383" y="1181"/>
                    <a:pt x="1390" y="1186"/>
                    <a:pt x="1403" y="1186"/>
                  </a:cubicBezTo>
                  <a:cubicBezTo>
                    <a:pt x="1413" y="1185"/>
                    <a:pt x="1413" y="1178"/>
                    <a:pt x="1413" y="1172"/>
                  </a:cubicBezTo>
                  <a:cubicBezTo>
                    <a:pt x="1413" y="1131"/>
                    <a:pt x="1413" y="1090"/>
                    <a:pt x="1413" y="1049"/>
                  </a:cubicBezTo>
                  <a:cubicBezTo>
                    <a:pt x="1413" y="1010"/>
                    <a:pt x="1413" y="972"/>
                    <a:pt x="1413" y="934"/>
                  </a:cubicBezTo>
                  <a:close/>
                  <a:moveTo>
                    <a:pt x="1378" y="1113"/>
                  </a:moveTo>
                  <a:cubicBezTo>
                    <a:pt x="1378" y="1136"/>
                    <a:pt x="1360" y="1155"/>
                    <a:pt x="1337" y="1157"/>
                  </a:cubicBezTo>
                  <a:cubicBezTo>
                    <a:pt x="1319" y="1159"/>
                    <a:pt x="1304" y="1154"/>
                    <a:pt x="1294" y="1139"/>
                  </a:cubicBezTo>
                  <a:cubicBezTo>
                    <a:pt x="1286" y="1128"/>
                    <a:pt x="1283" y="1116"/>
                    <a:pt x="1283" y="1102"/>
                  </a:cubicBezTo>
                  <a:cubicBezTo>
                    <a:pt x="1282" y="1085"/>
                    <a:pt x="1282" y="1067"/>
                    <a:pt x="1290" y="1051"/>
                  </a:cubicBezTo>
                  <a:cubicBezTo>
                    <a:pt x="1297" y="1036"/>
                    <a:pt x="1308" y="1024"/>
                    <a:pt x="1325" y="1022"/>
                  </a:cubicBezTo>
                  <a:cubicBezTo>
                    <a:pt x="1342" y="1020"/>
                    <a:pt x="1358" y="1021"/>
                    <a:pt x="1371" y="1035"/>
                  </a:cubicBezTo>
                  <a:cubicBezTo>
                    <a:pt x="1376" y="1041"/>
                    <a:pt x="1378" y="1046"/>
                    <a:pt x="1378" y="1052"/>
                  </a:cubicBezTo>
                  <a:cubicBezTo>
                    <a:pt x="1378" y="1064"/>
                    <a:pt x="1378" y="1075"/>
                    <a:pt x="1378" y="1086"/>
                  </a:cubicBezTo>
                  <a:cubicBezTo>
                    <a:pt x="1378" y="1086"/>
                    <a:pt x="1378" y="1086"/>
                    <a:pt x="1378" y="1086"/>
                  </a:cubicBezTo>
                  <a:cubicBezTo>
                    <a:pt x="1378" y="1095"/>
                    <a:pt x="1378" y="1104"/>
                    <a:pt x="1378" y="1113"/>
                  </a:cubicBezTo>
                  <a:close/>
                  <a:moveTo>
                    <a:pt x="578" y="259"/>
                  </a:moveTo>
                  <a:cubicBezTo>
                    <a:pt x="603" y="241"/>
                    <a:pt x="611" y="213"/>
                    <a:pt x="614" y="183"/>
                  </a:cubicBezTo>
                  <a:cubicBezTo>
                    <a:pt x="615" y="171"/>
                    <a:pt x="610" y="159"/>
                    <a:pt x="609" y="147"/>
                  </a:cubicBezTo>
                  <a:cubicBezTo>
                    <a:pt x="608" y="137"/>
                    <a:pt x="603" y="129"/>
                    <a:pt x="599" y="121"/>
                  </a:cubicBezTo>
                  <a:cubicBezTo>
                    <a:pt x="579" y="87"/>
                    <a:pt x="527" y="70"/>
                    <a:pt x="488" y="85"/>
                  </a:cubicBezTo>
                  <a:cubicBezTo>
                    <a:pt x="453" y="99"/>
                    <a:pt x="436" y="127"/>
                    <a:pt x="431" y="163"/>
                  </a:cubicBezTo>
                  <a:cubicBezTo>
                    <a:pt x="429" y="180"/>
                    <a:pt x="430" y="196"/>
                    <a:pt x="436" y="213"/>
                  </a:cubicBezTo>
                  <a:cubicBezTo>
                    <a:pt x="439" y="222"/>
                    <a:pt x="442" y="232"/>
                    <a:pt x="447" y="239"/>
                  </a:cubicBezTo>
                  <a:cubicBezTo>
                    <a:pt x="465" y="265"/>
                    <a:pt x="491" y="277"/>
                    <a:pt x="525" y="276"/>
                  </a:cubicBezTo>
                  <a:cubicBezTo>
                    <a:pt x="543" y="278"/>
                    <a:pt x="562" y="271"/>
                    <a:pt x="578" y="259"/>
                  </a:cubicBezTo>
                  <a:close/>
                  <a:moveTo>
                    <a:pt x="471" y="205"/>
                  </a:moveTo>
                  <a:cubicBezTo>
                    <a:pt x="466" y="185"/>
                    <a:pt x="468" y="167"/>
                    <a:pt x="472" y="147"/>
                  </a:cubicBezTo>
                  <a:cubicBezTo>
                    <a:pt x="477" y="130"/>
                    <a:pt x="493" y="116"/>
                    <a:pt x="509" y="112"/>
                  </a:cubicBezTo>
                  <a:cubicBezTo>
                    <a:pt x="525" y="108"/>
                    <a:pt x="539" y="110"/>
                    <a:pt x="553" y="119"/>
                  </a:cubicBezTo>
                  <a:cubicBezTo>
                    <a:pt x="563" y="125"/>
                    <a:pt x="568" y="135"/>
                    <a:pt x="571" y="146"/>
                  </a:cubicBezTo>
                  <a:cubicBezTo>
                    <a:pt x="577" y="167"/>
                    <a:pt x="578" y="189"/>
                    <a:pt x="571" y="211"/>
                  </a:cubicBezTo>
                  <a:cubicBezTo>
                    <a:pt x="565" y="231"/>
                    <a:pt x="549" y="249"/>
                    <a:pt x="521" y="247"/>
                  </a:cubicBezTo>
                  <a:cubicBezTo>
                    <a:pt x="496" y="247"/>
                    <a:pt x="478" y="230"/>
                    <a:pt x="471" y="205"/>
                  </a:cubicBezTo>
                  <a:close/>
                  <a:moveTo>
                    <a:pt x="472" y="1122"/>
                  </a:moveTo>
                  <a:cubicBezTo>
                    <a:pt x="475" y="1136"/>
                    <a:pt x="481" y="1148"/>
                    <a:pt x="491" y="1158"/>
                  </a:cubicBezTo>
                  <a:cubicBezTo>
                    <a:pt x="506" y="1176"/>
                    <a:pt x="524" y="1185"/>
                    <a:pt x="548" y="1187"/>
                  </a:cubicBezTo>
                  <a:cubicBezTo>
                    <a:pt x="568" y="1188"/>
                    <a:pt x="587" y="1187"/>
                    <a:pt x="605" y="1177"/>
                  </a:cubicBezTo>
                  <a:cubicBezTo>
                    <a:pt x="632" y="1162"/>
                    <a:pt x="644" y="1136"/>
                    <a:pt x="649" y="1107"/>
                  </a:cubicBezTo>
                  <a:cubicBezTo>
                    <a:pt x="652" y="1089"/>
                    <a:pt x="649" y="1072"/>
                    <a:pt x="644" y="1054"/>
                  </a:cubicBezTo>
                  <a:cubicBezTo>
                    <a:pt x="638" y="1034"/>
                    <a:pt x="627" y="1019"/>
                    <a:pt x="610" y="1007"/>
                  </a:cubicBezTo>
                  <a:cubicBezTo>
                    <a:pt x="589" y="992"/>
                    <a:pt x="566" y="991"/>
                    <a:pt x="541" y="994"/>
                  </a:cubicBezTo>
                  <a:cubicBezTo>
                    <a:pt x="526" y="995"/>
                    <a:pt x="512" y="1002"/>
                    <a:pt x="500" y="1012"/>
                  </a:cubicBezTo>
                  <a:cubicBezTo>
                    <a:pt x="476" y="1032"/>
                    <a:pt x="469" y="1060"/>
                    <a:pt x="466" y="1095"/>
                  </a:cubicBezTo>
                  <a:cubicBezTo>
                    <a:pt x="465" y="1101"/>
                    <a:pt x="470" y="1111"/>
                    <a:pt x="472" y="1122"/>
                  </a:cubicBezTo>
                  <a:close/>
                  <a:moveTo>
                    <a:pt x="508" y="1113"/>
                  </a:moveTo>
                  <a:cubicBezTo>
                    <a:pt x="505" y="1095"/>
                    <a:pt x="506" y="1078"/>
                    <a:pt x="508" y="1061"/>
                  </a:cubicBezTo>
                  <a:cubicBezTo>
                    <a:pt x="511" y="1042"/>
                    <a:pt x="538" y="1021"/>
                    <a:pt x="554" y="1022"/>
                  </a:cubicBezTo>
                  <a:cubicBezTo>
                    <a:pt x="570" y="1022"/>
                    <a:pt x="586" y="1024"/>
                    <a:pt x="596" y="1037"/>
                  </a:cubicBezTo>
                  <a:cubicBezTo>
                    <a:pt x="602" y="1044"/>
                    <a:pt x="607" y="1052"/>
                    <a:pt x="608" y="1061"/>
                  </a:cubicBezTo>
                  <a:cubicBezTo>
                    <a:pt x="608" y="1064"/>
                    <a:pt x="609" y="1067"/>
                    <a:pt x="610" y="1070"/>
                  </a:cubicBezTo>
                  <a:cubicBezTo>
                    <a:pt x="618" y="1089"/>
                    <a:pt x="612" y="1107"/>
                    <a:pt x="607" y="1125"/>
                  </a:cubicBezTo>
                  <a:cubicBezTo>
                    <a:pt x="601" y="1143"/>
                    <a:pt x="588" y="1160"/>
                    <a:pt x="558" y="1157"/>
                  </a:cubicBezTo>
                  <a:cubicBezTo>
                    <a:pt x="530" y="1157"/>
                    <a:pt x="512" y="1141"/>
                    <a:pt x="508" y="1113"/>
                  </a:cubicBezTo>
                  <a:close/>
                  <a:moveTo>
                    <a:pt x="430" y="716"/>
                  </a:moveTo>
                  <a:cubicBezTo>
                    <a:pt x="450" y="703"/>
                    <a:pt x="459" y="683"/>
                    <a:pt x="464" y="661"/>
                  </a:cubicBezTo>
                  <a:cubicBezTo>
                    <a:pt x="468" y="648"/>
                    <a:pt x="467" y="635"/>
                    <a:pt x="466" y="621"/>
                  </a:cubicBezTo>
                  <a:cubicBezTo>
                    <a:pt x="463" y="592"/>
                    <a:pt x="453" y="567"/>
                    <a:pt x="427" y="550"/>
                  </a:cubicBezTo>
                  <a:cubicBezTo>
                    <a:pt x="401" y="534"/>
                    <a:pt x="372" y="532"/>
                    <a:pt x="345" y="541"/>
                  </a:cubicBezTo>
                  <a:cubicBezTo>
                    <a:pt x="310" y="552"/>
                    <a:pt x="291" y="580"/>
                    <a:pt x="287" y="617"/>
                  </a:cubicBezTo>
                  <a:cubicBezTo>
                    <a:pt x="286" y="629"/>
                    <a:pt x="286" y="641"/>
                    <a:pt x="287" y="654"/>
                  </a:cubicBezTo>
                  <a:cubicBezTo>
                    <a:pt x="289" y="671"/>
                    <a:pt x="295" y="686"/>
                    <a:pt x="306" y="700"/>
                  </a:cubicBezTo>
                  <a:cubicBezTo>
                    <a:pt x="324" y="722"/>
                    <a:pt x="348" y="733"/>
                    <a:pt x="378" y="731"/>
                  </a:cubicBezTo>
                  <a:cubicBezTo>
                    <a:pt x="396" y="733"/>
                    <a:pt x="414" y="727"/>
                    <a:pt x="430" y="716"/>
                  </a:cubicBezTo>
                  <a:close/>
                  <a:moveTo>
                    <a:pt x="331" y="592"/>
                  </a:moveTo>
                  <a:cubicBezTo>
                    <a:pt x="339" y="580"/>
                    <a:pt x="349" y="569"/>
                    <a:pt x="365" y="567"/>
                  </a:cubicBezTo>
                  <a:cubicBezTo>
                    <a:pt x="387" y="564"/>
                    <a:pt x="406" y="568"/>
                    <a:pt x="419" y="588"/>
                  </a:cubicBezTo>
                  <a:cubicBezTo>
                    <a:pt x="423" y="595"/>
                    <a:pt x="426" y="603"/>
                    <a:pt x="427" y="610"/>
                  </a:cubicBezTo>
                  <a:cubicBezTo>
                    <a:pt x="433" y="635"/>
                    <a:pt x="431" y="661"/>
                    <a:pt x="416" y="684"/>
                  </a:cubicBezTo>
                  <a:cubicBezTo>
                    <a:pt x="403" y="706"/>
                    <a:pt x="362" y="708"/>
                    <a:pt x="345" y="692"/>
                  </a:cubicBezTo>
                  <a:cubicBezTo>
                    <a:pt x="329" y="678"/>
                    <a:pt x="323" y="661"/>
                    <a:pt x="323" y="631"/>
                  </a:cubicBezTo>
                  <a:cubicBezTo>
                    <a:pt x="323" y="619"/>
                    <a:pt x="323" y="605"/>
                    <a:pt x="331" y="592"/>
                  </a:cubicBezTo>
                  <a:close/>
                  <a:moveTo>
                    <a:pt x="1073" y="259"/>
                  </a:moveTo>
                  <a:cubicBezTo>
                    <a:pt x="1073" y="269"/>
                    <a:pt x="1075" y="272"/>
                    <a:pt x="1086" y="272"/>
                  </a:cubicBezTo>
                  <a:cubicBezTo>
                    <a:pt x="1088" y="272"/>
                    <a:pt x="1090" y="272"/>
                    <a:pt x="1092" y="272"/>
                  </a:cubicBezTo>
                  <a:cubicBezTo>
                    <a:pt x="1105" y="272"/>
                    <a:pt x="1106" y="271"/>
                    <a:pt x="1106" y="258"/>
                  </a:cubicBezTo>
                  <a:cubicBezTo>
                    <a:pt x="1106" y="221"/>
                    <a:pt x="1106" y="184"/>
                    <a:pt x="1106" y="147"/>
                  </a:cubicBezTo>
                  <a:cubicBezTo>
                    <a:pt x="1106" y="143"/>
                    <a:pt x="1106" y="140"/>
                    <a:pt x="1107" y="137"/>
                  </a:cubicBezTo>
                  <a:cubicBezTo>
                    <a:pt x="1117" y="117"/>
                    <a:pt x="1157" y="104"/>
                    <a:pt x="1177" y="114"/>
                  </a:cubicBezTo>
                  <a:cubicBezTo>
                    <a:pt x="1179" y="115"/>
                    <a:pt x="1180" y="117"/>
                    <a:pt x="1182" y="118"/>
                  </a:cubicBezTo>
                  <a:cubicBezTo>
                    <a:pt x="1194" y="131"/>
                    <a:pt x="1196" y="147"/>
                    <a:pt x="1196" y="163"/>
                  </a:cubicBezTo>
                  <a:cubicBezTo>
                    <a:pt x="1197" y="195"/>
                    <a:pt x="1196" y="226"/>
                    <a:pt x="1196" y="258"/>
                  </a:cubicBezTo>
                  <a:cubicBezTo>
                    <a:pt x="1196" y="271"/>
                    <a:pt x="1197" y="272"/>
                    <a:pt x="1210" y="272"/>
                  </a:cubicBezTo>
                  <a:cubicBezTo>
                    <a:pt x="1212" y="272"/>
                    <a:pt x="1213" y="272"/>
                    <a:pt x="1215" y="272"/>
                  </a:cubicBezTo>
                  <a:cubicBezTo>
                    <a:pt x="1227" y="272"/>
                    <a:pt x="1229" y="270"/>
                    <a:pt x="1229" y="258"/>
                  </a:cubicBezTo>
                  <a:cubicBezTo>
                    <a:pt x="1229" y="222"/>
                    <a:pt x="1229" y="187"/>
                    <a:pt x="1229" y="151"/>
                  </a:cubicBezTo>
                  <a:cubicBezTo>
                    <a:pt x="1229" y="142"/>
                    <a:pt x="1228" y="132"/>
                    <a:pt x="1225" y="123"/>
                  </a:cubicBezTo>
                  <a:cubicBezTo>
                    <a:pt x="1219" y="105"/>
                    <a:pt x="1208" y="91"/>
                    <a:pt x="1189" y="85"/>
                  </a:cubicBezTo>
                  <a:cubicBezTo>
                    <a:pt x="1173" y="80"/>
                    <a:pt x="1156" y="84"/>
                    <a:pt x="1139" y="84"/>
                  </a:cubicBezTo>
                  <a:cubicBezTo>
                    <a:pt x="1137" y="84"/>
                    <a:pt x="1136" y="86"/>
                    <a:pt x="1134" y="87"/>
                  </a:cubicBezTo>
                  <a:cubicBezTo>
                    <a:pt x="1128" y="91"/>
                    <a:pt x="1121" y="96"/>
                    <a:pt x="1115" y="100"/>
                  </a:cubicBezTo>
                  <a:cubicBezTo>
                    <a:pt x="1113" y="102"/>
                    <a:pt x="1111" y="105"/>
                    <a:pt x="1108" y="103"/>
                  </a:cubicBezTo>
                  <a:cubicBezTo>
                    <a:pt x="1105" y="102"/>
                    <a:pt x="1106" y="98"/>
                    <a:pt x="1106" y="96"/>
                  </a:cubicBezTo>
                  <a:cubicBezTo>
                    <a:pt x="1106" y="69"/>
                    <a:pt x="1106" y="43"/>
                    <a:pt x="1106" y="17"/>
                  </a:cubicBezTo>
                  <a:cubicBezTo>
                    <a:pt x="1106" y="0"/>
                    <a:pt x="1106" y="0"/>
                    <a:pt x="1089" y="0"/>
                  </a:cubicBezTo>
                  <a:cubicBezTo>
                    <a:pt x="1074" y="0"/>
                    <a:pt x="1073" y="1"/>
                    <a:pt x="1073" y="16"/>
                  </a:cubicBezTo>
                  <a:cubicBezTo>
                    <a:pt x="1073" y="56"/>
                    <a:pt x="1073" y="96"/>
                    <a:pt x="1073" y="136"/>
                  </a:cubicBezTo>
                  <a:cubicBezTo>
                    <a:pt x="1073" y="177"/>
                    <a:pt x="1073" y="218"/>
                    <a:pt x="1073" y="259"/>
                  </a:cubicBezTo>
                  <a:close/>
                  <a:moveTo>
                    <a:pt x="1150" y="1092"/>
                  </a:moveTo>
                  <a:cubicBezTo>
                    <a:pt x="1168" y="1092"/>
                    <a:pt x="1186" y="1092"/>
                    <a:pt x="1204" y="1092"/>
                  </a:cubicBezTo>
                  <a:cubicBezTo>
                    <a:pt x="1215" y="1092"/>
                    <a:pt x="1218" y="1087"/>
                    <a:pt x="1219" y="1077"/>
                  </a:cubicBezTo>
                  <a:cubicBezTo>
                    <a:pt x="1220" y="1062"/>
                    <a:pt x="1216" y="1049"/>
                    <a:pt x="1210" y="1036"/>
                  </a:cubicBezTo>
                  <a:cubicBezTo>
                    <a:pt x="1204" y="1020"/>
                    <a:pt x="1193" y="1008"/>
                    <a:pt x="1177" y="1001"/>
                  </a:cubicBezTo>
                  <a:cubicBezTo>
                    <a:pt x="1155" y="992"/>
                    <a:pt x="1133" y="991"/>
                    <a:pt x="1109" y="999"/>
                  </a:cubicBezTo>
                  <a:cubicBezTo>
                    <a:pt x="1079" y="1010"/>
                    <a:pt x="1062" y="1031"/>
                    <a:pt x="1056" y="1061"/>
                  </a:cubicBezTo>
                  <a:cubicBezTo>
                    <a:pt x="1051" y="1090"/>
                    <a:pt x="1052" y="1120"/>
                    <a:pt x="1069" y="1148"/>
                  </a:cubicBezTo>
                  <a:cubicBezTo>
                    <a:pt x="1081" y="1169"/>
                    <a:pt x="1100" y="1180"/>
                    <a:pt x="1122" y="1185"/>
                  </a:cubicBezTo>
                  <a:cubicBezTo>
                    <a:pt x="1149" y="1190"/>
                    <a:pt x="1176" y="1186"/>
                    <a:pt x="1200" y="1171"/>
                  </a:cubicBezTo>
                  <a:cubicBezTo>
                    <a:pt x="1206" y="1168"/>
                    <a:pt x="1213" y="1165"/>
                    <a:pt x="1214" y="1157"/>
                  </a:cubicBezTo>
                  <a:cubicBezTo>
                    <a:pt x="1215" y="1147"/>
                    <a:pt x="1202" y="1139"/>
                    <a:pt x="1193" y="1144"/>
                  </a:cubicBezTo>
                  <a:cubicBezTo>
                    <a:pt x="1187" y="1147"/>
                    <a:pt x="1180" y="1150"/>
                    <a:pt x="1174" y="1153"/>
                  </a:cubicBezTo>
                  <a:cubicBezTo>
                    <a:pt x="1158" y="1161"/>
                    <a:pt x="1140" y="1161"/>
                    <a:pt x="1124" y="1155"/>
                  </a:cubicBezTo>
                  <a:cubicBezTo>
                    <a:pt x="1112" y="1151"/>
                    <a:pt x="1102" y="1142"/>
                    <a:pt x="1096" y="1129"/>
                  </a:cubicBezTo>
                  <a:cubicBezTo>
                    <a:pt x="1092" y="1121"/>
                    <a:pt x="1091" y="1112"/>
                    <a:pt x="1089" y="1104"/>
                  </a:cubicBezTo>
                  <a:cubicBezTo>
                    <a:pt x="1087" y="1093"/>
                    <a:pt x="1087" y="1092"/>
                    <a:pt x="1099" y="1092"/>
                  </a:cubicBezTo>
                  <a:cubicBezTo>
                    <a:pt x="1116" y="1092"/>
                    <a:pt x="1133" y="1092"/>
                    <a:pt x="1150" y="1092"/>
                  </a:cubicBezTo>
                  <a:cubicBezTo>
                    <a:pt x="1150" y="1092"/>
                    <a:pt x="1150" y="1092"/>
                    <a:pt x="1150" y="1092"/>
                  </a:cubicBezTo>
                  <a:close/>
                  <a:moveTo>
                    <a:pt x="1099" y="1070"/>
                  </a:moveTo>
                  <a:cubicBezTo>
                    <a:pt x="1092" y="1071"/>
                    <a:pt x="1089" y="1067"/>
                    <a:pt x="1091" y="1060"/>
                  </a:cubicBezTo>
                  <a:cubicBezTo>
                    <a:pt x="1094" y="1045"/>
                    <a:pt x="1108" y="1023"/>
                    <a:pt x="1128" y="1022"/>
                  </a:cubicBezTo>
                  <a:cubicBezTo>
                    <a:pt x="1142" y="1021"/>
                    <a:pt x="1156" y="1018"/>
                    <a:pt x="1168" y="1029"/>
                  </a:cubicBezTo>
                  <a:cubicBezTo>
                    <a:pt x="1181" y="1038"/>
                    <a:pt x="1185" y="1051"/>
                    <a:pt x="1187" y="1066"/>
                  </a:cubicBezTo>
                  <a:cubicBezTo>
                    <a:pt x="1188" y="1071"/>
                    <a:pt x="1183" y="1070"/>
                    <a:pt x="1180" y="1070"/>
                  </a:cubicBezTo>
                  <a:cubicBezTo>
                    <a:pt x="1166" y="1070"/>
                    <a:pt x="1153" y="1070"/>
                    <a:pt x="1139" y="1070"/>
                  </a:cubicBezTo>
                  <a:cubicBezTo>
                    <a:pt x="1139" y="1070"/>
                    <a:pt x="1139" y="1070"/>
                    <a:pt x="1139" y="1070"/>
                  </a:cubicBezTo>
                  <a:cubicBezTo>
                    <a:pt x="1126" y="1070"/>
                    <a:pt x="1113" y="1070"/>
                    <a:pt x="1099" y="1070"/>
                  </a:cubicBezTo>
                  <a:close/>
                  <a:moveTo>
                    <a:pt x="1741" y="1092"/>
                  </a:moveTo>
                  <a:cubicBezTo>
                    <a:pt x="1759" y="1092"/>
                    <a:pt x="1776" y="1092"/>
                    <a:pt x="1793" y="1092"/>
                  </a:cubicBezTo>
                  <a:cubicBezTo>
                    <a:pt x="1806" y="1092"/>
                    <a:pt x="1808" y="1089"/>
                    <a:pt x="1808" y="1076"/>
                  </a:cubicBezTo>
                  <a:cubicBezTo>
                    <a:pt x="1809" y="1063"/>
                    <a:pt x="1807" y="1051"/>
                    <a:pt x="1802" y="1038"/>
                  </a:cubicBezTo>
                  <a:cubicBezTo>
                    <a:pt x="1794" y="1021"/>
                    <a:pt x="1782" y="1008"/>
                    <a:pt x="1764" y="1000"/>
                  </a:cubicBezTo>
                  <a:cubicBezTo>
                    <a:pt x="1742" y="991"/>
                    <a:pt x="1720" y="991"/>
                    <a:pt x="1698" y="1000"/>
                  </a:cubicBezTo>
                  <a:cubicBezTo>
                    <a:pt x="1681" y="1006"/>
                    <a:pt x="1668" y="1016"/>
                    <a:pt x="1659" y="1031"/>
                  </a:cubicBezTo>
                  <a:cubicBezTo>
                    <a:pt x="1646" y="1050"/>
                    <a:pt x="1643" y="1071"/>
                    <a:pt x="1644" y="1094"/>
                  </a:cubicBezTo>
                  <a:cubicBezTo>
                    <a:pt x="1644" y="1110"/>
                    <a:pt x="1647" y="1127"/>
                    <a:pt x="1655" y="1141"/>
                  </a:cubicBezTo>
                  <a:cubicBezTo>
                    <a:pt x="1669" y="1168"/>
                    <a:pt x="1691" y="1183"/>
                    <a:pt x="1722" y="1186"/>
                  </a:cubicBezTo>
                  <a:cubicBezTo>
                    <a:pt x="1750" y="1188"/>
                    <a:pt x="1775" y="1183"/>
                    <a:pt x="1798" y="1165"/>
                  </a:cubicBezTo>
                  <a:cubicBezTo>
                    <a:pt x="1803" y="1161"/>
                    <a:pt x="1806" y="1157"/>
                    <a:pt x="1802" y="1151"/>
                  </a:cubicBezTo>
                  <a:cubicBezTo>
                    <a:pt x="1798" y="1144"/>
                    <a:pt x="1791" y="1140"/>
                    <a:pt x="1783" y="1144"/>
                  </a:cubicBezTo>
                  <a:cubicBezTo>
                    <a:pt x="1778" y="1147"/>
                    <a:pt x="1771" y="1149"/>
                    <a:pt x="1766" y="1152"/>
                  </a:cubicBezTo>
                  <a:cubicBezTo>
                    <a:pt x="1749" y="1161"/>
                    <a:pt x="1730" y="1162"/>
                    <a:pt x="1714" y="1155"/>
                  </a:cubicBezTo>
                  <a:cubicBezTo>
                    <a:pt x="1692" y="1145"/>
                    <a:pt x="1680" y="1127"/>
                    <a:pt x="1679" y="1102"/>
                  </a:cubicBezTo>
                  <a:cubicBezTo>
                    <a:pt x="1678" y="1095"/>
                    <a:pt x="1681" y="1092"/>
                    <a:pt x="1689" y="1092"/>
                  </a:cubicBezTo>
                  <a:cubicBezTo>
                    <a:pt x="1706" y="1092"/>
                    <a:pt x="1724" y="1092"/>
                    <a:pt x="1741" y="1092"/>
                  </a:cubicBezTo>
                  <a:cubicBezTo>
                    <a:pt x="1741" y="1092"/>
                    <a:pt x="1741" y="1092"/>
                    <a:pt x="1741" y="1092"/>
                  </a:cubicBezTo>
                  <a:close/>
                  <a:moveTo>
                    <a:pt x="1690" y="1070"/>
                  </a:moveTo>
                  <a:cubicBezTo>
                    <a:pt x="1683" y="1071"/>
                    <a:pt x="1680" y="1068"/>
                    <a:pt x="1681" y="1062"/>
                  </a:cubicBezTo>
                  <a:cubicBezTo>
                    <a:pt x="1683" y="1048"/>
                    <a:pt x="1697" y="1024"/>
                    <a:pt x="1716" y="1022"/>
                  </a:cubicBezTo>
                  <a:cubicBezTo>
                    <a:pt x="1731" y="1020"/>
                    <a:pt x="1747" y="1018"/>
                    <a:pt x="1760" y="1030"/>
                  </a:cubicBezTo>
                  <a:cubicBezTo>
                    <a:pt x="1771" y="1038"/>
                    <a:pt x="1775" y="1050"/>
                    <a:pt x="1778" y="1062"/>
                  </a:cubicBezTo>
                  <a:cubicBezTo>
                    <a:pt x="1780" y="1068"/>
                    <a:pt x="1775" y="1070"/>
                    <a:pt x="1769" y="1070"/>
                  </a:cubicBezTo>
                  <a:cubicBezTo>
                    <a:pt x="1756" y="1070"/>
                    <a:pt x="1742" y="1070"/>
                    <a:pt x="1729" y="1070"/>
                  </a:cubicBezTo>
                  <a:cubicBezTo>
                    <a:pt x="1729" y="1070"/>
                    <a:pt x="1729" y="1070"/>
                    <a:pt x="1729" y="1070"/>
                  </a:cubicBezTo>
                  <a:cubicBezTo>
                    <a:pt x="1716" y="1070"/>
                    <a:pt x="1703" y="1070"/>
                    <a:pt x="1690" y="1070"/>
                  </a:cubicBezTo>
                  <a:close/>
                  <a:moveTo>
                    <a:pt x="68" y="581"/>
                  </a:moveTo>
                  <a:cubicBezTo>
                    <a:pt x="68" y="573"/>
                    <a:pt x="70" y="568"/>
                    <a:pt x="80" y="569"/>
                  </a:cubicBezTo>
                  <a:cubicBezTo>
                    <a:pt x="90" y="570"/>
                    <a:pt x="101" y="570"/>
                    <a:pt x="111" y="569"/>
                  </a:cubicBezTo>
                  <a:cubicBezTo>
                    <a:pt x="120" y="569"/>
                    <a:pt x="120" y="563"/>
                    <a:pt x="120" y="556"/>
                  </a:cubicBezTo>
                  <a:cubicBezTo>
                    <a:pt x="120" y="549"/>
                    <a:pt x="119" y="544"/>
                    <a:pt x="111" y="544"/>
                  </a:cubicBezTo>
                  <a:cubicBezTo>
                    <a:pt x="104" y="544"/>
                    <a:pt x="97" y="544"/>
                    <a:pt x="91" y="544"/>
                  </a:cubicBezTo>
                  <a:cubicBezTo>
                    <a:pt x="66" y="544"/>
                    <a:pt x="65" y="543"/>
                    <a:pt x="68" y="518"/>
                  </a:cubicBezTo>
                  <a:cubicBezTo>
                    <a:pt x="69" y="504"/>
                    <a:pt x="83" y="487"/>
                    <a:pt x="99" y="489"/>
                  </a:cubicBezTo>
                  <a:cubicBezTo>
                    <a:pt x="103" y="489"/>
                    <a:pt x="107" y="489"/>
                    <a:pt x="110" y="488"/>
                  </a:cubicBezTo>
                  <a:cubicBezTo>
                    <a:pt x="118" y="487"/>
                    <a:pt x="123" y="479"/>
                    <a:pt x="123" y="471"/>
                  </a:cubicBezTo>
                  <a:cubicBezTo>
                    <a:pt x="123" y="461"/>
                    <a:pt x="116" y="462"/>
                    <a:pt x="109" y="460"/>
                  </a:cubicBezTo>
                  <a:cubicBezTo>
                    <a:pt x="100" y="458"/>
                    <a:pt x="92" y="460"/>
                    <a:pt x="84" y="460"/>
                  </a:cubicBezTo>
                  <a:cubicBezTo>
                    <a:pt x="68" y="461"/>
                    <a:pt x="56" y="469"/>
                    <a:pt x="47" y="480"/>
                  </a:cubicBezTo>
                  <a:cubicBezTo>
                    <a:pt x="34" y="493"/>
                    <a:pt x="32" y="511"/>
                    <a:pt x="32" y="529"/>
                  </a:cubicBezTo>
                  <a:cubicBezTo>
                    <a:pt x="32" y="544"/>
                    <a:pt x="32" y="544"/>
                    <a:pt x="17" y="544"/>
                  </a:cubicBezTo>
                  <a:cubicBezTo>
                    <a:pt x="4" y="543"/>
                    <a:pt x="0" y="548"/>
                    <a:pt x="4" y="561"/>
                  </a:cubicBezTo>
                  <a:cubicBezTo>
                    <a:pt x="6" y="569"/>
                    <a:pt x="13" y="568"/>
                    <a:pt x="19" y="569"/>
                  </a:cubicBezTo>
                  <a:cubicBezTo>
                    <a:pt x="32" y="571"/>
                    <a:pt x="32" y="571"/>
                    <a:pt x="32" y="584"/>
                  </a:cubicBezTo>
                  <a:cubicBezTo>
                    <a:pt x="32" y="624"/>
                    <a:pt x="32" y="664"/>
                    <a:pt x="32" y="704"/>
                  </a:cubicBezTo>
                  <a:cubicBezTo>
                    <a:pt x="32" y="731"/>
                    <a:pt x="32" y="730"/>
                    <a:pt x="57" y="731"/>
                  </a:cubicBezTo>
                  <a:cubicBezTo>
                    <a:pt x="66" y="731"/>
                    <a:pt x="68" y="727"/>
                    <a:pt x="68" y="720"/>
                  </a:cubicBezTo>
                  <a:cubicBezTo>
                    <a:pt x="68" y="697"/>
                    <a:pt x="68" y="674"/>
                    <a:pt x="68" y="651"/>
                  </a:cubicBezTo>
                  <a:cubicBezTo>
                    <a:pt x="68" y="628"/>
                    <a:pt x="68" y="605"/>
                    <a:pt x="68" y="581"/>
                  </a:cubicBezTo>
                  <a:close/>
                  <a:moveTo>
                    <a:pt x="278" y="1165"/>
                  </a:moveTo>
                  <a:cubicBezTo>
                    <a:pt x="278" y="1183"/>
                    <a:pt x="278" y="1183"/>
                    <a:pt x="296" y="1184"/>
                  </a:cubicBezTo>
                  <a:cubicBezTo>
                    <a:pt x="310" y="1184"/>
                    <a:pt x="310" y="1184"/>
                    <a:pt x="310" y="1169"/>
                  </a:cubicBezTo>
                  <a:cubicBezTo>
                    <a:pt x="310" y="1132"/>
                    <a:pt x="310" y="1095"/>
                    <a:pt x="310" y="1058"/>
                  </a:cubicBezTo>
                  <a:cubicBezTo>
                    <a:pt x="310" y="1052"/>
                    <a:pt x="312" y="1047"/>
                    <a:pt x="316" y="1042"/>
                  </a:cubicBezTo>
                  <a:cubicBezTo>
                    <a:pt x="324" y="1033"/>
                    <a:pt x="334" y="1027"/>
                    <a:pt x="345" y="1024"/>
                  </a:cubicBezTo>
                  <a:cubicBezTo>
                    <a:pt x="357" y="1020"/>
                    <a:pt x="371" y="1018"/>
                    <a:pt x="383" y="1028"/>
                  </a:cubicBezTo>
                  <a:cubicBezTo>
                    <a:pt x="397" y="1039"/>
                    <a:pt x="401" y="1054"/>
                    <a:pt x="401" y="1071"/>
                  </a:cubicBezTo>
                  <a:cubicBezTo>
                    <a:pt x="401" y="1102"/>
                    <a:pt x="401" y="1132"/>
                    <a:pt x="401" y="1163"/>
                  </a:cubicBezTo>
                  <a:cubicBezTo>
                    <a:pt x="401" y="1183"/>
                    <a:pt x="401" y="1182"/>
                    <a:pt x="420" y="1184"/>
                  </a:cubicBezTo>
                  <a:cubicBezTo>
                    <a:pt x="429" y="1185"/>
                    <a:pt x="433" y="1181"/>
                    <a:pt x="433" y="1173"/>
                  </a:cubicBezTo>
                  <a:cubicBezTo>
                    <a:pt x="432" y="1130"/>
                    <a:pt x="435" y="1087"/>
                    <a:pt x="431" y="1044"/>
                  </a:cubicBezTo>
                  <a:cubicBezTo>
                    <a:pt x="427" y="1014"/>
                    <a:pt x="404" y="996"/>
                    <a:pt x="376" y="994"/>
                  </a:cubicBezTo>
                  <a:cubicBezTo>
                    <a:pt x="353" y="992"/>
                    <a:pt x="333" y="1000"/>
                    <a:pt x="317" y="1017"/>
                  </a:cubicBezTo>
                  <a:cubicBezTo>
                    <a:pt x="312" y="1021"/>
                    <a:pt x="311" y="1019"/>
                    <a:pt x="309" y="1015"/>
                  </a:cubicBezTo>
                  <a:cubicBezTo>
                    <a:pt x="309" y="1013"/>
                    <a:pt x="308" y="1011"/>
                    <a:pt x="308" y="1008"/>
                  </a:cubicBezTo>
                  <a:cubicBezTo>
                    <a:pt x="306" y="1001"/>
                    <a:pt x="298" y="997"/>
                    <a:pt x="287" y="998"/>
                  </a:cubicBezTo>
                  <a:cubicBezTo>
                    <a:pt x="279" y="999"/>
                    <a:pt x="278" y="1004"/>
                    <a:pt x="278" y="1011"/>
                  </a:cubicBezTo>
                  <a:cubicBezTo>
                    <a:pt x="278" y="1037"/>
                    <a:pt x="278" y="1064"/>
                    <a:pt x="278" y="1091"/>
                  </a:cubicBezTo>
                  <a:cubicBezTo>
                    <a:pt x="278" y="1115"/>
                    <a:pt x="278" y="1140"/>
                    <a:pt x="278" y="1165"/>
                  </a:cubicBezTo>
                  <a:close/>
                  <a:moveTo>
                    <a:pt x="150" y="705"/>
                  </a:moveTo>
                  <a:cubicBezTo>
                    <a:pt x="150" y="734"/>
                    <a:pt x="145" y="730"/>
                    <a:pt x="176" y="731"/>
                  </a:cubicBezTo>
                  <a:cubicBezTo>
                    <a:pt x="185" y="731"/>
                    <a:pt x="187" y="727"/>
                    <a:pt x="187" y="719"/>
                  </a:cubicBezTo>
                  <a:cubicBezTo>
                    <a:pt x="187" y="685"/>
                    <a:pt x="187" y="651"/>
                    <a:pt x="187" y="618"/>
                  </a:cubicBezTo>
                  <a:cubicBezTo>
                    <a:pt x="187" y="597"/>
                    <a:pt x="204" y="578"/>
                    <a:pt x="225" y="574"/>
                  </a:cubicBezTo>
                  <a:cubicBezTo>
                    <a:pt x="232" y="572"/>
                    <a:pt x="240" y="574"/>
                    <a:pt x="247" y="575"/>
                  </a:cubicBezTo>
                  <a:cubicBezTo>
                    <a:pt x="257" y="576"/>
                    <a:pt x="261" y="572"/>
                    <a:pt x="265" y="564"/>
                  </a:cubicBezTo>
                  <a:cubicBezTo>
                    <a:pt x="269" y="556"/>
                    <a:pt x="267" y="542"/>
                    <a:pt x="261" y="540"/>
                  </a:cubicBezTo>
                  <a:cubicBezTo>
                    <a:pt x="253" y="538"/>
                    <a:pt x="244" y="534"/>
                    <a:pt x="237" y="536"/>
                  </a:cubicBezTo>
                  <a:cubicBezTo>
                    <a:pt x="228" y="537"/>
                    <a:pt x="217" y="537"/>
                    <a:pt x="209" y="544"/>
                  </a:cubicBezTo>
                  <a:cubicBezTo>
                    <a:pt x="204" y="549"/>
                    <a:pt x="198" y="553"/>
                    <a:pt x="194" y="558"/>
                  </a:cubicBezTo>
                  <a:cubicBezTo>
                    <a:pt x="192" y="561"/>
                    <a:pt x="189" y="563"/>
                    <a:pt x="185" y="562"/>
                  </a:cubicBezTo>
                  <a:cubicBezTo>
                    <a:pt x="182" y="561"/>
                    <a:pt x="182" y="558"/>
                    <a:pt x="182" y="556"/>
                  </a:cubicBezTo>
                  <a:cubicBezTo>
                    <a:pt x="180" y="539"/>
                    <a:pt x="179" y="539"/>
                    <a:pt x="162" y="539"/>
                  </a:cubicBezTo>
                  <a:cubicBezTo>
                    <a:pt x="151" y="539"/>
                    <a:pt x="150" y="540"/>
                    <a:pt x="150" y="551"/>
                  </a:cubicBezTo>
                  <a:cubicBezTo>
                    <a:pt x="150" y="579"/>
                    <a:pt x="150" y="607"/>
                    <a:pt x="150" y="635"/>
                  </a:cubicBezTo>
                  <a:cubicBezTo>
                    <a:pt x="150" y="658"/>
                    <a:pt x="149" y="682"/>
                    <a:pt x="150" y="705"/>
                  </a:cubicBezTo>
                  <a:close/>
                  <a:moveTo>
                    <a:pt x="1011" y="1049"/>
                  </a:moveTo>
                  <a:cubicBezTo>
                    <a:pt x="1011" y="1008"/>
                    <a:pt x="1011" y="966"/>
                    <a:pt x="1011" y="924"/>
                  </a:cubicBezTo>
                  <a:cubicBezTo>
                    <a:pt x="1011" y="913"/>
                    <a:pt x="1008" y="910"/>
                    <a:pt x="997" y="910"/>
                  </a:cubicBezTo>
                  <a:cubicBezTo>
                    <a:pt x="995" y="910"/>
                    <a:pt x="992" y="910"/>
                    <a:pt x="990" y="910"/>
                  </a:cubicBezTo>
                  <a:cubicBezTo>
                    <a:pt x="976" y="910"/>
                    <a:pt x="975" y="911"/>
                    <a:pt x="975" y="926"/>
                  </a:cubicBezTo>
                  <a:cubicBezTo>
                    <a:pt x="975" y="1006"/>
                    <a:pt x="975" y="1085"/>
                    <a:pt x="975" y="1165"/>
                  </a:cubicBezTo>
                  <a:cubicBezTo>
                    <a:pt x="975" y="1185"/>
                    <a:pt x="975" y="1185"/>
                    <a:pt x="994" y="1185"/>
                  </a:cubicBezTo>
                  <a:cubicBezTo>
                    <a:pt x="1009" y="1185"/>
                    <a:pt x="1011" y="1184"/>
                    <a:pt x="1011" y="1169"/>
                  </a:cubicBezTo>
                  <a:cubicBezTo>
                    <a:pt x="1011" y="1129"/>
                    <a:pt x="1011" y="1089"/>
                    <a:pt x="1011" y="1049"/>
                  </a:cubicBezTo>
                  <a:cubicBezTo>
                    <a:pt x="1011" y="1049"/>
                    <a:pt x="1011" y="1049"/>
                    <a:pt x="1011" y="1049"/>
                  </a:cubicBezTo>
                  <a:close/>
                  <a:moveTo>
                    <a:pt x="296" y="176"/>
                  </a:moveTo>
                  <a:cubicBezTo>
                    <a:pt x="296" y="201"/>
                    <a:pt x="296" y="226"/>
                    <a:pt x="296" y="251"/>
                  </a:cubicBezTo>
                  <a:cubicBezTo>
                    <a:pt x="295" y="276"/>
                    <a:pt x="296" y="274"/>
                    <a:pt x="318" y="274"/>
                  </a:cubicBezTo>
                  <a:cubicBezTo>
                    <a:pt x="330" y="274"/>
                    <a:pt x="331" y="274"/>
                    <a:pt x="331" y="260"/>
                  </a:cubicBezTo>
                  <a:cubicBezTo>
                    <a:pt x="331" y="232"/>
                    <a:pt x="331" y="204"/>
                    <a:pt x="331" y="176"/>
                  </a:cubicBezTo>
                  <a:cubicBezTo>
                    <a:pt x="331" y="165"/>
                    <a:pt x="331" y="155"/>
                    <a:pt x="337" y="145"/>
                  </a:cubicBezTo>
                  <a:cubicBezTo>
                    <a:pt x="349" y="123"/>
                    <a:pt x="359" y="117"/>
                    <a:pt x="377" y="118"/>
                  </a:cubicBezTo>
                  <a:cubicBezTo>
                    <a:pt x="383" y="118"/>
                    <a:pt x="389" y="119"/>
                    <a:pt x="395" y="120"/>
                  </a:cubicBezTo>
                  <a:cubicBezTo>
                    <a:pt x="401" y="120"/>
                    <a:pt x="407" y="118"/>
                    <a:pt x="408" y="112"/>
                  </a:cubicBezTo>
                  <a:cubicBezTo>
                    <a:pt x="409" y="103"/>
                    <a:pt x="415" y="93"/>
                    <a:pt x="407" y="85"/>
                  </a:cubicBezTo>
                  <a:cubicBezTo>
                    <a:pt x="406" y="84"/>
                    <a:pt x="404" y="84"/>
                    <a:pt x="402" y="84"/>
                  </a:cubicBezTo>
                  <a:cubicBezTo>
                    <a:pt x="376" y="78"/>
                    <a:pt x="353" y="82"/>
                    <a:pt x="337" y="106"/>
                  </a:cubicBezTo>
                  <a:cubicBezTo>
                    <a:pt x="336" y="108"/>
                    <a:pt x="335" y="110"/>
                    <a:pt x="333" y="109"/>
                  </a:cubicBezTo>
                  <a:cubicBezTo>
                    <a:pt x="331" y="109"/>
                    <a:pt x="330" y="107"/>
                    <a:pt x="330" y="105"/>
                  </a:cubicBezTo>
                  <a:cubicBezTo>
                    <a:pt x="329" y="101"/>
                    <a:pt x="329" y="97"/>
                    <a:pt x="328" y="94"/>
                  </a:cubicBezTo>
                  <a:cubicBezTo>
                    <a:pt x="325" y="85"/>
                    <a:pt x="318" y="82"/>
                    <a:pt x="303" y="84"/>
                  </a:cubicBezTo>
                  <a:cubicBezTo>
                    <a:pt x="297" y="84"/>
                    <a:pt x="295" y="86"/>
                    <a:pt x="295" y="92"/>
                  </a:cubicBezTo>
                  <a:cubicBezTo>
                    <a:pt x="296" y="120"/>
                    <a:pt x="295" y="148"/>
                    <a:pt x="295" y="176"/>
                  </a:cubicBezTo>
                  <a:cubicBezTo>
                    <a:pt x="296" y="176"/>
                    <a:pt x="296" y="176"/>
                    <a:pt x="296" y="176"/>
                  </a:cubicBezTo>
                  <a:close/>
                  <a:moveTo>
                    <a:pt x="946" y="179"/>
                  </a:moveTo>
                  <a:cubicBezTo>
                    <a:pt x="946" y="197"/>
                    <a:pt x="946" y="215"/>
                    <a:pt x="946" y="234"/>
                  </a:cubicBezTo>
                  <a:cubicBezTo>
                    <a:pt x="946" y="248"/>
                    <a:pt x="951" y="260"/>
                    <a:pt x="963" y="268"/>
                  </a:cubicBezTo>
                  <a:cubicBezTo>
                    <a:pt x="982" y="280"/>
                    <a:pt x="1011" y="277"/>
                    <a:pt x="1029" y="264"/>
                  </a:cubicBezTo>
                  <a:cubicBezTo>
                    <a:pt x="1036" y="259"/>
                    <a:pt x="1036" y="254"/>
                    <a:pt x="1032" y="248"/>
                  </a:cubicBezTo>
                  <a:cubicBezTo>
                    <a:pt x="1026" y="239"/>
                    <a:pt x="1020" y="238"/>
                    <a:pt x="1013" y="242"/>
                  </a:cubicBezTo>
                  <a:cubicBezTo>
                    <a:pt x="996" y="252"/>
                    <a:pt x="978" y="243"/>
                    <a:pt x="978" y="223"/>
                  </a:cubicBezTo>
                  <a:cubicBezTo>
                    <a:pt x="978" y="190"/>
                    <a:pt x="978" y="157"/>
                    <a:pt x="978" y="123"/>
                  </a:cubicBezTo>
                  <a:cubicBezTo>
                    <a:pt x="978" y="116"/>
                    <a:pt x="981" y="113"/>
                    <a:pt x="988" y="113"/>
                  </a:cubicBezTo>
                  <a:cubicBezTo>
                    <a:pt x="999" y="114"/>
                    <a:pt x="1011" y="113"/>
                    <a:pt x="1022" y="113"/>
                  </a:cubicBezTo>
                  <a:cubicBezTo>
                    <a:pt x="1028" y="113"/>
                    <a:pt x="1033" y="112"/>
                    <a:pt x="1033" y="104"/>
                  </a:cubicBezTo>
                  <a:cubicBezTo>
                    <a:pt x="1033" y="96"/>
                    <a:pt x="1032" y="90"/>
                    <a:pt x="1022" y="90"/>
                  </a:cubicBezTo>
                  <a:cubicBezTo>
                    <a:pt x="1011" y="90"/>
                    <a:pt x="1001" y="90"/>
                    <a:pt x="990" y="90"/>
                  </a:cubicBezTo>
                  <a:cubicBezTo>
                    <a:pt x="981" y="91"/>
                    <a:pt x="977" y="88"/>
                    <a:pt x="978" y="78"/>
                  </a:cubicBezTo>
                  <a:cubicBezTo>
                    <a:pt x="978" y="64"/>
                    <a:pt x="978" y="49"/>
                    <a:pt x="978" y="35"/>
                  </a:cubicBezTo>
                  <a:cubicBezTo>
                    <a:pt x="978" y="30"/>
                    <a:pt x="978" y="25"/>
                    <a:pt x="971" y="24"/>
                  </a:cubicBezTo>
                  <a:cubicBezTo>
                    <a:pt x="964" y="24"/>
                    <a:pt x="956" y="24"/>
                    <a:pt x="955" y="32"/>
                  </a:cubicBezTo>
                  <a:cubicBezTo>
                    <a:pt x="952" y="43"/>
                    <a:pt x="949" y="54"/>
                    <a:pt x="949" y="65"/>
                  </a:cubicBezTo>
                  <a:cubicBezTo>
                    <a:pt x="948" y="88"/>
                    <a:pt x="947" y="88"/>
                    <a:pt x="924" y="91"/>
                  </a:cubicBezTo>
                  <a:cubicBezTo>
                    <a:pt x="919" y="92"/>
                    <a:pt x="914" y="92"/>
                    <a:pt x="914" y="99"/>
                  </a:cubicBezTo>
                  <a:cubicBezTo>
                    <a:pt x="915" y="107"/>
                    <a:pt x="917" y="113"/>
                    <a:pt x="926" y="113"/>
                  </a:cubicBezTo>
                  <a:cubicBezTo>
                    <a:pt x="929" y="114"/>
                    <a:pt x="932" y="113"/>
                    <a:pt x="935" y="113"/>
                  </a:cubicBezTo>
                  <a:cubicBezTo>
                    <a:pt x="943" y="113"/>
                    <a:pt x="946" y="116"/>
                    <a:pt x="946" y="124"/>
                  </a:cubicBezTo>
                  <a:cubicBezTo>
                    <a:pt x="946" y="142"/>
                    <a:pt x="946" y="161"/>
                    <a:pt x="946" y="179"/>
                  </a:cubicBezTo>
                  <a:cubicBezTo>
                    <a:pt x="946" y="179"/>
                    <a:pt x="946" y="179"/>
                    <a:pt x="946" y="179"/>
                  </a:cubicBezTo>
                  <a:close/>
                </a:path>
              </a:pathLst>
            </a:custGeom>
            <a:solidFill>
              <a:srgbClr val="4C505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grpSp>
          <p:nvGrpSpPr>
            <p:cNvPr id="18" name="Group 4">
              <a:extLst>
                <a:ext uri="{FF2B5EF4-FFF2-40B4-BE49-F238E27FC236}">
                  <a16:creationId xmlns:a16="http://schemas.microsoft.com/office/drawing/2014/main" id="{57BD2C4C-DC67-B843-B26C-309622FC75F7}"/>
                </a:ext>
              </a:extLst>
            </p:cNvPr>
            <p:cNvGrpSpPr>
              <a:grpSpLocks noChangeAspect="1"/>
            </p:cNvGrpSpPr>
            <p:nvPr/>
          </p:nvGrpSpPr>
          <p:grpSpPr bwMode="gray">
            <a:xfrm>
              <a:off x="334963" y="296652"/>
              <a:ext cx="538094" cy="540000"/>
              <a:chOff x="2711" y="1027"/>
              <a:chExt cx="2258" cy="2266"/>
            </a:xfrm>
          </p:grpSpPr>
          <p:sp>
            <p:nvSpPr>
              <p:cNvPr id="19" name="AutoShape 3">
                <a:extLst>
                  <a:ext uri="{FF2B5EF4-FFF2-40B4-BE49-F238E27FC236}">
                    <a16:creationId xmlns:a16="http://schemas.microsoft.com/office/drawing/2014/main" id="{FE1DC41B-291E-574C-9F2C-874E70A40758}"/>
                  </a:ext>
                </a:extLst>
              </p:cNvPr>
              <p:cNvSpPr>
                <a:spLocks noChangeAspect="1" noChangeArrowheads="1" noTextEdit="1"/>
              </p:cNvSpPr>
              <p:nvPr/>
            </p:nvSpPr>
            <p:spPr bwMode="gray">
              <a:xfrm>
                <a:off x="2711" y="1027"/>
                <a:ext cx="2258" cy="22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sp>
            <p:nvSpPr>
              <p:cNvPr id="20" name="Freeform 5">
                <a:extLst>
                  <a:ext uri="{FF2B5EF4-FFF2-40B4-BE49-F238E27FC236}">
                    <a16:creationId xmlns:a16="http://schemas.microsoft.com/office/drawing/2014/main" id="{D4B633C8-F761-C54B-9BD2-EB59D49A2DBC}"/>
                  </a:ext>
                </a:extLst>
              </p:cNvPr>
              <p:cNvSpPr>
                <a:spLocks/>
              </p:cNvSpPr>
              <p:nvPr/>
            </p:nvSpPr>
            <p:spPr bwMode="gray">
              <a:xfrm>
                <a:off x="2709" y="1029"/>
                <a:ext cx="2260" cy="2262"/>
              </a:xfrm>
              <a:custGeom>
                <a:avLst/>
                <a:gdLst>
                  <a:gd name="T0" fmla="*/ 2260 w 2260"/>
                  <a:gd name="T1" fmla="*/ 0 h 2262"/>
                  <a:gd name="T2" fmla="*/ 1612 w 2260"/>
                  <a:gd name="T3" fmla="*/ 649 h 2262"/>
                  <a:gd name="T4" fmla="*/ 1612 w 2260"/>
                  <a:gd name="T5" fmla="*/ 649 h 2262"/>
                  <a:gd name="T6" fmla="*/ 2035 w 2260"/>
                  <a:gd name="T7" fmla="*/ 0 h 2262"/>
                  <a:gd name="T8" fmla="*/ 0 w 2260"/>
                  <a:gd name="T9" fmla="*/ 0 h 2262"/>
                  <a:gd name="T10" fmla="*/ 0 w 2260"/>
                  <a:gd name="T11" fmla="*/ 2262 h 2262"/>
                  <a:gd name="T12" fmla="*/ 2260 w 2260"/>
                  <a:gd name="T13" fmla="*/ 2262 h 2262"/>
                  <a:gd name="T14" fmla="*/ 2260 w 2260"/>
                  <a:gd name="T15" fmla="*/ 0 h 2262"/>
                  <a:gd name="T16" fmla="*/ 2260 w 2260"/>
                  <a:gd name="T17" fmla="*/ 0 h 2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0" h="2262">
                    <a:moveTo>
                      <a:pt x="2260" y="0"/>
                    </a:moveTo>
                    <a:lnTo>
                      <a:pt x="1612" y="649"/>
                    </a:lnTo>
                    <a:lnTo>
                      <a:pt x="1612" y="649"/>
                    </a:lnTo>
                    <a:lnTo>
                      <a:pt x="2035" y="0"/>
                    </a:lnTo>
                    <a:lnTo>
                      <a:pt x="0" y="0"/>
                    </a:lnTo>
                    <a:lnTo>
                      <a:pt x="0" y="2262"/>
                    </a:lnTo>
                    <a:lnTo>
                      <a:pt x="2260" y="2262"/>
                    </a:lnTo>
                    <a:lnTo>
                      <a:pt x="2260" y="0"/>
                    </a:lnTo>
                    <a:lnTo>
                      <a:pt x="2260" y="0"/>
                    </a:lnTo>
                    <a:close/>
                  </a:path>
                </a:pathLst>
              </a:custGeom>
              <a:solidFill>
                <a:srgbClr val="E55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sp>
            <p:nvSpPr>
              <p:cNvPr id="21" name="Freeform 6">
                <a:extLst>
                  <a:ext uri="{FF2B5EF4-FFF2-40B4-BE49-F238E27FC236}">
                    <a16:creationId xmlns:a16="http://schemas.microsoft.com/office/drawing/2014/main" id="{B16BAAE4-1A41-C843-9754-490F7A1E1270}"/>
                  </a:ext>
                </a:extLst>
              </p:cNvPr>
              <p:cNvSpPr>
                <a:spLocks noEditPoints="1"/>
              </p:cNvSpPr>
              <p:nvPr/>
            </p:nvSpPr>
            <p:spPr bwMode="gray">
              <a:xfrm>
                <a:off x="3623" y="1696"/>
                <a:ext cx="1167" cy="922"/>
              </a:xfrm>
              <a:custGeom>
                <a:avLst/>
                <a:gdLst>
                  <a:gd name="T0" fmla="*/ 411 w 580"/>
                  <a:gd name="T1" fmla="*/ 213 h 458"/>
                  <a:gd name="T2" fmla="*/ 570 w 580"/>
                  <a:gd name="T3" fmla="*/ 37 h 458"/>
                  <a:gd name="T4" fmla="*/ 580 w 580"/>
                  <a:gd name="T5" fmla="*/ 20 h 458"/>
                  <a:gd name="T6" fmla="*/ 545 w 580"/>
                  <a:gd name="T7" fmla="*/ 0 h 458"/>
                  <a:gd name="T8" fmla="*/ 519 w 580"/>
                  <a:gd name="T9" fmla="*/ 16 h 458"/>
                  <a:gd name="T10" fmla="*/ 344 w 580"/>
                  <a:gd name="T11" fmla="*/ 210 h 458"/>
                  <a:gd name="T12" fmla="*/ 334 w 580"/>
                  <a:gd name="T13" fmla="*/ 229 h 458"/>
                  <a:gd name="T14" fmla="*/ 344 w 580"/>
                  <a:gd name="T15" fmla="*/ 248 h 458"/>
                  <a:gd name="T16" fmla="*/ 519 w 580"/>
                  <a:gd name="T17" fmla="*/ 442 h 458"/>
                  <a:gd name="T18" fmla="*/ 545 w 580"/>
                  <a:gd name="T19" fmla="*/ 458 h 458"/>
                  <a:gd name="T20" fmla="*/ 580 w 580"/>
                  <a:gd name="T21" fmla="*/ 438 h 458"/>
                  <a:gd name="T22" fmla="*/ 570 w 580"/>
                  <a:gd name="T23" fmla="*/ 421 h 458"/>
                  <a:gd name="T24" fmla="*/ 411 w 580"/>
                  <a:gd name="T25" fmla="*/ 245 h 458"/>
                  <a:gd name="T26" fmla="*/ 399 w 580"/>
                  <a:gd name="T27" fmla="*/ 229 h 458"/>
                  <a:gd name="T28" fmla="*/ 411 w 580"/>
                  <a:gd name="T29" fmla="*/ 213 h 458"/>
                  <a:gd name="T30" fmla="*/ 252 w 580"/>
                  <a:gd name="T31" fmla="*/ 439 h 458"/>
                  <a:gd name="T32" fmla="*/ 281 w 580"/>
                  <a:gd name="T33" fmla="*/ 454 h 458"/>
                  <a:gd name="T34" fmla="*/ 309 w 580"/>
                  <a:gd name="T35" fmla="*/ 439 h 458"/>
                  <a:gd name="T36" fmla="*/ 309 w 580"/>
                  <a:gd name="T37" fmla="*/ 19 h 458"/>
                  <a:gd name="T38" fmla="*/ 281 w 580"/>
                  <a:gd name="T39" fmla="*/ 4 h 458"/>
                  <a:gd name="T40" fmla="*/ 252 w 580"/>
                  <a:gd name="T41" fmla="*/ 19 h 458"/>
                  <a:gd name="T42" fmla="*/ 252 w 580"/>
                  <a:gd name="T43" fmla="*/ 439 h 458"/>
                  <a:gd name="T44" fmla="*/ 0 w 580"/>
                  <a:gd name="T45" fmla="*/ 439 h 458"/>
                  <a:gd name="T46" fmla="*/ 28 w 580"/>
                  <a:gd name="T47" fmla="*/ 454 h 458"/>
                  <a:gd name="T48" fmla="*/ 56 w 580"/>
                  <a:gd name="T49" fmla="*/ 439 h 458"/>
                  <a:gd name="T50" fmla="*/ 56 w 580"/>
                  <a:gd name="T51" fmla="*/ 157 h 458"/>
                  <a:gd name="T52" fmla="*/ 165 w 580"/>
                  <a:gd name="T53" fmla="*/ 53 h 458"/>
                  <a:gd name="T54" fmla="*/ 180 w 580"/>
                  <a:gd name="T55" fmla="*/ 53 h 458"/>
                  <a:gd name="T56" fmla="*/ 196 w 580"/>
                  <a:gd name="T57" fmla="*/ 27 h 458"/>
                  <a:gd name="T58" fmla="*/ 154 w 580"/>
                  <a:gd name="T59" fmla="*/ 4 h 458"/>
                  <a:gd name="T60" fmla="*/ 0 w 580"/>
                  <a:gd name="T61" fmla="*/ 152 h 458"/>
                  <a:gd name="T62" fmla="*/ 0 w 580"/>
                  <a:gd name="T63" fmla="*/ 439 h 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80" h="458">
                    <a:moveTo>
                      <a:pt x="411" y="213"/>
                    </a:moveTo>
                    <a:cubicBezTo>
                      <a:pt x="570" y="37"/>
                      <a:pt x="570" y="37"/>
                      <a:pt x="570" y="37"/>
                    </a:cubicBezTo>
                    <a:cubicBezTo>
                      <a:pt x="576" y="30"/>
                      <a:pt x="580" y="25"/>
                      <a:pt x="580" y="20"/>
                    </a:cubicBezTo>
                    <a:cubicBezTo>
                      <a:pt x="580" y="10"/>
                      <a:pt x="559" y="0"/>
                      <a:pt x="545" y="0"/>
                    </a:cubicBezTo>
                    <a:cubicBezTo>
                      <a:pt x="535" y="0"/>
                      <a:pt x="526" y="8"/>
                      <a:pt x="519" y="16"/>
                    </a:cubicBezTo>
                    <a:cubicBezTo>
                      <a:pt x="344" y="210"/>
                      <a:pt x="344" y="210"/>
                      <a:pt x="344" y="210"/>
                    </a:cubicBezTo>
                    <a:cubicBezTo>
                      <a:pt x="336" y="219"/>
                      <a:pt x="334" y="224"/>
                      <a:pt x="334" y="229"/>
                    </a:cubicBezTo>
                    <a:cubicBezTo>
                      <a:pt x="334" y="234"/>
                      <a:pt x="336" y="239"/>
                      <a:pt x="344" y="248"/>
                    </a:cubicBezTo>
                    <a:cubicBezTo>
                      <a:pt x="519" y="442"/>
                      <a:pt x="519" y="442"/>
                      <a:pt x="519" y="442"/>
                    </a:cubicBezTo>
                    <a:cubicBezTo>
                      <a:pt x="526" y="450"/>
                      <a:pt x="535" y="458"/>
                      <a:pt x="545" y="458"/>
                    </a:cubicBezTo>
                    <a:cubicBezTo>
                      <a:pt x="559" y="458"/>
                      <a:pt x="580" y="448"/>
                      <a:pt x="580" y="438"/>
                    </a:cubicBezTo>
                    <a:cubicBezTo>
                      <a:pt x="580" y="433"/>
                      <a:pt x="576" y="428"/>
                      <a:pt x="570" y="421"/>
                    </a:cubicBezTo>
                    <a:cubicBezTo>
                      <a:pt x="411" y="245"/>
                      <a:pt x="411" y="245"/>
                      <a:pt x="411" y="245"/>
                    </a:cubicBezTo>
                    <a:cubicBezTo>
                      <a:pt x="403" y="236"/>
                      <a:pt x="399" y="232"/>
                      <a:pt x="399" y="229"/>
                    </a:cubicBezTo>
                    <a:cubicBezTo>
                      <a:pt x="399" y="226"/>
                      <a:pt x="403" y="222"/>
                      <a:pt x="411" y="213"/>
                    </a:cubicBezTo>
                    <a:moveTo>
                      <a:pt x="252" y="439"/>
                    </a:moveTo>
                    <a:cubicBezTo>
                      <a:pt x="252" y="449"/>
                      <a:pt x="261" y="454"/>
                      <a:pt x="281" y="454"/>
                    </a:cubicBezTo>
                    <a:cubicBezTo>
                      <a:pt x="300" y="454"/>
                      <a:pt x="309" y="449"/>
                      <a:pt x="309" y="439"/>
                    </a:cubicBezTo>
                    <a:cubicBezTo>
                      <a:pt x="309" y="19"/>
                      <a:pt x="309" y="19"/>
                      <a:pt x="309" y="19"/>
                    </a:cubicBezTo>
                    <a:cubicBezTo>
                      <a:pt x="309" y="9"/>
                      <a:pt x="300" y="4"/>
                      <a:pt x="281" y="4"/>
                    </a:cubicBezTo>
                    <a:cubicBezTo>
                      <a:pt x="261" y="4"/>
                      <a:pt x="252" y="9"/>
                      <a:pt x="252" y="19"/>
                    </a:cubicBezTo>
                    <a:lnTo>
                      <a:pt x="252" y="439"/>
                    </a:lnTo>
                    <a:close/>
                    <a:moveTo>
                      <a:pt x="0" y="439"/>
                    </a:moveTo>
                    <a:cubicBezTo>
                      <a:pt x="0" y="449"/>
                      <a:pt x="8" y="454"/>
                      <a:pt x="28" y="454"/>
                    </a:cubicBezTo>
                    <a:cubicBezTo>
                      <a:pt x="48" y="454"/>
                      <a:pt x="56" y="449"/>
                      <a:pt x="56" y="439"/>
                    </a:cubicBezTo>
                    <a:cubicBezTo>
                      <a:pt x="56" y="157"/>
                      <a:pt x="56" y="157"/>
                      <a:pt x="56" y="157"/>
                    </a:cubicBezTo>
                    <a:cubicBezTo>
                      <a:pt x="56" y="83"/>
                      <a:pt x="85" y="53"/>
                      <a:pt x="165" y="53"/>
                    </a:cubicBezTo>
                    <a:cubicBezTo>
                      <a:pt x="180" y="53"/>
                      <a:pt x="180" y="53"/>
                      <a:pt x="180" y="53"/>
                    </a:cubicBezTo>
                    <a:cubicBezTo>
                      <a:pt x="192" y="53"/>
                      <a:pt x="196" y="43"/>
                      <a:pt x="196" y="27"/>
                    </a:cubicBezTo>
                    <a:cubicBezTo>
                      <a:pt x="196" y="8"/>
                      <a:pt x="185" y="4"/>
                      <a:pt x="154" y="4"/>
                    </a:cubicBezTo>
                    <a:cubicBezTo>
                      <a:pt x="64" y="4"/>
                      <a:pt x="0" y="43"/>
                      <a:pt x="0" y="152"/>
                    </a:cubicBezTo>
                    <a:lnTo>
                      <a:pt x="0" y="43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sp>
            <p:nvSpPr>
              <p:cNvPr id="22" name="Freeform 7">
                <a:extLst>
                  <a:ext uri="{FF2B5EF4-FFF2-40B4-BE49-F238E27FC236}">
                    <a16:creationId xmlns:a16="http://schemas.microsoft.com/office/drawing/2014/main" id="{2F32DCBD-8628-F245-85CD-97686A20ECFD}"/>
                  </a:ext>
                </a:extLst>
              </p:cNvPr>
              <p:cNvSpPr>
                <a:spLocks/>
              </p:cNvSpPr>
              <p:nvPr/>
            </p:nvSpPr>
            <p:spPr bwMode="gray">
              <a:xfrm>
                <a:off x="2880" y="1704"/>
                <a:ext cx="618" cy="916"/>
              </a:xfrm>
              <a:custGeom>
                <a:avLst/>
                <a:gdLst>
                  <a:gd name="T0" fmla="*/ 307 w 307"/>
                  <a:gd name="T1" fmla="*/ 405 h 455"/>
                  <a:gd name="T2" fmla="*/ 307 w 307"/>
                  <a:gd name="T3" fmla="*/ 244 h 455"/>
                  <a:gd name="T4" fmla="*/ 279 w 307"/>
                  <a:gd name="T5" fmla="*/ 229 h 455"/>
                  <a:gd name="T6" fmla="*/ 250 w 307"/>
                  <a:gd name="T7" fmla="*/ 244 h 455"/>
                  <a:gd name="T8" fmla="*/ 250 w 307"/>
                  <a:gd name="T9" fmla="*/ 378 h 455"/>
                  <a:gd name="T10" fmla="*/ 199 w 307"/>
                  <a:gd name="T11" fmla="*/ 408 h 455"/>
                  <a:gd name="T12" fmla="*/ 61 w 307"/>
                  <a:gd name="T13" fmla="*/ 231 h 455"/>
                  <a:gd name="T14" fmla="*/ 238 w 307"/>
                  <a:gd name="T15" fmla="*/ 49 h 455"/>
                  <a:gd name="T16" fmla="*/ 270 w 307"/>
                  <a:gd name="T17" fmla="*/ 49 h 455"/>
                  <a:gd name="T18" fmla="*/ 286 w 307"/>
                  <a:gd name="T19" fmla="*/ 23 h 455"/>
                  <a:gd name="T20" fmla="*/ 244 w 307"/>
                  <a:gd name="T21" fmla="*/ 0 h 455"/>
                  <a:gd name="T22" fmla="*/ 231 w 307"/>
                  <a:gd name="T23" fmla="*/ 0 h 455"/>
                  <a:gd name="T24" fmla="*/ 0 w 307"/>
                  <a:gd name="T25" fmla="*/ 232 h 455"/>
                  <a:gd name="T26" fmla="*/ 198 w 307"/>
                  <a:gd name="T27" fmla="*/ 455 h 455"/>
                  <a:gd name="T28" fmla="*/ 307 w 307"/>
                  <a:gd name="T29" fmla="*/ 405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7" h="455">
                    <a:moveTo>
                      <a:pt x="307" y="405"/>
                    </a:moveTo>
                    <a:cubicBezTo>
                      <a:pt x="307" y="244"/>
                      <a:pt x="307" y="244"/>
                      <a:pt x="307" y="244"/>
                    </a:cubicBezTo>
                    <a:cubicBezTo>
                      <a:pt x="307" y="234"/>
                      <a:pt x="298" y="229"/>
                      <a:pt x="279" y="229"/>
                    </a:cubicBezTo>
                    <a:cubicBezTo>
                      <a:pt x="259" y="229"/>
                      <a:pt x="250" y="234"/>
                      <a:pt x="250" y="244"/>
                    </a:cubicBezTo>
                    <a:cubicBezTo>
                      <a:pt x="250" y="378"/>
                      <a:pt x="250" y="378"/>
                      <a:pt x="250" y="378"/>
                    </a:cubicBezTo>
                    <a:cubicBezTo>
                      <a:pt x="250" y="399"/>
                      <a:pt x="241" y="408"/>
                      <a:pt x="199" y="408"/>
                    </a:cubicBezTo>
                    <a:cubicBezTo>
                      <a:pt x="114" y="408"/>
                      <a:pt x="61" y="342"/>
                      <a:pt x="61" y="231"/>
                    </a:cubicBezTo>
                    <a:cubicBezTo>
                      <a:pt x="61" y="115"/>
                      <a:pt x="126" y="49"/>
                      <a:pt x="238" y="49"/>
                    </a:cubicBezTo>
                    <a:cubicBezTo>
                      <a:pt x="270" y="49"/>
                      <a:pt x="270" y="49"/>
                      <a:pt x="270" y="49"/>
                    </a:cubicBezTo>
                    <a:cubicBezTo>
                      <a:pt x="282" y="49"/>
                      <a:pt x="286" y="39"/>
                      <a:pt x="286" y="23"/>
                    </a:cubicBezTo>
                    <a:cubicBezTo>
                      <a:pt x="286" y="4"/>
                      <a:pt x="275" y="0"/>
                      <a:pt x="244" y="0"/>
                    </a:cubicBezTo>
                    <a:cubicBezTo>
                      <a:pt x="231" y="0"/>
                      <a:pt x="231" y="0"/>
                      <a:pt x="231" y="0"/>
                    </a:cubicBezTo>
                    <a:cubicBezTo>
                      <a:pt x="101" y="0"/>
                      <a:pt x="0" y="71"/>
                      <a:pt x="0" y="232"/>
                    </a:cubicBezTo>
                    <a:cubicBezTo>
                      <a:pt x="0" y="386"/>
                      <a:pt x="88" y="455"/>
                      <a:pt x="198" y="455"/>
                    </a:cubicBezTo>
                    <a:cubicBezTo>
                      <a:pt x="286" y="455"/>
                      <a:pt x="307" y="430"/>
                      <a:pt x="307" y="40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sp>
            <p:nvSpPr>
              <p:cNvPr id="23" name="Oval 8">
                <a:extLst>
                  <a:ext uri="{FF2B5EF4-FFF2-40B4-BE49-F238E27FC236}">
                    <a16:creationId xmlns:a16="http://schemas.microsoft.com/office/drawing/2014/main" id="{60D97C11-1A3B-5449-A48D-98A3E79B3810}"/>
                  </a:ext>
                </a:extLst>
              </p:cNvPr>
              <p:cNvSpPr>
                <a:spLocks noChangeArrowheads="1"/>
              </p:cNvSpPr>
              <p:nvPr/>
            </p:nvSpPr>
            <p:spPr bwMode="gray">
              <a:xfrm>
                <a:off x="3778" y="2099"/>
                <a:ext cx="122" cy="12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sp>
            <p:nvSpPr>
              <p:cNvPr id="24" name="Freeform 9">
                <a:extLst>
                  <a:ext uri="{FF2B5EF4-FFF2-40B4-BE49-F238E27FC236}">
                    <a16:creationId xmlns:a16="http://schemas.microsoft.com/office/drawing/2014/main" id="{5856770D-B8F0-244E-A05D-AED190086F10}"/>
                  </a:ext>
                </a:extLst>
              </p:cNvPr>
              <p:cNvSpPr>
                <a:spLocks noEditPoints="1"/>
              </p:cNvSpPr>
              <p:nvPr/>
            </p:nvSpPr>
            <p:spPr bwMode="gray">
              <a:xfrm>
                <a:off x="3623" y="1696"/>
                <a:ext cx="1167" cy="922"/>
              </a:xfrm>
              <a:custGeom>
                <a:avLst/>
                <a:gdLst>
                  <a:gd name="T0" fmla="*/ 411 w 580"/>
                  <a:gd name="T1" fmla="*/ 213 h 458"/>
                  <a:gd name="T2" fmla="*/ 570 w 580"/>
                  <a:gd name="T3" fmla="*/ 37 h 458"/>
                  <a:gd name="T4" fmla="*/ 580 w 580"/>
                  <a:gd name="T5" fmla="*/ 20 h 458"/>
                  <a:gd name="T6" fmla="*/ 545 w 580"/>
                  <a:gd name="T7" fmla="*/ 0 h 458"/>
                  <a:gd name="T8" fmla="*/ 519 w 580"/>
                  <a:gd name="T9" fmla="*/ 16 h 458"/>
                  <a:gd name="T10" fmla="*/ 344 w 580"/>
                  <a:gd name="T11" fmla="*/ 210 h 458"/>
                  <a:gd name="T12" fmla="*/ 334 w 580"/>
                  <a:gd name="T13" fmla="*/ 229 h 458"/>
                  <a:gd name="T14" fmla="*/ 344 w 580"/>
                  <a:gd name="T15" fmla="*/ 248 h 458"/>
                  <a:gd name="T16" fmla="*/ 519 w 580"/>
                  <a:gd name="T17" fmla="*/ 442 h 458"/>
                  <a:gd name="T18" fmla="*/ 545 w 580"/>
                  <a:gd name="T19" fmla="*/ 458 h 458"/>
                  <a:gd name="T20" fmla="*/ 580 w 580"/>
                  <a:gd name="T21" fmla="*/ 438 h 458"/>
                  <a:gd name="T22" fmla="*/ 570 w 580"/>
                  <a:gd name="T23" fmla="*/ 421 h 458"/>
                  <a:gd name="T24" fmla="*/ 411 w 580"/>
                  <a:gd name="T25" fmla="*/ 245 h 458"/>
                  <a:gd name="T26" fmla="*/ 399 w 580"/>
                  <a:gd name="T27" fmla="*/ 229 h 458"/>
                  <a:gd name="T28" fmla="*/ 411 w 580"/>
                  <a:gd name="T29" fmla="*/ 213 h 458"/>
                  <a:gd name="T30" fmla="*/ 252 w 580"/>
                  <a:gd name="T31" fmla="*/ 439 h 458"/>
                  <a:gd name="T32" fmla="*/ 281 w 580"/>
                  <a:gd name="T33" fmla="*/ 454 h 458"/>
                  <a:gd name="T34" fmla="*/ 309 w 580"/>
                  <a:gd name="T35" fmla="*/ 439 h 458"/>
                  <a:gd name="T36" fmla="*/ 309 w 580"/>
                  <a:gd name="T37" fmla="*/ 19 h 458"/>
                  <a:gd name="T38" fmla="*/ 281 w 580"/>
                  <a:gd name="T39" fmla="*/ 4 h 458"/>
                  <a:gd name="T40" fmla="*/ 252 w 580"/>
                  <a:gd name="T41" fmla="*/ 19 h 458"/>
                  <a:gd name="T42" fmla="*/ 252 w 580"/>
                  <a:gd name="T43" fmla="*/ 439 h 458"/>
                  <a:gd name="T44" fmla="*/ 0 w 580"/>
                  <a:gd name="T45" fmla="*/ 439 h 458"/>
                  <a:gd name="T46" fmla="*/ 28 w 580"/>
                  <a:gd name="T47" fmla="*/ 454 h 458"/>
                  <a:gd name="T48" fmla="*/ 56 w 580"/>
                  <a:gd name="T49" fmla="*/ 439 h 458"/>
                  <a:gd name="T50" fmla="*/ 56 w 580"/>
                  <a:gd name="T51" fmla="*/ 157 h 458"/>
                  <a:gd name="T52" fmla="*/ 165 w 580"/>
                  <a:gd name="T53" fmla="*/ 53 h 458"/>
                  <a:gd name="T54" fmla="*/ 180 w 580"/>
                  <a:gd name="T55" fmla="*/ 53 h 458"/>
                  <a:gd name="T56" fmla="*/ 196 w 580"/>
                  <a:gd name="T57" fmla="*/ 27 h 458"/>
                  <a:gd name="T58" fmla="*/ 154 w 580"/>
                  <a:gd name="T59" fmla="*/ 4 h 458"/>
                  <a:gd name="T60" fmla="*/ 0 w 580"/>
                  <a:gd name="T61" fmla="*/ 152 h 458"/>
                  <a:gd name="T62" fmla="*/ 0 w 580"/>
                  <a:gd name="T63" fmla="*/ 439 h 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80" h="458">
                    <a:moveTo>
                      <a:pt x="411" y="213"/>
                    </a:moveTo>
                    <a:cubicBezTo>
                      <a:pt x="570" y="37"/>
                      <a:pt x="570" y="37"/>
                      <a:pt x="570" y="37"/>
                    </a:cubicBezTo>
                    <a:cubicBezTo>
                      <a:pt x="576" y="30"/>
                      <a:pt x="580" y="25"/>
                      <a:pt x="580" y="20"/>
                    </a:cubicBezTo>
                    <a:cubicBezTo>
                      <a:pt x="580" y="10"/>
                      <a:pt x="559" y="0"/>
                      <a:pt x="545" y="0"/>
                    </a:cubicBezTo>
                    <a:cubicBezTo>
                      <a:pt x="535" y="0"/>
                      <a:pt x="526" y="8"/>
                      <a:pt x="519" y="16"/>
                    </a:cubicBezTo>
                    <a:cubicBezTo>
                      <a:pt x="344" y="210"/>
                      <a:pt x="344" y="210"/>
                      <a:pt x="344" y="210"/>
                    </a:cubicBezTo>
                    <a:cubicBezTo>
                      <a:pt x="336" y="219"/>
                      <a:pt x="334" y="224"/>
                      <a:pt x="334" y="229"/>
                    </a:cubicBezTo>
                    <a:cubicBezTo>
                      <a:pt x="334" y="234"/>
                      <a:pt x="336" y="239"/>
                      <a:pt x="344" y="248"/>
                    </a:cubicBezTo>
                    <a:cubicBezTo>
                      <a:pt x="519" y="442"/>
                      <a:pt x="519" y="442"/>
                      <a:pt x="519" y="442"/>
                    </a:cubicBezTo>
                    <a:cubicBezTo>
                      <a:pt x="526" y="450"/>
                      <a:pt x="535" y="458"/>
                      <a:pt x="545" y="458"/>
                    </a:cubicBezTo>
                    <a:cubicBezTo>
                      <a:pt x="559" y="458"/>
                      <a:pt x="580" y="448"/>
                      <a:pt x="580" y="438"/>
                    </a:cubicBezTo>
                    <a:cubicBezTo>
                      <a:pt x="580" y="433"/>
                      <a:pt x="576" y="428"/>
                      <a:pt x="570" y="421"/>
                    </a:cubicBezTo>
                    <a:cubicBezTo>
                      <a:pt x="411" y="245"/>
                      <a:pt x="411" y="245"/>
                      <a:pt x="411" y="245"/>
                    </a:cubicBezTo>
                    <a:cubicBezTo>
                      <a:pt x="403" y="236"/>
                      <a:pt x="399" y="232"/>
                      <a:pt x="399" y="229"/>
                    </a:cubicBezTo>
                    <a:cubicBezTo>
                      <a:pt x="399" y="226"/>
                      <a:pt x="403" y="222"/>
                      <a:pt x="411" y="213"/>
                    </a:cubicBezTo>
                    <a:moveTo>
                      <a:pt x="252" y="439"/>
                    </a:moveTo>
                    <a:cubicBezTo>
                      <a:pt x="252" y="449"/>
                      <a:pt x="261" y="454"/>
                      <a:pt x="281" y="454"/>
                    </a:cubicBezTo>
                    <a:cubicBezTo>
                      <a:pt x="300" y="454"/>
                      <a:pt x="309" y="449"/>
                      <a:pt x="309" y="439"/>
                    </a:cubicBezTo>
                    <a:cubicBezTo>
                      <a:pt x="309" y="19"/>
                      <a:pt x="309" y="19"/>
                      <a:pt x="309" y="19"/>
                    </a:cubicBezTo>
                    <a:cubicBezTo>
                      <a:pt x="309" y="9"/>
                      <a:pt x="300" y="4"/>
                      <a:pt x="281" y="4"/>
                    </a:cubicBezTo>
                    <a:cubicBezTo>
                      <a:pt x="261" y="4"/>
                      <a:pt x="252" y="9"/>
                      <a:pt x="252" y="19"/>
                    </a:cubicBezTo>
                    <a:lnTo>
                      <a:pt x="252" y="439"/>
                    </a:lnTo>
                    <a:close/>
                    <a:moveTo>
                      <a:pt x="0" y="439"/>
                    </a:moveTo>
                    <a:cubicBezTo>
                      <a:pt x="0" y="449"/>
                      <a:pt x="8" y="454"/>
                      <a:pt x="28" y="454"/>
                    </a:cubicBezTo>
                    <a:cubicBezTo>
                      <a:pt x="48" y="454"/>
                      <a:pt x="56" y="449"/>
                      <a:pt x="56" y="439"/>
                    </a:cubicBezTo>
                    <a:cubicBezTo>
                      <a:pt x="56" y="157"/>
                      <a:pt x="56" y="157"/>
                      <a:pt x="56" y="157"/>
                    </a:cubicBezTo>
                    <a:cubicBezTo>
                      <a:pt x="56" y="83"/>
                      <a:pt x="85" y="53"/>
                      <a:pt x="165" y="53"/>
                    </a:cubicBezTo>
                    <a:cubicBezTo>
                      <a:pt x="180" y="53"/>
                      <a:pt x="180" y="53"/>
                      <a:pt x="180" y="53"/>
                    </a:cubicBezTo>
                    <a:cubicBezTo>
                      <a:pt x="192" y="53"/>
                      <a:pt x="196" y="43"/>
                      <a:pt x="196" y="27"/>
                    </a:cubicBezTo>
                    <a:cubicBezTo>
                      <a:pt x="196" y="8"/>
                      <a:pt x="185" y="4"/>
                      <a:pt x="154" y="4"/>
                    </a:cubicBezTo>
                    <a:cubicBezTo>
                      <a:pt x="64" y="4"/>
                      <a:pt x="0" y="43"/>
                      <a:pt x="0" y="152"/>
                    </a:cubicBezTo>
                    <a:lnTo>
                      <a:pt x="0" y="43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sp>
            <p:nvSpPr>
              <p:cNvPr id="25" name="Freeform 10">
                <a:extLst>
                  <a:ext uri="{FF2B5EF4-FFF2-40B4-BE49-F238E27FC236}">
                    <a16:creationId xmlns:a16="http://schemas.microsoft.com/office/drawing/2014/main" id="{2B91B16B-BC11-E547-8FAC-B9B8D18EA449}"/>
                  </a:ext>
                </a:extLst>
              </p:cNvPr>
              <p:cNvSpPr>
                <a:spLocks/>
              </p:cNvSpPr>
              <p:nvPr/>
            </p:nvSpPr>
            <p:spPr bwMode="gray">
              <a:xfrm>
                <a:off x="2880" y="1704"/>
                <a:ext cx="618" cy="916"/>
              </a:xfrm>
              <a:custGeom>
                <a:avLst/>
                <a:gdLst>
                  <a:gd name="T0" fmla="*/ 307 w 307"/>
                  <a:gd name="T1" fmla="*/ 405 h 455"/>
                  <a:gd name="T2" fmla="*/ 307 w 307"/>
                  <a:gd name="T3" fmla="*/ 244 h 455"/>
                  <a:gd name="T4" fmla="*/ 279 w 307"/>
                  <a:gd name="T5" fmla="*/ 229 h 455"/>
                  <a:gd name="T6" fmla="*/ 250 w 307"/>
                  <a:gd name="T7" fmla="*/ 244 h 455"/>
                  <a:gd name="T8" fmla="*/ 250 w 307"/>
                  <a:gd name="T9" fmla="*/ 378 h 455"/>
                  <a:gd name="T10" fmla="*/ 199 w 307"/>
                  <a:gd name="T11" fmla="*/ 408 h 455"/>
                  <a:gd name="T12" fmla="*/ 61 w 307"/>
                  <a:gd name="T13" fmla="*/ 231 h 455"/>
                  <a:gd name="T14" fmla="*/ 238 w 307"/>
                  <a:gd name="T15" fmla="*/ 49 h 455"/>
                  <a:gd name="T16" fmla="*/ 270 w 307"/>
                  <a:gd name="T17" fmla="*/ 49 h 455"/>
                  <a:gd name="T18" fmla="*/ 286 w 307"/>
                  <a:gd name="T19" fmla="*/ 23 h 455"/>
                  <a:gd name="T20" fmla="*/ 244 w 307"/>
                  <a:gd name="T21" fmla="*/ 0 h 455"/>
                  <a:gd name="T22" fmla="*/ 231 w 307"/>
                  <a:gd name="T23" fmla="*/ 0 h 455"/>
                  <a:gd name="T24" fmla="*/ 0 w 307"/>
                  <a:gd name="T25" fmla="*/ 232 h 455"/>
                  <a:gd name="T26" fmla="*/ 198 w 307"/>
                  <a:gd name="T27" fmla="*/ 455 h 455"/>
                  <a:gd name="T28" fmla="*/ 307 w 307"/>
                  <a:gd name="T29" fmla="*/ 405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7" h="455">
                    <a:moveTo>
                      <a:pt x="307" y="405"/>
                    </a:moveTo>
                    <a:cubicBezTo>
                      <a:pt x="307" y="244"/>
                      <a:pt x="307" y="244"/>
                      <a:pt x="307" y="244"/>
                    </a:cubicBezTo>
                    <a:cubicBezTo>
                      <a:pt x="307" y="234"/>
                      <a:pt x="298" y="229"/>
                      <a:pt x="279" y="229"/>
                    </a:cubicBezTo>
                    <a:cubicBezTo>
                      <a:pt x="259" y="229"/>
                      <a:pt x="250" y="234"/>
                      <a:pt x="250" y="244"/>
                    </a:cubicBezTo>
                    <a:cubicBezTo>
                      <a:pt x="250" y="378"/>
                      <a:pt x="250" y="378"/>
                      <a:pt x="250" y="378"/>
                    </a:cubicBezTo>
                    <a:cubicBezTo>
                      <a:pt x="250" y="399"/>
                      <a:pt x="241" y="408"/>
                      <a:pt x="199" y="408"/>
                    </a:cubicBezTo>
                    <a:cubicBezTo>
                      <a:pt x="114" y="408"/>
                      <a:pt x="61" y="342"/>
                      <a:pt x="61" y="231"/>
                    </a:cubicBezTo>
                    <a:cubicBezTo>
                      <a:pt x="61" y="115"/>
                      <a:pt x="126" y="49"/>
                      <a:pt x="238" y="49"/>
                    </a:cubicBezTo>
                    <a:cubicBezTo>
                      <a:pt x="270" y="49"/>
                      <a:pt x="270" y="49"/>
                      <a:pt x="270" y="49"/>
                    </a:cubicBezTo>
                    <a:cubicBezTo>
                      <a:pt x="282" y="49"/>
                      <a:pt x="286" y="39"/>
                      <a:pt x="286" y="23"/>
                    </a:cubicBezTo>
                    <a:cubicBezTo>
                      <a:pt x="286" y="4"/>
                      <a:pt x="275" y="0"/>
                      <a:pt x="244" y="0"/>
                    </a:cubicBezTo>
                    <a:cubicBezTo>
                      <a:pt x="231" y="0"/>
                      <a:pt x="231" y="0"/>
                      <a:pt x="231" y="0"/>
                    </a:cubicBezTo>
                    <a:cubicBezTo>
                      <a:pt x="101" y="0"/>
                      <a:pt x="0" y="71"/>
                      <a:pt x="0" y="232"/>
                    </a:cubicBezTo>
                    <a:cubicBezTo>
                      <a:pt x="0" y="386"/>
                      <a:pt x="88" y="455"/>
                      <a:pt x="198" y="455"/>
                    </a:cubicBezTo>
                    <a:cubicBezTo>
                      <a:pt x="286" y="455"/>
                      <a:pt x="307" y="430"/>
                      <a:pt x="307" y="40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sp>
            <p:nvSpPr>
              <p:cNvPr id="26" name="Oval 11">
                <a:extLst>
                  <a:ext uri="{FF2B5EF4-FFF2-40B4-BE49-F238E27FC236}">
                    <a16:creationId xmlns:a16="http://schemas.microsoft.com/office/drawing/2014/main" id="{14F8C3C8-4888-7646-B9B4-64EB46A1DA23}"/>
                  </a:ext>
                </a:extLst>
              </p:cNvPr>
              <p:cNvSpPr>
                <a:spLocks noChangeArrowheads="1"/>
              </p:cNvSpPr>
              <p:nvPr/>
            </p:nvSpPr>
            <p:spPr bwMode="gray">
              <a:xfrm>
                <a:off x="3778" y="2099"/>
                <a:ext cx="122" cy="12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sp>
            <p:nvSpPr>
              <p:cNvPr id="27" name="Freeform 12">
                <a:extLst>
                  <a:ext uri="{FF2B5EF4-FFF2-40B4-BE49-F238E27FC236}">
                    <a16:creationId xmlns:a16="http://schemas.microsoft.com/office/drawing/2014/main" id="{D79D01D1-4E3E-F34B-97D7-2D387E68746E}"/>
                  </a:ext>
                </a:extLst>
              </p:cNvPr>
              <p:cNvSpPr>
                <a:spLocks/>
              </p:cNvSpPr>
              <p:nvPr/>
            </p:nvSpPr>
            <p:spPr bwMode="gray">
              <a:xfrm>
                <a:off x="4321" y="1029"/>
                <a:ext cx="648" cy="649"/>
              </a:xfrm>
              <a:custGeom>
                <a:avLst/>
                <a:gdLst>
                  <a:gd name="T0" fmla="*/ 0 w 648"/>
                  <a:gd name="T1" fmla="*/ 649 h 649"/>
                  <a:gd name="T2" fmla="*/ 2 w 648"/>
                  <a:gd name="T3" fmla="*/ 649 h 649"/>
                  <a:gd name="T4" fmla="*/ 648 w 648"/>
                  <a:gd name="T5" fmla="*/ 0 h 649"/>
                  <a:gd name="T6" fmla="*/ 423 w 648"/>
                  <a:gd name="T7" fmla="*/ 0 h 649"/>
                  <a:gd name="T8" fmla="*/ 0 w 648"/>
                  <a:gd name="T9" fmla="*/ 649 h 649"/>
                </a:gdLst>
                <a:ahLst/>
                <a:cxnLst>
                  <a:cxn ang="0">
                    <a:pos x="T0" y="T1"/>
                  </a:cxn>
                  <a:cxn ang="0">
                    <a:pos x="T2" y="T3"/>
                  </a:cxn>
                  <a:cxn ang="0">
                    <a:pos x="T4" y="T5"/>
                  </a:cxn>
                  <a:cxn ang="0">
                    <a:pos x="T6" y="T7"/>
                  </a:cxn>
                  <a:cxn ang="0">
                    <a:pos x="T8" y="T9"/>
                  </a:cxn>
                </a:cxnLst>
                <a:rect l="0" t="0" r="r" b="b"/>
                <a:pathLst>
                  <a:path w="648" h="649">
                    <a:moveTo>
                      <a:pt x="0" y="649"/>
                    </a:moveTo>
                    <a:lnTo>
                      <a:pt x="2" y="649"/>
                    </a:lnTo>
                    <a:lnTo>
                      <a:pt x="648" y="0"/>
                    </a:lnTo>
                    <a:lnTo>
                      <a:pt x="423" y="0"/>
                    </a:lnTo>
                    <a:lnTo>
                      <a:pt x="0" y="64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sp>
            <p:nvSpPr>
              <p:cNvPr id="28" name="Freeform 13">
                <a:extLst>
                  <a:ext uri="{FF2B5EF4-FFF2-40B4-BE49-F238E27FC236}">
                    <a16:creationId xmlns:a16="http://schemas.microsoft.com/office/drawing/2014/main" id="{46549898-6C52-B147-A8F6-A73FDBE6163B}"/>
                  </a:ext>
                </a:extLst>
              </p:cNvPr>
              <p:cNvSpPr>
                <a:spLocks/>
              </p:cNvSpPr>
              <p:nvPr/>
            </p:nvSpPr>
            <p:spPr bwMode="gray">
              <a:xfrm>
                <a:off x="4321" y="1029"/>
                <a:ext cx="648" cy="649"/>
              </a:xfrm>
              <a:custGeom>
                <a:avLst/>
                <a:gdLst>
                  <a:gd name="T0" fmla="*/ 0 w 648"/>
                  <a:gd name="T1" fmla="*/ 649 h 649"/>
                  <a:gd name="T2" fmla="*/ 2 w 648"/>
                  <a:gd name="T3" fmla="*/ 649 h 649"/>
                  <a:gd name="T4" fmla="*/ 648 w 648"/>
                  <a:gd name="T5" fmla="*/ 0 h 649"/>
                  <a:gd name="T6" fmla="*/ 423 w 648"/>
                  <a:gd name="T7" fmla="*/ 0 h 649"/>
                  <a:gd name="T8" fmla="*/ 0 w 648"/>
                  <a:gd name="T9" fmla="*/ 649 h 649"/>
                </a:gdLst>
                <a:ahLst/>
                <a:cxnLst>
                  <a:cxn ang="0">
                    <a:pos x="T0" y="T1"/>
                  </a:cxn>
                  <a:cxn ang="0">
                    <a:pos x="T2" y="T3"/>
                  </a:cxn>
                  <a:cxn ang="0">
                    <a:pos x="T4" y="T5"/>
                  </a:cxn>
                  <a:cxn ang="0">
                    <a:pos x="T6" y="T7"/>
                  </a:cxn>
                  <a:cxn ang="0">
                    <a:pos x="T8" y="T9"/>
                  </a:cxn>
                </a:cxnLst>
                <a:rect l="0" t="0" r="r" b="b"/>
                <a:pathLst>
                  <a:path w="648" h="649">
                    <a:moveTo>
                      <a:pt x="0" y="649"/>
                    </a:moveTo>
                    <a:lnTo>
                      <a:pt x="2" y="649"/>
                    </a:lnTo>
                    <a:lnTo>
                      <a:pt x="648" y="0"/>
                    </a:lnTo>
                    <a:lnTo>
                      <a:pt x="423" y="0"/>
                    </a:lnTo>
                    <a:lnTo>
                      <a:pt x="0" y="64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grpSp>
      </p:grpSp>
      <p:sp>
        <p:nvSpPr>
          <p:cNvPr id="7" name="Date Placeholder 6"/>
          <p:cNvSpPr>
            <a:spLocks noGrp="1"/>
          </p:cNvSpPr>
          <p:nvPr>
            <p:ph type="dt" sz="half" idx="10"/>
          </p:nvPr>
        </p:nvSpPr>
        <p:spPr>
          <a:xfrm>
            <a:off x="0" y="0"/>
            <a:ext cx="0" cy="0"/>
          </a:xfrm>
          <a:prstGeom prst="rect">
            <a:avLst/>
          </a:prstGeom>
        </p:spPr>
        <p:txBody>
          <a:bodyPr/>
          <a:lstStyle>
            <a:lvl1pPr>
              <a:defRPr sz="100">
                <a:noFill/>
              </a:defRPr>
            </a:lvl1pPr>
          </a:lstStyle>
          <a:p>
            <a:fld id="{7630F4D0-4FCA-495D-93CB-4308FDD6CACA}" type="datetime5">
              <a:rPr lang="en-US" smtClean="0"/>
              <a:t>26-Jun-20</a:t>
            </a:fld>
            <a:endParaRPr lang="en-US" dirty="0"/>
          </a:p>
        </p:txBody>
      </p:sp>
      <p:sp>
        <p:nvSpPr>
          <p:cNvPr id="8" name="Footer Placeholder 7"/>
          <p:cNvSpPr>
            <a:spLocks noGrp="1"/>
          </p:cNvSpPr>
          <p:nvPr>
            <p:ph type="ftr" sz="quarter" idx="11"/>
          </p:nvPr>
        </p:nvSpPr>
        <p:spPr>
          <a:xfrm>
            <a:off x="0" y="0"/>
            <a:ext cx="0" cy="0"/>
          </a:xfrm>
          <a:prstGeom prst="rect">
            <a:avLst/>
          </a:prstGeom>
        </p:spPr>
        <p:txBody>
          <a:bodyPr/>
          <a:lstStyle>
            <a:lvl1pPr marL="0" indent="0">
              <a:buNone/>
              <a:defRPr sz="100">
                <a:noFill/>
              </a:defRPr>
            </a:lvl1pPr>
          </a:lstStyle>
          <a:p>
            <a:r>
              <a:rPr lang="en-US"/>
              <a:t>Title of presentation (Insert / Header &amp; Footer / Apply to All)</a:t>
            </a:r>
            <a:endParaRPr lang="en-US" dirty="0"/>
          </a:p>
        </p:txBody>
      </p:sp>
      <p:sp>
        <p:nvSpPr>
          <p:cNvPr id="9" name="Slide Number Placeholder 8"/>
          <p:cNvSpPr>
            <a:spLocks noGrp="1"/>
          </p:cNvSpPr>
          <p:nvPr>
            <p:ph type="sldNum" sz="quarter" idx="12"/>
          </p:nvPr>
        </p:nvSpPr>
        <p:spPr>
          <a:xfrm>
            <a:off x="0" y="0"/>
            <a:ext cx="0" cy="0"/>
          </a:xfrm>
          <a:prstGeom prst="rect">
            <a:avLst/>
          </a:prstGeom>
        </p:spPr>
        <p:txBody>
          <a:bodyPr/>
          <a:lstStyle>
            <a:lvl1pPr>
              <a:defRPr sz="100">
                <a:noFill/>
              </a:defRPr>
            </a:lvl1pPr>
          </a:lstStyle>
          <a:p>
            <a:fld id="{8E3B25F7-8D1F-44B5-B485-EE3C438CFD7B}" type="slidenum">
              <a:rPr lang="en-US" smtClean="0"/>
              <a:pPr/>
              <a:t>‹#›</a:t>
            </a:fld>
            <a:endParaRPr lang="en-US"/>
          </a:p>
        </p:txBody>
      </p:sp>
      <p:sp>
        <p:nvSpPr>
          <p:cNvPr id="2" name="Title 1"/>
          <p:cNvSpPr>
            <a:spLocks noGrp="1"/>
          </p:cNvSpPr>
          <p:nvPr>
            <p:ph type="ctrTitle" hasCustomPrompt="1"/>
          </p:nvPr>
        </p:nvSpPr>
        <p:spPr>
          <a:xfrm>
            <a:off x="4524589" y="1628775"/>
            <a:ext cx="5707662" cy="2236264"/>
          </a:xfrm>
        </p:spPr>
        <p:txBody>
          <a:bodyPr anchor="b"/>
          <a:lstStyle>
            <a:lvl1pPr algn="l">
              <a:defRPr sz="3600" baseline="0"/>
            </a:lvl1pPr>
          </a:lstStyle>
          <a:p>
            <a:r>
              <a:rPr lang="en-US" dirty="0"/>
              <a:t>Click to add a longer presentation title</a:t>
            </a:r>
          </a:p>
        </p:txBody>
      </p:sp>
      <p:sp>
        <p:nvSpPr>
          <p:cNvPr id="3" name="Subtitle 2"/>
          <p:cNvSpPr>
            <a:spLocks noGrp="1"/>
          </p:cNvSpPr>
          <p:nvPr>
            <p:ph type="subTitle" idx="1" hasCustomPrompt="1"/>
          </p:nvPr>
        </p:nvSpPr>
        <p:spPr>
          <a:xfrm>
            <a:off x="4524589" y="4094163"/>
            <a:ext cx="5707662" cy="1080000"/>
          </a:xfrm>
        </p:spPr>
        <p:txBody>
          <a:bodyPr/>
          <a:lstStyle>
            <a:lvl1pPr marL="0" indent="0" algn="l">
              <a:spcBef>
                <a:spcPts val="0"/>
              </a:spcBef>
              <a:buNone/>
              <a:defRPr sz="1800" b="1"/>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31" name="Text Placeholder 30"/>
          <p:cNvSpPr>
            <a:spLocks noGrp="1"/>
          </p:cNvSpPr>
          <p:nvPr>
            <p:ph type="body" sz="quarter" idx="14" hasCustomPrompt="1"/>
          </p:nvPr>
        </p:nvSpPr>
        <p:spPr>
          <a:xfrm>
            <a:off x="417600" y="5393268"/>
            <a:ext cx="2494933" cy="296332"/>
          </a:xfrm>
        </p:spPr>
        <p:txBody>
          <a:bodyPr wrap="none"/>
          <a:lstStyle>
            <a:lvl1pPr marL="0" indent="0">
              <a:spcBef>
                <a:spcPts val="0"/>
              </a:spcBef>
              <a:buNone/>
              <a:defRPr sz="1200"/>
            </a:lvl1pPr>
            <a:lvl2pPr marL="0" indent="0">
              <a:buNone/>
              <a:defRPr sz="1200"/>
            </a:lvl2pPr>
            <a:lvl3pPr marL="0" indent="0">
              <a:buNone/>
              <a:defRPr sz="1200"/>
            </a:lvl3pPr>
            <a:lvl4pPr marL="0">
              <a:buNone/>
              <a:defRPr sz="1200"/>
            </a:lvl4pPr>
            <a:lvl5pPr marL="0" indent="0">
              <a:buNone/>
              <a:defRPr sz="1200"/>
            </a:lvl5pPr>
          </a:lstStyle>
          <a:p>
            <a:pPr lvl="0"/>
            <a:r>
              <a:rPr lang="en-US" dirty="0"/>
              <a:t>Name</a:t>
            </a:r>
          </a:p>
        </p:txBody>
      </p:sp>
      <p:sp>
        <p:nvSpPr>
          <p:cNvPr id="34" name="Text Placeholder 30"/>
          <p:cNvSpPr>
            <a:spLocks noGrp="1"/>
          </p:cNvSpPr>
          <p:nvPr>
            <p:ph type="body" sz="quarter" idx="15" hasCustomPrompt="1"/>
          </p:nvPr>
        </p:nvSpPr>
        <p:spPr>
          <a:xfrm>
            <a:off x="417600" y="5691446"/>
            <a:ext cx="2494933" cy="296332"/>
          </a:xfrm>
        </p:spPr>
        <p:txBody>
          <a:bodyPr wrap="none"/>
          <a:lstStyle>
            <a:lvl1pPr marL="0" indent="0">
              <a:spcBef>
                <a:spcPts val="0"/>
              </a:spcBef>
              <a:buNone/>
              <a:defRPr sz="1200"/>
            </a:lvl1pPr>
            <a:lvl2pPr marL="0" indent="0">
              <a:buNone/>
              <a:defRPr sz="1200"/>
            </a:lvl2pPr>
            <a:lvl3pPr marL="0" indent="0">
              <a:buNone/>
              <a:defRPr sz="1200"/>
            </a:lvl3pPr>
            <a:lvl4pPr marL="0">
              <a:buNone/>
              <a:defRPr sz="1200"/>
            </a:lvl4pPr>
            <a:lvl5pPr marL="0" indent="0">
              <a:buNone/>
              <a:defRPr sz="1200"/>
            </a:lvl5pPr>
          </a:lstStyle>
          <a:p>
            <a:pPr lvl="0"/>
            <a:r>
              <a:rPr lang="en-US" dirty="0"/>
              <a:t>Department</a:t>
            </a:r>
          </a:p>
        </p:txBody>
      </p:sp>
    </p:spTree>
    <p:extLst>
      <p:ext uri="{BB962C8B-B14F-4D97-AF65-F5344CB8AC3E}">
        <p14:creationId xmlns:p14="http://schemas.microsoft.com/office/powerpoint/2010/main" val="1393540511"/>
      </p:ext>
    </p:extLst>
  </p:cSld>
  <p:clrMapOvr>
    <a:masterClrMapping/>
  </p:clrMapOvr>
</p:sldLayout>
</file>

<file path=ppt/slideLayouts/slideLayout509.xml><?xml version="1.0" encoding="utf-8"?>
<p:sldLayout xmlns:a="http://schemas.openxmlformats.org/drawingml/2006/main" xmlns:r="http://schemas.openxmlformats.org/officeDocument/2006/relationships" xmlns:p="http://schemas.openxmlformats.org/presentationml/2006/main" showMasterSp="0" preserve="1">
  <p:cSld name="Title with picture">
    <p:spTree>
      <p:nvGrpSpPr>
        <p:cNvPr id="1" name=""/>
        <p:cNvGrpSpPr/>
        <p:nvPr/>
      </p:nvGrpSpPr>
      <p:grpSpPr>
        <a:xfrm>
          <a:off x="0" y="0"/>
          <a:ext cx="0" cy="0"/>
          <a:chOff x="0" y="0"/>
          <a:chExt cx="0" cy="0"/>
        </a:xfrm>
      </p:grpSpPr>
      <p:sp>
        <p:nvSpPr>
          <p:cNvPr id="12" name="Picture Placeholder 11"/>
          <p:cNvSpPr>
            <a:spLocks noGrp="1"/>
          </p:cNvSpPr>
          <p:nvPr>
            <p:ph type="pic" sz="quarter" idx="13" hasCustomPrompt="1"/>
          </p:nvPr>
        </p:nvSpPr>
        <p:spPr>
          <a:xfrm>
            <a:off x="3376226" y="0"/>
            <a:ext cx="8815774" cy="6858000"/>
          </a:xfrm>
          <a:custGeom>
            <a:avLst/>
            <a:gdLst>
              <a:gd name="connsiteX0" fmla="*/ 331042 w 8815774"/>
              <a:gd name="connsiteY0" fmla="*/ 0 h 6858000"/>
              <a:gd name="connsiteX1" fmla="*/ 8815774 w 8815774"/>
              <a:gd name="connsiteY1" fmla="*/ 0 h 6858000"/>
              <a:gd name="connsiteX2" fmla="*/ 8815774 w 8815774"/>
              <a:gd name="connsiteY2" fmla="*/ 6858000 h 6858000"/>
              <a:gd name="connsiteX3" fmla="*/ 0 w 8815774"/>
              <a:gd name="connsiteY3" fmla="*/ 6858000 h 6858000"/>
              <a:gd name="connsiteX4" fmla="*/ 1580491 w 8815774"/>
              <a:gd name="connsiteY4" fmla="*/ 4163677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15774" h="6858000">
                <a:moveTo>
                  <a:pt x="331042" y="0"/>
                </a:moveTo>
                <a:lnTo>
                  <a:pt x="8815774" y="0"/>
                </a:lnTo>
                <a:lnTo>
                  <a:pt x="8815774" y="6858000"/>
                </a:lnTo>
                <a:lnTo>
                  <a:pt x="0" y="6858000"/>
                </a:lnTo>
                <a:lnTo>
                  <a:pt x="1580491" y="4163677"/>
                </a:lnTo>
                <a:close/>
              </a:path>
            </a:pathLst>
          </a:custGeom>
          <a:solidFill>
            <a:srgbClr val="D9DADB"/>
          </a:solidFill>
        </p:spPr>
        <p:txBody>
          <a:bodyPr wrap="square">
            <a:noAutofit/>
          </a:bodyPr>
          <a:lstStyle>
            <a:lvl1pPr marL="0" indent="0" algn="ctr">
              <a:buNone/>
              <a:defRPr/>
            </a:lvl1pPr>
          </a:lstStyle>
          <a:p>
            <a:r>
              <a:rPr lang="en-US" dirty="0"/>
              <a:t>Insert picture</a:t>
            </a:r>
          </a:p>
        </p:txBody>
      </p:sp>
      <p:grpSp>
        <p:nvGrpSpPr>
          <p:cNvPr id="14" name="logo">
            <a:extLst>
              <a:ext uri="{FF2B5EF4-FFF2-40B4-BE49-F238E27FC236}">
                <a16:creationId xmlns:a16="http://schemas.microsoft.com/office/drawing/2014/main" id="{18C26D95-70F8-8A4D-9F18-DCCB92522AF8}"/>
              </a:ext>
            </a:extLst>
          </p:cNvPr>
          <p:cNvGrpSpPr/>
          <p:nvPr/>
        </p:nvGrpSpPr>
        <p:grpSpPr bwMode="gray">
          <a:xfrm>
            <a:off x="417363" y="407485"/>
            <a:ext cx="1518585" cy="646507"/>
            <a:chOff x="334963" y="296652"/>
            <a:chExt cx="1268411" cy="540000"/>
          </a:xfrm>
        </p:grpSpPr>
        <p:sp>
          <p:nvSpPr>
            <p:cNvPr id="17" name="Freeform 6">
              <a:extLst>
                <a:ext uri="{FF2B5EF4-FFF2-40B4-BE49-F238E27FC236}">
                  <a16:creationId xmlns:a16="http://schemas.microsoft.com/office/drawing/2014/main" id="{08737AD0-E375-E445-97E6-CD2E2DF60620}"/>
                </a:ext>
              </a:extLst>
            </p:cNvPr>
            <p:cNvSpPr>
              <a:spLocks noEditPoints="1"/>
            </p:cNvSpPr>
            <p:nvPr/>
          </p:nvSpPr>
          <p:spPr bwMode="gray">
            <a:xfrm>
              <a:off x="982662" y="360462"/>
              <a:ext cx="620712" cy="431800"/>
            </a:xfrm>
            <a:custGeom>
              <a:avLst/>
              <a:gdLst>
                <a:gd name="T0" fmla="*/ 19 w 1809"/>
                <a:gd name="T1" fmla="*/ 97 h 1253"/>
                <a:gd name="T2" fmla="*/ 165 w 1809"/>
                <a:gd name="T3" fmla="*/ 41 h 1253"/>
                <a:gd name="T4" fmla="*/ 211 w 1809"/>
                <a:gd name="T5" fmla="*/ 224 h 1253"/>
                <a:gd name="T6" fmla="*/ 248 w 1809"/>
                <a:gd name="T7" fmla="*/ 155 h 1253"/>
                <a:gd name="T8" fmla="*/ 931 w 1809"/>
                <a:gd name="T9" fmla="*/ 995 h 1253"/>
                <a:gd name="T10" fmla="*/ 858 w 1809"/>
                <a:gd name="T11" fmla="*/ 1115 h 1253"/>
                <a:gd name="T12" fmla="*/ 749 w 1809"/>
                <a:gd name="T13" fmla="*/ 1117 h 1253"/>
                <a:gd name="T14" fmla="*/ 681 w 1809"/>
                <a:gd name="T15" fmla="*/ 1055 h 1253"/>
                <a:gd name="T16" fmla="*/ 800 w 1809"/>
                <a:gd name="T17" fmla="*/ 1054 h 1253"/>
                <a:gd name="T18" fmla="*/ 884 w 1809"/>
                <a:gd name="T19" fmla="*/ 1181 h 1253"/>
                <a:gd name="T20" fmla="*/ 118 w 1809"/>
                <a:gd name="T21" fmla="*/ 1086 h 1253"/>
                <a:gd name="T22" fmla="*/ 147 w 1809"/>
                <a:gd name="T23" fmla="*/ 1026 h 1253"/>
                <a:gd name="T24" fmla="*/ 102 w 1809"/>
                <a:gd name="T25" fmla="*/ 1026 h 1253"/>
                <a:gd name="T26" fmla="*/ 639 w 1809"/>
                <a:gd name="T27" fmla="*/ 84 h 1253"/>
                <a:gd name="T28" fmla="*/ 763 w 1809"/>
                <a:gd name="T29" fmla="*/ 145 h 1253"/>
                <a:gd name="T30" fmla="*/ 863 w 1809"/>
                <a:gd name="T31" fmla="*/ 221 h 1253"/>
                <a:gd name="T32" fmla="*/ 834 w 1809"/>
                <a:gd name="T33" fmla="*/ 208 h 1253"/>
                <a:gd name="T34" fmla="*/ 719 w 1809"/>
                <a:gd name="T35" fmla="*/ 182 h 1253"/>
                <a:gd name="T36" fmla="*/ 507 w 1809"/>
                <a:gd name="T37" fmla="*/ 711 h 1253"/>
                <a:gd name="T38" fmla="*/ 614 w 1809"/>
                <a:gd name="T39" fmla="*/ 706 h 1253"/>
                <a:gd name="T40" fmla="*/ 736 w 1809"/>
                <a:gd name="T41" fmla="*/ 730 h 1253"/>
                <a:gd name="T42" fmla="*/ 607 w 1809"/>
                <a:gd name="T43" fmla="*/ 539 h 1253"/>
                <a:gd name="T44" fmla="*/ 1505 w 1809"/>
                <a:gd name="T45" fmla="*/ 1136 h 1253"/>
                <a:gd name="T46" fmla="*/ 1613 w 1809"/>
                <a:gd name="T47" fmla="*/ 1002 h 1253"/>
                <a:gd name="T48" fmla="*/ 1472 w 1809"/>
                <a:gd name="T49" fmla="*/ 1164 h 1253"/>
                <a:gd name="T50" fmla="*/ 1525 w 1809"/>
                <a:gd name="T51" fmla="*/ 1142 h 1253"/>
                <a:gd name="T52" fmla="*/ 1556 w 1809"/>
                <a:gd name="T53" fmla="*/ 1172 h 1253"/>
                <a:gd name="T54" fmla="*/ 1387 w 1809"/>
                <a:gd name="T55" fmla="*/ 910 h 1253"/>
                <a:gd name="T56" fmla="*/ 1261 w 1809"/>
                <a:gd name="T57" fmla="*/ 1157 h 1253"/>
                <a:gd name="T58" fmla="*/ 1413 w 1809"/>
                <a:gd name="T59" fmla="*/ 934 h 1253"/>
                <a:gd name="T60" fmla="*/ 1378 w 1809"/>
                <a:gd name="T61" fmla="*/ 1052 h 1253"/>
                <a:gd name="T62" fmla="*/ 488 w 1809"/>
                <a:gd name="T63" fmla="*/ 85 h 1253"/>
                <a:gd name="T64" fmla="*/ 509 w 1809"/>
                <a:gd name="T65" fmla="*/ 112 h 1253"/>
                <a:gd name="T66" fmla="*/ 548 w 1809"/>
                <a:gd name="T67" fmla="*/ 1187 h 1253"/>
                <a:gd name="T68" fmla="*/ 472 w 1809"/>
                <a:gd name="T69" fmla="*/ 1122 h 1253"/>
                <a:gd name="T70" fmla="*/ 558 w 1809"/>
                <a:gd name="T71" fmla="*/ 1157 h 1253"/>
                <a:gd name="T72" fmla="*/ 287 w 1809"/>
                <a:gd name="T73" fmla="*/ 654 h 1253"/>
                <a:gd name="T74" fmla="*/ 416 w 1809"/>
                <a:gd name="T75" fmla="*/ 684 h 1253"/>
                <a:gd name="T76" fmla="*/ 1106 w 1809"/>
                <a:gd name="T77" fmla="*/ 147 h 1253"/>
                <a:gd name="T78" fmla="*/ 1229 w 1809"/>
                <a:gd name="T79" fmla="*/ 258 h 1253"/>
                <a:gd name="T80" fmla="*/ 1106 w 1809"/>
                <a:gd name="T81" fmla="*/ 96 h 1253"/>
                <a:gd name="T82" fmla="*/ 1219 w 1809"/>
                <a:gd name="T83" fmla="*/ 1077 h 1253"/>
                <a:gd name="T84" fmla="*/ 1214 w 1809"/>
                <a:gd name="T85" fmla="*/ 1157 h 1253"/>
                <a:gd name="T86" fmla="*/ 1150 w 1809"/>
                <a:gd name="T87" fmla="*/ 1092 h 1253"/>
                <a:gd name="T88" fmla="*/ 1139 w 1809"/>
                <a:gd name="T89" fmla="*/ 1070 h 1253"/>
                <a:gd name="T90" fmla="*/ 1659 w 1809"/>
                <a:gd name="T91" fmla="*/ 1031 h 1253"/>
                <a:gd name="T92" fmla="*/ 1714 w 1809"/>
                <a:gd name="T93" fmla="*/ 1155 h 1253"/>
                <a:gd name="T94" fmla="*/ 1760 w 1809"/>
                <a:gd name="T95" fmla="*/ 1030 h 1253"/>
                <a:gd name="T96" fmla="*/ 111 w 1809"/>
                <a:gd name="T97" fmla="*/ 569 h 1253"/>
                <a:gd name="T98" fmla="*/ 109 w 1809"/>
                <a:gd name="T99" fmla="*/ 460 h 1253"/>
                <a:gd name="T100" fmla="*/ 32 w 1809"/>
                <a:gd name="T101" fmla="*/ 704 h 1253"/>
                <a:gd name="T102" fmla="*/ 310 w 1809"/>
                <a:gd name="T103" fmla="*/ 1058 h 1253"/>
                <a:gd name="T104" fmla="*/ 431 w 1809"/>
                <a:gd name="T105" fmla="*/ 1044 h 1253"/>
                <a:gd name="T106" fmla="*/ 278 w 1809"/>
                <a:gd name="T107" fmla="*/ 1165 h 1253"/>
                <a:gd name="T108" fmla="*/ 261 w 1809"/>
                <a:gd name="T109" fmla="*/ 540 h 1253"/>
                <a:gd name="T110" fmla="*/ 150 w 1809"/>
                <a:gd name="T111" fmla="*/ 635 h 1253"/>
                <a:gd name="T112" fmla="*/ 994 w 1809"/>
                <a:gd name="T113" fmla="*/ 1185 h 1253"/>
                <a:gd name="T114" fmla="*/ 331 w 1809"/>
                <a:gd name="T115" fmla="*/ 176 h 1253"/>
                <a:gd name="T116" fmla="*/ 333 w 1809"/>
                <a:gd name="T117" fmla="*/ 109 h 1253"/>
                <a:gd name="T118" fmla="*/ 946 w 1809"/>
                <a:gd name="T119" fmla="*/ 234 h 1253"/>
                <a:gd name="T120" fmla="*/ 1022 w 1809"/>
                <a:gd name="T121" fmla="*/ 113 h 1253"/>
                <a:gd name="T122" fmla="*/ 949 w 1809"/>
                <a:gd name="T123" fmla="*/ 65 h 1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09" h="1253">
                  <a:moveTo>
                    <a:pt x="248" y="198"/>
                  </a:moveTo>
                  <a:cubicBezTo>
                    <a:pt x="248" y="211"/>
                    <a:pt x="248" y="224"/>
                    <a:pt x="249" y="237"/>
                  </a:cubicBezTo>
                  <a:cubicBezTo>
                    <a:pt x="249" y="245"/>
                    <a:pt x="246" y="249"/>
                    <a:pt x="240" y="253"/>
                  </a:cubicBezTo>
                  <a:cubicBezTo>
                    <a:pt x="231" y="260"/>
                    <a:pt x="220" y="264"/>
                    <a:pt x="209" y="268"/>
                  </a:cubicBezTo>
                  <a:cubicBezTo>
                    <a:pt x="179" y="279"/>
                    <a:pt x="148" y="280"/>
                    <a:pt x="118" y="275"/>
                  </a:cubicBezTo>
                  <a:cubicBezTo>
                    <a:pt x="86" y="269"/>
                    <a:pt x="58" y="252"/>
                    <a:pt x="39" y="224"/>
                  </a:cubicBezTo>
                  <a:cubicBezTo>
                    <a:pt x="24" y="203"/>
                    <a:pt x="18" y="180"/>
                    <a:pt x="15" y="155"/>
                  </a:cubicBezTo>
                  <a:cubicBezTo>
                    <a:pt x="11" y="135"/>
                    <a:pt x="15" y="115"/>
                    <a:pt x="19" y="97"/>
                  </a:cubicBezTo>
                  <a:cubicBezTo>
                    <a:pt x="26" y="68"/>
                    <a:pt x="42" y="44"/>
                    <a:pt x="68" y="27"/>
                  </a:cubicBezTo>
                  <a:cubicBezTo>
                    <a:pt x="87" y="14"/>
                    <a:pt x="109" y="6"/>
                    <a:pt x="133" y="5"/>
                  </a:cubicBezTo>
                  <a:cubicBezTo>
                    <a:pt x="149" y="4"/>
                    <a:pt x="165" y="5"/>
                    <a:pt x="181" y="6"/>
                  </a:cubicBezTo>
                  <a:cubicBezTo>
                    <a:pt x="204" y="8"/>
                    <a:pt x="225" y="20"/>
                    <a:pt x="243" y="35"/>
                  </a:cubicBezTo>
                  <a:cubicBezTo>
                    <a:pt x="246" y="37"/>
                    <a:pt x="246" y="40"/>
                    <a:pt x="244" y="43"/>
                  </a:cubicBezTo>
                  <a:cubicBezTo>
                    <a:pt x="242" y="47"/>
                    <a:pt x="239" y="52"/>
                    <a:pt x="236" y="55"/>
                  </a:cubicBezTo>
                  <a:cubicBezTo>
                    <a:pt x="226" y="65"/>
                    <a:pt x="224" y="65"/>
                    <a:pt x="206" y="54"/>
                  </a:cubicBezTo>
                  <a:cubicBezTo>
                    <a:pt x="193" y="46"/>
                    <a:pt x="180" y="40"/>
                    <a:pt x="165" y="41"/>
                  </a:cubicBezTo>
                  <a:cubicBezTo>
                    <a:pt x="151" y="41"/>
                    <a:pt x="137" y="39"/>
                    <a:pt x="124" y="42"/>
                  </a:cubicBezTo>
                  <a:cubicBezTo>
                    <a:pt x="104" y="46"/>
                    <a:pt x="87" y="57"/>
                    <a:pt x="75" y="74"/>
                  </a:cubicBezTo>
                  <a:cubicBezTo>
                    <a:pt x="56" y="99"/>
                    <a:pt x="51" y="129"/>
                    <a:pt x="55" y="159"/>
                  </a:cubicBezTo>
                  <a:cubicBezTo>
                    <a:pt x="60" y="189"/>
                    <a:pt x="73" y="214"/>
                    <a:pt x="98" y="230"/>
                  </a:cubicBezTo>
                  <a:cubicBezTo>
                    <a:pt x="109" y="237"/>
                    <a:pt x="121" y="242"/>
                    <a:pt x="135" y="241"/>
                  </a:cubicBezTo>
                  <a:cubicBezTo>
                    <a:pt x="146" y="241"/>
                    <a:pt x="158" y="241"/>
                    <a:pt x="169" y="241"/>
                  </a:cubicBezTo>
                  <a:cubicBezTo>
                    <a:pt x="182" y="242"/>
                    <a:pt x="193" y="235"/>
                    <a:pt x="205" y="232"/>
                  </a:cubicBezTo>
                  <a:cubicBezTo>
                    <a:pt x="210" y="231"/>
                    <a:pt x="211" y="227"/>
                    <a:pt x="211" y="224"/>
                  </a:cubicBezTo>
                  <a:cubicBezTo>
                    <a:pt x="211" y="210"/>
                    <a:pt x="211" y="196"/>
                    <a:pt x="211" y="183"/>
                  </a:cubicBezTo>
                  <a:cubicBezTo>
                    <a:pt x="211" y="177"/>
                    <a:pt x="207" y="175"/>
                    <a:pt x="202" y="175"/>
                  </a:cubicBezTo>
                  <a:cubicBezTo>
                    <a:pt x="193" y="175"/>
                    <a:pt x="184" y="175"/>
                    <a:pt x="175" y="175"/>
                  </a:cubicBezTo>
                  <a:cubicBezTo>
                    <a:pt x="171" y="175"/>
                    <a:pt x="168" y="174"/>
                    <a:pt x="166" y="171"/>
                  </a:cubicBezTo>
                  <a:cubicBezTo>
                    <a:pt x="163" y="163"/>
                    <a:pt x="164" y="154"/>
                    <a:pt x="166" y="146"/>
                  </a:cubicBezTo>
                  <a:cubicBezTo>
                    <a:pt x="167" y="142"/>
                    <a:pt x="171" y="142"/>
                    <a:pt x="175" y="142"/>
                  </a:cubicBezTo>
                  <a:cubicBezTo>
                    <a:pt x="196" y="142"/>
                    <a:pt x="217" y="142"/>
                    <a:pt x="238" y="142"/>
                  </a:cubicBezTo>
                  <a:cubicBezTo>
                    <a:pt x="247" y="142"/>
                    <a:pt x="248" y="148"/>
                    <a:pt x="248" y="155"/>
                  </a:cubicBezTo>
                  <a:cubicBezTo>
                    <a:pt x="249" y="169"/>
                    <a:pt x="248" y="183"/>
                    <a:pt x="248" y="198"/>
                  </a:cubicBezTo>
                  <a:close/>
                  <a:moveTo>
                    <a:pt x="884" y="1181"/>
                  </a:moveTo>
                  <a:cubicBezTo>
                    <a:pt x="889" y="1167"/>
                    <a:pt x="894" y="1152"/>
                    <a:pt x="898" y="1137"/>
                  </a:cubicBezTo>
                  <a:cubicBezTo>
                    <a:pt x="901" y="1127"/>
                    <a:pt x="905" y="1116"/>
                    <a:pt x="908" y="1106"/>
                  </a:cubicBezTo>
                  <a:cubicBezTo>
                    <a:pt x="911" y="1098"/>
                    <a:pt x="912" y="1089"/>
                    <a:pt x="916" y="1081"/>
                  </a:cubicBezTo>
                  <a:cubicBezTo>
                    <a:pt x="921" y="1072"/>
                    <a:pt x="923" y="1060"/>
                    <a:pt x="927" y="1050"/>
                  </a:cubicBezTo>
                  <a:cubicBezTo>
                    <a:pt x="932" y="1037"/>
                    <a:pt x="934" y="1023"/>
                    <a:pt x="940" y="1010"/>
                  </a:cubicBezTo>
                  <a:cubicBezTo>
                    <a:pt x="945" y="1001"/>
                    <a:pt x="941" y="995"/>
                    <a:pt x="931" y="995"/>
                  </a:cubicBezTo>
                  <a:cubicBezTo>
                    <a:pt x="927" y="995"/>
                    <a:pt x="922" y="995"/>
                    <a:pt x="918" y="995"/>
                  </a:cubicBezTo>
                  <a:cubicBezTo>
                    <a:pt x="913" y="995"/>
                    <a:pt x="908" y="997"/>
                    <a:pt x="907" y="1001"/>
                  </a:cubicBezTo>
                  <a:cubicBezTo>
                    <a:pt x="904" y="1008"/>
                    <a:pt x="900" y="1015"/>
                    <a:pt x="899" y="1023"/>
                  </a:cubicBezTo>
                  <a:cubicBezTo>
                    <a:pt x="897" y="1034"/>
                    <a:pt x="893" y="1045"/>
                    <a:pt x="889" y="1055"/>
                  </a:cubicBezTo>
                  <a:cubicBezTo>
                    <a:pt x="887" y="1064"/>
                    <a:pt x="885" y="1072"/>
                    <a:pt x="882" y="1080"/>
                  </a:cubicBezTo>
                  <a:cubicBezTo>
                    <a:pt x="878" y="1091"/>
                    <a:pt x="874" y="1103"/>
                    <a:pt x="871" y="1115"/>
                  </a:cubicBezTo>
                  <a:cubicBezTo>
                    <a:pt x="870" y="1118"/>
                    <a:pt x="871" y="1124"/>
                    <a:pt x="866" y="1124"/>
                  </a:cubicBezTo>
                  <a:cubicBezTo>
                    <a:pt x="861" y="1125"/>
                    <a:pt x="859" y="1120"/>
                    <a:pt x="858" y="1115"/>
                  </a:cubicBezTo>
                  <a:cubicBezTo>
                    <a:pt x="856" y="1110"/>
                    <a:pt x="856" y="1104"/>
                    <a:pt x="854" y="1099"/>
                  </a:cubicBezTo>
                  <a:cubicBezTo>
                    <a:pt x="848" y="1080"/>
                    <a:pt x="841" y="1062"/>
                    <a:pt x="835" y="1044"/>
                  </a:cubicBezTo>
                  <a:cubicBezTo>
                    <a:pt x="831" y="1030"/>
                    <a:pt x="828" y="1016"/>
                    <a:pt x="822" y="1003"/>
                  </a:cubicBezTo>
                  <a:cubicBezTo>
                    <a:pt x="819" y="997"/>
                    <a:pt x="814" y="994"/>
                    <a:pt x="808" y="994"/>
                  </a:cubicBezTo>
                  <a:cubicBezTo>
                    <a:pt x="799" y="993"/>
                    <a:pt x="791" y="993"/>
                    <a:pt x="787" y="1001"/>
                  </a:cubicBezTo>
                  <a:cubicBezTo>
                    <a:pt x="783" y="1008"/>
                    <a:pt x="780" y="1015"/>
                    <a:pt x="779" y="1022"/>
                  </a:cubicBezTo>
                  <a:cubicBezTo>
                    <a:pt x="778" y="1034"/>
                    <a:pt x="772" y="1044"/>
                    <a:pt x="769" y="1055"/>
                  </a:cubicBezTo>
                  <a:cubicBezTo>
                    <a:pt x="762" y="1076"/>
                    <a:pt x="754" y="1096"/>
                    <a:pt x="749" y="1117"/>
                  </a:cubicBezTo>
                  <a:cubicBezTo>
                    <a:pt x="748" y="1120"/>
                    <a:pt x="747" y="1124"/>
                    <a:pt x="742" y="1124"/>
                  </a:cubicBezTo>
                  <a:cubicBezTo>
                    <a:pt x="737" y="1124"/>
                    <a:pt x="737" y="1120"/>
                    <a:pt x="736" y="1116"/>
                  </a:cubicBezTo>
                  <a:cubicBezTo>
                    <a:pt x="734" y="1104"/>
                    <a:pt x="730" y="1092"/>
                    <a:pt x="726" y="1080"/>
                  </a:cubicBezTo>
                  <a:cubicBezTo>
                    <a:pt x="720" y="1061"/>
                    <a:pt x="714" y="1040"/>
                    <a:pt x="708" y="1020"/>
                  </a:cubicBezTo>
                  <a:cubicBezTo>
                    <a:pt x="703" y="1000"/>
                    <a:pt x="698" y="994"/>
                    <a:pt x="676" y="995"/>
                  </a:cubicBezTo>
                  <a:cubicBezTo>
                    <a:pt x="665" y="996"/>
                    <a:pt x="661" y="1001"/>
                    <a:pt x="667" y="1011"/>
                  </a:cubicBezTo>
                  <a:cubicBezTo>
                    <a:pt x="669" y="1016"/>
                    <a:pt x="670" y="1021"/>
                    <a:pt x="672" y="1025"/>
                  </a:cubicBezTo>
                  <a:cubicBezTo>
                    <a:pt x="675" y="1035"/>
                    <a:pt x="678" y="1046"/>
                    <a:pt x="681" y="1055"/>
                  </a:cubicBezTo>
                  <a:cubicBezTo>
                    <a:pt x="685" y="1068"/>
                    <a:pt x="689" y="1080"/>
                    <a:pt x="693" y="1092"/>
                  </a:cubicBezTo>
                  <a:cubicBezTo>
                    <a:pt x="697" y="1103"/>
                    <a:pt x="699" y="1113"/>
                    <a:pt x="703" y="1124"/>
                  </a:cubicBezTo>
                  <a:cubicBezTo>
                    <a:pt x="707" y="1136"/>
                    <a:pt x="711" y="1147"/>
                    <a:pt x="715" y="1160"/>
                  </a:cubicBezTo>
                  <a:cubicBezTo>
                    <a:pt x="717" y="1168"/>
                    <a:pt x="720" y="1176"/>
                    <a:pt x="724" y="1183"/>
                  </a:cubicBezTo>
                  <a:cubicBezTo>
                    <a:pt x="728" y="1189"/>
                    <a:pt x="752" y="1185"/>
                    <a:pt x="757" y="1180"/>
                  </a:cubicBezTo>
                  <a:cubicBezTo>
                    <a:pt x="764" y="1173"/>
                    <a:pt x="762" y="1163"/>
                    <a:pt x="766" y="1156"/>
                  </a:cubicBezTo>
                  <a:cubicBezTo>
                    <a:pt x="774" y="1140"/>
                    <a:pt x="778" y="1122"/>
                    <a:pt x="784" y="1105"/>
                  </a:cubicBezTo>
                  <a:cubicBezTo>
                    <a:pt x="789" y="1088"/>
                    <a:pt x="796" y="1072"/>
                    <a:pt x="800" y="1054"/>
                  </a:cubicBezTo>
                  <a:cubicBezTo>
                    <a:pt x="800" y="1053"/>
                    <a:pt x="801" y="1050"/>
                    <a:pt x="803" y="1050"/>
                  </a:cubicBezTo>
                  <a:cubicBezTo>
                    <a:pt x="806" y="1050"/>
                    <a:pt x="806" y="1052"/>
                    <a:pt x="807" y="1055"/>
                  </a:cubicBezTo>
                  <a:cubicBezTo>
                    <a:pt x="807" y="1060"/>
                    <a:pt x="810" y="1066"/>
                    <a:pt x="811" y="1071"/>
                  </a:cubicBezTo>
                  <a:cubicBezTo>
                    <a:pt x="814" y="1081"/>
                    <a:pt x="818" y="1090"/>
                    <a:pt x="821" y="1099"/>
                  </a:cubicBezTo>
                  <a:cubicBezTo>
                    <a:pt x="824" y="1110"/>
                    <a:pt x="827" y="1120"/>
                    <a:pt x="831" y="1131"/>
                  </a:cubicBezTo>
                  <a:cubicBezTo>
                    <a:pt x="834" y="1142"/>
                    <a:pt x="839" y="1153"/>
                    <a:pt x="842" y="1164"/>
                  </a:cubicBezTo>
                  <a:cubicBezTo>
                    <a:pt x="846" y="1179"/>
                    <a:pt x="850" y="1188"/>
                    <a:pt x="869" y="1185"/>
                  </a:cubicBezTo>
                  <a:cubicBezTo>
                    <a:pt x="873" y="1184"/>
                    <a:pt x="881" y="1189"/>
                    <a:pt x="884" y="1181"/>
                  </a:cubicBezTo>
                  <a:close/>
                  <a:moveTo>
                    <a:pt x="33" y="1051"/>
                  </a:moveTo>
                  <a:cubicBezTo>
                    <a:pt x="33" y="1087"/>
                    <a:pt x="33" y="1124"/>
                    <a:pt x="33" y="1160"/>
                  </a:cubicBezTo>
                  <a:cubicBezTo>
                    <a:pt x="33" y="1188"/>
                    <a:pt x="29" y="1184"/>
                    <a:pt x="58" y="1185"/>
                  </a:cubicBezTo>
                  <a:cubicBezTo>
                    <a:pt x="72" y="1185"/>
                    <a:pt x="73" y="1184"/>
                    <a:pt x="73" y="1170"/>
                  </a:cubicBezTo>
                  <a:cubicBezTo>
                    <a:pt x="73" y="1138"/>
                    <a:pt x="73" y="1107"/>
                    <a:pt x="73" y="1076"/>
                  </a:cubicBezTo>
                  <a:cubicBezTo>
                    <a:pt x="73" y="1071"/>
                    <a:pt x="72" y="1067"/>
                    <a:pt x="78" y="1065"/>
                  </a:cubicBezTo>
                  <a:cubicBezTo>
                    <a:pt x="91" y="1062"/>
                    <a:pt x="102" y="1067"/>
                    <a:pt x="110" y="1076"/>
                  </a:cubicBezTo>
                  <a:cubicBezTo>
                    <a:pt x="112" y="1080"/>
                    <a:pt x="115" y="1083"/>
                    <a:pt x="118" y="1086"/>
                  </a:cubicBezTo>
                  <a:cubicBezTo>
                    <a:pt x="132" y="1103"/>
                    <a:pt x="146" y="1119"/>
                    <a:pt x="161" y="1136"/>
                  </a:cubicBezTo>
                  <a:cubicBezTo>
                    <a:pt x="173" y="1150"/>
                    <a:pt x="186" y="1165"/>
                    <a:pt x="198" y="1179"/>
                  </a:cubicBezTo>
                  <a:cubicBezTo>
                    <a:pt x="207" y="1188"/>
                    <a:pt x="218" y="1184"/>
                    <a:pt x="228" y="1185"/>
                  </a:cubicBezTo>
                  <a:cubicBezTo>
                    <a:pt x="233" y="1185"/>
                    <a:pt x="241" y="1188"/>
                    <a:pt x="244" y="1182"/>
                  </a:cubicBezTo>
                  <a:cubicBezTo>
                    <a:pt x="246" y="1178"/>
                    <a:pt x="239" y="1173"/>
                    <a:pt x="235" y="1169"/>
                  </a:cubicBezTo>
                  <a:cubicBezTo>
                    <a:pt x="206" y="1133"/>
                    <a:pt x="176" y="1098"/>
                    <a:pt x="146" y="1062"/>
                  </a:cubicBezTo>
                  <a:cubicBezTo>
                    <a:pt x="141" y="1056"/>
                    <a:pt x="131" y="1052"/>
                    <a:pt x="132" y="1044"/>
                  </a:cubicBezTo>
                  <a:cubicBezTo>
                    <a:pt x="132" y="1036"/>
                    <a:pt x="142" y="1032"/>
                    <a:pt x="147" y="1026"/>
                  </a:cubicBezTo>
                  <a:cubicBezTo>
                    <a:pt x="164" y="1006"/>
                    <a:pt x="182" y="988"/>
                    <a:pt x="198" y="968"/>
                  </a:cubicBezTo>
                  <a:cubicBezTo>
                    <a:pt x="209" y="954"/>
                    <a:pt x="221" y="942"/>
                    <a:pt x="234" y="929"/>
                  </a:cubicBezTo>
                  <a:cubicBezTo>
                    <a:pt x="236" y="926"/>
                    <a:pt x="238" y="923"/>
                    <a:pt x="237" y="920"/>
                  </a:cubicBezTo>
                  <a:cubicBezTo>
                    <a:pt x="235" y="915"/>
                    <a:pt x="231" y="917"/>
                    <a:pt x="228" y="917"/>
                  </a:cubicBezTo>
                  <a:cubicBezTo>
                    <a:pt x="224" y="918"/>
                    <a:pt x="221" y="918"/>
                    <a:pt x="217" y="918"/>
                  </a:cubicBezTo>
                  <a:cubicBezTo>
                    <a:pt x="204" y="917"/>
                    <a:pt x="193" y="922"/>
                    <a:pt x="185" y="931"/>
                  </a:cubicBezTo>
                  <a:cubicBezTo>
                    <a:pt x="172" y="946"/>
                    <a:pt x="158" y="961"/>
                    <a:pt x="145" y="977"/>
                  </a:cubicBezTo>
                  <a:cubicBezTo>
                    <a:pt x="131" y="993"/>
                    <a:pt x="117" y="1010"/>
                    <a:pt x="102" y="1026"/>
                  </a:cubicBezTo>
                  <a:cubicBezTo>
                    <a:pt x="96" y="1032"/>
                    <a:pt x="87" y="1037"/>
                    <a:pt x="78" y="1034"/>
                  </a:cubicBezTo>
                  <a:cubicBezTo>
                    <a:pt x="70" y="1030"/>
                    <a:pt x="73" y="1021"/>
                    <a:pt x="73" y="1015"/>
                  </a:cubicBezTo>
                  <a:cubicBezTo>
                    <a:pt x="73" y="991"/>
                    <a:pt x="73" y="967"/>
                    <a:pt x="73" y="944"/>
                  </a:cubicBezTo>
                  <a:cubicBezTo>
                    <a:pt x="73" y="916"/>
                    <a:pt x="75" y="917"/>
                    <a:pt x="46" y="918"/>
                  </a:cubicBezTo>
                  <a:cubicBezTo>
                    <a:pt x="33" y="918"/>
                    <a:pt x="33" y="918"/>
                    <a:pt x="33" y="931"/>
                  </a:cubicBezTo>
                  <a:cubicBezTo>
                    <a:pt x="33" y="971"/>
                    <a:pt x="33" y="1011"/>
                    <a:pt x="33" y="1051"/>
                  </a:cubicBezTo>
                  <a:cubicBezTo>
                    <a:pt x="33" y="1051"/>
                    <a:pt x="33" y="1051"/>
                    <a:pt x="33" y="1051"/>
                  </a:cubicBezTo>
                  <a:close/>
                  <a:moveTo>
                    <a:pt x="639" y="84"/>
                  </a:moveTo>
                  <a:cubicBezTo>
                    <a:pt x="627" y="84"/>
                    <a:pt x="626" y="84"/>
                    <a:pt x="629" y="95"/>
                  </a:cubicBezTo>
                  <a:cubicBezTo>
                    <a:pt x="634" y="113"/>
                    <a:pt x="640" y="131"/>
                    <a:pt x="646" y="148"/>
                  </a:cubicBezTo>
                  <a:cubicBezTo>
                    <a:pt x="652" y="166"/>
                    <a:pt x="658" y="185"/>
                    <a:pt x="664" y="203"/>
                  </a:cubicBezTo>
                  <a:cubicBezTo>
                    <a:pt x="671" y="223"/>
                    <a:pt x="676" y="244"/>
                    <a:pt x="684" y="264"/>
                  </a:cubicBezTo>
                  <a:cubicBezTo>
                    <a:pt x="688" y="274"/>
                    <a:pt x="694" y="274"/>
                    <a:pt x="702" y="274"/>
                  </a:cubicBezTo>
                  <a:cubicBezTo>
                    <a:pt x="711" y="274"/>
                    <a:pt x="719" y="272"/>
                    <a:pt x="723" y="263"/>
                  </a:cubicBezTo>
                  <a:cubicBezTo>
                    <a:pt x="733" y="236"/>
                    <a:pt x="741" y="208"/>
                    <a:pt x="750" y="181"/>
                  </a:cubicBezTo>
                  <a:cubicBezTo>
                    <a:pt x="754" y="169"/>
                    <a:pt x="757" y="156"/>
                    <a:pt x="763" y="145"/>
                  </a:cubicBezTo>
                  <a:cubicBezTo>
                    <a:pt x="764" y="143"/>
                    <a:pt x="764" y="140"/>
                    <a:pt x="767" y="140"/>
                  </a:cubicBezTo>
                  <a:cubicBezTo>
                    <a:pt x="770" y="140"/>
                    <a:pt x="770" y="143"/>
                    <a:pt x="771" y="145"/>
                  </a:cubicBezTo>
                  <a:cubicBezTo>
                    <a:pt x="771" y="156"/>
                    <a:pt x="777" y="165"/>
                    <a:pt x="780" y="175"/>
                  </a:cubicBezTo>
                  <a:cubicBezTo>
                    <a:pt x="782" y="184"/>
                    <a:pt x="785" y="193"/>
                    <a:pt x="788" y="201"/>
                  </a:cubicBezTo>
                  <a:cubicBezTo>
                    <a:pt x="794" y="219"/>
                    <a:pt x="801" y="237"/>
                    <a:pt x="806" y="255"/>
                  </a:cubicBezTo>
                  <a:cubicBezTo>
                    <a:pt x="811" y="272"/>
                    <a:pt x="825" y="280"/>
                    <a:pt x="842" y="273"/>
                  </a:cubicBezTo>
                  <a:cubicBezTo>
                    <a:pt x="845" y="271"/>
                    <a:pt x="847" y="269"/>
                    <a:pt x="848" y="266"/>
                  </a:cubicBezTo>
                  <a:cubicBezTo>
                    <a:pt x="853" y="251"/>
                    <a:pt x="859" y="236"/>
                    <a:pt x="863" y="221"/>
                  </a:cubicBezTo>
                  <a:cubicBezTo>
                    <a:pt x="867" y="202"/>
                    <a:pt x="875" y="185"/>
                    <a:pt x="880" y="166"/>
                  </a:cubicBezTo>
                  <a:cubicBezTo>
                    <a:pt x="886" y="144"/>
                    <a:pt x="895" y="123"/>
                    <a:pt x="900" y="101"/>
                  </a:cubicBezTo>
                  <a:cubicBezTo>
                    <a:pt x="901" y="96"/>
                    <a:pt x="909" y="91"/>
                    <a:pt x="904" y="86"/>
                  </a:cubicBezTo>
                  <a:cubicBezTo>
                    <a:pt x="900" y="81"/>
                    <a:pt x="892" y="84"/>
                    <a:pt x="886" y="84"/>
                  </a:cubicBezTo>
                  <a:cubicBezTo>
                    <a:pt x="885" y="84"/>
                    <a:pt x="883" y="84"/>
                    <a:pt x="881" y="84"/>
                  </a:cubicBezTo>
                  <a:cubicBezTo>
                    <a:pt x="875" y="84"/>
                    <a:pt x="872" y="86"/>
                    <a:pt x="869" y="91"/>
                  </a:cubicBezTo>
                  <a:cubicBezTo>
                    <a:pt x="860" y="110"/>
                    <a:pt x="856" y="131"/>
                    <a:pt x="850" y="151"/>
                  </a:cubicBezTo>
                  <a:cubicBezTo>
                    <a:pt x="844" y="170"/>
                    <a:pt x="836" y="188"/>
                    <a:pt x="834" y="208"/>
                  </a:cubicBezTo>
                  <a:cubicBezTo>
                    <a:pt x="833" y="211"/>
                    <a:pt x="831" y="214"/>
                    <a:pt x="827" y="214"/>
                  </a:cubicBezTo>
                  <a:cubicBezTo>
                    <a:pt x="823" y="214"/>
                    <a:pt x="822" y="210"/>
                    <a:pt x="822" y="207"/>
                  </a:cubicBezTo>
                  <a:cubicBezTo>
                    <a:pt x="817" y="188"/>
                    <a:pt x="811" y="170"/>
                    <a:pt x="805" y="152"/>
                  </a:cubicBezTo>
                  <a:cubicBezTo>
                    <a:pt x="799" y="133"/>
                    <a:pt x="794" y="114"/>
                    <a:pt x="786" y="96"/>
                  </a:cubicBezTo>
                  <a:cubicBezTo>
                    <a:pt x="783" y="87"/>
                    <a:pt x="779" y="84"/>
                    <a:pt x="770" y="84"/>
                  </a:cubicBezTo>
                  <a:cubicBezTo>
                    <a:pt x="761" y="84"/>
                    <a:pt x="752" y="82"/>
                    <a:pt x="748" y="94"/>
                  </a:cubicBezTo>
                  <a:cubicBezTo>
                    <a:pt x="744" y="109"/>
                    <a:pt x="738" y="123"/>
                    <a:pt x="734" y="138"/>
                  </a:cubicBezTo>
                  <a:cubicBezTo>
                    <a:pt x="729" y="153"/>
                    <a:pt x="724" y="167"/>
                    <a:pt x="719" y="182"/>
                  </a:cubicBezTo>
                  <a:cubicBezTo>
                    <a:pt x="716" y="192"/>
                    <a:pt x="715" y="203"/>
                    <a:pt x="708" y="212"/>
                  </a:cubicBezTo>
                  <a:cubicBezTo>
                    <a:pt x="707" y="214"/>
                    <a:pt x="707" y="217"/>
                    <a:pt x="704" y="217"/>
                  </a:cubicBezTo>
                  <a:cubicBezTo>
                    <a:pt x="701" y="217"/>
                    <a:pt x="701" y="213"/>
                    <a:pt x="700" y="211"/>
                  </a:cubicBezTo>
                  <a:cubicBezTo>
                    <a:pt x="699" y="198"/>
                    <a:pt x="694" y="186"/>
                    <a:pt x="690" y="174"/>
                  </a:cubicBezTo>
                  <a:cubicBezTo>
                    <a:pt x="684" y="153"/>
                    <a:pt x="677" y="131"/>
                    <a:pt x="672" y="110"/>
                  </a:cubicBezTo>
                  <a:cubicBezTo>
                    <a:pt x="667" y="88"/>
                    <a:pt x="663" y="84"/>
                    <a:pt x="645" y="84"/>
                  </a:cubicBezTo>
                  <a:cubicBezTo>
                    <a:pt x="643" y="84"/>
                    <a:pt x="641" y="84"/>
                    <a:pt x="639" y="84"/>
                  </a:cubicBezTo>
                  <a:close/>
                  <a:moveTo>
                    <a:pt x="507" y="711"/>
                  </a:moveTo>
                  <a:cubicBezTo>
                    <a:pt x="507" y="730"/>
                    <a:pt x="507" y="730"/>
                    <a:pt x="526" y="730"/>
                  </a:cubicBezTo>
                  <a:cubicBezTo>
                    <a:pt x="539" y="730"/>
                    <a:pt x="541" y="729"/>
                    <a:pt x="541" y="715"/>
                  </a:cubicBezTo>
                  <a:cubicBezTo>
                    <a:pt x="541" y="677"/>
                    <a:pt x="541" y="638"/>
                    <a:pt x="540" y="600"/>
                  </a:cubicBezTo>
                  <a:cubicBezTo>
                    <a:pt x="540" y="593"/>
                    <a:pt x="543" y="587"/>
                    <a:pt x="548" y="582"/>
                  </a:cubicBezTo>
                  <a:cubicBezTo>
                    <a:pt x="553" y="576"/>
                    <a:pt x="559" y="573"/>
                    <a:pt x="564" y="569"/>
                  </a:cubicBezTo>
                  <a:cubicBezTo>
                    <a:pt x="574" y="564"/>
                    <a:pt x="594" y="566"/>
                    <a:pt x="602" y="574"/>
                  </a:cubicBezTo>
                  <a:cubicBezTo>
                    <a:pt x="611" y="582"/>
                    <a:pt x="614" y="592"/>
                    <a:pt x="614" y="604"/>
                  </a:cubicBezTo>
                  <a:cubicBezTo>
                    <a:pt x="614" y="638"/>
                    <a:pt x="614" y="672"/>
                    <a:pt x="614" y="706"/>
                  </a:cubicBezTo>
                  <a:cubicBezTo>
                    <a:pt x="614" y="730"/>
                    <a:pt x="614" y="730"/>
                    <a:pt x="638" y="730"/>
                  </a:cubicBezTo>
                  <a:cubicBezTo>
                    <a:pt x="650" y="730"/>
                    <a:pt x="650" y="730"/>
                    <a:pt x="650" y="717"/>
                  </a:cubicBezTo>
                  <a:cubicBezTo>
                    <a:pt x="650" y="684"/>
                    <a:pt x="650" y="650"/>
                    <a:pt x="650" y="617"/>
                  </a:cubicBezTo>
                  <a:cubicBezTo>
                    <a:pt x="650" y="606"/>
                    <a:pt x="651" y="597"/>
                    <a:pt x="657" y="586"/>
                  </a:cubicBezTo>
                  <a:cubicBezTo>
                    <a:pt x="667" y="565"/>
                    <a:pt x="703" y="560"/>
                    <a:pt x="716" y="579"/>
                  </a:cubicBezTo>
                  <a:cubicBezTo>
                    <a:pt x="723" y="588"/>
                    <a:pt x="724" y="598"/>
                    <a:pt x="724" y="609"/>
                  </a:cubicBezTo>
                  <a:cubicBezTo>
                    <a:pt x="724" y="645"/>
                    <a:pt x="724" y="682"/>
                    <a:pt x="724" y="718"/>
                  </a:cubicBezTo>
                  <a:cubicBezTo>
                    <a:pt x="724" y="727"/>
                    <a:pt x="727" y="731"/>
                    <a:pt x="736" y="730"/>
                  </a:cubicBezTo>
                  <a:cubicBezTo>
                    <a:pt x="738" y="730"/>
                    <a:pt x="741" y="730"/>
                    <a:pt x="743" y="730"/>
                  </a:cubicBezTo>
                  <a:cubicBezTo>
                    <a:pt x="758" y="730"/>
                    <a:pt x="759" y="729"/>
                    <a:pt x="759" y="715"/>
                  </a:cubicBezTo>
                  <a:cubicBezTo>
                    <a:pt x="759" y="677"/>
                    <a:pt x="758" y="639"/>
                    <a:pt x="759" y="601"/>
                  </a:cubicBezTo>
                  <a:cubicBezTo>
                    <a:pt x="759" y="571"/>
                    <a:pt x="742" y="540"/>
                    <a:pt x="704" y="538"/>
                  </a:cubicBezTo>
                  <a:cubicBezTo>
                    <a:pt x="681" y="536"/>
                    <a:pt x="661" y="542"/>
                    <a:pt x="646" y="560"/>
                  </a:cubicBezTo>
                  <a:cubicBezTo>
                    <a:pt x="638" y="569"/>
                    <a:pt x="638" y="569"/>
                    <a:pt x="631" y="559"/>
                  </a:cubicBezTo>
                  <a:cubicBezTo>
                    <a:pt x="630" y="558"/>
                    <a:pt x="630" y="557"/>
                    <a:pt x="629" y="556"/>
                  </a:cubicBezTo>
                  <a:cubicBezTo>
                    <a:pt x="623" y="548"/>
                    <a:pt x="616" y="541"/>
                    <a:pt x="607" y="539"/>
                  </a:cubicBezTo>
                  <a:cubicBezTo>
                    <a:pt x="584" y="534"/>
                    <a:pt x="563" y="539"/>
                    <a:pt x="545" y="555"/>
                  </a:cubicBezTo>
                  <a:cubicBezTo>
                    <a:pt x="540" y="559"/>
                    <a:pt x="537" y="561"/>
                    <a:pt x="537" y="552"/>
                  </a:cubicBezTo>
                  <a:cubicBezTo>
                    <a:pt x="536" y="543"/>
                    <a:pt x="526" y="538"/>
                    <a:pt x="515" y="539"/>
                  </a:cubicBezTo>
                  <a:cubicBezTo>
                    <a:pt x="506" y="540"/>
                    <a:pt x="507" y="546"/>
                    <a:pt x="507" y="552"/>
                  </a:cubicBezTo>
                  <a:cubicBezTo>
                    <a:pt x="507" y="580"/>
                    <a:pt x="507" y="607"/>
                    <a:pt x="507" y="634"/>
                  </a:cubicBezTo>
                  <a:cubicBezTo>
                    <a:pt x="507" y="660"/>
                    <a:pt x="507" y="685"/>
                    <a:pt x="507" y="711"/>
                  </a:cubicBezTo>
                  <a:close/>
                  <a:moveTo>
                    <a:pt x="1525" y="1142"/>
                  </a:moveTo>
                  <a:cubicBezTo>
                    <a:pt x="1517" y="1143"/>
                    <a:pt x="1511" y="1141"/>
                    <a:pt x="1505" y="1136"/>
                  </a:cubicBezTo>
                  <a:cubicBezTo>
                    <a:pt x="1501" y="1133"/>
                    <a:pt x="1495" y="1130"/>
                    <a:pt x="1498" y="1124"/>
                  </a:cubicBezTo>
                  <a:cubicBezTo>
                    <a:pt x="1500" y="1118"/>
                    <a:pt x="1504" y="1114"/>
                    <a:pt x="1512" y="1114"/>
                  </a:cubicBezTo>
                  <a:cubicBezTo>
                    <a:pt x="1521" y="1115"/>
                    <a:pt x="1530" y="1114"/>
                    <a:pt x="1538" y="1115"/>
                  </a:cubicBezTo>
                  <a:cubicBezTo>
                    <a:pt x="1573" y="1117"/>
                    <a:pt x="1610" y="1084"/>
                    <a:pt x="1602" y="1044"/>
                  </a:cubicBezTo>
                  <a:cubicBezTo>
                    <a:pt x="1600" y="1035"/>
                    <a:pt x="1599" y="1028"/>
                    <a:pt x="1611" y="1027"/>
                  </a:cubicBezTo>
                  <a:cubicBezTo>
                    <a:pt x="1614" y="1027"/>
                    <a:pt x="1617" y="1024"/>
                    <a:pt x="1619" y="1023"/>
                  </a:cubicBezTo>
                  <a:cubicBezTo>
                    <a:pt x="1626" y="1019"/>
                    <a:pt x="1624" y="1013"/>
                    <a:pt x="1623" y="1008"/>
                  </a:cubicBezTo>
                  <a:cubicBezTo>
                    <a:pt x="1623" y="1002"/>
                    <a:pt x="1618" y="1003"/>
                    <a:pt x="1613" y="1002"/>
                  </a:cubicBezTo>
                  <a:cubicBezTo>
                    <a:pt x="1598" y="1002"/>
                    <a:pt x="1582" y="1004"/>
                    <a:pt x="1567" y="1000"/>
                  </a:cubicBezTo>
                  <a:cubicBezTo>
                    <a:pt x="1560" y="999"/>
                    <a:pt x="1554" y="993"/>
                    <a:pt x="1546" y="993"/>
                  </a:cubicBezTo>
                  <a:cubicBezTo>
                    <a:pt x="1536" y="994"/>
                    <a:pt x="1525" y="992"/>
                    <a:pt x="1515" y="993"/>
                  </a:cubicBezTo>
                  <a:cubicBezTo>
                    <a:pt x="1490" y="997"/>
                    <a:pt x="1469" y="1010"/>
                    <a:pt x="1462" y="1034"/>
                  </a:cubicBezTo>
                  <a:cubicBezTo>
                    <a:pt x="1455" y="1056"/>
                    <a:pt x="1457" y="1079"/>
                    <a:pt x="1476" y="1096"/>
                  </a:cubicBezTo>
                  <a:cubicBezTo>
                    <a:pt x="1483" y="1103"/>
                    <a:pt x="1483" y="1107"/>
                    <a:pt x="1476" y="1113"/>
                  </a:cubicBezTo>
                  <a:cubicBezTo>
                    <a:pt x="1462" y="1126"/>
                    <a:pt x="1462" y="1142"/>
                    <a:pt x="1473" y="1157"/>
                  </a:cubicBezTo>
                  <a:cubicBezTo>
                    <a:pt x="1476" y="1160"/>
                    <a:pt x="1476" y="1162"/>
                    <a:pt x="1472" y="1164"/>
                  </a:cubicBezTo>
                  <a:cubicBezTo>
                    <a:pt x="1470" y="1166"/>
                    <a:pt x="1468" y="1168"/>
                    <a:pt x="1466" y="1170"/>
                  </a:cubicBezTo>
                  <a:cubicBezTo>
                    <a:pt x="1449" y="1183"/>
                    <a:pt x="1444" y="1201"/>
                    <a:pt x="1454" y="1218"/>
                  </a:cubicBezTo>
                  <a:cubicBezTo>
                    <a:pt x="1464" y="1235"/>
                    <a:pt x="1479" y="1246"/>
                    <a:pt x="1499" y="1249"/>
                  </a:cubicBezTo>
                  <a:cubicBezTo>
                    <a:pt x="1517" y="1252"/>
                    <a:pt x="1535" y="1253"/>
                    <a:pt x="1553" y="1250"/>
                  </a:cubicBezTo>
                  <a:cubicBezTo>
                    <a:pt x="1584" y="1245"/>
                    <a:pt x="1607" y="1232"/>
                    <a:pt x="1619" y="1200"/>
                  </a:cubicBezTo>
                  <a:cubicBezTo>
                    <a:pt x="1627" y="1180"/>
                    <a:pt x="1611" y="1155"/>
                    <a:pt x="1593" y="1148"/>
                  </a:cubicBezTo>
                  <a:cubicBezTo>
                    <a:pt x="1578" y="1142"/>
                    <a:pt x="1563" y="1143"/>
                    <a:pt x="1549" y="1142"/>
                  </a:cubicBezTo>
                  <a:cubicBezTo>
                    <a:pt x="1540" y="1142"/>
                    <a:pt x="1532" y="1142"/>
                    <a:pt x="1525" y="1142"/>
                  </a:cubicBezTo>
                  <a:close/>
                  <a:moveTo>
                    <a:pt x="1556" y="1172"/>
                  </a:moveTo>
                  <a:cubicBezTo>
                    <a:pt x="1566" y="1172"/>
                    <a:pt x="1576" y="1176"/>
                    <a:pt x="1583" y="1183"/>
                  </a:cubicBezTo>
                  <a:cubicBezTo>
                    <a:pt x="1589" y="1190"/>
                    <a:pt x="1589" y="1198"/>
                    <a:pt x="1583" y="1205"/>
                  </a:cubicBezTo>
                  <a:cubicBezTo>
                    <a:pt x="1575" y="1215"/>
                    <a:pt x="1565" y="1220"/>
                    <a:pt x="1553" y="1223"/>
                  </a:cubicBezTo>
                  <a:cubicBezTo>
                    <a:pt x="1534" y="1228"/>
                    <a:pt x="1516" y="1225"/>
                    <a:pt x="1499" y="1219"/>
                  </a:cubicBezTo>
                  <a:cubicBezTo>
                    <a:pt x="1486" y="1214"/>
                    <a:pt x="1479" y="1203"/>
                    <a:pt x="1482" y="1193"/>
                  </a:cubicBezTo>
                  <a:cubicBezTo>
                    <a:pt x="1485" y="1182"/>
                    <a:pt x="1496" y="1168"/>
                    <a:pt x="1514" y="1171"/>
                  </a:cubicBezTo>
                  <a:cubicBezTo>
                    <a:pt x="1526" y="1173"/>
                    <a:pt x="1541" y="1171"/>
                    <a:pt x="1556" y="1172"/>
                  </a:cubicBezTo>
                  <a:close/>
                  <a:moveTo>
                    <a:pt x="1531" y="1019"/>
                  </a:moveTo>
                  <a:cubicBezTo>
                    <a:pt x="1553" y="1017"/>
                    <a:pt x="1570" y="1033"/>
                    <a:pt x="1570" y="1052"/>
                  </a:cubicBezTo>
                  <a:cubicBezTo>
                    <a:pt x="1570" y="1075"/>
                    <a:pt x="1554" y="1093"/>
                    <a:pt x="1532" y="1091"/>
                  </a:cubicBezTo>
                  <a:cubicBezTo>
                    <a:pt x="1508" y="1089"/>
                    <a:pt x="1494" y="1082"/>
                    <a:pt x="1493" y="1053"/>
                  </a:cubicBezTo>
                  <a:cubicBezTo>
                    <a:pt x="1494" y="1029"/>
                    <a:pt x="1508" y="1020"/>
                    <a:pt x="1531" y="1019"/>
                  </a:cubicBezTo>
                  <a:close/>
                  <a:moveTo>
                    <a:pt x="1413" y="934"/>
                  </a:moveTo>
                  <a:cubicBezTo>
                    <a:pt x="1413" y="909"/>
                    <a:pt x="1413" y="909"/>
                    <a:pt x="1389" y="910"/>
                  </a:cubicBezTo>
                  <a:cubicBezTo>
                    <a:pt x="1388" y="910"/>
                    <a:pt x="1387" y="910"/>
                    <a:pt x="1387" y="910"/>
                  </a:cubicBezTo>
                  <a:cubicBezTo>
                    <a:pt x="1379" y="910"/>
                    <a:pt x="1376" y="915"/>
                    <a:pt x="1376" y="921"/>
                  </a:cubicBezTo>
                  <a:cubicBezTo>
                    <a:pt x="1376" y="939"/>
                    <a:pt x="1377" y="956"/>
                    <a:pt x="1377" y="974"/>
                  </a:cubicBezTo>
                  <a:cubicBezTo>
                    <a:pt x="1377" y="983"/>
                    <a:pt x="1377" y="991"/>
                    <a:pt x="1377" y="1000"/>
                  </a:cubicBezTo>
                  <a:cubicBezTo>
                    <a:pt x="1377" y="1005"/>
                    <a:pt x="1374" y="1009"/>
                    <a:pt x="1369" y="1005"/>
                  </a:cubicBezTo>
                  <a:cubicBezTo>
                    <a:pt x="1352" y="990"/>
                    <a:pt x="1332" y="993"/>
                    <a:pt x="1312" y="993"/>
                  </a:cubicBezTo>
                  <a:cubicBezTo>
                    <a:pt x="1303" y="994"/>
                    <a:pt x="1294" y="998"/>
                    <a:pt x="1287" y="1003"/>
                  </a:cubicBezTo>
                  <a:cubicBezTo>
                    <a:pt x="1265" y="1017"/>
                    <a:pt x="1252" y="1039"/>
                    <a:pt x="1248" y="1065"/>
                  </a:cubicBezTo>
                  <a:cubicBezTo>
                    <a:pt x="1244" y="1096"/>
                    <a:pt x="1244" y="1128"/>
                    <a:pt x="1261" y="1157"/>
                  </a:cubicBezTo>
                  <a:cubicBezTo>
                    <a:pt x="1270" y="1170"/>
                    <a:pt x="1281" y="1181"/>
                    <a:pt x="1296" y="1185"/>
                  </a:cubicBezTo>
                  <a:cubicBezTo>
                    <a:pt x="1323" y="1191"/>
                    <a:pt x="1349" y="1188"/>
                    <a:pt x="1370" y="1167"/>
                  </a:cubicBezTo>
                  <a:cubicBezTo>
                    <a:pt x="1372" y="1165"/>
                    <a:pt x="1375" y="1162"/>
                    <a:pt x="1379" y="1163"/>
                  </a:cubicBezTo>
                  <a:cubicBezTo>
                    <a:pt x="1382" y="1165"/>
                    <a:pt x="1381" y="1169"/>
                    <a:pt x="1381" y="1172"/>
                  </a:cubicBezTo>
                  <a:cubicBezTo>
                    <a:pt x="1383" y="1181"/>
                    <a:pt x="1390" y="1186"/>
                    <a:pt x="1403" y="1186"/>
                  </a:cubicBezTo>
                  <a:cubicBezTo>
                    <a:pt x="1413" y="1185"/>
                    <a:pt x="1413" y="1178"/>
                    <a:pt x="1413" y="1172"/>
                  </a:cubicBezTo>
                  <a:cubicBezTo>
                    <a:pt x="1413" y="1131"/>
                    <a:pt x="1413" y="1090"/>
                    <a:pt x="1413" y="1049"/>
                  </a:cubicBezTo>
                  <a:cubicBezTo>
                    <a:pt x="1413" y="1010"/>
                    <a:pt x="1413" y="972"/>
                    <a:pt x="1413" y="934"/>
                  </a:cubicBezTo>
                  <a:close/>
                  <a:moveTo>
                    <a:pt x="1378" y="1113"/>
                  </a:moveTo>
                  <a:cubicBezTo>
                    <a:pt x="1378" y="1136"/>
                    <a:pt x="1360" y="1155"/>
                    <a:pt x="1337" y="1157"/>
                  </a:cubicBezTo>
                  <a:cubicBezTo>
                    <a:pt x="1319" y="1159"/>
                    <a:pt x="1304" y="1154"/>
                    <a:pt x="1294" y="1139"/>
                  </a:cubicBezTo>
                  <a:cubicBezTo>
                    <a:pt x="1286" y="1128"/>
                    <a:pt x="1283" y="1116"/>
                    <a:pt x="1283" y="1102"/>
                  </a:cubicBezTo>
                  <a:cubicBezTo>
                    <a:pt x="1282" y="1085"/>
                    <a:pt x="1282" y="1067"/>
                    <a:pt x="1290" y="1051"/>
                  </a:cubicBezTo>
                  <a:cubicBezTo>
                    <a:pt x="1297" y="1036"/>
                    <a:pt x="1308" y="1024"/>
                    <a:pt x="1325" y="1022"/>
                  </a:cubicBezTo>
                  <a:cubicBezTo>
                    <a:pt x="1342" y="1020"/>
                    <a:pt x="1358" y="1021"/>
                    <a:pt x="1371" y="1035"/>
                  </a:cubicBezTo>
                  <a:cubicBezTo>
                    <a:pt x="1376" y="1041"/>
                    <a:pt x="1378" y="1046"/>
                    <a:pt x="1378" y="1052"/>
                  </a:cubicBezTo>
                  <a:cubicBezTo>
                    <a:pt x="1378" y="1064"/>
                    <a:pt x="1378" y="1075"/>
                    <a:pt x="1378" y="1086"/>
                  </a:cubicBezTo>
                  <a:cubicBezTo>
                    <a:pt x="1378" y="1086"/>
                    <a:pt x="1378" y="1086"/>
                    <a:pt x="1378" y="1086"/>
                  </a:cubicBezTo>
                  <a:cubicBezTo>
                    <a:pt x="1378" y="1095"/>
                    <a:pt x="1378" y="1104"/>
                    <a:pt x="1378" y="1113"/>
                  </a:cubicBezTo>
                  <a:close/>
                  <a:moveTo>
                    <a:pt x="578" y="259"/>
                  </a:moveTo>
                  <a:cubicBezTo>
                    <a:pt x="603" y="241"/>
                    <a:pt x="611" y="213"/>
                    <a:pt x="614" y="183"/>
                  </a:cubicBezTo>
                  <a:cubicBezTo>
                    <a:pt x="615" y="171"/>
                    <a:pt x="610" y="159"/>
                    <a:pt x="609" y="147"/>
                  </a:cubicBezTo>
                  <a:cubicBezTo>
                    <a:pt x="608" y="137"/>
                    <a:pt x="603" y="129"/>
                    <a:pt x="599" y="121"/>
                  </a:cubicBezTo>
                  <a:cubicBezTo>
                    <a:pt x="579" y="87"/>
                    <a:pt x="527" y="70"/>
                    <a:pt x="488" y="85"/>
                  </a:cubicBezTo>
                  <a:cubicBezTo>
                    <a:pt x="453" y="99"/>
                    <a:pt x="436" y="127"/>
                    <a:pt x="431" y="163"/>
                  </a:cubicBezTo>
                  <a:cubicBezTo>
                    <a:pt x="429" y="180"/>
                    <a:pt x="430" y="196"/>
                    <a:pt x="436" y="213"/>
                  </a:cubicBezTo>
                  <a:cubicBezTo>
                    <a:pt x="439" y="222"/>
                    <a:pt x="442" y="232"/>
                    <a:pt x="447" y="239"/>
                  </a:cubicBezTo>
                  <a:cubicBezTo>
                    <a:pt x="465" y="265"/>
                    <a:pt x="491" y="277"/>
                    <a:pt x="525" y="276"/>
                  </a:cubicBezTo>
                  <a:cubicBezTo>
                    <a:pt x="543" y="278"/>
                    <a:pt x="562" y="271"/>
                    <a:pt x="578" y="259"/>
                  </a:cubicBezTo>
                  <a:close/>
                  <a:moveTo>
                    <a:pt x="471" y="205"/>
                  </a:moveTo>
                  <a:cubicBezTo>
                    <a:pt x="466" y="185"/>
                    <a:pt x="468" y="167"/>
                    <a:pt x="472" y="147"/>
                  </a:cubicBezTo>
                  <a:cubicBezTo>
                    <a:pt x="477" y="130"/>
                    <a:pt x="493" y="116"/>
                    <a:pt x="509" y="112"/>
                  </a:cubicBezTo>
                  <a:cubicBezTo>
                    <a:pt x="525" y="108"/>
                    <a:pt x="539" y="110"/>
                    <a:pt x="553" y="119"/>
                  </a:cubicBezTo>
                  <a:cubicBezTo>
                    <a:pt x="563" y="125"/>
                    <a:pt x="568" y="135"/>
                    <a:pt x="571" y="146"/>
                  </a:cubicBezTo>
                  <a:cubicBezTo>
                    <a:pt x="577" y="167"/>
                    <a:pt x="578" y="189"/>
                    <a:pt x="571" y="211"/>
                  </a:cubicBezTo>
                  <a:cubicBezTo>
                    <a:pt x="565" y="231"/>
                    <a:pt x="549" y="249"/>
                    <a:pt x="521" y="247"/>
                  </a:cubicBezTo>
                  <a:cubicBezTo>
                    <a:pt x="496" y="247"/>
                    <a:pt x="478" y="230"/>
                    <a:pt x="471" y="205"/>
                  </a:cubicBezTo>
                  <a:close/>
                  <a:moveTo>
                    <a:pt x="472" y="1122"/>
                  </a:moveTo>
                  <a:cubicBezTo>
                    <a:pt x="475" y="1136"/>
                    <a:pt x="481" y="1148"/>
                    <a:pt x="491" y="1158"/>
                  </a:cubicBezTo>
                  <a:cubicBezTo>
                    <a:pt x="506" y="1176"/>
                    <a:pt x="524" y="1185"/>
                    <a:pt x="548" y="1187"/>
                  </a:cubicBezTo>
                  <a:cubicBezTo>
                    <a:pt x="568" y="1188"/>
                    <a:pt x="587" y="1187"/>
                    <a:pt x="605" y="1177"/>
                  </a:cubicBezTo>
                  <a:cubicBezTo>
                    <a:pt x="632" y="1162"/>
                    <a:pt x="644" y="1136"/>
                    <a:pt x="649" y="1107"/>
                  </a:cubicBezTo>
                  <a:cubicBezTo>
                    <a:pt x="652" y="1089"/>
                    <a:pt x="649" y="1072"/>
                    <a:pt x="644" y="1054"/>
                  </a:cubicBezTo>
                  <a:cubicBezTo>
                    <a:pt x="638" y="1034"/>
                    <a:pt x="627" y="1019"/>
                    <a:pt x="610" y="1007"/>
                  </a:cubicBezTo>
                  <a:cubicBezTo>
                    <a:pt x="589" y="992"/>
                    <a:pt x="566" y="991"/>
                    <a:pt x="541" y="994"/>
                  </a:cubicBezTo>
                  <a:cubicBezTo>
                    <a:pt x="526" y="995"/>
                    <a:pt x="512" y="1002"/>
                    <a:pt x="500" y="1012"/>
                  </a:cubicBezTo>
                  <a:cubicBezTo>
                    <a:pt x="476" y="1032"/>
                    <a:pt x="469" y="1060"/>
                    <a:pt x="466" y="1095"/>
                  </a:cubicBezTo>
                  <a:cubicBezTo>
                    <a:pt x="465" y="1101"/>
                    <a:pt x="470" y="1111"/>
                    <a:pt x="472" y="1122"/>
                  </a:cubicBezTo>
                  <a:close/>
                  <a:moveTo>
                    <a:pt x="508" y="1113"/>
                  </a:moveTo>
                  <a:cubicBezTo>
                    <a:pt x="505" y="1095"/>
                    <a:pt x="506" y="1078"/>
                    <a:pt x="508" y="1061"/>
                  </a:cubicBezTo>
                  <a:cubicBezTo>
                    <a:pt x="511" y="1042"/>
                    <a:pt x="538" y="1021"/>
                    <a:pt x="554" y="1022"/>
                  </a:cubicBezTo>
                  <a:cubicBezTo>
                    <a:pt x="570" y="1022"/>
                    <a:pt x="586" y="1024"/>
                    <a:pt x="596" y="1037"/>
                  </a:cubicBezTo>
                  <a:cubicBezTo>
                    <a:pt x="602" y="1044"/>
                    <a:pt x="607" y="1052"/>
                    <a:pt x="608" y="1061"/>
                  </a:cubicBezTo>
                  <a:cubicBezTo>
                    <a:pt x="608" y="1064"/>
                    <a:pt x="609" y="1067"/>
                    <a:pt x="610" y="1070"/>
                  </a:cubicBezTo>
                  <a:cubicBezTo>
                    <a:pt x="618" y="1089"/>
                    <a:pt x="612" y="1107"/>
                    <a:pt x="607" y="1125"/>
                  </a:cubicBezTo>
                  <a:cubicBezTo>
                    <a:pt x="601" y="1143"/>
                    <a:pt x="588" y="1160"/>
                    <a:pt x="558" y="1157"/>
                  </a:cubicBezTo>
                  <a:cubicBezTo>
                    <a:pt x="530" y="1157"/>
                    <a:pt x="512" y="1141"/>
                    <a:pt x="508" y="1113"/>
                  </a:cubicBezTo>
                  <a:close/>
                  <a:moveTo>
                    <a:pt x="430" y="716"/>
                  </a:moveTo>
                  <a:cubicBezTo>
                    <a:pt x="450" y="703"/>
                    <a:pt x="459" y="683"/>
                    <a:pt x="464" y="661"/>
                  </a:cubicBezTo>
                  <a:cubicBezTo>
                    <a:pt x="468" y="648"/>
                    <a:pt x="467" y="635"/>
                    <a:pt x="466" y="621"/>
                  </a:cubicBezTo>
                  <a:cubicBezTo>
                    <a:pt x="463" y="592"/>
                    <a:pt x="453" y="567"/>
                    <a:pt x="427" y="550"/>
                  </a:cubicBezTo>
                  <a:cubicBezTo>
                    <a:pt x="401" y="534"/>
                    <a:pt x="372" y="532"/>
                    <a:pt x="345" y="541"/>
                  </a:cubicBezTo>
                  <a:cubicBezTo>
                    <a:pt x="310" y="552"/>
                    <a:pt x="291" y="580"/>
                    <a:pt x="287" y="617"/>
                  </a:cubicBezTo>
                  <a:cubicBezTo>
                    <a:pt x="286" y="629"/>
                    <a:pt x="286" y="641"/>
                    <a:pt x="287" y="654"/>
                  </a:cubicBezTo>
                  <a:cubicBezTo>
                    <a:pt x="289" y="671"/>
                    <a:pt x="295" y="686"/>
                    <a:pt x="306" y="700"/>
                  </a:cubicBezTo>
                  <a:cubicBezTo>
                    <a:pt x="324" y="722"/>
                    <a:pt x="348" y="733"/>
                    <a:pt x="378" y="731"/>
                  </a:cubicBezTo>
                  <a:cubicBezTo>
                    <a:pt x="396" y="733"/>
                    <a:pt x="414" y="727"/>
                    <a:pt x="430" y="716"/>
                  </a:cubicBezTo>
                  <a:close/>
                  <a:moveTo>
                    <a:pt x="331" y="592"/>
                  </a:moveTo>
                  <a:cubicBezTo>
                    <a:pt x="339" y="580"/>
                    <a:pt x="349" y="569"/>
                    <a:pt x="365" y="567"/>
                  </a:cubicBezTo>
                  <a:cubicBezTo>
                    <a:pt x="387" y="564"/>
                    <a:pt x="406" y="568"/>
                    <a:pt x="419" y="588"/>
                  </a:cubicBezTo>
                  <a:cubicBezTo>
                    <a:pt x="423" y="595"/>
                    <a:pt x="426" y="603"/>
                    <a:pt x="427" y="610"/>
                  </a:cubicBezTo>
                  <a:cubicBezTo>
                    <a:pt x="433" y="635"/>
                    <a:pt x="431" y="661"/>
                    <a:pt x="416" y="684"/>
                  </a:cubicBezTo>
                  <a:cubicBezTo>
                    <a:pt x="403" y="706"/>
                    <a:pt x="362" y="708"/>
                    <a:pt x="345" y="692"/>
                  </a:cubicBezTo>
                  <a:cubicBezTo>
                    <a:pt x="329" y="678"/>
                    <a:pt x="323" y="661"/>
                    <a:pt x="323" y="631"/>
                  </a:cubicBezTo>
                  <a:cubicBezTo>
                    <a:pt x="323" y="619"/>
                    <a:pt x="323" y="605"/>
                    <a:pt x="331" y="592"/>
                  </a:cubicBezTo>
                  <a:close/>
                  <a:moveTo>
                    <a:pt x="1073" y="259"/>
                  </a:moveTo>
                  <a:cubicBezTo>
                    <a:pt x="1073" y="269"/>
                    <a:pt x="1075" y="272"/>
                    <a:pt x="1086" y="272"/>
                  </a:cubicBezTo>
                  <a:cubicBezTo>
                    <a:pt x="1088" y="272"/>
                    <a:pt x="1090" y="272"/>
                    <a:pt x="1092" y="272"/>
                  </a:cubicBezTo>
                  <a:cubicBezTo>
                    <a:pt x="1105" y="272"/>
                    <a:pt x="1106" y="271"/>
                    <a:pt x="1106" y="258"/>
                  </a:cubicBezTo>
                  <a:cubicBezTo>
                    <a:pt x="1106" y="221"/>
                    <a:pt x="1106" y="184"/>
                    <a:pt x="1106" y="147"/>
                  </a:cubicBezTo>
                  <a:cubicBezTo>
                    <a:pt x="1106" y="143"/>
                    <a:pt x="1106" y="140"/>
                    <a:pt x="1107" y="137"/>
                  </a:cubicBezTo>
                  <a:cubicBezTo>
                    <a:pt x="1117" y="117"/>
                    <a:pt x="1157" y="104"/>
                    <a:pt x="1177" y="114"/>
                  </a:cubicBezTo>
                  <a:cubicBezTo>
                    <a:pt x="1179" y="115"/>
                    <a:pt x="1180" y="117"/>
                    <a:pt x="1182" y="118"/>
                  </a:cubicBezTo>
                  <a:cubicBezTo>
                    <a:pt x="1194" y="131"/>
                    <a:pt x="1196" y="147"/>
                    <a:pt x="1196" y="163"/>
                  </a:cubicBezTo>
                  <a:cubicBezTo>
                    <a:pt x="1197" y="195"/>
                    <a:pt x="1196" y="226"/>
                    <a:pt x="1196" y="258"/>
                  </a:cubicBezTo>
                  <a:cubicBezTo>
                    <a:pt x="1196" y="271"/>
                    <a:pt x="1197" y="272"/>
                    <a:pt x="1210" y="272"/>
                  </a:cubicBezTo>
                  <a:cubicBezTo>
                    <a:pt x="1212" y="272"/>
                    <a:pt x="1213" y="272"/>
                    <a:pt x="1215" y="272"/>
                  </a:cubicBezTo>
                  <a:cubicBezTo>
                    <a:pt x="1227" y="272"/>
                    <a:pt x="1229" y="270"/>
                    <a:pt x="1229" y="258"/>
                  </a:cubicBezTo>
                  <a:cubicBezTo>
                    <a:pt x="1229" y="222"/>
                    <a:pt x="1229" y="187"/>
                    <a:pt x="1229" y="151"/>
                  </a:cubicBezTo>
                  <a:cubicBezTo>
                    <a:pt x="1229" y="142"/>
                    <a:pt x="1228" y="132"/>
                    <a:pt x="1225" y="123"/>
                  </a:cubicBezTo>
                  <a:cubicBezTo>
                    <a:pt x="1219" y="105"/>
                    <a:pt x="1208" y="91"/>
                    <a:pt x="1189" y="85"/>
                  </a:cubicBezTo>
                  <a:cubicBezTo>
                    <a:pt x="1173" y="80"/>
                    <a:pt x="1156" y="84"/>
                    <a:pt x="1139" y="84"/>
                  </a:cubicBezTo>
                  <a:cubicBezTo>
                    <a:pt x="1137" y="84"/>
                    <a:pt x="1136" y="86"/>
                    <a:pt x="1134" y="87"/>
                  </a:cubicBezTo>
                  <a:cubicBezTo>
                    <a:pt x="1128" y="91"/>
                    <a:pt x="1121" y="96"/>
                    <a:pt x="1115" y="100"/>
                  </a:cubicBezTo>
                  <a:cubicBezTo>
                    <a:pt x="1113" y="102"/>
                    <a:pt x="1111" y="105"/>
                    <a:pt x="1108" y="103"/>
                  </a:cubicBezTo>
                  <a:cubicBezTo>
                    <a:pt x="1105" y="102"/>
                    <a:pt x="1106" y="98"/>
                    <a:pt x="1106" y="96"/>
                  </a:cubicBezTo>
                  <a:cubicBezTo>
                    <a:pt x="1106" y="69"/>
                    <a:pt x="1106" y="43"/>
                    <a:pt x="1106" y="17"/>
                  </a:cubicBezTo>
                  <a:cubicBezTo>
                    <a:pt x="1106" y="0"/>
                    <a:pt x="1106" y="0"/>
                    <a:pt x="1089" y="0"/>
                  </a:cubicBezTo>
                  <a:cubicBezTo>
                    <a:pt x="1074" y="0"/>
                    <a:pt x="1073" y="1"/>
                    <a:pt x="1073" y="16"/>
                  </a:cubicBezTo>
                  <a:cubicBezTo>
                    <a:pt x="1073" y="56"/>
                    <a:pt x="1073" y="96"/>
                    <a:pt x="1073" y="136"/>
                  </a:cubicBezTo>
                  <a:cubicBezTo>
                    <a:pt x="1073" y="177"/>
                    <a:pt x="1073" y="218"/>
                    <a:pt x="1073" y="259"/>
                  </a:cubicBezTo>
                  <a:close/>
                  <a:moveTo>
                    <a:pt x="1150" y="1092"/>
                  </a:moveTo>
                  <a:cubicBezTo>
                    <a:pt x="1168" y="1092"/>
                    <a:pt x="1186" y="1092"/>
                    <a:pt x="1204" y="1092"/>
                  </a:cubicBezTo>
                  <a:cubicBezTo>
                    <a:pt x="1215" y="1092"/>
                    <a:pt x="1218" y="1087"/>
                    <a:pt x="1219" y="1077"/>
                  </a:cubicBezTo>
                  <a:cubicBezTo>
                    <a:pt x="1220" y="1062"/>
                    <a:pt x="1216" y="1049"/>
                    <a:pt x="1210" y="1036"/>
                  </a:cubicBezTo>
                  <a:cubicBezTo>
                    <a:pt x="1204" y="1020"/>
                    <a:pt x="1193" y="1008"/>
                    <a:pt x="1177" y="1001"/>
                  </a:cubicBezTo>
                  <a:cubicBezTo>
                    <a:pt x="1155" y="992"/>
                    <a:pt x="1133" y="991"/>
                    <a:pt x="1109" y="999"/>
                  </a:cubicBezTo>
                  <a:cubicBezTo>
                    <a:pt x="1079" y="1010"/>
                    <a:pt x="1062" y="1031"/>
                    <a:pt x="1056" y="1061"/>
                  </a:cubicBezTo>
                  <a:cubicBezTo>
                    <a:pt x="1051" y="1090"/>
                    <a:pt x="1052" y="1120"/>
                    <a:pt x="1069" y="1148"/>
                  </a:cubicBezTo>
                  <a:cubicBezTo>
                    <a:pt x="1081" y="1169"/>
                    <a:pt x="1100" y="1180"/>
                    <a:pt x="1122" y="1185"/>
                  </a:cubicBezTo>
                  <a:cubicBezTo>
                    <a:pt x="1149" y="1190"/>
                    <a:pt x="1176" y="1186"/>
                    <a:pt x="1200" y="1171"/>
                  </a:cubicBezTo>
                  <a:cubicBezTo>
                    <a:pt x="1206" y="1168"/>
                    <a:pt x="1213" y="1165"/>
                    <a:pt x="1214" y="1157"/>
                  </a:cubicBezTo>
                  <a:cubicBezTo>
                    <a:pt x="1215" y="1147"/>
                    <a:pt x="1202" y="1139"/>
                    <a:pt x="1193" y="1144"/>
                  </a:cubicBezTo>
                  <a:cubicBezTo>
                    <a:pt x="1187" y="1147"/>
                    <a:pt x="1180" y="1150"/>
                    <a:pt x="1174" y="1153"/>
                  </a:cubicBezTo>
                  <a:cubicBezTo>
                    <a:pt x="1158" y="1161"/>
                    <a:pt x="1140" y="1161"/>
                    <a:pt x="1124" y="1155"/>
                  </a:cubicBezTo>
                  <a:cubicBezTo>
                    <a:pt x="1112" y="1151"/>
                    <a:pt x="1102" y="1142"/>
                    <a:pt x="1096" y="1129"/>
                  </a:cubicBezTo>
                  <a:cubicBezTo>
                    <a:pt x="1092" y="1121"/>
                    <a:pt x="1091" y="1112"/>
                    <a:pt x="1089" y="1104"/>
                  </a:cubicBezTo>
                  <a:cubicBezTo>
                    <a:pt x="1087" y="1093"/>
                    <a:pt x="1087" y="1092"/>
                    <a:pt x="1099" y="1092"/>
                  </a:cubicBezTo>
                  <a:cubicBezTo>
                    <a:pt x="1116" y="1092"/>
                    <a:pt x="1133" y="1092"/>
                    <a:pt x="1150" y="1092"/>
                  </a:cubicBezTo>
                  <a:cubicBezTo>
                    <a:pt x="1150" y="1092"/>
                    <a:pt x="1150" y="1092"/>
                    <a:pt x="1150" y="1092"/>
                  </a:cubicBezTo>
                  <a:close/>
                  <a:moveTo>
                    <a:pt x="1099" y="1070"/>
                  </a:moveTo>
                  <a:cubicBezTo>
                    <a:pt x="1092" y="1071"/>
                    <a:pt x="1089" y="1067"/>
                    <a:pt x="1091" y="1060"/>
                  </a:cubicBezTo>
                  <a:cubicBezTo>
                    <a:pt x="1094" y="1045"/>
                    <a:pt x="1108" y="1023"/>
                    <a:pt x="1128" y="1022"/>
                  </a:cubicBezTo>
                  <a:cubicBezTo>
                    <a:pt x="1142" y="1021"/>
                    <a:pt x="1156" y="1018"/>
                    <a:pt x="1168" y="1029"/>
                  </a:cubicBezTo>
                  <a:cubicBezTo>
                    <a:pt x="1181" y="1038"/>
                    <a:pt x="1185" y="1051"/>
                    <a:pt x="1187" y="1066"/>
                  </a:cubicBezTo>
                  <a:cubicBezTo>
                    <a:pt x="1188" y="1071"/>
                    <a:pt x="1183" y="1070"/>
                    <a:pt x="1180" y="1070"/>
                  </a:cubicBezTo>
                  <a:cubicBezTo>
                    <a:pt x="1166" y="1070"/>
                    <a:pt x="1153" y="1070"/>
                    <a:pt x="1139" y="1070"/>
                  </a:cubicBezTo>
                  <a:cubicBezTo>
                    <a:pt x="1139" y="1070"/>
                    <a:pt x="1139" y="1070"/>
                    <a:pt x="1139" y="1070"/>
                  </a:cubicBezTo>
                  <a:cubicBezTo>
                    <a:pt x="1126" y="1070"/>
                    <a:pt x="1113" y="1070"/>
                    <a:pt x="1099" y="1070"/>
                  </a:cubicBezTo>
                  <a:close/>
                  <a:moveTo>
                    <a:pt x="1741" y="1092"/>
                  </a:moveTo>
                  <a:cubicBezTo>
                    <a:pt x="1759" y="1092"/>
                    <a:pt x="1776" y="1092"/>
                    <a:pt x="1793" y="1092"/>
                  </a:cubicBezTo>
                  <a:cubicBezTo>
                    <a:pt x="1806" y="1092"/>
                    <a:pt x="1808" y="1089"/>
                    <a:pt x="1808" y="1076"/>
                  </a:cubicBezTo>
                  <a:cubicBezTo>
                    <a:pt x="1809" y="1063"/>
                    <a:pt x="1807" y="1051"/>
                    <a:pt x="1802" y="1038"/>
                  </a:cubicBezTo>
                  <a:cubicBezTo>
                    <a:pt x="1794" y="1021"/>
                    <a:pt x="1782" y="1008"/>
                    <a:pt x="1764" y="1000"/>
                  </a:cubicBezTo>
                  <a:cubicBezTo>
                    <a:pt x="1742" y="991"/>
                    <a:pt x="1720" y="991"/>
                    <a:pt x="1698" y="1000"/>
                  </a:cubicBezTo>
                  <a:cubicBezTo>
                    <a:pt x="1681" y="1006"/>
                    <a:pt x="1668" y="1016"/>
                    <a:pt x="1659" y="1031"/>
                  </a:cubicBezTo>
                  <a:cubicBezTo>
                    <a:pt x="1646" y="1050"/>
                    <a:pt x="1643" y="1071"/>
                    <a:pt x="1644" y="1094"/>
                  </a:cubicBezTo>
                  <a:cubicBezTo>
                    <a:pt x="1644" y="1110"/>
                    <a:pt x="1647" y="1127"/>
                    <a:pt x="1655" y="1141"/>
                  </a:cubicBezTo>
                  <a:cubicBezTo>
                    <a:pt x="1669" y="1168"/>
                    <a:pt x="1691" y="1183"/>
                    <a:pt x="1722" y="1186"/>
                  </a:cubicBezTo>
                  <a:cubicBezTo>
                    <a:pt x="1750" y="1188"/>
                    <a:pt x="1775" y="1183"/>
                    <a:pt x="1798" y="1165"/>
                  </a:cubicBezTo>
                  <a:cubicBezTo>
                    <a:pt x="1803" y="1161"/>
                    <a:pt x="1806" y="1157"/>
                    <a:pt x="1802" y="1151"/>
                  </a:cubicBezTo>
                  <a:cubicBezTo>
                    <a:pt x="1798" y="1144"/>
                    <a:pt x="1791" y="1140"/>
                    <a:pt x="1783" y="1144"/>
                  </a:cubicBezTo>
                  <a:cubicBezTo>
                    <a:pt x="1778" y="1147"/>
                    <a:pt x="1771" y="1149"/>
                    <a:pt x="1766" y="1152"/>
                  </a:cubicBezTo>
                  <a:cubicBezTo>
                    <a:pt x="1749" y="1161"/>
                    <a:pt x="1730" y="1162"/>
                    <a:pt x="1714" y="1155"/>
                  </a:cubicBezTo>
                  <a:cubicBezTo>
                    <a:pt x="1692" y="1145"/>
                    <a:pt x="1680" y="1127"/>
                    <a:pt x="1679" y="1102"/>
                  </a:cubicBezTo>
                  <a:cubicBezTo>
                    <a:pt x="1678" y="1095"/>
                    <a:pt x="1681" y="1092"/>
                    <a:pt x="1689" y="1092"/>
                  </a:cubicBezTo>
                  <a:cubicBezTo>
                    <a:pt x="1706" y="1092"/>
                    <a:pt x="1724" y="1092"/>
                    <a:pt x="1741" y="1092"/>
                  </a:cubicBezTo>
                  <a:cubicBezTo>
                    <a:pt x="1741" y="1092"/>
                    <a:pt x="1741" y="1092"/>
                    <a:pt x="1741" y="1092"/>
                  </a:cubicBezTo>
                  <a:close/>
                  <a:moveTo>
                    <a:pt x="1690" y="1070"/>
                  </a:moveTo>
                  <a:cubicBezTo>
                    <a:pt x="1683" y="1071"/>
                    <a:pt x="1680" y="1068"/>
                    <a:pt x="1681" y="1062"/>
                  </a:cubicBezTo>
                  <a:cubicBezTo>
                    <a:pt x="1683" y="1048"/>
                    <a:pt x="1697" y="1024"/>
                    <a:pt x="1716" y="1022"/>
                  </a:cubicBezTo>
                  <a:cubicBezTo>
                    <a:pt x="1731" y="1020"/>
                    <a:pt x="1747" y="1018"/>
                    <a:pt x="1760" y="1030"/>
                  </a:cubicBezTo>
                  <a:cubicBezTo>
                    <a:pt x="1771" y="1038"/>
                    <a:pt x="1775" y="1050"/>
                    <a:pt x="1778" y="1062"/>
                  </a:cubicBezTo>
                  <a:cubicBezTo>
                    <a:pt x="1780" y="1068"/>
                    <a:pt x="1775" y="1070"/>
                    <a:pt x="1769" y="1070"/>
                  </a:cubicBezTo>
                  <a:cubicBezTo>
                    <a:pt x="1756" y="1070"/>
                    <a:pt x="1742" y="1070"/>
                    <a:pt x="1729" y="1070"/>
                  </a:cubicBezTo>
                  <a:cubicBezTo>
                    <a:pt x="1729" y="1070"/>
                    <a:pt x="1729" y="1070"/>
                    <a:pt x="1729" y="1070"/>
                  </a:cubicBezTo>
                  <a:cubicBezTo>
                    <a:pt x="1716" y="1070"/>
                    <a:pt x="1703" y="1070"/>
                    <a:pt x="1690" y="1070"/>
                  </a:cubicBezTo>
                  <a:close/>
                  <a:moveTo>
                    <a:pt x="68" y="581"/>
                  </a:moveTo>
                  <a:cubicBezTo>
                    <a:pt x="68" y="573"/>
                    <a:pt x="70" y="568"/>
                    <a:pt x="80" y="569"/>
                  </a:cubicBezTo>
                  <a:cubicBezTo>
                    <a:pt x="90" y="570"/>
                    <a:pt x="101" y="570"/>
                    <a:pt x="111" y="569"/>
                  </a:cubicBezTo>
                  <a:cubicBezTo>
                    <a:pt x="120" y="569"/>
                    <a:pt x="120" y="563"/>
                    <a:pt x="120" y="556"/>
                  </a:cubicBezTo>
                  <a:cubicBezTo>
                    <a:pt x="120" y="549"/>
                    <a:pt x="119" y="544"/>
                    <a:pt x="111" y="544"/>
                  </a:cubicBezTo>
                  <a:cubicBezTo>
                    <a:pt x="104" y="544"/>
                    <a:pt x="97" y="544"/>
                    <a:pt x="91" y="544"/>
                  </a:cubicBezTo>
                  <a:cubicBezTo>
                    <a:pt x="66" y="544"/>
                    <a:pt x="65" y="543"/>
                    <a:pt x="68" y="518"/>
                  </a:cubicBezTo>
                  <a:cubicBezTo>
                    <a:pt x="69" y="504"/>
                    <a:pt x="83" y="487"/>
                    <a:pt x="99" y="489"/>
                  </a:cubicBezTo>
                  <a:cubicBezTo>
                    <a:pt x="103" y="489"/>
                    <a:pt x="107" y="489"/>
                    <a:pt x="110" y="488"/>
                  </a:cubicBezTo>
                  <a:cubicBezTo>
                    <a:pt x="118" y="487"/>
                    <a:pt x="123" y="479"/>
                    <a:pt x="123" y="471"/>
                  </a:cubicBezTo>
                  <a:cubicBezTo>
                    <a:pt x="123" y="461"/>
                    <a:pt x="116" y="462"/>
                    <a:pt x="109" y="460"/>
                  </a:cubicBezTo>
                  <a:cubicBezTo>
                    <a:pt x="100" y="458"/>
                    <a:pt x="92" y="460"/>
                    <a:pt x="84" y="460"/>
                  </a:cubicBezTo>
                  <a:cubicBezTo>
                    <a:pt x="68" y="461"/>
                    <a:pt x="56" y="469"/>
                    <a:pt x="47" y="480"/>
                  </a:cubicBezTo>
                  <a:cubicBezTo>
                    <a:pt x="34" y="493"/>
                    <a:pt x="32" y="511"/>
                    <a:pt x="32" y="529"/>
                  </a:cubicBezTo>
                  <a:cubicBezTo>
                    <a:pt x="32" y="544"/>
                    <a:pt x="32" y="544"/>
                    <a:pt x="17" y="544"/>
                  </a:cubicBezTo>
                  <a:cubicBezTo>
                    <a:pt x="4" y="543"/>
                    <a:pt x="0" y="548"/>
                    <a:pt x="4" y="561"/>
                  </a:cubicBezTo>
                  <a:cubicBezTo>
                    <a:pt x="6" y="569"/>
                    <a:pt x="13" y="568"/>
                    <a:pt x="19" y="569"/>
                  </a:cubicBezTo>
                  <a:cubicBezTo>
                    <a:pt x="32" y="571"/>
                    <a:pt x="32" y="571"/>
                    <a:pt x="32" y="584"/>
                  </a:cubicBezTo>
                  <a:cubicBezTo>
                    <a:pt x="32" y="624"/>
                    <a:pt x="32" y="664"/>
                    <a:pt x="32" y="704"/>
                  </a:cubicBezTo>
                  <a:cubicBezTo>
                    <a:pt x="32" y="731"/>
                    <a:pt x="32" y="730"/>
                    <a:pt x="57" y="731"/>
                  </a:cubicBezTo>
                  <a:cubicBezTo>
                    <a:pt x="66" y="731"/>
                    <a:pt x="68" y="727"/>
                    <a:pt x="68" y="720"/>
                  </a:cubicBezTo>
                  <a:cubicBezTo>
                    <a:pt x="68" y="697"/>
                    <a:pt x="68" y="674"/>
                    <a:pt x="68" y="651"/>
                  </a:cubicBezTo>
                  <a:cubicBezTo>
                    <a:pt x="68" y="628"/>
                    <a:pt x="68" y="605"/>
                    <a:pt x="68" y="581"/>
                  </a:cubicBezTo>
                  <a:close/>
                  <a:moveTo>
                    <a:pt x="278" y="1165"/>
                  </a:moveTo>
                  <a:cubicBezTo>
                    <a:pt x="278" y="1183"/>
                    <a:pt x="278" y="1183"/>
                    <a:pt x="296" y="1184"/>
                  </a:cubicBezTo>
                  <a:cubicBezTo>
                    <a:pt x="310" y="1184"/>
                    <a:pt x="310" y="1184"/>
                    <a:pt x="310" y="1169"/>
                  </a:cubicBezTo>
                  <a:cubicBezTo>
                    <a:pt x="310" y="1132"/>
                    <a:pt x="310" y="1095"/>
                    <a:pt x="310" y="1058"/>
                  </a:cubicBezTo>
                  <a:cubicBezTo>
                    <a:pt x="310" y="1052"/>
                    <a:pt x="312" y="1047"/>
                    <a:pt x="316" y="1042"/>
                  </a:cubicBezTo>
                  <a:cubicBezTo>
                    <a:pt x="324" y="1033"/>
                    <a:pt x="334" y="1027"/>
                    <a:pt x="345" y="1024"/>
                  </a:cubicBezTo>
                  <a:cubicBezTo>
                    <a:pt x="357" y="1020"/>
                    <a:pt x="371" y="1018"/>
                    <a:pt x="383" y="1028"/>
                  </a:cubicBezTo>
                  <a:cubicBezTo>
                    <a:pt x="397" y="1039"/>
                    <a:pt x="401" y="1054"/>
                    <a:pt x="401" y="1071"/>
                  </a:cubicBezTo>
                  <a:cubicBezTo>
                    <a:pt x="401" y="1102"/>
                    <a:pt x="401" y="1132"/>
                    <a:pt x="401" y="1163"/>
                  </a:cubicBezTo>
                  <a:cubicBezTo>
                    <a:pt x="401" y="1183"/>
                    <a:pt x="401" y="1182"/>
                    <a:pt x="420" y="1184"/>
                  </a:cubicBezTo>
                  <a:cubicBezTo>
                    <a:pt x="429" y="1185"/>
                    <a:pt x="433" y="1181"/>
                    <a:pt x="433" y="1173"/>
                  </a:cubicBezTo>
                  <a:cubicBezTo>
                    <a:pt x="432" y="1130"/>
                    <a:pt x="435" y="1087"/>
                    <a:pt x="431" y="1044"/>
                  </a:cubicBezTo>
                  <a:cubicBezTo>
                    <a:pt x="427" y="1014"/>
                    <a:pt x="404" y="996"/>
                    <a:pt x="376" y="994"/>
                  </a:cubicBezTo>
                  <a:cubicBezTo>
                    <a:pt x="353" y="992"/>
                    <a:pt x="333" y="1000"/>
                    <a:pt x="317" y="1017"/>
                  </a:cubicBezTo>
                  <a:cubicBezTo>
                    <a:pt x="312" y="1021"/>
                    <a:pt x="311" y="1019"/>
                    <a:pt x="309" y="1015"/>
                  </a:cubicBezTo>
                  <a:cubicBezTo>
                    <a:pt x="309" y="1013"/>
                    <a:pt x="308" y="1011"/>
                    <a:pt x="308" y="1008"/>
                  </a:cubicBezTo>
                  <a:cubicBezTo>
                    <a:pt x="306" y="1001"/>
                    <a:pt x="298" y="997"/>
                    <a:pt x="287" y="998"/>
                  </a:cubicBezTo>
                  <a:cubicBezTo>
                    <a:pt x="279" y="999"/>
                    <a:pt x="278" y="1004"/>
                    <a:pt x="278" y="1011"/>
                  </a:cubicBezTo>
                  <a:cubicBezTo>
                    <a:pt x="278" y="1037"/>
                    <a:pt x="278" y="1064"/>
                    <a:pt x="278" y="1091"/>
                  </a:cubicBezTo>
                  <a:cubicBezTo>
                    <a:pt x="278" y="1115"/>
                    <a:pt x="278" y="1140"/>
                    <a:pt x="278" y="1165"/>
                  </a:cubicBezTo>
                  <a:close/>
                  <a:moveTo>
                    <a:pt x="150" y="705"/>
                  </a:moveTo>
                  <a:cubicBezTo>
                    <a:pt x="150" y="734"/>
                    <a:pt x="145" y="730"/>
                    <a:pt x="176" y="731"/>
                  </a:cubicBezTo>
                  <a:cubicBezTo>
                    <a:pt x="185" y="731"/>
                    <a:pt x="187" y="727"/>
                    <a:pt x="187" y="719"/>
                  </a:cubicBezTo>
                  <a:cubicBezTo>
                    <a:pt x="187" y="685"/>
                    <a:pt x="187" y="651"/>
                    <a:pt x="187" y="618"/>
                  </a:cubicBezTo>
                  <a:cubicBezTo>
                    <a:pt x="187" y="597"/>
                    <a:pt x="204" y="578"/>
                    <a:pt x="225" y="574"/>
                  </a:cubicBezTo>
                  <a:cubicBezTo>
                    <a:pt x="232" y="572"/>
                    <a:pt x="240" y="574"/>
                    <a:pt x="247" y="575"/>
                  </a:cubicBezTo>
                  <a:cubicBezTo>
                    <a:pt x="257" y="576"/>
                    <a:pt x="261" y="572"/>
                    <a:pt x="265" y="564"/>
                  </a:cubicBezTo>
                  <a:cubicBezTo>
                    <a:pt x="269" y="556"/>
                    <a:pt x="267" y="542"/>
                    <a:pt x="261" y="540"/>
                  </a:cubicBezTo>
                  <a:cubicBezTo>
                    <a:pt x="253" y="538"/>
                    <a:pt x="244" y="534"/>
                    <a:pt x="237" y="536"/>
                  </a:cubicBezTo>
                  <a:cubicBezTo>
                    <a:pt x="228" y="537"/>
                    <a:pt x="217" y="537"/>
                    <a:pt x="209" y="544"/>
                  </a:cubicBezTo>
                  <a:cubicBezTo>
                    <a:pt x="204" y="549"/>
                    <a:pt x="198" y="553"/>
                    <a:pt x="194" y="558"/>
                  </a:cubicBezTo>
                  <a:cubicBezTo>
                    <a:pt x="192" y="561"/>
                    <a:pt x="189" y="563"/>
                    <a:pt x="185" y="562"/>
                  </a:cubicBezTo>
                  <a:cubicBezTo>
                    <a:pt x="182" y="561"/>
                    <a:pt x="182" y="558"/>
                    <a:pt x="182" y="556"/>
                  </a:cubicBezTo>
                  <a:cubicBezTo>
                    <a:pt x="180" y="539"/>
                    <a:pt x="179" y="539"/>
                    <a:pt x="162" y="539"/>
                  </a:cubicBezTo>
                  <a:cubicBezTo>
                    <a:pt x="151" y="539"/>
                    <a:pt x="150" y="540"/>
                    <a:pt x="150" y="551"/>
                  </a:cubicBezTo>
                  <a:cubicBezTo>
                    <a:pt x="150" y="579"/>
                    <a:pt x="150" y="607"/>
                    <a:pt x="150" y="635"/>
                  </a:cubicBezTo>
                  <a:cubicBezTo>
                    <a:pt x="150" y="658"/>
                    <a:pt x="149" y="682"/>
                    <a:pt x="150" y="705"/>
                  </a:cubicBezTo>
                  <a:close/>
                  <a:moveTo>
                    <a:pt x="1011" y="1049"/>
                  </a:moveTo>
                  <a:cubicBezTo>
                    <a:pt x="1011" y="1008"/>
                    <a:pt x="1011" y="966"/>
                    <a:pt x="1011" y="924"/>
                  </a:cubicBezTo>
                  <a:cubicBezTo>
                    <a:pt x="1011" y="913"/>
                    <a:pt x="1008" y="910"/>
                    <a:pt x="997" y="910"/>
                  </a:cubicBezTo>
                  <a:cubicBezTo>
                    <a:pt x="995" y="910"/>
                    <a:pt x="992" y="910"/>
                    <a:pt x="990" y="910"/>
                  </a:cubicBezTo>
                  <a:cubicBezTo>
                    <a:pt x="976" y="910"/>
                    <a:pt x="975" y="911"/>
                    <a:pt x="975" y="926"/>
                  </a:cubicBezTo>
                  <a:cubicBezTo>
                    <a:pt x="975" y="1006"/>
                    <a:pt x="975" y="1085"/>
                    <a:pt x="975" y="1165"/>
                  </a:cubicBezTo>
                  <a:cubicBezTo>
                    <a:pt x="975" y="1185"/>
                    <a:pt x="975" y="1185"/>
                    <a:pt x="994" y="1185"/>
                  </a:cubicBezTo>
                  <a:cubicBezTo>
                    <a:pt x="1009" y="1185"/>
                    <a:pt x="1011" y="1184"/>
                    <a:pt x="1011" y="1169"/>
                  </a:cubicBezTo>
                  <a:cubicBezTo>
                    <a:pt x="1011" y="1129"/>
                    <a:pt x="1011" y="1089"/>
                    <a:pt x="1011" y="1049"/>
                  </a:cubicBezTo>
                  <a:cubicBezTo>
                    <a:pt x="1011" y="1049"/>
                    <a:pt x="1011" y="1049"/>
                    <a:pt x="1011" y="1049"/>
                  </a:cubicBezTo>
                  <a:close/>
                  <a:moveTo>
                    <a:pt x="296" y="176"/>
                  </a:moveTo>
                  <a:cubicBezTo>
                    <a:pt x="296" y="201"/>
                    <a:pt x="296" y="226"/>
                    <a:pt x="296" y="251"/>
                  </a:cubicBezTo>
                  <a:cubicBezTo>
                    <a:pt x="295" y="276"/>
                    <a:pt x="296" y="274"/>
                    <a:pt x="318" y="274"/>
                  </a:cubicBezTo>
                  <a:cubicBezTo>
                    <a:pt x="330" y="274"/>
                    <a:pt x="331" y="274"/>
                    <a:pt x="331" y="260"/>
                  </a:cubicBezTo>
                  <a:cubicBezTo>
                    <a:pt x="331" y="232"/>
                    <a:pt x="331" y="204"/>
                    <a:pt x="331" y="176"/>
                  </a:cubicBezTo>
                  <a:cubicBezTo>
                    <a:pt x="331" y="165"/>
                    <a:pt x="331" y="155"/>
                    <a:pt x="337" y="145"/>
                  </a:cubicBezTo>
                  <a:cubicBezTo>
                    <a:pt x="349" y="123"/>
                    <a:pt x="359" y="117"/>
                    <a:pt x="377" y="118"/>
                  </a:cubicBezTo>
                  <a:cubicBezTo>
                    <a:pt x="383" y="118"/>
                    <a:pt x="389" y="119"/>
                    <a:pt x="395" y="120"/>
                  </a:cubicBezTo>
                  <a:cubicBezTo>
                    <a:pt x="401" y="120"/>
                    <a:pt x="407" y="118"/>
                    <a:pt x="408" y="112"/>
                  </a:cubicBezTo>
                  <a:cubicBezTo>
                    <a:pt x="409" y="103"/>
                    <a:pt x="415" y="93"/>
                    <a:pt x="407" y="85"/>
                  </a:cubicBezTo>
                  <a:cubicBezTo>
                    <a:pt x="406" y="84"/>
                    <a:pt x="404" y="84"/>
                    <a:pt x="402" y="84"/>
                  </a:cubicBezTo>
                  <a:cubicBezTo>
                    <a:pt x="376" y="78"/>
                    <a:pt x="353" y="82"/>
                    <a:pt x="337" y="106"/>
                  </a:cubicBezTo>
                  <a:cubicBezTo>
                    <a:pt x="336" y="108"/>
                    <a:pt x="335" y="110"/>
                    <a:pt x="333" y="109"/>
                  </a:cubicBezTo>
                  <a:cubicBezTo>
                    <a:pt x="331" y="109"/>
                    <a:pt x="330" y="107"/>
                    <a:pt x="330" y="105"/>
                  </a:cubicBezTo>
                  <a:cubicBezTo>
                    <a:pt x="329" y="101"/>
                    <a:pt x="329" y="97"/>
                    <a:pt x="328" y="94"/>
                  </a:cubicBezTo>
                  <a:cubicBezTo>
                    <a:pt x="325" y="85"/>
                    <a:pt x="318" y="82"/>
                    <a:pt x="303" y="84"/>
                  </a:cubicBezTo>
                  <a:cubicBezTo>
                    <a:pt x="297" y="84"/>
                    <a:pt x="295" y="86"/>
                    <a:pt x="295" y="92"/>
                  </a:cubicBezTo>
                  <a:cubicBezTo>
                    <a:pt x="296" y="120"/>
                    <a:pt x="295" y="148"/>
                    <a:pt x="295" y="176"/>
                  </a:cubicBezTo>
                  <a:cubicBezTo>
                    <a:pt x="296" y="176"/>
                    <a:pt x="296" y="176"/>
                    <a:pt x="296" y="176"/>
                  </a:cubicBezTo>
                  <a:close/>
                  <a:moveTo>
                    <a:pt x="946" y="179"/>
                  </a:moveTo>
                  <a:cubicBezTo>
                    <a:pt x="946" y="197"/>
                    <a:pt x="946" y="215"/>
                    <a:pt x="946" y="234"/>
                  </a:cubicBezTo>
                  <a:cubicBezTo>
                    <a:pt x="946" y="248"/>
                    <a:pt x="951" y="260"/>
                    <a:pt x="963" y="268"/>
                  </a:cubicBezTo>
                  <a:cubicBezTo>
                    <a:pt x="982" y="280"/>
                    <a:pt x="1011" y="277"/>
                    <a:pt x="1029" y="264"/>
                  </a:cubicBezTo>
                  <a:cubicBezTo>
                    <a:pt x="1036" y="259"/>
                    <a:pt x="1036" y="254"/>
                    <a:pt x="1032" y="248"/>
                  </a:cubicBezTo>
                  <a:cubicBezTo>
                    <a:pt x="1026" y="239"/>
                    <a:pt x="1020" y="238"/>
                    <a:pt x="1013" y="242"/>
                  </a:cubicBezTo>
                  <a:cubicBezTo>
                    <a:pt x="996" y="252"/>
                    <a:pt x="978" y="243"/>
                    <a:pt x="978" y="223"/>
                  </a:cubicBezTo>
                  <a:cubicBezTo>
                    <a:pt x="978" y="190"/>
                    <a:pt x="978" y="157"/>
                    <a:pt x="978" y="123"/>
                  </a:cubicBezTo>
                  <a:cubicBezTo>
                    <a:pt x="978" y="116"/>
                    <a:pt x="981" y="113"/>
                    <a:pt x="988" y="113"/>
                  </a:cubicBezTo>
                  <a:cubicBezTo>
                    <a:pt x="999" y="114"/>
                    <a:pt x="1011" y="113"/>
                    <a:pt x="1022" y="113"/>
                  </a:cubicBezTo>
                  <a:cubicBezTo>
                    <a:pt x="1028" y="113"/>
                    <a:pt x="1033" y="112"/>
                    <a:pt x="1033" y="104"/>
                  </a:cubicBezTo>
                  <a:cubicBezTo>
                    <a:pt x="1033" y="96"/>
                    <a:pt x="1032" y="90"/>
                    <a:pt x="1022" y="90"/>
                  </a:cubicBezTo>
                  <a:cubicBezTo>
                    <a:pt x="1011" y="90"/>
                    <a:pt x="1001" y="90"/>
                    <a:pt x="990" y="90"/>
                  </a:cubicBezTo>
                  <a:cubicBezTo>
                    <a:pt x="981" y="91"/>
                    <a:pt x="977" y="88"/>
                    <a:pt x="978" y="78"/>
                  </a:cubicBezTo>
                  <a:cubicBezTo>
                    <a:pt x="978" y="64"/>
                    <a:pt x="978" y="49"/>
                    <a:pt x="978" y="35"/>
                  </a:cubicBezTo>
                  <a:cubicBezTo>
                    <a:pt x="978" y="30"/>
                    <a:pt x="978" y="25"/>
                    <a:pt x="971" y="24"/>
                  </a:cubicBezTo>
                  <a:cubicBezTo>
                    <a:pt x="964" y="24"/>
                    <a:pt x="956" y="24"/>
                    <a:pt x="955" y="32"/>
                  </a:cubicBezTo>
                  <a:cubicBezTo>
                    <a:pt x="952" y="43"/>
                    <a:pt x="949" y="54"/>
                    <a:pt x="949" y="65"/>
                  </a:cubicBezTo>
                  <a:cubicBezTo>
                    <a:pt x="948" y="88"/>
                    <a:pt x="947" y="88"/>
                    <a:pt x="924" y="91"/>
                  </a:cubicBezTo>
                  <a:cubicBezTo>
                    <a:pt x="919" y="92"/>
                    <a:pt x="914" y="92"/>
                    <a:pt x="914" y="99"/>
                  </a:cubicBezTo>
                  <a:cubicBezTo>
                    <a:pt x="915" y="107"/>
                    <a:pt x="917" y="113"/>
                    <a:pt x="926" y="113"/>
                  </a:cubicBezTo>
                  <a:cubicBezTo>
                    <a:pt x="929" y="114"/>
                    <a:pt x="932" y="113"/>
                    <a:pt x="935" y="113"/>
                  </a:cubicBezTo>
                  <a:cubicBezTo>
                    <a:pt x="943" y="113"/>
                    <a:pt x="946" y="116"/>
                    <a:pt x="946" y="124"/>
                  </a:cubicBezTo>
                  <a:cubicBezTo>
                    <a:pt x="946" y="142"/>
                    <a:pt x="946" y="161"/>
                    <a:pt x="946" y="179"/>
                  </a:cubicBezTo>
                  <a:cubicBezTo>
                    <a:pt x="946" y="179"/>
                    <a:pt x="946" y="179"/>
                    <a:pt x="946" y="179"/>
                  </a:cubicBezTo>
                  <a:close/>
                </a:path>
              </a:pathLst>
            </a:custGeom>
            <a:solidFill>
              <a:srgbClr val="4C505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grpSp>
          <p:nvGrpSpPr>
            <p:cNvPr id="18" name="Group 4">
              <a:extLst>
                <a:ext uri="{FF2B5EF4-FFF2-40B4-BE49-F238E27FC236}">
                  <a16:creationId xmlns:a16="http://schemas.microsoft.com/office/drawing/2014/main" id="{57BD2C4C-DC67-B843-B26C-309622FC75F7}"/>
                </a:ext>
              </a:extLst>
            </p:cNvPr>
            <p:cNvGrpSpPr>
              <a:grpSpLocks noChangeAspect="1"/>
            </p:cNvGrpSpPr>
            <p:nvPr/>
          </p:nvGrpSpPr>
          <p:grpSpPr bwMode="gray">
            <a:xfrm>
              <a:off x="334963" y="296652"/>
              <a:ext cx="538094" cy="540000"/>
              <a:chOff x="2711" y="1027"/>
              <a:chExt cx="2258" cy="2266"/>
            </a:xfrm>
          </p:grpSpPr>
          <p:sp>
            <p:nvSpPr>
              <p:cNvPr id="19" name="AutoShape 3">
                <a:extLst>
                  <a:ext uri="{FF2B5EF4-FFF2-40B4-BE49-F238E27FC236}">
                    <a16:creationId xmlns:a16="http://schemas.microsoft.com/office/drawing/2014/main" id="{FE1DC41B-291E-574C-9F2C-874E70A40758}"/>
                  </a:ext>
                </a:extLst>
              </p:cNvPr>
              <p:cNvSpPr>
                <a:spLocks noChangeAspect="1" noChangeArrowheads="1" noTextEdit="1"/>
              </p:cNvSpPr>
              <p:nvPr/>
            </p:nvSpPr>
            <p:spPr bwMode="gray">
              <a:xfrm>
                <a:off x="2711" y="1027"/>
                <a:ext cx="2258" cy="22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sp>
            <p:nvSpPr>
              <p:cNvPr id="20" name="Freeform 5">
                <a:extLst>
                  <a:ext uri="{FF2B5EF4-FFF2-40B4-BE49-F238E27FC236}">
                    <a16:creationId xmlns:a16="http://schemas.microsoft.com/office/drawing/2014/main" id="{D4B633C8-F761-C54B-9BD2-EB59D49A2DBC}"/>
                  </a:ext>
                </a:extLst>
              </p:cNvPr>
              <p:cNvSpPr>
                <a:spLocks/>
              </p:cNvSpPr>
              <p:nvPr/>
            </p:nvSpPr>
            <p:spPr bwMode="gray">
              <a:xfrm>
                <a:off x="2709" y="1029"/>
                <a:ext cx="2260" cy="2262"/>
              </a:xfrm>
              <a:custGeom>
                <a:avLst/>
                <a:gdLst>
                  <a:gd name="T0" fmla="*/ 2260 w 2260"/>
                  <a:gd name="T1" fmla="*/ 0 h 2262"/>
                  <a:gd name="T2" fmla="*/ 1612 w 2260"/>
                  <a:gd name="T3" fmla="*/ 649 h 2262"/>
                  <a:gd name="T4" fmla="*/ 1612 w 2260"/>
                  <a:gd name="T5" fmla="*/ 649 h 2262"/>
                  <a:gd name="T6" fmla="*/ 2035 w 2260"/>
                  <a:gd name="T7" fmla="*/ 0 h 2262"/>
                  <a:gd name="T8" fmla="*/ 0 w 2260"/>
                  <a:gd name="T9" fmla="*/ 0 h 2262"/>
                  <a:gd name="T10" fmla="*/ 0 w 2260"/>
                  <a:gd name="T11" fmla="*/ 2262 h 2262"/>
                  <a:gd name="T12" fmla="*/ 2260 w 2260"/>
                  <a:gd name="T13" fmla="*/ 2262 h 2262"/>
                  <a:gd name="T14" fmla="*/ 2260 w 2260"/>
                  <a:gd name="T15" fmla="*/ 0 h 2262"/>
                  <a:gd name="T16" fmla="*/ 2260 w 2260"/>
                  <a:gd name="T17" fmla="*/ 0 h 2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0" h="2262">
                    <a:moveTo>
                      <a:pt x="2260" y="0"/>
                    </a:moveTo>
                    <a:lnTo>
                      <a:pt x="1612" y="649"/>
                    </a:lnTo>
                    <a:lnTo>
                      <a:pt x="1612" y="649"/>
                    </a:lnTo>
                    <a:lnTo>
                      <a:pt x="2035" y="0"/>
                    </a:lnTo>
                    <a:lnTo>
                      <a:pt x="0" y="0"/>
                    </a:lnTo>
                    <a:lnTo>
                      <a:pt x="0" y="2262"/>
                    </a:lnTo>
                    <a:lnTo>
                      <a:pt x="2260" y="2262"/>
                    </a:lnTo>
                    <a:lnTo>
                      <a:pt x="2260" y="0"/>
                    </a:lnTo>
                    <a:lnTo>
                      <a:pt x="2260" y="0"/>
                    </a:lnTo>
                    <a:close/>
                  </a:path>
                </a:pathLst>
              </a:custGeom>
              <a:solidFill>
                <a:srgbClr val="E55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sp>
            <p:nvSpPr>
              <p:cNvPr id="21" name="Freeform 6">
                <a:extLst>
                  <a:ext uri="{FF2B5EF4-FFF2-40B4-BE49-F238E27FC236}">
                    <a16:creationId xmlns:a16="http://schemas.microsoft.com/office/drawing/2014/main" id="{B16BAAE4-1A41-C843-9754-490F7A1E1270}"/>
                  </a:ext>
                </a:extLst>
              </p:cNvPr>
              <p:cNvSpPr>
                <a:spLocks noEditPoints="1"/>
              </p:cNvSpPr>
              <p:nvPr/>
            </p:nvSpPr>
            <p:spPr bwMode="gray">
              <a:xfrm>
                <a:off x="3623" y="1696"/>
                <a:ext cx="1167" cy="922"/>
              </a:xfrm>
              <a:custGeom>
                <a:avLst/>
                <a:gdLst>
                  <a:gd name="T0" fmla="*/ 411 w 580"/>
                  <a:gd name="T1" fmla="*/ 213 h 458"/>
                  <a:gd name="T2" fmla="*/ 570 w 580"/>
                  <a:gd name="T3" fmla="*/ 37 h 458"/>
                  <a:gd name="T4" fmla="*/ 580 w 580"/>
                  <a:gd name="T5" fmla="*/ 20 h 458"/>
                  <a:gd name="T6" fmla="*/ 545 w 580"/>
                  <a:gd name="T7" fmla="*/ 0 h 458"/>
                  <a:gd name="T8" fmla="*/ 519 w 580"/>
                  <a:gd name="T9" fmla="*/ 16 h 458"/>
                  <a:gd name="T10" fmla="*/ 344 w 580"/>
                  <a:gd name="T11" fmla="*/ 210 h 458"/>
                  <a:gd name="T12" fmla="*/ 334 w 580"/>
                  <a:gd name="T13" fmla="*/ 229 h 458"/>
                  <a:gd name="T14" fmla="*/ 344 w 580"/>
                  <a:gd name="T15" fmla="*/ 248 h 458"/>
                  <a:gd name="T16" fmla="*/ 519 w 580"/>
                  <a:gd name="T17" fmla="*/ 442 h 458"/>
                  <a:gd name="T18" fmla="*/ 545 w 580"/>
                  <a:gd name="T19" fmla="*/ 458 h 458"/>
                  <a:gd name="T20" fmla="*/ 580 w 580"/>
                  <a:gd name="T21" fmla="*/ 438 h 458"/>
                  <a:gd name="T22" fmla="*/ 570 w 580"/>
                  <a:gd name="T23" fmla="*/ 421 h 458"/>
                  <a:gd name="T24" fmla="*/ 411 w 580"/>
                  <a:gd name="T25" fmla="*/ 245 h 458"/>
                  <a:gd name="T26" fmla="*/ 399 w 580"/>
                  <a:gd name="T27" fmla="*/ 229 h 458"/>
                  <a:gd name="T28" fmla="*/ 411 w 580"/>
                  <a:gd name="T29" fmla="*/ 213 h 458"/>
                  <a:gd name="T30" fmla="*/ 252 w 580"/>
                  <a:gd name="T31" fmla="*/ 439 h 458"/>
                  <a:gd name="T32" fmla="*/ 281 w 580"/>
                  <a:gd name="T33" fmla="*/ 454 h 458"/>
                  <a:gd name="T34" fmla="*/ 309 w 580"/>
                  <a:gd name="T35" fmla="*/ 439 h 458"/>
                  <a:gd name="T36" fmla="*/ 309 w 580"/>
                  <a:gd name="T37" fmla="*/ 19 h 458"/>
                  <a:gd name="T38" fmla="*/ 281 w 580"/>
                  <a:gd name="T39" fmla="*/ 4 h 458"/>
                  <a:gd name="T40" fmla="*/ 252 w 580"/>
                  <a:gd name="T41" fmla="*/ 19 h 458"/>
                  <a:gd name="T42" fmla="*/ 252 w 580"/>
                  <a:gd name="T43" fmla="*/ 439 h 458"/>
                  <a:gd name="T44" fmla="*/ 0 w 580"/>
                  <a:gd name="T45" fmla="*/ 439 h 458"/>
                  <a:gd name="T46" fmla="*/ 28 w 580"/>
                  <a:gd name="T47" fmla="*/ 454 h 458"/>
                  <a:gd name="T48" fmla="*/ 56 w 580"/>
                  <a:gd name="T49" fmla="*/ 439 h 458"/>
                  <a:gd name="T50" fmla="*/ 56 w 580"/>
                  <a:gd name="T51" fmla="*/ 157 h 458"/>
                  <a:gd name="T52" fmla="*/ 165 w 580"/>
                  <a:gd name="T53" fmla="*/ 53 h 458"/>
                  <a:gd name="T54" fmla="*/ 180 w 580"/>
                  <a:gd name="T55" fmla="*/ 53 h 458"/>
                  <a:gd name="T56" fmla="*/ 196 w 580"/>
                  <a:gd name="T57" fmla="*/ 27 h 458"/>
                  <a:gd name="T58" fmla="*/ 154 w 580"/>
                  <a:gd name="T59" fmla="*/ 4 h 458"/>
                  <a:gd name="T60" fmla="*/ 0 w 580"/>
                  <a:gd name="T61" fmla="*/ 152 h 458"/>
                  <a:gd name="T62" fmla="*/ 0 w 580"/>
                  <a:gd name="T63" fmla="*/ 439 h 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80" h="458">
                    <a:moveTo>
                      <a:pt x="411" y="213"/>
                    </a:moveTo>
                    <a:cubicBezTo>
                      <a:pt x="570" y="37"/>
                      <a:pt x="570" y="37"/>
                      <a:pt x="570" y="37"/>
                    </a:cubicBezTo>
                    <a:cubicBezTo>
                      <a:pt x="576" y="30"/>
                      <a:pt x="580" y="25"/>
                      <a:pt x="580" y="20"/>
                    </a:cubicBezTo>
                    <a:cubicBezTo>
                      <a:pt x="580" y="10"/>
                      <a:pt x="559" y="0"/>
                      <a:pt x="545" y="0"/>
                    </a:cubicBezTo>
                    <a:cubicBezTo>
                      <a:pt x="535" y="0"/>
                      <a:pt x="526" y="8"/>
                      <a:pt x="519" y="16"/>
                    </a:cubicBezTo>
                    <a:cubicBezTo>
                      <a:pt x="344" y="210"/>
                      <a:pt x="344" y="210"/>
                      <a:pt x="344" y="210"/>
                    </a:cubicBezTo>
                    <a:cubicBezTo>
                      <a:pt x="336" y="219"/>
                      <a:pt x="334" y="224"/>
                      <a:pt x="334" y="229"/>
                    </a:cubicBezTo>
                    <a:cubicBezTo>
                      <a:pt x="334" y="234"/>
                      <a:pt x="336" y="239"/>
                      <a:pt x="344" y="248"/>
                    </a:cubicBezTo>
                    <a:cubicBezTo>
                      <a:pt x="519" y="442"/>
                      <a:pt x="519" y="442"/>
                      <a:pt x="519" y="442"/>
                    </a:cubicBezTo>
                    <a:cubicBezTo>
                      <a:pt x="526" y="450"/>
                      <a:pt x="535" y="458"/>
                      <a:pt x="545" y="458"/>
                    </a:cubicBezTo>
                    <a:cubicBezTo>
                      <a:pt x="559" y="458"/>
                      <a:pt x="580" y="448"/>
                      <a:pt x="580" y="438"/>
                    </a:cubicBezTo>
                    <a:cubicBezTo>
                      <a:pt x="580" y="433"/>
                      <a:pt x="576" y="428"/>
                      <a:pt x="570" y="421"/>
                    </a:cubicBezTo>
                    <a:cubicBezTo>
                      <a:pt x="411" y="245"/>
                      <a:pt x="411" y="245"/>
                      <a:pt x="411" y="245"/>
                    </a:cubicBezTo>
                    <a:cubicBezTo>
                      <a:pt x="403" y="236"/>
                      <a:pt x="399" y="232"/>
                      <a:pt x="399" y="229"/>
                    </a:cubicBezTo>
                    <a:cubicBezTo>
                      <a:pt x="399" y="226"/>
                      <a:pt x="403" y="222"/>
                      <a:pt x="411" y="213"/>
                    </a:cubicBezTo>
                    <a:moveTo>
                      <a:pt x="252" y="439"/>
                    </a:moveTo>
                    <a:cubicBezTo>
                      <a:pt x="252" y="449"/>
                      <a:pt x="261" y="454"/>
                      <a:pt x="281" y="454"/>
                    </a:cubicBezTo>
                    <a:cubicBezTo>
                      <a:pt x="300" y="454"/>
                      <a:pt x="309" y="449"/>
                      <a:pt x="309" y="439"/>
                    </a:cubicBezTo>
                    <a:cubicBezTo>
                      <a:pt x="309" y="19"/>
                      <a:pt x="309" y="19"/>
                      <a:pt x="309" y="19"/>
                    </a:cubicBezTo>
                    <a:cubicBezTo>
                      <a:pt x="309" y="9"/>
                      <a:pt x="300" y="4"/>
                      <a:pt x="281" y="4"/>
                    </a:cubicBezTo>
                    <a:cubicBezTo>
                      <a:pt x="261" y="4"/>
                      <a:pt x="252" y="9"/>
                      <a:pt x="252" y="19"/>
                    </a:cubicBezTo>
                    <a:lnTo>
                      <a:pt x="252" y="439"/>
                    </a:lnTo>
                    <a:close/>
                    <a:moveTo>
                      <a:pt x="0" y="439"/>
                    </a:moveTo>
                    <a:cubicBezTo>
                      <a:pt x="0" y="449"/>
                      <a:pt x="8" y="454"/>
                      <a:pt x="28" y="454"/>
                    </a:cubicBezTo>
                    <a:cubicBezTo>
                      <a:pt x="48" y="454"/>
                      <a:pt x="56" y="449"/>
                      <a:pt x="56" y="439"/>
                    </a:cubicBezTo>
                    <a:cubicBezTo>
                      <a:pt x="56" y="157"/>
                      <a:pt x="56" y="157"/>
                      <a:pt x="56" y="157"/>
                    </a:cubicBezTo>
                    <a:cubicBezTo>
                      <a:pt x="56" y="83"/>
                      <a:pt x="85" y="53"/>
                      <a:pt x="165" y="53"/>
                    </a:cubicBezTo>
                    <a:cubicBezTo>
                      <a:pt x="180" y="53"/>
                      <a:pt x="180" y="53"/>
                      <a:pt x="180" y="53"/>
                    </a:cubicBezTo>
                    <a:cubicBezTo>
                      <a:pt x="192" y="53"/>
                      <a:pt x="196" y="43"/>
                      <a:pt x="196" y="27"/>
                    </a:cubicBezTo>
                    <a:cubicBezTo>
                      <a:pt x="196" y="8"/>
                      <a:pt x="185" y="4"/>
                      <a:pt x="154" y="4"/>
                    </a:cubicBezTo>
                    <a:cubicBezTo>
                      <a:pt x="64" y="4"/>
                      <a:pt x="0" y="43"/>
                      <a:pt x="0" y="152"/>
                    </a:cubicBezTo>
                    <a:lnTo>
                      <a:pt x="0" y="43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sp>
            <p:nvSpPr>
              <p:cNvPr id="22" name="Freeform 7">
                <a:extLst>
                  <a:ext uri="{FF2B5EF4-FFF2-40B4-BE49-F238E27FC236}">
                    <a16:creationId xmlns:a16="http://schemas.microsoft.com/office/drawing/2014/main" id="{2F32DCBD-8628-F245-85CD-97686A20ECFD}"/>
                  </a:ext>
                </a:extLst>
              </p:cNvPr>
              <p:cNvSpPr>
                <a:spLocks/>
              </p:cNvSpPr>
              <p:nvPr/>
            </p:nvSpPr>
            <p:spPr bwMode="gray">
              <a:xfrm>
                <a:off x="2880" y="1704"/>
                <a:ext cx="618" cy="916"/>
              </a:xfrm>
              <a:custGeom>
                <a:avLst/>
                <a:gdLst>
                  <a:gd name="T0" fmla="*/ 307 w 307"/>
                  <a:gd name="T1" fmla="*/ 405 h 455"/>
                  <a:gd name="T2" fmla="*/ 307 w 307"/>
                  <a:gd name="T3" fmla="*/ 244 h 455"/>
                  <a:gd name="T4" fmla="*/ 279 w 307"/>
                  <a:gd name="T5" fmla="*/ 229 h 455"/>
                  <a:gd name="T6" fmla="*/ 250 w 307"/>
                  <a:gd name="T7" fmla="*/ 244 h 455"/>
                  <a:gd name="T8" fmla="*/ 250 w 307"/>
                  <a:gd name="T9" fmla="*/ 378 h 455"/>
                  <a:gd name="T10" fmla="*/ 199 w 307"/>
                  <a:gd name="T11" fmla="*/ 408 h 455"/>
                  <a:gd name="T12" fmla="*/ 61 w 307"/>
                  <a:gd name="T13" fmla="*/ 231 h 455"/>
                  <a:gd name="T14" fmla="*/ 238 w 307"/>
                  <a:gd name="T15" fmla="*/ 49 h 455"/>
                  <a:gd name="T16" fmla="*/ 270 w 307"/>
                  <a:gd name="T17" fmla="*/ 49 h 455"/>
                  <a:gd name="T18" fmla="*/ 286 w 307"/>
                  <a:gd name="T19" fmla="*/ 23 h 455"/>
                  <a:gd name="T20" fmla="*/ 244 w 307"/>
                  <a:gd name="T21" fmla="*/ 0 h 455"/>
                  <a:gd name="T22" fmla="*/ 231 w 307"/>
                  <a:gd name="T23" fmla="*/ 0 h 455"/>
                  <a:gd name="T24" fmla="*/ 0 w 307"/>
                  <a:gd name="T25" fmla="*/ 232 h 455"/>
                  <a:gd name="T26" fmla="*/ 198 w 307"/>
                  <a:gd name="T27" fmla="*/ 455 h 455"/>
                  <a:gd name="T28" fmla="*/ 307 w 307"/>
                  <a:gd name="T29" fmla="*/ 405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7" h="455">
                    <a:moveTo>
                      <a:pt x="307" y="405"/>
                    </a:moveTo>
                    <a:cubicBezTo>
                      <a:pt x="307" y="244"/>
                      <a:pt x="307" y="244"/>
                      <a:pt x="307" y="244"/>
                    </a:cubicBezTo>
                    <a:cubicBezTo>
                      <a:pt x="307" y="234"/>
                      <a:pt x="298" y="229"/>
                      <a:pt x="279" y="229"/>
                    </a:cubicBezTo>
                    <a:cubicBezTo>
                      <a:pt x="259" y="229"/>
                      <a:pt x="250" y="234"/>
                      <a:pt x="250" y="244"/>
                    </a:cubicBezTo>
                    <a:cubicBezTo>
                      <a:pt x="250" y="378"/>
                      <a:pt x="250" y="378"/>
                      <a:pt x="250" y="378"/>
                    </a:cubicBezTo>
                    <a:cubicBezTo>
                      <a:pt x="250" y="399"/>
                      <a:pt x="241" y="408"/>
                      <a:pt x="199" y="408"/>
                    </a:cubicBezTo>
                    <a:cubicBezTo>
                      <a:pt x="114" y="408"/>
                      <a:pt x="61" y="342"/>
                      <a:pt x="61" y="231"/>
                    </a:cubicBezTo>
                    <a:cubicBezTo>
                      <a:pt x="61" y="115"/>
                      <a:pt x="126" y="49"/>
                      <a:pt x="238" y="49"/>
                    </a:cubicBezTo>
                    <a:cubicBezTo>
                      <a:pt x="270" y="49"/>
                      <a:pt x="270" y="49"/>
                      <a:pt x="270" y="49"/>
                    </a:cubicBezTo>
                    <a:cubicBezTo>
                      <a:pt x="282" y="49"/>
                      <a:pt x="286" y="39"/>
                      <a:pt x="286" y="23"/>
                    </a:cubicBezTo>
                    <a:cubicBezTo>
                      <a:pt x="286" y="4"/>
                      <a:pt x="275" y="0"/>
                      <a:pt x="244" y="0"/>
                    </a:cubicBezTo>
                    <a:cubicBezTo>
                      <a:pt x="231" y="0"/>
                      <a:pt x="231" y="0"/>
                      <a:pt x="231" y="0"/>
                    </a:cubicBezTo>
                    <a:cubicBezTo>
                      <a:pt x="101" y="0"/>
                      <a:pt x="0" y="71"/>
                      <a:pt x="0" y="232"/>
                    </a:cubicBezTo>
                    <a:cubicBezTo>
                      <a:pt x="0" y="386"/>
                      <a:pt x="88" y="455"/>
                      <a:pt x="198" y="455"/>
                    </a:cubicBezTo>
                    <a:cubicBezTo>
                      <a:pt x="286" y="455"/>
                      <a:pt x="307" y="430"/>
                      <a:pt x="307" y="40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sp>
            <p:nvSpPr>
              <p:cNvPr id="23" name="Oval 8">
                <a:extLst>
                  <a:ext uri="{FF2B5EF4-FFF2-40B4-BE49-F238E27FC236}">
                    <a16:creationId xmlns:a16="http://schemas.microsoft.com/office/drawing/2014/main" id="{60D97C11-1A3B-5449-A48D-98A3E79B3810}"/>
                  </a:ext>
                </a:extLst>
              </p:cNvPr>
              <p:cNvSpPr>
                <a:spLocks noChangeArrowheads="1"/>
              </p:cNvSpPr>
              <p:nvPr/>
            </p:nvSpPr>
            <p:spPr bwMode="gray">
              <a:xfrm>
                <a:off x="3778" y="2099"/>
                <a:ext cx="122" cy="12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sp>
            <p:nvSpPr>
              <p:cNvPr id="24" name="Freeform 9">
                <a:extLst>
                  <a:ext uri="{FF2B5EF4-FFF2-40B4-BE49-F238E27FC236}">
                    <a16:creationId xmlns:a16="http://schemas.microsoft.com/office/drawing/2014/main" id="{5856770D-B8F0-244E-A05D-AED190086F10}"/>
                  </a:ext>
                </a:extLst>
              </p:cNvPr>
              <p:cNvSpPr>
                <a:spLocks noEditPoints="1"/>
              </p:cNvSpPr>
              <p:nvPr/>
            </p:nvSpPr>
            <p:spPr bwMode="gray">
              <a:xfrm>
                <a:off x="3623" y="1696"/>
                <a:ext cx="1167" cy="922"/>
              </a:xfrm>
              <a:custGeom>
                <a:avLst/>
                <a:gdLst>
                  <a:gd name="T0" fmla="*/ 411 w 580"/>
                  <a:gd name="T1" fmla="*/ 213 h 458"/>
                  <a:gd name="T2" fmla="*/ 570 w 580"/>
                  <a:gd name="T3" fmla="*/ 37 h 458"/>
                  <a:gd name="T4" fmla="*/ 580 w 580"/>
                  <a:gd name="T5" fmla="*/ 20 h 458"/>
                  <a:gd name="T6" fmla="*/ 545 w 580"/>
                  <a:gd name="T7" fmla="*/ 0 h 458"/>
                  <a:gd name="T8" fmla="*/ 519 w 580"/>
                  <a:gd name="T9" fmla="*/ 16 h 458"/>
                  <a:gd name="T10" fmla="*/ 344 w 580"/>
                  <a:gd name="T11" fmla="*/ 210 h 458"/>
                  <a:gd name="T12" fmla="*/ 334 w 580"/>
                  <a:gd name="T13" fmla="*/ 229 h 458"/>
                  <a:gd name="T14" fmla="*/ 344 w 580"/>
                  <a:gd name="T15" fmla="*/ 248 h 458"/>
                  <a:gd name="T16" fmla="*/ 519 w 580"/>
                  <a:gd name="T17" fmla="*/ 442 h 458"/>
                  <a:gd name="T18" fmla="*/ 545 w 580"/>
                  <a:gd name="T19" fmla="*/ 458 h 458"/>
                  <a:gd name="T20" fmla="*/ 580 w 580"/>
                  <a:gd name="T21" fmla="*/ 438 h 458"/>
                  <a:gd name="T22" fmla="*/ 570 w 580"/>
                  <a:gd name="T23" fmla="*/ 421 h 458"/>
                  <a:gd name="T24" fmla="*/ 411 w 580"/>
                  <a:gd name="T25" fmla="*/ 245 h 458"/>
                  <a:gd name="T26" fmla="*/ 399 w 580"/>
                  <a:gd name="T27" fmla="*/ 229 h 458"/>
                  <a:gd name="T28" fmla="*/ 411 w 580"/>
                  <a:gd name="T29" fmla="*/ 213 h 458"/>
                  <a:gd name="T30" fmla="*/ 252 w 580"/>
                  <a:gd name="T31" fmla="*/ 439 h 458"/>
                  <a:gd name="T32" fmla="*/ 281 w 580"/>
                  <a:gd name="T33" fmla="*/ 454 h 458"/>
                  <a:gd name="T34" fmla="*/ 309 w 580"/>
                  <a:gd name="T35" fmla="*/ 439 h 458"/>
                  <a:gd name="T36" fmla="*/ 309 w 580"/>
                  <a:gd name="T37" fmla="*/ 19 h 458"/>
                  <a:gd name="T38" fmla="*/ 281 w 580"/>
                  <a:gd name="T39" fmla="*/ 4 h 458"/>
                  <a:gd name="T40" fmla="*/ 252 w 580"/>
                  <a:gd name="T41" fmla="*/ 19 h 458"/>
                  <a:gd name="T42" fmla="*/ 252 w 580"/>
                  <a:gd name="T43" fmla="*/ 439 h 458"/>
                  <a:gd name="T44" fmla="*/ 0 w 580"/>
                  <a:gd name="T45" fmla="*/ 439 h 458"/>
                  <a:gd name="T46" fmla="*/ 28 w 580"/>
                  <a:gd name="T47" fmla="*/ 454 h 458"/>
                  <a:gd name="T48" fmla="*/ 56 w 580"/>
                  <a:gd name="T49" fmla="*/ 439 h 458"/>
                  <a:gd name="T50" fmla="*/ 56 w 580"/>
                  <a:gd name="T51" fmla="*/ 157 h 458"/>
                  <a:gd name="T52" fmla="*/ 165 w 580"/>
                  <a:gd name="T53" fmla="*/ 53 h 458"/>
                  <a:gd name="T54" fmla="*/ 180 w 580"/>
                  <a:gd name="T55" fmla="*/ 53 h 458"/>
                  <a:gd name="T56" fmla="*/ 196 w 580"/>
                  <a:gd name="T57" fmla="*/ 27 h 458"/>
                  <a:gd name="T58" fmla="*/ 154 w 580"/>
                  <a:gd name="T59" fmla="*/ 4 h 458"/>
                  <a:gd name="T60" fmla="*/ 0 w 580"/>
                  <a:gd name="T61" fmla="*/ 152 h 458"/>
                  <a:gd name="T62" fmla="*/ 0 w 580"/>
                  <a:gd name="T63" fmla="*/ 439 h 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80" h="458">
                    <a:moveTo>
                      <a:pt x="411" y="213"/>
                    </a:moveTo>
                    <a:cubicBezTo>
                      <a:pt x="570" y="37"/>
                      <a:pt x="570" y="37"/>
                      <a:pt x="570" y="37"/>
                    </a:cubicBezTo>
                    <a:cubicBezTo>
                      <a:pt x="576" y="30"/>
                      <a:pt x="580" y="25"/>
                      <a:pt x="580" y="20"/>
                    </a:cubicBezTo>
                    <a:cubicBezTo>
                      <a:pt x="580" y="10"/>
                      <a:pt x="559" y="0"/>
                      <a:pt x="545" y="0"/>
                    </a:cubicBezTo>
                    <a:cubicBezTo>
                      <a:pt x="535" y="0"/>
                      <a:pt x="526" y="8"/>
                      <a:pt x="519" y="16"/>
                    </a:cubicBezTo>
                    <a:cubicBezTo>
                      <a:pt x="344" y="210"/>
                      <a:pt x="344" y="210"/>
                      <a:pt x="344" y="210"/>
                    </a:cubicBezTo>
                    <a:cubicBezTo>
                      <a:pt x="336" y="219"/>
                      <a:pt x="334" y="224"/>
                      <a:pt x="334" y="229"/>
                    </a:cubicBezTo>
                    <a:cubicBezTo>
                      <a:pt x="334" y="234"/>
                      <a:pt x="336" y="239"/>
                      <a:pt x="344" y="248"/>
                    </a:cubicBezTo>
                    <a:cubicBezTo>
                      <a:pt x="519" y="442"/>
                      <a:pt x="519" y="442"/>
                      <a:pt x="519" y="442"/>
                    </a:cubicBezTo>
                    <a:cubicBezTo>
                      <a:pt x="526" y="450"/>
                      <a:pt x="535" y="458"/>
                      <a:pt x="545" y="458"/>
                    </a:cubicBezTo>
                    <a:cubicBezTo>
                      <a:pt x="559" y="458"/>
                      <a:pt x="580" y="448"/>
                      <a:pt x="580" y="438"/>
                    </a:cubicBezTo>
                    <a:cubicBezTo>
                      <a:pt x="580" y="433"/>
                      <a:pt x="576" y="428"/>
                      <a:pt x="570" y="421"/>
                    </a:cubicBezTo>
                    <a:cubicBezTo>
                      <a:pt x="411" y="245"/>
                      <a:pt x="411" y="245"/>
                      <a:pt x="411" y="245"/>
                    </a:cubicBezTo>
                    <a:cubicBezTo>
                      <a:pt x="403" y="236"/>
                      <a:pt x="399" y="232"/>
                      <a:pt x="399" y="229"/>
                    </a:cubicBezTo>
                    <a:cubicBezTo>
                      <a:pt x="399" y="226"/>
                      <a:pt x="403" y="222"/>
                      <a:pt x="411" y="213"/>
                    </a:cubicBezTo>
                    <a:moveTo>
                      <a:pt x="252" y="439"/>
                    </a:moveTo>
                    <a:cubicBezTo>
                      <a:pt x="252" y="449"/>
                      <a:pt x="261" y="454"/>
                      <a:pt x="281" y="454"/>
                    </a:cubicBezTo>
                    <a:cubicBezTo>
                      <a:pt x="300" y="454"/>
                      <a:pt x="309" y="449"/>
                      <a:pt x="309" y="439"/>
                    </a:cubicBezTo>
                    <a:cubicBezTo>
                      <a:pt x="309" y="19"/>
                      <a:pt x="309" y="19"/>
                      <a:pt x="309" y="19"/>
                    </a:cubicBezTo>
                    <a:cubicBezTo>
                      <a:pt x="309" y="9"/>
                      <a:pt x="300" y="4"/>
                      <a:pt x="281" y="4"/>
                    </a:cubicBezTo>
                    <a:cubicBezTo>
                      <a:pt x="261" y="4"/>
                      <a:pt x="252" y="9"/>
                      <a:pt x="252" y="19"/>
                    </a:cubicBezTo>
                    <a:lnTo>
                      <a:pt x="252" y="439"/>
                    </a:lnTo>
                    <a:close/>
                    <a:moveTo>
                      <a:pt x="0" y="439"/>
                    </a:moveTo>
                    <a:cubicBezTo>
                      <a:pt x="0" y="449"/>
                      <a:pt x="8" y="454"/>
                      <a:pt x="28" y="454"/>
                    </a:cubicBezTo>
                    <a:cubicBezTo>
                      <a:pt x="48" y="454"/>
                      <a:pt x="56" y="449"/>
                      <a:pt x="56" y="439"/>
                    </a:cubicBezTo>
                    <a:cubicBezTo>
                      <a:pt x="56" y="157"/>
                      <a:pt x="56" y="157"/>
                      <a:pt x="56" y="157"/>
                    </a:cubicBezTo>
                    <a:cubicBezTo>
                      <a:pt x="56" y="83"/>
                      <a:pt x="85" y="53"/>
                      <a:pt x="165" y="53"/>
                    </a:cubicBezTo>
                    <a:cubicBezTo>
                      <a:pt x="180" y="53"/>
                      <a:pt x="180" y="53"/>
                      <a:pt x="180" y="53"/>
                    </a:cubicBezTo>
                    <a:cubicBezTo>
                      <a:pt x="192" y="53"/>
                      <a:pt x="196" y="43"/>
                      <a:pt x="196" y="27"/>
                    </a:cubicBezTo>
                    <a:cubicBezTo>
                      <a:pt x="196" y="8"/>
                      <a:pt x="185" y="4"/>
                      <a:pt x="154" y="4"/>
                    </a:cubicBezTo>
                    <a:cubicBezTo>
                      <a:pt x="64" y="4"/>
                      <a:pt x="0" y="43"/>
                      <a:pt x="0" y="152"/>
                    </a:cubicBezTo>
                    <a:lnTo>
                      <a:pt x="0" y="43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sp>
            <p:nvSpPr>
              <p:cNvPr id="25" name="Freeform 10">
                <a:extLst>
                  <a:ext uri="{FF2B5EF4-FFF2-40B4-BE49-F238E27FC236}">
                    <a16:creationId xmlns:a16="http://schemas.microsoft.com/office/drawing/2014/main" id="{2B91B16B-BC11-E547-8FAC-B9B8D18EA449}"/>
                  </a:ext>
                </a:extLst>
              </p:cNvPr>
              <p:cNvSpPr>
                <a:spLocks/>
              </p:cNvSpPr>
              <p:nvPr/>
            </p:nvSpPr>
            <p:spPr bwMode="gray">
              <a:xfrm>
                <a:off x="2880" y="1704"/>
                <a:ext cx="618" cy="916"/>
              </a:xfrm>
              <a:custGeom>
                <a:avLst/>
                <a:gdLst>
                  <a:gd name="T0" fmla="*/ 307 w 307"/>
                  <a:gd name="T1" fmla="*/ 405 h 455"/>
                  <a:gd name="T2" fmla="*/ 307 w 307"/>
                  <a:gd name="T3" fmla="*/ 244 h 455"/>
                  <a:gd name="T4" fmla="*/ 279 w 307"/>
                  <a:gd name="T5" fmla="*/ 229 h 455"/>
                  <a:gd name="T6" fmla="*/ 250 w 307"/>
                  <a:gd name="T7" fmla="*/ 244 h 455"/>
                  <a:gd name="T8" fmla="*/ 250 w 307"/>
                  <a:gd name="T9" fmla="*/ 378 h 455"/>
                  <a:gd name="T10" fmla="*/ 199 w 307"/>
                  <a:gd name="T11" fmla="*/ 408 h 455"/>
                  <a:gd name="T12" fmla="*/ 61 w 307"/>
                  <a:gd name="T13" fmla="*/ 231 h 455"/>
                  <a:gd name="T14" fmla="*/ 238 w 307"/>
                  <a:gd name="T15" fmla="*/ 49 h 455"/>
                  <a:gd name="T16" fmla="*/ 270 w 307"/>
                  <a:gd name="T17" fmla="*/ 49 h 455"/>
                  <a:gd name="T18" fmla="*/ 286 w 307"/>
                  <a:gd name="T19" fmla="*/ 23 h 455"/>
                  <a:gd name="T20" fmla="*/ 244 w 307"/>
                  <a:gd name="T21" fmla="*/ 0 h 455"/>
                  <a:gd name="T22" fmla="*/ 231 w 307"/>
                  <a:gd name="T23" fmla="*/ 0 h 455"/>
                  <a:gd name="T24" fmla="*/ 0 w 307"/>
                  <a:gd name="T25" fmla="*/ 232 h 455"/>
                  <a:gd name="T26" fmla="*/ 198 w 307"/>
                  <a:gd name="T27" fmla="*/ 455 h 455"/>
                  <a:gd name="T28" fmla="*/ 307 w 307"/>
                  <a:gd name="T29" fmla="*/ 405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7" h="455">
                    <a:moveTo>
                      <a:pt x="307" y="405"/>
                    </a:moveTo>
                    <a:cubicBezTo>
                      <a:pt x="307" y="244"/>
                      <a:pt x="307" y="244"/>
                      <a:pt x="307" y="244"/>
                    </a:cubicBezTo>
                    <a:cubicBezTo>
                      <a:pt x="307" y="234"/>
                      <a:pt x="298" y="229"/>
                      <a:pt x="279" y="229"/>
                    </a:cubicBezTo>
                    <a:cubicBezTo>
                      <a:pt x="259" y="229"/>
                      <a:pt x="250" y="234"/>
                      <a:pt x="250" y="244"/>
                    </a:cubicBezTo>
                    <a:cubicBezTo>
                      <a:pt x="250" y="378"/>
                      <a:pt x="250" y="378"/>
                      <a:pt x="250" y="378"/>
                    </a:cubicBezTo>
                    <a:cubicBezTo>
                      <a:pt x="250" y="399"/>
                      <a:pt x="241" y="408"/>
                      <a:pt x="199" y="408"/>
                    </a:cubicBezTo>
                    <a:cubicBezTo>
                      <a:pt x="114" y="408"/>
                      <a:pt x="61" y="342"/>
                      <a:pt x="61" y="231"/>
                    </a:cubicBezTo>
                    <a:cubicBezTo>
                      <a:pt x="61" y="115"/>
                      <a:pt x="126" y="49"/>
                      <a:pt x="238" y="49"/>
                    </a:cubicBezTo>
                    <a:cubicBezTo>
                      <a:pt x="270" y="49"/>
                      <a:pt x="270" y="49"/>
                      <a:pt x="270" y="49"/>
                    </a:cubicBezTo>
                    <a:cubicBezTo>
                      <a:pt x="282" y="49"/>
                      <a:pt x="286" y="39"/>
                      <a:pt x="286" y="23"/>
                    </a:cubicBezTo>
                    <a:cubicBezTo>
                      <a:pt x="286" y="4"/>
                      <a:pt x="275" y="0"/>
                      <a:pt x="244" y="0"/>
                    </a:cubicBezTo>
                    <a:cubicBezTo>
                      <a:pt x="231" y="0"/>
                      <a:pt x="231" y="0"/>
                      <a:pt x="231" y="0"/>
                    </a:cubicBezTo>
                    <a:cubicBezTo>
                      <a:pt x="101" y="0"/>
                      <a:pt x="0" y="71"/>
                      <a:pt x="0" y="232"/>
                    </a:cubicBezTo>
                    <a:cubicBezTo>
                      <a:pt x="0" y="386"/>
                      <a:pt x="88" y="455"/>
                      <a:pt x="198" y="455"/>
                    </a:cubicBezTo>
                    <a:cubicBezTo>
                      <a:pt x="286" y="455"/>
                      <a:pt x="307" y="430"/>
                      <a:pt x="307" y="40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sp>
            <p:nvSpPr>
              <p:cNvPr id="26" name="Oval 11">
                <a:extLst>
                  <a:ext uri="{FF2B5EF4-FFF2-40B4-BE49-F238E27FC236}">
                    <a16:creationId xmlns:a16="http://schemas.microsoft.com/office/drawing/2014/main" id="{14F8C3C8-4888-7646-B9B4-64EB46A1DA23}"/>
                  </a:ext>
                </a:extLst>
              </p:cNvPr>
              <p:cNvSpPr>
                <a:spLocks noChangeArrowheads="1"/>
              </p:cNvSpPr>
              <p:nvPr/>
            </p:nvSpPr>
            <p:spPr bwMode="gray">
              <a:xfrm>
                <a:off x="3778" y="2099"/>
                <a:ext cx="122" cy="12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sp>
            <p:nvSpPr>
              <p:cNvPr id="27" name="Freeform 12">
                <a:extLst>
                  <a:ext uri="{FF2B5EF4-FFF2-40B4-BE49-F238E27FC236}">
                    <a16:creationId xmlns:a16="http://schemas.microsoft.com/office/drawing/2014/main" id="{D79D01D1-4E3E-F34B-97D7-2D387E68746E}"/>
                  </a:ext>
                </a:extLst>
              </p:cNvPr>
              <p:cNvSpPr>
                <a:spLocks/>
              </p:cNvSpPr>
              <p:nvPr/>
            </p:nvSpPr>
            <p:spPr bwMode="gray">
              <a:xfrm>
                <a:off x="4321" y="1029"/>
                <a:ext cx="648" cy="649"/>
              </a:xfrm>
              <a:custGeom>
                <a:avLst/>
                <a:gdLst>
                  <a:gd name="T0" fmla="*/ 0 w 648"/>
                  <a:gd name="T1" fmla="*/ 649 h 649"/>
                  <a:gd name="T2" fmla="*/ 2 w 648"/>
                  <a:gd name="T3" fmla="*/ 649 h 649"/>
                  <a:gd name="T4" fmla="*/ 648 w 648"/>
                  <a:gd name="T5" fmla="*/ 0 h 649"/>
                  <a:gd name="T6" fmla="*/ 423 w 648"/>
                  <a:gd name="T7" fmla="*/ 0 h 649"/>
                  <a:gd name="T8" fmla="*/ 0 w 648"/>
                  <a:gd name="T9" fmla="*/ 649 h 649"/>
                </a:gdLst>
                <a:ahLst/>
                <a:cxnLst>
                  <a:cxn ang="0">
                    <a:pos x="T0" y="T1"/>
                  </a:cxn>
                  <a:cxn ang="0">
                    <a:pos x="T2" y="T3"/>
                  </a:cxn>
                  <a:cxn ang="0">
                    <a:pos x="T4" y="T5"/>
                  </a:cxn>
                  <a:cxn ang="0">
                    <a:pos x="T6" y="T7"/>
                  </a:cxn>
                  <a:cxn ang="0">
                    <a:pos x="T8" y="T9"/>
                  </a:cxn>
                </a:cxnLst>
                <a:rect l="0" t="0" r="r" b="b"/>
                <a:pathLst>
                  <a:path w="648" h="649">
                    <a:moveTo>
                      <a:pt x="0" y="649"/>
                    </a:moveTo>
                    <a:lnTo>
                      <a:pt x="2" y="649"/>
                    </a:lnTo>
                    <a:lnTo>
                      <a:pt x="648" y="0"/>
                    </a:lnTo>
                    <a:lnTo>
                      <a:pt x="423" y="0"/>
                    </a:lnTo>
                    <a:lnTo>
                      <a:pt x="0" y="64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sp>
            <p:nvSpPr>
              <p:cNvPr id="28" name="Freeform 13">
                <a:extLst>
                  <a:ext uri="{FF2B5EF4-FFF2-40B4-BE49-F238E27FC236}">
                    <a16:creationId xmlns:a16="http://schemas.microsoft.com/office/drawing/2014/main" id="{46549898-6C52-B147-A8F6-A73FDBE6163B}"/>
                  </a:ext>
                </a:extLst>
              </p:cNvPr>
              <p:cNvSpPr>
                <a:spLocks/>
              </p:cNvSpPr>
              <p:nvPr/>
            </p:nvSpPr>
            <p:spPr bwMode="gray">
              <a:xfrm>
                <a:off x="4321" y="1029"/>
                <a:ext cx="648" cy="649"/>
              </a:xfrm>
              <a:custGeom>
                <a:avLst/>
                <a:gdLst>
                  <a:gd name="T0" fmla="*/ 0 w 648"/>
                  <a:gd name="T1" fmla="*/ 649 h 649"/>
                  <a:gd name="T2" fmla="*/ 2 w 648"/>
                  <a:gd name="T3" fmla="*/ 649 h 649"/>
                  <a:gd name="T4" fmla="*/ 648 w 648"/>
                  <a:gd name="T5" fmla="*/ 0 h 649"/>
                  <a:gd name="T6" fmla="*/ 423 w 648"/>
                  <a:gd name="T7" fmla="*/ 0 h 649"/>
                  <a:gd name="T8" fmla="*/ 0 w 648"/>
                  <a:gd name="T9" fmla="*/ 649 h 649"/>
                </a:gdLst>
                <a:ahLst/>
                <a:cxnLst>
                  <a:cxn ang="0">
                    <a:pos x="T0" y="T1"/>
                  </a:cxn>
                  <a:cxn ang="0">
                    <a:pos x="T2" y="T3"/>
                  </a:cxn>
                  <a:cxn ang="0">
                    <a:pos x="T4" y="T5"/>
                  </a:cxn>
                  <a:cxn ang="0">
                    <a:pos x="T6" y="T7"/>
                  </a:cxn>
                  <a:cxn ang="0">
                    <a:pos x="T8" y="T9"/>
                  </a:cxn>
                </a:cxnLst>
                <a:rect l="0" t="0" r="r" b="b"/>
                <a:pathLst>
                  <a:path w="648" h="649">
                    <a:moveTo>
                      <a:pt x="0" y="649"/>
                    </a:moveTo>
                    <a:lnTo>
                      <a:pt x="2" y="649"/>
                    </a:lnTo>
                    <a:lnTo>
                      <a:pt x="648" y="0"/>
                    </a:lnTo>
                    <a:lnTo>
                      <a:pt x="423" y="0"/>
                    </a:lnTo>
                    <a:lnTo>
                      <a:pt x="0" y="64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grpSp>
      </p:grpSp>
      <p:sp>
        <p:nvSpPr>
          <p:cNvPr id="7" name="Date Placeholder 6"/>
          <p:cNvSpPr>
            <a:spLocks noGrp="1"/>
          </p:cNvSpPr>
          <p:nvPr>
            <p:ph type="dt" sz="half" idx="10"/>
          </p:nvPr>
        </p:nvSpPr>
        <p:spPr>
          <a:xfrm>
            <a:off x="0" y="0"/>
            <a:ext cx="0" cy="0"/>
          </a:xfrm>
          <a:prstGeom prst="rect">
            <a:avLst/>
          </a:prstGeom>
        </p:spPr>
        <p:txBody>
          <a:bodyPr/>
          <a:lstStyle>
            <a:lvl1pPr>
              <a:defRPr sz="100">
                <a:noFill/>
              </a:defRPr>
            </a:lvl1pPr>
          </a:lstStyle>
          <a:p>
            <a:fld id="{D6D08F88-38D2-4786-82D6-89211B05083D}" type="datetime5">
              <a:rPr lang="en-US" smtClean="0"/>
              <a:t>26-Jun-20</a:t>
            </a:fld>
            <a:endParaRPr lang="en-US" dirty="0"/>
          </a:p>
        </p:txBody>
      </p:sp>
      <p:sp>
        <p:nvSpPr>
          <p:cNvPr id="8" name="Footer Placeholder 7"/>
          <p:cNvSpPr>
            <a:spLocks noGrp="1"/>
          </p:cNvSpPr>
          <p:nvPr>
            <p:ph type="ftr" sz="quarter" idx="11"/>
          </p:nvPr>
        </p:nvSpPr>
        <p:spPr>
          <a:xfrm>
            <a:off x="0" y="0"/>
            <a:ext cx="0" cy="0"/>
          </a:xfrm>
          <a:prstGeom prst="rect">
            <a:avLst/>
          </a:prstGeom>
        </p:spPr>
        <p:txBody>
          <a:bodyPr/>
          <a:lstStyle>
            <a:lvl1pPr marL="0" indent="0">
              <a:buNone/>
              <a:defRPr sz="100">
                <a:noFill/>
              </a:defRPr>
            </a:lvl1pPr>
          </a:lstStyle>
          <a:p>
            <a:r>
              <a:rPr lang="en-US"/>
              <a:t>Title of presentation (Insert / Header &amp; Footer / Apply to All)</a:t>
            </a:r>
            <a:endParaRPr lang="en-US" dirty="0"/>
          </a:p>
        </p:txBody>
      </p:sp>
      <p:sp>
        <p:nvSpPr>
          <p:cNvPr id="9" name="Slide Number Placeholder 8"/>
          <p:cNvSpPr>
            <a:spLocks noGrp="1"/>
          </p:cNvSpPr>
          <p:nvPr>
            <p:ph type="sldNum" sz="quarter" idx="12"/>
          </p:nvPr>
        </p:nvSpPr>
        <p:spPr>
          <a:xfrm>
            <a:off x="0" y="0"/>
            <a:ext cx="0" cy="0"/>
          </a:xfrm>
          <a:prstGeom prst="rect">
            <a:avLst/>
          </a:prstGeom>
        </p:spPr>
        <p:txBody>
          <a:bodyPr/>
          <a:lstStyle>
            <a:lvl1pPr>
              <a:defRPr sz="100">
                <a:noFill/>
              </a:defRPr>
            </a:lvl1pPr>
          </a:lstStyle>
          <a:p>
            <a:fld id="{8E3B25F7-8D1F-44B5-B485-EE3C438CFD7B}" type="slidenum">
              <a:rPr lang="en-US" smtClean="0"/>
              <a:pPr/>
              <a:t>‹#›</a:t>
            </a:fld>
            <a:endParaRPr lang="en-US"/>
          </a:p>
        </p:txBody>
      </p:sp>
      <p:sp>
        <p:nvSpPr>
          <p:cNvPr id="2" name="Title 1"/>
          <p:cNvSpPr>
            <a:spLocks noGrp="1"/>
          </p:cNvSpPr>
          <p:nvPr>
            <p:ph type="ctrTitle" hasCustomPrompt="1"/>
          </p:nvPr>
        </p:nvSpPr>
        <p:spPr>
          <a:xfrm>
            <a:off x="417600" y="1628775"/>
            <a:ext cx="3816000" cy="2236264"/>
          </a:xfrm>
        </p:spPr>
        <p:txBody>
          <a:bodyPr anchor="b"/>
          <a:lstStyle>
            <a:lvl1pPr algn="l">
              <a:defRPr sz="3600"/>
            </a:lvl1pPr>
          </a:lstStyle>
          <a:p>
            <a:r>
              <a:rPr lang="en-US" dirty="0"/>
              <a:t>Click to add presentation title</a:t>
            </a:r>
          </a:p>
        </p:txBody>
      </p:sp>
      <p:sp>
        <p:nvSpPr>
          <p:cNvPr id="3" name="Subtitle 2"/>
          <p:cNvSpPr>
            <a:spLocks noGrp="1"/>
          </p:cNvSpPr>
          <p:nvPr>
            <p:ph type="subTitle" idx="1" hasCustomPrompt="1"/>
          </p:nvPr>
        </p:nvSpPr>
        <p:spPr>
          <a:xfrm>
            <a:off x="417600" y="4094163"/>
            <a:ext cx="3816000" cy="1080000"/>
          </a:xfrm>
        </p:spPr>
        <p:txBody>
          <a:bodyPr/>
          <a:lstStyle>
            <a:lvl1pPr marL="0" indent="0" algn="l">
              <a:spcBef>
                <a:spcPts val="0"/>
              </a:spcBef>
              <a:buNone/>
              <a:defRPr sz="1800" b="1"/>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31" name="Text Placeholder 30"/>
          <p:cNvSpPr>
            <a:spLocks noGrp="1"/>
          </p:cNvSpPr>
          <p:nvPr>
            <p:ph type="body" sz="quarter" idx="14" hasCustomPrompt="1"/>
          </p:nvPr>
        </p:nvSpPr>
        <p:spPr>
          <a:xfrm>
            <a:off x="417600" y="5393268"/>
            <a:ext cx="3816000" cy="296332"/>
          </a:xfrm>
        </p:spPr>
        <p:txBody>
          <a:bodyPr wrap="none"/>
          <a:lstStyle>
            <a:lvl1pPr marL="0" indent="0">
              <a:spcBef>
                <a:spcPts val="0"/>
              </a:spcBef>
              <a:buNone/>
              <a:defRPr sz="1200"/>
            </a:lvl1pPr>
            <a:lvl2pPr marL="0" indent="0">
              <a:buNone/>
              <a:defRPr sz="1200"/>
            </a:lvl2pPr>
            <a:lvl3pPr marL="0" indent="0">
              <a:buNone/>
              <a:defRPr sz="1200"/>
            </a:lvl3pPr>
            <a:lvl4pPr marL="0">
              <a:buNone/>
              <a:defRPr sz="1200"/>
            </a:lvl4pPr>
            <a:lvl5pPr marL="0" indent="0">
              <a:buNone/>
              <a:defRPr sz="1200"/>
            </a:lvl5pPr>
          </a:lstStyle>
          <a:p>
            <a:pPr lvl="0"/>
            <a:r>
              <a:rPr lang="en-US" dirty="0"/>
              <a:t>Name</a:t>
            </a:r>
          </a:p>
        </p:txBody>
      </p:sp>
      <p:sp>
        <p:nvSpPr>
          <p:cNvPr id="34" name="Text Placeholder 30"/>
          <p:cNvSpPr>
            <a:spLocks noGrp="1"/>
          </p:cNvSpPr>
          <p:nvPr>
            <p:ph type="body" sz="quarter" idx="15" hasCustomPrompt="1"/>
          </p:nvPr>
        </p:nvSpPr>
        <p:spPr>
          <a:xfrm>
            <a:off x="417600" y="5691446"/>
            <a:ext cx="3816000" cy="296332"/>
          </a:xfrm>
        </p:spPr>
        <p:txBody>
          <a:bodyPr wrap="none"/>
          <a:lstStyle>
            <a:lvl1pPr marL="0" indent="0">
              <a:spcBef>
                <a:spcPts val="0"/>
              </a:spcBef>
              <a:buNone/>
              <a:defRPr sz="1200"/>
            </a:lvl1pPr>
            <a:lvl2pPr marL="0" indent="0">
              <a:buNone/>
              <a:defRPr sz="1200"/>
            </a:lvl2pPr>
            <a:lvl3pPr marL="0" indent="0">
              <a:buNone/>
              <a:defRPr sz="1200"/>
            </a:lvl3pPr>
            <a:lvl4pPr marL="0">
              <a:buNone/>
              <a:defRPr sz="1200"/>
            </a:lvl4pPr>
            <a:lvl5pPr marL="0" indent="0">
              <a:buNone/>
              <a:defRPr sz="1200"/>
            </a:lvl5pPr>
          </a:lstStyle>
          <a:p>
            <a:pPr lvl="0"/>
            <a:r>
              <a:rPr lang="en-US" dirty="0"/>
              <a:t>Department</a:t>
            </a:r>
          </a:p>
        </p:txBody>
      </p:sp>
    </p:spTree>
    <p:extLst>
      <p:ext uri="{BB962C8B-B14F-4D97-AF65-F5344CB8AC3E}">
        <p14:creationId xmlns:p14="http://schemas.microsoft.com/office/powerpoint/2010/main" val="4095927982"/>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Divider Slide for print">
    <p:bg>
      <p:bgPr>
        <a:solidFill>
          <a:schemeClr val="bg1"/>
        </a:solidFill>
        <a:effectLst/>
      </p:bgPr>
    </p:bg>
    <p:spTree>
      <p:nvGrpSpPr>
        <p:cNvPr id="1" name=""/>
        <p:cNvGrpSpPr/>
        <p:nvPr/>
      </p:nvGrpSpPr>
      <p:grpSpPr>
        <a:xfrm>
          <a:off x="0" y="0"/>
          <a:ext cx="0" cy="0"/>
          <a:chOff x="0" y="0"/>
          <a:chExt cx="0" cy="0"/>
        </a:xfrm>
      </p:grpSpPr>
      <p:sp>
        <p:nvSpPr>
          <p:cNvPr id="3" name="Rechteck 2"/>
          <p:cNvSpPr/>
          <p:nvPr userDrawn="1"/>
        </p:nvSpPr>
        <p:spPr bwMode="gray">
          <a:xfrm>
            <a:off x="0" y="99"/>
            <a:ext cx="12192000" cy="2180068"/>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indent="0" algn="ctr">
              <a:buFont typeface="Courier New" pitchFamily="49" charset="0"/>
              <a:buNone/>
            </a:pPr>
            <a:endParaRPr lang="en-US" sz="2133">
              <a:solidFill>
                <a:schemeClr val="tx1"/>
              </a:solidFill>
              <a:latin typeface="Arial" pitchFamily="34" charset="0"/>
            </a:endParaRPr>
          </a:p>
        </p:txBody>
      </p:sp>
      <p:sp>
        <p:nvSpPr>
          <p:cNvPr id="2" name="Titel 1"/>
          <p:cNvSpPr>
            <a:spLocks noGrp="1"/>
          </p:cNvSpPr>
          <p:nvPr>
            <p:ph type="title" hasCustomPrompt="1"/>
          </p:nvPr>
        </p:nvSpPr>
        <p:spPr bwMode="gray">
          <a:xfrm>
            <a:off x="431214" y="2372784"/>
            <a:ext cx="11328557" cy="1919816"/>
          </a:xfr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24000" tIns="0" rIns="324000" bIns="0" numCol="1" spcCol="0" rtlCol="0" fromWordArt="0" anchor="ctr" anchorCtr="0" forceAA="0" compatLnSpc="1">
            <a:prstTxWarp prst="textNoShape">
              <a:avLst/>
            </a:prstTxWarp>
            <a:noAutofit/>
          </a:bodyPr>
          <a:lstStyle>
            <a:lvl1pPr>
              <a:defRPr lang="de-DE" sz="4000" kern="1200" dirty="0">
                <a:solidFill>
                  <a:schemeClr val="tx1"/>
                </a:solidFill>
                <a:latin typeface="Arial" pitchFamily="34" charset="0"/>
                <a:ea typeface="+mn-ea"/>
                <a:cs typeface="+mn-cs"/>
              </a:defRPr>
            </a:lvl1pPr>
          </a:lstStyle>
          <a:p>
            <a:pPr lvl="0"/>
            <a:r>
              <a:rPr lang="en-US"/>
              <a:t>Click to add text for divider slide</a:t>
            </a:r>
          </a:p>
        </p:txBody>
      </p:sp>
      <p:sp>
        <p:nvSpPr>
          <p:cNvPr id="59" name="Rechteck 58"/>
          <p:cNvSpPr/>
          <p:nvPr userDrawn="1"/>
        </p:nvSpPr>
        <p:spPr bwMode="gray">
          <a:xfrm>
            <a:off x="431213" y="2372883"/>
            <a:ext cx="11329512" cy="96000"/>
          </a:xfrm>
          <a:prstGeom prst="rect">
            <a:avLst/>
          </a:prstGeom>
          <a:gradFill>
            <a:gsLst>
              <a:gs pos="2000">
                <a:schemeClr val="accent6"/>
              </a:gs>
              <a:gs pos="100000">
                <a:srgbClr val="F9B200"/>
              </a:gs>
            </a:gsLst>
            <a:lin ang="0" scaled="0"/>
          </a:gra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US" sz="2133">
              <a:solidFill>
                <a:schemeClr val="tx1"/>
              </a:solidFill>
              <a:latin typeface="Arial" pitchFamily="34" charset="0"/>
            </a:endParaRPr>
          </a:p>
        </p:txBody>
      </p:sp>
      <p:sp>
        <p:nvSpPr>
          <p:cNvPr id="60" name="Rechteck 59"/>
          <p:cNvSpPr/>
          <p:nvPr userDrawn="1"/>
        </p:nvSpPr>
        <p:spPr bwMode="gray">
          <a:xfrm>
            <a:off x="431214" y="4197085"/>
            <a:ext cx="11328157" cy="96000"/>
          </a:xfrm>
          <a:prstGeom prst="rect">
            <a:avLst/>
          </a:prstGeom>
          <a:gradFill>
            <a:gsLst>
              <a:gs pos="2000">
                <a:schemeClr val="accent6"/>
              </a:gs>
              <a:gs pos="100000">
                <a:srgbClr val="F9B200"/>
              </a:gs>
            </a:gsLst>
            <a:lin ang="0" scaled="0"/>
          </a:gra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US" sz="2133">
              <a:solidFill>
                <a:schemeClr val="tx1"/>
              </a:solidFill>
              <a:latin typeface="Arial" pitchFamily="34" charset="0"/>
            </a:endParaRPr>
          </a:p>
        </p:txBody>
      </p:sp>
    </p:spTree>
    <p:extLst>
      <p:ext uri="{BB962C8B-B14F-4D97-AF65-F5344CB8AC3E}">
        <p14:creationId xmlns:p14="http://schemas.microsoft.com/office/powerpoint/2010/main" val="1990680268"/>
      </p:ext>
    </p:extLst>
  </p:cSld>
  <p:clrMapOvr>
    <a:masterClrMapping/>
  </p:clrMapOvr>
</p:sldLayout>
</file>

<file path=ppt/slideLayouts/slideLayout510.xml><?xml version="1.0" encoding="utf-8"?>
<p:sldLayout xmlns:a="http://schemas.openxmlformats.org/drawingml/2006/main" xmlns:r="http://schemas.openxmlformats.org/officeDocument/2006/relationships" xmlns:p="http://schemas.openxmlformats.org/presentationml/2006/main" preserve="1">
  <p:cSld name="Divider 1">
    <p:spTree>
      <p:nvGrpSpPr>
        <p:cNvPr id="1" name=""/>
        <p:cNvGrpSpPr/>
        <p:nvPr/>
      </p:nvGrpSpPr>
      <p:grpSpPr>
        <a:xfrm>
          <a:off x="0" y="0"/>
          <a:ext cx="0" cy="0"/>
          <a:chOff x="0" y="0"/>
          <a:chExt cx="0" cy="0"/>
        </a:xfrm>
      </p:grpSpPr>
      <p:sp>
        <p:nvSpPr>
          <p:cNvPr id="12" name="Picture Placeholder 11"/>
          <p:cNvSpPr>
            <a:spLocks noGrp="1"/>
          </p:cNvSpPr>
          <p:nvPr>
            <p:ph type="pic" sz="quarter" idx="17" hasCustomPrompt="1"/>
          </p:nvPr>
        </p:nvSpPr>
        <p:spPr>
          <a:xfrm>
            <a:off x="-1" y="0"/>
            <a:ext cx="8822478" cy="6858000"/>
          </a:xfrm>
          <a:custGeom>
            <a:avLst/>
            <a:gdLst>
              <a:gd name="connsiteX0" fmla="*/ 0 w 8822478"/>
              <a:gd name="connsiteY0" fmla="*/ 0 h 6858000"/>
              <a:gd name="connsiteX1" fmla="*/ 8477306 w 8822478"/>
              <a:gd name="connsiteY1" fmla="*/ 0 h 6858000"/>
              <a:gd name="connsiteX2" fmla="*/ 6998505 w 8822478"/>
              <a:gd name="connsiteY2" fmla="*/ 3834029 h 6858000"/>
              <a:gd name="connsiteX3" fmla="*/ 8822478 w 8822478"/>
              <a:gd name="connsiteY3" fmla="*/ 6858000 h 6858000"/>
              <a:gd name="connsiteX4" fmla="*/ 0 w 8822478"/>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22478" h="6858000">
                <a:moveTo>
                  <a:pt x="0" y="0"/>
                </a:moveTo>
                <a:lnTo>
                  <a:pt x="8477306" y="0"/>
                </a:lnTo>
                <a:lnTo>
                  <a:pt x="6998505" y="3834029"/>
                </a:lnTo>
                <a:lnTo>
                  <a:pt x="8822478" y="6858000"/>
                </a:lnTo>
                <a:lnTo>
                  <a:pt x="0" y="6858000"/>
                </a:lnTo>
                <a:close/>
              </a:path>
            </a:pathLst>
          </a:custGeom>
          <a:solidFill>
            <a:srgbClr val="D9DADB"/>
          </a:solidFill>
        </p:spPr>
        <p:txBody>
          <a:bodyPr wrap="square">
            <a:noAutofit/>
          </a:bodyPr>
          <a:lstStyle>
            <a:lvl1pPr marL="0" indent="0">
              <a:buNone/>
              <a:defRPr/>
            </a:lvl1pPr>
          </a:lstStyle>
          <a:p>
            <a:r>
              <a:rPr lang="en-US" dirty="0"/>
              <a:t>Insert picture</a:t>
            </a:r>
          </a:p>
        </p:txBody>
      </p:sp>
      <p:sp>
        <p:nvSpPr>
          <p:cNvPr id="21" name="Date Placeholder 20"/>
          <p:cNvSpPr>
            <a:spLocks noGrp="1"/>
          </p:cNvSpPr>
          <p:nvPr>
            <p:ph type="dt" sz="half" idx="14"/>
          </p:nvPr>
        </p:nvSpPr>
        <p:spPr>
          <a:xfrm>
            <a:off x="192088" y="6461671"/>
            <a:ext cx="761512" cy="133790"/>
          </a:xfrm>
          <a:prstGeom prst="rect">
            <a:avLst/>
          </a:prstGeom>
        </p:spPr>
        <p:txBody>
          <a:bodyPr/>
          <a:lstStyle>
            <a:lvl1pPr>
              <a:defRPr>
                <a:solidFill>
                  <a:schemeClr val="bg1"/>
                </a:solidFill>
              </a:defRPr>
            </a:lvl1pPr>
          </a:lstStyle>
          <a:p>
            <a:fld id="{4A274CF1-226C-4201-826C-EA56EA2B3C12}" type="datetime5">
              <a:rPr lang="en-US" smtClean="0"/>
              <a:t>26-Jun-20</a:t>
            </a:fld>
            <a:endParaRPr lang="en-US"/>
          </a:p>
        </p:txBody>
      </p:sp>
      <p:sp>
        <p:nvSpPr>
          <p:cNvPr id="22" name="Footer Placeholder 21"/>
          <p:cNvSpPr>
            <a:spLocks noGrp="1"/>
          </p:cNvSpPr>
          <p:nvPr>
            <p:ph type="ftr" sz="quarter" idx="15"/>
          </p:nvPr>
        </p:nvSpPr>
        <p:spPr>
          <a:xfrm>
            <a:off x="1076400" y="6461671"/>
            <a:ext cx="8162717" cy="133790"/>
          </a:xfrm>
          <a:prstGeom prst="rect">
            <a:avLst/>
          </a:prstGeom>
        </p:spPr>
        <p:txBody>
          <a:bodyPr/>
          <a:lstStyle>
            <a:lvl1pPr>
              <a:defRPr>
                <a:solidFill>
                  <a:schemeClr val="bg1"/>
                </a:solidFill>
              </a:defRPr>
            </a:lvl1pPr>
          </a:lstStyle>
          <a:p>
            <a:r>
              <a:rPr lang="en-US"/>
              <a:t>Title of presentation (Insert / Header &amp; Footer / Apply to All)</a:t>
            </a:r>
            <a:endParaRPr lang="en-US" dirty="0"/>
          </a:p>
        </p:txBody>
      </p:sp>
      <p:sp>
        <p:nvSpPr>
          <p:cNvPr id="23" name="Slide Number Placeholder 22"/>
          <p:cNvSpPr>
            <a:spLocks noGrp="1"/>
          </p:cNvSpPr>
          <p:nvPr>
            <p:ph type="sldNum" sz="quarter" idx="16"/>
          </p:nvPr>
        </p:nvSpPr>
        <p:spPr/>
        <p:txBody>
          <a:bodyPr/>
          <a:lstStyle>
            <a:lvl1pPr>
              <a:defRPr>
                <a:solidFill>
                  <a:schemeClr val="tx1"/>
                </a:solidFill>
              </a:defRPr>
            </a:lvl1pPr>
          </a:lstStyle>
          <a:p>
            <a:fld id="{5F3E29E4-0979-4FCA-B4C5-5FC6044C982A}" type="slidenum">
              <a:rPr lang="en-US" smtClean="0"/>
              <a:pPr/>
              <a:t>‹#›</a:t>
            </a:fld>
            <a:endParaRPr lang="en-US"/>
          </a:p>
        </p:txBody>
      </p:sp>
      <p:sp>
        <p:nvSpPr>
          <p:cNvPr id="2" name="Title 1"/>
          <p:cNvSpPr>
            <a:spLocks noGrp="1"/>
          </p:cNvSpPr>
          <p:nvPr>
            <p:ph type="title" hasCustomPrompt="1"/>
          </p:nvPr>
        </p:nvSpPr>
        <p:spPr>
          <a:xfrm>
            <a:off x="7737533" y="2908628"/>
            <a:ext cx="4082992" cy="2103640"/>
          </a:xfrm>
        </p:spPr>
        <p:txBody>
          <a:bodyPr/>
          <a:lstStyle>
            <a:lvl1pPr>
              <a:defRPr>
                <a:solidFill>
                  <a:schemeClr val="tx1"/>
                </a:solidFill>
              </a:defRPr>
            </a:lvl1pPr>
          </a:lstStyle>
          <a:p>
            <a:r>
              <a:rPr lang="en-US" dirty="0"/>
              <a:t>Click to add section title</a:t>
            </a:r>
          </a:p>
        </p:txBody>
      </p:sp>
    </p:spTree>
    <p:extLst>
      <p:ext uri="{BB962C8B-B14F-4D97-AF65-F5344CB8AC3E}">
        <p14:creationId xmlns:p14="http://schemas.microsoft.com/office/powerpoint/2010/main" val="2597223162"/>
      </p:ext>
    </p:extLst>
  </p:cSld>
  <p:clrMapOvr>
    <a:masterClrMapping/>
  </p:clrMapOvr>
</p:sldLayout>
</file>

<file path=ppt/slideLayouts/slideLayout511.xml><?xml version="1.0" encoding="utf-8"?>
<p:sldLayout xmlns:a="http://schemas.openxmlformats.org/drawingml/2006/main" xmlns:r="http://schemas.openxmlformats.org/officeDocument/2006/relationships" xmlns:p="http://schemas.openxmlformats.org/presentationml/2006/main" preserve="1">
  <p:cSld name="Divider 2">
    <p:spTree>
      <p:nvGrpSpPr>
        <p:cNvPr id="1" name=""/>
        <p:cNvGrpSpPr/>
        <p:nvPr/>
      </p:nvGrpSpPr>
      <p:grpSpPr>
        <a:xfrm>
          <a:off x="0" y="0"/>
          <a:ext cx="0" cy="0"/>
          <a:chOff x="0" y="0"/>
          <a:chExt cx="0" cy="0"/>
        </a:xfrm>
      </p:grpSpPr>
      <p:sp>
        <p:nvSpPr>
          <p:cNvPr id="4" name="shp2"/>
          <p:cNvSpPr/>
          <p:nvPr/>
        </p:nvSpPr>
        <p:spPr>
          <a:xfrm>
            <a:off x="0" y="0"/>
            <a:ext cx="121932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a:p>
        </p:txBody>
      </p:sp>
      <p:sp>
        <p:nvSpPr>
          <p:cNvPr id="21" name="Date Placeholder 20"/>
          <p:cNvSpPr>
            <a:spLocks noGrp="1"/>
          </p:cNvSpPr>
          <p:nvPr>
            <p:ph type="dt" sz="half" idx="14"/>
          </p:nvPr>
        </p:nvSpPr>
        <p:spPr bwMode="ltGray">
          <a:xfrm>
            <a:off x="192088" y="6461671"/>
            <a:ext cx="761512" cy="133790"/>
          </a:xfrm>
          <a:prstGeom prst="rect">
            <a:avLst/>
          </a:prstGeom>
        </p:spPr>
        <p:txBody>
          <a:bodyPr/>
          <a:lstStyle>
            <a:lvl1pPr>
              <a:defRPr>
                <a:solidFill>
                  <a:schemeClr val="bg1"/>
                </a:solidFill>
              </a:defRPr>
            </a:lvl1pPr>
          </a:lstStyle>
          <a:p>
            <a:fld id="{3869822F-F9F4-4987-AC88-332F892BB2CC}" type="datetime5">
              <a:rPr lang="en-US" smtClean="0"/>
              <a:t>26-Jun-20</a:t>
            </a:fld>
            <a:endParaRPr lang="en-US"/>
          </a:p>
        </p:txBody>
      </p:sp>
      <p:sp>
        <p:nvSpPr>
          <p:cNvPr id="22" name="Footer Placeholder 21"/>
          <p:cNvSpPr>
            <a:spLocks noGrp="1"/>
          </p:cNvSpPr>
          <p:nvPr>
            <p:ph type="ftr" sz="quarter" idx="15"/>
          </p:nvPr>
        </p:nvSpPr>
        <p:spPr bwMode="ltGray">
          <a:xfrm>
            <a:off x="1076400" y="6461671"/>
            <a:ext cx="8162717" cy="133790"/>
          </a:xfrm>
          <a:prstGeom prst="rect">
            <a:avLst/>
          </a:prstGeom>
        </p:spPr>
        <p:txBody>
          <a:bodyPr/>
          <a:lstStyle>
            <a:lvl1pPr>
              <a:defRPr>
                <a:solidFill>
                  <a:schemeClr val="bg1"/>
                </a:solidFill>
              </a:defRPr>
            </a:lvl1pPr>
          </a:lstStyle>
          <a:p>
            <a:r>
              <a:rPr lang="en-US"/>
              <a:t>Title of presentation (Insert / Header &amp; Footer / Apply to All)</a:t>
            </a:r>
            <a:endParaRPr lang="en-US" dirty="0"/>
          </a:p>
        </p:txBody>
      </p:sp>
      <p:sp>
        <p:nvSpPr>
          <p:cNvPr id="23" name="Slide Number Placeholder 22"/>
          <p:cNvSpPr>
            <a:spLocks noGrp="1"/>
          </p:cNvSpPr>
          <p:nvPr>
            <p:ph type="sldNum" sz="quarter" idx="16"/>
          </p:nvPr>
        </p:nvSpPr>
        <p:spPr bwMode="ltGray"/>
        <p:txBody>
          <a:bodyPr/>
          <a:lstStyle>
            <a:lvl1pPr>
              <a:defRPr>
                <a:solidFill>
                  <a:schemeClr val="bg1"/>
                </a:solidFill>
              </a:defRPr>
            </a:lvl1pPr>
          </a:lstStyle>
          <a:p>
            <a:fld id="{5F3E29E4-0979-4FCA-B4C5-5FC6044C982A}" type="slidenum">
              <a:rPr lang="en-US" smtClean="0"/>
              <a:pPr/>
              <a:t>‹#›</a:t>
            </a:fld>
            <a:endParaRPr lang="en-US"/>
          </a:p>
        </p:txBody>
      </p:sp>
      <p:sp>
        <p:nvSpPr>
          <p:cNvPr id="8" name="copyright"/>
          <p:cNvSpPr txBox="1"/>
          <p:nvPr/>
        </p:nvSpPr>
        <p:spPr>
          <a:xfrm>
            <a:off x="10672209" y="6237288"/>
            <a:ext cx="500617" cy="358173"/>
          </a:xfrm>
          <a:prstGeom prst="rect">
            <a:avLst/>
          </a:prstGeom>
          <a:noFill/>
        </p:spPr>
        <p:txBody>
          <a:bodyPr wrap="none" lIns="0" tIns="0" rIns="0" bIns="0" rtlCol="0" anchor="b" anchorCtr="0">
            <a:noAutofit/>
          </a:bodyPr>
          <a:lstStyle/>
          <a:p>
            <a:pPr marL="0" indent="0" algn="r">
              <a:lnSpc>
                <a:spcPct val="125000"/>
              </a:lnSpc>
              <a:buClr>
                <a:schemeClr val="tx2"/>
              </a:buClr>
              <a:buFont typeface="Wingdings" panose="05000000000000000000" pitchFamily="2" charset="2"/>
              <a:buNone/>
            </a:pPr>
            <a:r>
              <a:rPr lang="en-US" sz="800" dirty="0">
                <a:solidFill>
                  <a:schemeClr val="bg1"/>
                </a:solidFill>
              </a:rPr>
              <a:t>© GfK</a:t>
            </a:r>
          </a:p>
        </p:txBody>
      </p:sp>
      <p:sp>
        <p:nvSpPr>
          <p:cNvPr id="2" name="Title 1"/>
          <p:cNvSpPr>
            <a:spLocks noGrp="1"/>
          </p:cNvSpPr>
          <p:nvPr>
            <p:ph type="title" hasCustomPrompt="1"/>
          </p:nvPr>
        </p:nvSpPr>
        <p:spPr bwMode="ltGray">
          <a:xfrm>
            <a:off x="1075062" y="1519552"/>
            <a:ext cx="10097763" cy="2273171"/>
          </a:xfrm>
        </p:spPr>
        <p:txBody>
          <a:bodyPr/>
          <a:lstStyle>
            <a:lvl1pPr>
              <a:defRPr>
                <a:solidFill>
                  <a:schemeClr val="bg1"/>
                </a:solidFill>
              </a:defRPr>
            </a:lvl1pPr>
          </a:lstStyle>
          <a:p>
            <a:r>
              <a:rPr lang="en-US" dirty="0"/>
              <a:t>Click to add section title</a:t>
            </a:r>
          </a:p>
        </p:txBody>
      </p:sp>
      <p:grpSp>
        <p:nvGrpSpPr>
          <p:cNvPr id="9" name="logo">
            <a:extLst>
              <a:ext uri="{FF2B5EF4-FFF2-40B4-BE49-F238E27FC236}">
                <a16:creationId xmlns:a16="http://schemas.microsoft.com/office/drawing/2014/main" id="{57BD2C4C-DC67-B843-B26C-309622FC75F7}"/>
              </a:ext>
            </a:extLst>
          </p:cNvPr>
          <p:cNvGrpSpPr>
            <a:grpSpLocks noChangeAspect="1"/>
          </p:cNvGrpSpPr>
          <p:nvPr/>
        </p:nvGrpSpPr>
        <p:grpSpPr bwMode="gray">
          <a:xfrm>
            <a:off x="11174018" y="401441"/>
            <a:ext cx="644225" cy="646507"/>
            <a:chOff x="2711" y="1027"/>
            <a:chExt cx="2258" cy="2266"/>
          </a:xfrm>
        </p:grpSpPr>
        <p:sp>
          <p:nvSpPr>
            <p:cNvPr id="11" name="AutoShape 3">
              <a:extLst>
                <a:ext uri="{FF2B5EF4-FFF2-40B4-BE49-F238E27FC236}">
                  <a16:creationId xmlns:a16="http://schemas.microsoft.com/office/drawing/2014/main" id="{FE1DC41B-291E-574C-9F2C-874E70A40758}"/>
                </a:ext>
              </a:extLst>
            </p:cNvPr>
            <p:cNvSpPr>
              <a:spLocks noChangeAspect="1" noChangeArrowheads="1" noTextEdit="1"/>
            </p:cNvSpPr>
            <p:nvPr/>
          </p:nvSpPr>
          <p:spPr bwMode="gray">
            <a:xfrm>
              <a:off x="2711" y="1027"/>
              <a:ext cx="2258" cy="22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sp>
          <p:nvSpPr>
            <p:cNvPr id="12" name="Freeform 5">
              <a:extLst>
                <a:ext uri="{FF2B5EF4-FFF2-40B4-BE49-F238E27FC236}">
                  <a16:creationId xmlns:a16="http://schemas.microsoft.com/office/drawing/2014/main" id="{D4B633C8-F761-C54B-9BD2-EB59D49A2DBC}"/>
                </a:ext>
              </a:extLst>
            </p:cNvPr>
            <p:cNvSpPr>
              <a:spLocks/>
            </p:cNvSpPr>
            <p:nvPr/>
          </p:nvSpPr>
          <p:spPr bwMode="gray">
            <a:xfrm>
              <a:off x="2709" y="1029"/>
              <a:ext cx="2260" cy="2262"/>
            </a:xfrm>
            <a:custGeom>
              <a:avLst/>
              <a:gdLst>
                <a:gd name="T0" fmla="*/ 2260 w 2260"/>
                <a:gd name="T1" fmla="*/ 0 h 2262"/>
                <a:gd name="T2" fmla="*/ 1612 w 2260"/>
                <a:gd name="T3" fmla="*/ 649 h 2262"/>
                <a:gd name="T4" fmla="*/ 1612 w 2260"/>
                <a:gd name="T5" fmla="*/ 649 h 2262"/>
                <a:gd name="T6" fmla="*/ 2035 w 2260"/>
                <a:gd name="T7" fmla="*/ 0 h 2262"/>
                <a:gd name="T8" fmla="*/ 0 w 2260"/>
                <a:gd name="T9" fmla="*/ 0 h 2262"/>
                <a:gd name="T10" fmla="*/ 0 w 2260"/>
                <a:gd name="T11" fmla="*/ 2262 h 2262"/>
                <a:gd name="T12" fmla="*/ 2260 w 2260"/>
                <a:gd name="T13" fmla="*/ 2262 h 2262"/>
                <a:gd name="T14" fmla="*/ 2260 w 2260"/>
                <a:gd name="T15" fmla="*/ 0 h 2262"/>
                <a:gd name="T16" fmla="*/ 2260 w 2260"/>
                <a:gd name="T17" fmla="*/ 0 h 2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0" h="2262">
                  <a:moveTo>
                    <a:pt x="2260" y="0"/>
                  </a:moveTo>
                  <a:lnTo>
                    <a:pt x="1612" y="649"/>
                  </a:lnTo>
                  <a:lnTo>
                    <a:pt x="1612" y="649"/>
                  </a:lnTo>
                  <a:lnTo>
                    <a:pt x="2035" y="0"/>
                  </a:lnTo>
                  <a:lnTo>
                    <a:pt x="0" y="0"/>
                  </a:lnTo>
                  <a:lnTo>
                    <a:pt x="0" y="2262"/>
                  </a:lnTo>
                  <a:lnTo>
                    <a:pt x="2260" y="2262"/>
                  </a:lnTo>
                  <a:lnTo>
                    <a:pt x="2260" y="0"/>
                  </a:lnTo>
                  <a:lnTo>
                    <a:pt x="2260" y="0"/>
                  </a:lnTo>
                  <a:close/>
                </a:path>
              </a:pathLst>
            </a:custGeom>
            <a:solidFill>
              <a:srgbClr val="E55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sp>
          <p:nvSpPr>
            <p:cNvPr id="13" name="Freeform 6">
              <a:extLst>
                <a:ext uri="{FF2B5EF4-FFF2-40B4-BE49-F238E27FC236}">
                  <a16:creationId xmlns:a16="http://schemas.microsoft.com/office/drawing/2014/main" id="{B16BAAE4-1A41-C843-9754-490F7A1E1270}"/>
                </a:ext>
              </a:extLst>
            </p:cNvPr>
            <p:cNvSpPr>
              <a:spLocks noEditPoints="1"/>
            </p:cNvSpPr>
            <p:nvPr/>
          </p:nvSpPr>
          <p:spPr bwMode="gray">
            <a:xfrm>
              <a:off x="3623" y="1696"/>
              <a:ext cx="1167" cy="922"/>
            </a:xfrm>
            <a:custGeom>
              <a:avLst/>
              <a:gdLst>
                <a:gd name="T0" fmla="*/ 411 w 580"/>
                <a:gd name="T1" fmla="*/ 213 h 458"/>
                <a:gd name="T2" fmla="*/ 570 w 580"/>
                <a:gd name="T3" fmla="*/ 37 h 458"/>
                <a:gd name="T4" fmla="*/ 580 w 580"/>
                <a:gd name="T5" fmla="*/ 20 h 458"/>
                <a:gd name="T6" fmla="*/ 545 w 580"/>
                <a:gd name="T7" fmla="*/ 0 h 458"/>
                <a:gd name="T8" fmla="*/ 519 w 580"/>
                <a:gd name="T9" fmla="*/ 16 h 458"/>
                <a:gd name="T10" fmla="*/ 344 w 580"/>
                <a:gd name="T11" fmla="*/ 210 h 458"/>
                <a:gd name="T12" fmla="*/ 334 w 580"/>
                <a:gd name="T13" fmla="*/ 229 h 458"/>
                <a:gd name="T14" fmla="*/ 344 w 580"/>
                <a:gd name="T15" fmla="*/ 248 h 458"/>
                <a:gd name="T16" fmla="*/ 519 w 580"/>
                <a:gd name="T17" fmla="*/ 442 h 458"/>
                <a:gd name="T18" fmla="*/ 545 w 580"/>
                <a:gd name="T19" fmla="*/ 458 h 458"/>
                <a:gd name="T20" fmla="*/ 580 w 580"/>
                <a:gd name="T21" fmla="*/ 438 h 458"/>
                <a:gd name="T22" fmla="*/ 570 w 580"/>
                <a:gd name="T23" fmla="*/ 421 h 458"/>
                <a:gd name="T24" fmla="*/ 411 w 580"/>
                <a:gd name="T25" fmla="*/ 245 h 458"/>
                <a:gd name="T26" fmla="*/ 399 w 580"/>
                <a:gd name="T27" fmla="*/ 229 h 458"/>
                <a:gd name="T28" fmla="*/ 411 w 580"/>
                <a:gd name="T29" fmla="*/ 213 h 458"/>
                <a:gd name="T30" fmla="*/ 252 w 580"/>
                <a:gd name="T31" fmla="*/ 439 h 458"/>
                <a:gd name="T32" fmla="*/ 281 w 580"/>
                <a:gd name="T33" fmla="*/ 454 h 458"/>
                <a:gd name="T34" fmla="*/ 309 w 580"/>
                <a:gd name="T35" fmla="*/ 439 h 458"/>
                <a:gd name="T36" fmla="*/ 309 w 580"/>
                <a:gd name="T37" fmla="*/ 19 h 458"/>
                <a:gd name="T38" fmla="*/ 281 w 580"/>
                <a:gd name="T39" fmla="*/ 4 h 458"/>
                <a:gd name="T40" fmla="*/ 252 w 580"/>
                <a:gd name="T41" fmla="*/ 19 h 458"/>
                <a:gd name="T42" fmla="*/ 252 w 580"/>
                <a:gd name="T43" fmla="*/ 439 h 458"/>
                <a:gd name="T44" fmla="*/ 0 w 580"/>
                <a:gd name="T45" fmla="*/ 439 h 458"/>
                <a:gd name="T46" fmla="*/ 28 w 580"/>
                <a:gd name="T47" fmla="*/ 454 h 458"/>
                <a:gd name="T48" fmla="*/ 56 w 580"/>
                <a:gd name="T49" fmla="*/ 439 h 458"/>
                <a:gd name="T50" fmla="*/ 56 w 580"/>
                <a:gd name="T51" fmla="*/ 157 h 458"/>
                <a:gd name="T52" fmla="*/ 165 w 580"/>
                <a:gd name="T53" fmla="*/ 53 h 458"/>
                <a:gd name="T54" fmla="*/ 180 w 580"/>
                <a:gd name="T55" fmla="*/ 53 h 458"/>
                <a:gd name="T56" fmla="*/ 196 w 580"/>
                <a:gd name="T57" fmla="*/ 27 h 458"/>
                <a:gd name="T58" fmla="*/ 154 w 580"/>
                <a:gd name="T59" fmla="*/ 4 h 458"/>
                <a:gd name="T60" fmla="*/ 0 w 580"/>
                <a:gd name="T61" fmla="*/ 152 h 458"/>
                <a:gd name="T62" fmla="*/ 0 w 580"/>
                <a:gd name="T63" fmla="*/ 439 h 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80" h="458">
                  <a:moveTo>
                    <a:pt x="411" y="213"/>
                  </a:moveTo>
                  <a:cubicBezTo>
                    <a:pt x="570" y="37"/>
                    <a:pt x="570" y="37"/>
                    <a:pt x="570" y="37"/>
                  </a:cubicBezTo>
                  <a:cubicBezTo>
                    <a:pt x="576" y="30"/>
                    <a:pt x="580" y="25"/>
                    <a:pt x="580" y="20"/>
                  </a:cubicBezTo>
                  <a:cubicBezTo>
                    <a:pt x="580" y="10"/>
                    <a:pt x="559" y="0"/>
                    <a:pt x="545" y="0"/>
                  </a:cubicBezTo>
                  <a:cubicBezTo>
                    <a:pt x="535" y="0"/>
                    <a:pt x="526" y="8"/>
                    <a:pt x="519" y="16"/>
                  </a:cubicBezTo>
                  <a:cubicBezTo>
                    <a:pt x="344" y="210"/>
                    <a:pt x="344" y="210"/>
                    <a:pt x="344" y="210"/>
                  </a:cubicBezTo>
                  <a:cubicBezTo>
                    <a:pt x="336" y="219"/>
                    <a:pt x="334" y="224"/>
                    <a:pt x="334" y="229"/>
                  </a:cubicBezTo>
                  <a:cubicBezTo>
                    <a:pt x="334" y="234"/>
                    <a:pt x="336" y="239"/>
                    <a:pt x="344" y="248"/>
                  </a:cubicBezTo>
                  <a:cubicBezTo>
                    <a:pt x="519" y="442"/>
                    <a:pt x="519" y="442"/>
                    <a:pt x="519" y="442"/>
                  </a:cubicBezTo>
                  <a:cubicBezTo>
                    <a:pt x="526" y="450"/>
                    <a:pt x="535" y="458"/>
                    <a:pt x="545" y="458"/>
                  </a:cubicBezTo>
                  <a:cubicBezTo>
                    <a:pt x="559" y="458"/>
                    <a:pt x="580" y="448"/>
                    <a:pt x="580" y="438"/>
                  </a:cubicBezTo>
                  <a:cubicBezTo>
                    <a:pt x="580" y="433"/>
                    <a:pt x="576" y="428"/>
                    <a:pt x="570" y="421"/>
                  </a:cubicBezTo>
                  <a:cubicBezTo>
                    <a:pt x="411" y="245"/>
                    <a:pt x="411" y="245"/>
                    <a:pt x="411" y="245"/>
                  </a:cubicBezTo>
                  <a:cubicBezTo>
                    <a:pt x="403" y="236"/>
                    <a:pt x="399" y="232"/>
                    <a:pt x="399" y="229"/>
                  </a:cubicBezTo>
                  <a:cubicBezTo>
                    <a:pt x="399" y="226"/>
                    <a:pt x="403" y="222"/>
                    <a:pt x="411" y="213"/>
                  </a:cubicBezTo>
                  <a:moveTo>
                    <a:pt x="252" y="439"/>
                  </a:moveTo>
                  <a:cubicBezTo>
                    <a:pt x="252" y="449"/>
                    <a:pt x="261" y="454"/>
                    <a:pt x="281" y="454"/>
                  </a:cubicBezTo>
                  <a:cubicBezTo>
                    <a:pt x="300" y="454"/>
                    <a:pt x="309" y="449"/>
                    <a:pt x="309" y="439"/>
                  </a:cubicBezTo>
                  <a:cubicBezTo>
                    <a:pt x="309" y="19"/>
                    <a:pt x="309" y="19"/>
                    <a:pt x="309" y="19"/>
                  </a:cubicBezTo>
                  <a:cubicBezTo>
                    <a:pt x="309" y="9"/>
                    <a:pt x="300" y="4"/>
                    <a:pt x="281" y="4"/>
                  </a:cubicBezTo>
                  <a:cubicBezTo>
                    <a:pt x="261" y="4"/>
                    <a:pt x="252" y="9"/>
                    <a:pt x="252" y="19"/>
                  </a:cubicBezTo>
                  <a:lnTo>
                    <a:pt x="252" y="439"/>
                  </a:lnTo>
                  <a:close/>
                  <a:moveTo>
                    <a:pt x="0" y="439"/>
                  </a:moveTo>
                  <a:cubicBezTo>
                    <a:pt x="0" y="449"/>
                    <a:pt x="8" y="454"/>
                    <a:pt x="28" y="454"/>
                  </a:cubicBezTo>
                  <a:cubicBezTo>
                    <a:pt x="48" y="454"/>
                    <a:pt x="56" y="449"/>
                    <a:pt x="56" y="439"/>
                  </a:cubicBezTo>
                  <a:cubicBezTo>
                    <a:pt x="56" y="157"/>
                    <a:pt x="56" y="157"/>
                    <a:pt x="56" y="157"/>
                  </a:cubicBezTo>
                  <a:cubicBezTo>
                    <a:pt x="56" y="83"/>
                    <a:pt x="85" y="53"/>
                    <a:pt x="165" y="53"/>
                  </a:cubicBezTo>
                  <a:cubicBezTo>
                    <a:pt x="180" y="53"/>
                    <a:pt x="180" y="53"/>
                    <a:pt x="180" y="53"/>
                  </a:cubicBezTo>
                  <a:cubicBezTo>
                    <a:pt x="192" y="53"/>
                    <a:pt x="196" y="43"/>
                    <a:pt x="196" y="27"/>
                  </a:cubicBezTo>
                  <a:cubicBezTo>
                    <a:pt x="196" y="8"/>
                    <a:pt x="185" y="4"/>
                    <a:pt x="154" y="4"/>
                  </a:cubicBezTo>
                  <a:cubicBezTo>
                    <a:pt x="64" y="4"/>
                    <a:pt x="0" y="43"/>
                    <a:pt x="0" y="152"/>
                  </a:cubicBezTo>
                  <a:lnTo>
                    <a:pt x="0" y="43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sp>
          <p:nvSpPr>
            <p:cNvPr id="14" name="Freeform 7">
              <a:extLst>
                <a:ext uri="{FF2B5EF4-FFF2-40B4-BE49-F238E27FC236}">
                  <a16:creationId xmlns:a16="http://schemas.microsoft.com/office/drawing/2014/main" id="{2F32DCBD-8628-F245-85CD-97686A20ECFD}"/>
                </a:ext>
              </a:extLst>
            </p:cNvPr>
            <p:cNvSpPr>
              <a:spLocks/>
            </p:cNvSpPr>
            <p:nvPr/>
          </p:nvSpPr>
          <p:spPr bwMode="gray">
            <a:xfrm>
              <a:off x="2880" y="1704"/>
              <a:ext cx="618" cy="916"/>
            </a:xfrm>
            <a:custGeom>
              <a:avLst/>
              <a:gdLst>
                <a:gd name="T0" fmla="*/ 307 w 307"/>
                <a:gd name="T1" fmla="*/ 405 h 455"/>
                <a:gd name="T2" fmla="*/ 307 w 307"/>
                <a:gd name="T3" fmla="*/ 244 h 455"/>
                <a:gd name="T4" fmla="*/ 279 w 307"/>
                <a:gd name="T5" fmla="*/ 229 h 455"/>
                <a:gd name="T6" fmla="*/ 250 w 307"/>
                <a:gd name="T7" fmla="*/ 244 h 455"/>
                <a:gd name="T8" fmla="*/ 250 w 307"/>
                <a:gd name="T9" fmla="*/ 378 h 455"/>
                <a:gd name="T10" fmla="*/ 199 w 307"/>
                <a:gd name="T11" fmla="*/ 408 h 455"/>
                <a:gd name="T12" fmla="*/ 61 w 307"/>
                <a:gd name="T13" fmla="*/ 231 h 455"/>
                <a:gd name="T14" fmla="*/ 238 w 307"/>
                <a:gd name="T15" fmla="*/ 49 h 455"/>
                <a:gd name="T16" fmla="*/ 270 w 307"/>
                <a:gd name="T17" fmla="*/ 49 h 455"/>
                <a:gd name="T18" fmla="*/ 286 w 307"/>
                <a:gd name="T19" fmla="*/ 23 h 455"/>
                <a:gd name="T20" fmla="*/ 244 w 307"/>
                <a:gd name="T21" fmla="*/ 0 h 455"/>
                <a:gd name="T22" fmla="*/ 231 w 307"/>
                <a:gd name="T23" fmla="*/ 0 h 455"/>
                <a:gd name="T24" fmla="*/ 0 w 307"/>
                <a:gd name="T25" fmla="*/ 232 h 455"/>
                <a:gd name="T26" fmla="*/ 198 w 307"/>
                <a:gd name="T27" fmla="*/ 455 h 455"/>
                <a:gd name="T28" fmla="*/ 307 w 307"/>
                <a:gd name="T29" fmla="*/ 405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7" h="455">
                  <a:moveTo>
                    <a:pt x="307" y="405"/>
                  </a:moveTo>
                  <a:cubicBezTo>
                    <a:pt x="307" y="244"/>
                    <a:pt x="307" y="244"/>
                    <a:pt x="307" y="244"/>
                  </a:cubicBezTo>
                  <a:cubicBezTo>
                    <a:pt x="307" y="234"/>
                    <a:pt x="298" y="229"/>
                    <a:pt x="279" y="229"/>
                  </a:cubicBezTo>
                  <a:cubicBezTo>
                    <a:pt x="259" y="229"/>
                    <a:pt x="250" y="234"/>
                    <a:pt x="250" y="244"/>
                  </a:cubicBezTo>
                  <a:cubicBezTo>
                    <a:pt x="250" y="378"/>
                    <a:pt x="250" y="378"/>
                    <a:pt x="250" y="378"/>
                  </a:cubicBezTo>
                  <a:cubicBezTo>
                    <a:pt x="250" y="399"/>
                    <a:pt x="241" y="408"/>
                    <a:pt x="199" y="408"/>
                  </a:cubicBezTo>
                  <a:cubicBezTo>
                    <a:pt x="114" y="408"/>
                    <a:pt x="61" y="342"/>
                    <a:pt x="61" y="231"/>
                  </a:cubicBezTo>
                  <a:cubicBezTo>
                    <a:pt x="61" y="115"/>
                    <a:pt x="126" y="49"/>
                    <a:pt x="238" y="49"/>
                  </a:cubicBezTo>
                  <a:cubicBezTo>
                    <a:pt x="270" y="49"/>
                    <a:pt x="270" y="49"/>
                    <a:pt x="270" y="49"/>
                  </a:cubicBezTo>
                  <a:cubicBezTo>
                    <a:pt x="282" y="49"/>
                    <a:pt x="286" y="39"/>
                    <a:pt x="286" y="23"/>
                  </a:cubicBezTo>
                  <a:cubicBezTo>
                    <a:pt x="286" y="4"/>
                    <a:pt x="275" y="0"/>
                    <a:pt x="244" y="0"/>
                  </a:cubicBezTo>
                  <a:cubicBezTo>
                    <a:pt x="231" y="0"/>
                    <a:pt x="231" y="0"/>
                    <a:pt x="231" y="0"/>
                  </a:cubicBezTo>
                  <a:cubicBezTo>
                    <a:pt x="101" y="0"/>
                    <a:pt x="0" y="71"/>
                    <a:pt x="0" y="232"/>
                  </a:cubicBezTo>
                  <a:cubicBezTo>
                    <a:pt x="0" y="386"/>
                    <a:pt x="88" y="455"/>
                    <a:pt x="198" y="455"/>
                  </a:cubicBezTo>
                  <a:cubicBezTo>
                    <a:pt x="286" y="455"/>
                    <a:pt x="307" y="430"/>
                    <a:pt x="307" y="40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sp>
          <p:nvSpPr>
            <p:cNvPr id="15" name="Oval 8">
              <a:extLst>
                <a:ext uri="{FF2B5EF4-FFF2-40B4-BE49-F238E27FC236}">
                  <a16:creationId xmlns:a16="http://schemas.microsoft.com/office/drawing/2014/main" id="{60D97C11-1A3B-5449-A48D-98A3E79B3810}"/>
                </a:ext>
              </a:extLst>
            </p:cNvPr>
            <p:cNvSpPr>
              <a:spLocks noChangeArrowheads="1"/>
            </p:cNvSpPr>
            <p:nvPr/>
          </p:nvSpPr>
          <p:spPr bwMode="gray">
            <a:xfrm>
              <a:off x="3778" y="2099"/>
              <a:ext cx="122" cy="12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sp>
          <p:nvSpPr>
            <p:cNvPr id="16" name="Freeform 9">
              <a:extLst>
                <a:ext uri="{FF2B5EF4-FFF2-40B4-BE49-F238E27FC236}">
                  <a16:creationId xmlns:a16="http://schemas.microsoft.com/office/drawing/2014/main" id="{5856770D-B8F0-244E-A05D-AED190086F10}"/>
                </a:ext>
              </a:extLst>
            </p:cNvPr>
            <p:cNvSpPr>
              <a:spLocks noEditPoints="1"/>
            </p:cNvSpPr>
            <p:nvPr/>
          </p:nvSpPr>
          <p:spPr bwMode="gray">
            <a:xfrm>
              <a:off x="3623" y="1696"/>
              <a:ext cx="1167" cy="922"/>
            </a:xfrm>
            <a:custGeom>
              <a:avLst/>
              <a:gdLst>
                <a:gd name="T0" fmla="*/ 411 w 580"/>
                <a:gd name="T1" fmla="*/ 213 h 458"/>
                <a:gd name="T2" fmla="*/ 570 w 580"/>
                <a:gd name="T3" fmla="*/ 37 h 458"/>
                <a:gd name="T4" fmla="*/ 580 w 580"/>
                <a:gd name="T5" fmla="*/ 20 h 458"/>
                <a:gd name="T6" fmla="*/ 545 w 580"/>
                <a:gd name="T7" fmla="*/ 0 h 458"/>
                <a:gd name="T8" fmla="*/ 519 w 580"/>
                <a:gd name="T9" fmla="*/ 16 h 458"/>
                <a:gd name="T10" fmla="*/ 344 w 580"/>
                <a:gd name="T11" fmla="*/ 210 h 458"/>
                <a:gd name="T12" fmla="*/ 334 w 580"/>
                <a:gd name="T13" fmla="*/ 229 h 458"/>
                <a:gd name="T14" fmla="*/ 344 w 580"/>
                <a:gd name="T15" fmla="*/ 248 h 458"/>
                <a:gd name="T16" fmla="*/ 519 w 580"/>
                <a:gd name="T17" fmla="*/ 442 h 458"/>
                <a:gd name="T18" fmla="*/ 545 w 580"/>
                <a:gd name="T19" fmla="*/ 458 h 458"/>
                <a:gd name="T20" fmla="*/ 580 w 580"/>
                <a:gd name="T21" fmla="*/ 438 h 458"/>
                <a:gd name="T22" fmla="*/ 570 w 580"/>
                <a:gd name="T23" fmla="*/ 421 h 458"/>
                <a:gd name="T24" fmla="*/ 411 w 580"/>
                <a:gd name="T25" fmla="*/ 245 h 458"/>
                <a:gd name="T26" fmla="*/ 399 w 580"/>
                <a:gd name="T27" fmla="*/ 229 h 458"/>
                <a:gd name="T28" fmla="*/ 411 w 580"/>
                <a:gd name="T29" fmla="*/ 213 h 458"/>
                <a:gd name="T30" fmla="*/ 252 w 580"/>
                <a:gd name="T31" fmla="*/ 439 h 458"/>
                <a:gd name="T32" fmla="*/ 281 w 580"/>
                <a:gd name="T33" fmla="*/ 454 h 458"/>
                <a:gd name="T34" fmla="*/ 309 w 580"/>
                <a:gd name="T35" fmla="*/ 439 h 458"/>
                <a:gd name="T36" fmla="*/ 309 w 580"/>
                <a:gd name="T37" fmla="*/ 19 h 458"/>
                <a:gd name="T38" fmla="*/ 281 w 580"/>
                <a:gd name="T39" fmla="*/ 4 h 458"/>
                <a:gd name="T40" fmla="*/ 252 w 580"/>
                <a:gd name="T41" fmla="*/ 19 h 458"/>
                <a:gd name="T42" fmla="*/ 252 w 580"/>
                <a:gd name="T43" fmla="*/ 439 h 458"/>
                <a:gd name="T44" fmla="*/ 0 w 580"/>
                <a:gd name="T45" fmla="*/ 439 h 458"/>
                <a:gd name="T46" fmla="*/ 28 w 580"/>
                <a:gd name="T47" fmla="*/ 454 h 458"/>
                <a:gd name="T48" fmla="*/ 56 w 580"/>
                <a:gd name="T49" fmla="*/ 439 h 458"/>
                <a:gd name="T50" fmla="*/ 56 w 580"/>
                <a:gd name="T51" fmla="*/ 157 h 458"/>
                <a:gd name="T52" fmla="*/ 165 w 580"/>
                <a:gd name="T53" fmla="*/ 53 h 458"/>
                <a:gd name="T54" fmla="*/ 180 w 580"/>
                <a:gd name="T55" fmla="*/ 53 h 458"/>
                <a:gd name="T56" fmla="*/ 196 w 580"/>
                <a:gd name="T57" fmla="*/ 27 h 458"/>
                <a:gd name="T58" fmla="*/ 154 w 580"/>
                <a:gd name="T59" fmla="*/ 4 h 458"/>
                <a:gd name="T60" fmla="*/ 0 w 580"/>
                <a:gd name="T61" fmla="*/ 152 h 458"/>
                <a:gd name="T62" fmla="*/ 0 w 580"/>
                <a:gd name="T63" fmla="*/ 439 h 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80" h="458">
                  <a:moveTo>
                    <a:pt x="411" y="213"/>
                  </a:moveTo>
                  <a:cubicBezTo>
                    <a:pt x="570" y="37"/>
                    <a:pt x="570" y="37"/>
                    <a:pt x="570" y="37"/>
                  </a:cubicBezTo>
                  <a:cubicBezTo>
                    <a:pt x="576" y="30"/>
                    <a:pt x="580" y="25"/>
                    <a:pt x="580" y="20"/>
                  </a:cubicBezTo>
                  <a:cubicBezTo>
                    <a:pt x="580" y="10"/>
                    <a:pt x="559" y="0"/>
                    <a:pt x="545" y="0"/>
                  </a:cubicBezTo>
                  <a:cubicBezTo>
                    <a:pt x="535" y="0"/>
                    <a:pt x="526" y="8"/>
                    <a:pt x="519" y="16"/>
                  </a:cubicBezTo>
                  <a:cubicBezTo>
                    <a:pt x="344" y="210"/>
                    <a:pt x="344" y="210"/>
                    <a:pt x="344" y="210"/>
                  </a:cubicBezTo>
                  <a:cubicBezTo>
                    <a:pt x="336" y="219"/>
                    <a:pt x="334" y="224"/>
                    <a:pt x="334" y="229"/>
                  </a:cubicBezTo>
                  <a:cubicBezTo>
                    <a:pt x="334" y="234"/>
                    <a:pt x="336" y="239"/>
                    <a:pt x="344" y="248"/>
                  </a:cubicBezTo>
                  <a:cubicBezTo>
                    <a:pt x="519" y="442"/>
                    <a:pt x="519" y="442"/>
                    <a:pt x="519" y="442"/>
                  </a:cubicBezTo>
                  <a:cubicBezTo>
                    <a:pt x="526" y="450"/>
                    <a:pt x="535" y="458"/>
                    <a:pt x="545" y="458"/>
                  </a:cubicBezTo>
                  <a:cubicBezTo>
                    <a:pt x="559" y="458"/>
                    <a:pt x="580" y="448"/>
                    <a:pt x="580" y="438"/>
                  </a:cubicBezTo>
                  <a:cubicBezTo>
                    <a:pt x="580" y="433"/>
                    <a:pt x="576" y="428"/>
                    <a:pt x="570" y="421"/>
                  </a:cubicBezTo>
                  <a:cubicBezTo>
                    <a:pt x="411" y="245"/>
                    <a:pt x="411" y="245"/>
                    <a:pt x="411" y="245"/>
                  </a:cubicBezTo>
                  <a:cubicBezTo>
                    <a:pt x="403" y="236"/>
                    <a:pt x="399" y="232"/>
                    <a:pt x="399" y="229"/>
                  </a:cubicBezTo>
                  <a:cubicBezTo>
                    <a:pt x="399" y="226"/>
                    <a:pt x="403" y="222"/>
                    <a:pt x="411" y="213"/>
                  </a:cubicBezTo>
                  <a:moveTo>
                    <a:pt x="252" y="439"/>
                  </a:moveTo>
                  <a:cubicBezTo>
                    <a:pt x="252" y="449"/>
                    <a:pt x="261" y="454"/>
                    <a:pt x="281" y="454"/>
                  </a:cubicBezTo>
                  <a:cubicBezTo>
                    <a:pt x="300" y="454"/>
                    <a:pt x="309" y="449"/>
                    <a:pt x="309" y="439"/>
                  </a:cubicBezTo>
                  <a:cubicBezTo>
                    <a:pt x="309" y="19"/>
                    <a:pt x="309" y="19"/>
                    <a:pt x="309" y="19"/>
                  </a:cubicBezTo>
                  <a:cubicBezTo>
                    <a:pt x="309" y="9"/>
                    <a:pt x="300" y="4"/>
                    <a:pt x="281" y="4"/>
                  </a:cubicBezTo>
                  <a:cubicBezTo>
                    <a:pt x="261" y="4"/>
                    <a:pt x="252" y="9"/>
                    <a:pt x="252" y="19"/>
                  </a:cubicBezTo>
                  <a:lnTo>
                    <a:pt x="252" y="439"/>
                  </a:lnTo>
                  <a:close/>
                  <a:moveTo>
                    <a:pt x="0" y="439"/>
                  </a:moveTo>
                  <a:cubicBezTo>
                    <a:pt x="0" y="449"/>
                    <a:pt x="8" y="454"/>
                    <a:pt x="28" y="454"/>
                  </a:cubicBezTo>
                  <a:cubicBezTo>
                    <a:pt x="48" y="454"/>
                    <a:pt x="56" y="449"/>
                    <a:pt x="56" y="439"/>
                  </a:cubicBezTo>
                  <a:cubicBezTo>
                    <a:pt x="56" y="157"/>
                    <a:pt x="56" y="157"/>
                    <a:pt x="56" y="157"/>
                  </a:cubicBezTo>
                  <a:cubicBezTo>
                    <a:pt x="56" y="83"/>
                    <a:pt x="85" y="53"/>
                    <a:pt x="165" y="53"/>
                  </a:cubicBezTo>
                  <a:cubicBezTo>
                    <a:pt x="180" y="53"/>
                    <a:pt x="180" y="53"/>
                    <a:pt x="180" y="53"/>
                  </a:cubicBezTo>
                  <a:cubicBezTo>
                    <a:pt x="192" y="53"/>
                    <a:pt x="196" y="43"/>
                    <a:pt x="196" y="27"/>
                  </a:cubicBezTo>
                  <a:cubicBezTo>
                    <a:pt x="196" y="8"/>
                    <a:pt x="185" y="4"/>
                    <a:pt x="154" y="4"/>
                  </a:cubicBezTo>
                  <a:cubicBezTo>
                    <a:pt x="64" y="4"/>
                    <a:pt x="0" y="43"/>
                    <a:pt x="0" y="152"/>
                  </a:cubicBezTo>
                  <a:lnTo>
                    <a:pt x="0" y="43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sp>
          <p:nvSpPr>
            <p:cNvPr id="17" name="Freeform 10">
              <a:extLst>
                <a:ext uri="{FF2B5EF4-FFF2-40B4-BE49-F238E27FC236}">
                  <a16:creationId xmlns:a16="http://schemas.microsoft.com/office/drawing/2014/main" id="{2B91B16B-BC11-E547-8FAC-B9B8D18EA449}"/>
                </a:ext>
              </a:extLst>
            </p:cNvPr>
            <p:cNvSpPr>
              <a:spLocks/>
            </p:cNvSpPr>
            <p:nvPr/>
          </p:nvSpPr>
          <p:spPr bwMode="gray">
            <a:xfrm>
              <a:off x="2880" y="1704"/>
              <a:ext cx="618" cy="916"/>
            </a:xfrm>
            <a:custGeom>
              <a:avLst/>
              <a:gdLst>
                <a:gd name="T0" fmla="*/ 307 w 307"/>
                <a:gd name="T1" fmla="*/ 405 h 455"/>
                <a:gd name="T2" fmla="*/ 307 w 307"/>
                <a:gd name="T3" fmla="*/ 244 h 455"/>
                <a:gd name="T4" fmla="*/ 279 w 307"/>
                <a:gd name="T5" fmla="*/ 229 h 455"/>
                <a:gd name="T6" fmla="*/ 250 w 307"/>
                <a:gd name="T7" fmla="*/ 244 h 455"/>
                <a:gd name="T8" fmla="*/ 250 w 307"/>
                <a:gd name="T9" fmla="*/ 378 h 455"/>
                <a:gd name="T10" fmla="*/ 199 w 307"/>
                <a:gd name="T11" fmla="*/ 408 h 455"/>
                <a:gd name="T12" fmla="*/ 61 w 307"/>
                <a:gd name="T13" fmla="*/ 231 h 455"/>
                <a:gd name="T14" fmla="*/ 238 w 307"/>
                <a:gd name="T15" fmla="*/ 49 h 455"/>
                <a:gd name="T16" fmla="*/ 270 w 307"/>
                <a:gd name="T17" fmla="*/ 49 h 455"/>
                <a:gd name="T18" fmla="*/ 286 w 307"/>
                <a:gd name="T19" fmla="*/ 23 h 455"/>
                <a:gd name="T20" fmla="*/ 244 w 307"/>
                <a:gd name="T21" fmla="*/ 0 h 455"/>
                <a:gd name="T22" fmla="*/ 231 w 307"/>
                <a:gd name="T23" fmla="*/ 0 h 455"/>
                <a:gd name="T24" fmla="*/ 0 w 307"/>
                <a:gd name="T25" fmla="*/ 232 h 455"/>
                <a:gd name="T26" fmla="*/ 198 w 307"/>
                <a:gd name="T27" fmla="*/ 455 h 455"/>
                <a:gd name="T28" fmla="*/ 307 w 307"/>
                <a:gd name="T29" fmla="*/ 405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7" h="455">
                  <a:moveTo>
                    <a:pt x="307" y="405"/>
                  </a:moveTo>
                  <a:cubicBezTo>
                    <a:pt x="307" y="244"/>
                    <a:pt x="307" y="244"/>
                    <a:pt x="307" y="244"/>
                  </a:cubicBezTo>
                  <a:cubicBezTo>
                    <a:pt x="307" y="234"/>
                    <a:pt x="298" y="229"/>
                    <a:pt x="279" y="229"/>
                  </a:cubicBezTo>
                  <a:cubicBezTo>
                    <a:pt x="259" y="229"/>
                    <a:pt x="250" y="234"/>
                    <a:pt x="250" y="244"/>
                  </a:cubicBezTo>
                  <a:cubicBezTo>
                    <a:pt x="250" y="378"/>
                    <a:pt x="250" y="378"/>
                    <a:pt x="250" y="378"/>
                  </a:cubicBezTo>
                  <a:cubicBezTo>
                    <a:pt x="250" y="399"/>
                    <a:pt x="241" y="408"/>
                    <a:pt x="199" y="408"/>
                  </a:cubicBezTo>
                  <a:cubicBezTo>
                    <a:pt x="114" y="408"/>
                    <a:pt x="61" y="342"/>
                    <a:pt x="61" y="231"/>
                  </a:cubicBezTo>
                  <a:cubicBezTo>
                    <a:pt x="61" y="115"/>
                    <a:pt x="126" y="49"/>
                    <a:pt x="238" y="49"/>
                  </a:cubicBezTo>
                  <a:cubicBezTo>
                    <a:pt x="270" y="49"/>
                    <a:pt x="270" y="49"/>
                    <a:pt x="270" y="49"/>
                  </a:cubicBezTo>
                  <a:cubicBezTo>
                    <a:pt x="282" y="49"/>
                    <a:pt x="286" y="39"/>
                    <a:pt x="286" y="23"/>
                  </a:cubicBezTo>
                  <a:cubicBezTo>
                    <a:pt x="286" y="4"/>
                    <a:pt x="275" y="0"/>
                    <a:pt x="244" y="0"/>
                  </a:cubicBezTo>
                  <a:cubicBezTo>
                    <a:pt x="231" y="0"/>
                    <a:pt x="231" y="0"/>
                    <a:pt x="231" y="0"/>
                  </a:cubicBezTo>
                  <a:cubicBezTo>
                    <a:pt x="101" y="0"/>
                    <a:pt x="0" y="71"/>
                    <a:pt x="0" y="232"/>
                  </a:cubicBezTo>
                  <a:cubicBezTo>
                    <a:pt x="0" y="386"/>
                    <a:pt x="88" y="455"/>
                    <a:pt x="198" y="455"/>
                  </a:cubicBezTo>
                  <a:cubicBezTo>
                    <a:pt x="286" y="455"/>
                    <a:pt x="307" y="430"/>
                    <a:pt x="307" y="40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sp>
          <p:nvSpPr>
            <p:cNvPr id="18" name="Oval 11">
              <a:extLst>
                <a:ext uri="{FF2B5EF4-FFF2-40B4-BE49-F238E27FC236}">
                  <a16:creationId xmlns:a16="http://schemas.microsoft.com/office/drawing/2014/main" id="{14F8C3C8-4888-7646-B9B4-64EB46A1DA23}"/>
                </a:ext>
              </a:extLst>
            </p:cNvPr>
            <p:cNvSpPr>
              <a:spLocks noChangeArrowheads="1"/>
            </p:cNvSpPr>
            <p:nvPr/>
          </p:nvSpPr>
          <p:spPr bwMode="gray">
            <a:xfrm>
              <a:off x="3778" y="2099"/>
              <a:ext cx="122" cy="12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sp>
          <p:nvSpPr>
            <p:cNvPr id="19" name="Freeform 12">
              <a:extLst>
                <a:ext uri="{FF2B5EF4-FFF2-40B4-BE49-F238E27FC236}">
                  <a16:creationId xmlns:a16="http://schemas.microsoft.com/office/drawing/2014/main" id="{D79D01D1-4E3E-F34B-97D7-2D387E68746E}"/>
                </a:ext>
              </a:extLst>
            </p:cNvPr>
            <p:cNvSpPr>
              <a:spLocks/>
            </p:cNvSpPr>
            <p:nvPr/>
          </p:nvSpPr>
          <p:spPr bwMode="gray">
            <a:xfrm>
              <a:off x="4321" y="1029"/>
              <a:ext cx="648" cy="649"/>
            </a:xfrm>
            <a:custGeom>
              <a:avLst/>
              <a:gdLst>
                <a:gd name="T0" fmla="*/ 0 w 648"/>
                <a:gd name="T1" fmla="*/ 649 h 649"/>
                <a:gd name="T2" fmla="*/ 2 w 648"/>
                <a:gd name="T3" fmla="*/ 649 h 649"/>
                <a:gd name="T4" fmla="*/ 648 w 648"/>
                <a:gd name="T5" fmla="*/ 0 h 649"/>
                <a:gd name="T6" fmla="*/ 423 w 648"/>
                <a:gd name="T7" fmla="*/ 0 h 649"/>
                <a:gd name="T8" fmla="*/ 0 w 648"/>
                <a:gd name="T9" fmla="*/ 649 h 649"/>
              </a:gdLst>
              <a:ahLst/>
              <a:cxnLst>
                <a:cxn ang="0">
                  <a:pos x="T0" y="T1"/>
                </a:cxn>
                <a:cxn ang="0">
                  <a:pos x="T2" y="T3"/>
                </a:cxn>
                <a:cxn ang="0">
                  <a:pos x="T4" y="T5"/>
                </a:cxn>
                <a:cxn ang="0">
                  <a:pos x="T6" y="T7"/>
                </a:cxn>
                <a:cxn ang="0">
                  <a:pos x="T8" y="T9"/>
                </a:cxn>
              </a:cxnLst>
              <a:rect l="0" t="0" r="r" b="b"/>
              <a:pathLst>
                <a:path w="648" h="649">
                  <a:moveTo>
                    <a:pt x="0" y="649"/>
                  </a:moveTo>
                  <a:lnTo>
                    <a:pt x="2" y="649"/>
                  </a:lnTo>
                  <a:lnTo>
                    <a:pt x="648" y="0"/>
                  </a:lnTo>
                  <a:lnTo>
                    <a:pt x="423" y="0"/>
                  </a:lnTo>
                  <a:lnTo>
                    <a:pt x="0" y="64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sp>
          <p:nvSpPr>
            <p:cNvPr id="20" name="Freeform 13">
              <a:extLst>
                <a:ext uri="{FF2B5EF4-FFF2-40B4-BE49-F238E27FC236}">
                  <a16:creationId xmlns:a16="http://schemas.microsoft.com/office/drawing/2014/main" id="{46549898-6C52-B147-A8F6-A73FDBE6163B}"/>
                </a:ext>
              </a:extLst>
            </p:cNvPr>
            <p:cNvSpPr>
              <a:spLocks/>
            </p:cNvSpPr>
            <p:nvPr/>
          </p:nvSpPr>
          <p:spPr bwMode="gray">
            <a:xfrm>
              <a:off x="4321" y="1029"/>
              <a:ext cx="648" cy="649"/>
            </a:xfrm>
            <a:custGeom>
              <a:avLst/>
              <a:gdLst>
                <a:gd name="T0" fmla="*/ 0 w 648"/>
                <a:gd name="T1" fmla="*/ 649 h 649"/>
                <a:gd name="T2" fmla="*/ 2 w 648"/>
                <a:gd name="T3" fmla="*/ 649 h 649"/>
                <a:gd name="T4" fmla="*/ 648 w 648"/>
                <a:gd name="T5" fmla="*/ 0 h 649"/>
                <a:gd name="T6" fmla="*/ 423 w 648"/>
                <a:gd name="T7" fmla="*/ 0 h 649"/>
                <a:gd name="T8" fmla="*/ 0 w 648"/>
                <a:gd name="T9" fmla="*/ 649 h 649"/>
              </a:gdLst>
              <a:ahLst/>
              <a:cxnLst>
                <a:cxn ang="0">
                  <a:pos x="T0" y="T1"/>
                </a:cxn>
                <a:cxn ang="0">
                  <a:pos x="T2" y="T3"/>
                </a:cxn>
                <a:cxn ang="0">
                  <a:pos x="T4" y="T5"/>
                </a:cxn>
                <a:cxn ang="0">
                  <a:pos x="T6" y="T7"/>
                </a:cxn>
                <a:cxn ang="0">
                  <a:pos x="T8" y="T9"/>
                </a:cxn>
              </a:cxnLst>
              <a:rect l="0" t="0" r="r" b="b"/>
              <a:pathLst>
                <a:path w="648" h="649">
                  <a:moveTo>
                    <a:pt x="0" y="649"/>
                  </a:moveTo>
                  <a:lnTo>
                    <a:pt x="2" y="649"/>
                  </a:lnTo>
                  <a:lnTo>
                    <a:pt x="648" y="0"/>
                  </a:lnTo>
                  <a:lnTo>
                    <a:pt x="423" y="0"/>
                  </a:lnTo>
                  <a:lnTo>
                    <a:pt x="0" y="64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grpSp>
    </p:spTree>
    <p:extLst>
      <p:ext uri="{BB962C8B-B14F-4D97-AF65-F5344CB8AC3E}">
        <p14:creationId xmlns:p14="http://schemas.microsoft.com/office/powerpoint/2010/main" val="3915974601"/>
      </p:ext>
    </p:extLst>
  </p:cSld>
  <p:clrMapOvr>
    <a:masterClrMapping/>
  </p:clrMapOvr>
</p:sldLayout>
</file>

<file path=ppt/slideLayouts/slideLayout512.xml><?xml version="1.0" encoding="utf-8"?>
<p:sldLayout xmlns:a="http://schemas.openxmlformats.org/drawingml/2006/main" xmlns:r="http://schemas.openxmlformats.org/officeDocument/2006/relationships" xmlns:p="http://schemas.openxmlformats.org/presentationml/2006/main" preserve="1">
  <p:cSld name="Headline only">
    <p:spTree>
      <p:nvGrpSpPr>
        <p:cNvPr id="1" name=""/>
        <p:cNvGrpSpPr/>
        <p:nvPr/>
      </p:nvGrpSpPr>
      <p:grpSpPr>
        <a:xfrm>
          <a:off x="0" y="0"/>
          <a:ext cx="0" cy="0"/>
          <a:chOff x="0" y="0"/>
          <a:chExt cx="0" cy="0"/>
        </a:xfrm>
      </p:grpSpPr>
      <p:sp>
        <p:nvSpPr>
          <p:cNvPr id="21" name="Date Placeholder 20"/>
          <p:cNvSpPr>
            <a:spLocks noGrp="1"/>
          </p:cNvSpPr>
          <p:nvPr>
            <p:ph type="dt" sz="half" idx="14"/>
          </p:nvPr>
        </p:nvSpPr>
        <p:spPr>
          <a:xfrm>
            <a:off x="192088" y="6461671"/>
            <a:ext cx="761512" cy="133790"/>
          </a:xfrm>
          <a:prstGeom prst="rect">
            <a:avLst/>
          </a:prstGeom>
        </p:spPr>
        <p:txBody>
          <a:bodyPr/>
          <a:lstStyle/>
          <a:p>
            <a:fld id="{7DCAAD07-09FD-49C1-9253-3DC58F499B21}" type="datetime5">
              <a:rPr lang="en-US" smtClean="0"/>
              <a:t>26-Jun-20</a:t>
            </a:fld>
            <a:endParaRPr lang="en-US"/>
          </a:p>
        </p:txBody>
      </p:sp>
      <p:sp>
        <p:nvSpPr>
          <p:cNvPr id="22" name="Footer Placeholder 21"/>
          <p:cNvSpPr>
            <a:spLocks noGrp="1"/>
          </p:cNvSpPr>
          <p:nvPr>
            <p:ph type="ftr" sz="quarter" idx="15"/>
          </p:nvPr>
        </p:nvSpPr>
        <p:spPr>
          <a:xfrm>
            <a:off x="1076400" y="6461671"/>
            <a:ext cx="8162717" cy="133790"/>
          </a:xfrm>
          <a:prstGeom prst="rect">
            <a:avLst/>
          </a:prstGeom>
        </p:spPr>
        <p:txBody>
          <a:bodyPr/>
          <a:lstStyle/>
          <a:p>
            <a:r>
              <a:rPr lang="en-US"/>
              <a:t>Title of presentation (Insert / Header &amp; Footer / Apply to All)</a:t>
            </a:r>
            <a:endParaRPr lang="en-US" dirty="0"/>
          </a:p>
        </p:txBody>
      </p:sp>
      <p:sp>
        <p:nvSpPr>
          <p:cNvPr id="23" name="Slide Number Placeholder 22"/>
          <p:cNvSpPr>
            <a:spLocks noGrp="1"/>
          </p:cNvSpPr>
          <p:nvPr>
            <p:ph type="sldNum" sz="quarter" idx="16"/>
          </p:nvPr>
        </p:nvSpPr>
        <p:spPr/>
        <p:txBody>
          <a:bodyPr/>
          <a:lstStyle/>
          <a:p>
            <a:fld id="{5F3E29E4-0979-4FCA-B4C5-5FC6044C982A}" type="slidenum">
              <a:rPr lang="en-US" smtClean="0"/>
              <a:t>‹#›</a:t>
            </a:fld>
            <a:endParaRPr lang="en-US"/>
          </a:p>
        </p:txBody>
      </p:sp>
      <p:sp>
        <p:nvSpPr>
          <p:cNvPr id="2" name="Title 1"/>
          <p:cNvSpPr>
            <a:spLocks noGrp="1"/>
          </p:cNvSpPr>
          <p:nvPr>
            <p:ph type="title" hasCustomPrompt="1"/>
          </p:nvPr>
        </p:nvSpPr>
        <p:spPr/>
        <p:txBody>
          <a:bodyPr/>
          <a:lstStyle>
            <a:lvl1pPr>
              <a:defRPr/>
            </a:lvl1pPr>
          </a:lstStyle>
          <a:p>
            <a:r>
              <a:rPr lang="en-US" dirty="0"/>
              <a:t>Click to add slide title</a:t>
            </a:r>
          </a:p>
        </p:txBody>
      </p:sp>
      <p:sp>
        <p:nvSpPr>
          <p:cNvPr id="7" name="Subtitle 2"/>
          <p:cNvSpPr>
            <a:spLocks noGrp="1"/>
          </p:cNvSpPr>
          <p:nvPr>
            <p:ph type="subTitle" idx="13" hasCustomPrompt="1"/>
          </p:nvPr>
        </p:nvSpPr>
        <p:spPr>
          <a:xfrm>
            <a:off x="1075061" y="964671"/>
            <a:ext cx="7910158" cy="490042"/>
          </a:xfrm>
        </p:spPr>
        <p:txBody>
          <a:bodyPr wrap="none"/>
          <a:lstStyle>
            <a:lvl1pPr marL="0" indent="0" algn="l">
              <a:spcBef>
                <a:spcPts val="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9" name="Text Placeholder 4"/>
          <p:cNvSpPr>
            <a:spLocks noGrp="1"/>
          </p:cNvSpPr>
          <p:nvPr>
            <p:ph type="body" sz="quarter" idx="17" hasCustomPrompt="1"/>
          </p:nvPr>
        </p:nvSpPr>
        <p:spPr>
          <a:xfrm>
            <a:off x="1075063" y="6307665"/>
            <a:ext cx="8162717" cy="133200"/>
          </a:xfrm>
        </p:spPr>
        <p:txBody>
          <a:bodyPr lIns="0" tIns="0" rIns="0" bIns="0" anchor="b" anchorCtr="0"/>
          <a:lstStyle>
            <a:lvl1pPr marL="0" indent="0" algn="l">
              <a:lnSpc>
                <a:spcPct val="100000"/>
              </a:lnSpc>
              <a:spcBef>
                <a:spcPts val="0"/>
              </a:spcBef>
              <a:buNone/>
              <a:defRPr sz="800" baseline="0"/>
            </a:lvl1pPr>
            <a:lvl2pPr marL="0" indent="0" algn="l">
              <a:lnSpc>
                <a:spcPct val="100000"/>
              </a:lnSpc>
              <a:spcBef>
                <a:spcPts val="0"/>
              </a:spcBef>
              <a:buNone/>
              <a:defRPr sz="800"/>
            </a:lvl2pPr>
            <a:lvl3pPr marL="0" indent="0" algn="l">
              <a:lnSpc>
                <a:spcPct val="100000"/>
              </a:lnSpc>
              <a:spcBef>
                <a:spcPts val="0"/>
              </a:spcBef>
              <a:buNone/>
              <a:defRPr sz="800"/>
            </a:lvl3pPr>
            <a:lvl4pPr marL="0" algn="l">
              <a:lnSpc>
                <a:spcPct val="100000"/>
              </a:lnSpc>
              <a:spcBef>
                <a:spcPts val="0"/>
              </a:spcBef>
              <a:buNone/>
              <a:defRPr sz="800"/>
            </a:lvl4pPr>
            <a:lvl5pPr marL="0" indent="0" algn="l">
              <a:lnSpc>
                <a:spcPct val="100000"/>
              </a:lnSpc>
              <a:spcBef>
                <a:spcPts val="0"/>
              </a:spcBef>
              <a:buNone/>
              <a:defRPr sz="800"/>
            </a:lvl5pPr>
          </a:lstStyle>
          <a:p>
            <a:pPr lvl="0"/>
            <a:r>
              <a:rPr lang="en-US" dirty="0"/>
              <a:t>Source line</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533919760"/>
      </p:ext>
    </p:extLst>
  </p:cSld>
  <p:clrMapOvr>
    <a:masterClrMapping/>
  </p:clrMapOvr>
</p:sldLayout>
</file>

<file path=ppt/slideLayouts/slideLayout513.xml><?xml version="1.0" encoding="utf-8"?>
<p:sldLayout xmlns:a="http://schemas.openxmlformats.org/drawingml/2006/main" xmlns:r="http://schemas.openxmlformats.org/officeDocument/2006/relationships" xmlns:p="http://schemas.openxmlformats.org/presentationml/2006/main" preserve="1">
  <p:cSld name="One content">
    <p:spTree>
      <p:nvGrpSpPr>
        <p:cNvPr id="1" name=""/>
        <p:cNvGrpSpPr/>
        <p:nvPr/>
      </p:nvGrpSpPr>
      <p:grpSpPr>
        <a:xfrm>
          <a:off x="0" y="0"/>
          <a:ext cx="0" cy="0"/>
          <a:chOff x="0" y="0"/>
          <a:chExt cx="0" cy="0"/>
        </a:xfrm>
      </p:grpSpPr>
      <p:sp>
        <p:nvSpPr>
          <p:cNvPr id="21" name="Date Placeholder 20"/>
          <p:cNvSpPr>
            <a:spLocks noGrp="1"/>
          </p:cNvSpPr>
          <p:nvPr>
            <p:ph type="dt" sz="half" idx="14"/>
          </p:nvPr>
        </p:nvSpPr>
        <p:spPr>
          <a:xfrm>
            <a:off x="192088" y="6461671"/>
            <a:ext cx="761512" cy="133790"/>
          </a:xfrm>
          <a:prstGeom prst="rect">
            <a:avLst/>
          </a:prstGeom>
        </p:spPr>
        <p:txBody>
          <a:bodyPr/>
          <a:lstStyle/>
          <a:p>
            <a:fld id="{4CC19292-71B2-4BF0-8023-C669B9188137}" type="datetime5">
              <a:rPr lang="en-US" smtClean="0"/>
              <a:t>26-Jun-20</a:t>
            </a:fld>
            <a:endParaRPr lang="en-US" dirty="0"/>
          </a:p>
        </p:txBody>
      </p:sp>
      <p:sp>
        <p:nvSpPr>
          <p:cNvPr id="22" name="Footer Placeholder 21"/>
          <p:cNvSpPr>
            <a:spLocks noGrp="1"/>
          </p:cNvSpPr>
          <p:nvPr>
            <p:ph type="ftr" sz="quarter" idx="15"/>
          </p:nvPr>
        </p:nvSpPr>
        <p:spPr>
          <a:xfrm>
            <a:off x="1076400" y="6461671"/>
            <a:ext cx="8162717" cy="133790"/>
          </a:xfrm>
          <a:prstGeom prst="rect">
            <a:avLst/>
          </a:prstGeom>
        </p:spPr>
        <p:txBody>
          <a:bodyPr/>
          <a:lstStyle/>
          <a:p>
            <a:r>
              <a:rPr lang="en-US"/>
              <a:t>Title of presentation (Insert / Header &amp; Footer / Apply to All)</a:t>
            </a:r>
            <a:endParaRPr lang="en-US" dirty="0"/>
          </a:p>
        </p:txBody>
      </p:sp>
      <p:sp>
        <p:nvSpPr>
          <p:cNvPr id="23" name="Slide Number Placeholder 22"/>
          <p:cNvSpPr>
            <a:spLocks noGrp="1"/>
          </p:cNvSpPr>
          <p:nvPr>
            <p:ph type="sldNum" sz="quarter" idx="16"/>
          </p:nvPr>
        </p:nvSpPr>
        <p:spPr/>
        <p:txBody>
          <a:bodyPr/>
          <a:lstStyle/>
          <a:p>
            <a:fld id="{5F3E29E4-0979-4FCA-B4C5-5FC6044C982A}" type="slidenum">
              <a:rPr lang="en-US" smtClean="0"/>
              <a:t>‹#›</a:t>
            </a:fld>
            <a:endParaRPr lang="en-US"/>
          </a:p>
        </p:txBody>
      </p:sp>
      <p:sp>
        <p:nvSpPr>
          <p:cNvPr id="2" name="Title 1"/>
          <p:cNvSpPr>
            <a:spLocks noGrp="1"/>
          </p:cNvSpPr>
          <p:nvPr>
            <p:ph type="title" hasCustomPrompt="1"/>
          </p:nvPr>
        </p:nvSpPr>
        <p:spPr/>
        <p:txBody>
          <a:bodyPr/>
          <a:lstStyle>
            <a:lvl1pPr>
              <a:defRPr/>
            </a:lvl1pPr>
          </a:lstStyle>
          <a:p>
            <a:r>
              <a:rPr lang="en-US" dirty="0"/>
              <a:t>Click to add slide title</a:t>
            </a:r>
          </a:p>
        </p:txBody>
      </p:sp>
      <p:sp>
        <p:nvSpPr>
          <p:cNvPr id="7" name="Subtitle 2"/>
          <p:cNvSpPr>
            <a:spLocks noGrp="1"/>
          </p:cNvSpPr>
          <p:nvPr>
            <p:ph type="subTitle" idx="13" hasCustomPrompt="1"/>
          </p:nvPr>
        </p:nvSpPr>
        <p:spPr>
          <a:xfrm>
            <a:off x="1075061" y="964671"/>
            <a:ext cx="7910158" cy="490042"/>
          </a:xfrm>
        </p:spPr>
        <p:txBody>
          <a:bodyPr wrap="none"/>
          <a:lstStyle>
            <a:lvl1pPr marL="0" indent="0" algn="l">
              <a:spcBef>
                <a:spcPts val="0"/>
              </a:spcBef>
              <a:buNone/>
              <a:defRPr sz="2400" baseline="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3" name="Content Placeholder 2"/>
          <p:cNvSpPr>
            <a:spLocks noGrp="1"/>
          </p:cNvSpPr>
          <p:nvPr>
            <p:ph idx="1" hasCustomPrompt="1"/>
          </p:nvPr>
        </p:nvSpPr>
        <p:spPr/>
        <p:txBody>
          <a:bodyPr/>
          <a:lstStyle>
            <a:lvl1pPr>
              <a:defRPr baseline="0"/>
            </a:lvl1pPr>
          </a:lstStyle>
          <a:p>
            <a:pPr lvl="0"/>
            <a:r>
              <a:rPr lang="en-US" dirty="0"/>
              <a:t>Click to add text or conten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p:cNvSpPr>
            <a:spLocks noGrp="1"/>
          </p:cNvSpPr>
          <p:nvPr>
            <p:ph type="body" sz="quarter" idx="17" hasCustomPrompt="1"/>
          </p:nvPr>
        </p:nvSpPr>
        <p:spPr>
          <a:xfrm>
            <a:off x="1075063" y="6307665"/>
            <a:ext cx="8162717" cy="133200"/>
          </a:xfrm>
        </p:spPr>
        <p:txBody>
          <a:bodyPr lIns="0" tIns="0" rIns="0" bIns="0" anchor="b" anchorCtr="0"/>
          <a:lstStyle>
            <a:lvl1pPr marL="0" indent="0" algn="l">
              <a:lnSpc>
                <a:spcPct val="100000"/>
              </a:lnSpc>
              <a:spcBef>
                <a:spcPts val="0"/>
              </a:spcBef>
              <a:buNone/>
              <a:defRPr sz="800" baseline="0"/>
            </a:lvl1pPr>
            <a:lvl2pPr marL="0" indent="0" algn="l">
              <a:lnSpc>
                <a:spcPct val="100000"/>
              </a:lnSpc>
              <a:spcBef>
                <a:spcPts val="0"/>
              </a:spcBef>
              <a:buNone/>
              <a:defRPr sz="800"/>
            </a:lvl2pPr>
            <a:lvl3pPr marL="0" indent="0" algn="l">
              <a:lnSpc>
                <a:spcPct val="100000"/>
              </a:lnSpc>
              <a:spcBef>
                <a:spcPts val="0"/>
              </a:spcBef>
              <a:buNone/>
              <a:defRPr sz="800"/>
            </a:lvl3pPr>
            <a:lvl4pPr marL="0" algn="l">
              <a:lnSpc>
                <a:spcPct val="100000"/>
              </a:lnSpc>
              <a:spcBef>
                <a:spcPts val="0"/>
              </a:spcBef>
              <a:buNone/>
              <a:defRPr sz="800"/>
            </a:lvl4pPr>
            <a:lvl5pPr marL="0" indent="0" algn="l">
              <a:lnSpc>
                <a:spcPct val="100000"/>
              </a:lnSpc>
              <a:spcBef>
                <a:spcPts val="0"/>
              </a:spcBef>
              <a:buNone/>
              <a:defRPr sz="800"/>
            </a:lvl5pPr>
          </a:lstStyle>
          <a:p>
            <a:pPr lvl="0"/>
            <a:r>
              <a:rPr lang="en-US" dirty="0"/>
              <a:t>Source line</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305057345"/>
      </p:ext>
    </p:extLst>
  </p:cSld>
  <p:clrMapOvr>
    <a:masterClrMapping/>
  </p:clrMapOvr>
</p:sldLayout>
</file>

<file path=ppt/slideLayouts/slideLayout514.xml><?xml version="1.0" encoding="utf-8"?>
<p:sldLayout xmlns:a="http://schemas.openxmlformats.org/drawingml/2006/main" xmlns:r="http://schemas.openxmlformats.org/officeDocument/2006/relationships" xmlns:p="http://schemas.openxmlformats.org/presentationml/2006/main" preserve="1">
  <p:cSld name="Content and picture">
    <p:spTree>
      <p:nvGrpSpPr>
        <p:cNvPr id="1" name=""/>
        <p:cNvGrpSpPr/>
        <p:nvPr/>
      </p:nvGrpSpPr>
      <p:grpSpPr>
        <a:xfrm>
          <a:off x="0" y="0"/>
          <a:ext cx="0" cy="0"/>
          <a:chOff x="0" y="0"/>
          <a:chExt cx="0" cy="0"/>
        </a:xfrm>
      </p:grpSpPr>
      <p:sp>
        <p:nvSpPr>
          <p:cNvPr id="21" name="Date Placeholder 20"/>
          <p:cNvSpPr>
            <a:spLocks noGrp="1"/>
          </p:cNvSpPr>
          <p:nvPr>
            <p:ph type="dt" sz="half" idx="14"/>
          </p:nvPr>
        </p:nvSpPr>
        <p:spPr>
          <a:xfrm>
            <a:off x="192088" y="6461671"/>
            <a:ext cx="761512" cy="133790"/>
          </a:xfrm>
          <a:prstGeom prst="rect">
            <a:avLst/>
          </a:prstGeom>
        </p:spPr>
        <p:txBody>
          <a:bodyPr/>
          <a:lstStyle/>
          <a:p>
            <a:fld id="{97AF90B7-6970-4C8C-AA59-7302F717A183}" type="datetime5">
              <a:rPr lang="en-US" smtClean="0"/>
              <a:t>26-Jun-20</a:t>
            </a:fld>
            <a:endParaRPr lang="en-US"/>
          </a:p>
        </p:txBody>
      </p:sp>
      <p:sp>
        <p:nvSpPr>
          <p:cNvPr id="22" name="Footer Placeholder 21"/>
          <p:cNvSpPr>
            <a:spLocks noGrp="1"/>
          </p:cNvSpPr>
          <p:nvPr>
            <p:ph type="ftr" sz="quarter" idx="15"/>
          </p:nvPr>
        </p:nvSpPr>
        <p:spPr>
          <a:xfrm>
            <a:off x="1076400" y="6461671"/>
            <a:ext cx="8162717" cy="133790"/>
          </a:xfrm>
          <a:prstGeom prst="rect">
            <a:avLst/>
          </a:prstGeom>
        </p:spPr>
        <p:txBody>
          <a:bodyPr/>
          <a:lstStyle/>
          <a:p>
            <a:r>
              <a:rPr lang="en-US"/>
              <a:t>Title of presentation (Insert / Header &amp; Footer / Apply to All)</a:t>
            </a:r>
            <a:endParaRPr lang="en-US" dirty="0"/>
          </a:p>
        </p:txBody>
      </p:sp>
      <p:sp>
        <p:nvSpPr>
          <p:cNvPr id="23" name="Slide Number Placeholder 22"/>
          <p:cNvSpPr>
            <a:spLocks noGrp="1"/>
          </p:cNvSpPr>
          <p:nvPr>
            <p:ph type="sldNum" sz="quarter" idx="16"/>
          </p:nvPr>
        </p:nvSpPr>
        <p:spPr/>
        <p:txBody>
          <a:bodyPr/>
          <a:lstStyle/>
          <a:p>
            <a:fld id="{5F3E29E4-0979-4FCA-B4C5-5FC6044C982A}" type="slidenum">
              <a:rPr lang="en-US" smtClean="0"/>
              <a:t>‹#›</a:t>
            </a:fld>
            <a:endParaRPr lang="en-US"/>
          </a:p>
        </p:txBody>
      </p:sp>
      <p:sp>
        <p:nvSpPr>
          <p:cNvPr id="2" name="Title 1"/>
          <p:cNvSpPr>
            <a:spLocks noGrp="1"/>
          </p:cNvSpPr>
          <p:nvPr>
            <p:ph type="title" hasCustomPrompt="1"/>
          </p:nvPr>
        </p:nvSpPr>
        <p:spPr/>
        <p:txBody>
          <a:bodyPr/>
          <a:lstStyle>
            <a:lvl1pPr>
              <a:defRPr/>
            </a:lvl1pPr>
          </a:lstStyle>
          <a:p>
            <a:r>
              <a:rPr lang="en-US" dirty="0"/>
              <a:t>Click to add slide title</a:t>
            </a:r>
          </a:p>
        </p:txBody>
      </p:sp>
      <p:sp>
        <p:nvSpPr>
          <p:cNvPr id="7" name="Subtitle 2"/>
          <p:cNvSpPr>
            <a:spLocks noGrp="1"/>
          </p:cNvSpPr>
          <p:nvPr>
            <p:ph type="subTitle" idx="13" hasCustomPrompt="1"/>
          </p:nvPr>
        </p:nvSpPr>
        <p:spPr>
          <a:xfrm>
            <a:off x="1075061" y="964671"/>
            <a:ext cx="7910158" cy="490042"/>
          </a:xfrm>
        </p:spPr>
        <p:txBody>
          <a:bodyPr wrap="none"/>
          <a:lstStyle>
            <a:lvl1pPr marL="0" indent="0" algn="l">
              <a:spcBef>
                <a:spcPts val="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3" name="Content Placeholder 2"/>
          <p:cNvSpPr>
            <a:spLocks noGrp="1"/>
          </p:cNvSpPr>
          <p:nvPr>
            <p:ph idx="1" hasCustomPrompt="1"/>
          </p:nvPr>
        </p:nvSpPr>
        <p:spPr>
          <a:xfrm>
            <a:off x="1075062" y="1629618"/>
            <a:ext cx="5220000" cy="4139357"/>
          </a:xfrm>
        </p:spPr>
        <p:txBody>
          <a:bodyPr/>
          <a:lstStyle>
            <a:lvl1pPr>
              <a:defRPr/>
            </a:lvl1pPr>
          </a:lstStyle>
          <a:p>
            <a:pPr lvl="0"/>
            <a:r>
              <a:rPr lang="en-US" dirty="0"/>
              <a:t>Click to add text or conten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Picture Placeholder 4"/>
          <p:cNvSpPr>
            <a:spLocks noGrp="1"/>
          </p:cNvSpPr>
          <p:nvPr>
            <p:ph type="pic" sz="quarter" idx="17" hasCustomPrompt="1"/>
          </p:nvPr>
        </p:nvSpPr>
        <p:spPr>
          <a:xfrm>
            <a:off x="6600525" y="1637783"/>
            <a:ext cx="5220000" cy="4599506"/>
          </a:xfrm>
          <a:solidFill>
            <a:srgbClr val="D9DADB"/>
          </a:solidFill>
        </p:spPr>
        <p:txBody>
          <a:bodyPr/>
          <a:lstStyle>
            <a:lvl1pPr marL="0" indent="0">
              <a:buNone/>
              <a:defRPr/>
            </a:lvl1pPr>
          </a:lstStyle>
          <a:p>
            <a:r>
              <a:rPr lang="en-US" dirty="0"/>
              <a:t>Insert picture</a:t>
            </a:r>
          </a:p>
        </p:txBody>
      </p:sp>
      <p:sp>
        <p:nvSpPr>
          <p:cNvPr id="10" name="Text Placeholder 4"/>
          <p:cNvSpPr>
            <a:spLocks noGrp="1"/>
          </p:cNvSpPr>
          <p:nvPr>
            <p:ph type="body" sz="quarter" idx="18" hasCustomPrompt="1"/>
          </p:nvPr>
        </p:nvSpPr>
        <p:spPr>
          <a:xfrm>
            <a:off x="1075063" y="6307665"/>
            <a:ext cx="8162717" cy="133200"/>
          </a:xfrm>
        </p:spPr>
        <p:txBody>
          <a:bodyPr lIns="0" tIns="0" rIns="0" bIns="0" anchor="b" anchorCtr="0"/>
          <a:lstStyle>
            <a:lvl1pPr marL="0" indent="0" algn="l">
              <a:lnSpc>
                <a:spcPct val="100000"/>
              </a:lnSpc>
              <a:spcBef>
                <a:spcPts val="0"/>
              </a:spcBef>
              <a:buNone/>
              <a:defRPr sz="800" baseline="0"/>
            </a:lvl1pPr>
            <a:lvl2pPr marL="0" indent="0" algn="l">
              <a:lnSpc>
                <a:spcPct val="100000"/>
              </a:lnSpc>
              <a:spcBef>
                <a:spcPts val="0"/>
              </a:spcBef>
              <a:buNone/>
              <a:defRPr sz="800"/>
            </a:lvl2pPr>
            <a:lvl3pPr marL="0" indent="0" algn="l">
              <a:lnSpc>
                <a:spcPct val="100000"/>
              </a:lnSpc>
              <a:spcBef>
                <a:spcPts val="0"/>
              </a:spcBef>
              <a:buNone/>
              <a:defRPr sz="800"/>
            </a:lvl3pPr>
            <a:lvl4pPr marL="0" algn="l">
              <a:lnSpc>
                <a:spcPct val="100000"/>
              </a:lnSpc>
              <a:spcBef>
                <a:spcPts val="0"/>
              </a:spcBef>
              <a:buNone/>
              <a:defRPr sz="800"/>
            </a:lvl4pPr>
            <a:lvl5pPr marL="0" indent="0" algn="l">
              <a:lnSpc>
                <a:spcPct val="100000"/>
              </a:lnSpc>
              <a:spcBef>
                <a:spcPts val="0"/>
              </a:spcBef>
              <a:buNone/>
              <a:defRPr sz="800"/>
            </a:lvl5pPr>
          </a:lstStyle>
          <a:p>
            <a:pPr lvl="0"/>
            <a:r>
              <a:rPr lang="en-US" dirty="0"/>
              <a:t>Source line</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775868897"/>
      </p:ext>
    </p:extLst>
  </p:cSld>
  <p:clrMapOvr>
    <a:masterClrMapping/>
  </p:clrMapOvr>
</p:sldLayout>
</file>

<file path=ppt/slideLayouts/slideLayout515.xml><?xml version="1.0" encoding="utf-8"?>
<p:sldLayout xmlns:a="http://schemas.openxmlformats.org/drawingml/2006/main" xmlns:r="http://schemas.openxmlformats.org/officeDocument/2006/relationships" xmlns:p="http://schemas.openxmlformats.org/presentationml/2006/main" preserve="1">
  <p:cSld name="Content with full picture">
    <p:spTree>
      <p:nvGrpSpPr>
        <p:cNvPr id="1" name=""/>
        <p:cNvGrpSpPr/>
        <p:nvPr/>
      </p:nvGrpSpPr>
      <p:grpSpPr>
        <a:xfrm>
          <a:off x="0" y="0"/>
          <a:ext cx="0" cy="0"/>
          <a:chOff x="0" y="0"/>
          <a:chExt cx="0" cy="0"/>
        </a:xfrm>
      </p:grpSpPr>
      <p:sp>
        <p:nvSpPr>
          <p:cNvPr id="12" name="Picture Placeholder 11"/>
          <p:cNvSpPr>
            <a:spLocks noGrp="1"/>
          </p:cNvSpPr>
          <p:nvPr>
            <p:ph type="pic" sz="quarter" idx="17" hasCustomPrompt="1"/>
          </p:nvPr>
        </p:nvSpPr>
        <p:spPr>
          <a:xfrm>
            <a:off x="0" y="0"/>
            <a:ext cx="12193200" cy="6858000"/>
          </a:xfrm>
          <a:prstGeom prst="rect">
            <a:avLst/>
          </a:prstGeom>
          <a:solidFill>
            <a:srgbClr val="D9DADB"/>
          </a:solidFill>
        </p:spPr>
        <p:txBody>
          <a:bodyPr wrap="square">
            <a:noAutofit/>
          </a:bodyPr>
          <a:lstStyle>
            <a:lvl1pPr marL="0" indent="0">
              <a:buNone/>
              <a:defRPr/>
            </a:lvl1pPr>
          </a:lstStyle>
          <a:p>
            <a:r>
              <a:rPr lang="en-US" dirty="0"/>
              <a:t>Insert picture</a:t>
            </a:r>
          </a:p>
        </p:txBody>
      </p:sp>
      <p:sp>
        <p:nvSpPr>
          <p:cNvPr id="9" name="copyright"/>
          <p:cNvSpPr txBox="1"/>
          <p:nvPr/>
        </p:nvSpPr>
        <p:spPr>
          <a:xfrm>
            <a:off x="10672209" y="6237288"/>
            <a:ext cx="500617" cy="358173"/>
          </a:xfrm>
          <a:prstGeom prst="rect">
            <a:avLst/>
          </a:prstGeom>
          <a:noFill/>
        </p:spPr>
        <p:txBody>
          <a:bodyPr wrap="none" lIns="0" tIns="0" rIns="0" bIns="0" rtlCol="0" anchor="b" anchorCtr="0">
            <a:noAutofit/>
          </a:bodyPr>
          <a:lstStyle/>
          <a:p>
            <a:pPr marL="0" indent="0" algn="r">
              <a:lnSpc>
                <a:spcPct val="125000"/>
              </a:lnSpc>
              <a:buClr>
                <a:schemeClr val="tx2"/>
              </a:buClr>
              <a:buFont typeface="Wingdings" panose="05000000000000000000" pitchFamily="2" charset="2"/>
              <a:buNone/>
            </a:pPr>
            <a:r>
              <a:rPr lang="en-US" sz="800" dirty="0">
                <a:solidFill>
                  <a:schemeClr val="bg1"/>
                </a:solidFill>
              </a:rPr>
              <a:t>© GfK</a:t>
            </a:r>
          </a:p>
        </p:txBody>
      </p:sp>
      <p:sp>
        <p:nvSpPr>
          <p:cNvPr id="21" name="Date Placeholder 20"/>
          <p:cNvSpPr>
            <a:spLocks noGrp="1"/>
          </p:cNvSpPr>
          <p:nvPr>
            <p:ph type="dt" sz="half" idx="14"/>
          </p:nvPr>
        </p:nvSpPr>
        <p:spPr>
          <a:xfrm>
            <a:off x="192088" y="6461671"/>
            <a:ext cx="761512" cy="133790"/>
          </a:xfrm>
          <a:prstGeom prst="rect">
            <a:avLst/>
          </a:prstGeom>
        </p:spPr>
        <p:txBody>
          <a:bodyPr/>
          <a:lstStyle>
            <a:lvl1pPr>
              <a:defRPr>
                <a:solidFill>
                  <a:schemeClr val="bg1"/>
                </a:solidFill>
              </a:defRPr>
            </a:lvl1pPr>
          </a:lstStyle>
          <a:p>
            <a:fld id="{50FDD96B-8754-4910-8CA2-9F882EDC331D}" type="datetime5">
              <a:rPr lang="en-US" smtClean="0"/>
              <a:t>26-Jun-20</a:t>
            </a:fld>
            <a:endParaRPr lang="en-US"/>
          </a:p>
        </p:txBody>
      </p:sp>
      <p:sp>
        <p:nvSpPr>
          <p:cNvPr id="22" name="Footer Placeholder 21"/>
          <p:cNvSpPr>
            <a:spLocks noGrp="1"/>
          </p:cNvSpPr>
          <p:nvPr>
            <p:ph type="ftr" sz="quarter" idx="15"/>
          </p:nvPr>
        </p:nvSpPr>
        <p:spPr>
          <a:xfrm>
            <a:off x="1076400" y="6461671"/>
            <a:ext cx="8162717" cy="133790"/>
          </a:xfrm>
          <a:prstGeom prst="rect">
            <a:avLst/>
          </a:prstGeom>
        </p:spPr>
        <p:txBody>
          <a:bodyPr/>
          <a:lstStyle>
            <a:lvl1pPr>
              <a:defRPr>
                <a:solidFill>
                  <a:schemeClr val="bg1"/>
                </a:solidFill>
              </a:defRPr>
            </a:lvl1pPr>
          </a:lstStyle>
          <a:p>
            <a:r>
              <a:rPr lang="en-US"/>
              <a:t>Title of presentation (Insert / Header &amp; Footer / Apply to All)</a:t>
            </a:r>
            <a:endParaRPr lang="en-US" dirty="0"/>
          </a:p>
        </p:txBody>
      </p:sp>
      <p:sp>
        <p:nvSpPr>
          <p:cNvPr id="23" name="Slide Number Placeholder 22"/>
          <p:cNvSpPr>
            <a:spLocks noGrp="1"/>
          </p:cNvSpPr>
          <p:nvPr>
            <p:ph type="sldNum" sz="quarter" idx="16"/>
          </p:nvPr>
        </p:nvSpPr>
        <p:spPr/>
        <p:txBody>
          <a:bodyPr/>
          <a:lstStyle>
            <a:lvl1pPr>
              <a:defRPr>
                <a:solidFill>
                  <a:schemeClr val="bg1"/>
                </a:solidFill>
              </a:defRPr>
            </a:lvl1pPr>
          </a:lstStyle>
          <a:p>
            <a:fld id="{5F3E29E4-0979-4FCA-B4C5-5FC6044C982A}" type="slidenum">
              <a:rPr lang="en-US" smtClean="0"/>
              <a:pPr/>
              <a:t>‹#›</a:t>
            </a:fld>
            <a:endParaRPr lang="en-US"/>
          </a:p>
        </p:txBody>
      </p:sp>
      <p:sp>
        <p:nvSpPr>
          <p:cNvPr id="2" name="Title 1"/>
          <p:cNvSpPr>
            <a:spLocks noGrp="1"/>
          </p:cNvSpPr>
          <p:nvPr>
            <p:ph type="title" hasCustomPrompt="1"/>
          </p:nvPr>
        </p:nvSpPr>
        <p:spPr>
          <a:xfrm>
            <a:off x="6543675" y="1519552"/>
            <a:ext cx="4629150" cy="4249423"/>
          </a:xfrm>
        </p:spPr>
        <p:txBody>
          <a:bodyPr/>
          <a:lstStyle>
            <a:lvl1pPr>
              <a:defRPr>
                <a:solidFill>
                  <a:schemeClr val="bg1"/>
                </a:solidFill>
              </a:defRPr>
            </a:lvl1pPr>
          </a:lstStyle>
          <a:p>
            <a:r>
              <a:rPr lang="en-US" dirty="0"/>
              <a:t>Click to add text</a:t>
            </a:r>
          </a:p>
        </p:txBody>
      </p:sp>
      <p:sp>
        <p:nvSpPr>
          <p:cNvPr id="8" name="Text Placeholder 4"/>
          <p:cNvSpPr>
            <a:spLocks noGrp="1"/>
          </p:cNvSpPr>
          <p:nvPr>
            <p:ph type="body" sz="quarter" idx="18" hasCustomPrompt="1"/>
          </p:nvPr>
        </p:nvSpPr>
        <p:spPr>
          <a:xfrm>
            <a:off x="1075063" y="6307665"/>
            <a:ext cx="8162717" cy="133200"/>
          </a:xfrm>
        </p:spPr>
        <p:txBody>
          <a:bodyPr lIns="0" tIns="0" rIns="0" bIns="0" anchor="b" anchorCtr="0"/>
          <a:lstStyle>
            <a:lvl1pPr marL="0" indent="0" algn="l">
              <a:lnSpc>
                <a:spcPct val="100000"/>
              </a:lnSpc>
              <a:spcBef>
                <a:spcPts val="0"/>
              </a:spcBef>
              <a:buNone/>
              <a:defRPr sz="800" baseline="0">
                <a:solidFill>
                  <a:schemeClr val="bg1"/>
                </a:solidFill>
              </a:defRPr>
            </a:lvl1pPr>
            <a:lvl2pPr marL="0" indent="0" algn="l">
              <a:lnSpc>
                <a:spcPct val="100000"/>
              </a:lnSpc>
              <a:spcBef>
                <a:spcPts val="0"/>
              </a:spcBef>
              <a:buNone/>
              <a:defRPr sz="800">
                <a:solidFill>
                  <a:schemeClr val="bg1"/>
                </a:solidFill>
              </a:defRPr>
            </a:lvl2pPr>
            <a:lvl3pPr marL="0" indent="0" algn="l">
              <a:lnSpc>
                <a:spcPct val="100000"/>
              </a:lnSpc>
              <a:spcBef>
                <a:spcPts val="0"/>
              </a:spcBef>
              <a:buNone/>
              <a:defRPr sz="800">
                <a:solidFill>
                  <a:schemeClr val="bg1"/>
                </a:solidFill>
              </a:defRPr>
            </a:lvl3pPr>
            <a:lvl4pPr marL="0" algn="l">
              <a:lnSpc>
                <a:spcPct val="100000"/>
              </a:lnSpc>
              <a:spcBef>
                <a:spcPts val="0"/>
              </a:spcBef>
              <a:buNone/>
              <a:defRPr sz="800">
                <a:solidFill>
                  <a:schemeClr val="bg1"/>
                </a:solidFill>
              </a:defRPr>
            </a:lvl4pPr>
            <a:lvl5pPr marL="0" indent="0" algn="l">
              <a:lnSpc>
                <a:spcPct val="100000"/>
              </a:lnSpc>
              <a:spcBef>
                <a:spcPts val="0"/>
              </a:spcBef>
              <a:buNone/>
              <a:defRPr sz="800">
                <a:solidFill>
                  <a:schemeClr val="bg1"/>
                </a:solidFill>
              </a:defRPr>
            </a:lvl5pPr>
          </a:lstStyle>
          <a:p>
            <a:pPr lvl="0"/>
            <a:r>
              <a:rPr lang="en-US" dirty="0"/>
              <a:t>Source line</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778251319"/>
      </p:ext>
    </p:extLst>
  </p:cSld>
  <p:clrMapOvr>
    <a:masterClrMapping/>
  </p:clrMapOvr>
</p:sldLayout>
</file>

<file path=ppt/slideLayouts/slideLayout516.xml><?xml version="1.0" encoding="utf-8"?>
<p:sldLayout xmlns:a="http://schemas.openxmlformats.org/drawingml/2006/main" xmlns:r="http://schemas.openxmlformats.org/officeDocument/2006/relationships" xmlns:p="http://schemas.openxmlformats.org/presentationml/2006/main" preserve="1">
  <p:cSld name="Two pictures">
    <p:spTree>
      <p:nvGrpSpPr>
        <p:cNvPr id="1" name=""/>
        <p:cNvGrpSpPr/>
        <p:nvPr/>
      </p:nvGrpSpPr>
      <p:grpSpPr>
        <a:xfrm>
          <a:off x="0" y="0"/>
          <a:ext cx="0" cy="0"/>
          <a:chOff x="0" y="0"/>
          <a:chExt cx="0" cy="0"/>
        </a:xfrm>
      </p:grpSpPr>
      <p:sp>
        <p:nvSpPr>
          <p:cNvPr id="21" name="Date Placeholder 20"/>
          <p:cNvSpPr>
            <a:spLocks noGrp="1"/>
          </p:cNvSpPr>
          <p:nvPr>
            <p:ph type="dt" sz="half" idx="14"/>
          </p:nvPr>
        </p:nvSpPr>
        <p:spPr>
          <a:xfrm>
            <a:off x="192088" y="6461671"/>
            <a:ext cx="761512" cy="133790"/>
          </a:xfrm>
          <a:prstGeom prst="rect">
            <a:avLst/>
          </a:prstGeom>
        </p:spPr>
        <p:txBody>
          <a:bodyPr/>
          <a:lstStyle/>
          <a:p>
            <a:fld id="{0C2FFEBC-2BB8-4026-95F3-22D358B37101}" type="datetime5">
              <a:rPr lang="en-US" smtClean="0"/>
              <a:t>26-Jun-20</a:t>
            </a:fld>
            <a:endParaRPr lang="en-US"/>
          </a:p>
        </p:txBody>
      </p:sp>
      <p:sp>
        <p:nvSpPr>
          <p:cNvPr id="22" name="Footer Placeholder 21"/>
          <p:cNvSpPr>
            <a:spLocks noGrp="1"/>
          </p:cNvSpPr>
          <p:nvPr>
            <p:ph type="ftr" sz="quarter" idx="15"/>
          </p:nvPr>
        </p:nvSpPr>
        <p:spPr>
          <a:xfrm>
            <a:off x="1076400" y="6461671"/>
            <a:ext cx="8162717" cy="133790"/>
          </a:xfrm>
          <a:prstGeom prst="rect">
            <a:avLst/>
          </a:prstGeom>
        </p:spPr>
        <p:txBody>
          <a:bodyPr/>
          <a:lstStyle/>
          <a:p>
            <a:r>
              <a:rPr lang="en-US"/>
              <a:t>Title of presentation (Insert / Header &amp; Footer / Apply to All)</a:t>
            </a:r>
            <a:endParaRPr lang="en-US" dirty="0"/>
          </a:p>
        </p:txBody>
      </p:sp>
      <p:sp>
        <p:nvSpPr>
          <p:cNvPr id="23" name="Slide Number Placeholder 22"/>
          <p:cNvSpPr>
            <a:spLocks noGrp="1"/>
          </p:cNvSpPr>
          <p:nvPr>
            <p:ph type="sldNum" sz="quarter" idx="16"/>
          </p:nvPr>
        </p:nvSpPr>
        <p:spPr/>
        <p:txBody>
          <a:bodyPr/>
          <a:lstStyle/>
          <a:p>
            <a:fld id="{5F3E29E4-0979-4FCA-B4C5-5FC6044C982A}" type="slidenum">
              <a:rPr lang="en-US" smtClean="0"/>
              <a:t>‹#›</a:t>
            </a:fld>
            <a:endParaRPr lang="en-US"/>
          </a:p>
        </p:txBody>
      </p:sp>
      <p:sp>
        <p:nvSpPr>
          <p:cNvPr id="2" name="Title 1"/>
          <p:cNvSpPr>
            <a:spLocks noGrp="1"/>
          </p:cNvSpPr>
          <p:nvPr>
            <p:ph type="title" hasCustomPrompt="1"/>
          </p:nvPr>
        </p:nvSpPr>
        <p:spPr/>
        <p:txBody>
          <a:bodyPr/>
          <a:lstStyle>
            <a:lvl1pPr>
              <a:defRPr/>
            </a:lvl1pPr>
          </a:lstStyle>
          <a:p>
            <a:r>
              <a:rPr lang="en-US" dirty="0"/>
              <a:t>Click to add slide title</a:t>
            </a:r>
          </a:p>
        </p:txBody>
      </p:sp>
      <p:sp>
        <p:nvSpPr>
          <p:cNvPr id="7" name="Subtitle 2"/>
          <p:cNvSpPr>
            <a:spLocks noGrp="1"/>
          </p:cNvSpPr>
          <p:nvPr>
            <p:ph type="subTitle" idx="13" hasCustomPrompt="1"/>
          </p:nvPr>
        </p:nvSpPr>
        <p:spPr>
          <a:xfrm>
            <a:off x="1075061" y="964671"/>
            <a:ext cx="7910158" cy="490042"/>
          </a:xfrm>
        </p:spPr>
        <p:txBody>
          <a:bodyPr wrap="none"/>
          <a:lstStyle>
            <a:lvl1pPr marL="0" indent="0" algn="l">
              <a:spcBef>
                <a:spcPts val="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5" name="Picture Placeholder 4"/>
          <p:cNvSpPr>
            <a:spLocks noGrp="1"/>
          </p:cNvSpPr>
          <p:nvPr>
            <p:ph type="pic" sz="quarter" idx="17" hasCustomPrompt="1"/>
          </p:nvPr>
        </p:nvSpPr>
        <p:spPr>
          <a:xfrm>
            <a:off x="1075062" y="1637783"/>
            <a:ext cx="5220000" cy="4599506"/>
          </a:xfrm>
          <a:solidFill>
            <a:srgbClr val="D9DADB"/>
          </a:solidFill>
        </p:spPr>
        <p:txBody>
          <a:bodyPr/>
          <a:lstStyle>
            <a:lvl1pPr marL="0" indent="0">
              <a:buNone/>
              <a:defRPr/>
            </a:lvl1pPr>
          </a:lstStyle>
          <a:p>
            <a:r>
              <a:rPr lang="en-US" dirty="0"/>
              <a:t>Insert picture</a:t>
            </a:r>
          </a:p>
        </p:txBody>
      </p:sp>
      <p:sp>
        <p:nvSpPr>
          <p:cNvPr id="9" name="Picture Placeholder 4"/>
          <p:cNvSpPr>
            <a:spLocks noGrp="1"/>
          </p:cNvSpPr>
          <p:nvPr>
            <p:ph type="pic" sz="quarter" idx="18" hasCustomPrompt="1"/>
          </p:nvPr>
        </p:nvSpPr>
        <p:spPr>
          <a:xfrm>
            <a:off x="6600525" y="1637783"/>
            <a:ext cx="5220000" cy="4599506"/>
          </a:xfrm>
          <a:solidFill>
            <a:srgbClr val="D9DADB"/>
          </a:solidFill>
        </p:spPr>
        <p:txBody>
          <a:bodyPr/>
          <a:lstStyle>
            <a:lvl1pPr marL="0" indent="0">
              <a:buNone/>
              <a:defRPr/>
            </a:lvl1pPr>
          </a:lstStyle>
          <a:p>
            <a:r>
              <a:rPr lang="en-US" dirty="0"/>
              <a:t>Insert picture</a:t>
            </a:r>
          </a:p>
        </p:txBody>
      </p:sp>
      <p:sp>
        <p:nvSpPr>
          <p:cNvPr id="11" name="Text Placeholder 4"/>
          <p:cNvSpPr>
            <a:spLocks noGrp="1"/>
          </p:cNvSpPr>
          <p:nvPr>
            <p:ph type="body" sz="quarter" idx="19" hasCustomPrompt="1"/>
          </p:nvPr>
        </p:nvSpPr>
        <p:spPr>
          <a:xfrm>
            <a:off x="1075063" y="6307665"/>
            <a:ext cx="8162717" cy="133200"/>
          </a:xfrm>
        </p:spPr>
        <p:txBody>
          <a:bodyPr lIns="0" tIns="0" rIns="0" bIns="0" anchor="b" anchorCtr="0"/>
          <a:lstStyle>
            <a:lvl1pPr marL="0" indent="0" algn="l">
              <a:lnSpc>
                <a:spcPct val="100000"/>
              </a:lnSpc>
              <a:spcBef>
                <a:spcPts val="0"/>
              </a:spcBef>
              <a:buNone/>
              <a:defRPr sz="800" baseline="0"/>
            </a:lvl1pPr>
            <a:lvl2pPr marL="0" indent="0" algn="l">
              <a:lnSpc>
                <a:spcPct val="100000"/>
              </a:lnSpc>
              <a:spcBef>
                <a:spcPts val="0"/>
              </a:spcBef>
              <a:buNone/>
              <a:defRPr sz="800"/>
            </a:lvl2pPr>
            <a:lvl3pPr marL="0" indent="0" algn="l">
              <a:lnSpc>
                <a:spcPct val="100000"/>
              </a:lnSpc>
              <a:spcBef>
                <a:spcPts val="0"/>
              </a:spcBef>
              <a:buNone/>
              <a:defRPr sz="800"/>
            </a:lvl3pPr>
            <a:lvl4pPr marL="0" algn="l">
              <a:lnSpc>
                <a:spcPct val="100000"/>
              </a:lnSpc>
              <a:spcBef>
                <a:spcPts val="0"/>
              </a:spcBef>
              <a:buNone/>
              <a:defRPr sz="800"/>
            </a:lvl4pPr>
            <a:lvl5pPr marL="0" indent="0" algn="l">
              <a:lnSpc>
                <a:spcPct val="100000"/>
              </a:lnSpc>
              <a:spcBef>
                <a:spcPts val="0"/>
              </a:spcBef>
              <a:buNone/>
              <a:defRPr sz="800"/>
            </a:lvl5pPr>
          </a:lstStyle>
          <a:p>
            <a:pPr lvl="0"/>
            <a:r>
              <a:rPr lang="en-US" dirty="0"/>
              <a:t>Source line</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557166712"/>
      </p:ext>
    </p:extLst>
  </p:cSld>
  <p:clrMapOvr>
    <a:masterClrMapping/>
  </p:clrMapOvr>
</p:sldLayout>
</file>

<file path=ppt/slideLayouts/slideLayout517.xml><?xml version="1.0" encoding="utf-8"?>
<p:sldLayout xmlns:a="http://schemas.openxmlformats.org/drawingml/2006/main" xmlns:r="http://schemas.openxmlformats.org/officeDocument/2006/relationships" xmlns:p="http://schemas.openxmlformats.org/presentationml/2006/main" preserve="1">
  <p:cSld name="Two contents">
    <p:spTree>
      <p:nvGrpSpPr>
        <p:cNvPr id="1" name=""/>
        <p:cNvGrpSpPr/>
        <p:nvPr/>
      </p:nvGrpSpPr>
      <p:grpSpPr>
        <a:xfrm>
          <a:off x="0" y="0"/>
          <a:ext cx="0" cy="0"/>
          <a:chOff x="0" y="0"/>
          <a:chExt cx="0" cy="0"/>
        </a:xfrm>
      </p:grpSpPr>
      <p:sp>
        <p:nvSpPr>
          <p:cNvPr id="21" name="Date Placeholder 20"/>
          <p:cNvSpPr>
            <a:spLocks noGrp="1"/>
          </p:cNvSpPr>
          <p:nvPr>
            <p:ph type="dt" sz="half" idx="14"/>
          </p:nvPr>
        </p:nvSpPr>
        <p:spPr>
          <a:xfrm>
            <a:off x="192088" y="6461671"/>
            <a:ext cx="761512" cy="133790"/>
          </a:xfrm>
          <a:prstGeom prst="rect">
            <a:avLst/>
          </a:prstGeom>
        </p:spPr>
        <p:txBody>
          <a:bodyPr/>
          <a:lstStyle/>
          <a:p>
            <a:fld id="{9D45F382-CD09-4611-8552-1549F9F12240}" type="datetime5">
              <a:rPr lang="en-US" smtClean="0"/>
              <a:t>26-Jun-20</a:t>
            </a:fld>
            <a:endParaRPr lang="en-US"/>
          </a:p>
        </p:txBody>
      </p:sp>
      <p:sp>
        <p:nvSpPr>
          <p:cNvPr id="22" name="Footer Placeholder 21"/>
          <p:cNvSpPr>
            <a:spLocks noGrp="1"/>
          </p:cNvSpPr>
          <p:nvPr>
            <p:ph type="ftr" sz="quarter" idx="15"/>
          </p:nvPr>
        </p:nvSpPr>
        <p:spPr>
          <a:xfrm>
            <a:off x="1076400" y="6461671"/>
            <a:ext cx="8162717" cy="133790"/>
          </a:xfrm>
          <a:prstGeom prst="rect">
            <a:avLst/>
          </a:prstGeom>
        </p:spPr>
        <p:txBody>
          <a:bodyPr/>
          <a:lstStyle/>
          <a:p>
            <a:r>
              <a:rPr lang="en-US"/>
              <a:t>Title of presentation (Insert / Header &amp; Footer / Apply to All)</a:t>
            </a:r>
            <a:endParaRPr lang="en-US" dirty="0"/>
          </a:p>
        </p:txBody>
      </p:sp>
      <p:sp>
        <p:nvSpPr>
          <p:cNvPr id="23" name="Slide Number Placeholder 22"/>
          <p:cNvSpPr>
            <a:spLocks noGrp="1"/>
          </p:cNvSpPr>
          <p:nvPr>
            <p:ph type="sldNum" sz="quarter" idx="16"/>
          </p:nvPr>
        </p:nvSpPr>
        <p:spPr/>
        <p:txBody>
          <a:bodyPr/>
          <a:lstStyle/>
          <a:p>
            <a:fld id="{5F3E29E4-0979-4FCA-B4C5-5FC6044C982A}" type="slidenum">
              <a:rPr lang="en-US" smtClean="0"/>
              <a:t>‹#›</a:t>
            </a:fld>
            <a:endParaRPr lang="en-US"/>
          </a:p>
        </p:txBody>
      </p:sp>
      <p:sp>
        <p:nvSpPr>
          <p:cNvPr id="2" name="Title 1"/>
          <p:cNvSpPr>
            <a:spLocks noGrp="1"/>
          </p:cNvSpPr>
          <p:nvPr>
            <p:ph type="title" hasCustomPrompt="1"/>
          </p:nvPr>
        </p:nvSpPr>
        <p:spPr/>
        <p:txBody>
          <a:bodyPr/>
          <a:lstStyle>
            <a:lvl1pPr>
              <a:defRPr/>
            </a:lvl1pPr>
          </a:lstStyle>
          <a:p>
            <a:r>
              <a:rPr lang="en-US" dirty="0"/>
              <a:t>Click to add slide title</a:t>
            </a:r>
          </a:p>
        </p:txBody>
      </p:sp>
      <p:sp>
        <p:nvSpPr>
          <p:cNvPr id="7" name="Subtitle 2"/>
          <p:cNvSpPr>
            <a:spLocks noGrp="1"/>
          </p:cNvSpPr>
          <p:nvPr>
            <p:ph type="subTitle" idx="13" hasCustomPrompt="1"/>
          </p:nvPr>
        </p:nvSpPr>
        <p:spPr>
          <a:xfrm>
            <a:off x="1075061" y="964671"/>
            <a:ext cx="7910158" cy="490042"/>
          </a:xfrm>
        </p:spPr>
        <p:txBody>
          <a:bodyPr wrap="none"/>
          <a:lstStyle>
            <a:lvl1pPr marL="0" indent="0" algn="l">
              <a:spcBef>
                <a:spcPts val="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3" name="Content Placeholder 2"/>
          <p:cNvSpPr>
            <a:spLocks noGrp="1"/>
          </p:cNvSpPr>
          <p:nvPr>
            <p:ph idx="1" hasCustomPrompt="1"/>
          </p:nvPr>
        </p:nvSpPr>
        <p:spPr>
          <a:xfrm>
            <a:off x="1075062" y="1629618"/>
            <a:ext cx="5220000" cy="4139357"/>
          </a:xfrm>
        </p:spPr>
        <p:txBody>
          <a:bodyPr/>
          <a:lstStyle>
            <a:lvl1pPr>
              <a:defRPr/>
            </a:lvl1pPr>
          </a:lstStyle>
          <a:p>
            <a:pPr lvl="0"/>
            <a:r>
              <a:rPr lang="en-US" dirty="0"/>
              <a:t>Click to add text or conten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Content Placeholder 2"/>
          <p:cNvSpPr>
            <a:spLocks noGrp="1"/>
          </p:cNvSpPr>
          <p:nvPr>
            <p:ph idx="17" hasCustomPrompt="1"/>
          </p:nvPr>
        </p:nvSpPr>
        <p:spPr>
          <a:xfrm>
            <a:off x="6600525" y="1629618"/>
            <a:ext cx="5220000" cy="4139357"/>
          </a:xfrm>
        </p:spPr>
        <p:txBody>
          <a:bodyPr/>
          <a:lstStyle>
            <a:lvl1pPr>
              <a:defRPr/>
            </a:lvl1pPr>
          </a:lstStyle>
          <a:p>
            <a:pPr lvl="0"/>
            <a:r>
              <a:rPr lang="en-US" dirty="0"/>
              <a:t>Click to add text or conten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4"/>
          <p:cNvSpPr>
            <a:spLocks noGrp="1"/>
          </p:cNvSpPr>
          <p:nvPr>
            <p:ph type="body" sz="quarter" idx="18" hasCustomPrompt="1"/>
          </p:nvPr>
        </p:nvSpPr>
        <p:spPr>
          <a:xfrm>
            <a:off x="1075063" y="6307665"/>
            <a:ext cx="8162717" cy="133200"/>
          </a:xfrm>
        </p:spPr>
        <p:txBody>
          <a:bodyPr lIns="0" tIns="0" rIns="0" bIns="0" anchor="b" anchorCtr="0"/>
          <a:lstStyle>
            <a:lvl1pPr marL="0" indent="0" algn="l">
              <a:lnSpc>
                <a:spcPct val="100000"/>
              </a:lnSpc>
              <a:spcBef>
                <a:spcPts val="0"/>
              </a:spcBef>
              <a:buNone/>
              <a:defRPr sz="800" baseline="0"/>
            </a:lvl1pPr>
            <a:lvl2pPr marL="0" indent="0" algn="l">
              <a:lnSpc>
                <a:spcPct val="100000"/>
              </a:lnSpc>
              <a:spcBef>
                <a:spcPts val="0"/>
              </a:spcBef>
              <a:buNone/>
              <a:defRPr sz="800"/>
            </a:lvl2pPr>
            <a:lvl3pPr marL="0" indent="0" algn="l">
              <a:lnSpc>
                <a:spcPct val="100000"/>
              </a:lnSpc>
              <a:spcBef>
                <a:spcPts val="0"/>
              </a:spcBef>
              <a:buNone/>
              <a:defRPr sz="800"/>
            </a:lvl3pPr>
            <a:lvl4pPr marL="0" algn="l">
              <a:lnSpc>
                <a:spcPct val="100000"/>
              </a:lnSpc>
              <a:spcBef>
                <a:spcPts val="0"/>
              </a:spcBef>
              <a:buNone/>
              <a:defRPr sz="800"/>
            </a:lvl4pPr>
            <a:lvl5pPr marL="0" indent="0" algn="l">
              <a:lnSpc>
                <a:spcPct val="100000"/>
              </a:lnSpc>
              <a:spcBef>
                <a:spcPts val="0"/>
              </a:spcBef>
              <a:buNone/>
              <a:defRPr sz="800"/>
            </a:lvl5pPr>
          </a:lstStyle>
          <a:p>
            <a:pPr lvl="0"/>
            <a:r>
              <a:rPr lang="en-US" dirty="0"/>
              <a:t>Source line</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493832183"/>
      </p:ext>
    </p:extLst>
  </p:cSld>
  <p:clrMapOvr>
    <a:masterClrMapping/>
  </p:clrMapOvr>
</p:sldLayout>
</file>

<file path=ppt/slideLayouts/slideLayout518.xml><?xml version="1.0" encoding="utf-8"?>
<p:sldLayout xmlns:a="http://schemas.openxmlformats.org/drawingml/2006/main" xmlns:r="http://schemas.openxmlformats.org/officeDocument/2006/relationships" xmlns:p="http://schemas.openxmlformats.org/presentationml/2006/main" preserve="1">
  <p:cSld name="Three contents">
    <p:spTree>
      <p:nvGrpSpPr>
        <p:cNvPr id="1" name=""/>
        <p:cNvGrpSpPr/>
        <p:nvPr/>
      </p:nvGrpSpPr>
      <p:grpSpPr>
        <a:xfrm>
          <a:off x="0" y="0"/>
          <a:ext cx="0" cy="0"/>
          <a:chOff x="0" y="0"/>
          <a:chExt cx="0" cy="0"/>
        </a:xfrm>
      </p:grpSpPr>
      <p:sp>
        <p:nvSpPr>
          <p:cNvPr id="21" name="Date Placeholder 20"/>
          <p:cNvSpPr>
            <a:spLocks noGrp="1"/>
          </p:cNvSpPr>
          <p:nvPr>
            <p:ph type="dt" sz="half" idx="14"/>
          </p:nvPr>
        </p:nvSpPr>
        <p:spPr>
          <a:xfrm>
            <a:off x="192088" y="6461671"/>
            <a:ext cx="761512" cy="133790"/>
          </a:xfrm>
          <a:prstGeom prst="rect">
            <a:avLst/>
          </a:prstGeom>
        </p:spPr>
        <p:txBody>
          <a:bodyPr/>
          <a:lstStyle/>
          <a:p>
            <a:fld id="{E67FA33E-39D1-4C68-AC07-495881E0A93B}" type="datetime5">
              <a:rPr lang="en-US" smtClean="0"/>
              <a:t>26-Jun-20</a:t>
            </a:fld>
            <a:endParaRPr lang="en-US"/>
          </a:p>
        </p:txBody>
      </p:sp>
      <p:sp>
        <p:nvSpPr>
          <p:cNvPr id="22" name="Footer Placeholder 21"/>
          <p:cNvSpPr>
            <a:spLocks noGrp="1"/>
          </p:cNvSpPr>
          <p:nvPr>
            <p:ph type="ftr" sz="quarter" idx="15"/>
          </p:nvPr>
        </p:nvSpPr>
        <p:spPr>
          <a:xfrm>
            <a:off x="1076400" y="6461671"/>
            <a:ext cx="8162717" cy="133790"/>
          </a:xfrm>
          <a:prstGeom prst="rect">
            <a:avLst/>
          </a:prstGeom>
        </p:spPr>
        <p:txBody>
          <a:bodyPr/>
          <a:lstStyle/>
          <a:p>
            <a:r>
              <a:rPr lang="en-US"/>
              <a:t>Title of presentation (Insert / Header &amp; Footer / Apply to All)</a:t>
            </a:r>
            <a:endParaRPr lang="en-US" dirty="0"/>
          </a:p>
        </p:txBody>
      </p:sp>
      <p:sp>
        <p:nvSpPr>
          <p:cNvPr id="23" name="Slide Number Placeholder 22"/>
          <p:cNvSpPr>
            <a:spLocks noGrp="1"/>
          </p:cNvSpPr>
          <p:nvPr>
            <p:ph type="sldNum" sz="quarter" idx="16"/>
          </p:nvPr>
        </p:nvSpPr>
        <p:spPr/>
        <p:txBody>
          <a:bodyPr/>
          <a:lstStyle/>
          <a:p>
            <a:fld id="{5F3E29E4-0979-4FCA-B4C5-5FC6044C982A}" type="slidenum">
              <a:rPr lang="en-US" smtClean="0"/>
              <a:t>‹#›</a:t>
            </a:fld>
            <a:endParaRPr lang="en-US"/>
          </a:p>
        </p:txBody>
      </p:sp>
      <p:sp>
        <p:nvSpPr>
          <p:cNvPr id="2" name="Title 1"/>
          <p:cNvSpPr>
            <a:spLocks noGrp="1"/>
          </p:cNvSpPr>
          <p:nvPr>
            <p:ph type="title" hasCustomPrompt="1"/>
          </p:nvPr>
        </p:nvSpPr>
        <p:spPr/>
        <p:txBody>
          <a:bodyPr/>
          <a:lstStyle>
            <a:lvl1pPr>
              <a:defRPr/>
            </a:lvl1pPr>
          </a:lstStyle>
          <a:p>
            <a:r>
              <a:rPr lang="en-US" dirty="0"/>
              <a:t>Click to add slide title</a:t>
            </a:r>
          </a:p>
        </p:txBody>
      </p:sp>
      <p:sp>
        <p:nvSpPr>
          <p:cNvPr id="7" name="Subtitle 2"/>
          <p:cNvSpPr>
            <a:spLocks noGrp="1"/>
          </p:cNvSpPr>
          <p:nvPr>
            <p:ph type="subTitle" idx="13" hasCustomPrompt="1"/>
          </p:nvPr>
        </p:nvSpPr>
        <p:spPr>
          <a:xfrm>
            <a:off x="1075061" y="964671"/>
            <a:ext cx="7910158" cy="490042"/>
          </a:xfrm>
        </p:spPr>
        <p:txBody>
          <a:bodyPr wrap="none"/>
          <a:lstStyle>
            <a:lvl1pPr marL="0" indent="0" algn="l">
              <a:spcBef>
                <a:spcPts val="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3" name="Content Placeholder 2"/>
          <p:cNvSpPr>
            <a:spLocks noGrp="1"/>
          </p:cNvSpPr>
          <p:nvPr>
            <p:ph idx="1" hasCustomPrompt="1"/>
          </p:nvPr>
        </p:nvSpPr>
        <p:spPr>
          <a:xfrm>
            <a:off x="1075061" y="1629618"/>
            <a:ext cx="3384000" cy="4139357"/>
          </a:xfrm>
        </p:spPr>
        <p:txBody>
          <a:bodyPr/>
          <a:lstStyle>
            <a:lvl1pPr>
              <a:defRPr/>
            </a:lvl1pPr>
          </a:lstStyle>
          <a:p>
            <a:pPr lvl="0"/>
            <a:r>
              <a:rPr lang="en-US" dirty="0"/>
              <a:t>Click to add text or conten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Content Placeholder 2"/>
          <p:cNvSpPr>
            <a:spLocks noGrp="1"/>
          </p:cNvSpPr>
          <p:nvPr>
            <p:ph idx="17" hasCustomPrompt="1"/>
          </p:nvPr>
        </p:nvSpPr>
        <p:spPr>
          <a:xfrm>
            <a:off x="4755793" y="1629618"/>
            <a:ext cx="3384000" cy="4139357"/>
          </a:xfrm>
        </p:spPr>
        <p:txBody>
          <a:bodyPr/>
          <a:lstStyle>
            <a:lvl1pPr>
              <a:defRPr/>
            </a:lvl1pPr>
          </a:lstStyle>
          <a:p>
            <a:pPr lvl="0"/>
            <a:r>
              <a:rPr lang="en-US" dirty="0"/>
              <a:t>Click to add text or conten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Content Placeholder 2"/>
          <p:cNvSpPr>
            <a:spLocks noGrp="1"/>
          </p:cNvSpPr>
          <p:nvPr>
            <p:ph idx="18" hasCustomPrompt="1"/>
          </p:nvPr>
        </p:nvSpPr>
        <p:spPr>
          <a:xfrm>
            <a:off x="8436525" y="1629618"/>
            <a:ext cx="3384000" cy="4139357"/>
          </a:xfrm>
        </p:spPr>
        <p:txBody>
          <a:bodyPr/>
          <a:lstStyle>
            <a:lvl1pPr>
              <a:defRPr/>
            </a:lvl1pPr>
          </a:lstStyle>
          <a:p>
            <a:pPr lvl="0"/>
            <a:r>
              <a:rPr lang="en-US" dirty="0"/>
              <a:t>Click to add text or conten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4"/>
          <p:cNvSpPr>
            <a:spLocks noGrp="1"/>
          </p:cNvSpPr>
          <p:nvPr>
            <p:ph type="body" sz="quarter" idx="19" hasCustomPrompt="1"/>
          </p:nvPr>
        </p:nvSpPr>
        <p:spPr>
          <a:xfrm>
            <a:off x="1075063" y="6307665"/>
            <a:ext cx="8162717" cy="133200"/>
          </a:xfrm>
        </p:spPr>
        <p:txBody>
          <a:bodyPr lIns="0" tIns="0" rIns="0" bIns="0" anchor="b" anchorCtr="0"/>
          <a:lstStyle>
            <a:lvl1pPr marL="0" indent="0" algn="l">
              <a:lnSpc>
                <a:spcPct val="100000"/>
              </a:lnSpc>
              <a:spcBef>
                <a:spcPts val="0"/>
              </a:spcBef>
              <a:buNone/>
              <a:defRPr sz="800" baseline="0"/>
            </a:lvl1pPr>
            <a:lvl2pPr marL="0" indent="0" algn="l">
              <a:lnSpc>
                <a:spcPct val="100000"/>
              </a:lnSpc>
              <a:spcBef>
                <a:spcPts val="0"/>
              </a:spcBef>
              <a:buNone/>
              <a:defRPr sz="800"/>
            </a:lvl2pPr>
            <a:lvl3pPr marL="0" indent="0" algn="l">
              <a:lnSpc>
                <a:spcPct val="100000"/>
              </a:lnSpc>
              <a:spcBef>
                <a:spcPts val="0"/>
              </a:spcBef>
              <a:buNone/>
              <a:defRPr sz="800"/>
            </a:lvl3pPr>
            <a:lvl4pPr marL="0" algn="l">
              <a:lnSpc>
                <a:spcPct val="100000"/>
              </a:lnSpc>
              <a:spcBef>
                <a:spcPts val="0"/>
              </a:spcBef>
              <a:buNone/>
              <a:defRPr sz="800"/>
            </a:lvl4pPr>
            <a:lvl5pPr marL="0" indent="0" algn="l">
              <a:lnSpc>
                <a:spcPct val="100000"/>
              </a:lnSpc>
              <a:spcBef>
                <a:spcPts val="0"/>
              </a:spcBef>
              <a:buNone/>
              <a:defRPr sz="800"/>
            </a:lvl5pPr>
          </a:lstStyle>
          <a:p>
            <a:pPr lvl="0"/>
            <a:r>
              <a:rPr lang="en-US" dirty="0"/>
              <a:t>Source line</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069837854"/>
      </p:ext>
    </p:extLst>
  </p:cSld>
  <p:clrMapOvr>
    <a:masterClrMapping/>
  </p:clrMapOvr>
</p:sldLayout>
</file>

<file path=ppt/slideLayouts/slideLayout519.xml><?xml version="1.0" encoding="utf-8"?>
<p:sldLayout xmlns:a="http://schemas.openxmlformats.org/drawingml/2006/main" xmlns:r="http://schemas.openxmlformats.org/officeDocument/2006/relationships" xmlns:p="http://schemas.openxmlformats.org/presentationml/2006/main" preserve="1">
  <p:cSld name="Four contents 1">
    <p:spTree>
      <p:nvGrpSpPr>
        <p:cNvPr id="1" name=""/>
        <p:cNvGrpSpPr/>
        <p:nvPr/>
      </p:nvGrpSpPr>
      <p:grpSpPr>
        <a:xfrm>
          <a:off x="0" y="0"/>
          <a:ext cx="0" cy="0"/>
          <a:chOff x="0" y="0"/>
          <a:chExt cx="0" cy="0"/>
        </a:xfrm>
      </p:grpSpPr>
      <p:sp>
        <p:nvSpPr>
          <p:cNvPr id="21" name="Date Placeholder 20"/>
          <p:cNvSpPr>
            <a:spLocks noGrp="1"/>
          </p:cNvSpPr>
          <p:nvPr>
            <p:ph type="dt" sz="half" idx="14"/>
          </p:nvPr>
        </p:nvSpPr>
        <p:spPr>
          <a:xfrm>
            <a:off x="192088" y="6461671"/>
            <a:ext cx="761512" cy="133790"/>
          </a:xfrm>
          <a:prstGeom prst="rect">
            <a:avLst/>
          </a:prstGeom>
        </p:spPr>
        <p:txBody>
          <a:bodyPr/>
          <a:lstStyle/>
          <a:p>
            <a:fld id="{C2672A55-7139-4AA9-8041-42818C956C2C}" type="datetime5">
              <a:rPr lang="en-US" smtClean="0"/>
              <a:t>26-Jun-20</a:t>
            </a:fld>
            <a:endParaRPr lang="en-US"/>
          </a:p>
        </p:txBody>
      </p:sp>
      <p:sp>
        <p:nvSpPr>
          <p:cNvPr id="22" name="Footer Placeholder 21"/>
          <p:cNvSpPr>
            <a:spLocks noGrp="1"/>
          </p:cNvSpPr>
          <p:nvPr>
            <p:ph type="ftr" sz="quarter" idx="15"/>
          </p:nvPr>
        </p:nvSpPr>
        <p:spPr>
          <a:xfrm>
            <a:off x="1076400" y="6461671"/>
            <a:ext cx="8162717" cy="133790"/>
          </a:xfrm>
          <a:prstGeom prst="rect">
            <a:avLst/>
          </a:prstGeom>
        </p:spPr>
        <p:txBody>
          <a:bodyPr/>
          <a:lstStyle/>
          <a:p>
            <a:r>
              <a:rPr lang="en-US"/>
              <a:t>Title of presentation (Insert / Header &amp; Footer / Apply to All)</a:t>
            </a:r>
            <a:endParaRPr lang="en-US" dirty="0"/>
          </a:p>
        </p:txBody>
      </p:sp>
      <p:sp>
        <p:nvSpPr>
          <p:cNvPr id="23" name="Slide Number Placeholder 22"/>
          <p:cNvSpPr>
            <a:spLocks noGrp="1"/>
          </p:cNvSpPr>
          <p:nvPr>
            <p:ph type="sldNum" sz="quarter" idx="16"/>
          </p:nvPr>
        </p:nvSpPr>
        <p:spPr/>
        <p:txBody>
          <a:bodyPr/>
          <a:lstStyle/>
          <a:p>
            <a:fld id="{5F3E29E4-0979-4FCA-B4C5-5FC6044C982A}" type="slidenum">
              <a:rPr lang="en-US" smtClean="0"/>
              <a:t>‹#›</a:t>
            </a:fld>
            <a:endParaRPr lang="en-US"/>
          </a:p>
        </p:txBody>
      </p:sp>
      <p:sp>
        <p:nvSpPr>
          <p:cNvPr id="2" name="Title 1"/>
          <p:cNvSpPr>
            <a:spLocks noGrp="1"/>
          </p:cNvSpPr>
          <p:nvPr>
            <p:ph type="title" hasCustomPrompt="1"/>
          </p:nvPr>
        </p:nvSpPr>
        <p:spPr/>
        <p:txBody>
          <a:bodyPr/>
          <a:lstStyle>
            <a:lvl1pPr>
              <a:defRPr/>
            </a:lvl1pPr>
          </a:lstStyle>
          <a:p>
            <a:r>
              <a:rPr lang="en-US" dirty="0"/>
              <a:t>Click to add slide title</a:t>
            </a:r>
          </a:p>
        </p:txBody>
      </p:sp>
      <p:sp>
        <p:nvSpPr>
          <p:cNvPr id="7" name="Subtitle 2"/>
          <p:cNvSpPr>
            <a:spLocks noGrp="1"/>
          </p:cNvSpPr>
          <p:nvPr>
            <p:ph type="subTitle" idx="13" hasCustomPrompt="1"/>
          </p:nvPr>
        </p:nvSpPr>
        <p:spPr>
          <a:xfrm>
            <a:off x="1075061" y="964671"/>
            <a:ext cx="7910158" cy="490042"/>
          </a:xfrm>
        </p:spPr>
        <p:txBody>
          <a:bodyPr wrap="none"/>
          <a:lstStyle>
            <a:lvl1pPr marL="0" indent="0" algn="l">
              <a:spcBef>
                <a:spcPts val="0"/>
              </a:spcBef>
              <a:buNone/>
              <a:defRPr sz="2400" baseline="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3" name="Content Placeholder 2"/>
          <p:cNvSpPr>
            <a:spLocks noGrp="1"/>
          </p:cNvSpPr>
          <p:nvPr>
            <p:ph idx="1" hasCustomPrompt="1"/>
          </p:nvPr>
        </p:nvSpPr>
        <p:spPr>
          <a:xfrm>
            <a:off x="192088" y="1629618"/>
            <a:ext cx="2682000" cy="4139357"/>
          </a:xfrm>
        </p:spPr>
        <p:txBody>
          <a:bodyPr/>
          <a:lstStyle>
            <a:lvl1pPr>
              <a:defRPr/>
            </a:lvl1pPr>
          </a:lstStyle>
          <a:p>
            <a:pPr lvl="0"/>
            <a:r>
              <a:rPr lang="en-US" dirty="0"/>
              <a:t>Click to add text or conten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Content Placeholder 2"/>
          <p:cNvSpPr>
            <a:spLocks noGrp="1"/>
          </p:cNvSpPr>
          <p:nvPr>
            <p:ph idx="17" hasCustomPrompt="1"/>
          </p:nvPr>
        </p:nvSpPr>
        <p:spPr>
          <a:xfrm>
            <a:off x="3174234" y="1629618"/>
            <a:ext cx="2682000" cy="4139357"/>
          </a:xfrm>
        </p:spPr>
        <p:txBody>
          <a:bodyPr/>
          <a:lstStyle>
            <a:lvl1pPr>
              <a:defRPr/>
            </a:lvl1pPr>
          </a:lstStyle>
          <a:p>
            <a:pPr lvl="0"/>
            <a:r>
              <a:rPr lang="en-US" dirty="0"/>
              <a:t>Click to add text or conten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Content Placeholder 2"/>
          <p:cNvSpPr>
            <a:spLocks noGrp="1"/>
          </p:cNvSpPr>
          <p:nvPr>
            <p:ph idx="18" hasCustomPrompt="1"/>
          </p:nvPr>
        </p:nvSpPr>
        <p:spPr>
          <a:xfrm>
            <a:off x="6156380" y="1629618"/>
            <a:ext cx="2682000" cy="4139357"/>
          </a:xfrm>
        </p:spPr>
        <p:txBody>
          <a:bodyPr/>
          <a:lstStyle>
            <a:lvl1pPr>
              <a:defRPr/>
            </a:lvl1pPr>
          </a:lstStyle>
          <a:p>
            <a:pPr lvl="0"/>
            <a:r>
              <a:rPr lang="en-US" dirty="0"/>
              <a:t>Click to add text or conten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Content Placeholder 2"/>
          <p:cNvSpPr>
            <a:spLocks noGrp="1"/>
          </p:cNvSpPr>
          <p:nvPr>
            <p:ph idx="19" hasCustomPrompt="1"/>
          </p:nvPr>
        </p:nvSpPr>
        <p:spPr>
          <a:xfrm>
            <a:off x="9138525" y="1629618"/>
            <a:ext cx="2682000" cy="4139357"/>
          </a:xfrm>
        </p:spPr>
        <p:txBody>
          <a:bodyPr/>
          <a:lstStyle>
            <a:lvl1pPr>
              <a:defRPr/>
            </a:lvl1pPr>
          </a:lstStyle>
          <a:p>
            <a:pPr lvl="0"/>
            <a:r>
              <a:rPr lang="en-US" dirty="0"/>
              <a:t>Click to add text or conten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4"/>
          <p:cNvSpPr>
            <a:spLocks noGrp="1"/>
          </p:cNvSpPr>
          <p:nvPr>
            <p:ph type="body" sz="quarter" idx="20" hasCustomPrompt="1"/>
          </p:nvPr>
        </p:nvSpPr>
        <p:spPr>
          <a:xfrm>
            <a:off x="1075063" y="6307665"/>
            <a:ext cx="8162717" cy="133200"/>
          </a:xfrm>
        </p:spPr>
        <p:txBody>
          <a:bodyPr lIns="0" tIns="0" rIns="0" bIns="0" anchor="b" anchorCtr="0"/>
          <a:lstStyle>
            <a:lvl1pPr marL="0" indent="0" algn="l">
              <a:lnSpc>
                <a:spcPct val="100000"/>
              </a:lnSpc>
              <a:spcBef>
                <a:spcPts val="0"/>
              </a:spcBef>
              <a:buNone/>
              <a:defRPr sz="800" baseline="0"/>
            </a:lvl1pPr>
            <a:lvl2pPr marL="0" indent="0" algn="l">
              <a:lnSpc>
                <a:spcPct val="100000"/>
              </a:lnSpc>
              <a:spcBef>
                <a:spcPts val="0"/>
              </a:spcBef>
              <a:buNone/>
              <a:defRPr sz="800"/>
            </a:lvl2pPr>
            <a:lvl3pPr marL="0" indent="0" algn="l">
              <a:lnSpc>
                <a:spcPct val="100000"/>
              </a:lnSpc>
              <a:spcBef>
                <a:spcPts val="0"/>
              </a:spcBef>
              <a:buNone/>
              <a:defRPr sz="800"/>
            </a:lvl3pPr>
            <a:lvl4pPr marL="0" algn="l">
              <a:lnSpc>
                <a:spcPct val="100000"/>
              </a:lnSpc>
              <a:spcBef>
                <a:spcPts val="0"/>
              </a:spcBef>
              <a:buNone/>
              <a:defRPr sz="800"/>
            </a:lvl4pPr>
            <a:lvl5pPr marL="0" indent="0" algn="l">
              <a:lnSpc>
                <a:spcPct val="100000"/>
              </a:lnSpc>
              <a:spcBef>
                <a:spcPts val="0"/>
              </a:spcBef>
              <a:buNone/>
              <a:defRPr sz="800"/>
            </a:lvl5pPr>
          </a:lstStyle>
          <a:p>
            <a:pPr lvl="0"/>
            <a:r>
              <a:rPr lang="en-US" dirty="0"/>
              <a:t>Source line</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315410467"/>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Headline only">
    <p:spTree>
      <p:nvGrpSpPr>
        <p:cNvPr id="1" name=""/>
        <p:cNvGrpSpPr/>
        <p:nvPr/>
      </p:nvGrpSpPr>
      <p:grpSpPr>
        <a:xfrm>
          <a:off x="0" y="0"/>
          <a:ext cx="0" cy="0"/>
          <a:chOff x="0" y="0"/>
          <a:chExt cx="0" cy="0"/>
        </a:xfrm>
      </p:grpSpPr>
      <p:sp>
        <p:nvSpPr>
          <p:cNvPr id="3" name="Textplatzhalter 2"/>
          <p:cNvSpPr>
            <a:spLocks noGrp="1"/>
          </p:cNvSpPr>
          <p:nvPr>
            <p:ph type="body" sz="quarter" idx="10" hasCustomPrompt="1"/>
          </p:nvPr>
        </p:nvSpPr>
        <p:spPr bwMode="gray">
          <a:xfrm>
            <a:off x="431213" y="1220755"/>
            <a:ext cx="11328987" cy="384340"/>
          </a:xfrm>
        </p:spPr>
        <p:txBody>
          <a:bodyPr>
            <a:noAutofit/>
          </a:bodyPr>
          <a:lstStyle>
            <a:lvl1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1pPr>
            <a:lvl2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2pPr>
            <a:lvl3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3pPr>
            <a:lvl4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4pPr>
            <a:lvl5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5pPr>
            <a:lvl6pPr marL="0" indent="0">
              <a:lnSpc>
                <a:spcPct val="100000"/>
              </a:lnSpc>
              <a:spcBef>
                <a:spcPts val="800"/>
              </a:spcBef>
              <a:buNone/>
              <a:defRPr lang="en-GB" sz="2400" kern="1200" noProof="0" smtClean="0">
                <a:solidFill>
                  <a:schemeClr val="tx2"/>
                </a:solidFill>
                <a:latin typeface="Arial" pitchFamily="34" charset="0"/>
                <a:ea typeface="+mn-ea"/>
                <a:cs typeface="Arial" pitchFamily="34" charset="0"/>
              </a:defRPr>
            </a:lvl6pPr>
            <a:lvl7pPr marL="0" indent="0">
              <a:lnSpc>
                <a:spcPct val="100000"/>
              </a:lnSpc>
              <a:spcBef>
                <a:spcPts val="800"/>
              </a:spcBef>
              <a:buNone/>
              <a:defRPr lang="en-GB" sz="2400" kern="1200" noProof="0" smtClean="0">
                <a:solidFill>
                  <a:schemeClr val="tx2"/>
                </a:solidFill>
                <a:latin typeface="Arial" pitchFamily="34" charset="0"/>
                <a:ea typeface="+mn-ea"/>
                <a:cs typeface="Arial" pitchFamily="34" charset="0"/>
              </a:defRPr>
            </a:lvl7pPr>
            <a:lvl8pPr marL="0" indent="0">
              <a:lnSpc>
                <a:spcPct val="100000"/>
              </a:lnSpc>
              <a:spcBef>
                <a:spcPts val="800"/>
              </a:spcBef>
              <a:buNone/>
              <a:defRPr lang="en-GB" sz="2400" kern="1200" noProof="0" smtClean="0">
                <a:solidFill>
                  <a:schemeClr val="tx2"/>
                </a:solidFill>
                <a:latin typeface="Arial" pitchFamily="34" charset="0"/>
                <a:ea typeface="+mn-ea"/>
                <a:cs typeface="Arial" pitchFamily="34" charset="0"/>
              </a:defRPr>
            </a:lvl8pPr>
            <a:lvl9pPr marL="0" indent="0">
              <a:lnSpc>
                <a:spcPct val="100000"/>
              </a:lnSpc>
              <a:spcBef>
                <a:spcPts val="800"/>
              </a:spcBef>
              <a:buNone/>
              <a:defRPr lang="de-DE" sz="2400" kern="1200" noProof="0" smtClean="0">
                <a:solidFill>
                  <a:schemeClr val="tx2"/>
                </a:solidFill>
                <a:latin typeface="Arial" pitchFamily="34" charset="0"/>
                <a:ea typeface="+mn-ea"/>
                <a:cs typeface="Arial" pitchFamily="34" charset="0"/>
              </a:defRPr>
            </a:lvl9pPr>
          </a:lstStyle>
          <a:p>
            <a:pPr lvl="0"/>
            <a:r>
              <a:rPr lang="en-US"/>
              <a:t>Click to add </a:t>
            </a:r>
            <a:r>
              <a:rPr lang="en-US" err="1"/>
              <a:t>subheadline</a:t>
            </a:r>
            <a:endParaRPr lang="en-US"/>
          </a:p>
        </p:txBody>
      </p:sp>
      <p:sp>
        <p:nvSpPr>
          <p:cNvPr id="4" name="Textplatzhalter 3"/>
          <p:cNvSpPr>
            <a:spLocks noGrp="1"/>
          </p:cNvSpPr>
          <p:nvPr>
            <p:ph type="body" sz="quarter" idx="11" hasCustomPrompt="1"/>
          </p:nvPr>
        </p:nvSpPr>
        <p:spPr bwMode="gray">
          <a:xfrm>
            <a:off x="431371" y="6404736"/>
            <a:ext cx="11328400" cy="192616"/>
          </a:xfrm>
        </p:spPr>
        <p:txBody>
          <a:bodyPr tIns="0" bIns="36000" anchor="b" anchorCtr="0">
            <a:noAutofit/>
          </a:bodyPr>
          <a:lstStyle>
            <a:lvl1pPr marL="0" marR="0" indent="0" algn="l" defTabSz="1219170" rtl="0" eaLnBrk="1" fontAlgn="auto" latinLnBrk="0" hangingPunct="1">
              <a:lnSpc>
                <a:spcPct val="100000"/>
              </a:lnSpc>
              <a:spcBef>
                <a:spcPts val="0"/>
              </a:spcBef>
              <a:spcAft>
                <a:spcPts val="0"/>
              </a:spcAft>
              <a:buClrTx/>
              <a:buSzTx/>
              <a:buFont typeface="Arial" pitchFamily="34" charset="0"/>
              <a:buNone/>
              <a:tabLst/>
              <a:defRPr lang="de-DE" sz="1067" kern="1200" baseline="0" noProof="0" smtClean="0">
                <a:solidFill>
                  <a:schemeClr val="bg2"/>
                </a:solidFill>
                <a:latin typeface="Arial" pitchFamily="34" charset="0"/>
                <a:ea typeface="+mn-ea"/>
                <a:cs typeface="Arial" pitchFamily="34" charset="0"/>
              </a:defRPr>
            </a:lvl1pPr>
            <a:lvl2pPr marL="0" indent="0">
              <a:lnSpc>
                <a:spcPct val="100000"/>
              </a:lnSpc>
              <a:spcBef>
                <a:spcPts val="0"/>
              </a:spcBef>
              <a:buFont typeface="Arial" panose="020B0604020202020204" pitchFamily="34" charset="0"/>
              <a:buNone/>
              <a:defRPr lang="de-DE" sz="1067" kern="1200" baseline="0" noProof="0" smtClean="0">
                <a:solidFill>
                  <a:schemeClr val="bg2"/>
                </a:solidFill>
                <a:latin typeface="Arial" pitchFamily="34" charset="0"/>
                <a:ea typeface="+mn-ea"/>
                <a:cs typeface="Arial" pitchFamily="34" charset="0"/>
              </a:defRPr>
            </a:lvl2pPr>
            <a:lvl3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3pPr>
            <a:lvl4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4pPr>
            <a:lvl5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5pPr>
            <a:lvl6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6pPr>
            <a:lvl7pPr marL="0" indent="0">
              <a:lnSpc>
                <a:spcPct val="100000"/>
              </a:lnSpc>
              <a:spcBef>
                <a:spcPts val="0"/>
              </a:spcBef>
              <a:buNone/>
              <a:defRPr lang="de-DE" sz="1067" kern="1200" baseline="0" noProof="0" dirty="0" smtClean="0">
                <a:solidFill>
                  <a:schemeClr val="bg2"/>
                </a:solidFill>
                <a:latin typeface="Arial" pitchFamily="34" charset="0"/>
                <a:ea typeface="+mn-ea"/>
                <a:cs typeface="Arial" pitchFamily="34" charset="0"/>
              </a:defRPr>
            </a:lvl7pPr>
            <a:lvl8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8pPr>
            <a:lvl9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9pPr>
          </a:lstStyle>
          <a:p>
            <a:pPr lvl="0"/>
            <a:r>
              <a:rPr lang="en-US"/>
              <a:t>Click to add source information</a:t>
            </a:r>
          </a:p>
        </p:txBody>
      </p:sp>
      <p:sp>
        <p:nvSpPr>
          <p:cNvPr id="5" name="Title 4"/>
          <p:cNvSpPr>
            <a:spLocks noGrp="1"/>
          </p:cNvSpPr>
          <p:nvPr>
            <p:ph type="title" hasCustomPrompt="1"/>
          </p:nvPr>
        </p:nvSpPr>
        <p:spPr bwMode="gray"/>
        <p:txBody>
          <a:bodyPr/>
          <a:lstStyle/>
          <a:p>
            <a:r>
              <a:rPr lang="en-US"/>
              <a:t>Click to add headline</a:t>
            </a:r>
          </a:p>
        </p:txBody>
      </p:sp>
    </p:spTree>
    <p:extLst>
      <p:ext uri="{BB962C8B-B14F-4D97-AF65-F5344CB8AC3E}">
        <p14:creationId xmlns:p14="http://schemas.microsoft.com/office/powerpoint/2010/main" val="3979353270"/>
      </p:ext>
    </p:extLst>
  </p:cSld>
  <p:clrMapOvr>
    <a:masterClrMapping/>
  </p:clrMapOvr>
</p:sldLayout>
</file>

<file path=ppt/slideLayouts/slideLayout520.xml><?xml version="1.0" encoding="utf-8"?>
<p:sldLayout xmlns:a="http://schemas.openxmlformats.org/drawingml/2006/main" xmlns:r="http://schemas.openxmlformats.org/officeDocument/2006/relationships" xmlns:p="http://schemas.openxmlformats.org/presentationml/2006/main" preserve="1">
  <p:cSld name="Four contents 2">
    <p:spTree>
      <p:nvGrpSpPr>
        <p:cNvPr id="1" name=""/>
        <p:cNvGrpSpPr/>
        <p:nvPr/>
      </p:nvGrpSpPr>
      <p:grpSpPr>
        <a:xfrm>
          <a:off x="0" y="0"/>
          <a:ext cx="0" cy="0"/>
          <a:chOff x="0" y="0"/>
          <a:chExt cx="0" cy="0"/>
        </a:xfrm>
      </p:grpSpPr>
      <p:sp>
        <p:nvSpPr>
          <p:cNvPr id="21" name="Date Placeholder 20"/>
          <p:cNvSpPr>
            <a:spLocks noGrp="1"/>
          </p:cNvSpPr>
          <p:nvPr>
            <p:ph type="dt" sz="half" idx="14"/>
          </p:nvPr>
        </p:nvSpPr>
        <p:spPr>
          <a:xfrm>
            <a:off x="192088" y="6461671"/>
            <a:ext cx="761512" cy="133790"/>
          </a:xfrm>
          <a:prstGeom prst="rect">
            <a:avLst/>
          </a:prstGeom>
        </p:spPr>
        <p:txBody>
          <a:bodyPr/>
          <a:lstStyle/>
          <a:p>
            <a:fld id="{C1A94770-6330-463A-BD32-DB4363F98C83}" type="datetime5">
              <a:rPr lang="en-US" smtClean="0"/>
              <a:t>26-Jun-20</a:t>
            </a:fld>
            <a:endParaRPr lang="en-US"/>
          </a:p>
        </p:txBody>
      </p:sp>
      <p:sp>
        <p:nvSpPr>
          <p:cNvPr id="22" name="Footer Placeholder 21"/>
          <p:cNvSpPr>
            <a:spLocks noGrp="1"/>
          </p:cNvSpPr>
          <p:nvPr>
            <p:ph type="ftr" sz="quarter" idx="15"/>
          </p:nvPr>
        </p:nvSpPr>
        <p:spPr>
          <a:xfrm>
            <a:off x="1076400" y="6461671"/>
            <a:ext cx="8162717" cy="133790"/>
          </a:xfrm>
          <a:prstGeom prst="rect">
            <a:avLst/>
          </a:prstGeom>
        </p:spPr>
        <p:txBody>
          <a:bodyPr/>
          <a:lstStyle/>
          <a:p>
            <a:r>
              <a:rPr lang="en-US"/>
              <a:t>Title of presentation (Insert / Header &amp; Footer / Apply to All)</a:t>
            </a:r>
            <a:endParaRPr lang="en-US" dirty="0"/>
          </a:p>
        </p:txBody>
      </p:sp>
      <p:sp>
        <p:nvSpPr>
          <p:cNvPr id="23" name="Slide Number Placeholder 22"/>
          <p:cNvSpPr>
            <a:spLocks noGrp="1"/>
          </p:cNvSpPr>
          <p:nvPr>
            <p:ph type="sldNum" sz="quarter" idx="16"/>
          </p:nvPr>
        </p:nvSpPr>
        <p:spPr/>
        <p:txBody>
          <a:bodyPr/>
          <a:lstStyle/>
          <a:p>
            <a:fld id="{5F3E29E4-0979-4FCA-B4C5-5FC6044C982A}" type="slidenum">
              <a:rPr lang="en-US" smtClean="0"/>
              <a:t>‹#›</a:t>
            </a:fld>
            <a:endParaRPr lang="en-US"/>
          </a:p>
        </p:txBody>
      </p:sp>
      <p:sp>
        <p:nvSpPr>
          <p:cNvPr id="2" name="Title 1"/>
          <p:cNvSpPr>
            <a:spLocks noGrp="1"/>
          </p:cNvSpPr>
          <p:nvPr>
            <p:ph type="title" hasCustomPrompt="1"/>
          </p:nvPr>
        </p:nvSpPr>
        <p:spPr/>
        <p:txBody>
          <a:bodyPr/>
          <a:lstStyle>
            <a:lvl1pPr>
              <a:defRPr/>
            </a:lvl1pPr>
          </a:lstStyle>
          <a:p>
            <a:r>
              <a:rPr lang="en-US" dirty="0"/>
              <a:t>Click to add slide title</a:t>
            </a:r>
          </a:p>
        </p:txBody>
      </p:sp>
      <p:sp>
        <p:nvSpPr>
          <p:cNvPr id="7" name="Subtitle 2"/>
          <p:cNvSpPr>
            <a:spLocks noGrp="1"/>
          </p:cNvSpPr>
          <p:nvPr>
            <p:ph type="subTitle" idx="13" hasCustomPrompt="1"/>
          </p:nvPr>
        </p:nvSpPr>
        <p:spPr>
          <a:xfrm>
            <a:off x="1075061" y="964671"/>
            <a:ext cx="7910158" cy="490042"/>
          </a:xfrm>
        </p:spPr>
        <p:txBody>
          <a:bodyPr wrap="none"/>
          <a:lstStyle>
            <a:lvl1pPr marL="0" indent="0" algn="l">
              <a:spcBef>
                <a:spcPts val="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3" name="Content Placeholder 2"/>
          <p:cNvSpPr>
            <a:spLocks noGrp="1"/>
          </p:cNvSpPr>
          <p:nvPr>
            <p:ph idx="1" hasCustomPrompt="1"/>
          </p:nvPr>
        </p:nvSpPr>
        <p:spPr>
          <a:xfrm>
            <a:off x="192088" y="1629617"/>
            <a:ext cx="6102974" cy="2160000"/>
          </a:xfrm>
        </p:spPr>
        <p:txBody>
          <a:bodyPr/>
          <a:lstStyle>
            <a:lvl1pPr>
              <a:defRPr/>
            </a:lvl1pPr>
          </a:lstStyle>
          <a:p>
            <a:pPr lvl="0"/>
            <a:r>
              <a:rPr lang="en-US" dirty="0"/>
              <a:t>Click to add text or conten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Content Placeholder 2"/>
          <p:cNvSpPr>
            <a:spLocks noGrp="1"/>
          </p:cNvSpPr>
          <p:nvPr>
            <p:ph idx="17" hasCustomPrompt="1"/>
          </p:nvPr>
        </p:nvSpPr>
        <p:spPr>
          <a:xfrm>
            <a:off x="6600525" y="1629617"/>
            <a:ext cx="5234144" cy="2160000"/>
          </a:xfrm>
        </p:spPr>
        <p:txBody>
          <a:bodyPr/>
          <a:lstStyle>
            <a:lvl1pPr>
              <a:defRPr/>
            </a:lvl1pPr>
          </a:lstStyle>
          <a:p>
            <a:pPr lvl="0"/>
            <a:r>
              <a:rPr lang="en-US" dirty="0"/>
              <a:t>Click to add text or conten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Content Placeholder 2"/>
          <p:cNvSpPr>
            <a:spLocks noGrp="1"/>
          </p:cNvSpPr>
          <p:nvPr>
            <p:ph idx="18" hasCustomPrompt="1"/>
          </p:nvPr>
        </p:nvSpPr>
        <p:spPr>
          <a:xfrm>
            <a:off x="192088" y="4077289"/>
            <a:ext cx="6102974" cy="2160000"/>
          </a:xfrm>
        </p:spPr>
        <p:txBody>
          <a:bodyPr/>
          <a:lstStyle>
            <a:lvl1pPr>
              <a:defRPr/>
            </a:lvl1pPr>
          </a:lstStyle>
          <a:p>
            <a:pPr lvl="0"/>
            <a:r>
              <a:rPr lang="en-US" dirty="0"/>
              <a:t>Click to add text or conten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Content Placeholder 2"/>
          <p:cNvSpPr>
            <a:spLocks noGrp="1"/>
          </p:cNvSpPr>
          <p:nvPr>
            <p:ph idx="19" hasCustomPrompt="1"/>
          </p:nvPr>
        </p:nvSpPr>
        <p:spPr>
          <a:xfrm>
            <a:off x="6600525" y="4077289"/>
            <a:ext cx="5234144" cy="2160000"/>
          </a:xfrm>
        </p:spPr>
        <p:txBody>
          <a:bodyPr/>
          <a:lstStyle>
            <a:lvl1pPr>
              <a:defRPr/>
            </a:lvl1pPr>
          </a:lstStyle>
          <a:p>
            <a:pPr lvl="0"/>
            <a:r>
              <a:rPr lang="en-US" dirty="0"/>
              <a:t>Click to add text or conten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4"/>
          <p:cNvSpPr>
            <a:spLocks noGrp="1"/>
          </p:cNvSpPr>
          <p:nvPr>
            <p:ph type="body" sz="quarter" idx="20" hasCustomPrompt="1"/>
          </p:nvPr>
        </p:nvSpPr>
        <p:spPr>
          <a:xfrm>
            <a:off x="1075063" y="6307665"/>
            <a:ext cx="8162717" cy="133200"/>
          </a:xfrm>
        </p:spPr>
        <p:txBody>
          <a:bodyPr lIns="0" tIns="0" rIns="0" bIns="0" anchor="b" anchorCtr="0"/>
          <a:lstStyle>
            <a:lvl1pPr marL="0" indent="0" algn="l">
              <a:lnSpc>
                <a:spcPct val="100000"/>
              </a:lnSpc>
              <a:spcBef>
                <a:spcPts val="0"/>
              </a:spcBef>
              <a:buNone/>
              <a:defRPr sz="800" baseline="0"/>
            </a:lvl1pPr>
            <a:lvl2pPr marL="0" indent="0" algn="l">
              <a:lnSpc>
                <a:spcPct val="100000"/>
              </a:lnSpc>
              <a:spcBef>
                <a:spcPts val="0"/>
              </a:spcBef>
              <a:buNone/>
              <a:defRPr sz="800"/>
            </a:lvl2pPr>
            <a:lvl3pPr marL="0" indent="0" algn="l">
              <a:lnSpc>
                <a:spcPct val="100000"/>
              </a:lnSpc>
              <a:spcBef>
                <a:spcPts val="0"/>
              </a:spcBef>
              <a:buNone/>
              <a:defRPr sz="800"/>
            </a:lvl3pPr>
            <a:lvl4pPr marL="0" algn="l">
              <a:lnSpc>
                <a:spcPct val="100000"/>
              </a:lnSpc>
              <a:spcBef>
                <a:spcPts val="0"/>
              </a:spcBef>
              <a:buNone/>
              <a:defRPr sz="800"/>
            </a:lvl4pPr>
            <a:lvl5pPr marL="0" indent="0" algn="l">
              <a:lnSpc>
                <a:spcPct val="100000"/>
              </a:lnSpc>
              <a:spcBef>
                <a:spcPts val="0"/>
              </a:spcBef>
              <a:buNone/>
              <a:defRPr sz="800"/>
            </a:lvl5pPr>
          </a:lstStyle>
          <a:p>
            <a:pPr lvl="0"/>
            <a:r>
              <a:rPr lang="en-US" dirty="0"/>
              <a:t>Source line</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41026590"/>
      </p:ext>
    </p:extLst>
  </p:cSld>
  <p:clrMapOvr>
    <a:masterClrMapping/>
  </p:clrMapOvr>
</p:sldLayout>
</file>

<file path=ppt/slideLayouts/slideLayout521.xml><?xml version="1.0" encoding="utf-8"?>
<p:sldLayout xmlns:a="http://schemas.openxmlformats.org/drawingml/2006/main" xmlns:r="http://schemas.openxmlformats.org/officeDocument/2006/relationships" xmlns:p="http://schemas.openxmlformats.org/presentationml/2006/main" preserve="1">
  <p:cSld name="Large charts and tables">
    <p:spTree>
      <p:nvGrpSpPr>
        <p:cNvPr id="1" name=""/>
        <p:cNvGrpSpPr/>
        <p:nvPr/>
      </p:nvGrpSpPr>
      <p:grpSpPr>
        <a:xfrm>
          <a:off x="0" y="0"/>
          <a:ext cx="0" cy="0"/>
          <a:chOff x="0" y="0"/>
          <a:chExt cx="0" cy="0"/>
        </a:xfrm>
      </p:grpSpPr>
      <p:sp>
        <p:nvSpPr>
          <p:cNvPr id="21" name="Date Placeholder 20"/>
          <p:cNvSpPr>
            <a:spLocks noGrp="1"/>
          </p:cNvSpPr>
          <p:nvPr>
            <p:ph type="dt" sz="half" idx="14"/>
          </p:nvPr>
        </p:nvSpPr>
        <p:spPr>
          <a:xfrm>
            <a:off x="192088" y="6461671"/>
            <a:ext cx="761512" cy="133790"/>
          </a:xfrm>
          <a:prstGeom prst="rect">
            <a:avLst/>
          </a:prstGeom>
        </p:spPr>
        <p:txBody>
          <a:bodyPr/>
          <a:lstStyle/>
          <a:p>
            <a:fld id="{C8265AAA-10E5-49CF-B48E-DC443F79F14E}" type="datetime5">
              <a:rPr lang="en-US" smtClean="0"/>
              <a:t>26-Jun-20</a:t>
            </a:fld>
            <a:endParaRPr lang="en-US"/>
          </a:p>
        </p:txBody>
      </p:sp>
      <p:sp>
        <p:nvSpPr>
          <p:cNvPr id="22" name="Footer Placeholder 21"/>
          <p:cNvSpPr>
            <a:spLocks noGrp="1"/>
          </p:cNvSpPr>
          <p:nvPr>
            <p:ph type="ftr" sz="quarter" idx="15"/>
          </p:nvPr>
        </p:nvSpPr>
        <p:spPr>
          <a:xfrm>
            <a:off x="1076400" y="6461671"/>
            <a:ext cx="8162717" cy="133790"/>
          </a:xfrm>
          <a:prstGeom prst="rect">
            <a:avLst/>
          </a:prstGeom>
        </p:spPr>
        <p:txBody>
          <a:bodyPr/>
          <a:lstStyle/>
          <a:p>
            <a:r>
              <a:rPr lang="en-US"/>
              <a:t>Title of presentation (Insert / Header &amp; Footer / Apply to All)</a:t>
            </a:r>
            <a:endParaRPr lang="en-US" dirty="0"/>
          </a:p>
        </p:txBody>
      </p:sp>
      <p:sp>
        <p:nvSpPr>
          <p:cNvPr id="23" name="Slide Number Placeholder 22"/>
          <p:cNvSpPr>
            <a:spLocks noGrp="1"/>
          </p:cNvSpPr>
          <p:nvPr>
            <p:ph type="sldNum" sz="quarter" idx="16"/>
          </p:nvPr>
        </p:nvSpPr>
        <p:spPr/>
        <p:txBody>
          <a:bodyPr/>
          <a:lstStyle/>
          <a:p>
            <a:fld id="{5F3E29E4-0979-4FCA-B4C5-5FC6044C982A}" type="slidenum">
              <a:rPr lang="en-US" smtClean="0"/>
              <a:t>‹#›</a:t>
            </a:fld>
            <a:endParaRPr lang="en-US"/>
          </a:p>
        </p:txBody>
      </p:sp>
      <p:sp>
        <p:nvSpPr>
          <p:cNvPr id="2" name="Title 1"/>
          <p:cNvSpPr>
            <a:spLocks noGrp="1"/>
          </p:cNvSpPr>
          <p:nvPr>
            <p:ph type="title" hasCustomPrompt="1"/>
          </p:nvPr>
        </p:nvSpPr>
        <p:spPr/>
        <p:txBody>
          <a:bodyPr/>
          <a:lstStyle>
            <a:lvl1pPr>
              <a:defRPr/>
            </a:lvl1pPr>
          </a:lstStyle>
          <a:p>
            <a:r>
              <a:rPr lang="en-US" dirty="0"/>
              <a:t>Click to add slide title</a:t>
            </a:r>
          </a:p>
        </p:txBody>
      </p:sp>
      <p:sp>
        <p:nvSpPr>
          <p:cNvPr id="7" name="Subtitle 2"/>
          <p:cNvSpPr>
            <a:spLocks noGrp="1"/>
          </p:cNvSpPr>
          <p:nvPr>
            <p:ph type="subTitle" idx="13" hasCustomPrompt="1"/>
          </p:nvPr>
        </p:nvSpPr>
        <p:spPr>
          <a:xfrm>
            <a:off x="1075061" y="964671"/>
            <a:ext cx="7910158" cy="490042"/>
          </a:xfrm>
        </p:spPr>
        <p:txBody>
          <a:bodyPr wrap="none"/>
          <a:lstStyle>
            <a:lvl1pPr marL="0" indent="0" algn="l">
              <a:spcBef>
                <a:spcPts val="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3" name="Content Placeholder 2"/>
          <p:cNvSpPr>
            <a:spLocks noGrp="1"/>
          </p:cNvSpPr>
          <p:nvPr>
            <p:ph idx="1" hasCustomPrompt="1"/>
          </p:nvPr>
        </p:nvSpPr>
        <p:spPr>
          <a:xfrm>
            <a:off x="192088" y="1629617"/>
            <a:ext cx="11642581" cy="4599506"/>
          </a:xfrm>
        </p:spPr>
        <p:txBody>
          <a:bodyPr anchor="t"/>
          <a:lstStyle>
            <a:lvl1pPr marL="0" indent="0" algn="ctr">
              <a:spcBef>
                <a:spcPts val="1000"/>
              </a:spcBef>
              <a:buNone/>
              <a:defRPr sz="2800" baseline="0"/>
            </a:lvl1pPr>
            <a:lvl2pPr marL="0" indent="0">
              <a:spcBef>
                <a:spcPts val="1000"/>
              </a:spcBef>
              <a:buNone/>
              <a:defRPr sz="2800"/>
            </a:lvl2pPr>
            <a:lvl3pPr marL="0" indent="0">
              <a:spcBef>
                <a:spcPts val="1000"/>
              </a:spcBef>
              <a:buNone/>
              <a:defRPr sz="2800"/>
            </a:lvl3pPr>
            <a:lvl4pPr>
              <a:spcBef>
                <a:spcPts val="1000"/>
              </a:spcBef>
              <a:buNone/>
              <a:defRPr sz="2800"/>
            </a:lvl4pPr>
            <a:lvl5pPr marL="0" indent="0">
              <a:spcBef>
                <a:spcPts val="1000"/>
              </a:spcBef>
              <a:buNone/>
              <a:defRPr sz="2800"/>
            </a:lvl5pPr>
          </a:lstStyle>
          <a:p>
            <a:pPr lvl="0"/>
            <a:r>
              <a:rPr lang="en-US" dirty="0"/>
              <a:t>Use this layout for large charts and tables only. Please, do not use with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4"/>
          <p:cNvSpPr>
            <a:spLocks noGrp="1"/>
          </p:cNvSpPr>
          <p:nvPr>
            <p:ph type="body" sz="quarter" idx="17" hasCustomPrompt="1"/>
          </p:nvPr>
        </p:nvSpPr>
        <p:spPr>
          <a:xfrm>
            <a:off x="1075063" y="6307665"/>
            <a:ext cx="8162717" cy="133200"/>
          </a:xfrm>
        </p:spPr>
        <p:txBody>
          <a:bodyPr lIns="0" tIns="0" rIns="0" bIns="0" anchor="b" anchorCtr="0"/>
          <a:lstStyle>
            <a:lvl1pPr marL="0" indent="0" algn="l">
              <a:lnSpc>
                <a:spcPct val="100000"/>
              </a:lnSpc>
              <a:spcBef>
                <a:spcPts val="0"/>
              </a:spcBef>
              <a:buNone/>
              <a:defRPr sz="800" baseline="0"/>
            </a:lvl1pPr>
            <a:lvl2pPr marL="0" indent="0" algn="l">
              <a:lnSpc>
                <a:spcPct val="100000"/>
              </a:lnSpc>
              <a:spcBef>
                <a:spcPts val="0"/>
              </a:spcBef>
              <a:buNone/>
              <a:defRPr sz="800"/>
            </a:lvl2pPr>
            <a:lvl3pPr marL="0" indent="0" algn="l">
              <a:lnSpc>
                <a:spcPct val="100000"/>
              </a:lnSpc>
              <a:spcBef>
                <a:spcPts val="0"/>
              </a:spcBef>
              <a:buNone/>
              <a:defRPr sz="800"/>
            </a:lvl3pPr>
            <a:lvl4pPr marL="0" algn="l">
              <a:lnSpc>
                <a:spcPct val="100000"/>
              </a:lnSpc>
              <a:spcBef>
                <a:spcPts val="0"/>
              </a:spcBef>
              <a:buNone/>
              <a:defRPr sz="800"/>
            </a:lvl4pPr>
            <a:lvl5pPr marL="0" indent="0" algn="l">
              <a:lnSpc>
                <a:spcPct val="100000"/>
              </a:lnSpc>
              <a:spcBef>
                <a:spcPts val="0"/>
              </a:spcBef>
              <a:buNone/>
              <a:defRPr sz="800"/>
            </a:lvl5pPr>
          </a:lstStyle>
          <a:p>
            <a:pPr lvl="0"/>
            <a:r>
              <a:rPr lang="en-US" dirty="0"/>
              <a:t>Source line</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196244187"/>
      </p:ext>
    </p:extLst>
  </p:cSld>
  <p:clrMapOvr>
    <a:masterClrMapping/>
  </p:clrMapOvr>
</p:sldLayout>
</file>

<file path=ppt/slideLayouts/slideLayout522.xml><?xml version="1.0" encoding="utf-8"?>
<p:sldLayout xmlns:a="http://schemas.openxmlformats.org/drawingml/2006/main" xmlns:r="http://schemas.openxmlformats.org/officeDocument/2006/relationships" xmlns:p="http://schemas.openxmlformats.org/presentationml/2006/main" preserve="1">
  <p:cSld name="Chart with description">
    <p:spTree>
      <p:nvGrpSpPr>
        <p:cNvPr id="1" name=""/>
        <p:cNvGrpSpPr/>
        <p:nvPr/>
      </p:nvGrpSpPr>
      <p:grpSpPr>
        <a:xfrm>
          <a:off x="0" y="0"/>
          <a:ext cx="0" cy="0"/>
          <a:chOff x="0" y="0"/>
          <a:chExt cx="0" cy="0"/>
        </a:xfrm>
      </p:grpSpPr>
      <p:sp>
        <p:nvSpPr>
          <p:cNvPr id="21" name="Date Placeholder 20"/>
          <p:cNvSpPr>
            <a:spLocks noGrp="1"/>
          </p:cNvSpPr>
          <p:nvPr>
            <p:ph type="dt" sz="half" idx="14"/>
          </p:nvPr>
        </p:nvSpPr>
        <p:spPr>
          <a:xfrm>
            <a:off x="192088" y="6461671"/>
            <a:ext cx="761512" cy="133790"/>
          </a:xfrm>
          <a:prstGeom prst="rect">
            <a:avLst/>
          </a:prstGeom>
        </p:spPr>
        <p:txBody>
          <a:bodyPr/>
          <a:lstStyle/>
          <a:p>
            <a:fld id="{7E0CC7EF-9DF0-4DDD-B873-4143C4455B77}" type="datetime5">
              <a:rPr lang="en-US" smtClean="0"/>
              <a:t>26-Jun-20</a:t>
            </a:fld>
            <a:endParaRPr lang="en-US"/>
          </a:p>
        </p:txBody>
      </p:sp>
      <p:sp>
        <p:nvSpPr>
          <p:cNvPr id="22" name="Footer Placeholder 21"/>
          <p:cNvSpPr>
            <a:spLocks noGrp="1"/>
          </p:cNvSpPr>
          <p:nvPr>
            <p:ph type="ftr" sz="quarter" idx="15"/>
          </p:nvPr>
        </p:nvSpPr>
        <p:spPr>
          <a:xfrm>
            <a:off x="1076400" y="6461671"/>
            <a:ext cx="8162717" cy="133790"/>
          </a:xfrm>
          <a:prstGeom prst="rect">
            <a:avLst/>
          </a:prstGeom>
        </p:spPr>
        <p:txBody>
          <a:bodyPr/>
          <a:lstStyle/>
          <a:p>
            <a:r>
              <a:rPr lang="en-US"/>
              <a:t>Title of presentation (Insert / Header &amp; Footer / Apply to All)</a:t>
            </a:r>
            <a:endParaRPr lang="en-US" dirty="0"/>
          </a:p>
        </p:txBody>
      </p:sp>
      <p:sp>
        <p:nvSpPr>
          <p:cNvPr id="23" name="Slide Number Placeholder 22"/>
          <p:cNvSpPr>
            <a:spLocks noGrp="1"/>
          </p:cNvSpPr>
          <p:nvPr>
            <p:ph type="sldNum" sz="quarter" idx="16"/>
          </p:nvPr>
        </p:nvSpPr>
        <p:spPr/>
        <p:txBody>
          <a:bodyPr/>
          <a:lstStyle/>
          <a:p>
            <a:fld id="{5F3E29E4-0979-4FCA-B4C5-5FC6044C982A}" type="slidenum">
              <a:rPr lang="en-US" smtClean="0"/>
              <a:t>‹#›</a:t>
            </a:fld>
            <a:endParaRPr lang="en-US"/>
          </a:p>
        </p:txBody>
      </p:sp>
      <p:sp>
        <p:nvSpPr>
          <p:cNvPr id="2" name="Title 1"/>
          <p:cNvSpPr>
            <a:spLocks noGrp="1"/>
          </p:cNvSpPr>
          <p:nvPr>
            <p:ph type="title" hasCustomPrompt="1"/>
          </p:nvPr>
        </p:nvSpPr>
        <p:spPr/>
        <p:txBody>
          <a:bodyPr/>
          <a:lstStyle>
            <a:lvl1pPr>
              <a:defRPr/>
            </a:lvl1pPr>
          </a:lstStyle>
          <a:p>
            <a:r>
              <a:rPr lang="en-US" dirty="0"/>
              <a:t>Click to add slide title</a:t>
            </a:r>
          </a:p>
        </p:txBody>
      </p:sp>
      <p:sp>
        <p:nvSpPr>
          <p:cNvPr id="7" name="Subtitle 2"/>
          <p:cNvSpPr>
            <a:spLocks noGrp="1"/>
          </p:cNvSpPr>
          <p:nvPr>
            <p:ph type="subTitle" idx="13" hasCustomPrompt="1"/>
          </p:nvPr>
        </p:nvSpPr>
        <p:spPr>
          <a:xfrm>
            <a:off x="1075061" y="964671"/>
            <a:ext cx="7910158" cy="490042"/>
          </a:xfrm>
        </p:spPr>
        <p:txBody>
          <a:bodyPr wrap="none"/>
          <a:lstStyle>
            <a:lvl1pPr marL="0" indent="0" algn="l">
              <a:spcBef>
                <a:spcPts val="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4" name="Chart Placeholder 3"/>
          <p:cNvSpPr>
            <a:spLocks noGrp="1"/>
          </p:cNvSpPr>
          <p:nvPr>
            <p:ph type="chart" sz="quarter" idx="17" hasCustomPrompt="1"/>
          </p:nvPr>
        </p:nvSpPr>
        <p:spPr>
          <a:xfrm>
            <a:off x="192088" y="1629617"/>
            <a:ext cx="5903913" cy="4599506"/>
          </a:xfrm>
        </p:spPr>
        <p:txBody>
          <a:bodyPr/>
          <a:lstStyle>
            <a:lvl1pPr>
              <a:defRPr/>
            </a:lvl1pPr>
          </a:lstStyle>
          <a:p>
            <a:r>
              <a:rPr lang="en-US" dirty="0"/>
              <a:t>Click to add chart</a:t>
            </a:r>
          </a:p>
        </p:txBody>
      </p:sp>
      <p:sp>
        <p:nvSpPr>
          <p:cNvPr id="6" name="Text Placeholder 5"/>
          <p:cNvSpPr>
            <a:spLocks noGrp="1"/>
          </p:cNvSpPr>
          <p:nvPr>
            <p:ph type="body" sz="quarter" idx="18" hasCustomPrompt="1"/>
          </p:nvPr>
        </p:nvSpPr>
        <p:spPr>
          <a:xfrm>
            <a:off x="6206067" y="3393019"/>
            <a:ext cx="5628602" cy="2023841"/>
          </a:xfrm>
          <a:solidFill>
            <a:srgbClr val="D9DADB"/>
          </a:solidFill>
        </p:spPr>
        <p:txBody>
          <a:bodyPr lIns="108000" tIns="108000" rIns="108000" bIns="108000"/>
          <a:lstStyle>
            <a:lvl1pPr>
              <a:defRPr sz="1600"/>
            </a:lvl1pPr>
            <a:lvl2pPr>
              <a:defRPr sz="1600"/>
            </a:lvl2pPr>
            <a:lvl3pPr>
              <a:defRPr sz="1600"/>
            </a:lvl3pPr>
            <a:lvl4pPr>
              <a:defRPr sz="1600"/>
            </a:lvl4pPr>
            <a:lvl5pPr>
              <a:defRPr sz="1600"/>
            </a:lvl5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 Placeholder 4"/>
          <p:cNvSpPr>
            <a:spLocks noGrp="1"/>
          </p:cNvSpPr>
          <p:nvPr>
            <p:ph type="body" sz="quarter" idx="19" hasCustomPrompt="1"/>
          </p:nvPr>
        </p:nvSpPr>
        <p:spPr>
          <a:xfrm>
            <a:off x="1075063" y="6307665"/>
            <a:ext cx="8162717" cy="133200"/>
          </a:xfrm>
        </p:spPr>
        <p:txBody>
          <a:bodyPr lIns="0" tIns="0" rIns="0" bIns="0" anchor="b" anchorCtr="0"/>
          <a:lstStyle>
            <a:lvl1pPr marL="0" indent="0" algn="l">
              <a:lnSpc>
                <a:spcPct val="100000"/>
              </a:lnSpc>
              <a:spcBef>
                <a:spcPts val="0"/>
              </a:spcBef>
              <a:buNone/>
              <a:defRPr sz="800" baseline="0"/>
            </a:lvl1pPr>
            <a:lvl2pPr marL="0" indent="0" algn="l">
              <a:lnSpc>
                <a:spcPct val="100000"/>
              </a:lnSpc>
              <a:spcBef>
                <a:spcPts val="0"/>
              </a:spcBef>
              <a:buNone/>
              <a:defRPr sz="800"/>
            </a:lvl2pPr>
            <a:lvl3pPr marL="0" indent="0" algn="l">
              <a:lnSpc>
                <a:spcPct val="100000"/>
              </a:lnSpc>
              <a:spcBef>
                <a:spcPts val="0"/>
              </a:spcBef>
              <a:buNone/>
              <a:defRPr sz="800"/>
            </a:lvl3pPr>
            <a:lvl4pPr marL="0" algn="l">
              <a:lnSpc>
                <a:spcPct val="100000"/>
              </a:lnSpc>
              <a:spcBef>
                <a:spcPts val="0"/>
              </a:spcBef>
              <a:buNone/>
              <a:defRPr sz="800"/>
            </a:lvl4pPr>
            <a:lvl5pPr marL="0" indent="0" algn="l">
              <a:lnSpc>
                <a:spcPct val="100000"/>
              </a:lnSpc>
              <a:spcBef>
                <a:spcPts val="0"/>
              </a:spcBef>
              <a:buNone/>
              <a:defRPr sz="800"/>
            </a:lvl5pPr>
          </a:lstStyle>
          <a:p>
            <a:pPr lvl="0"/>
            <a:r>
              <a:rPr lang="en-US" dirty="0"/>
              <a:t>Source line</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27610008"/>
      </p:ext>
    </p:extLst>
  </p:cSld>
  <p:clrMapOvr>
    <a:masterClrMapping/>
  </p:clrMapOvr>
</p:sldLayout>
</file>

<file path=ppt/slideLayouts/slideLayout523.xml><?xml version="1.0" encoding="utf-8"?>
<p:sldLayout xmlns:a="http://schemas.openxmlformats.org/drawingml/2006/main" xmlns:r="http://schemas.openxmlformats.org/officeDocument/2006/relationships" xmlns:p="http://schemas.openxmlformats.org/presentationml/2006/main" preserve="1">
  <p:cSld name="Notebook">
    <p:spTree>
      <p:nvGrpSpPr>
        <p:cNvPr id="1" name=""/>
        <p:cNvGrpSpPr/>
        <p:nvPr/>
      </p:nvGrpSpPr>
      <p:grpSpPr>
        <a:xfrm>
          <a:off x="0" y="0"/>
          <a:ext cx="0" cy="0"/>
          <a:chOff x="0" y="0"/>
          <a:chExt cx="0" cy="0"/>
        </a:xfrm>
      </p:grpSpPr>
      <p:pic>
        <p:nvPicPr>
          <p:cNvPr id="13" name="Notebook">
            <a:extLst>
              <a:ext uri="{FF2B5EF4-FFF2-40B4-BE49-F238E27FC236}">
                <a16:creationId xmlns:a16="http://schemas.microsoft.com/office/drawing/2014/main" id="{6DEE1461-64EC-7246-8FA6-71C6BF497627}"/>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3651351" y="1267197"/>
            <a:ext cx="8528460" cy="5161713"/>
          </a:xfrm>
          <a:prstGeom prst="rect">
            <a:avLst/>
          </a:prstGeom>
        </p:spPr>
      </p:pic>
      <p:sp>
        <p:nvSpPr>
          <p:cNvPr id="21" name="Date Placeholder 20"/>
          <p:cNvSpPr>
            <a:spLocks noGrp="1"/>
          </p:cNvSpPr>
          <p:nvPr>
            <p:ph type="dt" sz="half" idx="14"/>
          </p:nvPr>
        </p:nvSpPr>
        <p:spPr>
          <a:xfrm>
            <a:off x="192088" y="6461671"/>
            <a:ext cx="761512" cy="133790"/>
          </a:xfrm>
          <a:prstGeom prst="rect">
            <a:avLst/>
          </a:prstGeom>
        </p:spPr>
        <p:txBody>
          <a:bodyPr/>
          <a:lstStyle/>
          <a:p>
            <a:fld id="{DC5CC4D7-5797-439F-A8BE-F20DB0B4B50C}" type="datetime5">
              <a:rPr lang="en-US" smtClean="0"/>
              <a:t>26-Jun-20</a:t>
            </a:fld>
            <a:endParaRPr lang="en-US"/>
          </a:p>
        </p:txBody>
      </p:sp>
      <p:sp>
        <p:nvSpPr>
          <p:cNvPr id="22" name="Footer Placeholder 21"/>
          <p:cNvSpPr>
            <a:spLocks noGrp="1"/>
          </p:cNvSpPr>
          <p:nvPr>
            <p:ph type="ftr" sz="quarter" idx="15"/>
          </p:nvPr>
        </p:nvSpPr>
        <p:spPr>
          <a:xfrm>
            <a:off x="1076400" y="6461671"/>
            <a:ext cx="8162717" cy="133790"/>
          </a:xfrm>
          <a:prstGeom prst="rect">
            <a:avLst/>
          </a:prstGeom>
        </p:spPr>
        <p:txBody>
          <a:bodyPr/>
          <a:lstStyle/>
          <a:p>
            <a:r>
              <a:rPr lang="en-US"/>
              <a:t>Title of presentation (Insert / Header &amp; Footer / Apply to All)</a:t>
            </a:r>
            <a:endParaRPr lang="en-US" dirty="0"/>
          </a:p>
        </p:txBody>
      </p:sp>
      <p:sp>
        <p:nvSpPr>
          <p:cNvPr id="23" name="Slide Number Placeholder 22"/>
          <p:cNvSpPr>
            <a:spLocks noGrp="1"/>
          </p:cNvSpPr>
          <p:nvPr>
            <p:ph type="sldNum" sz="quarter" idx="16"/>
          </p:nvPr>
        </p:nvSpPr>
        <p:spPr/>
        <p:txBody>
          <a:bodyPr/>
          <a:lstStyle/>
          <a:p>
            <a:fld id="{5F3E29E4-0979-4FCA-B4C5-5FC6044C982A}" type="slidenum">
              <a:rPr lang="en-US" smtClean="0"/>
              <a:t>‹#›</a:t>
            </a:fld>
            <a:endParaRPr lang="en-US"/>
          </a:p>
        </p:txBody>
      </p:sp>
      <p:sp>
        <p:nvSpPr>
          <p:cNvPr id="2" name="Title 1"/>
          <p:cNvSpPr>
            <a:spLocks noGrp="1"/>
          </p:cNvSpPr>
          <p:nvPr>
            <p:ph type="title" hasCustomPrompt="1"/>
          </p:nvPr>
        </p:nvSpPr>
        <p:spPr/>
        <p:txBody>
          <a:bodyPr/>
          <a:lstStyle>
            <a:lvl1pPr>
              <a:defRPr/>
            </a:lvl1pPr>
          </a:lstStyle>
          <a:p>
            <a:r>
              <a:rPr lang="en-US" dirty="0"/>
              <a:t>Click to add slide title</a:t>
            </a:r>
          </a:p>
        </p:txBody>
      </p:sp>
      <p:sp>
        <p:nvSpPr>
          <p:cNvPr id="7" name="Subtitle 2"/>
          <p:cNvSpPr>
            <a:spLocks noGrp="1"/>
          </p:cNvSpPr>
          <p:nvPr>
            <p:ph type="subTitle" idx="13" hasCustomPrompt="1"/>
          </p:nvPr>
        </p:nvSpPr>
        <p:spPr>
          <a:xfrm>
            <a:off x="1075061" y="964671"/>
            <a:ext cx="7910158" cy="490042"/>
          </a:xfrm>
        </p:spPr>
        <p:txBody>
          <a:bodyPr wrap="none"/>
          <a:lstStyle>
            <a:lvl1pPr marL="0" indent="0" algn="l">
              <a:spcBef>
                <a:spcPts val="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3" name="Content Placeholder 2"/>
          <p:cNvSpPr>
            <a:spLocks noGrp="1"/>
          </p:cNvSpPr>
          <p:nvPr>
            <p:ph idx="1" hasCustomPrompt="1"/>
          </p:nvPr>
        </p:nvSpPr>
        <p:spPr>
          <a:xfrm>
            <a:off x="1075062" y="1852623"/>
            <a:ext cx="3287388" cy="3658714"/>
          </a:xfrm>
        </p:spPr>
        <p:txBody>
          <a:bodyPr anchor="ctr"/>
          <a:lstStyle>
            <a:lvl1pPr>
              <a:defRPr sz="1600"/>
            </a:lvl1pPr>
            <a:lvl2pPr>
              <a:defRPr sz="1600"/>
            </a:lvl2pPr>
            <a:lvl3pPr>
              <a:defRPr sz="1600"/>
            </a:lvl3pPr>
            <a:lvl4pPr>
              <a:defRPr sz="1600"/>
            </a:lvl4pPr>
            <a:lvl5pPr>
              <a:defRPr sz="1600"/>
            </a:lvl5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Picture Placeholder 4"/>
          <p:cNvSpPr>
            <a:spLocks noGrp="1"/>
          </p:cNvSpPr>
          <p:nvPr>
            <p:ph type="pic" sz="quarter" idx="17" hasCustomPrompt="1"/>
          </p:nvPr>
        </p:nvSpPr>
        <p:spPr>
          <a:xfrm>
            <a:off x="4904507" y="1821610"/>
            <a:ext cx="6001200" cy="3664800"/>
          </a:xfrm>
          <a:solidFill>
            <a:srgbClr val="D9DADB"/>
          </a:solidFill>
        </p:spPr>
        <p:txBody>
          <a:bodyPr/>
          <a:lstStyle>
            <a:lvl1pPr marL="0" indent="0">
              <a:buNone/>
              <a:defRPr/>
            </a:lvl1pPr>
          </a:lstStyle>
          <a:p>
            <a:r>
              <a:rPr lang="en-US" dirty="0"/>
              <a:t>Insert picture</a:t>
            </a:r>
          </a:p>
        </p:txBody>
      </p:sp>
      <p:sp>
        <p:nvSpPr>
          <p:cNvPr id="11" name="Text Placeholder 4"/>
          <p:cNvSpPr>
            <a:spLocks noGrp="1"/>
          </p:cNvSpPr>
          <p:nvPr>
            <p:ph type="body" sz="quarter" idx="18" hasCustomPrompt="1"/>
          </p:nvPr>
        </p:nvSpPr>
        <p:spPr>
          <a:xfrm>
            <a:off x="1075063" y="6307665"/>
            <a:ext cx="8162717" cy="133200"/>
          </a:xfrm>
        </p:spPr>
        <p:txBody>
          <a:bodyPr lIns="0" tIns="0" rIns="0" bIns="0" anchor="b" anchorCtr="0"/>
          <a:lstStyle>
            <a:lvl1pPr marL="0" indent="0" algn="l">
              <a:lnSpc>
                <a:spcPct val="100000"/>
              </a:lnSpc>
              <a:spcBef>
                <a:spcPts val="0"/>
              </a:spcBef>
              <a:buNone/>
              <a:defRPr sz="800" baseline="0"/>
            </a:lvl1pPr>
            <a:lvl2pPr marL="0" indent="0" algn="l">
              <a:lnSpc>
                <a:spcPct val="100000"/>
              </a:lnSpc>
              <a:spcBef>
                <a:spcPts val="0"/>
              </a:spcBef>
              <a:buNone/>
              <a:defRPr sz="800"/>
            </a:lvl2pPr>
            <a:lvl3pPr marL="0" indent="0" algn="l">
              <a:lnSpc>
                <a:spcPct val="100000"/>
              </a:lnSpc>
              <a:spcBef>
                <a:spcPts val="0"/>
              </a:spcBef>
              <a:buNone/>
              <a:defRPr sz="800"/>
            </a:lvl3pPr>
            <a:lvl4pPr marL="0" algn="l">
              <a:lnSpc>
                <a:spcPct val="100000"/>
              </a:lnSpc>
              <a:spcBef>
                <a:spcPts val="0"/>
              </a:spcBef>
              <a:buNone/>
              <a:defRPr sz="800"/>
            </a:lvl4pPr>
            <a:lvl5pPr marL="0" indent="0" algn="l">
              <a:lnSpc>
                <a:spcPct val="100000"/>
              </a:lnSpc>
              <a:spcBef>
                <a:spcPts val="0"/>
              </a:spcBef>
              <a:buNone/>
              <a:defRPr sz="800"/>
            </a:lvl5pPr>
          </a:lstStyle>
          <a:p>
            <a:pPr lvl="0"/>
            <a:r>
              <a:rPr lang="en-US" dirty="0"/>
              <a:t>Source line</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009528331"/>
      </p:ext>
    </p:extLst>
  </p:cSld>
  <p:clrMapOvr>
    <a:masterClrMapping/>
  </p:clrMapOvr>
</p:sldLayout>
</file>

<file path=ppt/slideLayouts/slideLayout524.xml><?xml version="1.0" encoding="utf-8"?>
<p:sldLayout xmlns:a="http://schemas.openxmlformats.org/drawingml/2006/main" xmlns:r="http://schemas.openxmlformats.org/officeDocument/2006/relationships" xmlns:p="http://schemas.openxmlformats.org/presentationml/2006/main" preserve="1">
  <p:cSld name="Tablet">
    <p:spTree>
      <p:nvGrpSpPr>
        <p:cNvPr id="1" name=""/>
        <p:cNvGrpSpPr/>
        <p:nvPr/>
      </p:nvGrpSpPr>
      <p:grpSpPr>
        <a:xfrm>
          <a:off x="0" y="0"/>
          <a:ext cx="0" cy="0"/>
          <a:chOff x="0" y="0"/>
          <a:chExt cx="0" cy="0"/>
        </a:xfrm>
      </p:grpSpPr>
      <p:pic>
        <p:nvPicPr>
          <p:cNvPr id="12" name="Grafik 3">
            <a:extLst>
              <a:ext uri="{FF2B5EF4-FFF2-40B4-BE49-F238E27FC236}">
                <a16:creationId xmlns:a16="http://schemas.microsoft.com/office/drawing/2014/main" id="{1D97A272-8DE5-144D-9076-0F435EC79171}"/>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4422451" y="1441279"/>
            <a:ext cx="6858000" cy="5323585"/>
          </a:xfrm>
          <a:prstGeom prst="rect">
            <a:avLst/>
          </a:prstGeom>
        </p:spPr>
      </p:pic>
      <p:sp>
        <p:nvSpPr>
          <p:cNvPr id="21" name="Date Placeholder 20"/>
          <p:cNvSpPr>
            <a:spLocks noGrp="1"/>
          </p:cNvSpPr>
          <p:nvPr>
            <p:ph type="dt" sz="half" idx="14"/>
          </p:nvPr>
        </p:nvSpPr>
        <p:spPr>
          <a:xfrm>
            <a:off x="192088" y="6461671"/>
            <a:ext cx="761512" cy="133790"/>
          </a:xfrm>
          <a:prstGeom prst="rect">
            <a:avLst/>
          </a:prstGeom>
        </p:spPr>
        <p:txBody>
          <a:bodyPr/>
          <a:lstStyle/>
          <a:p>
            <a:fld id="{22BF40EB-4E4B-4735-9535-C7494D4B38E6}" type="datetime5">
              <a:rPr lang="en-US" smtClean="0"/>
              <a:t>26-Jun-20</a:t>
            </a:fld>
            <a:endParaRPr lang="en-US"/>
          </a:p>
        </p:txBody>
      </p:sp>
      <p:sp>
        <p:nvSpPr>
          <p:cNvPr id="22" name="Footer Placeholder 21"/>
          <p:cNvSpPr>
            <a:spLocks noGrp="1"/>
          </p:cNvSpPr>
          <p:nvPr>
            <p:ph type="ftr" sz="quarter" idx="15"/>
          </p:nvPr>
        </p:nvSpPr>
        <p:spPr>
          <a:xfrm>
            <a:off x="1076400" y="6461671"/>
            <a:ext cx="8162717" cy="133790"/>
          </a:xfrm>
          <a:prstGeom prst="rect">
            <a:avLst/>
          </a:prstGeom>
        </p:spPr>
        <p:txBody>
          <a:bodyPr/>
          <a:lstStyle/>
          <a:p>
            <a:r>
              <a:rPr lang="en-US"/>
              <a:t>Title of presentation (Insert / Header &amp; Footer / Apply to All)</a:t>
            </a:r>
            <a:endParaRPr lang="en-US" dirty="0"/>
          </a:p>
        </p:txBody>
      </p:sp>
      <p:sp>
        <p:nvSpPr>
          <p:cNvPr id="23" name="Slide Number Placeholder 22"/>
          <p:cNvSpPr>
            <a:spLocks noGrp="1"/>
          </p:cNvSpPr>
          <p:nvPr>
            <p:ph type="sldNum" sz="quarter" idx="16"/>
          </p:nvPr>
        </p:nvSpPr>
        <p:spPr/>
        <p:txBody>
          <a:bodyPr/>
          <a:lstStyle/>
          <a:p>
            <a:fld id="{5F3E29E4-0979-4FCA-B4C5-5FC6044C982A}" type="slidenum">
              <a:rPr lang="en-US" smtClean="0"/>
              <a:t>‹#›</a:t>
            </a:fld>
            <a:endParaRPr lang="en-US"/>
          </a:p>
        </p:txBody>
      </p:sp>
      <p:sp>
        <p:nvSpPr>
          <p:cNvPr id="2" name="Title 1"/>
          <p:cNvSpPr>
            <a:spLocks noGrp="1"/>
          </p:cNvSpPr>
          <p:nvPr>
            <p:ph type="title" hasCustomPrompt="1"/>
          </p:nvPr>
        </p:nvSpPr>
        <p:spPr/>
        <p:txBody>
          <a:bodyPr/>
          <a:lstStyle>
            <a:lvl1pPr>
              <a:defRPr/>
            </a:lvl1pPr>
          </a:lstStyle>
          <a:p>
            <a:r>
              <a:rPr lang="en-US" dirty="0"/>
              <a:t>Click to add slide title</a:t>
            </a:r>
          </a:p>
        </p:txBody>
      </p:sp>
      <p:sp>
        <p:nvSpPr>
          <p:cNvPr id="7" name="Subtitle 2"/>
          <p:cNvSpPr>
            <a:spLocks noGrp="1"/>
          </p:cNvSpPr>
          <p:nvPr>
            <p:ph type="subTitle" idx="13" hasCustomPrompt="1"/>
          </p:nvPr>
        </p:nvSpPr>
        <p:spPr>
          <a:xfrm>
            <a:off x="1075061" y="964671"/>
            <a:ext cx="7910158" cy="490042"/>
          </a:xfrm>
        </p:spPr>
        <p:txBody>
          <a:bodyPr wrap="none"/>
          <a:lstStyle>
            <a:lvl1pPr marL="0" indent="0" algn="l">
              <a:spcBef>
                <a:spcPts val="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3" name="Content Placeholder 2"/>
          <p:cNvSpPr>
            <a:spLocks noGrp="1"/>
          </p:cNvSpPr>
          <p:nvPr>
            <p:ph idx="1" hasCustomPrompt="1"/>
          </p:nvPr>
        </p:nvSpPr>
        <p:spPr>
          <a:xfrm>
            <a:off x="1075062" y="1852623"/>
            <a:ext cx="3287388" cy="3658714"/>
          </a:xfrm>
        </p:spPr>
        <p:txBody>
          <a:bodyPr anchor="ctr"/>
          <a:lstStyle>
            <a:lvl1pPr>
              <a:defRPr sz="1600"/>
            </a:lvl1pPr>
            <a:lvl2pPr>
              <a:defRPr sz="1600"/>
            </a:lvl2pPr>
            <a:lvl3pPr>
              <a:defRPr sz="1600"/>
            </a:lvl3pPr>
            <a:lvl4pPr>
              <a:defRPr sz="1600"/>
            </a:lvl4pPr>
            <a:lvl5pPr>
              <a:defRPr sz="1600"/>
            </a:lvl5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Picture Placeholder 4"/>
          <p:cNvSpPr>
            <a:spLocks noGrp="1"/>
          </p:cNvSpPr>
          <p:nvPr>
            <p:ph type="pic" sz="quarter" idx="17" hasCustomPrompt="1"/>
          </p:nvPr>
        </p:nvSpPr>
        <p:spPr>
          <a:xfrm>
            <a:off x="5135561" y="2010934"/>
            <a:ext cx="5491064" cy="3428280"/>
          </a:xfrm>
          <a:solidFill>
            <a:srgbClr val="D9DADB"/>
          </a:solidFill>
        </p:spPr>
        <p:txBody>
          <a:bodyPr/>
          <a:lstStyle>
            <a:lvl1pPr marL="0" indent="0">
              <a:buNone/>
              <a:defRPr/>
            </a:lvl1pPr>
          </a:lstStyle>
          <a:p>
            <a:r>
              <a:rPr lang="en-US" dirty="0"/>
              <a:t>Insert picture</a:t>
            </a:r>
          </a:p>
        </p:txBody>
      </p:sp>
      <p:sp>
        <p:nvSpPr>
          <p:cNvPr id="11" name="Text Placeholder 4"/>
          <p:cNvSpPr>
            <a:spLocks noGrp="1"/>
          </p:cNvSpPr>
          <p:nvPr>
            <p:ph type="body" sz="quarter" idx="18" hasCustomPrompt="1"/>
          </p:nvPr>
        </p:nvSpPr>
        <p:spPr>
          <a:xfrm>
            <a:off x="1075063" y="6307665"/>
            <a:ext cx="8162717" cy="133200"/>
          </a:xfrm>
        </p:spPr>
        <p:txBody>
          <a:bodyPr lIns="0" tIns="0" rIns="0" bIns="0" anchor="b" anchorCtr="0"/>
          <a:lstStyle>
            <a:lvl1pPr marL="0" indent="0" algn="l">
              <a:lnSpc>
                <a:spcPct val="100000"/>
              </a:lnSpc>
              <a:spcBef>
                <a:spcPts val="0"/>
              </a:spcBef>
              <a:buNone/>
              <a:defRPr sz="800" baseline="0"/>
            </a:lvl1pPr>
            <a:lvl2pPr marL="0" indent="0" algn="l">
              <a:lnSpc>
                <a:spcPct val="100000"/>
              </a:lnSpc>
              <a:spcBef>
                <a:spcPts val="0"/>
              </a:spcBef>
              <a:buNone/>
              <a:defRPr sz="800"/>
            </a:lvl2pPr>
            <a:lvl3pPr marL="0" indent="0" algn="l">
              <a:lnSpc>
                <a:spcPct val="100000"/>
              </a:lnSpc>
              <a:spcBef>
                <a:spcPts val="0"/>
              </a:spcBef>
              <a:buNone/>
              <a:defRPr sz="800"/>
            </a:lvl3pPr>
            <a:lvl4pPr marL="0" algn="l">
              <a:lnSpc>
                <a:spcPct val="100000"/>
              </a:lnSpc>
              <a:spcBef>
                <a:spcPts val="0"/>
              </a:spcBef>
              <a:buNone/>
              <a:defRPr sz="800"/>
            </a:lvl4pPr>
            <a:lvl5pPr marL="0" indent="0" algn="l">
              <a:lnSpc>
                <a:spcPct val="100000"/>
              </a:lnSpc>
              <a:spcBef>
                <a:spcPts val="0"/>
              </a:spcBef>
              <a:buNone/>
              <a:defRPr sz="800"/>
            </a:lvl5pPr>
          </a:lstStyle>
          <a:p>
            <a:pPr lvl="0"/>
            <a:r>
              <a:rPr lang="en-US" dirty="0"/>
              <a:t>Source line</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700882905"/>
      </p:ext>
    </p:extLst>
  </p:cSld>
  <p:clrMapOvr>
    <a:masterClrMapping/>
  </p:clrMapOvr>
</p:sldLayout>
</file>

<file path=ppt/slideLayouts/slideLayout525.xml><?xml version="1.0" encoding="utf-8"?>
<p:sldLayout xmlns:a="http://schemas.openxmlformats.org/drawingml/2006/main" xmlns:r="http://schemas.openxmlformats.org/officeDocument/2006/relationships" xmlns:p="http://schemas.openxmlformats.org/presentationml/2006/main" preserve="1">
  <p:cSld name="Smartphone">
    <p:spTree>
      <p:nvGrpSpPr>
        <p:cNvPr id="1" name=""/>
        <p:cNvGrpSpPr/>
        <p:nvPr/>
      </p:nvGrpSpPr>
      <p:grpSpPr>
        <a:xfrm>
          <a:off x="0" y="0"/>
          <a:ext cx="0" cy="0"/>
          <a:chOff x="0" y="0"/>
          <a:chExt cx="0" cy="0"/>
        </a:xfrm>
      </p:grpSpPr>
      <p:pic>
        <p:nvPicPr>
          <p:cNvPr id="10" name="Grafik 2">
            <a:extLst>
              <a:ext uri="{FF2B5EF4-FFF2-40B4-BE49-F238E27FC236}">
                <a16:creationId xmlns:a16="http://schemas.microsoft.com/office/drawing/2014/main" id="{6421FD8A-F5D4-E041-A727-98ABA693B1A7}"/>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5472449" y="1362516"/>
            <a:ext cx="4953000" cy="4865134"/>
          </a:xfrm>
          <a:prstGeom prst="rect">
            <a:avLst/>
          </a:prstGeom>
          <a:effectLst>
            <a:reflection blurRad="6350" stA="48000" endPos="6000" dir="5400000" sy="-100000" algn="bl" rotWithShape="0"/>
          </a:effectLst>
        </p:spPr>
      </p:pic>
      <p:sp>
        <p:nvSpPr>
          <p:cNvPr id="21" name="Date Placeholder 20"/>
          <p:cNvSpPr>
            <a:spLocks noGrp="1"/>
          </p:cNvSpPr>
          <p:nvPr>
            <p:ph type="dt" sz="half" idx="14"/>
          </p:nvPr>
        </p:nvSpPr>
        <p:spPr>
          <a:xfrm>
            <a:off x="192088" y="6461671"/>
            <a:ext cx="761512" cy="133790"/>
          </a:xfrm>
          <a:prstGeom prst="rect">
            <a:avLst/>
          </a:prstGeom>
        </p:spPr>
        <p:txBody>
          <a:bodyPr/>
          <a:lstStyle/>
          <a:p>
            <a:fld id="{3A57DC1E-3194-45CD-A5C4-CC4893251E0F}" type="datetime5">
              <a:rPr lang="en-US" smtClean="0"/>
              <a:t>26-Jun-20</a:t>
            </a:fld>
            <a:endParaRPr lang="en-US"/>
          </a:p>
        </p:txBody>
      </p:sp>
      <p:sp>
        <p:nvSpPr>
          <p:cNvPr id="22" name="Footer Placeholder 21"/>
          <p:cNvSpPr>
            <a:spLocks noGrp="1"/>
          </p:cNvSpPr>
          <p:nvPr>
            <p:ph type="ftr" sz="quarter" idx="15"/>
          </p:nvPr>
        </p:nvSpPr>
        <p:spPr>
          <a:xfrm>
            <a:off x="1076400" y="6461671"/>
            <a:ext cx="8162717" cy="133790"/>
          </a:xfrm>
          <a:prstGeom prst="rect">
            <a:avLst/>
          </a:prstGeom>
        </p:spPr>
        <p:txBody>
          <a:bodyPr/>
          <a:lstStyle/>
          <a:p>
            <a:r>
              <a:rPr lang="en-US"/>
              <a:t>Title of presentation (Insert / Header &amp; Footer / Apply to All)</a:t>
            </a:r>
            <a:endParaRPr lang="en-US" dirty="0"/>
          </a:p>
        </p:txBody>
      </p:sp>
      <p:sp>
        <p:nvSpPr>
          <p:cNvPr id="23" name="Slide Number Placeholder 22"/>
          <p:cNvSpPr>
            <a:spLocks noGrp="1"/>
          </p:cNvSpPr>
          <p:nvPr>
            <p:ph type="sldNum" sz="quarter" idx="16"/>
          </p:nvPr>
        </p:nvSpPr>
        <p:spPr/>
        <p:txBody>
          <a:bodyPr/>
          <a:lstStyle/>
          <a:p>
            <a:fld id="{5F3E29E4-0979-4FCA-B4C5-5FC6044C982A}" type="slidenum">
              <a:rPr lang="en-US" smtClean="0"/>
              <a:t>‹#›</a:t>
            </a:fld>
            <a:endParaRPr lang="en-US"/>
          </a:p>
        </p:txBody>
      </p:sp>
      <p:sp>
        <p:nvSpPr>
          <p:cNvPr id="2" name="Title 1"/>
          <p:cNvSpPr>
            <a:spLocks noGrp="1"/>
          </p:cNvSpPr>
          <p:nvPr>
            <p:ph type="title" hasCustomPrompt="1"/>
          </p:nvPr>
        </p:nvSpPr>
        <p:spPr/>
        <p:txBody>
          <a:bodyPr/>
          <a:lstStyle>
            <a:lvl1pPr>
              <a:defRPr/>
            </a:lvl1pPr>
          </a:lstStyle>
          <a:p>
            <a:r>
              <a:rPr lang="en-US" dirty="0"/>
              <a:t>Click to add slide title</a:t>
            </a:r>
          </a:p>
        </p:txBody>
      </p:sp>
      <p:sp>
        <p:nvSpPr>
          <p:cNvPr id="7" name="Subtitle 2"/>
          <p:cNvSpPr>
            <a:spLocks noGrp="1"/>
          </p:cNvSpPr>
          <p:nvPr>
            <p:ph type="subTitle" idx="13" hasCustomPrompt="1"/>
          </p:nvPr>
        </p:nvSpPr>
        <p:spPr>
          <a:xfrm>
            <a:off x="1075061" y="964671"/>
            <a:ext cx="7910158" cy="490042"/>
          </a:xfrm>
        </p:spPr>
        <p:txBody>
          <a:bodyPr wrap="none"/>
          <a:lstStyle>
            <a:lvl1pPr marL="0" indent="0" algn="l">
              <a:spcBef>
                <a:spcPts val="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3" name="Content Placeholder 2"/>
          <p:cNvSpPr>
            <a:spLocks noGrp="1"/>
          </p:cNvSpPr>
          <p:nvPr>
            <p:ph idx="1" hasCustomPrompt="1"/>
          </p:nvPr>
        </p:nvSpPr>
        <p:spPr>
          <a:xfrm>
            <a:off x="1075061" y="1852623"/>
            <a:ext cx="5241071" cy="3658714"/>
          </a:xfrm>
        </p:spPr>
        <p:txBody>
          <a:bodyPr anchor="ctr"/>
          <a:lstStyle>
            <a:lvl1pPr>
              <a:defRPr sz="1600"/>
            </a:lvl1pPr>
            <a:lvl2pPr>
              <a:defRPr sz="1600"/>
            </a:lvl2pPr>
            <a:lvl3pPr>
              <a:defRPr sz="1600"/>
            </a:lvl3pPr>
            <a:lvl4pPr>
              <a:defRPr sz="1600"/>
            </a:lvl4pPr>
            <a:lvl5pPr>
              <a:defRPr sz="1600"/>
            </a:lvl5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Picture Placeholder 4"/>
          <p:cNvSpPr>
            <a:spLocks noGrp="1"/>
          </p:cNvSpPr>
          <p:nvPr>
            <p:ph type="pic" sz="quarter" idx="17" hasCustomPrompt="1"/>
          </p:nvPr>
        </p:nvSpPr>
        <p:spPr>
          <a:xfrm>
            <a:off x="6923531" y="1784822"/>
            <a:ext cx="2006654" cy="4104000"/>
          </a:xfrm>
          <a:solidFill>
            <a:srgbClr val="D9DADB"/>
          </a:solidFill>
        </p:spPr>
        <p:txBody>
          <a:bodyPr/>
          <a:lstStyle>
            <a:lvl1pPr marL="0" indent="0">
              <a:buNone/>
              <a:defRPr/>
            </a:lvl1pPr>
          </a:lstStyle>
          <a:p>
            <a:r>
              <a:rPr lang="en-US" dirty="0"/>
              <a:t>Insert picture</a:t>
            </a:r>
          </a:p>
        </p:txBody>
      </p:sp>
      <p:sp>
        <p:nvSpPr>
          <p:cNvPr id="12" name="Text Placeholder 4"/>
          <p:cNvSpPr>
            <a:spLocks noGrp="1"/>
          </p:cNvSpPr>
          <p:nvPr>
            <p:ph type="body" sz="quarter" idx="18" hasCustomPrompt="1"/>
          </p:nvPr>
        </p:nvSpPr>
        <p:spPr>
          <a:xfrm>
            <a:off x="1075063" y="6307665"/>
            <a:ext cx="8162717" cy="133200"/>
          </a:xfrm>
        </p:spPr>
        <p:txBody>
          <a:bodyPr lIns="0" tIns="0" rIns="0" bIns="0" anchor="b" anchorCtr="0"/>
          <a:lstStyle>
            <a:lvl1pPr marL="0" indent="0" algn="l">
              <a:lnSpc>
                <a:spcPct val="100000"/>
              </a:lnSpc>
              <a:spcBef>
                <a:spcPts val="0"/>
              </a:spcBef>
              <a:buNone/>
              <a:defRPr sz="800" baseline="0"/>
            </a:lvl1pPr>
            <a:lvl2pPr marL="0" indent="0" algn="l">
              <a:lnSpc>
                <a:spcPct val="100000"/>
              </a:lnSpc>
              <a:spcBef>
                <a:spcPts val="0"/>
              </a:spcBef>
              <a:buNone/>
              <a:defRPr sz="800"/>
            </a:lvl2pPr>
            <a:lvl3pPr marL="0" indent="0" algn="l">
              <a:lnSpc>
                <a:spcPct val="100000"/>
              </a:lnSpc>
              <a:spcBef>
                <a:spcPts val="0"/>
              </a:spcBef>
              <a:buNone/>
              <a:defRPr sz="800"/>
            </a:lvl3pPr>
            <a:lvl4pPr marL="0" algn="l">
              <a:lnSpc>
                <a:spcPct val="100000"/>
              </a:lnSpc>
              <a:spcBef>
                <a:spcPts val="0"/>
              </a:spcBef>
              <a:buNone/>
              <a:defRPr sz="800"/>
            </a:lvl4pPr>
            <a:lvl5pPr marL="0" indent="0" algn="l">
              <a:lnSpc>
                <a:spcPct val="100000"/>
              </a:lnSpc>
              <a:spcBef>
                <a:spcPts val="0"/>
              </a:spcBef>
              <a:buNone/>
              <a:defRPr sz="800"/>
            </a:lvl5pPr>
          </a:lstStyle>
          <a:p>
            <a:pPr lvl="0"/>
            <a:r>
              <a:rPr lang="en-US" dirty="0"/>
              <a:t>Source line</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674699548"/>
      </p:ext>
    </p:extLst>
  </p:cSld>
  <p:clrMapOvr>
    <a:masterClrMapping/>
  </p:clrMapOvr>
</p:sldLayout>
</file>

<file path=ppt/slideLayouts/slideLayout526.xml><?xml version="1.0" encoding="utf-8"?>
<p:sldLayout xmlns:a="http://schemas.openxmlformats.org/drawingml/2006/main" xmlns:r="http://schemas.openxmlformats.org/officeDocument/2006/relationships" xmlns:p="http://schemas.openxmlformats.org/presentationml/2006/main" preserve="1">
  <p:cSld name="One contact">
    <p:spTree>
      <p:nvGrpSpPr>
        <p:cNvPr id="1" name=""/>
        <p:cNvGrpSpPr/>
        <p:nvPr/>
      </p:nvGrpSpPr>
      <p:grpSpPr>
        <a:xfrm>
          <a:off x="0" y="0"/>
          <a:ext cx="0" cy="0"/>
          <a:chOff x="0" y="0"/>
          <a:chExt cx="0" cy="0"/>
        </a:xfrm>
      </p:grpSpPr>
      <p:sp>
        <p:nvSpPr>
          <p:cNvPr id="4" name="Picture Placeholder 3"/>
          <p:cNvSpPr>
            <a:spLocks noGrp="1"/>
          </p:cNvSpPr>
          <p:nvPr>
            <p:ph type="pic" sz="quarter" idx="17" hasCustomPrompt="1"/>
          </p:nvPr>
        </p:nvSpPr>
        <p:spPr>
          <a:xfrm>
            <a:off x="1056217" y="1833656"/>
            <a:ext cx="3203503" cy="3935319"/>
          </a:xfrm>
          <a:solidFill>
            <a:srgbClr val="D9DADB"/>
          </a:solidFill>
        </p:spPr>
        <p:txBody>
          <a:bodyPr/>
          <a:lstStyle>
            <a:lvl1pPr marL="0" indent="0">
              <a:buNone/>
              <a:defRPr sz="1400"/>
            </a:lvl1pPr>
          </a:lstStyle>
          <a:p>
            <a:r>
              <a:rPr lang="en-US" dirty="0"/>
              <a:t>Insert picture</a:t>
            </a:r>
          </a:p>
        </p:txBody>
      </p:sp>
      <p:sp>
        <p:nvSpPr>
          <p:cNvPr id="21" name="Date Placeholder 20"/>
          <p:cNvSpPr>
            <a:spLocks noGrp="1"/>
          </p:cNvSpPr>
          <p:nvPr>
            <p:ph type="dt" sz="half" idx="14"/>
          </p:nvPr>
        </p:nvSpPr>
        <p:spPr>
          <a:xfrm>
            <a:off x="192088" y="6461671"/>
            <a:ext cx="761512" cy="133790"/>
          </a:xfrm>
          <a:prstGeom prst="rect">
            <a:avLst/>
          </a:prstGeom>
        </p:spPr>
        <p:txBody>
          <a:bodyPr/>
          <a:lstStyle/>
          <a:p>
            <a:fld id="{59171ED9-6851-4525-A763-2524710A57F8}" type="datetime5">
              <a:rPr lang="en-US" smtClean="0"/>
              <a:t>26-Jun-20</a:t>
            </a:fld>
            <a:endParaRPr lang="en-US"/>
          </a:p>
        </p:txBody>
      </p:sp>
      <p:sp>
        <p:nvSpPr>
          <p:cNvPr id="22" name="Footer Placeholder 21"/>
          <p:cNvSpPr>
            <a:spLocks noGrp="1"/>
          </p:cNvSpPr>
          <p:nvPr>
            <p:ph type="ftr" sz="quarter" idx="15"/>
          </p:nvPr>
        </p:nvSpPr>
        <p:spPr>
          <a:xfrm>
            <a:off x="1076400" y="6461671"/>
            <a:ext cx="8162717" cy="133790"/>
          </a:xfrm>
          <a:prstGeom prst="rect">
            <a:avLst/>
          </a:prstGeom>
        </p:spPr>
        <p:txBody>
          <a:bodyPr/>
          <a:lstStyle/>
          <a:p>
            <a:r>
              <a:rPr lang="en-US"/>
              <a:t>Title of presentation (Insert / Header &amp; Footer / Apply to All)</a:t>
            </a:r>
            <a:endParaRPr lang="en-US" dirty="0"/>
          </a:p>
        </p:txBody>
      </p:sp>
      <p:sp>
        <p:nvSpPr>
          <p:cNvPr id="23" name="Slide Number Placeholder 22"/>
          <p:cNvSpPr>
            <a:spLocks noGrp="1"/>
          </p:cNvSpPr>
          <p:nvPr>
            <p:ph type="sldNum" sz="quarter" idx="16"/>
          </p:nvPr>
        </p:nvSpPr>
        <p:spPr/>
        <p:txBody>
          <a:bodyPr/>
          <a:lstStyle/>
          <a:p>
            <a:fld id="{5F3E29E4-0979-4FCA-B4C5-5FC6044C982A}" type="slidenum">
              <a:rPr lang="en-US" smtClean="0"/>
              <a:t>‹#›</a:t>
            </a:fld>
            <a:endParaRPr lang="en-US"/>
          </a:p>
        </p:txBody>
      </p:sp>
      <p:sp>
        <p:nvSpPr>
          <p:cNvPr id="2" name="Title 1"/>
          <p:cNvSpPr>
            <a:spLocks noGrp="1"/>
          </p:cNvSpPr>
          <p:nvPr>
            <p:ph type="title" hasCustomPrompt="1"/>
          </p:nvPr>
        </p:nvSpPr>
        <p:spPr/>
        <p:txBody>
          <a:bodyPr/>
          <a:lstStyle>
            <a:lvl1pPr>
              <a:defRPr/>
            </a:lvl1pPr>
          </a:lstStyle>
          <a:p>
            <a:r>
              <a:rPr lang="en-US" dirty="0"/>
              <a:t>Click to add contact title</a:t>
            </a:r>
          </a:p>
        </p:txBody>
      </p:sp>
      <p:sp>
        <p:nvSpPr>
          <p:cNvPr id="7" name="Subtitle 2"/>
          <p:cNvSpPr>
            <a:spLocks noGrp="1"/>
          </p:cNvSpPr>
          <p:nvPr>
            <p:ph type="subTitle" idx="13" hasCustomPrompt="1"/>
          </p:nvPr>
        </p:nvSpPr>
        <p:spPr>
          <a:xfrm>
            <a:off x="1075061" y="964671"/>
            <a:ext cx="7910158" cy="490042"/>
          </a:xfrm>
        </p:spPr>
        <p:txBody>
          <a:bodyPr wrap="none"/>
          <a:lstStyle>
            <a:lvl1pPr marL="0" indent="0" algn="l">
              <a:spcBef>
                <a:spcPts val="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grpSp>
        <p:nvGrpSpPr>
          <p:cNvPr id="8" name="Gruppieren 80">
            <a:extLst>
              <a:ext uri="{FF2B5EF4-FFF2-40B4-BE49-F238E27FC236}">
                <a16:creationId xmlns:a16="http://schemas.microsoft.com/office/drawing/2014/main" id="{6B969E7B-9C39-4443-9B02-74C1E7C5CCAC}"/>
              </a:ext>
            </a:extLst>
          </p:cNvPr>
          <p:cNvGrpSpPr/>
          <p:nvPr/>
        </p:nvGrpSpPr>
        <p:grpSpPr>
          <a:xfrm>
            <a:off x="4451001" y="2884199"/>
            <a:ext cx="171180" cy="171180"/>
            <a:chOff x="3392092" y="1841122"/>
            <a:chExt cx="646508" cy="646508"/>
          </a:xfrm>
        </p:grpSpPr>
        <p:sp>
          <p:nvSpPr>
            <p:cNvPr id="9" name="Rechteck 14">
              <a:extLst>
                <a:ext uri="{FF2B5EF4-FFF2-40B4-BE49-F238E27FC236}">
                  <a16:creationId xmlns:a16="http://schemas.microsoft.com/office/drawing/2014/main" id="{D78F58EA-5525-8D43-8295-FEA52ECF6BFA}"/>
                </a:ext>
              </a:extLst>
            </p:cNvPr>
            <p:cNvSpPr>
              <a:spLocks noChangeAspect="1"/>
            </p:cNvSpPr>
            <p:nvPr/>
          </p:nvSpPr>
          <p:spPr bwMode="gray">
            <a:xfrm>
              <a:off x="3392092" y="1841122"/>
              <a:ext cx="646508" cy="646508"/>
            </a:xfrm>
            <a:prstGeom prst="rect">
              <a:avLst/>
            </a:prstGeom>
            <a:solidFill>
              <a:srgbClr val="E55A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pPr>
              <a:endParaRPr lang="en-US" sz="1000" dirty="0">
                <a:solidFill>
                  <a:schemeClr val="tx1"/>
                </a:solidFill>
                <a:latin typeface="Arial" pitchFamily="34" charset="0"/>
                <a:cs typeface="Arial" pitchFamily="34" charset="0"/>
              </a:endParaRPr>
            </a:p>
          </p:txBody>
        </p:sp>
        <p:sp>
          <p:nvSpPr>
            <p:cNvPr id="10" name="Freeform 67">
              <a:extLst>
                <a:ext uri="{FF2B5EF4-FFF2-40B4-BE49-F238E27FC236}">
                  <a16:creationId xmlns:a16="http://schemas.microsoft.com/office/drawing/2014/main" id="{D01A6292-2776-4945-B828-483D79DC4908}"/>
                </a:ext>
              </a:extLst>
            </p:cNvPr>
            <p:cNvSpPr>
              <a:spLocks noChangeAspect="1"/>
            </p:cNvSpPr>
            <p:nvPr/>
          </p:nvSpPr>
          <p:spPr bwMode="auto">
            <a:xfrm>
              <a:off x="3546638" y="1970424"/>
              <a:ext cx="337415" cy="387905"/>
            </a:xfrm>
            <a:custGeom>
              <a:avLst/>
              <a:gdLst>
                <a:gd name="T0" fmla="*/ 573 w 1624"/>
                <a:gd name="T1" fmla="*/ 1257 h 1867"/>
                <a:gd name="T2" fmla="*/ 662 w 1624"/>
                <a:gd name="T3" fmla="*/ 1288 h 1867"/>
                <a:gd name="T4" fmla="*/ 938 w 1624"/>
                <a:gd name="T5" fmla="*/ 1051 h 1867"/>
                <a:gd name="T6" fmla="*/ 1106 w 1624"/>
                <a:gd name="T7" fmla="*/ 731 h 1867"/>
                <a:gd name="T8" fmla="*/ 1059 w 1624"/>
                <a:gd name="T9" fmla="*/ 645 h 1867"/>
                <a:gd name="T10" fmla="*/ 1001 w 1624"/>
                <a:gd name="T11" fmla="*/ 613 h 1867"/>
                <a:gd name="T12" fmla="*/ 924 w 1624"/>
                <a:gd name="T13" fmla="*/ 432 h 1867"/>
                <a:gd name="T14" fmla="*/ 1114 w 1624"/>
                <a:gd name="T15" fmla="*/ 81 h 1867"/>
                <a:gd name="T16" fmla="*/ 1287 w 1624"/>
                <a:gd name="T17" fmla="*/ 35 h 1867"/>
                <a:gd name="T18" fmla="*/ 1350 w 1624"/>
                <a:gd name="T19" fmla="*/ 69 h 1867"/>
                <a:gd name="T20" fmla="*/ 1527 w 1624"/>
                <a:gd name="T21" fmla="*/ 235 h 1867"/>
                <a:gd name="T22" fmla="*/ 1583 w 1624"/>
                <a:gd name="T23" fmla="*/ 555 h 1867"/>
                <a:gd name="T24" fmla="*/ 1172 w 1624"/>
                <a:gd name="T25" fmla="*/ 1253 h 1867"/>
                <a:gd name="T26" fmla="*/ 586 w 1624"/>
                <a:gd name="T27" fmla="*/ 1803 h 1867"/>
                <a:gd name="T28" fmla="*/ 269 w 1624"/>
                <a:gd name="T29" fmla="*/ 1807 h 1867"/>
                <a:gd name="T30" fmla="*/ 33 w 1624"/>
                <a:gd name="T31" fmla="*/ 1602 h 1867"/>
                <a:gd name="T32" fmla="*/ 2 w 1624"/>
                <a:gd name="T33" fmla="*/ 1508 h 1867"/>
                <a:gd name="T34" fmla="*/ 45 w 1624"/>
                <a:gd name="T35" fmla="*/ 1421 h 1867"/>
                <a:gd name="T36" fmla="*/ 346 w 1624"/>
                <a:gd name="T37" fmla="*/ 1158 h 1867"/>
                <a:gd name="T38" fmla="*/ 448 w 1624"/>
                <a:gd name="T39" fmla="*/ 1145 h 1867"/>
                <a:gd name="T40" fmla="*/ 573 w 1624"/>
                <a:gd name="T41" fmla="*/ 1257 h 18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24" h="1867">
                  <a:moveTo>
                    <a:pt x="573" y="1257"/>
                  </a:moveTo>
                  <a:cubicBezTo>
                    <a:pt x="592" y="1282"/>
                    <a:pt x="630" y="1303"/>
                    <a:pt x="662" y="1288"/>
                  </a:cubicBezTo>
                  <a:cubicBezTo>
                    <a:pt x="753" y="1245"/>
                    <a:pt x="854" y="1156"/>
                    <a:pt x="938" y="1051"/>
                  </a:cubicBezTo>
                  <a:cubicBezTo>
                    <a:pt x="1020" y="948"/>
                    <a:pt x="1084" y="831"/>
                    <a:pt x="1106" y="731"/>
                  </a:cubicBezTo>
                  <a:cubicBezTo>
                    <a:pt x="1113" y="696"/>
                    <a:pt x="1089" y="661"/>
                    <a:pt x="1059" y="645"/>
                  </a:cubicBezTo>
                  <a:cubicBezTo>
                    <a:pt x="1001" y="613"/>
                    <a:pt x="1001" y="613"/>
                    <a:pt x="1001" y="613"/>
                  </a:cubicBezTo>
                  <a:cubicBezTo>
                    <a:pt x="942" y="580"/>
                    <a:pt x="888" y="499"/>
                    <a:pt x="924" y="432"/>
                  </a:cubicBezTo>
                  <a:cubicBezTo>
                    <a:pt x="1114" y="81"/>
                    <a:pt x="1114" y="81"/>
                    <a:pt x="1114" y="81"/>
                  </a:cubicBezTo>
                  <a:cubicBezTo>
                    <a:pt x="1150" y="16"/>
                    <a:pt x="1224" y="0"/>
                    <a:pt x="1287" y="35"/>
                  </a:cubicBezTo>
                  <a:cubicBezTo>
                    <a:pt x="1350" y="69"/>
                    <a:pt x="1350" y="69"/>
                    <a:pt x="1350" y="69"/>
                  </a:cubicBezTo>
                  <a:cubicBezTo>
                    <a:pt x="1415" y="105"/>
                    <a:pt x="1479" y="165"/>
                    <a:pt x="1527" y="235"/>
                  </a:cubicBezTo>
                  <a:cubicBezTo>
                    <a:pt x="1593" y="332"/>
                    <a:pt x="1624" y="442"/>
                    <a:pt x="1583" y="555"/>
                  </a:cubicBezTo>
                  <a:cubicBezTo>
                    <a:pt x="1500" y="781"/>
                    <a:pt x="1351" y="1030"/>
                    <a:pt x="1172" y="1253"/>
                  </a:cubicBezTo>
                  <a:cubicBezTo>
                    <a:pt x="994" y="1477"/>
                    <a:pt x="786" y="1676"/>
                    <a:pt x="586" y="1803"/>
                  </a:cubicBezTo>
                  <a:cubicBezTo>
                    <a:pt x="486" y="1867"/>
                    <a:pt x="375" y="1856"/>
                    <a:pt x="269" y="1807"/>
                  </a:cubicBezTo>
                  <a:cubicBezTo>
                    <a:pt x="157" y="1755"/>
                    <a:pt x="106" y="1695"/>
                    <a:pt x="33" y="1602"/>
                  </a:cubicBezTo>
                  <a:cubicBezTo>
                    <a:pt x="11" y="1573"/>
                    <a:pt x="0" y="1540"/>
                    <a:pt x="2" y="1508"/>
                  </a:cubicBezTo>
                  <a:cubicBezTo>
                    <a:pt x="4" y="1475"/>
                    <a:pt x="18" y="1444"/>
                    <a:pt x="45" y="1421"/>
                  </a:cubicBezTo>
                  <a:cubicBezTo>
                    <a:pt x="70" y="1399"/>
                    <a:pt x="346" y="1158"/>
                    <a:pt x="346" y="1158"/>
                  </a:cubicBezTo>
                  <a:cubicBezTo>
                    <a:pt x="376" y="1134"/>
                    <a:pt x="413" y="1133"/>
                    <a:pt x="448" y="1145"/>
                  </a:cubicBezTo>
                  <a:cubicBezTo>
                    <a:pt x="510" y="1166"/>
                    <a:pt x="536" y="1210"/>
                    <a:pt x="573" y="1257"/>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351" dirty="0"/>
            </a:p>
          </p:txBody>
        </p:sp>
      </p:grpSp>
      <p:grpSp>
        <p:nvGrpSpPr>
          <p:cNvPr id="11" name="Group 3">
            <a:extLst>
              <a:ext uri="{FF2B5EF4-FFF2-40B4-BE49-F238E27FC236}">
                <a16:creationId xmlns:a16="http://schemas.microsoft.com/office/drawing/2014/main" id="{DED6A25A-5DE2-1441-8BA2-C68D3B4F9209}"/>
              </a:ext>
            </a:extLst>
          </p:cNvPr>
          <p:cNvGrpSpPr>
            <a:grpSpLocks noChangeAspect="1"/>
          </p:cNvGrpSpPr>
          <p:nvPr>
            <p:custDataLst>
              <p:tags r:id="rId1"/>
            </p:custDataLst>
          </p:nvPr>
        </p:nvGrpSpPr>
        <p:grpSpPr>
          <a:xfrm>
            <a:off x="4451002" y="3169087"/>
            <a:ext cx="171180" cy="171180"/>
            <a:chOff x="328396" y="5313940"/>
            <a:chExt cx="720000" cy="720000"/>
          </a:xfrm>
        </p:grpSpPr>
        <p:sp>
          <p:nvSpPr>
            <p:cNvPr id="12" name="Rectangle 4">
              <a:extLst>
                <a:ext uri="{FF2B5EF4-FFF2-40B4-BE49-F238E27FC236}">
                  <a16:creationId xmlns:a16="http://schemas.microsoft.com/office/drawing/2014/main" id="{5F49E67F-D4FA-9D48-96BC-59AE946ECD15}"/>
                </a:ext>
              </a:extLst>
            </p:cNvPr>
            <p:cNvSpPr/>
            <p:nvPr/>
          </p:nvSpPr>
          <p:spPr bwMode="gray">
            <a:xfrm>
              <a:off x="328396" y="5313940"/>
              <a:ext cx="720000" cy="720000"/>
            </a:xfrm>
            <a:prstGeom prst="rect">
              <a:avLst/>
            </a:prstGeom>
            <a:solidFill>
              <a:srgbClr val="E55A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pPr>
              <a:endParaRPr lang="en-US" sz="1000" dirty="0">
                <a:solidFill>
                  <a:schemeClr val="tx1"/>
                </a:solidFill>
                <a:latin typeface="Arial" pitchFamily="34" charset="0"/>
                <a:cs typeface="Arial" pitchFamily="34" charset="0"/>
              </a:endParaRPr>
            </a:p>
          </p:txBody>
        </p:sp>
        <p:sp>
          <p:nvSpPr>
            <p:cNvPr id="13" name="Freeform 76">
              <a:extLst>
                <a:ext uri="{FF2B5EF4-FFF2-40B4-BE49-F238E27FC236}">
                  <a16:creationId xmlns:a16="http://schemas.microsoft.com/office/drawing/2014/main" id="{187E70E6-AF3F-2549-908E-DF4BA61040AA}"/>
                </a:ext>
              </a:extLst>
            </p:cNvPr>
            <p:cNvSpPr>
              <a:spLocks noChangeAspect="1" noEditPoints="1"/>
            </p:cNvSpPr>
            <p:nvPr/>
          </p:nvSpPr>
          <p:spPr bwMode="auto">
            <a:xfrm>
              <a:off x="456202" y="5509222"/>
              <a:ext cx="504000" cy="329436"/>
            </a:xfrm>
            <a:custGeom>
              <a:avLst/>
              <a:gdLst>
                <a:gd name="T0" fmla="*/ 0 w 2080"/>
                <a:gd name="T1" fmla="*/ 65 h 1360"/>
                <a:gd name="T2" fmla="*/ 0 w 2080"/>
                <a:gd name="T3" fmla="*/ 0 h 1360"/>
                <a:gd name="T4" fmla="*/ 2080 w 2080"/>
                <a:gd name="T5" fmla="*/ 0 h 1360"/>
                <a:gd name="T6" fmla="*/ 2080 w 2080"/>
                <a:gd name="T7" fmla="*/ 65 h 1360"/>
                <a:gd name="T8" fmla="*/ 1089 w 2080"/>
                <a:gd name="T9" fmla="*/ 862 h 1360"/>
                <a:gd name="T10" fmla="*/ 991 w 2080"/>
                <a:gd name="T11" fmla="*/ 862 h 1360"/>
                <a:gd name="T12" fmla="*/ 0 w 2080"/>
                <a:gd name="T13" fmla="*/ 65 h 1360"/>
                <a:gd name="T14" fmla="*/ 1139 w 2080"/>
                <a:gd name="T15" fmla="*/ 924 h 1360"/>
                <a:gd name="T16" fmla="*/ 1282 w 2080"/>
                <a:gd name="T17" fmla="*/ 810 h 1360"/>
                <a:gd name="T18" fmla="*/ 2076 w 2080"/>
                <a:gd name="T19" fmla="*/ 1360 h 1360"/>
                <a:gd name="T20" fmla="*/ 4 w 2080"/>
                <a:gd name="T21" fmla="*/ 1360 h 1360"/>
                <a:gd name="T22" fmla="*/ 798 w 2080"/>
                <a:gd name="T23" fmla="*/ 810 h 1360"/>
                <a:gd name="T24" fmla="*/ 941 w 2080"/>
                <a:gd name="T25" fmla="*/ 924 h 1360"/>
                <a:gd name="T26" fmla="*/ 1139 w 2080"/>
                <a:gd name="T27" fmla="*/ 924 h 1360"/>
                <a:gd name="T28" fmla="*/ 2 w 2080"/>
                <a:gd name="T29" fmla="*/ 137 h 1360"/>
                <a:gd name="T30" fmla="*/ 42 w 2080"/>
                <a:gd name="T31" fmla="*/ 201 h 1360"/>
                <a:gd name="T32" fmla="*/ 734 w 2080"/>
                <a:gd name="T33" fmla="*/ 758 h 1360"/>
                <a:gd name="T34" fmla="*/ 0 w 2080"/>
                <a:gd name="T35" fmla="*/ 1266 h 1360"/>
                <a:gd name="T36" fmla="*/ 0 w 2080"/>
                <a:gd name="T37" fmla="*/ 135 h 1360"/>
                <a:gd name="T38" fmla="*/ 2 w 2080"/>
                <a:gd name="T39" fmla="*/ 137 h 1360"/>
                <a:gd name="T40" fmla="*/ 2080 w 2080"/>
                <a:gd name="T41" fmla="*/ 136 h 1360"/>
                <a:gd name="T42" fmla="*/ 2080 w 2080"/>
                <a:gd name="T43" fmla="*/ 1265 h 1360"/>
                <a:gd name="T44" fmla="*/ 1346 w 2080"/>
                <a:gd name="T45" fmla="*/ 758 h 1360"/>
                <a:gd name="T46" fmla="*/ 2038 w 2080"/>
                <a:gd name="T47" fmla="*/ 201 h 1360"/>
                <a:gd name="T48" fmla="*/ 2080 w 2080"/>
                <a:gd name="T49" fmla="*/ 136 h 1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080" h="1360">
                  <a:moveTo>
                    <a:pt x="0" y="65"/>
                  </a:moveTo>
                  <a:cubicBezTo>
                    <a:pt x="0" y="0"/>
                    <a:pt x="0" y="0"/>
                    <a:pt x="0" y="0"/>
                  </a:cubicBezTo>
                  <a:cubicBezTo>
                    <a:pt x="2080" y="0"/>
                    <a:pt x="2080" y="0"/>
                    <a:pt x="2080" y="0"/>
                  </a:cubicBezTo>
                  <a:cubicBezTo>
                    <a:pt x="2080" y="65"/>
                    <a:pt x="2080" y="65"/>
                    <a:pt x="2080" y="65"/>
                  </a:cubicBezTo>
                  <a:cubicBezTo>
                    <a:pt x="1089" y="862"/>
                    <a:pt x="1089" y="862"/>
                    <a:pt x="1089" y="862"/>
                  </a:cubicBezTo>
                  <a:cubicBezTo>
                    <a:pt x="1060" y="886"/>
                    <a:pt x="1020" y="886"/>
                    <a:pt x="991" y="862"/>
                  </a:cubicBezTo>
                  <a:lnTo>
                    <a:pt x="0" y="65"/>
                  </a:lnTo>
                  <a:close/>
                  <a:moveTo>
                    <a:pt x="1139" y="924"/>
                  </a:moveTo>
                  <a:cubicBezTo>
                    <a:pt x="1282" y="810"/>
                    <a:pt x="1282" y="810"/>
                    <a:pt x="1282" y="810"/>
                  </a:cubicBezTo>
                  <a:cubicBezTo>
                    <a:pt x="2076" y="1360"/>
                    <a:pt x="2076" y="1360"/>
                    <a:pt x="2076" y="1360"/>
                  </a:cubicBezTo>
                  <a:cubicBezTo>
                    <a:pt x="4" y="1360"/>
                    <a:pt x="4" y="1360"/>
                    <a:pt x="4" y="1360"/>
                  </a:cubicBezTo>
                  <a:cubicBezTo>
                    <a:pt x="798" y="810"/>
                    <a:pt x="798" y="810"/>
                    <a:pt x="798" y="810"/>
                  </a:cubicBezTo>
                  <a:cubicBezTo>
                    <a:pt x="941" y="924"/>
                    <a:pt x="941" y="924"/>
                    <a:pt x="941" y="924"/>
                  </a:cubicBezTo>
                  <a:cubicBezTo>
                    <a:pt x="1000" y="972"/>
                    <a:pt x="1080" y="972"/>
                    <a:pt x="1139" y="924"/>
                  </a:cubicBezTo>
                  <a:close/>
                  <a:moveTo>
                    <a:pt x="2" y="137"/>
                  </a:moveTo>
                  <a:cubicBezTo>
                    <a:pt x="8" y="163"/>
                    <a:pt x="22" y="185"/>
                    <a:pt x="42" y="201"/>
                  </a:cubicBezTo>
                  <a:cubicBezTo>
                    <a:pt x="734" y="758"/>
                    <a:pt x="734" y="758"/>
                    <a:pt x="734" y="758"/>
                  </a:cubicBezTo>
                  <a:cubicBezTo>
                    <a:pt x="0" y="1266"/>
                    <a:pt x="0" y="1266"/>
                    <a:pt x="0" y="1266"/>
                  </a:cubicBezTo>
                  <a:cubicBezTo>
                    <a:pt x="0" y="135"/>
                    <a:pt x="0" y="135"/>
                    <a:pt x="0" y="135"/>
                  </a:cubicBezTo>
                  <a:lnTo>
                    <a:pt x="2" y="137"/>
                  </a:lnTo>
                  <a:close/>
                  <a:moveTo>
                    <a:pt x="2080" y="136"/>
                  </a:moveTo>
                  <a:cubicBezTo>
                    <a:pt x="2080" y="1265"/>
                    <a:pt x="2080" y="1265"/>
                    <a:pt x="2080" y="1265"/>
                  </a:cubicBezTo>
                  <a:cubicBezTo>
                    <a:pt x="1346" y="758"/>
                    <a:pt x="1346" y="758"/>
                    <a:pt x="1346" y="758"/>
                  </a:cubicBezTo>
                  <a:cubicBezTo>
                    <a:pt x="2038" y="201"/>
                    <a:pt x="2038" y="201"/>
                    <a:pt x="2038" y="201"/>
                  </a:cubicBezTo>
                  <a:cubicBezTo>
                    <a:pt x="2060" y="182"/>
                    <a:pt x="2072" y="162"/>
                    <a:pt x="2080" y="13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000"/>
            </a:p>
          </p:txBody>
        </p:sp>
      </p:grpSp>
      <p:cxnSp>
        <p:nvCxnSpPr>
          <p:cNvPr id="20" name="Straight Connector 19"/>
          <p:cNvCxnSpPr/>
          <p:nvPr/>
        </p:nvCxnSpPr>
        <p:spPr>
          <a:xfrm>
            <a:off x="4451001" y="3494093"/>
            <a:ext cx="2463190" cy="0"/>
          </a:xfrm>
          <a:prstGeom prst="line">
            <a:avLst/>
          </a:prstGeom>
          <a:ln w="6350">
            <a:solidFill>
              <a:schemeClr val="tx2"/>
            </a:solidFill>
            <a:prstDash val="dash"/>
          </a:ln>
        </p:spPr>
        <p:style>
          <a:lnRef idx="1">
            <a:schemeClr val="accent1"/>
          </a:lnRef>
          <a:fillRef idx="0">
            <a:schemeClr val="accent1"/>
          </a:fillRef>
          <a:effectRef idx="0">
            <a:schemeClr val="accent1"/>
          </a:effectRef>
          <a:fontRef idx="minor">
            <a:schemeClr val="tx1"/>
          </a:fontRef>
        </p:style>
      </p:cxnSp>
      <p:sp>
        <p:nvSpPr>
          <p:cNvPr id="6" name="Text Placeholder 5"/>
          <p:cNvSpPr>
            <a:spLocks noGrp="1"/>
          </p:cNvSpPr>
          <p:nvPr>
            <p:ph type="body" sz="quarter" idx="19" hasCustomPrompt="1"/>
          </p:nvPr>
        </p:nvSpPr>
        <p:spPr>
          <a:xfrm>
            <a:off x="4451001" y="1824401"/>
            <a:ext cx="2463190" cy="192360"/>
          </a:xfrm>
        </p:spPr>
        <p:txBody>
          <a:bodyPr lIns="0" tIns="0" rIns="0" bIns="0" anchor="ctr" anchorCtr="0"/>
          <a:lstStyle>
            <a:lvl1pPr marL="0" indent="0" algn="l">
              <a:lnSpc>
                <a:spcPct val="100000"/>
              </a:lnSpc>
              <a:buNone/>
              <a:defRPr sz="100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Country</a:t>
            </a:r>
          </a:p>
        </p:txBody>
      </p:sp>
      <p:sp>
        <p:nvSpPr>
          <p:cNvPr id="26" name="Text Placeholder 5"/>
          <p:cNvSpPr>
            <a:spLocks noGrp="1"/>
          </p:cNvSpPr>
          <p:nvPr>
            <p:ph type="body" sz="quarter" idx="20" hasCustomPrompt="1"/>
          </p:nvPr>
        </p:nvSpPr>
        <p:spPr>
          <a:xfrm>
            <a:off x="4451001" y="2036217"/>
            <a:ext cx="2463190" cy="266182"/>
          </a:xfrm>
        </p:spPr>
        <p:txBody>
          <a:bodyPr lIns="0" tIns="0" rIns="0" bIns="0" anchor="b" anchorCtr="0"/>
          <a:lstStyle>
            <a:lvl1pPr marL="0" indent="0" algn="l">
              <a:lnSpc>
                <a:spcPct val="100000"/>
              </a:lnSpc>
              <a:buNone/>
              <a:defRPr sz="1400" b="1" baseline="0">
                <a:solidFill>
                  <a:schemeClr val="tx2"/>
                </a:solidFill>
              </a:defRPr>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Name, Surname</a:t>
            </a:r>
          </a:p>
        </p:txBody>
      </p:sp>
      <p:sp>
        <p:nvSpPr>
          <p:cNvPr id="27" name="Text Placeholder 5"/>
          <p:cNvSpPr>
            <a:spLocks noGrp="1"/>
          </p:cNvSpPr>
          <p:nvPr>
            <p:ph type="body" sz="quarter" idx="21" hasCustomPrompt="1"/>
          </p:nvPr>
        </p:nvSpPr>
        <p:spPr>
          <a:xfrm>
            <a:off x="4451001" y="2332792"/>
            <a:ext cx="2463190"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Job Position</a:t>
            </a:r>
          </a:p>
        </p:txBody>
      </p:sp>
      <p:sp>
        <p:nvSpPr>
          <p:cNvPr id="28" name="Text Placeholder 5"/>
          <p:cNvSpPr>
            <a:spLocks noGrp="1"/>
          </p:cNvSpPr>
          <p:nvPr>
            <p:ph type="body" sz="quarter" idx="22" hasCustomPrompt="1"/>
          </p:nvPr>
        </p:nvSpPr>
        <p:spPr>
          <a:xfrm>
            <a:off x="4695884" y="2861468"/>
            <a:ext cx="2218307"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Phone number</a:t>
            </a:r>
          </a:p>
        </p:txBody>
      </p:sp>
      <p:sp>
        <p:nvSpPr>
          <p:cNvPr id="29" name="Text Placeholder 5"/>
          <p:cNvSpPr>
            <a:spLocks noGrp="1"/>
          </p:cNvSpPr>
          <p:nvPr>
            <p:ph type="body" sz="quarter" idx="23" hasCustomPrompt="1"/>
          </p:nvPr>
        </p:nvSpPr>
        <p:spPr>
          <a:xfrm>
            <a:off x="4695884" y="3144275"/>
            <a:ext cx="2218307"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Email address</a:t>
            </a:r>
          </a:p>
        </p:txBody>
      </p:sp>
      <p:sp>
        <p:nvSpPr>
          <p:cNvPr id="35" name="Text Placeholder 34"/>
          <p:cNvSpPr>
            <a:spLocks noGrp="1"/>
          </p:cNvSpPr>
          <p:nvPr>
            <p:ph type="body" sz="quarter" idx="24" hasCustomPrompt="1"/>
          </p:nvPr>
        </p:nvSpPr>
        <p:spPr>
          <a:xfrm>
            <a:off x="4492626" y="3681413"/>
            <a:ext cx="4492594" cy="2087562"/>
          </a:xfrm>
        </p:spPr>
        <p:txBody>
          <a:bodyPr/>
          <a:lstStyle>
            <a:lvl1pPr>
              <a:defRPr sz="1400" baseline="0"/>
            </a:lvl1pPr>
            <a:lvl2pPr>
              <a:defRPr sz="1400"/>
            </a:lvl2pPr>
            <a:lvl3pPr>
              <a:defRPr sz="1400"/>
            </a:lvl3pPr>
            <a:lvl4pPr>
              <a:defRPr sz="1400"/>
            </a:lvl4pPr>
            <a:lvl5pPr>
              <a:defRPr sz="1400"/>
            </a:lvl5pPr>
          </a:lstStyle>
          <a:p>
            <a:pPr lvl="0"/>
            <a:r>
              <a:rPr lang="en-US" dirty="0"/>
              <a:t>Additional information (if needed)</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119535628"/>
      </p:ext>
    </p:extLst>
  </p:cSld>
  <p:clrMapOvr>
    <a:masterClrMapping/>
  </p:clrMapOvr>
</p:sldLayout>
</file>

<file path=ppt/slideLayouts/slideLayout527.xml><?xml version="1.0" encoding="utf-8"?>
<p:sldLayout xmlns:a="http://schemas.openxmlformats.org/drawingml/2006/main" xmlns:r="http://schemas.openxmlformats.org/officeDocument/2006/relationships" xmlns:p="http://schemas.openxmlformats.org/presentationml/2006/main" preserve="1">
  <p:cSld name="Two contacts">
    <p:spTree>
      <p:nvGrpSpPr>
        <p:cNvPr id="1" name=""/>
        <p:cNvGrpSpPr/>
        <p:nvPr/>
      </p:nvGrpSpPr>
      <p:grpSpPr>
        <a:xfrm>
          <a:off x="0" y="0"/>
          <a:ext cx="0" cy="0"/>
          <a:chOff x="0" y="0"/>
          <a:chExt cx="0" cy="0"/>
        </a:xfrm>
      </p:grpSpPr>
      <p:sp>
        <p:nvSpPr>
          <p:cNvPr id="21" name="Date Placeholder 20"/>
          <p:cNvSpPr>
            <a:spLocks noGrp="1"/>
          </p:cNvSpPr>
          <p:nvPr>
            <p:ph type="dt" sz="half" idx="14"/>
          </p:nvPr>
        </p:nvSpPr>
        <p:spPr>
          <a:xfrm>
            <a:off x="192088" y="6461671"/>
            <a:ext cx="761512" cy="133790"/>
          </a:xfrm>
          <a:prstGeom prst="rect">
            <a:avLst/>
          </a:prstGeom>
        </p:spPr>
        <p:txBody>
          <a:bodyPr/>
          <a:lstStyle/>
          <a:p>
            <a:fld id="{3F4603FF-FCF6-4AE0-9349-4AF38C1FF5B2}" type="datetime5">
              <a:rPr lang="en-US" smtClean="0"/>
              <a:t>26-Jun-20</a:t>
            </a:fld>
            <a:endParaRPr lang="en-US"/>
          </a:p>
        </p:txBody>
      </p:sp>
      <p:sp>
        <p:nvSpPr>
          <p:cNvPr id="22" name="Footer Placeholder 21"/>
          <p:cNvSpPr>
            <a:spLocks noGrp="1"/>
          </p:cNvSpPr>
          <p:nvPr>
            <p:ph type="ftr" sz="quarter" idx="15"/>
          </p:nvPr>
        </p:nvSpPr>
        <p:spPr>
          <a:xfrm>
            <a:off x="1076400" y="6461671"/>
            <a:ext cx="8162717" cy="133790"/>
          </a:xfrm>
          <a:prstGeom prst="rect">
            <a:avLst/>
          </a:prstGeom>
        </p:spPr>
        <p:txBody>
          <a:bodyPr/>
          <a:lstStyle/>
          <a:p>
            <a:r>
              <a:rPr lang="en-US"/>
              <a:t>Title of presentation (Insert / Header &amp; Footer / Apply to All)</a:t>
            </a:r>
            <a:endParaRPr lang="en-US" dirty="0"/>
          </a:p>
        </p:txBody>
      </p:sp>
      <p:sp>
        <p:nvSpPr>
          <p:cNvPr id="23" name="Slide Number Placeholder 22"/>
          <p:cNvSpPr>
            <a:spLocks noGrp="1"/>
          </p:cNvSpPr>
          <p:nvPr>
            <p:ph type="sldNum" sz="quarter" idx="16"/>
          </p:nvPr>
        </p:nvSpPr>
        <p:spPr/>
        <p:txBody>
          <a:bodyPr/>
          <a:lstStyle/>
          <a:p>
            <a:fld id="{5F3E29E4-0979-4FCA-B4C5-5FC6044C982A}" type="slidenum">
              <a:rPr lang="en-US" smtClean="0"/>
              <a:t>‹#›</a:t>
            </a:fld>
            <a:endParaRPr lang="en-US"/>
          </a:p>
        </p:txBody>
      </p:sp>
      <p:sp>
        <p:nvSpPr>
          <p:cNvPr id="2" name="Title 1"/>
          <p:cNvSpPr>
            <a:spLocks noGrp="1"/>
          </p:cNvSpPr>
          <p:nvPr>
            <p:ph type="title" hasCustomPrompt="1"/>
          </p:nvPr>
        </p:nvSpPr>
        <p:spPr/>
        <p:txBody>
          <a:bodyPr/>
          <a:lstStyle>
            <a:lvl1pPr>
              <a:defRPr/>
            </a:lvl1pPr>
          </a:lstStyle>
          <a:p>
            <a:r>
              <a:rPr lang="en-US" dirty="0"/>
              <a:t>Click to add contact title</a:t>
            </a:r>
          </a:p>
        </p:txBody>
      </p:sp>
      <p:sp>
        <p:nvSpPr>
          <p:cNvPr id="7" name="Subtitle 2"/>
          <p:cNvSpPr>
            <a:spLocks noGrp="1"/>
          </p:cNvSpPr>
          <p:nvPr>
            <p:ph type="subTitle" idx="13" hasCustomPrompt="1"/>
          </p:nvPr>
        </p:nvSpPr>
        <p:spPr>
          <a:xfrm>
            <a:off x="1075061" y="964671"/>
            <a:ext cx="7910158" cy="490042"/>
          </a:xfrm>
        </p:spPr>
        <p:txBody>
          <a:bodyPr wrap="none"/>
          <a:lstStyle>
            <a:lvl1pPr marL="0" indent="0" algn="l">
              <a:spcBef>
                <a:spcPts val="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grpSp>
        <p:nvGrpSpPr>
          <p:cNvPr id="8" name="Gruppieren 80">
            <a:extLst>
              <a:ext uri="{FF2B5EF4-FFF2-40B4-BE49-F238E27FC236}">
                <a16:creationId xmlns:a16="http://schemas.microsoft.com/office/drawing/2014/main" id="{6B969E7B-9C39-4443-9B02-74C1E7C5CCAC}"/>
              </a:ext>
            </a:extLst>
          </p:cNvPr>
          <p:cNvGrpSpPr/>
          <p:nvPr/>
        </p:nvGrpSpPr>
        <p:grpSpPr>
          <a:xfrm>
            <a:off x="3770065" y="2868319"/>
            <a:ext cx="171180" cy="171180"/>
            <a:chOff x="3392092" y="1841122"/>
            <a:chExt cx="646508" cy="646508"/>
          </a:xfrm>
        </p:grpSpPr>
        <p:sp>
          <p:nvSpPr>
            <p:cNvPr id="9" name="Rechteck 14">
              <a:extLst>
                <a:ext uri="{FF2B5EF4-FFF2-40B4-BE49-F238E27FC236}">
                  <a16:creationId xmlns:a16="http://schemas.microsoft.com/office/drawing/2014/main" id="{D78F58EA-5525-8D43-8295-FEA52ECF6BFA}"/>
                </a:ext>
              </a:extLst>
            </p:cNvPr>
            <p:cNvSpPr>
              <a:spLocks noChangeAspect="1"/>
            </p:cNvSpPr>
            <p:nvPr/>
          </p:nvSpPr>
          <p:spPr bwMode="gray">
            <a:xfrm>
              <a:off x="3392092" y="1841122"/>
              <a:ext cx="646508" cy="646508"/>
            </a:xfrm>
            <a:prstGeom prst="rect">
              <a:avLst/>
            </a:prstGeom>
            <a:solidFill>
              <a:srgbClr val="E55A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pPr>
              <a:endParaRPr lang="en-US" sz="1000" dirty="0">
                <a:solidFill>
                  <a:schemeClr val="tx1"/>
                </a:solidFill>
                <a:latin typeface="Arial" pitchFamily="34" charset="0"/>
                <a:cs typeface="Arial" pitchFamily="34" charset="0"/>
              </a:endParaRPr>
            </a:p>
          </p:txBody>
        </p:sp>
        <p:sp>
          <p:nvSpPr>
            <p:cNvPr id="10" name="Freeform 67">
              <a:extLst>
                <a:ext uri="{FF2B5EF4-FFF2-40B4-BE49-F238E27FC236}">
                  <a16:creationId xmlns:a16="http://schemas.microsoft.com/office/drawing/2014/main" id="{D01A6292-2776-4945-B828-483D79DC4908}"/>
                </a:ext>
              </a:extLst>
            </p:cNvPr>
            <p:cNvSpPr>
              <a:spLocks noChangeAspect="1"/>
            </p:cNvSpPr>
            <p:nvPr/>
          </p:nvSpPr>
          <p:spPr bwMode="auto">
            <a:xfrm>
              <a:off x="3546638" y="1970424"/>
              <a:ext cx="337415" cy="387905"/>
            </a:xfrm>
            <a:custGeom>
              <a:avLst/>
              <a:gdLst>
                <a:gd name="T0" fmla="*/ 573 w 1624"/>
                <a:gd name="T1" fmla="*/ 1257 h 1867"/>
                <a:gd name="T2" fmla="*/ 662 w 1624"/>
                <a:gd name="T3" fmla="*/ 1288 h 1867"/>
                <a:gd name="T4" fmla="*/ 938 w 1624"/>
                <a:gd name="T5" fmla="*/ 1051 h 1867"/>
                <a:gd name="T6" fmla="*/ 1106 w 1624"/>
                <a:gd name="T7" fmla="*/ 731 h 1867"/>
                <a:gd name="T8" fmla="*/ 1059 w 1624"/>
                <a:gd name="T9" fmla="*/ 645 h 1867"/>
                <a:gd name="T10" fmla="*/ 1001 w 1624"/>
                <a:gd name="T11" fmla="*/ 613 h 1867"/>
                <a:gd name="T12" fmla="*/ 924 w 1624"/>
                <a:gd name="T13" fmla="*/ 432 h 1867"/>
                <a:gd name="T14" fmla="*/ 1114 w 1624"/>
                <a:gd name="T15" fmla="*/ 81 h 1867"/>
                <a:gd name="T16" fmla="*/ 1287 w 1624"/>
                <a:gd name="T17" fmla="*/ 35 h 1867"/>
                <a:gd name="T18" fmla="*/ 1350 w 1624"/>
                <a:gd name="T19" fmla="*/ 69 h 1867"/>
                <a:gd name="T20" fmla="*/ 1527 w 1624"/>
                <a:gd name="T21" fmla="*/ 235 h 1867"/>
                <a:gd name="T22" fmla="*/ 1583 w 1624"/>
                <a:gd name="T23" fmla="*/ 555 h 1867"/>
                <a:gd name="T24" fmla="*/ 1172 w 1624"/>
                <a:gd name="T25" fmla="*/ 1253 h 1867"/>
                <a:gd name="T26" fmla="*/ 586 w 1624"/>
                <a:gd name="T27" fmla="*/ 1803 h 1867"/>
                <a:gd name="T28" fmla="*/ 269 w 1624"/>
                <a:gd name="T29" fmla="*/ 1807 h 1867"/>
                <a:gd name="T30" fmla="*/ 33 w 1624"/>
                <a:gd name="T31" fmla="*/ 1602 h 1867"/>
                <a:gd name="T32" fmla="*/ 2 w 1624"/>
                <a:gd name="T33" fmla="*/ 1508 h 1867"/>
                <a:gd name="T34" fmla="*/ 45 w 1624"/>
                <a:gd name="T35" fmla="*/ 1421 h 1867"/>
                <a:gd name="T36" fmla="*/ 346 w 1624"/>
                <a:gd name="T37" fmla="*/ 1158 h 1867"/>
                <a:gd name="T38" fmla="*/ 448 w 1624"/>
                <a:gd name="T39" fmla="*/ 1145 h 1867"/>
                <a:gd name="T40" fmla="*/ 573 w 1624"/>
                <a:gd name="T41" fmla="*/ 1257 h 18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24" h="1867">
                  <a:moveTo>
                    <a:pt x="573" y="1257"/>
                  </a:moveTo>
                  <a:cubicBezTo>
                    <a:pt x="592" y="1282"/>
                    <a:pt x="630" y="1303"/>
                    <a:pt x="662" y="1288"/>
                  </a:cubicBezTo>
                  <a:cubicBezTo>
                    <a:pt x="753" y="1245"/>
                    <a:pt x="854" y="1156"/>
                    <a:pt x="938" y="1051"/>
                  </a:cubicBezTo>
                  <a:cubicBezTo>
                    <a:pt x="1020" y="948"/>
                    <a:pt x="1084" y="831"/>
                    <a:pt x="1106" y="731"/>
                  </a:cubicBezTo>
                  <a:cubicBezTo>
                    <a:pt x="1113" y="696"/>
                    <a:pt x="1089" y="661"/>
                    <a:pt x="1059" y="645"/>
                  </a:cubicBezTo>
                  <a:cubicBezTo>
                    <a:pt x="1001" y="613"/>
                    <a:pt x="1001" y="613"/>
                    <a:pt x="1001" y="613"/>
                  </a:cubicBezTo>
                  <a:cubicBezTo>
                    <a:pt x="942" y="580"/>
                    <a:pt x="888" y="499"/>
                    <a:pt x="924" y="432"/>
                  </a:cubicBezTo>
                  <a:cubicBezTo>
                    <a:pt x="1114" y="81"/>
                    <a:pt x="1114" y="81"/>
                    <a:pt x="1114" y="81"/>
                  </a:cubicBezTo>
                  <a:cubicBezTo>
                    <a:pt x="1150" y="16"/>
                    <a:pt x="1224" y="0"/>
                    <a:pt x="1287" y="35"/>
                  </a:cubicBezTo>
                  <a:cubicBezTo>
                    <a:pt x="1350" y="69"/>
                    <a:pt x="1350" y="69"/>
                    <a:pt x="1350" y="69"/>
                  </a:cubicBezTo>
                  <a:cubicBezTo>
                    <a:pt x="1415" y="105"/>
                    <a:pt x="1479" y="165"/>
                    <a:pt x="1527" y="235"/>
                  </a:cubicBezTo>
                  <a:cubicBezTo>
                    <a:pt x="1593" y="332"/>
                    <a:pt x="1624" y="442"/>
                    <a:pt x="1583" y="555"/>
                  </a:cubicBezTo>
                  <a:cubicBezTo>
                    <a:pt x="1500" y="781"/>
                    <a:pt x="1351" y="1030"/>
                    <a:pt x="1172" y="1253"/>
                  </a:cubicBezTo>
                  <a:cubicBezTo>
                    <a:pt x="994" y="1477"/>
                    <a:pt x="786" y="1676"/>
                    <a:pt x="586" y="1803"/>
                  </a:cubicBezTo>
                  <a:cubicBezTo>
                    <a:pt x="486" y="1867"/>
                    <a:pt x="375" y="1856"/>
                    <a:pt x="269" y="1807"/>
                  </a:cubicBezTo>
                  <a:cubicBezTo>
                    <a:pt x="157" y="1755"/>
                    <a:pt x="106" y="1695"/>
                    <a:pt x="33" y="1602"/>
                  </a:cubicBezTo>
                  <a:cubicBezTo>
                    <a:pt x="11" y="1573"/>
                    <a:pt x="0" y="1540"/>
                    <a:pt x="2" y="1508"/>
                  </a:cubicBezTo>
                  <a:cubicBezTo>
                    <a:pt x="4" y="1475"/>
                    <a:pt x="18" y="1444"/>
                    <a:pt x="45" y="1421"/>
                  </a:cubicBezTo>
                  <a:cubicBezTo>
                    <a:pt x="70" y="1399"/>
                    <a:pt x="346" y="1158"/>
                    <a:pt x="346" y="1158"/>
                  </a:cubicBezTo>
                  <a:cubicBezTo>
                    <a:pt x="376" y="1134"/>
                    <a:pt x="413" y="1133"/>
                    <a:pt x="448" y="1145"/>
                  </a:cubicBezTo>
                  <a:cubicBezTo>
                    <a:pt x="510" y="1166"/>
                    <a:pt x="536" y="1210"/>
                    <a:pt x="573" y="1257"/>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351" dirty="0"/>
            </a:p>
          </p:txBody>
        </p:sp>
      </p:grpSp>
      <p:grpSp>
        <p:nvGrpSpPr>
          <p:cNvPr id="11" name="Group 3">
            <a:extLst>
              <a:ext uri="{FF2B5EF4-FFF2-40B4-BE49-F238E27FC236}">
                <a16:creationId xmlns:a16="http://schemas.microsoft.com/office/drawing/2014/main" id="{DED6A25A-5DE2-1441-8BA2-C68D3B4F9209}"/>
              </a:ext>
            </a:extLst>
          </p:cNvPr>
          <p:cNvGrpSpPr>
            <a:grpSpLocks noChangeAspect="1"/>
          </p:cNvGrpSpPr>
          <p:nvPr>
            <p:custDataLst>
              <p:tags r:id="rId1"/>
            </p:custDataLst>
          </p:nvPr>
        </p:nvGrpSpPr>
        <p:grpSpPr>
          <a:xfrm>
            <a:off x="3770066" y="3153207"/>
            <a:ext cx="171180" cy="171180"/>
            <a:chOff x="328396" y="5313940"/>
            <a:chExt cx="720000" cy="720000"/>
          </a:xfrm>
        </p:grpSpPr>
        <p:sp>
          <p:nvSpPr>
            <p:cNvPr id="12" name="Rectangle 4">
              <a:extLst>
                <a:ext uri="{FF2B5EF4-FFF2-40B4-BE49-F238E27FC236}">
                  <a16:creationId xmlns:a16="http://schemas.microsoft.com/office/drawing/2014/main" id="{5F49E67F-D4FA-9D48-96BC-59AE946ECD15}"/>
                </a:ext>
              </a:extLst>
            </p:cNvPr>
            <p:cNvSpPr/>
            <p:nvPr/>
          </p:nvSpPr>
          <p:spPr bwMode="gray">
            <a:xfrm>
              <a:off x="328396" y="5313940"/>
              <a:ext cx="720000" cy="720000"/>
            </a:xfrm>
            <a:prstGeom prst="rect">
              <a:avLst/>
            </a:prstGeom>
            <a:solidFill>
              <a:srgbClr val="E55A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pPr>
              <a:endParaRPr lang="en-US" sz="1000" dirty="0">
                <a:solidFill>
                  <a:schemeClr val="tx1"/>
                </a:solidFill>
                <a:latin typeface="Arial" pitchFamily="34" charset="0"/>
                <a:cs typeface="Arial" pitchFamily="34" charset="0"/>
              </a:endParaRPr>
            </a:p>
          </p:txBody>
        </p:sp>
        <p:sp>
          <p:nvSpPr>
            <p:cNvPr id="13" name="Freeform 76">
              <a:extLst>
                <a:ext uri="{FF2B5EF4-FFF2-40B4-BE49-F238E27FC236}">
                  <a16:creationId xmlns:a16="http://schemas.microsoft.com/office/drawing/2014/main" id="{187E70E6-AF3F-2549-908E-DF4BA61040AA}"/>
                </a:ext>
              </a:extLst>
            </p:cNvPr>
            <p:cNvSpPr>
              <a:spLocks noChangeAspect="1" noEditPoints="1"/>
            </p:cNvSpPr>
            <p:nvPr/>
          </p:nvSpPr>
          <p:spPr bwMode="auto">
            <a:xfrm>
              <a:off x="456202" y="5509222"/>
              <a:ext cx="504000" cy="329436"/>
            </a:xfrm>
            <a:custGeom>
              <a:avLst/>
              <a:gdLst>
                <a:gd name="T0" fmla="*/ 0 w 2080"/>
                <a:gd name="T1" fmla="*/ 65 h 1360"/>
                <a:gd name="T2" fmla="*/ 0 w 2080"/>
                <a:gd name="T3" fmla="*/ 0 h 1360"/>
                <a:gd name="T4" fmla="*/ 2080 w 2080"/>
                <a:gd name="T5" fmla="*/ 0 h 1360"/>
                <a:gd name="T6" fmla="*/ 2080 w 2080"/>
                <a:gd name="T7" fmla="*/ 65 h 1360"/>
                <a:gd name="T8" fmla="*/ 1089 w 2080"/>
                <a:gd name="T9" fmla="*/ 862 h 1360"/>
                <a:gd name="T10" fmla="*/ 991 w 2080"/>
                <a:gd name="T11" fmla="*/ 862 h 1360"/>
                <a:gd name="T12" fmla="*/ 0 w 2080"/>
                <a:gd name="T13" fmla="*/ 65 h 1360"/>
                <a:gd name="T14" fmla="*/ 1139 w 2080"/>
                <a:gd name="T15" fmla="*/ 924 h 1360"/>
                <a:gd name="T16" fmla="*/ 1282 w 2080"/>
                <a:gd name="T17" fmla="*/ 810 h 1360"/>
                <a:gd name="T18" fmla="*/ 2076 w 2080"/>
                <a:gd name="T19" fmla="*/ 1360 h 1360"/>
                <a:gd name="T20" fmla="*/ 4 w 2080"/>
                <a:gd name="T21" fmla="*/ 1360 h 1360"/>
                <a:gd name="T22" fmla="*/ 798 w 2080"/>
                <a:gd name="T23" fmla="*/ 810 h 1360"/>
                <a:gd name="T24" fmla="*/ 941 w 2080"/>
                <a:gd name="T25" fmla="*/ 924 h 1360"/>
                <a:gd name="T26" fmla="*/ 1139 w 2080"/>
                <a:gd name="T27" fmla="*/ 924 h 1360"/>
                <a:gd name="T28" fmla="*/ 2 w 2080"/>
                <a:gd name="T29" fmla="*/ 137 h 1360"/>
                <a:gd name="T30" fmla="*/ 42 w 2080"/>
                <a:gd name="T31" fmla="*/ 201 h 1360"/>
                <a:gd name="T32" fmla="*/ 734 w 2080"/>
                <a:gd name="T33" fmla="*/ 758 h 1360"/>
                <a:gd name="T34" fmla="*/ 0 w 2080"/>
                <a:gd name="T35" fmla="*/ 1266 h 1360"/>
                <a:gd name="T36" fmla="*/ 0 w 2080"/>
                <a:gd name="T37" fmla="*/ 135 h 1360"/>
                <a:gd name="T38" fmla="*/ 2 w 2080"/>
                <a:gd name="T39" fmla="*/ 137 h 1360"/>
                <a:gd name="T40" fmla="*/ 2080 w 2080"/>
                <a:gd name="T41" fmla="*/ 136 h 1360"/>
                <a:gd name="T42" fmla="*/ 2080 w 2080"/>
                <a:gd name="T43" fmla="*/ 1265 h 1360"/>
                <a:gd name="T44" fmla="*/ 1346 w 2080"/>
                <a:gd name="T45" fmla="*/ 758 h 1360"/>
                <a:gd name="T46" fmla="*/ 2038 w 2080"/>
                <a:gd name="T47" fmla="*/ 201 h 1360"/>
                <a:gd name="T48" fmla="*/ 2080 w 2080"/>
                <a:gd name="T49" fmla="*/ 136 h 1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080" h="1360">
                  <a:moveTo>
                    <a:pt x="0" y="65"/>
                  </a:moveTo>
                  <a:cubicBezTo>
                    <a:pt x="0" y="0"/>
                    <a:pt x="0" y="0"/>
                    <a:pt x="0" y="0"/>
                  </a:cubicBezTo>
                  <a:cubicBezTo>
                    <a:pt x="2080" y="0"/>
                    <a:pt x="2080" y="0"/>
                    <a:pt x="2080" y="0"/>
                  </a:cubicBezTo>
                  <a:cubicBezTo>
                    <a:pt x="2080" y="65"/>
                    <a:pt x="2080" y="65"/>
                    <a:pt x="2080" y="65"/>
                  </a:cubicBezTo>
                  <a:cubicBezTo>
                    <a:pt x="1089" y="862"/>
                    <a:pt x="1089" y="862"/>
                    <a:pt x="1089" y="862"/>
                  </a:cubicBezTo>
                  <a:cubicBezTo>
                    <a:pt x="1060" y="886"/>
                    <a:pt x="1020" y="886"/>
                    <a:pt x="991" y="862"/>
                  </a:cubicBezTo>
                  <a:lnTo>
                    <a:pt x="0" y="65"/>
                  </a:lnTo>
                  <a:close/>
                  <a:moveTo>
                    <a:pt x="1139" y="924"/>
                  </a:moveTo>
                  <a:cubicBezTo>
                    <a:pt x="1282" y="810"/>
                    <a:pt x="1282" y="810"/>
                    <a:pt x="1282" y="810"/>
                  </a:cubicBezTo>
                  <a:cubicBezTo>
                    <a:pt x="2076" y="1360"/>
                    <a:pt x="2076" y="1360"/>
                    <a:pt x="2076" y="1360"/>
                  </a:cubicBezTo>
                  <a:cubicBezTo>
                    <a:pt x="4" y="1360"/>
                    <a:pt x="4" y="1360"/>
                    <a:pt x="4" y="1360"/>
                  </a:cubicBezTo>
                  <a:cubicBezTo>
                    <a:pt x="798" y="810"/>
                    <a:pt x="798" y="810"/>
                    <a:pt x="798" y="810"/>
                  </a:cubicBezTo>
                  <a:cubicBezTo>
                    <a:pt x="941" y="924"/>
                    <a:pt x="941" y="924"/>
                    <a:pt x="941" y="924"/>
                  </a:cubicBezTo>
                  <a:cubicBezTo>
                    <a:pt x="1000" y="972"/>
                    <a:pt x="1080" y="972"/>
                    <a:pt x="1139" y="924"/>
                  </a:cubicBezTo>
                  <a:close/>
                  <a:moveTo>
                    <a:pt x="2" y="137"/>
                  </a:moveTo>
                  <a:cubicBezTo>
                    <a:pt x="8" y="163"/>
                    <a:pt x="22" y="185"/>
                    <a:pt x="42" y="201"/>
                  </a:cubicBezTo>
                  <a:cubicBezTo>
                    <a:pt x="734" y="758"/>
                    <a:pt x="734" y="758"/>
                    <a:pt x="734" y="758"/>
                  </a:cubicBezTo>
                  <a:cubicBezTo>
                    <a:pt x="0" y="1266"/>
                    <a:pt x="0" y="1266"/>
                    <a:pt x="0" y="1266"/>
                  </a:cubicBezTo>
                  <a:cubicBezTo>
                    <a:pt x="0" y="135"/>
                    <a:pt x="0" y="135"/>
                    <a:pt x="0" y="135"/>
                  </a:cubicBezTo>
                  <a:lnTo>
                    <a:pt x="2" y="137"/>
                  </a:lnTo>
                  <a:close/>
                  <a:moveTo>
                    <a:pt x="2080" y="136"/>
                  </a:moveTo>
                  <a:cubicBezTo>
                    <a:pt x="2080" y="1265"/>
                    <a:pt x="2080" y="1265"/>
                    <a:pt x="2080" y="1265"/>
                  </a:cubicBezTo>
                  <a:cubicBezTo>
                    <a:pt x="1346" y="758"/>
                    <a:pt x="1346" y="758"/>
                    <a:pt x="1346" y="758"/>
                  </a:cubicBezTo>
                  <a:cubicBezTo>
                    <a:pt x="2038" y="201"/>
                    <a:pt x="2038" y="201"/>
                    <a:pt x="2038" y="201"/>
                  </a:cubicBezTo>
                  <a:cubicBezTo>
                    <a:pt x="2060" y="182"/>
                    <a:pt x="2072" y="162"/>
                    <a:pt x="2080" y="13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000"/>
            </a:p>
          </p:txBody>
        </p:sp>
      </p:grpSp>
      <p:grpSp>
        <p:nvGrpSpPr>
          <p:cNvPr id="14" name="Gruppieren 2">
            <a:extLst>
              <a:ext uri="{FF2B5EF4-FFF2-40B4-BE49-F238E27FC236}">
                <a16:creationId xmlns:a16="http://schemas.microsoft.com/office/drawing/2014/main" id="{BE697CE9-EBDE-6B4A-BE70-582D92A8A831}"/>
              </a:ext>
            </a:extLst>
          </p:cNvPr>
          <p:cNvGrpSpPr/>
          <p:nvPr/>
        </p:nvGrpSpPr>
        <p:grpSpPr>
          <a:xfrm>
            <a:off x="8701917" y="2868319"/>
            <a:ext cx="171180" cy="171180"/>
            <a:chOff x="3392092" y="1841122"/>
            <a:chExt cx="646508" cy="646508"/>
          </a:xfrm>
        </p:grpSpPr>
        <p:sp>
          <p:nvSpPr>
            <p:cNvPr id="15" name="Rechteck 14">
              <a:extLst>
                <a:ext uri="{FF2B5EF4-FFF2-40B4-BE49-F238E27FC236}">
                  <a16:creationId xmlns:a16="http://schemas.microsoft.com/office/drawing/2014/main" id="{E142A731-19B7-C34D-9534-9E05108F895F}"/>
                </a:ext>
              </a:extLst>
            </p:cNvPr>
            <p:cNvSpPr>
              <a:spLocks noChangeAspect="1"/>
            </p:cNvSpPr>
            <p:nvPr/>
          </p:nvSpPr>
          <p:spPr bwMode="gray">
            <a:xfrm>
              <a:off x="3392092" y="1841122"/>
              <a:ext cx="646508" cy="646508"/>
            </a:xfrm>
            <a:prstGeom prst="rect">
              <a:avLst/>
            </a:prstGeom>
            <a:solidFill>
              <a:srgbClr val="E55A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pPr>
              <a:endParaRPr lang="en-US" sz="1000" dirty="0">
                <a:solidFill>
                  <a:schemeClr val="tx1"/>
                </a:solidFill>
                <a:latin typeface="Arial" pitchFamily="34" charset="0"/>
                <a:cs typeface="Arial" pitchFamily="34" charset="0"/>
              </a:endParaRPr>
            </a:p>
          </p:txBody>
        </p:sp>
        <p:sp>
          <p:nvSpPr>
            <p:cNvPr id="16" name="Freeform 15">
              <a:extLst>
                <a:ext uri="{FF2B5EF4-FFF2-40B4-BE49-F238E27FC236}">
                  <a16:creationId xmlns:a16="http://schemas.microsoft.com/office/drawing/2014/main" id="{F97E84AE-4AD9-4B44-9AA1-F797FC373809}"/>
                </a:ext>
              </a:extLst>
            </p:cNvPr>
            <p:cNvSpPr>
              <a:spLocks noChangeAspect="1"/>
            </p:cNvSpPr>
            <p:nvPr/>
          </p:nvSpPr>
          <p:spPr bwMode="auto">
            <a:xfrm>
              <a:off x="3546638" y="1970424"/>
              <a:ext cx="337415" cy="387905"/>
            </a:xfrm>
            <a:custGeom>
              <a:avLst/>
              <a:gdLst>
                <a:gd name="T0" fmla="*/ 573 w 1624"/>
                <a:gd name="T1" fmla="*/ 1257 h 1867"/>
                <a:gd name="T2" fmla="*/ 662 w 1624"/>
                <a:gd name="T3" fmla="*/ 1288 h 1867"/>
                <a:gd name="T4" fmla="*/ 938 w 1624"/>
                <a:gd name="T5" fmla="*/ 1051 h 1867"/>
                <a:gd name="T6" fmla="*/ 1106 w 1624"/>
                <a:gd name="T7" fmla="*/ 731 h 1867"/>
                <a:gd name="T8" fmla="*/ 1059 w 1624"/>
                <a:gd name="T9" fmla="*/ 645 h 1867"/>
                <a:gd name="T10" fmla="*/ 1001 w 1624"/>
                <a:gd name="T11" fmla="*/ 613 h 1867"/>
                <a:gd name="T12" fmla="*/ 924 w 1624"/>
                <a:gd name="T13" fmla="*/ 432 h 1867"/>
                <a:gd name="T14" fmla="*/ 1114 w 1624"/>
                <a:gd name="T15" fmla="*/ 81 h 1867"/>
                <a:gd name="T16" fmla="*/ 1287 w 1624"/>
                <a:gd name="T17" fmla="*/ 35 h 1867"/>
                <a:gd name="T18" fmla="*/ 1350 w 1624"/>
                <a:gd name="T19" fmla="*/ 69 h 1867"/>
                <a:gd name="T20" fmla="*/ 1527 w 1624"/>
                <a:gd name="T21" fmla="*/ 235 h 1867"/>
                <a:gd name="T22" fmla="*/ 1583 w 1624"/>
                <a:gd name="T23" fmla="*/ 555 h 1867"/>
                <a:gd name="T24" fmla="*/ 1172 w 1624"/>
                <a:gd name="T25" fmla="*/ 1253 h 1867"/>
                <a:gd name="T26" fmla="*/ 586 w 1624"/>
                <a:gd name="T27" fmla="*/ 1803 h 1867"/>
                <a:gd name="T28" fmla="*/ 269 w 1624"/>
                <a:gd name="T29" fmla="*/ 1807 h 1867"/>
                <a:gd name="T30" fmla="*/ 33 w 1624"/>
                <a:gd name="T31" fmla="*/ 1602 h 1867"/>
                <a:gd name="T32" fmla="*/ 2 w 1624"/>
                <a:gd name="T33" fmla="*/ 1508 h 1867"/>
                <a:gd name="T34" fmla="*/ 45 w 1624"/>
                <a:gd name="T35" fmla="*/ 1421 h 1867"/>
                <a:gd name="T36" fmla="*/ 346 w 1624"/>
                <a:gd name="T37" fmla="*/ 1158 h 1867"/>
                <a:gd name="T38" fmla="*/ 448 w 1624"/>
                <a:gd name="T39" fmla="*/ 1145 h 1867"/>
                <a:gd name="T40" fmla="*/ 573 w 1624"/>
                <a:gd name="T41" fmla="*/ 1257 h 18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24" h="1867">
                  <a:moveTo>
                    <a:pt x="573" y="1257"/>
                  </a:moveTo>
                  <a:cubicBezTo>
                    <a:pt x="592" y="1282"/>
                    <a:pt x="630" y="1303"/>
                    <a:pt x="662" y="1288"/>
                  </a:cubicBezTo>
                  <a:cubicBezTo>
                    <a:pt x="753" y="1245"/>
                    <a:pt x="854" y="1156"/>
                    <a:pt x="938" y="1051"/>
                  </a:cubicBezTo>
                  <a:cubicBezTo>
                    <a:pt x="1020" y="948"/>
                    <a:pt x="1084" y="831"/>
                    <a:pt x="1106" y="731"/>
                  </a:cubicBezTo>
                  <a:cubicBezTo>
                    <a:pt x="1113" y="696"/>
                    <a:pt x="1089" y="661"/>
                    <a:pt x="1059" y="645"/>
                  </a:cubicBezTo>
                  <a:cubicBezTo>
                    <a:pt x="1001" y="613"/>
                    <a:pt x="1001" y="613"/>
                    <a:pt x="1001" y="613"/>
                  </a:cubicBezTo>
                  <a:cubicBezTo>
                    <a:pt x="942" y="580"/>
                    <a:pt x="888" y="499"/>
                    <a:pt x="924" y="432"/>
                  </a:cubicBezTo>
                  <a:cubicBezTo>
                    <a:pt x="1114" y="81"/>
                    <a:pt x="1114" y="81"/>
                    <a:pt x="1114" y="81"/>
                  </a:cubicBezTo>
                  <a:cubicBezTo>
                    <a:pt x="1150" y="16"/>
                    <a:pt x="1224" y="0"/>
                    <a:pt x="1287" y="35"/>
                  </a:cubicBezTo>
                  <a:cubicBezTo>
                    <a:pt x="1350" y="69"/>
                    <a:pt x="1350" y="69"/>
                    <a:pt x="1350" y="69"/>
                  </a:cubicBezTo>
                  <a:cubicBezTo>
                    <a:pt x="1415" y="105"/>
                    <a:pt x="1479" y="165"/>
                    <a:pt x="1527" y="235"/>
                  </a:cubicBezTo>
                  <a:cubicBezTo>
                    <a:pt x="1593" y="332"/>
                    <a:pt x="1624" y="442"/>
                    <a:pt x="1583" y="555"/>
                  </a:cubicBezTo>
                  <a:cubicBezTo>
                    <a:pt x="1500" y="781"/>
                    <a:pt x="1351" y="1030"/>
                    <a:pt x="1172" y="1253"/>
                  </a:cubicBezTo>
                  <a:cubicBezTo>
                    <a:pt x="994" y="1477"/>
                    <a:pt x="786" y="1676"/>
                    <a:pt x="586" y="1803"/>
                  </a:cubicBezTo>
                  <a:cubicBezTo>
                    <a:pt x="486" y="1867"/>
                    <a:pt x="375" y="1856"/>
                    <a:pt x="269" y="1807"/>
                  </a:cubicBezTo>
                  <a:cubicBezTo>
                    <a:pt x="157" y="1755"/>
                    <a:pt x="106" y="1695"/>
                    <a:pt x="33" y="1602"/>
                  </a:cubicBezTo>
                  <a:cubicBezTo>
                    <a:pt x="11" y="1573"/>
                    <a:pt x="0" y="1540"/>
                    <a:pt x="2" y="1508"/>
                  </a:cubicBezTo>
                  <a:cubicBezTo>
                    <a:pt x="4" y="1475"/>
                    <a:pt x="18" y="1444"/>
                    <a:pt x="45" y="1421"/>
                  </a:cubicBezTo>
                  <a:cubicBezTo>
                    <a:pt x="70" y="1399"/>
                    <a:pt x="346" y="1158"/>
                    <a:pt x="346" y="1158"/>
                  </a:cubicBezTo>
                  <a:cubicBezTo>
                    <a:pt x="376" y="1134"/>
                    <a:pt x="413" y="1133"/>
                    <a:pt x="448" y="1145"/>
                  </a:cubicBezTo>
                  <a:cubicBezTo>
                    <a:pt x="510" y="1166"/>
                    <a:pt x="536" y="1210"/>
                    <a:pt x="573" y="1257"/>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351" dirty="0"/>
            </a:p>
          </p:txBody>
        </p:sp>
      </p:grpSp>
      <p:grpSp>
        <p:nvGrpSpPr>
          <p:cNvPr id="17" name="Group 3">
            <a:extLst>
              <a:ext uri="{FF2B5EF4-FFF2-40B4-BE49-F238E27FC236}">
                <a16:creationId xmlns:a16="http://schemas.microsoft.com/office/drawing/2014/main" id="{7104BADD-8CD1-6F4A-B894-869C3BDB3EEB}"/>
              </a:ext>
            </a:extLst>
          </p:cNvPr>
          <p:cNvGrpSpPr>
            <a:grpSpLocks noChangeAspect="1"/>
          </p:cNvGrpSpPr>
          <p:nvPr>
            <p:custDataLst>
              <p:tags r:id="rId2"/>
            </p:custDataLst>
          </p:nvPr>
        </p:nvGrpSpPr>
        <p:grpSpPr>
          <a:xfrm>
            <a:off x="8701918" y="3153207"/>
            <a:ext cx="171180" cy="171180"/>
            <a:chOff x="328396" y="5313940"/>
            <a:chExt cx="720000" cy="720000"/>
          </a:xfrm>
        </p:grpSpPr>
        <p:sp>
          <p:nvSpPr>
            <p:cNvPr id="18" name="Rectangle 4">
              <a:extLst>
                <a:ext uri="{FF2B5EF4-FFF2-40B4-BE49-F238E27FC236}">
                  <a16:creationId xmlns:a16="http://schemas.microsoft.com/office/drawing/2014/main" id="{74BE3D5F-1445-6E40-8B49-72E15568383B}"/>
                </a:ext>
              </a:extLst>
            </p:cNvPr>
            <p:cNvSpPr/>
            <p:nvPr/>
          </p:nvSpPr>
          <p:spPr bwMode="gray">
            <a:xfrm>
              <a:off x="328396" y="5313940"/>
              <a:ext cx="720000" cy="720000"/>
            </a:xfrm>
            <a:prstGeom prst="rect">
              <a:avLst/>
            </a:prstGeom>
            <a:solidFill>
              <a:srgbClr val="E55A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pPr>
              <a:endParaRPr lang="en-US" sz="1000" dirty="0">
                <a:solidFill>
                  <a:schemeClr val="tx1"/>
                </a:solidFill>
                <a:latin typeface="Arial" pitchFamily="34" charset="0"/>
                <a:cs typeface="Arial" pitchFamily="34" charset="0"/>
              </a:endParaRPr>
            </a:p>
          </p:txBody>
        </p:sp>
        <p:sp>
          <p:nvSpPr>
            <p:cNvPr id="19" name="Freeform 76">
              <a:extLst>
                <a:ext uri="{FF2B5EF4-FFF2-40B4-BE49-F238E27FC236}">
                  <a16:creationId xmlns:a16="http://schemas.microsoft.com/office/drawing/2014/main" id="{55DB3C95-7D0C-D141-901E-96D692794D2B}"/>
                </a:ext>
              </a:extLst>
            </p:cNvPr>
            <p:cNvSpPr>
              <a:spLocks noChangeAspect="1" noEditPoints="1"/>
            </p:cNvSpPr>
            <p:nvPr/>
          </p:nvSpPr>
          <p:spPr bwMode="auto">
            <a:xfrm>
              <a:off x="456202" y="5509222"/>
              <a:ext cx="504000" cy="329436"/>
            </a:xfrm>
            <a:custGeom>
              <a:avLst/>
              <a:gdLst>
                <a:gd name="T0" fmla="*/ 0 w 2080"/>
                <a:gd name="T1" fmla="*/ 65 h 1360"/>
                <a:gd name="T2" fmla="*/ 0 w 2080"/>
                <a:gd name="T3" fmla="*/ 0 h 1360"/>
                <a:gd name="T4" fmla="*/ 2080 w 2080"/>
                <a:gd name="T5" fmla="*/ 0 h 1360"/>
                <a:gd name="T6" fmla="*/ 2080 w 2080"/>
                <a:gd name="T7" fmla="*/ 65 h 1360"/>
                <a:gd name="T8" fmla="*/ 1089 w 2080"/>
                <a:gd name="T9" fmla="*/ 862 h 1360"/>
                <a:gd name="T10" fmla="*/ 991 w 2080"/>
                <a:gd name="T11" fmla="*/ 862 h 1360"/>
                <a:gd name="T12" fmla="*/ 0 w 2080"/>
                <a:gd name="T13" fmla="*/ 65 h 1360"/>
                <a:gd name="T14" fmla="*/ 1139 w 2080"/>
                <a:gd name="T15" fmla="*/ 924 h 1360"/>
                <a:gd name="T16" fmla="*/ 1282 w 2080"/>
                <a:gd name="T17" fmla="*/ 810 h 1360"/>
                <a:gd name="T18" fmla="*/ 2076 w 2080"/>
                <a:gd name="T19" fmla="*/ 1360 h 1360"/>
                <a:gd name="T20" fmla="*/ 4 w 2080"/>
                <a:gd name="T21" fmla="*/ 1360 h 1360"/>
                <a:gd name="T22" fmla="*/ 798 w 2080"/>
                <a:gd name="T23" fmla="*/ 810 h 1360"/>
                <a:gd name="T24" fmla="*/ 941 w 2080"/>
                <a:gd name="T25" fmla="*/ 924 h 1360"/>
                <a:gd name="T26" fmla="*/ 1139 w 2080"/>
                <a:gd name="T27" fmla="*/ 924 h 1360"/>
                <a:gd name="T28" fmla="*/ 2 w 2080"/>
                <a:gd name="T29" fmla="*/ 137 h 1360"/>
                <a:gd name="T30" fmla="*/ 42 w 2080"/>
                <a:gd name="T31" fmla="*/ 201 h 1360"/>
                <a:gd name="T32" fmla="*/ 734 w 2080"/>
                <a:gd name="T33" fmla="*/ 758 h 1360"/>
                <a:gd name="T34" fmla="*/ 0 w 2080"/>
                <a:gd name="T35" fmla="*/ 1266 h 1360"/>
                <a:gd name="T36" fmla="*/ 0 w 2080"/>
                <a:gd name="T37" fmla="*/ 135 h 1360"/>
                <a:gd name="T38" fmla="*/ 2 w 2080"/>
                <a:gd name="T39" fmla="*/ 137 h 1360"/>
                <a:gd name="T40" fmla="*/ 2080 w 2080"/>
                <a:gd name="T41" fmla="*/ 136 h 1360"/>
                <a:gd name="T42" fmla="*/ 2080 w 2080"/>
                <a:gd name="T43" fmla="*/ 1265 h 1360"/>
                <a:gd name="T44" fmla="*/ 1346 w 2080"/>
                <a:gd name="T45" fmla="*/ 758 h 1360"/>
                <a:gd name="T46" fmla="*/ 2038 w 2080"/>
                <a:gd name="T47" fmla="*/ 201 h 1360"/>
                <a:gd name="T48" fmla="*/ 2080 w 2080"/>
                <a:gd name="T49" fmla="*/ 136 h 1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080" h="1360">
                  <a:moveTo>
                    <a:pt x="0" y="65"/>
                  </a:moveTo>
                  <a:cubicBezTo>
                    <a:pt x="0" y="0"/>
                    <a:pt x="0" y="0"/>
                    <a:pt x="0" y="0"/>
                  </a:cubicBezTo>
                  <a:cubicBezTo>
                    <a:pt x="2080" y="0"/>
                    <a:pt x="2080" y="0"/>
                    <a:pt x="2080" y="0"/>
                  </a:cubicBezTo>
                  <a:cubicBezTo>
                    <a:pt x="2080" y="65"/>
                    <a:pt x="2080" y="65"/>
                    <a:pt x="2080" y="65"/>
                  </a:cubicBezTo>
                  <a:cubicBezTo>
                    <a:pt x="1089" y="862"/>
                    <a:pt x="1089" y="862"/>
                    <a:pt x="1089" y="862"/>
                  </a:cubicBezTo>
                  <a:cubicBezTo>
                    <a:pt x="1060" y="886"/>
                    <a:pt x="1020" y="886"/>
                    <a:pt x="991" y="862"/>
                  </a:cubicBezTo>
                  <a:lnTo>
                    <a:pt x="0" y="65"/>
                  </a:lnTo>
                  <a:close/>
                  <a:moveTo>
                    <a:pt x="1139" y="924"/>
                  </a:moveTo>
                  <a:cubicBezTo>
                    <a:pt x="1282" y="810"/>
                    <a:pt x="1282" y="810"/>
                    <a:pt x="1282" y="810"/>
                  </a:cubicBezTo>
                  <a:cubicBezTo>
                    <a:pt x="2076" y="1360"/>
                    <a:pt x="2076" y="1360"/>
                    <a:pt x="2076" y="1360"/>
                  </a:cubicBezTo>
                  <a:cubicBezTo>
                    <a:pt x="4" y="1360"/>
                    <a:pt x="4" y="1360"/>
                    <a:pt x="4" y="1360"/>
                  </a:cubicBezTo>
                  <a:cubicBezTo>
                    <a:pt x="798" y="810"/>
                    <a:pt x="798" y="810"/>
                    <a:pt x="798" y="810"/>
                  </a:cubicBezTo>
                  <a:cubicBezTo>
                    <a:pt x="941" y="924"/>
                    <a:pt x="941" y="924"/>
                    <a:pt x="941" y="924"/>
                  </a:cubicBezTo>
                  <a:cubicBezTo>
                    <a:pt x="1000" y="972"/>
                    <a:pt x="1080" y="972"/>
                    <a:pt x="1139" y="924"/>
                  </a:cubicBezTo>
                  <a:close/>
                  <a:moveTo>
                    <a:pt x="2" y="137"/>
                  </a:moveTo>
                  <a:cubicBezTo>
                    <a:pt x="8" y="163"/>
                    <a:pt x="22" y="185"/>
                    <a:pt x="42" y="201"/>
                  </a:cubicBezTo>
                  <a:cubicBezTo>
                    <a:pt x="734" y="758"/>
                    <a:pt x="734" y="758"/>
                    <a:pt x="734" y="758"/>
                  </a:cubicBezTo>
                  <a:cubicBezTo>
                    <a:pt x="0" y="1266"/>
                    <a:pt x="0" y="1266"/>
                    <a:pt x="0" y="1266"/>
                  </a:cubicBezTo>
                  <a:cubicBezTo>
                    <a:pt x="0" y="135"/>
                    <a:pt x="0" y="135"/>
                    <a:pt x="0" y="135"/>
                  </a:cubicBezTo>
                  <a:lnTo>
                    <a:pt x="2" y="137"/>
                  </a:lnTo>
                  <a:close/>
                  <a:moveTo>
                    <a:pt x="2080" y="136"/>
                  </a:moveTo>
                  <a:cubicBezTo>
                    <a:pt x="2080" y="1265"/>
                    <a:pt x="2080" y="1265"/>
                    <a:pt x="2080" y="1265"/>
                  </a:cubicBezTo>
                  <a:cubicBezTo>
                    <a:pt x="1346" y="758"/>
                    <a:pt x="1346" y="758"/>
                    <a:pt x="1346" y="758"/>
                  </a:cubicBezTo>
                  <a:cubicBezTo>
                    <a:pt x="2038" y="201"/>
                    <a:pt x="2038" y="201"/>
                    <a:pt x="2038" y="201"/>
                  </a:cubicBezTo>
                  <a:cubicBezTo>
                    <a:pt x="2060" y="182"/>
                    <a:pt x="2072" y="162"/>
                    <a:pt x="2080" y="13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000"/>
            </a:p>
          </p:txBody>
        </p:sp>
      </p:grpSp>
      <p:cxnSp>
        <p:nvCxnSpPr>
          <p:cNvPr id="20" name="Straight Connector 19"/>
          <p:cNvCxnSpPr/>
          <p:nvPr/>
        </p:nvCxnSpPr>
        <p:spPr>
          <a:xfrm>
            <a:off x="2371725" y="3478213"/>
            <a:ext cx="3888000" cy="0"/>
          </a:xfrm>
          <a:prstGeom prst="line">
            <a:avLst/>
          </a:prstGeom>
          <a:ln w="6350">
            <a:solidFill>
              <a:schemeClr val="tx2"/>
            </a:solidFill>
            <a:prstDash val="dash"/>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p:nvCxnSpPr>
        <p:spPr>
          <a:xfrm>
            <a:off x="7287766" y="3478213"/>
            <a:ext cx="3888000" cy="0"/>
          </a:xfrm>
          <a:prstGeom prst="line">
            <a:avLst/>
          </a:prstGeom>
          <a:ln w="6350">
            <a:solidFill>
              <a:schemeClr val="tx2"/>
            </a:solidFill>
            <a:prstDash val="dash"/>
          </a:ln>
        </p:spPr>
        <p:style>
          <a:lnRef idx="1">
            <a:schemeClr val="accent1"/>
          </a:lnRef>
          <a:fillRef idx="0">
            <a:schemeClr val="accent1"/>
          </a:fillRef>
          <a:effectRef idx="0">
            <a:schemeClr val="accent1"/>
          </a:effectRef>
          <a:fontRef idx="minor">
            <a:schemeClr val="tx1"/>
          </a:fontRef>
        </p:style>
      </p:cxnSp>
      <p:sp>
        <p:nvSpPr>
          <p:cNvPr id="4" name="Picture Placeholder 3"/>
          <p:cNvSpPr>
            <a:spLocks noGrp="1"/>
          </p:cNvSpPr>
          <p:nvPr>
            <p:ph type="pic" sz="quarter" idx="17" hasCustomPrompt="1"/>
          </p:nvPr>
        </p:nvSpPr>
        <p:spPr>
          <a:xfrm>
            <a:off x="2355914" y="1808984"/>
            <a:ext cx="1188677" cy="1547840"/>
          </a:xfrm>
          <a:solidFill>
            <a:srgbClr val="D9DADB"/>
          </a:solidFill>
        </p:spPr>
        <p:txBody>
          <a:bodyPr/>
          <a:lstStyle>
            <a:lvl1pPr marL="0" indent="0">
              <a:buNone/>
              <a:defRPr sz="1400"/>
            </a:lvl1pPr>
          </a:lstStyle>
          <a:p>
            <a:r>
              <a:rPr lang="en-US" dirty="0"/>
              <a:t>Insert picture</a:t>
            </a:r>
          </a:p>
        </p:txBody>
      </p:sp>
      <p:sp>
        <p:nvSpPr>
          <p:cNvPr id="25" name="Picture Placeholder 3"/>
          <p:cNvSpPr>
            <a:spLocks noGrp="1"/>
          </p:cNvSpPr>
          <p:nvPr>
            <p:ph type="pic" sz="quarter" idx="18" hasCustomPrompt="1"/>
          </p:nvPr>
        </p:nvSpPr>
        <p:spPr>
          <a:xfrm>
            <a:off x="7287766" y="1808984"/>
            <a:ext cx="1188677" cy="1547840"/>
          </a:xfrm>
          <a:solidFill>
            <a:srgbClr val="D9DADB"/>
          </a:solidFill>
        </p:spPr>
        <p:txBody>
          <a:bodyPr/>
          <a:lstStyle>
            <a:lvl1pPr marL="0" indent="0">
              <a:buNone/>
              <a:defRPr sz="1400"/>
            </a:lvl1pPr>
          </a:lstStyle>
          <a:p>
            <a:r>
              <a:rPr lang="en-US" dirty="0"/>
              <a:t>Insert picture</a:t>
            </a:r>
          </a:p>
        </p:txBody>
      </p:sp>
      <p:sp>
        <p:nvSpPr>
          <p:cNvPr id="6" name="Text Placeholder 5"/>
          <p:cNvSpPr>
            <a:spLocks noGrp="1"/>
          </p:cNvSpPr>
          <p:nvPr>
            <p:ph type="body" sz="quarter" idx="19" hasCustomPrompt="1"/>
          </p:nvPr>
        </p:nvSpPr>
        <p:spPr>
          <a:xfrm>
            <a:off x="3770065" y="1808521"/>
            <a:ext cx="2463190" cy="192360"/>
          </a:xfrm>
        </p:spPr>
        <p:txBody>
          <a:bodyPr lIns="0" tIns="0" rIns="0" bIns="0" anchor="ctr" anchorCtr="0"/>
          <a:lstStyle>
            <a:lvl1pPr marL="0" indent="0" algn="l">
              <a:lnSpc>
                <a:spcPct val="100000"/>
              </a:lnSpc>
              <a:buNone/>
              <a:defRPr sz="100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Country</a:t>
            </a:r>
          </a:p>
        </p:txBody>
      </p:sp>
      <p:sp>
        <p:nvSpPr>
          <p:cNvPr id="26" name="Text Placeholder 5"/>
          <p:cNvSpPr>
            <a:spLocks noGrp="1"/>
          </p:cNvSpPr>
          <p:nvPr>
            <p:ph type="body" sz="quarter" idx="20" hasCustomPrompt="1"/>
          </p:nvPr>
        </p:nvSpPr>
        <p:spPr>
          <a:xfrm>
            <a:off x="3770065" y="2020337"/>
            <a:ext cx="2463190" cy="266182"/>
          </a:xfrm>
        </p:spPr>
        <p:txBody>
          <a:bodyPr lIns="0" tIns="0" rIns="0" bIns="0" anchor="b" anchorCtr="0"/>
          <a:lstStyle>
            <a:lvl1pPr marL="0" indent="0" algn="l">
              <a:lnSpc>
                <a:spcPct val="100000"/>
              </a:lnSpc>
              <a:buNone/>
              <a:defRPr sz="1400" b="1" baseline="0">
                <a:solidFill>
                  <a:schemeClr val="tx2"/>
                </a:solidFill>
              </a:defRPr>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Name, Surname</a:t>
            </a:r>
          </a:p>
        </p:txBody>
      </p:sp>
      <p:sp>
        <p:nvSpPr>
          <p:cNvPr id="27" name="Text Placeholder 5"/>
          <p:cNvSpPr>
            <a:spLocks noGrp="1"/>
          </p:cNvSpPr>
          <p:nvPr>
            <p:ph type="body" sz="quarter" idx="21" hasCustomPrompt="1"/>
          </p:nvPr>
        </p:nvSpPr>
        <p:spPr>
          <a:xfrm>
            <a:off x="3770065" y="2316912"/>
            <a:ext cx="2463190"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Job Position</a:t>
            </a:r>
          </a:p>
        </p:txBody>
      </p:sp>
      <p:sp>
        <p:nvSpPr>
          <p:cNvPr id="28" name="Text Placeholder 5"/>
          <p:cNvSpPr>
            <a:spLocks noGrp="1"/>
          </p:cNvSpPr>
          <p:nvPr>
            <p:ph type="body" sz="quarter" idx="22" hasCustomPrompt="1"/>
          </p:nvPr>
        </p:nvSpPr>
        <p:spPr>
          <a:xfrm>
            <a:off x="4014948" y="2845588"/>
            <a:ext cx="2218307"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Phone number</a:t>
            </a:r>
          </a:p>
        </p:txBody>
      </p:sp>
      <p:sp>
        <p:nvSpPr>
          <p:cNvPr id="29" name="Text Placeholder 5"/>
          <p:cNvSpPr>
            <a:spLocks noGrp="1"/>
          </p:cNvSpPr>
          <p:nvPr>
            <p:ph type="body" sz="quarter" idx="23" hasCustomPrompt="1"/>
          </p:nvPr>
        </p:nvSpPr>
        <p:spPr>
          <a:xfrm>
            <a:off x="4014948" y="3128395"/>
            <a:ext cx="2218307"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Email address</a:t>
            </a:r>
          </a:p>
        </p:txBody>
      </p:sp>
      <p:sp>
        <p:nvSpPr>
          <p:cNvPr id="30" name="Text Placeholder 5"/>
          <p:cNvSpPr>
            <a:spLocks noGrp="1"/>
          </p:cNvSpPr>
          <p:nvPr>
            <p:ph type="body" sz="quarter" idx="24" hasCustomPrompt="1"/>
          </p:nvPr>
        </p:nvSpPr>
        <p:spPr>
          <a:xfrm>
            <a:off x="8701917" y="1808521"/>
            <a:ext cx="2463190" cy="192360"/>
          </a:xfrm>
        </p:spPr>
        <p:txBody>
          <a:bodyPr lIns="0" tIns="0" rIns="0" bIns="0" anchor="ctr" anchorCtr="0"/>
          <a:lstStyle>
            <a:lvl1pPr marL="0" indent="0" algn="l">
              <a:lnSpc>
                <a:spcPct val="100000"/>
              </a:lnSpc>
              <a:buNone/>
              <a:defRPr sz="100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Country</a:t>
            </a:r>
          </a:p>
        </p:txBody>
      </p:sp>
      <p:sp>
        <p:nvSpPr>
          <p:cNvPr id="31" name="Text Placeholder 5"/>
          <p:cNvSpPr>
            <a:spLocks noGrp="1"/>
          </p:cNvSpPr>
          <p:nvPr>
            <p:ph type="body" sz="quarter" idx="25" hasCustomPrompt="1"/>
          </p:nvPr>
        </p:nvSpPr>
        <p:spPr>
          <a:xfrm>
            <a:off x="8701917" y="2020337"/>
            <a:ext cx="2463190" cy="266182"/>
          </a:xfrm>
        </p:spPr>
        <p:txBody>
          <a:bodyPr lIns="0" tIns="0" rIns="0" bIns="0" anchor="b" anchorCtr="0"/>
          <a:lstStyle>
            <a:lvl1pPr marL="0" indent="0" algn="l">
              <a:lnSpc>
                <a:spcPct val="100000"/>
              </a:lnSpc>
              <a:buNone/>
              <a:defRPr sz="1400" b="1" baseline="0">
                <a:solidFill>
                  <a:schemeClr val="tx2"/>
                </a:solidFill>
              </a:defRPr>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Name, Surname</a:t>
            </a:r>
          </a:p>
        </p:txBody>
      </p:sp>
      <p:sp>
        <p:nvSpPr>
          <p:cNvPr id="32" name="Text Placeholder 5"/>
          <p:cNvSpPr>
            <a:spLocks noGrp="1"/>
          </p:cNvSpPr>
          <p:nvPr>
            <p:ph type="body" sz="quarter" idx="26" hasCustomPrompt="1"/>
          </p:nvPr>
        </p:nvSpPr>
        <p:spPr>
          <a:xfrm>
            <a:off x="8701917" y="2316912"/>
            <a:ext cx="2463190"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Job Position</a:t>
            </a:r>
          </a:p>
        </p:txBody>
      </p:sp>
      <p:sp>
        <p:nvSpPr>
          <p:cNvPr id="33" name="Text Placeholder 5"/>
          <p:cNvSpPr>
            <a:spLocks noGrp="1"/>
          </p:cNvSpPr>
          <p:nvPr>
            <p:ph type="body" sz="quarter" idx="27" hasCustomPrompt="1"/>
          </p:nvPr>
        </p:nvSpPr>
        <p:spPr>
          <a:xfrm>
            <a:off x="8946800" y="2845588"/>
            <a:ext cx="2218307"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Phone number</a:t>
            </a:r>
          </a:p>
        </p:txBody>
      </p:sp>
      <p:sp>
        <p:nvSpPr>
          <p:cNvPr id="34" name="Text Placeholder 5"/>
          <p:cNvSpPr>
            <a:spLocks noGrp="1"/>
          </p:cNvSpPr>
          <p:nvPr>
            <p:ph type="body" sz="quarter" idx="28" hasCustomPrompt="1"/>
          </p:nvPr>
        </p:nvSpPr>
        <p:spPr>
          <a:xfrm>
            <a:off x="8946800" y="3128395"/>
            <a:ext cx="2218307"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Email address</a:t>
            </a:r>
          </a:p>
        </p:txBody>
      </p:sp>
    </p:spTree>
    <p:extLst>
      <p:ext uri="{BB962C8B-B14F-4D97-AF65-F5344CB8AC3E}">
        <p14:creationId xmlns:p14="http://schemas.microsoft.com/office/powerpoint/2010/main" val="3608347843"/>
      </p:ext>
    </p:extLst>
  </p:cSld>
  <p:clrMapOvr>
    <a:masterClrMapping/>
  </p:clrMapOvr>
</p:sldLayout>
</file>

<file path=ppt/slideLayouts/slideLayout528.xml><?xml version="1.0" encoding="utf-8"?>
<p:sldLayout xmlns:a="http://schemas.openxmlformats.org/drawingml/2006/main" xmlns:r="http://schemas.openxmlformats.org/officeDocument/2006/relationships" xmlns:p="http://schemas.openxmlformats.org/presentationml/2006/main" preserve="1">
  <p:cSld name="Three contacts">
    <p:spTree>
      <p:nvGrpSpPr>
        <p:cNvPr id="1" name=""/>
        <p:cNvGrpSpPr/>
        <p:nvPr/>
      </p:nvGrpSpPr>
      <p:grpSpPr>
        <a:xfrm>
          <a:off x="0" y="0"/>
          <a:ext cx="0" cy="0"/>
          <a:chOff x="0" y="0"/>
          <a:chExt cx="0" cy="0"/>
        </a:xfrm>
      </p:grpSpPr>
      <p:sp>
        <p:nvSpPr>
          <p:cNvPr id="21" name="Date Placeholder 20"/>
          <p:cNvSpPr>
            <a:spLocks noGrp="1"/>
          </p:cNvSpPr>
          <p:nvPr>
            <p:ph type="dt" sz="half" idx="14"/>
          </p:nvPr>
        </p:nvSpPr>
        <p:spPr>
          <a:xfrm>
            <a:off x="192088" y="6461671"/>
            <a:ext cx="761512" cy="133790"/>
          </a:xfrm>
          <a:prstGeom prst="rect">
            <a:avLst/>
          </a:prstGeom>
        </p:spPr>
        <p:txBody>
          <a:bodyPr/>
          <a:lstStyle/>
          <a:p>
            <a:fld id="{6580B400-49DF-489E-B82C-8D138BFCC234}" type="datetime5">
              <a:rPr lang="en-US" smtClean="0"/>
              <a:t>26-Jun-20</a:t>
            </a:fld>
            <a:endParaRPr lang="en-US"/>
          </a:p>
        </p:txBody>
      </p:sp>
      <p:sp>
        <p:nvSpPr>
          <p:cNvPr id="22" name="Footer Placeholder 21"/>
          <p:cNvSpPr>
            <a:spLocks noGrp="1"/>
          </p:cNvSpPr>
          <p:nvPr>
            <p:ph type="ftr" sz="quarter" idx="15"/>
          </p:nvPr>
        </p:nvSpPr>
        <p:spPr>
          <a:xfrm>
            <a:off x="1076400" y="6461671"/>
            <a:ext cx="8162717" cy="133790"/>
          </a:xfrm>
          <a:prstGeom prst="rect">
            <a:avLst/>
          </a:prstGeom>
        </p:spPr>
        <p:txBody>
          <a:bodyPr/>
          <a:lstStyle/>
          <a:p>
            <a:r>
              <a:rPr lang="en-US"/>
              <a:t>Title of presentation (Insert / Header &amp; Footer / Apply to All)</a:t>
            </a:r>
            <a:endParaRPr lang="en-US" dirty="0"/>
          </a:p>
        </p:txBody>
      </p:sp>
      <p:sp>
        <p:nvSpPr>
          <p:cNvPr id="23" name="Slide Number Placeholder 22"/>
          <p:cNvSpPr>
            <a:spLocks noGrp="1"/>
          </p:cNvSpPr>
          <p:nvPr>
            <p:ph type="sldNum" sz="quarter" idx="16"/>
          </p:nvPr>
        </p:nvSpPr>
        <p:spPr/>
        <p:txBody>
          <a:bodyPr/>
          <a:lstStyle/>
          <a:p>
            <a:fld id="{5F3E29E4-0979-4FCA-B4C5-5FC6044C982A}" type="slidenum">
              <a:rPr lang="en-US" smtClean="0"/>
              <a:t>‹#›</a:t>
            </a:fld>
            <a:endParaRPr lang="en-US"/>
          </a:p>
        </p:txBody>
      </p:sp>
      <p:sp>
        <p:nvSpPr>
          <p:cNvPr id="2" name="Title 1"/>
          <p:cNvSpPr>
            <a:spLocks noGrp="1"/>
          </p:cNvSpPr>
          <p:nvPr>
            <p:ph type="title" hasCustomPrompt="1"/>
          </p:nvPr>
        </p:nvSpPr>
        <p:spPr/>
        <p:txBody>
          <a:bodyPr/>
          <a:lstStyle>
            <a:lvl1pPr>
              <a:defRPr/>
            </a:lvl1pPr>
          </a:lstStyle>
          <a:p>
            <a:r>
              <a:rPr lang="en-US" dirty="0"/>
              <a:t>Click to add contact title</a:t>
            </a:r>
          </a:p>
        </p:txBody>
      </p:sp>
      <p:sp>
        <p:nvSpPr>
          <p:cNvPr id="7" name="Subtitle 2"/>
          <p:cNvSpPr>
            <a:spLocks noGrp="1"/>
          </p:cNvSpPr>
          <p:nvPr>
            <p:ph type="subTitle" idx="13" hasCustomPrompt="1"/>
          </p:nvPr>
        </p:nvSpPr>
        <p:spPr>
          <a:xfrm>
            <a:off x="1075061" y="964671"/>
            <a:ext cx="7910158" cy="490042"/>
          </a:xfrm>
        </p:spPr>
        <p:txBody>
          <a:bodyPr wrap="none"/>
          <a:lstStyle>
            <a:lvl1pPr marL="0" indent="0" algn="l">
              <a:spcBef>
                <a:spcPts val="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grpSp>
        <p:nvGrpSpPr>
          <p:cNvPr id="8" name="Gruppieren 80">
            <a:extLst>
              <a:ext uri="{FF2B5EF4-FFF2-40B4-BE49-F238E27FC236}">
                <a16:creationId xmlns:a16="http://schemas.microsoft.com/office/drawing/2014/main" id="{6B969E7B-9C39-4443-9B02-74C1E7C5CCAC}"/>
              </a:ext>
            </a:extLst>
          </p:cNvPr>
          <p:cNvGrpSpPr/>
          <p:nvPr/>
        </p:nvGrpSpPr>
        <p:grpSpPr>
          <a:xfrm>
            <a:off x="3770065" y="2868319"/>
            <a:ext cx="171180" cy="171180"/>
            <a:chOff x="3392092" y="1841122"/>
            <a:chExt cx="646508" cy="646508"/>
          </a:xfrm>
        </p:grpSpPr>
        <p:sp>
          <p:nvSpPr>
            <p:cNvPr id="9" name="Rechteck 14">
              <a:extLst>
                <a:ext uri="{FF2B5EF4-FFF2-40B4-BE49-F238E27FC236}">
                  <a16:creationId xmlns:a16="http://schemas.microsoft.com/office/drawing/2014/main" id="{D78F58EA-5525-8D43-8295-FEA52ECF6BFA}"/>
                </a:ext>
              </a:extLst>
            </p:cNvPr>
            <p:cNvSpPr>
              <a:spLocks noChangeAspect="1"/>
            </p:cNvSpPr>
            <p:nvPr/>
          </p:nvSpPr>
          <p:spPr bwMode="gray">
            <a:xfrm>
              <a:off x="3392092" y="1841122"/>
              <a:ext cx="646508" cy="646508"/>
            </a:xfrm>
            <a:prstGeom prst="rect">
              <a:avLst/>
            </a:prstGeom>
            <a:solidFill>
              <a:srgbClr val="E55A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pPr>
              <a:endParaRPr lang="en-US" sz="1000" dirty="0">
                <a:solidFill>
                  <a:schemeClr val="tx1"/>
                </a:solidFill>
                <a:latin typeface="Arial" pitchFamily="34" charset="0"/>
                <a:cs typeface="Arial" pitchFamily="34" charset="0"/>
              </a:endParaRPr>
            </a:p>
          </p:txBody>
        </p:sp>
        <p:sp>
          <p:nvSpPr>
            <p:cNvPr id="10" name="Freeform 67">
              <a:extLst>
                <a:ext uri="{FF2B5EF4-FFF2-40B4-BE49-F238E27FC236}">
                  <a16:creationId xmlns:a16="http://schemas.microsoft.com/office/drawing/2014/main" id="{D01A6292-2776-4945-B828-483D79DC4908}"/>
                </a:ext>
              </a:extLst>
            </p:cNvPr>
            <p:cNvSpPr>
              <a:spLocks noChangeAspect="1"/>
            </p:cNvSpPr>
            <p:nvPr/>
          </p:nvSpPr>
          <p:spPr bwMode="auto">
            <a:xfrm>
              <a:off x="3546638" y="1970424"/>
              <a:ext cx="337415" cy="387905"/>
            </a:xfrm>
            <a:custGeom>
              <a:avLst/>
              <a:gdLst>
                <a:gd name="T0" fmla="*/ 573 w 1624"/>
                <a:gd name="T1" fmla="*/ 1257 h 1867"/>
                <a:gd name="T2" fmla="*/ 662 w 1624"/>
                <a:gd name="T3" fmla="*/ 1288 h 1867"/>
                <a:gd name="T4" fmla="*/ 938 w 1624"/>
                <a:gd name="T5" fmla="*/ 1051 h 1867"/>
                <a:gd name="T6" fmla="*/ 1106 w 1624"/>
                <a:gd name="T7" fmla="*/ 731 h 1867"/>
                <a:gd name="T8" fmla="*/ 1059 w 1624"/>
                <a:gd name="T9" fmla="*/ 645 h 1867"/>
                <a:gd name="T10" fmla="*/ 1001 w 1624"/>
                <a:gd name="T11" fmla="*/ 613 h 1867"/>
                <a:gd name="T12" fmla="*/ 924 w 1624"/>
                <a:gd name="T13" fmla="*/ 432 h 1867"/>
                <a:gd name="T14" fmla="*/ 1114 w 1624"/>
                <a:gd name="T15" fmla="*/ 81 h 1867"/>
                <a:gd name="T16" fmla="*/ 1287 w 1624"/>
                <a:gd name="T17" fmla="*/ 35 h 1867"/>
                <a:gd name="T18" fmla="*/ 1350 w 1624"/>
                <a:gd name="T19" fmla="*/ 69 h 1867"/>
                <a:gd name="T20" fmla="*/ 1527 w 1624"/>
                <a:gd name="T21" fmla="*/ 235 h 1867"/>
                <a:gd name="T22" fmla="*/ 1583 w 1624"/>
                <a:gd name="T23" fmla="*/ 555 h 1867"/>
                <a:gd name="T24" fmla="*/ 1172 w 1624"/>
                <a:gd name="T25" fmla="*/ 1253 h 1867"/>
                <a:gd name="T26" fmla="*/ 586 w 1624"/>
                <a:gd name="T27" fmla="*/ 1803 h 1867"/>
                <a:gd name="T28" fmla="*/ 269 w 1624"/>
                <a:gd name="T29" fmla="*/ 1807 h 1867"/>
                <a:gd name="T30" fmla="*/ 33 w 1624"/>
                <a:gd name="T31" fmla="*/ 1602 h 1867"/>
                <a:gd name="T32" fmla="*/ 2 w 1624"/>
                <a:gd name="T33" fmla="*/ 1508 h 1867"/>
                <a:gd name="T34" fmla="*/ 45 w 1624"/>
                <a:gd name="T35" fmla="*/ 1421 h 1867"/>
                <a:gd name="T36" fmla="*/ 346 w 1624"/>
                <a:gd name="T37" fmla="*/ 1158 h 1867"/>
                <a:gd name="T38" fmla="*/ 448 w 1624"/>
                <a:gd name="T39" fmla="*/ 1145 h 1867"/>
                <a:gd name="T40" fmla="*/ 573 w 1624"/>
                <a:gd name="T41" fmla="*/ 1257 h 18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24" h="1867">
                  <a:moveTo>
                    <a:pt x="573" y="1257"/>
                  </a:moveTo>
                  <a:cubicBezTo>
                    <a:pt x="592" y="1282"/>
                    <a:pt x="630" y="1303"/>
                    <a:pt x="662" y="1288"/>
                  </a:cubicBezTo>
                  <a:cubicBezTo>
                    <a:pt x="753" y="1245"/>
                    <a:pt x="854" y="1156"/>
                    <a:pt x="938" y="1051"/>
                  </a:cubicBezTo>
                  <a:cubicBezTo>
                    <a:pt x="1020" y="948"/>
                    <a:pt x="1084" y="831"/>
                    <a:pt x="1106" y="731"/>
                  </a:cubicBezTo>
                  <a:cubicBezTo>
                    <a:pt x="1113" y="696"/>
                    <a:pt x="1089" y="661"/>
                    <a:pt x="1059" y="645"/>
                  </a:cubicBezTo>
                  <a:cubicBezTo>
                    <a:pt x="1001" y="613"/>
                    <a:pt x="1001" y="613"/>
                    <a:pt x="1001" y="613"/>
                  </a:cubicBezTo>
                  <a:cubicBezTo>
                    <a:pt x="942" y="580"/>
                    <a:pt x="888" y="499"/>
                    <a:pt x="924" y="432"/>
                  </a:cubicBezTo>
                  <a:cubicBezTo>
                    <a:pt x="1114" y="81"/>
                    <a:pt x="1114" y="81"/>
                    <a:pt x="1114" y="81"/>
                  </a:cubicBezTo>
                  <a:cubicBezTo>
                    <a:pt x="1150" y="16"/>
                    <a:pt x="1224" y="0"/>
                    <a:pt x="1287" y="35"/>
                  </a:cubicBezTo>
                  <a:cubicBezTo>
                    <a:pt x="1350" y="69"/>
                    <a:pt x="1350" y="69"/>
                    <a:pt x="1350" y="69"/>
                  </a:cubicBezTo>
                  <a:cubicBezTo>
                    <a:pt x="1415" y="105"/>
                    <a:pt x="1479" y="165"/>
                    <a:pt x="1527" y="235"/>
                  </a:cubicBezTo>
                  <a:cubicBezTo>
                    <a:pt x="1593" y="332"/>
                    <a:pt x="1624" y="442"/>
                    <a:pt x="1583" y="555"/>
                  </a:cubicBezTo>
                  <a:cubicBezTo>
                    <a:pt x="1500" y="781"/>
                    <a:pt x="1351" y="1030"/>
                    <a:pt x="1172" y="1253"/>
                  </a:cubicBezTo>
                  <a:cubicBezTo>
                    <a:pt x="994" y="1477"/>
                    <a:pt x="786" y="1676"/>
                    <a:pt x="586" y="1803"/>
                  </a:cubicBezTo>
                  <a:cubicBezTo>
                    <a:pt x="486" y="1867"/>
                    <a:pt x="375" y="1856"/>
                    <a:pt x="269" y="1807"/>
                  </a:cubicBezTo>
                  <a:cubicBezTo>
                    <a:pt x="157" y="1755"/>
                    <a:pt x="106" y="1695"/>
                    <a:pt x="33" y="1602"/>
                  </a:cubicBezTo>
                  <a:cubicBezTo>
                    <a:pt x="11" y="1573"/>
                    <a:pt x="0" y="1540"/>
                    <a:pt x="2" y="1508"/>
                  </a:cubicBezTo>
                  <a:cubicBezTo>
                    <a:pt x="4" y="1475"/>
                    <a:pt x="18" y="1444"/>
                    <a:pt x="45" y="1421"/>
                  </a:cubicBezTo>
                  <a:cubicBezTo>
                    <a:pt x="70" y="1399"/>
                    <a:pt x="346" y="1158"/>
                    <a:pt x="346" y="1158"/>
                  </a:cubicBezTo>
                  <a:cubicBezTo>
                    <a:pt x="376" y="1134"/>
                    <a:pt x="413" y="1133"/>
                    <a:pt x="448" y="1145"/>
                  </a:cubicBezTo>
                  <a:cubicBezTo>
                    <a:pt x="510" y="1166"/>
                    <a:pt x="536" y="1210"/>
                    <a:pt x="573" y="1257"/>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351" dirty="0"/>
            </a:p>
          </p:txBody>
        </p:sp>
      </p:grpSp>
      <p:grpSp>
        <p:nvGrpSpPr>
          <p:cNvPr id="11" name="Group 3">
            <a:extLst>
              <a:ext uri="{FF2B5EF4-FFF2-40B4-BE49-F238E27FC236}">
                <a16:creationId xmlns:a16="http://schemas.microsoft.com/office/drawing/2014/main" id="{DED6A25A-5DE2-1441-8BA2-C68D3B4F9209}"/>
              </a:ext>
            </a:extLst>
          </p:cNvPr>
          <p:cNvGrpSpPr>
            <a:grpSpLocks noChangeAspect="1"/>
          </p:cNvGrpSpPr>
          <p:nvPr>
            <p:custDataLst>
              <p:tags r:id="rId1"/>
            </p:custDataLst>
          </p:nvPr>
        </p:nvGrpSpPr>
        <p:grpSpPr>
          <a:xfrm>
            <a:off x="3770066" y="3153207"/>
            <a:ext cx="171180" cy="171180"/>
            <a:chOff x="328396" y="5313940"/>
            <a:chExt cx="720000" cy="720000"/>
          </a:xfrm>
        </p:grpSpPr>
        <p:sp>
          <p:nvSpPr>
            <p:cNvPr id="12" name="Rectangle 4">
              <a:extLst>
                <a:ext uri="{FF2B5EF4-FFF2-40B4-BE49-F238E27FC236}">
                  <a16:creationId xmlns:a16="http://schemas.microsoft.com/office/drawing/2014/main" id="{5F49E67F-D4FA-9D48-96BC-59AE946ECD15}"/>
                </a:ext>
              </a:extLst>
            </p:cNvPr>
            <p:cNvSpPr/>
            <p:nvPr/>
          </p:nvSpPr>
          <p:spPr bwMode="gray">
            <a:xfrm>
              <a:off x="328396" y="5313940"/>
              <a:ext cx="720000" cy="720000"/>
            </a:xfrm>
            <a:prstGeom prst="rect">
              <a:avLst/>
            </a:prstGeom>
            <a:solidFill>
              <a:srgbClr val="E55A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pPr>
              <a:endParaRPr lang="en-US" sz="1000" dirty="0">
                <a:solidFill>
                  <a:schemeClr val="tx1"/>
                </a:solidFill>
                <a:latin typeface="Arial" pitchFamily="34" charset="0"/>
                <a:cs typeface="Arial" pitchFamily="34" charset="0"/>
              </a:endParaRPr>
            </a:p>
          </p:txBody>
        </p:sp>
        <p:sp>
          <p:nvSpPr>
            <p:cNvPr id="13" name="Freeform 76">
              <a:extLst>
                <a:ext uri="{FF2B5EF4-FFF2-40B4-BE49-F238E27FC236}">
                  <a16:creationId xmlns:a16="http://schemas.microsoft.com/office/drawing/2014/main" id="{187E70E6-AF3F-2549-908E-DF4BA61040AA}"/>
                </a:ext>
              </a:extLst>
            </p:cNvPr>
            <p:cNvSpPr>
              <a:spLocks noChangeAspect="1" noEditPoints="1"/>
            </p:cNvSpPr>
            <p:nvPr/>
          </p:nvSpPr>
          <p:spPr bwMode="auto">
            <a:xfrm>
              <a:off x="456202" y="5509222"/>
              <a:ext cx="504000" cy="329436"/>
            </a:xfrm>
            <a:custGeom>
              <a:avLst/>
              <a:gdLst>
                <a:gd name="T0" fmla="*/ 0 w 2080"/>
                <a:gd name="T1" fmla="*/ 65 h 1360"/>
                <a:gd name="T2" fmla="*/ 0 w 2080"/>
                <a:gd name="T3" fmla="*/ 0 h 1360"/>
                <a:gd name="T4" fmla="*/ 2080 w 2080"/>
                <a:gd name="T5" fmla="*/ 0 h 1360"/>
                <a:gd name="T6" fmla="*/ 2080 w 2080"/>
                <a:gd name="T7" fmla="*/ 65 h 1360"/>
                <a:gd name="T8" fmla="*/ 1089 w 2080"/>
                <a:gd name="T9" fmla="*/ 862 h 1360"/>
                <a:gd name="T10" fmla="*/ 991 w 2080"/>
                <a:gd name="T11" fmla="*/ 862 h 1360"/>
                <a:gd name="T12" fmla="*/ 0 w 2080"/>
                <a:gd name="T13" fmla="*/ 65 h 1360"/>
                <a:gd name="T14" fmla="*/ 1139 w 2080"/>
                <a:gd name="T15" fmla="*/ 924 h 1360"/>
                <a:gd name="T16" fmla="*/ 1282 w 2080"/>
                <a:gd name="T17" fmla="*/ 810 h 1360"/>
                <a:gd name="T18" fmla="*/ 2076 w 2080"/>
                <a:gd name="T19" fmla="*/ 1360 h 1360"/>
                <a:gd name="T20" fmla="*/ 4 w 2080"/>
                <a:gd name="T21" fmla="*/ 1360 h 1360"/>
                <a:gd name="T22" fmla="*/ 798 w 2080"/>
                <a:gd name="T23" fmla="*/ 810 h 1360"/>
                <a:gd name="T24" fmla="*/ 941 w 2080"/>
                <a:gd name="T25" fmla="*/ 924 h 1360"/>
                <a:gd name="T26" fmla="*/ 1139 w 2080"/>
                <a:gd name="T27" fmla="*/ 924 h 1360"/>
                <a:gd name="T28" fmla="*/ 2 w 2080"/>
                <a:gd name="T29" fmla="*/ 137 h 1360"/>
                <a:gd name="T30" fmla="*/ 42 w 2080"/>
                <a:gd name="T31" fmla="*/ 201 h 1360"/>
                <a:gd name="T32" fmla="*/ 734 w 2080"/>
                <a:gd name="T33" fmla="*/ 758 h 1360"/>
                <a:gd name="T34" fmla="*/ 0 w 2080"/>
                <a:gd name="T35" fmla="*/ 1266 h 1360"/>
                <a:gd name="T36" fmla="*/ 0 w 2080"/>
                <a:gd name="T37" fmla="*/ 135 h 1360"/>
                <a:gd name="T38" fmla="*/ 2 w 2080"/>
                <a:gd name="T39" fmla="*/ 137 h 1360"/>
                <a:gd name="T40" fmla="*/ 2080 w 2080"/>
                <a:gd name="T41" fmla="*/ 136 h 1360"/>
                <a:gd name="T42" fmla="*/ 2080 w 2080"/>
                <a:gd name="T43" fmla="*/ 1265 h 1360"/>
                <a:gd name="T44" fmla="*/ 1346 w 2080"/>
                <a:gd name="T45" fmla="*/ 758 h 1360"/>
                <a:gd name="T46" fmla="*/ 2038 w 2080"/>
                <a:gd name="T47" fmla="*/ 201 h 1360"/>
                <a:gd name="T48" fmla="*/ 2080 w 2080"/>
                <a:gd name="T49" fmla="*/ 136 h 1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080" h="1360">
                  <a:moveTo>
                    <a:pt x="0" y="65"/>
                  </a:moveTo>
                  <a:cubicBezTo>
                    <a:pt x="0" y="0"/>
                    <a:pt x="0" y="0"/>
                    <a:pt x="0" y="0"/>
                  </a:cubicBezTo>
                  <a:cubicBezTo>
                    <a:pt x="2080" y="0"/>
                    <a:pt x="2080" y="0"/>
                    <a:pt x="2080" y="0"/>
                  </a:cubicBezTo>
                  <a:cubicBezTo>
                    <a:pt x="2080" y="65"/>
                    <a:pt x="2080" y="65"/>
                    <a:pt x="2080" y="65"/>
                  </a:cubicBezTo>
                  <a:cubicBezTo>
                    <a:pt x="1089" y="862"/>
                    <a:pt x="1089" y="862"/>
                    <a:pt x="1089" y="862"/>
                  </a:cubicBezTo>
                  <a:cubicBezTo>
                    <a:pt x="1060" y="886"/>
                    <a:pt x="1020" y="886"/>
                    <a:pt x="991" y="862"/>
                  </a:cubicBezTo>
                  <a:lnTo>
                    <a:pt x="0" y="65"/>
                  </a:lnTo>
                  <a:close/>
                  <a:moveTo>
                    <a:pt x="1139" y="924"/>
                  </a:moveTo>
                  <a:cubicBezTo>
                    <a:pt x="1282" y="810"/>
                    <a:pt x="1282" y="810"/>
                    <a:pt x="1282" y="810"/>
                  </a:cubicBezTo>
                  <a:cubicBezTo>
                    <a:pt x="2076" y="1360"/>
                    <a:pt x="2076" y="1360"/>
                    <a:pt x="2076" y="1360"/>
                  </a:cubicBezTo>
                  <a:cubicBezTo>
                    <a:pt x="4" y="1360"/>
                    <a:pt x="4" y="1360"/>
                    <a:pt x="4" y="1360"/>
                  </a:cubicBezTo>
                  <a:cubicBezTo>
                    <a:pt x="798" y="810"/>
                    <a:pt x="798" y="810"/>
                    <a:pt x="798" y="810"/>
                  </a:cubicBezTo>
                  <a:cubicBezTo>
                    <a:pt x="941" y="924"/>
                    <a:pt x="941" y="924"/>
                    <a:pt x="941" y="924"/>
                  </a:cubicBezTo>
                  <a:cubicBezTo>
                    <a:pt x="1000" y="972"/>
                    <a:pt x="1080" y="972"/>
                    <a:pt x="1139" y="924"/>
                  </a:cubicBezTo>
                  <a:close/>
                  <a:moveTo>
                    <a:pt x="2" y="137"/>
                  </a:moveTo>
                  <a:cubicBezTo>
                    <a:pt x="8" y="163"/>
                    <a:pt x="22" y="185"/>
                    <a:pt x="42" y="201"/>
                  </a:cubicBezTo>
                  <a:cubicBezTo>
                    <a:pt x="734" y="758"/>
                    <a:pt x="734" y="758"/>
                    <a:pt x="734" y="758"/>
                  </a:cubicBezTo>
                  <a:cubicBezTo>
                    <a:pt x="0" y="1266"/>
                    <a:pt x="0" y="1266"/>
                    <a:pt x="0" y="1266"/>
                  </a:cubicBezTo>
                  <a:cubicBezTo>
                    <a:pt x="0" y="135"/>
                    <a:pt x="0" y="135"/>
                    <a:pt x="0" y="135"/>
                  </a:cubicBezTo>
                  <a:lnTo>
                    <a:pt x="2" y="137"/>
                  </a:lnTo>
                  <a:close/>
                  <a:moveTo>
                    <a:pt x="2080" y="136"/>
                  </a:moveTo>
                  <a:cubicBezTo>
                    <a:pt x="2080" y="1265"/>
                    <a:pt x="2080" y="1265"/>
                    <a:pt x="2080" y="1265"/>
                  </a:cubicBezTo>
                  <a:cubicBezTo>
                    <a:pt x="1346" y="758"/>
                    <a:pt x="1346" y="758"/>
                    <a:pt x="1346" y="758"/>
                  </a:cubicBezTo>
                  <a:cubicBezTo>
                    <a:pt x="2038" y="201"/>
                    <a:pt x="2038" y="201"/>
                    <a:pt x="2038" y="201"/>
                  </a:cubicBezTo>
                  <a:cubicBezTo>
                    <a:pt x="2060" y="182"/>
                    <a:pt x="2072" y="162"/>
                    <a:pt x="2080" y="13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000"/>
            </a:p>
          </p:txBody>
        </p:sp>
      </p:grpSp>
      <p:grpSp>
        <p:nvGrpSpPr>
          <p:cNvPr id="14" name="Gruppieren 2">
            <a:extLst>
              <a:ext uri="{FF2B5EF4-FFF2-40B4-BE49-F238E27FC236}">
                <a16:creationId xmlns:a16="http://schemas.microsoft.com/office/drawing/2014/main" id="{BE697CE9-EBDE-6B4A-BE70-582D92A8A831}"/>
              </a:ext>
            </a:extLst>
          </p:cNvPr>
          <p:cNvGrpSpPr/>
          <p:nvPr/>
        </p:nvGrpSpPr>
        <p:grpSpPr>
          <a:xfrm>
            <a:off x="8701917" y="2868319"/>
            <a:ext cx="171180" cy="171180"/>
            <a:chOff x="3392092" y="1841122"/>
            <a:chExt cx="646508" cy="646508"/>
          </a:xfrm>
        </p:grpSpPr>
        <p:sp>
          <p:nvSpPr>
            <p:cNvPr id="15" name="Rechteck 14">
              <a:extLst>
                <a:ext uri="{FF2B5EF4-FFF2-40B4-BE49-F238E27FC236}">
                  <a16:creationId xmlns:a16="http://schemas.microsoft.com/office/drawing/2014/main" id="{E142A731-19B7-C34D-9534-9E05108F895F}"/>
                </a:ext>
              </a:extLst>
            </p:cNvPr>
            <p:cNvSpPr>
              <a:spLocks noChangeAspect="1"/>
            </p:cNvSpPr>
            <p:nvPr/>
          </p:nvSpPr>
          <p:spPr bwMode="gray">
            <a:xfrm>
              <a:off x="3392092" y="1841122"/>
              <a:ext cx="646508" cy="646508"/>
            </a:xfrm>
            <a:prstGeom prst="rect">
              <a:avLst/>
            </a:prstGeom>
            <a:solidFill>
              <a:srgbClr val="E55A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pPr>
              <a:endParaRPr lang="en-US" sz="1000" dirty="0">
                <a:solidFill>
                  <a:schemeClr val="tx1"/>
                </a:solidFill>
                <a:latin typeface="Arial" pitchFamily="34" charset="0"/>
                <a:cs typeface="Arial" pitchFamily="34" charset="0"/>
              </a:endParaRPr>
            </a:p>
          </p:txBody>
        </p:sp>
        <p:sp>
          <p:nvSpPr>
            <p:cNvPr id="16" name="Freeform 15">
              <a:extLst>
                <a:ext uri="{FF2B5EF4-FFF2-40B4-BE49-F238E27FC236}">
                  <a16:creationId xmlns:a16="http://schemas.microsoft.com/office/drawing/2014/main" id="{F97E84AE-4AD9-4B44-9AA1-F797FC373809}"/>
                </a:ext>
              </a:extLst>
            </p:cNvPr>
            <p:cNvSpPr>
              <a:spLocks noChangeAspect="1"/>
            </p:cNvSpPr>
            <p:nvPr/>
          </p:nvSpPr>
          <p:spPr bwMode="auto">
            <a:xfrm>
              <a:off x="3546638" y="1970424"/>
              <a:ext cx="337415" cy="387905"/>
            </a:xfrm>
            <a:custGeom>
              <a:avLst/>
              <a:gdLst>
                <a:gd name="T0" fmla="*/ 573 w 1624"/>
                <a:gd name="T1" fmla="*/ 1257 h 1867"/>
                <a:gd name="T2" fmla="*/ 662 w 1624"/>
                <a:gd name="T3" fmla="*/ 1288 h 1867"/>
                <a:gd name="T4" fmla="*/ 938 w 1624"/>
                <a:gd name="T5" fmla="*/ 1051 h 1867"/>
                <a:gd name="T6" fmla="*/ 1106 w 1624"/>
                <a:gd name="T7" fmla="*/ 731 h 1867"/>
                <a:gd name="T8" fmla="*/ 1059 w 1624"/>
                <a:gd name="T9" fmla="*/ 645 h 1867"/>
                <a:gd name="T10" fmla="*/ 1001 w 1624"/>
                <a:gd name="T11" fmla="*/ 613 h 1867"/>
                <a:gd name="T12" fmla="*/ 924 w 1624"/>
                <a:gd name="T13" fmla="*/ 432 h 1867"/>
                <a:gd name="T14" fmla="*/ 1114 w 1624"/>
                <a:gd name="T15" fmla="*/ 81 h 1867"/>
                <a:gd name="T16" fmla="*/ 1287 w 1624"/>
                <a:gd name="T17" fmla="*/ 35 h 1867"/>
                <a:gd name="T18" fmla="*/ 1350 w 1624"/>
                <a:gd name="T19" fmla="*/ 69 h 1867"/>
                <a:gd name="T20" fmla="*/ 1527 w 1624"/>
                <a:gd name="T21" fmla="*/ 235 h 1867"/>
                <a:gd name="T22" fmla="*/ 1583 w 1624"/>
                <a:gd name="T23" fmla="*/ 555 h 1867"/>
                <a:gd name="T24" fmla="*/ 1172 w 1624"/>
                <a:gd name="T25" fmla="*/ 1253 h 1867"/>
                <a:gd name="T26" fmla="*/ 586 w 1624"/>
                <a:gd name="T27" fmla="*/ 1803 h 1867"/>
                <a:gd name="T28" fmla="*/ 269 w 1624"/>
                <a:gd name="T29" fmla="*/ 1807 h 1867"/>
                <a:gd name="T30" fmla="*/ 33 w 1624"/>
                <a:gd name="T31" fmla="*/ 1602 h 1867"/>
                <a:gd name="T32" fmla="*/ 2 w 1624"/>
                <a:gd name="T33" fmla="*/ 1508 h 1867"/>
                <a:gd name="T34" fmla="*/ 45 w 1624"/>
                <a:gd name="T35" fmla="*/ 1421 h 1867"/>
                <a:gd name="T36" fmla="*/ 346 w 1624"/>
                <a:gd name="T37" fmla="*/ 1158 h 1867"/>
                <a:gd name="T38" fmla="*/ 448 w 1624"/>
                <a:gd name="T39" fmla="*/ 1145 h 1867"/>
                <a:gd name="T40" fmla="*/ 573 w 1624"/>
                <a:gd name="T41" fmla="*/ 1257 h 18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24" h="1867">
                  <a:moveTo>
                    <a:pt x="573" y="1257"/>
                  </a:moveTo>
                  <a:cubicBezTo>
                    <a:pt x="592" y="1282"/>
                    <a:pt x="630" y="1303"/>
                    <a:pt x="662" y="1288"/>
                  </a:cubicBezTo>
                  <a:cubicBezTo>
                    <a:pt x="753" y="1245"/>
                    <a:pt x="854" y="1156"/>
                    <a:pt x="938" y="1051"/>
                  </a:cubicBezTo>
                  <a:cubicBezTo>
                    <a:pt x="1020" y="948"/>
                    <a:pt x="1084" y="831"/>
                    <a:pt x="1106" y="731"/>
                  </a:cubicBezTo>
                  <a:cubicBezTo>
                    <a:pt x="1113" y="696"/>
                    <a:pt x="1089" y="661"/>
                    <a:pt x="1059" y="645"/>
                  </a:cubicBezTo>
                  <a:cubicBezTo>
                    <a:pt x="1001" y="613"/>
                    <a:pt x="1001" y="613"/>
                    <a:pt x="1001" y="613"/>
                  </a:cubicBezTo>
                  <a:cubicBezTo>
                    <a:pt x="942" y="580"/>
                    <a:pt x="888" y="499"/>
                    <a:pt x="924" y="432"/>
                  </a:cubicBezTo>
                  <a:cubicBezTo>
                    <a:pt x="1114" y="81"/>
                    <a:pt x="1114" y="81"/>
                    <a:pt x="1114" y="81"/>
                  </a:cubicBezTo>
                  <a:cubicBezTo>
                    <a:pt x="1150" y="16"/>
                    <a:pt x="1224" y="0"/>
                    <a:pt x="1287" y="35"/>
                  </a:cubicBezTo>
                  <a:cubicBezTo>
                    <a:pt x="1350" y="69"/>
                    <a:pt x="1350" y="69"/>
                    <a:pt x="1350" y="69"/>
                  </a:cubicBezTo>
                  <a:cubicBezTo>
                    <a:pt x="1415" y="105"/>
                    <a:pt x="1479" y="165"/>
                    <a:pt x="1527" y="235"/>
                  </a:cubicBezTo>
                  <a:cubicBezTo>
                    <a:pt x="1593" y="332"/>
                    <a:pt x="1624" y="442"/>
                    <a:pt x="1583" y="555"/>
                  </a:cubicBezTo>
                  <a:cubicBezTo>
                    <a:pt x="1500" y="781"/>
                    <a:pt x="1351" y="1030"/>
                    <a:pt x="1172" y="1253"/>
                  </a:cubicBezTo>
                  <a:cubicBezTo>
                    <a:pt x="994" y="1477"/>
                    <a:pt x="786" y="1676"/>
                    <a:pt x="586" y="1803"/>
                  </a:cubicBezTo>
                  <a:cubicBezTo>
                    <a:pt x="486" y="1867"/>
                    <a:pt x="375" y="1856"/>
                    <a:pt x="269" y="1807"/>
                  </a:cubicBezTo>
                  <a:cubicBezTo>
                    <a:pt x="157" y="1755"/>
                    <a:pt x="106" y="1695"/>
                    <a:pt x="33" y="1602"/>
                  </a:cubicBezTo>
                  <a:cubicBezTo>
                    <a:pt x="11" y="1573"/>
                    <a:pt x="0" y="1540"/>
                    <a:pt x="2" y="1508"/>
                  </a:cubicBezTo>
                  <a:cubicBezTo>
                    <a:pt x="4" y="1475"/>
                    <a:pt x="18" y="1444"/>
                    <a:pt x="45" y="1421"/>
                  </a:cubicBezTo>
                  <a:cubicBezTo>
                    <a:pt x="70" y="1399"/>
                    <a:pt x="346" y="1158"/>
                    <a:pt x="346" y="1158"/>
                  </a:cubicBezTo>
                  <a:cubicBezTo>
                    <a:pt x="376" y="1134"/>
                    <a:pt x="413" y="1133"/>
                    <a:pt x="448" y="1145"/>
                  </a:cubicBezTo>
                  <a:cubicBezTo>
                    <a:pt x="510" y="1166"/>
                    <a:pt x="536" y="1210"/>
                    <a:pt x="573" y="1257"/>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351" dirty="0"/>
            </a:p>
          </p:txBody>
        </p:sp>
      </p:grpSp>
      <p:grpSp>
        <p:nvGrpSpPr>
          <p:cNvPr id="17" name="Group 3">
            <a:extLst>
              <a:ext uri="{FF2B5EF4-FFF2-40B4-BE49-F238E27FC236}">
                <a16:creationId xmlns:a16="http://schemas.microsoft.com/office/drawing/2014/main" id="{7104BADD-8CD1-6F4A-B894-869C3BDB3EEB}"/>
              </a:ext>
            </a:extLst>
          </p:cNvPr>
          <p:cNvGrpSpPr>
            <a:grpSpLocks noChangeAspect="1"/>
          </p:cNvGrpSpPr>
          <p:nvPr>
            <p:custDataLst>
              <p:tags r:id="rId2"/>
            </p:custDataLst>
          </p:nvPr>
        </p:nvGrpSpPr>
        <p:grpSpPr>
          <a:xfrm>
            <a:off x="8701918" y="3153207"/>
            <a:ext cx="171180" cy="171180"/>
            <a:chOff x="328396" y="5313940"/>
            <a:chExt cx="720000" cy="720000"/>
          </a:xfrm>
        </p:grpSpPr>
        <p:sp>
          <p:nvSpPr>
            <p:cNvPr id="18" name="Rectangle 4">
              <a:extLst>
                <a:ext uri="{FF2B5EF4-FFF2-40B4-BE49-F238E27FC236}">
                  <a16:creationId xmlns:a16="http://schemas.microsoft.com/office/drawing/2014/main" id="{74BE3D5F-1445-6E40-8B49-72E15568383B}"/>
                </a:ext>
              </a:extLst>
            </p:cNvPr>
            <p:cNvSpPr/>
            <p:nvPr/>
          </p:nvSpPr>
          <p:spPr bwMode="gray">
            <a:xfrm>
              <a:off x="328396" y="5313940"/>
              <a:ext cx="720000" cy="720000"/>
            </a:xfrm>
            <a:prstGeom prst="rect">
              <a:avLst/>
            </a:prstGeom>
            <a:solidFill>
              <a:srgbClr val="E55A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pPr>
              <a:endParaRPr lang="en-US" sz="1000" dirty="0">
                <a:solidFill>
                  <a:schemeClr val="tx1"/>
                </a:solidFill>
                <a:latin typeface="Arial" pitchFamily="34" charset="0"/>
                <a:cs typeface="Arial" pitchFamily="34" charset="0"/>
              </a:endParaRPr>
            </a:p>
          </p:txBody>
        </p:sp>
        <p:sp>
          <p:nvSpPr>
            <p:cNvPr id="19" name="Freeform 76">
              <a:extLst>
                <a:ext uri="{FF2B5EF4-FFF2-40B4-BE49-F238E27FC236}">
                  <a16:creationId xmlns:a16="http://schemas.microsoft.com/office/drawing/2014/main" id="{55DB3C95-7D0C-D141-901E-96D692794D2B}"/>
                </a:ext>
              </a:extLst>
            </p:cNvPr>
            <p:cNvSpPr>
              <a:spLocks noChangeAspect="1" noEditPoints="1"/>
            </p:cNvSpPr>
            <p:nvPr/>
          </p:nvSpPr>
          <p:spPr bwMode="auto">
            <a:xfrm>
              <a:off x="456202" y="5509222"/>
              <a:ext cx="504000" cy="329436"/>
            </a:xfrm>
            <a:custGeom>
              <a:avLst/>
              <a:gdLst>
                <a:gd name="T0" fmla="*/ 0 w 2080"/>
                <a:gd name="T1" fmla="*/ 65 h 1360"/>
                <a:gd name="T2" fmla="*/ 0 w 2080"/>
                <a:gd name="T3" fmla="*/ 0 h 1360"/>
                <a:gd name="T4" fmla="*/ 2080 w 2080"/>
                <a:gd name="T5" fmla="*/ 0 h 1360"/>
                <a:gd name="T6" fmla="*/ 2080 w 2080"/>
                <a:gd name="T7" fmla="*/ 65 h 1360"/>
                <a:gd name="T8" fmla="*/ 1089 w 2080"/>
                <a:gd name="T9" fmla="*/ 862 h 1360"/>
                <a:gd name="T10" fmla="*/ 991 w 2080"/>
                <a:gd name="T11" fmla="*/ 862 h 1360"/>
                <a:gd name="T12" fmla="*/ 0 w 2080"/>
                <a:gd name="T13" fmla="*/ 65 h 1360"/>
                <a:gd name="T14" fmla="*/ 1139 w 2080"/>
                <a:gd name="T15" fmla="*/ 924 h 1360"/>
                <a:gd name="T16" fmla="*/ 1282 w 2080"/>
                <a:gd name="T17" fmla="*/ 810 h 1360"/>
                <a:gd name="T18" fmla="*/ 2076 w 2080"/>
                <a:gd name="T19" fmla="*/ 1360 h 1360"/>
                <a:gd name="T20" fmla="*/ 4 w 2080"/>
                <a:gd name="T21" fmla="*/ 1360 h 1360"/>
                <a:gd name="T22" fmla="*/ 798 w 2080"/>
                <a:gd name="T23" fmla="*/ 810 h 1360"/>
                <a:gd name="T24" fmla="*/ 941 w 2080"/>
                <a:gd name="T25" fmla="*/ 924 h 1360"/>
                <a:gd name="T26" fmla="*/ 1139 w 2080"/>
                <a:gd name="T27" fmla="*/ 924 h 1360"/>
                <a:gd name="T28" fmla="*/ 2 w 2080"/>
                <a:gd name="T29" fmla="*/ 137 h 1360"/>
                <a:gd name="T30" fmla="*/ 42 w 2080"/>
                <a:gd name="T31" fmla="*/ 201 h 1360"/>
                <a:gd name="T32" fmla="*/ 734 w 2080"/>
                <a:gd name="T33" fmla="*/ 758 h 1360"/>
                <a:gd name="T34" fmla="*/ 0 w 2080"/>
                <a:gd name="T35" fmla="*/ 1266 h 1360"/>
                <a:gd name="T36" fmla="*/ 0 w 2080"/>
                <a:gd name="T37" fmla="*/ 135 h 1360"/>
                <a:gd name="T38" fmla="*/ 2 w 2080"/>
                <a:gd name="T39" fmla="*/ 137 h 1360"/>
                <a:gd name="T40" fmla="*/ 2080 w 2080"/>
                <a:gd name="T41" fmla="*/ 136 h 1360"/>
                <a:gd name="T42" fmla="*/ 2080 w 2080"/>
                <a:gd name="T43" fmla="*/ 1265 h 1360"/>
                <a:gd name="T44" fmla="*/ 1346 w 2080"/>
                <a:gd name="T45" fmla="*/ 758 h 1360"/>
                <a:gd name="T46" fmla="*/ 2038 w 2080"/>
                <a:gd name="T47" fmla="*/ 201 h 1360"/>
                <a:gd name="T48" fmla="*/ 2080 w 2080"/>
                <a:gd name="T49" fmla="*/ 136 h 1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080" h="1360">
                  <a:moveTo>
                    <a:pt x="0" y="65"/>
                  </a:moveTo>
                  <a:cubicBezTo>
                    <a:pt x="0" y="0"/>
                    <a:pt x="0" y="0"/>
                    <a:pt x="0" y="0"/>
                  </a:cubicBezTo>
                  <a:cubicBezTo>
                    <a:pt x="2080" y="0"/>
                    <a:pt x="2080" y="0"/>
                    <a:pt x="2080" y="0"/>
                  </a:cubicBezTo>
                  <a:cubicBezTo>
                    <a:pt x="2080" y="65"/>
                    <a:pt x="2080" y="65"/>
                    <a:pt x="2080" y="65"/>
                  </a:cubicBezTo>
                  <a:cubicBezTo>
                    <a:pt x="1089" y="862"/>
                    <a:pt x="1089" y="862"/>
                    <a:pt x="1089" y="862"/>
                  </a:cubicBezTo>
                  <a:cubicBezTo>
                    <a:pt x="1060" y="886"/>
                    <a:pt x="1020" y="886"/>
                    <a:pt x="991" y="862"/>
                  </a:cubicBezTo>
                  <a:lnTo>
                    <a:pt x="0" y="65"/>
                  </a:lnTo>
                  <a:close/>
                  <a:moveTo>
                    <a:pt x="1139" y="924"/>
                  </a:moveTo>
                  <a:cubicBezTo>
                    <a:pt x="1282" y="810"/>
                    <a:pt x="1282" y="810"/>
                    <a:pt x="1282" y="810"/>
                  </a:cubicBezTo>
                  <a:cubicBezTo>
                    <a:pt x="2076" y="1360"/>
                    <a:pt x="2076" y="1360"/>
                    <a:pt x="2076" y="1360"/>
                  </a:cubicBezTo>
                  <a:cubicBezTo>
                    <a:pt x="4" y="1360"/>
                    <a:pt x="4" y="1360"/>
                    <a:pt x="4" y="1360"/>
                  </a:cubicBezTo>
                  <a:cubicBezTo>
                    <a:pt x="798" y="810"/>
                    <a:pt x="798" y="810"/>
                    <a:pt x="798" y="810"/>
                  </a:cubicBezTo>
                  <a:cubicBezTo>
                    <a:pt x="941" y="924"/>
                    <a:pt x="941" y="924"/>
                    <a:pt x="941" y="924"/>
                  </a:cubicBezTo>
                  <a:cubicBezTo>
                    <a:pt x="1000" y="972"/>
                    <a:pt x="1080" y="972"/>
                    <a:pt x="1139" y="924"/>
                  </a:cubicBezTo>
                  <a:close/>
                  <a:moveTo>
                    <a:pt x="2" y="137"/>
                  </a:moveTo>
                  <a:cubicBezTo>
                    <a:pt x="8" y="163"/>
                    <a:pt x="22" y="185"/>
                    <a:pt x="42" y="201"/>
                  </a:cubicBezTo>
                  <a:cubicBezTo>
                    <a:pt x="734" y="758"/>
                    <a:pt x="734" y="758"/>
                    <a:pt x="734" y="758"/>
                  </a:cubicBezTo>
                  <a:cubicBezTo>
                    <a:pt x="0" y="1266"/>
                    <a:pt x="0" y="1266"/>
                    <a:pt x="0" y="1266"/>
                  </a:cubicBezTo>
                  <a:cubicBezTo>
                    <a:pt x="0" y="135"/>
                    <a:pt x="0" y="135"/>
                    <a:pt x="0" y="135"/>
                  </a:cubicBezTo>
                  <a:lnTo>
                    <a:pt x="2" y="137"/>
                  </a:lnTo>
                  <a:close/>
                  <a:moveTo>
                    <a:pt x="2080" y="136"/>
                  </a:moveTo>
                  <a:cubicBezTo>
                    <a:pt x="2080" y="1265"/>
                    <a:pt x="2080" y="1265"/>
                    <a:pt x="2080" y="1265"/>
                  </a:cubicBezTo>
                  <a:cubicBezTo>
                    <a:pt x="1346" y="758"/>
                    <a:pt x="1346" y="758"/>
                    <a:pt x="1346" y="758"/>
                  </a:cubicBezTo>
                  <a:cubicBezTo>
                    <a:pt x="2038" y="201"/>
                    <a:pt x="2038" y="201"/>
                    <a:pt x="2038" y="201"/>
                  </a:cubicBezTo>
                  <a:cubicBezTo>
                    <a:pt x="2060" y="182"/>
                    <a:pt x="2072" y="162"/>
                    <a:pt x="2080" y="13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000"/>
            </a:p>
          </p:txBody>
        </p:sp>
      </p:grpSp>
      <p:cxnSp>
        <p:nvCxnSpPr>
          <p:cNvPr id="20" name="Straight Connector 19"/>
          <p:cNvCxnSpPr/>
          <p:nvPr/>
        </p:nvCxnSpPr>
        <p:spPr>
          <a:xfrm>
            <a:off x="2371725" y="3478213"/>
            <a:ext cx="3888000" cy="0"/>
          </a:xfrm>
          <a:prstGeom prst="line">
            <a:avLst/>
          </a:prstGeom>
          <a:ln w="6350">
            <a:solidFill>
              <a:schemeClr val="tx2"/>
            </a:solidFill>
            <a:prstDash val="dash"/>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p:nvCxnSpPr>
        <p:spPr>
          <a:xfrm>
            <a:off x="7287766" y="3478213"/>
            <a:ext cx="3888000" cy="0"/>
          </a:xfrm>
          <a:prstGeom prst="line">
            <a:avLst/>
          </a:prstGeom>
          <a:ln w="6350">
            <a:solidFill>
              <a:schemeClr val="tx2"/>
            </a:solidFill>
            <a:prstDash val="dash"/>
          </a:ln>
        </p:spPr>
        <p:style>
          <a:lnRef idx="1">
            <a:schemeClr val="accent1"/>
          </a:lnRef>
          <a:fillRef idx="0">
            <a:schemeClr val="accent1"/>
          </a:fillRef>
          <a:effectRef idx="0">
            <a:schemeClr val="accent1"/>
          </a:effectRef>
          <a:fontRef idx="minor">
            <a:schemeClr val="tx1"/>
          </a:fontRef>
        </p:style>
      </p:cxnSp>
      <p:sp>
        <p:nvSpPr>
          <p:cNvPr id="4" name="Picture Placeholder 3"/>
          <p:cNvSpPr>
            <a:spLocks noGrp="1"/>
          </p:cNvSpPr>
          <p:nvPr>
            <p:ph type="pic" sz="quarter" idx="17" hasCustomPrompt="1"/>
          </p:nvPr>
        </p:nvSpPr>
        <p:spPr>
          <a:xfrm>
            <a:off x="2355914" y="1808984"/>
            <a:ext cx="1188677" cy="1547840"/>
          </a:xfrm>
          <a:solidFill>
            <a:srgbClr val="D9DADB"/>
          </a:solidFill>
        </p:spPr>
        <p:txBody>
          <a:bodyPr/>
          <a:lstStyle>
            <a:lvl1pPr marL="0" indent="0">
              <a:buNone/>
              <a:defRPr sz="1400"/>
            </a:lvl1pPr>
          </a:lstStyle>
          <a:p>
            <a:r>
              <a:rPr lang="en-US" dirty="0"/>
              <a:t>Insert picture</a:t>
            </a:r>
          </a:p>
        </p:txBody>
      </p:sp>
      <p:sp>
        <p:nvSpPr>
          <p:cNvPr id="25" name="Picture Placeholder 3"/>
          <p:cNvSpPr>
            <a:spLocks noGrp="1"/>
          </p:cNvSpPr>
          <p:nvPr>
            <p:ph type="pic" sz="quarter" idx="18" hasCustomPrompt="1"/>
          </p:nvPr>
        </p:nvSpPr>
        <p:spPr>
          <a:xfrm>
            <a:off x="7287766" y="1808984"/>
            <a:ext cx="1188677" cy="1547840"/>
          </a:xfrm>
          <a:solidFill>
            <a:srgbClr val="D9DADB"/>
          </a:solidFill>
        </p:spPr>
        <p:txBody>
          <a:bodyPr/>
          <a:lstStyle>
            <a:lvl1pPr marL="0" indent="0">
              <a:buNone/>
              <a:defRPr sz="1400"/>
            </a:lvl1pPr>
          </a:lstStyle>
          <a:p>
            <a:r>
              <a:rPr lang="en-US" dirty="0"/>
              <a:t>Insert picture</a:t>
            </a:r>
          </a:p>
        </p:txBody>
      </p:sp>
      <p:sp>
        <p:nvSpPr>
          <p:cNvPr id="6" name="Text Placeholder 5"/>
          <p:cNvSpPr>
            <a:spLocks noGrp="1"/>
          </p:cNvSpPr>
          <p:nvPr>
            <p:ph type="body" sz="quarter" idx="19" hasCustomPrompt="1"/>
          </p:nvPr>
        </p:nvSpPr>
        <p:spPr>
          <a:xfrm>
            <a:off x="3770065" y="1808521"/>
            <a:ext cx="2463190" cy="192360"/>
          </a:xfrm>
        </p:spPr>
        <p:txBody>
          <a:bodyPr lIns="0" tIns="0" rIns="0" bIns="0" anchor="ctr" anchorCtr="0"/>
          <a:lstStyle>
            <a:lvl1pPr marL="0" indent="0" algn="l">
              <a:lnSpc>
                <a:spcPct val="100000"/>
              </a:lnSpc>
              <a:buNone/>
              <a:defRPr sz="100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Country</a:t>
            </a:r>
          </a:p>
        </p:txBody>
      </p:sp>
      <p:sp>
        <p:nvSpPr>
          <p:cNvPr id="26" name="Text Placeholder 5"/>
          <p:cNvSpPr>
            <a:spLocks noGrp="1"/>
          </p:cNvSpPr>
          <p:nvPr>
            <p:ph type="body" sz="quarter" idx="20" hasCustomPrompt="1"/>
          </p:nvPr>
        </p:nvSpPr>
        <p:spPr>
          <a:xfrm>
            <a:off x="3770065" y="2020337"/>
            <a:ext cx="2463190" cy="266182"/>
          </a:xfrm>
        </p:spPr>
        <p:txBody>
          <a:bodyPr lIns="0" tIns="0" rIns="0" bIns="0" anchor="b" anchorCtr="0"/>
          <a:lstStyle>
            <a:lvl1pPr marL="0" indent="0" algn="l">
              <a:lnSpc>
                <a:spcPct val="100000"/>
              </a:lnSpc>
              <a:buNone/>
              <a:defRPr sz="1400" b="1" baseline="0">
                <a:solidFill>
                  <a:schemeClr val="tx2"/>
                </a:solidFill>
              </a:defRPr>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Name, Surname</a:t>
            </a:r>
          </a:p>
        </p:txBody>
      </p:sp>
      <p:sp>
        <p:nvSpPr>
          <p:cNvPr id="27" name="Text Placeholder 5"/>
          <p:cNvSpPr>
            <a:spLocks noGrp="1"/>
          </p:cNvSpPr>
          <p:nvPr>
            <p:ph type="body" sz="quarter" idx="21" hasCustomPrompt="1"/>
          </p:nvPr>
        </p:nvSpPr>
        <p:spPr>
          <a:xfrm>
            <a:off x="3770065" y="2316912"/>
            <a:ext cx="2463190"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Job Position</a:t>
            </a:r>
          </a:p>
        </p:txBody>
      </p:sp>
      <p:sp>
        <p:nvSpPr>
          <p:cNvPr id="28" name="Text Placeholder 5"/>
          <p:cNvSpPr>
            <a:spLocks noGrp="1"/>
          </p:cNvSpPr>
          <p:nvPr>
            <p:ph type="body" sz="quarter" idx="22" hasCustomPrompt="1"/>
          </p:nvPr>
        </p:nvSpPr>
        <p:spPr>
          <a:xfrm>
            <a:off x="4014948" y="2845588"/>
            <a:ext cx="2218307"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Phone number</a:t>
            </a:r>
          </a:p>
        </p:txBody>
      </p:sp>
      <p:sp>
        <p:nvSpPr>
          <p:cNvPr id="29" name="Text Placeholder 5"/>
          <p:cNvSpPr>
            <a:spLocks noGrp="1"/>
          </p:cNvSpPr>
          <p:nvPr>
            <p:ph type="body" sz="quarter" idx="23" hasCustomPrompt="1"/>
          </p:nvPr>
        </p:nvSpPr>
        <p:spPr>
          <a:xfrm>
            <a:off x="4014948" y="3128395"/>
            <a:ext cx="2218307"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Email address</a:t>
            </a:r>
          </a:p>
        </p:txBody>
      </p:sp>
      <p:sp>
        <p:nvSpPr>
          <p:cNvPr id="30" name="Text Placeholder 5"/>
          <p:cNvSpPr>
            <a:spLocks noGrp="1"/>
          </p:cNvSpPr>
          <p:nvPr>
            <p:ph type="body" sz="quarter" idx="24" hasCustomPrompt="1"/>
          </p:nvPr>
        </p:nvSpPr>
        <p:spPr>
          <a:xfrm>
            <a:off x="8701917" y="1808521"/>
            <a:ext cx="2463190" cy="192360"/>
          </a:xfrm>
        </p:spPr>
        <p:txBody>
          <a:bodyPr lIns="0" tIns="0" rIns="0" bIns="0" anchor="ctr" anchorCtr="0"/>
          <a:lstStyle>
            <a:lvl1pPr marL="0" indent="0" algn="l">
              <a:lnSpc>
                <a:spcPct val="100000"/>
              </a:lnSpc>
              <a:buNone/>
              <a:defRPr sz="100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Country</a:t>
            </a:r>
          </a:p>
        </p:txBody>
      </p:sp>
      <p:sp>
        <p:nvSpPr>
          <p:cNvPr id="31" name="Text Placeholder 5"/>
          <p:cNvSpPr>
            <a:spLocks noGrp="1"/>
          </p:cNvSpPr>
          <p:nvPr>
            <p:ph type="body" sz="quarter" idx="25" hasCustomPrompt="1"/>
          </p:nvPr>
        </p:nvSpPr>
        <p:spPr>
          <a:xfrm>
            <a:off x="8701917" y="2020337"/>
            <a:ext cx="2463190" cy="266182"/>
          </a:xfrm>
        </p:spPr>
        <p:txBody>
          <a:bodyPr lIns="0" tIns="0" rIns="0" bIns="0" anchor="b" anchorCtr="0"/>
          <a:lstStyle>
            <a:lvl1pPr marL="0" indent="0" algn="l">
              <a:lnSpc>
                <a:spcPct val="100000"/>
              </a:lnSpc>
              <a:buNone/>
              <a:defRPr sz="1400" b="1" baseline="0">
                <a:solidFill>
                  <a:schemeClr val="tx2"/>
                </a:solidFill>
              </a:defRPr>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Name, Surname</a:t>
            </a:r>
          </a:p>
        </p:txBody>
      </p:sp>
      <p:sp>
        <p:nvSpPr>
          <p:cNvPr id="32" name="Text Placeholder 5"/>
          <p:cNvSpPr>
            <a:spLocks noGrp="1"/>
          </p:cNvSpPr>
          <p:nvPr>
            <p:ph type="body" sz="quarter" idx="26" hasCustomPrompt="1"/>
          </p:nvPr>
        </p:nvSpPr>
        <p:spPr>
          <a:xfrm>
            <a:off x="8701917" y="2316912"/>
            <a:ext cx="2463190"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Job Position</a:t>
            </a:r>
          </a:p>
        </p:txBody>
      </p:sp>
      <p:sp>
        <p:nvSpPr>
          <p:cNvPr id="33" name="Text Placeholder 5"/>
          <p:cNvSpPr>
            <a:spLocks noGrp="1"/>
          </p:cNvSpPr>
          <p:nvPr>
            <p:ph type="body" sz="quarter" idx="27" hasCustomPrompt="1"/>
          </p:nvPr>
        </p:nvSpPr>
        <p:spPr>
          <a:xfrm>
            <a:off x="8946800" y="2845588"/>
            <a:ext cx="2218307"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Phone number</a:t>
            </a:r>
          </a:p>
        </p:txBody>
      </p:sp>
      <p:sp>
        <p:nvSpPr>
          <p:cNvPr id="34" name="Text Placeholder 5"/>
          <p:cNvSpPr>
            <a:spLocks noGrp="1"/>
          </p:cNvSpPr>
          <p:nvPr>
            <p:ph type="body" sz="quarter" idx="28" hasCustomPrompt="1"/>
          </p:nvPr>
        </p:nvSpPr>
        <p:spPr>
          <a:xfrm>
            <a:off x="8946800" y="3128395"/>
            <a:ext cx="2218307"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Email address</a:t>
            </a:r>
          </a:p>
        </p:txBody>
      </p:sp>
      <p:grpSp>
        <p:nvGrpSpPr>
          <p:cNvPr id="35" name="Gruppieren 2">
            <a:extLst>
              <a:ext uri="{FF2B5EF4-FFF2-40B4-BE49-F238E27FC236}">
                <a16:creationId xmlns:a16="http://schemas.microsoft.com/office/drawing/2014/main" id="{BE697CE9-EBDE-6B4A-BE70-582D92A8A831}"/>
              </a:ext>
            </a:extLst>
          </p:cNvPr>
          <p:cNvGrpSpPr/>
          <p:nvPr/>
        </p:nvGrpSpPr>
        <p:grpSpPr>
          <a:xfrm>
            <a:off x="3770065" y="5045939"/>
            <a:ext cx="171180" cy="171180"/>
            <a:chOff x="3392092" y="1841122"/>
            <a:chExt cx="646508" cy="646508"/>
          </a:xfrm>
        </p:grpSpPr>
        <p:sp>
          <p:nvSpPr>
            <p:cNvPr id="36" name="Rechteck 14">
              <a:extLst>
                <a:ext uri="{FF2B5EF4-FFF2-40B4-BE49-F238E27FC236}">
                  <a16:creationId xmlns:a16="http://schemas.microsoft.com/office/drawing/2014/main" id="{E142A731-19B7-C34D-9534-9E05108F895F}"/>
                </a:ext>
              </a:extLst>
            </p:cNvPr>
            <p:cNvSpPr>
              <a:spLocks noChangeAspect="1"/>
            </p:cNvSpPr>
            <p:nvPr/>
          </p:nvSpPr>
          <p:spPr bwMode="gray">
            <a:xfrm>
              <a:off x="3392092" y="1841122"/>
              <a:ext cx="646508" cy="646508"/>
            </a:xfrm>
            <a:prstGeom prst="rect">
              <a:avLst/>
            </a:prstGeom>
            <a:solidFill>
              <a:srgbClr val="E55A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pPr>
              <a:endParaRPr lang="en-US" sz="1000" dirty="0">
                <a:solidFill>
                  <a:schemeClr val="tx1"/>
                </a:solidFill>
                <a:latin typeface="Arial" pitchFamily="34" charset="0"/>
                <a:cs typeface="Arial" pitchFamily="34" charset="0"/>
              </a:endParaRPr>
            </a:p>
          </p:txBody>
        </p:sp>
        <p:sp>
          <p:nvSpPr>
            <p:cNvPr id="37" name="Freeform 36">
              <a:extLst>
                <a:ext uri="{FF2B5EF4-FFF2-40B4-BE49-F238E27FC236}">
                  <a16:creationId xmlns:a16="http://schemas.microsoft.com/office/drawing/2014/main" id="{F97E84AE-4AD9-4B44-9AA1-F797FC373809}"/>
                </a:ext>
              </a:extLst>
            </p:cNvPr>
            <p:cNvSpPr>
              <a:spLocks noChangeAspect="1"/>
            </p:cNvSpPr>
            <p:nvPr/>
          </p:nvSpPr>
          <p:spPr bwMode="auto">
            <a:xfrm>
              <a:off x="3546638" y="1970424"/>
              <a:ext cx="337415" cy="387905"/>
            </a:xfrm>
            <a:custGeom>
              <a:avLst/>
              <a:gdLst>
                <a:gd name="T0" fmla="*/ 573 w 1624"/>
                <a:gd name="T1" fmla="*/ 1257 h 1867"/>
                <a:gd name="T2" fmla="*/ 662 w 1624"/>
                <a:gd name="T3" fmla="*/ 1288 h 1867"/>
                <a:gd name="T4" fmla="*/ 938 w 1624"/>
                <a:gd name="T5" fmla="*/ 1051 h 1867"/>
                <a:gd name="T6" fmla="*/ 1106 w 1624"/>
                <a:gd name="T7" fmla="*/ 731 h 1867"/>
                <a:gd name="T8" fmla="*/ 1059 w 1624"/>
                <a:gd name="T9" fmla="*/ 645 h 1867"/>
                <a:gd name="T10" fmla="*/ 1001 w 1624"/>
                <a:gd name="T11" fmla="*/ 613 h 1867"/>
                <a:gd name="T12" fmla="*/ 924 w 1624"/>
                <a:gd name="T13" fmla="*/ 432 h 1867"/>
                <a:gd name="T14" fmla="*/ 1114 w 1624"/>
                <a:gd name="T15" fmla="*/ 81 h 1867"/>
                <a:gd name="T16" fmla="*/ 1287 w 1624"/>
                <a:gd name="T17" fmla="*/ 35 h 1867"/>
                <a:gd name="T18" fmla="*/ 1350 w 1624"/>
                <a:gd name="T19" fmla="*/ 69 h 1867"/>
                <a:gd name="T20" fmla="*/ 1527 w 1624"/>
                <a:gd name="T21" fmla="*/ 235 h 1867"/>
                <a:gd name="T22" fmla="*/ 1583 w 1624"/>
                <a:gd name="T23" fmla="*/ 555 h 1867"/>
                <a:gd name="T24" fmla="*/ 1172 w 1624"/>
                <a:gd name="T25" fmla="*/ 1253 h 1867"/>
                <a:gd name="T26" fmla="*/ 586 w 1624"/>
                <a:gd name="T27" fmla="*/ 1803 h 1867"/>
                <a:gd name="T28" fmla="*/ 269 w 1624"/>
                <a:gd name="T29" fmla="*/ 1807 h 1867"/>
                <a:gd name="T30" fmla="*/ 33 w 1624"/>
                <a:gd name="T31" fmla="*/ 1602 h 1867"/>
                <a:gd name="T32" fmla="*/ 2 w 1624"/>
                <a:gd name="T33" fmla="*/ 1508 h 1867"/>
                <a:gd name="T34" fmla="*/ 45 w 1624"/>
                <a:gd name="T35" fmla="*/ 1421 h 1867"/>
                <a:gd name="T36" fmla="*/ 346 w 1624"/>
                <a:gd name="T37" fmla="*/ 1158 h 1867"/>
                <a:gd name="T38" fmla="*/ 448 w 1624"/>
                <a:gd name="T39" fmla="*/ 1145 h 1867"/>
                <a:gd name="T40" fmla="*/ 573 w 1624"/>
                <a:gd name="T41" fmla="*/ 1257 h 18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24" h="1867">
                  <a:moveTo>
                    <a:pt x="573" y="1257"/>
                  </a:moveTo>
                  <a:cubicBezTo>
                    <a:pt x="592" y="1282"/>
                    <a:pt x="630" y="1303"/>
                    <a:pt x="662" y="1288"/>
                  </a:cubicBezTo>
                  <a:cubicBezTo>
                    <a:pt x="753" y="1245"/>
                    <a:pt x="854" y="1156"/>
                    <a:pt x="938" y="1051"/>
                  </a:cubicBezTo>
                  <a:cubicBezTo>
                    <a:pt x="1020" y="948"/>
                    <a:pt x="1084" y="831"/>
                    <a:pt x="1106" y="731"/>
                  </a:cubicBezTo>
                  <a:cubicBezTo>
                    <a:pt x="1113" y="696"/>
                    <a:pt x="1089" y="661"/>
                    <a:pt x="1059" y="645"/>
                  </a:cubicBezTo>
                  <a:cubicBezTo>
                    <a:pt x="1001" y="613"/>
                    <a:pt x="1001" y="613"/>
                    <a:pt x="1001" y="613"/>
                  </a:cubicBezTo>
                  <a:cubicBezTo>
                    <a:pt x="942" y="580"/>
                    <a:pt x="888" y="499"/>
                    <a:pt x="924" y="432"/>
                  </a:cubicBezTo>
                  <a:cubicBezTo>
                    <a:pt x="1114" y="81"/>
                    <a:pt x="1114" y="81"/>
                    <a:pt x="1114" y="81"/>
                  </a:cubicBezTo>
                  <a:cubicBezTo>
                    <a:pt x="1150" y="16"/>
                    <a:pt x="1224" y="0"/>
                    <a:pt x="1287" y="35"/>
                  </a:cubicBezTo>
                  <a:cubicBezTo>
                    <a:pt x="1350" y="69"/>
                    <a:pt x="1350" y="69"/>
                    <a:pt x="1350" y="69"/>
                  </a:cubicBezTo>
                  <a:cubicBezTo>
                    <a:pt x="1415" y="105"/>
                    <a:pt x="1479" y="165"/>
                    <a:pt x="1527" y="235"/>
                  </a:cubicBezTo>
                  <a:cubicBezTo>
                    <a:pt x="1593" y="332"/>
                    <a:pt x="1624" y="442"/>
                    <a:pt x="1583" y="555"/>
                  </a:cubicBezTo>
                  <a:cubicBezTo>
                    <a:pt x="1500" y="781"/>
                    <a:pt x="1351" y="1030"/>
                    <a:pt x="1172" y="1253"/>
                  </a:cubicBezTo>
                  <a:cubicBezTo>
                    <a:pt x="994" y="1477"/>
                    <a:pt x="786" y="1676"/>
                    <a:pt x="586" y="1803"/>
                  </a:cubicBezTo>
                  <a:cubicBezTo>
                    <a:pt x="486" y="1867"/>
                    <a:pt x="375" y="1856"/>
                    <a:pt x="269" y="1807"/>
                  </a:cubicBezTo>
                  <a:cubicBezTo>
                    <a:pt x="157" y="1755"/>
                    <a:pt x="106" y="1695"/>
                    <a:pt x="33" y="1602"/>
                  </a:cubicBezTo>
                  <a:cubicBezTo>
                    <a:pt x="11" y="1573"/>
                    <a:pt x="0" y="1540"/>
                    <a:pt x="2" y="1508"/>
                  </a:cubicBezTo>
                  <a:cubicBezTo>
                    <a:pt x="4" y="1475"/>
                    <a:pt x="18" y="1444"/>
                    <a:pt x="45" y="1421"/>
                  </a:cubicBezTo>
                  <a:cubicBezTo>
                    <a:pt x="70" y="1399"/>
                    <a:pt x="346" y="1158"/>
                    <a:pt x="346" y="1158"/>
                  </a:cubicBezTo>
                  <a:cubicBezTo>
                    <a:pt x="376" y="1134"/>
                    <a:pt x="413" y="1133"/>
                    <a:pt x="448" y="1145"/>
                  </a:cubicBezTo>
                  <a:cubicBezTo>
                    <a:pt x="510" y="1166"/>
                    <a:pt x="536" y="1210"/>
                    <a:pt x="573" y="1257"/>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351" dirty="0"/>
            </a:p>
          </p:txBody>
        </p:sp>
      </p:grpSp>
      <p:grpSp>
        <p:nvGrpSpPr>
          <p:cNvPr id="38" name="Group 3">
            <a:extLst>
              <a:ext uri="{FF2B5EF4-FFF2-40B4-BE49-F238E27FC236}">
                <a16:creationId xmlns:a16="http://schemas.microsoft.com/office/drawing/2014/main" id="{7104BADD-8CD1-6F4A-B894-869C3BDB3EEB}"/>
              </a:ext>
            </a:extLst>
          </p:cNvPr>
          <p:cNvGrpSpPr>
            <a:grpSpLocks noChangeAspect="1"/>
          </p:cNvGrpSpPr>
          <p:nvPr>
            <p:custDataLst>
              <p:tags r:id="rId3"/>
            </p:custDataLst>
          </p:nvPr>
        </p:nvGrpSpPr>
        <p:grpSpPr>
          <a:xfrm>
            <a:off x="3770066" y="5330827"/>
            <a:ext cx="171180" cy="171180"/>
            <a:chOff x="328396" y="5313940"/>
            <a:chExt cx="720000" cy="720000"/>
          </a:xfrm>
        </p:grpSpPr>
        <p:sp>
          <p:nvSpPr>
            <p:cNvPr id="39" name="Rectangle 4">
              <a:extLst>
                <a:ext uri="{FF2B5EF4-FFF2-40B4-BE49-F238E27FC236}">
                  <a16:creationId xmlns:a16="http://schemas.microsoft.com/office/drawing/2014/main" id="{74BE3D5F-1445-6E40-8B49-72E15568383B}"/>
                </a:ext>
              </a:extLst>
            </p:cNvPr>
            <p:cNvSpPr/>
            <p:nvPr/>
          </p:nvSpPr>
          <p:spPr bwMode="gray">
            <a:xfrm>
              <a:off x="328396" y="5313940"/>
              <a:ext cx="720000" cy="720000"/>
            </a:xfrm>
            <a:prstGeom prst="rect">
              <a:avLst/>
            </a:prstGeom>
            <a:solidFill>
              <a:srgbClr val="E55A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pPr>
              <a:endParaRPr lang="en-US" sz="1000" dirty="0">
                <a:solidFill>
                  <a:schemeClr val="tx1"/>
                </a:solidFill>
                <a:latin typeface="Arial" pitchFamily="34" charset="0"/>
                <a:cs typeface="Arial" pitchFamily="34" charset="0"/>
              </a:endParaRPr>
            </a:p>
          </p:txBody>
        </p:sp>
        <p:sp>
          <p:nvSpPr>
            <p:cNvPr id="40" name="Freeform 76">
              <a:extLst>
                <a:ext uri="{FF2B5EF4-FFF2-40B4-BE49-F238E27FC236}">
                  <a16:creationId xmlns:a16="http://schemas.microsoft.com/office/drawing/2014/main" id="{55DB3C95-7D0C-D141-901E-96D692794D2B}"/>
                </a:ext>
              </a:extLst>
            </p:cNvPr>
            <p:cNvSpPr>
              <a:spLocks noChangeAspect="1" noEditPoints="1"/>
            </p:cNvSpPr>
            <p:nvPr/>
          </p:nvSpPr>
          <p:spPr bwMode="auto">
            <a:xfrm>
              <a:off x="456202" y="5509222"/>
              <a:ext cx="504000" cy="329436"/>
            </a:xfrm>
            <a:custGeom>
              <a:avLst/>
              <a:gdLst>
                <a:gd name="T0" fmla="*/ 0 w 2080"/>
                <a:gd name="T1" fmla="*/ 65 h 1360"/>
                <a:gd name="T2" fmla="*/ 0 w 2080"/>
                <a:gd name="T3" fmla="*/ 0 h 1360"/>
                <a:gd name="T4" fmla="*/ 2080 w 2080"/>
                <a:gd name="T5" fmla="*/ 0 h 1360"/>
                <a:gd name="T6" fmla="*/ 2080 w 2080"/>
                <a:gd name="T7" fmla="*/ 65 h 1360"/>
                <a:gd name="T8" fmla="*/ 1089 w 2080"/>
                <a:gd name="T9" fmla="*/ 862 h 1360"/>
                <a:gd name="T10" fmla="*/ 991 w 2080"/>
                <a:gd name="T11" fmla="*/ 862 h 1360"/>
                <a:gd name="T12" fmla="*/ 0 w 2080"/>
                <a:gd name="T13" fmla="*/ 65 h 1360"/>
                <a:gd name="T14" fmla="*/ 1139 w 2080"/>
                <a:gd name="T15" fmla="*/ 924 h 1360"/>
                <a:gd name="T16" fmla="*/ 1282 w 2080"/>
                <a:gd name="T17" fmla="*/ 810 h 1360"/>
                <a:gd name="T18" fmla="*/ 2076 w 2080"/>
                <a:gd name="T19" fmla="*/ 1360 h 1360"/>
                <a:gd name="T20" fmla="*/ 4 w 2080"/>
                <a:gd name="T21" fmla="*/ 1360 h 1360"/>
                <a:gd name="T22" fmla="*/ 798 w 2080"/>
                <a:gd name="T23" fmla="*/ 810 h 1360"/>
                <a:gd name="T24" fmla="*/ 941 w 2080"/>
                <a:gd name="T25" fmla="*/ 924 h 1360"/>
                <a:gd name="T26" fmla="*/ 1139 w 2080"/>
                <a:gd name="T27" fmla="*/ 924 h 1360"/>
                <a:gd name="T28" fmla="*/ 2 w 2080"/>
                <a:gd name="T29" fmla="*/ 137 h 1360"/>
                <a:gd name="T30" fmla="*/ 42 w 2080"/>
                <a:gd name="T31" fmla="*/ 201 h 1360"/>
                <a:gd name="T32" fmla="*/ 734 w 2080"/>
                <a:gd name="T33" fmla="*/ 758 h 1360"/>
                <a:gd name="T34" fmla="*/ 0 w 2080"/>
                <a:gd name="T35" fmla="*/ 1266 h 1360"/>
                <a:gd name="T36" fmla="*/ 0 w 2080"/>
                <a:gd name="T37" fmla="*/ 135 h 1360"/>
                <a:gd name="T38" fmla="*/ 2 w 2080"/>
                <a:gd name="T39" fmla="*/ 137 h 1360"/>
                <a:gd name="T40" fmla="*/ 2080 w 2080"/>
                <a:gd name="T41" fmla="*/ 136 h 1360"/>
                <a:gd name="T42" fmla="*/ 2080 w 2080"/>
                <a:gd name="T43" fmla="*/ 1265 h 1360"/>
                <a:gd name="T44" fmla="*/ 1346 w 2080"/>
                <a:gd name="T45" fmla="*/ 758 h 1360"/>
                <a:gd name="T46" fmla="*/ 2038 w 2080"/>
                <a:gd name="T47" fmla="*/ 201 h 1360"/>
                <a:gd name="T48" fmla="*/ 2080 w 2080"/>
                <a:gd name="T49" fmla="*/ 136 h 1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080" h="1360">
                  <a:moveTo>
                    <a:pt x="0" y="65"/>
                  </a:moveTo>
                  <a:cubicBezTo>
                    <a:pt x="0" y="0"/>
                    <a:pt x="0" y="0"/>
                    <a:pt x="0" y="0"/>
                  </a:cubicBezTo>
                  <a:cubicBezTo>
                    <a:pt x="2080" y="0"/>
                    <a:pt x="2080" y="0"/>
                    <a:pt x="2080" y="0"/>
                  </a:cubicBezTo>
                  <a:cubicBezTo>
                    <a:pt x="2080" y="65"/>
                    <a:pt x="2080" y="65"/>
                    <a:pt x="2080" y="65"/>
                  </a:cubicBezTo>
                  <a:cubicBezTo>
                    <a:pt x="1089" y="862"/>
                    <a:pt x="1089" y="862"/>
                    <a:pt x="1089" y="862"/>
                  </a:cubicBezTo>
                  <a:cubicBezTo>
                    <a:pt x="1060" y="886"/>
                    <a:pt x="1020" y="886"/>
                    <a:pt x="991" y="862"/>
                  </a:cubicBezTo>
                  <a:lnTo>
                    <a:pt x="0" y="65"/>
                  </a:lnTo>
                  <a:close/>
                  <a:moveTo>
                    <a:pt x="1139" y="924"/>
                  </a:moveTo>
                  <a:cubicBezTo>
                    <a:pt x="1282" y="810"/>
                    <a:pt x="1282" y="810"/>
                    <a:pt x="1282" y="810"/>
                  </a:cubicBezTo>
                  <a:cubicBezTo>
                    <a:pt x="2076" y="1360"/>
                    <a:pt x="2076" y="1360"/>
                    <a:pt x="2076" y="1360"/>
                  </a:cubicBezTo>
                  <a:cubicBezTo>
                    <a:pt x="4" y="1360"/>
                    <a:pt x="4" y="1360"/>
                    <a:pt x="4" y="1360"/>
                  </a:cubicBezTo>
                  <a:cubicBezTo>
                    <a:pt x="798" y="810"/>
                    <a:pt x="798" y="810"/>
                    <a:pt x="798" y="810"/>
                  </a:cubicBezTo>
                  <a:cubicBezTo>
                    <a:pt x="941" y="924"/>
                    <a:pt x="941" y="924"/>
                    <a:pt x="941" y="924"/>
                  </a:cubicBezTo>
                  <a:cubicBezTo>
                    <a:pt x="1000" y="972"/>
                    <a:pt x="1080" y="972"/>
                    <a:pt x="1139" y="924"/>
                  </a:cubicBezTo>
                  <a:close/>
                  <a:moveTo>
                    <a:pt x="2" y="137"/>
                  </a:moveTo>
                  <a:cubicBezTo>
                    <a:pt x="8" y="163"/>
                    <a:pt x="22" y="185"/>
                    <a:pt x="42" y="201"/>
                  </a:cubicBezTo>
                  <a:cubicBezTo>
                    <a:pt x="734" y="758"/>
                    <a:pt x="734" y="758"/>
                    <a:pt x="734" y="758"/>
                  </a:cubicBezTo>
                  <a:cubicBezTo>
                    <a:pt x="0" y="1266"/>
                    <a:pt x="0" y="1266"/>
                    <a:pt x="0" y="1266"/>
                  </a:cubicBezTo>
                  <a:cubicBezTo>
                    <a:pt x="0" y="135"/>
                    <a:pt x="0" y="135"/>
                    <a:pt x="0" y="135"/>
                  </a:cubicBezTo>
                  <a:lnTo>
                    <a:pt x="2" y="137"/>
                  </a:lnTo>
                  <a:close/>
                  <a:moveTo>
                    <a:pt x="2080" y="136"/>
                  </a:moveTo>
                  <a:cubicBezTo>
                    <a:pt x="2080" y="1265"/>
                    <a:pt x="2080" y="1265"/>
                    <a:pt x="2080" y="1265"/>
                  </a:cubicBezTo>
                  <a:cubicBezTo>
                    <a:pt x="1346" y="758"/>
                    <a:pt x="1346" y="758"/>
                    <a:pt x="1346" y="758"/>
                  </a:cubicBezTo>
                  <a:cubicBezTo>
                    <a:pt x="2038" y="201"/>
                    <a:pt x="2038" y="201"/>
                    <a:pt x="2038" y="201"/>
                  </a:cubicBezTo>
                  <a:cubicBezTo>
                    <a:pt x="2060" y="182"/>
                    <a:pt x="2072" y="162"/>
                    <a:pt x="2080" y="13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000"/>
            </a:p>
          </p:txBody>
        </p:sp>
      </p:grpSp>
      <p:cxnSp>
        <p:nvCxnSpPr>
          <p:cNvPr id="41" name="Straight Connector 40"/>
          <p:cNvCxnSpPr/>
          <p:nvPr/>
        </p:nvCxnSpPr>
        <p:spPr>
          <a:xfrm>
            <a:off x="2355914" y="5655833"/>
            <a:ext cx="3888000" cy="0"/>
          </a:xfrm>
          <a:prstGeom prst="line">
            <a:avLst/>
          </a:prstGeom>
          <a:ln w="6350">
            <a:solidFill>
              <a:schemeClr val="tx2"/>
            </a:solidFill>
            <a:prstDash val="dash"/>
          </a:ln>
        </p:spPr>
        <p:style>
          <a:lnRef idx="1">
            <a:schemeClr val="accent1"/>
          </a:lnRef>
          <a:fillRef idx="0">
            <a:schemeClr val="accent1"/>
          </a:fillRef>
          <a:effectRef idx="0">
            <a:schemeClr val="accent1"/>
          </a:effectRef>
          <a:fontRef idx="minor">
            <a:schemeClr val="tx1"/>
          </a:fontRef>
        </p:style>
      </p:cxnSp>
      <p:sp>
        <p:nvSpPr>
          <p:cNvPr id="42" name="Picture Placeholder 3"/>
          <p:cNvSpPr>
            <a:spLocks noGrp="1"/>
          </p:cNvSpPr>
          <p:nvPr>
            <p:ph type="pic" sz="quarter" idx="29" hasCustomPrompt="1"/>
          </p:nvPr>
        </p:nvSpPr>
        <p:spPr>
          <a:xfrm>
            <a:off x="2355914" y="3986604"/>
            <a:ext cx="1188677" cy="1547840"/>
          </a:xfrm>
          <a:solidFill>
            <a:srgbClr val="D9DADB"/>
          </a:solidFill>
        </p:spPr>
        <p:txBody>
          <a:bodyPr/>
          <a:lstStyle>
            <a:lvl1pPr marL="0" indent="0">
              <a:buNone/>
              <a:defRPr sz="1400"/>
            </a:lvl1pPr>
          </a:lstStyle>
          <a:p>
            <a:r>
              <a:rPr lang="en-US" dirty="0"/>
              <a:t>Insert picture</a:t>
            </a:r>
          </a:p>
        </p:txBody>
      </p:sp>
      <p:sp>
        <p:nvSpPr>
          <p:cNvPr id="43" name="Text Placeholder 5"/>
          <p:cNvSpPr>
            <a:spLocks noGrp="1"/>
          </p:cNvSpPr>
          <p:nvPr>
            <p:ph type="body" sz="quarter" idx="30" hasCustomPrompt="1"/>
          </p:nvPr>
        </p:nvSpPr>
        <p:spPr>
          <a:xfrm>
            <a:off x="3770065" y="3986141"/>
            <a:ext cx="2463190" cy="192360"/>
          </a:xfrm>
        </p:spPr>
        <p:txBody>
          <a:bodyPr lIns="0" tIns="0" rIns="0" bIns="0" anchor="ctr" anchorCtr="0"/>
          <a:lstStyle>
            <a:lvl1pPr marL="0" indent="0" algn="l">
              <a:lnSpc>
                <a:spcPct val="100000"/>
              </a:lnSpc>
              <a:buNone/>
              <a:defRPr sz="100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Country</a:t>
            </a:r>
          </a:p>
        </p:txBody>
      </p:sp>
      <p:sp>
        <p:nvSpPr>
          <p:cNvPr id="44" name="Text Placeholder 5"/>
          <p:cNvSpPr>
            <a:spLocks noGrp="1"/>
          </p:cNvSpPr>
          <p:nvPr>
            <p:ph type="body" sz="quarter" idx="31" hasCustomPrompt="1"/>
          </p:nvPr>
        </p:nvSpPr>
        <p:spPr>
          <a:xfrm>
            <a:off x="3770065" y="4197957"/>
            <a:ext cx="2463190" cy="266182"/>
          </a:xfrm>
        </p:spPr>
        <p:txBody>
          <a:bodyPr lIns="0" tIns="0" rIns="0" bIns="0" anchor="b" anchorCtr="0"/>
          <a:lstStyle>
            <a:lvl1pPr marL="0" indent="0" algn="l">
              <a:lnSpc>
                <a:spcPct val="100000"/>
              </a:lnSpc>
              <a:buNone/>
              <a:defRPr sz="1400" b="1" baseline="0">
                <a:solidFill>
                  <a:schemeClr val="tx2"/>
                </a:solidFill>
              </a:defRPr>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Name, Surname</a:t>
            </a:r>
          </a:p>
        </p:txBody>
      </p:sp>
      <p:sp>
        <p:nvSpPr>
          <p:cNvPr id="45" name="Text Placeholder 5"/>
          <p:cNvSpPr>
            <a:spLocks noGrp="1"/>
          </p:cNvSpPr>
          <p:nvPr>
            <p:ph type="body" sz="quarter" idx="32" hasCustomPrompt="1"/>
          </p:nvPr>
        </p:nvSpPr>
        <p:spPr>
          <a:xfrm>
            <a:off x="3770065" y="4494532"/>
            <a:ext cx="2463190"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Job Position</a:t>
            </a:r>
          </a:p>
        </p:txBody>
      </p:sp>
      <p:sp>
        <p:nvSpPr>
          <p:cNvPr id="46" name="Text Placeholder 5"/>
          <p:cNvSpPr>
            <a:spLocks noGrp="1"/>
          </p:cNvSpPr>
          <p:nvPr>
            <p:ph type="body" sz="quarter" idx="33" hasCustomPrompt="1"/>
          </p:nvPr>
        </p:nvSpPr>
        <p:spPr>
          <a:xfrm>
            <a:off x="4014948" y="5023208"/>
            <a:ext cx="2218307"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Phone number</a:t>
            </a:r>
          </a:p>
        </p:txBody>
      </p:sp>
      <p:sp>
        <p:nvSpPr>
          <p:cNvPr id="47" name="Text Placeholder 5"/>
          <p:cNvSpPr>
            <a:spLocks noGrp="1"/>
          </p:cNvSpPr>
          <p:nvPr>
            <p:ph type="body" sz="quarter" idx="34" hasCustomPrompt="1"/>
          </p:nvPr>
        </p:nvSpPr>
        <p:spPr>
          <a:xfrm>
            <a:off x="4014948" y="5306015"/>
            <a:ext cx="2218307"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Email address</a:t>
            </a:r>
          </a:p>
        </p:txBody>
      </p:sp>
    </p:spTree>
    <p:extLst>
      <p:ext uri="{BB962C8B-B14F-4D97-AF65-F5344CB8AC3E}">
        <p14:creationId xmlns:p14="http://schemas.microsoft.com/office/powerpoint/2010/main" val="687545081"/>
      </p:ext>
    </p:extLst>
  </p:cSld>
  <p:clrMapOvr>
    <a:masterClrMapping/>
  </p:clrMapOvr>
</p:sldLayout>
</file>

<file path=ppt/slideLayouts/slideLayout529.xml><?xml version="1.0" encoding="utf-8"?>
<p:sldLayout xmlns:a="http://schemas.openxmlformats.org/drawingml/2006/main" xmlns:r="http://schemas.openxmlformats.org/officeDocument/2006/relationships" xmlns:p="http://schemas.openxmlformats.org/presentationml/2006/main" preserve="1">
  <p:cSld name="Four contacts">
    <p:spTree>
      <p:nvGrpSpPr>
        <p:cNvPr id="1" name=""/>
        <p:cNvGrpSpPr/>
        <p:nvPr/>
      </p:nvGrpSpPr>
      <p:grpSpPr>
        <a:xfrm>
          <a:off x="0" y="0"/>
          <a:ext cx="0" cy="0"/>
          <a:chOff x="0" y="0"/>
          <a:chExt cx="0" cy="0"/>
        </a:xfrm>
      </p:grpSpPr>
      <p:sp>
        <p:nvSpPr>
          <p:cNvPr id="21" name="Date Placeholder 20"/>
          <p:cNvSpPr>
            <a:spLocks noGrp="1"/>
          </p:cNvSpPr>
          <p:nvPr>
            <p:ph type="dt" sz="half" idx="14"/>
          </p:nvPr>
        </p:nvSpPr>
        <p:spPr>
          <a:xfrm>
            <a:off x="192088" y="6461671"/>
            <a:ext cx="761512" cy="133790"/>
          </a:xfrm>
          <a:prstGeom prst="rect">
            <a:avLst/>
          </a:prstGeom>
        </p:spPr>
        <p:txBody>
          <a:bodyPr/>
          <a:lstStyle/>
          <a:p>
            <a:fld id="{279C7CF9-AE45-4637-9DF5-AFC713D6D2FE}" type="datetime5">
              <a:rPr lang="en-US" smtClean="0"/>
              <a:t>26-Jun-20</a:t>
            </a:fld>
            <a:endParaRPr lang="en-US"/>
          </a:p>
        </p:txBody>
      </p:sp>
      <p:sp>
        <p:nvSpPr>
          <p:cNvPr id="22" name="Footer Placeholder 21"/>
          <p:cNvSpPr>
            <a:spLocks noGrp="1"/>
          </p:cNvSpPr>
          <p:nvPr>
            <p:ph type="ftr" sz="quarter" idx="15"/>
          </p:nvPr>
        </p:nvSpPr>
        <p:spPr>
          <a:xfrm>
            <a:off x="1076400" y="6461671"/>
            <a:ext cx="8162717" cy="133790"/>
          </a:xfrm>
          <a:prstGeom prst="rect">
            <a:avLst/>
          </a:prstGeom>
        </p:spPr>
        <p:txBody>
          <a:bodyPr/>
          <a:lstStyle/>
          <a:p>
            <a:r>
              <a:rPr lang="en-US"/>
              <a:t>Title of presentation (Insert / Header &amp; Footer / Apply to All)</a:t>
            </a:r>
            <a:endParaRPr lang="en-US" dirty="0"/>
          </a:p>
        </p:txBody>
      </p:sp>
      <p:sp>
        <p:nvSpPr>
          <p:cNvPr id="23" name="Slide Number Placeholder 22"/>
          <p:cNvSpPr>
            <a:spLocks noGrp="1"/>
          </p:cNvSpPr>
          <p:nvPr>
            <p:ph type="sldNum" sz="quarter" idx="16"/>
          </p:nvPr>
        </p:nvSpPr>
        <p:spPr/>
        <p:txBody>
          <a:bodyPr/>
          <a:lstStyle/>
          <a:p>
            <a:fld id="{5F3E29E4-0979-4FCA-B4C5-5FC6044C982A}" type="slidenum">
              <a:rPr lang="en-US" smtClean="0"/>
              <a:t>‹#›</a:t>
            </a:fld>
            <a:endParaRPr lang="en-US"/>
          </a:p>
        </p:txBody>
      </p:sp>
      <p:sp>
        <p:nvSpPr>
          <p:cNvPr id="2" name="Title 1"/>
          <p:cNvSpPr>
            <a:spLocks noGrp="1"/>
          </p:cNvSpPr>
          <p:nvPr>
            <p:ph type="title" hasCustomPrompt="1"/>
          </p:nvPr>
        </p:nvSpPr>
        <p:spPr/>
        <p:txBody>
          <a:bodyPr/>
          <a:lstStyle>
            <a:lvl1pPr>
              <a:defRPr/>
            </a:lvl1pPr>
          </a:lstStyle>
          <a:p>
            <a:r>
              <a:rPr lang="en-US" dirty="0"/>
              <a:t>Click to add contact title</a:t>
            </a:r>
          </a:p>
        </p:txBody>
      </p:sp>
      <p:sp>
        <p:nvSpPr>
          <p:cNvPr id="7" name="Subtitle 2"/>
          <p:cNvSpPr>
            <a:spLocks noGrp="1"/>
          </p:cNvSpPr>
          <p:nvPr>
            <p:ph type="subTitle" idx="13" hasCustomPrompt="1"/>
          </p:nvPr>
        </p:nvSpPr>
        <p:spPr>
          <a:xfrm>
            <a:off x="1075061" y="964671"/>
            <a:ext cx="7910158" cy="490042"/>
          </a:xfrm>
        </p:spPr>
        <p:txBody>
          <a:bodyPr wrap="none"/>
          <a:lstStyle>
            <a:lvl1pPr marL="0" indent="0" algn="l">
              <a:spcBef>
                <a:spcPts val="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grpSp>
        <p:nvGrpSpPr>
          <p:cNvPr id="8" name="Gruppieren 80">
            <a:extLst>
              <a:ext uri="{FF2B5EF4-FFF2-40B4-BE49-F238E27FC236}">
                <a16:creationId xmlns:a16="http://schemas.microsoft.com/office/drawing/2014/main" id="{6B969E7B-9C39-4443-9B02-74C1E7C5CCAC}"/>
              </a:ext>
            </a:extLst>
          </p:cNvPr>
          <p:cNvGrpSpPr/>
          <p:nvPr/>
        </p:nvGrpSpPr>
        <p:grpSpPr>
          <a:xfrm>
            <a:off x="3770065" y="2868319"/>
            <a:ext cx="171180" cy="171180"/>
            <a:chOff x="3392092" y="1841122"/>
            <a:chExt cx="646508" cy="646508"/>
          </a:xfrm>
        </p:grpSpPr>
        <p:sp>
          <p:nvSpPr>
            <p:cNvPr id="9" name="Rechteck 14">
              <a:extLst>
                <a:ext uri="{FF2B5EF4-FFF2-40B4-BE49-F238E27FC236}">
                  <a16:creationId xmlns:a16="http://schemas.microsoft.com/office/drawing/2014/main" id="{D78F58EA-5525-8D43-8295-FEA52ECF6BFA}"/>
                </a:ext>
              </a:extLst>
            </p:cNvPr>
            <p:cNvSpPr>
              <a:spLocks noChangeAspect="1"/>
            </p:cNvSpPr>
            <p:nvPr/>
          </p:nvSpPr>
          <p:spPr bwMode="gray">
            <a:xfrm>
              <a:off x="3392092" y="1841122"/>
              <a:ext cx="646508" cy="646508"/>
            </a:xfrm>
            <a:prstGeom prst="rect">
              <a:avLst/>
            </a:prstGeom>
            <a:solidFill>
              <a:srgbClr val="E55A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pPr>
              <a:endParaRPr lang="en-US" sz="1000" dirty="0">
                <a:solidFill>
                  <a:schemeClr val="tx1"/>
                </a:solidFill>
                <a:latin typeface="Arial" pitchFamily="34" charset="0"/>
                <a:cs typeface="Arial" pitchFamily="34" charset="0"/>
              </a:endParaRPr>
            </a:p>
          </p:txBody>
        </p:sp>
        <p:sp>
          <p:nvSpPr>
            <p:cNvPr id="10" name="Freeform 67">
              <a:extLst>
                <a:ext uri="{FF2B5EF4-FFF2-40B4-BE49-F238E27FC236}">
                  <a16:creationId xmlns:a16="http://schemas.microsoft.com/office/drawing/2014/main" id="{D01A6292-2776-4945-B828-483D79DC4908}"/>
                </a:ext>
              </a:extLst>
            </p:cNvPr>
            <p:cNvSpPr>
              <a:spLocks noChangeAspect="1"/>
            </p:cNvSpPr>
            <p:nvPr/>
          </p:nvSpPr>
          <p:spPr bwMode="auto">
            <a:xfrm>
              <a:off x="3546638" y="1970424"/>
              <a:ext cx="337415" cy="387905"/>
            </a:xfrm>
            <a:custGeom>
              <a:avLst/>
              <a:gdLst>
                <a:gd name="T0" fmla="*/ 573 w 1624"/>
                <a:gd name="T1" fmla="*/ 1257 h 1867"/>
                <a:gd name="T2" fmla="*/ 662 w 1624"/>
                <a:gd name="T3" fmla="*/ 1288 h 1867"/>
                <a:gd name="T4" fmla="*/ 938 w 1624"/>
                <a:gd name="T5" fmla="*/ 1051 h 1867"/>
                <a:gd name="T6" fmla="*/ 1106 w 1624"/>
                <a:gd name="T7" fmla="*/ 731 h 1867"/>
                <a:gd name="T8" fmla="*/ 1059 w 1624"/>
                <a:gd name="T9" fmla="*/ 645 h 1867"/>
                <a:gd name="T10" fmla="*/ 1001 w 1624"/>
                <a:gd name="T11" fmla="*/ 613 h 1867"/>
                <a:gd name="T12" fmla="*/ 924 w 1624"/>
                <a:gd name="T13" fmla="*/ 432 h 1867"/>
                <a:gd name="T14" fmla="*/ 1114 w 1624"/>
                <a:gd name="T15" fmla="*/ 81 h 1867"/>
                <a:gd name="T16" fmla="*/ 1287 w 1624"/>
                <a:gd name="T17" fmla="*/ 35 h 1867"/>
                <a:gd name="T18" fmla="*/ 1350 w 1624"/>
                <a:gd name="T19" fmla="*/ 69 h 1867"/>
                <a:gd name="T20" fmla="*/ 1527 w 1624"/>
                <a:gd name="T21" fmla="*/ 235 h 1867"/>
                <a:gd name="T22" fmla="*/ 1583 w 1624"/>
                <a:gd name="T23" fmla="*/ 555 h 1867"/>
                <a:gd name="T24" fmla="*/ 1172 w 1624"/>
                <a:gd name="T25" fmla="*/ 1253 h 1867"/>
                <a:gd name="T26" fmla="*/ 586 w 1624"/>
                <a:gd name="T27" fmla="*/ 1803 h 1867"/>
                <a:gd name="T28" fmla="*/ 269 w 1624"/>
                <a:gd name="T29" fmla="*/ 1807 h 1867"/>
                <a:gd name="T30" fmla="*/ 33 w 1624"/>
                <a:gd name="T31" fmla="*/ 1602 h 1867"/>
                <a:gd name="T32" fmla="*/ 2 w 1624"/>
                <a:gd name="T33" fmla="*/ 1508 h 1867"/>
                <a:gd name="T34" fmla="*/ 45 w 1624"/>
                <a:gd name="T35" fmla="*/ 1421 h 1867"/>
                <a:gd name="T36" fmla="*/ 346 w 1624"/>
                <a:gd name="T37" fmla="*/ 1158 h 1867"/>
                <a:gd name="T38" fmla="*/ 448 w 1624"/>
                <a:gd name="T39" fmla="*/ 1145 h 1867"/>
                <a:gd name="T40" fmla="*/ 573 w 1624"/>
                <a:gd name="T41" fmla="*/ 1257 h 18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24" h="1867">
                  <a:moveTo>
                    <a:pt x="573" y="1257"/>
                  </a:moveTo>
                  <a:cubicBezTo>
                    <a:pt x="592" y="1282"/>
                    <a:pt x="630" y="1303"/>
                    <a:pt x="662" y="1288"/>
                  </a:cubicBezTo>
                  <a:cubicBezTo>
                    <a:pt x="753" y="1245"/>
                    <a:pt x="854" y="1156"/>
                    <a:pt x="938" y="1051"/>
                  </a:cubicBezTo>
                  <a:cubicBezTo>
                    <a:pt x="1020" y="948"/>
                    <a:pt x="1084" y="831"/>
                    <a:pt x="1106" y="731"/>
                  </a:cubicBezTo>
                  <a:cubicBezTo>
                    <a:pt x="1113" y="696"/>
                    <a:pt x="1089" y="661"/>
                    <a:pt x="1059" y="645"/>
                  </a:cubicBezTo>
                  <a:cubicBezTo>
                    <a:pt x="1001" y="613"/>
                    <a:pt x="1001" y="613"/>
                    <a:pt x="1001" y="613"/>
                  </a:cubicBezTo>
                  <a:cubicBezTo>
                    <a:pt x="942" y="580"/>
                    <a:pt x="888" y="499"/>
                    <a:pt x="924" y="432"/>
                  </a:cubicBezTo>
                  <a:cubicBezTo>
                    <a:pt x="1114" y="81"/>
                    <a:pt x="1114" y="81"/>
                    <a:pt x="1114" y="81"/>
                  </a:cubicBezTo>
                  <a:cubicBezTo>
                    <a:pt x="1150" y="16"/>
                    <a:pt x="1224" y="0"/>
                    <a:pt x="1287" y="35"/>
                  </a:cubicBezTo>
                  <a:cubicBezTo>
                    <a:pt x="1350" y="69"/>
                    <a:pt x="1350" y="69"/>
                    <a:pt x="1350" y="69"/>
                  </a:cubicBezTo>
                  <a:cubicBezTo>
                    <a:pt x="1415" y="105"/>
                    <a:pt x="1479" y="165"/>
                    <a:pt x="1527" y="235"/>
                  </a:cubicBezTo>
                  <a:cubicBezTo>
                    <a:pt x="1593" y="332"/>
                    <a:pt x="1624" y="442"/>
                    <a:pt x="1583" y="555"/>
                  </a:cubicBezTo>
                  <a:cubicBezTo>
                    <a:pt x="1500" y="781"/>
                    <a:pt x="1351" y="1030"/>
                    <a:pt x="1172" y="1253"/>
                  </a:cubicBezTo>
                  <a:cubicBezTo>
                    <a:pt x="994" y="1477"/>
                    <a:pt x="786" y="1676"/>
                    <a:pt x="586" y="1803"/>
                  </a:cubicBezTo>
                  <a:cubicBezTo>
                    <a:pt x="486" y="1867"/>
                    <a:pt x="375" y="1856"/>
                    <a:pt x="269" y="1807"/>
                  </a:cubicBezTo>
                  <a:cubicBezTo>
                    <a:pt x="157" y="1755"/>
                    <a:pt x="106" y="1695"/>
                    <a:pt x="33" y="1602"/>
                  </a:cubicBezTo>
                  <a:cubicBezTo>
                    <a:pt x="11" y="1573"/>
                    <a:pt x="0" y="1540"/>
                    <a:pt x="2" y="1508"/>
                  </a:cubicBezTo>
                  <a:cubicBezTo>
                    <a:pt x="4" y="1475"/>
                    <a:pt x="18" y="1444"/>
                    <a:pt x="45" y="1421"/>
                  </a:cubicBezTo>
                  <a:cubicBezTo>
                    <a:pt x="70" y="1399"/>
                    <a:pt x="346" y="1158"/>
                    <a:pt x="346" y="1158"/>
                  </a:cubicBezTo>
                  <a:cubicBezTo>
                    <a:pt x="376" y="1134"/>
                    <a:pt x="413" y="1133"/>
                    <a:pt x="448" y="1145"/>
                  </a:cubicBezTo>
                  <a:cubicBezTo>
                    <a:pt x="510" y="1166"/>
                    <a:pt x="536" y="1210"/>
                    <a:pt x="573" y="1257"/>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351" dirty="0"/>
            </a:p>
          </p:txBody>
        </p:sp>
      </p:grpSp>
      <p:grpSp>
        <p:nvGrpSpPr>
          <p:cNvPr id="11" name="Group 3">
            <a:extLst>
              <a:ext uri="{FF2B5EF4-FFF2-40B4-BE49-F238E27FC236}">
                <a16:creationId xmlns:a16="http://schemas.microsoft.com/office/drawing/2014/main" id="{DED6A25A-5DE2-1441-8BA2-C68D3B4F9209}"/>
              </a:ext>
            </a:extLst>
          </p:cNvPr>
          <p:cNvGrpSpPr>
            <a:grpSpLocks noChangeAspect="1"/>
          </p:cNvGrpSpPr>
          <p:nvPr>
            <p:custDataLst>
              <p:tags r:id="rId1"/>
            </p:custDataLst>
          </p:nvPr>
        </p:nvGrpSpPr>
        <p:grpSpPr>
          <a:xfrm>
            <a:off x="3770066" y="3153207"/>
            <a:ext cx="171180" cy="171180"/>
            <a:chOff x="328396" y="5313940"/>
            <a:chExt cx="720000" cy="720000"/>
          </a:xfrm>
        </p:grpSpPr>
        <p:sp>
          <p:nvSpPr>
            <p:cNvPr id="12" name="Rectangle 4">
              <a:extLst>
                <a:ext uri="{FF2B5EF4-FFF2-40B4-BE49-F238E27FC236}">
                  <a16:creationId xmlns:a16="http://schemas.microsoft.com/office/drawing/2014/main" id="{5F49E67F-D4FA-9D48-96BC-59AE946ECD15}"/>
                </a:ext>
              </a:extLst>
            </p:cNvPr>
            <p:cNvSpPr/>
            <p:nvPr/>
          </p:nvSpPr>
          <p:spPr bwMode="gray">
            <a:xfrm>
              <a:off x="328396" y="5313940"/>
              <a:ext cx="720000" cy="720000"/>
            </a:xfrm>
            <a:prstGeom prst="rect">
              <a:avLst/>
            </a:prstGeom>
            <a:solidFill>
              <a:srgbClr val="E55A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pPr>
              <a:endParaRPr lang="en-US" sz="1000" dirty="0">
                <a:solidFill>
                  <a:schemeClr val="tx1"/>
                </a:solidFill>
                <a:latin typeface="Arial" pitchFamily="34" charset="0"/>
                <a:cs typeface="Arial" pitchFamily="34" charset="0"/>
              </a:endParaRPr>
            </a:p>
          </p:txBody>
        </p:sp>
        <p:sp>
          <p:nvSpPr>
            <p:cNvPr id="13" name="Freeform 76">
              <a:extLst>
                <a:ext uri="{FF2B5EF4-FFF2-40B4-BE49-F238E27FC236}">
                  <a16:creationId xmlns:a16="http://schemas.microsoft.com/office/drawing/2014/main" id="{187E70E6-AF3F-2549-908E-DF4BA61040AA}"/>
                </a:ext>
              </a:extLst>
            </p:cNvPr>
            <p:cNvSpPr>
              <a:spLocks noChangeAspect="1" noEditPoints="1"/>
            </p:cNvSpPr>
            <p:nvPr/>
          </p:nvSpPr>
          <p:spPr bwMode="auto">
            <a:xfrm>
              <a:off x="456202" y="5509222"/>
              <a:ext cx="504000" cy="329436"/>
            </a:xfrm>
            <a:custGeom>
              <a:avLst/>
              <a:gdLst>
                <a:gd name="T0" fmla="*/ 0 w 2080"/>
                <a:gd name="T1" fmla="*/ 65 h 1360"/>
                <a:gd name="T2" fmla="*/ 0 w 2080"/>
                <a:gd name="T3" fmla="*/ 0 h 1360"/>
                <a:gd name="T4" fmla="*/ 2080 w 2080"/>
                <a:gd name="T5" fmla="*/ 0 h 1360"/>
                <a:gd name="T6" fmla="*/ 2080 w 2080"/>
                <a:gd name="T7" fmla="*/ 65 h 1360"/>
                <a:gd name="T8" fmla="*/ 1089 w 2080"/>
                <a:gd name="T9" fmla="*/ 862 h 1360"/>
                <a:gd name="T10" fmla="*/ 991 w 2080"/>
                <a:gd name="T11" fmla="*/ 862 h 1360"/>
                <a:gd name="T12" fmla="*/ 0 w 2080"/>
                <a:gd name="T13" fmla="*/ 65 h 1360"/>
                <a:gd name="T14" fmla="*/ 1139 w 2080"/>
                <a:gd name="T15" fmla="*/ 924 h 1360"/>
                <a:gd name="T16" fmla="*/ 1282 w 2080"/>
                <a:gd name="T17" fmla="*/ 810 h 1360"/>
                <a:gd name="T18" fmla="*/ 2076 w 2080"/>
                <a:gd name="T19" fmla="*/ 1360 h 1360"/>
                <a:gd name="T20" fmla="*/ 4 w 2080"/>
                <a:gd name="T21" fmla="*/ 1360 h 1360"/>
                <a:gd name="T22" fmla="*/ 798 w 2080"/>
                <a:gd name="T23" fmla="*/ 810 h 1360"/>
                <a:gd name="T24" fmla="*/ 941 w 2080"/>
                <a:gd name="T25" fmla="*/ 924 h 1360"/>
                <a:gd name="T26" fmla="*/ 1139 w 2080"/>
                <a:gd name="T27" fmla="*/ 924 h 1360"/>
                <a:gd name="T28" fmla="*/ 2 w 2080"/>
                <a:gd name="T29" fmla="*/ 137 h 1360"/>
                <a:gd name="T30" fmla="*/ 42 w 2080"/>
                <a:gd name="T31" fmla="*/ 201 h 1360"/>
                <a:gd name="T32" fmla="*/ 734 w 2080"/>
                <a:gd name="T33" fmla="*/ 758 h 1360"/>
                <a:gd name="T34" fmla="*/ 0 w 2080"/>
                <a:gd name="T35" fmla="*/ 1266 h 1360"/>
                <a:gd name="T36" fmla="*/ 0 w 2080"/>
                <a:gd name="T37" fmla="*/ 135 h 1360"/>
                <a:gd name="T38" fmla="*/ 2 w 2080"/>
                <a:gd name="T39" fmla="*/ 137 h 1360"/>
                <a:gd name="T40" fmla="*/ 2080 w 2080"/>
                <a:gd name="T41" fmla="*/ 136 h 1360"/>
                <a:gd name="T42" fmla="*/ 2080 w 2080"/>
                <a:gd name="T43" fmla="*/ 1265 h 1360"/>
                <a:gd name="T44" fmla="*/ 1346 w 2080"/>
                <a:gd name="T45" fmla="*/ 758 h 1360"/>
                <a:gd name="T46" fmla="*/ 2038 w 2080"/>
                <a:gd name="T47" fmla="*/ 201 h 1360"/>
                <a:gd name="T48" fmla="*/ 2080 w 2080"/>
                <a:gd name="T49" fmla="*/ 136 h 1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080" h="1360">
                  <a:moveTo>
                    <a:pt x="0" y="65"/>
                  </a:moveTo>
                  <a:cubicBezTo>
                    <a:pt x="0" y="0"/>
                    <a:pt x="0" y="0"/>
                    <a:pt x="0" y="0"/>
                  </a:cubicBezTo>
                  <a:cubicBezTo>
                    <a:pt x="2080" y="0"/>
                    <a:pt x="2080" y="0"/>
                    <a:pt x="2080" y="0"/>
                  </a:cubicBezTo>
                  <a:cubicBezTo>
                    <a:pt x="2080" y="65"/>
                    <a:pt x="2080" y="65"/>
                    <a:pt x="2080" y="65"/>
                  </a:cubicBezTo>
                  <a:cubicBezTo>
                    <a:pt x="1089" y="862"/>
                    <a:pt x="1089" y="862"/>
                    <a:pt x="1089" y="862"/>
                  </a:cubicBezTo>
                  <a:cubicBezTo>
                    <a:pt x="1060" y="886"/>
                    <a:pt x="1020" y="886"/>
                    <a:pt x="991" y="862"/>
                  </a:cubicBezTo>
                  <a:lnTo>
                    <a:pt x="0" y="65"/>
                  </a:lnTo>
                  <a:close/>
                  <a:moveTo>
                    <a:pt x="1139" y="924"/>
                  </a:moveTo>
                  <a:cubicBezTo>
                    <a:pt x="1282" y="810"/>
                    <a:pt x="1282" y="810"/>
                    <a:pt x="1282" y="810"/>
                  </a:cubicBezTo>
                  <a:cubicBezTo>
                    <a:pt x="2076" y="1360"/>
                    <a:pt x="2076" y="1360"/>
                    <a:pt x="2076" y="1360"/>
                  </a:cubicBezTo>
                  <a:cubicBezTo>
                    <a:pt x="4" y="1360"/>
                    <a:pt x="4" y="1360"/>
                    <a:pt x="4" y="1360"/>
                  </a:cubicBezTo>
                  <a:cubicBezTo>
                    <a:pt x="798" y="810"/>
                    <a:pt x="798" y="810"/>
                    <a:pt x="798" y="810"/>
                  </a:cubicBezTo>
                  <a:cubicBezTo>
                    <a:pt x="941" y="924"/>
                    <a:pt x="941" y="924"/>
                    <a:pt x="941" y="924"/>
                  </a:cubicBezTo>
                  <a:cubicBezTo>
                    <a:pt x="1000" y="972"/>
                    <a:pt x="1080" y="972"/>
                    <a:pt x="1139" y="924"/>
                  </a:cubicBezTo>
                  <a:close/>
                  <a:moveTo>
                    <a:pt x="2" y="137"/>
                  </a:moveTo>
                  <a:cubicBezTo>
                    <a:pt x="8" y="163"/>
                    <a:pt x="22" y="185"/>
                    <a:pt x="42" y="201"/>
                  </a:cubicBezTo>
                  <a:cubicBezTo>
                    <a:pt x="734" y="758"/>
                    <a:pt x="734" y="758"/>
                    <a:pt x="734" y="758"/>
                  </a:cubicBezTo>
                  <a:cubicBezTo>
                    <a:pt x="0" y="1266"/>
                    <a:pt x="0" y="1266"/>
                    <a:pt x="0" y="1266"/>
                  </a:cubicBezTo>
                  <a:cubicBezTo>
                    <a:pt x="0" y="135"/>
                    <a:pt x="0" y="135"/>
                    <a:pt x="0" y="135"/>
                  </a:cubicBezTo>
                  <a:lnTo>
                    <a:pt x="2" y="137"/>
                  </a:lnTo>
                  <a:close/>
                  <a:moveTo>
                    <a:pt x="2080" y="136"/>
                  </a:moveTo>
                  <a:cubicBezTo>
                    <a:pt x="2080" y="1265"/>
                    <a:pt x="2080" y="1265"/>
                    <a:pt x="2080" y="1265"/>
                  </a:cubicBezTo>
                  <a:cubicBezTo>
                    <a:pt x="1346" y="758"/>
                    <a:pt x="1346" y="758"/>
                    <a:pt x="1346" y="758"/>
                  </a:cubicBezTo>
                  <a:cubicBezTo>
                    <a:pt x="2038" y="201"/>
                    <a:pt x="2038" y="201"/>
                    <a:pt x="2038" y="201"/>
                  </a:cubicBezTo>
                  <a:cubicBezTo>
                    <a:pt x="2060" y="182"/>
                    <a:pt x="2072" y="162"/>
                    <a:pt x="2080" y="13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000"/>
            </a:p>
          </p:txBody>
        </p:sp>
      </p:grpSp>
      <p:grpSp>
        <p:nvGrpSpPr>
          <p:cNvPr id="14" name="Gruppieren 2">
            <a:extLst>
              <a:ext uri="{FF2B5EF4-FFF2-40B4-BE49-F238E27FC236}">
                <a16:creationId xmlns:a16="http://schemas.microsoft.com/office/drawing/2014/main" id="{BE697CE9-EBDE-6B4A-BE70-582D92A8A831}"/>
              </a:ext>
            </a:extLst>
          </p:cNvPr>
          <p:cNvGrpSpPr/>
          <p:nvPr/>
        </p:nvGrpSpPr>
        <p:grpSpPr>
          <a:xfrm>
            <a:off x="8701917" y="2868319"/>
            <a:ext cx="171180" cy="171180"/>
            <a:chOff x="3392092" y="1841122"/>
            <a:chExt cx="646508" cy="646508"/>
          </a:xfrm>
        </p:grpSpPr>
        <p:sp>
          <p:nvSpPr>
            <p:cNvPr id="15" name="Rechteck 14">
              <a:extLst>
                <a:ext uri="{FF2B5EF4-FFF2-40B4-BE49-F238E27FC236}">
                  <a16:creationId xmlns:a16="http://schemas.microsoft.com/office/drawing/2014/main" id="{E142A731-19B7-C34D-9534-9E05108F895F}"/>
                </a:ext>
              </a:extLst>
            </p:cNvPr>
            <p:cNvSpPr>
              <a:spLocks noChangeAspect="1"/>
            </p:cNvSpPr>
            <p:nvPr/>
          </p:nvSpPr>
          <p:spPr bwMode="gray">
            <a:xfrm>
              <a:off x="3392092" y="1841122"/>
              <a:ext cx="646508" cy="646508"/>
            </a:xfrm>
            <a:prstGeom prst="rect">
              <a:avLst/>
            </a:prstGeom>
            <a:solidFill>
              <a:srgbClr val="E55A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pPr>
              <a:endParaRPr lang="en-US" sz="1000" dirty="0">
                <a:solidFill>
                  <a:schemeClr val="tx1"/>
                </a:solidFill>
                <a:latin typeface="Arial" pitchFamily="34" charset="0"/>
                <a:cs typeface="Arial" pitchFamily="34" charset="0"/>
              </a:endParaRPr>
            </a:p>
          </p:txBody>
        </p:sp>
        <p:sp>
          <p:nvSpPr>
            <p:cNvPr id="16" name="Freeform 15">
              <a:extLst>
                <a:ext uri="{FF2B5EF4-FFF2-40B4-BE49-F238E27FC236}">
                  <a16:creationId xmlns:a16="http://schemas.microsoft.com/office/drawing/2014/main" id="{F97E84AE-4AD9-4B44-9AA1-F797FC373809}"/>
                </a:ext>
              </a:extLst>
            </p:cNvPr>
            <p:cNvSpPr>
              <a:spLocks noChangeAspect="1"/>
            </p:cNvSpPr>
            <p:nvPr/>
          </p:nvSpPr>
          <p:spPr bwMode="auto">
            <a:xfrm>
              <a:off x="3546638" y="1970424"/>
              <a:ext cx="337415" cy="387905"/>
            </a:xfrm>
            <a:custGeom>
              <a:avLst/>
              <a:gdLst>
                <a:gd name="T0" fmla="*/ 573 w 1624"/>
                <a:gd name="T1" fmla="*/ 1257 h 1867"/>
                <a:gd name="T2" fmla="*/ 662 w 1624"/>
                <a:gd name="T3" fmla="*/ 1288 h 1867"/>
                <a:gd name="T4" fmla="*/ 938 w 1624"/>
                <a:gd name="T5" fmla="*/ 1051 h 1867"/>
                <a:gd name="T6" fmla="*/ 1106 w 1624"/>
                <a:gd name="T7" fmla="*/ 731 h 1867"/>
                <a:gd name="T8" fmla="*/ 1059 w 1624"/>
                <a:gd name="T9" fmla="*/ 645 h 1867"/>
                <a:gd name="T10" fmla="*/ 1001 w 1624"/>
                <a:gd name="T11" fmla="*/ 613 h 1867"/>
                <a:gd name="T12" fmla="*/ 924 w 1624"/>
                <a:gd name="T13" fmla="*/ 432 h 1867"/>
                <a:gd name="T14" fmla="*/ 1114 w 1624"/>
                <a:gd name="T15" fmla="*/ 81 h 1867"/>
                <a:gd name="T16" fmla="*/ 1287 w 1624"/>
                <a:gd name="T17" fmla="*/ 35 h 1867"/>
                <a:gd name="T18" fmla="*/ 1350 w 1624"/>
                <a:gd name="T19" fmla="*/ 69 h 1867"/>
                <a:gd name="T20" fmla="*/ 1527 w 1624"/>
                <a:gd name="T21" fmla="*/ 235 h 1867"/>
                <a:gd name="T22" fmla="*/ 1583 w 1624"/>
                <a:gd name="T23" fmla="*/ 555 h 1867"/>
                <a:gd name="T24" fmla="*/ 1172 w 1624"/>
                <a:gd name="T25" fmla="*/ 1253 h 1867"/>
                <a:gd name="T26" fmla="*/ 586 w 1624"/>
                <a:gd name="T27" fmla="*/ 1803 h 1867"/>
                <a:gd name="T28" fmla="*/ 269 w 1624"/>
                <a:gd name="T29" fmla="*/ 1807 h 1867"/>
                <a:gd name="T30" fmla="*/ 33 w 1624"/>
                <a:gd name="T31" fmla="*/ 1602 h 1867"/>
                <a:gd name="T32" fmla="*/ 2 w 1624"/>
                <a:gd name="T33" fmla="*/ 1508 h 1867"/>
                <a:gd name="T34" fmla="*/ 45 w 1624"/>
                <a:gd name="T35" fmla="*/ 1421 h 1867"/>
                <a:gd name="T36" fmla="*/ 346 w 1624"/>
                <a:gd name="T37" fmla="*/ 1158 h 1867"/>
                <a:gd name="T38" fmla="*/ 448 w 1624"/>
                <a:gd name="T39" fmla="*/ 1145 h 1867"/>
                <a:gd name="T40" fmla="*/ 573 w 1624"/>
                <a:gd name="T41" fmla="*/ 1257 h 18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24" h="1867">
                  <a:moveTo>
                    <a:pt x="573" y="1257"/>
                  </a:moveTo>
                  <a:cubicBezTo>
                    <a:pt x="592" y="1282"/>
                    <a:pt x="630" y="1303"/>
                    <a:pt x="662" y="1288"/>
                  </a:cubicBezTo>
                  <a:cubicBezTo>
                    <a:pt x="753" y="1245"/>
                    <a:pt x="854" y="1156"/>
                    <a:pt x="938" y="1051"/>
                  </a:cubicBezTo>
                  <a:cubicBezTo>
                    <a:pt x="1020" y="948"/>
                    <a:pt x="1084" y="831"/>
                    <a:pt x="1106" y="731"/>
                  </a:cubicBezTo>
                  <a:cubicBezTo>
                    <a:pt x="1113" y="696"/>
                    <a:pt x="1089" y="661"/>
                    <a:pt x="1059" y="645"/>
                  </a:cubicBezTo>
                  <a:cubicBezTo>
                    <a:pt x="1001" y="613"/>
                    <a:pt x="1001" y="613"/>
                    <a:pt x="1001" y="613"/>
                  </a:cubicBezTo>
                  <a:cubicBezTo>
                    <a:pt x="942" y="580"/>
                    <a:pt x="888" y="499"/>
                    <a:pt x="924" y="432"/>
                  </a:cubicBezTo>
                  <a:cubicBezTo>
                    <a:pt x="1114" y="81"/>
                    <a:pt x="1114" y="81"/>
                    <a:pt x="1114" y="81"/>
                  </a:cubicBezTo>
                  <a:cubicBezTo>
                    <a:pt x="1150" y="16"/>
                    <a:pt x="1224" y="0"/>
                    <a:pt x="1287" y="35"/>
                  </a:cubicBezTo>
                  <a:cubicBezTo>
                    <a:pt x="1350" y="69"/>
                    <a:pt x="1350" y="69"/>
                    <a:pt x="1350" y="69"/>
                  </a:cubicBezTo>
                  <a:cubicBezTo>
                    <a:pt x="1415" y="105"/>
                    <a:pt x="1479" y="165"/>
                    <a:pt x="1527" y="235"/>
                  </a:cubicBezTo>
                  <a:cubicBezTo>
                    <a:pt x="1593" y="332"/>
                    <a:pt x="1624" y="442"/>
                    <a:pt x="1583" y="555"/>
                  </a:cubicBezTo>
                  <a:cubicBezTo>
                    <a:pt x="1500" y="781"/>
                    <a:pt x="1351" y="1030"/>
                    <a:pt x="1172" y="1253"/>
                  </a:cubicBezTo>
                  <a:cubicBezTo>
                    <a:pt x="994" y="1477"/>
                    <a:pt x="786" y="1676"/>
                    <a:pt x="586" y="1803"/>
                  </a:cubicBezTo>
                  <a:cubicBezTo>
                    <a:pt x="486" y="1867"/>
                    <a:pt x="375" y="1856"/>
                    <a:pt x="269" y="1807"/>
                  </a:cubicBezTo>
                  <a:cubicBezTo>
                    <a:pt x="157" y="1755"/>
                    <a:pt x="106" y="1695"/>
                    <a:pt x="33" y="1602"/>
                  </a:cubicBezTo>
                  <a:cubicBezTo>
                    <a:pt x="11" y="1573"/>
                    <a:pt x="0" y="1540"/>
                    <a:pt x="2" y="1508"/>
                  </a:cubicBezTo>
                  <a:cubicBezTo>
                    <a:pt x="4" y="1475"/>
                    <a:pt x="18" y="1444"/>
                    <a:pt x="45" y="1421"/>
                  </a:cubicBezTo>
                  <a:cubicBezTo>
                    <a:pt x="70" y="1399"/>
                    <a:pt x="346" y="1158"/>
                    <a:pt x="346" y="1158"/>
                  </a:cubicBezTo>
                  <a:cubicBezTo>
                    <a:pt x="376" y="1134"/>
                    <a:pt x="413" y="1133"/>
                    <a:pt x="448" y="1145"/>
                  </a:cubicBezTo>
                  <a:cubicBezTo>
                    <a:pt x="510" y="1166"/>
                    <a:pt x="536" y="1210"/>
                    <a:pt x="573" y="1257"/>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351" dirty="0"/>
            </a:p>
          </p:txBody>
        </p:sp>
      </p:grpSp>
      <p:grpSp>
        <p:nvGrpSpPr>
          <p:cNvPr id="17" name="Group 3">
            <a:extLst>
              <a:ext uri="{FF2B5EF4-FFF2-40B4-BE49-F238E27FC236}">
                <a16:creationId xmlns:a16="http://schemas.microsoft.com/office/drawing/2014/main" id="{7104BADD-8CD1-6F4A-B894-869C3BDB3EEB}"/>
              </a:ext>
            </a:extLst>
          </p:cNvPr>
          <p:cNvGrpSpPr>
            <a:grpSpLocks noChangeAspect="1"/>
          </p:cNvGrpSpPr>
          <p:nvPr>
            <p:custDataLst>
              <p:tags r:id="rId2"/>
            </p:custDataLst>
          </p:nvPr>
        </p:nvGrpSpPr>
        <p:grpSpPr>
          <a:xfrm>
            <a:off x="8701918" y="3153207"/>
            <a:ext cx="171180" cy="171180"/>
            <a:chOff x="328396" y="5313940"/>
            <a:chExt cx="720000" cy="720000"/>
          </a:xfrm>
        </p:grpSpPr>
        <p:sp>
          <p:nvSpPr>
            <p:cNvPr id="18" name="Rectangle 4">
              <a:extLst>
                <a:ext uri="{FF2B5EF4-FFF2-40B4-BE49-F238E27FC236}">
                  <a16:creationId xmlns:a16="http://schemas.microsoft.com/office/drawing/2014/main" id="{74BE3D5F-1445-6E40-8B49-72E15568383B}"/>
                </a:ext>
              </a:extLst>
            </p:cNvPr>
            <p:cNvSpPr/>
            <p:nvPr/>
          </p:nvSpPr>
          <p:spPr bwMode="gray">
            <a:xfrm>
              <a:off x="328396" y="5313940"/>
              <a:ext cx="720000" cy="720000"/>
            </a:xfrm>
            <a:prstGeom prst="rect">
              <a:avLst/>
            </a:prstGeom>
            <a:solidFill>
              <a:srgbClr val="E55A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pPr>
              <a:endParaRPr lang="en-US" sz="1000" dirty="0">
                <a:solidFill>
                  <a:schemeClr val="tx1"/>
                </a:solidFill>
                <a:latin typeface="Arial" pitchFamily="34" charset="0"/>
                <a:cs typeface="Arial" pitchFamily="34" charset="0"/>
              </a:endParaRPr>
            </a:p>
          </p:txBody>
        </p:sp>
        <p:sp>
          <p:nvSpPr>
            <p:cNvPr id="19" name="Freeform 76">
              <a:extLst>
                <a:ext uri="{FF2B5EF4-FFF2-40B4-BE49-F238E27FC236}">
                  <a16:creationId xmlns:a16="http://schemas.microsoft.com/office/drawing/2014/main" id="{55DB3C95-7D0C-D141-901E-96D692794D2B}"/>
                </a:ext>
              </a:extLst>
            </p:cNvPr>
            <p:cNvSpPr>
              <a:spLocks noChangeAspect="1" noEditPoints="1"/>
            </p:cNvSpPr>
            <p:nvPr/>
          </p:nvSpPr>
          <p:spPr bwMode="auto">
            <a:xfrm>
              <a:off x="456202" y="5509222"/>
              <a:ext cx="504000" cy="329436"/>
            </a:xfrm>
            <a:custGeom>
              <a:avLst/>
              <a:gdLst>
                <a:gd name="T0" fmla="*/ 0 w 2080"/>
                <a:gd name="T1" fmla="*/ 65 h 1360"/>
                <a:gd name="T2" fmla="*/ 0 w 2080"/>
                <a:gd name="T3" fmla="*/ 0 h 1360"/>
                <a:gd name="T4" fmla="*/ 2080 w 2080"/>
                <a:gd name="T5" fmla="*/ 0 h 1360"/>
                <a:gd name="T6" fmla="*/ 2080 w 2080"/>
                <a:gd name="T7" fmla="*/ 65 h 1360"/>
                <a:gd name="T8" fmla="*/ 1089 w 2080"/>
                <a:gd name="T9" fmla="*/ 862 h 1360"/>
                <a:gd name="T10" fmla="*/ 991 w 2080"/>
                <a:gd name="T11" fmla="*/ 862 h 1360"/>
                <a:gd name="T12" fmla="*/ 0 w 2080"/>
                <a:gd name="T13" fmla="*/ 65 h 1360"/>
                <a:gd name="T14" fmla="*/ 1139 w 2080"/>
                <a:gd name="T15" fmla="*/ 924 h 1360"/>
                <a:gd name="T16" fmla="*/ 1282 w 2080"/>
                <a:gd name="T17" fmla="*/ 810 h 1360"/>
                <a:gd name="T18" fmla="*/ 2076 w 2080"/>
                <a:gd name="T19" fmla="*/ 1360 h 1360"/>
                <a:gd name="T20" fmla="*/ 4 w 2080"/>
                <a:gd name="T21" fmla="*/ 1360 h 1360"/>
                <a:gd name="T22" fmla="*/ 798 w 2080"/>
                <a:gd name="T23" fmla="*/ 810 h 1360"/>
                <a:gd name="T24" fmla="*/ 941 w 2080"/>
                <a:gd name="T25" fmla="*/ 924 h 1360"/>
                <a:gd name="T26" fmla="*/ 1139 w 2080"/>
                <a:gd name="T27" fmla="*/ 924 h 1360"/>
                <a:gd name="T28" fmla="*/ 2 w 2080"/>
                <a:gd name="T29" fmla="*/ 137 h 1360"/>
                <a:gd name="T30" fmla="*/ 42 w 2080"/>
                <a:gd name="T31" fmla="*/ 201 h 1360"/>
                <a:gd name="T32" fmla="*/ 734 w 2080"/>
                <a:gd name="T33" fmla="*/ 758 h 1360"/>
                <a:gd name="T34" fmla="*/ 0 w 2080"/>
                <a:gd name="T35" fmla="*/ 1266 h 1360"/>
                <a:gd name="T36" fmla="*/ 0 w 2080"/>
                <a:gd name="T37" fmla="*/ 135 h 1360"/>
                <a:gd name="T38" fmla="*/ 2 w 2080"/>
                <a:gd name="T39" fmla="*/ 137 h 1360"/>
                <a:gd name="T40" fmla="*/ 2080 w 2080"/>
                <a:gd name="T41" fmla="*/ 136 h 1360"/>
                <a:gd name="T42" fmla="*/ 2080 w 2080"/>
                <a:gd name="T43" fmla="*/ 1265 h 1360"/>
                <a:gd name="T44" fmla="*/ 1346 w 2080"/>
                <a:gd name="T45" fmla="*/ 758 h 1360"/>
                <a:gd name="T46" fmla="*/ 2038 w 2080"/>
                <a:gd name="T47" fmla="*/ 201 h 1360"/>
                <a:gd name="T48" fmla="*/ 2080 w 2080"/>
                <a:gd name="T49" fmla="*/ 136 h 1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080" h="1360">
                  <a:moveTo>
                    <a:pt x="0" y="65"/>
                  </a:moveTo>
                  <a:cubicBezTo>
                    <a:pt x="0" y="0"/>
                    <a:pt x="0" y="0"/>
                    <a:pt x="0" y="0"/>
                  </a:cubicBezTo>
                  <a:cubicBezTo>
                    <a:pt x="2080" y="0"/>
                    <a:pt x="2080" y="0"/>
                    <a:pt x="2080" y="0"/>
                  </a:cubicBezTo>
                  <a:cubicBezTo>
                    <a:pt x="2080" y="65"/>
                    <a:pt x="2080" y="65"/>
                    <a:pt x="2080" y="65"/>
                  </a:cubicBezTo>
                  <a:cubicBezTo>
                    <a:pt x="1089" y="862"/>
                    <a:pt x="1089" y="862"/>
                    <a:pt x="1089" y="862"/>
                  </a:cubicBezTo>
                  <a:cubicBezTo>
                    <a:pt x="1060" y="886"/>
                    <a:pt x="1020" y="886"/>
                    <a:pt x="991" y="862"/>
                  </a:cubicBezTo>
                  <a:lnTo>
                    <a:pt x="0" y="65"/>
                  </a:lnTo>
                  <a:close/>
                  <a:moveTo>
                    <a:pt x="1139" y="924"/>
                  </a:moveTo>
                  <a:cubicBezTo>
                    <a:pt x="1282" y="810"/>
                    <a:pt x="1282" y="810"/>
                    <a:pt x="1282" y="810"/>
                  </a:cubicBezTo>
                  <a:cubicBezTo>
                    <a:pt x="2076" y="1360"/>
                    <a:pt x="2076" y="1360"/>
                    <a:pt x="2076" y="1360"/>
                  </a:cubicBezTo>
                  <a:cubicBezTo>
                    <a:pt x="4" y="1360"/>
                    <a:pt x="4" y="1360"/>
                    <a:pt x="4" y="1360"/>
                  </a:cubicBezTo>
                  <a:cubicBezTo>
                    <a:pt x="798" y="810"/>
                    <a:pt x="798" y="810"/>
                    <a:pt x="798" y="810"/>
                  </a:cubicBezTo>
                  <a:cubicBezTo>
                    <a:pt x="941" y="924"/>
                    <a:pt x="941" y="924"/>
                    <a:pt x="941" y="924"/>
                  </a:cubicBezTo>
                  <a:cubicBezTo>
                    <a:pt x="1000" y="972"/>
                    <a:pt x="1080" y="972"/>
                    <a:pt x="1139" y="924"/>
                  </a:cubicBezTo>
                  <a:close/>
                  <a:moveTo>
                    <a:pt x="2" y="137"/>
                  </a:moveTo>
                  <a:cubicBezTo>
                    <a:pt x="8" y="163"/>
                    <a:pt x="22" y="185"/>
                    <a:pt x="42" y="201"/>
                  </a:cubicBezTo>
                  <a:cubicBezTo>
                    <a:pt x="734" y="758"/>
                    <a:pt x="734" y="758"/>
                    <a:pt x="734" y="758"/>
                  </a:cubicBezTo>
                  <a:cubicBezTo>
                    <a:pt x="0" y="1266"/>
                    <a:pt x="0" y="1266"/>
                    <a:pt x="0" y="1266"/>
                  </a:cubicBezTo>
                  <a:cubicBezTo>
                    <a:pt x="0" y="135"/>
                    <a:pt x="0" y="135"/>
                    <a:pt x="0" y="135"/>
                  </a:cubicBezTo>
                  <a:lnTo>
                    <a:pt x="2" y="137"/>
                  </a:lnTo>
                  <a:close/>
                  <a:moveTo>
                    <a:pt x="2080" y="136"/>
                  </a:moveTo>
                  <a:cubicBezTo>
                    <a:pt x="2080" y="1265"/>
                    <a:pt x="2080" y="1265"/>
                    <a:pt x="2080" y="1265"/>
                  </a:cubicBezTo>
                  <a:cubicBezTo>
                    <a:pt x="1346" y="758"/>
                    <a:pt x="1346" y="758"/>
                    <a:pt x="1346" y="758"/>
                  </a:cubicBezTo>
                  <a:cubicBezTo>
                    <a:pt x="2038" y="201"/>
                    <a:pt x="2038" y="201"/>
                    <a:pt x="2038" y="201"/>
                  </a:cubicBezTo>
                  <a:cubicBezTo>
                    <a:pt x="2060" y="182"/>
                    <a:pt x="2072" y="162"/>
                    <a:pt x="2080" y="13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000"/>
            </a:p>
          </p:txBody>
        </p:sp>
      </p:grpSp>
      <p:cxnSp>
        <p:nvCxnSpPr>
          <p:cNvPr id="20" name="Straight Connector 19"/>
          <p:cNvCxnSpPr/>
          <p:nvPr/>
        </p:nvCxnSpPr>
        <p:spPr>
          <a:xfrm>
            <a:off x="2371725" y="3478213"/>
            <a:ext cx="3888000" cy="0"/>
          </a:xfrm>
          <a:prstGeom prst="line">
            <a:avLst/>
          </a:prstGeom>
          <a:ln w="6350">
            <a:solidFill>
              <a:schemeClr val="tx2"/>
            </a:solidFill>
            <a:prstDash val="dash"/>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p:nvCxnSpPr>
        <p:spPr>
          <a:xfrm>
            <a:off x="7287766" y="3478213"/>
            <a:ext cx="3888000" cy="0"/>
          </a:xfrm>
          <a:prstGeom prst="line">
            <a:avLst/>
          </a:prstGeom>
          <a:ln w="6350">
            <a:solidFill>
              <a:schemeClr val="tx2"/>
            </a:solidFill>
            <a:prstDash val="dash"/>
          </a:ln>
        </p:spPr>
        <p:style>
          <a:lnRef idx="1">
            <a:schemeClr val="accent1"/>
          </a:lnRef>
          <a:fillRef idx="0">
            <a:schemeClr val="accent1"/>
          </a:fillRef>
          <a:effectRef idx="0">
            <a:schemeClr val="accent1"/>
          </a:effectRef>
          <a:fontRef idx="minor">
            <a:schemeClr val="tx1"/>
          </a:fontRef>
        </p:style>
      </p:cxnSp>
      <p:sp>
        <p:nvSpPr>
          <p:cNvPr id="4" name="Picture Placeholder 3"/>
          <p:cNvSpPr>
            <a:spLocks noGrp="1"/>
          </p:cNvSpPr>
          <p:nvPr>
            <p:ph type="pic" sz="quarter" idx="17" hasCustomPrompt="1"/>
          </p:nvPr>
        </p:nvSpPr>
        <p:spPr>
          <a:xfrm>
            <a:off x="2355914" y="1808984"/>
            <a:ext cx="1188677" cy="1547840"/>
          </a:xfrm>
          <a:solidFill>
            <a:srgbClr val="D9DADB"/>
          </a:solidFill>
        </p:spPr>
        <p:txBody>
          <a:bodyPr/>
          <a:lstStyle>
            <a:lvl1pPr marL="0" indent="0">
              <a:buNone/>
              <a:defRPr sz="1400"/>
            </a:lvl1pPr>
          </a:lstStyle>
          <a:p>
            <a:r>
              <a:rPr lang="en-US" dirty="0"/>
              <a:t>Insert picture</a:t>
            </a:r>
          </a:p>
        </p:txBody>
      </p:sp>
      <p:sp>
        <p:nvSpPr>
          <p:cNvPr id="25" name="Picture Placeholder 3"/>
          <p:cNvSpPr>
            <a:spLocks noGrp="1"/>
          </p:cNvSpPr>
          <p:nvPr>
            <p:ph type="pic" sz="quarter" idx="18" hasCustomPrompt="1"/>
          </p:nvPr>
        </p:nvSpPr>
        <p:spPr>
          <a:xfrm>
            <a:off x="7287766" y="1808984"/>
            <a:ext cx="1188677" cy="1547840"/>
          </a:xfrm>
          <a:solidFill>
            <a:srgbClr val="D9DADB"/>
          </a:solidFill>
        </p:spPr>
        <p:txBody>
          <a:bodyPr/>
          <a:lstStyle>
            <a:lvl1pPr marL="0" indent="0">
              <a:buNone/>
              <a:defRPr sz="1400"/>
            </a:lvl1pPr>
          </a:lstStyle>
          <a:p>
            <a:r>
              <a:rPr lang="en-US" dirty="0"/>
              <a:t>Insert picture</a:t>
            </a:r>
          </a:p>
        </p:txBody>
      </p:sp>
      <p:sp>
        <p:nvSpPr>
          <p:cNvPr id="6" name="Text Placeholder 5"/>
          <p:cNvSpPr>
            <a:spLocks noGrp="1"/>
          </p:cNvSpPr>
          <p:nvPr>
            <p:ph type="body" sz="quarter" idx="19" hasCustomPrompt="1"/>
          </p:nvPr>
        </p:nvSpPr>
        <p:spPr>
          <a:xfrm>
            <a:off x="3770065" y="1808521"/>
            <a:ext cx="2463190" cy="192360"/>
          </a:xfrm>
        </p:spPr>
        <p:txBody>
          <a:bodyPr lIns="0" tIns="0" rIns="0" bIns="0" anchor="ctr" anchorCtr="0"/>
          <a:lstStyle>
            <a:lvl1pPr marL="0" indent="0" algn="l">
              <a:lnSpc>
                <a:spcPct val="100000"/>
              </a:lnSpc>
              <a:buNone/>
              <a:defRPr sz="100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Country</a:t>
            </a:r>
          </a:p>
        </p:txBody>
      </p:sp>
      <p:sp>
        <p:nvSpPr>
          <p:cNvPr id="26" name="Text Placeholder 5"/>
          <p:cNvSpPr>
            <a:spLocks noGrp="1"/>
          </p:cNvSpPr>
          <p:nvPr>
            <p:ph type="body" sz="quarter" idx="20" hasCustomPrompt="1"/>
          </p:nvPr>
        </p:nvSpPr>
        <p:spPr>
          <a:xfrm>
            <a:off x="3770065" y="2020337"/>
            <a:ext cx="2463190" cy="266182"/>
          </a:xfrm>
        </p:spPr>
        <p:txBody>
          <a:bodyPr lIns="0" tIns="0" rIns="0" bIns="0" anchor="b" anchorCtr="0"/>
          <a:lstStyle>
            <a:lvl1pPr marL="0" indent="0" algn="l">
              <a:lnSpc>
                <a:spcPct val="100000"/>
              </a:lnSpc>
              <a:buNone/>
              <a:defRPr sz="1400" b="1" baseline="0">
                <a:solidFill>
                  <a:schemeClr val="tx2"/>
                </a:solidFill>
              </a:defRPr>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Name, Surname</a:t>
            </a:r>
          </a:p>
        </p:txBody>
      </p:sp>
      <p:sp>
        <p:nvSpPr>
          <p:cNvPr id="27" name="Text Placeholder 5"/>
          <p:cNvSpPr>
            <a:spLocks noGrp="1"/>
          </p:cNvSpPr>
          <p:nvPr>
            <p:ph type="body" sz="quarter" idx="21" hasCustomPrompt="1"/>
          </p:nvPr>
        </p:nvSpPr>
        <p:spPr>
          <a:xfrm>
            <a:off x="3770065" y="2316912"/>
            <a:ext cx="2463190"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Job Position</a:t>
            </a:r>
          </a:p>
        </p:txBody>
      </p:sp>
      <p:sp>
        <p:nvSpPr>
          <p:cNvPr id="28" name="Text Placeholder 5"/>
          <p:cNvSpPr>
            <a:spLocks noGrp="1"/>
          </p:cNvSpPr>
          <p:nvPr>
            <p:ph type="body" sz="quarter" idx="22" hasCustomPrompt="1"/>
          </p:nvPr>
        </p:nvSpPr>
        <p:spPr>
          <a:xfrm>
            <a:off x="4014948" y="2845588"/>
            <a:ext cx="2218307"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Phone number</a:t>
            </a:r>
          </a:p>
        </p:txBody>
      </p:sp>
      <p:sp>
        <p:nvSpPr>
          <p:cNvPr id="29" name="Text Placeholder 5"/>
          <p:cNvSpPr>
            <a:spLocks noGrp="1"/>
          </p:cNvSpPr>
          <p:nvPr>
            <p:ph type="body" sz="quarter" idx="23" hasCustomPrompt="1"/>
          </p:nvPr>
        </p:nvSpPr>
        <p:spPr>
          <a:xfrm>
            <a:off x="4014948" y="3128395"/>
            <a:ext cx="2218307"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Email address</a:t>
            </a:r>
          </a:p>
        </p:txBody>
      </p:sp>
      <p:sp>
        <p:nvSpPr>
          <p:cNvPr id="30" name="Text Placeholder 5"/>
          <p:cNvSpPr>
            <a:spLocks noGrp="1"/>
          </p:cNvSpPr>
          <p:nvPr>
            <p:ph type="body" sz="quarter" idx="24" hasCustomPrompt="1"/>
          </p:nvPr>
        </p:nvSpPr>
        <p:spPr>
          <a:xfrm>
            <a:off x="8701917" y="1808521"/>
            <a:ext cx="2463190" cy="192360"/>
          </a:xfrm>
        </p:spPr>
        <p:txBody>
          <a:bodyPr lIns="0" tIns="0" rIns="0" bIns="0" anchor="ctr" anchorCtr="0"/>
          <a:lstStyle>
            <a:lvl1pPr marL="0" indent="0" algn="l">
              <a:lnSpc>
                <a:spcPct val="100000"/>
              </a:lnSpc>
              <a:buNone/>
              <a:defRPr sz="100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Country</a:t>
            </a:r>
          </a:p>
        </p:txBody>
      </p:sp>
      <p:sp>
        <p:nvSpPr>
          <p:cNvPr id="31" name="Text Placeholder 5"/>
          <p:cNvSpPr>
            <a:spLocks noGrp="1"/>
          </p:cNvSpPr>
          <p:nvPr>
            <p:ph type="body" sz="quarter" idx="25" hasCustomPrompt="1"/>
          </p:nvPr>
        </p:nvSpPr>
        <p:spPr>
          <a:xfrm>
            <a:off x="8701917" y="2020337"/>
            <a:ext cx="2463190" cy="266182"/>
          </a:xfrm>
        </p:spPr>
        <p:txBody>
          <a:bodyPr lIns="0" tIns="0" rIns="0" bIns="0" anchor="b" anchorCtr="0"/>
          <a:lstStyle>
            <a:lvl1pPr marL="0" indent="0" algn="l">
              <a:lnSpc>
                <a:spcPct val="100000"/>
              </a:lnSpc>
              <a:buNone/>
              <a:defRPr sz="1400" b="1" baseline="0">
                <a:solidFill>
                  <a:schemeClr val="tx2"/>
                </a:solidFill>
              </a:defRPr>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Name, Surname</a:t>
            </a:r>
          </a:p>
        </p:txBody>
      </p:sp>
      <p:sp>
        <p:nvSpPr>
          <p:cNvPr id="32" name="Text Placeholder 5"/>
          <p:cNvSpPr>
            <a:spLocks noGrp="1"/>
          </p:cNvSpPr>
          <p:nvPr>
            <p:ph type="body" sz="quarter" idx="26" hasCustomPrompt="1"/>
          </p:nvPr>
        </p:nvSpPr>
        <p:spPr>
          <a:xfrm>
            <a:off x="8701917" y="2316912"/>
            <a:ext cx="2463190"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Job Position</a:t>
            </a:r>
          </a:p>
        </p:txBody>
      </p:sp>
      <p:sp>
        <p:nvSpPr>
          <p:cNvPr id="33" name="Text Placeholder 5"/>
          <p:cNvSpPr>
            <a:spLocks noGrp="1"/>
          </p:cNvSpPr>
          <p:nvPr>
            <p:ph type="body" sz="quarter" idx="27" hasCustomPrompt="1"/>
          </p:nvPr>
        </p:nvSpPr>
        <p:spPr>
          <a:xfrm>
            <a:off x="8946800" y="2845588"/>
            <a:ext cx="2218307"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Phone number</a:t>
            </a:r>
          </a:p>
        </p:txBody>
      </p:sp>
      <p:sp>
        <p:nvSpPr>
          <p:cNvPr id="34" name="Text Placeholder 5"/>
          <p:cNvSpPr>
            <a:spLocks noGrp="1"/>
          </p:cNvSpPr>
          <p:nvPr>
            <p:ph type="body" sz="quarter" idx="28" hasCustomPrompt="1"/>
          </p:nvPr>
        </p:nvSpPr>
        <p:spPr>
          <a:xfrm>
            <a:off x="8946800" y="3128395"/>
            <a:ext cx="2218307"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Email address</a:t>
            </a:r>
          </a:p>
        </p:txBody>
      </p:sp>
      <p:grpSp>
        <p:nvGrpSpPr>
          <p:cNvPr id="35" name="Gruppieren 2">
            <a:extLst>
              <a:ext uri="{FF2B5EF4-FFF2-40B4-BE49-F238E27FC236}">
                <a16:creationId xmlns:a16="http://schemas.microsoft.com/office/drawing/2014/main" id="{BE697CE9-EBDE-6B4A-BE70-582D92A8A831}"/>
              </a:ext>
            </a:extLst>
          </p:cNvPr>
          <p:cNvGrpSpPr/>
          <p:nvPr/>
        </p:nvGrpSpPr>
        <p:grpSpPr>
          <a:xfrm>
            <a:off x="3770065" y="5045939"/>
            <a:ext cx="171180" cy="171180"/>
            <a:chOff x="3392092" y="1841122"/>
            <a:chExt cx="646508" cy="646508"/>
          </a:xfrm>
        </p:grpSpPr>
        <p:sp>
          <p:nvSpPr>
            <p:cNvPr id="36" name="Rechteck 14">
              <a:extLst>
                <a:ext uri="{FF2B5EF4-FFF2-40B4-BE49-F238E27FC236}">
                  <a16:creationId xmlns:a16="http://schemas.microsoft.com/office/drawing/2014/main" id="{E142A731-19B7-C34D-9534-9E05108F895F}"/>
                </a:ext>
              </a:extLst>
            </p:cNvPr>
            <p:cNvSpPr>
              <a:spLocks noChangeAspect="1"/>
            </p:cNvSpPr>
            <p:nvPr/>
          </p:nvSpPr>
          <p:spPr bwMode="gray">
            <a:xfrm>
              <a:off x="3392092" y="1841122"/>
              <a:ext cx="646508" cy="646508"/>
            </a:xfrm>
            <a:prstGeom prst="rect">
              <a:avLst/>
            </a:prstGeom>
            <a:solidFill>
              <a:srgbClr val="E55A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pPr>
              <a:endParaRPr lang="en-US" sz="1000" dirty="0">
                <a:solidFill>
                  <a:schemeClr val="tx1"/>
                </a:solidFill>
                <a:latin typeface="Arial" pitchFamily="34" charset="0"/>
                <a:cs typeface="Arial" pitchFamily="34" charset="0"/>
              </a:endParaRPr>
            </a:p>
          </p:txBody>
        </p:sp>
        <p:sp>
          <p:nvSpPr>
            <p:cNvPr id="37" name="Freeform 36">
              <a:extLst>
                <a:ext uri="{FF2B5EF4-FFF2-40B4-BE49-F238E27FC236}">
                  <a16:creationId xmlns:a16="http://schemas.microsoft.com/office/drawing/2014/main" id="{F97E84AE-4AD9-4B44-9AA1-F797FC373809}"/>
                </a:ext>
              </a:extLst>
            </p:cNvPr>
            <p:cNvSpPr>
              <a:spLocks noChangeAspect="1"/>
            </p:cNvSpPr>
            <p:nvPr/>
          </p:nvSpPr>
          <p:spPr bwMode="auto">
            <a:xfrm>
              <a:off x="3546638" y="1970424"/>
              <a:ext cx="337415" cy="387905"/>
            </a:xfrm>
            <a:custGeom>
              <a:avLst/>
              <a:gdLst>
                <a:gd name="T0" fmla="*/ 573 w 1624"/>
                <a:gd name="T1" fmla="*/ 1257 h 1867"/>
                <a:gd name="T2" fmla="*/ 662 w 1624"/>
                <a:gd name="T3" fmla="*/ 1288 h 1867"/>
                <a:gd name="T4" fmla="*/ 938 w 1624"/>
                <a:gd name="T5" fmla="*/ 1051 h 1867"/>
                <a:gd name="T6" fmla="*/ 1106 w 1624"/>
                <a:gd name="T7" fmla="*/ 731 h 1867"/>
                <a:gd name="T8" fmla="*/ 1059 w 1624"/>
                <a:gd name="T9" fmla="*/ 645 h 1867"/>
                <a:gd name="T10" fmla="*/ 1001 w 1624"/>
                <a:gd name="T11" fmla="*/ 613 h 1867"/>
                <a:gd name="T12" fmla="*/ 924 w 1624"/>
                <a:gd name="T13" fmla="*/ 432 h 1867"/>
                <a:gd name="T14" fmla="*/ 1114 w 1624"/>
                <a:gd name="T15" fmla="*/ 81 h 1867"/>
                <a:gd name="T16" fmla="*/ 1287 w 1624"/>
                <a:gd name="T17" fmla="*/ 35 h 1867"/>
                <a:gd name="T18" fmla="*/ 1350 w 1624"/>
                <a:gd name="T19" fmla="*/ 69 h 1867"/>
                <a:gd name="T20" fmla="*/ 1527 w 1624"/>
                <a:gd name="T21" fmla="*/ 235 h 1867"/>
                <a:gd name="T22" fmla="*/ 1583 w 1624"/>
                <a:gd name="T23" fmla="*/ 555 h 1867"/>
                <a:gd name="T24" fmla="*/ 1172 w 1624"/>
                <a:gd name="T25" fmla="*/ 1253 h 1867"/>
                <a:gd name="T26" fmla="*/ 586 w 1624"/>
                <a:gd name="T27" fmla="*/ 1803 h 1867"/>
                <a:gd name="T28" fmla="*/ 269 w 1624"/>
                <a:gd name="T29" fmla="*/ 1807 h 1867"/>
                <a:gd name="T30" fmla="*/ 33 w 1624"/>
                <a:gd name="T31" fmla="*/ 1602 h 1867"/>
                <a:gd name="T32" fmla="*/ 2 w 1624"/>
                <a:gd name="T33" fmla="*/ 1508 h 1867"/>
                <a:gd name="T34" fmla="*/ 45 w 1624"/>
                <a:gd name="T35" fmla="*/ 1421 h 1867"/>
                <a:gd name="T36" fmla="*/ 346 w 1624"/>
                <a:gd name="T37" fmla="*/ 1158 h 1867"/>
                <a:gd name="T38" fmla="*/ 448 w 1624"/>
                <a:gd name="T39" fmla="*/ 1145 h 1867"/>
                <a:gd name="T40" fmla="*/ 573 w 1624"/>
                <a:gd name="T41" fmla="*/ 1257 h 18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24" h="1867">
                  <a:moveTo>
                    <a:pt x="573" y="1257"/>
                  </a:moveTo>
                  <a:cubicBezTo>
                    <a:pt x="592" y="1282"/>
                    <a:pt x="630" y="1303"/>
                    <a:pt x="662" y="1288"/>
                  </a:cubicBezTo>
                  <a:cubicBezTo>
                    <a:pt x="753" y="1245"/>
                    <a:pt x="854" y="1156"/>
                    <a:pt x="938" y="1051"/>
                  </a:cubicBezTo>
                  <a:cubicBezTo>
                    <a:pt x="1020" y="948"/>
                    <a:pt x="1084" y="831"/>
                    <a:pt x="1106" y="731"/>
                  </a:cubicBezTo>
                  <a:cubicBezTo>
                    <a:pt x="1113" y="696"/>
                    <a:pt x="1089" y="661"/>
                    <a:pt x="1059" y="645"/>
                  </a:cubicBezTo>
                  <a:cubicBezTo>
                    <a:pt x="1001" y="613"/>
                    <a:pt x="1001" y="613"/>
                    <a:pt x="1001" y="613"/>
                  </a:cubicBezTo>
                  <a:cubicBezTo>
                    <a:pt x="942" y="580"/>
                    <a:pt x="888" y="499"/>
                    <a:pt x="924" y="432"/>
                  </a:cubicBezTo>
                  <a:cubicBezTo>
                    <a:pt x="1114" y="81"/>
                    <a:pt x="1114" y="81"/>
                    <a:pt x="1114" y="81"/>
                  </a:cubicBezTo>
                  <a:cubicBezTo>
                    <a:pt x="1150" y="16"/>
                    <a:pt x="1224" y="0"/>
                    <a:pt x="1287" y="35"/>
                  </a:cubicBezTo>
                  <a:cubicBezTo>
                    <a:pt x="1350" y="69"/>
                    <a:pt x="1350" y="69"/>
                    <a:pt x="1350" y="69"/>
                  </a:cubicBezTo>
                  <a:cubicBezTo>
                    <a:pt x="1415" y="105"/>
                    <a:pt x="1479" y="165"/>
                    <a:pt x="1527" y="235"/>
                  </a:cubicBezTo>
                  <a:cubicBezTo>
                    <a:pt x="1593" y="332"/>
                    <a:pt x="1624" y="442"/>
                    <a:pt x="1583" y="555"/>
                  </a:cubicBezTo>
                  <a:cubicBezTo>
                    <a:pt x="1500" y="781"/>
                    <a:pt x="1351" y="1030"/>
                    <a:pt x="1172" y="1253"/>
                  </a:cubicBezTo>
                  <a:cubicBezTo>
                    <a:pt x="994" y="1477"/>
                    <a:pt x="786" y="1676"/>
                    <a:pt x="586" y="1803"/>
                  </a:cubicBezTo>
                  <a:cubicBezTo>
                    <a:pt x="486" y="1867"/>
                    <a:pt x="375" y="1856"/>
                    <a:pt x="269" y="1807"/>
                  </a:cubicBezTo>
                  <a:cubicBezTo>
                    <a:pt x="157" y="1755"/>
                    <a:pt x="106" y="1695"/>
                    <a:pt x="33" y="1602"/>
                  </a:cubicBezTo>
                  <a:cubicBezTo>
                    <a:pt x="11" y="1573"/>
                    <a:pt x="0" y="1540"/>
                    <a:pt x="2" y="1508"/>
                  </a:cubicBezTo>
                  <a:cubicBezTo>
                    <a:pt x="4" y="1475"/>
                    <a:pt x="18" y="1444"/>
                    <a:pt x="45" y="1421"/>
                  </a:cubicBezTo>
                  <a:cubicBezTo>
                    <a:pt x="70" y="1399"/>
                    <a:pt x="346" y="1158"/>
                    <a:pt x="346" y="1158"/>
                  </a:cubicBezTo>
                  <a:cubicBezTo>
                    <a:pt x="376" y="1134"/>
                    <a:pt x="413" y="1133"/>
                    <a:pt x="448" y="1145"/>
                  </a:cubicBezTo>
                  <a:cubicBezTo>
                    <a:pt x="510" y="1166"/>
                    <a:pt x="536" y="1210"/>
                    <a:pt x="573" y="1257"/>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351" dirty="0"/>
            </a:p>
          </p:txBody>
        </p:sp>
      </p:grpSp>
      <p:grpSp>
        <p:nvGrpSpPr>
          <p:cNvPr id="38" name="Group 3">
            <a:extLst>
              <a:ext uri="{FF2B5EF4-FFF2-40B4-BE49-F238E27FC236}">
                <a16:creationId xmlns:a16="http://schemas.microsoft.com/office/drawing/2014/main" id="{7104BADD-8CD1-6F4A-B894-869C3BDB3EEB}"/>
              </a:ext>
            </a:extLst>
          </p:cNvPr>
          <p:cNvGrpSpPr>
            <a:grpSpLocks noChangeAspect="1"/>
          </p:cNvGrpSpPr>
          <p:nvPr>
            <p:custDataLst>
              <p:tags r:id="rId3"/>
            </p:custDataLst>
          </p:nvPr>
        </p:nvGrpSpPr>
        <p:grpSpPr>
          <a:xfrm>
            <a:off x="3770066" y="5330827"/>
            <a:ext cx="171180" cy="171180"/>
            <a:chOff x="328396" y="5313940"/>
            <a:chExt cx="720000" cy="720000"/>
          </a:xfrm>
        </p:grpSpPr>
        <p:sp>
          <p:nvSpPr>
            <p:cNvPr id="39" name="Rectangle 4">
              <a:extLst>
                <a:ext uri="{FF2B5EF4-FFF2-40B4-BE49-F238E27FC236}">
                  <a16:creationId xmlns:a16="http://schemas.microsoft.com/office/drawing/2014/main" id="{74BE3D5F-1445-6E40-8B49-72E15568383B}"/>
                </a:ext>
              </a:extLst>
            </p:cNvPr>
            <p:cNvSpPr/>
            <p:nvPr/>
          </p:nvSpPr>
          <p:spPr bwMode="gray">
            <a:xfrm>
              <a:off x="328396" y="5313940"/>
              <a:ext cx="720000" cy="720000"/>
            </a:xfrm>
            <a:prstGeom prst="rect">
              <a:avLst/>
            </a:prstGeom>
            <a:solidFill>
              <a:srgbClr val="E55A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pPr>
              <a:endParaRPr lang="en-US" sz="1000" dirty="0">
                <a:solidFill>
                  <a:schemeClr val="tx1"/>
                </a:solidFill>
                <a:latin typeface="Arial" pitchFamily="34" charset="0"/>
                <a:cs typeface="Arial" pitchFamily="34" charset="0"/>
              </a:endParaRPr>
            </a:p>
          </p:txBody>
        </p:sp>
        <p:sp>
          <p:nvSpPr>
            <p:cNvPr id="40" name="Freeform 76">
              <a:extLst>
                <a:ext uri="{FF2B5EF4-FFF2-40B4-BE49-F238E27FC236}">
                  <a16:creationId xmlns:a16="http://schemas.microsoft.com/office/drawing/2014/main" id="{55DB3C95-7D0C-D141-901E-96D692794D2B}"/>
                </a:ext>
              </a:extLst>
            </p:cNvPr>
            <p:cNvSpPr>
              <a:spLocks noChangeAspect="1" noEditPoints="1"/>
            </p:cNvSpPr>
            <p:nvPr/>
          </p:nvSpPr>
          <p:spPr bwMode="auto">
            <a:xfrm>
              <a:off x="456202" y="5509222"/>
              <a:ext cx="504000" cy="329436"/>
            </a:xfrm>
            <a:custGeom>
              <a:avLst/>
              <a:gdLst>
                <a:gd name="T0" fmla="*/ 0 w 2080"/>
                <a:gd name="T1" fmla="*/ 65 h 1360"/>
                <a:gd name="T2" fmla="*/ 0 w 2080"/>
                <a:gd name="T3" fmla="*/ 0 h 1360"/>
                <a:gd name="T4" fmla="*/ 2080 w 2080"/>
                <a:gd name="T5" fmla="*/ 0 h 1360"/>
                <a:gd name="T6" fmla="*/ 2080 w 2080"/>
                <a:gd name="T7" fmla="*/ 65 h 1360"/>
                <a:gd name="T8" fmla="*/ 1089 w 2080"/>
                <a:gd name="T9" fmla="*/ 862 h 1360"/>
                <a:gd name="T10" fmla="*/ 991 w 2080"/>
                <a:gd name="T11" fmla="*/ 862 h 1360"/>
                <a:gd name="T12" fmla="*/ 0 w 2080"/>
                <a:gd name="T13" fmla="*/ 65 h 1360"/>
                <a:gd name="T14" fmla="*/ 1139 w 2080"/>
                <a:gd name="T15" fmla="*/ 924 h 1360"/>
                <a:gd name="T16" fmla="*/ 1282 w 2080"/>
                <a:gd name="T17" fmla="*/ 810 h 1360"/>
                <a:gd name="T18" fmla="*/ 2076 w 2080"/>
                <a:gd name="T19" fmla="*/ 1360 h 1360"/>
                <a:gd name="T20" fmla="*/ 4 w 2080"/>
                <a:gd name="T21" fmla="*/ 1360 h 1360"/>
                <a:gd name="T22" fmla="*/ 798 w 2080"/>
                <a:gd name="T23" fmla="*/ 810 h 1360"/>
                <a:gd name="T24" fmla="*/ 941 w 2080"/>
                <a:gd name="T25" fmla="*/ 924 h 1360"/>
                <a:gd name="T26" fmla="*/ 1139 w 2080"/>
                <a:gd name="T27" fmla="*/ 924 h 1360"/>
                <a:gd name="T28" fmla="*/ 2 w 2080"/>
                <a:gd name="T29" fmla="*/ 137 h 1360"/>
                <a:gd name="T30" fmla="*/ 42 w 2080"/>
                <a:gd name="T31" fmla="*/ 201 h 1360"/>
                <a:gd name="T32" fmla="*/ 734 w 2080"/>
                <a:gd name="T33" fmla="*/ 758 h 1360"/>
                <a:gd name="T34" fmla="*/ 0 w 2080"/>
                <a:gd name="T35" fmla="*/ 1266 h 1360"/>
                <a:gd name="T36" fmla="*/ 0 w 2080"/>
                <a:gd name="T37" fmla="*/ 135 h 1360"/>
                <a:gd name="T38" fmla="*/ 2 w 2080"/>
                <a:gd name="T39" fmla="*/ 137 h 1360"/>
                <a:gd name="T40" fmla="*/ 2080 w 2080"/>
                <a:gd name="T41" fmla="*/ 136 h 1360"/>
                <a:gd name="T42" fmla="*/ 2080 w 2080"/>
                <a:gd name="T43" fmla="*/ 1265 h 1360"/>
                <a:gd name="T44" fmla="*/ 1346 w 2080"/>
                <a:gd name="T45" fmla="*/ 758 h 1360"/>
                <a:gd name="T46" fmla="*/ 2038 w 2080"/>
                <a:gd name="T47" fmla="*/ 201 h 1360"/>
                <a:gd name="T48" fmla="*/ 2080 w 2080"/>
                <a:gd name="T49" fmla="*/ 136 h 1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080" h="1360">
                  <a:moveTo>
                    <a:pt x="0" y="65"/>
                  </a:moveTo>
                  <a:cubicBezTo>
                    <a:pt x="0" y="0"/>
                    <a:pt x="0" y="0"/>
                    <a:pt x="0" y="0"/>
                  </a:cubicBezTo>
                  <a:cubicBezTo>
                    <a:pt x="2080" y="0"/>
                    <a:pt x="2080" y="0"/>
                    <a:pt x="2080" y="0"/>
                  </a:cubicBezTo>
                  <a:cubicBezTo>
                    <a:pt x="2080" y="65"/>
                    <a:pt x="2080" y="65"/>
                    <a:pt x="2080" y="65"/>
                  </a:cubicBezTo>
                  <a:cubicBezTo>
                    <a:pt x="1089" y="862"/>
                    <a:pt x="1089" y="862"/>
                    <a:pt x="1089" y="862"/>
                  </a:cubicBezTo>
                  <a:cubicBezTo>
                    <a:pt x="1060" y="886"/>
                    <a:pt x="1020" y="886"/>
                    <a:pt x="991" y="862"/>
                  </a:cubicBezTo>
                  <a:lnTo>
                    <a:pt x="0" y="65"/>
                  </a:lnTo>
                  <a:close/>
                  <a:moveTo>
                    <a:pt x="1139" y="924"/>
                  </a:moveTo>
                  <a:cubicBezTo>
                    <a:pt x="1282" y="810"/>
                    <a:pt x="1282" y="810"/>
                    <a:pt x="1282" y="810"/>
                  </a:cubicBezTo>
                  <a:cubicBezTo>
                    <a:pt x="2076" y="1360"/>
                    <a:pt x="2076" y="1360"/>
                    <a:pt x="2076" y="1360"/>
                  </a:cubicBezTo>
                  <a:cubicBezTo>
                    <a:pt x="4" y="1360"/>
                    <a:pt x="4" y="1360"/>
                    <a:pt x="4" y="1360"/>
                  </a:cubicBezTo>
                  <a:cubicBezTo>
                    <a:pt x="798" y="810"/>
                    <a:pt x="798" y="810"/>
                    <a:pt x="798" y="810"/>
                  </a:cubicBezTo>
                  <a:cubicBezTo>
                    <a:pt x="941" y="924"/>
                    <a:pt x="941" y="924"/>
                    <a:pt x="941" y="924"/>
                  </a:cubicBezTo>
                  <a:cubicBezTo>
                    <a:pt x="1000" y="972"/>
                    <a:pt x="1080" y="972"/>
                    <a:pt x="1139" y="924"/>
                  </a:cubicBezTo>
                  <a:close/>
                  <a:moveTo>
                    <a:pt x="2" y="137"/>
                  </a:moveTo>
                  <a:cubicBezTo>
                    <a:pt x="8" y="163"/>
                    <a:pt x="22" y="185"/>
                    <a:pt x="42" y="201"/>
                  </a:cubicBezTo>
                  <a:cubicBezTo>
                    <a:pt x="734" y="758"/>
                    <a:pt x="734" y="758"/>
                    <a:pt x="734" y="758"/>
                  </a:cubicBezTo>
                  <a:cubicBezTo>
                    <a:pt x="0" y="1266"/>
                    <a:pt x="0" y="1266"/>
                    <a:pt x="0" y="1266"/>
                  </a:cubicBezTo>
                  <a:cubicBezTo>
                    <a:pt x="0" y="135"/>
                    <a:pt x="0" y="135"/>
                    <a:pt x="0" y="135"/>
                  </a:cubicBezTo>
                  <a:lnTo>
                    <a:pt x="2" y="137"/>
                  </a:lnTo>
                  <a:close/>
                  <a:moveTo>
                    <a:pt x="2080" y="136"/>
                  </a:moveTo>
                  <a:cubicBezTo>
                    <a:pt x="2080" y="1265"/>
                    <a:pt x="2080" y="1265"/>
                    <a:pt x="2080" y="1265"/>
                  </a:cubicBezTo>
                  <a:cubicBezTo>
                    <a:pt x="1346" y="758"/>
                    <a:pt x="1346" y="758"/>
                    <a:pt x="1346" y="758"/>
                  </a:cubicBezTo>
                  <a:cubicBezTo>
                    <a:pt x="2038" y="201"/>
                    <a:pt x="2038" y="201"/>
                    <a:pt x="2038" y="201"/>
                  </a:cubicBezTo>
                  <a:cubicBezTo>
                    <a:pt x="2060" y="182"/>
                    <a:pt x="2072" y="162"/>
                    <a:pt x="2080" y="13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000"/>
            </a:p>
          </p:txBody>
        </p:sp>
      </p:grpSp>
      <p:cxnSp>
        <p:nvCxnSpPr>
          <p:cNvPr id="41" name="Straight Connector 40"/>
          <p:cNvCxnSpPr/>
          <p:nvPr/>
        </p:nvCxnSpPr>
        <p:spPr>
          <a:xfrm>
            <a:off x="2355914" y="5655833"/>
            <a:ext cx="3888000" cy="0"/>
          </a:xfrm>
          <a:prstGeom prst="line">
            <a:avLst/>
          </a:prstGeom>
          <a:ln w="6350">
            <a:solidFill>
              <a:schemeClr val="tx2"/>
            </a:solidFill>
            <a:prstDash val="dash"/>
          </a:ln>
        </p:spPr>
        <p:style>
          <a:lnRef idx="1">
            <a:schemeClr val="accent1"/>
          </a:lnRef>
          <a:fillRef idx="0">
            <a:schemeClr val="accent1"/>
          </a:fillRef>
          <a:effectRef idx="0">
            <a:schemeClr val="accent1"/>
          </a:effectRef>
          <a:fontRef idx="minor">
            <a:schemeClr val="tx1"/>
          </a:fontRef>
        </p:style>
      </p:cxnSp>
      <p:sp>
        <p:nvSpPr>
          <p:cNvPr id="42" name="Picture Placeholder 3"/>
          <p:cNvSpPr>
            <a:spLocks noGrp="1"/>
          </p:cNvSpPr>
          <p:nvPr>
            <p:ph type="pic" sz="quarter" idx="29" hasCustomPrompt="1"/>
          </p:nvPr>
        </p:nvSpPr>
        <p:spPr>
          <a:xfrm>
            <a:off x="2355914" y="3986604"/>
            <a:ext cx="1188677" cy="1547840"/>
          </a:xfrm>
          <a:solidFill>
            <a:srgbClr val="D9DADB"/>
          </a:solidFill>
        </p:spPr>
        <p:txBody>
          <a:bodyPr/>
          <a:lstStyle>
            <a:lvl1pPr marL="0" indent="0">
              <a:buNone/>
              <a:defRPr sz="1400"/>
            </a:lvl1pPr>
          </a:lstStyle>
          <a:p>
            <a:r>
              <a:rPr lang="en-US" dirty="0"/>
              <a:t>Insert picture</a:t>
            </a:r>
          </a:p>
        </p:txBody>
      </p:sp>
      <p:sp>
        <p:nvSpPr>
          <p:cNvPr id="43" name="Text Placeholder 5"/>
          <p:cNvSpPr>
            <a:spLocks noGrp="1"/>
          </p:cNvSpPr>
          <p:nvPr>
            <p:ph type="body" sz="quarter" idx="30" hasCustomPrompt="1"/>
          </p:nvPr>
        </p:nvSpPr>
        <p:spPr>
          <a:xfrm>
            <a:off x="3770065" y="3986141"/>
            <a:ext cx="2463190" cy="192360"/>
          </a:xfrm>
        </p:spPr>
        <p:txBody>
          <a:bodyPr lIns="0" tIns="0" rIns="0" bIns="0" anchor="ctr" anchorCtr="0"/>
          <a:lstStyle>
            <a:lvl1pPr marL="0" indent="0" algn="l">
              <a:lnSpc>
                <a:spcPct val="100000"/>
              </a:lnSpc>
              <a:buNone/>
              <a:defRPr sz="100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Country</a:t>
            </a:r>
          </a:p>
        </p:txBody>
      </p:sp>
      <p:sp>
        <p:nvSpPr>
          <p:cNvPr id="44" name="Text Placeholder 5"/>
          <p:cNvSpPr>
            <a:spLocks noGrp="1"/>
          </p:cNvSpPr>
          <p:nvPr>
            <p:ph type="body" sz="quarter" idx="31" hasCustomPrompt="1"/>
          </p:nvPr>
        </p:nvSpPr>
        <p:spPr>
          <a:xfrm>
            <a:off x="3770065" y="4197957"/>
            <a:ext cx="2463190" cy="266182"/>
          </a:xfrm>
        </p:spPr>
        <p:txBody>
          <a:bodyPr lIns="0" tIns="0" rIns="0" bIns="0" anchor="b" anchorCtr="0"/>
          <a:lstStyle>
            <a:lvl1pPr marL="0" indent="0" algn="l">
              <a:lnSpc>
                <a:spcPct val="100000"/>
              </a:lnSpc>
              <a:buNone/>
              <a:defRPr sz="1400" b="1" baseline="0">
                <a:solidFill>
                  <a:schemeClr val="tx2"/>
                </a:solidFill>
              </a:defRPr>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Name, Surname</a:t>
            </a:r>
          </a:p>
        </p:txBody>
      </p:sp>
      <p:sp>
        <p:nvSpPr>
          <p:cNvPr id="45" name="Text Placeholder 5"/>
          <p:cNvSpPr>
            <a:spLocks noGrp="1"/>
          </p:cNvSpPr>
          <p:nvPr>
            <p:ph type="body" sz="quarter" idx="32" hasCustomPrompt="1"/>
          </p:nvPr>
        </p:nvSpPr>
        <p:spPr>
          <a:xfrm>
            <a:off x="3770065" y="4494532"/>
            <a:ext cx="2463190"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Job Position</a:t>
            </a:r>
          </a:p>
        </p:txBody>
      </p:sp>
      <p:sp>
        <p:nvSpPr>
          <p:cNvPr id="46" name="Text Placeholder 5"/>
          <p:cNvSpPr>
            <a:spLocks noGrp="1"/>
          </p:cNvSpPr>
          <p:nvPr>
            <p:ph type="body" sz="quarter" idx="33" hasCustomPrompt="1"/>
          </p:nvPr>
        </p:nvSpPr>
        <p:spPr>
          <a:xfrm>
            <a:off x="4014948" y="5023208"/>
            <a:ext cx="2218307"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Phone number</a:t>
            </a:r>
          </a:p>
        </p:txBody>
      </p:sp>
      <p:sp>
        <p:nvSpPr>
          <p:cNvPr id="47" name="Text Placeholder 5"/>
          <p:cNvSpPr>
            <a:spLocks noGrp="1"/>
          </p:cNvSpPr>
          <p:nvPr>
            <p:ph type="body" sz="quarter" idx="34" hasCustomPrompt="1"/>
          </p:nvPr>
        </p:nvSpPr>
        <p:spPr>
          <a:xfrm>
            <a:off x="4014948" y="5306015"/>
            <a:ext cx="2218307"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Email address</a:t>
            </a:r>
          </a:p>
        </p:txBody>
      </p:sp>
      <p:grpSp>
        <p:nvGrpSpPr>
          <p:cNvPr id="48" name="Gruppieren 2">
            <a:extLst>
              <a:ext uri="{FF2B5EF4-FFF2-40B4-BE49-F238E27FC236}">
                <a16:creationId xmlns:a16="http://schemas.microsoft.com/office/drawing/2014/main" id="{BE697CE9-EBDE-6B4A-BE70-582D92A8A831}"/>
              </a:ext>
            </a:extLst>
          </p:cNvPr>
          <p:cNvGrpSpPr/>
          <p:nvPr/>
        </p:nvGrpSpPr>
        <p:grpSpPr>
          <a:xfrm>
            <a:off x="8701917" y="5043528"/>
            <a:ext cx="171180" cy="171180"/>
            <a:chOff x="3392092" y="1841122"/>
            <a:chExt cx="646508" cy="646508"/>
          </a:xfrm>
        </p:grpSpPr>
        <p:sp>
          <p:nvSpPr>
            <p:cNvPr id="49" name="Rechteck 14">
              <a:extLst>
                <a:ext uri="{FF2B5EF4-FFF2-40B4-BE49-F238E27FC236}">
                  <a16:creationId xmlns:a16="http://schemas.microsoft.com/office/drawing/2014/main" id="{E142A731-19B7-C34D-9534-9E05108F895F}"/>
                </a:ext>
              </a:extLst>
            </p:cNvPr>
            <p:cNvSpPr>
              <a:spLocks noChangeAspect="1"/>
            </p:cNvSpPr>
            <p:nvPr/>
          </p:nvSpPr>
          <p:spPr bwMode="gray">
            <a:xfrm>
              <a:off x="3392092" y="1841122"/>
              <a:ext cx="646508" cy="646508"/>
            </a:xfrm>
            <a:prstGeom prst="rect">
              <a:avLst/>
            </a:prstGeom>
            <a:solidFill>
              <a:srgbClr val="E55A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pPr>
              <a:endParaRPr lang="en-US" sz="1000" dirty="0">
                <a:solidFill>
                  <a:schemeClr val="tx1"/>
                </a:solidFill>
                <a:latin typeface="Arial" pitchFamily="34" charset="0"/>
                <a:cs typeface="Arial" pitchFamily="34" charset="0"/>
              </a:endParaRPr>
            </a:p>
          </p:txBody>
        </p:sp>
        <p:sp>
          <p:nvSpPr>
            <p:cNvPr id="50" name="Freeform 49">
              <a:extLst>
                <a:ext uri="{FF2B5EF4-FFF2-40B4-BE49-F238E27FC236}">
                  <a16:creationId xmlns:a16="http://schemas.microsoft.com/office/drawing/2014/main" id="{F97E84AE-4AD9-4B44-9AA1-F797FC373809}"/>
                </a:ext>
              </a:extLst>
            </p:cNvPr>
            <p:cNvSpPr>
              <a:spLocks noChangeAspect="1"/>
            </p:cNvSpPr>
            <p:nvPr/>
          </p:nvSpPr>
          <p:spPr bwMode="auto">
            <a:xfrm>
              <a:off x="3546638" y="1970424"/>
              <a:ext cx="337415" cy="387905"/>
            </a:xfrm>
            <a:custGeom>
              <a:avLst/>
              <a:gdLst>
                <a:gd name="T0" fmla="*/ 573 w 1624"/>
                <a:gd name="T1" fmla="*/ 1257 h 1867"/>
                <a:gd name="T2" fmla="*/ 662 w 1624"/>
                <a:gd name="T3" fmla="*/ 1288 h 1867"/>
                <a:gd name="T4" fmla="*/ 938 w 1624"/>
                <a:gd name="T5" fmla="*/ 1051 h 1867"/>
                <a:gd name="T6" fmla="*/ 1106 w 1624"/>
                <a:gd name="T7" fmla="*/ 731 h 1867"/>
                <a:gd name="T8" fmla="*/ 1059 w 1624"/>
                <a:gd name="T9" fmla="*/ 645 h 1867"/>
                <a:gd name="T10" fmla="*/ 1001 w 1624"/>
                <a:gd name="T11" fmla="*/ 613 h 1867"/>
                <a:gd name="T12" fmla="*/ 924 w 1624"/>
                <a:gd name="T13" fmla="*/ 432 h 1867"/>
                <a:gd name="T14" fmla="*/ 1114 w 1624"/>
                <a:gd name="T15" fmla="*/ 81 h 1867"/>
                <a:gd name="T16" fmla="*/ 1287 w 1624"/>
                <a:gd name="T17" fmla="*/ 35 h 1867"/>
                <a:gd name="T18" fmla="*/ 1350 w 1624"/>
                <a:gd name="T19" fmla="*/ 69 h 1867"/>
                <a:gd name="T20" fmla="*/ 1527 w 1624"/>
                <a:gd name="T21" fmla="*/ 235 h 1867"/>
                <a:gd name="T22" fmla="*/ 1583 w 1624"/>
                <a:gd name="T23" fmla="*/ 555 h 1867"/>
                <a:gd name="T24" fmla="*/ 1172 w 1624"/>
                <a:gd name="T25" fmla="*/ 1253 h 1867"/>
                <a:gd name="T26" fmla="*/ 586 w 1624"/>
                <a:gd name="T27" fmla="*/ 1803 h 1867"/>
                <a:gd name="T28" fmla="*/ 269 w 1624"/>
                <a:gd name="T29" fmla="*/ 1807 h 1867"/>
                <a:gd name="T30" fmla="*/ 33 w 1624"/>
                <a:gd name="T31" fmla="*/ 1602 h 1867"/>
                <a:gd name="T32" fmla="*/ 2 w 1624"/>
                <a:gd name="T33" fmla="*/ 1508 h 1867"/>
                <a:gd name="T34" fmla="*/ 45 w 1624"/>
                <a:gd name="T35" fmla="*/ 1421 h 1867"/>
                <a:gd name="T36" fmla="*/ 346 w 1624"/>
                <a:gd name="T37" fmla="*/ 1158 h 1867"/>
                <a:gd name="T38" fmla="*/ 448 w 1624"/>
                <a:gd name="T39" fmla="*/ 1145 h 1867"/>
                <a:gd name="T40" fmla="*/ 573 w 1624"/>
                <a:gd name="T41" fmla="*/ 1257 h 18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24" h="1867">
                  <a:moveTo>
                    <a:pt x="573" y="1257"/>
                  </a:moveTo>
                  <a:cubicBezTo>
                    <a:pt x="592" y="1282"/>
                    <a:pt x="630" y="1303"/>
                    <a:pt x="662" y="1288"/>
                  </a:cubicBezTo>
                  <a:cubicBezTo>
                    <a:pt x="753" y="1245"/>
                    <a:pt x="854" y="1156"/>
                    <a:pt x="938" y="1051"/>
                  </a:cubicBezTo>
                  <a:cubicBezTo>
                    <a:pt x="1020" y="948"/>
                    <a:pt x="1084" y="831"/>
                    <a:pt x="1106" y="731"/>
                  </a:cubicBezTo>
                  <a:cubicBezTo>
                    <a:pt x="1113" y="696"/>
                    <a:pt x="1089" y="661"/>
                    <a:pt x="1059" y="645"/>
                  </a:cubicBezTo>
                  <a:cubicBezTo>
                    <a:pt x="1001" y="613"/>
                    <a:pt x="1001" y="613"/>
                    <a:pt x="1001" y="613"/>
                  </a:cubicBezTo>
                  <a:cubicBezTo>
                    <a:pt x="942" y="580"/>
                    <a:pt x="888" y="499"/>
                    <a:pt x="924" y="432"/>
                  </a:cubicBezTo>
                  <a:cubicBezTo>
                    <a:pt x="1114" y="81"/>
                    <a:pt x="1114" y="81"/>
                    <a:pt x="1114" y="81"/>
                  </a:cubicBezTo>
                  <a:cubicBezTo>
                    <a:pt x="1150" y="16"/>
                    <a:pt x="1224" y="0"/>
                    <a:pt x="1287" y="35"/>
                  </a:cubicBezTo>
                  <a:cubicBezTo>
                    <a:pt x="1350" y="69"/>
                    <a:pt x="1350" y="69"/>
                    <a:pt x="1350" y="69"/>
                  </a:cubicBezTo>
                  <a:cubicBezTo>
                    <a:pt x="1415" y="105"/>
                    <a:pt x="1479" y="165"/>
                    <a:pt x="1527" y="235"/>
                  </a:cubicBezTo>
                  <a:cubicBezTo>
                    <a:pt x="1593" y="332"/>
                    <a:pt x="1624" y="442"/>
                    <a:pt x="1583" y="555"/>
                  </a:cubicBezTo>
                  <a:cubicBezTo>
                    <a:pt x="1500" y="781"/>
                    <a:pt x="1351" y="1030"/>
                    <a:pt x="1172" y="1253"/>
                  </a:cubicBezTo>
                  <a:cubicBezTo>
                    <a:pt x="994" y="1477"/>
                    <a:pt x="786" y="1676"/>
                    <a:pt x="586" y="1803"/>
                  </a:cubicBezTo>
                  <a:cubicBezTo>
                    <a:pt x="486" y="1867"/>
                    <a:pt x="375" y="1856"/>
                    <a:pt x="269" y="1807"/>
                  </a:cubicBezTo>
                  <a:cubicBezTo>
                    <a:pt x="157" y="1755"/>
                    <a:pt x="106" y="1695"/>
                    <a:pt x="33" y="1602"/>
                  </a:cubicBezTo>
                  <a:cubicBezTo>
                    <a:pt x="11" y="1573"/>
                    <a:pt x="0" y="1540"/>
                    <a:pt x="2" y="1508"/>
                  </a:cubicBezTo>
                  <a:cubicBezTo>
                    <a:pt x="4" y="1475"/>
                    <a:pt x="18" y="1444"/>
                    <a:pt x="45" y="1421"/>
                  </a:cubicBezTo>
                  <a:cubicBezTo>
                    <a:pt x="70" y="1399"/>
                    <a:pt x="346" y="1158"/>
                    <a:pt x="346" y="1158"/>
                  </a:cubicBezTo>
                  <a:cubicBezTo>
                    <a:pt x="376" y="1134"/>
                    <a:pt x="413" y="1133"/>
                    <a:pt x="448" y="1145"/>
                  </a:cubicBezTo>
                  <a:cubicBezTo>
                    <a:pt x="510" y="1166"/>
                    <a:pt x="536" y="1210"/>
                    <a:pt x="573" y="1257"/>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351" dirty="0"/>
            </a:p>
          </p:txBody>
        </p:sp>
      </p:grpSp>
      <p:grpSp>
        <p:nvGrpSpPr>
          <p:cNvPr id="51" name="Group 3">
            <a:extLst>
              <a:ext uri="{FF2B5EF4-FFF2-40B4-BE49-F238E27FC236}">
                <a16:creationId xmlns:a16="http://schemas.microsoft.com/office/drawing/2014/main" id="{7104BADD-8CD1-6F4A-B894-869C3BDB3EEB}"/>
              </a:ext>
            </a:extLst>
          </p:cNvPr>
          <p:cNvGrpSpPr>
            <a:grpSpLocks noChangeAspect="1"/>
          </p:cNvGrpSpPr>
          <p:nvPr>
            <p:custDataLst>
              <p:tags r:id="rId4"/>
            </p:custDataLst>
          </p:nvPr>
        </p:nvGrpSpPr>
        <p:grpSpPr>
          <a:xfrm>
            <a:off x="8701918" y="5328416"/>
            <a:ext cx="171180" cy="171180"/>
            <a:chOff x="328396" y="5313940"/>
            <a:chExt cx="720000" cy="720000"/>
          </a:xfrm>
        </p:grpSpPr>
        <p:sp>
          <p:nvSpPr>
            <p:cNvPr id="52" name="Rectangle 4">
              <a:extLst>
                <a:ext uri="{FF2B5EF4-FFF2-40B4-BE49-F238E27FC236}">
                  <a16:creationId xmlns:a16="http://schemas.microsoft.com/office/drawing/2014/main" id="{74BE3D5F-1445-6E40-8B49-72E15568383B}"/>
                </a:ext>
              </a:extLst>
            </p:cNvPr>
            <p:cNvSpPr/>
            <p:nvPr/>
          </p:nvSpPr>
          <p:spPr bwMode="gray">
            <a:xfrm>
              <a:off x="328396" y="5313940"/>
              <a:ext cx="720000" cy="720000"/>
            </a:xfrm>
            <a:prstGeom prst="rect">
              <a:avLst/>
            </a:prstGeom>
            <a:solidFill>
              <a:srgbClr val="E55A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pPr>
              <a:endParaRPr lang="en-US" sz="1000" dirty="0">
                <a:solidFill>
                  <a:schemeClr val="tx1"/>
                </a:solidFill>
                <a:latin typeface="Arial" pitchFamily="34" charset="0"/>
                <a:cs typeface="Arial" pitchFamily="34" charset="0"/>
              </a:endParaRPr>
            </a:p>
          </p:txBody>
        </p:sp>
        <p:sp>
          <p:nvSpPr>
            <p:cNvPr id="53" name="Freeform 76">
              <a:extLst>
                <a:ext uri="{FF2B5EF4-FFF2-40B4-BE49-F238E27FC236}">
                  <a16:creationId xmlns:a16="http://schemas.microsoft.com/office/drawing/2014/main" id="{55DB3C95-7D0C-D141-901E-96D692794D2B}"/>
                </a:ext>
              </a:extLst>
            </p:cNvPr>
            <p:cNvSpPr>
              <a:spLocks noChangeAspect="1" noEditPoints="1"/>
            </p:cNvSpPr>
            <p:nvPr/>
          </p:nvSpPr>
          <p:spPr bwMode="auto">
            <a:xfrm>
              <a:off x="456202" y="5509222"/>
              <a:ext cx="504000" cy="329436"/>
            </a:xfrm>
            <a:custGeom>
              <a:avLst/>
              <a:gdLst>
                <a:gd name="T0" fmla="*/ 0 w 2080"/>
                <a:gd name="T1" fmla="*/ 65 h 1360"/>
                <a:gd name="T2" fmla="*/ 0 w 2080"/>
                <a:gd name="T3" fmla="*/ 0 h 1360"/>
                <a:gd name="T4" fmla="*/ 2080 w 2080"/>
                <a:gd name="T5" fmla="*/ 0 h 1360"/>
                <a:gd name="T6" fmla="*/ 2080 w 2080"/>
                <a:gd name="T7" fmla="*/ 65 h 1360"/>
                <a:gd name="T8" fmla="*/ 1089 w 2080"/>
                <a:gd name="T9" fmla="*/ 862 h 1360"/>
                <a:gd name="T10" fmla="*/ 991 w 2080"/>
                <a:gd name="T11" fmla="*/ 862 h 1360"/>
                <a:gd name="T12" fmla="*/ 0 w 2080"/>
                <a:gd name="T13" fmla="*/ 65 h 1360"/>
                <a:gd name="T14" fmla="*/ 1139 w 2080"/>
                <a:gd name="T15" fmla="*/ 924 h 1360"/>
                <a:gd name="T16" fmla="*/ 1282 w 2080"/>
                <a:gd name="T17" fmla="*/ 810 h 1360"/>
                <a:gd name="T18" fmla="*/ 2076 w 2080"/>
                <a:gd name="T19" fmla="*/ 1360 h 1360"/>
                <a:gd name="T20" fmla="*/ 4 w 2080"/>
                <a:gd name="T21" fmla="*/ 1360 h 1360"/>
                <a:gd name="T22" fmla="*/ 798 w 2080"/>
                <a:gd name="T23" fmla="*/ 810 h 1360"/>
                <a:gd name="T24" fmla="*/ 941 w 2080"/>
                <a:gd name="T25" fmla="*/ 924 h 1360"/>
                <a:gd name="T26" fmla="*/ 1139 w 2080"/>
                <a:gd name="T27" fmla="*/ 924 h 1360"/>
                <a:gd name="T28" fmla="*/ 2 w 2080"/>
                <a:gd name="T29" fmla="*/ 137 h 1360"/>
                <a:gd name="T30" fmla="*/ 42 w 2080"/>
                <a:gd name="T31" fmla="*/ 201 h 1360"/>
                <a:gd name="T32" fmla="*/ 734 w 2080"/>
                <a:gd name="T33" fmla="*/ 758 h 1360"/>
                <a:gd name="T34" fmla="*/ 0 w 2080"/>
                <a:gd name="T35" fmla="*/ 1266 h 1360"/>
                <a:gd name="T36" fmla="*/ 0 w 2080"/>
                <a:gd name="T37" fmla="*/ 135 h 1360"/>
                <a:gd name="T38" fmla="*/ 2 w 2080"/>
                <a:gd name="T39" fmla="*/ 137 h 1360"/>
                <a:gd name="T40" fmla="*/ 2080 w 2080"/>
                <a:gd name="T41" fmla="*/ 136 h 1360"/>
                <a:gd name="T42" fmla="*/ 2080 w 2080"/>
                <a:gd name="T43" fmla="*/ 1265 h 1360"/>
                <a:gd name="T44" fmla="*/ 1346 w 2080"/>
                <a:gd name="T45" fmla="*/ 758 h 1360"/>
                <a:gd name="T46" fmla="*/ 2038 w 2080"/>
                <a:gd name="T47" fmla="*/ 201 h 1360"/>
                <a:gd name="T48" fmla="*/ 2080 w 2080"/>
                <a:gd name="T49" fmla="*/ 136 h 1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080" h="1360">
                  <a:moveTo>
                    <a:pt x="0" y="65"/>
                  </a:moveTo>
                  <a:cubicBezTo>
                    <a:pt x="0" y="0"/>
                    <a:pt x="0" y="0"/>
                    <a:pt x="0" y="0"/>
                  </a:cubicBezTo>
                  <a:cubicBezTo>
                    <a:pt x="2080" y="0"/>
                    <a:pt x="2080" y="0"/>
                    <a:pt x="2080" y="0"/>
                  </a:cubicBezTo>
                  <a:cubicBezTo>
                    <a:pt x="2080" y="65"/>
                    <a:pt x="2080" y="65"/>
                    <a:pt x="2080" y="65"/>
                  </a:cubicBezTo>
                  <a:cubicBezTo>
                    <a:pt x="1089" y="862"/>
                    <a:pt x="1089" y="862"/>
                    <a:pt x="1089" y="862"/>
                  </a:cubicBezTo>
                  <a:cubicBezTo>
                    <a:pt x="1060" y="886"/>
                    <a:pt x="1020" y="886"/>
                    <a:pt x="991" y="862"/>
                  </a:cubicBezTo>
                  <a:lnTo>
                    <a:pt x="0" y="65"/>
                  </a:lnTo>
                  <a:close/>
                  <a:moveTo>
                    <a:pt x="1139" y="924"/>
                  </a:moveTo>
                  <a:cubicBezTo>
                    <a:pt x="1282" y="810"/>
                    <a:pt x="1282" y="810"/>
                    <a:pt x="1282" y="810"/>
                  </a:cubicBezTo>
                  <a:cubicBezTo>
                    <a:pt x="2076" y="1360"/>
                    <a:pt x="2076" y="1360"/>
                    <a:pt x="2076" y="1360"/>
                  </a:cubicBezTo>
                  <a:cubicBezTo>
                    <a:pt x="4" y="1360"/>
                    <a:pt x="4" y="1360"/>
                    <a:pt x="4" y="1360"/>
                  </a:cubicBezTo>
                  <a:cubicBezTo>
                    <a:pt x="798" y="810"/>
                    <a:pt x="798" y="810"/>
                    <a:pt x="798" y="810"/>
                  </a:cubicBezTo>
                  <a:cubicBezTo>
                    <a:pt x="941" y="924"/>
                    <a:pt x="941" y="924"/>
                    <a:pt x="941" y="924"/>
                  </a:cubicBezTo>
                  <a:cubicBezTo>
                    <a:pt x="1000" y="972"/>
                    <a:pt x="1080" y="972"/>
                    <a:pt x="1139" y="924"/>
                  </a:cubicBezTo>
                  <a:close/>
                  <a:moveTo>
                    <a:pt x="2" y="137"/>
                  </a:moveTo>
                  <a:cubicBezTo>
                    <a:pt x="8" y="163"/>
                    <a:pt x="22" y="185"/>
                    <a:pt x="42" y="201"/>
                  </a:cubicBezTo>
                  <a:cubicBezTo>
                    <a:pt x="734" y="758"/>
                    <a:pt x="734" y="758"/>
                    <a:pt x="734" y="758"/>
                  </a:cubicBezTo>
                  <a:cubicBezTo>
                    <a:pt x="0" y="1266"/>
                    <a:pt x="0" y="1266"/>
                    <a:pt x="0" y="1266"/>
                  </a:cubicBezTo>
                  <a:cubicBezTo>
                    <a:pt x="0" y="135"/>
                    <a:pt x="0" y="135"/>
                    <a:pt x="0" y="135"/>
                  </a:cubicBezTo>
                  <a:lnTo>
                    <a:pt x="2" y="137"/>
                  </a:lnTo>
                  <a:close/>
                  <a:moveTo>
                    <a:pt x="2080" y="136"/>
                  </a:moveTo>
                  <a:cubicBezTo>
                    <a:pt x="2080" y="1265"/>
                    <a:pt x="2080" y="1265"/>
                    <a:pt x="2080" y="1265"/>
                  </a:cubicBezTo>
                  <a:cubicBezTo>
                    <a:pt x="1346" y="758"/>
                    <a:pt x="1346" y="758"/>
                    <a:pt x="1346" y="758"/>
                  </a:cubicBezTo>
                  <a:cubicBezTo>
                    <a:pt x="2038" y="201"/>
                    <a:pt x="2038" y="201"/>
                    <a:pt x="2038" y="201"/>
                  </a:cubicBezTo>
                  <a:cubicBezTo>
                    <a:pt x="2060" y="182"/>
                    <a:pt x="2072" y="162"/>
                    <a:pt x="2080" y="13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000"/>
            </a:p>
          </p:txBody>
        </p:sp>
      </p:grpSp>
      <p:cxnSp>
        <p:nvCxnSpPr>
          <p:cNvPr id="54" name="Straight Connector 53"/>
          <p:cNvCxnSpPr/>
          <p:nvPr/>
        </p:nvCxnSpPr>
        <p:spPr>
          <a:xfrm>
            <a:off x="7287766" y="5653422"/>
            <a:ext cx="3888000" cy="0"/>
          </a:xfrm>
          <a:prstGeom prst="line">
            <a:avLst/>
          </a:prstGeom>
          <a:ln w="6350">
            <a:solidFill>
              <a:schemeClr val="tx2"/>
            </a:solidFill>
            <a:prstDash val="dash"/>
          </a:ln>
        </p:spPr>
        <p:style>
          <a:lnRef idx="1">
            <a:schemeClr val="accent1"/>
          </a:lnRef>
          <a:fillRef idx="0">
            <a:schemeClr val="accent1"/>
          </a:fillRef>
          <a:effectRef idx="0">
            <a:schemeClr val="accent1"/>
          </a:effectRef>
          <a:fontRef idx="minor">
            <a:schemeClr val="tx1"/>
          </a:fontRef>
        </p:style>
      </p:cxnSp>
      <p:sp>
        <p:nvSpPr>
          <p:cNvPr id="55" name="Picture Placeholder 3"/>
          <p:cNvSpPr>
            <a:spLocks noGrp="1"/>
          </p:cNvSpPr>
          <p:nvPr>
            <p:ph type="pic" sz="quarter" idx="35" hasCustomPrompt="1"/>
          </p:nvPr>
        </p:nvSpPr>
        <p:spPr>
          <a:xfrm>
            <a:off x="7287766" y="3984193"/>
            <a:ext cx="1188677" cy="1547840"/>
          </a:xfrm>
          <a:solidFill>
            <a:srgbClr val="D9DADB"/>
          </a:solidFill>
        </p:spPr>
        <p:txBody>
          <a:bodyPr/>
          <a:lstStyle>
            <a:lvl1pPr marL="0" indent="0">
              <a:buNone/>
              <a:defRPr sz="1400"/>
            </a:lvl1pPr>
          </a:lstStyle>
          <a:p>
            <a:r>
              <a:rPr lang="en-US" dirty="0"/>
              <a:t>Insert picture</a:t>
            </a:r>
          </a:p>
        </p:txBody>
      </p:sp>
      <p:sp>
        <p:nvSpPr>
          <p:cNvPr id="56" name="Text Placeholder 5"/>
          <p:cNvSpPr>
            <a:spLocks noGrp="1"/>
          </p:cNvSpPr>
          <p:nvPr>
            <p:ph type="body" sz="quarter" idx="36" hasCustomPrompt="1"/>
          </p:nvPr>
        </p:nvSpPr>
        <p:spPr>
          <a:xfrm>
            <a:off x="8701917" y="3983730"/>
            <a:ext cx="2463190" cy="192360"/>
          </a:xfrm>
        </p:spPr>
        <p:txBody>
          <a:bodyPr lIns="0" tIns="0" rIns="0" bIns="0" anchor="ctr" anchorCtr="0"/>
          <a:lstStyle>
            <a:lvl1pPr marL="0" indent="0" algn="l">
              <a:lnSpc>
                <a:spcPct val="100000"/>
              </a:lnSpc>
              <a:buNone/>
              <a:defRPr sz="100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Country</a:t>
            </a:r>
          </a:p>
        </p:txBody>
      </p:sp>
      <p:sp>
        <p:nvSpPr>
          <p:cNvPr id="57" name="Text Placeholder 5"/>
          <p:cNvSpPr>
            <a:spLocks noGrp="1"/>
          </p:cNvSpPr>
          <p:nvPr>
            <p:ph type="body" sz="quarter" idx="37" hasCustomPrompt="1"/>
          </p:nvPr>
        </p:nvSpPr>
        <p:spPr>
          <a:xfrm>
            <a:off x="8701917" y="4195546"/>
            <a:ext cx="2463190" cy="266182"/>
          </a:xfrm>
        </p:spPr>
        <p:txBody>
          <a:bodyPr lIns="0" tIns="0" rIns="0" bIns="0" anchor="b" anchorCtr="0"/>
          <a:lstStyle>
            <a:lvl1pPr marL="0" indent="0" algn="l">
              <a:lnSpc>
                <a:spcPct val="100000"/>
              </a:lnSpc>
              <a:buNone/>
              <a:defRPr sz="1400" b="1" baseline="0">
                <a:solidFill>
                  <a:schemeClr val="tx2"/>
                </a:solidFill>
              </a:defRPr>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Name, Surname</a:t>
            </a:r>
          </a:p>
        </p:txBody>
      </p:sp>
      <p:sp>
        <p:nvSpPr>
          <p:cNvPr id="58" name="Text Placeholder 5"/>
          <p:cNvSpPr>
            <a:spLocks noGrp="1"/>
          </p:cNvSpPr>
          <p:nvPr>
            <p:ph type="body" sz="quarter" idx="38" hasCustomPrompt="1"/>
          </p:nvPr>
        </p:nvSpPr>
        <p:spPr>
          <a:xfrm>
            <a:off x="8701917" y="4492121"/>
            <a:ext cx="2463190"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Job Position</a:t>
            </a:r>
          </a:p>
        </p:txBody>
      </p:sp>
      <p:sp>
        <p:nvSpPr>
          <p:cNvPr id="59" name="Text Placeholder 5"/>
          <p:cNvSpPr>
            <a:spLocks noGrp="1"/>
          </p:cNvSpPr>
          <p:nvPr>
            <p:ph type="body" sz="quarter" idx="39" hasCustomPrompt="1"/>
          </p:nvPr>
        </p:nvSpPr>
        <p:spPr>
          <a:xfrm>
            <a:off x="8946800" y="5020797"/>
            <a:ext cx="2218307"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Phone number</a:t>
            </a:r>
          </a:p>
        </p:txBody>
      </p:sp>
      <p:sp>
        <p:nvSpPr>
          <p:cNvPr id="60" name="Text Placeholder 5"/>
          <p:cNvSpPr>
            <a:spLocks noGrp="1"/>
          </p:cNvSpPr>
          <p:nvPr>
            <p:ph type="body" sz="quarter" idx="40" hasCustomPrompt="1"/>
          </p:nvPr>
        </p:nvSpPr>
        <p:spPr>
          <a:xfrm>
            <a:off x="8946800" y="5303604"/>
            <a:ext cx="2218307"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Email address</a:t>
            </a:r>
          </a:p>
        </p:txBody>
      </p:sp>
    </p:spTree>
    <p:extLst>
      <p:ext uri="{BB962C8B-B14F-4D97-AF65-F5344CB8AC3E}">
        <p14:creationId xmlns:p14="http://schemas.microsoft.com/office/powerpoint/2010/main" val="1066479108"/>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One content">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userDrawn="1">
            <p:custDataLst>
              <p:tags r:id="rId2"/>
            </p:custDataLst>
            <p:extLst>
              <p:ext uri="{D42A27DB-BD31-4B8C-83A1-F6EECF244321}">
                <p14:modId xmlns:p14="http://schemas.microsoft.com/office/powerpoint/2010/main" val="2596864681"/>
              </p:ext>
            </p:ext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spid="_x0000_s91206" name="think-cell Folie" r:id="rId4" imgW="353" imgH="353" progId="TCLayout.ActiveDocument.1">
                  <p:embed/>
                </p:oleObj>
              </mc:Choice>
              <mc:Fallback>
                <p:oleObj name="think-cell Folie" r:id="rId4" imgW="353" imgH="353" progId="TCLayout.ActiveDocument.1">
                  <p:embed/>
                  <p:pic>
                    <p:nvPicPr>
                      <p:cNvPr id="10" name="Object 9" hidden="1"/>
                      <p:cNvPicPr/>
                      <p:nvPr/>
                    </p:nvPicPr>
                    <p:blipFill>
                      <a:blip r:embed="rId5"/>
                      <a:stretch>
                        <a:fillRect/>
                      </a:stretch>
                    </p:blipFill>
                    <p:spPr>
                      <a:xfrm>
                        <a:off x="2118" y="2118"/>
                        <a:ext cx="2116" cy="2116"/>
                      </a:xfrm>
                      <a:prstGeom prst="rect">
                        <a:avLst/>
                      </a:prstGeom>
                    </p:spPr>
                  </p:pic>
                </p:oleObj>
              </mc:Fallback>
            </mc:AlternateContent>
          </a:graphicData>
        </a:graphic>
      </p:graphicFrame>
      <p:sp>
        <p:nvSpPr>
          <p:cNvPr id="9" name="Content Placeholder 8"/>
          <p:cNvSpPr>
            <a:spLocks noGrp="1"/>
          </p:cNvSpPr>
          <p:nvPr>
            <p:ph sz="quarter" idx="12" hasCustomPrompt="1"/>
          </p:nvPr>
        </p:nvSpPr>
        <p:spPr bwMode="gray">
          <a:xfrm>
            <a:off x="431213" y="1700760"/>
            <a:ext cx="11328987" cy="4609024"/>
          </a:xfrm>
        </p:spPr>
        <p:txBody>
          <a:bodyPr/>
          <a:lstStyle/>
          <a:p>
            <a:pPr lvl="0"/>
            <a:r>
              <a:rPr lang="en-US" noProof="0"/>
              <a:t>Click to add tex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 name="Title 1"/>
          <p:cNvSpPr>
            <a:spLocks noGrp="1"/>
          </p:cNvSpPr>
          <p:nvPr>
            <p:ph type="title" hasCustomPrompt="1"/>
          </p:nvPr>
        </p:nvSpPr>
        <p:spPr bwMode="gray"/>
        <p:txBody>
          <a:bodyPr/>
          <a:lstStyle/>
          <a:p>
            <a:r>
              <a:rPr lang="en-US"/>
              <a:t>Click to add headline</a:t>
            </a:r>
          </a:p>
        </p:txBody>
      </p:sp>
      <p:sp>
        <p:nvSpPr>
          <p:cNvPr id="4" name="Textplatzhalter 2"/>
          <p:cNvSpPr>
            <a:spLocks noGrp="1"/>
          </p:cNvSpPr>
          <p:nvPr>
            <p:ph type="body" sz="quarter" idx="10" hasCustomPrompt="1"/>
          </p:nvPr>
        </p:nvSpPr>
        <p:spPr bwMode="gray">
          <a:xfrm>
            <a:off x="431214" y="1220695"/>
            <a:ext cx="11329573" cy="384053"/>
          </a:xfrm>
        </p:spPr>
        <p:txBody>
          <a:bodyPr>
            <a:noAutofit/>
          </a:bodyPr>
          <a:lstStyle>
            <a:lvl1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1pPr>
            <a:lvl2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2pPr>
            <a:lvl3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3pPr>
            <a:lvl4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4pPr>
            <a:lvl5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5pPr>
            <a:lvl6pPr marL="0" indent="0">
              <a:lnSpc>
                <a:spcPct val="100000"/>
              </a:lnSpc>
              <a:spcBef>
                <a:spcPts val="800"/>
              </a:spcBef>
              <a:buNone/>
              <a:defRPr lang="en-GB" sz="2400" kern="1200" noProof="0" smtClean="0">
                <a:solidFill>
                  <a:schemeClr val="tx2"/>
                </a:solidFill>
                <a:latin typeface="Arial" pitchFamily="34" charset="0"/>
                <a:ea typeface="+mn-ea"/>
                <a:cs typeface="Arial" pitchFamily="34" charset="0"/>
              </a:defRPr>
            </a:lvl6pPr>
            <a:lvl7pPr marL="0" indent="0">
              <a:lnSpc>
                <a:spcPct val="100000"/>
              </a:lnSpc>
              <a:spcBef>
                <a:spcPts val="800"/>
              </a:spcBef>
              <a:buNone/>
              <a:defRPr lang="en-GB" sz="2400" kern="1200" noProof="0" smtClean="0">
                <a:solidFill>
                  <a:schemeClr val="tx2"/>
                </a:solidFill>
                <a:latin typeface="Arial" pitchFamily="34" charset="0"/>
                <a:ea typeface="+mn-ea"/>
                <a:cs typeface="Arial" pitchFamily="34" charset="0"/>
              </a:defRPr>
            </a:lvl7pPr>
            <a:lvl8pPr marL="0" indent="0">
              <a:lnSpc>
                <a:spcPct val="100000"/>
              </a:lnSpc>
              <a:spcBef>
                <a:spcPts val="800"/>
              </a:spcBef>
              <a:buNone/>
              <a:defRPr lang="en-GB" sz="2400" kern="1200" noProof="0" smtClean="0">
                <a:solidFill>
                  <a:schemeClr val="tx2"/>
                </a:solidFill>
                <a:latin typeface="Arial" pitchFamily="34" charset="0"/>
                <a:ea typeface="+mn-ea"/>
                <a:cs typeface="Arial" pitchFamily="34" charset="0"/>
              </a:defRPr>
            </a:lvl8pPr>
            <a:lvl9pPr marL="0" indent="0">
              <a:lnSpc>
                <a:spcPct val="100000"/>
              </a:lnSpc>
              <a:spcBef>
                <a:spcPts val="800"/>
              </a:spcBef>
              <a:buNone/>
              <a:defRPr lang="de-DE" sz="2400" kern="1200" noProof="0" smtClean="0">
                <a:solidFill>
                  <a:schemeClr val="tx2"/>
                </a:solidFill>
                <a:latin typeface="Arial" pitchFamily="34" charset="0"/>
                <a:ea typeface="+mn-ea"/>
                <a:cs typeface="Arial" pitchFamily="34" charset="0"/>
              </a:defRPr>
            </a:lvl9pPr>
          </a:lstStyle>
          <a:p>
            <a:pPr lvl="0"/>
            <a:r>
              <a:rPr lang="en-US"/>
              <a:t>Click to add </a:t>
            </a:r>
            <a:r>
              <a:rPr lang="en-US" err="1"/>
              <a:t>subheadline</a:t>
            </a:r>
            <a:endParaRPr lang="en-US"/>
          </a:p>
        </p:txBody>
      </p:sp>
      <p:sp>
        <p:nvSpPr>
          <p:cNvPr id="5" name="Textplatzhalter 3"/>
          <p:cNvSpPr>
            <a:spLocks noGrp="1"/>
          </p:cNvSpPr>
          <p:nvPr>
            <p:ph type="body" sz="quarter" idx="11" hasCustomPrompt="1"/>
          </p:nvPr>
        </p:nvSpPr>
        <p:spPr bwMode="gray">
          <a:xfrm>
            <a:off x="431214" y="6404736"/>
            <a:ext cx="11328557" cy="192616"/>
          </a:xfrm>
        </p:spPr>
        <p:txBody>
          <a:bodyPr tIns="0" bIns="36000" anchor="b" anchorCtr="0">
            <a:noAutofit/>
          </a:bodyPr>
          <a:lstStyle>
            <a:lvl1pPr marL="0" marR="0" indent="0" algn="l" defTabSz="1219170" rtl="0" eaLnBrk="1" fontAlgn="auto" latinLnBrk="0" hangingPunct="1">
              <a:lnSpc>
                <a:spcPct val="100000"/>
              </a:lnSpc>
              <a:spcBef>
                <a:spcPts val="0"/>
              </a:spcBef>
              <a:spcAft>
                <a:spcPts val="0"/>
              </a:spcAft>
              <a:buClrTx/>
              <a:buSzTx/>
              <a:buFont typeface="Arial" pitchFamily="34" charset="0"/>
              <a:buNone/>
              <a:tabLst/>
              <a:defRPr lang="de-DE" sz="1067" kern="1200" baseline="0" noProof="0" smtClean="0">
                <a:solidFill>
                  <a:schemeClr val="bg2"/>
                </a:solidFill>
                <a:latin typeface="Arial" pitchFamily="34" charset="0"/>
                <a:ea typeface="+mn-ea"/>
                <a:cs typeface="Arial" pitchFamily="34" charset="0"/>
              </a:defRPr>
            </a:lvl1pPr>
            <a:lvl2pPr marL="0" indent="0">
              <a:lnSpc>
                <a:spcPct val="100000"/>
              </a:lnSpc>
              <a:spcBef>
                <a:spcPts val="0"/>
              </a:spcBef>
              <a:buFont typeface="Arial" panose="020B0604020202020204" pitchFamily="34" charset="0"/>
              <a:buNone/>
              <a:defRPr lang="de-DE" sz="1067" kern="1200" baseline="0" noProof="0" smtClean="0">
                <a:solidFill>
                  <a:schemeClr val="bg2"/>
                </a:solidFill>
                <a:latin typeface="Arial" pitchFamily="34" charset="0"/>
                <a:ea typeface="+mn-ea"/>
                <a:cs typeface="Arial" pitchFamily="34" charset="0"/>
              </a:defRPr>
            </a:lvl2pPr>
            <a:lvl3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3pPr>
            <a:lvl4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4pPr>
            <a:lvl5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5pPr>
            <a:lvl6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6pPr>
            <a:lvl7pPr marL="0" indent="0">
              <a:lnSpc>
                <a:spcPct val="100000"/>
              </a:lnSpc>
              <a:spcBef>
                <a:spcPts val="0"/>
              </a:spcBef>
              <a:buNone/>
              <a:defRPr lang="de-DE" sz="1067" kern="1200" baseline="0" noProof="0" dirty="0" smtClean="0">
                <a:solidFill>
                  <a:schemeClr val="bg2"/>
                </a:solidFill>
                <a:latin typeface="Arial" pitchFamily="34" charset="0"/>
                <a:ea typeface="+mn-ea"/>
                <a:cs typeface="Arial" pitchFamily="34" charset="0"/>
              </a:defRPr>
            </a:lvl7pPr>
            <a:lvl8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8pPr>
            <a:lvl9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9pPr>
          </a:lstStyle>
          <a:p>
            <a:pPr lvl="0"/>
            <a:r>
              <a:rPr lang="en-US"/>
              <a:t>Click to add source information</a:t>
            </a:r>
          </a:p>
        </p:txBody>
      </p:sp>
    </p:spTree>
    <p:extLst>
      <p:ext uri="{BB962C8B-B14F-4D97-AF65-F5344CB8AC3E}">
        <p14:creationId xmlns:p14="http://schemas.microsoft.com/office/powerpoint/2010/main" val="463165988"/>
      </p:ext>
    </p:extLst>
  </p:cSld>
  <p:clrMapOvr>
    <a:masterClrMapping/>
  </p:clrMapOvr>
</p:sldLayout>
</file>

<file path=ppt/slideLayouts/slideLayout530.xml><?xml version="1.0" encoding="utf-8"?>
<p:sldLayout xmlns:a="http://schemas.openxmlformats.org/drawingml/2006/main" xmlns:r="http://schemas.openxmlformats.org/officeDocument/2006/relationships" xmlns:p="http://schemas.openxmlformats.org/presentationml/2006/main" showMasterSp="0" preserve="1">
  <p:cSld name="End slide">
    <p:spTree>
      <p:nvGrpSpPr>
        <p:cNvPr id="1" name=""/>
        <p:cNvGrpSpPr/>
        <p:nvPr/>
      </p:nvGrpSpPr>
      <p:grpSpPr>
        <a:xfrm>
          <a:off x="0" y="0"/>
          <a:ext cx="0" cy="0"/>
          <a:chOff x="0" y="0"/>
          <a:chExt cx="0" cy="0"/>
        </a:xfrm>
      </p:grpSpPr>
      <p:pic>
        <p:nvPicPr>
          <p:cNvPr id="30" name="picture">
            <a:extLst>
              <a:ext uri="{FF2B5EF4-FFF2-40B4-BE49-F238E27FC236}">
                <a16:creationId xmlns:a16="http://schemas.microsoft.com/office/drawing/2014/main" id="{8BF907F5-A9CD-2740-AF54-6BACB62334AE}"/>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2620212" y="-8808"/>
            <a:ext cx="9697299" cy="6866807"/>
          </a:xfrm>
          <a:prstGeom prst="rect">
            <a:avLst/>
          </a:prstGeom>
        </p:spPr>
      </p:pic>
      <p:sp>
        <p:nvSpPr>
          <p:cNvPr id="29" name="shpPicture"/>
          <p:cNvSpPr/>
          <p:nvPr/>
        </p:nvSpPr>
        <p:spPr>
          <a:xfrm>
            <a:off x="0" y="0"/>
            <a:ext cx="4347306" cy="6858000"/>
          </a:xfrm>
          <a:custGeom>
            <a:avLst/>
            <a:gdLst>
              <a:gd name="connsiteX0" fmla="*/ 0 w 4347306"/>
              <a:gd name="connsiteY0" fmla="*/ 0 h 6858000"/>
              <a:gd name="connsiteX1" fmla="*/ 3252806 w 4347306"/>
              <a:gd name="connsiteY1" fmla="*/ 0 h 6858000"/>
              <a:gd name="connsiteX2" fmla="*/ 4347306 w 4347306"/>
              <a:gd name="connsiteY2" fmla="*/ 4140909 h 6858000"/>
              <a:gd name="connsiteX3" fmla="*/ 2943442 w 4347306"/>
              <a:gd name="connsiteY3" fmla="*/ 6858000 h 6858000"/>
              <a:gd name="connsiteX4" fmla="*/ 0 w 4347306"/>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47306" h="6858000">
                <a:moveTo>
                  <a:pt x="0" y="0"/>
                </a:moveTo>
                <a:lnTo>
                  <a:pt x="3252806" y="0"/>
                </a:lnTo>
                <a:lnTo>
                  <a:pt x="4347306" y="4140909"/>
                </a:lnTo>
                <a:lnTo>
                  <a:pt x="2943442"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US" sz="1600" dirty="0"/>
          </a:p>
        </p:txBody>
      </p:sp>
      <p:grpSp>
        <p:nvGrpSpPr>
          <p:cNvPr id="14" name="logo">
            <a:extLst>
              <a:ext uri="{FF2B5EF4-FFF2-40B4-BE49-F238E27FC236}">
                <a16:creationId xmlns:a16="http://schemas.microsoft.com/office/drawing/2014/main" id="{18C26D95-70F8-8A4D-9F18-DCCB92522AF8}"/>
              </a:ext>
            </a:extLst>
          </p:cNvPr>
          <p:cNvGrpSpPr/>
          <p:nvPr/>
        </p:nvGrpSpPr>
        <p:grpSpPr bwMode="gray">
          <a:xfrm>
            <a:off x="417363" y="407485"/>
            <a:ext cx="1518585" cy="646507"/>
            <a:chOff x="334963" y="296652"/>
            <a:chExt cx="1268411" cy="540000"/>
          </a:xfrm>
        </p:grpSpPr>
        <p:sp>
          <p:nvSpPr>
            <p:cNvPr id="17" name="Freeform 6">
              <a:extLst>
                <a:ext uri="{FF2B5EF4-FFF2-40B4-BE49-F238E27FC236}">
                  <a16:creationId xmlns:a16="http://schemas.microsoft.com/office/drawing/2014/main" id="{08737AD0-E375-E445-97E6-CD2E2DF60620}"/>
                </a:ext>
              </a:extLst>
            </p:cNvPr>
            <p:cNvSpPr>
              <a:spLocks noEditPoints="1"/>
            </p:cNvSpPr>
            <p:nvPr/>
          </p:nvSpPr>
          <p:spPr bwMode="gray">
            <a:xfrm>
              <a:off x="982662" y="360462"/>
              <a:ext cx="620712" cy="431800"/>
            </a:xfrm>
            <a:custGeom>
              <a:avLst/>
              <a:gdLst>
                <a:gd name="T0" fmla="*/ 19 w 1809"/>
                <a:gd name="T1" fmla="*/ 97 h 1253"/>
                <a:gd name="T2" fmla="*/ 165 w 1809"/>
                <a:gd name="T3" fmla="*/ 41 h 1253"/>
                <a:gd name="T4" fmla="*/ 211 w 1809"/>
                <a:gd name="T5" fmla="*/ 224 h 1253"/>
                <a:gd name="T6" fmla="*/ 248 w 1809"/>
                <a:gd name="T7" fmla="*/ 155 h 1253"/>
                <a:gd name="T8" fmla="*/ 931 w 1809"/>
                <a:gd name="T9" fmla="*/ 995 h 1253"/>
                <a:gd name="T10" fmla="*/ 858 w 1809"/>
                <a:gd name="T11" fmla="*/ 1115 h 1253"/>
                <a:gd name="T12" fmla="*/ 749 w 1809"/>
                <a:gd name="T13" fmla="*/ 1117 h 1253"/>
                <a:gd name="T14" fmla="*/ 681 w 1809"/>
                <a:gd name="T15" fmla="*/ 1055 h 1253"/>
                <a:gd name="T16" fmla="*/ 800 w 1809"/>
                <a:gd name="T17" fmla="*/ 1054 h 1253"/>
                <a:gd name="T18" fmla="*/ 884 w 1809"/>
                <a:gd name="T19" fmla="*/ 1181 h 1253"/>
                <a:gd name="T20" fmla="*/ 118 w 1809"/>
                <a:gd name="T21" fmla="*/ 1086 h 1253"/>
                <a:gd name="T22" fmla="*/ 147 w 1809"/>
                <a:gd name="T23" fmla="*/ 1026 h 1253"/>
                <a:gd name="T24" fmla="*/ 102 w 1809"/>
                <a:gd name="T25" fmla="*/ 1026 h 1253"/>
                <a:gd name="T26" fmla="*/ 639 w 1809"/>
                <a:gd name="T27" fmla="*/ 84 h 1253"/>
                <a:gd name="T28" fmla="*/ 763 w 1809"/>
                <a:gd name="T29" fmla="*/ 145 h 1253"/>
                <a:gd name="T30" fmla="*/ 863 w 1809"/>
                <a:gd name="T31" fmla="*/ 221 h 1253"/>
                <a:gd name="T32" fmla="*/ 834 w 1809"/>
                <a:gd name="T33" fmla="*/ 208 h 1253"/>
                <a:gd name="T34" fmla="*/ 719 w 1809"/>
                <a:gd name="T35" fmla="*/ 182 h 1253"/>
                <a:gd name="T36" fmla="*/ 507 w 1809"/>
                <a:gd name="T37" fmla="*/ 711 h 1253"/>
                <a:gd name="T38" fmla="*/ 614 w 1809"/>
                <a:gd name="T39" fmla="*/ 706 h 1253"/>
                <a:gd name="T40" fmla="*/ 736 w 1809"/>
                <a:gd name="T41" fmla="*/ 730 h 1253"/>
                <a:gd name="T42" fmla="*/ 607 w 1809"/>
                <a:gd name="T43" fmla="*/ 539 h 1253"/>
                <a:gd name="T44" fmla="*/ 1505 w 1809"/>
                <a:gd name="T45" fmla="*/ 1136 h 1253"/>
                <a:gd name="T46" fmla="*/ 1613 w 1809"/>
                <a:gd name="T47" fmla="*/ 1002 h 1253"/>
                <a:gd name="T48" fmla="*/ 1472 w 1809"/>
                <a:gd name="T49" fmla="*/ 1164 h 1253"/>
                <a:gd name="T50" fmla="*/ 1525 w 1809"/>
                <a:gd name="T51" fmla="*/ 1142 h 1253"/>
                <a:gd name="T52" fmla="*/ 1556 w 1809"/>
                <a:gd name="T53" fmla="*/ 1172 h 1253"/>
                <a:gd name="T54" fmla="*/ 1387 w 1809"/>
                <a:gd name="T55" fmla="*/ 910 h 1253"/>
                <a:gd name="T56" fmla="*/ 1261 w 1809"/>
                <a:gd name="T57" fmla="*/ 1157 h 1253"/>
                <a:gd name="T58" fmla="*/ 1413 w 1809"/>
                <a:gd name="T59" fmla="*/ 934 h 1253"/>
                <a:gd name="T60" fmla="*/ 1378 w 1809"/>
                <a:gd name="T61" fmla="*/ 1052 h 1253"/>
                <a:gd name="T62" fmla="*/ 488 w 1809"/>
                <a:gd name="T63" fmla="*/ 85 h 1253"/>
                <a:gd name="T64" fmla="*/ 509 w 1809"/>
                <a:gd name="T65" fmla="*/ 112 h 1253"/>
                <a:gd name="T66" fmla="*/ 548 w 1809"/>
                <a:gd name="T67" fmla="*/ 1187 h 1253"/>
                <a:gd name="T68" fmla="*/ 472 w 1809"/>
                <a:gd name="T69" fmla="*/ 1122 h 1253"/>
                <a:gd name="T70" fmla="*/ 558 w 1809"/>
                <a:gd name="T71" fmla="*/ 1157 h 1253"/>
                <a:gd name="T72" fmla="*/ 287 w 1809"/>
                <a:gd name="T73" fmla="*/ 654 h 1253"/>
                <a:gd name="T74" fmla="*/ 416 w 1809"/>
                <a:gd name="T75" fmla="*/ 684 h 1253"/>
                <a:gd name="T76" fmla="*/ 1106 w 1809"/>
                <a:gd name="T77" fmla="*/ 147 h 1253"/>
                <a:gd name="T78" fmla="*/ 1229 w 1809"/>
                <a:gd name="T79" fmla="*/ 258 h 1253"/>
                <a:gd name="T80" fmla="*/ 1106 w 1809"/>
                <a:gd name="T81" fmla="*/ 96 h 1253"/>
                <a:gd name="T82" fmla="*/ 1219 w 1809"/>
                <a:gd name="T83" fmla="*/ 1077 h 1253"/>
                <a:gd name="T84" fmla="*/ 1214 w 1809"/>
                <a:gd name="T85" fmla="*/ 1157 h 1253"/>
                <a:gd name="T86" fmla="*/ 1150 w 1809"/>
                <a:gd name="T87" fmla="*/ 1092 h 1253"/>
                <a:gd name="T88" fmla="*/ 1139 w 1809"/>
                <a:gd name="T89" fmla="*/ 1070 h 1253"/>
                <a:gd name="T90" fmla="*/ 1659 w 1809"/>
                <a:gd name="T91" fmla="*/ 1031 h 1253"/>
                <a:gd name="T92" fmla="*/ 1714 w 1809"/>
                <a:gd name="T93" fmla="*/ 1155 h 1253"/>
                <a:gd name="T94" fmla="*/ 1760 w 1809"/>
                <a:gd name="T95" fmla="*/ 1030 h 1253"/>
                <a:gd name="T96" fmla="*/ 111 w 1809"/>
                <a:gd name="T97" fmla="*/ 569 h 1253"/>
                <a:gd name="T98" fmla="*/ 109 w 1809"/>
                <a:gd name="T99" fmla="*/ 460 h 1253"/>
                <a:gd name="T100" fmla="*/ 32 w 1809"/>
                <a:gd name="T101" fmla="*/ 704 h 1253"/>
                <a:gd name="T102" fmla="*/ 310 w 1809"/>
                <a:gd name="T103" fmla="*/ 1058 h 1253"/>
                <a:gd name="T104" fmla="*/ 431 w 1809"/>
                <a:gd name="T105" fmla="*/ 1044 h 1253"/>
                <a:gd name="T106" fmla="*/ 278 w 1809"/>
                <a:gd name="T107" fmla="*/ 1165 h 1253"/>
                <a:gd name="T108" fmla="*/ 261 w 1809"/>
                <a:gd name="T109" fmla="*/ 540 h 1253"/>
                <a:gd name="T110" fmla="*/ 150 w 1809"/>
                <a:gd name="T111" fmla="*/ 635 h 1253"/>
                <a:gd name="T112" fmla="*/ 994 w 1809"/>
                <a:gd name="T113" fmla="*/ 1185 h 1253"/>
                <a:gd name="T114" fmla="*/ 331 w 1809"/>
                <a:gd name="T115" fmla="*/ 176 h 1253"/>
                <a:gd name="T116" fmla="*/ 333 w 1809"/>
                <a:gd name="T117" fmla="*/ 109 h 1253"/>
                <a:gd name="T118" fmla="*/ 946 w 1809"/>
                <a:gd name="T119" fmla="*/ 234 h 1253"/>
                <a:gd name="T120" fmla="*/ 1022 w 1809"/>
                <a:gd name="T121" fmla="*/ 113 h 1253"/>
                <a:gd name="T122" fmla="*/ 949 w 1809"/>
                <a:gd name="T123" fmla="*/ 65 h 1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09" h="1253">
                  <a:moveTo>
                    <a:pt x="248" y="198"/>
                  </a:moveTo>
                  <a:cubicBezTo>
                    <a:pt x="248" y="211"/>
                    <a:pt x="248" y="224"/>
                    <a:pt x="249" y="237"/>
                  </a:cubicBezTo>
                  <a:cubicBezTo>
                    <a:pt x="249" y="245"/>
                    <a:pt x="246" y="249"/>
                    <a:pt x="240" y="253"/>
                  </a:cubicBezTo>
                  <a:cubicBezTo>
                    <a:pt x="231" y="260"/>
                    <a:pt x="220" y="264"/>
                    <a:pt x="209" y="268"/>
                  </a:cubicBezTo>
                  <a:cubicBezTo>
                    <a:pt x="179" y="279"/>
                    <a:pt x="148" y="280"/>
                    <a:pt x="118" y="275"/>
                  </a:cubicBezTo>
                  <a:cubicBezTo>
                    <a:pt x="86" y="269"/>
                    <a:pt x="58" y="252"/>
                    <a:pt x="39" y="224"/>
                  </a:cubicBezTo>
                  <a:cubicBezTo>
                    <a:pt x="24" y="203"/>
                    <a:pt x="18" y="180"/>
                    <a:pt x="15" y="155"/>
                  </a:cubicBezTo>
                  <a:cubicBezTo>
                    <a:pt x="11" y="135"/>
                    <a:pt x="15" y="115"/>
                    <a:pt x="19" y="97"/>
                  </a:cubicBezTo>
                  <a:cubicBezTo>
                    <a:pt x="26" y="68"/>
                    <a:pt x="42" y="44"/>
                    <a:pt x="68" y="27"/>
                  </a:cubicBezTo>
                  <a:cubicBezTo>
                    <a:pt x="87" y="14"/>
                    <a:pt x="109" y="6"/>
                    <a:pt x="133" y="5"/>
                  </a:cubicBezTo>
                  <a:cubicBezTo>
                    <a:pt x="149" y="4"/>
                    <a:pt x="165" y="5"/>
                    <a:pt x="181" y="6"/>
                  </a:cubicBezTo>
                  <a:cubicBezTo>
                    <a:pt x="204" y="8"/>
                    <a:pt x="225" y="20"/>
                    <a:pt x="243" y="35"/>
                  </a:cubicBezTo>
                  <a:cubicBezTo>
                    <a:pt x="246" y="37"/>
                    <a:pt x="246" y="40"/>
                    <a:pt x="244" y="43"/>
                  </a:cubicBezTo>
                  <a:cubicBezTo>
                    <a:pt x="242" y="47"/>
                    <a:pt x="239" y="52"/>
                    <a:pt x="236" y="55"/>
                  </a:cubicBezTo>
                  <a:cubicBezTo>
                    <a:pt x="226" y="65"/>
                    <a:pt x="224" y="65"/>
                    <a:pt x="206" y="54"/>
                  </a:cubicBezTo>
                  <a:cubicBezTo>
                    <a:pt x="193" y="46"/>
                    <a:pt x="180" y="40"/>
                    <a:pt x="165" y="41"/>
                  </a:cubicBezTo>
                  <a:cubicBezTo>
                    <a:pt x="151" y="41"/>
                    <a:pt x="137" y="39"/>
                    <a:pt x="124" y="42"/>
                  </a:cubicBezTo>
                  <a:cubicBezTo>
                    <a:pt x="104" y="46"/>
                    <a:pt x="87" y="57"/>
                    <a:pt x="75" y="74"/>
                  </a:cubicBezTo>
                  <a:cubicBezTo>
                    <a:pt x="56" y="99"/>
                    <a:pt x="51" y="129"/>
                    <a:pt x="55" y="159"/>
                  </a:cubicBezTo>
                  <a:cubicBezTo>
                    <a:pt x="60" y="189"/>
                    <a:pt x="73" y="214"/>
                    <a:pt x="98" y="230"/>
                  </a:cubicBezTo>
                  <a:cubicBezTo>
                    <a:pt x="109" y="237"/>
                    <a:pt x="121" y="242"/>
                    <a:pt x="135" y="241"/>
                  </a:cubicBezTo>
                  <a:cubicBezTo>
                    <a:pt x="146" y="241"/>
                    <a:pt x="158" y="241"/>
                    <a:pt x="169" y="241"/>
                  </a:cubicBezTo>
                  <a:cubicBezTo>
                    <a:pt x="182" y="242"/>
                    <a:pt x="193" y="235"/>
                    <a:pt x="205" y="232"/>
                  </a:cubicBezTo>
                  <a:cubicBezTo>
                    <a:pt x="210" y="231"/>
                    <a:pt x="211" y="227"/>
                    <a:pt x="211" y="224"/>
                  </a:cubicBezTo>
                  <a:cubicBezTo>
                    <a:pt x="211" y="210"/>
                    <a:pt x="211" y="196"/>
                    <a:pt x="211" y="183"/>
                  </a:cubicBezTo>
                  <a:cubicBezTo>
                    <a:pt x="211" y="177"/>
                    <a:pt x="207" y="175"/>
                    <a:pt x="202" y="175"/>
                  </a:cubicBezTo>
                  <a:cubicBezTo>
                    <a:pt x="193" y="175"/>
                    <a:pt x="184" y="175"/>
                    <a:pt x="175" y="175"/>
                  </a:cubicBezTo>
                  <a:cubicBezTo>
                    <a:pt x="171" y="175"/>
                    <a:pt x="168" y="174"/>
                    <a:pt x="166" y="171"/>
                  </a:cubicBezTo>
                  <a:cubicBezTo>
                    <a:pt x="163" y="163"/>
                    <a:pt x="164" y="154"/>
                    <a:pt x="166" y="146"/>
                  </a:cubicBezTo>
                  <a:cubicBezTo>
                    <a:pt x="167" y="142"/>
                    <a:pt x="171" y="142"/>
                    <a:pt x="175" y="142"/>
                  </a:cubicBezTo>
                  <a:cubicBezTo>
                    <a:pt x="196" y="142"/>
                    <a:pt x="217" y="142"/>
                    <a:pt x="238" y="142"/>
                  </a:cubicBezTo>
                  <a:cubicBezTo>
                    <a:pt x="247" y="142"/>
                    <a:pt x="248" y="148"/>
                    <a:pt x="248" y="155"/>
                  </a:cubicBezTo>
                  <a:cubicBezTo>
                    <a:pt x="249" y="169"/>
                    <a:pt x="248" y="183"/>
                    <a:pt x="248" y="198"/>
                  </a:cubicBezTo>
                  <a:close/>
                  <a:moveTo>
                    <a:pt x="884" y="1181"/>
                  </a:moveTo>
                  <a:cubicBezTo>
                    <a:pt x="889" y="1167"/>
                    <a:pt x="894" y="1152"/>
                    <a:pt x="898" y="1137"/>
                  </a:cubicBezTo>
                  <a:cubicBezTo>
                    <a:pt x="901" y="1127"/>
                    <a:pt x="905" y="1116"/>
                    <a:pt x="908" y="1106"/>
                  </a:cubicBezTo>
                  <a:cubicBezTo>
                    <a:pt x="911" y="1098"/>
                    <a:pt x="912" y="1089"/>
                    <a:pt x="916" y="1081"/>
                  </a:cubicBezTo>
                  <a:cubicBezTo>
                    <a:pt x="921" y="1072"/>
                    <a:pt x="923" y="1060"/>
                    <a:pt x="927" y="1050"/>
                  </a:cubicBezTo>
                  <a:cubicBezTo>
                    <a:pt x="932" y="1037"/>
                    <a:pt x="934" y="1023"/>
                    <a:pt x="940" y="1010"/>
                  </a:cubicBezTo>
                  <a:cubicBezTo>
                    <a:pt x="945" y="1001"/>
                    <a:pt x="941" y="995"/>
                    <a:pt x="931" y="995"/>
                  </a:cubicBezTo>
                  <a:cubicBezTo>
                    <a:pt x="927" y="995"/>
                    <a:pt x="922" y="995"/>
                    <a:pt x="918" y="995"/>
                  </a:cubicBezTo>
                  <a:cubicBezTo>
                    <a:pt x="913" y="995"/>
                    <a:pt x="908" y="997"/>
                    <a:pt x="907" y="1001"/>
                  </a:cubicBezTo>
                  <a:cubicBezTo>
                    <a:pt x="904" y="1008"/>
                    <a:pt x="900" y="1015"/>
                    <a:pt x="899" y="1023"/>
                  </a:cubicBezTo>
                  <a:cubicBezTo>
                    <a:pt x="897" y="1034"/>
                    <a:pt x="893" y="1045"/>
                    <a:pt x="889" y="1055"/>
                  </a:cubicBezTo>
                  <a:cubicBezTo>
                    <a:pt x="887" y="1064"/>
                    <a:pt x="885" y="1072"/>
                    <a:pt x="882" y="1080"/>
                  </a:cubicBezTo>
                  <a:cubicBezTo>
                    <a:pt x="878" y="1091"/>
                    <a:pt x="874" y="1103"/>
                    <a:pt x="871" y="1115"/>
                  </a:cubicBezTo>
                  <a:cubicBezTo>
                    <a:pt x="870" y="1118"/>
                    <a:pt x="871" y="1124"/>
                    <a:pt x="866" y="1124"/>
                  </a:cubicBezTo>
                  <a:cubicBezTo>
                    <a:pt x="861" y="1125"/>
                    <a:pt x="859" y="1120"/>
                    <a:pt x="858" y="1115"/>
                  </a:cubicBezTo>
                  <a:cubicBezTo>
                    <a:pt x="856" y="1110"/>
                    <a:pt x="856" y="1104"/>
                    <a:pt x="854" y="1099"/>
                  </a:cubicBezTo>
                  <a:cubicBezTo>
                    <a:pt x="848" y="1080"/>
                    <a:pt x="841" y="1062"/>
                    <a:pt x="835" y="1044"/>
                  </a:cubicBezTo>
                  <a:cubicBezTo>
                    <a:pt x="831" y="1030"/>
                    <a:pt x="828" y="1016"/>
                    <a:pt x="822" y="1003"/>
                  </a:cubicBezTo>
                  <a:cubicBezTo>
                    <a:pt x="819" y="997"/>
                    <a:pt x="814" y="994"/>
                    <a:pt x="808" y="994"/>
                  </a:cubicBezTo>
                  <a:cubicBezTo>
                    <a:pt x="799" y="993"/>
                    <a:pt x="791" y="993"/>
                    <a:pt x="787" y="1001"/>
                  </a:cubicBezTo>
                  <a:cubicBezTo>
                    <a:pt x="783" y="1008"/>
                    <a:pt x="780" y="1015"/>
                    <a:pt x="779" y="1022"/>
                  </a:cubicBezTo>
                  <a:cubicBezTo>
                    <a:pt x="778" y="1034"/>
                    <a:pt x="772" y="1044"/>
                    <a:pt x="769" y="1055"/>
                  </a:cubicBezTo>
                  <a:cubicBezTo>
                    <a:pt x="762" y="1076"/>
                    <a:pt x="754" y="1096"/>
                    <a:pt x="749" y="1117"/>
                  </a:cubicBezTo>
                  <a:cubicBezTo>
                    <a:pt x="748" y="1120"/>
                    <a:pt x="747" y="1124"/>
                    <a:pt x="742" y="1124"/>
                  </a:cubicBezTo>
                  <a:cubicBezTo>
                    <a:pt x="737" y="1124"/>
                    <a:pt x="737" y="1120"/>
                    <a:pt x="736" y="1116"/>
                  </a:cubicBezTo>
                  <a:cubicBezTo>
                    <a:pt x="734" y="1104"/>
                    <a:pt x="730" y="1092"/>
                    <a:pt x="726" y="1080"/>
                  </a:cubicBezTo>
                  <a:cubicBezTo>
                    <a:pt x="720" y="1061"/>
                    <a:pt x="714" y="1040"/>
                    <a:pt x="708" y="1020"/>
                  </a:cubicBezTo>
                  <a:cubicBezTo>
                    <a:pt x="703" y="1000"/>
                    <a:pt x="698" y="994"/>
                    <a:pt x="676" y="995"/>
                  </a:cubicBezTo>
                  <a:cubicBezTo>
                    <a:pt x="665" y="996"/>
                    <a:pt x="661" y="1001"/>
                    <a:pt x="667" y="1011"/>
                  </a:cubicBezTo>
                  <a:cubicBezTo>
                    <a:pt x="669" y="1016"/>
                    <a:pt x="670" y="1021"/>
                    <a:pt x="672" y="1025"/>
                  </a:cubicBezTo>
                  <a:cubicBezTo>
                    <a:pt x="675" y="1035"/>
                    <a:pt x="678" y="1046"/>
                    <a:pt x="681" y="1055"/>
                  </a:cubicBezTo>
                  <a:cubicBezTo>
                    <a:pt x="685" y="1068"/>
                    <a:pt x="689" y="1080"/>
                    <a:pt x="693" y="1092"/>
                  </a:cubicBezTo>
                  <a:cubicBezTo>
                    <a:pt x="697" y="1103"/>
                    <a:pt x="699" y="1113"/>
                    <a:pt x="703" y="1124"/>
                  </a:cubicBezTo>
                  <a:cubicBezTo>
                    <a:pt x="707" y="1136"/>
                    <a:pt x="711" y="1147"/>
                    <a:pt x="715" y="1160"/>
                  </a:cubicBezTo>
                  <a:cubicBezTo>
                    <a:pt x="717" y="1168"/>
                    <a:pt x="720" y="1176"/>
                    <a:pt x="724" y="1183"/>
                  </a:cubicBezTo>
                  <a:cubicBezTo>
                    <a:pt x="728" y="1189"/>
                    <a:pt x="752" y="1185"/>
                    <a:pt x="757" y="1180"/>
                  </a:cubicBezTo>
                  <a:cubicBezTo>
                    <a:pt x="764" y="1173"/>
                    <a:pt x="762" y="1163"/>
                    <a:pt x="766" y="1156"/>
                  </a:cubicBezTo>
                  <a:cubicBezTo>
                    <a:pt x="774" y="1140"/>
                    <a:pt x="778" y="1122"/>
                    <a:pt x="784" y="1105"/>
                  </a:cubicBezTo>
                  <a:cubicBezTo>
                    <a:pt x="789" y="1088"/>
                    <a:pt x="796" y="1072"/>
                    <a:pt x="800" y="1054"/>
                  </a:cubicBezTo>
                  <a:cubicBezTo>
                    <a:pt x="800" y="1053"/>
                    <a:pt x="801" y="1050"/>
                    <a:pt x="803" y="1050"/>
                  </a:cubicBezTo>
                  <a:cubicBezTo>
                    <a:pt x="806" y="1050"/>
                    <a:pt x="806" y="1052"/>
                    <a:pt x="807" y="1055"/>
                  </a:cubicBezTo>
                  <a:cubicBezTo>
                    <a:pt x="807" y="1060"/>
                    <a:pt x="810" y="1066"/>
                    <a:pt x="811" y="1071"/>
                  </a:cubicBezTo>
                  <a:cubicBezTo>
                    <a:pt x="814" y="1081"/>
                    <a:pt x="818" y="1090"/>
                    <a:pt x="821" y="1099"/>
                  </a:cubicBezTo>
                  <a:cubicBezTo>
                    <a:pt x="824" y="1110"/>
                    <a:pt x="827" y="1120"/>
                    <a:pt x="831" y="1131"/>
                  </a:cubicBezTo>
                  <a:cubicBezTo>
                    <a:pt x="834" y="1142"/>
                    <a:pt x="839" y="1153"/>
                    <a:pt x="842" y="1164"/>
                  </a:cubicBezTo>
                  <a:cubicBezTo>
                    <a:pt x="846" y="1179"/>
                    <a:pt x="850" y="1188"/>
                    <a:pt x="869" y="1185"/>
                  </a:cubicBezTo>
                  <a:cubicBezTo>
                    <a:pt x="873" y="1184"/>
                    <a:pt x="881" y="1189"/>
                    <a:pt x="884" y="1181"/>
                  </a:cubicBezTo>
                  <a:close/>
                  <a:moveTo>
                    <a:pt x="33" y="1051"/>
                  </a:moveTo>
                  <a:cubicBezTo>
                    <a:pt x="33" y="1087"/>
                    <a:pt x="33" y="1124"/>
                    <a:pt x="33" y="1160"/>
                  </a:cubicBezTo>
                  <a:cubicBezTo>
                    <a:pt x="33" y="1188"/>
                    <a:pt x="29" y="1184"/>
                    <a:pt x="58" y="1185"/>
                  </a:cubicBezTo>
                  <a:cubicBezTo>
                    <a:pt x="72" y="1185"/>
                    <a:pt x="73" y="1184"/>
                    <a:pt x="73" y="1170"/>
                  </a:cubicBezTo>
                  <a:cubicBezTo>
                    <a:pt x="73" y="1138"/>
                    <a:pt x="73" y="1107"/>
                    <a:pt x="73" y="1076"/>
                  </a:cubicBezTo>
                  <a:cubicBezTo>
                    <a:pt x="73" y="1071"/>
                    <a:pt x="72" y="1067"/>
                    <a:pt x="78" y="1065"/>
                  </a:cubicBezTo>
                  <a:cubicBezTo>
                    <a:pt x="91" y="1062"/>
                    <a:pt x="102" y="1067"/>
                    <a:pt x="110" y="1076"/>
                  </a:cubicBezTo>
                  <a:cubicBezTo>
                    <a:pt x="112" y="1080"/>
                    <a:pt x="115" y="1083"/>
                    <a:pt x="118" y="1086"/>
                  </a:cubicBezTo>
                  <a:cubicBezTo>
                    <a:pt x="132" y="1103"/>
                    <a:pt x="146" y="1119"/>
                    <a:pt x="161" y="1136"/>
                  </a:cubicBezTo>
                  <a:cubicBezTo>
                    <a:pt x="173" y="1150"/>
                    <a:pt x="186" y="1165"/>
                    <a:pt x="198" y="1179"/>
                  </a:cubicBezTo>
                  <a:cubicBezTo>
                    <a:pt x="207" y="1188"/>
                    <a:pt x="218" y="1184"/>
                    <a:pt x="228" y="1185"/>
                  </a:cubicBezTo>
                  <a:cubicBezTo>
                    <a:pt x="233" y="1185"/>
                    <a:pt x="241" y="1188"/>
                    <a:pt x="244" y="1182"/>
                  </a:cubicBezTo>
                  <a:cubicBezTo>
                    <a:pt x="246" y="1178"/>
                    <a:pt x="239" y="1173"/>
                    <a:pt x="235" y="1169"/>
                  </a:cubicBezTo>
                  <a:cubicBezTo>
                    <a:pt x="206" y="1133"/>
                    <a:pt x="176" y="1098"/>
                    <a:pt x="146" y="1062"/>
                  </a:cubicBezTo>
                  <a:cubicBezTo>
                    <a:pt x="141" y="1056"/>
                    <a:pt x="131" y="1052"/>
                    <a:pt x="132" y="1044"/>
                  </a:cubicBezTo>
                  <a:cubicBezTo>
                    <a:pt x="132" y="1036"/>
                    <a:pt x="142" y="1032"/>
                    <a:pt x="147" y="1026"/>
                  </a:cubicBezTo>
                  <a:cubicBezTo>
                    <a:pt x="164" y="1006"/>
                    <a:pt x="182" y="988"/>
                    <a:pt x="198" y="968"/>
                  </a:cubicBezTo>
                  <a:cubicBezTo>
                    <a:pt x="209" y="954"/>
                    <a:pt x="221" y="942"/>
                    <a:pt x="234" y="929"/>
                  </a:cubicBezTo>
                  <a:cubicBezTo>
                    <a:pt x="236" y="926"/>
                    <a:pt x="238" y="923"/>
                    <a:pt x="237" y="920"/>
                  </a:cubicBezTo>
                  <a:cubicBezTo>
                    <a:pt x="235" y="915"/>
                    <a:pt x="231" y="917"/>
                    <a:pt x="228" y="917"/>
                  </a:cubicBezTo>
                  <a:cubicBezTo>
                    <a:pt x="224" y="918"/>
                    <a:pt x="221" y="918"/>
                    <a:pt x="217" y="918"/>
                  </a:cubicBezTo>
                  <a:cubicBezTo>
                    <a:pt x="204" y="917"/>
                    <a:pt x="193" y="922"/>
                    <a:pt x="185" y="931"/>
                  </a:cubicBezTo>
                  <a:cubicBezTo>
                    <a:pt x="172" y="946"/>
                    <a:pt x="158" y="961"/>
                    <a:pt x="145" y="977"/>
                  </a:cubicBezTo>
                  <a:cubicBezTo>
                    <a:pt x="131" y="993"/>
                    <a:pt x="117" y="1010"/>
                    <a:pt x="102" y="1026"/>
                  </a:cubicBezTo>
                  <a:cubicBezTo>
                    <a:pt x="96" y="1032"/>
                    <a:pt x="87" y="1037"/>
                    <a:pt x="78" y="1034"/>
                  </a:cubicBezTo>
                  <a:cubicBezTo>
                    <a:pt x="70" y="1030"/>
                    <a:pt x="73" y="1021"/>
                    <a:pt x="73" y="1015"/>
                  </a:cubicBezTo>
                  <a:cubicBezTo>
                    <a:pt x="73" y="991"/>
                    <a:pt x="73" y="967"/>
                    <a:pt x="73" y="944"/>
                  </a:cubicBezTo>
                  <a:cubicBezTo>
                    <a:pt x="73" y="916"/>
                    <a:pt x="75" y="917"/>
                    <a:pt x="46" y="918"/>
                  </a:cubicBezTo>
                  <a:cubicBezTo>
                    <a:pt x="33" y="918"/>
                    <a:pt x="33" y="918"/>
                    <a:pt x="33" y="931"/>
                  </a:cubicBezTo>
                  <a:cubicBezTo>
                    <a:pt x="33" y="971"/>
                    <a:pt x="33" y="1011"/>
                    <a:pt x="33" y="1051"/>
                  </a:cubicBezTo>
                  <a:cubicBezTo>
                    <a:pt x="33" y="1051"/>
                    <a:pt x="33" y="1051"/>
                    <a:pt x="33" y="1051"/>
                  </a:cubicBezTo>
                  <a:close/>
                  <a:moveTo>
                    <a:pt x="639" y="84"/>
                  </a:moveTo>
                  <a:cubicBezTo>
                    <a:pt x="627" y="84"/>
                    <a:pt x="626" y="84"/>
                    <a:pt x="629" y="95"/>
                  </a:cubicBezTo>
                  <a:cubicBezTo>
                    <a:pt x="634" y="113"/>
                    <a:pt x="640" y="131"/>
                    <a:pt x="646" y="148"/>
                  </a:cubicBezTo>
                  <a:cubicBezTo>
                    <a:pt x="652" y="166"/>
                    <a:pt x="658" y="185"/>
                    <a:pt x="664" y="203"/>
                  </a:cubicBezTo>
                  <a:cubicBezTo>
                    <a:pt x="671" y="223"/>
                    <a:pt x="676" y="244"/>
                    <a:pt x="684" y="264"/>
                  </a:cubicBezTo>
                  <a:cubicBezTo>
                    <a:pt x="688" y="274"/>
                    <a:pt x="694" y="274"/>
                    <a:pt x="702" y="274"/>
                  </a:cubicBezTo>
                  <a:cubicBezTo>
                    <a:pt x="711" y="274"/>
                    <a:pt x="719" y="272"/>
                    <a:pt x="723" y="263"/>
                  </a:cubicBezTo>
                  <a:cubicBezTo>
                    <a:pt x="733" y="236"/>
                    <a:pt x="741" y="208"/>
                    <a:pt x="750" y="181"/>
                  </a:cubicBezTo>
                  <a:cubicBezTo>
                    <a:pt x="754" y="169"/>
                    <a:pt x="757" y="156"/>
                    <a:pt x="763" y="145"/>
                  </a:cubicBezTo>
                  <a:cubicBezTo>
                    <a:pt x="764" y="143"/>
                    <a:pt x="764" y="140"/>
                    <a:pt x="767" y="140"/>
                  </a:cubicBezTo>
                  <a:cubicBezTo>
                    <a:pt x="770" y="140"/>
                    <a:pt x="770" y="143"/>
                    <a:pt x="771" y="145"/>
                  </a:cubicBezTo>
                  <a:cubicBezTo>
                    <a:pt x="771" y="156"/>
                    <a:pt x="777" y="165"/>
                    <a:pt x="780" y="175"/>
                  </a:cubicBezTo>
                  <a:cubicBezTo>
                    <a:pt x="782" y="184"/>
                    <a:pt x="785" y="193"/>
                    <a:pt x="788" y="201"/>
                  </a:cubicBezTo>
                  <a:cubicBezTo>
                    <a:pt x="794" y="219"/>
                    <a:pt x="801" y="237"/>
                    <a:pt x="806" y="255"/>
                  </a:cubicBezTo>
                  <a:cubicBezTo>
                    <a:pt x="811" y="272"/>
                    <a:pt x="825" y="280"/>
                    <a:pt x="842" y="273"/>
                  </a:cubicBezTo>
                  <a:cubicBezTo>
                    <a:pt x="845" y="271"/>
                    <a:pt x="847" y="269"/>
                    <a:pt x="848" y="266"/>
                  </a:cubicBezTo>
                  <a:cubicBezTo>
                    <a:pt x="853" y="251"/>
                    <a:pt x="859" y="236"/>
                    <a:pt x="863" y="221"/>
                  </a:cubicBezTo>
                  <a:cubicBezTo>
                    <a:pt x="867" y="202"/>
                    <a:pt x="875" y="185"/>
                    <a:pt x="880" y="166"/>
                  </a:cubicBezTo>
                  <a:cubicBezTo>
                    <a:pt x="886" y="144"/>
                    <a:pt x="895" y="123"/>
                    <a:pt x="900" y="101"/>
                  </a:cubicBezTo>
                  <a:cubicBezTo>
                    <a:pt x="901" y="96"/>
                    <a:pt x="909" y="91"/>
                    <a:pt x="904" y="86"/>
                  </a:cubicBezTo>
                  <a:cubicBezTo>
                    <a:pt x="900" y="81"/>
                    <a:pt x="892" y="84"/>
                    <a:pt x="886" y="84"/>
                  </a:cubicBezTo>
                  <a:cubicBezTo>
                    <a:pt x="885" y="84"/>
                    <a:pt x="883" y="84"/>
                    <a:pt x="881" y="84"/>
                  </a:cubicBezTo>
                  <a:cubicBezTo>
                    <a:pt x="875" y="84"/>
                    <a:pt x="872" y="86"/>
                    <a:pt x="869" y="91"/>
                  </a:cubicBezTo>
                  <a:cubicBezTo>
                    <a:pt x="860" y="110"/>
                    <a:pt x="856" y="131"/>
                    <a:pt x="850" y="151"/>
                  </a:cubicBezTo>
                  <a:cubicBezTo>
                    <a:pt x="844" y="170"/>
                    <a:pt x="836" y="188"/>
                    <a:pt x="834" y="208"/>
                  </a:cubicBezTo>
                  <a:cubicBezTo>
                    <a:pt x="833" y="211"/>
                    <a:pt x="831" y="214"/>
                    <a:pt x="827" y="214"/>
                  </a:cubicBezTo>
                  <a:cubicBezTo>
                    <a:pt x="823" y="214"/>
                    <a:pt x="822" y="210"/>
                    <a:pt x="822" y="207"/>
                  </a:cubicBezTo>
                  <a:cubicBezTo>
                    <a:pt x="817" y="188"/>
                    <a:pt x="811" y="170"/>
                    <a:pt x="805" y="152"/>
                  </a:cubicBezTo>
                  <a:cubicBezTo>
                    <a:pt x="799" y="133"/>
                    <a:pt x="794" y="114"/>
                    <a:pt x="786" y="96"/>
                  </a:cubicBezTo>
                  <a:cubicBezTo>
                    <a:pt x="783" y="87"/>
                    <a:pt x="779" y="84"/>
                    <a:pt x="770" y="84"/>
                  </a:cubicBezTo>
                  <a:cubicBezTo>
                    <a:pt x="761" y="84"/>
                    <a:pt x="752" y="82"/>
                    <a:pt x="748" y="94"/>
                  </a:cubicBezTo>
                  <a:cubicBezTo>
                    <a:pt x="744" y="109"/>
                    <a:pt x="738" y="123"/>
                    <a:pt x="734" y="138"/>
                  </a:cubicBezTo>
                  <a:cubicBezTo>
                    <a:pt x="729" y="153"/>
                    <a:pt x="724" y="167"/>
                    <a:pt x="719" y="182"/>
                  </a:cubicBezTo>
                  <a:cubicBezTo>
                    <a:pt x="716" y="192"/>
                    <a:pt x="715" y="203"/>
                    <a:pt x="708" y="212"/>
                  </a:cubicBezTo>
                  <a:cubicBezTo>
                    <a:pt x="707" y="214"/>
                    <a:pt x="707" y="217"/>
                    <a:pt x="704" y="217"/>
                  </a:cubicBezTo>
                  <a:cubicBezTo>
                    <a:pt x="701" y="217"/>
                    <a:pt x="701" y="213"/>
                    <a:pt x="700" y="211"/>
                  </a:cubicBezTo>
                  <a:cubicBezTo>
                    <a:pt x="699" y="198"/>
                    <a:pt x="694" y="186"/>
                    <a:pt x="690" y="174"/>
                  </a:cubicBezTo>
                  <a:cubicBezTo>
                    <a:pt x="684" y="153"/>
                    <a:pt x="677" y="131"/>
                    <a:pt x="672" y="110"/>
                  </a:cubicBezTo>
                  <a:cubicBezTo>
                    <a:pt x="667" y="88"/>
                    <a:pt x="663" y="84"/>
                    <a:pt x="645" y="84"/>
                  </a:cubicBezTo>
                  <a:cubicBezTo>
                    <a:pt x="643" y="84"/>
                    <a:pt x="641" y="84"/>
                    <a:pt x="639" y="84"/>
                  </a:cubicBezTo>
                  <a:close/>
                  <a:moveTo>
                    <a:pt x="507" y="711"/>
                  </a:moveTo>
                  <a:cubicBezTo>
                    <a:pt x="507" y="730"/>
                    <a:pt x="507" y="730"/>
                    <a:pt x="526" y="730"/>
                  </a:cubicBezTo>
                  <a:cubicBezTo>
                    <a:pt x="539" y="730"/>
                    <a:pt x="541" y="729"/>
                    <a:pt x="541" y="715"/>
                  </a:cubicBezTo>
                  <a:cubicBezTo>
                    <a:pt x="541" y="677"/>
                    <a:pt x="541" y="638"/>
                    <a:pt x="540" y="600"/>
                  </a:cubicBezTo>
                  <a:cubicBezTo>
                    <a:pt x="540" y="593"/>
                    <a:pt x="543" y="587"/>
                    <a:pt x="548" y="582"/>
                  </a:cubicBezTo>
                  <a:cubicBezTo>
                    <a:pt x="553" y="576"/>
                    <a:pt x="559" y="573"/>
                    <a:pt x="564" y="569"/>
                  </a:cubicBezTo>
                  <a:cubicBezTo>
                    <a:pt x="574" y="564"/>
                    <a:pt x="594" y="566"/>
                    <a:pt x="602" y="574"/>
                  </a:cubicBezTo>
                  <a:cubicBezTo>
                    <a:pt x="611" y="582"/>
                    <a:pt x="614" y="592"/>
                    <a:pt x="614" y="604"/>
                  </a:cubicBezTo>
                  <a:cubicBezTo>
                    <a:pt x="614" y="638"/>
                    <a:pt x="614" y="672"/>
                    <a:pt x="614" y="706"/>
                  </a:cubicBezTo>
                  <a:cubicBezTo>
                    <a:pt x="614" y="730"/>
                    <a:pt x="614" y="730"/>
                    <a:pt x="638" y="730"/>
                  </a:cubicBezTo>
                  <a:cubicBezTo>
                    <a:pt x="650" y="730"/>
                    <a:pt x="650" y="730"/>
                    <a:pt x="650" y="717"/>
                  </a:cubicBezTo>
                  <a:cubicBezTo>
                    <a:pt x="650" y="684"/>
                    <a:pt x="650" y="650"/>
                    <a:pt x="650" y="617"/>
                  </a:cubicBezTo>
                  <a:cubicBezTo>
                    <a:pt x="650" y="606"/>
                    <a:pt x="651" y="597"/>
                    <a:pt x="657" y="586"/>
                  </a:cubicBezTo>
                  <a:cubicBezTo>
                    <a:pt x="667" y="565"/>
                    <a:pt x="703" y="560"/>
                    <a:pt x="716" y="579"/>
                  </a:cubicBezTo>
                  <a:cubicBezTo>
                    <a:pt x="723" y="588"/>
                    <a:pt x="724" y="598"/>
                    <a:pt x="724" y="609"/>
                  </a:cubicBezTo>
                  <a:cubicBezTo>
                    <a:pt x="724" y="645"/>
                    <a:pt x="724" y="682"/>
                    <a:pt x="724" y="718"/>
                  </a:cubicBezTo>
                  <a:cubicBezTo>
                    <a:pt x="724" y="727"/>
                    <a:pt x="727" y="731"/>
                    <a:pt x="736" y="730"/>
                  </a:cubicBezTo>
                  <a:cubicBezTo>
                    <a:pt x="738" y="730"/>
                    <a:pt x="741" y="730"/>
                    <a:pt x="743" y="730"/>
                  </a:cubicBezTo>
                  <a:cubicBezTo>
                    <a:pt x="758" y="730"/>
                    <a:pt x="759" y="729"/>
                    <a:pt x="759" y="715"/>
                  </a:cubicBezTo>
                  <a:cubicBezTo>
                    <a:pt x="759" y="677"/>
                    <a:pt x="758" y="639"/>
                    <a:pt x="759" y="601"/>
                  </a:cubicBezTo>
                  <a:cubicBezTo>
                    <a:pt x="759" y="571"/>
                    <a:pt x="742" y="540"/>
                    <a:pt x="704" y="538"/>
                  </a:cubicBezTo>
                  <a:cubicBezTo>
                    <a:pt x="681" y="536"/>
                    <a:pt x="661" y="542"/>
                    <a:pt x="646" y="560"/>
                  </a:cubicBezTo>
                  <a:cubicBezTo>
                    <a:pt x="638" y="569"/>
                    <a:pt x="638" y="569"/>
                    <a:pt x="631" y="559"/>
                  </a:cubicBezTo>
                  <a:cubicBezTo>
                    <a:pt x="630" y="558"/>
                    <a:pt x="630" y="557"/>
                    <a:pt x="629" y="556"/>
                  </a:cubicBezTo>
                  <a:cubicBezTo>
                    <a:pt x="623" y="548"/>
                    <a:pt x="616" y="541"/>
                    <a:pt x="607" y="539"/>
                  </a:cubicBezTo>
                  <a:cubicBezTo>
                    <a:pt x="584" y="534"/>
                    <a:pt x="563" y="539"/>
                    <a:pt x="545" y="555"/>
                  </a:cubicBezTo>
                  <a:cubicBezTo>
                    <a:pt x="540" y="559"/>
                    <a:pt x="537" y="561"/>
                    <a:pt x="537" y="552"/>
                  </a:cubicBezTo>
                  <a:cubicBezTo>
                    <a:pt x="536" y="543"/>
                    <a:pt x="526" y="538"/>
                    <a:pt x="515" y="539"/>
                  </a:cubicBezTo>
                  <a:cubicBezTo>
                    <a:pt x="506" y="540"/>
                    <a:pt x="507" y="546"/>
                    <a:pt x="507" y="552"/>
                  </a:cubicBezTo>
                  <a:cubicBezTo>
                    <a:pt x="507" y="580"/>
                    <a:pt x="507" y="607"/>
                    <a:pt x="507" y="634"/>
                  </a:cubicBezTo>
                  <a:cubicBezTo>
                    <a:pt x="507" y="660"/>
                    <a:pt x="507" y="685"/>
                    <a:pt x="507" y="711"/>
                  </a:cubicBezTo>
                  <a:close/>
                  <a:moveTo>
                    <a:pt x="1525" y="1142"/>
                  </a:moveTo>
                  <a:cubicBezTo>
                    <a:pt x="1517" y="1143"/>
                    <a:pt x="1511" y="1141"/>
                    <a:pt x="1505" y="1136"/>
                  </a:cubicBezTo>
                  <a:cubicBezTo>
                    <a:pt x="1501" y="1133"/>
                    <a:pt x="1495" y="1130"/>
                    <a:pt x="1498" y="1124"/>
                  </a:cubicBezTo>
                  <a:cubicBezTo>
                    <a:pt x="1500" y="1118"/>
                    <a:pt x="1504" y="1114"/>
                    <a:pt x="1512" y="1114"/>
                  </a:cubicBezTo>
                  <a:cubicBezTo>
                    <a:pt x="1521" y="1115"/>
                    <a:pt x="1530" y="1114"/>
                    <a:pt x="1538" y="1115"/>
                  </a:cubicBezTo>
                  <a:cubicBezTo>
                    <a:pt x="1573" y="1117"/>
                    <a:pt x="1610" y="1084"/>
                    <a:pt x="1602" y="1044"/>
                  </a:cubicBezTo>
                  <a:cubicBezTo>
                    <a:pt x="1600" y="1035"/>
                    <a:pt x="1599" y="1028"/>
                    <a:pt x="1611" y="1027"/>
                  </a:cubicBezTo>
                  <a:cubicBezTo>
                    <a:pt x="1614" y="1027"/>
                    <a:pt x="1617" y="1024"/>
                    <a:pt x="1619" y="1023"/>
                  </a:cubicBezTo>
                  <a:cubicBezTo>
                    <a:pt x="1626" y="1019"/>
                    <a:pt x="1624" y="1013"/>
                    <a:pt x="1623" y="1008"/>
                  </a:cubicBezTo>
                  <a:cubicBezTo>
                    <a:pt x="1623" y="1002"/>
                    <a:pt x="1618" y="1003"/>
                    <a:pt x="1613" y="1002"/>
                  </a:cubicBezTo>
                  <a:cubicBezTo>
                    <a:pt x="1598" y="1002"/>
                    <a:pt x="1582" y="1004"/>
                    <a:pt x="1567" y="1000"/>
                  </a:cubicBezTo>
                  <a:cubicBezTo>
                    <a:pt x="1560" y="999"/>
                    <a:pt x="1554" y="993"/>
                    <a:pt x="1546" y="993"/>
                  </a:cubicBezTo>
                  <a:cubicBezTo>
                    <a:pt x="1536" y="994"/>
                    <a:pt x="1525" y="992"/>
                    <a:pt x="1515" y="993"/>
                  </a:cubicBezTo>
                  <a:cubicBezTo>
                    <a:pt x="1490" y="997"/>
                    <a:pt x="1469" y="1010"/>
                    <a:pt x="1462" y="1034"/>
                  </a:cubicBezTo>
                  <a:cubicBezTo>
                    <a:pt x="1455" y="1056"/>
                    <a:pt x="1457" y="1079"/>
                    <a:pt x="1476" y="1096"/>
                  </a:cubicBezTo>
                  <a:cubicBezTo>
                    <a:pt x="1483" y="1103"/>
                    <a:pt x="1483" y="1107"/>
                    <a:pt x="1476" y="1113"/>
                  </a:cubicBezTo>
                  <a:cubicBezTo>
                    <a:pt x="1462" y="1126"/>
                    <a:pt x="1462" y="1142"/>
                    <a:pt x="1473" y="1157"/>
                  </a:cubicBezTo>
                  <a:cubicBezTo>
                    <a:pt x="1476" y="1160"/>
                    <a:pt x="1476" y="1162"/>
                    <a:pt x="1472" y="1164"/>
                  </a:cubicBezTo>
                  <a:cubicBezTo>
                    <a:pt x="1470" y="1166"/>
                    <a:pt x="1468" y="1168"/>
                    <a:pt x="1466" y="1170"/>
                  </a:cubicBezTo>
                  <a:cubicBezTo>
                    <a:pt x="1449" y="1183"/>
                    <a:pt x="1444" y="1201"/>
                    <a:pt x="1454" y="1218"/>
                  </a:cubicBezTo>
                  <a:cubicBezTo>
                    <a:pt x="1464" y="1235"/>
                    <a:pt x="1479" y="1246"/>
                    <a:pt x="1499" y="1249"/>
                  </a:cubicBezTo>
                  <a:cubicBezTo>
                    <a:pt x="1517" y="1252"/>
                    <a:pt x="1535" y="1253"/>
                    <a:pt x="1553" y="1250"/>
                  </a:cubicBezTo>
                  <a:cubicBezTo>
                    <a:pt x="1584" y="1245"/>
                    <a:pt x="1607" y="1232"/>
                    <a:pt x="1619" y="1200"/>
                  </a:cubicBezTo>
                  <a:cubicBezTo>
                    <a:pt x="1627" y="1180"/>
                    <a:pt x="1611" y="1155"/>
                    <a:pt x="1593" y="1148"/>
                  </a:cubicBezTo>
                  <a:cubicBezTo>
                    <a:pt x="1578" y="1142"/>
                    <a:pt x="1563" y="1143"/>
                    <a:pt x="1549" y="1142"/>
                  </a:cubicBezTo>
                  <a:cubicBezTo>
                    <a:pt x="1540" y="1142"/>
                    <a:pt x="1532" y="1142"/>
                    <a:pt x="1525" y="1142"/>
                  </a:cubicBezTo>
                  <a:close/>
                  <a:moveTo>
                    <a:pt x="1556" y="1172"/>
                  </a:moveTo>
                  <a:cubicBezTo>
                    <a:pt x="1566" y="1172"/>
                    <a:pt x="1576" y="1176"/>
                    <a:pt x="1583" y="1183"/>
                  </a:cubicBezTo>
                  <a:cubicBezTo>
                    <a:pt x="1589" y="1190"/>
                    <a:pt x="1589" y="1198"/>
                    <a:pt x="1583" y="1205"/>
                  </a:cubicBezTo>
                  <a:cubicBezTo>
                    <a:pt x="1575" y="1215"/>
                    <a:pt x="1565" y="1220"/>
                    <a:pt x="1553" y="1223"/>
                  </a:cubicBezTo>
                  <a:cubicBezTo>
                    <a:pt x="1534" y="1228"/>
                    <a:pt x="1516" y="1225"/>
                    <a:pt x="1499" y="1219"/>
                  </a:cubicBezTo>
                  <a:cubicBezTo>
                    <a:pt x="1486" y="1214"/>
                    <a:pt x="1479" y="1203"/>
                    <a:pt x="1482" y="1193"/>
                  </a:cubicBezTo>
                  <a:cubicBezTo>
                    <a:pt x="1485" y="1182"/>
                    <a:pt x="1496" y="1168"/>
                    <a:pt x="1514" y="1171"/>
                  </a:cubicBezTo>
                  <a:cubicBezTo>
                    <a:pt x="1526" y="1173"/>
                    <a:pt x="1541" y="1171"/>
                    <a:pt x="1556" y="1172"/>
                  </a:cubicBezTo>
                  <a:close/>
                  <a:moveTo>
                    <a:pt x="1531" y="1019"/>
                  </a:moveTo>
                  <a:cubicBezTo>
                    <a:pt x="1553" y="1017"/>
                    <a:pt x="1570" y="1033"/>
                    <a:pt x="1570" y="1052"/>
                  </a:cubicBezTo>
                  <a:cubicBezTo>
                    <a:pt x="1570" y="1075"/>
                    <a:pt x="1554" y="1093"/>
                    <a:pt x="1532" y="1091"/>
                  </a:cubicBezTo>
                  <a:cubicBezTo>
                    <a:pt x="1508" y="1089"/>
                    <a:pt x="1494" y="1082"/>
                    <a:pt x="1493" y="1053"/>
                  </a:cubicBezTo>
                  <a:cubicBezTo>
                    <a:pt x="1494" y="1029"/>
                    <a:pt x="1508" y="1020"/>
                    <a:pt x="1531" y="1019"/>
                  </a:cubicBezTo>
                  <a:close/>
                  <a:moveTo>
                    <a:pt x="1413" y="934"/>
                  </a:moveTo>
                  <a:cubicBezTo>
                    <a:pt x="1413" y="909"/>
                    <a:pt x="1413" y="909"/>
                    <a:pt x="1389" y="910"/>
                  </a:cubicBezTo>
                  <a:cubicBezTo>
                    <a:pt x="1388" y="910"/>
                    <a:pt x="1387" y="910"/>
                    <a:pt x="1387" y="910"/>
                  </a:cubicBezTo>
                  <a:cubicBezTo>
                    <a:pt x="1379" y="910"/>
                    <a:pt x="1376" y="915"/>
                    <a:pt x="1376" y="921"/>
                  </a:cubicBezTo>
                  <a:cubicBezTo>
                    <a:pt x="1376" y="939"/>
                    <a:pt x="1377" y="956"/>
                    <a:pt x="1377" y="974"/>
                  </a:cubicBezTo>
                  <a:cubicBezTo>
                    <a:pt x="1377" y="983"/>
                    <a:pt x="1377" y="991"/>
                    <a:pt x="1377" y="1000"/>
                  </a:cubicBezTo>
                  <a:cubicBezTo>
                    <a:pt x="1377" y="1005"/>
                    <a:pt x="1374" y="1009"/>
                    <a:pt x="1369" y="1005"/>
                  </a:cubicBezTo>
                  <a:cubicBezTo>
                    <a:pt x="1352" y="990"/>
                    <a:pt x="1332" y="993"/>
                    <a:pt x="1312" y="993"/>
                  </a:cubicBezTo>
                  <a:cubicBezTo>
                    <a:pt x="1303" y="994"/>
                    <a:pt x="1294" y="998"/>
                    <a:pt x="1287" y="1003"/>
                  </a:cubicBezTo>
                  <a:cubicBezTo>
                    <a:pt x="1265" y="1017"/>
                    <a:pt x="1252" y="1039"/>
                    <a:pt x="1248" y="1065"/>
                  </a:cubicBezTo>
                  <a:cubicBezTo>
                    <a:pt x="1244" y="1096"/>
                    <a:pt x="1244" y="1128"/>
                    <a:pt x="1261" y="1157"/>
                  </a:cubicBezTo>
                  <a:cubicBezTo>
                    <a:pt x="1270" y="1170"/>
                    <a:pt x="1281" y="1181"/>
                    <a:pt x="1296" y="1185"/>
                  </a:cubicBezTo>
                  <a:cubicBezTo>
                    <a:pt x="1323" y="1191"/>
                    <a:pt x="1349" y="1188"/>
                    <a:pt x="1370" y="1167"/>
                  </a:cubicBezTo>
                  <a:cubicBezTo>
                    <a:pt x="1372" y="1165"/>
                    <a:pt x="1375" y="1162"/>
                    <a:pt x="1379" y="1163"/>
                  </a:cubicBezTo>
                  <a:cubicBezTo>
                    <a:pt x="1382" y="1165"/>
                    <a:pt x="1381" y="1169"/>
                    <a:pt x="1381" y="1172"/>
                  </a:cubicBezTo>
                  <a:cubicBezTo>
                    <a:pt x="1383" y="1181"/>
                    <a:pt x="1390" y="1186"/>
                    <a:pt x="1403" y="1186"/>
                  </a:cubicBezTo>
                  <a:cubicBezTo>
                    <a:pt x="1413" y="1185"/>
                    <a:pt x="1413" y="1178"/>
                    <a:pt x="1413" y="1172"/>
                  </a:cubicBezTo>
                  <a:cubicBezTo>
                    <a:pt x="1413" y="1131"/>
                    <a:pt x="1413" y="1090"/>
                    <a:pt x="1413" y="1049"/>
                  </a:cubicBezTo>
                  <a:cubicBezTo>
                    <a:pt x="1413" y="1010"/>
                    <a:pt x="1413" y="972"/>
                    <a:pt x="1413" y="934"/>
                  </a:cubicBezTo>
                  <a:close/>
                  <a:moveTo>
                    <a:pt x="1378" y="1113"/>
                  </a:moveTo>
                  <a:cubicBezTo>
                    <a:pt x="1378" y="1136"/>
                    <a:pt x="1360" y="1155"/>
                    <a:pt x="1337" y="1157"/>
                  </a:cubicBezTo>
                  <a:cubicBezTo>
                    <a:pt x="1319" y="1159"/>
                    <a:pt x="1304" y="1154"/>
                    <a:pt x="1294" y="1139"/>
                  </a:cubicBezTo>
                  <a:cubicBezTo>
                    <a:pt x="1286" y="1128"/>
                    <a:pt x="1283" y="1116"/>
                    <a:pt x="1283" y="1102"/>
                  </a:cubicBezTo>
                  <a:cubicBezTo>
                    <a:pt x="1282" y="1085"/>
                    <a:pt x="1282" y="1067"/>
                    <a:pt x="1290" y="1051"/>
                  </a:cubicBezTo>
                  <a:cubicBezTo>
                    <a:pt x="1297" y="1036"/>
                    <a:pt x="1308" y="1024"/>
                    <a:pt x="1325" y="1022"/>
                  </a:cubicBezTo>
                  <a:cubicBezTo>
                    <a:pt x="1342" y="1020"/>
                    <a:pt x="1358" y="1021"/>
                    <a:pt x="1371" y="1035"/>
                  </a:cubicBezTo>
                  <a:cubicBezTo>
                    <a:pt x="1376" y="1041"/>
                    <a:pt x="1378" y="1046"/>
                    <a:pt x="1378" y="1052"/>
                  </a:cubicBezTo>
                  <a:cubicBezTo>
                    <a:pt x="1378" y="1064"/>
                    <a:pt x="1378" y="1075"/>
                    <a:pt x="1378" y="1086"/>
                  </a:cubicBezTo>
                  <a:cubicBezTo>
                    <a:pt x="1378" y="1086"/>
                    <a:pt x="1378" y="1086"/>
                    <a:pt x="1378" y="1086"/>
                  </a:cubicBezTo>
                  <a:cubicBezTo>
                    <a:pt x="1378" y="1095"/>
                    <a:pt x="1378" y="1104"/>
                    <a:pt x="1378" y="1113"/>
                  </a:cubicBezTo>
                  <a:close/>
                  <a:moveTo>
                    <a:pt x="578" y="259"/>
                  </a:moveTo>
                  <a:cubicBezTo>
                    <a:pt x="603" y="241"/>
                    <a:pt x="611" y="213"/>
                    <a:pt x="614" y="183"/>
                  </a:cubicBezTo>
                  <a:cubicBezTo>
                    <a:pt x="615" y="171"/>
                    <a:pt x="610" y="159"/>
                    <a:pt x="609" y="147"/>
                  </a:cubicBezTo>
                  <a:cubicBezTo>
                    <a:pt x="608" y="137"/>
                    <a:pt x="603" y="129"/>
                    <a:pt x="599" y="121"/>
                  </a:cubicBezTo>
                  <a:cubicBezTo>
                    <a:pt x="579" y="87"/>
                    <a:pt x="527" y="70"/>
                    <a:pt x="488" y="85"/>
                  </a:cubicBezTo>
                  <a:cubicBezTo>
                    <a:pt x="453" y="99"/>
                    <a:pt x="436" y="127"/>
                    <a:pt x="431" y="163"/>
                  </a:cubicBezTo>
                  <a:cubicBezTo>
                    <a:pt x="429" y="180"/>
                    <a:pt x="430" y="196"/>
                    <a:pt x="436" y="213"/>
                  </a:cubicBezTo>
                  <a:cubicBezTo>
                    <a:pt x="439" y="222"/>
                    <a:pt x="442" y="232"/>
                    <a:pt x="447" y="239"/>
                  </a:cubicBezTo>
                  <a:cubicBezTo>
                    <a:pt x="465" y="265"/>
                    <a:pt x="491" y="277"/>
                    <a:pt x="525" y="276"/>
                  </a:cubicBezTo>
                  <a:cubicBezTo>
                    <a:pt x="543" y="278"/>
                    <a:pt x="562" y="271"/>
                    <a:pt x="578" y="259"/>
                  </a:cubicBezTo>
                  <a:close/>
                  <a:moveTo>
                    <a:pt x="471" y="205"/>
                  </a:moveTo>
                  <a:cubicBezTo>
                    <a:pt x="466" y="185"/>
                    <a:pt x="468" y="167"/>
                    <a:pt x="472" y="147"/>
                  </a:cubicBezTo>
                  <a:cubicBezTo>
                    <a:pt x="477" y="130"/>
                    <a:pt x="493" y="116"/>
                    <a:pt x="509" y="112"/>
                  </a:cubicBezTo>
                  <a:cubicBezTo>
                    <a:pt x="525" y="108"/>
                    <a:pt x="539" y="110"/>
                    <a:pt x="553" y="119"/>
                  </a:cubicBezTo>
                  <a:cubicBezTo>
                    <a:pt x="563" y="125"/>
                    <a:pt x="568" y="135"/>
                    <a:pt x="571" y="146"/>
                  </a:cubicBezTo>
                  <a:cubicBezTo>
                    <a:pt x="577" y="167"/>
                    <a:pt x="578" y="189"/>
                    <a:pt x="571" y="211"/>
                  </a:cubicBezTo>
                  <a:cubicBezTo>
                    <a:pt x="565" y="231"/>
                    <a:pt x="549" y="249"/>
                    <a:pt x="521" y="247"/>
                  </a:cubicBezTo>
                  <a:cubicBezTo>
                    <a:pt x="496" y="247"/>
                    <a:pt x="478" y="230"/>
                    <a:pt x="471" y="205"/>
                  </a:cubicBezTo>
                  <a:close/>
                  <a:moveTo>
                    <a:pt x="472" y="1122"/>
                  </a:moveTo>
                  <a:cubicBezTo>
                    <a:pt x="475" y="1136"/>
                    <a:pt x="481" y="1148"/>
                    <a:pt x="491" y="1158"/>
                  </a:cubicBezTo>
                  <a:cubicBezTo>
                    <a:pt x="506" y="1176"/>
                    <a:pt x="524" y="1185"/>
                    <a:pt x="548" y="1187"/>
                  </a:cubicBezTo>
                  <a:cubicBezTo>
                    <a:pt x="568" y="1188"/>
                    <a:pt x="587" y="1187"/>
                    <a:pt x="605" y="1177"/>
                  </a:cubicBezTo>
                  <a:cubicBezTo>
                    <a:pt x="632" y="1162"/>
                    <a:pt x="644" y="1136"/>
                    <a:pt x="649" y="1107"/>
                  </a:cubicBezTo>
                  <a:cubicBezTo>
                    <a:pt x="652" y="1089"/>
                    <a:pt x="649" y="1072"/>
                    <a:pt x="644" y="1054"/>
                  </a:cubicBezTo>
                  <a:cubicBezTo>
                    <a:pt x="638" y="1034"/>
                    <a:pt x="627" y="1019"/>
                    <a:pt x="610" y="1007"/>
                  </a:cubicBezTo>
                  <a:cubicBezTo>
                    <a:pt x="589" y="992"/>
                    <a:pt x="566" y="991"/>
                    <a:pt x="541" y="994"/>
                  </a:cubicBezTo>
                  <a:cubicBezTo>
                    <a:pt x="526" y="995"/>
                    <a:pt x="512" y="1002"/>
                    <a:pt x="500" y="1012"/>
                  </a:cubicBezTo>
                  <a:cubicBezTo>
                    <a:pt x="476" y="1032"/>
                    <a:pt x="469" y="1060"/>
                    <a:pt x="466" y="1095"/>
                  </a:cubicBezTo>
                  <a:cubicBezTo>
                    <a:pt x="465" y="1101"/>
                    <a:pt x="470" y="1111"/>
                    <a:pt x="472" y="1122"/>
                  </a:cubicBezTo>
                  <a:close/>
                  <a:moveTo>
                    <a:pt x="508" y="1113"/>
                  </a:moveTo>
                  <a:cubicBezTo>
                    <a:pt x="505" y="1095"/>
                    <a:pt x="506" y="1078"/>
                    <a:pt x="508" y="1061"/>
                  </a:cubicBezTo>
                  <a:cubicBezTo>
                    <a:pt x="511" y="1042"/>
                    <a:pt x="538" y="1021"/>
                    <a:pt x="554" y="1022"/>
                  </a:cubicBezTo>
                  <a:cubicBezTo>
                    <a:pt x="570" y="1022"/>
                    <a:pt x="586" y="1024"/>
                    <a:pt x="596" y="1037"/>
                  </a:cubicBezTo>
                  <a:cubicBezTo>
                    <a:pt x="602" y="1044"/>
                    <a:pt x="607" y="1052"/>
                    <a:pt x="608" y="1061"/>
                  </a:cubicBezTo>
                  <a:cubicBezTo>
                    <a:pt x="608" y="1064"/>
                    <a:pt x="609" y="1067"/>
                    <a:pt x="610" y="1070"/>
                  </a:cubicBezTo>
                  <a:cubicBezTo>
                    <a:pt x="618" y="1089"/>
                    <a:pt x="612" y="1107"/>
                    <a:pt x="607" y="1125"/>
                  </a:cubicBezTo>
                  <a:cubicBezTo>
                    <a:pt x="601" y="1143"/>
                    <a:pt x="588" y="1160"/>
                    <a:pt x="558" y="1157"/>
                  </a:cubicBezTo>
                  <a:cubicBezTo>
                    <a:pt x="530" y="1157"/>
                    <a:pt x="512" y="1141"/>
                    <a:pt x="508" y="1113"/>
                  </a:cubicBezTo>
                  <a:close/>
                  <a:moveTo>
                    <a:pt x="430" y="716"/>
                  </a:moveTo>
                  <a:cubicBezTo>
                    <a:pt x="450" y="703"/>
                    <a:pt x="459" y="683"/>
                    <a:pt x="464" y="661"/>
                  </a:cubicBezTo>
                  <a:cubicBezTo>
                    <a:pt x="468" y="648"/>
                    <a:pt x="467" y="635"/>
                    <a:pt x="466" y="621"/>
                  </a:cubicBezTo>
                  <a:cubicBezTo>
                    <a:pt x="463" y="592"/>
                    <a:pt x="453" y="567"/>
                    <a:pt x="427" y="550"/>
                  </a:cubicBezTo>
                  <a:cubicBezTo>
                    <a:pt x="401" y="534"/>
                    <a:pt x="372" y="532"/>
                    <a:pt x="345" y="541"/>
                  </a:cubicBezTo>
                  <a:cubicBezTo>
                    <a:pt x="310" y="552"/>
                    <a:pt x="291" y="580"/>
                    <a:pt x="287" y="617"/>
                  </a:cubicBezTo>
                  <a:cubicBezTo>
                    <a:pt x="286" y="629"/>
                    <a:pt x="286" y="641"/>
                    <a:pt x="287" y="654"/>
                  </a:cubicBezTo>
                  <a:cubicBezTo>
                    <a:pt x="289" y="671"/>
                    <a:pt x="295" y="686"/>
                    <a:pt x="306" y="700"/>
                  </a:cubicBezTo>
                  <a:cubicBezTo>
                    <a:pt x="324" y="722"/>
                    <a:pt x="348" y="733"/>
                    <a:pt x="378" y="731"/>
                  </a:cubicBezTo>
                  <a:cubicBezTo>
                    <a:pt x="396" y="733"/>
                    <a:pt x="414" y="727"/>
                    <a:pt x="430" y="716"/>
                  </a:cubicBezTo>
                  <a:close/>
                  <a:moveTo>
                    <a:pt x="331" y="592"/>
                  </a:moveTo>
                  <a:cubicBezTo>
                    <a:pt x="339" y="580"/>
                    <a:pt x="349" y="569"/>
                    <a:pt x="365" y="567"/>
                  </a:cubicBezTo>
                  <a:cubicBezTo>
                    <a:pt x="387" y="564"/>
                    <a:pt x="406" y="568"/>
                    <a:pt x="419" y="588"/>
                  </a:cubicBezTo>
                  <a:cubicBezTo>
                    <a:pt x="423" y="595"/>
                    <a:pt x="426" y="603"/>
                    <a:pt x="427" y="610"/>
                  </a:cubicBezTo>
                  <a:cubicBezTo>
                    <a:pt x="433" y="635"/>
                    <a:pt x="431" y="661"/>
                    <a:pt x="416" y="684"/>
                  </a:cubicBezTo>
                  <a:cubicBezTo>
                    <a:pt x="403" y="706"/>
                    <a:pt x="362" y="708"/>
                    <a:pt x="345" y="692"/>
                  </a:cubicBezTo>
                  <a:cubicBezTo>
                    <a:pt x="329" y="678"/>
                    <a:pt x="323" y="661"/>
                    <a:pt x="323" y="631"/>
                  </a:cubicBezTo>
                  <a:cubicBezTo>
                    <a:pt x="323" y="619"/>
                    <a:pt x="323" y="605"/>
                    <a:pt x="331" y="592"/>
                  </a:cubicBezTo>
                  <a:close/>
                  <a:moveTo>
                    <a:pt x="1073" y="259"/>
                  </a:moveTo>
                  <a:cubicBezTo>
                    <a:pt x="1073" y="269"/>
                    <a:pt x="1075" y="272"/>
                    <a:pt x="1086" y="272"/>
                  </a:cubicBezTo>
                  <a:cubicBezTo>
                    <a:pt x="1088" y="272"/>
                    <a:pt x="1090" y="272"/>
                    <a:pt x="1092" y="272"/>
                  </a:cubicBezTo>
                  <a:cubicBezTo>
                    <a:pt x="1105" y="272"/>
                    <a:pt x="1106" y="271"/>
                    <a:pt x="1106" y="258"/>
                  </a:cubicBezTo>
                  <a:cubicBezTo>
                    <a:pt x="1106" y="221"/>
                    <a:pt x="1106" y="184"/>
                    <a:pt x="1106" y="147"/>
                  </a:cubicBezTo>
                  <a:cubicBezTo>
                    <a:pt x="1106" y="143"/>
                    <a:pt x="1106" y="140"/>
                    <a:pt x="1107" y="137"/>
                  </a:cubicBezTo>
                  <a:cubicBezTo>
                    <a:pt x="1117" y="117"/>
                    <a:pt x="1157" y="104"/>
                    <a:pt x="1177" y="114"/>
                  </a:cubicBezTo>
                  <a:cubicBezTo>
                    <a:pt x="1179" y="115"/>
                    <a:pt x="1180" y="117"/>
                    <a:pt x="1182" y="118"/>
                  </a:cubicBezTo>
                  <a:cubicBezTo>
                    <a:pt x="1194" y="131"/>
                    <a:pt x="1196" y="147"/>
                    <a:pt x="1196" y="163"/>
                  </a:cubicBezTo>
                  <a:cubicBezTo>
                    <a:pt x="1197" y="195"/>
                    <a:pt x="1196" y="226"/>
                    <a:pt x="1196" y="258"/>
                  </a:cubicBezTo>
                  <a:cubicBezTo>
                    <a:pt x="1196" y="271"/>
                    <a:pt x="1197" y="272"/>
                    <a:pt x="1210" y="272"/>
                  </a:cubicBezTo>
                  <a:cubicBezTo>
                    <a:pt x="1212" y="272"/>
                    <a:pt x="1213" y="272"/>
                    <a:pt x="1215" y="272"/>
                  </a:cubicBezTo>
                  <a:cubicBezTo>
                    <a:pt x="1227" y="272"/>
                    <a:pt x="1229" y="270"/>
                    <a:pt x="1229" y="258"/>
                  </a:cubicBezTo>
                  <a:cubicBezTo>
                    <a:pt x="1229" y="222"/>
                    <a:pt x="1229" y="187"/>
                    <a:pt x="1229" y="151"/>
                  </a:cubicBezTo>
                  <a:cubicBezTo>
                    <a:pt x="1229" y="142"/>
                    <a:pt x="1228" y="132"/>
                    <a:pt x="1225" y="123"/>
                  </a:cubicBezTo>
                  <a:cubicBezTo>
                    <a:pt x="1219" y="105"/>
                    <a:pt x="1208" y="91"/>
                    <a:pt x="1189" y="85"/>
                  </a:cubicBezTo>
                  <a:cubicBezTo>
                    <a:pt x="1173" y="80"/>
                    <a:pt x="1156" y="84"/>
                    <a:pt x="1139" y="84"/>
                  </a:cubicBezTo>
                  <a:cubicBezTo>
                    <a:pt x="1137" y="84"/>
                    <a:pt x="1136" y="86"/>
                    <a:pt x="1134" y="87"/>
                  </a:cubicBezTo>
                  <a:cubicBezTo>
                    <a:pt x="1128" y="91"/>
                    <a:pt x="1121" y="96"/>
                    <a:pt x="1115" y="100"/>
                  </a:cubicBezTo>
                  <a:cubicBezTo>
                    <a:pt x="1113" y="102"/>
                    <a:pt x="1111" y="105"/>
                    <a:pt x="1108" y="103"/>
                  </a:cubicBezTo>
                  <a:cubicBezTo>
                    <a:pt x="1105" y="102"/>
                    <a:pt x="1106" y="98"/>
                    <a:pt x="1106" y="96"/>
                  </a:cubicBezTo>
                  <a:cubicBezTo>
                    <a:pt x="1106" y="69"/>
                    <a:pt x="1106" y="43"/>
                    <a:pt x="1106" y="17"/>
                  </a:cubicBezTo>
                  <a:cubicBezTo>
                    <a:pt x="1106" y="0"/>
                    <a:pt x="1106" y="0"/>
                    <a:pt x="1089" y="0"/>
                  </a:cubicBezTo>
                  <a:cubicBezTo>
                    <a:pt x="1074" y="0"/>
                    <a:pt x="1073" y="1"/>
                    <a:pt x="1073" y="16"/>
                  </a:cubicBezTo>
                  <a:cubicBezTo>
                    <a:pt x="1073" y="56"/>
                    <a:pt x="1073" y="96"/>
                    <a:pt x="1073" y="136"/>
                  </a:cubicBezTo>
                  <a:cubicBezTo>
                    <a:pt x="1073" y="177"/>
                    <a:pt x="1073" y="218"/>
                    <a:pt x="1073" y="259"/>
                  </a:cubicBezTo>
                  <a:close/>
                  <a:moveTo>
                    <a:pt x="1150" y="1092"/>
                  </a:moveTo>
                  <a:cubicBezTo>
                    <a:pt x="1168" y="1092"/>
                    <a:pt x="1186" y="1092"/>
                    <a:pt x="1204" y="1092"/>
                  </a:cubicBezTo>
                  <a:cubicBezTo>
                    <a:pt x="1215" y="1092"/>
                    <a:pt x="1218" y="1087"/>
                    <a:pt x="1219" y="1077"/>
                  </a:cubicBezTo>
                  <a:cubicBezTo>
                    <a:pt x="1220" y="1062"/>
                    <a:pt x="1216" y="1049"/>
                    <a:pt x="1210" y="1036"/>
                  </a:cubicBezTo>
                  <a:cubicBezTo>
                    <a:pt x="1204" y="1020"/>
                    <a:pt x="1193" y="1008"/>
                    <a:pt x="1177" y="1001"/>
                  </a:cubicBezTo>
                  <a:cubicBezTo>
                    <a:pt x="1155" y="992"/>
                    <a:pt x="1133" y="991"/>
                    <a:pt x="1109" y="999"/>
                  </a:cubicBezTo>
                  <a:cubicBezTo>
                    <a:pt x="1079" y="1010"/>
                    <a:pt x="1062" y="1031"/>
                    <a:pt x="1056" y="1061"/>
                  </a:cubicBezTo>
                  <a:cubicBezTo>
                    <a:pt x="1051" y="1090"/>
                    <a:pt x="1052" y="1120"/>
                    <a:pt x="1069" y="1148"/>
                  </a:cubicBezTo>
                  <a:cubicBezTo>
                    <a:pt x="1081" y="1169"/>
                    <a:pt x="1100" y="1180"/>
                    <a:pt x="1122" y="1185"/>
                  </a:cubicBezTo>
                  <a:cubicBezTo>
                    <a:pt x="1149" y="1190"/>
                    <a:pt x="1176" y="1186"/>
                    <a:pt x="1200" y="1171"/>
                  </a:cubicBezTo>
                  <a:cubicBezTo>
                    <a:pt x="1206" y="1168"/>
                    <a:pt x="1213" y="1165"/>
                    <a:pt x="1214" y="1157"/>
                  </a:cubicBezTo>
                  <a:cubicBezTo>
                    <a:pt x="1215" y="1147"/>
                    <a:pt x="1202" y="1139"/>
                    <a:pt x="1193" y="1144"/>
                  </a:cubicBezTo>
                  <a:cubicBezTo>
                    <a:pt x="1187" y="1147"/>
                    <a:pt x="1180" y="1150"/>
                    <a:pt x="1174" y="1153"/>
                  </a:cubicBezTo>
                  <a:cubicBezTo>
                    <a:pt x="1158" y="1161"/>
                    <a:pt x="1140" y="1161"/>
                    <a:pt x="1124" y="1155"/>
                  </a:cubicBezTo>
                  <a:cubicBezTo>
                    <a:pt x="1112" y="1151"/>
                    <a:pt x="1102" y="1142"/>
                    <a:pt x="1096" y="1129"/>
                  </a:cubicBezTo>
                  <a:cubicBezTo>
                    <a:pt x="1092" y="1121"/>
                    <a:pt x="1091" y="1112"/>
                    <a:pt x="1089" y="1104"/>
                  </a:cubicBezTo>
                  <a:cubicBezTo>
                    <a:pt x="1087" y="1093"/>
                    <a:pt x="1087" y="1092"/>
                    <a:pt x="1099" y="1092"/>
                  </a:cubicBezTo>
                  <a:cubicBezTo>
                    <a:pt x="1116" y="1092"/>
                    <a:pt x="1133" y="1092"/>
                    <a:pt x="1150" y="1092"/>
                  </a:cubicBezTo>
                  <a:cubicBezTo>
                    <a:pt x="1150" y="1092"/>
                    <a:pt x="1150" y="1092"/>
                    <a:pt x="1150" y="1092"/>
                  </a:cubicBezTo>
                  <a:close/>
                  <a:moveTo>
                    <a:pt x="1099" y="1070"/>
                  </a:moveTo>
                  <a:cubicBezTo>
                    <a:pt x="1092" y="1071"/>
                    <a:pt x="1089" y="1067"/>
                    <a:pt x="1091" y="1060"/>
                  </a:cubicBezTo>
                  <a:cubicBezTo>
                    <a:pt x="1094" y="1045"/>
                    <a:pt x="1108" y="1023"/>
                    <a:pt x="1128" y="1022"/>
                  </a:cubicBezTo>
                  <a:cubicBezTo>
                    <a:pt x="1142" y="1021"/>
                    <a:pt x="1156" y="1018"/>
                    <a:pt x="1168" y="1029"/>
                  </a:cubicBezTo>
                  <a:cubicBezTo>
                    <a:pt x="1181" y="1038"/>
                    <a:pt x="1185" y="1051"/>
                    <a:pt x="1187" y="1066"/>
                  </a:cubicBezTo>
                  <a:cubicBezTo>
                    <a:pt x="1188" y="1071"/>
                    <a:pt x="1183" y="1070"/>
                    <a:pt x="1180" y="1070"/>
                  </a:cubicBezTo>
                  <a:cubicBezTo>
                    <a:pt x="1166" y="1070"/>
                    <a:pt x="1153" y="1070"/>
                    <a:pt x="1139" y="1070"/>
                  </a:cubicBezTo>
                  <a:cubicBezTo>
                    <a:pt x="1139" y="1070"/>
                    <a:pt x="1139" y="1070"/>
                    <a:pt x="1139" y="1070"/>
                  </a:cubicBezTo>
                  <a:cubicBezTo>
                    <a:pt x="1126" y="1070"/>
                    <a:pt x="1113" y="1070"/>
                    <a:pt x="1099" y="1070"/>
                  </a:cubicBezTo>
                  <a:close/>
                  <a:moveTo>
                    <a:pt x="1741" y="1092"/>
                  </a:moveTo>
                  <a:cubicBezTo>
                    <a:pt x="1759" y="1092"/>
                    <a:pt x="1776" y="1092"/>
                    <a:pt x="1793" y="1092"/>
                  </a:cubicBezTo>
                  <a:cubicBezTo>
                    <a:pt x="1806" y="1092"/>
                    <a:pt x="1808" y="1089"/>
                    <a:pt x="1808" y="1076"/>
                  </a:cubicBezTo>
                  <a:cubicBezTo>
                    <a:pt x="1809" y="1063"/>
                    <a:pt x="1807" y="1051"/>
                    <a:pt x="1802" y="1038"/>
                  </a:cubicBezTo>
                  <a:cubicBezTo>
                    <a:pt x="1794" y="1021"/>
                    <a:pt x="1782" y="1008"/>
                    <a:pt x="1764" y="1000"/>
                  </a:cubicBezTo>
                  <a:cubicBezTo>
                    <a:pt x="1742" y="991"/>
                    <a:pt x="1720" y="991"/>
                    <a:pt x="1698" y="1000"/>
                  </a:cubicBezTo>
                  <a:cubicBezTo>
                    <a:pt x="1681" y="1006"/>
                    <a:pt x="1668" y="1016"/>
                    <a:pt x="1659" y="1031"/>
                  </a:cubicBezTo>
                  <a:cubicBezTo>
                    <a:pt x="1646" y="1050"/>
                    <a:pt x="1643" y="1071"/>
                    <a:pt x="1644" y="1094"/>
                  </a:cubicBezTo>
                  <a:cubicBezTo>
                    <a:pt x="1644" y="1110"/>
                    <a:pt x="1647" y="1127"/>
                    <a:pt x="1655" y="1141"/>
                  </a:cubicBezTo>
                  <a:cubicBezTo>
                    <a:pt x="1669" y="1168"/>
                    <a:pt x="1691" y="1183"/>
                    <a:pt x="1722" y="1186"/>
                  </a:cubicBezTo>
                  <a:cubicBezTo>
                    <a:pt x="1750" y="1188"/>
                    <a:pt x="1775" y="1183"/>
                    <a:pt x="1798" y="1165"/>
                  </a:cubicBezTo>
                  <a:cubicBezTo>
                    <a:pt x="1803" y="1161"/>
                    <a:pt x="1806" y="1157"/>
                    <a:pt x="1802" y="1151"/>
                  </a:cubicBezTo>
                  <a:cubicBezTo>
                    <a:pt x="1798" y="1144"/>
                    <a:pt x="1791" y="1140"/>
                    <a:pt x="1783" y="1144"/>
                  </a:cubicBezTo>
                  <a:cubicBezTo>
                    <a:pt x="1778" y="1147"/>
                    <a:pt x="1771" y="1149"/>
                    <a:pt x="1766" y="1152"/>
                  </a:cubicBezTo>
                  <a:cubicBezTo>
                    <a:pt x="1749" y="1161"/>
                    <a:pt x="1730" y="1162"/>
                    <a:pt x="1714" y="1155"/>
                  </a:cubicBezTo>
                  <a:cubicBezTo>
                    <a:pt x="1692" y="1145"/>
                    <a:pt x="1680" y="1127"/>
                    <a:pt x="1679" y="1102"/>
                  </a:cubicBezTo>
                  <a:cubicBezTo>
                    <a:pt x="1678" y="1095"/>
                    <a:pt x="1681" y="1092"/>
                    <a:pt x="1689" y="1092"/>
                  </a:cubicBezTo>
                  <a:cubicBezTo>
                    <a:pt x="1706" y="1092"/>
                    <a:pt x="1724" y="1092"/>
                    <a:pt x="1741" y="1092"/>
                  </a:cubicBezTo>
                  <a:cubicBezTo>
                    <a:pt x="1741" y="1092"/>
                    <a:pt x="1741" y="1092"/>
                    <a:pt x="1741" y="1092"/>
                  </a:cubicBezTo>
                  <a:close/>
                  <a:moveTo>
                    <a:pt x="1690" y="1070"/>
                  </a:moveTo>
                  <a:cubicBezTo>
                    <a:pt x="1683" y="1071"/>
                    <a:pt x="1680" y="1068"/>
                    <a:pt x="1681" y="1062"/>
                  </a:cubicBezTo>
                  <a:cubicBezTo>
                    <a:pt x="1683" y="1048"/>
                    <a:pt x="1697" y="1024"/>
                    <a:pt x="1716" y="1022"/>
                  </a:cubicBezTo>
                  <a:cubicBezTo>
                    <a:pt x="1731" y="1020"/>
                    <a:pt x="1747" y="1018"/>
                    <a:pt x="1760" y="1030"/>
                  </a:cubicBezTo>
                  <a:cubicBezTo>
                    <a:pt x="1771" y="1038"/>
                    <a:pt x="1775" y="1050"/>
                    <a:pt x="1778" y="1062"/>
                  </a:cubicBezTo>
                  <a:cubicBezTo>
                    <a:pt x="1780" y="1068"/>
                    <a:pt x="1775" y="1070"/>
                    <a:pt x="1769" y="1070"/>
                  </a:cubicBezTo>
                  <a:cubicBezTo>
                    <a:pt x="1756" y="1070"/>
                    <a:pt x="1742" y="1070"/>
                    <a:pt x="1729" y="1070"/>
                  </a:cubicBezTo>
                  <a:cubicBezTo>
                    <a:pt x="1729" y="1070"/>
                    <a:pt x="1729" y="1070"/>
                    <a:pt x="1729" y="1070"/>
                  </a:cubicBezTo>
                  <a:cubicBezTo>
                    <a:pt x="1716" y="1070"/>
                    <a:pt x="1703" y="1070"/>
                    <a:pt x="1690" y="1070"/>
                  </a:cubicBezTo>
                  <a:close/>
                  <a:moveTo>
                    <a:pt x="68" y="581"/>
                  </a:moveTo>
                  <a:cubicBezTo>
                    <a:pt x="68" y="573"/>
                    <a:pt x="70" y="568"/>
                    <a:pt x="80" y="569"/>
                  </a:cubicBezTo>
                  <a:cubicBezTo>
                    <a:pt x="90" y="570"/>
                    <a:pt x="101" y="570"/>
                    <a:pt x="111" y="569"/>
                  </a:cubicBezTo>
                  <a:cubicBezTo>
                    <a:pt x="120" y="569"/>
                    <a:pt x="120" y="563"/>
                    <a:pt x="120" y="556"/>
                  </a:cubicBezTo>
                  <a:cubicBezTo>
                    <a:pt x="120" y="549"/>
                    <a:pt x="119" y="544"/>
                    <a:pt x="111" y="544"/>
                  </a:cubicBezTo>
                  <a:cubicBezTo>
                    <a:pt x="104" y="544"/>
                    <a:pt x="97" y="544"/>
                    <a:pt x="91" y="544"/>
                  </a:cubicBezTo>
                  <a:cubicBezTo>
                    <a:pt x="66" y="544"/>
                    <a:pt x="65" y="543"/>
                    <a:pt x="68" y="518"/>
                  </a:cubicBezTo>
                  <a:cubicBezTo>
                    <a:pt x="69" y="504"/>
                    <a:pt x="83" y="487"/>
                    <a:pt x="99" y="489"/>
                  </a:cubicBezTo>
                  <a:cubicBezTo>
                    <a:pt x="103" y="489"/>
                    <a:pt x="107" y="489"/>
                    <a:pt x="110" y="488"/>
                  </a:cubicBezTo>
                  <a:cubicBezTo>
                    <a:pt x="118" y="487"/>
                    <a:pt x="123" y="479"/>
                    <a:pt x="123" y="471"/>
                  </a:cubicBezTo>
                  <a:cubicBezTo>
                    <a:pt x="123" y="461"/>
                    <a:pt x="116" y="462"/>
                    <a:pt x="109" y="460"/>
                  </a:cubicBezTo>
                  <a:cubicBezTo>
                    <a:pt x="100" y="458"/>
                    <a:pt x="92" y="460"/>
                    <a:pt x="84" y="460"/>
                  </a:cubicBezTo>
                  <a:cubicBezTo>
                    <a:pt x="68" y="461"/>
                    <a:pt x="56" y="469"/>
                    <a:pt x="47" y="480"/>
                  </a:cubicBezTo>
                  <a:cubicBezTo>
                    <a:pt x="34" y="493"/>
                    <a:pt x="32" y="511"/>
                    <a:pt x="32" y="529"/>
                  </a:cubicBezTo>
                  <a:cubicBezTo>
                    <a:pt x="32" y="544"/>
                    <a:pt x="32" y="544"/>
                    <a:pt x="17" y="544"/>
                  </a:cubicBezTo>
                  <a:cubicBezTo>
                    <a:pt x="4" y="543"/>
                    <a:pt x="0" y="548"/>
                    <a:pt x="4" y="561"/>
                  </a:cubicBezTo>
                  <a:cubicBezTo>
                    <a:pt x="6" y="569"/>
                    <a:pt x="13" y="568"/>
                    <a:pt x="19" y="569"/>
                  </a:cubicBezTo>
                  <a:cubicBezTo>
                    <a:pt x="32" y="571"/>
                    <a:pt x="32" y="571"/>
                    <a:pt x="32" y="584"/>
                  </a:cubicBezTo>
                  <a:cubicBezTo>
                    <a:pt x="32" y="624"/>
                    <a:pt x="32" y="664"/>
                    <a:pt x="32" y="704"/>
                  </a:cubicBezTo>
                  <a:cubicBezTo>
                    <a:pt x="32" y="731"/>
                    <a:pt x="32" y="730"/>
                    <a:pt x="57" y="731"/>
                  </a:cubicBezTo>
                  <a:cubicBezTo>
                    <a:pt x="66" y="731"/>
                    <a:pt x="68" y="727"/>
                    <a:pt x="68" y="720"/>
                  </a:cubicBezTo>
                  <a:cubicBezTo>
                    <a:pt x="68" y="697"/>
                    <a:pt x="68" y="674"/>
                    <a:pt x="68" y="651"/>
                  </a:cubicBezTo>
                  <a:cubicBezTo>
                    <a:pt x="68" y="628"/>
                    <a:pt x="68" y="605"/>
                    <a:pt x="68" y="581"/>
                  </a:cubicBezTo>
                  <a:close/>
                  <a:moveTo>
                    <a:pt x="278" y="1165"/>
                  </a:moveTo>
                  <a:cubicBezTo>
                    <a:pt x="278" y="1183"/>
                    <a:pt x="278" y="1183"/>
                    <a:pt x="296" y="1184"/>
                  </a:cubicBezTo>
                  <a:cubicBezTo>
                    <a:pt x="310" y="1184"/>
                    <a:pt x="310" y="1184"/>
                    <a:pt x="310" y="1169"/>
                  </a:cubicBezTo>
                  <a:cubicBezTo>
                    <a:pt x="310" y="1132"/>
                    <a:pt x="310" y="1095"/>
                    <a:pt x="310" y="1058"/>
                  </a:cubicBezTo>
                  <a:cubicBezTo>
                    <a:pt x="310" y="1052"/>
                    <a:pt x="312" y="1047"/>
                    <a:pt x="316" y="1042"/>
                  </a:cubicBezTo>
                  <a:cubicBezTo>
                    <a:pt x="324" y="1033"/>
                    <a:pt x="334" y="1027"/>
                    <a:pt x="345" y="1024"/>
                  </a:cubicBezTo>
                  <a:cubicBezTo>
                    <a:pt x="357" y="1020"/>
                    <a:pt x="371" y="1018"/>
                    <a:pt x="383" y="1028"/>
                  </a:cubicBezTo>
                  <a:cubicBezTo>
                    <a:pt x="397" y="1039"/>
                    <a:pt x="401" y="1054"/>
                    <a:pt x="401" y="1071"/>
                  </a:cubicBezTo>
                  <a:cubicBezTo>
                    <a:pt x="401" y="1102"/>
                    <a:pt x="401" y="1132"/>
                    <a:pt x="401" y="1163"/>
                  </a:cubicBezTo>
                  <a:cubicBezTo>
                    <a:pt x="401" y="1183"/>
                    <a:pt x="401" y="1182"/>
                    <a:pt x="420" y="1184"/>
                  </a:cubicBezTo>
                  <a:cubicBezTo>
                    <a:pt x="429" y="1185"/>
                    <a:pt x="433" y="1181"/>
                    <a:pt x="433" y="1173"/>
                  </a:cubicBezTo>
                  <a:cubicBezTo>
                    <a:pt x="432" y="1130"/>
                    <a:pt x="435" y="1087"/>
                    <a:pt x="431" y="1044"/>
                  </a:cubicBezTo>
                  <a:cubicBezTo>
                    <a:pt x="427" y="1014"/>
                    <a:pt x="404" y="996"/>
                    <a:pt x="376" y="994"/>
                  </a:cubicBezTo>
                  <a:cubicBezTo>
                    <a:pt x="353" y="992"/>
                    <a:pt x="333" y="1000"/>
                    <a:pt x="317" y="1017"/>
                  </a:cubicBezTo>
                  <a:cubicBezTo>
                    <a:pt x="312" y="1021"/>
                    <a:pt x="311" y="1019"/>
                    <a:pt x="309" y="1015"/>
                  </a:cubicBezTo>
                  <a:cubicBezTo>
                    <a:pt x="309" y="1013"/>
                    <a:pt x="308" y="1011"/>
                    <a:pt x="308" y="1008"/>
                  </a:cubicBezTo>
                  <a:cubicBezTo>
                    <a:pt x="306" y="1001"/>
                    <a:pt x="298" y="997"/>
                    <a:pt x="287" y="998"/>
                  </a:cubicBezTo>
                  <a:cubicBezTo>
                    <a:pt x="279" y="999"/>
                    <a:pt x="278" y="1004"/>
                    <a:pt x="278" y="1011"/>
                  </a:cubicBezTo>
                  <a:cubicBezTo>
                    <a:pt x="278" y="1037"/>
                    <a:pt x="278" y="1064"/>
                    <a:pt x="278" y="1091"/>
                  </a:cubicBezTo>
                  <a:cubicBezTo>
                    <a:pt x="278" y="1115"/>
                    <a:pt x="278" y="1140"/>
                    <a:pt x="278" y="1165"/>
                  </a:cubicBezTo>
                  <a:close/>
                  <a:moveTo>
                    <a:pt x="150" y="705"/>
                  </a:moveTo>
                  <a:cubicBezTo>
                    <a:pt x="150" y="734"/>
                    <a:pt x="145" y="730"/>
                    <a:pt x="176" y="731"/>
                  </a:cubicBezTo>
                  <a:cubicBezTo>
                    <a:pt x="185" y="731"/>
                    <a:pt x="187" y="727"/>
                    <a:pt x="187" y="719"/>
                  </a:cubicBezTo>
                  <a:cubicBezTo>
                    <a:pt x="187" y="685"/>
                    <a:pt x="187" y="651"/>
                    <a:pt x="187" y="618"/>
                  </a:cubicBezTo>
                  <a:cubicBezTo>
                    <a:pt x="187" y="597"/>
                    <a:pt x="204" y="578"/>
                    <a:pt x="225" y="574"/>
                  </a:cubicBezTo>
                  <a:cubicBezTo>
                    <a:pt x="232" y="572"/>
                    <a:pt x="240" y="574"/>
                    <a:pt x="247" y="575"/>
                  </a:cubicBezTo>
                  <a:cubicBezTo>
                    <a:pt x="257" y="576"/>
                    <a:pt x="261" y="572"/>
                    <a:pt x="265" y="564"/>
                  </a:cubicBezTo>
                  <a:cubicBezTo>
                    <a:pt x="269" y="556"/>
                    <a:pt x="267" y="542"/>
                    <a:pt x="261" y="540"/>
                  </a:cubicBezTo>
                  <a:cubicBezTo>
                    <a:pt x="253" y="538"/>
                    <a:pt x="244" y="534"/>
                    <a:pt x="237" y="536"/>
                  </a:cubicBezTo>
                  <a:cubicBezTo>
                    <a:pt x="228" y="537"/>
                    <a:pt x="217" y="537"/>
                    <a:pt x="209" y="544"/>
                  </a:cubicBezTo>
                  <a:cubicBezTo>
                    <a:pt x="204" y="549"/>
                    <a:pt x="198" y="553"/>
                    <a:pt x="194" y="558"/>
                  </a:cubicBezTo>
                  <a:cubicBezTo>
                    <a:pt x="192" y="561"/>
                    <a:pt x="189" y="563"/>
                    <a:pt x="185" y="562"/>
                  </a:cubicBezTo>
                  <a:cubicBezTo>
                    <a:pt x="182" y="561"/>
                    <a:pt x="182" y="558"/>
                    <a:pt x="182" y="556"/>
                  </a:cubicBezTo>
                  <a:cubicBezTo>
                    <a:pt x="180" y="539"/>
                    <a:pt x="179" y="539"/>
                    <a:pt x="162" y="539"/>
                  </a:cubicBezTo>
                  <a:cubicBezTo>
                    <a:pt x="151" y="539"/>
                    <a:pt x="150" y="540"/>
                    <a:pt x="150" y="551"/>
                  </a:cubicBezTo>
                  <a:cubicBezTo>
                    <a:pt x="150" y="579"/>
                    <a:pt x="150" y="607"/>
                    <a:pt x="150" y="635"/>
                  </a:cubicBezTo>
                  <a:cubicBezTo>
                    <a:pt x="150" y="658"/>
                    <a:pt x="149" y="682"/>
                    <a:pt x="150" y="705"/>
                  </a:cubicBezTo>
                  <a:close/>
                  <a:moveTo>
                    <a:pt x="1011" y="1049"/>
                  </a:moveTo>
                  <a:cubicBezTo>
                    <a:pt x="1011" y="1008"/>
                    <a:pt x="1011" y="966"/>
                    <a:pt x="1011" y="924"/>
                  </a:cubicBezTo>
                  <a:cubicBezTo>
                    <a:pt x="1011" y="913"/>
                    <a:pt x="1008" y="910"/>
                    <a:pt x="997" y="910"/>
                  </a:cubicBezTo>
                  <a:cubicBezTo>
                    <a:pt x="995" y="910"/>
                    <a:pt x="992" y="910"/>
                    <a:pt x="990" y="910"/>
                  </a:cubicBezTo>
                  <a:cubicBezTo>
                    <a:pt x="976" y="910"/>
                    <a:pt x="975" y="911"/>
                    <a:pt x="975" y="926"/>
                  </a:cubicBezTo>
                  <a:cubicBezTo>
                    <a:pt x="975" y="1006"/>
                    <a:pt x="975" y="1085"/>
                    <a:pt x="975" y="1165"/>
                  </a:cubicBezTo>
                  <a:cubicBezTo>
                    <a:pt x="975" y="1185"/>
                    <a:pt x="975" y="1185"/>
                    <a:pt x="994" y="1185"/>
                  </a:cubicBezTo>
                  <a:cubicBezTo>
                    <a:pt x="1009" y="1185"/>
                    <a:pt x="1011" y="1184"/>
                    <a:pt x="1011" y="1169"/>
                  </a:cubicBezTo>
                  <a:cubicBezTo>
                    <a:pt x="1011" y="1129"/>
                    <a:pt x="1011" y="1089"/>
                    <a:pt x="1011" y="1049"/>
                  </a:cubicBezTo>
                  <a:cubicBezTo>
                    <a:pt x="1011" y="1049"/>
                    <a:pt x="1011" y="1049"/>
                    <a:pt x="1011" y="1049"/>
                  </a:cubicBezTo>
                  <a:close/>
                  <a:moveTo>
                    <a:pt x="296" y="176"/>
                  </a:moveTo>
                  <a:cubicBezTo>
                    <a:pt x="296" y="201"/>
                    <a:pt x="296" y="226"/>
                    <a:pt x="296" y="251"/>
                  </a:cubicBezTo>
                  <a:cubicBezTo>
                    <a:pt x="295" y="276"/>
                    <a:pt x="296" y="274"/>
                    <a:pt x="318" y="274"/>
                  </a:cubicBezTo>
                  <a:cubicBezTo>
                    <a:pt x="330" y="274"/>
                    <a:pt x="331" y="274"/>
                    <a:pt x="331" y="260"/>
                  </a:cubicBezTo>
                  <a:cubicBezTo>
                    <a:pt x="331" y="232"/>
                    <a:pt x="331" y="204"/>
                    <a:pt x="331" y="176"/>
                  </a:cubicBezTo>
                  <a:cubicBezTo>
                    <a:pt x="331" y="165"/>
                    <a:pt x="331" y="155"/>
                    <a:pt x="337" y="145"/>
                  </a:cubicBezTo>
                  <a:cubicBezTo>
                    <a:pt x="349" y="123"/>
                    <a:pt x="359" y="117"/>
                    <a:pt x="377" y="118"/>
                  </a:cubicBezTo>
                  <a:cubicBezTo>
                    <a:pt x="383" y="118"/>
                    <a:pt x="389" y="119"/>
                    <a:pt x="395" y="120"/>
                  </a:cubicBezTo>
                  <a:cubicBezTo>
                    <a:pt x="401" y="120"/>
                    <a:pt x="407" y="118"/>
                    <a:pt x="408" y="112"/>
                  </a:cubicBezTo>
                  <a:cubicBezTo>
                    <a:pt x="409" y="103"/>
                    <a:pt x="415" y="93"/>
                    <a:pt x="407" y="85"/>
                  </a:cubicBezTo>
                  <a:cubicBezTo>
                    <a:pt x="406" y="84"/>
                    <a:pt x="404" y="84"/>
                    <a:pt x="402" y="84"/>
                  </a:cubicBezTo>
                  <a:cubicBezTo>
                    <a:pt x="376" y="78"/>
                    <a:pt x="353" y="82"/>
                    <a:pt x="337" y="106"/>
                  </a:cubicBezTo>
                  <a:cubicBezTo>
                    <a:pt x="336" y="108"/>
                    <a:pt x="335" y="110"/>
                    <a:pt x="333" y="109"/>
                  </a:cubicBezTo>
                  <a:cubicBezTo>
                    <a:pt x="331" y="109"/>
                    <a:pt x="330" y="107"/>
                    <a:pt x="330" y="105"/>
                  </a:cubicBezTo>
                  <a:cubicBezTo>
                    <a:pt x="329" y="101"/>
                    <a:pt x="329" y="97"/>
                    <a:pt x="328" y="94"/>
                  </a:cubicBezTo>
                  <a:cubicBezTo>
                    <a:pt x="325" y="85"/>
                    <a:pt x="318" y="82"/>
                    <a:pt x="303" y="84"/>
                  </a:cubicBezTo>
                  <a:cubicBezTo>
                    <a:pt x="297" y="84"/>
                    <a:pt x="295" y="86"/>
                    <a:pt x="295" y="92"/>
                  </a:cubicBezTo>
                  <a:cubicBezTo>
                    <a:pt x="296" y="120"/>
                    <a:pt x="295" y="148"/>
                    <a:pt x="295" y="176"/>
                  </a:cubicBezTo>
                  <a:cubicBezTo>
                    <a:pt x="296" y="176"/>
                    <a:pt x="296" y="176"/>
                    <a:pt x="296" y="176"/>
                  </a:cubicBezTo>
                  <a:close/>
                  <a:moveTo>
                    <a:pt x="946" y="179"/>
                  </a:moveTo>
                  <a:cubicBezTo>
                    <a:pt x="946" y="197"/>
                    <a:pt x="946" y="215"/>
                    <a:pt x="946" y="234"/>
                  </a:cubicBezTo>
                  <a:cubicBezTo>
                    <a:pt x="946" y="248"/>
                    <a:pt x="951" y="260"/>
                    <a:pt x="963" y="268"/>
                  </a:cubicBezTo>
                  <a:cubicBezTo>
                    <a:pt x="982" y="280"/>
                    <a:pt x="1011" y="277"/>
                    <a:pt x="1029" y="264"/>
                  </a:cubicBezTo>
                  <a:cubicBezTo>
                    <a:pt x="1036" y="259"/>
                    <a:pt x="1036" y="254"/>
                    <a:pt x="1032" y="248"/>
                  </a:cubicBezTo>
                  <a:cubicBezTo>
                    <a:pt x="1026" y="239"/>
                    <a:pt x="1020" y="238"/>
                    <a:pt x="1013" y="242"/>
                  </a:cubicBezTo>
                  <a:cubicBezTo>
                    <a:pt x="996" y="252"/>
                    <a:pt x="978" y="243"/>
                    <a:pt x="978" y="223"/>
                  </a:cubicBezTo>
                  <a:cubicBezTo>
                    <a:pt x="978" y="190"/>
                    <a:pt x="978" y="157"/>
                    <a:pt x="978" y="123"/>
                  </a:cubicBezTo>
                  <a:cubicBezTo>
                    <a:pt x="978" y="116"/>
                    <a:pt x="981" y="113"/>
                    <a:pt x="988" y="113"/>
                  </a:cubicBezTo>
                  <a:cubicBezTo>
                    <a:pt x="999" y="114"/>
                    <a:pt x="1011" y="113"/>
                    <a:pt x="1022" y="113"/>
                  </a:cubicBezTo>
                  <a:cubicBezTo>
                    <a:pt x="1028" y="113"/>
                    <a:pt x="1033" y="112"/>
                    <a:pt x="1033" y="104"/>
                  </a:cubicBezTo>
                  <a:cubicBezTo>
                    <a:pt x="1033" y="96"/>
                    <a:pt x="1032" y="90"/>
                    <a:pt x="1022" y="90"/>
                  </a:cubicBezTo>
                  <a:cubicBezTo>
                    <a:pt x="1011" y="90"/>
                    <a:pt x="1001" y="90"/>
                    <a:pt x="990" y="90"/>
                  </a:cubicBezTo>
                  <a:cubicBezTo>
                    <a:pt x="981" y="91"/>
                    <a:pt x="977" y="88"/>
                    <a:pt x="978" y="78"/>
                  </a:cubicBezTo>
                  <a:cubicBezTo>
                    <a:pt x="978" y="64"/>
                    <a:pt x="978" y="49"/>
                    <a:pt x="978" y="35"/>
                  </a:cubicBezTo>
                  <a:cubicBezTo>
                    <a:pt x="978" y="30"/>
                    <a:pt x="978" y="25"/>
                    <a:pt x="971" y="24"/>
                  </a:cubicBezTo>
                  <a:cubicBezTo>
                    <a:pt x="964" y="24"/>
                    <a:pt x="956" y="24"/>
                    <a:pt x="955" y="32"/>
                  </a:cubicBezTo>
                  <a:cubicBezTo>
                    <a:pt x="952" y="43"/>
                    <a:pt x="949" y="54"/>
                    <a:pt x="949" y="65"/>
                  </a:cubicBezTo>
                  <a:cubicBezTo>
                    <a:pt x="948" y="88"/>
                    <a:pt x="947" y="88"/>
                    <a:pt x="924" y="91"/>
                  </a:cubicBezTo>
                  <a:cubicBezTo>
                    <a:pt x="919" y="92"/>
                    <a:pt x="914" y="92"/>
                    <a:pt x="914" y="99"/>
                  </a:cubicBezTo>
                  <a:cubicBezTo>
                    <a:pt x="915" y="107"/>
                    <a:pt x="917" y="113"/>
                    <a:pt x="926" y="113"/>
                  </a:cubicBezTo>
                  <a:cubicBezTo>
                    <a:pt x="929" y="114"/>
                    <a:pt x="932" y="113"/>
                    <a:pt x="935" y="113"/>
                  </a:cubicBezTo>
                  <a:cubicBezTo>
                    <a:pt x="943" y="113"/>
                    <a:pt x="946" y="116"/>
                    <a:pt x="946" y="124"/>
                  </a:cubicBezTo>
                  <a:cubicBezTo>
                    <a:pt x="946" y="142"/>
                    <a:pt x="946" y="161"/>
                    <a:pt x="946" y="179"/>
                  </a:cubicBezTo>
                  <a:cubicBezTo>
                    <a:pt x="946" y="179"/>
                    <a:pt x="946" y="179"/>
                    <a:pt x="946" y="179"/>
                  </a:cubicBezTo>
                  <a:close/>
                </a:path>
              </a:pathLst>
            </a:custGeom>
            <a:solidFill>
              <a:srgbClr val="4C505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grpSp>
          <p:nvGrpSpPr>
            <p:cNvPr id="18" name="Group 4">
              <a:extLst>
                <a:ext uri="{FF2B5EF4-FFF2-40B4-BE49-F238E27FC236}">
                  <a16:creationId xmlns:a16="http://schemas.microsoft.com/office/drawing/2014/main" id="{57BD2C4C-DC67-B843-B26C-309622FC75F7}"/>
                </a:ext>
              </a:extLst>
            </p:cNvPr>
            <p:cNvGrpSpPr>
              <a:grpSpLocks noChangeAspect="1"/>
            </p:cNvGrpSpPr>
            <p:nvPr/>
          </p:nvGrpSpPr>
          <p:grpSpPr bwMode="gray">
            <a:xfrm>
              <a:off x="334963" y="296652"/>
              <a:ext cx="538094" cy="540000"/>
              <a:chOff x="2711" y="1027"/>
              <a:chExt cx="2258" cy="2266"/>
            </a:xfrm>
          </p:grpSpPr>
          <p:sp>
            <p:nvSpPr>
              <p:cNvPr id="19" name="AutoShape 3">
                <a:extLst>
                  <a:ext uri="{FF2B5EF4-FFF2-40B4-BE49-F238E27FC236}">
                    <a16:creationId xmlns:a16="http://schemas.microsoft.com/office/drawing/2014/main" id="{FE1DC41B-291E-574C-9F2C-874E70A40758}"/>
                  </a:ext>
                </a:extLst>
              </p:cNvPr>
              <p:cNvSpPr>
                <a:spLocks noChangeAspect="1" noChangeArrowheads="1" noTextEdit="1"/>
              </p:cNvSpPr>
              <p:nvPr/>
            </p:nvSpPr>
            <p:spPr bwMode="gray">
              <a:xfrm>
                <a:off x="2711" y="1027"/>
                <a:ext cx="2258" cy="22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sp>
            <p:nvSpPr>
              <p:cNvPr id="20" name="Freeform 5">
                <a:extLst>
                  <a:ext uri="{FF2B5EF4-FFF2-40B4-BE49-F238E27FC236}">
                    <a16:creationId xmlns:a16="http://schemas.microsoft.com/office/drawing/2014/main" id="{D4B633C8-F761-C54B-9BD2-EB59D49A2DBC}"/>
                  </a:ext>
                </a:extLst>
              </p:cNvPr>
              <p:cNvSpPr>
                <a:spLocks/>
              </p:cNvSpPr>
              <p:nvPr/>
            </p:nvSpPr>
            <p:spPr bwMode="gray">
              <a:xfrm>
                <a:off x="2709" y="1029"/>
                <a:ext cx="2260" cy="2262"/>
              </a:xfrm>
              <a:custGeom>
                <a:avLst/>
                <a:gdLst>
                  <a:gd name="T0" fmla="*/ 2260 w 2260"/>
                  <a:gd name="T1" fmla="*/ 0 h 2262"/>
                  <a:gd name="T2" fmla="*/ 1612 w 2260"/>
                  <a:gd name="T3" fmla="*/ 649 h 2262"/>
                  <a:gd name="T4" fmla="*/ 1612 w 2260"/>
                  <a:gd name="T5" fmla="*/ 649 h 2262"/>
                  <a:gd name="T6" fmla="*/ 2035 w 2260"/>
                  <a:gd name="T7" fmla="*/ 0 h 2262"/>
                  <a:gd name="T8" fmla="*/ 0 w 2260"/>
                  <a:gd name="T9" fmla="*/ 0 h 2262"/>
                  <a:gd name="T10" fmla="*/ 0 w 2260"/>
                  <a:gd name="T11" fmla="*/ 2262 h 2262"/>
                  <a:gd name="T12" fmla="*/ 2260 w 2260"/>
                  <a:gd name="T13" fmla="*/ 2262 h 2262"/>
                  <a:gd name="T14" fmla="*/ 2260 w 2260"/>
                  <a:gd name="T15" fmla="*/ 0 h 2262"/>
                  <a:gd name="T16" fmla="*/ 2260 w 2260"/>
                  <a:gd name="T17" fmla="*/ 0 h 2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0" h="2262">
                    <a:moveTo>
                      <a:pt x="2260" y="0"/>
                    </a:moveTo>
                    <a:lnTo>
                      <a:pt x="1612" y="649"/>
                    </a:lnTo>
                    <a:lnTo>
                      <a:pt x="1612" y="649"/>
                    </a:lnTo>
                    <a:lnTo>
                      <a:pt x="2035" y="0"/>
                    </a:lnTo>
                    <a:lnTo>
                      <a:pt x="0" y="0"/>
                    </a:lnTo>
                    <a:lnTo>
                      <a:pt x="0" y="2262"/>
                    </a:lnTo>
                    <a:lnTo>
                      <a:pt x="2260" y="2262"/>
                    </a:lnTo>
                    <a:lnTo>
                      <a:pt x="2260" y="0"/>
                    </a:lnTo>
                    <a:lnTo>
                      <a:pt x="2260" y="0"/>
                    </a:lnTo>
                    <a:close/>
                  </a:path>
                </a:pathLst>
              </a:custGeom>
              <a:solidFill>
                <a:srgbClr val="E55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sp>
            <p:nvSpPr>
              <p:cNvPr id="21" name="Freeform 6">
                <a:extLst>
                  <a:ext uri="{FF2B5EF4-FFF2-40B4-BE49-F238E27FC236}">
                    <a16:creationId xmlns:a16="http://schemas.microsoft.com/office/drawing/2014/main" id="{B16BAAE4-1A41-C843-9754-490F7A1E1270}"/>
                  </a:ext>
                </a:extLst>
              </p:cNvPr>
              <p:cNvSpPr>
                <a:spLocks noEditPoints="1"/>
              </p:cNvSpPr>
              <p:nvPr/>
            </p:nvSpPr>
            <p:spPr bwMode="gray">
              <a:xfrm>
                <a:off x="3623" y="1696"/>
                <a:ext cx="1167" cy="922"/>
              </a:xfrm>
              <a:custGeom>
                <a:avLst/>
                <a:gdLst>
                  <a:gd name="T0" fmla="*/ 411 w 580"/>
                  <a:gd name="T1" fmla="*/ 213 h 458"/>
                  <a:gd name="T2" fmla="*/ 570 w 580"/>
                  <a:gd name="T3" fmla="*/ 37 h 458"/>
                  <a:gd name="T4" fmla="*/ 580 w 580"/>
                  <a:gd name="T5" fmla="*/ 20 h 458"/>
                  <a:gd name="T6" fmla="*/ 545 w 580"/>
                  <a:gd name="T7" fmla="*/ 0 h 458"/>
                  <a:gd name="T8" fmla="*/ 519 w 580"/>
                  <a:gd name="T9" fmla="*/ 16 h 458"/>
                  <a:gd name="T10" fmla="*/ 344 w 580"/>
                  <a:gd name="T11" fmla="*/ 210 h 458"/>
                  <a:gd name="T12" fmla="*/ 334 w 580"/>
                  <a:gd name="T13" fmla="*/ 229 h 458"/>
                  <a:gd name="T14" fmla="*/ 344 w 580"/>
                  <a:gd name="T15" fmla="*/ 248 h 458"/>
                  <a:gd name="T16" fmla="*/ 519 w 580"/>
                  <a:gd name="T17" fmla="*/ 442 h 458"/>
                  <a:gd name="T18" fmla="*/ 545 w 580"/>
                  <a:gd name="T19" fmla="*/ 458 h 458"/>
                  <a:gd name="T20" fmla="*/ 580 w 580"/>
                  <a:gd name="T21" fmla="*/ 438 h 458"/>
                  <a:gd name="T22" fmla="*/ 570 w 580"/>
                  <a:gd name="T23" fmla="*/ 421 h 458"/>
                  <a:gd name="T24" fmla="*/ 411 w 580"/>
                  <a:gd name="T25" fmla="*/ 245 h 458"/>
                  <a:gd name="T26" fmla="*/ 399 w 580"/>
                  <a:gd name="T27" fmla="*/ 229 h 458"/>
                  <a:gd name="T28" fmla="*/ 411 w 580"/>
                  <a:gd name="T29" fmla="*/ 213 h 458"/>
                  <a:gd name="T30" fmla="*/ 252 w 580"/>
                  <a:gd name="T31" fmla="*/ 439 h 458"/>
                  <a:gd name="T32" fmla="*/ 281 w 580"/>
                  <a:gd name="T33" fmla="*/ 454 h 458"/>
                  <a:gd name="T34" fmla="*/ 309 w 580"/>
                  <a:gd name="T35" fmla="*/ 439 h 458"/>
                  <a:gd name="T36" fmla="*/ 309 w 580"/>
                  <a:gd name="T37" fmla="*/ 19 h 458"/>
                  <a:gd name="T38" fmla="*/ 281 w 580"/>
                  <a:gd name="T39" fmla="*/ 4 h 458"/>
                  <a:gd name="T40" fmla="*/ 252 w 580"/>
                  <a:gd name="T41" fmla="*/ 19 h 458"/>
                  <a:gd name="T42" fmla="*/ 252 w 580"/>
                  <a:gd name="T43" fmla="*/ 439 h 458"/>
                  <a:gd name="T44" fmla="*/ 0 w 580"/>
                  <a:gd name="T45" fmla="*/ 439 h 458"/>
                  <a:gd name="T46" fmla="*/ 28 w 580"/>
                  <a:gd name="T47" fmla="*/ 454 h 458"/>
                  <a:gd name="T48" fmla="*/ 56 w 580"/>
                  <a:gd name="T49" fmla="*/ 439 h 458"/>
                  <a:gd name="T50" fmla="*/ 56 w 580"/>
                  <a:gd name="T51" fmla="*/ 157 h 458"/>
                  <a:gd name="T52" fmla="*/ 165 w 580"/>
                  <a:gd name="T53" fmla="*/ 53 h 458"/>
                  <a:gd name="T54" fmla="*/ 180 w 580"/>
                  <a:gd name="T55" fmla="*/ 53 h 458"/>
                  <a:gd name="T56" fmla="*/ 196 w 580"/>
                  <a:gd name="T57" fmla="*/ 27 h 458"/>
                  <a:gd name="T58" fmla="*/ 154 w 580"/>
                  <a:gd name="T59" fmla="*/ 4 h 458"/>
                  <a:gd name="T60" fmla="*/ 0 w 580"/>
                  <a:gd name="T61" fmla="*/ 152 h 458"/>
                  <a:gd name="T62" fmla="*/ 0 w 580"/>
                  <a:gd name="T63" fmla="*/ 439 h 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80" h="458">
                    <a:moveTo>
                      <a:pt x="411" y="213"/>
                    </a:moveTo>
                    <a:cubicBezTo>
                      <a:pt x="570" y="37"/>
                      <a:pt x="570" y="37"/>
                      <a:pt x="570" y="37"/>
                    </a:cubicBezTo>
                    <a:cubicBezTo>
                      <a:pt x="576" y="30"/>
                      <a:pt x="580" y="25"/>
                      <a:pt x="580" y="20"/>
                    </a:cubicBezTo>
                    <a:cubicBezTo>
                      <a:pt x="580" y="10"/>
                      <a:pt x="559" y="0"/>
                      <a:pt x="545" y="0"/>
                    </a:cubicBezTo>
                    <a:cubicBezTo>
                      <a:pt x="535" y="0"/>
                      <a:pt x="526" y="8"/>
                      <a:pt x="519" y="16"/>
                    </a:cubicBezTo>
                    <a:cubicBezTo>
                      <a:pt x="344" y="210"/>
                      <a:pt x="344" y="210"/>
                      <a:pt x="344" y="210"/>
                    </a:cubicBezTo>
                    <a:cubicBezTo>
                      <a:pt x="336" y="219"/>
                      <a:pt x="334" y="224"/>
                      <a:pt x="334" y="229"/>
                    </a:cubicBezTo>
                    <a:cubicBezTo>
                      <a:pt x="334" y="234"/>
                      <a:pt x="336" y="239"/>
                      <a:pt x="344" y="248"/>
                    </a:cubicBezTo>
                    <a:cubicBezTo>
                      <a:pt x="519" y="442"/>
                      <a:pt x="519" y="442"/>
                      <a:pt x="519" y="442"/>
                    </a:cubicBezTo>
                    <a:cubicBezTo>
                      <a:pt x="526" y="450"/>
                      <a:pt x="535" y="458"/>
                      <a:pt x="545" y="458"/>
                    </a:cubicBezTo>
                    <a:cubicBezTo>
                      <a:pt x="559" y="458"/>
                      <a:pt x="580" y="448"/>
                      <a:pt x="580" y="438"/>
                    </a:cubicBezTo>
                    <a:cubicBezTo>
                      <a:pt x="580" y="433"/>
                      <a:pt x="576" y="428"/>
                      <a:pt x="570" y="421"/>
                    </a:cubicBezTo>
                    <a:cubicBezTo>
                      <a:pt x="411" y="245"/>
                      <a:pt x="411" y="245"/>
                      <a:pt x="411" y="245"/>
                    </a:cubicBezTo>
                    <a:cubicBezTo>
                      <a:pt x="403" y="236"/>
                      <a:pt x="399" y="232"/>
                      <a:pt x="399" y="229"/>
                    </a:cubicBezTo>
                    <a:cubicBezTo>
                      <a:pt x="399" y="226"/>
                      <a:pt x="403" y="222"/>
                      <a:pt x="411" y="213"/>
                    </a:cubicBezTo>
                    <a:moveTo>
                      <a:pt x="252" y="439"/>
                    </a:moveTo>
                    <a:cubicBezTo>
                      <a:pt x="252" y="449"/>
                      <a:pt x="261" y="454"/>
                      <a:pt x="281" y="454"/>
                    </a:cubicBezTo>
                    <a:cubicBezTo>
                      <a:pt x="300" y="454"/>
                      <a:pt x="309" y="449"/>
                      <a:pt x="309" y="439"/>
                    </a:cubicBezTo>
                    <a:cubicBezTo>
                      <a:pt x="309" y="19"/>
                      <a:pt x="309" y="19"/>
                      <a:pt x="309" y="19"/>
                    </a:cubicBezTo>
                    <a:cubicBezTo>
                      <a:pt x="309" y="9"/>
                      <a:pt x="300" y="4"/>
                      <a:pt x="281" y="4"/>
                    </a:cubicBezTo>
                    <a:cubicBezTo>
                      <a:pt x="261" y="4"/>
                      <a:pt x="252" y="9"/>
                      <a:pt x="252" y="19"/>
                    </a:cubicBezTo>
                    <a:lnTo>
                      <a:pt x="252" y="439"/>
                    </a:lnTo>
                    <a:close/>
                    <a:moveTo>
                      <a:pt x="0" y="439"/>
                    </a:moveTo>
                    <a:cubicBezTo>
                      <a:pt x="0" y="449"/>
                      <a:pt x="8" y="454"/>
                      <a:pt x="28" y="454"/>
                    </a:cubicBezTo>
                    <a:cubicBezTo>
                      <a:pt x="48" y="454"/>
                      <a:pt x="56" y="449"/>
                      <a:pt x="56" y="439"/>
                    </a:cubicBezTo>
                    <a:cubicBezTo>
                      <a:pt x="56" y="157"/>
                      <a:pt x="56" y="157"/>
                      <a:pt x="56" y="157"/>
                    </a:cubicBezTo>
                    <a:cubicBezTo>
                      <a:pt x="56" y="83"/>
                      <a:pt x="85" y="53"/>
                      <a:pt x="165" y="53"/>
                    </a:cubicBezTo>
                    <a:cubicBezTo>
                      <a:pt x="180" y="53"/>
                      <a:pt x="180" y="53"/>
                      <a:pt x="180" y="53"/>
                    </a:cubicBezTo>
                    <a:cubicBezTo>
                      <a:pt x="192" y="53"/>
                      <a:pt x="196" y="43"/>
                      <a:pt x="196" y="27"/>
                    </a:cubicBezTo>
                    <a:cubicBezTo>
                      <a:pt x="196" y="8"/>
                      <a:pt x="185" y="4"/>
                      <a:pt x="154" y="4"/>
                    </a:cubicBezTo>
                    <a:cubicBezTo>
                      <a:pt x="64" y="4"/>
                      <a:pt x="0" y="43"/>
                      <a:pt x="0" y="152"/>
                    </a:cubicBezTo>
                    <a:lnTo>
                      <a:pt x="0" y="43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sp>
            <p:nvSpPr>
              <p:cNvPr id="22" name="Freeform 7">
                <a:extLst>
                  <a:ext uri="{FF2B5EF4-FFF2-40B4-BE49-F238E27FC236}">
                    <a16:creationId xmlns:a16="http://schemas.microsoft.com/office/drawing/2014/main" id="{2F32DCBD-8628-F245-85CD-97686A20ECFD}"/>
                  </a:ext>
                </a:extLst>
              </p:cNvPr>
              <p:cNvSpPr>
                <a:spLocks/>
              </p:cNvSpPr>
              <p:nvPr/>
            </p:nvSpPr>
            <p:spPr bwMode="gray">
              <a:xfrm>
                <a:off x="2880" y="1704"/>
                <a:ext cx="618" cy="916"/>
              </a:xfrm>
              <a:custGeom>
                <a:avLst/>
                <a:gdLst>
                  <a:gd name="T0" fmla="*/ 307 w 307"/>
                  <a:gd name="T1" fmla="*/ 405 h 455"/>
                  <a:gd name="T2" fmla="*/ 307 w 307"/>
                  <a:gd name="T3" fmla="*/ 244 h 455"/>
                  <a:gd name="T4" fmla="*/ 279 w 307"/>
                  <a:gd name="T5" fmla="*/ 229 h 455"/>
                  <a:gd name="T6" fmla="*/ 250 w 307"/>
                  <a:gd name="T7" fmla="*/ 244 h 455"/>
                  <a:gd name="T8" fmla="*/ 250 w 307"/>
                  <a:gd name="T9" fmla="*/ 378 h 455"/>
                  <a:gd name="T10" fmla="*/ 199 w 307"/>
                  <a:gd name="T11" fmla="*/ 408 h 455"/>
                  <a:gd name="T12" fmla="*/ 61 w 307"/>
                  <a:gd name="T13" fmla="*/ 231 h 455"/>
                  <a:gd name="T14" fmla="*/ 238 w 307"/>
                  <a:gd name="T15" fmla="*/ 49 h 455"/>
                  <a:gd name="T16" fmla="*/ 270 w 307"/>
                  <a:gd name="T17" fmla="*/ 49 h 455"/>
                  <a:gd name="T18" fmla="*/ 286 w 307"/>
                  <a:gd name="T19" fmla="*/ 23 h 455"/>
                  <a:gd name="T20" fmla="*/ 244 w 307"/>
                  <a:gd name="T21" fmla="*/ 0 h 455"/>
                  <a:gd name="T22" fmla="*/ 231 w 307"/>
                  <a:gd name="T23" fmla="*/ 0 h 455"/>
                  <a:gd name="T24" fmla="*/ 0 w 307"/>
                  <a:gd name="T25" fmla="*/ 232 h 455"/>
                  <a:gd name="T26" fmla="*/ 198 w 307"/>
                  <a:gd name="T27" fmla="*/ 455 h 455"/>
                  <a:gd name="T28" fmla="*/ 307 w 307"/>
                  <a:gd name="T29" fmla="*/ 405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7" h="455">
                    <a:moveTo>
                      <a:pt x="307" y="405"/>
                    </a:moveTo>
                    <a:cubicBezTo>
                      <a:pt x="307" y="244"/>
                      <a:pt x="307" y="244"/>
                      <a:pt x="307" y="244"/>
                    </a:cubicBezTo>
                    <a:cubicBezTo>
                      <a:pt x="307" y="234"/>
                      <a:pt x="298" y="229"/>
                      <a:pt x="279" y="229"/>
                    </a:cubicBezTo>
                    <a:cubicBezTo>
                      <a:pt x="259" y="229"/>
                      <a:pt x="250" y="234"/>
                      <a:pt x="250" y="244"/>
                    </a:cubicBezTo>
                    <a:cubicBezTo>
                      <a:pt x="250" y="378"/>
                      <a:pt x="250" y="378"/>
                      <a:pt x="250" y="378"/>
                    </a:cubicBezTo>
                    <a:cubicBezTo>
                      <a:pt x="250" y="399"/>
                      <a:pt x="241" y="408"/>
                      <a:pt x="199" y="408"/>
                    </a:cubicBezTo>
                    <a:cubicBezTo>
                      <a:pt x="114" y="408"/>
                      <a:pt x="61" y="342"/>
                      <a:pt x="61" y="231"/>
                    </a:cubicBezTo>
                    <a:cubicBezTo>
                      <a:pt x="61" y="115"/>
                      <a:pt x="126" y="49"/>
                      <a:pt x="238" y="49"/>
                    </a:cubicBezTo>
                    <a:cubicBezTo>
                      <a:pt x="270" y="49"/>
                      <a:pt x="270" y="49"/>
                      <a:pt x="270" y="49"/>
                    </a:cubicBezTo>
                    <a:cubicBezTo>
                      <a:pt x="282" y="49"/>
                      <a:pt x="286" y="39"/>
                      <a:pt x="286" y="23"/>
                    </a:cubicBezTo>
                    <a:cubicBezTo>
                      <a:pt x="286" y="4"/>
                      <a:pt x="275" y="0"/>
                      <a:pt x="244" y="0"/>
                    </a:cubicBezTo>
                    <a:cubicBezTo>
                      <a:pt x="231" y="0"/>
                      <a:pt x="231" y="0"/>
                      <a:pt x="231" y="0"/>
                    </a:cubicBezTo>
                    <a:cubicBezTo>
                      <a:pt x="101" y="0"/>
                      <a:pt x="0" y="71"/>
                      <a:pt x="0" y="232"/>
                    </a:cubicBezTo>
                    <a:cubicBezTo>
                      <a:pt x="0" y="386"/>
                      <a:pt x="88" y="455"/>
                      <a:pt x="198" y="455"/>
                    </a:cubicBezTo>
                    <a:cubicBezTo>
                      <a:pt x="286" y="455"/>
                      <a:pt x="307" y="430"/>
                      <a:pt x="307" y="40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sp>
            <p:nvSpPr>
              <p:cNvPr id="23" name="Oval 8">
                <a:extLst>
                  <a:ext uri="{FF2B5EF4-FFF2-40B4-BE49-F238E27FC236}">
                    <a16:creationId xmlns:a16="http://schemas.microsoft.com/office/drawing/2014/main" id="{60D97C11-1A3B-5449-A48D-98A3E79B3810}"/>
                  </a:ext>
                </a:extLst>
              </p:cNvPr>
              <p:cNvSpPr>
                <a:spLocks noChangeArrowheads="1"/>
              </p:cNvSpPr>
              <p:nvPr/>
            </p:nvSpPr>
            <p:spPr bwMode="gray">
              <a:xfrm>
                <a:off x="3778" y="2099"/>
                <a:ext cx="122" cy="12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sp>
            <p:nvSpPr>
              <p:cNvPr id="24" name="Freeform 9">
                <a:extLst>
                  <a:ext uri="{FF2B5EF4-FFF2-40B4-BE49-F238E27FC236}">
                    <a16:creationId xmlns:a16="http://schemas.microsoft.com/office/drawing/2014/main" id="{5856770D-B8F0-244E-A05D-AED190086F10}"/>
                  </a:ext>
                </a:extLst>
              </p:cNvPr>
              <p:cNvSpPr>
                <a:spLocks noEditPoints="1"/>
              </p:cNvSpPr>
              <p:nvPr/>
            </p:nvSpPr>
            <p:spPr bwMode="gray">
              <a:xfrm>
                <a:off x="3623" y="1696"/>
                <a:ext cx="1167" cy="922"/>
              </a:xfrm>
              <a:custGeom>
                <a:avLst/>
                <a:gdLst>
                  <a:gd name="T0" fmla="*/ 411 w 580"/>
                  <a:gd name="T1" fmla="*/ 213 h 458"/>
                  <a:gd name="T2" fmla="*/ 570 w 580"/>
                  <a:gd name="T3" fmla="*/ 37 h 458"/>
                  <a:gd name="T4" fmla="*/ 580 w 580"/>
                  <a:gd name="T5" fmla="*/ 20 h 458"/>
                  <a:gd name="T6" fmla="*/ 545 w 580"/>
                  <a:gd name="T7" fmla="*/ 0 h 458"/>
                  <a:gd name="T8" fmla="*/ 519 w 580"/>
                  <a:gd name="T9" fmla="*/ 16 h 458"/>
                  <a:gd name="T10" fmla="*/ 344 w 580"/>
                  <a:gd name="T11" fmla="*/ 210 h 458"/>
                  <a:gd name="T12" fmla="*/ 334 w 580"/>
                  <a:gd name="T13" fmla="*/ 229 h 458"/>
                  <a:gd name="T14" fmla="*/ 344 w 580"/>
                  <a:gd name="T15" fmla="*/ 248 h 458"/>
                  <a:gd name="T16" fmla="*/ 519 w 580"/>
                  <a:gd name="T17" fmla="*/ 442 h 458"/>
                  <a:gd name="T18" fmla="*/ 545 w 580"/>
                  <a:gd name="T19" fmla="*/ 458 h 458"/>
                  <a:gd name="T20" fmla="*/ 580 w 580"/>
                  <a:gd name="T21" fmla="*/ 438 h 458"/>
                  <a:gd name="T22" fmla="*/ 570 w 580"/>
                  <a:gd name="T23" fmla="*/ 421 h 458"/>
                  <a:gd name="T24" fmla="*/ 411 w 580"/>
                  <a:gd name="T25" fmla="*/ 245 h 458"/>
                  <a:gd name="T26" fmla="*/ 399 w 580"/>
                  <a:gd name="T27" fmla="*/ 229 h 458"/>
                  <a:gd name="T28" fmla="*/ 411 w 580"/>
                  <a:gd name="T29" fmla="*/ 213 h 458"/>
                  <a:gd name="T30" fmla="*/ 252 w 580"/>
                  <a:gd name="T31" fmla="*/ 439 h 458"/>
                  <a:gd name="T32" fmla="*/ 281 w 580"/>
                  <a:gd name="T33" fmla="*/ 454 h 458"/>
                  <a:gd name="T34" fmla="*/ 309 w 580"/>
                  <a:gd name="T35" fmla="*/ 439 h 458"/>
                  <a:gd name="T36" fmla="*/ 309 w 580"/>
                  <a:gd name="T37" fmla="*/ 19 h 458"/>
                  <a:gd name="T38" fmla="*/ 281 w 580"/>
                  <a:gd name="T39" fmla="*/ 4 h 458"/>
                  <a:gd name="T40" fmla="*/ 252 w 580"/>
                  <a:gd name="T41" fmla="*/ 19 h 458"/>
                  <a:gd name="T42" fmla="*/ 252 w 580"/>
                  <a:gd name="T43" fmla="*/ 439 h 458"/>
                  <a:gd name="T44" fmla="*/ 0 w 580"/>
                  <a:gd name="T45" fmla="*/ 439 h 458"/>
                  <a:gd name="T46" fmla="*/ 28 w 580"/>
                  <a:gd name="T47" fmla="*/ 454 h 458"/>
                  <a:gd name="T48" fmla="*/ 56 w 580"/>
                  <a:gd name="T49" fmla="*/ 439 h 458"/>
                  <a:gd name="T50" fmla="*/ 56 w 580"/>
                  <a:gd name="T51" fmla="*/ 157 h 458"/>
                  <a:gd name="T52" fmla="*/ 165 w 580"/>
                  <a:gd name="T53" fmla="*/ 53 h 458"/>
                  <a:gd name="T54" fmla="*/ 180 w 580"/>
                  <a:gd name="T55" fmla="*/ 53 h 458"/>
                  <a:gd name="T56" fmla="*/ 196 w 580"/>
                  <a:gd name="T57" fmla="*/ 27 h 458"/>
                  <a:gd name="T58" fmla="*/ 154 w 580"/>
                  <a:gd name="T59" fmla="*/ 4 h 458"/>
                  <a:gd name="T60" fmla="*/ 0 w 580"/>
                  <a:gd name="T61" fmla="*/ 152 h 458"/>
                  <a:gd name="T62" fmla="*/ 0 w 580"/>
                  <a:gd name="T63" fmla="*/ 439 h 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80" h="458">
                    <a:moveTo>
                      <a:pt x="411" y="213"/>
                    </a:moveTo>
                    <a:cubicBezTo>
                      <a:pt x="570" y="37"/>
                      <a:pt x="570" y="37"/>
                      <a:pt x="570" y="37"/>
                    </a:cubicBezTo>
                    <a:cubicBezTo>
                      <a:pt x="576" y="30"/>
                      <a:pt x="580" y="25"/>
                      <a:pt x="580" y="20"/>
                    </a:cubicBezTo>
                    <a:cubicBezTo>
                      <a:pt x="580" y="10"/>
                      <a:pt x="559" y="0"/>
                      <a:pt x="545" y="0"/>
                    </a:cubicBezTo>
                    <a:cubicBezTo>
                      <a:pt x="535" y="0"/>
                      <a:pt x="526" y="8"/>
                      <a:pt x="519" y="16"/>
                    </a:cubicBezTo>
                    <a:cubicBezTo>
                      <a:pt x="344" y="210"/>
                      <a:pt x="344" y="210"/>
                      <a:pt x="344" y="210"/>
                    </a:cubicBezTo>
                    <a:cubicBezTo>
                      <a:pt x="336" y="219"/>
                      <a:pt x="334" y="224"/>
                      <a:pt x="334" y="229"/>
                    </a:cubicBezTo>
                    <a:cubicBezTo>
                      <a:pt x="334" y="234"/>
                      <a:pt x="336" y="239"/>
                      <a:pt x="344" y="248"/>
                    </a:cubicBezTo>
                    <a:cubicBezTo>
                      <a:pt x="519" y="442"/>
                      <a:pt x="519" y="442"/>
                      <a:pt x="519" y="442"/>
                    </a:cubicBezTo>
                    <a:cubicBezTo>
                      <a:pt x="526" y="450"/>
                      <a:pt x="535" y="458"/>
                      <a:pt x="545" y="458"/>
                    </a:cubicBezTo>
                    <a:cubicBezTo>
                      <a:pt x="559" y="458"/>
                      <a:pt x="580" y="448"/>
                      <a:pt x="580" y="438"/>
                    </a:cubicBezTo>
                    <a:cubicBezTo>
                      <a:pt x="580" y="433"/>
                      <a:pt x="576" y="428"/>
                      <a:pt x="570" y="421"/>
                    </a:cubicBezTo>
                    <a:cubicBezTo>
                      <a:pt x="411" y="245"/>
                      <a:pt x="411" y="245"/>
                      <a:pt x="411" y="245"/>
                    </a:cubicBezTo>
                    <a:cubicBezTo>
                      <a:pt x="403" y="236"/>
                      <a:pt x="399" y="232"/>
                      <a:pt x="399" y="229"/>
                    </a:cubicBezTo>
                    <a:cubicBezTo>
                      <a:pt x="399" y="226"/>
                      <a:pt x="403" y="222"/>
                      <a:pt x="411" y="213"/>
                    </a:cubicBezTo>
                    <a:moveTo>
                      <a:pt x="252" y="439"/>
                    </a:moveTo>
                    <a:cubicBezTo>
                      <a:pt x="252" y="449"/>
                      <a:pt x="261" y="454"/>
                      <a:pt x="281" y="454"/>
                    </a:cubicBezTo>
                    <a:cubicBezTo>
                      <a:pt x="300" y="454"/>
                      <a:pt x="309" y="449"/>
                      <a:pt x="309" y="439"/>
                    </a:cubicBezTo>
                    <a:cubicBezTo>
                      <a:pt x="309" y="19"/>
                      <a:pt x="309" y="19"/>
                      <a:pt x="309" y="19"/>
                    </a:cubicBezTo>
                    <a:cubicBezTo>
                      <a:pt x="309" y="9"/>
                      <a:pt x="300" y="4"/>
                      <a:pt x="281" y="4"/>
                    </a:cubicBezTo>
                    <a:cubicBezTo>
                      <a:pt x="261" y="4"/>
                      <a:pt x="252" y="9"/>
                      <a:pt x="252" y="19"/>
                    </a:cubicBezTo>
                    <a:lnTo>
                      <a:pt x="252" y="439"/>
                    </a:lnTo>
                    <a:close/>
                    <a:moveTo>
                      <a:pt x="0" y="439"/>
                    </a:moveTo>
                    <a:cubicBezTo>
                      <a:pt x="0" y="449"/>
                      <a:pt x="8" y="454"/>
                      <a:pt x="28" y="454"/>
                    </a:cubicBezTo>
                    <a:cubicBezTo>
                      <a:pt x="48" y="454"/>
                      <a:pt x="56" y="449"/>
                      <a:pt x="56" y="439"/>
                    </a:cubicBezTo>
                    <a:cubicBezTo>
                      <a:pt x="56" y="157"/>
                      <a:pt x="56" y="157"/>
                      <a:pt x="56" y="157"/>
                    </a:cubicBezTo>
                    <a:cubicBezTo>
                      <a:pt x="56" y="83"/>
                      <a:pt x="85" y="53"/>
                      <a:pt x="165" y="53"/>
                    </a:cubicBezTo>
                    <a:cubicBezTo>
                      <a:pt x="180" y="53"/>
                      <a:pt x="180" y="53"/>
                      <a:pt x="180" y="53"/>
                    </a:cubicBezTo>
                    <a:cubicBezTo>
                      <a:pt x="192" y="53"/>
                      <a:pt x="196" y="43"/>
                      <a:pt x="196" y="27"/>
                    </a:cubicBezTo>
                    <a:cubicBezTo>
                      <a:pt x="196" y="8"/>
                      <a:pt x="185" y="4"/>
                      <a:pt x="154" y="4"/>
                    </a:cubicBezTo>
                    <a:cubicBezTo>
                      <a:pt x="64" y="4"/>
                      <a:pt x="0" y="43"/>
                      <a:pt x="0" y="152"/>
                    </a:cubicBezTo>
                    <a:lnTo>
                      <a:pt x="0" y="43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sp>
            <p:nvSpPr>
              <p:cNvPr id="25" name="Freeform 10">
                <a:extLst>
                  <a:ext uri="{FF2B5EF4-FFF2-40B4-BE49-F238E27FC236}">
                    <a16:creationId xmlns:a16="http://schemas.microsoft.com/office/drawing/2014/main" id="{2B91B16B-BC11-E547-8FAC-B9B8D18EA449}"/>
                  </a:ext>
                </a:extLst>
              </p:cNvPr>
              <p:cNvSpPr>
                <a:spLocks/>
              </p:cNvSpPr>
              <p:nvPr/>
            </p:nvSpPr>
            <p:spPr bwMode="gray">
              <a:xfrm>
                <a:off x="2880" y="1704"/>
                <a:ext cx="618" cy="916"/>
              </a:xfrm>
              <a:custGeom>
                <a:avLst/>
                <a:gdLst>
                  <a:gd name="T0" fmla="*/ 307 w 307"/>
                  <a:gd name="T1" fmla="*/ 405 h 455"/>
                  <a:gd name="T2" fmla="*/ 307 w 307"/>
                  <a:gd name="T3" fmla="*/ 244 h 455"/>
                  <a:gd name="T4" fmla="*/ 279 w 307"/>
                  <a:gd name="T5" fmla="*/ 229 h 455"/>
                  <a:gd name="T6" fmla="*/ 250 w 307"/>
                  <a:gd name="T7" fmla="*/ 244 h 455"/>
                  <a:gd name="T8" fmla="*/ 250 w 307"/>
                  <a:gd name="T9" fmla="*/ 378 h 455"/>
                  <a:gd name="T10" fmla="*/ 199 w 307"/>
                  <a:gd name="T11" fmla="*/ 408 h 455"/>
                  <a:gd name="T12" fmla="*/ 61 w 307"/>
                  <a:gd name="T13" fmla="*/ 231 h 455"/>
                  <a:gd name="T14" fmla="*/ 238 w 307"/>
                  <a:gd name="T15" fmla="*/ 49 h 455"/>
                  <a:gd name="T16" fmla="*/ 270 w 307"/>
                  <a:gd name="T17" fmla="*/ 49 h 455"/>
                  <a:gd name="T18" fmla="*/ 286 w 307"/>
                  <a:gd name="T19" fmla="*/ 23 h 455"/>
                  <a:gd name="T20" fmla="*/ 244 w 307"/>
                  <a:gd name="T21" fmla="*/ 0 h 455"/>
                  <a:gd name="T22" fmla="*/ 231 w 307"/>
                  <a:gd name="T23" fmla="*/ 0 h 455"/>
                  <a:gd name="T24" fmla="*/ 0 w 307"/>
                  <a:gd name="T25" fmla="*/ 232 h 455"/>
                  <a:gd name="T26" fmla="*/ 198 w 307"/>
                  <a:gd name="T27" fmla="*/ 455 h 455"/>
                  <a:gd name="T28" fmla="*/ 307 w 307"/>
                  <a:gd name="T29" fmla="*/ 405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7" h="455">
                    <a:moveTo>
                      <a:pt x="307" y="405"/>
                    </a:moveTo>
                    <a:cubicBezTo>
                      <a:pt x="307" y="244"/>
                      <a:pt x="307" y="244"/>
                      <a:pt x="307" y="244"/>
                    </a:cubicBezTo>
                    <a:cubicBezTo>
                      <a:pt x="307" y="234"/>
                      <a:pt x="298" y="229"/>
                      <a:pt x="279" y="229"/>
                    </a:cubicBezTo>
                    <a:cubicBezTo>
                      <a:pt x="259" y="229"/>
                      <a:pt x="250" y="234"/>
                      <a:pt x="250" y="244"/>
                    </a:cubicBezTo>
                    <a:cubicBezTo>
                      <a:pt x="250" y="378"/>
                      <a:pt x="250" y="378"/>
                      <a:pt x="250" y="378"/>
                    </a:cubicBezTo>
                    <a:cubicBezTo>
                      <a:pt x="250" y="399"/>
                      <a:pt x="241" y="408"/>
                      <a:pt x="199" y="408"/>
                    </a:cubicBezTo>
                    <a:cubicBezTo>
                      <a:pt x="114" y="408"/>
                      <a:pt x="61" y="342"/>
                      <a:pt x="61" y="231"/>
                    </a:cubicBezTo>
                    <a:cubicBezTo>
                      <a:pt x="61" y="115"/>
                      <a:pt x="126" y="49"/>
                      <a:pt x="238" y="49"/>
                    </a:cubicBezTo>
                    <a:cubicBezTo>
                      <a:pt x="270" y="49"/>
                      <a:pt x="270" y="49"/>
                      <a:pt x="270" y="49"/>
                    </a:cubicBezTo>
                    <a:cubicBezTo>
                      <a:pt x="282" y="49"/>
                      <a:pt x="286" y="39"/>
                      <a:pt x="286" y="23"/>
                    </a:cubicBezTo>
                    <a:cubicBezTo>
                      <a:pt x="286" y="4"/>
                      <a:pt x="275" y="0"/>
                      <a:pt x="244" y="0"/>
                    </a:cubicBezTo>
                    <a:cubicBezTo>
                      <a:pt x="231" y="0"/>
                      <a:pt x="231" y="0"/>
                      <a:pt x="231" y="0"/>
                    </a:cubicBezTo>
                    <a:cubicBezTo>
                      <a:pt x="101" y="0"/>
                      <a:pt x="0" y="71"/>
                      <a:pt x="0" y="232"/>
                    </a:cubicBezTo>
                    <a:cubicBezTo>
                      <a:pt x="0" y="386"/>
                      <a:pt x="88" y="455"/>
                      <a:pt x="198" y="455"/>
                    </a:cubicBezTo>
                    <a:cubicBezTo>
                      <a:pt x="286" y="455"/>
                      <a:pt x="307" y="430"/>
                      <a:pt x="307" y="40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sp>
            <p:nvSpPr>
              <p:cNvPr id="26" name="Oval 11">
                <a:extLst>
                  <a:ext uri="{FF2B5EF4-FFF2-40B4-BE49-F238E27FC236}">
                    <a16:creationId xmlns:a16="http://schemas.microsoft.com/office/drawing/2014/main" id="{14F8C3C8-4888-7646-B9B4-64EB46A1DA23}"/>
                  </a:ext>
                </a:extLst>
              </p:cNvPr>
              <p:cNvSpPr>
                <a:spLocks noChangeArrowheads="1"/>
              </p:cNvSpPr>
              <p:nvPr/>
            </p:nvSpPr>
            <p:spPr bwMode="gray">
              <a:xfrm>
                <a:off x="3778" y="2099"/>
                <a:ext cx="122" cy="12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sp>
            <p:nvSpPr>
              <p:cNvPr id="27" name="Freeform 12">
                <a:extLst>
                  <a:ext uri="{FF2B5EF4-FFF2-40B4-BE49-F238E27FC236}">
                    <a16:creationId xmlns:a16="http://schemas.microsoft.com/office/drawing/2014/main" id="{D79D01D1-4E3E-F34B-97D7-2D387E68746E}"/>
                  </a:ext>
                </a:extLst>
              </p:cNvPr>
              <p:cNvSpPr>
                <a:spLocks/>
              </p:cNvSpPr>
              <p:nvPr/>
            </p:nvSpPr>
            <p:spPr bwMode="gray">
              <a:xfrm>
                <a:off x="4321" y="1029"/>
                <a:ext cx="648" cy="649"/>
              </a:xfrm>
              <a:custGeom>
                <a:avLst/>
                <a:gdLst>
                  <a:gd name="T0" fmla="*/ 0 w 648"/>
                  <a:gd name="T1" fmla="*/ 649 h 649"/>
                  <a:gd name="T2" fmla="*/ 2 w 648"/>
                  <a:gd name="T3" fmla="*/ 649 h 649"/>
                  <a:gd name="T4" fmla="*/ 648 w 648"/>
                  <a:gd name="T5" fmla="*/ 0 h 649"/>
                  <a:gd name="T6" fmla="*/ 423 w 648"/>
                  <a:gd name="T7" fmla="*/ 0 h 649"/>
                  <a:gd name="T8" fmla="*/ 0 w 648"/>
                  <a:gd name="T9" fmla="*/ 649 h 649"/>
                </a:gdLst>
                <a:ahLst/>
                <a:cxnLst>
                  <a:cxn ang="0">
                    <a:pos x="T0" y="T1"/>
                  </a:cxn>
                  <a:cxn ang="0">
                    <a:pos x="T2" y="T3"/>
                  </a:cxn>
                  <a:cxn ang="0">
                    <a:pos x="T4" y="T5"/>
                  </a:cxn>
                  <a:cxn ang="0">
                    <a:pos x="T6" y="T7"/>
                  </a:cxn>
                  <a:cxn ang="0">
                    <a:pos x="T8" y="T9"/>
                  </a:cxn>
                </a:cxnLst>
                <a:rect l="0" t="0" r="r" b="b"/>
                <a:pathLst>
                  <a:path w="648" h="649">
                    <a:moveTo>
                      <a:pt x="0" y="649"/>
                    </a:moveTo>
                    <a:lnTo>
                      <a:pt x="2" y="649"/>
                    </a:lnTo>
                    <a:lnTo>
                      <a:pt x="648" y="0"/>
                    </a:lnTo>
                    <a:lnTo>
                      <a:pt x="423" y="0"/>
                    </a:lnTo>
                    <a:lnTo>
                      <a:pt x="0" y="64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sp>
            <p:nvSpPr>
              <p:cNvPr id="28" name="Freeform 13">
                <a:extLst>
                  <a:ext uri="{FF2B5EF4-FFF2-40B4-BE49-F238E27FC236}">
                    <a16:creationId xmlns:a16="http://schemas.microsoft.com/office/drawing/2014/main" id="{46549898-6C52-B147-A8F6-A73FDBE6163B}"/>
                  </a:ext>
                </a:extLst>
              </p:cNvPr>
              <p:cNvSpPr>
                <a:spLocks/>
              </p:cNvSpPr>
              <p:nvPr/>
            </p:nvSpPr>
            <p:spPr bwMode="gray">
              <a:xfrm>
                <a:off x="4321" y="1029"/>
                <a:ext cx="648" cy="649"/>
              </a:xfrm>
              <a:custGeom>
                <a:avLst/>
                <a:gdLst>
                  <a:gd name="T0" fmla="*/ 0 w 648"/>
                  <a:gd name="T1" fmla="*/ 649 h 649"/>
                  <a:gd name="T2" fmla="*/ 2 w 648"/>
                  <a:gd name="T3" fmla="*/ 649 h 649"/>
                  <a:gd name="T4" fmla="*/ 648 w 648"/>
                  <a:gd name="T5" fmla="*/ 0 h 649"/>
                  <a:gd name="T6" fmla="*/ 423 w 648"/>
                  <a:gd name="T7" fmla="*/ 0 h 649"/>
                  <a:gd name="T8" fmla="*/ 0 w 648"/>
                  <a:gd name="T9" fmla="*/ 649 h 649"/>
                </a:gdLst>
                <a:ahLst/>
                <a:cxnLst>
                  <a:cxn ang="0">
                    <a:pos x="T0" y="T1"/>
                  </a:cxn>
                  <a:cxn ang="0">
                    <a:pos x="T2" y="T3"/>
                  </a:cxn>
                  <a:cxn ang="0">
                    <a:pos x="T4" y="T5"/>
                  </a:cxn>
                  <a:cxn ang="0">
                    <a:pos x="T6" y="T7"/>
                  </a:cxn>
                  <a:cxn ang="0">
                    <a:pos x="T8" y="T9"/>
                  </a:cxn>
                </a:cxnLst>
                <a:rect l="0" t="0" r="r" b="b"/>
                <a:pathLst>
                  <a:path w="648" h="649">
                    <a:moveTo>
                      <a:pt x="0" y="649"/>
                    </a:moveTo>
                    <a:lnTo>
                      <a:pt x="2" y="649"/>
                    </a:lnTo>
                    <a:lnTo>
                      <a:pt x="648" y="0"/>
                    </a:lnTo>
                    <a:lnTo>
                      <a:pt x="423" y="0"/>
                    </a:lnTo>
                    <a:lnTo>
                      <a:pt x="0" y="64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grpSp>
      </p:grpSp>
      <p:sp>
        <p:nvSpPr>
          <p:cNvPr id="7" name="Date Placeholder 6"/>
          <p:cNvSpPr>
            <a:spLocks noGrp="1"/>
          </p:cNvSpPr>
          <p:nvPr>
            <p:ph type="dt" sz="half" idx="10"/>
          </p:nvPr>
        </p:nvSpPr>
        <p:spPr>
          <a:xfrm>
            <a:off x="0" y="0"/>
            <a:ext cx="0" cy="0"/>
          </a:xfrm>
          <a:prstGeom prst="rect">
            <a:avLst/>
          </a:prstGeom>
        </p:spPr>
        <p:txBody>
          <a:bodyPr/>
          <a:lstStyle>
            <a:lvl1pPr>
              <a:defRPr sz="100">
                <a:noFill/>
              </a:defRPr>
            </a:lvl1pPr>
          </a:lstStyle>
          <a:p>
            <a:fld id="{D76217CC-534C-41BF-930C-27B1184E95F2}" type="datetime5">
              <a:rPr lang="en-US" smtClean="0"/>
              <a:t>26-Jun-20</a:t>
            </a:fld>
            <a:endParaRPr lang="en-US" dirty="0"/>
          </a:p>
        </p:txBody>
      </p:sp>
      <p:sp>
        <p:nvSpPr>
          <p:cNvPr id="8" name="Footer Placeholder 7"/>
          <p:cNvSpPr>
            <a:spLocks noGrp="1"/>
          </p:cNvSpPr>
          <p:nvPr>
            <p:ph type="ftr" sz="quarter" idx="11"/>
          </p:nvPr>
        </p:nvSpPr>
        <p:spPr>
          <a:xfrm>
            <a:off x="0" y="0"/>
            <a:ext cx="0" cy="0"/>
          </a:xfrm>
          <a:prstGeom prst="rect">
            <a:avLst/>
          </a:prstGeom>
        </p:spPr>
        <p:txBody>
          <a:bodyPr/>
          <a:lstStyle>
            <a:lvl1pPr marL="0" indent="0">
              <a:buNone/>
              <a:defRPr sz="100">
                <a:noFill/>
              </a:defRPr>
            </a:lvl1pPr>
          </a:lstStyle>
          <a:p>
            <a:r>
              <a:rPr lang="en-US"/>
              <a:t>Title of presentation (Insert / Header &amp; Footer / Apply to All)</a:t>
            </a:r>
            <a:endParaRPr lang="en-US" dirty="0"/>
          </a:p>
        </p:txBody>
      </p:sp>
      <p:sp>
        <p:nvSpPr>
          <p:cNvPr id="9" name="Slide Number Placeholder 8"/>
          <p:cNvSpPr>
            <a:spLocks noGrp="1"/>
          </p:cNvSpPr>
          <p:nvPr>
            <p:ph type="sldNum" sz="quarter" idx="12"/>
          </p:nvPr>
        </p:nvSpPr>
        <p:spPr>
          <a:xfrm>
            <a:off x="0" y="0"/>
            <a:ext cx="0" cy="0"/>
          </a:xfrm>
          <a:prstGeom prst="rect">
            <a:avLst/>
          </a:prstGeom>
        </p:spPr>
        <p:txBody>
          <a:bodyPr/>
          <a:lstStyle>
            <a:lvl1pPr>
              <a:defRPr sz="100">
                <a:noFill/>
              </a:defRPr>
            </a:lvl1pPr>
          </a:lstStyle>
          <a:p>
            <a:fld id="{8E3B25F7-8D1F-44B5-B485-EE3C438CFD7B}" type="slidenum">
              <a:rPr lang="en-US" smtClean="0"/>
              <a:pPr/>
              <a:t>‹#›</a:t>
            </a:fld>
            <a:endParaRPr lang="en-US"/>
          </a:p>
        </p:txBody>
      </p:sp>
      <p:sp>
        <p:nvSpPr>
          <p:cNvPr id="2" name="Title 1"/>
          <p:cNvSpPr>
            <a:spLocks noGrp="1"/>
          </p:cNvSpPr>
          <p:nvPr>
            <p:ph type="ctrTitle" hasCustomPrompt="1"/>
          </p:nvPr>
        </p:nvSpPr>
        <p:spPr>
          <a:xfrm>
            <a:off x="4777671" y="2019727"/>
            <a:ext cx="3816000" cy="2236264"/>
          </a:xfrm>
        </p:spPr>
        <p:txBody>
          <a:bodyPr anchor="b"/>
          <a:lstStyle>
            <a:lvl1pPr algn="l">
              <a:defRPr sz="3600"/>
            </a:lvl1pPr>
          </a:lstStyle>
          <a:p>
            <a:r>
              <a:rPr lang="en-US" dirty="0"/>
              <a:t>Click to add thank you</a:t>
            </a:r>
          </a:p>
        </p:txBody>
      </p:sp>
    </p:spTree>
    <p:extLst>
      <p:ext uri="{BB962C8B-B14F-4D97-AF65-F5344CB8AC3E}">
        <p14:creationId xmlns:p14="http://schemas.microsoft.com/office/powerpoint/2010/main" val="362918098"/>
      </p:ext>
    </p:extLst>
  </p:cSld>
  <p:clrMapOvr>
    <a:masterClrMapping/>
  </p:clrMapOvr>
</p:sldLayout>
</file>

<file path=ppt/slideLayouts/slideLayout531.xml><?xml version="1.0" encoding="utf-8"?>
<p:sldLayout xmlns:a="http://schemas.openxmlformats.org/drawingml/2006/main" xmlns:r="http://schemas.openxmlformats.org/officeDocument/2006/relationships" xmlns:p="http://schemas.openxmlformats.org/presentationml/2006/main" preserve="1">
  <p:cSld name="Empty">
    <p:spTree>
      <p:nvGrpSpPr>
        <p:cNvPr id="1" name=""/>
        <p:cNvGrpSpPr/>
        <p:nvPr/>
      </p:nvGrpSpPr>
      <p:grpSpPr>
        <a:xfrm>
          <a:off x="0" y="0"/>
          <a:ext cx="0" cy="0"/>
          <a:chOff x="0" y="0"/>
          <a:chExt cx="0" cy="0"/>
        </a:xfrm>
      </p:grpSpPr>
      <p:sp>
        <p:nvSpPr>
          <p:cNvPr id="5" name="Rectangle 4"/>
          <p:cNvSpPr/>
          <p:nvPr/>
        </p:nvSpPr>
        <p:spPr bwMode="white">
          <a:xfrm>
            <a:off x="0" y="0"/>
            <a:ext cx="514350" cy="16287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Date Placeholder 5"/>
          <p:cNvSpPr>
            <a:spLocks noGrp="1"/>
          </p:cNvSpPr>
          <p:nvPr>
            <p:ph type="dt" sz="half" idx="10"/>
          </p:nvPr>
        </p:nvSpPr>
        <p:spPr>
          <a:xfrm>
            <a:off x="192088" y="6461671"/>
            <a:ext cx="761512" cy="133790"/>
          </a:xfrm>
          <a:prstGeom prst="rect">
            <a:avLst/>
          </a:prstGeom>
        </p:spPr>
        <p:txBody>
          <a:bodyPr/>
          <a:lstStyle/>
          <a:p>
            <a:fld id="{2DD22AFC-145E-4433-8756-926F8A0E61FA}" type="datetime5">
              <a:rPr lang="en-US" smtClean="0"/>
              <a:t>26-Jun-20</a:t>
            </a:fld>
            <a:endParaRPr lang="en-US" dirty="0"/>
          </a:p>
        </p:txBody>
      </p:sp>
      <p:sp>
        <p:nvSpPr>
          <p:cNvPr id="7" name="Footer Placeholder 6"/>
          <p:cNvSpPr>
            <a:spLocks noGrp="1"/>
          </p:cNvSpPr>
          <p:nvPr>
            <p:ph type="ftr" sz="quarter" idx="11"/>
          </p:nvPr>
        </p:nvSpPr>
        <p:spPr>
          <a:xfrm>
            <a:off x="1076400" y="6461671"/>
            <a:ext cx="8162717" cy="133790"/>
          </a:xfrm>
          <a:prstGeom prst="rect">
            <a:avLst/>
          </a:prstGeom>
        </p:spPr>
        <p:txBody>
          <a:bodyPr/>
          <a:lstStyle/>
          <a:p>
            <a:r>
              <a:rPr lang="en-US"/>
              <a:t>Title of presentation (Insert / Header &amp; Footer / Apply to All)</a:t>
            </a:r>
            <a:endParaRPr lang="en-US" dirty="0"/>
          </a:p>
        </p:txBody>
      </p:sp>
      <p:sp>
        <p:nvSpPr>
          <p:cNvPr id="8" name="Slide Number Placeholder 7"/>
          <p:cNvSpPr>
            <a:spLocks noGrp="1"/>
          </p:cNvSpPr>
          <p:nvPr>
            <p:ph type="sldNum" sz="quarter" idx="12"/>
          </p:nvPr>
        </p:nvSpPr>
        <p:spPr/>
        <p:txBody>
          <a:bodyPr/>
          <a:lstStyle/>
          <a:p>
            <a:fld id="{5F3E29E4-0979-4FCA-B4C5-5FC6044C982A}" type="slidenum">
              <a:rPr lang="en-US" smtClean="0"/>
              <a:pPr/>
              <a:t>‹#›</a:t>
            </a:fld>
            <a:endParaRPr lang="en-US"/>
          </a:p>
        </p:txBody>
      </p:sp>
      <p:sp>
        <p:nvSpPr>
          <p:cNvPr id="10" name="Text Placeholder 4"/>
          <p:cNvSpPr>
            <a:spLocks noGrp="1"/>
          </p:cNvSpPr>
          <p:nvPr>
            <p:ph type="body" sz="quarter" idx="17" hasCustomPrompt="1"/>
          </p:nvPr>
        </p:nvSpPr>
        <p:spPr>
          <a:xfrm>
            <a:off x="1075063" y="6307665"/>
            <a:ext cx="8162717" cy="133200"/>
          </a:xfrm>
        </p:spPr>
        <p:txBody>
          <a:bodyPr lIns="0" tIns="0" rIns="0" bIns="0" anchor="b" anchorCtr="0"/>
          <a:lstStyle>
            <a:lvl1pPr marL="0" indent="0" algn="l">
              <a:lnSpc>
                <a:spcPct val="100000"/>
              </a:lnSpc>
              <a:spcBef>
                <a:spcPts val="0"/>
              </a:spcBef>
              <a:buNone/>
              <a:defRPr sz="800" baseline="0"/>
            </a:lvl1pPr>
            <a:lvl2pPr marL="0" indent="0" algn="l">
              <a:lnSpc>
                <a:spcPct val="100000"/>
              </a:lnSpc>
              <a:spcBef>
                <a:spcPts val="0"/>
              </a:spcBef>
              <a:buNone/>
              <a:defRPr sz="800"/>
            </a:lvl2pPr>
            <a:lvl3pPr marL="0" indent="0" algn="l">
              <a:lnSpc>
                <a:spcPct val="100000"/>
              </a:lnSpc>
              <a:spcBef>
                <a:spcPts val="0"/>
              </a:spcBef>
              <a:buNone/>
              <a:defRPr sz="800"/>
            </a:lvl3pPr>
            <a:lvl4pPr marL="0" algn="l">
              <a:lnSpc>
                <a:spcPct val="100000"/>
              </a:lnSpc>
              <a:spcBef>
                <a:spcPts val="0"/>
              </a:spcBef>
              <a:buNone/>
              <a:defRPr sz="800"/>
            </a:lvl4pPr>
            <a:lvl5pPr marL="0" indent="0" algn="l">
              <a:lnSpc>
                <a:spcPct val="100000"/>
              </a:lnSpc>
              <a:spcBef>
                <a:spcPts val="0"/>
              </a:spcBef>
              <a:buNone/>
              <a:defRPr sz="800"/>
            </a:lvl5pPr>
          </a:lstStyle>
          <a:p>
            <a:pPr lvl="0"/>
            <a:r>
              <a:rPr lang="en-US" dirty="0"/>
              <a:t>Source line</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37700932"/>
      </p:ext>
    </p:extLst>
  </p:cSld>
  <p:clrMapOvr>
    <a:masterClrMapping/>
  </p:clrMapOvr>
</p:sldLayout>
</file>

<file path=ppt/slideLayouts/slideLayout532.xml><?xml version="1.0" encoding="utf-8"?>
<p:sldLayout xmlns:a="http://schemas.openxmlformats.org/drawingml/2006/main" xmlns:r="http://schemas.openxmlformats.org/officeDocument/2006/relationships" xmlns:p="http://schemas.openxmlformats.org/presentationml/2006/main" type="vertTx" preserve="1">
  <p:cSld name="Заголовок и вертикальный текст">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ru-RU"/>
              <a:t>Образец заголовка</a:t>
            </a:r>
            <a:endParaRPr lang="en-US" dirty="0"/>
          </a:p>
        </p:txBody>
      </p:sp>
      <p:sp>
        <p:nvSpPr>
          <p:cNvPr id="3" name="Vertical Text Placeholder 2"/>
          <p:cNvSpPr>
            <a:spLocks noGrp="1"/>
          </p:cNvSpPr>
          <p:nvPr>
            <p:ph type="body" orient="vert" idx="1"/>
          </p:nvPr>
        </p:nvSpPr>
        <p:spPr/>
        <p:txBody>
          <a:bodyPr vert="eaVert"/>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endParaRPr lang="en-US" dirty="0"/>
          </a:p>
        </p:txBody>
      </p:sp>
      <p:sp>
        <p:nvSpPr>
          <p:cNvPr id="7" name="Date Placeholder 6"/>
          <p:cNvSpPr>
            <a:spLocks noGrp="1"/>
          </p:cNvSpPr>
          <p:nvPr>
            <p:ph type="dt" sz="half" idx="10"/>
          </p:nvPr>
        </p:nvSpPr>
        <p:spPr>
          <a:xfrm>
            <a:off x="192088" y="6461671"/>
            <a:ext cx="761512" cy="133790"/>
          </a:xfrm>
          <a:prstGeom prst="rect">
            <a:avLst/>
          </a:prstGeom>
        </p:spPr>
        <p:txBody>
          <a:bodyPr/>
          <a:lstStyle/>
          <a:p>
            <a:fld id="{AF5B2FD7-A1C3-4F99-9996-6254468DC4CB}" type="datetime5">
              <a:rPr lang="en-US" smtClean="0"/>
              <a:t>26-Jun-20</a:t>
            </a:fld>
            <a:endParaRPr lang="en-US" dirty="0"/>
          </a:p>
        </p:txBody>
      </p:sp>
      <p:sp>
        <p:nvSpPr>
          <p:cNvPr id="8" name="Footer Placeholder 7"/>
          <p:cNvSpPr>
            <a:spLocks noGrp="1"/>
          </p:cNvSpPr>
          <p:nvPr>
            <p:ph type="ftr" sz="quarter" idx="11"/>
          </p:nvPr>
        </p:nvSpPr>
        <p:spPr>
          <a:xfrm>
            <a:off x="1076400" y="6461671"/>
            <a:ext cx="8162717" cy="133790"/>
          </a:xfrm>
          <a:prstGeom prst="rect">
            <a:avLst/>
          </a:prstGeom>
        </p:spPr>
        <p:txBody>
          <a:bodyPr/>
          <a:lstStyle/>
          <a:p>
            <a:r>
              <a:rPr lang="en-US"/>
              <a:t>Title of presentation (Insert / Header &amp; Footer / Apply to All)</a:t>
            </a:r>
            <a:endParaRPr lang="en-US" dirty="0"/>
          </a:p>
        </p:txBody>
      </p:sp>
      <p:sp>
        <p:nvSpPr>
          <p:cNvPr id="9" name="Slide Number Placeholder 8"/>
          <p:cNvSpPr>
            <a:spLocks noGrp="1"/>
          </p:cNvSpPr>
          <p:nvPr>
            <p:ph type="sldNum" sz="quarter" idx="12"/>
          </p:nvPr>
        </p:nvSpPr>
        <p:spPr/>
        <p:txBody>
          <a:bodyPr/>
          <a:lstStyle/>
          <a:p>
            <a:fld id="{5F3E29E4-0979-4FCA-B4C5-5FC6044C982A}" type="slidenum">
              <a:rPr lang="en-US" smtClean="0"/>
              <a:pPr/>
              <a:t>‹#›</a:t>
            </a:fld>
            <a:endParaRPr lang="en-US"/>
          </a:p>
        </p:txBody>
      </p:sp>
    </p:spTree>
    <p:extLst>
      <p:ext uri="{BB962C8B-B14F-4D97-AF65-F5344CB8AC3E}">
        <p14:creationId xmlns:p14="http://schemas.microsoft.com/office/powerpoint/2010/main" val="2034960109"/>
      </p:ext>
    </p:extLst>
  </p:cSld>
  <p:clrMapOvr>
    <a:masterClrMapping/>
  </p:clrMapOvr>
</p:sldLayout>
</file>

<file path=ppt/slideLayouts/slideLayout533.xml><?xml version="1.0" encoding="utf-8"?>
<p:sldLayout xmlns:a="http://schemas.openxmlformats.org/drawingml/2006/main" xmlns:r="http://schemas.openxmlformats.org/officeDocument/2006/relationships" xmlns:p="http://schemas.openxmlformats.org/presentationml/2006/main" type="vertTitleAndTx" preserve="1">
  <p:cSld name="Вертикальный заголовок и текст">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196278" y="404813"/>
            <a:ext cx="1400175" cy="5832474"/>
          </a:xfrm>
        </p:spPr>
        <p:txBody>
          <a:bodyPr vert="eaVert"/>
          <a:lstStyle/>
          <a:p>
            <a:r>
              <a:rPr lang="ru-RU"/>
              <a:t>Образец заголовка</a:t>
            </a:r>
            <a:endParaRPr lang="en-US" dirty="0"/>
          </a:p>
        </p:txBody>
      </p:sp>
      <p:sp>
        <p:nvSpPr>
          <p:cNvPr id="3" name="Vertical Text Placeholder 2"/>
          <p:cNvSpPr>
            <a:spLocks noGrp="1"/>
          </p:cNvSpPr>
          <p:nvPr>
            <p:ph type="body" orient="vert" idx="1"/>
          </p:nvPr>
        </p:nvSpPr>
        <p:spPr>
          <a:xfrm>
            <a:off x="1076400" y="404813"/>
            <a:ext cx="5943525" cy="5832474"/>
          </a:xfrm>
        </p:spPr>
        <p:txBody>
          <a:bodyPr vert="eaVert"/>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endParaRPr lang="en-US"/>
          </a:p>
        </p:txBody>
      </p:sp>
      <p:sp>
        <p:nvSpPr>
          <p:cNvPr id="7" name="Date Placeholder 6"/>
          <p:cNvSpPr>
            <a:spLocks noGrp="1"/>
          </p:cNvSpPr>
          <p:nvPr>
            <p:ph type="dt" sz="half" idx="10"/>
          </p:nvPr>
        </p:nvSpPr>
        <p:spPr>
          <a:xfrm>
            <a:off x="192088" y="6461671"/>
            <a:ext cx="761512" cy="133790"/>
          </a:xfrm>
          <a:prstGeom prst="rect">
            <a:avLst/>
          </a:prstGeom>
        </p:spPr>
        <p:txBody>
          <a:bodyPr/>
          <a:lstStyle/>
          <a:p>
            <a:fld id="{A1079567-0E61-4D85-B570-3273C3AD246A}" type="datetime5">
              <a:rPr lang="en-US" smtClean="0"/>
              <a:t>26-Jun-20</a:t>
            </a:fld>
            <a:endParaRPr lang="en-US" dirty="0"/>
          </a:p>
        </p:txBody>
      </p:sp>
      <p:sp>
        <p:nvSpPr>
          <p:cNvPr id="8" name="Footer Placeholder 7"/>
          <p:cNvSpPr>
            <a:spLocks noGrp="1"/>
          </p:cNvSpPr>
          <p:nvPr>
            <p:ph type="ftr" sz="quarter" idx="11"/>
          </p:nvPr>
        </p:nvSpPr>
        <p:spPr>
          <a:xfrm>
            <a:off x="1076400" y="6461671"/>
            <a:ext cx="8162717" cy="133790"/>
          </a:xfrm>
          <a:prstGeom prst="rect">
            <a:avLst/>
          </a:prstGeom>
        </p:spPr>
        <p:txBody>
          <a:bodyPr/>
          <a:lstStyle/>
          <a:p>
            <a:r>
              <a:rPr lang="en-US"/>
              <a:t>Title of presentation (Insert / Header &amp; Footer / Apply to All)</a:t>
            </a:r>
            <a:endParaRPr lang="en-US" dirty="0"/>
          </a:p>
        </p:txBody>
      </p:sp>
      <p:sp>
        <p:nvSpPr>
          <p:cNvPr id="9" name="Slide Number Placeholder 8"/>
          <p:cNvSpPr>
            <a:spLocks noGrp="1"/>
          </p:cNvSpPr>
          <p:nvPr>
            <p:ph type="sldNum" sz="quarter" idx="12"/>
          </p:nvPr>
        </p:nvSpPr>
        <p:spPr/>
        <p:txBody>
          <a:bodyPr/>
          <a:lstStyle/>
          <a:p>
            <a:fld id="{5F3E29E4-0979-4FCA-B4C5-5FC6044C982A}" type="slidenum">
              <a:rPr lang="en-US" smtClean="0"/>
              <a:pPr/>
              <a:t>‹#›</a:t>
            </a:fld>
            <a:endParaRPr lang="en-US"/>
          </a:p>
        </p:txBody>
      </p:sp>
    </p:spTree>
    <p:extLst>
      <p:ext uri="{BB962C8B-B14F-4D97-AF65-F5344CB8AC3E}">
        <p14:creationId xmlns:p14="http://schemas.microsoft.com/office/powerpoint/2010/main" val="2507820078"/>
      </p:ext>
    </p:extLst>
  </p:cSld>
  <p:clrMapOvr>
    <a:masterClrMapping/>
  </p:clrMapOvr>
</p:sldLayout>
</file>

<file path=ppt/slideLayouts/slideLayout534.xml><?xml version="1.0" encoding="utf-8"?>
<p:sldLayout xmlns:a="http://schemas.openxmlformats.org/drawingml/2006/main" xmlns:r="http://schemas.openxmlformats.org/officeDocument/2006/relationships" xmlns:p="http://schemas.openxmlformats.org/presentationml/2006/main" showMasterSp="0" preserve="1">
  <p:cSld name="Titelfolie">
    <p:spTree>
      <p:nvGrpSpPr>
        <p:cNvPr id="1" name=""/>
        <p:cNvGrpSpPr/>
        <p:nvPr/>
      </p:nvGrpSpPr>
      <p:grpSpPr>
        <a:xfrm>
          <a:off x="0" y="0"/>
          <a:ext cx="0" cy="0"/>
          <a:chOff x="0" y="0"/>
          <a:chExt cx="0" cy="0"/>
        </a:xfrm>
      </p:grpSpPr>
      <p:sp>
        <p:nvSpPr>
          <p:cNvPr id="2" name="VCT_Marker_ID_4" hidden="1"/>
          <p:cNvSpPr/>
          <p:nvPr>
            <p:custDataLst>
              <p:tags r:id="rId1"/>
            </p:custDataLst>
          </p:nvPr>
        </p:nvSpPr>
        <p:spPr bwMode="gray">
          <a:xfrm>
            <a:off x="1693334" y="126962"/>
            <a:ext cx="169333" cy="126961"/>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buFont typeface="Arial" charset="0"/>
              <a:buNone/>
              <a:defRPr/>
            </a:pPr>
            <a:endParaRPr lang="de-DE" sz="2399">
              <a:solidFill>
                <a:schemeClr val="tx1"/>
              </a:solidFill>
            </a:endParaRPr>
          </a:p>
        </p:txBody>
      </p:sp>
    </p:spTree>
    <p:extLst>
      <p:ext uri="{BB962C8B-B14F-4D97-AF65-F5344CB8AC3E}">
        <p14:creationId xmlns:p14="http://schemas.microsoft.com/office/powerpoint/2010/main" val="1772402600"/>
      </p:ext>
    </p:extLst>
  </p:cSld>
  <p:clrMapOvr>
    <a:masterClrMapping/>
  </p:clrMapOvr>
</p:sldLayout>
</file>

<file path=ppt/slideLayouts/slideLayout535.xml><?xml version="1.0" encoding="utf-8"?>
<p:sldLayout xmlns:a="http://schemas.openxmlformats.org/drawingml/2006/main" xmlns:r="http://schemas.openxmlformats.org/officeDocument/2006/relationships" xmlns:p="http://schemas.openxmlformats.org/presentationml/2006/main" preserve="1">
  <p:cSld name="Titel und Inhalt">
    <p:spTree>
      <p:nvGrpSpPr>
        <p:cNvPr id="1" name=""/>
        <p:cNvGrpSpPr/>
        <p:nvPr/>
      </p:nvGrpSpPr>
      <p:grpSpPr>
        <a:xfrm>
          <a:off x="0" y="0"/>
          <a:ext cx="0" cy="0"/>
          <a:chOff x="0" y="0"/>
          <a:chExt cx="0" cy="0"/>
        </a:xfrm>
      </p:grpSpPr>
    </p:spTree>
    <p:extLst>
      <p:ext uri="{BB962C8B-B14F-4D97-AF65-F5344CB8AC3E}">
        <p14:creationId xmlns:p14="http://schemas.microsoft.com/office/powerpoint/2010/main" val="1246822079"/>
      </p:ext>
    </p:extLst>
  </p:cSld>
  <p:clrMapOvr>
    <a:masterClrMapping/>
  </p:clrMapOvr>
</p:sldLayout>
</file>

<file path=ppt/slideLayouts/slideLayout53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479239481"/>
      </p:ext>
    </p:extLst>
  </p:cSld>
  <p:clrMapOvr>
    <a:masterClrMapping/>
  </p:clrMapOvr>
</p:sldLayout>
</file>

<file path=ppt/slideLayouts/slideLayout537.xml><?xml version="1.0" encoding="utf-8"?>
<p:sldLayout xmlns:a="http://schemas.openxmlformats.org/drawingml/2006/main" xmlns:r="http://schemas.openxmlformats.org/officeDocument/2006/relationships" xmlns:p="http://schemas.openxmlformats.org/presentationml/2006/main" showMasterSp="0" preserve="1">
  <p:cSld name="Title 1">
    <p:spTree>
      <p:nvGrpSpPr>
        <p:cNvPr id="1" name=""/>
        <p:cNvGrpSpPr/>
        <p:nvPr/>
      </p:nvGrpSpPr>
      <p:grpSpPr>
        <a:xfrm>
          <a:off x="0" y="0"/>
          <a:ext cx="0" cy="0"/>
          <a:chOff x="0" y="0"/>
          <a:chExt cx="0" cy="0"/>
        </a:xfrm>
      </p:grpSpPr>
      <p:pic>
        <p:nvPicPr>
          <p:cNvPr id="32" name="picture">
            <a:extLst>
              <a:ext uri="{FF2B5EF4-FFF2-40B4-BE49-F238E27FC236}">
                <a16:creationId xmlns:a16="http://schemas.microsoft.com/office/drawing/2014/main" id="{4F153214-AFE7-D540-937D-96E89FDAD54B}"/>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2620212" y="-8808"/>
            <a:ext cx="9697299" cy="6866807"/>
          </a:xfrm>
          <a:prstGeom prst="rect">
            <a:avLst/>
          </a:prstGeom>
        </p:spPr>
      </p:pic>
      <p:sp>
        <p:nvSpPr>
          <p:cNvPr id="29" name="shpPicture"/>
          <p:cNvSpPr/>
          <p:nvPr/>
        </p:nvSpPr>
        <p:spPr>
          <a:xfrm>
            <a:off x="0" y="0"/>
            <a:ext cx="4956718" cy="6858000"/>
          </a:xfrm>
          <a:custGeom>
            <a:avLst/>
            <a:gdLst>
              <a:gd name="connsiteX0" fmla="*/ 0 w 4956718"/>
              <a:gd name="connsiteY0" fmla="*/ 0 h 6858000"/>
              <a:gd name="connsiteX1" fmla="*/ 3707268 w 4956718"/>
              <a:gd name="connsiteY1" fmla="*/ 0 h 6858000"/>
              <a:gd name="connsiteX2" fmla="*/ 4956718 w 4956718"/>
              <a:gd name="connsiteY2" fmla="*/ 4163677 h 6858000"/>
              <a:gd name="connsiteX3" fmla="*/ 3376226 w 4956718"/>
              <a:gd name="connsiteY3" fmla="*/ 6858000 h 6858000"/>
              <a:gd name="connsiteX4" fmla="*/ 0 w 4956718"/>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56718" h="6858000">
                <a:moveTo>
                  <a:pt x="0" y="0"/>
                </a:moveTo>
                <a:lnTo>
                  <a:pt x="3707268" y="0"/>
                </a:lnTo>
                <a:lnTo>
                  <a:pt x="4956718" y="4163677"/>
                </a:lnTo>
                <a:lnTo>
                  <a:pt x="3376226"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125000"/>
              </a:lnSpc>
            </a:pPr>
            <a:endParaRPr lang="en-US" sz="1600"/>
          </a:p>
        </p:txBody>
      </p:sp>
      <p:grpSp>
        <p:nvGrpSpPr>
          <p:cNvPr id="14" name="logo">
            <a:extLst>
              <a:ext uri="{FF2B5EF4-FFF2-40B4-BE49-F238E27FC236}">
                <a16:creationId xmlns:a16="http://schemas.microsoft.com/office/drawing/2014/main" id="{18C26D95-70F8-8A4D-9F18-DCCB92522AF8}"/>
              </a:ext>
            </a:extLst>
          </p:cNvPr>
          <p:cNvGrpSpPr/>
          <p:nvPr/>
        </p:nvGrpSpPr>
        <p:grpSpPr bwMode="gray">
          <a:xfrm>
            <a:off x="417363" y="407485"/>
            <a:ext cx="1518585" cy="646507"/>
            <a:chOff x="334963" y="296652"/>
            <a:chExt cx="1268411" cy="540000"/>
          </a:xfrm>
        </p:grpSpPr>
        <p:sp>
          <p:nvSpPr>
            <p:cNvPr id="17" name="Freeform 6">
              <a:extLst>
                <a:ext uri="{FF2B5EF4-FFF2-40B4-BE49-F238E27FC236}">
                  <a16:creationId xmlns:a16="http://schemas.microsoft.com/office/drawing/2014/main" id="{08737AD0-E375-E445-97E6-CD2E2DF60620}"/>
                </a:ext>
              </a:extLst>
            </p:cNvPr>
            <p:cNvSpPr>
              <a:spLocks noEditPoints="1"/>
            </p:cNvSpPr>
            <p:nvPr/>
          </p:nvSpPr>
          <p:spPr bwMode="gray">
            <a:xfrm>
              <a:off x="982662" y="360462"/>
              <a:ext cx="620712" cy="431800"/>
            </a:xfrm>
            <a:custGeom>
              <a:avLst/>
              <a:gdLst>
                <a:gd name="T0" fmla="*/ 19 w 1809"/>
                <a:gd name="T1" fmla="*/ 97 h 1253"/>
                <a:gd name="T2" fmla="*/ 165 w 1809"/>
                <a:gd name="T3" fmla="*/ 41 h 1253"/>
                <a:gd name="T4" fmla="*/ 211 w 1809"/>
                <a:gd name="T5" fmla="*/ 224 h 1253"/>
                <a:gd name="T6" fmla="*/ 248 w 1809"/>
                <a:gd name="T7" fmla="*/ 155 h 1253"/>
                <a:gd name="T8" fmla="*/ 931 w 1809"/>
                <a:gd name="T9" fmla="*/ 995 h 1253"/>
                <a:gd name="T10" fmla="*/ 858 w 1809"/>
                <a:gd name="T11" fmla="*/ 1115 h 1253"/>
                <a:gd name="T12" fmla="*/ 749 w 1809"/>
                <a:gd name="T13" fmla="*/ 1117 h 1253"/>
                <a:gd name="T14" fmla="*/ 681 w 1809"/>
                <a:gd name="T15" fmla="*/ 1055 h 1253"/>
                <a:gd name="T16" fmla="*/ 800 w 1809"/>
                <a:gd name="T17" fmla="*/ 1054 h 1253"/>
                <a:gd name="T18" fmla="*/ 884 w 1809"/>
                <a:gd name="T19" fmla="*/ 1181 h 1253"/>
                <a:gd name="T20" fmla="*/ 118 w 1809"/>
                <a:gd name="T21" fmla="*/ 1086 h 1253"/>
                <a:gd name="T22" fmla="*/ 147 w 1809"/>
                <a:gd name="T23" fmla="*/ 1026 h 1253"/>
                <a:gd name="T24" fmla="*/ 102 w 1809"/>
                <a:gd name="T25" fmla="*/ 1026 h 1253"/>
                <a:gd name="T26" fmla="*/ 639 w 1809"/>
                <a:gd name="T27" fmla="*/ 84 h 1253"/>
                <a:gd name="T28" fmla="*/ 763 w 1809"/>
                <a:gd name="T29" fmla="*/ 145 h 1253"/>
                <a:gd name="T30" fmla="*/ 863 w 1809"/>
                <a:gd name="T31" fmla="*/ 221 h 1253"/>
                <a:gd name="T32" fmla="*/ 834 w 1809"/>
                <a:gd name="T33" fmla="*/ 208 h 1253"/>
                <a:gd name="T34" fmla="*/ 719 w 1809"/>
                <a:gd name="T35" fmla="*/ 182 h 1253"/>
                <a:gd name="T36" fmla="*/ 507 w 1809"/>
                <a:gd name="T37" fmla="*/ 711 h 1253"/>
                <a:gd name="T38" fmla="*/ 614 w 1809"/>
                <a:gd name="T39" fmla="*/ 706 h 1253"/>
                <a:gd name="T40" fmla="*/ 736 w 1809"/>
                <a:gd name="T41" fmla="*/ 730 h 1253"/>
                <a:gd name="T42" fmla="*/ 607 w 1809"/>
                <a:gd name="T43" fmla="*/ 539 h 1253"/>
                <a:gd name="T44" fmla="*/ 1505 w 1809"/>
                <a:gd name="T45" fmla="*/ 1136 h 1253"/>
                <a:gd name="T46" fmla="*/ 1613 w 1809"/>
                <a:gd name="T47" fmla="*/ 1002 h 1253"/>
                <a:gd name="T48" fmla="*/ 1472 w 1809"/>
                <a:gd name="T49" fmla="*/ 1164 h 1253"/>
                <a:gd name="T50" fmla="*/ 1525 w 1809"/>
                <a:gd name="T51" fmla="*/ 1142 h 1253"/>
                <a:gd name="T52" fmla="*/ 1556 w 1809"/>
                <a:gd name="T53" fmla="*/ 1172 h 1253"/>
                <a:gd name="T54" fmla="*/ 1387 w 1809"/>
                <a:gd name="T55" fmla="*/ 910 h 1253"/>
                <a:gd name="T56" fmla="*/ 1261 w 1809"/>
                <a:gd name="T57" fmla="*/ 1157 h 1253"/>
                <a:gd name="T58" fmla="*/ 1413 w 1809"/>
                <a:gd name="T59" fmla="*/ 934 h 1253"/>
                <a:gd name="T60" fmla="*/ 1378 w 1809"/>
                <a:gd name="T61" fmla="*/ 1052 h 1253"/>
                <a:gd name="T62" fmla="*/ 488 w 1809"/>
                <a:gd name="T63" fmla="*/ 85 h 1253"/>
                <a:gd name="T64" fmla="*/ 509 w 1809"/>
                <a:gd name="T65" fmla="*/ 112 h 1253"/>
                <a:gd name="T66" fmla="*/ 548 w 1809"/>
                <a:gd name="T67" fmla="*/ 1187 h 1253"/>
                <a:gd name="T68" fmla="*/ 472 w 1809"/>
                <a:gd name="T69" fmla="*/ 1122 h 1253"/>
                <a:gd name="T70" fmla="*/ 558 w 1809"/>
                <a:gd name="T71" fmla="*/ 1157 h 1253"/>
                <a:gd name="T72" fmla="*/ 287 w 1809"/>
                <a:gd name="T73" fmla="*/ 654 h 1253"/>
                <a:gd name="T74" fmla="*/ 416 w 1809"/>
                <a:gd name="T75" fmla="*/ 684 h 1253"/>
                <a:gd name="T76" fmla="*/ 1106 w 1809"/>
                <a:gd name="T77" fmla="*/ 147 h 1253"/>
                <a:gd name="T78" fmla="*/ 1229 w 1809"/>
                <a:gd name="T79" fmla="*/ 258 h 1253"/>
                <a:gd name="T80" fmla="*/ 1106 w 1809"/>
                <a:gd name="T81" fmla="*/ 96 h 1253"/>
                <a:gd name="T82" fmla="*/ 1219 w 1809"/>
                <a:gd name="T83" fmla="*/ 1077 h 1253"/>
                <a:gd name="T84" fmla="*/ 1214 w 1809"/>
                <a:gd name="T85" fmla="*/ 1157 h 1253"/>
                <a:gd name="T86" fmla="*/ 1150 w 1809"/>
                <a:gd name="T87" fmla="*/ 1092 h 1253"/>
                <a:gd name="T88" fmla="*/ 1139 w 1809"/>
                <a:gd name="T89" fmla="*/ 1070 h 1253"/>
                <a:gd name="T90" fmla="*/ 1659 w 1809"/>
                <a:gd name="T91" fmla="*/ 1031 h 1253"/>
                <a:gd name="T92" fmla="*/ 1714 w 1809"/>
                <a:gd name="T93" fmla="*/ 1155 h 1253"/>
                <a:gd name="T94" fmla="*/ 1760 w 1809"/>
                <a:gd name="T95" fmla="*/ 1030 h 1253"/>
                <a:gd name="T96" fmla="*/ 111 w 1809"/>
                <a:gd name="T97" fmla="*/ 569 h 1253"/>
                <a:gd name="T98" fmla="*/ 109 w 1809"/>
                <a:gd name="T99" fmla="*/ 460 h 1253"/>
                <a:gd name="T100" fmla="*/ 32 w 1809"/>
                <a:gd name="T101" fmla="*/ 704 h 1253"/>
                <a:gd name="T102" fmla="*/ 310 w 1809"/>
                <a:gd name="T103" fmla="*/ 1058 h 1253"/>
                <a:gd name="T104" fmla="*/ 431 w 1809"/>
                <a:gd name="T105" fmla="*/ 1044 h 1253"/>
                <a:gd name="T106" fmla="*/ 278 w 1809"/>
                <a:gd name="T107" fmla="*/ 1165 h 1253"/>
                <a:gd name="T108" fmla="*/ 261 w 1809"/>
                <a:gd name="T109" fmla="*/ 540 h 1253"/>
                <a:gd name="T110" fmla="*/ 150 w 1809"/>
                <a:gd name="T111" fmla="*/ 635 h 1253"/>
                <a:gd name="T112" fmla="*/ 994 w 1809"/>
                <a:gd name="T113" fmla="*/ 1185 h 1253"/>
                <a:gd name="T114" fmla="*/ 331 w 1809"/>
                <a:gd name="T115" fmla="*/ 176 h 1253"/>
                <a:gd name="T116" fmla="*/ 333 w 1809"/>
                <a:gd name="T117" fmla="*/ 109 h 1253"/>
                <a:gd name="T118" fmla="*/ 946 w 1809"/>
                <a:gd name="T119" fmla="*/ 234 h 1253"/>
                <a:gd name="T120" fmla="*/ 1022 w 1809"/>
                <a:gd name="T121" fmla="*/ 113 h 1253"/>
                <a:gd name="T122" fmla="*/ 949 w 1809"/>
                <a:gd name="T123" fmla="*/ 65 h 1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09" h="1253">
                  <a:moveTo>
                    <a:pt x="248" y="198"/>
                  </a:moveTo>
                  <a:cubicBezTo>
                    <a:pt x="248" y="211"/>
                    <a:pt x="248" y="224"/>
                    <a:pt x="249" y="237"/>
                  </a:cubicBezTo>
                  <a:cubicBezTo>
                    <a:pt x="249" y="245"/>
                    <a:pt x="246" y="249"/>
                    <a:pt x="240" y="253"/>
                  </a:cubicBezTo>
                  <a:cubicBezTo>
                    <a:pt x="231" y="260"/>
                    <a:pt x="220" y="264"/>
                    <a:pt x="209" y="268"/>
                  </a:cubicBezTo>
                  <a:cubicBezTo>
                    <a:pt x="179" y="279"/>
                    <a:pt x="148" y="280"/>
                    <a:pt x="118" y="275"/>
                  </a:cubicBezTo>
                  <a:cubicBezTo>
                    <a:pt x="86" y="269"/>
                    <a:pt x="58" y="252"/>
                    <a:pt x="39" y="224"/>
                  </a:cubicBezTo>
                  <a:cubicBezTo>
                    <a:pt x="24" y="203"/>
                    <a:pt x="18" y="180"/>
                    <a:pt x="15" y="155"/>
                  </a:cubicBezTo>
                  <a:cubicBezTo>
                    <a:pt x="11" y="135"/>
                    <a:pt x="15" y="115"/>
                    <a:pt x="19" y="97"/>
                  </a:cubicBezTo>
                  <a:cubicBezTo>
                    <a:pt x="26" y="68"/>
                    <a:pt x="42" y="44"/>
                    <a:pt x="68" y="27"/>
                  </a:cubicBezTo>
                  <a:cubicBezTo>
                    <a:pt x="87" y="14"/>
                    <a:pt x="109" y="6"/>
                    <a:pt x="133" y="5"/>
                  </a:cubicBezTo>
                  <a:cubicBezTo>
                    <a:pt x="149" y="4"/>
                    <a:pt x="165" y="5"/>
                    <a:pt x="181" y="6"/>
                  </a:cubicBezTo>
                  <a:cubicBezTo>
                    <a:pt x="204" y="8"/>
                    <a:pt x="225" y="20"/>
                    <a:pt x="243" y="35"/>
                  </a:cubicBezTo>
                  <a:cubicBezTo>
                    <a:pt x="246" y="37"/>
                    <a:pt x="246" y="40"/>
                    <a:pt x="244" y="43"/>
                  </a:cubicBezTo>
                  <a:cubicBezTo>
                    <a:pt x="242" y="47"/>
                    <a:pt x="239" y="52"/>
                    <a:pt x="236" y="55"/>
                  </a:cubicBezTo>
                  <a:cubicBezTo>
                    <a:pt x="226" y="65"/>
                    <a:pt x="224" y="65"/>
                    <a:pt x="206" y="54"/>
                  </a:cubicBezTo>
                  <a:cubicBezTo>
                    <a:pt x="193" y="46"/>
                    <a:pt x="180" y="40"/>
                    <a:pt x="165" y="41"/>
                  </a:cubicBezTo>
                  <a:cubicBezTo>
                    <a:pt x="151" y="41"/>
                    <a:pt x="137" y="39"/>
                    <a:pt x="124" y="42"/>
                  </a:cubicBezTo>
                  <a:cubicBezTo>
                    <a:pt x="104" y="46"/>
                    <a:pt x="87" y="57"/>
                    <a:pt x="75" y="74"/>
                  </a:cubicBezTo>
                  <a:cubicBezTo>
                    <a:pt x="56" y="99"/>
                    <a:pt x="51" y="129"/>
                    <a:pt x="55" y="159"/>
                  </a:cubicBezTo>
                  <a:cubicBezTo>
                    <a:pt x="60" y="189"/>
                    <a:pt x="73" y="214"/>
                    <a:pt x="98" y="230"/>
                  </a:cubicBezTo>
                  <a:cubicBezTo>
                    <a:pt x="109" y="237"/>
                    <a:pt x="121" y="242"/>
                    <a:pt x="135" y="241"/>
                  </a:cubicBezTo>
                  <a:cubicBezTo>
                    <a:pt x="146" y="241"/>
                    <a:pt x="158" y="241"/>
                    <a:pt x="169" y="241"/>
                  </a:cubicBezTo>
                  <a:cubicBezTo>
                    <a:pt x="182" y="242"/>
                    <a:pt x="193" y="235"/>
                    <a:pt x="205" y="232"/>
                  </a:cubicBezTo>
                  <a:cubicBezTo>
                    <a:pt x="210" y="231"/>
                    <a:pt x="211" y="227"/>
                    <a:pt x="211" y="224"/>
                  </a:cubicBezTo>
                  <a:cubicBezTo>
                    <a:pt x="211" y="210"/>
                    <a:pt x="211" y="196"/>
                    <a:pt x="211" y="183"/>
                  </a:cubicBezTo>
                  <a:cubicBezTo>
                    <a:pt x="211" y="177"/>
                    <a:pt x="207" y="175"/>
                    <a:pt x="202" y="175"/>
                  </a:cubicBezTo>
                  <a:cubicBezTo>
                    <a:pt x="193" y="175"/>
                    <a:pt x="184" y="175"/>
                    <a:pt x="175" y="175"/>
                  </a:cubicBezTo>
                  <a:cubicBezTo>
                    <a:pt x="171" y="175"/>
                    <a:pt x="168" y="174"/>
                    <a:pt x="166" y="171"/>
                  </a:cubicBezTo>
                  <a:cubicBezTo>
                    <a:pt x="163" y="163"/>
                    <a:pt x="164" y="154"/>
                    <a:pt x="166" y="146"/>
                  </a:cubicBezTo>
                  <a:cubicBezTo>
                    <a:pt x="167" y="142"/>
                    <a:pt x="171" y="142"/>
                    <a:pt x="175" y="142"/>
                  </a:cubicBezTo>
                  <a:cubicBezTo>
                    <a:pt x="196" y="142"/>
                    <a:pt x="217" y="142"/>
                    <a:pt x="238" y="142"/>
                  </a:cubicBezTo>
                  <a:cubicBezTo>
                    <a:pt x="247" y="142"/>
                    <a:pt x="248" y="148"/>
                    <a:pt x="248" y="155"/>
                  </a:cubicBezTo>
                  <a:cubicBezTo>
                    <a:pt x="249" y="169"/>
                    <a:pt x="248" y="183"/>
                    <a:pt x="248" y="198"/>
                  </a:cubicBezTo>
                  <a:close/>
                  <a:moveTo>
                    <a:pt x="884" y="1181"/>
                  </a:moveTo>
                  <a:cubicBezTo>
                    <a:pt x="889" y="1167"/>
                    <a:pt x="894" y="1152"/>
                    <a:pt x="898" y="1137"/>
                  </a:cubicBezTo>
                  <a:cubicBezTo>
                    <a:pt x="901" y="1127"/>
                    <a:pt x="905" y="1116"/>
                    <a:pt x="908" y="1106"/>
                  </a:cubicBezTo>
                  <a:cubicBezTo>
                    <a:pt x="911" y="1098"/>
                    <a:pt x="912" y="1089"/>
                    <a:pt x="916" y="1081"/>
                  </a:cubicBezTo>
                  <a:cubicBezTo>
                    <a:pt x="921" y="1072"/>
                    <a:pt x="923" y="1060"/>
                    <a:pt x="927" y="1050"/>
                  </a:cubicBezTo>
                  <a:cubicBezTo>
                    <a:pt x="932" y="1037"/>
                    <a:pt x="934" y="1023"/>
                    <a:pt x="940" y="1010"/>
                  </a:cubicBezTo>
                  <a:cubicBezTo>
                    <a:pt x="945" y="1001"/>
                    <a:pt x="941" y="995"/>
                    <a:pt x="931" y="995"/>
                  </a:cubicBezTo>
                  <a:cubicBezTo>
                    <a:pt x="927" y="995"/>
                    <a:pt x="922" y="995"/>
                    <a:pt x="918" y="995"/>
                  </a:cubicBezTo>
                  <a:cubicBezTo>
                    <a:pt x="913" y="995"/>
                    <a:pt x="908" y="997"/>
                    <a:pt x="907" y="1001"/>
                  </a:cubicBezTo>
                  <a:cubicBezTo>
                    <a:pt x="904" y="1008"/>
                    <a:pt x="900" y="1015"/>
                    <a:pt x="899" y="1023"/>
                  </a:cubicBezTo>
                  <a:cubicBezTo>
                    <a:pt x="897" y="1034"/>
                    <a:pt x="893" y="1045"/>
                    <a:pt x="889" y="1055"/>
                  </a:cubicBezTo>
                  <a:cubicBezTo>
                    <a:pt x="887" y="1064"/>
                    <a:pt x="885" y="1072"/>
                    <a:pt x="882" y="1080"/>
                  </a:cubicBezTo>
                  <a:cubicBezTo>
                    <a:pt x="878" y="1091"/>
                    <a:pt x="874" y="1103"/>
                    <a:pt x="871" y="1115"/>
                  </a:cubicBezTo>
                  <a:cubicBezTo>
                    <a:pt x="870" y="1118"/>
                    <a:pt x="871" y="1124"/>
                    <a:pt x="866" y="1124"/>
                  </a:cubicBezTo>
                  <a:cubicBezTo>
                    <a:pt x="861" y="1125"/>
                    <a:pt x="859" y="1120"/>
                    <a:pt x="858" y="1115"/>
                  </a:cubicBezTo>
                  <a:cubicBezTo>
                    <a:pt x="856" y="1110"/>
                    <a:pt x="856" y="1104"/>
                    <a:pt x="854" y="1099"/>
                  </a:cubicBezTo>
                  <a:cubicBezTo>
                    <a:pt x="848" y="1080"/>
                    <a:pt x="841" y="1062"/>
                    <a:pt x="835" y="1044"/>
                  </a:cubicBezTo>
                  <a:cubicBezTo>
                    <a:pt x="831" y="1030"/>
                    <a:pt x="828" y="1016"/>
                    <a:pt x="822" y="1003"/>
                  </a:cubicBezTo>
                  <a:cubicBezTo>
                    <a:pt x="819" y="997"/>
                    <a:pt x="814" y="994"/>
                    <a:pt x="808" y="994"/>
                  </a:cubicBezTo>
                  <a:cubicBezTo>
                    <a:pt x="799" y="993"/>
                    <a:pt x="791" y="993"/>
                    <a:pt x="787" y="1001"/>
                  </a:cubicBezTo>
                  <a:cubicBezTo>
                    <a:pt x="783" y="1008"/>
                    <a:pt x="780" y="1015"/>
                    <a:pt x="779" y="1022"/>
                  </a:cubicBezTo>
                  <a:cubicBezTo>
                    <a:pt x="778" y="1034"/>
                    <a:pt x="772" y="1044"/>
                    <a:pt x="769" y="1055"/>
                  </a:cubicBezTo>
                  <a:cubicBezTo>
                    <a:pt x="762" y="1076"/>
                    <a:pt x="754" y="1096"/>
                    <a:pt x="749" y="1117"/>
                  </a:cubicBezTo>
                  <a:cubicBezTo>
                    <a:pt x="748" y="1120"/>
                    <a:pt x="747" y="1124"/>
                    <a:pt x="742" y="1124"/>
                  </a:cubicBezTo>
                  <a:cubicBezTo>
                    <a:pt x="737" y="1124"/>
                    <a:pt x="737" y="1120"/>
                    <a:pt x="736" y="1116"/>
                  </a:cubicBezTo>
                  <a:cubicBezTo>
                    <a:pt x="734" y="1104"/>
                    <a:pt x="730" y="1092"/>
                    <a:pt x="726" y="1080"/>
                  </a:cubicBezTo>
                  <a:cubicBezTo>
                    <a:pt x="720" y="1061"/>
                    <a:pt x="714" y="1040"/>
                    <a:pt x="708" y="1020"/>
                  </a:cubicBezTo>
                  <a:cubicBezTo>
                    <a:pt x="703" y="1000"/>
                    <a:pt x="698" y="994"/>
                    <a:pt x="676" y="995"/>
                  </a:cubicBezTo>
                  <a:cubicBezTo>
                    <a:pt x="665" y="996"/>
                    <a:pt x="661" y="1001"/>
                    <a:pt x="667" y="1011"/>
                  </a:cubicBezTo>
                  <a:cubicBezTo>
                    <a:pt x="669" y="1016"/>
                    <a:pt x="670" y="1021"/>
                    <a:pt x="672" y="1025"/>
                  </a:cubicBezTo>
                  <a:cubicBezTo>
                    <a:pt x="675" y="1035"/>
                    <a:pt x="678" y="1046"/>
                    <a:pt x="681" y="1055"/>
                  </a:cubicBezTo>
                  <a:cubicBezTo>
                    <a:pt x="685" y="1068"/>
                    <a:pt x="689" y="1080"/>
                    <a:pt x="693" y="1092"/>
                  </a:cubicBezTo>
                  <a:cubicBezTo>
                    <a:pt x="697" y="1103"/>
                    <a:pt x="699" y="1113"/>
                    <a:pt x="703" y="1124"/>
                  </a:cubicBezTo>
                  <a:cubicBezTo>
                    <a:pt x="707" y="1136"/>
                    <a:pt x="711" y="1147"/>
                    <a:pt x="715" y="1160"/>
                  </a:cubicBezTo>
                  <a:cubicBezTo>
                    <a:pt x="717" y="1168"/>
                    <a:pt x="720" y="1176"/>
                    <a:pt x="724" y="1183"/>
                  </a:cubicBezTo>
                  <a:cubicBezTo>
                    <a:pt x="728" y="1189"/>
                    <a:pt x="752" y="1185"/>
                    <a:pt x="757" y="1180"/>
                  </a:cubicBezTo>
                  <a:cubicBezTo>
                    <a:pt x="764" y="1173"/>
                    <a:pt x="762" y="1163"/>
                    <a:pt x="766" y="1156"/>
                  </a:cubicBezTo>
                  <a:cubicBezTo>
                    <a:pt x="774" y="1140"/>
                    <a:pt x="778" y="1122"/>
                    <a:pt x="784" y="1105"/>
                  </a:cubicBezTo>
                  <a:cubicBezTo>
                    <a:pt x="789" y="1088"/>
                    <a:pt x="796" y="1072"/>
                    <a:pt x="800" y="1054"/>
                  </a:cubicBezTo>
                  <a:cubicBezTo>
                    <a:pt x="800" y="1053"/>
                    <a:pt x="801" y="1050"/>
                    <a:pt x="803" y="1050"/>
                  </a:cubicBezTo>
                  <a:cubicBezTo>
                    <a:pt x="806" y="1050"/>
                    <a:pt x="806" y="1052"/>
                    <a:pt x="807" y="1055"/>
                  </a:cubicBezTo>
                  <a:cubicBezTo>
                    <a:pt x="807" y="1060"/>
                    <a:pt x="810" y="1066"/>
                    <a:pt x="811" y="1071"/>
                  </a:cubicBezTo>
                  <a:cubicBezTo>
                    <a:pt x="814" y="1081"/>
                    <a:pt x="818" y="1090"/>
                    <a:pt x="821" y="1099"/>
                  </a:cubicBezTo>
                  <a:cubicBezTo>
                    <a:pt x="824" y="1110"/>
                    <a:pt x="827" y="1120"/>
                    <a:pt x="831" y="1131"/>
                  </a:cubicBezTo>
                  <a:cubicBezTo>
                    <a:pt x="834" y="1142"/>
                    <a:pt x="839" y="1153"/>
                    <a:pt x="842" y="1164"/>
                  </a:cubicBezTo>
                  <a:cubicBezTo>
                    <a:pt x="846" y="1179"/>
                    <a:pt x="850" y="1188"/>
                    <a:pt x="869" y="1185"/>
                  </a:cubicBezTo>
                  <a:cubicBezTo>
                    <a:pt x="873" y="1184"/>
                    <a:pt x="881" y="1189"/>
                    <a:pt x="884" y="1181"/>
                  </a:cubicBezTo>
                  <a:close/>
                  <a:moveTo>
                    <a:pt x="33" y="1051"/>
                  </a:moveTo>
                  <a:cubicBezTo>
                    <a:pt x="33" y="1087"/>
                    <a:pt x="33" y="1124"/>
                    <a:pt x="33" y="1160"/>
                  </a:cubicBezTo>
                  <a:cubicBezTo>
                    <a:pt x="33" y="1188"/>
                    <a:pt x="29" y="1184"/>
                    <a:pt x="58" y="1185"/>
                  </a:cubicBezTo>
                  <a:cubicBezTo>
                    <a:pt x="72" y="1185"/>
                    <a:pt x="73" y="1184"/>
                    <a:pt x="73" y="1170"/>
                  </a:cubicBezTo>
                  <a:cubicBezTo>
                    <a:pt x="73" y="1138"/>
                    <a:pt x="73" y="1107"/>
                    <a:pt x="73" y="1076"/>
                  </a:cubicBezTo>
                  <a:cubicBezTo>
                    <a:pt x="73" y="1071"/>
                    <a:pt x="72" y="1067"/>
                    <a:pt x="78" y="1065"/>
                  </a:cubicBezTo>
                  <a:cubicBezTo>
                    <a:pt x="91" y="1062"/>
                    <a:pt x="102" y="1067"/>
                    <a:pt x="110" y="1076"/>
                  </a:cubicBezTo>
                  <a:cubicBezTo>
                    <a:pt x="112" y="1080"/>
                    <a:pt x="115" y="1083"/>
                    <a:pt x="118" y="1086"/>
                  </a:cubicBezTo>
                  <a:cubicBezTo>
                    <a:pt x="132" y="1103"/>
                    <a:pt x="146" y="1119"/>
                    <a:pt x="161" y="1136"/>
                  </a:cubicBezTo>
                  <a:cubicBezTo>
                    <a:pt x="173" y="1150"/>
                    <a:pt x="186" y="1165"/>
                    <a:pt x="198" y="1179"/>
                  </a:cubicBezTo>
                  <a:cubicBezTo>
                    <a:pt x="207" y="1188"/>
                    <a:pt x="218" y="1184"/>
                    <a:pt x="228" y="1185"/>
                  </a:cubicBezTo>
                  <a:cubicBezTo>
                    <a:pt x="233" y="1185"/>
                    <a:pt x="241" y="1188"/>
                    <a:pt x="244" y="1182"/>
                  </a:cubicBezTo>
                  <a:cubicBezTo>
                    <a:pt x="246" y="1178"/>
                    <a:pt x="239" y="1173"/>
                    <a:pt x="235" y="1169"/>
                  </a:cubicBezTo>
                  <a:cubicBezTo>
                    <a:pt x="206" y="1133"/>
                    <a:pt x="176" y="1098"/>
                    <a:pt x="146" y="1062"/>
                  </a:cubicBezTo>
                  <a:cubicBezTo>
                    <a:pt x="141" y="1056"/>
                    <a:pt x="131" y="1052"/>
                    <a:pt x="132" y="1044"/>
                  </a:cubicBezTo>
                  <a:cubicBezTo>
                    <a:pt x="132" y="1036"/>
                    <a:pt x="142" y="1032"/>
                    <a:pt x="147" y="1026"/>
                  </a:cubicBezTo>
                  <a:cubicBezTo>
                    <a:pt x="164" y="1006"/>
                    <a:pt x="182" y="988"/>
                    <a:pt x="198" y="968"/>
                  </a:cubicBezTo>
                  <a:cubicBezTo>
                    <a:pt x="209" y="954"/>
                    <a:pt x="221" y="942"/>
                    <a:pt x="234" y="929"/>
                  </a:cubicBezTo>
                  <a:cubicBezTo>
                    <a:pt x="236" y="926"/>
                    <a:pt x="238" y="923"/>
                    <a:pt x="237" y="920"/>
                  </a:cubicBezTo>
                  <a:cubicBezTo>
                    <a:pt x="235" y="915"/>
                    <a:pt x="231" y="917"/>
                    <a:pt x="228" y="917"/>
                  </a:cubicBezTo>
                  <a:cubicBezTo>
                    <a:pt x="224" y="918"/>
                    <a:pt x="221" y="918"/>
                    <a:pt x="217" y="918"/>
                  </a:cubicBezTo>
                  <a:cubicBezTo>
                    <a:pt x="204" y="917"/>
                    <a:pt x="193" y="922"/>
                    <a:pt x="185" y="931"/>
                  </a:cubicBezTo>
                  <a:cubicBezTo>
                    <a:pt x="172" y="946"/>
                    <a:pt x="158" y="961"/>
                    <a:pt x="145" y="977"/>
                  </a:cubicBezTo>
                  <a:cubicBezTo>
                    <a:pt x="131" y="993"/>
                    <a:pt x="117" y="1010"/>
                    <a:pt x="102" y="1026"/>
                  </a:cubicBezTo>
                  <a:cubicBezTo>
                    <a:pt x="96" y="1032"/>
                    <a:pt x="87" y="1037"/>
                    <a:pt x="78" y="1034"/>
                  </a:cubicBezTo>
                  <a:cubicBezTo>
                    <a:pt x="70" y="1030"/>
                    <a:pt x="73" y="1021"/>
                    <a:pt x="73" y="1015"/>
                  </a:cubicBezTo>
                  <a:cubicBezTo>
                    <a:pt x="73" y="991"/>
                    <a:pt x="73" y="967"/>
                    <a:pt x="73" y="944"/>
                  </a:cubicBezTo>
                  <a:cubicBezTo>
                    <a:pt x="73" y="916"/>
                    <a:pt x="75" y="917"/>
                    <a:pt x="46" y="918"/>
                  </a:cubicBezTo>
                  <a:cubicBezTo>
                    <a:pt x="33" y="918"/>
                    <a:pt x="33" y="918"/>
                    <a:pt x="33" y="931"/>
                  </a:cubicBezTo>
                  <a:cubicBezTo>
                    <a:pt x="33" y="971"/>
                    <a:pt x="33" y="1011"/>
                    <a:pt x="33" y="1051"/>
                  </a:cubicBezTo>
                  <a:cubicBezTo>
                    <a:pt x="33" y="1051"/>
                    <a:pt x="33" y="1051"/>
                    <a:pt x="33" y="1051"/>
                  </a:cubicBezTo>
                  <a:close/>
                  <a:moveTo>
                    <a:pt x="639" y="84"/>
                  </a:moveTo>
                  <a:cubicBezTo>
                    <a:pt x="627" y="84"/>
                    <a:pt x="626" y="84"/>
                    <a:pt x="629" y="95"/>
                  </a:cubicBezTo>
                  <a:cubicBezTo>
                    <a:pt x="634" y="113"/>
                    <a:pt x="640" y="131"/>
                    <a:pt x="646" y="148"/>
                  </a:cubicBezTo>
                  <a:cubicBezTo>
                    <a:pt x="652" y="166"/>
                    <a:pt x="658" y="185"/>
                    <a:pt x="664" y="203"/>
                  </a:cubicBezTo>
                  <a:cubicBezTo>
                    <a:pt x="671" y="223"/>
                    <a:pt x="676" y="244"/>
                    <a:pt x="684" y="264"/>
                  </a:cubicBezTo>
                  <a:cubicBezTo>
                    <a:pt x="688" y="274"/>
                    <a:pt x="694" y="274"/>
                    <a:pt x="702" y="274"/>
                  </a:cubicBezTo>
                  <a:cubicBezTo>
                    <a:pt x="711" y="274"/>
                    <a:pt x="719" y="272"/>
                    <a:pt x="723" y="263"/>
                  </a:cubicBezTo>
                  <a:cubicBezTo>
                    <a:pt x="733" y="236"/>
                    <a:pt x="741" y="208"/>
                    <a:pt x="750" y="181"/>
                  </a:cubicBezTo>
                  <a:cubicBezTo>
                    <a:pt x="754" y="169"/>
                    <a:pt x="757" y="156"/>
                    <a:pt x="763" y="145"/>
                  </a:cubicBezTo>
                  <a:cubicBezTo>
                    <a:pt x="764" y="143"/>
                    <a:pt x="764" y="140"/>
                    <a:pt x="767" y="140"/>
                  </a:cubicBezTo>
                  <a:cubicBezTo>
                    <a:pt x="770" y="140"/>
                    <a:pt x="770" y="143"/>
                    <a:pt x="771" y="145"/>
                  </a:cubicBezTo>
                  <a:cubicBezTo>
                    <a:pt x="771" y="156"/>
                    <a:pt x="777" y="165"/>
                    <a:pt x="780" y="175"/>
                  </a:cubicBezTo>
                  <a:cubicBezTo>
                    <a:pt x="782" y="184"/>
                    <a:pt x="785" y="193"/>
                    <a:pt x="788" y="201"/>
                  </a:cubicBezTo>
                  <a:cubicBezTo>
                    <a:pt x="794" y="219"/>
                    <a:pt x="801" y="237"/>
                    <a:pt x="806" y="255"/>
                  </a:cubicBezTo>
                  <a:cubicBezTo>
                    <a:pt x="811" y="272"/>
                    <a:pt x="825" y="280"/>
                    <a:pt x="842" y="273"/>
                  </a:cubicBezTo>
                  <a:cubicBezTo>
                    <a:pt x="845" y="271"/>
                    <a:pt x="847" y="269"/>
                    <a:pt x="848" y="266"/>
                  </a:cubicBezTo>
                  <a:cubicBezTo>
                    <a:pt x="853" y="251"/>
                    <a:pt x="859" y="236"/>
                    <a:pt x="863" y="221"/>
                  </a:cubicBezTo>
                  <a:cubicBezTo>
                    <a:pt x="867" y="202"/>
                    <a:pt x="875" y="185"/>
                    <a:pt x="880" y="166"/>
                  </a:cubicBezTo>
                  <a:cubicBezTo>
                    <a:pt x="886" y="144"/>
                    <a:pt x="895" y="123"/>
                    <a:pt x="900" y="101"/>
                  </a:cubicBezTo>
                  <a:cubicBezTo>
                    <a:pt x="901" y="96"/>
                    <a:pt x="909" y="91"/>
                    <a:pt x="904" y="86"/>
                  </a:cubicBezTo>
                  <a:cubicBezTo>
                    <a:pt x="900" y="81"/>
                    <a:pt x="892" y="84"/>
                    <a:pt x="886" y="84"/>
                  </a:cubicBezTo>
                  <a:cubicBezTo>
                    <a:pt x="885" y="84"/>
                    <a:pt x="883" y="84"/>
                    <a:pt x="881" y="84"/>
                  </a:cubicBezTo>
                  <a:cubicBezTo>
                    <a:pt x="875" y="84"/>
                    <a:pt x="872" y="86"/>
                    <a:pt x="869" y="91"/>
                  </a:cubicBezTo>
                  <a:cubicBezTo>
                    <a:pt x="860" y="110"/>
                    <a:pt x="856" y="131"/>
                    <a:pt x="850" y="151"/>
                  </a:cubicBezTo>
                  <a:cubicBezTo>
                    <a:pt x="844" y="170"/>
                    <a:pt x="836" y="188"/>
                    <a:pt x="834" y="208"/>
                  </a:cubicBezTo>
                  <a:cubicBezTo>
                    <a:pt x="833" y="211"/>
                    <a:pt x="831" y="214"/>
                    <a:pt x="827" y="214"/>
                  </a:cubicBezTo>
                  <a:cubicBezTo>
                    <a:pt x="823" y="214"/>
                    <a:pt x="822" y="210"/>
                    <a:pt x="822" y="207"/>
                  </a:cubicBezTo>
                  <a:cubicBezTo>
                    <a:pt x="817" y="188"/>
                    <a:pt x="811" y="170"/>
                    <a:pt x="805" y="152"/>
                  </a:cubicBezTo>
                  <a:cubicBezTo>
                    <a:pt x="799" y="133"/>
                    <a:pt x="794" y="114"/>
                    <a:pt x="786" y="96"/>
                  </a:cubicBezTo>
                  <a:cubicBezTo>
                    <a:pt x="783" y="87"/>
                    <a:pt x="779" y="84"/>
                    <a:pt x="770" y="84"/>
                  </a:cubicBezTo>
                  <a:cubicBezTo>
                    <a:pt x="761" y="84"/>
                    <a:pt x="752" y="82"/>
                    <a:pt x="748" y="94"/>
                  </a:cubicBezTo>
                  <a:cubicBezTo>
                    <a:pt x="744" y="109"/>
                    <a:pt x="738" y="123"/>
                    <a:pt x="734" y="138"/>
                  </a:cubicBezTo>
                  <a:cubicBezTo>
                    <a:pt x="729" y="153"/>
                    <a:pt x="724" y="167"/>
                    <a:pt x="719" y="182"/>
                  </a:cubicBezTo>
                  <a:cubicBezTo>
                    <a:pt x="716" y="192"/>
                    <a:pt x="715" y="203"/>
                    <a:pt x="708" y="212"/>
                  </a:cubicBezTo>
                  <a:cubicBezTo>
                    <a:pt x="707" y="214"/>
                    <a:pt x="707" y="217"/>
                    <a:pt x="704" y="217"/>
                  </a:cubicBezTo>
                  <a:cubicBezTo>
                    <a:pt x="701" y="217"/>
                    <a:pt x="701" y="213"/>
                    <a:pt x="700" y="211"/>
                  </a:cubicBezTo>
                  <a:cubicBezTo>
                    <a:pt x="699" y="198"/>
                    <a:pt x="694" y="186"/>
                    <a:pt x="690" y="174"/>
                  </a:cubicBezTo>
                  <a:cubicBezTo>
                    <a:pt x="684" y="153"/>
                    <a:pt x="677" y="131"/>
                    <a:pt x="672" y="110"/>
                  </a:cubicBezTo>
                  <a:cubicBezTo>
                    <a:pt x="667" y="88"/>
                    <a:pt x="663" y="84"/>
                    <a:pt x="645" y="84"/>
                  </a:cubicBezTo>
                  <a:cubicBezTo>
                    <a:pt x="643" y="84"/>
                    <a:pt x="641" y="84"/>
                    <a:pt x="639" y="84"/>
                  </a:cubicBezTo>
                  <a:close/>
                  <a:moveTo>
                    <a:pt x="507" y="711"/>
                  </a:moveTo>
                  <a:cubicBezTo>
                    <a:pt x="507" y="730"/>
                    <a:pt x="507" y="730"/>
                    <a:pt x="526" y="730"/>
                  </a:cubicBezTo>
                  <a:cubicBezTo>
                    <a:pt x="539" y="730"/>
                    <a:pt x="541" y="729"/>
                    <a:pt x="541" y="715"/>
                  </a:cubicBezTo>
                  <a:cubicBezTo>
                    <a:pt x="541" y="677"/>
                    <a:pt x="541" y="638"/>
                    <a:pt x="540" y="600"/>
                  </a:cubicBezTo>
                  <a:cubicBezTo>
                    <a:pt x="540" y="593"/>
                    <a:pt x="543" y="587"/>
                    <a:pt x="548" y="582"/>
                  </a:cubicBezTo>
                  <a:cubicBezTo>
                    <a:pt x="553" y="576"/>
                    <a:pt x="559" y="573"/>
                    <a:pt x="564" y="569"/>
                  </a:cubicBezTo>
                  <a:cubicBezTo>
                    <a:pt x="574" y="564"/>
                    <a:pt x="594" y="566"/>
                    <a:pt x="602" y="574"/>
                  </a:cubicBezTo>
                  <a:cubicBezTo>
                    <a:pt x="611" y="582"/>
                    <a:pt x="614" y="592"/>
                    <a:pt x="614" y="604"/>
                  </a:cubicBezTo>
                  <a:cubicBezTo>
                    <a:pt x="614" y="638"/>
                    <a:pt x="614" y="672"/>
                    <a:pt x="614" y="706"/>
                  </a:cubicBezTo>
                  <a:cubicBezTo>
                    <a:pt x="614" y="730"/>
                    <a:pt x="614" y="730"/>
                    <a:pt x="638" y="730"/>
                  </a:cubicBezTo>
                  <a:cubicBezTo>
                    <a:pt x="650" y="730"/>
                    <a:pt x="650" y="730"/>
                    <a:pt x="650" y="717"/>
                  </a:cubicBezTo>
                  <a:cubicBezTo>
                    <a:pt x="650" y="684"/>
                    <a:pt x="650" y="650"/>
                    <a:pt x="650" y="617"/>
                  </a:cubicBezTo>
                  <a:cubicBezTo>
                    <a:pt x="650" y="606"/>
                    <a:pt x="651" y="597"/>
                    <a:pt x="657" y="586"/>
                  </a:cubicBezTo>
                  <a:cubicBezTo>
                    <a:pt x="667" y="565"/>
                    <a:pt x="703" y="560"/>
                    <a:pt x="716" y="579"/>
                  </a:cubicBezTo>
                  <a:cubicBezTo>
                    <a:pt x="723" y="588"/>
                    <a:pt x="724" y="598"/>
                    <a:pt x="724" y="609"/>
                  </a:cubicBezTo>
                  <a:cubicBezTo>
                    <a:pt x="724" y="645"/>
                    <a:pt x="724" y="682"/>
                    <a:pt x="724" y="718"/>
                  </a:cubicBezTo>
                  <a:cubicBezTo>
                    <a:pt x="724" y="727"/>
                    <a:pt x="727" y="731"/>
                    <a:pt x="736" y="730"/>
                  </a:cubicBezTo>
                  <a:cubicBezTo>
                    <a:pt x="738" y="730"/>
                    <a:pt x="741" y="730"/>
                    <a:pt x="743" y="730"/>
                  </a:cubicBezTo>
                  <a:cubicBezTo>
                    <a:pt x="758" y="730"/>
                    <a:pt x="759" y="729"/>
                    <a:pt x="759" y="715"/>
                  </a:cubicBezTo>
                  <a:cubicBezTo>
                    <a:pt x="759" y="677"/>
                    <a:pt x="758" y="639"/>
                    <a:pt x="759" y="601"/>
                  </a:cubicBezTo>
                  <a:cubicBezTo>
                    <a:pt x="759" y="571"/>
                    <a:pt x="742" y="540"/>
                    <a:pt x="704" y="538"/>
                  </a:cubicBezTo>
                  <a:cubicBezTo>
                    <a:pt x="681" y="536"/>
                    <a:pt x="661" y="542"/>
                    <a:pt x="646" y="560"/>
                  </a:cubicBezTo>
                  <a:cubicBezTo>
                    <a:pt x="638" y="569"/>
                    <a:pt x="638" y="569"/>
                    <a:pt x="631" y="559"/>
                  </a:cubicBezTo>
                  <a:cubicBezTo>
                    <a:pt x="630" y="558"/>
                    <a:pt x="630" y="557"/>
                    <a:pt x="629" y="556"/>
                  </a:cubicBezTo>
                  <a:cubicBezTo>
                    <a:pt x="623" y="548"/>
                    <a:pt x="616" y="541"/>
                    <a:pt x="607" y="539"/>
                  </a:cubicBezTo>
                  <a:cubicBezTo>
                    <a:pt x="584" y="534"/>
                    <a:pt x="563" y="539"/>
                    <a:pt x="545" y="555"/>
                  </a:cubicBezTo>
                  <a:cubicBezTo>
                    <a:pt x="540" y="559"/>
                    <a:pt x="537" y="561"/>
                    <a:pt x="537" y="552"/>
                  </a:cubicBezTo>
                  <a:cubicBezTo>
                    <a:pt x="536" y="543"/>
                    <a:pt x="526" y="538"/>
                    <a:pt x="515" y="539"/>
                  </a:cubicBezTo>
                  <a:cubicBezTo>
                    <a:pt x="506" y="540"/>
                    <a:pt x="507" y="546"/>
                    <a:pt x="507" y="552"/>
                  </a:cubicBezTo>
                  <a:cubicBezTo>
                    <a:pt x="507" y="580"/>
                    <a:pt x="507" y="607"/>
                    <a:pt x="507" y="634"/>
                  </a:cubicBezTo>
                  <a:cubicBezTo>
                    <a:pt x="507" y="660"/>
                    <a:pt x="507" y="685"/>
                    <a:pt x="507" y="711"/>
                  </a:cubicBezTo>
                  <a:close/>
                  <a:moveTo>
                    <a:pt x="1525" y="1142"/>
                  </a:moveTo>
                  <a:cubicBezTo>
                    <a:pt x="1517" y="1143"/>
                    <a:pt x="1511" y="1141"/>
                    <a:pt x="1505" y="1136"/>
                  </a:cubicBezTo>
                  <a:cubicBezTo>
                    <a:pt x="1501" y="1133"/>
                    <a:pt x="1495" y="1130"/>
                    <a:pt x="1498" y="1124"/>
                  </a:cubicBezTo>
                  <a:cubicBezTo>
                    <a:pt x="1500" y="1118"/>
                    <a:pt x="1504" y="1114"/>
                    <a:pt x="1512" y="1114"/>
                  </a:cubicBezTo>
                  <a:cubicBezTo>
                    <a:pt x="1521" y="1115"/>
                    <a:pt x="1530" y="1114"/>
                    <a:pt x="1538" y="1115"/>
                  </a:cubicBezTo>
                  <a:cubicBezTo>
                    <a:pt x="1573" y="1117"/>
                    <a:pt x="1610" y="1084"/>
                    <a:pt x="1602" y="1044"/>
                  </a:cubicBezTo>
                  <a:cubicBezTo>
                    <a:pt x="1600" y="1035"/>
                    <a:pt x="1599" y="1028"/>
                    <a:pt x="1611" y="1027"/>
                  </a:cubicBezTo>
                  <a:cubicBezTo>
                    <a:pt x="1614" y="1027"/>
                    <a:pt x="1617" y="1024"/>
                    <a:pt x="1619" y="1023"/>
                  </a:cubicBezTo>
                  <a:cubicBezTo>
                    <a:pt x="1626" y="1019"/>
                    <a:pt x="1624" y="1013"/>
                    <a:pt x="1623" y="1008"/>
                  </a:cubicBezTo>
                  <a:cubicBezTo>
                    <a:pt x="1623" y="1002"/>
                    <a:pt x="1618" y="1003"/>
                    <a:pt x="1613" y="1002"/>
                  </a:cubicBezTo>
                  <a:cubicBezTo>
                    <a:pt x="1598" y="1002"/>
                    <a:pt x="1582" y="1004"/>
                    <a:pt x="1567" y="1000"/>
                  </a:cubicBezTo>
                  <a:cubicBezTo>
                    <a:pt x="1560" y="999"/>
                    <a:pt x="1554" y="993"/>
                    <a:pt x="1546" y="993"/>
                  </a:cubicBezTo>
                  <a:cubicBezTo>
                    <a:pt x="1536" y="994"/>
                    <a:pt x="1525" y="992"/>
                    <a:pt x="1515" y="993"/>
                  </a:cubicBezTo>
                  <a:cubicBezTo>
                    <a:pt x="1490" y="997"/>
                    <a:pt x="1469" y="1010"/>
                    <a:pt x="1462" y="1034"/>
                  </a:cubicBezTo>
                  <a:cubicBezTo>
                    <a:pt x="1455" y="1056"/>
                    <a:pt x="1457" y="1079"/>
                    <a:pt x="1476" y="1096"/>
                  </a:cubicBezTo>
                  <a:cubicBezTo>
                    <a:pt x="1483" y="1103"/>
                    <a:pt x="1483" y="1107"/>
                    <a:pt x="1476" y="1113"/>
                  </a:cubicBezTo>
                  <a:cubicBezTo>
                    <a:pt x="1462" y="1126"/>
                    <a:pt x="1462" y="1142"/>
                    <a:pt x="1473" y="1157"/>
                  </a:cubicBezTo>
                  <a:cubicBezTo>
                    <a:pt x="1476" y="1160"/>
                    <a:pt x="1476" y="1162"/>
                    <a:pt x="1472" y="1164"/>
                  </a:cubicBezTo>
                  <a:cubicBezTo>
                    <a:pt x="1470" y="1166"/>
                    <a:pt x="1468" y="1168"/>
                    <a:pt x="1466" y="1170"/>
                  </a:cubicBezTo>
                  <a:cubicBezTo>
                    <a:pt x="1449" y="1183"/>
                    <a:pt x="1444" y="1201"/>
                    <a:pt x="1454" y="1218"/>
                  </a:cubicBezTo>
                  <a:cubicBezTo>
                    <a:pt x="1464" y="1235"/>
                    <a:pt x="1479" y="1246"/>
                    <a:pt x="1499" y="1249"/>
                  </a:cubicBezTo>
                  <a:cubicBezTo>
                    <a:pt x="1517" y="1252"/>
                    <a:pt x="1535" y="1253"/>
                    <a:pt x="1553" y="1250"/>
                  </a:cubicBezTo>
                  <a:cubicBezTo>
                    <a:pt x="1584" y="1245"/>
                    <a:pt x="1607" y="1232"/>
                    <a:pt x="1619" y="1200"/>
                  </a:cubicBezTo>
                  <a:cubicBezTo>
                    <a:pt x="1627" y="1180"/>
                    <a:pt x="1611" y="1155"/>
                    <a:pt x="1593" y="1148"/>
                  </a:cubicBezTo>
                  <a:cubicBezTo>
                    <a:pt x="1578" y="1142"/>
                    <a:pt x="1563" y="1143"/>
                    <a:pt x="1549" y="1142"/>
                  </a:cubicBezTo>
                  <a:cubicBezTo>
                    <a:pt x="1540" y="1142"/>
                    <a:pt x="1532" y="1142"/>
                    <a:pt x="1525" y="1142"/>
                  </a:cubicBezTo>
                  <a:close/>
                  <a:moveTo>
                    <a:pt x="1556" y="1172"/>
                  </a:moveTo>
                  <a:cubicBezTo>
                    <a:pt x="1566" y="1172"/>
                    <a:pt x="1576" y="1176"/>
                    <a:pt x="1583" y="1183"/>
                  </a:cubicBezTo>
                  <a:cubicBezTo>
                    <a:pt x="1589" y="1190"/>
                    <a:pt x="1589" y="1198"/>
                    <a:pt x="1583" y="1205"/>
                  </a:cubicBezTo>
                  <a:cubicBezTo>
                    <a:pt x="1575" y="1215"/>
                    <a:pt x="1565" y="1220"/>
                    <a:pt x="1553" y="1223"/>
                  </a:cubicBezTo>
                  <a:cubicBezTo>
                    <a:pt x="1534" y="1228"/>
                    <a:pt x="1516" y="1225"/>
                    <a:pt x="1499" y="1219"/>
                  </a:cubicBezTo>
                  <a:cubicBezTo>
                    <a:pt x="1486" y="1214"/>
                    <a:pt x="1479" y="1203"/>
                    <a:pt x="1482" y="1193"/>
                  </a:cubicBezTo>
                  <a:cubicBezTo>
                    <a:pt x="1485" y="1182"/>
                    <a:pt x="1496" y="1168"/>
                    <a:pt x="1514" y="1171"/>
                  </a:cubicBezTo>
                  <a:cubicBezTo>
                    <a:pt x="1526" y="1173"/>
                    <a:pt x="1541" y="1171"/>
                    <a:pt x="1556" y="1172"/>
                  </a:cubicBezTo>
                  <a:close/>
                  <a:moveTo>
                    <a:pt x="1531" y="1019"/>
                  </a:moveTo>
                  <a:cubicBezTo>
                    <a:pt x="1553" y="1017"/>
                    <a:pt x="1570" y="1033"/>
                    <a:pt x="1570" y="1052"/>
                  </a:cubicBezTo>
                  <a:cubicBezTo>
                    <a:pt x="1570" y="1075"/>
                    <a:pt x="1554" y="1093"/>
                    <a:pt x="1532" y="1091"/>
                  </a:cubicBezTo>
                  <a:cubicBezTo>
                    <a:pt x="1508" y="1089"/>
                    <a:pt x="1494" y="1082"/>
                    <a:pt x="1493" y="1053"/>
                  </a:cubicBezTo>
                  <a:cubicBezTo>
                    <a:pt x="1494" y="1029"/>
                    <a:pt x="1508" y="1020"/>
                    <a:pt x="1531" y="1019"/>
                  </a:cubicBezTo>
                  <a:close/>
                  <a:moveTo>
                    <a:pt x="1413" y="934"/>
                  </a:moveTo>
                  <a:cubicBezTo>
                    <a:pt x="1413" y="909"/>
                    <a:pt x="1413" y="909"/>
                    <a:pt x="1389" y="910"/>
                  </a:cubicBezTo>
                  <a:cubicBezTo>
                    <a:pt x="1388" y="910"/>
                    <a:pt x="1387" y="910"/>
                    <a:pt x="1387" y="910"/>
                  </a:cubicBezTo>
                  <a:cubicBezTo>
                    <a:pt x="1379" y="910"/>
                    <a:pt x="1376" y="915"/>
                    <a:pt x="1376" y="921"/>
                  </a:cubicBezTo>
                  <a:cubicBezTo>
                    <a:pt x="1376" y="939"/>
                    <a:pt x="1377" y="956"/>
                    <a:pt x="1377" y="974"/>
                  </a:cubicBezTo>
                  <a:cubicBezTo>
                    <a:pt x="1377" y="983"/>
                    <a:pt x="1377" y="991"/>
                    <a:pt x="1377" y="1000"/>
                  </a:cubicBezTo>
                  <a:cubicBezTo>
                    <a:pt x="1377" y="1005"/>
                    <a:pt x="1374" y="1009"/>
                    <a:pt x="1369" y="1005"/>
                  </a:cubicBezTo>
                  <a:cubicBezTo>
                    <a:pt x="1352" y="990"/>
                    <a:pt x="1332" y="993"/>
                    <a:pt x="1312" y="993"/>
                  </a:cubicBezTo>
                  <a:cubicBezTo>
                    <a:pt x="1303" y="994"/>
                    <a:pt x="1294" y="998"/>
                    <a:pt x="1287" y="1003"/>
                  </a:cubicBezTo>
                  <a:cubicBezTo>
                    <a:pt x="1265" y="1017"/>
                    <a:pt x="1252" y="1039"/>
                    <a:pt x="1248" y="1065"/>
                  </a:cubicBezTo>
                  <a:cubicBezTo>
                    <a:pt x="1244" y="1096"/>
                    <a:pt x="1244" y="1128"/>
                    <a:pt x="1261" y="1157"/>
                  </a:cubicBezTo>
                  <a:cubicBezTo>
                    <a:pt x="1270" y="1170"/>
                    <a:pt x="1281" y="1181"/>
                    <a:pt x="1296" y="1185"/>
                  </a:cubicBezTo>
                  <a:cubicBezTo>
                    <a:pt x="1323" y="1191"/>
                    <a:pt x="1349" y="1188"/>
                    <a:pt x="1370" y="1167"/>
                  </a:cubicBezTo>
                  <a:cubicBezTo>
                    <a:pt x="1372" y="1165"/>
                    <a:pt x="1375" y="1162"/>
                    <a:pt x="1379" y="1163"/>
                  </a:cubicBezTo>
                  <a:cubicBezTo>
                    <a:pt x="1382" y="1165"/>
                    <a:pt x="1381" y="1169"/>
                    <a:pt x="1381" y="1172"/>
                  </a:cubicBezTo>
                  <a:cubicBezTo>
                    <a:pt x="1383" y="1181"/>
                    <a:pt x="1390" y="1186"/>
                    <a:pt x="1403" y="1186"/>
                  </a:cubicBezTo>
                  <a:cubicBezTo>
                    <a:pt x="1413" y="1185"/>
                    <a:pt x="1413" y="1178"/>
                    <a:pt x="1413" y="1172"/>
                  </a:cubicBezTo>
                  <a:cubicBezTo>
                    <a:pt x="1413" y="1131"/>
                    <a:pt x="1413" y="1090"/>
                    <a:pt x="1413" y="1049"/>
                  </a:cubicBezTo>
                  <a:cubicBezTo>
                    <a:pt x="1413" y="1010"/>
                    <a:pt x="1413" y="972"/>
                    <a:pt x="1413" y="934"/>
                  </a:cubicBezTo>
                  <a:close/>
                  <a:moveTo>
                    <a:pt x="1378" y="1113"/>
                  </a:moveTo>
                  <a:cubicBezTo>
                    <a:pt x="1378" y="1136"/>
                    <a:pt x="1360" y="1155"/>
                    <a:pt x="1337" y="1157"/>
                  </a:cubicBezTo>
                  <a:cubicBezTo>
                    <a:pt x="1319" y="1159"/>
                    <a:pt x="1304" y="1154"/>
                    <a:pt x="1294" y="1139"/>
                  </a:cubicBezTo>
                  <a:cubicBezTo>
                    <a:pt x="1286" y="1128"/>
                    <a:pt x="1283" y="1116"/>
                    <a:pt x="1283" y="1102"/>
                  </a:cubicBezTo>
                  <a:cubicBezTo>
                    <a:pt x="1282" y="1085"/>
                    <a:pt x="1282" y="1067"/>
                    <a:pt x="1290" y="1051"/>
                  </a:cubicBezTo>
                  <a:cubicBezTo>
                    <a:pt x="1297" y="1036"/>
                    <a:pt x="1308" y="1024"/>
                    <a:pt x="1325" y="1022"/>
                  </a:cubicBezTo>
                  <a:cubicBezTo>
                    <a:pt x="1342" y="1020"/>
                    <a:pt x="1358" y="1021"/>
                    <a:pt x="1371" y="1035"/>
                  </a:cubicBezTo>
                  <a:cubicBezTo>
                    <a:pt x="1376" y="1041"/>
                    <a:pt x="1378" y="1046"/>
                    <a:pt x="1378" y="1052"/>
                  </a:cubicBezTo>
                  <a:cubicBezTo>
                    <a:pt x="1378" y="1064"/>
                    <a:pt x="1378" y="1075"/>
                    <a:pt x="1378" y="1086"/>
                  </a:cubicBezTo>
                  <a:cubicBezTo>
                    <a:pt x="1378" y="1086"/>
                    <a:pt x="1378" y="1086"/>
                    <a:pt x="1378" y="1086"/>
                  </a:cubicBezTo>
                  <a:cubicBezTo>
                    <a:pt x="1378" y="1095"/>
                    <a:pt x="1378" y="1104"/>
                    <a:pt x="1378" y="1113"/>
                  </a:cubicBezTo>
                  <a:close/>
                  <a:moveTo>
                    <a:pt x="578" y="259"/>
                  </a:moveTo>
                  <a:cubicBezTo>
                    <a:pt x="603" y="241"/>
                    <a:pt x="611" y="213"/>
                    <a:pt x="614" y="183"/>
                  </a:cubicBezTo>
                  <a:cubicBezTo>
                    <a:pt x="615" y="171"/>
                    <a:pt x="610" y="159"/>
                    <a:pt x="609" y="147"/>
                  </a:cubicBezTo>
                  <a:cubicBezTo>
                    <a:pt x="608" y="137"/>
                    <a:pt x="603" y="129"/>
                    <a:pt x="599" y="121"/>
                  </a:cubicBezTo>
                  <a:cubicBezTo>
                    <a:pt x="579" y="87"/>
                    <a:pt x="527" y="70"/>
                    <a:pt x="488" y="85"/>
                  </a:cubicBezTo>
                  <a:cubicBezTo>
                    <a:pt x="453" y="99"/>
                    <a:pt x="436" y="127"/>
                    <a:pt x="431" y="163"/>
                  </a:cubicBezTo>
                  <a:cubicBezTo>
                    <a:pt x="429" y="180"/>
                    <a:pt x="430" y="196"/>
                    <a:pt x="436" y="213"/>
                  </a:cubicBezTo>
                  <a:cubicBezTo>
                    <a:pt x="439" y="222"/>
                    <a:pt x="442" y="232"/>
                    <a:pt x="447" y="239"/>
                  </a:cubicBezTo>
                  <a:cubicBezTo>
                    <a:pt x="465" y="265"/>
                    <a:pt x="491" y="277"/>
                    <a:pt x="525" y="276"/>
                  </a:cubicBezTo>
                  <a:cubicBezTo>
                    <a:pt x="543" y="278"/>
                    <a:pt x="562" y="271"/>
                    <a:pt x="578" y="259"/>
                  </a:cubicBezTo>
                  <a:close/>
                  <a:moveTo>
                    <a:pt x="471" y="205"/>
                  </a:moveTo>
                  <a:cubicBezTo>
                    <a:pt x="466" y="185"/>
                    <a:pt x="468" y="167"/>
                    <a:pt x="472" y="147"/>
                  </a:cubicBezTo>
                  <a:cubicBezTo>
                    <a:pt x="477" y="130"/>
                    <a:pt x="493" y="116"/>
                    <a:pt x="509" y="112"/>
                  </a:cubicBezTo>
                  <a:cubicBezTo>
                    <a:pt x="525" y="108"/>
                    <a:pt x="539" y="110"/>
                    <a:pt x="553" y="119"/>
                  </a:cubicBezTo>
                  <a:cubicBezTo>
                    <a:pt x="563" y="125"/>
                    <a:pt x="568" y="135"/>
                    <a:pt x="571" y="146"/>
                  </a:cubicBezTo>
                  <a:cubicBezTo>
                    <a:pt x="577" y="167"/>
                    <a:pt x="578" y="189"/>
                    <a:pt x="571" y="211"/>
                  </a:cubicBezTo>
                  <a:cubicBezTo>
                    <a:pt x="565" y="231"/>
                    <a:pt x="549" y="249"/>
                    <a:pt x="521" y="247"/>
                  </a:cubicBezTo>
                  <a:cubicBezTo>
                    <a:pt x="496" y="247"/>
                    <a:pt x="478" y="230"/>
                    <a:pt x="471" y="205"/>
                  </a:cubicBezTo>
                  <a:close/>
                  <a:moveTo>
                    <a:pt x="472" y="1122"/>
                  </a:moveTo>
                  <a:cubicBezTo>
                    <a:pt x="475" y="1136"/>
                    <a:pt x="481" y="1148"/>
                    <a:pt x="491" y="1158"/>
                  </a:cubicBezTo>
                  <a:cubicBezTo>
                    <a:pt x="506" y="1176"/>
                    <a:pt x="524" y="1185"/>
                    <a:pt x="548" y="1187"/>
                  </a:cubicBezTo>
                  <a:cubicBezTo>
                    <a:pt x="568" y="1188"/>
                    <a:pt x="587" y="1187"/>
                    <a:pt x="605" y="1177"/>
                  </a:cubicBezTo>
                  <a:cubicBezTo>
                    <a:pt x="632" y="1162"/>
                    <a:pt x="644" y="1136"/>
                    <a:pt x="649" y="1107"/>
                  </a:cubicBezTo>
                  <a:cubicBezTo>
                    <a:pt x="652" y="1089"/>
                    <a:pt x="649" y="1072"/>
                    <a:pt x="644" y="1054"/>
                  </a:cubicBezTo>
                  <a:cubicBezTo>
                    <a:pt x="638" y="1034"/>
                    <a:pt x="627" y="1019"/>
                    <a:pt x="610" y="1007"/>
                  </a:cubicBezTo>
                  <a:cubicBezTo>
                    <a:pt x="589" y="992"/>
                    <a:pt x="566" y="991"/>
                    <a:pt x="541" y="994"/>
                  </a:cubicBezTo>
                  <a:cubicBezTo>
                    <a:pt x="526" y="995"/>
                    <a:pt x="512" y="1002"/>
                    <a:pt x="500" y="1012"/>
                  </a:cubicBezTo>
                  <a:cubicBezTo>
                    <a:pt x="476" y="1032"/>
                    <a:pt x="469" y="1060"/>
                    <a:pt x="466" y="1095"/>
                  </a:cubicBezTo>
                  <a:cubicBezTo>
                    <a:pt x="465" y="1101"/>
                    <a:pt x="470" y="1111"/>
                    <a:pt x="472" y="1122"/>
                  </a:cubicBezTo>
                  <a:close/>
                  <a:moveTo>
                    <a:pt x="508" y="1113"/>
                  </a:moveTo>
                  <a:cubicBezTo>
                    <a:pt x="505" y="1095"/>
                    <a:pt x="506" y="1078"/>
                    <a:pt x="508" y="1061"/>
                  </a:cubicBezTo>
                  <a:cubicBezTo>
                    <a:pt x="511" y="1042"/>
                    <a:pt x="538" y="1021"/>
                    <a:pt x="554" y="1022"/>
                  </a:cubicBezTo>
                  <a:cubicBezTo>
                    <a:pt x="570" y="1022"/>
                    <a:pt x="586" y="1024"/>
                    <a:pt x="596" y="1037"/>
                  </a:cubicBezTo>
                  <a:cubicBezTo>
                    <a:pt x="602" y="1044"/>
                    <a:pt x="607" y="1052"/>
                    <a:pt x="608" y="1061"/>
                  </a:cubicBezTo>
                  <a:cubicBezTo>
                    <a:pt x="608" y="1064"/>
                    <a:pt x="609" y="1067"/>
                    <a:pt x="610" y="1070"/>
                  </a:cubicBezTo>
                  <a:cubicBezTo>
                    <a:pt x="618" y="1089"/>
                    <a:pt x="612" y="1107"/>
                    <a:pt x="607" y="1125"/>
                  </a:cubicBezTo>
                  <a:cubicBezTo>
                    <a:pt x="601" y="1143"/>
                    <a:pt x="588" y="1160"/>
                    <a:pt x="558" y="1157"/>
                  </a:cubicBezTo>
                  <a:cubicBezTo>
                    <a:pt x="530" y="1157"/>
                    <a:pt x="512" y="1141"/>
                    <a:pt x="508" y="1113"/>
                  </a:cubicBezTo>
                  <a:close/>
                  <a:moveTo>
                    <a:pt x="430" y="716"/>
                  </a:moveTo>
                  <a:cubicBezTo>
                    <a:pt x="450" y="703"/>
                    <a:pt x="459" y="683"/>
                    <a:pt x="464" y="661"/>
                  </a:cubicBezTo>
                  <a:cubicBezTo>
                    <a:pt x="468" y="648"/>
                    <a:pt x="467" y="635"/>
                    <a:pt x="466" y="621"/>
                  </a:cubicBezTo>
                  <a:cubicBezTo>
                    <a:pt x="463" y="592"/>
                    <a:pt x="453" y="567"/>
                    <a:pt x="427" y="550"/>
                  </a:cubicBezTo>
                  <a:cubicBezTo>
                    <a:pt x="401" y="534"/>
                    <a:pt x="372" y="532"/>
                    <a:pt x="345" y="541"/>
                  </a:cubicBezTo>
                  <a:cubicBezTo>
                    <a:pt x="310" y="552"/>
                    <a:pt x="291" y="580"/>
                    <a:pt x="287" y="617"/>
                  </a:cubicBezTo>
                  <a:cubicBezTo>
                    <a:pt x="286" y="629"/>
                    <a:pt x="286" y="641"/>
                    <a:pt x="287" y="654"/>
                  </a:cubicBezTo>
                  <a:cubicBezTo>
                    <a:pt x="289" y="671"/>
                    <a:pt x="295" y="686"/>
                    <a:pt x="306" y="700"/>
                  </a:cubicBezTo>
                  <a:cubicBezTo>
                    <a:pt x="324" y="722"/>
                    <a:pt x="348" y="733"/>
                    <a:pt x="378" y="731"/>
                  </a:cubicBezTo>
                  <a:cubicBezTo>
                    <a:pt x="396" y="733"/>
                    <a:pt x="414" y="727"/>
                    <a:pt x="430" y="716"/>
                  </a:cubicBezTo>
                  <a:close/>
                  <a:moveTo>
                    <a:pt x="331" y="592"/>
                  </a:moveTo>
                  <a:cubicBezTo>
                    <a:pt x="339" y="580"/>
                    <a:pt x="349" y="569"/>
                    <a:pt x="365" y="567"/>
                  </a:cubicBezTo>
                  <a:cubicBezTo>
                    <a:pt x="387" y="564"/>
                    <a:pt x="406" y="568"/>
                    <a:pt x="419" y="588"/>
                  </a:cubicBezTo>
                  <a:cubicBezTo>
                    <a:pt x="423" y="595"/>
                    <a:pt x="426" y="603"/>
                    <a:pt x="427" y="610"/>
                  </a:cubicBezTo>
                  <a:cubicBezTo>
                    <a:pt x="433" y="635"/>
                    <a:pt x="431" y="661"/>
                    <a:pt x="416" y="684"/>
                  </a:cubicBezTo>
                  <a:cubicBezTo>
                    <a:pt x="403" y="706"/>
                    <a:pt x="362" y="708"/>
                    <a:pt x="345" y="692"/>
                  </a:cubicBezTo>
                  <a:cubicBezTo>
                    <a:pt x="329" y="678"/>
                    <a:pt x="323" y="661"/>
                    <a:pt x="323" y="631"/>
                  </a:cubicBezTo>
                  <a:cubicBezTo>
                    <a:pt x="323" y="619"/>
                    <a:pt x="323" y="605"/>
                    <a:pt x="331" y="592"/>
                  </a:cubicBezTo>
                  <a:close/>
                  <a:moveTo>
                    <a:pt x="1073" y="259"/>
                  </a:moveTo>
                  <a:cubicBezTo>
                    <a:pt x="1073" y="269"/>
                    <a:pt x="1075" y="272"/>
                    <a:pt x="1086" y="272"/>
                  </a:cubicBezTo>
                  <a:cubicBezTo>
                    <a:pt x="1088" y="272"/>
                    <a:pt x="1090" y="272"/>
                    <a:pt x="1092" y="272"/>
                  </a:cubicBezTo>
                  <a:cubicBezTo>
                    <a:pt x="1105" y="272"/>
                    <a:pt x="1106" y="271"/>
                    <a:pt x="1106" y="258"/>
                  </a:cubicBezTo>
                  <a:cubicBezTo>
                    <a:pt x="1106" y="221"/>
                    <a:pt x="1106" y="184"/>
                    <a:pt x="1106" y="147"/>
                  </a:cubicBezTo>
                  <a:cubicBezTo>
                    <a:pt x="1106" y="143"/>
                    <a:pt x="1106" y="140"/>
                    <a:pt x="1107" y="137"/>
                  </a:cubicBezTo>
                  <a:cubicBezTo>
                    <a:pt x="1117" y="117"/>
                    <a:pt x="1157" y="104"/>
                    <a:pt x="1177" y="114"/>
                  </a:cubicBezTo>
                  <a:cubicBezTo>
                    <a:pt x="1179" y="115"/>
                    <a:pt x="1180" y="117"/>
                    <a:pt x="1182" y="118"/>
                  </a:cubicBezTo>
                  <a:cubicBezTo>
                    <a:pt x="1194" y="131"/>
                    <a:pt x="1196" y="147"/>
                    <a:pt x="1196" y="163"/>
                  </a:cubicBezTo>
                  <a:cubicBezTo>
                    <a:pt x="1197" y="195"/>
                    <a:pt x="1196" y="226"/>
                    <a:pt x="1196" y="258"/>
                  </a:cubicBezTo>
                  <a:cubicBezTo>
                    <a:pt x="1196" y="271"/>
                    <a:pt x="1197" y="272"/>
                    <a:pt x="1210" y="272"/>
                  </a:cubicBezTo>
                  <a:cubicBezTo>
                    <a:pt x="1212" y="272"/>
                    <a:pt x="1213" y="272"/>
                    <a:pt x="1215" y="272"/>
                  </a:cubicBezTo>
                  <a:cubicBezTo>
                    <a:pt x="1227" y="272"/>
                    <a:pt x="1229" y="270"/>
                    <a:pt x="1229" y="258"/>
                  </a:cubicBezTo>
                  <a:cubicBezTo>
                    <a:pt x="1229" y="222"/>
                    <a:pt x="1229" y="187"/>
                    <a:pt x="1229" y="151"/>
                  </a:cubicBezTo>
                  <a:cubicBezTo>
                    <a:pt x="1229" y="142"/>
                    <a:pt x="1228" y="132"/>
                    <a:pt x="1225" y="123"/>
                  </a:cubicBezTo>
                  <a:cubicBezTo>
                    <a:pt x="1219" y="105"/>
                    <a:pt x="1208" y="91"/>
                    <a:pt x="1189" y="85"/>
                  </a:cubicBezTo>
                  <a:cubicBezTo>
                    <a:pt x="1173" y="80"/>
                    <a:pt x="1156" y="84"/>
                    <a:pt x="1139" y="84"/>
                  </a:cubicBezTo>
                  <a:cubicBezTo>
                    <a:pt x="1137" y="84"/>
                    <a:pt x="1136" y="86"/>
                    <a:pt x="1134" y="87"/>
                  </a:cubicBezTo>
                  <a:cubicBezTo>
                    <a:pt x="1128" y="91"/>
                    <a:pt x="1121" y="96"/>
                    <a:pt x="1115" y="100"/>
                  </a:cubicBezTo>
                  <a:cubicBezTo>
                    <a:pt x="1113" y="102"/>
                    <a:pt x="1111" y="105"/>
                    <a:pt x="1108" y="103"/>
                  </a:cubicBezTo>
                  <a:cubicBezTo>
                    <a:pt x="1105" y="102"/>
                    <a:pt x="1106" y="98"/>
                    <a:pt x="1106" y="96"/>
                  </a:cubicBezTo>
                  <a:cubicBezTo>
                    <a:pt x="1106" y="69"/>
                    <a:pt x="1106" y="43"/>
                    <a:pt x="1106" y="17"/>
                  </a:cubicBezTo>
                  <a:cubicBezTo>
                    <a:pt x="1106" y="0"/>
                    <a:pt x="1106" y="0"/>
                    <a:pt x="1089" y="0"/>
                  </a:cubicBezTo>
                  <a:cubicBezTo>
                    <a:pt x="1074" y="0"/>
                    <a:pt x="1073" y="1"/>
                    <a:pt x="1073" y="16"/>
                  </a:cubicBezTo>
                  <a:cubicBezTo>
                    <a:pt x="1073" y="56"/>
                    <a:pt x="1073" y="96"/>
                    <a:pt x="1073" y="136"/>
                  </a:cubicBezTo>
                  <a:cubicBezTo>
                    <a:pt x="1073" y="177"/>
                    <a:pt x="1073" y="218"/>
                    <a:pt x="1073" y="259"/>
                  </a:cubicBezTo>
                  <a:close/>
                  <a:moveTo>
                    <a:pt x="1150" y="1092"/>
                  </a:moveTo>
                  <a:cubicBezTo>
                    <a:pt x="1168" y="1092"/>
                    <a:pt x="1186" y="1092"/>
                    <a:pt x="1204" y="1092"/>
                  </a:cubicBezTo>
                  <a:cubicBezTo>
                    <a:pt x="1215" y="1092"/>
                    <a:pt x="1218" y="1087"/>
                    <a:pt x="1219" y="1077"/>
                  </a:cubicBezTo>
                  <a:cubicBezTo>
                    <a:pt x="1220" y="1062"/>
                    <a:pt x="1216" y="1049"/>
                    <a:pt x="1210" y="1036"/>
                  </a:cubicBezTo>
                  <a:cubicBezTo>
                    <a:pt x="1204" y="1020"/>
                    <a:pt x="1193" y="1008"/>
                    <a:pt x="1177" y="1001"/>
                  </a:cubicBezTo>
                  <a:cubicBezTo>
                    <a:pt x="1155" y="992"/>
                    <a:pt x="1133" y="991"/>
                    <a:pt x="1109" y="999"/>
                  </a:cubicBezTo>
                  <a:cubicBezTo>
                    <a:pt x="1079" y="1010"/>
                    <a:pt x="1062" y="1031"/>
                    <a:pt x="1056" y="1061"/>
                  </a:cubicBezTo>
                  <a:cubicBezTo>
                    <a:pt x="1051" y="1090"/>
                    <a:pt x="1052" y="1120"/>
                    <a:pt x="1069" y="1148"/>
                  </a:cubicBezTo>
                  <a:cubicBezTo>
                    <a:pt x="1081" y="1169"/>
                    <a:pt x="1100" y="1180"/>
                    <a:pt x="1122" y="1185"/>
                  </a:cubicBezTo>
                  <a:cubicBezTo>
                    <a:pt x="1149" y="1190"/>
                    <a:pt x="1176" y="1186"/>
                    <a:pt x="1200" y="1171"/>
                  </a:cubicBezTo>
                  <a:cubicBezTo>
                    <a:pt x="1206" y="1168"/>
                    <a:pt x="1213" y="1165"/>
                    <a:pt x="1214" y="1157"/>
                  </a:cubicBezTo>
                  <a:cubicBezTo>
                    <a:pt x="1215" y="1147"/>
                    <a:pt x="1202" y="1139"/>
                    <a:pt x="1193" y="1144"/>
                  </a:cubicBezTo>
                  <a:cubicBezTo>
                    <a:pt x="1187" y="1147"/>
                    <a:pt x="1180" y="1150"/>
                    <a:pt x="1174" y="1153"/>
                  </a:cubicBezTo>
                  <a:cubicBezTo>
                    <a:pt x="1158" y="1161"/>
                    <a:pt x="1140" y="1161"/>
                    <a:pt x="1124" y="1155"/>
                  </a:cubicBezTo>
                  <a:cubicBezTo>
                    <a:pt x="1112" y="1151"/>
                    <a:pt x="1102" y="1142"/>
                    <a:pt x="1096" y="1129"/>
                  </a:cubicBezTo>
                  <a:cubicBezTo>
                    <a:pt x="1092" y="1121"/>
                    <a:pt x="1091" y="1112"/>
                    <a:pt x="1089" y="1104"/>
                  </a:cubicBezTo>
                  <a:cubicBezTo>
                    <a:pt x="1087" y="1093"/>
                    <a:pt x="1087" y="1092"/>
                    <a:pt x="1099" y="1092"/>
                  </a:cubicBezTo>
                  <a:cubicBezTo>
                    <a:pt x="1116" y="1092"/>
                    <a:pt x="1133" y="1092"/>
                    <a:pt x="1150" y="1092"/>
                  </a:cubicBezTo>
                  <a:cubicBezTo>
                    <a:pt x="1150" y="1092"/>
                    <a:pt x="1150" y="1092"/>
                    <a:pt x="1150" y="1092"/>
                  </a:cubicBezTo>
                  <a:close/>
                  <a:moveTo>
                    <a:pt x="1099" y="1070"/>
                  </a:moveTo>
                  <a:cubicBezTo>
                    <a:pt x="1092" y="1071"/>
                    <a:pt x="1089" y="1067"/>
                    <a:pt x="1091" y="1060"/>
                  </a:cubicBezTo>
                  <a:cubicBezTo>
                    <a:pt x="1094" y="1045"/>
                    <a:pt x="1108" y="1023"/>
                    <a:pt x="1128" y="1022"/>
                  </a:cubicBezTo>
                  <a:cubicBezTo>
                    <a:pt x="1142" y="1021"/>
                    <a:pt x="1156" y="1018"/>
                    <a:pt x="1168" y="1029"/>
                  </a:cubicBezTo>
                  <a:cubicBezTo>
                    <a:pt x="1181" y="1038"/>
                    <a:pt x="1185" y="1051"/>
                    <a:pt x="1187" y="1066"/>
                  </a:cubicBezTo>
                  <a:cubicBezTo>
                    <a:pt x="1188" y="1071"/>
                    <a:pt x="1183" y="1070"/>
                    <a:pt x="1180" y="1070"/>
                  </a:cubicBezTo>
                  <a:cubicBezTo>
                    <a:pt x="1166" y="1070"/>
                    <a:pt x="1153" y="1070"/>
                    <a:pt x="1139" y="1070"/>
                  </a:cubicBezTo>
                  <a:cubicBezTo>
                    <a:pt x="1139" y="1070"/>
                    <a:pt x="1139" y="1070"/>
                    <a:pt x="1139" y="1070"/>
                  </a:cubicBezTo>
                  <a:cubicBezTo>
                    <a:pt x="1126" y="1070"/>
                    <a:pt x="1113" y="1070"/>
                    <a:pt x="1099" y="1070"/>
                  </a:cubicBezTo>
                  <a:close/>
                  <a:moveTo>
                    <a:pt x="1741" y="1092"/>
                  </a:moveTo>
                  <a:cubicBezTo>
                    <a:pt x="1759" y="1092"/>
                    <a:pt x="1776" y="1092"/>
                    <a:pt x="1793" y="1092"/>
                  </a:cubicBezTo>
                  <a:cubicBezTo>
                    <a:pt x="1806" y="1092"/>
                    <a:pt x="1808" y="1089"/>
                    <a:pt x="1808" y="1076"/>
                  </a:cubicBezTo>
                  <a:cubicBezTo>
                    <a:pt x="1809" y="1063"/>
                    <a:pt x="1807" y="1051"/>
                    <a:pt x="1802" y="1038"/>
                  </a:cubicBezTo>
                  <a:cubicBezTo>
                    <a:pt x="1794" y="1021"/>
                    <a:pt x="1782" y="1008"/>
                    <a:pt x="1764" y="1000"/>
                  </a:cubicBezTo>
                  <a:cubicBezTo>
                    <a:pt x="1742" y="991"/>
                    <a:pt x="1720" y="991"/>
                    <a:pt x="1698" y="1000"/>
                  </a:cubicBezTo>
                  <a:cubicBezTo>
                    <a:pt x="1681" y="1006"/>
                    <a:pt x="1668" y="1016"/>
                    <a:pt x="1659" y="1031"/>
                  </a:cubicBezTo>
                  <a:cubicBezTo>
                    <a:pt x="1646" y="1050"/>
                    <a:pt x="1643" y="1071"/>
                    <a:pt x="1644" y="1094"/>
                  </a:cubicBezTo>
                  <a:cubicBezTo>
                    <a:pt x="1644" y="1110"/>
                    <a:pt x="1647" y="1127"/>
                    <a:pt x="1655" y="1141"/>
                  </a:cubicBezTo>
                  <a:cubicBezTo>
                    <a:pt x="1669" y="1168"/>
                    <a:pt x="1691" y="1183"/>
                    <a:pt x="1722" y="1186"/>
                  </a:cubicBezTo>
                  <a:cubicBezTo>
                    <a:pt x="1750" y="1188"/>
                    <a:pt x="1775" y="1183"/>
                    <a:pt x="1798" y="1165"/>
                  </a:cubicBezTo>
                  <a:cubicBezTo>
                    <a:pt x="1803" y="1161"/>
                    <a:pt x="1806" y="1157"/>
                    <a:pt x="1802" y="1151"/>
                  </a:cubicBezTo>
                  <a:cubicBezTo>
                    <a:pt x="1798" y="1144"/>
                    <a:pt x="1791" y="1140"/>
                    <a:pt x="1783" y="1144"/>
                  </a:cubicBezTo>
                  <a:cubicBezTo>
                    <a:pt x="1778" y="1147"/>
                    <a:pt x="1771" y="1149"/>
                    <a:pt x="1766" y="1152"/>
                  </a:cubicBezTo>
                  <a:cubicBezTo>
                    <a:pt x="1749" y="1161"/>
                    <a:pt x="1730" y="1162"/>
                    <a:pt x="1714" y="1155"/>
                  </a:cubicBezTo>
                  <a:cubicBezTo>
                    <a:pt x="1692" y="1145"/>
                    <a:pt x="1680" y="1127"/>
                    <a:pt x="1679" y="1102"/>
                  </a:cubicBezTo>
                  <a:cubicBezTo>
                    <a:pt x="1678" y="1095"/>
                    <a:pt x="1681" y="1092"/>
                    <a:pt x="1689" y="1092"/>
                  </a:cubicBezTo>
                  <a:cubicBezTo>
                    <a:pt x="1706" y="1092"/>
                    <a:pt x="1724" y="1092"/>
                    <a:pt x="1741" y="1092"/>
                  </a:cubicBezTo>
                  <a:cubicBezTo>
                    <a:pt x="1741" y="1092"/>
                    <a:pt x="1741" y="1092"/>
                    <a:pt x="1741" y="1092"/>
                  </a:cubicBezTo>
                  <a:close/>
                  <a:moveTo>
                    <a:pt x="1690" y="1070"/>
                  </a:moveTo>
                  <a:cubicBezTo>
                    <a:pt x="1683" y="1071"/>
                    <a:pt x="1680" y="1068"/>
                    <a:pt x="1681" y="1062"/>
                  </a:cubicBezTo>
                  <a:cubicBezTo>
                    <a:pt x="1683" y="1048"/>
                    <a:pt x="1697" y="1024"/>
                    <a:pt x="1716" y="1022"/>
                  </a:cubicBezTo>
                  <a:cubicBezTo>
                    <a:pt x="1731" y="1020"/>
                    <a:pt x="1747" y="1018"/>
                    <a:pt x="1760" y="1030"/>
                  </a:cubicBezTo>
                  <a:cubicBezTo>
                    <a:pt x="1771" y="1038"/>
                    <a:pt x="1775" y="1050"/>
                    <a:pt x="1778" y="1062"/>
                  </a:cubicBezTo>
                  <a:cubicBezTo>
                    <a:pt x="1780" y="1068"/>
                    <a:pt x="1775" y="1070"/>
                    <a:pt x="1769" y="1070"/>
                  </a:cubicBezTo>
                  <a:cubicBezTo>
                    <a:pt x="1756" y="1070"/>
                    <a:pt x="1742" y="1070"/>
                    <a:pt x="1729" y="1070"/>
                  </a:cubicBezTo>
                  <a:cubicBezTo>
                    <a:pt x="1729" y="1070"/>
                    <a:pt x="1729" y="1070"/>
                    <a:pt x="1729" y="1070"/>
                  </a:cubicBezTo>
                  <a:cubicBezTo>
                    <a:pt x="1716" y="1070"/>
                    <a:pt x="1703" y="1070"/>
                    <a:pt x="1690" y="1070"/>
                  </a:cubicBezTo>
                  <a:close/>
                  <a:moveTo>
                    <a:pt x="68" y="581"/>
                  </a:moveTo>
                  <a:cubicBezTo>
                    <a:pt x="68" y="573"/>
                    <a:pt x="70" y="568"/>
                    <a:pt x="80" y="569"/>
                  </a:cubicBezTo>
                  <a:cubicBezTo>
                    <a:pt x="90" y="570"/>
                    <a:pt x="101" y="570"/>
                    <a:pt x="111" y="569"/>
                  </a:cubicBezTo>
                  <a:cubicBezTo>
                    <a:pt x="120" y="569"/>
                    <a:pt x="120" y="563"/>
                    <a:pt x="120" y="556"/>
                  </a:cubicBezTo>
                  <a:cubicBezTo>
                    <a:pt x="120" y="549"/>
                    <a:pt x="119" y="544"/>
                    <a:pt x="111" y="544"/>
                  </a:cubicBezTo>
                  <a:cubicBezTo>
                    <a:pt x="104" y="544"/>
                    <a:pt x="97" y="544"/>
                    <a:pt x="91" y="544"/>
                  </a:cubicBezTo>
                  <a:cubicBezTo>
                    <a:pt x="66" y="544"/>
                    <a:pt x="65" y="543"/>
                    <a:pt x="68" y="518"/>
                  </a:cubicBezTo>
                  <a:cubicBezTo>
                    <a:pt x="69" y="504"/>
                    <a:pt x="83" y="487"/>
                    <a:pt x="99" y="489"/>
                  </a:cubicBezTo>
                  <a:cubicBezTo>
                    <a:pt x="103" y="489"/>
                    <a:pt x="107" y="489"/>
                    <a:pt x="110" y="488"/>
                  </a:cubicBezTo>
                  <a:cubicBezTo>
                    <a:pt x="118" y="487"/>
                    <a:pt x="123" y="479"/>
                    <a:pt x="123" y="471"/>
                  </a:cubicBezTo>
                  <a:cubicBezTo>
                    <a:pt x="123" y="461"/>
                    <a:pt x="116" y="462"/>
                    <a:pt x="109" y="460"/>
                  </a:cubicBezTo>
                  <a:cubicBezTo>
                    <a:pt x="100" y="458"/>
                    <a:pt x="92" y="460"/>
                    <a:pt x="84" y="460"/>
                  </a:cubicBezTo>
                  <a:cubicBezTo>
                    <a:pt x="68" y="461"/>
                    <a:pt x="56" y="469"/>
                    <a:pt x="47" y="480"/>
                  </a:cubicBezTo>
                  <a:cubicBezTo>
                    <a:pt x="34" y="493"/>
                    <a:pt x="32" y="511"/>
                    <a:pt x="32" y="529"/>
                  </a:cubicBezTo>
                  <a:cubicBezTo>
                    <a:pt x="32" y="544"/>
                    <a:pt x="32" y="544"/>
                    <a:pt x="17" y="544"/>
                  </a:cubicBezTo>
                  <a:cubicBezTo>
                    <a:pt x="4" y="543"/>
                    <a:pt x="0" y="548"/>
                    <a:pt x="4" y="561"/>
                  </a:cubicBezTo>
                  <a:cubicBezTo>
                    <a:pt x="6" y="569"/>
                    <a:pt x="13" y="568"/>
                    <a:pt x="19" y="569"/>
                  </a:cubicBezTo>
                  <a:cubicBezTo>
                    <a:pt x="32" y="571"/>
                    <a:pt x="32" y="571"/>
                    <a:pt x="32" y="584"/>
                  </a:cubicBezTo>
                  <a:cubicBezTo>
                    <a:pt x="32" y="624"/>
                    <a:pt x="32" y="664"/>
                    <a:pt x="32" y="704"/>
                  </a:cubicBezTo>
                  <a:cubicBezTo>
                    <a:pt x="32" y="731"/>
                    <a:pt x="32" y="730"/>
                    <a:pt x="57" y="731"/>
                  </a:cubicBezTo>
                  <a:cubicBezTo>
                    <a:pt x="66" y="731"/>
                    <a:pt x="68" y="727"/>
                    <a:pt x="68" y="720"/>
                  </a:cubicBezTo>
                  <a:cubicBezTo>
                    <a:pt x="68" y="697"/>
                    <a:pt x="68" y="674"/>
                    <a:pt x="68" y="651"/>
                  </a:cubicBezTo>
                  <a:cubicBezTo>
                    <a:pt x="68" y="628"/>
                    <a:pt x="68" y="605"/>
                    <a:pt x="68" y="581"/>
                  </a:cubicBezTo>
                  <a:close/>
                  <a:moveTo>
                    <a:pt x="278" y="1165"/>
                  </a:moveTo>
                  <a:cubicBezTo>
                    <a:pt x="278" y="1183"/>
                    <a:pt x="278" y="1183"/>
                    <a:pt x="296" y="1184"/>
                  </a:cubicBezTo>
                  <a:cubicBezTo>
                    <a:pt x="310" y="1184"/>
                    <a:pt x="310" y="1184"/>
                    <a:pt x="310" y="1169"/>
                  </a:cubicBezTo>
                  <a:cubicBezTo>
                    <a:pt x="310" y="1132"/>
                    <a:pt x="310" y="1095"/>
                    <a:pt x="310" y="1058"/>
                  </a:cubicBezTo>
                  <a:cubicBezTo>
                    <a:pt x="310" y="1052"/>
                    <a:pt x="312" y="1047"/>
                    <a:pt x="316" y="1042"/>
                  </a:cubicBezTo>
                  <a:cubicBezTo>
                    <a:pt x="324" y="1033"/>
                    <a:pt x="334" y="1027"/>
                    <a:pt x="345" y="1024"/>
                  </a:cubicBezTo>
                  <a:cubicBezTo>
                    <a:pt x="357" y="1020"/>
                    <a:pt x="371" y="1018"/>
                    <a:pt x="383" y="1028"/>
                  </a:cubicBezTo>
                  <a:cubicBezTo>
                    <a:pt x="397" y="1039"/>
                    <a:pt x="401" y="1054"/>
                    <a:pt x="401" y="1071"/>
                  </a:cubicBezTo>
                  <a:cubicBezTo>
                    <a:pt x="401" y="1102"/>
                    <a:pt x="401" y="1132"/>
                    <a:pt x="401" y="1163"/>
                  </a:cubicBezTo>
                  <a:cubicBezTo>
                    <a:pt x="401" y="1183"/>
                    <a:pt x="401" y="1182"/>
                    <a:pt x="420" y="1184"/>
                  </a:cubicBezTo>
                  <a:cubicBezTo>
                    <a:pt x="429" y="1185"/>
                    <a:pt x="433" y="1181"/>
                    <a:pt x="433" y="1173"/>
                  </a:cubicBezTo>
                  <a:cubicBezTo>
                    <a:pt x="432" y="1130"/>
                    <a:pt x="435" y="1087"/>
                    <a:pt x="431" y="1044"/>
                  </a:cubicBezTo>
                  <a:cubicBezTo>
                    <a:pt x="427" y="1014"/>
                    <a:pt x="404" y="996"/>
                    <a:pt x="376" y="994"/>
                  </a:cubicBezTo>
                  <a:cubicBezTo>
                    <a:pt x="353" y="992"/>
                    <a:pt x="333" y="1000"/>
                    <a:pt x="317" y="1017"/>
                  </a:cubicBezTo>
                  <a:cubicBezTo>
                    <a:pt x="312" y="1021"/>
                    <a:pt x="311" y="1019"/>
                    <a:pt x="309" y="1015"/>
                  </a:cubicBezTo>
                  <a:cubicBezTo>
                    <a:pt x="309" y="1013"/>
                    <a:pt x="308" y="1011"/>
                    <a:pt x="308" y="1008"/>
                  </a:cubicBezTo>
                  <a:cubicBezTo>
                    <a:pt x="306" y="1001"/>
                    <a:pt x="298" y="997"/>
                    <a:pt x="287" y="998"/>
                  </a:cubicBezTo>
                  <a:cubicBezTo>
                    <a:pt x="279" y="999"/>
                    <a:pt x="278" y="1004"/>
                    <a:pt x="278" y="1011"/>
                  </a:cubicBezTo>
                  <a:cubicBezTo>
                    <a:pt x="278" y="1037"/>
                    <a:pt x="278" y="1064"/>
                    <a:pt x="278" y="1091"/>
                  </a:cubicBezTo>
                  <a:cubicBezTo>
                    <a:pt x="278" y="1115"/>
                    <a:pt x="278" y="1140"/>
                    <a:pt x="278" y="1165"/>
                  </a:cubicBezTo>
                  <a:close/>
                  <a:moveTo>
                    <a:pt x="150" y="705"/>
                  </a:moveTo>
                  <a:cubicBezTo>
                    <a:pt x="150" y="734"/>
                    <a:pt x="145" y="730"/>
                    <a:pt x="176" y="731"/>
                  </a:cubicBezTo>
                  <a:cubicBezTo>
                    <a:pt x="185" y="731"/>
                    <a:pt x="187" y="727"/>
                    <a:pt x="187" y="719"/>
                  </a:cubicBezTo>
                  <a:cubicBezTo>
                    <a:pt x="187" y="685"/>
                    <a:pt x="187" y="651"/>
                    <a:pt x="187" y="618"/>
                  </a:cubicBezTo>
                  <a:cubicBezTo>
                    <a:pt x="187" y="597"/>
                    <a:pt x="204" y="578"/>
                    <a:pt x="225" y="574"/>
                  </a:cubicBezTo>
                  <a:cubicBezTo>
                    <a:pt x="232" y="572"/>
                    <a:pt x="240" y="574"/>
                    <a:pt x="247" y="575"/>
                  </a:cubicBezTo>
                  <a:cubicBezTo>
                    <a:pt x="257" y="576"/>
                    <a:pt x="261" y="572"/>
                    <a:pt x="265" y="564"/>
                  </a:cubicBezTo>
                  <a:cubicBezTo>
                    <a:pt x="269" y="556"/>
                    <a:pt x="267" y="542"/>
                    <a:pt x="261" y="540"/>
                  </a:cubicBezTo>
                  <a:cubicBezTo>
                    <a:pt x="253" y="538"/>
                    <a:pt x="244" y="534"/>
                    <a:pt x="237" y="536"/>
                  </a:cubicBezTo>
                  <a:cubicBezTo>
                    <a:pt x="228" y="537"/>
                    <a:pt x="217" y="537"/>
                    <a:pt x="209" y="544"/>
                  </a:cubicBezTo>
                  <a:cubicBezTo>
                    <a:pt x="204" y="549"/>
                    <a:pt x="198" y="553"/>
                    <a:pt x="194" y="558"/>
                  </a:cubicBezTo>
                  <a:cubicBezTo>
                    <a:pt x="192" y="561"/>
                    <a:pt x="189" y="563"/>
                    <a:pt x="185" y="562"/>
                  </a:cubicBezTo>
                  <a:cubicBezTo>
                    <a:pt x="182" y="561"/>
                    <a:pt x="182" y="558"/>
                    <a:pt x="182" y="556"/>
                  </a:cubicBezTo>
                  <a:cubicBezTo>
                    <a:pt x="180" y="539"/>
                    <a:pt x="179" y="539"/>
                    <a:pt x="162" y="539"/>
                  </a:cubicBezTo>
                  <a:cubicBezTo>
                    <a:pt x="151" y="539"/>
                    <a:pt x="150" y="540"/>
                    <a:pt x="150" y="551"/>
                  </a:cubicBezTo>
                  <a:cubicBezTo>
                    <a:pt x="150" y="579"/>
                    <a:pt x="150" y="607"/>
                    <a:pt x="150" y="635"/>
                  </a:cubicBezTo>
                  <a:cubicBezTo>
                    <a:pt x="150" y="658"/>
                    <a:pt x="149" y="682"/>
                    <a:pt x="150" y="705"/>
                  </a:cubicBezTo>
                  <a:close/>
                  <a:moveTo>
                    <a:pt x="1011" y="1049"/>
                  </a:moveTo>
                  <a:cubicBezTo>
                    <a:pt x="1011" y="1008"/>
                    <a:pt x="1011" y="966"/>
                    <a:pt x="1011" y="924"/>
                  </a:cubicBezTo>
                  <a:cubicBezTo>
                    <a:pt x="1011" y="913"/>
                    <a:pt x="1008" y="910"/>
                    <a:pt x="997" y="910"/>
                  </a:cubicBezTo>
                  <a:cubicBezTo>
                    <a:pt x="995" y="910"/>
                    <a:pt x="992" y="910"/>
                    <a:pt x="990" y="910"/>
                  </a:cubicBezTo>
                  <a:cubicBezTo>
                    <a:pt x="976" y="910"/>
                    <a:pt x="975" y="911"/>
                    <a:pt x="975" y="926"/>
                  </a:cubicBezTo>
                  <a:cubicBezTo>
                    <a:pt x="975" y="1006"/>
                    <a:pt x="975" y="1085"/>
                    <a:pt x="975" y="1165"/>
                  </a:cubicBezTo>
                  <a:cubicBezTo>
                    <a:pt x="975" y="1185"/>
                    <a:pt x="975" y="1185"/>
                    <a:pt x="994" y="1185"/>
                  </a:cubicBezTo>
                  <a:cubicBezTo>
                    <a:pt x="1009" y="1185"/>
                    <a:pt x="1011" y="1184"/>
                    <a:pt x="1011" y="1169"/>
                  </a:cubicBezTo>
                  <a:cubicBezTo>
                    <a:pt x="1011" y="1129"/>
                    <a:pt x="1011" y="1089"/>
                    <a:pt x="1011" y="1049"/>
                  </a:cubicBezTo>
                  <a:cubicBezTo>
                    <a:pt x="1011" y="1049"/>
                    <a:pt x="1011" y="1049"/>
                    <a:pt x="1011" y="1049"/>
                  </a:cubicBezTo>
                  <a:close/>
                  <a:moveTo>
                    <a:pt x="296" y="176"/>
                  </a:moveTo>
                  <a:cubicBezTo>
                    <a:pt x="296" y="201"/>
                    <a:pt x="296" y="226"/>
                    <a:pt x="296" y="251"/>
                  </a:cubicBezTo>
                  <a:cubicBezTo>
                    <a:pt x="295" y="276"/>
                    <a:pt x="296" y="274"/>
                    <a:pt x="318" y="274"/>
                  </a:cubicBezTo>
                  <a:cubicBezTo>
                    <a:pt x="330" y="274"/>
                    <a:pt x="331" y="274"/>
                    <a:pt x="331" y="260"/>
                  </a:cubicBezTo>
                  <a:cubicBezTo>
                    <a:pt x="331" y="232"/>
                    <a:pt x="331" y="204"/>
                    <a:pt x="331" y="176"/>
                  </a:cubicBezTo>
                  <a:cubicBezTo>
                    <a:pt x="331" y="165"/>
                    <a:pt x="331" y="155"/>
                    <a:pt x="337" y="145"/>
                  </a:cubicBezTo>
                  <a:cubicBezTo>
                    <a:pt x="349" y="123"/>
                    <a:pt x="359" y="117"/>
                    <a:pt x="377" y="118"/>
                  </a:cubicBezTo>
                  <a:cubicBezTo>
                    <a:pt x="383" y="118"/>
                    <a:pt x="389" y="119"/>
                    <a:pt x="395" y="120"/>
                  </a:cubicBezTo>
                  <a:cubicBezTo>
                    <a:pt x="401" y="120"/>
                    <a:pt x="407" y="118"/>
                    <a:pt x="408" y="112"/>
                  </a:cubicBezTo>
                  <a:cubicBezTo>
                    <a:pt x="409" y="103"/>
                    <a:pt x="415" y="93"/>
                    <a:pt x="407" y="85"/>
                  </a:cubicBezTo>
                  <a:cubicBezTo>
                    <a:pt x="406" y="84"/>
                    <a:pt x="404" y="84"/>
                    <a:pt x="402" y="84"/>
                  </a:cubicBezTo>
                  <a:cubicBezTo>
                    <a:pt x="376" y="78"/>
                    <a:pt x="353" y="82"/>
                    <a:pt x="337" y="106"/>
                  </a:cubicBezTo>
                  <a:cubicBezTo>
                    <a:pt x="336" y="108"/>
                    <a:pt x="335" y="110"/>
                    <a:pt x="333" y="109"/>
                  </a:cubicBezTo>
                  <a:cubicBezTo>
                    <a:pt x="331" y="109"/>
                    <a:pt x="330" y="107"/>
                    <a:pt x="330" y="105"/>
                  </a:cubicBezTo>
                  <a:cubicBezTo>
                    <a:pt x="329" y="101"/>
                    <a:pt x="329" y="97"/>
                    <a:pt x="328" y="94"/>
                  </a:cubicBezTo>
                  <a:cubicBezTo>
                    <a:pt x="325" y="85"/>
                    <a:pt x="318" y="82"/>
                    <a:pt x="303" y="84"/>
                  </a:cubicBezTo>
                  <a:cubicBezTo>
                    <a:pt x="297" y="84"/>
                    <a:pt x="295" y="86"/>
                    <a:pt x="295" y="92"/>
                  </a:cubicBezTo>
                  <a:cubicBezTo>
                    <a:pt x="296" y="120"/>
                    <a:pt x="295" y="148"/>
                    <a:pt x="295" y="176"/>
                  </a:cubicBezTo>
                  <a:cubicBezTo>
                    <a:pt x="296" y="176"/>
                    <a:pt x="296" y="176"/>
                    <a:pt x="296" y="176"/>
                  </a:cubicBezTo>
                  <a:close/>
                  <a:moveTo>
                    <a:pt x="946" y="179"/>
                  </a:moveTo>
                  <a:cubicBezTo>
                    <a:pt x="946" y="197"/>
                    <a:pt x="946" y="215"/>
                    <a:pt x="946" y="234"/>
                  </a:cubicBezTo>
                  <a:cubicBezTo>
                    <a:pt x="946" y="248"/>
                    <a:pt x="951" y="260"/>
                    <a:pt x="963" y="268"/>
                  </a:cubicBezTo>
                  <a:cubicBezTo>
                    <a:pt x="982" y="280"/>
                    <a:pt x="1011" y="277"/>
                    <a:pt x="1029" y="264"/>
                  </a:cubicBezTo>
                  <a:cubicBezTo>
                    <a:pt x="1036" y="259"/>
                    <a:pt x="1036" y="254"/>
                    <a:pt x="1032" y="248"/>
                  </a:cubicBezTo>
                  <a:cubicBezTo>
                    <a:pt x="1026" y="239"/>
                    <a:pt x="1020" y="238"/>
                    <a:pt x="1013" y="242"/>
                  </a:cubicBezTo>
                  <a:cubicBezTo>
                    <a:pt x="996" y="252"/>
                    <a:pt x="978" y="243"/>
                    <a:pt x="978" y="223"/>
                  </a:cubicBezTo>
                  <a:cubicBezTo>
                    <a:pt x="978" y="190"/>
                    <a:pt x="978" y="157"/>
                    <a:pt x="978" y="123"/>
                  </a:cubicBezTo>
                  <a:cubicBezTo>
                    <a:pt x="978" y="116"/>
                    <a:pt x="981" y="113"/>
                    <a:pt x="988" y="113"/>
                  </a:cubicBezTo>
                  <a:cubicBezTo>
                    <a:pt x="999" y="114"/>
                    <a:pt x="1011" y="113"/>
                    <a:pt x="1022" y="113"/>
                  </a:cubicBezTo>
                  <a:cubicBezTo>
                    <a:pt x="1028" y="113"/>
                    <a:pt x="1033" y="112"/>
                    <a:pt x="1033" y="104"/>
                  </a:cubicBezTo>
                  <a:cubicBezTo>
                    <a:pt x="1033" y="96"/>
                    <a:pt x="1032" y="90"/>
                    <a:pt x="1022" y="90"/>
                  </a:cubicBezTo>
                  <a:cubicBezTo>
                    <a:pt x="1011" y="90"/>
                    <a:pt x="1001" y="90"/>
                    <a:pt x="990" y="90"/>
                  </a:cubicBezTo>
                  <a:cubicBezTo>
                    <a:pt x="981" y="91"/>
                    <a:pt x="977" y="88"/>
                    <a:pt x="978" y="78"/>
                  </a:cubicBezTo>
                  <a:cubicBezTo>
                    <a:pt x="978" y="64"/>
                    <a:pt x="978" y="49"/>
                    <a:pt x="978" y="35"/>
                  </a:cubicBezTo>
                  <a:cubicBezTo>
                    <a:pt x="978" y="30"/>
                    <a:pt x="978" y="25"/>
                    <a:pt x="971" y="24"/>
                  </a:cubicBezTo>
                  <a:cubicBezTo>
                    <a:pt x="964" y="24"/>
                    <a:pt x="956" y="24"/>
                    <a:pt x="955" y="32"/>
                  </a:cubicBezTo>
                  <a:cubicBezTo>
                    <a:pt x="952" y="43"/>
                    <a:pt x="949" y="54"/>
                    <a:pt x="949" y="65"/>
                  </a:cubicBezTo>
                  <a:cubicBezTo>
                    <a:pt x="948" y="88"/>
                    <a:pt x="947" y="88"/>
                    <a:pt x="924" y="91"/>
                  </a:cubicBezTo>
                  <a:cubicBezTo>
                    <a:pt x="919" y="92"/>
                    <a:pt x="914" y="92"/>
                    <a:pt x="914" y="99"/>
                  </a:cubicBezTo>
                  <a:cubicBezTo>
                    <a:pt x="915" y="107"/>
                    <a:pt x="917" y="113"/>
                    <a:pt x="926" y="113"/>
                  </a:cubicBezTo>
                  <a:cubicBezTo>
                    <a:pt x="929" y="114"/>
                    <a:pt x="932" y="113"/>
                    <a:pt x="935" y="113"/>
                  </a:cubicBezTo>
                  <a:cubicBezTo>
                    <a:pt x="943" y="113"/>
                    <a:pt x="946" y="116"/>
                    <a:pt x="946" y="124"/>
                  </a:cubicBezTo>
                  <a:cubicBezTo>
                    <a:pt x="946" y="142"/>
                    <a:pt x="946" y="161"/>
                    <a:pt x="946" y="179"/>
                  </a:cubicBezTo>
                  <a:cubicBezTo>
                    <a:pt x="946" y="179"/>
                    <a:pt x="946" y="179"/>
                    <a:pt x="946" y="179"/>
                  </a:cubicBezTo>
                  <a:close/>
                </a:path>
              </a:pathLst>
            </a:custGeom>
            <a:solidFill>
              <a:srgbClr val="4C505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grpSp>
          <p:nvGrpSpPr>
            <p:cNvPr id="18" name="Group 4">
              <a:extLst>
                <a:ext uri="{FF2B5EF4-FFF2-40B4-BE49-F238E27FC236}">
                  <a16:creationId xmlns:a16="http://schemas.microsoft.com/office/drawing/2014/main" id="{57BD2C4C-DC67-B843-B26C-309622FC75F7}"/>
                </a:ext>
              </a:extLst>
            </p:cNvPr>
            <p:cNvGrpSpPr>
              <a:grpSpLocks noChangeAspect="1"/>
            </p:cNvGrpSpPr>
            <p:nvPr/>
          </p:nvGrpSpPr>
          <p:grpSpPr bwMode="gray">
            <a:xfrm>
              <a:off x="334963" y="296652"/>
              <a:ext cx="538094" cy="540000"/>
              <a:chOff x="2711" y="1027"/>
              <a:chExt cx="2258" cy="2266"/>
            </a:xfrm>
          </p:grpSpPr>
          <p:sp>
            <p:nvSpPr>
              <p:cNvPr id="19" name="AutoShape 3">
                <a:extLst>
                  <a:ext uri="{FF2B5EF4-FFF2-40B4-BE49-F238E27FC236}">
                    <a16:creationId xmlns:a16="http://schemas.microsoft.com/office/drawing/2014/main" id="{FE1DC41B-291E-574C-9F2C-874E70A40758}"/>
                  </a:ext>
                </a:extLst>
              </p:cNvPr>
              <p:cNvSpPr>
                <a:spLocks noChangeAspect="1" noChangeArrowheads="1" noTextEdit="1"/>
              </p:cNvSpPr>
              <p:nvPr/>
            </p:nvSpPr>
            <p:spPr bwMode="gray">
              <a:xfrm>
                <a:off x="2711" y="1027"/>
                <a:ext cx="2258" cy="22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20" name="Freeform 5">
                <a:extLst>
                  <a:ext uri="{FF2B5EF4-FFF2-40B4-BE49-F238E27FC236}">
                    <a16:creationId xmlns:a16="http://schemas.microsoft.com/office/drawing/2014/main" id="{D4B633C8-F761-C54B-9BD2-EB59D49A2DBC}"/>
                  </a:ext>
                </a:extLst>
              </p:cNvPr>
              <p:cNvSpPr>
                <a:spLocks/>
              </p:cNvSpPr>
              <p:nvPr/>
            </p:nvSpPr>
            <p:spPr bwMode="gray">
              <a:xfrm>
                <a:off x="2709" y="1029"/>
                <a:ext cx="2260" cy="2262"/>
              </a:xfrm>
              <a:custGeom>
                <a:avLst/>
                <a:gdLst>
                  <a:gd name="T0" fmla="*/ 2260 w 2260"/>
                  <a:gd name="T1" fmla="*/ 0 h 2262"/>
                  <a:gd name="T2" fmla="*/ 1612 w 2260"/>
                  <a:gd name="T3" fmla="*/ 649 h 2262"/>
                  <a:gd name="T4" fmla="*/ 1612 w 2260"/>
                  <a:gd name="T5" fmla="*/ 649 h 2262"/>
                  <a:gd name="T6" fmla="*/ 2035 w 2260"/>
                  <a:gd name="T7" fmla="*/ 0 h 2262"/>
                  <a:gd name="T8" fmla="*/ 0 w 2260"/>
                  <a:gd name="T9" fmla="*/ 0 h 2262"/>
                  <a:gd name="T10" fmla="*/ 0 w 2260"/>
                  <a:gd name="T11" fmla="*/ 2262 h 2262"/>
                  <a:gd name="T12" fmla="*/ 2260 w 2260"/>
                  <a:gd name="T13" fmla="*/ 2262 h 2262"/>
                  <a:gd name="T14" fmla="*/ 2260 w 2260"/>
                  <a:gd name="T15" fmla="*/ 0 h 2262"/>
                  <a:gd name="T16" fmla="*/ 2260 w 2260"/>
                  <a:gd name="T17" fmla="*/ 0 h 2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0" h="2262">
                    <a:moveTo>
                      <a:pt x="2260" y="0"/>
                    </a:moveTo>
                    <a:lnTo>
                      <a:pt x="1612" y="649"/>
                    </a:lnTo>
                    <a:lnTo>
                      <a:pt x="1612" y="649"/>
                    </a:lnTo>
                    <a:lnTo>
                      <a:pt x="2035" y="0"/>
                    </a:lnTo>
                    <a:lnTo>
                      <a:pt x="0" y="0"/>
                    </a:lnTo>
                    <a:lnTo>
                      <a:pt x="0" y="2262"/>
                    </a:lnTo>
                    <a:lnTo>
                      <a:pt x="2260" y="2262"/>
                    </a:lnTo>
                    <a:lnTo>
                      <a:pt x="2260" y="0"/>
                    </a:lnTo>
                    <a:lnTo>
                      <a:pt x="2260" y="0"/>
                    </a:lnTo>
                    <a:close/>
                  </a:path>
                </a:pathLst>
              </a:custGeom>
              <a:solidFill>
                <a:srgbClr val="E55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21" name="Freeform 6">
                <a:extLst>
                  <a:ext uri="{FF2B5EF4-FFF2-40B4-BE49-F238E27FC236}">
                    <a16:creationId xmlns:a16="http://schemas.microsoft.com/office/drawing/2014/main" id="{B16BAAE4-1A41-C843-9754-490F7A1E1270}"/>
                  </a:ext>
                </a:extLst>
              </p:cNvPr>
              <p:cNvSpPr>
                <a:spLocks noEditPoints="1"/>
              </p:cNvSpPr>
              <p:nvPr/>
            </p:nvSpPr>
            <p:spPr bwMode="gray">
              <a:xfrm>
                <a:off x="3623" y="1696"/>
                <a:ext cx="1167" cy="922"/>
              </a:xfrm>
              <a:custGeom>
                <a:avLst/>
                <a:gdLst>
                  <a:gd name="T0" fmla="*/ 411 w 580"/>
                  <a:gd name="T1" fmla="*/ 213 h 458"/>
                  <a:gd name="T2" fmla="*/ 570 w 580"/>
                  <a:gd name="T3" fmla="*/ 37 h 458"/>
                  <a:gd name="T4" fmla="*/ 580 w 580"/>
                  <a:gd name="T5" fmla="*/ 20 h 458"/>
                  <a:gd name="T6" fmla="*/ 545 w 580"/>
                  <a:gd name="T7" fmla="*/ 0 h 458"/>
                  <a:gd name="T8" fmla="*/ 519 w 580"/>
                  <a:gd name="T9" fmla="*/ 16 h 458"/>
                  <a:gd name="T10" fmla="*/ 344 w 580"/>
                  <a:gd name="T11" fmla="*/ 210 h 458"/>
                  <a:gd name="T12" fmla="*/ 334 w 580"/>
                  <a:gd name="T13" fmla="*/ 229 h 458"/>
                  <a:gd name="T14" fmla="*/ 344 w 580"/>
                  <a:gd name="T15" fmla="*/ 248 h 458"/>
                  <a:gd name="T16" fmla="*/ 519 w 580"/>
                  <a:gd name="T17" fmla="*/ 442 h 458"/>
                  <a:gd name="T18" fmla="*/ 545 w 580"/>
                  <a:gd name="T19" fmla="*/ 458 h 458"/>
                  <a:gd name="T20" fmla="*/ 580 w 580"/>
                  <a:gd name="T21" fmla="*/ 438 h 458"/>
                  <a:gd name="T22" fmla="*/ 570 w 580"/>
                  <a:gd name="T23" fmla="*/ 421 h 458"/>
                  <a:gd name="T24" fmla="*/ 411 w 580"/>
                  <a:gd name="T25" fmla="*/ 245 h 458"/>
                  <a:gd name="T26" fmla="*/ 399 w 580"/>
                  <a:gd name="T27" fmla="*/ 229 h 458"/>
                  <a:gd name="T28" fmla="*/ 411 w 580"/>
                  <a:gd name="T29" fmla="*/ 213 h 458"/>
                  <a:gd name="T30" fmla="*/ 252 w 580"/>
                  <a:gd name="T31" fmla="*/ 439 h 458"/>
                  <a:gd name="T32" fmla="*/ 281 w 580"/>
                  <a:gd name="T33" fmla="*/ 454 h 458"/>
                  <a:gd name="T34" fmla="*/ 309 w 580"/>
                  <a:gd name="T35" fmla="*/ 439 h 458"/>
                  <a:gd name="T36" fmla="*/ 309 w 580"/>
                  <a:gd name="T37" fmla="*/ 19 h 458"/>
                  <a:gd name="T38" fmla="*/ 281 w 580"/>
                  <a:gd name="T39" fmla="*/ 4 h 458"/>
                  <a:gd name="T40" fmla="*/ 252 w 580"/>
                  <a:gd name="T41" fmla="*/ 19 h 458"/>
                  <a:gd name="T42" fmla="*/ 252 w 580"/>
                  <a:gd name="T43" fmla="*/ 439 h 458"/>
                  <a:gd name="T44" fmla="*/ 0 w 580"/>
                  <a:gd name="T45" fmla="*/ 439 h 458"/>
                  <a:gd name="T46" fmla="*/ 28 w 580"/>
                  <a:gd name="T47" fmla="*/ 454 h 458"/>
                  <a:gd name="T48" fmla="*/ 56 w 580"/>
                  <a:gd name="T49" fmla="*/ 439 h 458"/>
                  <a:gd name="T50" fmla="*/ 56 w 580"/>
                  <a:gd name="T51" fmla="*/ 157 h 458"/>
                  <a:gd name="T52" fmla="*/ 165 w 580"/>
                  <a:gd name="T53" fmla="*/ 53 h 458"/>
                  <a:gd name="T54" fmla="*/ 180 w 580"/>
                  <a:gd name="T55" fmla="*/ 53 h 458"/>
                  <a:gd name="T56" fmla="*/ 196 w 580"/>
                  <a:gd name="T57" fmla="*/ 27 h 458"/>
                  <a:gd name="T58" fmla="*/ 154 w 580"/>
                  <a:gd name="T59" fmla="*/ 4 h 458"/>
                  <a:gd name="T60" fmla="*/ 0 w 580"/>
                  <a:gd name="T61" fmla="*/ 152 h 458"/>
                  <a:gd name="T62" fmla="*/ 0 w 580"/>
                  <a:gd name="T63" fmla="*/ 439 h 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80" h="458">
                    <a:moveTo>
                      <a:pt x="411" y="213"/>
                    </a:moveTo>
                    <a:cubicBezTo>
                      <a:pt x="570" y="37"/>
                      <a:pt x="570" y="37"/>
                      <a:pt x="570" y="37"/>
                    </a:cubicBezTo>
                    <a:cubicBezTo>
                      <a:pt x="576" y="30"/>
                      <a:pt x="580" y="25"/>
                      <a:pt x="580" y="20"/>
                    </a:cubicBezTo>
                    <a:cubicBezTo>
                      <a:pt x="580" y="10"/>
                      <a:pt x="559" y="0"/>
                      <a:pt x="545" y="0"/>
                    </a:cubicBezTo>
                    <a:cubicBezTo>
                      <a:pt x="535" y="0"/>
                      <a:pt x="526" y="8"/>
                      <a:pt x="519" y="16"/>
                    </a:cubicBezTo>
                    <a:cubicBezTo>
                      <a:pt x="344" y="210"/>
                      <a:pt x="344" y="210"/>
                      <a:pt x="344" y="210"/>
                    </a:cubicBezTo>
                    <a:cubicBezTo>
                      <a:pt x="336" y="219"/>
                      <a:pt x="334" y="224"/>
                      <a:pt x="334" y="229"/>
                    </a:cubicBezTo>
                    <a:cubicBezTo>
                      <a:pt x="334" y="234"/>
                      <a:pt x="336" y="239"/>
                      <a:pt x="344" y="248"/>
                    </a:cubicBezTo>
                    <a:cubicBezTo>
                      <a:pt x="519" y="442"/>
                      <a:pt x="519" y="442"/>
                      <a:pt x="519" y="442"/>
                    </a:cubicBezTo>
                    <a:cubicBezTo>
                      <a:pt x="526" y="450"/>
                      <a:pt x="535" y="458"/>
                      <a:pt x="545" y="458"/>
                    </a:cubicBezTo>
                    <a:cubicBezTo>
                      <a:pt x="559" y="458"/>
                      <a:pt x="580" y="448"/>
                      <a:pt x="580" y="438"/>
                    </a:cubicBezTo>
                    <a:cubicBezTo>
                      <a:pt x="580" y="433"/>
                      <a:pt x="576" y="428"/>
                      <a:pt x="570" y="421"/>
                    </a:cubicBezTo>
                    <a:cubicBezTo>
                      <a:pt x="411" y="245"/>
                      <a:pt x="411" y="245"/>
                      <a:pt x="411" y="245"/>
                    </a:cubicBezTo>
                    <a:cubicBezTo>
                      <a:pt x="403" y="236"/>
                      <a:pt x="399" y="232"/>
                      <a:pt x="399" y="229"/>
                    </a:cubicBezTo>
                    <a:cubicBezTo>
                      <a:pt x="399" y="226"/>
                      <a:pt x="403" y="222"/>
                      <a:pt x="411" y="213"/>
                    </a:cubicBezTo>
                    <a:moveTo>
                      <a:pt x="252" y="439"/>
                    </a:moveTo>
                    <a:cubicBezTo>
                      <a:pt x="252" y="449"/>
                      <a:pt x="261" y="454"/>
                      <a:pt x="281" y="454"/>
                    </a:cubicBezTo>
                    <a:cubicBezTo>
                      <a:pt x="300" y="454"/>
                      <a:pt x="309" y="449"/>
                      <a:pt x="309" y="439"/>
                    </a:cubicBezTo>
                    <a:cubicBezTo>
                      <a:pt x="309" y="19"/>
                      <a:pt x="309" y="19"/>
                      <a:pt x="309" y="19"/>
                    </a:cubicBezTo>
                    <a:cubicBezTo>
                      <a:pt x="309" y="9"/>
                      <a:pt x="300" y="4"/>
                      <a:pt x="281" y="4"/>
                    </a:cubicBezTo>
                    <a:cubicBezTo>
                      <a:pt x="261" y="4"/>
                      <a:pt x="252" y="9"/>
                      <a:pt x="252" y="19"/>
                    </a:cubicBezTo>
                    <a:lnTo>
                      <a:pt x="252" y="439"/>
                    </a:lnTo>
                    <a:close/>
                    <a:moveTo>
                      <a:pt x="0" y="439"/>
                    </a:moveTo>
                    <a:cubicBezTo>
                      <a:pt x="0" y="449"/>
                      <a:pt x="8" y="454"/>
                      <a:pt x="28" y="454"/>
                    </a:cubicBezTo>
                    <a:cubicBezTo>
                      <a:pt x="48" y="454"/>
                      <a:pt x="56" y="449"/>
                      <a:pt x="56" y="439"/>
                    </a:cubicBezTo>
                    <a:cubicBezTo>
                      <a:pt x="56" y="157"/>
                      <a:pt x="56" y="157"/>
                      <a:pt x="56" y="157"/>
                    </a:cubicBezTo>
                    <a:cubicBezTo>
                      <a:pt x="56" y="83"/>
                      <a:pt x="85" y="53"/>
                      <a:pt x="165" y="53"/>
                    </a:cubicBezTo>
                    <a:cubicBezTo>
                      <a:pt x="180" y="53"/>
                      <a:pt x="180" y="53"/>
                      <a:pt x="180" y="53"/>
                    </a:cubicBezTo>
                    <a:cubicBezTo>
                      <a:pt x="192" y="53"/>
                      <a:pt x="196" y="43"/>
                      <a:pt x="196" y="27"/>
                    </a:cubicBezTo>
                    <a:cubicBezTo>
                      <a:pt x="196" y="8"/>
                      <a:pt x="185" y="4"/>
                      <a:pt x="154" y="4"/>
                    </a:cubicBezTo>
                    <a:cubicBezTo>
                      <a:pt x="64" y="4"/>
                      <a:pt x="0" y="43"/>
                      <a:pt x="0" y="152"/>
                    </a:cubicBezTo>
                    <a:lnTo>
                      <a:pt x="0" y="43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22" name="Freeform 7">
                <a:extLst>
                  <a:ext uri="{FF2B5EF4-FFF2-40B4-BE49-F238E27FC236}">
                    <a16:creationId xmlns:a16="http://schemas.microsoft.com/office/drawing/2014/main" id="{2F32DCBD-8628-F245-85CD-97686A20ECFD}"/>
                  </a:ext>
                </a:extLst>
              </p:cNvPr>
              <p:cNvSpPr>
                <a:spLocks/>
              </p:cNvSpPr>
              <p:nvPr/>
            </p:nvSpPr>
            <p:spPr bwMode="gray">
              <a:xfrm>
                <a:off x="2880" y="1704"/>
                <a:ext cx="618" cy="916"/>
              </a:xfrm>
              <a:custGeom>
                <a:avLst/>
                <a:gdLst>
                  <a:gd name="T0" fmla="*/ 307 w 307"/>
                  <a:gd name="T1" fmla="*/ 405 h 455"/>
                  <a:gd name="T2" fmla="*/ 307 w 307"/>
                  <a:gd name="T3" fmla="*/ 244 h 455"/>
                  <a:gd name="T4" fmla="*/ 279 w 307"/>
                  <a:gd name="T5" fmla="*/ 229 h 455"/>
                  <a:gd name="T6" fmla="*/ 250 w 307"/>
                  <a:gd name="T7" fmla="*/ 244 h 455"/>
                  <a:gd name="T8" fmla="*/ 250 w 307"/>
                  <a:gd name="T9" fmla="*/ 378 h 455"/>
                  <a:gd name="T10" fmla="*/ 199 w 307"/>
                  <a:gd name="T11" fmla="*/ 408 h 455"/>
                  <a:gd name="T12" fmla="*/ 61 w 307"/>
                  <a:gd name="T13" fmla="*/ 231 h 455"/>
                  <a:gd name="T14" fmla="*/ 238 w 307"/>
                  <a:gd name="T15" fmla="*/ 49 h 455"/>
                  <a:gd name="T16" fmla="*/ 270 w 307"/>
                  <a:gd name="T17" fmla="*/ 49 h 455"/>
                  <a:gd name="T18" fmla="*/ 286 w 307"/>
                  <a:gd name="T19" fmla="*/ 23 h 455"/>
                  <a:gd name="T20" fmla="*/ 244 w 307"/>
                  <a:gd name="T21" fmla="*/ 0 h 455"/>
                  <a:gd name="T22" fmla="*/ 231 w 307"/>
                  <a:gd name="T23" fmla="*/ 0 h 455"/>
                  <a:gd name="T24" fmla="*/ 0 w 307"/>
                  <a:gd name="T25" fmla="*/ 232 h 455"/>
                  <a:gd name="T26" fmla="*/ 198 w 307"/>
                  <a:gd name="T27" fmla="*/ 455 h 455"/>
                  <a:gd name="T28" fmla="*/ 307 w 307"/>
                  <a:gd name="T29" fmla="*/ 405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7" h="455">
                    <a:moveTo>
                      <a:pt x="307" y="405"/>
                    </a:moveTo>
                    <a:cubicBezTo>
                      <a:pt x="307" y="244"/>
                      <a:pt x="307" y="244"/>
                      <a:pt x="307" y="244"/>
                    </a:cubicBezTo>
                    <a:cubicBezTo>
                      <a:pt x="307" y="234"/>
                      <a:pt x="298" y="229"/>
                      <a:pt x="279" y="229"/>
                    </a:cubicBezTo>
                    <a:cubicBezTo>
                      <a:pt x="259" y="229"/>
                      <a:pt x="250" y="234"/>
                      <a:pt x="250" y="244"/>
                    </a:cubicBezTo>
                    <a:cubicBezTo>
                      <a:pt x="250" y="378"/>
                      <a:pt x="250" y="378"/>
                      <a:pt x="250" y="378"/>
                    </a:cubicBezTo>
                    <a:cubicBezTo>
                      <a:pt x="250" y="399"/>
                      <a:pt x="241" y="408"/>
                      <a:pt x="199" y="408"/>
                    </a:cubicBezTo>
                    <a:cubicBezTo>
                      <a:pt x="114" y="408"/>
                      <a:pt x="61" y="342"/>
                      <a:pt x="61" y="231"/>
                    </a:cubicBezTo>
                    <a:cubicBezTo>
                      <a:pt x="61" y="115"/>
                      <a:pt x="126" y="49"/>
                      <a:pt x="238" y="49"/>
                    </a:cubicBezTo>
                    <a:cubicBezTo>
                      <a:pt x="270" y="49"/>
                      <a:pt x="270" y="49"/>
                      <a:pt x="270" y="49"/>
                    </a:cubicBezTo>
                    <a:cubicBezTo>
                      <a:pt x="282" y="49"/>
                      <a:pt x="286" y="39"/>
                      <a:pt x="286" y="23"/>
                    </a:cubicBezTo>
                    <a:cubicBezTo>
                      <a:pt x="286" y="4"/>
                      <a:pt x="275" y="0"/>
                      <a:pt x="244" y="0"/>
                    </a:cubicBezTo>
                    <a:cubicBezTo>
                      <a:pt x="231" y="0"/>
                      <a:pt x="231" y="0"/>
                      <a:pt x="231" y="0"/>
                    </a:cubicBezTo>
                    <a:cubicBezTo>
                      <a:pt x="101" y="0"/>
                      <a:pt x="0" y="71"/>
                      <a:pt x="0" y="232"/>
                    </a:cubicBezTo>
                    <a:cubicBezTo>
                      <a:pt x="0" y="386"/>
                      <a:pt x="88" y="455"/>
                      <a:pt x="198" y="455"/>
                    </a:cubicBezTo>
                    <a:cubicBezTo>
                      <a:pt x="286" y="455"/>
                      <a:pt x="307" y="430"/>
                      <a:pt x="307" y="40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23" name="Oval 8">
                <a:extLst>
                  <a:ext uri="{FF2B5EF4-FFF2-40B4-BE49-F238E27FC236}">
                    <a16:creationId xmlns:a16="http://schemas.microsoft.com/office/drawing/2014/main" id="{60D97C11-1A3B-5449-A48D-98A3E79B3810}"/>
                  </a:ext>
                </a:extLst>
              </p:cNvPr>
              <p:cNvSpPr>
                <a:spLocks noChangeArrowheads="1"/>
              </p:cNvSpPr>
              <p:nvPr/>
            </p:nvSpPr>
            <p:spPr bwMode="gray">
              <a:xfrm>
                <a:off x="3778" y="2099"/>
                <a:ext cx="122" cy="12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24" name="Freeform 9">
                <a:extLst>
                  <a:ext uri="{FF2B5EF4-FFF2-40B4-BE49-F238E27FC236}">
                    <a16:creationId xmlns:a16="http://schemas.microsoft.com/office/drawing/2014/main" id="{5856770D-B8F0-244E-A05D-AED190086F10}"/>
                  </a:ext>
                </a:extLst>
              </p:cNvPr>
              <p:cNvSpPr>
                <a:spLocks noEditPoints="1"/>
              </p:cNvSpPr>
              <p:nvPr/>
            </p:nvSpPr>
            <p:spPr bwMode="gray">
              <a:xfrm>
                <a:off x="3623" y="1696"/>
                <a:ext cx="1167" cy="922"/>
              </a:xfrm>
              <a:custGeom>
                <a:avLst/>
                <a:gdLst>
                  <a:gd name="T0" fmla="*/ 411 w 580"/>
                  <a:gd name="T1" fmla="*/ 213 h 458"/>
                  <a:gd name="T2" fmla="*/ 570 w 580"/>
                  <a:gd name="T3" fmla="*/ 37 h 458"/>
                  <a:gd name="T4" fmla="*/ 580 w 580"/>
                  <a:gd name="T5" fmla="*/ 20 h 458"/>
                  <a:gd name="T6" fmla="*/ 545 w 580"/>
                  <a:gd name="T7" fmla="*/ 0 h 458"/>
                  <a:gd name="T8" fmla="*/ 519 w 580"/>
                  <a:gd name="T9" fmla="*/ 16 h 458"/>
                  <a:gd name="T10" fmla="*/ 344 w 580"/>
                  <a:gd name="T11" fmla="*/ 210 h 458"/>
                  <a:gd name="T12" fmla="*/ 334 w 580"/>
                  <a:gd name="T13" fmla="*/ 229 h 458"/>
                  <a:gd name="T14" fmla="*/ 344 w 580"/>
                  <a:gd name="T15" fmla="*/ 248 h 458"/>
                  <a:gd name="T16" fmla="*/ 519 w 580"/>
                  <a:gd name="T17" fmla="*/ 442 h 458"/>
                  <a:gd name="T18" fmla="*/ 545 w 580"/>
                  <a:gd name="T19" fmla="*/ 458 h 458"/>
                  <a:gd name="T20" fmla="*/ 580 w 580"/>
                  <a:gd name="T21" fmla="*/ 438 h 458"/>
                  <a:gd name="T22" fmla="*/ 570 w 580"/>
                  <a:gd name="T23" fmla="*/ 421 h 458"/>
                  <a:gd name="T24" fmla="*/ 411 w 580"/>
                  <a:gd name="T25" fmla="*/ 245 h 458"/>
                  <a:gd name="T26" fmla="*/ 399 w 580"/>
                  <a:gd name="T27" fmla="*/ 229 h 458"/>
                  <a:gd name="T28" fmla="*/ 411 w 580"/>
                  <a:gd name="T29" fmla="*/ 213 h 458"/>
                  <a:gd name="T30" fmla="*/ 252 w 580"/>
                  <a:gd name="T31" fmla="*/ 439 h 458"/>
                  <a:gd name="T32" fmla="*/ 281 w 580"/>
                  <a:gd name="T33" fmla="*/ 454 h 458"/>
                  <a:gd name="T34" fmla="*/ 309 w 580"/>
                  <a:gd name="T35" fmla="*/ 439 h 458"/>
                  <a:gd name="T36" fmla="*/ 309 w 580"/>
                  <a:gd name="T37" fmla="*/ 19 h 458"/>
                  <a:gd name="T38" fmla="*/ 281 w 580"/>
                  <a:gd name="T39" fmla="*/ 4 h 458"/>
                  <a:gd name="T40" fmla="*/ 252 w 580"/>
                  <a:gd name="T41" fmla="*/ 19 h 458"/>
                  <a:gd name="T42" fmla="*/ 252 w 580"/>
                  <a:gd name="T43" fmla="*/ 439 h 458"/>
                  <a:gd name="T44" fmla="*/ 0 w 580"/>
                  <a:gd name="T45" fmla="*/ 439 h 458"/>
                  <a:gd name="T46" fmla="*/ 28 w 580"/>
                  <a:gd name="T47" fmla="*/ 454 h 458"/>
                  <a:gd name="T48" fmla="*/ 56 w 580"/>
                  <a:gd name="T49" fmla="*/ 439 h 458"/>
                  <a:gd name="T50" fmla="*/ 56 w 580"/>
                  <a:gd name="T51" fmla="*/ 157 h 458"/>
                  <a:gd name="T52" fmla="*/ 165 w 580"/>
                  <a:gd name="T53" fmla="*/ 53 h 458"/>
                  <a:gd name="T54" fmla="*/ 180 w 580"/>
                  <a:gd name="T55" fmla="*/ 53 h 458"/>
                  <a:gd name="T56" fmla="*/ 196 w 580"/>
                  <a:gd name="T57" fmla="*/ 27 h 458"/>
                  <a:gd name="T58" fmla="*/ 154 w 580"/>
                  <a:gd name="T59" fmla="*/ 4 h 458"/>
                  <a:gd name="T60" fmla="*/ 0 w 580"/>
                  <a:gd name="T61" fmla="*/ 152 h 458"/>
                  <a:gd name="T62" fmla="*/ 0 w 580"/>
                  <a:gd name="T63" fmla="*/ 439 h 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80" h="458">
                    <a:moveTo>
                      <a:pt x="411" y="213"/>
                    </a:moveTo>
                    <a:cubicBezTo>
                      <a:pt x="570" y="37"/>
                      <a:pt x="570" y="37"/>
                      <a:pt x="570" y="37"/>
                    </a:cubicBezTo>
                    <a:cubicBezTo>
                      <a:pt x="576" y="30"/>
                      <a:pt x="580" y="25"/>
                      <a:pt x="580" y="20"/>
                    </a:cubicBezTo>
                    <a:cubicBezTo>
                      <a:pt x="580" y="10"/>
                      <a:pt x="559" y="0"/>
                      <a:pt x="545" y="0"/>
                    </a:cubicBezTo>
                    <a:cubicBezTo>
                      <a:pt x="535" y="0"/>
                      <a:pt x="526" y="8"/>
                      <a:pt x="519" y="16"/>
                    </a:cubicBezTo>
                    <a:cubicBezTo>
                      <a:pt x="344" y="210"/>
                      <a:pt x="344" y="210"/>
                      <a:pt x="344" y="210"/>
                    </a:cubicBezTo>
                    <a:cubicBezTo>
                      <a:pt x="336" y="219"/>
                      <a:pt x="334" y="224"/>
                      <a:pt x="334" y="229"/>
                    </a:cubicBezTo>
                    <a:cubicBezTo>
                      <a:pt x="334" y="234"/>
                      <a:pt x="336" y="239"/>
                      <a:pt x="344" y="248"/>
                    </a:cubicBezTo>
                    <a:cubicBezTo>
                      <a:pt x="519" y="442"/>
                      <a:pt x="519" y="442"/>
                      <a:pt x="519" y="442"/>
                    </a:cubicBezTo>
                    <a:cubicBezTo>
                      <a:pt x="526" y="450"/>
                      <a:pt x="535" y="458"/>
                      <a:pt x="545" y="458"/>
                    </a:cubicBezTo>
                    <a:cubicBezTo>
                      <a:pt x="559" y="458"/>
                      <a:pt x="580" y="448"/>
                      <a:pt x="580" y="438"/>
                    </a:cubicBezTo>
                    <a:cubicBezTo>
                      <a:pt x="580" y="433"/>
                      <a:pt x="576" y="428"/>
                      <a:pt x="570" y="421"/>
                    </a:cubicBezTo>
                    <a:cubicBezTo>
                      <a:pt x="411" y="245"/>
                      <a:pt x="411" y="245"/>
                      <a:pt x="411" y="245"/>
                    </a:cubicBezTo>
                    <a:cubicBezTo>
                      <a:pt x="403" y="236"/>
                      <a:pt x="399" y="232"/>
                      <a:pt x="399" y="229"/>
                    </a:cubicBezTo>
                    <a:cubicBezTo>
                      <a:pt x="399" y="226"/>
                      <a:pt x="403" y="222"/>
                      <a:pt x="411" y="213"/>
                    </a:cubicBezTo>
                    <a:moveTo>
                      <a:pt x="252" y="439"/>
                    </a:moveTo>
                    <a:cubicBezTo>
                      <a:pt x="252" y="449"/>
                      <a:pt x="261" y="454"/>
                      <a:pt x="281" y="454"/>
                    </a:cubicBezTo>
                    <a:cubicBezTo>
                      <a:pt x="300" y="454"/>
                      <a:pt x="309" y="449"/>
                      <a:pt x="309" y="439"/>
                    </a:cubicBezTo>
                    <a:cubicBezTo>
                      <a:pt x="309" y="19"/>
                      <a:pt x="309" y="19"/>
                      <a:pt x="309" y="19"/>
                    </a:cubicBezTo>
                    <a:cubicBezTo>
                      <a:pt x="309" y="9"/>
                      <a:pt x="300" y="4"/>
                      <a:pt x="281" y="4"/>
                    </a:cubicBezTo>
                    <a:cubicBezTo>
                      <a:pt x="261" y="4"/>
                      <a:pt x="252" y="9"/>
                      <a:pt x="252" y="19"/>
                    </a:cubicBezTo>
                    <a:lnTo>
                      <a:pt x="252" y="439"/>
                    </a:lnTo>
                    <a:close/>
                    <a:moveTo>
                      <a:pt x="0" y="439"/>
                    </a:moveTo>
                    <a:cubicBezTo>
                      <a:pt x="0" y="449"/>
                      <a:pt x="8" y="454"/>
                      <a:pt x="28" y="454"/>
                    </a:cubicBezTo>
                    <a:cubicBezTo>
                      <a:pt x="48" y="454"/>
                      <a:pt x="56" y="449"/>
                      <a:pt x="56" y="439"/>
                    </a:cubicBezTo>
                    <a:cubicBezTo>
                      <a:pt x="56" y="157"/>
                      <a:pt x="56" y="157"/>
                      <a:pt x="56" y="157"/>
                    </a:cubicBezTo>
                    <a:cubicBezTo>
                      <a:pt x="56" y="83"/>
                      <a:pt x="85" y="53"/>
                      <a:pt x="165" y="53"/>
                    </a:cubicBezTo>
                    <a:cubicBezTo>
                      <a:pt x="180" y="53"/>
                      <a:pt x="180" y="53"/>
                      <a:pt x="180" y="53"/>
                    </a:cubicBezTo>
                    <a:cubicBezTo>
                      <a:pt x="192" y="53"/>
                      <a:pt x="196" y="43"/>
                      <a:pt x="196" y="27"/>
                    </a:cubicBezTo>
                    <a:cubicBezTo>
                      <a:pt x="196" y="8"/>
                      <a:pt x="185" y="4"/>
                      <a:pt x="154" y="4"/>
                    </a:cubicBezTo>
                    <a:cubicBezTo>
                      <a:pt x="64" y="4"/>
                      <a:pt x="0" y="43"/>
                      <a:pt x="0" y="152"/>
                    </a:cubicBezTo>
                    <a:lnTo>
                      <a:pt x="0" y="43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25" name="Freeform 10">
                <a:extLst>
                  <a:ext uri="{FF2B5EF4-FFF2-40B4-BE49-F238E27FC236}">
                    <a16:creationId xmlns:a16="http://schemas.microsoft.com/office/drawing/2014/main" id="{2B91B16B-BC11-E547-8FAC-B9B8D18EA449}"/>
                  </a:ext>
                </a:extLst>
              </p:cNvPr>
              <p:cNvSpPr>
                <a:spLocks/>
              </p:cNvSpPr>
              <p:nvPr/>
            </p:nvSpPr>
            <p:spPr bwMode="gray">
              <a:xfrm>
                <a:off x="2880" y="1704"/>
                <a:ext cx="618" cy="916"/>
              </a:xfrm>
              <a:custGeom>
                <a:avLst/>
                <a:gdLst>
                  <a:gd name="T0" fmla="*/ 307 w 307"/>
                  <a:gd name="T1" fmla="*/ 405 h 455"/>
                  <a:gd name="T2" fmla="*/ 307 w 307"/>
                  <a:gd name="T3" fmla="*/ 244 h 455"/>
                  <a:gd name="T4" fmla="*/ 279 w 307"/>
                  <a:gd name="T5" fmla="*/ 229 h 455"/>
                  <a:gd name="T6" fmla="*/ 250 w 307"/>
                  <a:gd name="T7" fmla="*/ 244 h 455"/>
                  <a:gd name="T8" fmla="*/ 250 w 307"/>
                  <a:gd name="T9" fmla="*/ 378 h 455"/>
                  <a:gd name="T10" fmla="*/ 199 w 307"/>
                  <a:gd name="T11" fmla="*/ 408 h 455"/>
                  <a:gd name="T12" fmla="*/ 61 w 307"/>
                  <a:gd name="T13" fmla="*/ 231 h 455"/>
                  <a:gd name="T14" fmla="*/ 238 w 307"/>
                  <a:gd name="T15" fmla="*/ 49 h 455"/>
                  <a:gd name="T16" fmla="*/ 270 w 307"/>
                  <a:gd name="T17" fmla="*/ 49 h 455"/>
                  <a:gd name="T18" fmla="*/ 286 w 307"/>
                  <a:gd name="T19" fmla="*/ 23 h 455"/>
                  <a:gd name="T20" fmla="*/ 244 w 307"/>
                  <a:gd name="T21" fmla="*/ 0 h 455"/>
                  <a:gd name="T22" fmla="*/ 231 w 307"/>
                  <a:gd name="T23" fmla="*/ 0 h 455"/>
                  <a:gd name="T24" fmla="*/ 0 w 307"/>
                  <a:gd name="T25" fmla="*/ 232 h 455"/>
                  <a:gd name="T26" fmla="*/ 198 w 307"/>
                  <a:gd name="T27" fmla="*/ 455 h 455"/>
                  <a:gd name="T28" fmla="*/ 307 w 307"/>
                  <a:gd name="T29" fmla="*/ 405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7" h="455">
                    <a:moveTo>
                      <a:pt x="307" y="405"/>
                    </a:moveTo>
                    <a:cubicBezTo>
                      <a:pt x="307" y="244"/>
                      <a:pt x="307" y="244"/>
                      <a:pt x="307" y="244"/>
                    </a:cubicBezTo>
                    <a:cubicBezTo>
                      <a:pt x="307" y="234"/>
                      <a:pt x="298" y="229"/>
                      <a:pt x="279" y="229"/>
                    </a:cubicBezTo>
                    <a:cubicBezTo>
                      <a:pt x="259" y="229"/>
                      <a:pt x="250" y="234"/>
                      <a:pt x="250" y="244"/>
                    </a:cubicBezTo>
                    <a:cubicBezTo>
                      <a:pt x="250" y="378"/>
                      <a:pt x="250" y="378"/>
                      <a:pt x="250" y="378"/>
                    </a:cubicBezTo>
                    <a:cubicBezTo>
                      <a:pt x="250" y="399"/>
                      <a:pt x="241" y="408"/>
                      <a:pt x="199" y="408"/>
                    </a:cubicBezTo>
                    <a:cubicBezTo>
                      <a:pt x="114" y="408"/>
                      <a:pt x="61" y="342"/>
                      <a:pt x="61" y="231"/>
                    </a:cubicBezTo>
                    <a:cubicBezTo>
                      <a:pt x="61" y="115"/>
                      <a:pt x="126" y="49"/>
                      <a:pt x="238" y="49"/>
                    </a:cubicBezTo>
                    <a:cubicBezTo>
                      <a:pt x="270" y="49"/>
                      <a:pt x="270" y="49"/>
                      <a:pt x="270" y="49"/>
                    </a:cubicBezTo>
                    <a:cubicBezTo>
                      <a:pt x="282" y="49"/>
                      <a:pt x="286" y="39"/>
                      <a:pt x="286" y="23"/>
                    </a:cubicBezTo>
                    <a:cubicBezTo>
                      <a:pt x="286" y="4"/>
                      <a:pt x="275" y="0"/>
                      <a:pt x="244" y="0"/>
                    </a:cubicBezTo>
                    <a:cubicBezTo>
                      <a:pt x="231" y="0"/>
                      <a:pt x="231" y="0"/>
                      <a:pt x="231" y="0"/>
                    </a:cubicBezTo>
                    <a:cubicBezTo>
                      <a:pt x="101" y="0"/>
                      <a:pt x="0" y="71"/>
                      <a:pt x="0" y="232"/>
                    </a:cubicBezTo>
                    <a:cubicBezTo>
                      <a:pt x="0" y="386"/>
                      <a:pt x="88" y="455"/>
                      <a:pt x="198" y="455"/>
                    </a:cubicBezTo>
                    <a:cubicBezTo>
                      <a:pt x="286" y="455"/>
                      <a:pt x="307" y="430"/>
                      <a:pt x="307" y="40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26" name="Oval 11">
                <a:extLst>
                  <a:ext uri="{FF2B5EF4-FFF2-40B4-BE49-F238E27FC236}">
                    <a16:creationId xmlns:a16="http://schemas.microsoft.com/office/drawing/2014/main" id="{14F8C3C8-4888-7646-B9B4-64EB46A1DA23}"/>
                  </a:ext>
                </a:extLst>
              </p:cNvPr>
              <p:cNvSpPr>
                <a:spLocks noChangeArrowheads="1"/>
              </p:cNvSpPr>
              <p:nvPr/>
            </p:nvSpPr>
            <p:spPr bwMode="gray">
              <a:xfrm>
                <a:off x="3778" y="2099"/>
                <a:ext cx="122" cy="12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27" name="Freeform 12">
                <a:extLst>
                  <a:ext uri="{FF2B5EF4-FFF2-40B4-BE49-F238E27FC236}">
                    <a16:creationId xmlns:a16="http://schemas.microsoft.com/office/drawing/2014/main" id="{D79D01D1-4E3E-F34B-97D7-2D387E68746E}"/>
                  </a:ext>
                </a:extLst>
              </p:cNvPr>
              <p:cNvSpPr>
                <a:spLocks/>
              </p:cNvSpPr>
              <p:nvPr/>
            </p:nvSpPr>
            <p:spPr bwMode="gray">
              <a:xfrm>
                <a:off x="4321" y="1029"/>
                <a:ext cx="648" cy="649"/>
              </a:xfrm>
              <a:custGeom>
                <a:avLst/>
                <a:gdLst>
                  <a:gd name="T0" fmla="*/ 0 w 648"/>
                  <a:gd name="T1" fmla="*/ 649 h 649"/>
                  <a:gd name="T2" fmla="*/ 2 w 648"/>
                  <a:gd name="T3" fmla="*/ 649 h 649"/>
                  <a:gd name="T4" fmla="*/ 648 w 648"/>
                  <a:gd name="T5" fmla="*/ 0 h 649"/>
                  <a:gd name="T6" fmla="*/ 423 w 648"/>
                  <a:gd name="T7" fmla="*/ 0 h 649"/>
                  <a:gd name="T8" fmla="*/ 0 w 648"/>
                  <a:gd name="T9" fmla="*/ 649 h 649"/>
                </a:gdLst>
                <a:ahLst/>
                <a:cxnLst>
                  <a:cxn ang="0">
                    <a:pos x="T0" y="T1"/>
                  </a:cxn>
                  <a:cxn ang="0">
                    <a:pos x="T2" y="T3"/>
                  </a:cxn>
                  <a:cxn ang="0">
                    <a:pos x="T4" y="T5"/>
                  </a:cxn>
                  <a:cxn ang="0">
                    <a:pos x="T6" y="T7"/>
                  </a:cxn>
                  <a:cxn ang="0">
                    <a:pos x="T8" y="T9"/>
                  </a:cxn>
                </a:cxnLst>
                <a:rect l="0" t="0" r="r" b="b"/>
                <a:pathLst>
                  <a:path w="648" h="649">
                    <a:moveTo>
                      <a:pt x="0" y="649"/>
                    </a:moveTo>
                    <a:lnTo>
                      <a:pt x="2" y="649"/>
                    </a:lnTo>
                    <a:lnTo>
                      <a:pt x="648" y="0"/>
                    </a:lnTo>
                    <a:lnTo>
                      <a:pt x="423" y="0"/>
                    </a:lnTo>
                    <a:lnTo>
                      <a:pt x="0" y="64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28" name="Freeform 13">
                <a:extLst>
                  <a:ext uri="{FF2B5EF4-FFF2-40B4-BE49-F238E27FC236}">
                    <a16:creationId xmlns:a16="http://schemas.microsoft.com/office/drawing/2014/main" id="{46549898-6C52-B147-A8F6-A73FDBE6163B}"/>
                  </a:ext>
                </a:extLst>
              </p:cNvPr>
              <p:cNvSpPr>
                <a:spLocks/>
              </p:cNvSpPr>
              <p:nvPr/>
            </p:nvSpPr>
            <p:spPr bwMode="gray">
              <a:xfrm>
                <a:off x="4321" y="1029"/>
                <a:ext cx="648" cy="649"/>
              </a:xfrm>
              <a:custGeom>
                <a:avLst/>
                <a:gdLst>
                  <a:gd name="T0" fmla="*/ 0 w 648"/>
                  <a:gd name="T1" fmla="*/ 649 h 649"/>
                  <a:gd name="T2" fmla="*/ 2 w 648"/>
                  <a:gd name="T3" fmla="*/ 649 h 649"/>
                  <a:gd name="T4" fmla="*/ 648 w 648"/>
                  <a:gd name="T5" fmla="*/ 0 h 649"/>
                  <a:gd name="T6" fmla="*/ 423 w 648"/>
                  <a:gd name="T7" fmla="*/ 0 h 649"/>
                  <a:gd name="T8" fmla="*/ 0 w 648"/>
                  <a:gd name="T9" fmla="*/ 649 h 649"/>
                </a:gdLst>
                <a:ahLst/>
                <a:cxnLst>
                  <a:cxn ang="0">
                    <a:pos x="T0" y="T1"/>
                  </a:cxn>
                  <a:cxn ang="0">
                    <a:pos x="T2" y="T3"/>
                  </a:cxn>
                  <a:cxn ang="0">
                    <a:pos x="T4" y="T5"/>
                  </a:cxn>
                  <a:cxn ang="0">
                    <a:pos x="T6" y="T7"/>
                  </a:cxn>
                  <a:cxn ang="0">
                    <a:pos x="T8" y="T9"/>
                  </a:cxn>
                </a:cxnLst>
                <a:rect l="0" t="0" r="r" b="b"/>
                <a:pathLst>
                  <a:path w="648" h="649">
                    <a:moveTo>
                      <a:pt x="0" y="649"/>
                    </a:moveTo>
                    <a:lnTo>
                      <a:pt x="2" y="649"/>
                    </a:lnTo>
                    <a:lnTo>
                      <a:pt x="648" y="0"/>
                    </a:lnTo>
                    <a:lnTo>
                      <a:pt x="423" y="0"/>
                    </a:lnTo>
                    <a:lnTo>
                      <a:pt x="0" y="64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grpSp>
      </p:grpSp>
      <p:sp>
        <p:nvSpPr>
          <p:cNvPr id="7" name="Date Placeholder 6"/>
          <p:cNvSpPr>
            <a:spLocks noGrp="1"/>
          </p:cNvSpPr>
          <p:nvPr>
            <p:ph type="dt" sz="half" idx="10"/>
          </p:nvPr>
        </p:nvSpPr>
        <p:spPr>
          <a:xfrm>
            <a:off x="0" y="0"/>
            <a:ext cx="0" cy="0"/>
          </a:xfrm>
          <a:prstGeom prst="rect">
            <a:avLst/>
          </a:prstGeom>
        </p:spPr>
        <p:txBody>
          <a:bodyPr/>
          <a:lstStyle>
            <a:lvl1pPr>
              <a:defRPr sz="100">
                <a:noFill/>
              </a:defRPr>
            </a:lvl1pPr>
          </a:lstStyle>
          <a:p>
            <a:fld id="{3EA3BA3C-82AC-45BA-9659-DD8E28BB5C16}" type="datetime5">
              <a:rPr lang="en-US" smtClean="0"/>
              <a:t>26-Jun-20</a:t>
            </a:fld>
            <a:endParaRPr lang="en-US"/>
          </a:p>
        </p:txBody>
      </p:sp>
      <p:sp>
        <p:nvSpPr>
          <p:cNvPr id="8" name="Footer Placeholder 7"/>
          <p:cNvSpPr>
            <a:spLocks noGrp="1"/>
          </p:cNvSpPr>
          <p:nvPr>
            <p:ph type="ftr" sz="quarter" idx="11"/>
          </p:nvPr>
        </p:nvSpPr>
        <p:spPr>
          <a:xfrm>
            <a:off x="0" y="0"/>
            <a:ext cx="0" cy="0"/>
          </a:xfrm>
          <a:prstGeom prst="rect">
            <a:avLst/>
          </a:prstGeom>
        </p:spPr>
        <p:txBody>
          <a:bodyPr/>
          <a:lstStyle>
            <a:lvl1pPr marL="0" indent="0">
              <a:buNone/>
              <a:defRPr sz="100">
                <a:noFill/>
              </a:defRPr>
            </a:lvl1pPr>
          </a:lstStyle>
          <a:p>
            <a:r>
              <a:rPr lang="en-US"/>
              <a:t>Title of presentation (Insert / Header &amp; Footer / Apply to All)</a:t>
            </a:r>
          </a:p>
        </p:txBody>
      </p:sp>
      <p:sp>
        <p:nvSpPr>
          <p:cNvPr id="9" name="Slide Number Placeholder 8"/>
          <p:cNvSpPr>
            <a:spLocks noGrp="1"/>
          </p:cNvSpPr>
          <p:nvPr>
            <p:ph type="sldNum" sz="quarter" idx="12"/>
          </p:nvPr>
        </p:nvSpPr>
        <p:spPr>
          <a:xfrm>
            <a:off x="0" y="0"/>
            <a:ext cx="0" cy="0"/>
          </a:xfrm>
          <a:prstGeom prst="rect">
            <a:avLst/>
          </a:prstGeom>
        </p:spPr>
        <p:txBody>
          <a:bodyPr/>
          <a:lstStyle>
            <a:lvl1pPr>
              <a:defRPr sz="100">
                <a:noFill/>
              </a:defRPr>
            </a:lvl1pPr>
          </a:lstStyle>
          <a:p>
            <a:fld id="{8E3B25F7-8D1F-44B5-B485-EE3C438CFD7B}" type="slidenum">
              <a:rPr lang="en-US" smtClean="0"/>
              <a:pPr/>
              <a:t>‹#›</a:t>
            </a:fld>
            <a:endParaRPr lang="en-US"/>
          </a:p>
        </p:txBody>
      </p:sp>
      <p:sp>
        <p:nvSpPr>
          <p:cNvPr id="2" name="Title 1"/>
          <p:cNvSpPr>
            <a:spLocks noGrp="1"/>
          </p:cNvSpPr>
          <p:nvPr>
            <p:ph type="ctrTitle" hasCustomPrompt="1"/>
          </p:nvPr>
        </p:nvSpPr>
        <p:spPr>
          <a:xfrm>
            <a:off x="417600" y="1628775"/>
            <a:ext cx="3816000" cy="2236264"/>
          </a:xfrm>
        </p:spPr>
        <p:txBody>
          <a:bodyPr anchor="b"/>
          <a:lstStyle>
            <a:lvl1pPr algn="l">
              <a:defRPr sz="3600" baseline="0"/>
            </a:lvl1pPr>
          </a:lstStyle>
          <a:p>
            <a:r>
              <a:rPr lang="en-US"/>
              <a:t>Click to add presentation title</a:t>
            </a:r>
          </a:p>
        </p:txBody>
      </p:sp>
      <p:sp>
        <p:nvSpPr>
          <p:cNvPr id="3" name="Subtitle 2"/>
          <p:cNvSpPr>
            <a:spLocks noGrp="1"/>
          </p:cNvSpPr>
          <p:nvPr>
            <p:ph type="subTitle" idx="1" hasCustomPrompt="1"/>
          </p:nvPr>
        </p:nvSpPr>
        <p:spPr>
          <a:xfrm>
            <a:off x="417600" y="4094163"/>
            <a:ext cx="3816000" cy="1080000"/>
          </a:xfrm>
        </p:spPr>
        <p:txBody>
          <a:bodyPr/>
          <a:lstStyle>
            <a:lvl1pPr marL="0" indent="0" algn="l">
              <a:spcBef>
                <a:spcPts val="0"/>
              </a:spcBef>
              <a:buNone/>
              <a:defRPr sz="1800" b="1"/>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sp>
        <p:nvSpPr>
          <p:cNvPr id="31" name="Text Placeholder 30"/>
          <p:cNvSpPr>
            <a:spLocks noGrp="1"/>
          </p:cNvSpPr>
          <p:nvPr>
            <p:ph type="body" sz="quarter" idx="14" hasCustomPrompt="1"/>
          </p:nvPr>
        </p:nvSpPr>
        <p:spPr>
          <a:xfrm>
            <a:off x="417600" y="5393268"/>
            <a:ext cx="3816000" cy="296332"/>
          </a:xfrm>
        </p:spPr>
        <p:txBody>
          <a:bodyPr wrap="none"/>
          <a:lstStyle>
            <a:lvl1pPr marL="0" indent="0">
              <a:spcBef>
                <a:spcPts val="0"/>
              </a:spcBef>
              <a:buNone/>
              <a:defRPr sz="1200"/>
            </a:lvl1pPr>
            <a:lvl2pPr marL="0" indent="0">
              <a:buNone/>
              <a:defRPr sz="1200"/>
            </a:lvl2pPr>
            <a:lvl3pPr marL="0" indent="0">
              <a:buNone/>
              <a:defRPr sz="1200"/>
            </a:lvl3pPr>
            <a:lvl4pPr marL="0">
              <a:buNone/>
              <a:defRPr sz="1200"/>
            </a:lvl4pPr>
            <a:lvl5pPr marL="0" indent="0">
              <a:buNone/>
              <a:defRPr sz="1200"/>
            </a:lvl5pPr>
          </a:lstStyle>
          <a:p>
            <a:pPr lvl="0"/>
            <a:r>
              <a:rPr lang="en-US"/>
              <a:t>Name</a:t>
            </a:r>
          </a:p>
        </p:txBody>
      </p:sp>
      <p:sp>
        <p:nvSpPr>
          <p:cNvPr id="34" name="Text Placeholder 30"/>
          <p:cNvSpPr>
            <a:spLocks noGrp="1"/>
          </p:cNvSpPr>
          <p:nvPr>
            <p:ph type="body" sz="quarter" idx="15" hasCustomPrompt="1"/>
          </p:nvPr>
        </p:nvSpPr>
        <p:spPr>
          <a:xfrm>
            <a:off x="417600" y="5691446"/>
            <a:ext cx="3816000" cy="296332"/>
          </a:xfrm>
        </p:spPr>
        <p:txBody>
          <a:bodyPr wrap="none"/>
          <a:lstStyle>
            <a:lvl1pPr marL="0" indent="0">
              <a:spcBef>
                <a:spcPts val="0"/>
              </a:spcBef>
              <a:buNone/>
              <a:defRPr sz="1200"/>
            </a:lvl1pPr>
            <a:lvl2pPr marL="0" indent="0">
              <a:buNone/>
              <a:defRPr sz="1200"/>
            </a:lvl2pPr>
            <a:lvl3pPr marL="0" indent="0">
              <a:buNone/>
              <a:defRPr sz="1200"/>
            </a:lvl3pPr>
            <a:lvl4pPr marL="0">
              <a:buNone/>
              <a:defRPr sz="1200"/>
            </a:lvl4pPr>
            <a:lvl5pPr marL="0" indent="0">
              <a:buNone/>
              <a:defRPr sz="1200"/>
            </a:lvl5pPr>
          </a:lstStyle>
          <a:p>
            <a:pPr lvl="0"/>
            <a:r>
              <a:rPr lang="en-US"/>
              <a:t>Department</a:t>
            </a:r>
          </a:p>
        </p:txBody>
      </p:sp>
    </p:spTree>
    <p:extLst>
      <p:ext uri="{BB962C8B-B14F-4D97-AF65-F5344CB8AC3E}">
        <p14:creationId xmlns:p14="http://schemas.microsoft.com/office/powerpoint/2010/main" val="2889292459"/>
      </p:ext>
    </p:extLst>
  </p:cSld>
  <p:clrMapOvr>
    <a:masterClrMapping/>
  </p:clrMapOvr>
</p:sldLayout>
</file>

<file path=ppt/slideLayouts/slideLayout538.xml><?xml version="1.0" encoding="utf-8"?>
<p:sldLayout xmlns:a="http://schemas.openxmlformats.org/drawingml/2006/main" xmlns:r="http://schemas.openxmlformats.org/officeDocument/2006/relationships" xmlns:p="http://schemas.openxmlformats.org/presentationml/2006/main" showMasterSp="0" preserve="1">
  <p:cSld name="Title 2">
    <p:spTree>
      <p:nvGrpSpPr>
        <p:cNvPr id="1" name=""/>
        <p:cNvGrpSpPr/>
        <p:nvPr/>
      </p:nvGrpSpPr>
      <p:grpSpPr>
        <a:xfrm>
          <a:off x="0" y="0"/>
          <a:ext cx="0" cy="0"/>
          <a:chOff x="0" y="0"/>
          <a:chExt cx="0" cy="0"/>
        </a:xfrm>
      </p:grpSpPr>
      <p:pic>
        <p:nvPicPr>
          <p:cNvPr id="29" name="picture">
            <a:extLst>
              <a:ext uri="{FF2B5EF4-FFF2-40B4-BE49-F238E27FC236}">
                <a16:creationId xmlns:a16="http://schemas.microsoft.com/office/drawing/2014/main" id="{8BF907F5-A9CD-2740-AF54-6BACB62334AE}"/>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2620212" y="-8808"/>
            <a:ext cx="9697299" cy="6866807"/>
          </a:xfrm>
          <a:prstGeom prst="rect">
            <a:avLst/>
          </a:prstGeom>
        </p:spPr>
      </p:pic>
      <p:sp>
        <p:nvSpPr>
          <p:cNvPr id="32" name="shpPicture"/>
          <p:cNvSpPr/>
          <p:nvPr/>
        </p:nvSpPr>
        <p:spPr>
          <a:xfrm>
            <a:off x="1" y="0"/>
            <a:ext cx="4112145" cy="6858000"/>
          </a:xfrm>
          <a:custGeom>
            <a:avLst/>
            <a:gdLst>
              <a:gd name="connsiteX0" fmla="*/ 0 w 4112145"/>
              <a:gd name="connsiteY0" fmla="*/ 0 h 6858000"/>
              <a:gd name="connsiteX1" fmla="*/ 2588964 w 4112145"/>
              <a:gd name="connsiteY1" fmla="*/ 0 h 6858000"/>
              <a:gd name="connsiteX2" fmla="*/ 4112145 w 4112145"/>
              <a:gd name="connsiteY2" fmla="*/ 3083531 h 6858000"/>
              <a:gd name="connsiteX3" fmla="*/ 2697661 w 4112145"/>
              <a:gd name="connsiteY3" fmla="*/ 6858000 h 6858000"/>
              <a:gd name="connsiteX4" fmla="*/ 0 w 4112145"/>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12145" h="6858000">
                <a:moveTo>
                  <a:pt x="0" y="0"/>
                </a:moveTo>
                <a:lnTo>
                  <a:pt x="2588964" y="0"/>
                </a:lnTo>
                <a:lnTo>
                  <a:pt x="4112145" y="3083531"/>
                </a:lnTo>
                <a:lnTo>
                  <a:pt x="2697661"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US" sz="1600"/>
          </a:p>
        </p:txBody>
      </p:sp>
      <p:grpSp>
        <p:nvGrpSpPr>
          <p:cNvPr id="14" name="logo">
            <a:extLst>
              <a:ext uri="{FF2B5EF4-FFF2-40B4-BE49-F238E27FC236}">
                <a16:creationId xmlns:a16="http://schemas.microsoft.com/office/drawing/2014/main" id="{18C26D95-70F8-8A4D-9F18-DCCB92522AF8}"/>
              </a:ext>
            </a:extLst>
          </p:cNvPr>
          <p:cNvGrpSpPr/>
          <p:nvPr/>
        </p:nvGrpSpPr>
        <p:grpSpPr bwMode="gray">
          <a:xfrm>
            <a:off x="417363" y="407485"/>
            <a:ext cx="1518585" cy="646507"/>
            <a:chOff x="334963" y="296652"/>
            <a:chExt cx="1268411" cy="540000"/>
          </a:xfrm>
        </p:grpSpPr>
        <p:sp>
          <p:nvSpPr>
            <p:cNvPr id="17" name="Freeform 6">
              <a:extLst>
                <a:ext uri="{FF2B5EF4-FFF2-40B4-BE49-F238E27FC236}">
                  <a16:creationId xmlns:a16="http://schemas.microsoft.com/office/drawing/2014/main" id="{08737AD0-E375-E445-97E6-CD2E2DF60620}"/>
                </a:ext>
              </a:extLst>
            </p:cNvPr>
            <p:cNvSpPr>
              <a:spLocks noEditPoints="1"/>
            </p:cNvSpPr>
            <p:nvPr/>
          </p:nvSpPr>
          <p:spPr bwMode="gray">
            <a:xfrm>
              <a:off x="982662" y="360462"/>
              <a:ext cx="620712" cy="431800"/>
            </a:xfrm>
            <a:custGeom>
              <a:avLst/>
              <a:gdLst>
                <a:gd name="T0" fmla="*/ 19 w 1809"/>
                <a:gd name="T1" fmla="*/ 97 h 1253"/>
                <a:gd name="T2" fmla="*/ 165 w 1809"/>
                <a:gd name="T3" fmla="*/ 41 h 1253"/>
                <a:gd name="T4" fmla="*/ 211 w 1809"/>
                <a:gd name="T5" fmla="*/ 224 h 1253"/>
                <a:gd name="T6" fmla="*/ 248 w 1809"/>
                <a:gd name="T7" fmla="*/ 155 h 1253"/>
                <a:gd name="T8" fmla="*/ 931 w 1809"/>
                <a:gd name="T9" fmla="*/ 995 h 1253"/>
                <a:gd name="T10" fmla="*/ 858 w 1809"/>
                <a:gd name="T11" fmla="*/ 1115 h 1253"/>
                <a:gd name="T12" fmla="*/ 749 w 1809"/>
                <a:gd name="T13" fmla="*/ 1117 h 1253"/>
                <a:gd name="T14" fmla="*/ 681 w 1809"/>
                <a:gd name="T15" fmla="*/ 1055 h 1253"/>
                <a:gd name="T16" fmla="*/ 800 w 1809"/>
                <a:gd name="T17" fmla="*/ 1054 h 1253"/>
                <a:gd name="T18" fmla="*/ 884 w 1809"/>
                <a:gd name="T19" fmla="*/ 1181 h 1253"/>
                <a:gd name="T20" fmla="*/ 118 w 1809"/>
                <a:gd name="T21" fmla="*/ 1086 h 1253"/>
                <a:gd name="T22" fmla="*/ 147 w 1809"/>
                <a:gd name="T23" fmla="*/ 1026 h 1253"/>
                <a:gd name="T24" fmla="*/ 102 w 1809"/>
                <a:gd name="T25" fmla="*/ 1026 h 1253"/>
                <a:gd name="T26" fmla="*/ 639 w 1809"/>
                <a:gd name="T27" fmla="*/ 84 h 1253"/>
                <a:gd name="T28" fmla="*/ 763 w 1809"/>
                <a:gd name="T29" fmla="*/ 145 h 1253"/>
                <a:gd name="T30" fmla="*/ 863 w 1809"/>
                <a:gd name="T31" fmla="*/ 221 h 1253"/>
                <a:gd name="T32" fmla="*/ 834 w 1809"/>
                <a:gd name="T33" fmla="*/ 208 h 1253"/>
                <a:gd name="T34" fmla="*/ 719 w 1809"/>
                <a:gd name="T35" fmla="*/ 182 h 1253"/>
                <a:gd name="T36" fmla="*/ 507 w 1809"/>
                <a:gd name="T37" fmla="*/ 711 h 1253"/>
                <a:gd name="T38" fmla="*/ 614 w 1809"/>
                <a:gd name="T39" fmla="*/ 706 h 1253"/>
                <a:gd name="T40" fmla="*/ 736 w 1809"/>
                <a:gd name="T41" fmla="*/ 730 h 1253"/>
                <a:gd name="T42" fmla="*/ 607 w 1809"/>
                <a:gd name="T43" fmla="*/ 539 h 1253"/>
                <a:gd name="T44" fmla="*/ 1505 w 1809"/>
                <a:gd name="T45" fmla="*/ 1136 h 1253"/>
                <a:gd name="T46" fmla="*/ 1613 w 1809"/>
                <a:gd name="T47" fmla="*/ 1002 h 1253"/>
                <a:gd name="T48" fmla="*/ 1472 w 1809"/>
                <a:gd name="T49" fmla="*/ 1164 h 1253"/>
                <a:gd name="T50" fmla="*/ 1525 w 1809"/>
                <a:gd name="T51" fmla="*/ 1142 h 1253"/>
                <a:gd name="T52" fmla="*/ 1556 w 1809"/>
                <a:gd name="T53" fmla="*/ 1172 h 1253"/>
                <a:gd name="T54" fmla="*/ 1387 w 1809"/>
                <a:gd name="T55" fmla="*/ 910 h 1253"/>
                <a:gd name="T56" fmla="*/ 1261 w 1809"/>
                <a:gd name="T57" fmla="*/ 1157 h 1253"/>
                <a:gd name="T58" fmla="*/ 1413 w 1809"/>
                <a:gd name="T59" fmla="*/ 934 h 1253"/>
                <a:gd name="T60" fmla="*/ 1378 w 1809"/>
                <a:gd name="T61" fmla="*/ 1052 h 1253"/>
                <a:gd name="T62" fmla="*/ 488 w 1809"/>
                <a:gd name="T63" fmla="*/ 85 h 1253"/>
                <a:gd name="T64" fmla="*/ 509 w 1809"/>
                <a:gd name="T65" fmla="*/ 112 h 1253"/>
                <a:gd name="T66" fmla="*/ 548 w 1809"/>
                <a:gd name="T67" fmla="*/ 1187 h 1253"/>
                <a:gd name="T68" fmla="*/ 472 w 1809"/>
                <a:gd name="T69" fmla="*/ 1122 h 1253"/>
                <a:gd name="T70" fmla="*/ 558 w 1809"/>
                <a:gd name="T71" fmla="*/ 1157 h 1253"/>
                <a:gd name="T72" fmla="*/ 287 w 1809"/>
                <a:gd name="T73" fmla="*/ 654 h 1253"/>
                <a:gd name="T74" fmla="*/ 416 w 1809"/>
                <a:gd name="T75" fmla="*/ 684 h 1253"/>
                <a:gd name="T76" fmla="*/ 1106 w 1809"/>
                <a:gd name="T77" fmla="*/ 147 h 1253"/>
                <a:gd name="T78" fmla="*/ 1229 w 1809"/>
                <a:gd name="T79" fmla="*/ 258 h 1253"/>
                <a:gd name="T80" fmla="*/ 1106 w 1809"/>
                <a:gd name="T81" fmla="*/ 96 h 1253"/>
                <a:gd name="T82" fmla="*/ 1219 w 1809"/>
                <a:gd name="T83" fmla="*/ 1077 h 1253"/>
                <a:gd name="T84" fmla="*/ 1214 w 1809"/>
                <a:gd name="T85" fmla="*/ 1157 h 1253"/>
                <a:gd name="T86" fmla="*/ 1150 w 1809"/>
                <a:gd name="T87" fmla="*/ 1092 h 1253"/>
                <a:gd name="T88" fmla="*/ 1139 w 1809"/>
                <a:gd name="T89" fmla="*/ 1070 h 1253"/>
                <a:gd name="T90" fmla="*/ 1659 w 1809"/>
                <a:gd name="T91" fmla="*/ 1031 h 1253"/>
                <a:gd name="T92" fmla="*/ 1714 w 1809"/>
                <a:gd name="T93" fmla="*/ 1155 h 1253"/>
                <a:gd name="T94" fmla="*/ 1760 w 1809"/>
                <a:gd name="T95" fmla="*/ 1030 h 1253"/>
                <a:gd name="T96" fmla="*/ 111 w 1809"/>
                <a:gd name="T97" fmla="*/ 569 h 1253"/>
                <a:gd name="T98" fmla="*/ 109 w 1809"/>
                <a:gd name="T99" fmla="*/ 460 h 1253"/>
                <a:gd name="T100" fmla="*/ 32 w 1809"/>
                <a:gd name="T101" fmla="*/ 704 h 1253"/>
                <a:gd name="T102" fmla="*/ 310 w 1809"/>
                <a:gd name="T103" fmla="*/ 1058 h 1253"/>
                <a:gd name="T104" fmla="*/ 431 w 1809"/>
                <a:gd name="T105" fmla="*/ 1044 h 1253"/>
                <a:gd name="T106" fmla="*/ 278 w 1809"/>
                <a:gd name="T107" fmla="*/ 1165 h 1253"/>
                <a:gd name="T108" fmla="*/ 261 w 1809"/>
                <a:gd name="T109" fmla="*/ 540 h 1253"/>
                <a:gd name="T110" fmla="*/ 150 w 1809"/>
                <a:gd name="T111" fmla="*/ 635 h 1253"/>
                <a:gd name="T112" fmla="*/ 994 w 1809"/>
                <a:gd name="T113" fmla="*/ 1185 h 1253"/>
                <a:gd name="T114" fmla="*/ 331 w 1809"/>
                <a:gd name="T115" fmla="*/ 176 h 1253"/>
                <a:gd name="T116" fmla="*/ 333 w 1809"/>
                <a:gd name="T117" fmla="*/ 109 h 1253"/>
                <a:gd name="T118" fmla="*/ 946 w 1809"/>
                <a:gd name="T119" fmla="*/ 234 h 1253"/>
                <a:gd name="T120" fmla="*/ 1022 w 1809"/>
                <a:gd name="T121" fmla="*/ 113 h 1253"/>
                <a:gd name="T122" fmla="*/ 949 w 1809"/>
                <a:gd name="T123" fmla="*/ 65 h 1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09" h="1253">
                  <a:moveTo>
                    <a:pt x="248" y="198"/>
                  </a:moveTo>
                  <a:cubicBezTo>
                    <a:pt x="248" y="211"/>
                    <a:pt x="248" y="224"/>
                    <a:pt x="249" y="237"/>
                  </a:cubicBezTo>
                  <a:cubicBezTo>
                    <a:pt x="249" y="245"/>
                    <a:pt x="246" y="249"/>
                    <a:pt x="240" y="253"/>
                  </a:cubicBezTo>
                  <a:cubicBezTo>
                    <a:pt x="231" y="260"/>
                    <a:pt x="220" y="264"/>
                    <a:pt x="209" y="268"/>
                  </a:cubicBezTo>
                  <a:cubicBezTo>
                    <a:pt x="179" y="279"/>
                    <a:pt x="148" y="280"/>
                    <a:pt x="118" y="275"/>
                  </a:cubicBezTo>
                  <a:cubicBezTo>
                    <a:pt x="86" y="269"/>
                    <a:pt x="58" y="252"/>
                    <a:pt x="39" y="224"/>
                  </a:cubicBezTo>
                  <a:cubicBezTo>
                    <a:pt x="24" y="203"/>
                    <a:pt x="18" y="180"/>
                    <a:pt x="15" y="155"/>
                  </a:cubicBezTo>
                  <a:cubicBezTo>
                    <a:pt x="11" y="135"/>
                    <a:pt x="15" y="115"/>
                    <a:pt x="19" y="97"/>
                  </a:cubicBezTo>
                  <a:cubicBezTo>
                    <a:pt x="26" y="68"/>
                    <a:pt x="42" y="44"/>
                    <a:pt x="68" y="27"/>
                  </a:cubicBezTo>
                  <a:cubicBezTo>
                    <a:pt x="87" y="14"/>
                    <a:pt x="109" y="6"/>
                    <a:pt x="133" y="5"/>
                  </a:cubicBezTo>
                  <a:cubicBezTo>
                    <a:pt x="149" y="4"/>
                    <a:pt x="165" y="5"/>
                    <a:pt x="181" y="6"/>
                  </a:cubicBezTo>
                  <a:cubicBezTo>
                    <a:pt x="204" y="8"/>
                    <a:pt x="225" y="20"/>
                    <a:pt x="243" y="35"/>
                  </a:cubicBezTo>
                  <a:cubicBezTo>
                    <a:pt x="246" y="37"/>
                    <a:pt x="246" y="40"/>
                    <a:pt x="244" y="43"/>
                  </a:cubicBezTo>
                  <a:cubicBezTo>
                    <a:pt x="242" y="47"/>
                    <a:pt x="239" y="52"/>
                    <a:pt x="236" y="55"/>
                  </a:cubicBezTo>
                  <a:cubicBezTo>
                    <a:pt x="226" y="65"/>
                    <a:pt x="224" y="65"/>
                    <a:pt x="206" y="54"/>
                  </a:cubicBezTo>
                  <a:cubicBezTo>
                    <a:pt x="193" y="46"/>
                    <a:pt x="180" y="40"/>
                    <a:pt x="165" y="41"/>
                  </a:cubicBezTo>
                  <a:cubicBezTo>
                    <a:pt x="151" y="41"/>
                    <a:pt x="137" y="39"/>
                    <a:pt x="124" y="42"/>
                  </a:cubicBezTo>
                  <a:cubicBezTo>
                    <a:pt x="104" y="46"/>
                    <a:pt x="87" y="57"/>
                    <a:pt x="75" y="74"/>
                  </a:cubicBezTo>
                  <a:cubicBezTo>
                    <a:pt x="56" y="99"/>
                    <a:pt x="51" y="129"/>
                    <a:pt x="55" y="159"/>
                  </a:cubicBezTo>
                  <a:cubicBezTo>
                    <a:pt x="60" y="189"/>
                    <a:pt x="73" y="214"/>
                    <a:pt x="98" y="230"/>
                  </a:cubicBezTo>
                  <a:cubicBezTo>
                    <a:pt x="109" y="237"/>
                    <a:pt x="121" y="242"/>
                    <a:pt x="135" y="241"/>
                  </a:cubicBezTo>
                  <a:cubicBezTo>
                    <a:pt x="146" y="241"/>
                    <a:pt x="158" y="241"/>
                    <a:pt x="169" y="241"/>
                  </a:cubicBezTo>
                  <a:cubicBezTo>
                    <a:pt x="182" y="242"/>
                    <a:pt x="193" y="235"/>
                    <a:pt x="205" y="232"/>
                  </a:cubicBezTo>
                  <a:cubicBezTo>
                    <a:pt x="210" y="231"/>
                    <a:pt x="211" y="227"/>
                    <a:pt x="211" y="224"/>
                  </a:cubicBezTo>
                  <a:cubicBezTo>
                    <a:pt x="211" y="210"/>
                    <a:pt x="211" y="196"/>
                    <a:pt x="211" y="183"/>
                  </a:cubicBezTo>
                  <a:cubicBezTo>
                    <a:pt x="211" y="177"/>
                    <a:pt x="207" y="175"/>
                    <a:pt x="202" y="175"/>
                  </a:cubicBezTo>
                  <a:cubicBezTo>
                    <a:pt x="193" y="175"/>
                    <a:pt x="184" y="175"/>
                    <a:pt x="175" y="175"/>
                  </a:cubicBezTo>
                  <a:cubicBezTo>
                    <a:pt x="171" y="175"/>
                    <a:pt x="168" y="174"/>
                    <a:pt x="166" y="171"/>
                  </a:cubicBezTo>
                  <a:cubicBezTo>
                    <a:pt x="163" y="163"/>
                    <a:pt x="164" y="154"/>
                    <a:pt x="166" y="146"/>
                  </a:cubicBezTo>
                  <a:cubicBezTo>
                    <a:pt x="167" y="142"/>
                    <a:pt x="171" y="142"/>
                    <a:pt x="175" y="142"/>
                  </a:cubicBezTo>
                  <a:cubicBezTo>
                    <a:pt x="196" y="142"/>
                    <a:pt x="217" y="142"/>
                    <a:pt x="238" y="142"/>
                  </a:cubicBezTo>
                  <a:cubicBezTo>
                    <a:pt x="247" y="142"/>
                    <a:pt x="248" y="148"/>
                    <a:pt x="248" y="155"/>
                  </a:cubicBezTo>
                  <a:cubicBezTo>
                    <a:pt x="249" y="169"/>
                    <a:pt x="248" y="183"/>
                    <a:pt x="248" y="198"/>
                  </a:cubicBezTo>
                  <a:close/>
                  <a:moveTo>
                    <a:pt x="884" y="1181"/>
                  </a:moveTo>
                  <a:cubicBezTo>
                    <a:pt x="889" y="1167"/>
                    <a:pt x="894" y="1152"/>
                    <a:pt x="898" y="1137"/>
                  </a:cubicBezTo>
                  <a:cubicBezTo>
                    <a:pt x="901" y="1127"/>
                    <a:pt x="905" y="1116"/>
                    <a:pt x="908" y="1106"/>
                  </a:cubicBezTo>
                  <a:cubicBezTo>
                    <a:pt x="911" y="1098"/>
                    <a:pt x="912" y="1089"/>
                    <a:pt x="916" y="1081"/>
                  </a:cubicBezTo>
                  <a:cubicBezTo>
                    <a:pt x="921" y="1072"/>
                    <a:pt x="923" y="1060"/>
                    <a:pt x="927" y="1050"/>
                  </a:cubicBezTo>
                  <a:cubicBezTo>
                    <a:pt x="932" y="1037"/>
                    <a:pt x="934" y="1023"/>
                    <a:pt x="940" y="1010"/>
                  </a:cubicBezTo>
                  <a:cubicBezTo>
                    <a:pt x="945" y="1001"/>
                    <a:pt x="941" y="995"/>
                    <a:pt x="931" y="995"/>
                  </a:cubicBezTo>
                  <a:cubicBezTo>
                    <a:pt x="927" y="995"/>
                    <a:pt x="922" y="995"/>
                    <a:pt x="918" y="995"/>
                  </a:cubicBezTo>
                  <a:cubicBezTo>
                    <a:pt x="913" y="995"/>
                    <a:pt x="908" y="997"/>
                    <a:pt x="907" y="1001"/>
                  </a:cubicBezTo>
                  <a:cubicBezTo>
                    <a:pt x="904" y="1008"/>
                    <a:pt x="900" y="1015"/>
                    <a:pt x="899" y="1023"/>
                  </a:cubicBezTo>
                  <a:cubicBezTo>
                    <a:pt x="897" y="1034"/>
                    <a:pt x="893" y="1045"/>
                    <a:pt x="889" y="1055"/>
                  </a:cubicBezTo>
                  <a:cubicBezTo>
                    <a:pt x="887" y="1064"/>
                    <a:pt x="885" y="1072"/>
                    <a:pt x="882" y="1080"/>
                  </a:cubicBezTo>
                  <a:cubicBezTo>
                    <a:pt x="878" y="1091"/>
                    <a:pt x="874" y="1103"/>
                    <a:pt x="871" y="1115"/>
                  </a:cubicBezTo>
                  <a:cubicBezTo>
                    <a:pt x="870" y="1118"/>
                    <a:pt x="871" y="1124"/>
                    <a:pt x="866" y="1124"/>
                  </a:cubicBezTo>
                  <a:cubicBezTo>
                    <a:pt x="861" y="1125"/>
                    <a:pt x="859" y="1120"/>
                    <a:pt x="858" y="1115"/>
                  </a:cubicBezTo>
                  <a:cubicBezTo>
                    <a:pt x="856" y="1110"/>
                    <a:pt x="856" y="1104"/>
                    <a:pt x="854" y="1099"/>
                  </a:cubicBezTo>
                  <a:cubicBezTo>
                    <a:pt x="848" y="1080"/>
                    <a:pt x="841" y="1062"/>
                    <a:pt x="835" y="1044"/>
                  </a:cubicBezTo>
                  <a:cubicBezTo>
                    <a:pt x="831" y="1030"/>
                    <a:pt x="828" y="1016"/>
                    <a:pt x="822" y="1003"/>
                  </a:cubicBezTo>
                  <a:cubicBezTo>
                    <a:pt x="819" y="997"/>
                    <a:pt x="814" y="994"/>
                    <a:pt x="808" y="994"/>
                  </a:cubicBezTo>
                  <a:cubicBezTo>
                    <a:pt x="799" y="993"/>
                    <a:pt x="791" y="993"/>
                    <a:pt x="787" y="1001"/>
                  </a:cubicBezTo>
                  <a:cubicBezTo>
                    <a:pt x="783" y="1008"/>
                    <a:pt x="780" y="1015"/>
                    <a:pt x="779" y="1022"/>
                  </a:cubicBezTo>
                  <a:cubicBezTo>
                    <a:pt x="778" y="1034"/>
                    <a:pt x="772" y="1044"/>
                    <a:pt x="769" y="1055"/>
                  </a:cubicBezTo>
                  <a:cubicBezTo>
                    <a:pt x="762" y="1076"/>
                    <a:pt x="754" y="1096"/>
                    <a:pt x="749" y="1117"/>
                  </a:cubicBezTo>
                  <a:cubicBezTo>
                    <a:pt x="748" y="1120"/>
                    <a:pt x="747" y="1124"/>
                    <a:pt x="742" y="1124"/>
                  </a:cubicBezTo>
                  <a:cubicBezTo>
                    <a:pt x="737" y="1124"/>
                    <a:pt x="737" y="1120"/>
                    <a:pt x="736" y="1116"/>
                  </a:cubicBezTo>
                  <a:cubicBezTo>
                    <a:pt x="734" y="1104"/>
                    <a:pt x="730" y="1092"/>
                    <a:pt x="726" y="1080"/>
                  </a:cubicBezTo>
                  <a:cubicBezTo>
                    <a:pt x="720" y="1061"/>
                    <a:pt x="714" y="1040"/>
                    <a:pt x="708" y="1020"/>
                  </a:cubicBezTo>
                  <a:cubicBezTo>
                    <a:pt x="703" y="1000"/>
                    <a:pt x="698" y="994"/>
                    <a:pt x="676" y="995"/>
                  </a:cubicBezTo>
                  <a:cubicBezTo>
                    <a:pt x="665" y="996"/>
                    <a:pt x="661" y="1001"/>
                    <a:pt x="667" y="1011"/>
                  </a:cubicBezTo>
                  <a:cubicBezTo>
                    <a:pt x="669" y="1016"/>
                    <a:pt x="670" y="1021"/>
                    <a:pt x="672" y="1025"/>
                  </a:cubicBezTo>
                  <a:cubicBezTo>
                    <a:pt x="675" y="1035"/>
                    <a:pt x="678" y="1046"/>
                    <a:pt x="681" y="1055"/>
                  </a:cubicBezTo>
                  <a:cubicBezTo>
                    <a:pt x="685" y="1068"/>
                    <a:pt x="689" y="1080"/>
                    <a:pt x="693" y="1092"/>
                  </a:cubicBezTo>
                  <a:cubicBezTo>
                    <a:pt x="697" y="1103"/>
                    <a:pt x="699" y="1113"/>
                    <a:pt x="703" y="1124"/>
                  </a:cubicBezTo>
                  <a:cubicBezTo>
                    <a:pt x="707" y="1136"/>
                    <a:pt x="711" y="1147"/>
                    <a:pt x="715" y="1160"/>
                  </a:cubicBezTo>
                  <a:cubicBezTo>
                    <a:pt x="717" y="1168"/>
                    <a:pt x="720" y="1176"/>
                    <a:pt x="724" y="1183"/>
                  </a:cubicBezTo>
                  <a:cubicBezTo>
                    <a:pt x="728" y="1189"/>
                    <a:pt x="752" y="1185"/>
                    <a:pt x="757" y="1180"/>
                  </a:cubicBezTo>
                  <a:cubicBezTo>
                    <a:pt x="764" y="1173"/>
                    <a:pt x="762" y="1163"/>
                    <a:pt x="766" y="1156"/>
                  </a:cubicBezTo>
                  <a:cubicBezTo>
                    <a:pt x="774" y="1140"/>
                    <a:pt x="778" y="1122"/>
                    <a:pt x="784" y="1105"/>
                  </a:cubicBezTo>
                  <a:cubicBezTo>
                    <a:pt x="789" y="1088"/>
                    <a:pt x="796" y="1072"/>
                    <a:pt x="800" y="1054"/>
                  </a:cubicBezTo>
                  <a:cubicBezTo>
                    <a:pt x="800" y="1053"/>
                    <a:pt x="801" y="1050"/>
                    <a:pt x="803" y="1050"/>
                  </a:cubicBezTo>
                  <a:cubicBezTo>
                    <a:pt x="806" y="1050"/>
                    <a:pt x="806" y="1052"/>
                    <a:pt x="807" y="1055"/>
                  </a:cubicBezTo>
                  <a:cubicBezTo>
                    <a:pt x="807" y="1060"/>
                    <a:pt x="810" y="1066"/>
                    <a:pt x="811" y="1071"/>
                  </a:cubicBezTo>
                  <a:cubicBezTo>
                    <a:pt x="814" y="1081"/>
                    <a:pt x="818" y="1090"/>
                    <a:pt x="821" y="1099"/>
                  </a:cubicBezTo>
                  <a:cubicBezTo>
                    <a:pt x="824" y="1110"/>
                    <a:pt x="827" y="1120"/>
                    <a:pt x="831" y="1131"/>
                  </a:cubicBezTo>
                  <a:cubicBezTo>
                    <a:pt x="834" y="1142"/>
                    <a:pt x="839" y="1153"/>
                    <a:pt x="842" y="1164"/>
                  </a:cubicBezTo>
                  <a:cubicBezTo>
                    <a:pt x="846" y="1179"/>
                    <a:pt x="850" y="1188"/>
                    <a:pt x="869" y="1185"/>
                  </a:cubicBezTo>
                  <a:cubicBezTo>
                    <a:pt x="873" y="1184"/>
                    <a:pt x="881" y="1189"/>
                    <a:pt x="884" y="1181"/>
                  </a:cubicBezTo>
                  <a:close/>
                  <a:moveTo>
                    <a:pt x="33" y="1051"/>
                  </a:moveTo>
                  <a:cubicBezTo>
                    <a:pt x="33" y="1087"/>
                    <a:pt x="33" y="1124"/>
                    <a:pt x="33" y="1160"/>
                  </a:cubicBezTo>
                  <a:cubicBezTo>
                    <a:pt x="33" y="1188"/>
                    <a:pt x="29" y="1184"/>
                    <a:pt x="58" y="1185"/>
                  </a:cubicBezTo>
                  <a:cubicBezTo>
                    <a:pt x="72" y="1185"/>
                    <a:pt x="73" y="1184"/>
                    <a:pt x="73" y="1170"/>
                  </a:cubicBezTo>
                  <a:cubicBezTo>
                    <a:pt x="73" y="1138"/>
                    <a:pt x="73" y="1107"/>
                    <a:pt x="73" y="1076"/>
                  </a:cubicBezTo>
                  <a:cubicBezTo>
                    <a:pt x="73" y="1071"/>
                    <a:pt x="72" y="1067"/>
                    <a:pt x="78" y="1065"/>
                  </a:cubicBezTo>
                  <a:cubicBezTo>
                    <a:pt x="91" y="1062"/>
                    <a:pt x="102" y="1067"/>
                    <a:pt x="110" y="1076"/>
                  </a:cubicBezTo>
                  <a:cubicBezTo>
                    <a:pt x="112" y="1080"/>
                    <a:pt x="115" y="1083"/>
                    <a:pt x="118" y="1086"/>
                  </a:cubicBezTo>
                  <a:cubicBezTo>
                    <a:pt x="132" y="1103"/>
                    <a:pt x="146" y="1119"/>
                    <a:pt x="161" y="1136"/>
                  </a:cubicBezTo>
                  <a:cubicBezTo>
                    <a:pt x="173" y="1150"/>
                    <a:pt x="186" y="1165"/>
                    <a:pt x="198" y="1179"/>
                  </a:cubicBezTo>
                  <a:cubicBezTo>
                    <a:pt x="207" y="1188"/>
                    <a:pt x="218" y="1184"/>
                    <a:pt x="228" y="1185"/>
                  </a:cubicBezTo>
                  <a:cubicBezTo>
                    <a:pt x="233" y="1185"/>
                    <a:pt x="241" y="1188"/>
                    <a:pt x="244" y="1182"/>
                  </a:cubicBezTo>
                  <a:cubicBezTo>
                    <a:pt x="246" y="1178"/>
                    <a:pt x="239" y="1173"/>
                    <a:pt x="235" y="1169"/>
                  </a:cubicBezTo>
                  <a:cubicBezTo>
                    <a:pt x="206" y="1133"/>
                    <a:pt x="176" y="1098"/>
                    <a:pt x="146" y="1062"/>
                  </a:cubicBezTo>
                  <a:cubicBezTo>
                    <a:pt x="141" y="1056"/>
                    <a:pt x="131" y="1052"/>
                    <a:pt x="132" y="1044"/>
                  </a:cubicBezTo>
                  <a:cubicBezTo>
                    <a:pt x="132" y="1036"/>
                    <a:pt x="142" y="1032"/>
                    <a:pt x="147" y="1026"/>
                  </a:cubicBezTo>
                  <a:cubicBezTo>
                    <a:pt x="164" y="1006"/>
                    <a:pt x="182" y="988"/>
                    <a:pt x="198" y="968"/>
                  </a:cubicBezTo>
                  <a:cubicBezTo>
                    <a:pt x="209" y="954"/>
                    <a:pt x="221" y="942"/>
                    <a:pt x="234" y="929"/>
                  </a:cubicBezTo>
                  <a:cubicBezTo>
                    <a:pt x="236" y="926"/>
                    <a:pt x="238" y="923"/>
                    <a:pt x="237" y="920"/>
                  </a:cubicBezTo>
                  <a:cubicBezTo>
                    <a:pt x="235" y="915"/>
                    <a:pt x="231" y="917"/>
                    <a:pt x="228" y="917"/>
                  </a:cubicBezTo>
                  <a:cubicBezTo>
                    <a:pt x="224" y="918"/>
                    <a:pt x="221" y="918"/>
                    <a:pt x="217" y="918"/>
                  </a:cubicBezTo>
                  <a:cubicBezTo>
                    <a:pt x="204" y="917"/>
                    <a:pt x="193" y="922"/>
                    <a:pt x="185" y="931"/>
                  </a:cubicBezTo>
                  <a:cubicBezTo>
                    <a:pt x="172" y="946"/>
                    <a:pt x="158" y="961"/>
                    <a:pt x="145" y="977"/>
                  </a:cubicBezTo>
                  <a:cubicBezTo>
                    <a:pt x="131" y="993"/>
                    <a:pt x="117" y="1010"/>
                    <a:pt x="102" y="1026"/>
                  </a:cubicBezTo>
                  <a:cubicBezTo>
                    <a:pt x="96" y="1032"/>
                    <a:pt x="87" y="1037"/>
                    <a:pt x="78" y="1034"/>
                  </a:cubicBezTo>
                  <a:cubicBezTo>
                    <a:pt x="70" y="1030"/>
                    <a:pt x="73" y="1021"/>
                    <a:pt x="73" y="1015"/>
                  </a:cubicBezTo>
                  <a:cubicBezTo>
                    <a:pt x="73" y="991"/>
                    <a:pt x="73" y="967"/>
                    <a:pt x="73" y="944"/>
                  </a:cubicBezTo>
                  <a:cubicBezTo>
                    <a:pt x="73" y="916"/>
                    <a:pt x="75" y="917"/>
                    <a:pt x="46" y="918"/>
                  </a:cubicBezTo>
                  <a:cubicBezTo>
                    <a:pt x="33" y="918"/>
                    <a:pt x="33" y="918"/>
                    <a:pt x="33" y="931"/>
                  </a:cubicBezTo>
                  <a:cubicBezTo>
                    <a:pt x="33" y="971"/>
                    <a:pt x="33" y="1011"/>
                    <a:pt x="33" y="1051"/>
                  </a:cubicBezTo>
                  <a:cubicBezTo>
                    <a:pt x="33" y="1051"/>
                    <a:pt x="33" y="1051"/>
                    <a:pt x="33" y="1051"/>
                  </a:cubicBezTo>
                  <a:close/>
                  <a:moveTo>
                    <a:pt x="639" y="84"/>
                  </a:moveTo>
                  <a:cubicBezTo>
                    <a:pt x="627" y="84"/>
                    <a:pt x="626" y="84"/>
                    <a:pt x="629" y="95"/>
                  </a:cubicBezTo>
                  <a:cubicBezTo>
                    <a:pt x="634" y="113"/>
                    <a:pt x="640" y="131"/>
                    <a:pt x="646" y="148"/>
                  </a:cubicBezTo>
                  <a:cubicBezTo>
                    <a:pt x="652" y="166"/>
                    <a:pt x="658" y="185"/>
                    <a:pt x="664" y="203"/>
                  </a:cubicBezTo>
                  <a:cubicBezTo>
                    <a:pt x="671" y="223"/>
                    <a:pt x="676" y="244"/>
                    <a:pt x="684" y="264"/>
                  </a:cubicBezTo>
                  <a:cubicBezTo>
                    <a:pt x="688" y="274"/>
                    <a:pt x="694" y="274"/>
                    <a:pt x="702" y="274"/>
                  </a:cubicBezTo>
                  <a:cubicBezTo>
                    <a:pt x="711" y="274"/>
                    <a:pt x="719" y="272"/>
                    <a:pt x="723" y="263"/>
                  </a:cubicBezTo>
                  <a:cubicBezTo>
                    <a:pt x="733" y="236"/>
                    <a:pt x="741" y="208"/>
                    <a:pt x="750" y="181"/>
                  </a:cubicBezTo>
                  <a:cubicBezTo>
                    <a:pt x="754" y="169"/>
                    <a:pt x="757" y="156"/>
                    <a:pt x="763" y="145"/>
                  </a:cubicBezTo>
                  <a:cubicBezTo>
                    <a:pt x="764" y="143"/>
                    <a:pt x="764" y="140"/>
                    <a:pt x="767" y="140"/>
                  </a:cubicBezTo>
                  <a:cubicBezTo>
                    <a:pt x="770" y="140"/>
                    <a:pt x="770" y="143"/>
                    <a:pt x="771" y="145"/>
                  </a:cubicBezTo>
                  <a:cubicBezTo>
                    <a:pt x="771" y="156"/>
                    <a:pt x="777" y="165"/>
                    <a:pt x="780" y="175"/>
                  </a:cubicBezTo>
                  <a:cubicBezTo>
                    <a:pt x="782" y="184"/>
                    <a:pt x="785" y="193"/>
                    <a:pt x="788" y="201"/>
                  </a:cubicBezTo>
                  <a:cubicBezTo>
                    <a:pt x="794" y="219"/>
                    <a:pt x="801" y="237"/>
                    <a:pt x="806" y="255"/>
                  </a:cubicBezTo>
                  <a:cubicBezTo>
                    <a:pt x="811" y="272"/>
                    <a:pt x="825" y="280"/>
                    <a:pt x="842" y="273"/>
                  </a:cubicBezTo>
                  <a:cubicBezTo>
                    <a:pt x="845" y="271"/>
                    <a:pt x="847" y="269"/>
                    <a:pt x="848" y="266"/>
                  </a:cubicBezTo>
                  <a:cubicBezTo>
                    <a:pt x="853" y="251"/>
                    <a:pt x="859" y="236"/>
                    <a:pt x="863" y="221"/>
                  </a:cubicBezTo>
                  <a:cubicBezTo>
                    <a:pt x="867" y="202"/>
                    <a:pt x="875" y="185"/>
                    <a:pt x="880" y="166"/>
                  </a:cubicBezTo>
                  <a:cubicBezTo>
                    <a:pt x="886" y="144"/>
                    <a:pt x="895" y="123"/>
                    <a:pt x="900" y="101"/>
                  </a:cubicBezTo>
                  <a:cubicBezTo>
                    <a:pt x="901" y="96"/>
                    <a:pt x="909" y="91"/>
                    <a:pt x="904" y="86"/>
                  </a:cubicBezTo>
                  <a:cubicBezTo>
                    <a:pt x="900" y="81"/>
                    <a:pt x="892" y="84"/>
                    <a:pt x="886" y="84"/>
                  </a:cubicBezTo>
                  <a:cubicBezTo>
                    <a:pt x="885" y="84"/>
                    <a:pt x="883" y="84"/>
                    <a:pt x="881" y="84"/>
                  </a:cubicBezTo>
                  <a:cubicBezTo>
                    <a:pt x="875" y="84"/>
                    <a:pt x="872" y="86"/>
                    <a:pt x="869" y="91"/>
                  </a:cubicBezTo>
                  <a:cubicBezTo>
                    <a:pt x="860" y="110"/>
                    <a:pt x="856" y="131"/>
                    <a:pt x="850" y="151"/>
                  </a:cubicBezTo>
                  <a:cubicBezTo>
                    <a:pt x="844" y="170"/>
                    <a:pt x="836" y="188"/>
                    <a:pt x="834" y="208"/>
                  </a:cubicBezTo>
                  <a:cubicBezTo>
                    <a:pt x="833" y="211"/>
                    <a:pt x="831" y="214"/>
                    <a:pt x="827" y="214"/>
                  </a:cubicBezTo>
                  <a:cubicBezTo>
                    <a:pt x="823" y="214"/>
                    <a:pt x="822" y="210"/>
                    <a:pt x="822" y="207"/>
                  </a:cubicBezTo>
                  <a:cubicBezTo>
                    <a:pt x="817" y="188"/>
                    <a:pt x="811" y="170"/>
                    <a:pt x="805" y="152"/>
                  </a:cubicBezTo>
                  <a:cubicBezTo>
                    <a:pt x="799" y="133"/>
                    <a:pt x="794" y="114"/>
                    <a:pt x="786" y="96"/>
                  </a:cubicBezTo>
                  <a:cubicBezTo>
                    <a:pt x="783" y="87"/>
                    <a:pt x="779" y="84"/>
                    <a:pt x="770" y="84"/>
                  </a:cubicBezTo>
                  <a:cubicBezTo>
                    <a:pt x="761" y="84"/>
                    <a:pt x="752" y="82"/>
                    <a:pt x="748" y="94"/>
                  </a:cubicBezTo>
                  <a:cubicBezTo>
                    <a:pt x="744" y="109"/>
                    <a:pt x="738" y="123"/>
                    <a:pt x="734" y="138"/>
                  </a:cubicBezTo>
                  <a:cubicBezTo>
                    <a:pt x="729" y="153"/>
                    <a:pt x="724" y="167"/>
                    <a:pt x="719" y="182"/>
                  </a:cubicBezTo>
                  <a:cubicBezTo>
                    <a:pt x="716" y="192"/>
                    <a:pt x="715" y="203"/>
                    <a:pt x="708" y="212"/>
                  </a:cubicBezTo>
                  <a:cubicBezTo>
                    <a:pt x="707" y="214"/>
                    <a:pt x="707" y="217"/>
                    <a:pt x="704" y="217"/>
                  </a:cubicBezTo>
                  <a:cubicBezTo>
                    <a:pt x="701" y="217"/>
                    <a:pt x="701" y="213"/>
                    <a:pt x="700" y="211"/>
                  </a:cubicBezTo>
                  <a:cubicBezTo>
                    <a:pt x="699" y="198"/>
                    <a:pt x="694" y="186"/>
                    <a:pt x="690" y="174"/>
                  </a:cubicBezTo>
                  <a:cubicBezTo>
                    <a:pt x="684" y="153"/>
                    <a:pt x="677" y="131"/>
                    <a:pt x="672" y="110"/>
                  </a:cubicBezTo>
                  <a:cubicBezTo>
                    <a:pt x="667" y="88"/>
                    <a:pt x="663" y="84"/>
                    <a:pt x="645" y="84"/>
                  </a:cubicBezTo>
                  <a:cubicBezTo>
                    <a:pt x="643" y="84"/>
                    <a:pt x="641" y="84"/>
                    <a:pt x="639" y="84"/>
                  </a:cubicBezTo>
                  <a:close/>
                  <a:moveTo>
                    <a:pt x="507" y="711"/>
                  </a:moveTo>
                  <a:cubicBezTo>
                    <a:pt x="507" y="730"/>
                    <a:pt x="507" y="730"/>
                    <a:pt x="526" y="730"/>
                  </a:cubicBezTo>
                  <a:cubicBezTo>
                    <a:pt x="539" y="730"/>
                    <a:pt x="541" y="729"/>
                    <a:pt x="541" y="715"/>
                  </a:cubicBezTo>
                  <a:cubicBezTo>
                    <a:pt x="541" y="677"/>
                    <a:pt x="541" y="638"/>
                    <a:pt x="540" y="600"/>
                  </a:cubicBezTo>
                  <a:cubicBezTo>
                    <a:pt x="540" y="593"/>
                    <a:pt x="543" y="587"/>
                    <a:pt x="548" y="582"/>
                  </a:cubicBezTo>
                  <a:cubicBezTo>
                    <a:pt x="553" y="576"/>
                    <a:pt x="559" y="573"/>
                    <a:pt x="564" y="569"/>
                  </a:cubicBezTo>
                  <a:cubicBezTo>
                    <a:pt x="574" y="564"/>
                    <a:pt x="594" y="566"/>
                    <a:pt x="602" y="574"/>
                  </a:cubicBezTo>
                  <a:cubicBezTo>
                    <a:pt x="611" y="582"/>
                    <a:pt x="614" y="592"/>
                    <a:pt x="614" y="604"/>
                  </a:cubicBezTo>
                  <a:cubicBezTo>
                    <a:pt x="614" y="638"/>
                    <a:pt x="614" y="672"/>
                    <a:pt x="614" y="706"/>
                  </a:cubicBezTo>
                  <a:cubicBezTo>
                    <a:pt x="614" y="730"/>
                    <a:pt x="614" y="730"/>
                    <a:pt x="638" y="730"/>
                  </a:cubicBezTo>
                  <a:cubicBezTo>
                    <a:pt x="650" y="730"/>
                    <a:pt x="650" y="730"/>
                    <a:pt x="650" y="717"/>
                  </a:cubicBezTo>
                  <a:cubicBezTo>
                    <a:pt x="650" y="684"/>
                    <a:pt x="650" y="650"/>
                    <a:pt x="650" y="617"/>
                  </a:cubicBezTo>
                  <a:cubicBezTo>
                    <a:pt x="650" y="606"/>
                    <a:pt x="651" y="597"/>
                    <a:pt x="657" y="586"/>
                  </a:cubicBezTo>
                  <a:cubicBezTo>
                    <a:pt x="667" y="565"/>
                    <a:pt x="703" y="560"/>
                    <a:pt x="716" y="579"/>
                  </a:cubicBezTo>
                  <a:cubicBezTo>
                    <a:pt x="723" y="588"/>
                    <a:pt x="724" y="598"/>
                    <a:pt x="724" y="609"/>
                  </a:cubicBezTo>
                  <a:cubicBezTo>
                    <a:pt x="724" y="645"/>
                    <a:pt x="724" y="682"/>
                    <a:pt x="724" y="718"/>
                  </a:cubicBezTo>
                  <a:cubicBezTo>
                    <a:pt x="724" y="727"/>
                    <a:pt x="727" y="731"/>
                    <a:pt x="736" y="730"/>
                  </a:cubicBezTo>
                  <a:cubicBezTo>
                    <a:pt x="738" y="730"/>
                    <a:pt x="741" y="730"/>
                    <a:pt x="743" y="730"/>
                  </a:cubicBezTo>
                  <a:cubicBezTo>
                    <a:pt x="758" y="730"/>
                    <a:pt x="759" y="729"/>
                    <a:pt x="759" y="715"/>
                  </a:cubicBezTo>
                  <a:cubicBezTo>
                    <a:pt x="759" y="677"/>
                    <a:pt x="758" y="639"/>
                    <a:pt x="759" y="601"/>
                  </a:cubicBezTo>
                  <a:cubicBezTo>
                    <a:pt x="759" y="571"/>
                    <a:pt x="742" y="540"/>
                    <a:pt x="704" y="538"/>
                  </a:cubicBezTo>
                  <a:cubicBezTo>
                    <a:pt x="681" y="536"/>
                    <a:pt x="661" y="542"/>
                    <a:pt x="646" y="560"/>
                  </a:cubicBezTo>
                  <a:cubicBezTo>
                    <a:pt x="638" y="569"/>
                    <a:pt x="638" y="569"/>
                    <a:pt x="631" y="559"/>
                  </a:cubicBezTo>
                  <a:cubicBezTo>
                    <a:pt x="630" y="558"/>
                    <a:pt x="630" y="557"/>
                    <a:pt x="629" y="556"/>
                  </a:cubicBezTo>
                  <a:cubicBezTo>
                    <a:pt x="623" y="548"/>
                    <a:pt x="616" y="541"/>
                    <a:pt x="607" y="539"/>
                  </a:cubicBezTo>
                  <a:cubicBezTo>
                    <a:pt x="584" y="534"/>
                    <a:pt x="563" y="539"/>
                    <a:pt x="545" y="555"/>
                  </a:cubicBezTo>
                  <a:cubicBezTo>
                    <a:pt x="540" y="559"/>
                    <a:pt x="537" y="561"/>
                    <a:pt x="537" y="552"/>
                  </a:cubicBezTo>
                  <a:cubicBezTo>
                    <a:pt x="536" y="543"/>
                    <a:pt x="526" y="538"/>
                    <a:pt x="515" y="539"/>
                  </a:cubicBezTo>
                  <a:cubicBezTo>
                    <a:pt x="506" y="540"/>
                    <a:pt x="507" y="546"/>
                    <a:pt x="507" y="552"/>
                  </a:cubicBezTo>
                  <a:cubicBezTo>
                    <a:pt x="507" y="580"/>
                    <a:pt x="507" y="607"/>
                    <a:pt x="507" y="634"/>
                  </a:cubicBezTo>
                  <a:cubicBezTo>
                    <a:pt x="507" y="660"/>
                    <a:pt x="507" y="685"/>
                    <a:pt x="507" y="711"/>
                  </a:cubicBezTo>
                  <a:close/>
                  <a:moveTo>
                    <a:pt x="1525" y="1142"/>
                  </a:moveTo>
                  <a:cubicBezTo>
                    <a:pt x="1517" y="1143"/>
                    <a:pt x="1511" y="1141"/>
                    <a:pt x="1505" y="1136"/>
                  </a:cubicBezTo>
                  <a:cubicBezTo>
                    <a:pt x="1501" y="1133"/>
                    <a:pt x="1495" y="1130"/>
                    <a:pt x="1498" y="1124"/>
                  </a:cubicBezTo>
                  <a:cubicBezTo>
                    <a:pt x="1500" y="1118"/>
                    <a:pt x="1504" y="1114"/>
                    <a:pt x="1512" y="1114"/>
                  </a:cubicBezTo>
                  <a:cubicBezTo>
                    <a:pt x="1521" y="1115"/>
                    <a:pt x="1530" y="1114"/>
                    <a:pt x="1538" y="1115"/>
                  </a:cubicBezTo>
                  <a:cubicBezTo>
                    <a:pt x="1573" y="1117"/>
                    <a:pt x="1610" y="1084"/>
                    <a:pt x="1602" y="1044"/>
                  </a:cubicBezTo>
                  <a:cubicBezTo>
                    <a:pt x="1600" y="1035"/>
                    <a:pt x="1599" y="1028"/>
                    <a:pt x="1611" y="1027"/>
                  </a:cubicBezTo>
                  <a:cubicBezTo>
                    <a:pt x="1614" y="1027"/>
                    <a:pt x="1617" y="1024"/>
                    <a:pt x="1619" y="1023"/>
                  </a:cubicBezTo>
                  <a:cubicBezTo>
                    <a:pt x="1626" y="1019"/>
                    <a:pt x="1624" y="1013"/>
                    <a:pt x="1623" y="1008"/>
                  </a:cubicBezTo>
                  <a:cubicBezTo>
                    <a:pt x="1623" y="1002"/>
                    <a:pt x="1618" y="1003"/>
                    <a:pt x="1613" y="1002"/>
                  </a:cubicBezTo>
                  <a:cubicBezTo>
                    <a:pt x="1598" y="1002"/>
                    <a:pt x="1582" y="1004"/>
                    <a:pt x="1567" y="1000"/>
                  </a:cubicBezTo>
                  <a:cubicBezTo>
                    <a:pt x="1560" y="999"/>
                    <a:pt x="1554" y="993"/>
                    <a:pt x="1546" y="993"/>
                  </a:cubicBezTo>
                  <a:cubicBezTo>
                    <a:pt x="1536" y="994"/>
                    <a:pt x="1525" y="992"/>
                    <a:pt x="1515" y="993"/>
                  </a:cubicBezTo>
                  <a:cubicBezTo>
                    <a:pt x="1490" y="997"/>
                    <a:pt x="1469" y="1010"/>
                    <a:pt x="1462" y="1034"/>
                  </a:cubicBezTo>
                  <a:cubicBezTo>
                    <a:pt x="1455" y="1056"/>
                    <a:pt x="1457" y="1079"/>
                    <a:pt x="1476" y="1096"/>
                  </a:cubicBezTo>
                  <a:cubicBezTo>
                    <a:pt x="1483" y="1103"/>
                    <a:pt x="1483" y="1107"/>
                    <a:pt x="1476" y="1113"/>
                  </a:cubicBezTo>
                  <a:cubicBezTo>
                    <a:pt x="1462" y="1126"/>
                    <a:pt x="1462" y="1142"/>
                    <a:pt x="1473" y="1157"/>
                  </a:cubicBezTo>
                  <a:cubicBezTo>
                    <a:pt x="1476" y="1160"/>
                    <a:pt x="1476" y="1162"/>
                    <a:pt x="1472" y="1164"/>
                  </a:cubicBezTo>
                  <a:cubicBezTo>
                    <a:pt x="1470" y="1166"/>
                    <a:pt x="1468" y="1168"/>
                    <a:pt x="1466" y="1170"/>
                  </a:cubicBezTo>
                  <a:cubicBezTo>
                    <a:pt x="1449" y="1183"/>
                    <a:pt x="1444" y="1201"/>
                    <a:pt x="1454" y="1218"/>
                  </a:cubicBezTo>
                  <a:cubicBezTo>
                    <a:pt x="1464" y="1235"/>
                    <a:pt x="1479" y="1246"/>
                    <a:pt x="1499" y="1249"/>
                  </a:cubicBezTo>
                  <a:cubicBezTo>
                    <a:pt x="1517" y="1252"/>
                    <a:pt x="1535" y="1253"/>
                    <a:pt x="1553" y="1250"/>
                  </a:cubicBezTo>
                  <a:cubicBezTo>
                    <a:pt x="1584" y="1245"/>
                    <a:pt x="1607" y="1232"/>
                    <a:pt x="1619" y="1200"/>
                  </a:cubicBezTo>
                  <a:cubicBezTo>
                    <a:pt x="1627" y="1180"/>
                    <a:pt x="1611" y="1155"/>
                    <a:pt x="1593" y="1148"/>
                  </a:cubicBezTo>
                  <a:cubicBezTo>
                    <a:pt x="1578" y="1142"/>
                    <a:pt x="1563" y="1143"/>
                    <a:pt x="1549" y="1142"/>
                  </a:cubicBezTo>
                  <a:cubicBezTo>
                    <a:pt x="1540" y="1142"/>
                    <a:pt x="1532" y="1142"/>
                    <a:pt x="1525" y="1142"/>
                  </a:cubicBezTo>
                  <a:close/>
                  <a:moveTo>
                    <a:pt x="1556" y="1172"/>
                  </a:moveTo>
                  <a:cubicBezTo>
                    <a:pt x="1566" y="1172"/>
                    <a:pt x="1576" y="1176"/>
                    <a:pt x="1583" y="1183"/>
                  </a:cubicBezTo>
                  <a:cubicBezTo>
                    <a:pt x="1589" y="1190"/>
                    <a:pt x="1589" y="1198"/>
                    <a:pt x="1583" y="1205"/>
                  </a:cubicBezTo>
                  <a:cubicBezTo>
                    <a:pt x="1575" y="1215"/>
                    <a:pt x="1565" y="1220"/>
                    <a:pt x="1553" y="1223"/>
                  </a:cubicBezTo>
                  <a:cubicBezTo>
                    <a:pt x="1534" y="1228"/>
                    <a:pt x="1516" y="1225"/>
                    <a:pt x="1499" y="1219"/>
                  </a:cubicBezTo>
                  <a:cubicBezTo>
                    <a:pt x="1486" y="1214"/>
                    <a:pt x="1479" y="1203"/>
                    <a:pt x="1482" y="1193"/>
                  </a:cubicBezTo>
                  <a:cubicBezTo>
                    <a:pt x="1485" y="1182"/>
                    <a:pt x="1496" y="1168"/>
                    <a:pt x="1514" y="1171"/>
                  </a:cubicBezTo>
                  <a:cubicBezTo>
                    <a:pt x="1526" y="1173"/>
                    <a:pt x="1541" y="1171"/>
                    <a:pt x="1556" y="1172"/>
                  </a:cubicBezTo>
                  <a:close/>
                  <a:moveTo>
                    <a:pt x="1531" y="1019"/>
                  </a:moveTo>
                  <a:cubicBezTo>
                    <a:pt x="1553" y="1017"/>
                    <a:pt x="1570" y="1033"/>
                    <a:pt x="1570" y="1052"/>
                  </a:cubicBezTo>
                  <a:cubicBezTo>
                    <a:pt x="1570" y="1075"/>
                    <a:pt x="1554" y="1093"/>
                    <a:pt x="1532" y="1091"/>
                  </a:cubicBezTo>
                  <a:cubicBezTo>
                    <a:pt x="1508" y="1089"/>
                    <a:pt x="1494" y="1082"/>
                    <a:pt x="1493" y="1053"/>
                  </a:cubicBezTo>
                  <a:cubicBezTo>
                    <a:pt x="1494" y="1029"/>
                    <a:pt x="1508" y="1020"/>
                    <a:pt x="1531" y="1019"/>
                  </a:cubicBezTo>
                  <a:close/>
                  <a:moveTo>
                    <a:pt x="1413" y="934"/>
                  </a:moveTo>
                  <a:cubicBezTo>
                    <a:pt x="1413" y="909"/>
                    <a:pt x="1413" y="909"/>
                    <a:pt x="1389" y="910"/>
                  </a:cubicBezTo>
                  <a:cubicBezTo>
                    <a:pt x="1388" y="910"/>
                    <a:pt x="1387" y="910"/>
                    <a:pt x="1387" y="910"/>
                  </a:cubicBezTo>
                  <a:cubicBezTo>
                    <a:pt x="1379" y="910"/>
                    <a:pt x="1376" y="915"/>
                    <a:pt x="1376" y="921"/>
                  </a:cubicBezTo>
                  <a:cubicBezTo>
                    <a:pt x="1376" y="939"/>
                    <a:pt x="1377" y="956"/>
                    <a:pt x="1377" y="974"/>
                  </a:cubicBezTo>
                  <a:cubicBezTo>
                    <a:pt x="1377" y="983"/>
                    <a:pt x="1377" y="991"/>
                    <a:pt x="1377" y="1000"/>
                  </a:cubicBezTo>
                  <a:cubicBezTo>
                    <a:pt x="1377" y="1005"/>
                    <a:pt x="1374" y="1009"/>
                    <a:pt x="1369" y="1005"/>
                  </a:cubicBezTo>
                  <a:cubicBezTo>
                    <a:pt x="1352" y="990"/>
                    <a:pt x="1332" y="993"/>
                    <a:pt x="1312" y="993"/>
                  </a:cubicBezTo>
                  <a:cubicBezTo>
                    <a:pt x="1303" y="994"/>
                    <a:pt x="1294" y="998"/>
                    <a:pt x="1287" y="1003"/>
                  </a:cubicBezTo>
                  <a:cubicBezTo>
                    <a:pt x="1265" y="1017"/>
                    <a:pt x="1252" y="1039"/>
                    <a:pt x="1248" y="1065"/>
                  </a:cubicBezTo>
                  <a:cubicBezTo>
                    <a:pt x="1244" y="1096"/>
                    <a:pt x="1244" y="1128"/>
                    <a:pt x="1261" y="1157"/>
                  </a:cubicBezTo>
                  <a:cubicBezTo>
                    <a:pt x="1270" y="1170"/>
                    <a:pt x="1281" y="1181"/>
                    <a:pt x="1296" y="1185"/>
                  </a:cubicBezTo>
                  <a:cubicBezTo>
                    <a:pt x="1323" y="1191"/>
                    <a:pt x="1349" y="1188"/>
                    <a:pt x="1370" y="1167"/>
                  </a:cubicBezTo>
                  <a:cubicBezTo>
                    <a:pt x="1372" y="1165"/>
                    <a:pt x="1375" y="1162"/>
                    <a:pt x="1379" y="1163"/>
                  </a:cubicBezTo>
                  <a:cubicBezTo>
                    <a:pt x="1382" y="1165"/>
                    <a:pt x="1381" y="1169"/>
                    <a:pt x="1381" y="1172"/>
                  </a:cubicBezTo>
                  <a:cubicBezTo>
                    <a:pt x="1383" y="1181"/>
                    <a:pt x="1390" y="1186"/>
                    <a:pt x="1403" y="1186"/>
                  </a:cubicBezTo>
                  <a:cubicBezTo>
                    <a:pt x="1413" y="1185"/>
                    <a:pt x="1413" y="1178"/>
                    <a:pt x="1413" y="1172"/>
                  </a:cubicBezTo>
                  <a:cubicBezTo>
                    <a:pt x="1413" y="1131"/>
                    <a:pt x="1413" y="1090"/>
                    <a:pt x="1413" y="1049"/>
                  </a:cubicBezTo>
                  <a:cubicBezTo>
                    <a:pt x="1413" y="1010"/>
                    <a:pt x="1413" y="972"/>
                    <a:pt x="1413" y="934"/>
                  </a:cubicBezTo>
                  <a:close/>
                  <a:moveTo>
                    <a:pt x="1378" y="1113"/>
                  </a:moveTo>
                  <a:cubicBezTo>
                    <a:pt x="1378" y="1136"/>
                    <a:pt x="1360" y="1155"/>
                    <a:pt x="1337" y="1157"/>
                  </a:cubicBezTo>
                  <a:cubicBezTo>
                    <a:pt x="1319" y="1159"/>
                    <a:pt x="1304" y="1154"/>
                    <a:pt x="1294" y="1139"/>
                  </a:cubicBezTo>
                  <a:cubicBezTo>
                    <a:pt x="1286" y="1128"/>
                    <a:pt x="1283" y="1116"/>
                    <a:pt x="1283" y="1102"/>
                  </a:cubicBezTo>
                  <a:cubicBezTo>
                    <a:pt x="1282" y="1085"/>
                    <a:pt x="1282" y="1067"/>
                    <a:pt x="1290" y="1051"/>
                  </a:cubicBezTo>
                  <a:cubicBezTo>
                    <a:pt x="1297" y="1036"/>
                    <a:pt x="1308" y="1024"/>
                    <a:pt x="1325" y="1022"/>
                  </a:cubicBezTo>
                  <a:cubicBezTo>
                    <a:pt x="1342" y="1020"/>
                    <a:pt x="1358" y="1021"/>
                    <a:pt x="1371" y="1035"/>
                  </a:cubicBezTo>
                  <a:cubicBezTo>
                    <a:pt x="1376" y="1041"/>
                    <a:pt x="1378" y="1046"/>
                    <a:pt x="1378" y="1052"/>
                  </a:cubicBezTo>
                  <a:cubicBezTo>
                    <a:pt x="1378" y="1064"/>
                    <a:pt x="1378" y="1075"/>
                    <a:pt x="1378" y="1086"/>
                  </a:cubicBezTo>
                  <a:cubicBezTo>
                    <a:pt x="1378" y="1086"/>
                    <a:pt x="1378" y="1086"/>
                    <a:pt x="1378" y="1086"/>
                  </a:cubicBezTo>
                  <a:cubicBezTo>
                    <a:pt x="1378" y="1095"/>
                    <a:pt x="1378" y="1104"/>
                    <a:pt x="1378" y="1113"/>
                  </a:cubicBezTo>
                  <a:close/>
                  <a:moveTo>
                    <a:pt x="578" y="259"/>
                  </a:moveTo>
                  <a:cubicBezTo>
                    <a:pt x="603" y="241"/>
                    <a:pt x="611" y="213"/>
                    <a:pt x="614" y="183"/>
                  </a:cubicBezTo>
                  <a:cubicBezTo>
                    <a:pt x="615" y="171"/>
                    <a:pt x="610" y="159"/>
                    <a:pt x="609" y="147"/>
                  </a:cubicBezTo>
                  <a:cubicBezTo>
                    <a:pt x="608" y="137"/>
                    <a:pt x="603" y="129"/>
                    <a:pt x="599" y="121"/>
                  </a:cubicBezTo>
                  <a:cubicBezTo>
                    <a:pt x="579" y="87"/>
                    <a:pt x="527" y="70"/>
                    <a:pt x="488" y="85"/>
                  </a:cubicBezTo>
                  <a:cubicBezTo>
                    <a:pt x="453" y="99"/>
                    <a:pt x="436" y="127"/>
                    <a:pt x="431" y="163"/>
                  </a:cubicBezTo>
                  <a:cubicBezTo>
                    <a:pt x="429" y="180"/>
                    <a:pt x="430" y="196"/>
                    <a:pt x="436" y="213"/>
                  </a:cubicBezTo>
                  <a:cubicBezTo>
                    <a:pt x="439" y="222"/>
                    <a:pt x="442" y="232"/>
                    <a:pt x="447" y="239"/>
                  </a:cubicBezTo>
                  <a:cubicBezTo>
                    <a:pt x="465" y="265"/>
                    <a:pt x="491" y="277"/>
                    <a:pt x="525" y="276"/>
                  </a:cubicBezTo>
                  <a:cubicBezTo>
                    <a:pt x="543" y="278"/>
                    <a:pt x="562" y="271"/>
                    <a:pt x="578" y="259"/>
                  </a:cubicBezTo>
                  <a:close/>
                  <a:moveTo>
                    <a:pt x="471" y="205"/>
                  </a:moveTo>
                  <a:cubicBezTo>
                    <a:pt x="466" y="185"/>
                    <a:pt x="468" y="167"/>
                    <a:pt x="472" y="147"/>
                  </a:cubicBezTo>
                  <a:cubicBezTo>
                    <a:pt x="477" y="130"/>
                    <a:pt x="493" y="116"/>
                    <a:pt x="509" y="112"/>
                  </a:cubicBezTo>
                  <a:cubicBezTo>
                    <a:pt x="525" y="108"/>
                    <a:pt x="539" y="110"/>
                    <a:pt x="553" y="119"/>
                  </a:cubicBezTo>
                  <a:cubicBezTo>
                    <a:pt x="563" y="125"/>
                    <a:pt x="568" y="135"/>
                    <a:pt x="571" y="146"/>
                  </a:cubicBezTo>
                  <a:cubicBezTo>
                    <a:pt x="577" y="167"/>
                    <a:pt x="578" y="189"/>
                    <a:pt x="571" y="211"/>
                  </a:cubicBezTo>
                  <a:cubicBezTo>
                    <a:pt x="565" y="231"/>
                    <a:pt x="549" y="249"/>
                    <a:pt x="521" y="247"/>
                  </a:cubicBezTo>
                  <a:cubicBezTo>
                    <a:pt x="496" y="247"/>
                    <a:pt x="478" y="230"/>
                    <a:pt x="471" y="205"/>
                  </a:cubicBezTo>
                  <a:close/>
                  <a:moveTo>
                    <a:pt x="472" y="1122"/>
                  </a:moveTo>
                  <a:cubicBezTo>
                    <a:pt x="475" y="1136"/>
                    <a:pt x="481" y="1148"/>
                    <a:pt x="491" y="1158"/>
                  </a:cubicBezTo>
                  <a:cubicBezTo>
                    <a:pt x="506" y="1176"/>
                    <a:pt x="524" y="1185"/>
                    <a:pt x="548" y="1187"/>
                  </a:cubicBezTo>
                  <a:cubicBezTo>
                    <a:pt x="568" y="1188"/>
                    <a:pt x="587" y="1187"/>
                    <a:pt x="605" y="1177"/>
                  </a:cubicBezTo>
                  <a:cubicBezTo>
                    <a:pt x="632" y="1162"/>
                    <a:pt x="644" y="1136"/>
                    <a:pt x="649" y="1107"/>
                  </a:cubicBezTo>
                  <a:cubicBezTo>
                    <a:pt x="652" y="1089"/>
                    <a:pt x="649" y="1072"/>
                    <a:pt x="644" y="1054"/>
                  </a:cubicBezTo>
                  <a:cubicBezTo>
                    <a:pt x="638" y="1034"/>
                    <a:pt x="627" y="1019"/>
                    <a:pt x="610" y="1007"/>
                  </a:cubicBezTo>
                  <a:cubicBezTo>
                    <a:pt x="589" y="992"/>
                    <a:pt x="566" y="991"/>
                    <a:pt x="541" y="994"/>
                  </a:cubicBezTo>
                  <a:cubicBezTo>
                    <a:pt x="526" y="995"/>
                    <a:pt x="512" y="1002"/>
                    <a:pt x="500" y="1012"/>
                  </a:cubicBezTo>
                  <a:cubicBezTo>
                    <a:pt x="476" y="1032"/>
                    <a:pt x="469" y="1060"/>
                    <a:pt x="466" y="1095"/>
                  </a:cubicBezTo>
                  <a:cubicBezTo>
                    <a:pt x="465" y="1101"/>
                    <a:pt x="470" y="1111"/>
                    <a:pt x="472" y="1122"/>
                  </a:cubicBezTo>
                  <a:close/>
                  <a:moveTo>
                    <a:pt x="508" y="1113"/>
                  </a:moveTo>
                  <a:cubicBezTo>
                    <a:pt x="505" y="1095"/>
                    <a:pt x="506" y="1078"/>
                    <a:pt x="508" y="1061"/>
                  </a:cubicBezTo>
                  <a:cubicBezTo>
                    <a:pt x="511" y="1042"/>
                    <a:pt x="538" y="1021"/>
                    <a:pt x="554" y="1022"/>
                  </a:cubicBezTo>
                  <a:cubicBezTo>
                    <a:pt x="570" y="1022"/>
                    <a:pt x="586" y="1024"/>
                    <a:pt x="596" y="1037"/>
                  </a:cubicBezTo>
                  <a:cubicBezTo>
                    <a:pt x="602" y="1044"/>
                    <a:pt x="607" y="1052"/>
                    <a:pt x="608" y="1061"/>
                  </a:cubicBezTo>
                  <a:cubicBezTo>
                    <a:pt x="608" y="1064"/>
                    <a:pt x="609" y="1067"/>
                    <a:pt x="610" y="1070"/>
                  </a:cubicBezTo>
                  <a:cubicBezTo>
                    <a:pt x="618" y="1089"/>
                    <a:pt x="612" y="1107"/>
                    <a:pt x="607" y="1125"/>
                  </a:cubicBezTo>
                  <a:cubicBezTo>
                    <a:pt x="601" y="1143"/>
                    <a:pt x="588" y="1160"/>
                    <a:pt x="558" y="1157"/>
                  </a:cubicBezTo>
                  <a:cubicBezTo>
                    <a:pt x="530" y="1157"/>
                    <a:pt x="512" y="1141"/>
                    <a:pt x="508" y="1113"/>
                  </a:cubicBezTo>
                  <a:close/>
                  <a:moveTo>
                    <a:pt x="430" y="716"/>
                  </a:moveTo>
                  <a:cubicBezTo>
                    <a:pt x="450" y="703"/>
                    <a:pt x="459" y="683"/>
                    <a:pt x="464" y="661"/>
                  </a:cubicBezTo>
                  <a:cubicBezTo>
                    <a:pt x="468" y="648"/>
                    <a:pt x="467" y="635"/>
                    <a:pt x="466" y="621"/>
                  </a:cubicBezTo>
                  <a:cubicBezTo>
                    <a:pt x="463" y="592"/>
                    <a:pt x="453" y="567"/>
                    <a:pt x="427" y="550"/>
                  </a:cubicBezTo>
                  <a:cubicBezTo>
                    <a:pt x="401" y="534"/>
                    <a:pt x="372" y="532"/>
                    <a:pt x="345" y="541"/>
                  </a:cubicBezTo>
                  <a:cubicBezTo>
                    <a:pt x="310" y="552"/>
                    <a:pt x="291" y="580"/>
                    <a:pt x="287" y="617"/>
                  </a:cubicBezTo>
                  <a:cubicBezTo>
                    <a:pt x="286" y="629"/>
                    <a:pt x="286" y="641"/>
                    <a:pt x="287" y="654"/>
                  </a:cubicBezTo>
                  <a:cubicBezTo>
                    <a:pt x="289" y="671"/>
                    <a:pt x="295" y="686"/>
                    <a:pt x="306" y="700"/>
                  </a:cubicBezTo>
                  <a:cubicBezTo>
                    <a:pt x="324" y="722"/>
                    <a:pt x="348" y="733"/>
                    <a:pt x="378" y="731"/>
                  </a:cubicBezTo>
                  <a:cubicBezTo>
                    <a:pt x="396" y="733"/>
                    <a:pt x="414" y="727"/>
                    <a:pt x="430" y="716"/>
                  </a:cubicBezTo>
                  <a:close/>
                  <a:moveTo>
                    <a:pt x="331" y="592"/>
                  </a:moveTo>
                  <a:cubicBezTo>
                    <a:pt x="339" y="580"/>
                    <a:pt x="349" y="569"/>
                    <a:pt x="365" y="567"/>
                  </a:cubicBezTo>
                  <a:cubicBezTo>
                    <a:pt x="387" y="564"/>
                    <a:pt x="406" y="568"/>
                    <a:pt x="419" y="588"/>
                  </a:cubicBezTo>
                  <a:cubicBezTo>
                    <a:pt x="423" y="595"/>
                    <a:pt x="426" y="603"/>
                    <a:pt x="427" y="610"/>
                  </a:cubicBezTo>
                  <a:cubicBezTo>
                    <a:pt x="433" y="635"/>
                    <a:pt x="431" y="661"/>
                    <a:pt x="416" y="684"/>
                  </a:cubicBezTo>
                  <a:cubicBezTo>
                    <a:pt x="403" y="706"/>
                    <a:pt x="362" y="708"/>
                    <a:pt x="345" y="692"/>
                  </a:cubicBezTo>
                  <a:cubicBezTo>
                    <a:pt x="329" y="678"/>
                    <a:pt x="323" y="661"/>
                    <a:pt x="323" y="631"/>
                  </a:cubicBezTo>
                  <a:cubicBezTo>
                    <a:pt x="323" y="619"/>
                    <a:pt x="323" y="605"/>
                    <a:pt x="331" y="592"/>
                  </a:cubicBezTo>
                  <a:close/>
                  <a:moveTo>
                    <a:pt x="1073" y="259"/>
                  </a:moveTo>
                  <a:cubicBezTo>
                    <a:pt x="1073" y="269"/>
                    <a:pt x="1075" y="272"/>
                    <a:pt x="1086" y="272"/>
                  </a:cubicBezTo>
                  <a:cubicBezTo>
                    <a:pt x="1088" y="272"/>
                    <a:pt x="1090" y="272"/>
                    <a:pt x="1092" y="272"/>
                  </a:cubicBezTo>
                  <a:cubicBezTo>
                    <a:pt x="1105" y="272"/>
                    <a:pt x="1106" y="271"/>
                    <a:pt x="1106" y="258"/>
                  </a:cubicBezTo>
                  <a:cubicBezTo>
                    <a:pt x="1106" y="221"/>
                    <a:pt x="1106" y="184"/>
                    <a:pt x="1106" y="147"/>
                  </a:cubicBezTo>
                  <a:cubicBezTo>
                    <a:pt x="1106" y="143"/>
                    <a:pt x="1106" y="140"/>
                    <a:pt x="1107" y="137"/>
                  </a:cubicBezTo>
                  <a:cubicBezTo>
                    <a:pt x="1117" y="117"/>
                    <a:pt x="1157" y="104"/>
                    <a:pt x="1177" y="114"/>
                  </a:cubicBezTo>
                  <a:cubicBezTo>
                    <a:pt x="1179" y="115"/>
                    <a:pt x="1180" y="117"/>
                    <a:pt x="1182" y="118"/>
                  </a:cubicBezTo>
                  <a:cubicBezTo>
                    <a:pt x="1194" y="131"/>
                    <a:pt x="1196" y="147"/>
                    <a:pt x="1196" y="163"/>
                  </a:cubicBezTo>
                  <a:cubicBezTo>
                    <a:pt x="1197" y="195"/>
                    <a:pt x="1196" y="226"/>
                    <a:pt x="1196" y="258"/>
                  </a:cubicBezTo>
                  <a:cubicBezTo>
                    <a:pt x="1196" y="271"/>
                    <a:pt x="1197" y="272"/>
                    <a:pt x="1210" y="272"/>
                  </a:cubicBezTo>
                  <a:cubicBezTo>
                    <a:pt x="1212" y="272"/>
                    <a:pt x="1213" y="272"/>
                    <a:pt x="1215" y="272"/>
                  </a:cubicBezTo>
                  <a:cubicBezTo>
                    <a:pt x="1227" y="272"/>
                    <a:pt x="1229" y="270"/>
                    <a:pt x="1229" y="258"/>
                  </a:cubicBezTo>
                  <a:cubicBezTo>
                    <a:pt x="1229" y="222"/>
                    <a:pt x="1229" y="187"/>
                    <a:pt x="1229" y="151"/>
                  </a:cubicBezTo>
                  <a:cubicBezTo>
                    <a:pt x="1229" y="142"/>
                    <a:pt x="1228" y="132"/>
                    <a:pt x="1225" y="123"/>
                  </a:cubicBezTo>
                  <a:cubicBezTo>
                    <a:pt x="1219" y="105"/>
                    <a:pt x="1208" y="91"/>
                    <a:pt x="1189" y="85"/>
                  </a:cubicBezTo>
                  <a:cubicBezTo>
                    <a:pt x="1173" y="80"/>
                    <a:pt x="1156" y="84"/>
                    <a:pt x="1139" y="84"/>
                  </a:cubicBezTo>
                  <a:cubicBezTo>
                    <a:pt x="1137" y="84"/>
                    <a:pt x="1136" y="86"/>
                    <a:pt x="1134" y="87"/>
                  </a:cubicBezTo>
                  <a:cubicBezTo>
                    <a:pt x="1128" y="91"/>
                    <a:pt x="1121" y="96"/>
                    <a:pt x="1115" y="100"/>
                  </a:cubicBezTo>
                  <a:cubicBezTo>
                    <a:pt x="1113" y="102"/>
                    <a:pt x="1111" y="105"/>
                    <a:pt x="1108" y="103"/>
                  </a:cubicBezTo>
                  <a:cubicBezTo>
                    <a:pt x="1105" y="102"/>
                    <a:pt x="1106" y="98"/>
                    <a:pt x="1106" y="96"/>
                  </a:cubicBezTo>
                  <a:cubicBezTo>
                    <a:pt x="1106" y="69"/>
                    <a:pt x="1106" y="43"/>
                    <a:pt x="1106" y="17"/>
                  </a:cubicBezTo>
                  <a:cubicBezTo>
                    <a:pt x="1106" y="0"/>
                    <a:pt x="1106" y="0"/>
                    <a:pt x="1089" y="0"/>
                  </a:cubicBezTo>
                  <a:cubicBezTo>
                    <a:pt x="1074" y="0"/>
                    <a:pt x="1073" y="1"/>
                    <a:pt x="1073" y="16"/>
                  </a:cubicBezTo>
                  <a:cubicBezTo>
                    <a:pt x="1073" y="56"/>
                    <a:pt x="1073" y="96"/>
                    <a:pt x="1073" y="136"/>
                  </a:cubicBezTo>
                  <a:cubicBezTo>
                    <a:pt x="1073" y="177"/>
                    <a:pt x="1073" y="218"/>
                    <a:pt x="1073" y="259"/>
                  </a:cubicBezTo>
                  <a:close/>
                  <a:moveTo>
                    <a:pt x="1150" y="1092"/>
                  </a:moveTo>
                  <a:cubicBezTo>
                    <a:pt x="1168" y="1092"/>
                    <a:pt x="1186" y="1092"/>
                    <a:pt x="1204" y="1092"/>
                  </a:cubicBezTo>
                  <a:cubicBezTo>
                    <a:pt x="1215" y="1092"/>
                    <a:pt x="1218" y="1087"/>
                    <a:pt x="1219" y="1077"/>
                  </a:cubicBezTo>
                  <a:cubicBezTo>
                    <a:pt x="1220" y="1062"/>
                    <a:pt x="1216" y="1049"/>
                    <a:pt x="1210" y="1036"/>
                  </a:cubicBezTo>
                  <a:cubicBezTo>
                    <a:pt x="1204" y="1020"/>
                    <a:pt x="1193" y="1008"/>
                    <a:pt x="1177" y="1001"/>
                  </a:cubicBezTo>
                  <a:cubicBezTo>
                    <a:pt x="1155" y="992"/>
                    <a:pt x="1133" y="991"/>
                    <a:pt x="1109" y="999"/>
                  </a:cubicBezTo>
                  <a:cubicBezTo>
                    <a:pt x="1079" y="1010"/>
                    <a:pt x="1062" y="1031"/>
                    <a:pt x="1056" y="1061"/>
                  </a:cubicBezTo>
                  <a:cubicBezTo>
                    <a:pt x="1051" y="1090"/>
                    <a:pt x="1052" y="1120"/>
                    <a:pt x="1069" y="1148"/>
                  </a:cubicBezTo>
                  <a:cubicBezTo>
                    <a:pt x="1081" y="1169"/>
                    <a:pt x="1100" y="1180"/>
                    <a:pt x="1122" y="1185"/>
                  </a:cubicBezTo>
                  <a:cubicBezTo>
                    <a:pt x="1149" y="1190"/>
                    <a:pt x="1176" y="1186"/>
                    <a:pt x="1200" y="1171"/>
                  </a:cubicBezTo>
                  <a:cubicBezTo>
                    <a:pt x="1206" y="1168"/>
                    <a:pt x="1213" y="1165"/>
                    <a:pt x="1214" y="1157"/>
                  </a:cubicBezTo>
                  <a:cubicBezTo>
                    <a:pt x="1215" y="1147"/>
                    <a:pt x="1202" y="1139"/>
                    <a:pt x="1193" y="1144"/>
                  </a:cubicBezTo>
                  <a:cubicBezTo>
                    <a:pt x="1187" y="1147"/>
                    <a:pt x="1180" y="1150"/>
                    <a:pt x="1174" y="1153"/>
                  </a:cubicBezTo>
                  <a:cubicBezTo>
                    <a:pt x="1158" y="1161"/>
                    <a:pt x="1140" y="1161"/>
                    <a:pt x="1124" y="1155"/>
                  </a:cubicBezTo>
                  <a:cubicBezTo>
                    <a:pt x="1112" y="1151"/>
                    <a:pt x="1102" y="1142"/>
                    <a:pt x="1096" y="1129"/>
                  </a:cubicBezTo>
                  <a:cubicBezTo>
                    <a:pt x="1092" y="1121"/>
                    <a:pt x="1091" y="1112"/>
                    <a:pt x="1089" y="1104"/>
                  </a:cubicBezTo>
                  <a:cubicBezTo>
                    <a:pt x="1087" y="1093"/>
                    <a:pt x="1087" y="1092"/>
                    <a:pt x="1099" y="1092"/>
                  </a:cubicBezTo>
                  <a:cubicBezTo>
                    <a:pt x="1116" y="1092"/>
                    <a:pt x="1133" y="1092"/>
                    <a:pt x="1150" y="1092"/>
                  </a:cubicBezTo>
                  <a:cubicBezTo>
                    <a:pt x="1150" y="1092"/>
                    <a:pt x="1150" y="1092"/>
                    <a:pt x="1150" y="1092"/>
                  </a:cubicBezTo>
                  <a:close/>
                  <a:moveTo>
                    <a:pt x="1099" y="1070"/>
                  </a:moveTo>
                  <a:cubicBezTo>
                    <a:pt x="1092" y="1071"/>
                    <a:pt x="1089" y="1067"/>
                    <a:pt x="1091" y="1060"/>
                  </a:cubicBezTo>
                  <a:cubicBezTo>
                    <a:pt x="1094" y="1045"/>
                    <a:pt x="1108" y="1023"/>
                    <a:pt x="1128" y="1022"/>
                  </a:cubicBezTo>
                  <a:cubicBezTo>
                    <a:pt x="1142" y="1021"/>
                    <a:pt x="1156" y="1018"/>
                    <a:pt x="1168" y="1029"/>
                  </a:cubicBezTo>
                  <a:cubicBezTo>
                    <a:pt x="1181" y="1038"/>
                    <a:pt x="1185" y="1051"/>
                    <a:pt x="1187" y="1066"/>
                  </a:cubicBezTo>
                  <a:cubicBezTo>
                    <a:pt x="1188" y="1071"/>
                    <a:pt x="1183" y="1070"/>
                    <a:pt x="1180" y="1070"/>
                  </a:cubicBezTo>
                  <a:cubicBezTo>
                    <a:pt x="1166" y="1070"/>
                    <a:pt x="1153" y="1070"/>
                    <a:pt x="1139" y="1070"/>
                  </a:cubicBezTo>
                  <a:cubicBezTo>
                    <a:pt x="1139" y="1070"/>
                    <a:pt x="1139" y="1070"/>
                    <a:pt x="1139" y="1070"/>
                  </a:cubicBezTo>
                  <a:cubicBezTo>
                    <a:pt x="1126" y="1070"/>
                    <a:pt x="1113" y="1070"/>
                    <a:pt x="1099" y="1070"/>
                  </a:cubicBezTo>
                  <a:close/>
                  <a:moveTo>
                    <a:pt x="1741" y="1092"/>
                  </a:moveTo>
                  <a:cubicBezTo>
                    <a:pt x="1759" y="1092"/>
                    <a:pt x="1776" y="1092"/>
                    <a:pt x="1793" y="1092"/>
                  </a:cubicBezTo>
                  <a:cubicBezTo>
                    <a:pt x="1806" y="1092"/>
                    <a:pt x="1808" y="1089"/>
                    <a:pt x="1808" y="1076"/>
                  </a:cubicBezTo>
                  <a:cubicBezTo>
                    <a:pt x="1809" y="1063"/>
                    <a:pt x="1807" y="1051"/>
                    <a:pt x="1802" y="1038"/>
                  </a:cubicBezTo>
                  <a:cubicBezTo>
                    <a:pt x="1794" y="1021"/>
                    <a:pt x="1782" y="1008"/>
                    <a:pt x="1764" y="1000"/>
                  </a:cubicBezTo>
                  <a:cubicBezTo>
                    <a:pt x="1742" y="991"/>
                    <a:pt x="1720" y="991"/>
                    <a:pt x="1698" y="1000"/>
                  </a:cubicBezTo>
                  <a:cubicBezTo>
                    <a:pt x="1681" y="1006"/>
                    <a:pt x="1668" y="1016"/>
                    <a:pt x="1659" y="1031"/>
                  </a:cubicBezTo>
                  <a:cubicBezTo>
                    <a:pt x="1646" y="1050"/>
                    <a:pt x="1643" y="1071"/>
                    <a:pt x="1644" y="1094"/>
                  </a:cubicBezTo>
                  <a:cubicBezTo>
                    <a:pt x="1644" y="1110"/>
                    <a:pt x="1647" y="1127"/>
                    <a:pt x="1655" y="1141"/>
                  </a:cubicBezTo>
                  <a:cubicBezTo>
                    <a:pt x="1669" y="1168"/>
                    <a:pt x="1691" y="1183"/>
                    <a:pt x="1722" y="1186"/>
                  </a:cubicBezTo>
                  <a:cubicBezTo>
                    <a:pt x="1750" y="1188"/>
                    <a:pt x="1775" y="1183"/>
                    <a:pt x="1798" y="1165"/>
                  </a:cubicBezTo>
                  <a:cubicBezTo>
                    <a:pt x="1803" y="1161"/>
                    <a:pt x="1806" y="1157"/>
                    <a:pt x="1802" y="1151"/>
                  </a:cubicBezTo>
                  <a:cubicBezTo>
                    <a:pt x="1798" y="1144"/>
                    <a:pt x="1791" y="1140"/>
                    <a:pt x="1783" y="1144"/>
                  </a:cubicBezTo>
                  <a:cubicBezTo>
                    <a:pt x="1778" y="1147"/>
                    <a:pt x="1771" y="1149"/>
                    <a:pt x="1766" y="1152"/>
                  </a:cubicBezTo>
                  <a:cubicBezTo>
                    <a:pt x="1749" y="1161"/>
                    <a:pt x="1730" y="1162"/>
                    <a:pt x="1714" y="1155"/>
                  </a:cubicBezTo>
                  <a:cubicBezTo>
                    <a:pt x="1692" y="1145"/>
                    <a:pt x="1680" y="1127"/>
                    <a:pt x="1679" y="1102"/>
                  </a:cubicBezTo>
                  <a:cubicBezTo>
                    <a:pt x="1678" y="1095"/>
                    <a:pt x="1681" y="1092"/>
                    <a:pt x="1689" y="1092"/>
                  </a:cubicBezTo>
                  <a:cubicBezTo>
                    <a:pt x="1706" y="1092"/>
                    <a:pt x="1724" y="1092"/>
                    <a:pt x="1741" y="1092"/>
                  </a:cubicBezTo>
                  <a:cubicBezTo>
                    <a:pt x="1741" y="1092"/>
                    <a:pt x="1741" y="1092"/>
                    <a:pt x="1741" y="1092"/>
                  </a:cubicBezTo>
                  <a:close/>
                  <a:moveTo>
                    <a:pt x="1690" y="1070"/>
                  </a:moveTo>
                  <a:cubicBezTo>
                    <a:pt x="1683" y="1071"/>
                    <a:pt x="1680" y="1068"/>
                    <a:pt x="1681" y="1062"/>
                  </a:cubicBezTo>
                  <a:cubicBezTo>
                    <a:pt x="1683" y="1048"/>
                    <a:pt x="1697" y="1024"/>
                    <a:pt x="1716" y="1022"/>
                  </a:cubicBezTo>
                  <a:cubicBezTo>
                    <a:pt x="1731" y="1020"/>
                    <a:pt x="1747" y="1018"/>
                    <a:pt x="1760" y="1030"/>
                  </a:cubicBezTo>
                  <a:cubicBezTo>
                    <a:pt x="1771" y="1038"/>
                    <a:pt x="1775" y="1050"/>
                    <a:pt x="1778" y="1062"/>
                  </a:cubicBezTo>
                  <a:cubicBezTo>
                    <a:pt x="1780" y="1068"/>
                    <a:pt x="1775" y="1070"/>
                    <a:pt x="1769" y="1070"/>
                  </a:cubicBezTo>
                  <a:cubicBezTo>
                    <a:pt x="1756" y="1070"/>
                    <a:pt x="1742" y="1070"/>
                    <a:pt x="1729" y="1070"/>
                  </a:cubicBezTo>
                  <a:cubicBezTo>
                    <a:pt x="1729" y="1070"/>
                    <a:pt x="1729" y="1070"/>
                    <a:pt x="1729" y="1070"/>
                  </a:cubicBezTo>
                  <a:cubicBezTo>
                    <a:pt x="1716" y="1070"/>
                    <a:pt x="1703" y="1070"/>
                    <a:pt x="1690" y="1070"/>
                  </a:cubicBezTo>
                  <a:close/>
                  <a:moveTo>
                    <a:pt x="68" y="581"/>
                  </a:moveTo>
                  <a:cubicBezTo>
                    <a:pt x="68" y="573"/>
                    <a:pt x="70" y="568"/>
                    <a:pt x="80" y="569"/>
                  </a:cubicBezTo>
                  <a:cubicBezTo>
                    <a:pt x="90" y="570"/>
                    <a:pt x="101" y="570"/>
                    <a:pt x="111" y="569"/>
                  </a:cubicBezTo>
                  <a:cubicBezTo>
                    <a:pt x="120" y="569"/>
                    <a:pt x="120" y="563"/>
                    <a:pt x="120" y="556"/>
                  </a:cubicBezTo>
                  <a:cubicBezTo>
                    <a:pt x="120" y="549"/>
                    <a:pt x="119" y="544"/>
                    <a:pt x="111" y="544"/>
                  </a:cubicBezTo>
                  <a:cubicBezTo>
                    <a:pt x="104" y="544"/>
                    <a:pt x="97" y="544"/>
                    <a:pt x="91" y="544"/>
                  </a:cubicBezTo>
                  <a:cubicBezTo>
                    <a:pt x="66" y="544"/>
                    <a:pt x="65" y="543"/>
                    <a:pt x="68" y="518"/>
                  </a:cubicBezTo>
                  <a:cubicBezTo>
                    <a:pt x="69" y="504"/>
                    <a:pt x="83" y="487"/>
                    <a:pt x="99" y="489"/>
                  </a:cubicBezTo>
                  <a:cubicBezTo>
                    <a:pt x="103" y="489"/>
                    <a:pt x="107" y="489"/>
                    <a:pt x="110" y="488"/>
                  </a:cubicBezTo>
                  <a:cubicBezTo>
                    <a:pt x="118" y="487"/>
                    <a:pt x="123" y="479"/>
                    <a:pt x="123" y="471"/>
                  </a:cubicBezTo>
                  <a:cubicBezTo>
                    <a:pt x="123" y="461"/>
                    <a:pt x="116" y="462"/>
                    <a:pt x="109" y="460"/>
                  </a:cubicBezTo>
                  <a:cubicBezTo>
                    <a:pt x="100" y="458"/>
                    <a:pt x="92" y="460"/>
                    <a:pt x="84" y="460"/>
                  </a:cubicBezTo>
                  <a:cubicBezTo>
                    <a:pt x="68" y="461"/>
                    <a:pt x="56" y="469"/>
                    <a:pt x="47" y="480"/>
                  </a:cubicBezTo>
                  <a:cubicBezTo>
                    <a:pt x="34" y="493"/>
                    <a:pt x="32" y="511"/>
                    <a:pt x="32" y="529"/>
                  </a:cubicBezTo>
                  <a:cubicBezTo>
                    <a:pt x="32" y="544"/>
                    <a:pt x="32" y="544"/>
                    <a:pt x="17" y="544"/>
                  </a:cubicBezTo>
                  <a:cubicBezTo>
                    <a:pt x="4" y="543"/>
                    <a:pt x="0" y="548"/>
                    <a:pt x="4" y="561"/>
                  </a:cubicBezTo>
                  <a:cubicBezTo>
                    <a:pt x="6" y="569"/>
                    <a:pt x="13" y="568"/>
                    <a:pt x="19" y="569"/>
                  </a:cubicBezTo>
                  <a:cubicBezTo>
                    <a:pt x="32" y="571"/>
                    <a:pt x="32" y="571"/>
                    <a:pt x="32" y="584"/>
                  </a:cubicBezTo>
                  <a:cubicBezTo>
                    <a:pt x="32" y="624"/>
                    <a:pt x="32" y="664"/>
                    <a:pt x="32" y="704"/>
                  </a:cubicBezTo>
                  <a:cubicBezTo>
                    <a:pt x="32" y="731"/>
                    <a:pt x="32" y="730"/>
                    <a:pt x="57" y="731"/>
                  </a:cubicBezTo>
                  <a:cubicBezTo>
                    <a:pt x="66" y="731"/>
                    <a:pt x="68" y="727"/>
                    <a:pt x="68" y="720"/>
                  </a:cubicBezTo>
                  <a:cubicBezTo>
                    <a:pt x="68" y="697"/>
                    <a:pt x="68" y="674"/>
                    <a:pt x="68" y="651"/>
                  </a:cubicBezTo>
                  <a:cubicBezTo>
                    <a:pt x="68" y="628"/>
                    <a:pt x="68" y="605"/>
                    <a:pt x="68" y="581"/>
                  </a:cubicBezTo>
                  <a:close/>
                  <a:moveTo>
                    <a:pt x="278" y="1165"/>
                  </a:moveTo>
                  <a:cubicBezTo>
                    <a:pt x="278" y="1183"/>
                    <a:pt x="278" y="1183"/>
                    <a:pt x="296" y="1184"/>
                  </a:cubicBezTo>
                  <a:cubicBezTo>
                    <a:pt x="310" y="1184"/>
                    <a:pt x="310" y="1184"/>
                    <a:pt x="310" y="1169"/>
                  </a:cubicBezTo>
                  <a:cubicBezTo>
                    <a:pt x="310" y="1132"/>
                    <a:pt x="310" y="1095"/>
                    <a:pt x="310" y="1058"/>
                  </a:cubicBezTo>
                  <a:cubicBezTo>
                    <a:pt x="310" y="1052"/>
                    <a:pt x="312" y="1047"/>
                    <a:pt x="316" y="1042"/>
                  </a:cubicBezTo>
                  <a:cubicBezTo>
                    <a:pt x="324" y="1033"/>
                    <a:pt x="334" y="1027"/>
                    <a:pt x="345" y="1024"/>
                  </a:cubicBezTo>
                  <a:cubicBezTo>
                    <a:pt x="357" y="1020"/>
                    <a:pt x="371" y="1018"/>
                    <a:pt x="383" y="1028"/>
                  </a:cubicBezTo>
                  <a:cubicBezTo>
                    <a:pt x="397" y="1039"/>
                    <a:pt x="401" y="1054"/>
                    <a:pt x="401" y="1071"/>
                  </a:cubicBezTo>
                  <a:cubicBezTo>
                    <a:pt x="401" y="1102"/>
                    <a:pt x="401" y="1132"/>
                    <a:pt x="401" y="1163"/>
                  </a:cubicBezTo>
                  <a:cubicBezTo>
                    <a:pt x="401" y="1183"/>
                    <a:pt x="401" y="1182"/>
                    <a:pt x="420" y="1184"/>
                  </a:cubicBezTo>
                  <a:cubicBezTo>
                    <a:pt x="429" y="1185"/>
                    <a:pt x="433" y="1181"/>
                    <a:pt x="433" y="1173"/>
                  </a:cubicBezTo>
                  <a:cubicBezTo>
                    <a:pt x="432" y="1130"/>
                    <a:pt x="435" y="1087"/>
                    <a:pt x="431" y="1044"/>
                  </a:cubicBezTo>
                  <a:cubicBezTo>
                    <a:pt x="427" y="1014"/>
                    <a:pt x="404" y="996"/>
                    <a:pt x="376" y="994"/>
                  </a:cubicBezTo>
                  <a:cubicBezTo>
                    <a:pt x="353" y="992"/>
                    <a:pt x="333" y="1000"/>
                    <a:pt x="317" y="1017"/>
                  </a:cubicBezTo>
                  <a:cubicBezTo>
                    <a:pt x="312" y="1021"/>
                    <a:pt x="311" y="1019"/>
                    <a:pt x="309" y="1015"/>
                  </a:cubicBezTo>
                  <a:cubicBezTo>
                    <a:pt x="309" y="1013"/>
                    <a:pt x="308" y="1011"/>
                    <a:pt x="308" y="1008"/>
                  </a:cubicBezTo>
                  <a:cubicBezTo>
                    <a:pt x="306" y="1001"/>
                    <a:pt x="298" y="997"/>
                    <a:pt x="287" y="998"/>
                  </a:cubicBezTo>
                  <a:cubicBezTo>
                    <a:pt x="279" y="999"/>
                    <a:pt x="278" y="1004"/>
                    <a:pt x="278" y="1011"/>
                  </a:cubicBezTo>
                  <a:cubicBezTo>
                    <a:pt x="278" y="1037"/>
                    <a:pt x="278" y="1064"/>
                    <a:pt x="278" y="1091"/>
                  </a:cubicBezTo>
                  <a:cubicBezTo>
                    <a:pt x="278" y="1115"/>
                    <a:pt x="278" y="1140"/>
                    <a:pt x="278" y="1165"/>
                  </a:cubicBezTo>
                  <a:close/>
                  <a:moveTo>
                    <a:pt x="150" y="705"/>
                  </a:moveTo>
                  <a:cubicBezTo>
                    <a:pt x="150" y="734"/>
                    <a:pt x="145" y="730"/>
                    <a:pt x="176" y="731"/>
                  </a:cubicBezTo>
                  <a:cubicBezTo>
                    <a:pt x="185" y="731"/>
                    <a:pt x="187" y="727"/>
                    <a:pt x="187" y="719"/>
                  </a:cubicBezTo>
                  <a:cubicBezTo>
                    <a:pt x="187" y="685"/>
                    <a:pt x="187" y="651"/>
                    <a:pt x="187" y="618"/>
                  </a:cubicBezTo>
                  <a:cubicBezTo>
                    <a:pt x="187" y="597"/>
                    <a:pt x="204" y="578"/>
                    <a:pt x="225" y="574"/>
                  </a:cubicBezTo>
                  <a:cubicBezTo>
                    <a:pt x="232" y="572"/>
                    <a:pt x="240" y="574"/>
                    <a:pt x="247" y="575"/>
                  </a:cubicBezTo>
                  <a:cubicBezTo>
                    <a:pt x="257" y="576"/>
                    <a:pt x="261" y="572"/>
                    <a:pt x="265" y="564"/>
                  </a:cubicBezTo>
                  <a:cubicBezTo>
                    <a:pt x="269" y="556"/>
                    <a:pt x="267" y="542"/>
                    <a:pt x="261" y="540"/>
                  </a:cubicBezTo>
                  <a:cubicBezTo>
                    <a:pt x="253" y="538"/>
                    <a:pt x="244" y="534"/>
                    <a:pt x="237" y="536"/>
                  </a:cubicBezTo>
                  <a:cubicBezTo>
                    <a:pt x="228" y="537"/>
                    <a:pt x="217" y="537"/>
                    <a:pt x="209" y="544"/>
                  </a:cubicBezTo>
                  <a:cubicBezTo>
                    <a:pt x="204" y="549"/>
                    <a:pt x="198" y="553"/>
                    <a:pt x="194" y="558"/>
                  </a:cubicBezTo>
                  <a:cubicBezTo>
                    <a:pt x="192" y="561"/>
                    <a:pt x="189" y="563"/>
                    <a:pt x="185" y="562"/>
                  </a:cubicBezTo>
                  <a:cubicBezTo>
                    <a:pt x="182" y="561"/>
                    <a:pt x="182" y="558"/>
                    <a:pt x="182" y="556"/>
                  </a:cubicBezTo>
                  <a:cubicBezTo>
                    <a:pt x="180" y="539"/>
                    <a:pt x="179" y="539"/>
                    <a:pt x="162" y="539"/>
                  </a:cubicBezTo>
                  <a:cubicBezTo>
                    <a:pt x="151" y="539"/>
                    <a:pt x="150" y="540"/>
                    <a:pt x="150" y="551"/>
                  </a:cubicBezTo>
                  <a:cubicBezTo>
                    <a:pt x="150" y="579"/>
                    <a:pt x="150" y="607"/>
                    <a:pt x="150" y="635"/>
                  </a:cubicBezTo>
                  <a:cubicBezTo>
                    <a:pt x="150" y="658"/>
                    <a:pt x="149" y="682"/>
                    <a:pt x="150" y="705"/>
                  </a:cubicBezTo>
                  <a:close/>
                  <a:moveTo>
                    <a:pt x="1011" y="1049"/>
                  </a:moveTo>
                  <a:cubicBezTo>
                    <a:pt x="1011" y="1008"/>
                    <a:pt x="1011" y="966"/>
                    <a:pt x="1011" y="924"/>
                  </a:cubicBezTo>
                  <a:cubicBezTo>
                    <a:pt x="1011" y="913"/>
                    <a:pt x="1008" y="910"/>
                    <a:pt x="997" y="910"/>
                  </a:cubicBezTo>
                  <a:cubicBezTo>
                    <a:pt x="995" y="910"/>
                    <a:pt x="992" y="910"/>
                    <a:pt x="990" y="910"/>
                  </a:cubicBezTo>
                  <a:cubicBezTo>
                    <a:pt x="976" y="910"/>
                    <a:pt x="975" y="911"/>
                    <a:pt x="975" y="926"/>
                  </a:cubicBezTo>
                  <a:cubicBezTo>
                    <a:pt x="975" y="1006"/>
                    <a:pt x="975" y="1085"/>
                    <a:pt x="975" y="1165"/>
                  </a:cubicBezTo>
                  <a:cubicBezTo>
                    <a:pt x="975" y="1185"/>
                    <a:pt x="975" y="1185"/>
                    <a:pt x="994" y="1185"/>
                  </a:cubicBezTo>
                  <a:cubicBezTo>
                    <a:pt x="1009" y="1185"/>
                    <a:pt x="1011" y="1184"/>
                    <a:pt x="1011" y="1169"/>
                  </a:cubicBezTo>
                  <a:cubicBezTo>
                    <a:pt x="1011" y="1129"/>
                    <a:pt x="1011" y="1089"/>
                    <a:pt x="1011" y="1049"/>
                  </a:cubicBezTo>
                  <a:cubicBezTo>
                    <a:pt x="1011" y="1049"/>
                    <a:pt x="1011" y="1049"/>
                    <a:pt x="1011" y="1049"/>
                  </a:cubicBezTo>
                  <a:close/>
                  <a:moveTo>
                    <a:pt x="296" y="176"/>
                  </a:moveTo>
                  <a:cubicBezTo>
                    <a:pt x="296" y="201"/>
                    <a:pt x="296" y="226"/>
                    <a:pt x="296" y="251"/>
                  </a:cubicBezTo>
                  <a:cubicBezTo>
                    <a:pt x="295" y="276"/>
                    <a:pt x="296" y="274"/>
                    <a:pt x="318" y="274"/>
                  </a:cubicBezTo>
                  <a:cubicBezTo>
                    <a:pt x="330" y="274"/>
                    <a:pt x="331" y="274"/>
                    <a:pt x="331" y="260"/>
                  </a:cubicBezTo>
                  <a:cubicBezTo>
                    <a:pt x="331" y="232"/>
                    <a:pt x="331" y="204"/>
                    <a:pt x="331" y="176"/>
                  </a:cubicBezTo>
                  <a:cubicBezTo>
                    <a:pt x="331" y="165"/>
                    <a:pt x="331" y="155"/>
                    <a:pt x="337" y="145"/>
                  </a:cubicBezTo>
                  <a:cubicBezTo>
                    <a:pt x="349" y="123"/>
                    <a:pt x="359" y="117"/>
                    <a:pt x="377" y="118"/>
                  </a:cubicBezTo>
                  <a:cubicBezTo>
                    <a:pt x="383" y="118"/>
                    <a:pt x="389" y="119"/>
                    <a:pt x="395" y="120"/>
                  </a:cubicBezTo>
                  <a:cubicBezTo>
                    <a:pt x="401" y="120"/>
                    <a:pt x="407" y="118"/>
                    <a:pt x="408" y="112"/>
                  </a:cubicBezTo>
                  <a:cubicBezTo>
                    <a:pt x="409" y="103"/>
                    <a:pt x="415" y="93"/>
                    <a:pt x="407" y="85"/>
                  </a:cubicBezTo>
                  <a:cubicBezTo>
                    <a:pt x="406" y="84"/>
                    <a:pt x="404" y="84"/>
                    <a:pt x="402" y="84"/>
                  </a:cubicBezTo>
                  <a:cubicBezTo>
                    <a:pt x="376" y="78"/>
                    <a:pt x="353" y="82"/>
                    <a:pt x="337" y="106"/>
                  </a:cubicBezTo>
                  <a:cubicBezTo>
                    <a:pt x="336" y="108"/>
                    <a:pt x="335" y="110"/>
                    <a:pt x="333" y="109"/>
                  </a:cubicBezTo>
                  <a:cubicBezTo>
                    <a:pt x="331" y="109"/>
                    <a:pt x="330" y="107"/>
                    <a:pt x="330" y="105"/>
                  </a:cubicBezTo>
                  <a:cubicBezTo>
                    <a:pt x="329" y="101"/>
                    <a:pt x="329" y="97"/>
                    <a:pt x="328" y="94"/>
                  </a:cubicBezTo>
                  <a:cubicBezTo>
                    <a:pt x="325" y="85"/>
                    <a:pt x="318" y="82"/>
                    <a:pt x="303" y="84"/>
                  </a:cubicBezTo>
                  <a:cubicBezTo>
                    <a:pt x="297" y="84"/>
                    <a:pt x="295" y="86"/>
                    <a:pt x="295" y="92"/>
                  </a:cubicBezTo>
                  <a:cubicBezTo>
                    <a:pt x="296" y="120"/>
                    <a:pt x="295" y="148"/>
                    <a:pt x="295" y="176"/>
                  </a:cubicBezTo>
                  <a:cubicBezTo>
                    <a:pt x="296" y="176"/>
                    <a:pt x="296" y="176"/>
                    <a:pt x="296" y="176"/>
                  </a:cubicBezTo>
                  <a:close/>
                  <a:moveTo>
                    <a:pt x="946" y="179"/>
                  </a:moveTo>
                  <a:cubicBezTo>
                    <a:pt x="946" y="197"/>
                    <a:pt x="946" y="215"/>
                    <a:pt x="946" y="234"/>
                  </a:cubicBezTo>
                  <a:cubicBezTo>
                    <a:pt x="946" y="248"/>
                    <a:pt x="951" y="260"/>
                    <a:pt x="963" y="268"/>
                  </a:cubicBezTo>
                  <a:cubicBezTo>
                    <a:pt x="982" y="280"/>
                    <a:pt x="1011" y="277"/>
                    <a:pt x="1029" y="264"/>
                  </a:cubicBezTo>
                  <a:cubicBezTo>
                    <a:pt x="1036" y="259"/>
                    <a:pt x="1036" y="254"/>
                    <a:pt x="1032" y="248"/>
                  </a:cubicBezTo>
                  <a:cubicBezTo>
                    <a:pt x="1026" y="239"/>
                    <a:pt x="1020" y="238"/>
                    <a:pt x="1013" y="242"/>
                  </a:cubicBezTo>
                  <a:cubicBezTo>
                    <a:pt x="996" y="252"/>
                    <a:pt x="978" y="243"/>
                    <a:pt x="978" y="223"/>
                  </a:cubicBezTo>
                  <a:cubicBezTo>
                    <a:pt x="978" y="190"/>
                    <a:pt x="978" y="157"/>
                    <a:pt x="978" y="123"/>
                  </a:cubicBezTo>
                  <a:cubicBezTo>
                    <a:pt x="978" y="116"/>
                    <a:pt x="981" y="113"/>
                    <a:pt x="988" y="113"/>
                  </a:cubicBezTo>
                  <a:cubicBezTo>
                    <a:pt x="999" y="114"/>
                    <a:pt x="1011" y="113"/>
                    <a:pt x="1022" y="113"/>
                  </a:cubicBezTo>
                  <a:cubicBezTo>
                    <a:pt x="1028" y="113"/>
                    <a:pt x="1033" y="112"/>
                    <a:pt x="1033" y="104"/>
                  </a:cubicBezTo>
                  <a:cubicBezTo>
                    <a:pt x="1033" y="96"/>
                    <a:pt x="1032" y="90"/>
                    <a:pt x="1022" y="90"/>
                  </a:cubicBezTo>
                  <a:cubicBezTo>
                    <a:pt x="1011" y="90"/>
                    <a:pt x="1001" y="90"/>
                    <a:pt x="990" y="90"/>
                  </a:cubicBezTo>
                  <a:cubicBezTo>
                    <a:pt x="981" y="91"/>
                    <a:pt x="977" y="88"/>
                    <a:pt x="978" y="78"/>
                  </a:cubicBezTo>
                  <a:cubicBezTo>
                    <a:pt x="978" y="64"/>
                    <a:pt x="978" y="49"/>
                    <a:pt x="978" y="35"/>
                  </a:cubicBezTo>
                  <a:cubicBezTo>
                    <a:pt x="978" y="30"/>
                    <a:pt x="978" y="25"/>
                    <a:pt x="971" y="24"/>
                  </a:cubicBezTo>
                  <a:cubicBezTo>
                    <a:pt x="964" y="24"/>
                    <a:pt x="956" y="24"/>
                    <a:pt x="955" y="32"/>
                  </a:cubicBezTo>
                  <a:cubicBezTo>
                    <a:pt x="952" y="43"/>
                    <a:pt x="949" y="54"/>
                    <a:pt x="949" y="65"/>
                  </a:cubicBezTo>
                  <a:cubicBezTo>
                    <a:pt x="948" y="88"/>
                    <a:pt x="947" y="88"/>
                    <a:pt x="924" y="91"/>
                  </a:cubicBezTo>
                  <a:cubicBezTo>
                    <a:pt x="919" y="92"/>
                    <a:pt x="914" y="92"/>
                    <a:pt x="914" y="99"/>
                  </a:cubicBezTo>
                  <a:cubicBezTo>
                    <a:pt x="915" y="107"/>
                    <a:pt x="917" y="113"/>
                    <a:pt x="926" y="113"/>
                  </a:cubicBezTo>
                  <a:cubicBezTo>
                    <a:pt x="929" y="114"/>
                    <a:pt x="932" y="113"/>
                    <a:pt x="935" y="113"/>
                  </a:cubicBezTo>
                  <a:cubicBezTo>
                    <a:pt x="943" y="113"/>
                    <a:pt x="946" y="116"/>
                    <a:pt x="946" y="124"/>
                  </a:cubicBezTo>
                  <a:cubicBezTo>
                    <a:pt x="946" y="142"/>
                    <a:pt x="946" y="161"/>
                    <a:pt x="946" y="179"/>
                  </a:cubicBezTo>
                  <a:cubicBezTo>
                    <a:pt x="946" y="179"/>
                    <a:pt x="946" y="179"/>
                    <a:pt x="946" y="179"/>
                  </a:cubicBezTo>
                  <a:close/>
                </a:path>
              </a:pathLst>
            </a:custGeom>
            <a:solidFill>
              <a:srgbClr val="4C505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grpSp>
          <p:nvGrpSpPr>
            <p:cNvPr id="18" name="Group 4">
              <a:extLst>
                <a:ext uri="{FF2B5EF4-FFF2-40B4-BE49-F238E27FC236}">
                  <a16:creationId xmlns:a16="http://schemas.microsoft.com/office/drawing/2014/main" id="{57BD2C4C-DC67-B843-B26C-309622FC75F7}"/>
                </a:ext>
              </a:extLst>
            </p:cNvPr>
            <p:cNvGrpSpPr>
              <a:grpSpLocks noChangeAspect="1"/>
            </p:cNvGrpSpPr>
            <p:nvPr/>
          </p:nvGrpSpPr>
          <p:grpSpPr bwMode="gray">
            <a:xfrm>
              <a:off x="334963" y="296652"/>
              <a:ext cx="538094" cy="540000"/>
              <a:chOff x="2711" y="1027"/>
              <a:chExt cx="2258" cy="2266"/>
            </a:xfrm>
          </p:grpSpPr>
          <p:sp>
            <p:nvSpPr>
              <p:cNvPr id="19" name="AutoShape 3">
                <a:extLst>
                  <a:ext uri="{FF2B5EF4-FFF2-40B4-BE49-F238E27FC236}">
                    <a16:creationId xmlns:a16="http://schemas.microsoft.com/office/drawing/2014/main" id="{FE1DC41B-291E-574C-9F2C-874E70A40758}"/>
                  </a:ext>
                </a:extLst>
              </p:cNvPr>
              <p:cNvSpPr>
                <a:spLocks noChangeAspect="1" noChangeArrowheads="1" noTextEdit="1"/>
              </p:cNvSpPr>
              <p:nvPr/>
            </p:nvSpPr>
            <p:spPr bwMode="gray">
              <a:xfrm>
                <a:off x="2711" y="1027"/>
                <a:ext cx="2258" cy="22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20" name="Freeform 5">
                <a:extLst>
                  <a:ext uri="{FF2B5EF4-FFF2-40B4-BE49-F238E27FC236}">
                    <a16:creationId xmlns:a16="http://schemas.microsoft.com/office/drawing/2014/main" id="{D4B633C8-F761-C54B-9BD2-EB59D49A2DBC}"/>
                  </a:ext>
                </a:extLst>
              </p:cNvPr>
              <p:cNvSpPr>
                <a:spLocks/>
              </p:cNvSpPr>
              <p:nvPr/>
            </p:nvSpPr>
            <p:spPr bwMode="gray">
              <a:xfrm>
                <a:off x="2709" y="1029"/>
                <a:ext cx="2260" cy="2262"/>
              </a:xfrm>
              <a:custGeom>
                <a:avLst/>
                <a:gdLst>
                  <a:gd name="T0" fmla="*/ 2260 w 2260"/>
                  <a:gd name="T1" fmla="*/ 0 h 2262"/>
                  <a:gd name="T2" fmla="*/ 1612 w 2260"/>
                  <a:gd name="T3" fmla="*/ 649 h 2262"/>
                  <a:gd name="T4" fmla="*/ 1612 w 2260"/>
                  <a:gd name="T5" fmla="*/ 649 h 2262"/>
                  <a:gd name="T6" fmla="*/ 2035 w 2260"/>
                  <a:gd name="T7" fmla="*/ 0 h 2262"/>
                  <a:gd name="T8" fmla="*/ 0 w 2260"/>
                  <a:gd name="T9" fmla="*/ 0 h 2262"/>
                  <a:gd name="T10" fmla="*/ 0 w 2260"/>
                  <a:gd name="T11" fmla="*/ 2262 h 2262"/>
                  <a:gd name="T12" fmla="*/ 2260 w 2260"/>
                  <a:gd name="T13" fmla="*/ 2262 h 2262"/>
                  <a:gd name="T14" fmla="*/ 2260 w 2260"/>
                  <a:gd name="T15" fmla="*/ 0 h 2262"/>
                  <a:gd name="T16" fmla="*/ 2260 w 2260"/>
                  <a:gd name="T17" fmla="*/ 0 h 2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0" h="2262">
                    <a:moveTo>
                      <a:pt x="2260" y="0"/>
                    </a:moveTo>
                    <a:lnTo>
                      <a:pt x="1612" y="649"/>
                    </a:lnTo>
                    <a:lnTo>
                      <a:pt x="1612" y="649"/>
                    </a:lnTo>
                    <a:lnTo>
                      <a:pt x="2035" y="0"/>
                    </a:lnTo>
                    <a:lnTo>
                      <a:pt x="0" y="0"/>
                    </a:lnTo>
                    <a:lnTo>
                      <a:pt x="0" y="2262"/>
                    </a:lnTo>
                    <a:lnTo>
                      <a:pt x="2260" y="2262"/>
                    </a:lnTo>
                    <a:lnTo>
                      <a:pt x="2260" y="0"/>
                    </a:lnTo>
                    <a:lnTo>
                      <a:pt x="2260" y="0"/>
                    </a:lnTo>
                    <a:close/>
                  </a:path>
                </a:pathLst>
              </a:custGeom>
              <a:solidFill>
                <a:srgbClr val="E55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21" name="Freeform 6">
                <a:extLst>
                  <a:ext uri="{FF2B5EF4-FFF2-40B4-BE49-F238E27FC236}">
                    <a16:creationId xmlns:a16="http://schemas.microsoft.com/office/drawing/2014/main" id="{B16BAAE4-1A41-C843-9754-490F7A1E1270}"/>
                  </a:ext>
                </a:extLst>
              </p:cNvPr>
              <p:cNvSpPr>
                <a:spLocks noEditPoints="1"/>
              </p:cNvSpPr>
              <p:nvPr/>
            </p:nvSpPr>
            <p:spPr bwMode="gray">
              <a:xfrm>
                <a:off x="3623" y="1696"/>
                <a:ext cx="1167" cy="922"/>
              </a:xfrm>
              <a:custGeom>
                <a:avLst/>
                <a:gdLst>
                  <a:gd name="T0" fmla="*/ 411 w 580"/>
                  <a:gd name="T1" fmla="*/ 213 h 458"/>
                  <a:gd name="T2" fmla="*/ 570 w 580"/>
                  <a:gd name="T3" fmla="*/ 37 h 458"/>
                  <a:gd name="T4" fmla="*/ 580 w 580"/>
                  <a:gd name="T5" fmla="*/ 20 h 458"/>
                  <a:gd name="T6" fmla="*/ 545 w 580"/>
                  <a:gd name="T7" fmla="*/ 0 h 458"/>
                  <a:gd name="T8" fmla="*/ 519 w 580"/>
                  <a:gd name="T9" fmla="*/ 16 h 458"/>
                  <a:gd name="T10" fmla="*/ 344 w 580"/>
                  <a:gd name="T11" fmla="*/ 210 h 458"/>
                  <a:gd name="T12" fmla="*/ 334 w 580"/>
                  <a:gd name="T13" fmla="*/ 229 h 458"/>
                  <a:gd name="T14" fmla="*/ 344 w 580"/>
                  <a:gd name="T15" fmla="*/ 248 h 458"/>
                  <a:gd name="T16" fmla="*/ 519 w 580"/>
                  <a:gd name="T17" fmla="*/ 442 h 458"/>
                  <a:gd name="T18" fmla="*/ 545 w 580"/>
                  <a:gd name="T19" fmla="*/ 458 h 458"/>
                  <a:gd name="T20" fmla="*/ 580 w 580"/>
                  <a:gd name="T21" fmla="*/ 438 h 458"/>
                  <a:gd name="T22" fmla="*/ 570 w 580"/>
                  <a:gd name="T23" fmla="*/ 421 h 458"/>
                  <a:gd name="T24" fmla="*/ 411 w 580"/>
                  <a:gd name="T25" fmla="*/ 245 h 458"/>
                  <a:gd name="T26" fmla="*/ 399 w 580"/>
                  <a:gd name="T27" fmla="*/ 229 h 458"/>
                  <a:gd name="T28" fmla="*/ 411 w 580"/>
                  <a:gd name="T29" fmla="*/ 213 h 458"/>
                  <a:gd name="T30" fmla="*/ 252 w 580"/>
                  <a:gd name="T31" fmla="*/ 439 h 458"/>
                  <a:gd name="T32" fmla="*/ 281 w 580"/>
                  <a:gd name="T33" fmla="*/ 454 h 458"/>
                  <a:gd name="T34" fmla="*/ 309 w 580"/>
                  <a:gd name="T35" fmla="*/ 439 h 458"/>
                  <a:gd name="T36" fmla="*/ 309 w 580"/>
                  <a:gd name="T37" fmla="*/ 19 h 458"/>
                  <a:gd name="T38" fmla="*/ 281 w 580"/>
                  <a:gd name="T39" fmla="*/ 4 h 458"/>
                  <a:gd name="T40" fmla="*/ 252 w 580"/>
                  <a:gd name="T41" fmla="*/ 19 h 458"/>
                  <a:gd name="T42" fmla="*/ 252 w 580"/>
                  <a:gd name="T43" fmla="*/ 439 h 458"/>
                  <a:gd name="T44" fmla="*/ 0 w 580"/>
                  <a:gd name="T45" fmla="*/ 439 h 458"/>
                  <a:gd name="T46" fmla="*/ 28 w 580"/>
                  <a:gd name="T47" fmla="*/ 454 h 458"/>
                  <a:gd name="T48" fmla="*/ 56 w 580"/>
                  <a:gd name="T49" fmla="*/ 439 h 458"/>
                  <a:gd name="T50" fmla="*/ 56 w 580"/>
                  <a:gd name="T51" fmla="*/ 157 h 458"/>
                  <a:gd name="T52" fmla="*/ 165 w 580"/>
                  <a:gd name="T53" fmla="*/ 53 h 458"/>
                  <a:gd name="T54" fmla="*/ 180 w 580"/>
                  <a:gd name="T55" fmla="*/ 53 h 458"/>
                  <a:gd name="T56" fmla="*/ 196 w 580"/>
                  <a:gd name="T57" fmla="*/ 27 h 458"/>
                  <a:gd name="T58" fmla="*/ 154 w 580"/>
                  <a:gd name="T59" fmla="*/ 4 h 458"/>
                  <a:gd name="T60" fmla="*/ 0 w 580"/>
                  <a:gd name="T61" fmla="*/ 152 h 458"/>
                  <a:gd name="T62" fmla="*/ 0 w 580"/>
                  <a:gd name="T63" fmla="*/ 439 h 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80" h="458">
                    <a:moveTo>
                      <a:pt x="411" y="213"/>
                    </a:moveTo>
                    <a:cubicBezTo>
                      <a:pt x="570" y="37"/>
                      <a:pt x="570" y="37"/>
                      <a:pt x="570" y="37"/>
                    </a:cubicBezTo>
                    <a:cubicBezTo>
                      <a:pt x="576" y="30"/>
                      <a:pt x="580" y="25"/>
                      <a:pt x="580" y="20"/>
                    </a:cubicBezTo>
                    <a:cubicBezTo>
                      <a:pt x="580" y="10"/>
                      <a:pt x="559" y="0"/>
                      <a:pt x="545" y="0"/>
                    </a:cubicBezTo>
                    <a:cubicBezTo>
                      <a:pt x="535" y="0"/>
                      <a:pt x="526" y="8"/>
                      <a:pt x="519" y="16"/>
                    </a:cubicBezTo>
                    <a:cubicBezTo>
                      <a:pt x="344" y="210"/>
                      <a:pt x="344" y="210"/>
                      <a:pt x="344" y="210"/>
                    </a:cubicBezTo>
                    <a:cubicBezTo>
                      <a:pt x="336" y="219"/>
                      <a:pt x="334" y="224"/>
                      <a:pt x="334" y="229"/>
                    </a:cubicBezTo>
                    <a:cubicBezTo>
                      <a:pt x="334" y="234"/>
                      <a:pt x="336" y="239"/>
                      <a:pt x="344" y="248"/>
                    </a:cubicBezTo>
                    <a:cubicBezTo>
                      <a:pt x="519" y="442"/>
                      <a:pt x="519" y="442"/>
                      <a:pt x="519" y="442"/>
                    </a:cubicBezTo>
                    <a:cubicBezTo>
                      <a:pt x="526" y="450"/>
                      <a:pt x="535" y="458"/>
                      <a:pt x="545" y="458"/>
                    </a:cubicBezTo>
                    <a:cubicBezTo>
                      <a:pt x="559" y="458"/>
                      <a:pt x="580" y="448"/>
                      <a:pt x="580" y="438"/>
                    </a:cubicBezTo>
                    <a:cubicBezTo>
                      <a:pt x="580" y="433"/>
                      <a:pt x="576" y="428"/>
                      <a:pt x="570" y="421"/>
                    </a:cubicBezTo>
                    <a:cubicBezTo>
                      <a:pt x="411" y="245"/>
                      <a:pt x="411" y="245"/>
                      <a:pt x="411" y="245"/>
                    </a:cubicBezTo>
                    <a:cubicBezTo>
                      <a:pt x="403" y="236"/>
                      <a:pt x="399" y="232"/>
                      <a:pt x="399" y="229"/>
                    </a:cubicBezTo>
                    <a:cubicBezTo>
                      <a:pt x="399" y="226"/>
                      <a:pt x="403" y="222"/>
                      <a:pt x="411" y="213"/>
                    </a:cubicBezTo>
                    <a:moveTo>
                      <a:pt x="252" y="439"/>
                    </a:moveTo>
                    <a:cubicBezTo>
                      <a:pt x="252" y="449"/>
                      <a:pt x="261" y="454"/>
                      <a:pt x="281" y="454"/>
                    </a:cubicBezTo>
                    <a:cubicBezTo>
                      <a:pt x="300" y="454"/>
                      <a:pt x="309" y="449"/>
                      <a:pt x="309" y="439"/>
                    </a:cubicBezTo>
                    <a:cubicBezTo>
                      <a:pt x="309" y="19"/>
                      <a:pt x="309" y="19"/>
                      <a:pt x="309" y="19"/>
                    </a:cubicBezTo>
                    <a:cubicBezTo>
                      <a:pt x="309" y="9"/>
                      <a:pt x="300" y="4"/>
                      <a:pt x="281" y="4"/>
                    </a:cubicBezTo>
                    <a:cubicBezTo>
                      <a:pt x="261" y="4"/>
                      <a:pt x="252" y="9"/>
                      <a:pt x="252" y="19"/>
                    </a:cubicBezTo>
                    <a:lnTo>
                      <a:pt x="252" y="439"/>
                    </a:lnTo>
                    <a:close/>
                    <a:moveTo>
                      <a:pt x="0" y="439"/>
                    </a:moveTo>
                    <a:cubicBezTo>
                      <a:pt x="0" y="449"/>
                      <a:pt x="8" y="454"/>
                      <a:pt x="28" y="454"/>
                    </a:cubicBezTo>
                    <a:cubicBezTo>
                      <a:pt x="48" y="454"/>
                      <a:pt x="56" y="449"/>
                      <a:pt x="56" y="439"/>
                    </a:cubicBezTo>
                    <a:cubicBezTo>
                      <a:pt x="56" y="157"/>
                      <a:pt x="56" y="157"/>
                      <a:pt x="56" y="157"/>
                    </a:cubicBezTo>
                    <a:cubicBezTo>
                      <a:pt x="56" y="83"/>
                      <a:pt x="85" y="53"/>
                      <a:pt x="165" y="53"/>
                    </a:cubicBezTo>
                    <a:cubicBezTo>
                      <a:pt x="180" y="53"/>
                      <a:pt x="180" y="53"/>
                      <a:pt x="180" y="53"/>
                    </a:cubicBezTo>
                    <a:cubicBezTo>
                      <a:pt x="192" y="53"/>
                      <a:pt x="196" y="43"/>
                      <a:pt x="196" y="27"/>
                    </a:cubicBezTo>
                    <a:cubicBezTo>
                      <a:pt x="196" y="8"/>
                      <a:pt x="185" y="4"/>
                      <a:pt x="154" y="4"/>
                    </a:cubicBezTo>
                    <a:cubicBezTo>
                      <a:pt x="64" y="4"/>
                      <a:pt x="0" y="43"/>
                      <a:pt x="0" y="152"/>
                    </a:cubicBezTo>
                    <a:lnTo>
                      <a:pt x="0" y="43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22" name="Freeform 7">
                <a:extLst>
                  <a:ext uri="{FF2B5EF4-FFF2-40B4-BE49-F238E27FC236}">
                    <a16:creationId xmlns:a16="http://schemas.microsoft.com/office/drawing/2014/main" id="{2F32DCBD-8628-F245-85CD-97686A20ECFD}"/>
                  </a:ext>
                </a:extLst>
              </p:cNvPr>
              <p:cNvSpPr>
                <a:spLocks/>
              </p:cNvSpPr>
              <p:nvPr/>
            </p:nvSpPr>
            <p:spPr bwMode="gray">
              <a:xfrm>
                <a:off x="2880" y="1704"/>
                <a:ext cx="618" cy="916"/>
              </a:xfrm>
              <a:custGeom>
                <a:avLst/>
                <a:gdLst>
                  <a:gd name="T0" fmla="*/ 307 w 307"/>
                  <a:gd name="T1" fmla="*/ 405 h 455"/>
                  <a:gd name="T2" fmla="*/ 307 w 307"/>
                  <a:gd name="T3" fmla="*/ 244 h 455"/>
                  <a:gd name="T4" fmla="*/ 279 w 307"/>
                  <a:gd name="T5" fmla="*/ 229 h 455"/>
                  <a:gd name="T6" fmla="*/ 250 w 307"/>
                  <a:gd name="T7" fmla="*/ 244 h 455"/>
                  <a:gd name="T8" fmla="*/ 250 w 307"/>
                  <a:gd name="T9" fmla="*/ 378 h 455"/>
                  <a:gd name="T10" fmla="*/ 199 w 307"/>
                  <a:gd name="T11" fmla="*/ 408 h 455"/>
                  <a:gd name="T12" fmla="*/ 61 w 307"/>
                  <a:gd name="T13" fmla="*/ 231 h 455"/>
                  <a:gd name="T14" fmla="*/ 238 w 307"/>
                  <a:gd name="T15" fmla="*/ 49 h 455"/>
                  <a:gd name="T16" fmla="*/ 270 w 307"/>
                  <a:gd name="T17" fmla="*/ 49 h 455"/>
                  <a:gd name="T18" fmla="*/ 286 w 307"/>
                  <a:gd name="T19" fmla="*/ 23 h 455"/>
                  <a:gd name="T20" fmla="*/ 244 w 307"/>
                  <a:gd name="T21" fmla="*/ 0 h 455"/>
                  <a:gd name="T22" fmla="*/ 231 w 307"/>
                  <a:gd name="T23" fmla="*/ 0 h 455"/>
                  <a:gd name="T24" fmla="*/ 0 w 307"/>
                  <a:gd name="T25" fmla="*/ 232 h 455"/>
                  <a:gd name="T26" fmla="*/ 198 w 307"/>
                  <a:gd name="T27" fmla="*/ 455 h 455"/>
                  <a:gd name="T28" fmla="*/ 307 w 307"/>
                  <a:gd name="T29" fmla="*/ 405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7" h="455">
                    <a:moveTo>
                      <a:pt x="307" y="405"/>
                    </a:moveTo>
                    <a:cubicBezTo>
                      <a:pt x="307" y="244"/>
                      <a:pt x="307" y="244"/>
                      <a:pt x="307" y="244"/>
                    </a:cubicBezTo>
                    <a:cubicBezTo>
                      <a:pt x="307" y="234"/>
                      <a:pt x="298" y="229"/>
                      <a:pt x="279" y="229"/>
                    </a:cubicBezTo>
                    <a:cubicBezTo>
                      <a:pt x="259" y="229"/>
                      <a:pt x="250" y="234"/>
                      <a:pt x="250" y="244"/>
                    </a:cubicBezTo>
                    <a:cubicBezTo>
                      <a:pt x="250" y="378"/>
                      <a:pt x="250" y="378"/>
                      <a:pt x="250" y="378"/>
                    </a:cubicBezTo>
                    <a:cubicBezTo>
                      <a:pt x="250" y="399"/>
                      <a:pt x="241" y="408"/>
                      <a:pt x="199" y="408"/>
                    </a:cubicBezTo>
                    <a:cubicBezTo>
                      <a:pt x="114" y="408"/>
                      <a:pt x="61" y="342"/>
                      <a:pt x="61" y="231"/>
                    </a:cubicBezTo>
                    <a:cubicBezTo>
                      <a:pt x="61" y="115"/>
                      <a:pt x="126" y="49"/>
                      <a:pt x="238" y="49"/>
                    </a:cubicBezTo>
                    <a:cubicBezTo>
                      <a:pt x="270" y="49"/>
                      <a:pt x="270" y="49"/>
                      <a:pt x="270" y="49"/>
                    </a:cubicBezTo>
                    <a:cubicBezTo>
                      <a:pt x="282" y="49"/>
                      <a:pt x="286" y="39"/>
                      <a:pt x="286" y="23"/>
                    </a:cubicBezTo>
                    <a:cubicBezTo>
                      <a:pt x="286" y="4"/>
                      <a:pt x="275" y="0"/>
                      <a:pt x="244" y="0"/>
                    </a:cubicBezTo>
                    <a:cubicBezTo>
                      <a:pt x="231" y="0"/>
                      <a:pt x="231" y="0"/>
                      <a:pt x="231" y="0"/>
                    </a:cubicBezTo>
                    <a:cubicBezTo>
                      <a:pt x="101" y="0"/>
                      <a:pt x="0" y="71"/>
                      <a:pt x="0" y="232"/>
                    </a:cubicBezTo>
                    <a:cubicBezTo>
                      <a:pt x="0" y="386"/>
                      <a:pt x="88" y="455"/>
                      <a:pt x="198" y="455"/>
                    </a:cubicBezTo>
                    <a:cubicBezTo>
                      <a:pt x="286" y="455"/>
                      <a:pt x="307" y="430"/>
                      <a:pt x="307" y="40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23" name="Oval 8">
                <a:extLst>
                  <a:ext uri="{FF2B5EF4-FFF2-40B4-BE49-F238E27FC236}">
                    <a16:creationId xmlns:a16="http://schemas.microsoft.com/office/drawing/2014/main" id="{60D97C11-1A3B-5449-A48D-98A3E79B3810}"/>
                  </a:ext>
                </a:extLst>
              </p:cNvPr>
              <p:cNvSpPr>
                <a:spLocks noChangeArrowheads="1"/>
              </p:cNvSpPr>
              <p:nvPr/>
            </p:nvSpPr>
            <p:spPr bwMode="gray">
              <a:xfrm>
                <a:off x="3778" y="2099"/>
                <a:ext cx="122" cy="12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24" name="Freeform 9">
                <a:extLst>
                  <a:ext uri="{FF2B5EF4-FFF2-40B4-BE49-F238E27FC236}">
                    <a16:creationId xmlns:a16="http://schemas.microsoft.com/office/drawing/2014/main" id="{5856770D-B8F0-244E-A05D-AED190086F10}"/>
                  </a:ext>
                </a:extLst>
              </p:cNvPr>
              <p:cNvSpPr>
                <a:spLocks noEditPoints="1"/>
              </p:cNvSpPr>
              <p:nvPr/>
            </p:nvSpPr>
            <p:spPr bwMode="gray">
              <a:xfrm>
                <a:off x="3623" y="1696"/>
                <a:ext cx="1167" cy="922"/>
              </a:xfrm>
              <a:custGeom>
                <a:avLst/>
                <a:gdLst>
                  <a:gd name="T0" fmla="*/ 411 w 580"/>
                  <a:gd name="T1" fmla="*/ 213 h 458"/>
                  <a:gd name="T2" fmla="*/ 570 w 580"/>
                  <a:gd name="T3" fmla="*/ 37 h 458"/>
                  <a:gd name="T4" fmla="*/ 580 w 580"/>
                  <a:gd name="T5" fmla="*/ 20 h 458"/>
                  <a:gd name="T6" fmla="*/ 545 w 580"/>
                  <a:gd name="T7" fmla="*/ 0 h 458"/>
                  <a:gd name="T8" fmla="*/ 519 w 580"/>
                  <a:gd name="T9" fmla="*/ 16 h 458"/>
                  <a:gd name="T10" fmla="*/ 344 w 580"/>
                  <a:gd name="T11" fmla="*/ 210 h 458"/>
                  <a:gd name="T12" fmla="*/ 334 w 580"/>
                  <a:gd name="T13" fmla="*/ 229 h 458"/>
                  <a:gd name="T14" fmla="*/ 344 w 580"/>
                  <a:gd name="T15" fmla="*/ 248 h 458"/>
                  <a:gd name="T16" fmla="*/ 519 w 580"/>
                  <a:gd name="T17" fmla="*/ 442 h 458"/>
                  <a:gd name="T18" fmla="*/ 545 w 580"/>
                  <a:gd name="T19" fmla="*/ 458 h 458"/>
                  <a:gd name="T20" fmla="*/ 580 w 580"/>
                  <a:gd name="T21" fmla="*/ 438 h 458"/>
                  <a:gd name="T22" fmla="*/ 570 w 580"/>
                  <a:gd name="T23" fmla="*/ 421 h 458"/>
                  <a:gd name="T24" fmla="*/ 411 w 580"/>
                  <a:gd name="T25" fmla="*/ 245 h 458"/>
                  <a:gd name="T26" fmla="*/ 399 w 580"/>
                  <a:gd name="T27" fmla="*/ 229 h 458"/>
                  <a:gd name="T28" fmla="*/ 411 w 580"/>
                  <a:gd name="T29" fmla="*/ 213 h 458"/>
                  <a:gd name="T30" fmla="*/ 252 w 580"/>
                  <a:gd name="T31" fmla="*/ 439 h 458"/>
                  <a:gd name="T32" fmla="*/ 281 w 580"/>
                  <a:gd name="T33" fmla="*/ 454 h 458"/>
                  <a:gd name="T34" fmla="*/ 309 w 580"/>
                  <a:gd name="T35" fmla="*/ 439 h 458"/>
                  <a:gd name="T36" fmla="*/ 309 w 580"/>
                  <a:gd name="T37" fmla="*/ 19 h 458"/>
                  <a:gd name="T38" fmla="*/ 281 w 580"/>
                  <a:gd name="T39" fmla="*/ 4 h 458"/>
                  <a:gd name="T40" fmla="*/ 252 w 580"/>
                  <a:gd name="T41" fmla="*/ 19 h 458"/>
                  <a:gd name="T42" fmla="*/ 252 w 580"/>
                  <a:gd name="T43" fmla="*/ 439 h 458"/>
                  <a:gd name="T44" fmla="*/ 0 w 580"/>
                  <a:gd name="T45" fmla="*/ 439 h 458"/>
                  <a:gd name="T46" fmla="*/ 28 w 580"/>
                  <a:gd name="T47" fmla="*/ 454 h 458"/>
                  <a:gd name="T48" fmla="*/ 56 w 580"/>
                  <a:gd name="T49" fmla="*/ 439 h 458"/>
                  <a:gd name="T50" fmla="*/ 56 w 580"/>
                  <a:gd name="T51" fmla="*/ 157 h 458"/>
                  <a:gd name="T52" fmla="*/ 165 w 580"/>
                  <a:gd name="T53" fmla="*/ 53 h 458"/>
                  <a:gd name="T54" fmla="*/ 180 w 580"/>
                  <a:gd name="T55" fmla="*/ 53 h 458"/>
                  <a:gd name="T56" fmla="*/ 196 w 580"/>
                  <a:gd name="T57" fmla="*/ 27 h 458"/>
                  <a:gd name="T58" fmla="*/ 154 w 580"/>
                  <a:gd name="T59" fmla="*/ 4 h 458"/>
                  <a:gd name="T60" fmla="*/ 0 w 580"/>
                  <a:gd name="T61" fmla="*/ 152 h 458"/>
                  <a:gd name="T62" fmla="*/ 0 w 580"/>
                  <a:gd name="T63" fmla="*/ 439 h 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80" h="458">
                    <a:moveTo>
                      <a:pt x="411" y="213"/>
                    </a:moveTo>
                    <a:cubicBezTo>
                      <a:pt x="570" y="37"/>
                      <a:pt x="570" y="37"/>
                      <a:pt x="570" y="37"/>
                    </a:cubicBezTo>
                    <a:cubicBezTo>
                      <a:pt x="576" y="30"/>
                      <a:pt x="580" y="25"/>
                      <a:pt x="580" y="20"/>
                    </a:cubicBezTo>
                    <a:cubicBezTo>
                      <a:pt x="580" y="10"/>
                      <a:pt x="559" y="0"/>
                      <a:pt x="545" y="0"/>
                    </a:cubicBezTo>
                    <a:cubicBezTo>
                      <a:pt x="535" y="0"/>
                      <a:pt x="526" y="8"/>
                      <a:pt x="519" y="16"/>
                    </a:cubicBezTo>
                    <a:cubicBezTo>
                      <a:pt x="344" y="210"/>
                      <a:pt x="344" y="210"/>
                      <a:pt x="344" y="210"/>
                    </a:cubicBezTo>
                    <a:cubicBezTo>
                      <a:pt x="336" y="219"/>
                      <a:pt x="334" y="224"/>
                      <a:pt x="334" y="229"/>
                    </a:cubicBezTo>
                    <a:cubicBezTo>
                      <a:pt x="334" y="234"/>
                      <a:pt x="336" y="239"/>
                      <a:pt x="344" y="248"/>
                    </a:cubicBezTo>
                    <a:cubicBezTo>
                      <a:pt x="519" y="442"/>
                      <a:pt x="519" y="442"/>
                      <a:pt x="519" y="442"/>
                    </a:cubicBezTo>
                    <a:cubicBezTo>
                      <a:pt x="526" y="450"/>
                      <a:pt x="535" y="458"/>
                      <a:pt x="545" y="458"/>
                    </a:cubicBezTo>
                    <a:cubicBezTo>
                      <a:pt x="559" y="458"/>
                      <a:pt x="580" y="448"/>
                      <a:pt x="580" y="438"/>
                    </a:cubicBezTo>
                    <a:cubicBezTo>
                      <a:pt x="580" y="433"/>
                      <a:pt x="576" y="428"/>
                      <a:pt x="570" y="421"/>
                    </a:cubicBezTo>
                    <a:cubicBezTo>
                      <a:pt x="411" y="245"/>
                      <a:pt x="411" y="245"/>
                      <a:pt x="411" y="245"/>
                    </a:cubicBezTo>
                    <a:cubicBezTo>
                      <a:pt x="403" y="236"/>
                      <a:pt x="399" y="232"/>
                      <a:pt x="399" y="229"/>
                    </a:cubicBezTo>
                    <a:cubicBezTo>
                      <a:pt x="399" y="226"/>
                      <a:pt x="403" y="222"/>
                      <a:pt x="411" y="213"/>
                    </a:cubicBezTo>
                    <a:moveTo>
                      <a:pt x="252" y="439"/>
                    </a:moveTo>
                    <a:cubicBezTo>
                      <a:pt x="252" y="449"/>
                      <a:pt x="261" y="454"/>
                      <a:pt x="281" y="454"/>
                    </a:cubicBezTo>
                    <a:cubicBezTo>
                      <a:pt x="300" y="454"/>
                      <a:pt x="309" y="449"/>
                      <a:pt x="309" y="439"/>
                    </a:cubicBezTo>
                    <a:cubicBezTo>
                      <a:pt x="309" y="19"/>
                      <a:pt x="309" y="19"/>
                      <a:pt x="309" y="19"/>
                    </a:cubicBezTo>
                    <a:cubicBezTo>
                      <a:pt x="309" y="9"/>
                      <a:pt x="300" y="4"/>
                      <a:pt x="281" y="4"/>
                    </a:cubicBezTo>
                    <a:cubicBezTo>
                      <a:pt x="261" y="4"/>
                      <a:pt x="252" y="9"/>
                      <a:pt x="252" y="19"/>
                    </a:cubicBezTo>
                    <a:lnTo>
                      <a:pt x="252" y="439"/>
                    </a:lnTo>
                    <a:close/>
                    <a:moveTo>
                      <a:pt x="0" y="439"/>
                    </a:moveTo>
                    <a:cubicBezTo>
                      <a:pt x="0" y="449"/>
                      <a:pt x="8" y="454"/>
                      <a:pt x="28" y="454"/>
                    </a:cubicBezTo>
                    <a:cubicBezTo>
                      <a:pt x="48" y="454"/>
                      <a:pt x="56" y="449"/>
                      <a:pt x="56" y="439"/>
                    </a:cubicBezTo>
                    <a:cubicBezTo>
                      <a:pt x="56" y="157"/>
                      <a:pt x="56" y="157"/>
                      <a:pt x="56" y="157"/>
                    </a:cubicBezTo>
                    <a:cubicBezTo>
                      <a:pt x="56" y="83"/>
                      <a:pt x="85" y="53"/>
                      <a:pt x="165" y="53"/>
                    </a:cubicBezTo>
                    <a:cubicBezTo>
                      <a:pt x="180" y="53"/>
                      <a:pt x="180" y="53"/>
                      <a:pt x="180" y="53"/>
                    </a:cubicBezTo>
                    <a:cubicBezTo>
                      <a:pt x="192" y="53"/>
                      <a:pt x="196" y="43"/>
                      <a:pt x="196" y="27"/>
                    </a:cubicBezTo>
                    <a:cubicBezTo>
                      <a:pt x="196" y="8"/>
                      <a:pt x="185" y="4"/>
                      <a:pt x="154" y="4"/>
                    </a:cubicBezTo>
                    <a:cubicBezTo>
                      <a:pt x="64" y="4"/>
                      <a:pt x="0" y="43"/>
                      <a:pt x="0" y="152"/>
                    </a:cubicBezTo>
                    <a:lnTo>
                      <a:pt x="0" y="43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25" name="Freeform 10">
                <a:extLst>
                  <a:ext uri="{FF2B5EF4-FFF2-40B4-BE49-F238E27FC236}">
                    <a16:creationId xmlns:a16="http://schemas.microsoft.com/office/drawing/2014/main" id="{2B91B16B-BC11-E547-8FAC-B9B8D18EA449}"/>
                  </a:ext>
                </a:extLst>
              </p:cNvPr>
              <p:cNvSpPr>
                <a:spLocks/>
              </p:cNvSpPr>
              <p:nvPr/>
            </p:nvSpPr>
            <p:spPr bwMode="gray">
              <a:xfrm>
                <a:off x="2880" y="1704"/>
                <a:ext cx="618" cy="916"/>
              </a:xfrm>
              <a:custGeom>
                <a:avLst/>
                <a:gdLst>
                  <a:gd name="T0" fmla="*/ 307 w 307"/>
                  <a:gd name="T1" fmla="*/ 405 h 455"/>
                  <a:gd name="T2" fmla="*/ 307 w 307"/>
                  <a:gd name="T3" fmla="*/ 244 h 455"/>
                  <a:gd name="T4" fmla="*/ 279 w 307"/>
                  <a:gd name="T5" fmla="*/ 229 h 455"/>
                  <a:gd name="T6" fmla="*/ 250 w 307"/>
                  <a:gd name="T7" fmla="*/ 244 h 455"/>
                  <a:gd name="T8" fmla="*/ 250 w 307"/>
                  <a:gd name="T9" fmla="*/ 378 h 455"/>
                  <a:gd name="T10" fmla="*/ 199 w 307"/>
                  <a:gd name="T11" fmla="*/ 408 h 455"/>
                  <a:gd name="T12" fmla="*/ 61 w 307"/>
                  <a:gd name="T13" fmla="*/ 231 h 455"/>
                  <a:gd name="T14" fmla="*/ 238 w 307"/>
                  <a:gd name="T15" fmla="*/ 49 h 455"/>
                  <a:gd name="T16" fmla="*/ 270 w 307"/>
                  <a:gd name="T17" fmla="*/ 49 h 455"/>
                  <a:gd name="T18" fmla="*/ 286 w 307"/>
                  <a:gd name="T19" fmla="*/ 23 h 455"/>
                  <a:gd name="T20" fmla="*/ 244 w 307"/>
                  <a:gd name="T21" fmla="*/ 0 h 455"/>
                  <a:gd name="T22" fmla="*/ 231 w 307"/>
                  <a:gd name="T23" fmla="*/ 0 h 455"/>
                  <a:gd name="T24" fmla="*/ 0 w 307"/>
                  <a:gd name="T25" fmla="*/ 232 h 455"/>
                  <a:gd name="T26" fmla="*/ 198 w 307"/>
                  <a:gd name="T27" fmla="*/ 455 h 455"/>
                  <a:gd name="T28" fmla="*/ 307 w 307"/>
                  <a:gd name="T29" fmla="*/ 405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7" h="455">
                    <a:moveTo>
                      <a:pt x="307" y="405"/>
                    </a:moveTo>
                    <a:cubicBezTo>
                      <a:pt x="307" y="244"/>
                      <a:pt x="307" y="244"/>
                      <a:pt x="307" y="244"/>
                    </a:cubicBezTo>
                    <a:cubicBezTo>
                      <a:pt x="307" y="234"/>
                      <a:pt x="298" y="229"/>
                      <a:pt x="279" y="229"/>
                    </a:cubicBezTo>
                    <a:cubicBezTo>
                      <a:pt x="259" y="229"/>
                      <a:pt x="250" y="234"/>
                      <a:pt x="250" y="244"/>
                    </a:cubicBezTo>
                    <a:cubicBezTo>
                      <a:pt x="250" y="378"/>
                      <a:pt x="250" y="378"/>
                      <a:pt x="250" y="378"/>
                    </a:cubicBezTo>
                    <a:cubicBezTo>
                      <a:pt x="250" y="399"/>
                      <a:pt x="241" y="408"/>
                      <a:pt x="199" y="408"/>
                    </a:cubicBezTo>
                    <a:cubicBezTo>
                      <a:pt x="114" y="408"/>
                      <a:pt x="61" y="342"/>
                      <a:pt x="61" y="231"/>
                    </a:cubicBezTo>
                    <a:cubicBezTo>
                      <a:pt x="61" y="115"/>
                      <a:pt x="126" y="49"/>
                      <a:pt x="238" y="49"/>
                    </a:cubicBezTo>
                    <a:cubicBezTo>
                      <a:pt x="270" y="49"/>
                      <a:pt x="270" y="49"/>
                      <a:pt x="270" y="49"/>
                    </a:cubicBezTo>
                    <a:cubicBezTo>
                      <a:pt x="282" y="49"/>
                      <a:pt x="286" y="39"/>
                      <a:pt x="286" y="23"/>
                    </a:cubicBezTo>
                    <a:cubicBezTo>
                      <a:pt x="286" y="4"/>
                      <a:pt x="275" y="0"/>
                      <a:pt x="244" y="0"/>
                    </a:cubicBezTo>
                    <a:cubicBezTo>
                      <a:pt x="231" y="0"/>
                      <a:pt x="231" y="0"/>
                      <a:pt x="231" y="0"/>
                    </a:cubicBezTo>
                    <a:cubicBezTo>
                      <a:pt x="101" y="0"/>
                      <a:pt x="0" y="71"/>
                      <a:pt x="0" y="232"/>
                    </a:cubicBezTo>
                    <a:cubicBezTo>
                      <a:pt x="0" y="386"/>
                      <a:pt x="88" y="455"/>
                      <a:pt x="198" y="455"/>
                    </a:cubicBezTo>
                    <a:cubicBezTo>
                      <a:pt x="286" y="455"/>
                      <a:pt x="307" y="430"/>
                      <a:pt x="307" y="40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26" name="Oval 11">
                <a:extLst>
                  <a:ext uri="{FF2B5EF4-FFF2-40B4-BE49-F238E27FC236}">
                    <a16:creationId xmlns:a16="http://schemas.microsoft.com/office/drawing/2014/main" id="{14F8C3C8-4888-7646-B9B4-64EB46A1DA23}"/>
                  </a:ext>
                </a:extLst>
              </p:cNvPr>
              <p:cNvSpPr>
                <a:spLocks noChangeArrowheads="1"/>
              </p:cNvSpPr>
              <p:nvPr/>
            </p:nvSpPr>
            <p:spPr bwMode="gray">
              <a:xfrm>
                <a:off x="3778" y="2099"/>
                <a:ext cx="122" cy="12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27" name="Freeform 12">
                <a:extLst>
                  <a:ext uri="{FF2B5EF4-FFF2-40B4-BE49-F238E27FC236}">
                    <a16:creationId xmlns:a16="http://schemas.microsoft.com/office/drawing/2014/main" id="{D79D01D1-4E3E-F34B-97D7-2D387E68746E}"/>
                  </a:ext>
                </a:extLst>
              </p:cNvPr>
              <p:cNvSpPr>
                <a:spLocks/>
              </p:cNvSpPr>
              <p:nvPr/>
            </p:nvSpPr>
            <p:spPr bwMode="gray">
              <a:xfrm>
                <a:off x="4321" y="1029"/>
                <a:ext cx="648" cy="649"/>
              </a:xfrm>
              <a:custGeom>
                <a:avLst/>
                <a:gdLst>
                  <a:gd name="T0" fmla="*/ 0 w 648"/>
                  <a:gd name="T1" fmla="*/ 649 h 649"/>
                  <a:gd name="T2" fmla="*/ 2 w 648"/>
                  <a:gd name="T3" fmla="*/ 649 h 649"/>
                  <a:gd name="T4" fmla="*/ 648 w 648"/>
                  <a:gd name="T5" fmla="*/ 0 h 649"/>
                  <a:gd name="T6" fmla="*/ 423 w 648"/>
                  <a:gd name="T7" fmla="*/ 0 h 649"/>
                  <a:gd name="T8" fmla="*/ 0 w 648"/>
                  <a:gd name="T9" fmla="*/ 649 h 649"/>
                </a:gdLst>
                <a:ahLst/>
                <a:cxnLst>
                  <a:cxn ang="0">
                    <a:pos x="T0" y="T1"/>
                  </a:cxn>
                  <a:cxn ang="0">
                    <a:pos x="T2" y="T3"/>
                  </a:cxn>
                  <a:cxn ang="0">
                    <a:pos x="T4" y="T5"/>
                  </a:cxn>
                  <a:cxn ang="0">
                    <a:pos x="T6" y="T7"/>
                  </a:cxn>
                  <a:cxn ang="0">
                    <a:pos x="T8" y="T9"/>
                  </a:cxn>
                </a:cxnLst>
                <a:rect l="0" t="0" r="r" b="b"/>
                <a:pathLst>
                  <a:path w="648" h="649">
                    <a:moveTo>
                      <a:pt x="0" y="649"/>
                    </a:moveTo>
                    <a:lnTo>
                      <a:pt x="2" y="649"/>
                    </a:lnTo>
                    <a:lnTo>
                      <a:pt x="648" y="0"/>
                    </a:lnTo>
                    <a:lnTo>
                      <a:pt x="423" y="0"/>
                    </a:lnTo>
                    <a:lnTo>
                      <a:pt x="0" y="64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28" name="Freeform 13">
                <a:extLst>
                  <a:ext uri="{FF2B5EF4-FFF2-40B4-BE49-F238E27FC236}">
                    <a16:creationId xmlns:a16="http://schemas.microsoft.com/office/drawing/2014/main" id="{46549898-6C52-B147-A8F6-A73FDBE6163B}"/>
                  </a:ext>
                </a:extLst>
              </p:cNvPr>
              <p:cNvSpPr>
                <a:spLocks/>
              </p:cNvSpPr>
              <p:nvPr/>
            </p:nvSpPr>
            <p:spPr bwMode="gray">
              <a:xfrm>
                <a:off x="4321" y="1029"/>
                <a:ext cx="648" cy="649"/>
              </a:xfrm>
              <a:custGeom>
                <a:avLst/>
                <a:gdLst>
                  <a:gd name="T0" fmla="*/ 0 w 648"/>
                  <a:gd name="T1" fmla="*/ 649 h 649"/>
                  <a:gd name="T2" fmla="*/ 2 w 648"/>
                  <a:gd name="T3" fmla="*/ 649 h 649"/>
                  <a:gd name="T4" fmla="*/ 648 w 648"/>
                  <a:gd name="T5" fmla="*/ 0 h 649"/>
                  <a:gd name="T6" fmla="*/ 423 w 648"/>
                  <a:gd name="T7" fmla="*/ 0 h 649"/>
                  <a:gd name="T8" fmla="*/ 0 w 648"/>
                  <a:gd name="T9" fmla="*/ 649 h 649"/>
                </a:gdLst>
                <a:ahLst/>
                <a:cxnLst>
                  <a:cxn ang="0">
                    <a:pos x="T0" y="T1"/>
                  </a:cxn>
                  <a:cxn ang="0">
                    <a:pos x="T2" y="T3"/>
                  </a:cxn>
                  <a:cxn ang="0">
                    <a:pos x="T4" y="T5"/>
                  </a:cxn>
                  <a:cxn ang="0">
                    <a:pos x="T6" y="T7"/>
                  </a:cxn>
                  <a:cxn ang="0">
                    <a:pos x="T8" y="T9"/>
                  </a:cxn>
                </a:cxnLst>
                <a:rect l="0" t="0" r="r" b="b"/>
                <a:pathLst>
                  <a:path w="648" h="649">
                    <a:moveTo>
                      <a:pt x="0" y="649"/>
                    </a:moveTo>
                    <a:lnTo>
                      <a:pt x="2" y="649"/>
                    </a:lnTo>
                    <a:lnTo>
                      <a:pt x="648" y="0"/>
                    </a:lnTo>
                    <a:lnTo>
                      <a:pt x="423" y="0"/>
                    </a:lnTo>
                    <a:lnTo>
                      <a:pt x="0" y="64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grpSp>
      </p:grpSp>
      <p:sp>
        <p:nvSpPr>
          <p:cNvPr id="7" name="Date Placeholder 6"/>
          <p:cNvSpPr>
            <a:spLocks noGrp="1"/>
          </p:cNvSpPr>
          <p:nvPr>
            <p:ph type="dt" sz="half" idx="10"/>
          </p:nvPr>
        </p:nvSpPr>
        <p:spPr>
          <a:xfrm>
            <a:off x="0" y="0"/>
            <a:ext cx="0" cy="0"/>
          </a:xfrm>
          <a:prstGeom prst="rect">
            <a:avLst/>
          </a:prstGeom>
        </p:spPr>
        <p:txBody>
          <a:bodyPr/>
          <a:lstStyle>
            <a:lvl1pPr>
              <a:defRPr sz="100">
                <a:noFill/>
              </a:defRPr>
            </a:lvl1pPr>
          </a:lstStyle>
          <a:p>
            <a:fld id="{7630F4D0-4FCA-495D-93CB-4308FDD6CACA}" type="datetime5">
              <a:rPr lang="en-US" smtClean="0"/>
              <a:t>26-Jun-20</a:t>
            </a:fld>
            <a:endParaRPr lang="en-US"/>
          </a:p>
        </p:txBody>
      </p:sp>
      <p:sp>
        <p:nvSpPr>
          <p:cNvPr id="8" name="Footer Placeholder 7"/>
          <p:cNvSpPr>
            <a:spLocks noGrp="1"/>
          </p:cNvSpPr>
          <p:nvPr>
            <p:ph type="ftr" sz="quarter" idx="11"/>
          </p:nvPr>
        </p:nvSpPr>
        <p:spPr>
          <a:xfrm>
            <a:off x="0" y="0"/>
            <a:ext cx="0" cy="0"/>
          </a:xfrm>
          <a:prstGeom prst="rect">
            <a:avLst/>
          </a:prstGeom>
        </p:spPr>
        <p:txBody>
          <a:bodyPr/>
          <a:lstStyle>
            <a:lvl1pPr marL="0" indent="0">
              <a:buNone/>
              <a:defRPr sz="100">
                <a:noFill/>
              </a:defRPr>
            </a:lvl1pPr>
          </a:lstStyle>
          <a:p>
            <a:r>
              <a:rPr lang="en-US"/>
              <a:t>Title of presentation (Insert / Header &amp; Footer / Apply to All)</a:t>
            </a:r>
          </a:p>
        </p:txBody>
      </p:sp>
      <p:sp>
        <p:nvSpPr>
          <p:cNvPr id="9" name="Slide Number Placeholder 8"/>
          <p:cNvSpPr>
            <a:spLocks noGrp="1"/>
          </p:cNvSpPr>
          <p:nvPr>
            <p:ph type="sldNum" sz="quarter" idx="12"/>
          </p:nvPr>
        </p:nvSpPr>
        <p:spPr>
          <a:xfrm>
            <a:off x="0" y="0"/>
            <a:ext cx="0" cy="0"/>
          </a:xfrm>
          <a:prstGeom prst="rect">
            <a:avLst/>
          </a:prstGeom>
        </p:spPr>
        <p:txBody>
          <a:bodyPr/>
          <a:lstStyle>
            <a:lvl1pPr>
              <a:defRPr sz="100">
                <a:noFill/>
              </a:defRPr>
            </a:lvl1pPr>
          </a:lstStyle>
          <a:p>
            <a:fld id="{8E3B25F7-8D1F-44B5-B485-EE3C438CFD7B}" type="slidenum">
              <a:rPr lang="en-US" smtClean="0"/>
              <a:pPr/>
              <a:t>‹#›</a:t>
            </a:fld>
            <a:endParaRPr lang="en-US"/>
          </a:p>
        </p:txBody>
      </p:sp>
      <p:sp>
        <p:nvSpPr>
          <p:cNvPr id="2" name="Title 1"/>
          <p:cNvSpPr>
            <a:spLocks noGrp="1"/>
          </p:cNvSpPr>
          <p:nvPr>
            <p:ph type="ctrTitle" hasCustomPrompt="1"/>
          </p:nvPr>
        </p:nvSpPr>
        <p:spPr>
          <a:xfrm>
            <a:off x="4524589" y="1628775"/>
            <a:ext cx="5707662" cy="2236264"/>
          </a:xfrm>
        </p:spPr>
        <p:txBody>
          <a:bodyPr anchor="b"/>
          <a:lstStyle>
            <a:lvl1pPr algn="l">
              <a:defRPr sz="3600" baseline="0"/>
            </a:lvl1pPr>
          </a:lstStyle>
          <a:p>
            <a:r>
              <a:rPr lang="en-US"/>
              <a:t>Click to add a longer presentation title</a:t>
            </a:r>
          </a:p>
        </p:txBody>
      </p:sp>
      <p:sp>
        <p:nvSpPr>
          <p:cNvPr id="3" name="Subtitle 2"/>
          <p:cNvSpPr>
            <a:spLocks noGrp="1"/>
          </p:cNvSpPr>
          <p:nvPr>
            <p:ph type="subTitle" idx="1" hasCustomPrompt="1"/>
          </p:nvPr>
        </p:nvSpPr>
        <p:spPr>
          <a:xfrm>
            <a:off x="4524589" y="4094163"/>
            <a:ext cx="5707662" cy="1080000"/>
          </a:xfrm>
        </p:spPr>
        <p:txBody>
          <a:bodyPr/>
          <a:lstStyle>
            <a:lvl1pPr marL="0" indent="0" algn="l">
              <a:spcBef>
                <a:spcPts val="0"/>
              </a:spcBef>
              <a:buNone/>
              <a:defRPr sz="1800" b="1"/>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sp>
        <p:nvSpPr>
          <p:cNvPr id="31" name="Text Placeholder 30"/>
          <p:cNvSpPr>
            <a:spLocks noGrp="1"/>
          </p:cNvSpPr>
          <p:nvPr>
            <p:ph type="body" sz="quarter" idx="14" hasCustomPrompt="1"/>
          </p:nvPr>
        </p:nvSpPr>
        <p:spPr>
          <a:xfrm>
            <a:off x="417600" y="5393268"/>
            <a:ext cx="2494933" cy="296332"/>
          </a:xfrm>
        </p:spPr>
        <p:txBody>
          <a:bodyPr wrap="none"/>
          <a:lstStyle>
            <a:lvl1pPr marL="0" indent="0">
              <a:spcBef>
                <a:spcPts val="0"/>
              </a:spcBef>
              <a:buNone/>
              <a:defRPr sz="1200"/>
            </a:lvl1pPr>
            <a:lvl2pPr marL="0" indent="0">
              <a:buNone/>
              <a:defRPr sz="1200"/>
            </a:lvl2pPr>
            <a:lvl3pPr marL="0" indent="0">
              <a:buNone/>
              <a:defRPr sz="1200"/>
            </a:lvl3pPr>
            <a:lvl4pPr marL="0">
              <a:buNone/>
              <a:defRPr sz="1200"/>
            </a:lvl4pPr>
            <a:lvl5pPr marL="0" indent="0">
              <a:buNone/>
              <a:defRPr sz="1200"/>
            </a:lvl5pPr>
          </a:lstStyle>
          <a:p>
            <a:pPr lvl="0"/>
            <a:r>
              <a:rPr lang="en-US"/>
              <a:t>Name</a:t>
            </a:r>
          </a:p>
        </p:txBody>
      </p:sp>
      <p:sp>
        <p:nvSpPr>
          <p:cNvPr id="34" name="Text Placeholder 30"/>
          <p:cNvSpPr>
            <a:spLocks noGrp="1"/>
          </p:cNvSpPr>
          <p:nvPr>
            <p:ph type="body" sz="quarter" idx="15" hasCustomPrompt="1"/>
          </p:nvPr>
        </p:nvSpPr>
        <p:spPr>
          <a:xfrm>
            <a:off x="417600" y="5691446"/>
            <a:ext cx="2494933" cy="296332"/>
          </a:xfrm>
        </p:spPr>
        <p:txBody>
          <a:bodyPr wrap="none"/>
          <a:lstStyle>
            <a:lvl1pPr marL="0" indent="0">
              <a:spcBef>
                <a:spcPts val="0"/>
              </a:spcBef>
              <a:buNone/>
              <a:defRPr sz="1200"/>
            </a:lvl1pPr>
            <a:lvl2pPr marL="0" indent="0">
              <a:buNone/>
              <a:defRPr sz="1200"/>
            </a:lvl2pPr>
            <a:lvl3pPr marL="0" indent="0">
              <a:buNone/>
              <a:defRPr sz="1200"/>
            </a:lvl3pPr>
            <a:lvl4pPr marL="0">
              <a:buNone/>
              <a:defRPr sz="1200"/>
            </a:lvl4pPr>
            <a:lvl5pPr marL="0" indent="0">
              <a:buNone/>
              <a:defRPr sz="1200"/>
            </a:lvl5pPr>
          </a:lstStyle>
          <a:p>
            <a:pPr lvl="0"/>
            <a:r>
              <a:rPr lang="en-US"/>
              <a:t>Department</a:t>
            </a:r>
          </a:p>
        </p:txBody>
      </p:sp>
    </p:spTree>
    <p:extLst>
      <p:ext uri="{BB962C8B-B14F-4D97-AF65-F5344CB8AC3E}">
        <p14:creationId xmlns:p14="http://schemas.microsoft.com/office/powerpoint/2010/main" val="2026344406"/>
      </p:ext>
    </p:extLst>
  </p:cSld>
  <p:clrMapOvr>
    <a:masterClrMapping/>
  </p:clrMapOvr>
</p:sldLayout>
</file>

<file path=ppt/slideLayouts/slideLayout539.xml><?xml version="1.0" encoding="utf-8"?>
<p:sldLayout xmlns:a="http://schemas.openxmlformats.org/drawingml/2006/main" xmlns:r="http://schemas.openxmlformats.org/officeDocument/2006/relationships" xmlns:p="http://schemas.openxmlformats.org/presentationml/2006/main" showMasterSp="0" preserve="1">
  <p:cSld name="Title with picture">
    <p:spTree>
      <p:nvGrpSpPr>
        <p:cNvPr id="1" name=""/>
        <p:cNvGrpSpPr/>
        <p:nvPr/>
      </p:nvGrpSpPr>
      <p:grpSpPr>
        <a:xfrm>
          <a:off x="0" y="0"/>
          <a:ext cx="0" cy="0"/>
          <a:chOff x="0" y="0"/>
          <a:chExt cx="0" cy="0"/>
        </a:xfrm>
      </p:grpSpPr>
      <p:sp>
        <p:nvSpPr>
          <p:cNvPr id="12" name="Picture Placeholder 11"/>
          <p:cNvSpPr>
            <a:spLocks noGrp="1"/>
          </p:cNvSpPr>
          <p:nvPr>
            <p:ph type="pic" sz="quarter" idx="13" hasCustomPrompt="1"/>
          </p:nvPr>
        </p:nvSpPr>
        <p:spPr>
          <a:xfrm>
            <a:off x="3376226" y="0"/>
            <a:ext cx="8815774" cy="6858000"/>
          </a:xfrm>
          <a:custGeom>
            <a:avLst/>
            <a:gdLst>
              <a:gd name="connsiteX0" fmla="*/ 331042 w 8815774"/>
              <a:gd name="connsiteY0" fmla="*/ 0 h 6858000"/>
              <a:gd name="connsiteX1" fmla="*/ 8815774 w 8815774"/>
              <a:gd name="connsiteY1" fmla="*/ 0 h 6858000"/>
              <a:gd name="connsiteX2" fmla="*/ 8815774 w 8815774"/>
              <a:gd name="connsiteY2" fmla="*/ 6858000 h 6858000"/>
              <a:gd name="connsiteX3" fmla="*/ 0 w 8815774"/>
              <a:gd name="connsiteY3" fmla="*/ 6858000 h 6858000"/>
              <a:gd name="connsiteX4" fmla="*/ 1580491 w 8815774"/>
              <a:gd name="connsiteY4" fmla="*/ 4163677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15774" h="6858000">
                <a:moveTo>
                  <a:pt x="331042" y="0"/>
                </a:moveTo>
                <a:lnTo>
                  <a:pt x="8815774" y="0"/>
                </a:lnTo>
                <a:lnTo>
                  <a:pt x="8815774" y="6858000"/>
                </a:lnTo>
                <a:lnTo>
                  <a:pt x="0" y="6858000"/>
                </a:lnTo>
                <a:lnTo>
                  <a:pt x="1580491" y="4163677"/>
                </a:lnTo>
                <a:close/>
              </a:path>
            </a:pathLst>
          </a:custGeom>
          <a:solidFill>
            <a:srgbClr val="D9DADB"/>
          </a:solidFill>
        </p:spPr>
        <p:txBody>
          <a:bodyPr wrap="square">
            <a:noAutofit/>
          </a:bodyPr>
          <a:lstStyle>
            <a:lvl1pPr marL="0" indent="0" algn="ctr">
              <a:buNone/>
              <a:defRPr/>
            </a:lvl1pPr>
          </a:lstStyle>
          <a:p>
            <a:r>
              <a:rPr lang="en-US"/>
              <a:t>Insert picture</a:t>
            </a:r>
          </a:p>
        </p:txBody>
      </p:sp>
      <p:grpSp>
        <p:nvGrpSpPr>
          <p:cNvPr id="14" name="logo">
            <a:extLst>
              <a:ext uri="{FF2B5EF4-FFF2-40B4-BE49-F238E27FC236}">
                <a16:creationId xmlns:a16="http://schemas.microsoft.com/office/drawing/2014/main" id="{18C26D95-70F8-8A4D-9F18-DCCB92522AF8}"/>
              </a:ext>
            </a:extLst>
          </p:cNvPr>
          <p:cNvGrpSpPr/>
          <p:nvPr/>
        </p:nvGrpSpPr>
        <p:grpSpPr bwMode="gray">
          <a:xfrm>
            <a:off x="417363" y="407485"/>
            <a:ext cx="1518585" cy="646507"/>
            <a:chOff x="334963" y="296652"/>
            <a:chExt cx="1268411" cy="540000"/>
          </a:xfrm>
        </p:grpSpPr>
        <p:sp>
          <p:nvSpPr>
            <p:cNvPr id="17" name="Freeform 6">
              <a:extLst>
                <a:ext uri="{FF2B5EF4-FFF2-40B4-BE49-F238E27FC236}">
                  <a16:creationId xmlns:a16="http://schemas.microsoft.com/office/drawing/2014/main" id="{08737AD0-E375-E445-97E6-CD2E2DF60620}"/>
                </a:ext>
              </a:extLst>
            </p:cNvPr>
            <p:cNvSpPr>
              <a:spLocks noEditPoints="1"/>
            </p:cNvSpPr>
            <p:nvPr/>
          </p:nvSpPr>
          <p:spPr bwMode="gray">
            <a:xfrm>
              <a:off x="982662" y="360462"/>
              <a:ext cx="620712" cy="431800"/>
            </a:xfrm>
            <a:custGeom>
              <a:avLst/>
              <a:gdLst>
                <a:gd name="T0" fmla="*/ 19 w 1809"/>
                <a:gd name="T1" fmla="*/ 97 h 1253"/>
                <a:gd name="T2" fmla="*/ 165 w 1809"/>
                <a:gd name="T3" fmla="*/ 41 h 1253"/>
                <a:gd name="T4" fmla="*/ 211 w 1809"/>
                <a:gd name="T5" fmla="*/ 224 h 1253"/>
                <a:gd name="T6" fmla="*/ 248 w 1809"/>
                <a:gd name="T7" fmla="*/ 155 h 1253"/>
                <a:gd name="T8" fmla="*/ 931 w 1809"/>
                <a:gd name="T9" fmla="*/ 995 h 1253"/>
                <a:gd name="T10" fmla="*/ 858 w 1809"/>
                <a:gd name="T11" fmla="*/ 1115 h 1253"/>
                <a:gd name="T12" fmla="*/ 749 w 1809"/>
                <a:gd name="T13" fmla="*/ 1117 h 1253"/>
                <a:gd name="T14" fmla="*/ 681 w 1809"/>
                <a:gd name="T15" fmla="*/ 1055 h 1253"/>
                <a:gd name="T16" fmla="*/ 800 w 1809"/>
                <a:gd name="T17" fmla="*/ 1054 h 1253"/>
                <a:gd name="T18" fmla="*/ 884 w 1809"/>
                <a:gd name="T19" fmla="*/ 1181 h 1253"/>
                <a:gd name="T20" fmla="*/ 118 w 1809"/>
                <a:gd name="T21" fmla="*/ 1086 h 1253"/>
                <a:gd name="T22" fmla="*/ 147 w 1809"/>
                <a:gd name="T23" fmla="*/ 1026 h 1253"/>
                <a:gd name="T24" fmla="*/ 102 w 1809"/>
                <a:gd name="T25" fmla="*/ 1026 h 1253"/>
                <a:gd name="T26" fmla="*/ 639 w 1809"/>
                <a:gd name="T27" fmla="*/ 84 h 1253"/>
                <a:gd name="T28" fmla="*/ 763 w 1809"/>
                <a:gd name="T29" fmla="*/ 145 h 1253"/>
                <a:gd name="T30" fmla="*/ 863 w 1809"/>
                <a:gd name="T31" fmla="*/ 221 h 1253"/>
                <a:gd name="T32" fmla="*/ 834 w 1809"/>
                <a:gd name="T33" fmla="*/ 208 h 1253"/>
                <a:gd name="T34" fmla="*/ 719 w 1809"/>
                <a:gd name="T35" fmla="*/ 182 h 1253"/>
                <a:gd name="T36" fmla="*/ 507 w 1809"/>
                <a:gd name="T37" fmla="*/ 711 h 1253"/>
                <a:gd name="T38" fmla="*/ 614 w 1809"/>
                <a:gd name="T39" fmla="*/ 706 h 1253"/>
                <a:gd name="T40" fmla="*/ 736 w 1809"/>
                <a:gd name="T41" fmla="*/ 730 h 1253"/>
                <a:gd name="T42" fmla="*/ 607 w 1809"/>
                <a:gd name="T43" fmla="*/ 539 h 1253"/>
                <a:gd name="T44" fmla="*/ 1505 w 1809"/>
                <a:gd name="T45" fmla="*/ 1136 h 1253"/>
                <a:gd name="T46" fmla="*/ 1613 w 1809"/>
                <a:gd name="T47" fmla="*/ 1002 h 1253"/>
                <a:gd name="T48" fmla="*/ 1472 w 1809"/>
                <a:gd name="T49" fmla="*/ 1164 h 1253"/>
                <a:gd name="T50" fmla="*/ 1525 w 1809"/>
                <a:gd name="T51" fmla="*/ 1142 h 1253"/>
                <a:gd name="T52" fmla="*/ 1556 w 1809"/>
                <a:gd name="T53" fmla="*/ 1172 h 1253"/>
                <a:gd name="T54" fmla="*/ 1387 w 1809"/>
                <a:gd name="T55" fmla="*/ 910 h 1253"/>
                <a:gd name="T56" fmla="*/ 1261 w 1809"/>
                <a:gd name="T57" fmla="*/ 1157 h 1253"/>
                <a:gd name="T58" fmla="*/ 1413 w 1809"/>
                <a:gd name="T59" fmla="*/ 934 h 1253"/>
                <a:gd name="T60" fmla="*/ 1378 w 1809"/>
                <a:gd name="T61" fmla="*/ 1052 h 1253"/>
                <a:gd name="T62" fmla="*/ 488 w 1809"/>
                <a:gd name="T63" fmla="*/ 85 h 1253"/>
                <a:gd name="T64" fmla="*/ 509 w 1809"/>
                <a:gd name="T65" fmla="*/ 112 h 1253"/>
                <a:gd name="T66" fmla="*/ 548 w 1809"/>
                <a:gd name="T67" fmla="*/ 1187 h 1253"/>
                <a:gd name="T68" fmla="*/ 472 w 1809"/>
                <a:gd name="T69" fmla="*/ 1122 h 1253"/>
                <a:gd name="T70" fmla="*/ 558 w 1809"/>
                <a:gd name="T71" fmla="*/ 1157 h 1253"/>
                <a:gd name="T72" fmla="*/ 287 w 1809"/>
                <a:gd name="T73" fmla="*/ 654 h 1253"/>
                <a:gd name="T74" fmla="*/ 416 w 1809"/>
                <a:gd name="T75" fmla="*/ 684 h 1253"/>
                <a:gd name="T76" fmla="*/ 1106 w 1809"/>
                <a:gd name="T77" fmla="*/ 147 h 1253"/>
                <a:gd name="T78" fmla="*/ 1229 w 1809"/>
                <a:gd name="T79" fmla="*/ 258 h 1253"/>
                <a:gd name="T80" fmla="*/ 1106 w 1809"/>
                <a:gd name="T81" fmla="*/ 96 h 1253"/>
                <a:gd name="T82" fmla="*/ 1219 w 1809"/>
                <a:gd name="T83" fmla="*/ 1077 h 1253"/>
                <a:gd name="T84" fmla="*/ 1214 w 1809"/>
                <a:gd name="T85" fmla="*/ 1157 h 1253"/>
                <a:gd name="T86" fmla="*/ 1150 w 1809"/>
                <a:gd name="T87" fmla="*/ 1092 h 1253"/>
                <a:gd name="T88" fmla="*/ 1139 w 1809"/>
                <a:gd name="T89" fmla="*/ 1070 h 1253"/>
                <a:gd name="T90" fmla="*/ 1659 w 1809"/>
                <a:gd name="T91" fmla="*/ 1031 h 1253"/>
                <a:gd name="T92" fmla="*/ 1714 w 1809"/>
                <a:gd name="T93" fmla="*/ 1155 h 1253"/>
                <a:gd name="T94" fmla="*/ 1760 w 1809"/>
                <a:gd name="T95" fmla="*/ 1030 h 1253"/>
                <a:gd name="T96" fmla="*/ 111 w 1809"/>
                <a:gd name="T97" fmla="*/ 569 h 1253"/>
                <a:gd name="T98" fmla="*/ 109 w 1809"/>
                <a:gd name="T99" fmla="*/ 460 h 1253"/>
                <a:gd name="T100" fmla="*/ 32 w 1809"/>
                <a:gd name="T101" fmla="*/ 704 h 1253"/>
                <a:gd name="T102" fmla="*/ 310 w 1809"/>
                <a:gd name="T103" fmla="*/ 1058 h 1253"/>
                <a:gd name="T104" fmla="*/ 431 w 1809"/>
                <a:gd name="T105" fmla="*/ 1044 h 1253"/>
                <a:gd name="T106" fmla="*/ 278 w 1809"/>
                <a:gd name="T107" fmla="*/ 1165 h 1253"/>
                <a:gd name="T108" fmla="*/ 261 w 1809"/>
                <a:gd name="T109" fmla="*/ 540 h 1253"/>
                <a:gd name="T110" fmla="*/ 150 w 1809"/>
                <a:gd name="T111" fmla="*/ 635 h 1253"/>
                <a:gd name="T112" fmla="*/ 994 w 1809"/>
                <a:gd name="T113" fmla="*/ 1185 h 1253"/>
                <a:gd name="T114" fmla="*/ 331 w 1809"/>
                <a:gd name="T115" fmla="*/ 176 h 1253"/>
                <a:gd name="T116" fmla="*/ 333 w 1809"/>
                <a:gd name="T117" fmla="*/ 109 h 1253"/>
                <a:gd name="T118" fmla="*/ 946 w 1809"/>
                <a:gd name="T119" fmla="*/ 234 h 1253"/>
                <a:gd name="T120" fmla="*/ 1022 w 1809"/>
                <a:gd name="T121" fmla="*/ 113 h 1253"/>
                <a:gd name="T122" fmla="*/ 949 w 1809"/>
                <a:gd name="T123" fmla="*/ 65 h 1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09" h="1253">
                  <a:moveTo>
                    <a:pt x="248" y="198"/>
                  </a:moveTo>
                  <a:cubicBezTo>
                    <a:pt x="248" y="211"/>
                    <a:pt x="248" y="224"/>
                    <a:pt x="249" y="237"/>
                  </a:cubicBezTo>
                  <a:cubicBezTo>
                    <a:pt x="249" y="245"/>
                    <a:pt x="246" y="249"/>
                    <a:pt x="240" y="253"/>
                  </a:cubicBezTo>
                  <a:cubicBezTo>
                    <a:pt x="231" y="260"/>
                    <a:pt x="220" y="264"/>
                    <a:pt x="209" y="268"/>
                  </a:cubicBezTo>
                  <a:cubicBezTo>
                    <a:pt x="179" y="279"/>
                    <a:pt x="148" y="280"/>
                    <a:pt x="118" y="275"/>
                  </a:cubicBezTo>
                  <a:cubicBezTo>
                    <a:pt x="86" y="269"/>
                    <a:pt x="58" y="252"/>
                    <a:pt x="39" y="224"/>
                  </a:cubicBezTo>
                  <a:cubicBezTo>
                    <a:pt x="24" y="203"/>
                    <a:pt x="18" y="180"/>
                    <a:pt x="15" y="155"/>
                  </a:cubicBezTo>
                  <a:cubicBezTo>
                    <a:pt x="11" y="135"/>
                    <a:pt x="15" y="115"/>
                    <a:pt x="19" y="97"/>
                  </a:cubicBezTo>
                  <a:cubicBezTo>
                    <a:pt x="26" y="68"/>
                    <a:pt x="42" y="44"/>
                    <a:pt x="68" y="27"/>
                  </a:cubicBezTo>
                  <a:cubicBezTo>
                    <a:pt x="87" y="14"/>
                    <a:pt x="109" y="6"/>
                    <a:pt x="133" y="5"/>
                  </a:cubicBezTo>
                  <a:cubicBezTo>
                    <a:pt x="149" y="4"/>
                    <a:pt x="165" y="5"/>
                    <a:pt x="181" y="6"/>
                  </a:cubicBezTo>
                  <a:cubicBezTo>
                    <a:pt x="204" y="8"/>
                    <a:pt x="225" y="20"/>
                    <a:pt x="243" y="35"/>
                  </a:cubicBezTo>
                  <a:cubicBezTo>
                    <a:pt x="246" y="37"/>
                    <a:pt x="246" y="40"/>
                    <a:pt x="244" y="43"/>
                  </a:cubicBezTo>
                  <a:cubicBezTo>
                    <a:pt x="242" y="47"/>
                    <a:pt x="239" y="52"/>
                    <a:pt x="236" y="55"/>
                  </a:cubicBezTo>
                  <a:cubicBezTo>
                    <a:pt x="226" y="65"/>
                    <a:pt x="224" y="65"/>
                    <a:pt x="206" y="54"/>
                  </a:cubicBezTo>
                  <a:cubicBezTo>
                    <a:pt x="193" y="46"/>
                    <a:pt x="180" y="40"/>
                    <a:pt x="165" y="41"/>
                  </a:cubicBezTo>
                  <a:cubicBezTo>
                    <a:pt x="151" y="41"/>
                    <a:pt x="137" y="39"/>
                    <a:pt x="124" y="42"/>
                  </a:cubicBezTo>
                  <a:cubicBezTo>
                    <a:pt x="104" y="46"/>
                    <a:pt x="87" y="57"/>
                    <a:pt x="75" y="74"/>
                  </a:cubicBezTo>
                  <a:cubicBezTo>
                    <a:pt x="56" y="99"/>
                    <a:pt x="51" y="129"/>
                    <a:pt x="55" y="159"/>
                  </a:cubicBezTo>
                  <a:cubicBezTo>
                    <a:pt x="60" y="189"/>
                    <a:pt x="73" y="214"/>
                    <a:pt x="98" y="230"/>
                  </a:cubicBezTo>
                  <a:cubicBezTo>
                    <a:pt x="109" y="237"/>
                    <a:pt x="121" y="242"/>
                    <a:pt x="135" y="241"/>
                  </a:cubicBezTo>
                  <a:cubicBezTo>
                    <a:pt x="146" y="241"/>
                    <a:pt x="158" y="241"/>
                    <a:pt x="169" y="241"/>
                  </a:cubicBezTo>
                  <a:cubicBezTo>
                    <a:pt x="182" y="242"/>
                    <a:pt x="193" y="235"/>
                    <a:pt x="205" y="232"/>
                  </a:cubicBezTo>
                  <a:cubicBezTo>
                    <a:pt x="210" y="231"/>
                    <a:pt x="211" y="227"/>
                    <a:pt x="211" y="224"/>
                  </a:cubicBezTo>
                  <a:cubicBezTo>
                    <a:pt x="211" y="210"/>
                    <a:pt x="211" y="196"/>
                    <a:pt x="211" y="183"/>
                  </a:cubicBezTo>
                  <a:cubicBezTo>
                    <a:pt x="211" y="177"/>
                    <a:pt x="207" y="175"/>
                    <a:pt x="202" y="175"/>
                  </a:cubicBezTo>
                  <a:cubicBezTo>
                    <a:pt x="193" y="175"/>
                    <a:pt x="184" y="175"/>
                    <a:pt x="175" y="175"/>
                  </a:cubicBezTo>
                  <a:cubicBezTo>
                    <a:pt x="171" y="175"/>
                    <a:pt x="168" y="174"/>
                    <a:pt x="166" y="171"/>
                  </a:cubicBezTo>
                  <a:cubicBezTo>
                    <a:pt x="163" y="163"/>
                    <a:pt x="164" y="154"/>
                    <a:pt x="166" y="146"/>
                  </a:cubicBezTo>
                  <a:cubicBezTo>
                    <a:pt x="167" y="142"/>
                    <a:pt x="171" y="142"/>
                    <a:pt x="175" y="142"/>
                  </a:cubicBezTo>
                  <a:cubicBezTo>
                    <a:pt x="196" y="142"/>
                    <a:pt x="217" y="142"/>
                    <a:pt x="238" y="142"/>
                  </a:cubicBezTo>
                  <a:cubicBezTo>
                    <a:pt x="247" y="142"/>
                    <a:pt x="248" y="148"/>
                    <a:pt x="248" y="155"/>
                  </a:cubicBezTo>
                  <a:cubicBezTo>
                    <a:pt x="249" y="169"/>
                    <a:pt x="248" y="183"/>
                    <a:pt x="248" y="198"/>
                  </a:cubicBezTo>
                  <a:close/>
                  <a:moveTo>
                    <a:pt x="884" y="1181"/>
                  </a:moveTo>
                  <a:cubicBezTo>
                    <a:pt x="889" y="1167"/>
                    <a:pt x="894" y="1152"/>
                    <a:pt x="898" y="1137"/>
                  </a:cubicBezTo>
                  <a:cubicBezTo>
                    <a:pt x="901" y="1127"/>
                    <a:pt x="905" y="1116"/>
                    <a:pt x="908" y="1106"/>
                  </a:cubicBezTo>
                  <a:cubicBezTo>
                    <a:pt x="911" y="1098"/>
                    <a:pt x="912" y="1089"/>
                    <a:pt x="916" y="1081"/>
                  </a:cubicBezTo>
                  <a:cubicBezTo>
                    <a:pt x="921" y="1072"/>
                    <a:pt x="923" y="1060"/>
                    <a:pt x="927" y="1050"/>
                  </a:cubicBezTo>
                  <a:cubicBezTo>
                    <a:pt x="932" y="1037"/>
                    <a:pt x="934" y="1023"/>
                    <a:pt x="940" y="1010"/>
                  </a:cubicBezTo>
                  <a:cubicBezTo>
                    <a:pt x="945" y="1001"/>
                    <a:pt x="941" y="995"/>
                    <a:pt x="931" y="995"/>
                  </a:cubicBezTo>
                  <a:cubicBezTo>
                    <a:pt x="927" y="995"/>
                    <a:pt x="922" y="995"/>
                    <a:pt x="918" y="995"/>
                  </a:cubicBezTo>
                  <a:cubicBezTo>
                    <a:pt x="913" y="995"/>
                    <a:pt x="908" y="997"/>
                    <a:pt x="907" y="1001"/>
                  </a:cubicBezTo>
                  <a:cubicBezTo>
                    <a:pt x="904" y="1008"/>
                    <a:pt x="900" y="1015"/>
                    <a:pt x="899" y="1023"/>
                  </a:cubicBezTo>
                  <a:cubicBezTo>
                    <a:pt x="897" y="1034"/>
                    <a:pt x="893" y="1045"/>
                    <a:pt x="889" y="1055"/>
                  </a:cubicBezTo>
                  <a:cubicBezTo>
                    <a:pt x="887" y="1064"/>
                    <a:pt x="885" y="1072"/>
                    <a:pt x="882" y="1080"/>
                  </a:cubicBezTo>
                  <a:cubicBezTo>
                    <a:pt x="878" y="1091"/>
                    <a:pt x="874" y="1103"/>
                    <a:pt x="871" y="1115"/>
                  </a:cubicBezTo>
                  <a:cubicBezTo>
                    <a:pt x="870" y="1118"/>
                    <a:pt x="871" y="1124"/>
                    <a:pt x="866" y="1124"/>
                  </a:cubicBezTo>
                  <a:cubicBezTo>
                    <a:pt x="861" y="1125"/>
                    <a:pt x="859" y="1120"/>
                    <a:pt x="858" y="1115"/>
                  </a:cubicBezTo>
                  <a:cubicBezTo>
                    <a:pt x="856" y="1110"/>
                    <a:pt x="856" y="1104"/>
                    <a:pt x="854" y="1099"/>
                  </a:cubicBezTo>
                  <a:cubicBezTo>
                    <a:pt x="848" y="1080"/>
                    <a:pt x="841" y="1062"/>
                    <a:pt x="835" y="1044"/>
                  </a:cubicBezTo>
                  <a:cubicBezTo>
                    <a:pt x="831" y="1030"/>
                    <a:pt x="828" y="1016"/>
                    <a:pt x="822" y="1003"/>
                  </a:cubicBezTo>
                  <a:cubicBezTo>
                    <a:pt x="819" y="997"/>
                    <a:pt x="814" y="994"/>
                    <a:pt x="808" y="994"/>
                  </a:cubicBezTo>
                  <a:cubicBezTo>
                    <a:pt x="799" y="993"/>
                    <a:pt x="791" y="993"/>
                    <a:pt x="787" y="1001"/>
                  </a:cubicBezTo>
                  <a:cubicBezTo>
                    <a:pt x="783" y="1008"/>
                    <a:pt x="780" y="1015"/>
                    <a:pt x="779" y="1022"/>
                  </a:cubicBezTo>
                  <a:cubicBezTo>
                    <a:pt x="778" y="1034"/>
                    <a:pt x="772" y="1044"/>
                    <a:pt x="769" y="1055"/>
                  </a:cubicBezTo>
                  <a:cubicBezTo>
                    <a:pt x="762" y="1076"/>
                    <a:pt x="754" y="1096"/>
                    <a:pt x="749" y="1117"/>
                  </a:cubicBezTo>
                  <a:cubicBezTo>
                    <a:pt x="748" y="1120"/>
                    <a:pt x="747" y="1124"/>
                    <a:pt x="742" y="1124"/>
                  </a:cubicBezTo>
                  <a:cubicBezTo>
                    <a:pt x="737" y="1124"/>
                    <a:pt x="737" y="1120"/>
                    <a:pt x="736" y="1116"/>
                  </a:cubicBezTo>
                  <a:cubicBezTo>
                    <a:pt x="734" y="1104"/>
                    <a:pt x="730" y="1092"/>
                    <a:pt x="726" y="1080"/>
                  </a:cubicBezTo>
                  <a:cubicBezTo>
                    <a:pt x="720" y="1061"/>
                    <a:pt x="714" y="1040"/>
                    <a:pt x="708" y="1020"/>
                  </a:cubicBezTo>
                  <a:cubicBezTo>
                    <a:pt x="703" y="1000"/>
                    <a:pt x="698" y="994"/>
                    <a:pt x="676" y="995"/>
                  </a:cubicBezTo>
                  <a:cubicBezTo>
                    <a:pt x="665" y="996"/>
                    <a:pt x="661" y="1001"/>
                    <a:pt x="667" y="1011"/>
                  </a:cubicBezTo>
                  <a:cubicBezTo>
                    <a:pt x="669" y="1016"/>
                    <a:pt x="670" y="1021"/>
                    <a:pt x="672" y="1025"/>
                  </a:cubicBezTo>
                  <a:cubicBezTo>
                    <a:pt x="675" y="1035"/>
                    <a:pt x="678" y="1046"/>
                    <a:pt x="681" y="1055"/>
                  </a:cubicBezTo>
                  <a:cubicBezTo>
                    <a:pt x="685" y="1068"/>
                    <a:pt x="689" y="1080"/>
                    <a:pt x="693" y="1092"/>
                  </a:cubicBezTo>
                  <a:cubicBezTo>
                    <a:pt x="697" y="1103"/>
                    <a:pt x="699" y="1113"/>
                    <a:pt x="703" y="1124"/>
                  </a:cubicBezTo>
                  <a:cubicBezTo>
                    <a:pt x="707" y="1136"/>
                    <a:pt x="711" y="1147"/>
                    <a:pt x="715" y="1160"/>
                  </a:cubicBezTo>
                  <a:cubicBezTo>
                    <a:pt x="717" y="1168"/>
                    <a:pt x="720" y="1176"/>
                    <a:pt x="724" y="1183"/>
                  </a:cubicBezTo>
                  <a:cubicBezTo>
                    <a:pt x="728" y="1189"/>
                    <a:pt x="752" y="1185"/>
                    <a:pt x="757" y="1180"/>
                  </a:cubicBezTo>
                  <a:cubicBezTo>
                    <a:pt x="764" y="1173"/>
                    <a:pt x="762" y="1163"/>
                    <a:pt x="766" y="1156"/>
                  </a:cubicBezTo>
                  <a:cubicBezTo>
                    <a:pt x="774" y="1140"/>
                    <a:pt x="778" y="1122"/>
                    <a:pt x="784" y="1105"/>
                  </a:cubicBezTo>
                  <a:cubicBezTo>
                    <a:pt x="789" y="1088"/>
                    <a:pt x="796" y="1072"/>
                    <a:pt x="800" y="1054"/>
                  </a:cubicBezTo>
                  <a:cubicBezTo>
                    <a:pt x="800" y="1053"/>
                    <a:pt x="801" y="1050"/>
                    <a:pt x="803" y="1050"/>
                  </a:cubicBezTo>
                  <a:cubicBezTo>
                    <a:pt x="806" y="1050"/>
                    <a:pt x="806" y="1052"/>
                    <a:pt x="807" y="1055"/>
                  </a:cubicBezTo>
                  <a:cubicBezTo>
                    <a:pt x="807" y="1060"/>
                    <a:pt x="810" y="1066"/>
                    <a:pt x="811" y="1071"/>
                  </a:cubicBezTo>
                  <a:cubicBezTo>
                    <a:pt x="814" y="1081"/>
                    <a:pt x="818" y="1090"/>
                    <a:pt x="821" y="1099"/>
                  </a:cubicBezTo>
                  <a:cubicBezTo>
                    <a:pt x="824" y="1110"/>
                    <a:pt x="827" y="1120"/>
                    <a:pt x="831" y="1131"/>
                  </a:cubicBezTo>
                  <a:cubicBezTo>
                    <a:pt x="834" y="1142"/>
                    <a:pt x="839" y="1153"/>
                    <a:pt x="842" y="1164"/>
                  </a:cubicBezTo>
                  <a:cubicBezTo>
                    <a:pt x="846" y="1179"/>
                    <a:pt x="850" y="1188"/>
                    <a:pt x="869" y="1185"/>
                  </a:cubicBezTo>
                  <a:cubicBezTo>
                    <a:pt x="873" y="1184"/>
                    <a:pt x="881" y="1189"/>
                    <a:pt x="884" y="1181"/>
                  </a:cubicBezTo>
                  <a:close/>
                  <a:moveTo>
                    <a:pt x="33" y="1051"/>
                  </a:moveTo>
                  <a:cubicBezTo>
                    <a:pt x="33" y="1087"/>
                    <a:pt x="33" y="1124"/>
                    <a:pt x="33" y="1160"/>
                  </a:cubicBezTo>
                  <a:cubicBezTo>
                    <a:pt x="33" y="1188"/>
                    <a:pt x="29" y="1184"/>
                    <a:pt x="58" y="1185"/>
                  </a:cubicBezTo>
                  <a:cubicBezTo>
                    <a:pt x="72" y="1185"/>
                    <a:pt x="73" y="1184"/>
                    <a:pt x="73" y="1170"/>
                  </a:cubicBezTo>
                  <a:cubicBezTo>
                    <a:pt x="73" y="1138"/>
                    <a:pt x="73" y="1107"/>
                    <a:pt x="73" y="1076"/>
                  </a:cubicBezTo>
                  <a:cubicBezTo>
                    <a:pt x="73" y="1071"/>
                    <a:pt x="72" y="1067"/>
                    <a:pt x="78" y="1065"/>
                  </a:cubicBezTo>
                  <a:cubicBezTo>
                    <a:pt x="91" y="1062"/>
                    <a:pt x="102" y="1067"/>
                    <a:pt x="110" y="1076"/>
                  </a:cubicBezTo>
                  <a:cubicBezTo>
                    <a:pt x="112" y="1080"/>
                    <a:pt x="115" y="1083"/>
                    <a:pt x="118" y="1086"/>
                  </a:cubicBezTo>
                  <a:cubicBezTo>
                    <a:pt x="132" y="1103"/>
                    <a:pt x="146" y="1119"/>
                    <a:pt x="161" y="1136"/>
                  </a:cubicBezTo>
                  <a:cubicBezTo>
                    <a:pt x="173" y="1150"/>
                    <a:pt x="186" y="1165"/>
                    <a:pt x="198" y="1179"/>
                  </a:cubicBezTo>
                  <a:cubicBezTo>
                    <a:pt x="207" y="1188"/>
                    <a:pt x="218" y="1184"/>
                    <a:pt x="228" y="1185"/>
                  </a:cubicBezTo>
                  <a:cubicBezTo>
                    <a:pt x="233" y="1185"/>
                    <a:pt x="241" y="1188"/>
                    <a:pt x="244" y="1182"/>
                  </a:cubicBezTo>
                  <a:cubicBezTo>
                    <a:pt x="246" y="1178"/>
                    <a:pt x="239" y="1173"/>
                    <a:pt x="235" y="1169"/>
                  </a:cubicBezTo>
                  <a:cubicBezTo>
                    <a:pt x="206" y="1133"/>
                    <a:pt x="176" y="1098"/>
                    <a:pt x="146" y="1062"/>
                  </a:cubicBezTo>
                  <a:cubicBezTo>
                    <a:pt x="141" y="1056"/>
                    <a:pt x="131" y="1052"/>
                    <a:pt x="132" y="1044"/>
                  </a:cubicBezTo>
                  <a:cubicBezTo>
                    <a:pt x="132" y="1036"/>
                    <a:pt x="142" y="1032"/>
                    <a:pt x="147" y="1026"/>
                  </a:cubicBezTo>
                  <a:cubicBezTo>
                    <a:pt x="164" y="1006"/>
                    <a:pt x="182" y="988"/>
                    <a:pt x="198" y="968"/>
                  </a:cubicBezTo>
                  <a:cubicBezTo>
                    <a:pt x="209" y="954"/>
                    <a:pt x="221" y="942"/>
                    <a:pt x="234" y="929"/>
                  </a:cubicBezTo>
                  <a:cubicBezTo>
                    <a:pt x="236" y="926"/>
                    <a:pt x="238" y="923"/>
                    <a:pt x="237" y="920"/>
                  </a:cubicBezTo>
                  <a:cubicBezTo>
                    <a:pt x="235" y="915"/>
                    <a:pt x="231" y="917"/>
                    <a:pt x="228" y="917"/>
                  </a:cubicBezTo>
                  <a:cubicBezTo>
                    <a:pt x="224" y="918"/>
                    <a:pt x="221" y="918"/>
                    <a:pt x="217" y="918"/>
                  </a:cubicBezTo>
                  <a:cubicBezTo>
                    <a:pt x="204" y="917"/>
                    <a:pt x="193" y="922"/>
                    <a:pt x="185" y="931"/>
                  </a:cubicBezTo>
                  <a:cubicBezTo>
                    <a:pt x="172" y="946"/>
                    <a:pt x="158" y="961"/>
                    <a:pt x="145" y="977"/>
                  </a:cubicBezTo>
                  <a:cubicBezTo>
                    <a:pt x="131" y="993"/>
                    <a:pt x="117" y="1010"/>
                    <a:pt x="102" y="1026"/>
                  </a:cubicBezTo>
                  <a:cubicBezTo>
                    <a:pt x="96" y="1032"/>
                    <a:pt x="87" y="1037"/>
                    <a:pt x="78" y="1034"/>
                  </a:cubicBezTo>
                  <a:cubicBezTo>
                    <a:pt x="70" y="1030"/>
                    <a:pt x="73" y="1021"/>
                    <a:pt x="73" y="1015"/>
                  </a:cubicBezTo>
                  <a:cubicBezTo>
                    <a:pt x="73" y="991"/>
                    <a:pt x="73" y="967"/>
                    <a:pt x="73" y="944"/>
                  </a:cubicBezTo>
                  <a:cubicBezTo>
                    <a:pt x="73" y="916"/>
                    <a:pt x="75" y="917"/>
                    <a:pt x="46" y="918"/>
                  </a:cubicBezTo>
                  <a:cubicBezTo>
                    <a:pt x="33" y="918"/>
                    <a:pt x="33" y="918"/>
                    <a:pt x="33" y="931"/>
                  </a:cubicBezTo>
                  <a:cubicBezTo>
                    <a:pt x="33" y="971"/>
                    <a:pt x="33" y="1011"/>
                    <a:pt x="33" y="1051"/>
                  </a:cubicBezTo>
                  <a:cubicBezTo>
                    <a:pt x="33" y="1051"/>
                    <a:pt x="33" y="1051"/>
                    <a:pt x="33" y="1051"/>
                  </a:cubicBezTo>
                  <a:close/>
                  <a:moveTo>
                    <a:pt x="639" y="84"/>
                  </a:moveTo>
                  <a:cubicBezTo>
                    <a:pt x="627" y="84"/>
                    <a:pt x="626" y="84"/>
                    <a:pt x="629" y="95"/>
                  </a:cubicBezTo>
                  <a:cubicBezTo>
                    <a:pt x="634" y="113"/>
                    <a:pt x="640" y="131"/>
                    <a:pt x="646" y="148"/>
                  </a:cubicBezTo>
                  <a:cubicBezTo>
                    <a:pt x="652" y="166"/>
                    <a:pt x="658" y="185"/>
                    <a:pt x="664" y="203"/>
                  </a:cubicBezTo>
                  <a:cubicBezTo>
                    <a:pt x="671" y="223"/>
                    <a:pt x="676" y="244"/>
                    <a:pt x="684" y="264"/>
                  </a:cubicBezTo>
                  <a:cubicBezTo>
                    <a:pt x="688" y="274"/>
                    <a:pt x="694" y="274"/>
                    <a:pt x="702" y="274"/>
                  </a:cubicBezTo>
                  <a:cubicBezTo>
                    <a:pt x="711" y="274"/>
                    <a:pt x="719" y="272"/>
                    <a:pt x="723" y="263"/>
                  </a:cubicBezTo>
                  <a:cubicBezTo>
                    <a:pt x="733" y="236"/>
                    <a:pt x="741" y="208"/>
                    <a:pt x="750" y="181"/>
                  </a:cubicBezTo>
                  <a:cubicBezTo>
                    <a:pt x="754" y="169"/>
                    <a:pt x="757" y="156"/>
                    <a:pt x="763" y="145"/>
                  </a:cubicBezTo>
                  <a:cubicBezTo>
                    <a:pt x="764" y="143"/>
                    <a:pt x="764" y="140"/>
                    <a:pt x="767" y="140"/>
                  </a:cubicBezTo>
                  <a:cubicBezTo>
                    <a:pt x="770" y="140"/>
                    <a:pt x="770" y="143"/>
                    <a:pt x="771" y="145"/>
                  </a:cubicBezTo>
                  <a:cubicBezTo>
                    <a:pt x="771" y="156"/>
                    <a:pt x="777" y="165"/>
                    <a:pt x="780" y="175"/>
                  </a:cubicBezTo>
                  <a:cubicBezTo>
                    <a:pt x="782" y="184"/>
                    <a:pt x="785" y="193"/>
                    <a:pt x="788" y="201"/>
                  </a:cubicBezTo>
                  <a:cubicBezTo>
                    <a:pt x="794" y="219"/>
                    <a:pt x="801" y="237"/>
                    <a:pt x="806" y="255"/>
                  </a:cubicBezTo>
                  <a:cubicBezTo>
                    <a:pt x="811" y="272"/>
                    <a:pt x="825" y="280"/>
                    <a:pt x="842" y="273"/>
                  </a:cubicBezTo>
                  <a:cubicBezTo>
                    <a:pt x="845" y="271"/>
                    <a:pt x="847" y="269"/>
                    <a:pt x="848" y="266"/>
                  </a:cubicBezTo>
                  <a:cubicBezTo>
                    <a:pt x="853" y="251"/>
                    <a:pt x="859" y="236"/>
                    <a:pt x="863" y="221"/>
                  </a:cubicBezTo>
                  <a:cubicBezTo>
                    <a:pt x="867" y="202"/>
                    <a:pt x="875" y="185"/>
                    <a:pt x="880" y="166"/>
                  </a:cubicBezTo>
                  <a:cubicBezTo>
                    <a:pt x="886" y="144"/>
                    <a:pt x="895" y="123"/>
                    <a:pt x="900" y="101"/>
                  </a:cubicBezTo>
                  <a:cubicBezTo>
                    <a:pt x="901" y="96"/>
                    <a:pt x="909" y="91"/>
                    <a:pt x="904" y="86"/>
                  </a:cubicBezTo>
                  <a:cubicBezTo>
                    <a:pt x="900" y="81"/>
                    <a:pt x="892" y="84"/>
                    <a:pt x="886" y="84"/>
                  </a:cubicBezTo>
                  <a:cubicBezTo>
                    <a:pt x="885" y="84"/>
                    <a:pt x="883" y="84"/>
                    <a:pt x="881" y="84"/>
                  </a:cubicBezTo>
                  <a:cubicBezTo>
                    <a:pt x="875" y="84"/>
                    <a:pt x="872" y="86"/>
                    <a:pt x="869" y="91"/>
                  </a:cubicBezTo>
                  <a:cubicBezTo>
                    <a:pt x="860" y="110"/>
                    <a:pt x="856" y="131"/>
                    <a:pt x="850" y="151"/>
                  </a:cubicBezTo>
                  <a:cubicBezTo>
                    <a:pt x="844" y="170"/>
                    <a:pt x="836" y="188"/>
                    <a:pt x="834" y="208"/>
                  </a:cubicBezTo>
                  <a:cubicBezTo>
                    <a:pt x="833" y="211"/>
                    <a:pt x="831" y="214"/>
                    <a:pt x="827" y="214"/>
                  </a:cubicBezTo>
                  <a:cubicBezTo>
                    <a:pt x="823" y="214"/>
                    <a:pt x="822" y="210"/>
                    <a:pt x="822" y="207"/>
                  </a:cubicBezTo>
                  <a:cubicBezTo>
                    <a:pt x="817" y="188"/>
                    <a:pt x="811" y="170"/>
                    <a:pt x="805" y="152"/>
                  </a:cubicBezTo>
                  <a:cubicBezTo>
                    <a:pt x="799" y="133"/>
                    <a:pt x="794" y="114"/>
                    <a:pt x="786" y="96"/>
                  </a:cubicBezTo>
                  <a:cubicBezTo>
                    <a:pt x="783" y="87"/>
                    <a:pt x="779" y="84"/>
                    <a:pt x="770" y="84"/>
                  </a:cubicBezTo>
                  <a:cubicBezTo>
                    <a:pt x="761" y="84"/>
                    <a:pt x="752" y="82"/>
                    <a:pt x="748" y="94"/>
                  </a:cubicBezTo>
                  <a:cubicBezTo>
                    <a:pt x="744" y="109"/>
                    <a:pt x="738" y="123"/>
                    <a:pt x="734" y="138"/>
                  </a:cubicBezTo>
                  <a:cubicBezTo>
                    <a:pt x="729" y="153"/>
                    <a:pt x="724" y="167"/>
                    <a:pt x="719" y="182"/>
                  </a:cubicBezTo>
                  <a:cubicBezTo>
                    <a:pt x="716" y="192"/>
                    <a:pt x="715" y="203"/>
                    <a:pt x="708" y="212"/>
                  </a:cubicBezTo>
                  <a:cubicBezTo>
                    <a:pt x="707" y="214"/>
                    <a:pt x="707" y="217"/>
                    <a:pt x="704" y="217"/>
                  </a:cubicBezTo>
                  <a:cubicBezTo>
                    <a:pt x="701" y="217"/>
                    <a:pt x="701" y="213"/>
                    <a:pt x="700" y="211"/>
                  </a:cubicBezTo>
                  <a:cubicBezTo>
                    <a:pt x="699" y="198"/>
                    <a:pt x="694" y="186"/>
                    <a:pt x="690" y="174"/>
                  </a:cubicBezTo>
                  <a:cubicBezTo>
                    <a:pt x="684" y="153"/>
                    <a:pt x="677" y="131"/>
                    <a:pt x="672" y="110"/>
                  </a:cubicBezTo>
                  <a:cubicBezTo>
                    <a:pt x="667" y="88"/>
                    <a:pt x="663" y="84"/>
                    <a:pt x="645" y="84"/>
                  </a:cubicBezTo>
                  <a:cubicBezTo>
                    <a:pt x="643" y="84"/>
                    <a:pt x="641" y="84"/>
                    <a:pt x="639" y="84"/>
                  </a:cubicBezTo>
                  <a:close/>
                  <a:moveTo>
                    <a:pt x="507" y="711"/>
                  </a:moveTo>
                  <a:cubicBezTo>
                    <a:pt x="507" y="730"/>
                    <a:pt x="507" y="730"/>
                    <a:pt x="526" y="730"/>
                  </a:cubicBezTo>
                  <a:cubicBezTo>
                    <a:pt x="539" y="730"/>
                    <a:pt x="541" y="729"/>
                    <a:pt x="541" y="715"/>
                  </a:cubicBezTo>
                  <a:cubicBezTo>
                    <a:pt x="541" y="677"/>
                    <a:pt x="541" y="638"/>
                    <a:pt x="540" y="600"/>
                  </a:cubicBezTo>
                  <a:cubicBezTo>
                    <a:pt x="540" y="593"/>
                    <a:pt x="543" y="587"/>
                    <a:pt x="548" y="582"/>
                  </a:cubicBezTo>
                  <a:cubicBezTo>
                    <a:pt x="553" y="576"/>
                    <a:pt x="559" y="573"/>
                    <a:pt x="564" y="569"/>
                  </a:cubicBezTo>
                  <a:cubicBezTo>
                    <a:pt x="574" y="564"/>
                    <a:pt x="594" y="566"/>
                    <a:pt x="602" y="574"/>
                  </a:cubicBezTo>
                  <a:cubicBezTo>
                    <a:pt x="611" y="582"/>
                    <a:pt x="614" y="592"/>
                    <a:pt x="614" y="604"/>
                  </a:cubicBezTo>
                  <a:cubicBezTo>
                    <a:pt x="614" y="638"/>
                    <a:pt x="614" y="672"/>
                    <a:pt x="614" y="706"/>
                  </a:cubicBezTo>
                  <a:cubicBezTo>
                    <a:pt x="614" y="730"/>
                    <a:pt x="614" y="730"/>
                    <a:pt x="638" y="730"/>
                  </a:cubicBezTo>
                  <a:cubicBezTo>
                    <a:pt x="650" y="730"/>
                    <a:pt x="650" y="730"/>
                    <a:pt x="650" y="717"/>
                  </a:cubicBezTo>
                  <a:cubicBezTo>
                    <a:pt x="650" y="684"/>
                    <a:pt x="650" y="650"/>
                    <a:pt x="650" y="617"/>
                  </a:cubicBezTo>
                  <a:cubicBezTo>
                    <a:pt x="650" y="606"/>
                    <a:pt x="651" y="597"/>
                    <a:pt x="657" y="586"/>
                  </a:cubicBezTo>
                  <a:cubicBezTo>
                    <a:pt x="667" y="565"/>
                    <a:pt x="703" y="560"/>
                    <a:pt x="716" y="579"/>
                  </a:cubicBezTo>
                  <a:cubicBezTo>
                    <a:pt x="723" y="588"/>
                    <a:pt x="724" y="598"/>
                    <a:pt x="724" y="609"/>
                  </a:cubicBezTo>
                  <a:cubicBezTo>
                    <a:pt x="724" y="645"/>
                    <a:pt x="724" y="682"/>
                    <a:pt x="724" y="718"/>
                  </a:cubicBezTo>
                  <a:cubicBezTo>
                    <a:pt x="724" y="727"/>
                    <a:pt x="727" y="731"/>
                    <a:pt x="736" y="730"/>
                  </a:cubicBezTo>
                  <a:cubicBezTo>
                    <a:pt x="738" y="730"/>
                    <a:pt x="741" y="730"/>
                    <a:pt x="743" y="730"/>
                  </a:cubicBezTo>
                  <a:cubicBezTo>
                    <a:pt x="758" y="730"/>
                    <a:pt x="759" y="729"/>
                    <a:pt x="759" y="715"/>
                  </a:cubicBezTo>
                  <a:cubicBezTo>
                    <a:pt x="759" y="677"/>
                    <a:pt x="758" y="639"/>
                    <a:pt x="759" y="601"/>
                  </a:cubicBezTo>
                  <a:cubicBezTo>
                    <a:pt x="759" y="571"/>
                    <a:pt x="742" y="540"/>
                    <a:pt x="704" y="538"/>
                  </a:cubicBezTo>
                  <a:cubicBezTo>
                    <a:pt x="681" y="536"/>
                    <a:pt x="661" y="542"/>
                    <a:pt x="646" y="560"/>
                  </a:cubicBezTo>
                  <a:cubicBezTo>
                    <a:pt x="638" y="569"/>
                    <a:pt x="638" y="569"/>
                    <a:pt x="631" y="559"/>
                  </a:cubicBezTo>
                  <a:cubicBezTo>
                    <a:pt x="630" y="558"/>
                    <a:pt x="630" y="557"/>
                    <a:pt x="629" y="556"/>
                  </a:cubicBezTo>
                  <a:cubicBezTo>
                    <a:pt x="623" y="548"/>
                    <a:pt x="616" y="541"/>
                    <a:pt x="607" y="539"/>
                  </a:cubicBezTo>
                  <a:cubicBezTo>
                    <a:pt x="584" y="534"/>
                    <a:pt x="563" y="539"/>
                    <a:pt x="545" y="555"/>
                  </a:cubicBezTo>
                  <a:cubicBezTo>
                    <a:pt x="540" y="559"/>
                    <a:pt x="537" y="561"/>
                    <a:pt x="537" y="552"/>
                  </a:cubicBezTo>
                  <a:cubicBezTo>
                    <a:pt x="536" y="543"/>
                    <a:pt x="526" y="538"/>
                    <a:pt x="515" y="539"/>
                  </a:cubicBezTo>
                  <a:cubicBezTo>
                    <a:pt x="506" y="540"/>
                    <a:pt x="507" y="546"/>
                    <a:pt x="507" y="552"/>
                  </a:cubicBezTo>
                  <a:cubicBezTo>
                    <a:pt x="507" y="580"/>
                    <a:pt x="507" y="607"/>
                    <a:pt x="507" y="634"/>
                  </a:cubicBezTo>
                  <a:cubicBezTo>
                    <a:pt x="507" y="660"/>
                    <a:pt x="507" y="685"/>
                    <a:pt x="507" y="711"/>
                  </a:cubicBezTo>
                  <a:close/>
                  <a:moveTo>
                    <a:pt x="1525" y="1142"/>
                  </a:moveTo>
                  <a:cubicBezTo>
                    <a:pt x="1517" y="1143"/>
                    <a:pt x="1511" y="1141"/>
                    <a:pt x="1505" y="1136"/>
                  </a:cubicBezTo>
                  <a:cubicBezTo>
                    <a:pt x="1501" y="1133"/>
                    <a:pt x="1495" y="1130"/>
                    <a:pt x="1498" y="1124"/>
                  </a:cubicBezTo>
                  <a:cubicBezTo>
                    <a:pt x="1500" y="1118"/>
                    <a:pt x="1504" y="1114"/>
                    <a:pt x="1512" y="1114"/>
                  </a:cubicBezTo>
                  <a:cubicBezTo>
                    <a:pt x="1521" y="1115"/>
                    <a:pt x="1530" y="1114"/>
                    <a:pt x="1538" y="1115"/>
                  </a:cubicBezTo>
                  <a:cubicBezTo>
                    <a:pt x="1573" y="1117"/>
                    <a:pt x="1610" y="1084"/>
                    <a:pt x="1602" y="1044"/>
                  </a:cubicBezTo>
                  <a:cubicBezTo>
                    <a:pt x="1600" y="1035"/>
                    <a:pt x="1599" y="1028"/>
                    <a:pt x="1611" y="1027"/>
                  </a:cubicBezTo>
                  <a:cubicBezTo>
                    <a:pt x="1614" y="1027"/>
                    <a:pt x="1617" y="1024"/>
                    <a:pt x="1619" y="1023"/>
                  </a:cubicBezTo>
                  <a:cubicBezTo>
                    <a:pt x="1626" y="1019"/>
                    <a:pt x="1624" y="1013"/>
                    <a:pt x="1623" y="1008"/>
                  </a:cubicBezTo>
                  <a:cubicBezTo>
                    <a:pt x="1623" y="1002"/>
                    <a:pt x="1618" y="1003"/>
                    <a:pt x="1613" y="1002"/>
                  </a:cubicBezTo>
                  <a:cubicBezTo>
                    <a:pt x="1598" y="1002"/>
                    <a:pt x="1582" y="1004"/>
                    <a:pt x="1567" y="1000"/>
                  </a:cubicBezTo>
                  <a:cubicBezTo>
                    <a:pt x="1560" y="999"/>
                    <a:pt x="1554" y="993"/>
                    <a:pt x="1546" y="993"/>
                  </a:cubicBezTo>
                  <a:cubicBezTo>
                    <a:pt x="1536" y="994"/>
                    <a:pt x="1525" y="992"/>
                    <a:pt x="1515" y="993"/>
                  </a:cubicBezTo>
                  <a:cubicBezTo>
                    <a:pt x="1490" y="997"/>
                    <a:pt x="1469" y="1010"/>
                    <a:pt x="1462" y="1034"/>
                  </a:cubicBezTo>
                  <a:cubicBezTo>
                    <a:pt x="1455" y="1056"/>
                    <a:pt x="1457" y="1079"/>
                    <a:pt x="1476" y="1096"/>
                  </a:cubicBezTo>
                  <a:cubicBezTo>
                    <a:pt x="1483" y="1103"/>
                    <a:pt x="1483" y="1107"/>
                    <a:pt x="1476" y="1113"/>
                  </a:cubicBezTo>
                  <a:cubicBezTo>
                    <a:pt x="1462" y="1126"/>
                    <a:pt x="1462" y="1142"/>
                    <a:pt x="1473" y="1157"/>
                  </a:cubicBezTo>
                  <a:cubicBezTo>
                    <a:pt x="1476" y="1160"/>
                    <a:pt x="1476" y="1162"/>
                    <a:pt x="1472" y="1164"/>
                  </a:cubicBezTo>
                  <a:cubicBezTo>
                    <a:pt x="1470" y="1166"/>
                    <a:pt x="1468" y="1168"/>
                    <a:pt x="1466" y="1170"/>
                  </a:cubicBezTo>
                  <a:cubicBezTo>
                    <a:pt x="1449" y="1183"/>
                    <a:pt x="1444" y="1201"/>
                    <a:pt x="1454" y="1218"/>
                  </a:cubicBezTo>
                  <a:cubicBezTo>
                    <a:pt x="1464" y="1235"/>
                    <a:pt x="1479" y="1246"/>
                    <a:pt x="1499" y="1249"/>
                  </a:cubicBezTo>
                  <a:cubicBezTo>
                    <a:pt x="1517" y="1252"/>
                    <a:pt x="1535" y="1253"/>
                    <a:pt x="1553" y="1250"/>
                  </a:cubicBezTo>
                  <a:cubicBezTo>
                    <a:pt x="1584" y="1245"/>
                    <a:pt x="1607" y="1232"/>
                    <a:pt x="1619" y="1200"/>
                  </a:cubicBezTo>
                  <a:cubicBezTo>
                    <a:pt x="1627" y="1180"/>
                    <a:pt x="1611" y="1155"/>
                    <a:pt x="1593" y="1148"/>
                  </a:cubicBezTo>
                  <a:cubicBezTo>
                    <a:pt x="1578" y="1142"/>
                    <a:pt x="1563" y="1143"/>
                    <a:pt x="1549" y="1142"/>
                  </a:cubicBezTo>
                  <a:cubicBezTo>
                    <a:pt x="1540" y="1142"/>
                    <a:pt x="1532" y="1142"/>
                    <a:pt x="1525" y="1142"/>
                  </a:cubicBezTo>
                  <a:close/>
                  <a:moveTo>
                    <a:pt x="1556" y="1172"/>
                  </a:moveTo>
                  <a:cubicBezTo>
                    <a:pt x="1566" y="1172"/>
                    <a:pt x="1576" y="1176"/>
                    <a:pt x="1583" y="1183"/>
                  </a:cubicBezTo>
                  <a:cubicBezTo>
                    <a:pt x="1589" y="1190"/>
                    <a:pt x="1589" y="1198"/>
                    <a:pt x="1583" y="1205"/>
                  </a:cubicBezTo>
                  <a:cubicBezTo>
                    <a:pt x="1575" y="1215"/>
                    <a:pt x="1565" y="1220"/>
                    <a:pt x="1553" y="1223"/>
                  </a:cubicBezTo>
                  <a:cubicBezTo>
                    <a:pt x="1534" y="1228"/>
                    <a:pt x="1516" y="1225"/>
                    <a:pt x="1499" y="1219"/>
                  </a:cubicBezTo>
                  <a:cubicBezTo>
                    <a:pt x="1486" y="1214"/>
                    <a:pt x="1479" y="1203"/>
                    <a:pt x="1482" y="1193"/>
                  </a:cubicBezTo>
                  <a:cubicBezTo>
                    <a:pt x="1485" y="1182"/>
                    <a:pt x="1496" y="1168"/>
                    <a:pt x="1514" y="1171"/>
                  </a:cubicBezTo>
                  <a:cubicBezTo>
                    <a:pt x="1526" y="1173"/>
                    <a:pt x="1541" y="1171"/>
                    <a:pt x="1556" y="1172"/>
                  </a:cubicBezTo>
                  <a:close/>
                  <a:moveTo>
                    <a:pt x="1531" y="1019"/>
                  </a:moveTo>
                  <a:cubicBezTo>
                    <a:pt x="1553" y="1017"/>
                    <a:pt x="1570" y="1033"/>
                    <a:pt x="1570" y="1052"/>
                  </a:cubicBezTo>
                  <a:cubicBezTo>
                    <a:pt x="1570" y="1075"/>
                    <a:pt x="1554" y="1093"/>
                    <a:pt x="1532" y="1091"/>
                  </a:cubicBezTo>
                  <a:cubicBezTo>
                    <a:pt x="1508" y="1089"/>
                    <a:pt x="1494" y="1082"/>
                    <a:pt x="1493" y="1053"/>
                  </a:cubicBezTo>
                  <a:cubicBezTo>
                    <a:pt x="1494" y="1029"/>
                    <a:pt x="1508" y="1020"/>
                    <a:pt x="1531" y="1019"/>
                  </a:cubicBezTo>
                  <a:close/>
                  <a:moveTo>
                    <a:pt x="1413" y="934"/>
                  </a:moveTo>
                  <a:cubicBezTo>
                    <a:pt x="1413" y="909"/>
                    <a:pt x="1413" y="909"/>
                    <a:pt x="1389" y="910"/>
                  </a:cubicBezTo>
                  <a:cubicBezTo>
                    <a:pt x="1388" y="910"/>
                    <a:pt x="1387" y="910"/>
                    <a:pt x="1387" y="910"/>
                  </a:cubicBezTo>
                  <a:cubicBezTo>
                    <a:pt x="1379" y="910"/>
                    <a:pt x="1376" y="915"/>
                    <a:pt x="1376" y="921"/>
                  </a:cubicBezTo>
                  <a:cubicBezTo>
                    <a:pt x="1376" y="939"/>
                    <a:pt x="1377" y="956"/>
                    <a:pt x="1377" y="974"/>
                  </a:cubicBezTo>
                  <a:cubicBezTo>
                    <a:pt x="1377" y="983"/>
                    <a:pt x="1377" y="991"/>
                    <a:pt x="1377" y="1000"/>
                  </a:cubicBezTo>
                  <a:cubicBezTo>
                    <a:pt x="1377" y="1005"/>
                    <a:pt x="1374" y="1009"/>
                    <a:pt x="1369" y="1005"/>
                  </a:cubicBezTo>
                  <a:cubicBezTo>
                    <a:pt x="1352" y="990"/>
                    <a:pt x="1332" y="993"/>
                    <a:pt x="1312" y="993"/>
                  </a:cubicBezTo>
                  <a:cubicBezTo>
                    <a:pt x="1303" y="994"/>
                    <a:pt x="1294" y="998"/>
                    <a:pt x="1287" y="1003"/>
                  </a:cubicBezTo>
                  <a:cubicBezTo>
                    <a:pt x="1265" y="1017"/>
                    <a:pt x="1252" y="1039"/>
                    <a:pt x="1248" y="1065"/>
                  </a:cubicBezTo>
                  <a:cubicBezTo>
                    <a:pt x="1244" y="1096"/>
                    <a:pt x="1244" y="1128"/>
                    <a:pt x="1261" y="1157"/>
                  </a:cubicBezTo>
                  <a:cubicBezTo>
                    <a:pt x="1270" y="1170"/>
                    <a:pt x="1281" y="1181"/>
                    <a:pt x="1296" y="1185"/>
                  </a:cubicBezTo>
                  <a:cubicBezTo>
                    <a:pt x="1323" y="1191"/>
                    <a:pt x="1349" y="1188"/>
                    <a:pt x="1370" y="1167"/>
                  </a:cubicBezTo>
                  <a:cubicBezTo>
                    <a:pt x="1372" y="1165"/>
                    <a:pt x="1375" y="1162"/>
                    <a:pt x="1379" y="1163"/>
                  </a:cubicBezTo>
                  <a:cubicBezTo>
                    <a:pt x="1382" y="1165"/>
                    <a:pt x="1381" y="1169"/>
                    <a:pt x="1381" y="1172"/>
                  </a:cubicBezTo>
                  <a:cubicBezTo>
                    <a:pt x="1383" y="1181"/>
                    <a:pt x="1390" y="1186"/>
                    <a:pt x="1403" y="1186"/>
                  </a:cubicBezTo>
                  <a:cubicBezTo>
                    <a:pt x="1413" y="1185"/>
                    <a:pt x="1413" y="1178"/>
                    <a:pt x="1413" y="1172"/>
                  </a:cubicBezTo>
                  <a:cubicBezTo>
                    <a:pt x="1413" y="1131"/>
                    <a:pt x="1413" y="1090"/>
                    <a:pt x="1413" y="1049"/>
                  </a:cubicBezTo>
                  <a:cubicBezTo>
                    <a:pt x="1413" y="1010"/>
                    <a:pt x="1413" y="972"/>
                    <a:pt x="1413" y="934"/>
                  </a:cubicBezTo>
                  <a:close/>
                  <a:moveTo>
                    <a:pt x="1378" y="1113"/>
                  </a:moveTo>
                  <a:cubicBezTo>
                    <a:pt x="1378" y="1136"/>
                    <a:pt x="1360" y="1155"/>
                    <a:pt x="1337" y="1157"/>
                  </a:cubicBezTo>
                  <a:cubicBezTo>
                    <a:pt x="1319" y="1159"/>
                    <a:pt x="1304" y="1154"/>
                    <a:pt x="1294" y="1139"/>
                  </a:cubicBezTo>
                  <a:cubicBezTo>
                    <a:pt x="1286" y="1128"/>
                    <a:pt x="1283" y="1116"/>
                    <a:pt x="1283" y="1102"/>
                  </a:cubicBezTo>
                  <a:cubicBezTo>
                    <a:pt x="1282" y="1085"/>
                    <a:pt x="1282" y="1067"/>
                    <a:pt x="1290" y="1051"/>
                  </a:cubicBezTo>
                  <a:cubicBezTo>
                    <a:pt x="1297" y="1036"/>
                    <a:pt x="1308" y="1024"/>
                    <a:pt x="1325" y="1022"/>
                  </a:cubicBezTo>
                  <a:cubicBezTo>
                    <a:pt x="1342" y="1020"/>
                    <a:pt x="1358" y="1021"/>
                    <a:pt x="1371" y="1035"/>
                  </a:cubicBezTo>
                  <a:cubicBezTo>
                    <a:pt x="1376" y="1041"/>
                    <a:pt x="1378" y="1046"/>
                    <a:pt x="1378" y="1052"/>
                  </a:cubicBezTo>
                  <a:cubicBezTo>
                    <a:pt x="1378" y="1064"/>
                    <a:pt x="1378" y="1075"/>
                    <a:pt x="1378" y="1086"/>
                  </a:cubicBezTo>
                  <a:cubicBezTo>
                    <a:pt x="1378" y="1086"/>
                    <a:pt x="1378" y="1086"/>
                    <a:pt x="1378" y="1086"/>
                  </a:cubicBezTo>
                  <a:cubicBezTo>
                    <a:pt x="1378" y="1095"/>
                    <a:pt x="1378" y="1104"/>
                    <a:pt x="1378" y="1113"/>
                  </a:cubicBezTo>
                  <a:close/>
                  <a:moveTo>
                    <a:pt x="578" y="259"/>
                  </a:moveTo>
                  <a:cubicBezTo>
                    <a:pt x="603" y="241"/>
                    <a:pt x="611" y="213"/>
                    <a:pt x="614" y="183"/>
                  </a:cubicBezTo>
                  <a:cubicBezTo>
                    <a:pt x="615" y="171"/>
                    <a:pt x="610" y="159"/>
                    <a:pt x="609" y="147"/>
                  </a:cubicBezTo>
                  <a:cubicBezTo>
                    <a:pt x="608" y="137"/>
                    <a:pt x="603" y="129"/>
                    <a:pt x="599" y="121"/>
                  </a:cubicBezTo>
                  <a:cubicBezTo>
                    <a:pt x="579" y="87"/>
                    <a:pt x="527" y="70"/>
                    <a:pt x="488" y="85"/>
                  </a:cubicBezTo>
                  <a:cubicBezTo>
                    <a:pt x="453" y="99"/>
                    <a:pt x="436" y="127"/>
                    <a:pt x="431" y="163"/>
                  </a:cubicBezTo>
                  <a:cubicBezTo>
                    <a:pt x="429" y="180"/>
                    <a:pt x="430" y="196"/>
                    <a:pt x="436" y="213"/>
                  </a:cubicBezTo>
                  <a:cubicBezTo>
                    <a:pt x="439" y="222"/>
                    <a:pt x="442" y="232"/>
                    <a:pt x="447" y="239"/>
                  </a:cubicBezTo>
                  <a:cubicBezTo>
                    <a:pt x="465" y="265"/>
                    <a:pt x="491" y="277"/>
                    <a:pt x="525" y="276"/>
                  </a:cubicBezTo>
                  <a:cubicBezTo>
                    <a:pt x="543" y="278"/>
                    <a:pt x="562" y="271"/>
                    <a:pt x="578" y="259"/>
                  </a:cubicBezTo>
                  <a:close/>
                  <a:moveTo>
                    <a:pt x="471" y="205"/>
                  </a:moveTo>
                  <a:cubicBezTo>
                    <a:pt x="466" y="185"/>
                    <a:pt x="468" y="167"/>
                    <a:pt x="472" y="147"/>
                  </a:cubicBezTo>
                  <a:cubicBezTo>
                    <a:pt x="477" y="130"/>
                    <a:pt x="493" y="116"/>
                    <a:pt x="509" y="112"/>
                  </a:cubicBezTo>
                  <a:cubicBezTo>
                    <a:pt x="525" y="108"/>
                    <a:pt x="539" y="110"/>
                    <a:pt x="553" y="119"/>
                  </a:cubicBezTo>
                  <a:cubicBezTo>
                    <a:pt x="563" y="125"/>
                    <a:pt x="568" y="135"/>
                    <a:pt x="571" y="146"/>
                  </a:cubicBezTo>
                  <a:cubicBezTo>
                    <a:pt x="577" y="167"/>
                    <a:pt x="578" y="189"/>
                    <a:pt x="571" y="211"/>
                  </a:cubicBezTo>
                  <a:cubicBezTo>
                    <a:pt x="565" y="231"/>
                    <a:pt x="549" y="249"/>
                    <a:pt x="521" y="247"/>
                  </a:cubicBezTo>
                  <a:cubicBezTo>
                    <a:pt x="496" y="247"/>
                    <a:pt x="478" y="230"/>
                    <a:pt x="471" y="205"/>
                  </a:cubicBezTo>
                  <a:close/>
                  <a:moveTo>
                    <a:pt x="472" y="1122"/>
                  </a:moveTo>
                  <a:cubicBezTo>
                    <a:pt x="475" y="1136"/>
                    <a:pt x="481" y="1148"/>
                    <a:pt x="491" y="1158"/>
                  </a:cubicBezTo>
                  <a:cubicBezTo>
                    <a:pt x="506" y="1176"/>
                    <a:pt x="524" y="1185"/>
                    <a:pt x="548" y="1187"/>
                  </a:cubicBezTo>
                  <a:cubicBezTo>
                    <a:pt x="568" y="1188"/>
                    <a:pt x="587" y="1187"/>
                    <a:pt x="605" y="1177"/>
                  </a:cubicBezTo>
                  <a:cubicBezTo>
                    <a:pt x="632" y="1162"/>
                    <a:pt x="644" y="1136"/>
                    <a:pt x="649" y="1107"/>
                  </a:cubicBezTo>
                  <a:cubicBezTo>
                    <a:pt x="652" y="1089"/>
                    <a:pt x="649" y="1072"/>
                    <a:pt x="644" y="1054"/>
                  </a:cubicBezTo>
                  <a:cubicBezTo>
                    <a:pt x="638" y="1034"/>
                    <a:pt x="627" y="1019"/>
                    <a:pt x="610" y="1007"/>
                  </a:cubicBezTo>
                  <a:cubicBezTo>
                    <a:pt x="589" y="992"/>
                    <a:pt x="566" y="991"/>
                    <a:pt x="541" y="994"/>
                  </a:cubicBezTo>
                  <a:cubicBezTo>
                    <a:pt x="526" y="995"/>
                    <a:pt x="512" y="1002"/>
                    <a:pt x="500" y="1012"/>
                  </a:cubicBezTo>
                  <a:cubicBezTo>
                    <a:pt x="476" y="1032"/>
                    <a:pt x="469" y="1060"/>
                    <a:pt x="466" y="1095"/>
                  </a:cubicBezTo>
                  <a:cubicBezTo>
                    <a:pt x="465" y="1101"/>
                    <a:pt x="470" y="1111"/>
                    <a:pt x="472" y="1122"/>
                  </a:cubicBezTo>
                  <a:close/>
                  <a:moveTo>
                    <a:pt x="508" y="1113"/>
                  </a:moveTo>
                  <a:cubicBezTo>
                    <a:pt x="505" y="1095"/>
                    <a:pt x="506" y="1078"/>
                    <a:pt x="508" y="1061"/>
                  </a:cubicBezTo>
                  <a:cubicBezTo>
                    <a:pt x="511" y="1042"/>
                    <a:pt x="538" y="1021"/>
                    <a:pt x="554" y="1022"/>
                  </a:cubicBezTo>
                  <a:cubicBezTo>
                    <a:pt x="570" y="1022"/>
                    <a:pt x="586" y="1024"/>
                    <a:pt x="596" y="1037"/>
                  </a:cubicBezTo>
                  <a:cubicBezTo>
                    <a:pt x="602" y="1044"/>
                    <a:pt x="607" y="1052"/>
                    <a:pt x="608" y="1061"/>
                  </a:cubicBezTo>
                  <a:cubicBezTo>
                    <a:pt x="608" y="1064"/>
                    <a:pt x="609" y="1067"/>
                    <a:pt x="610" y="1070"/>
                  </a:cubicBezTo>
                  <a:cubicBezTo>
                    <a:pt x="618" y="1089"/>
                    <a:pt x="612" y="1107"/>
                    <a:pt x="607" y="1125"/>
                  </a:cubicBezTo>
                  <a:cubicBezTo>
                    <a:pt x="601" y="1143"/>
                    <a:pt x="588" y="1160"/>
                    <a:pt x="558" y="1157"/>
                  </a:cubicBezTo>
                  <a:cubicBezTo>
                    <a:pt x="530" y="1157"/>
                    <a:pt x="512" y="1141"/>
                    <a:pt x="508" y="1113"/>
                  </a:cubicBezTo>
                  <a:close/>
                  <a:moveTo>
                    <a:pt x="430" y="716"/>
                  </a:moveTo>
                  <a:cubicBezTo>
                    <a:pt x="450" y="703"/>
                    <a:pt x="459" y="683"/>
                    <a:pt x="464" y="661"/>
                  </a:cubicBezTo>
                  <a:cubicBezTo>
                    <a:pt x="468" y="648"/>
                    <a:pt x="467" y="635"/>
                    <a:pt x="466" y="621"/>
                  </a:cubicBezTo>
                  <a:cubicBezTo>
                    <a:pt x="463" y="592"/>
                    <a:pt x="453" y="567"/>
                    <a:pt x="427" y="550"/>
                  </a:cubicBezTo>
                  <a:cubicBezTo>
                    <a:pt x="401" y="534"/>
                    <a:pt x="372" y="532"/>
                    <a:pt x="345" y="541"/>
                  </a:cubicBezTo>
                  <a:cubicBezTo>
                    <a:pt x="310" y="552"/>
                    <a:pt x="291" y="580"/>
                    <a:pt x="287" y="617"/>
                  </a:cubicBezTo>
                  <a:cubicBezTo>
                    <a:pt x="286" y="629"/>
                    <a:pt x="286" y="641"/>
                    <a:pt x="287" y="654"/>
                  </a:cubicBezTo>
                  <a:cubicBezTo>
                    <a:pt x="289" y="671"/>
                    <a:pt x="295" y="686"/>
                    <a:pt x="306" y="700"/>
                  </a:cubicBezTo>
                  <a:cubicBezTo>
                    <a:pt x="324" y="722"/>
                    <a:pt x="348" y="733"/>
                    <a:pt x="378" y="731"/>
                  </a:cubicBezTo>
                  <a:cubicBezTo>
                    <a:pt x="396" y="733"/>
                    <a:pt x="414" y="727"/>
                    <a:pt x="430" y="716"/>
                  </a:cubicBezTo>
                  <a:close/>
                  <a:moveTo>
                    <a:pt x="331" y="592"/>
                  </a:moveTo>
                  <a:cubicBezTo>
                    <a:pt x="339" y="580"/>
                    <a:pt x="349" y="569"/>
                    <a:pt x="365" y="567"/>
                  </a:cubicBezTo>
                  <a:cubicBezTo>
                    <a:pt x="387" y="564"/>
                    <a:pt x="406" y="568"/>
                    <a:pt x="419" y="588"/>
                  </a:cubicBezTo>
                  <a:cubicBezTo>
                    <a:pt x="423" y="595"/>
                    <a:pt x="426" y="603"/>
                    <a:pt x="427" y="610"/>
                  </a:cubicBezTo>
                  <a:cubicBezTo>
                    <a:pt x="433" y="635"/>
                    <a:pt x="431" y="661"/>
                    <a:pt x="416" y="684"/>
                  </a:cubicBezTo>
                  <a:cubicBezTo>
                    <a:pt x="403" y="706"/>
                    <a:pt x="362" y="708"/>
                    <a:pt x="345" y="692"/>
                  </a:cubicBezTo>
                  <a:cubicBezTo>
                    <a:pt x="329" y="678"/>
                    <a:pt x="323" y="661"/>
                    <a:pt x="323" y="631"/>
                  </a:cubicBezTo>
                  <a:cubicBezTo>
                    <a:pt x="323" y="619"/>
                    <a:pt x="323" y="605"/>
                    <a:pt x="331" y="592"/>
                  </a:cubicBezTo>
                  <a:close/>
                  <a:moveTo>
                    <a:pt x="1073" y="259"/>
                  </a:moveTo>
                  <a:cubicBezTo>
                    <a:pt x="1073" y="269"/>
                    <a:pt x="1075" y="272"/>
                    <a:pt x="1086" y="272"/>
                  </a:cubicBezTo>
                  <a:cubicBezTo>
                    <a:pt x="1088" y="272"/>
                    <a:pt x="1090" y="272"/>
                    <a:pt x="1092" y="272"/>
                  </a:cubicBezTo>
                  <a:cubicBezTo>
                    <a:pt x="1105" y="272"/>
                    <a:pt x="1106" y="271"/>
                    <a:pt x="1106" y="258"/>
                  </a:cubicBezTo>
                  <a:cubicBezTo>
                    <a:pt x="1106" y="221"/>
                    <a:pt x="1106" y="184"/>
                    <a:pt x="1106" y="147"/>
                  </a:cubicBezTo>
                  <a:cubicBezTo>
                    <a:pt x="1106" y="143"/>
                    <a:pt x="1106" y="140"/>
                    <a:pt x="1107" y="137"/>
                  </a:cubicBezTo>
                  <a:cubicBezTo>
                    <a:pt x="1117" y="117"/>
                    <a:pt x="1157" y="104"/>
                    <a:pt x="1177" y="114"/>
                  </a:cubicBezTo>
                  <a:cubicBezTo>
                    <a:pt x="1179" y="115"/>
                    <a:pt x="1180" y="117"/>
                    <a:pt x="1182" y="118"/>
                  </a:cubicBezTo>
                  <a:cubicBezTo>
                    <a:pt x="1194" y="131"/>
                    <a:pt x="1196" y="147"/>
                    <a:pt x="1196" y="163"/>
                  </a:cubicBezTo>
                  <a:cubicBezTo>
                    <a:pt x="1197" y="195"/>
                    <a:pt x="1196" y="226"/>
                    <a:pt x="1196" y="258"/>
                  </a:cubicBezTo>
                  <a:cubicBezTo>
                    <a:pt x="1196" y="271"/>
                    <a:pt x="1197" y="272"/>
                    <a:pt x="1210" y="272"/>
                  </a:cubicBezTo>
                  <a:cubicBezTo>
                    <a:pt x="1212" y="272"/>
                    <a:pt x="1213" y="272"/>
                    <a:pt x="1215" y="272"/>
                  </a:cubicBezTo>
                  <a:cubicBezTo>
                    <a:pt x="1227" y="272"/>
                    <a:pt x="1229" y="270"/>
                    <a:pt x="1229" y="258"/>
                  </a:cubicBezTo>
                  <a:cubicBezTo>
                    <a:pt x="1229" y="222"/>
                    <a:pt x="1229" y="187"/>
                    <a:pt x="1229" y="151"/>
                  </a:cubicBezTo>
                  <a:cubicBezTo>
                    <a:pt x="1229" y="142"/>
                    <a:pt x="1228" y="132"/>
                    <a:pt x="1225" y="123"/>
                  </a:cubicBezTo>
                  <a:cubicBezTo>
                    <a:pt x="1219" y="105"/>
                    <a:pt x="1208" y="91"/>
                    <a:pt x="1189" y="85"/>
                  </a:cubicBezTo>
                  <a:cubicBezTo>
                    <a:pt x="1173" y="80"/>
                    <a:pt x="1156" y="84"/>
                    <a:pt x="1139" y="84"/>
                  </a:cubicBezTo>
                  <a:cubicBezTo>
                    <a:pt x="1137" y="84"/>
                    <a:pt x="1136" y="86"/>
                    <a:pt x="1134" y="87"/>
                  </a:cubicBezTo>
                  <a:cubicBezTo>
                    <a:pt x="1128" y="91"/>
                    <a:pt x="1121" y="96"/>
                    <a:pt x="1115" y="100"/>
                  </a:cubicBezTo>
                  <a:cubicBezTo>
                    <a:pt x="1113" y="102"/>
                    <a:pt x="1111" y="105"/>
                    <a:pt x="1108" y="103"/>
                  </a:cubicBezTo>
                  <a:cubicBezTo>
                    <a:pt x="1105" y="102"/>
                    <a:pt x="1106" y="98"/>
                    <a:pt x="1106" y="96"/>
                  </a:cubicBezTo>
                  <a:cubicBezTo>
                    <a:pt x="1106" y="69"/>
                    <a:pt x="1106" y="43"/>
                    <a:pt x="1106" y="17"/>
                  </a:cubicBezTo>
                  <a:cubicBezTo>
                    <a:pt x="1106" y="0"/>
                    <a:pt x="1106" y="0"/>
                    <a:pt x="1089" y="0"/>
                  </a:cubicBezTo>
                  <a:cubicBezTo>
                    <a:pt x="1074" y="0"/>
                    <a:pt x="1073" y="1"/>
                    <a:pt x="1073" y="16"/>
                  </a:cubicBezTo>
                  <a:cubicBezTo>
                    <a:pt x="1073" y="56"/>
                    <a:pt x="1073" y="96"/>
                    <a:pt x="1073" y="136"/>
                  </a:cubicBezTo>
                  <a:cubicBezTo>
                    <a:pt x="1073" y="177"/>
                    <a:pt x="1073" y="218"/>
                    <a:pt x="1073" y="259"/>
                  </a:cubicBezTo>
                  <a:close/>
                  <a:moveTo>
                    <a:pt x="1150" y="1092"/>
                  </a:moveTo>
                  <a:cubicBezTo>
                    <a:pt x="1168" y="1092"/>
                    <a:pt x="1186" y="1092"/>
                    <a:pt x="1204" y="1092"/>
                  </a:cubicBezTo>
                  <a:cubicBezTo>
                    <a:pt x="1215" y="1092"/>
                    <a:pt x="1218" y="1087"/>
                    <a:pt x="1219" y="1077"/>
                  </a:cubicBezTo>
                  <a:cubicBezTo>
                    <a:pt x="1220" y="1062"/>
                    <a:pt x="1216" y="1049"/>
                    <a:pt x="1210" y="1036"/>
                  </a:cubicBezTo>
                  <a:cubicBezTo>
                    <a:pt x="1204" y="1020"/>
                    <a:pt x="1193" y="1008"/>
                    <a:pt x="1177" y="1001"/>
                  </a:cubicBezTo>
                  <a:cubicBezTo>
                    <a:pt x="1155" y="992"/>
                    <a:pt x="1133" y="991"/>
                    <a:pt x="1109" y="999"/>
                  </a:cubicBezTo>
                  <a:cubicBezTo>
                    <a:pt x="1079" y="1010"/>
                    <a:pt x="1062" y="1031"/>
                    <a:pt x="1056" y="1061"/>
                  </a:cubicBezTo>
                  <a:cubicBezTo>
                    <a:pt x="1051" y="1090"/>
                    <a:pt x="1052" y="1120"/>
                    <a:pt x="1069" y="1148"/>
                  </a:cubicBezTo>
                  <a:cubicBezTo>
                    <a:pt x="1081" y="1169"/>
                    <a:pt x="1100" y="1180"/>
                    <a:pt x="1122" y="1185"/>
                  </a:cubicBezTo>
                  <a:cubicBezTo>
                    <a:pt x="1149" y="1190"/>
                    <a:pt x="1176" y="1186"/>
                    <a:pt x="1200" y="1171"/>
                  </a:cubicBezTo>
                  <a:cubicBezTo>
                    <a:pt x="1206" y="1168"/>
                    <a:pt x="1213" y="1165"/>
                    <a:pt x="1214" y="1157"/>
                  </a:cubicBezTo>
                  <a:cubicBezTo>
                    <a:pt x="1215" y="1147"/>
                    <a:pt x="1202" y="1139"/>
                    <a:pt x="1193" y="1144"/>
                  </a:cubicBezTo>
                  <a:cubicBezTo>
                    <a:pt x="1187" y="1147"/>
                    <a:pt x="1180" y="1150"/>
                    <a:pt x="1174" y="1153"/>
                  </a:cubicBezTo>
                  <a:cubicBezTo>
                    <a:pt x="1158" y="1161"/>
                    <a:pt x="1140" y="1161"/>
                    <a:pt x="1124" y="1155"/>
                  </a:cubicBezTo>
                  <a:cubicBezTo>
                    <a:pt x="1112" y="1151"/>
                    <a:pt x="1102" y="1142"/>
                    <a:pt x="1096" y="1129"/>
                  </a:cubicBezTo>
                  <a:cubicBezTo>
                    <a:pt x="1092" y="1121"/>
                    <a:pt x="1091" y="1112"/>
                    <a:pt x="1089" y="1104"/>
                  </a:cubicBezTo>
                  <a:cubicBezTo>
                    <a:pt x="1087" y="1093"/>
                    <a:pt x="1087" y="1092"/>
                    <a:pt x="1099" y="1092"/>
                  </a:cubicBezTo>
                  <a:cubicBezTo>
                    <a:pt x="1116" y="1092"/>
                    <a:pt x="1133" y="1092"/>
                    <a:pt x="1150" y="1092"/>
                  </a:cubicBezTo>
                  <a:cubicBezTo>
                    <a:pt x="1150" y="1092"/>
                    <a:pt x="1150" y="1092"/>
                    <a:pt x="1150" y="1092"/>
                  </a:cubicBezTo>
                  <a:close/>
                  <a:moveTo>
                    <a:pt x="1099" y="1070"/>
                  </a:moveTo>
                  <a:cubicBezTo>
                    <a:pt x="1092" y="1071"/>
                    <a:pt x="1089" y="1067"/>
                    <a:pt x="1091" y="1060"/>
                  </a:cubicBezTo>
                  <a:cubicBezTo>
                    <a:pt x="1094" y="1045"/>
                    <a:pt x="1108" y="1023"/>
                    <a:pt x="1128" y="1022"/>
                  </a:cubicBezTo>
                  <a:cubicBezTo>
                    <a:pt x="1142" y="1021"/>
                    <a:pt x="1156" y="1018"/>
                    <a:pt x="1168" y="1029"/>
                  </a:cubicBezTo>
                  <a:cubicBezTo>
                    <a:pt x="1181" y="1038"/>
                    <a:pt x="1185" y="1051"/>
                    <a:pt x="1187" y="1066"/>
                  </a:cubicBezTo>
                  <a:cubicBezTo>
                    <a:pt x="1188" y="1071"/>
                    <a:pt x="1183" y="1070"/>
                    <a:pt x="1180" y="1070"/>
                  </a:cubicBezTo>
                  <a:cubicBezTo>
                    <a:pt x="1166" y="1070"/>
                    <a:pt x="1153" y="1070"/>
                    <a:pt x="1139" y="1070"/>
                  </a:cubicBezTo>
                  <a:cubicBezTo>
                    <a:pt x="1139" y="1070"/>
                    <a:pt x="1139" y="1070"/>
                    <a:pt x="1139" y="1070"/>
                  </a:cubicBezTo>
                  <a:cubicBezTo>
                    <a:pt x="1126" y="1070"/>
                    <a:pt x="1113" y="1070"/>
                    <a:pt x="1099" y="1070"/>
                  </a:cubicBezTo>
                  <a:close/>
                  <a:moveTo>
                    <a:pt x="1741" y="1092"/>
                  </a:moveTo>
                  <a:cubicBezTo>
                    <a:pt x="1759" y="1092"/>
                    <a:pt x="1776" y="1092"/>
                    <a:pt x="1793" y="1092"/>
                  </a:cubicBezTo>
                  <a:cubicBezTo>
                    <a:pt x="1806" y="1092"/>
                    <a:pt x="1808" y="1089"/>
                    <a:pt x="1808" y="1076"/>
                  </a:cubicBezTo>
                  <a:cubicBezTo>
                    <a:pt x="1809" y="1063"/>
                    <a:pt x="1807" y="1051"/>
                    <a:pt x="1802" y="1038"/>
                  </a:cubicBezTo>
                  <a:cubicBezTo>
                    <a:pt x="1794" y="1021"/>
                    <a:pt x="1782" y="1008"/>
                    <a:pt x="1764" y="1000"/>
                  </a:cubicBezTo>
                  <a:cubicBezTo>
                    <a:pt x="1742" y="991"/>
                    <a:pt x="1720" y="991"/>
                    <a:pt x="1698" y="1000"/>
                  </a:cubicBezTo>
                  <a:cubicBezTo>
                    <a:pt x="1681" y="1006"/>
                    <a:pt x="1668" y="1016"/>
                    <a:pt x="1659" y="1031"/>
                  </a:cubicBezTo>
                  <a:cubicBezTo>
                    <a:pt x="1646" y="1050"/>
                    <a:pt x="1643" y="1071"/>
                    <a:pt x="1644" y="1094"/>
                  </a:cubicBezTo>
                  <a:cubicBezTo>
                    <a:pt x="1644" y="1110"/>
                    <a:pt x="1647" y="1127"/>
                    <a:pt x="1655" y="1141"/>
                  </a:cubicBezTo>
                  <a:cubicBezTo>
                    <a:pt x="1669" y="1168"/>
                    <a:pt x="1691" y="1183"/>
                    <a:pt x="1722" y="1186"/>
                  </a:cubicBezTo>
                  <a:cubicBezTo>
                    <a:pt x="1750" y="1188"/>
                    <a:pt x="1775" y="1183"/>
                    <a:pt x="1798" y="1165"/>
                  </a:cubicBezTo>
                  <a:cubicBezTo>
                    <a:pt x="1803" y="1161"/>
                    <a:pt x="1806" y="1157"/>
                    <a:pt x="1802" y="1151"/>
                  </a:cubicBezTo>
                  <a:cubicBezTo>
                    <a:pt x="1798" y="1144"/>
                    <a:pt x="1791" y="1140"/>
                    <a:pt x="1783" y="1144"/>
                  </a:cubicBezTo>
                  <a:cubicBezTo>
                    <a:pt x="1778" y="1147"/>
                    <a:pt x="1771" y="1149"/>
                    <a:pt x="1766" y="1152"/>
                  </a:cubicBezTo>
                  <a:cubicBezTo>
                    <a:pt x="1749" y="1161"/>
                    <a:pt x="1730" y="1162"/>
                    <a:pt x="1714" y="1155"/>
                  </a:cubicBezTo>
                  <a:cubicBezTo>
                    <a:pt x="1692" y="1145"/>
                    <a:pt x="1680" y="1127"/>
                    <a:pt x="1679" y="1102"/>
                  </a:cubicBezTo>
                  <a:cubicBezTo>
                    <a:pt x="1678" y="1095"/>
                    <a:pt x="1681" y="1092"/>
                    <a:pt x="1689" y="1092"/>
                  </a:cubicBezTo>
                  <a:cubicBezTo>
                    <a:pt x="1706" y="1092"/>
                    <a:pt x="1724" y="1092"/>
                    <a:pt x="1741" y="1092"/>
                  </a:cubicBezTo>
                  <a:cubicBezTo>
                    <a:pt x="1741" y="1092"/>
                    <a:pt x="1741" y="1092"/>
                    <a:pt x="1741" y="1092"/>
                  </a:cubicBezTo>
                  <a:close/>
                  <a:moveTo>
                    <a:pt x="1690" y="1070"/>
                  </a:moveTo>
                  <a:cubicBezTo>
                    <a:pt x="1683" y="1071"/>
                    <a:pt x="1680" y="1068"/>
                    <a:pt x="1681" y="1062"/>
                  </a:cubicBezTo>
                  <a:cubicBezTo>
                    <a:pt x="1683" y="1048"/>
                    <a:pt x="1697" y="1024"/>
                    <a:pt x="1716" y="1022"/>
                  </a:cubicBezTo>
                  <a:cubicBezTo>
                    <a:pt x="1731" y="1020"/>
                    <a:pt x="1747" y="1018"/>
                    <a:pt x="1760" y="1030"/>
                  </a:cubicBezTo>
                  <a:cubicBezTo>
                    <a:pt x="1771" y="1038"/>
                    <a:pt x="1775" y="1050"/>
                    <a:pt x="1778" y="1062"/>
                  </a:cubicBezTo>
                  <a:cubicBezTo>
                    <a:pt x="1780" y="1068"/>
                    <a:pt x="1775" y="1070"/>
                    <a:pt x="1769" y="1070"/>
                  </a:cubicBezTo>
                  <a:cubicBezTo>
                    <a:pt x="1756" y="1070"/>
                    <a:pt x="1742" y="1070"/>
                    <a:pt x="1729" y="1070"/>
                  </a:cubicBezTo>
                  <a:cubicBezTo>
                    <a:pt x="1729" y="1070"/>
                    <a:pt x="1729" y="1070"/>
                    <a:pt x="1729" y="1070"/>
                  </a:cubicBezTo>
                  <a:cubicBezTo>
                    <a:pt x="1716" y="1070"/>
                    <a:pt x="1703" y="1070"/>
                    <a:pt x="1690" y="1070"/>
                  </a:cubicBezTo>
                  <a:close/>
                  <a:moveTo>
                    <a:pt x="68" y="581"/>
                  </a:moveTo>
                  <a:cubicBezTo>
                    <a:pt x="68" y="573"/>
                    <a:pt x="70" y="568"/>
                    <a:pt x="80" y="569"/>
                  </a:cubicBezTo>
                  <a:cubicBezTo>
                    <a:pt x="90" y="570"/>
                    <a:pt x="101" y="570"/>
                    <a:pt x="111" y="569"/>
                  </a:cubicBezTo>
                  <a:cubicBezTo>
                    <a:pt x="120" y="569"/>
                    <a:pt x="120" y="563"/>
                    <a:pt x="120" y="556"/>
                  </a:cubicBezTo>
                  <a:cubicBezTo>
                    <a:pt x="120" y="549"/>
                    <a:pt x="119" y="544"/>
                    <a:pt x="111" y="544"/>
                  </a:cubicBezTo>
                  <a:cubicBezTo>
                    <a:pt x="104" y="544"/>
                    <a:pt x="97" y="544"/>
                    <a:pt x="91" y="544"/>
                  </a:cubicBezTo>
                  <a:cubicBezTo>
                    <a:pt x="66" y="544"/>
                    <a:pt x="65" y="543"/>
                    <a:pt x="68" y="518"/>
                  </a:cubicBezTo>
                  <a:cubicBezTo>
                    <a:pt x="69" y="504"/>
                    <a:pt x="83" y="487"/>
                    <a:pt x="99" y="489"/>
                  </a:cubicBezTo>
                  <a:cubicBezTo>
                    <a:pt x="103" y="489"/>
                    <a:pt x="107" y="489"/>
                    <a:pt x="110" y="488"/>
                  </a:cubicBezTo>
                  <a:cubicBezTo>
                    <a:pt x="118" y="487"/>
                    <a:pt x="123" y="479"/>
                    <a:pt x="123" y="471"/>
                  </a:cubicBezTo>
                  <a:cubicBezTo>
                    <a:pt x="123" y="461"/>
                    <a:pt x="116" y="462"/>
                    <a:pt x="109" y="460"/>
                  </a:cubicBezTo>
                  <a:cubicBezTo>
                    <a:pt x="100" y="458"/>
                    <a:pt x="92" y="460"/>
                    <a:pt x="84" y="460"/>
                  </a:cubicBezTo>
                  <a:cubicBezTo>
                    <a:pt x="68" y="461"/>
                    <a:pt x="56" y="469"/>
                    <a:pt x="47" y="480"/>
                  </a:cubicBezTo>
                  <a:cubicBezTo>
                    <a:pt x="34" y="493"/>
                    <a:pt x="32" y="511"/>
                    <a:pt x="32" y="529"/>
                  </a:cubicBezTo>
                  <a:cubicBezTo>
                    <a:pt x="32" y="544"/>
                    <a:pt x="32" y="544"/>
                    <a:pt x="17" y="544"/>
                  </a:cubicBezTo>
                  <a:cubicBezTo>
                    <a:pt x="4" y="543"/>
                    <a:pt x="0" y="548"/>
                    <a:pt x="4" y="561"/>
                  </a:cubicBezTo>
                  <a:cubicBezTo>
                    <a:pt x="6" y="569"/>
                    <a:pt x="13" y="568"/>
                    <a:pt x="19" y="569"/>
                  </a:cubicBezTo>
                  <a:cubicBezTo>
                    <a:pt x="32" y="571"/>
                    <a:pt x="32" y="571"/>
                    <a:pt x="32" y="584"/>
                  </a:cubicBezTo>
                  <a:cubicBezTo>
                    <a:pt x="32" y="624"/>
                    <a:pt x="32" y="664"/>
                    <a:pt x="32" y="704"/>
                  </a:cubicBezTo>
                  <a:cubicBezTo>
                    <a:pt x="32" y="731"/>
                    <a:pt x="32" y="730"/>
                    <a:pt x="57" y="731"/>
                  </a:cubicBezTo>
                  <a:cubicBezTo>
                    <a:pt x="66" y="731"/>
                    <a:pt x="68" y="727"/>
                    <a:pt x="68" y="720"/>
                  </a:cubicBezTo>
                  <a:cubicBezTo>
                    <a:pt x="68" y="697"/>
                    <a:pt x="68" y="674"/>
                    <a:pt x="68" y="651"/>
                  </a:cubicBezTo>
                  <a:cubicBezTo>
                    <a:pt x="68" y="628"/>
                    <a:pt x="68" y="605"/>
                    <a:pt x="68" y="581"/>
                  </a:cubicBezTo>
                  <a:close/>
                  <a:moveTo>
                    <a:pt x="278" y="1165"/>
                  </a:moveTo>
                  <a:cubicBezTo>
                    <a:pt x="278" y="1183"/>
                    <a:pt x="278" y="1183"/>
                    <a:pt x="296" y="1184"/>
                  </a:cubicBezTo>
                  <a:cubicBezTo>
                    <a:pt x="310" y="1184"/>
                    <a:pt x="310" y="1184"/>
                    <a:pt x="310" y="1169"/>
                  </a:cubicBezTo>
                  <a:cubicBezTo>
                    <a:pt x="310" y="1132"/>
                    <a:pt x="310" y="1095"/>
                    <a:pt x="310" y="1058"/>
                  </a:cubicBezTo>
                  <a:cubicBezTo>
                    <a:pt x="310" y="1052"/>
                    <a:pt x="312" y="1047"/>
                    <a:pt x="316" y="1042"/>
                  </a:cubicBezTo>
                  <a:cubicBezTo>
                    <a:pt x="324" y="1033"/>
                    <a:pt x="334" y="1027"/>
                    <a:pt x="345" y="1024"/>
                  </a:cubicBezTo>
                  <a:cubicBezTo>
                    <a:pt x="357" y="1020"/>
                    <a:pt x="371" y="1018"/>
                    <a:pt x="383" y="1028"/>
                  </a:cubicBezTo>
                  <a:cubicBezTo>
                    <a:pt x="397" y="1039"/>
                    <a:pt x="401" y="1054"/>
                    <a:pt x="401" y="1071"/>
                  </a:cubicBezTo>
                  <a:cubicBezTo>
                    <a:pt x="401" y="1102"/>
                    <a:pt x="401" y="1132"/>
                    <a:pt x="401" y="1163"/>
                  </a:cubicBezTo>
                  <a:cubicBezTo>
                    <a:pt x="401" y="1183"/>
                    <a:pt x="401" y="1182"/>
                    <a:pt x="420" y="1184"/>
                  </a:cubicBezTo>
                  <a:cubicBezTo>
                    <a:pt x="429" y="1185"/>
                    <a:pt x="433" y="1181"/>
                    <a:pt x="433" y="1173"/>
                  </a:cubicBezTo>
                  <a:cubicBezTo>
                    <a:pt x="432" y="1130"/>
                    <a:pt x="435" y="1087"/>
                    <a:pt x="431" y="1044"/>
                  </a:cubicBezTo>
                  <a:cubicBezTo>
                    <a:pt x="427" y="1014"/>
                    <a:pt x="404" y="996"/>
                    <a:pt x="376" y="994"/>
                  </a:cubicBezTo>
                  <a:cubicBezTo>
                    <a:pt x="353" y="992"/>
                    <a:pt x="333" y="1000"/>
                    <a:pt x="317" y="1017"/>
                  </a:cubicBezTo>
                  <a:cubicBezTo>
                    <a:pt x="312" y="1021"/>
                    <a:pt x="311" y="1019"/>
                    <a:pt x="309" y="1015"/>
                  </a:cubicBezTo>
                  <a:cubicBezTo>
                    <a:pt x="309" y="1013"/>
                    <a:pt x="308" y="1011"/>
                    <a:pt x="308" y="1008"/>
                  </a:cubicBezTo>
                  <a:cubicBezTo>
                    <a:pt x="306" y="1001"/>
                    <a:pt x="298" y="997"/>
                    <a:pt x="287" y="998"/>
                  </a:cubicBezTo>
                  <a:cubicBezTo>
                    <a:pt x="279" y="999"/>
                    <a:pt x="278" y="1004"/>
                    <a:pt x="278" y="1011"/>
                  </a:cubicBezTo>
                  <a:cubicBezTo>
                    <a:pt x="278" y="1037"/>
                    <a:pt x="278" y="1064"/>
                    <a:pt x="278" y="1091"/>
                  </a:cubicBezTo>
                  <a:cubicBezTo>
                    <a:pt x="278" y="1115"/>
                    <a:pt x="278" y="1140"/>
                    <a:pt x="278" y="1165"/>
                  </a:cubicBezTo>
                  <a:close/>
                  <a:moveTo>
                    <a:pt x="150" y="705"/>
                  </a:moveTo>
                  <a:cubicBezTo>
                    <a:pt x="150" y="734"/>
                    <a:pt x="145" y="730"/>
                    <a:pt x="176" y="731"/>
                  </a:cubicBezTo>
                  <a:cubicBezTo>
                    <a:pt x="185" y="731"/>
                    <a:pt x="187" y="727"/>
                    <a:pt x="187" y="719"/>
                  </a:cubicBezTo>
                  <a:cubicBezTo>
                    <a:pt x="187" y="685"/>
                    <a:pt x="187" y="651"/>
                    <a:pt x="187" y="618"/>
                  </a:cubicBezTo>
                  <a:cubicBezTo>
                    <a:pt x="187" y="597"/>
                    <a:pt x="204" y="578"/>
                    <a:pt x="225" y="574"/>
                  </a:cubicBezTo>
                  <a:cubicBezTo>
                    <a:pt x="232" y="572"/>
                    <a:pt x="240" y="574"/>
                    <a:pt x="247" y="575"/>
                  </a:cubicBezTo>
                  <a:cubicBezTo>
                    <a:pt x="257" y="576"/>
                    <a:pt x="261" y="572"/>
                    <a:pt x="265" y="564"/>
                  </a:cubicBezTo>
                  <a:cubicBezTo>
                    <a:pt x="269" y="556"/>
                    <a:pt x="267" y="542"/>
                    <a:pt x="261" y="540"/>
                  </a:cubicBezTo>
                  <a:cubicBezTo>
                    <a:pt x="253" y="538"/>
                    <a:pt x="244" y="534"/>
                    <a:pt x="237" y="536"/>
                  </a:cubicBezTo>
                  <a:cubicBezTo>
                    <a:pt x="228" y="537"/>
                    <a:pt x="217" y="537"/>
                    <a:pt x="209" y="544"/>
                  </a:cubicBezTo>
                  <a:cubicBezTo>
                    <a:pt x="204" y="549"/>
                    <a:pt x="198" y="553"/>
                    <a:pt x="194" y="558"/>
                  </a:cubicBezTo>
                  <a:cubicBezTo>
                    <a:pt x="192" y="561"/>
                    <a:pt x="189" y="563"/>
                    <a:pt x="185" y="562"/>
                  </a:cubicBezTo>
                  <a:cubicBezTo>
                    <a:pt x="182" y="561"/>
                    <a:pt x="182" y="558"/>
                    <a:pt x="182" y="556"/>
                  </a:cubicBezTo>
                  <a:cubicBezTo>
                    <a:pt x="180" y="539"/>
                    <a:pt x="179" y="539"/>
                    <a:pt x="162" y="539"/>
                  </a:cubicBezTo>
                  <a:cubicBezTo>
                    <a:pt x="151" y="539"/>
                    <a:pt x="150" y="540"/>
                    <a:pt x="150" y="551"/>
                  </a:cubicBezTo>
                  <a:cubicBezTo>
                    <a:pt x="150" y="579"/>
                    <a:pt x="150" y="607"/>
                    <a:pt x="150" y="635"/>
                  </a:cubicBezTo>
                  <a:cubicBezTo>
                    <a:pt x="150" y="658"/>
                    <a:pt x="149" y="682"/>
                    <a:pt x="150" y="705"/>
                  </a:cubicBezTo>
                  <a:close/>
                  <a:moveTo>
                    <a:pt x="1011" y="1049"/>
                  </a:moveTo>
                  <a:cubicBezTo>
                    <a:pt x="1011" y="1008"/>
                    <a:pt x="1011" y="966"/>
                    <a:pt x="1011" y="924"/>
                  </a:cubicBezTo>
                  <a:cubicBezTo>
                    <a:pt x="1011" y="913"/>
                    <a:pt x="1008" y="910"/>
                    <a:pt x="997" y="910"/>
                  </a:cubicBezTo>
                  <a:cubicBezTo>
                    <a:pt x="995" y="910"/>
                    <a:pt x="992" y="910"/>
                    <a:pt x="990" y="910"/>
                  </a:cubicBezTo>
                  <a:cubicBezTo>
                    <a:pt x="976" y="910"/>
                    <a:pt x="975" y="911"/>
                    <a:pt x="975" y="926"/>
                  </a:cubicBezTo>
                  <a:cubicBezTo>
                    <a:pt x="975" y="1006"/>
                    <a:pt x="975" y="1085"/>
                    <a:pt x="975" y="1165"/>
                  </a:cubicBezTo>
                  <a:cubicBezTo>
                    <a:pt x="975" y="1185"/>
                    <a:pt x="975" y="1185"/>
                    <a:pt x="994" y="1185"/>
                  </a:cubicBezTo>
                  <a:cubicBezTo>
                    <a:pt x="1009" y="1185"/>
                    <a:pt x="1011" y="1184"/>
                    <a:pt x="1011" y="1169"/>
                  </a:cubicBezTo>
                  <a:cubicBezTo>
                    <a:pt x="1011" y="1129"/>
                    <a:pt x="1011" y="1089"/>
                    <a:pt x="1011" y="1049"/>
                  </a:cubicBezTo>
                  <a:cubicBezTo>
                    <a:pt x="1011" y="1049"/>
                    <a:pt x="1011" y="1049"/>
                    <a:pt x="1011" y="1049"/>
                  </a:cubicBezTo>
                  <a:close/>
                  <a:moveTo>
                    <a:pt x="296" y="176"/>
                  </a:moveTo>
                  <a:cubicBezTo>
                    <a:pt x="296" y="201"/>
                    <a:pt x="296" y="226"/>
                    <a:pt x="296" y="251"/>
                  </a:cubicBezTo>
                  <a:cubicBezTo>
                    <a:pt x="295" y="276"/>
                    <a:pt x="296" y="274"/>
                    <a:pt x="318" y="274"/>
                  </a:cubicBezTo>
                  <a:cubicBezTo>
                    <a:pt x="330" y="274"/>
                    <a:pt x="331" y="274"/>
                    <a:pt x="331" y="260"/>
                  </a:cubicBezTo>
                  <a:cubicBezTo>
                    <a:pt x="331" y="232"/>
                    <a:pt x="331" y="204"/>
                    <a:pt x="331" y="176"/>
                  </a:cubicBezTo>
                  <a:cubicBezTo>
                    <a:pt x="331" y="165"/>
                    <a:pt x="331" y="155"/>
                    <a:pt x="337" y="145"/>
                  </a:cubicBezTo>
                  <a:cubicBezTo>
                    <a:pt x="349" y="123"/>
                    <a:pt x="359" y="117"/>
                    <a:pt x="377" y="118"/>
                  </a:cubicBezTo>
                  <a:cubicBezTo>
                    <a:pt x="383" y="118"/>
                    <a:pt x="389" y="119"/>
                    <a:pt x="395" y="120"/>
                  </a:cubicBezTo>
                  <a:cubicBezTo>
                    <a:pt x="401" y="120"/>
                    <a:pt x="407" y="118"/>
                    <a:pt x="408" y="112"/>
                  </a:cubicBezTo>
                  <a:cubicBezTo>
                    <a:pt x="409" y="103"/>
                    <a:pt x="415" y="93"/>
                    <a:pt x="407" y="85"/>
                  </a:cubicBezTo>
                  <a:cubicBezTo>
                    <a:pt x="406" y="84"/>
                    <a:pt x="404" y="84"/>
                    <a:pt x="402" y="84"/>
                  </a:cubicBezTo>
                  <a:cubicBezTo>
                    <a:pt x="376" y="78"/>
                    <a:pt x="353" y="82"/>
                    <a:pt x="337" y="106"/>
                  </a:cubicBezTo>
                  <a:cubicBezTo>
                    <a:pt x="336" y="108"/>
                    <a:pt x="335" y="110"/>
                    <a:pt x="333" y="109"/>
                  </a:cubicBezTo>
                  <a:cubicBezTo>
                    <a:pt x="331" y="109"/>
                    <a:pt x="330" y="107"/>
                    <a:pt x="330" y="105"/>
                  </a:cubicBezTo>
                  <a:cubicBezTo>
                    <a:pt x="329" y="101"/>
                    <a:pt x="329" y="97"/>
                    <a:pt x="328" y="94"/>
                  </a:cubicBezTo>
                  <a:cubicBezTo>
                    <a:pt x="325" y="85"/>
                    <a:pt x="318" y="82"/>
                    <a:pt x="303" y="84"/>
                  </a:cubicBezTo>
                  <a:cubicBezTo>
                    <a:pt x="297" y="84"/>
                    <a:pt x="295" y="86"/>
                    <a:pt x="295" y="92"/>
                  </a:cubicBezTo>
                  <a:cubicBezTo>
                    <a:pt x="296" y="120"/>
                    <a:pt x="295" y="148"/>
                    <a:pt x="295" y="176"/>
                  </a:cubicBezTo>
                  <a:cubicBezTo>
                    <a:pt x="296" y="176"/>
                    <a:pt x="296" y="176"/>
                    <a:pt x="296" y="176"/>
                  </a:cubicBezTo>
                  <a:close/>
                  <a:moveTo>
                    <a:pt x="946" y="179"/>
                  </a:moveTo>
                  <a:cubicBezTo>
                    <a:pt x="946" y="197"/>
                    <a:pt x="946" y="215"/>
                    <a:pt x="946" y="234"/>
                  </a:cubicBezTo>
                  <a:cubicBezTo>
                    <a:pt x="946" y="248"/>
                    <a:pt x="951" y="260"/>
                    <a:pt x="963" y="268"/>
                  </a:cubicBezTo>
                  <a:cubicBezTo>
                    <a:pt x="982" y="280"/>
                    <a:pt x="1011" y="277"/>
                    <a:pt x="1029" y="264"/>
                  </a:cubicBezTo>
                  <a:cubicBezTo>
                    <a:pt x="1036" y="259"/>
                    <a:pt x="1036" y="254"/>
                    <a:pt x="1032" y="248"/>
                  </a:cubicBezTo>
                  <a:cubicBezTo>
                    <a:pt x="1026" y="239"/>
                    <a:pt x="1020" y="238"/>
                    <a:pt x="1013" y="242"/>
                  </a:cubicBezTo>
                  <a:cubicBezTo>
                    <a:pt x="996" y="252"/>
                    <a:pt x="978" y="243"/>
                    <a:pt x="978" y="223"/>
                  </a:cubicBezTo>
                  <a:cubicBezTo>
                    <a:pt x="978" y="190"/>
                    <a:pt x="978" y="157"/>
                    <a:pt x="978" y="123"/>
                  </a:cubicBezTo>
                  <a:cubicBezTo>
                    <a:pt x="978" y="116"/>
                    <a:pt x="981" y="113"/>
                    <a:pt x="988" y="113"/>
                  </a:cubicBezTo>
                  <a:cubicBezTo>
                    <a:pt x="999" y="114"/>
                    <a:pt x="1011" y="113"/>
                    <a:pt x="1022" y="113"/>
                  </a:cubicBezTo>
                  <a:cubicBezTo>
                    <a:pt x="1028" y="113"/>
                    <a:pt x="1033" y="112"/>
                    <a:pt x="1033" y="104"/>
                  </a:cubicBezTo>
                  <a:cubicBezTo>
                    <a:pt x="1033" y="96"/>
                    <a:pt x="1032" y="90"/>
                    <a:pt x="1022" y="90"/>
                  </a:cubicBezTo>
                  <a:cubicBezTo>
                    <a:pt x="1011" y="90"/>
                    <a:pt x="1001" y="90"/>
                    <a:pt x="990" y="90"/>
                  </a:cubicBezTo>
                  <a:cubicBezTo>
                    <a:pt x="981" y="91"/>
                    <a:pt x="977" y="88"/>
                    <a:pt x="978" y="78"/>
                  </a:cubicBezTo>
                  <a:cubicBezTo>
                    <a:pt x="978" y="64"/>
                    <a:pt x="978" y="49"/>
                    <a:pt x="978" y="35"/>
                  </a:cubicBezTo>
                  <a:cubicBezTo>
                    <a:pt x="978" y="30"/>
                    <a:pt x="978" y="25"/>
                    <a:pt x="971" y="24"/>
                  </a:cubicBezTo>
                  <a:cubicBezTo>
                    <a:pt x="964" y="24"/>
                    <a:pt x="956" y="24"/>
                    <a:pt x="955" y="32"/>
                  </a:cubicBezTo>
                  <a:cubicBezTo>
                    <a:pt x="952" y="43"/>
                    <a:pt x="949" y="54"/>
                    <a:pt x="949" y="65"/>
                  </a:cubicBezTo>
                  <a:cubicBezTo>
                    <a:pt x="948" y="88"/>
                    <a:pt x="947" y="88"/>
                    <a:pt x="924" y="91"/>
                  </a:cubicBezTo>
                  <a:cubicBezTo>
                    <a:pt x="919" y="92"/>
                    <a:pt x="914" y="92"/>
                    <a:pt x="914" y="99"/>
                  </a:cubicBezTo>
                  <a:cubicBezTo>
                    <a:pt x="915" y="107"/>
                    <a:pt x="917" y="113"/>
                    <a:pt x="926" y="113"/>
                  </a:cubicBezTo>
                  <a:cubicBezTo>
                    <a:pt x="929" y="114"/>
                    <a:pt x="932" y="113"/>
                    <a:pt x="935" y="113"/>
                  </a:cubicBezTo>
                  <a:cubicBezTo>
                    <a:pt x="943" y="113"/>
                    <a:pt x="946" y="116"/>
                    <a:pt x="946" y="124"/>
                  </a:cubicBezTo>
                  <a:cubicBezTo>
                    <a:pt x="946" y="142"/>
                    <a:pt x="946" y="161"/>
                    <a:pt x="946" y="179"/>
                  </a:cubicBezTo>
                  <a:cubicBezTo>
                    <a:pt x="946" y="179"/>
                    <a:pt x="946" y="179"/>
                    <a:pt x="946" y="179"/>
                  </a:cubicBezTo>
                  <a:close/>
                </a:path>
              </a:pathLst>
            </a:custGeom>
            <a:solidFill>
              <a:srgbClr val="4C505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grpSp>
          <p:nvGrpSpPr>
            <p:cNvPr id="18" name="Group 4">
              <a:extLst>
                <a:ext uri="{FF2B5EF4-FFF2-40B4-BE49-F238E27FC236}">
                  <a16:creationId xmlns:a16="http://schemas.microsoft.com/office/drawing/2014/main" id="{57BD2C4C-DC67-B843-B26C-309622FC75F7}"/>
                </a:ext>
              </a:extLst>
            </p:cNvPr>
            <p:cNvGrpSpPr>
              <a:grpSpLocks noChangeAspect="1"/>
            </p:cNvGrpSpPr>
            <p:nvPr/>
          </p:nvGrpSpPr>
          <p:grpSpPr bwMode="gray">
            <a:xfrm>
              <a:off x="334963" y="296652"/>
              <a:ext cx="538094" cy="540000"/>
              <a:chOff x="2711" y="1027"/>
              <a:chExt cx="2258" cy="2266"/>
            </a:xfrm>
          </p:grpSpPr>
          <p:sp>
            <p:nvSpPr>
              <p:cNvPr id="19" name="AutoShape 3">
                <a:extLst>
                  <a:ext uri="{FF2B5EF4-FFF2-40B4-BE49-F238E27FC236}">
                    <a16:creationId xmlns:a16="http://schemas.microsoft.com/office/drawing/2014/main" id="{FE1DC41B-291E-574C-9F2C-874E70A40758}"/>
                  </a:ext>
                </a:extLst>
              </p:cNvPr>
              <p:cNvSpPr>
                <a:spLocks noChangeAspect="1" noChangeArrowheads="1" noTextEdit="1"/>
              </p:cNvSpPr>
              <p:nvPr/>
            </p:nvSpPr>
            <p:spPr bwMode="gray">
              <a:xfrm>
                <a:off x="2711" y="1027"/>
                <a:ext cx="2258" cy="22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20" name="Freeform 5">
                <a:extLst>
                  <a:ext uri="{FF2B5EF4-FFF2-40B4-BE49-F238E27FC236}">
                    <a16:creationId xmlns:a16="http://schemas.microsoft.com/office/drawing/2014/main" id="{D4B633C8-F761-C54B-9BD2-EB59D49A2DBC}"/>
                  </a:ext>
                </a:extLst>
              </p:cNvPr>
              <p:cNvSpPr>
                <a:spLocks/>
              </p:cNvSpPr>
              <p:nvPr/>
            </p:nvSpPr>
            <p:spPr bwMode="gray">
              <a:xfrm>
                <a:off x="2709" y="1029"/>
                <a:ext cx="2260" cy="2262"/>
              </a:xfrm>
              <a:custGeom>
                <a:avLst/>
                <a:gdLst>
                  <a:gd name="T0" fmla="*/ 2260 w 2260"/>
                  <a:gd name="T1" fmla="*/ 0 h 2262"/>
                  <a:gd name="T2" fmla="*/ 1612 w 2260"/>
                  <a:gd name="T3" fmla="*/ 649 h 2262"/>
                  <a:gd name="T4" fmla="*/ 1612 w 2260"/>
                  <a:gd name="T5" fmla="*/ 649 h 2262"/>
                  <a:gd name="T6" fmla="*/ 2035 w 2260"/>
                  <a:gd name="T7" fmla="*/ 0 h 2262"/>
                  <a:gd name="T8" fmla="*/ 0 w 2260"/>
                  <a:gd name="T9" fmla="*/ 0 h 2262"/>
                  <a:gd name="T10" fmla="*/ 0 w 2260"/>
                  <a:gd name="T11" fmla="*/ 2262 h 2262"/>
                  <a:gd name="T12" fmla="*/ 2260 w 2260"/>
                  <a:gd name="T13" fmla="*/ 2262 h 2262"/>
                  <a:gd name="T14" fmla="*/ 2260 w 2260"/>
                  <a:gd name="T15" fmla="*/ 0 h 2262"/>
                  <a:gd name="T16" fmla="*/ 2260 w 2260"/>
                  <a:gd name="T17" fmla="*/ 0 h 2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0" h="2262">
                    <a:moveTo>
                      <a:pt x="2260" y="0"/>
                    </a:moveTo>
                    <a:lnTo>
                      <a:pt x="1612" y="649"/>
                    </a:lnTo>
                    <a:lnTo>
                      <a:pt x="1612" y="649"/>
                    </a:lnTo>
                    <a:lnTo>
                      <a:pt x="2035" y="0"/>
                    </a:lnTo>
                    <a:lnTo>
                      <a:pt x="0" y="0"/>
                    </a:lnTo>
                    <a:lnTo>
                      <a:pt x="0" y="2262"/>
                    </a:lnTo>
                    <a:lnTo>
                      <a:pt x="2260" y="2262"/>
                    </a:lnTo>
                    <a:lnTo>
                      <a:pt x="2260" y="0"/>
                    </a:lnTo>
                    <a:lnTo>
                      <a:pt x="2260" y="0"/>
                    </a:lnTo>
                    <a:close/>
                  </a:path>
                </a:pathLst>
              </a:custGeom>
              <a:solidFill>
                <a:srgbClr val="E55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21" name="Freeform 6">
                <a:extLst>
                  <a:ext uri="{FF2B5EF4-FFF2-40B4-BE49-F238E27FC236}">
                    <a16:creationId xmlns:a16="http://schemas.microsoft.com/office/drawing/2014/main" id="{B16BAAE4-1A41-C843-9754-490F7A1E1270}"/>
                  </a:ext>
                </a:extLst>
              </p:cNvPr>
              <p:cNvSpPr>
                <a:spLocks noEditPoints="1"/>
              </p:cNvSpPr>
              <p:nvPr/>
            </p:nvSpPr>
            <p:spPr bwMode="gray">
              <a:xfrm>
                <a:off x="3623" y="1696"/>
                <a:ext cx="1167" cy="922"/>
              </a:xfrm>
              <a:custGeom>
                <a:avLst/>
                <a:gdLst>
                  <a:gd name="T0" fmla="*/ 411 w 580"/>
                  <a:gd name="T1" fmla="*/ 213 h 458"/>
                  <a:gd name="T2" fmla="*/ 570 w 580"/>
                  <a:gd name="T3" fmla="*/ 37 h 458"/>
                  <a:gd name="T4" fmla="*/ 580 w 580"/>
                  <a:gd name="T5" fmla="*/ 20 h 458"/>
                  <a:gd name="T6" fmla="*/ 545 w 580"/>
                  <a:gd name="T7" fmla="*/ 0 h 458"/>
                  <a:gd name="T8" fmla="*/ 519 w 580"/>
                  <a:gd name="T9" fmla="*/ 16 h 458"/>
                  <a:gd name="T10" fmla="*/ 344 w 580"/>
                  <a:gd name="T11" fmla="*/ 210 h 458"/>
                  <a:gd name="T12" fmla="*/ 334 w 580"/>
                  <a:gd name="T13" fmla="*/ 229 h 458"/>
                  <a:gd name="T14" fmla="*/ 344 w 580"/>
                  <a:gd name="T15" fmla="*/ 248 h 458"/>
                  <a:gd name="T16" fmla="*/ 519 w 580"/>
                  <a:gd name="T17" fmla="*/ 442 h 458"/>
                  <a:gd name="T18" fmla="*/ 545 w 580"/>
                  <a:gd name="T19" fmla="*/ 458 h 458"/>
                  <a:gd name="T20" fmla="*/ 580 w 580"/>
                  <a:gd name="T21" fmla="*/ 438 h 458"/>
                  <a:gd name="T22" fmla="*/ 570 w 580"/>
                  <a:gd name="T23" fmla="*/ 421 h 458"/>
                  <a:gd name="T24" fmla="*/ 411 w 580"/>
                  <a:gd name="T25" fmla="*/ 245 h 458"/>
                  <a:gd name="T26" fmla="*/ 399 w 580"/>
                  <a:gd name="T27" fmla="*/ 229 h 458"/>
                  <a:gd name="T28" fmla="*/ 411 w 580"/>
                  <a:gd name="T29" fmla="*/ 213 h 458"/>
                  <a:gd name="T30" fmla="*/ 252 w 580"/>
                  <a:gd name="T31" fmla="*/ 439 h 458"/>
                  <a:gd name="T32" fmla="*/ 281 w 580"/>
                  <a:gd name="T33" fmla="*/ 454 h 458"/>
                  <a:gd name="T34" fmla="*/ 309 w 580"/>
                  <a:gd name="T35" fmla="*/ 439 h 458"/>
                  <a:gd name="T36" fmla="*/ 309 w 580"/>
                  <a:gd name="T37" fmla="*/ 19 h 458"/>
                  <a:gd name="T38" fmla="*/ 281 w 580"/>
                  <a:gd name="T39" fmla="*/ 4 h 458"/>
                  <a:gd name="T40" fmla="*/ 252 w 580"/>
                  <a:gd name="T41" fmla="*/ 19 h 458"/>
                  <a:gd name="T42" fmla="*/ 252 w 580"/>
                  <a:gd name="T43" fmla="*/ 439 h 458"/>
                  <a:gd name="T44" fmla="*/ 0 w 580"/>
                  <a:gd name="T45" fmla="*/ 439 h 458"/>
                  <a:gd name="T46" fmla="*/ 28 w 580"/>
                  <a:gd name="T47" fmla="*/ 454 h 458"/>
                  <a:gd name="T48" fmla="*/ 56 w 580"/>
                  <a:gd name="T49" fmla="*/ 439 h 458"/>
                  <a:gd name="T50" fmla="*/ 56 w 580"/>
                  <a:gd name="T51" fmla="*/ 157 h 458"/>
                  <a:gd name="T52" fmla="*/ 165 w 580"/>
                  <a:gd name="T53" fmla="*/ 53 h 458"/>
                  <a:gd name="T54" fmla="*/ 180 w 580"/>
                  <a:gd name="T55" fmla="*/ 53 h 458"/>
                  <a:gd name="T56" fmla="*/ 196 w 580"/>
                  <a:gd name="T57" fmla="*/ 27 h 458"/>
                  <a:gd name="T58" fmla="*/ 154 w 580"/>
                  <a:gd name="T59" fmla="*/ 4 h 458"/>
                  <a:gd name="T60" fmla="*/ 0 w 580"/>
                  <a:gd name="T61" fmla="*/ 152 h 458"/>
                  <a:gd name="T62" fmla="*/ 0 w 580"/>
                  <a:gd name="T63" fmla="*/ 439 h 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80" h="458">
                    <a:moveTo>
                      <a:pt x="411" y="213"/>
                    </a:moveTo>
                    <a:cubicBezTo>
                      <a:pt x="570" y="37"/>
                      <a:pt x="570" y="37"/>
                      <a:pt x="570" y="37"/>
                    </a:cubicBezTo>
                    <a:cubicBezTo>
                      <a:pt x="576" y="30"/>
                      <a:pt x="580" y="25"/>
                      <a:pt x="580" y="20"/>
                    </a:cubicBezTo>
                    <a:cubicBezTo>
                      <a:pt x="580" y="10"/>
                      <a:pt x="559" y="0"/>
                      <a:pt x="545" y="0"/>
                    </a:cubicBezTo>
                    <a:cubicBezTo>
                      <a:pt x="535" y="0"/>
                      <a:pt x="526" y="8"/>
                      <a:pt x="519" y="16"/>
                    </a:cubicBezTo>
                    <a:cubicBezTo>
                      <a:pt x="344" y="210"/>
                      <a:pt x="344" y="210"/>
                      <a:pt x="344" y="210"/>
                    </a:cubicBezTo>
                    <a:cubicBezTo>
                      <a:pt x="336" y="219"/>
                      <a:pt x="334" y="224"/>
                      <a:pt x="334" y="229"/>
                    </a:cubicBezTo>
                    <a:cubicBezTo>
                      <a:pt x="334" y="234"/>
                      <a:pt x="336" y="239"/>
                      <a:pt x="344" y="248"/>
                    </a:cubicBezTo>
                    <a:cubicBezTo>
                      <a:pt x="519" y="442"/>
                      <a:pt x="519" y="442"/>
                      <a:pt x="519" y="442"/>
                    </a:cubicBezTo>
                    <a:cubicBezTo>
                      <a:pt x="526" y="450"/>
                      <a:pt x="535" y="458"/>
                      <a:pt x="545" y="458"/>
                    </a:cubicBezTo>
                    <a:cubicBezTo>
                      <a:pt x="559" y="458"/>
                      <a:pt x="580" y="448"/>
                      <a:pt x="580" y="438"/>
                    </a:cubicBezTo>
                    <a:cubicBezTo>
                      <a:pt x="580" y="433"/>
                      <a:pt x="576" y="428"/>
                      <a:pt x="570" y="421"/>
                    </a:cubicBezTo>
                    <a:cubicBezTo>
                      <a:pt x="411" y="245"/>
                      <a:pt x="411" y="245"/>
                      <a:pt x="411" y="245"/>
                    </a:cubicBezTo>
                    <a:cubicBezTo>
                      <a:pt x="403" y="236"/>
                      <a:pt x="399" y="232"/>
                      <a:pt x="399" y="229"/>
                    </a:cubicBezTo>
                    <a:cubicBezTo>
                      <a:pt x="399" y="226"/>
                      <a:pt x="403" y="222"/>
                      <a:pt x="411" y="213"/>
                    </a:cubicBezTo>
                    <a:moveTo>
                      <a:pt x="252" y="439"/>
                    </a:moveTo>
                    <a:cubicBezTo>
                      <a:pt x="252" y="449"/>
                      <a:pt x="261" y="454"/>
                      <a:pt x="281" y="454"/>
                    </a:cubicBezTo>
                    <a:cubicBezTo>
                      <a:pt x="300" y="454"/>
                      <a:pt x="309" y="449"/>
                      <a:pt x="309" y="439"/>
                    </a:cubicBezTo>
                    <a:cubicBezTo>
                      <a:pt x="309" y="19"/>
                      <a:pt x="309" y="19"/>
                      <a:pt x="309" y="19"/>
                    </a:cubicBezTo>
                    <a:cubicBezTo>
                      <a:pt x="309" y="9"/>
                      <a:pt x="300" y="4"/>
                      <a:pt x="281" y="4"/>
                    </a:cubicBezTo>
                    <a:cubicBezTo>
                      <a:pt x="261" y="4"/>
                      <a:pt x="252" y="9"/>
                      <a:pt x="252" y="19"/>
                    </a:cubicBezTo>
                    <a:lnTo>
                      <a:pt x="252" y="439"/>
                    </a:lnTo>
                    <a:close/>
                    <a:moveTo>
                      <a:pt x="0" y="439"/>
                    </a:moveTo>
                    <a:cubicBezTo>
                      <a:pt x="0" y="449"/>
                      <a:pt x="8" y="454"/>
                      <a:pt x="28" y="454"/>
                    </a:cubicBezTo>
                    <a:cubicBezTo>
                      <a:pt x="48" y="454"/>
                      <a:pt x="56" y="449"/>
                      <a:pt x="56" y="439"/>
                    </a:cubicBezTo>
                    <a:cubicBezTo>
                      <a:pt x="56" y="157"/>
                      <a:pt x="56" y="157"/>
                      <a:pt x="56" y="157"/>
                    </a:cubicBezTo>
                    <a:cubicBezTo>
                      <a:pt x="56" y="83"/>
                      <a:pt x="85" y="53"/>
                      <a:pt x="165" y="53"/>
                    </a:cubicBezTo>
                    <a:cubicBezTo>
                      <a:pt x="180" y="53"/>
                      <a:pt x="180" y="53"/>
                      <a:pt x="180" y="53"/>
                    </a:cubicBezTo>
                    <a:cubicBezTo>
                      <a:pt x="192" y="53"/>
                      <a:pt x="196" y="43"/>
                      <a:pt x="196" y="27"/>
                    </a:cubicBezTo>
                    <a:cubicBezTo>
                      <a:pt x="196" y="8"/>
                      <a:pt x="185" y="4"/>
                      <a:pt x="154" y="4"/>
                    </a:cubicBezTo>
                    <a:cubicBezTo>
                      <a:pt x="64" y="4"/>
                      <a:pt x="0" y="43"/>
                      <a:pt x="0" y="152"/>
                    </a:cubicBezTo>
                    <a:lnTo>
                      <a:pt x="0" y="43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22" name="Freeform 7">
                <a:extLst>
                  <a:ext uri="{FF2B5EF4-FFF2-40B4-BE49-F238E27FC236}">
                    <a16:creationId xmlns:a16="http://schemas.microsoft.com/office/drawing/2014/main" id="{2F32DCBD-8628-F245-85CD-97686A20ECFD}"/>
                  </a:ext>
                </a:extLst>
              </p:cNvPr>
              <p:cNvSpPr>
                <a:spLocks/>
              </p:cNvSpPr>
              <p:nvPr/>
            </p:nvSpPr>
            <p:spPr bwMode="gray">
              <a:xfrm>
                <a:off x="2880" y="1704"/>
                <a:ext cx="618" cy="916"/>
              </a:xfrm>
              <a:custGeom>
                <a:avLst/>
                <a:gdLst>
                  <a:gd name="T0" fmla="*/ 307 w 307"/>
                  <a:gd name="T1" fmla="*/ 405 h 455"/>
                  <a:gd name="T2" fmla="*/ 307 w 307"/>
                  <a:gd name="T3" fmla="*/ 244 h 455"/>
                  <a:gd name="T4" fmla="*/ 279 w 307"/>
                  <a:gd name="T5" fmla="*/ 229 h 455"/>
                  <a:gd name="T6" fmla="*/ 250 w 307"/>
                  <a:gd name="T7" fmla="*/ 244 h 455"/>
                  <a:gd name="T8" fmla="*/ 250 w 307"/>
                  <a:gd name="T9" fmla="*/ 378 h 455"/>
                  <a:gd name="T10" fmla="*/ 199 w 307"/>
                  <a:gd name="T11" fmla="*/ 408 h 455"/>
                  <a:gd name="T12" fmla="*/ 61 w 307"/>
                  <a:gd name="T13" fmla="*/ 231 h 455"/>
                  <a:gd name="T14" fmla="*/ 238 w 307"/>
                  <a:gd name="T15" fmla="*/ 49 h 455"/>
                  <a:gd name="T16" fmla="*/ 270 w 307"/>
                  <a:gd name="T17" fmla="*/ 49 h 455"/>
                  <a:gd name="T18" fmla="*/ 286 w 307"/>
                  <a:gd name="T19" fmla="*/ 23 h 455"/>
                  <a:gd name="T20" fmla="*/ 244 w 307"/>
                  <a:gd name="T21" fmla="*/ 0 h 455"/>
                  <a:gd name="T22" fmla="*/ 231 w 307"/>
                  <a:gd name="T23" fmla="*/ 0 h 455"/>
                  <a:gd name="T24" fmla="*/ 0 w 307"/>
                  <a:gd name="T25" fmla="*/ 232 h 455"/>
                  <a:gd name="T26" fmla="*/ 198 w 307"/>
                  <a:gd name="T27" fmla="*/ 455 h 455"/>
                  <a:gd name="T28" fmla="*/ 307 w 307"/>
                  <a:gd name="T29" fmla="*/ 405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7" h="455">
                    <a:moveTo>
                      <a:pt x="307" y="405"/>
                    </a:moveTo>
                    <a:cubicBezTo>
                      <a:pt x="307" y="244"/>
                      <a:pt x="307" y="244"/>
                      <a:pt x="307" y="244"/>
                    </a:cubicBezTo>
                    <a:cubicBezTo>
                      <a:pt x="307" y="234"/>
                      <a:pt x="298" y="229"/>
                      <a:pt x="279" y="229"/>
                    </a:cubicBezTo>
                    <a:cubicBezTo>
                      <a:pt x="259" y="229"/>
                      <a:pt x="250" y="234"/>
                      <a:pt x="250" y="244"/>
                    </a:cubicBezTo>
                    <a:cubicBezTo>
                      <a:pt x="250" y="378"/>
                      <a:pt x="250" y="378"/>
                      <a:pt x="250" y="378"/>
                    </a:cubicBezTo>
                    <a:cubicBezTo>
                      <a:pt x="250" y="399"/>
                      <a:pt x="241" y="408"/>
                      <a:pt x="199" y="408"/>
                    </a:cubicBezTo>
                    <a:cubicBezTo>
                      <a:pt x="114" y="408"/>
                      <a:pt x="61" y="342"/>
                      <a:pt x="61" y="231"/>
                    </a:cubicBezTo>
                    <a:cubicBezTo>
                      <a:pt x="61" y="115"/>
                      <a:pt x="126" y="49"/>
                      <a:pt x="238" y="49"/>
                    </a:cubicBezTo>
                    <a:cubicBezTo>
                      <a:pt x="270" y="49"/>
                      <a:pt x="270" y="49"/>
                      <a:pt x="270" y="49"/>
                    </a:cubicBezTo>
                    <a:cubicBezTo>
                      <a:pt x="282" y="49"/>
                      <a:pt x="286" y="39"/>
                      <a:pt x="286" y="23"/>
                    </a:cubicBezTo>
                    <a:cubicBezTo>
                      <a:pt x="286" y="4"/>
                      <a:pt x="275" y="0"/>
                      <a:pt x="244" y="0"/>
                    </a:cubicBezTo>
                    <a:cubicBezTo>
                      <a:pt x="231" y="0"/>
                      <a:pt x="231" y="0"/>
                      <a:pt x="231" y="0"/>
                    </a:cubicBezTo>
                    <a:cubicBezTo>
                      <a:pt x="101" y="0"/>
                      <a:pt x="0" y="71"/>
                      <a:pt x="0" y="232"/>
                    </a:cubicBezTo>
                    <a:cubicBezTo>
                      <a:pt x="0" y="386"/>
                      <a:pt x="88" y="455"/>
                      <a:pt x="198" y="455"/>
                    </a:cubicBezTo>
                    <a:cubicBezTo>
                      <a:pt x="286" y="455"/>
                      <a:pt x="307" y="430"/>
                      <a:pt x="307" y="40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23" name="Oval 8">
                <a:extLst>
                  <a:ext uri="{FF2B5EF4-FFF2-40B4-BE49-F238E27FC236}">
                    <a16:creationId xmlns:a16="http://schemas.microsoft.com/office/drawing/2014/main" id="{60D97C11-1A3B-5449-A48D-98A3E79B3810}"/>
                  </a:ext>
                </a:extLst>
              </p:cNvPr>
              <p:cNvSpPr>
                <a:spLocks noChangeArrowheads="1"/>
              </p:cNvSpPr>
              <p:nvPr/>
            </p:nvSpPr>
            <p:spPr bwMode="gray">
              <a:xfrm>
                <a:off x="3778" y="2099"/>
                <a:ext cx="122" cy="12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24" name="Freeform 9">
                <a:extLst>
                  <a:ext uri="{FF2B5EF4-FFF2-40B4-BE49-F238E27FC236}">
                    <a16:creationId xmlns:a16="http://schemas.microsoft.com/office/drawing/2014/main" id="{5856770D-B8F0-244E-A05D-AED190086F10}"/>
                  </a:ext>
                </a:extLst>
              </p:cNvPr>
              <p:cNvSpPr>
                <a:spLocks noEditPoints="1"/>
              </p:cNvSpPr>
              <p:nvPr/>
            </p:nvSpPr>
            <p:spPr bwMode="gray">
              <a:xfrm>
                <a:off x="3623" y="1696"/>
                <a:ext cx="1167" cy="922"/>
              </a:xfrm>
              <a:custGeom>
                <a:avLst/>
                <a:gdLst>
                  <a:gd name="T0" fmla="*/ 411 w 580"/>
                  <a:gd name="T1" fmla="*/ 213 h 458"/>
                  <a:gd name="T2" fmla="*/ 570 w 580"/>
                  <a:gd name="T3" fmla="*/ 37 h 458"/>
                  <a:gd name="T4" fmla="*/ 580 w 580"/>
                  <a:gd name="T5" fmla="*/ 20 h 458"/>
                  <a:gd name="T6" fmla="*/ 545 w 580"/>
                  <a:gd name="T7" fmla="*/ 0 h 458"/>
                  <a:gd name="T8" fmla="*/ 519 w 580"/>
                  <a:gd name="T9" fmla="*/ 16 h 458"/>
                  <a:gd name="T10" fmla="*/ 344 w 580"/>
                  <a:gd name="T11" fmla="*/ 210 h 458"/>
                  <a:gd name="T12" fmla="*/ 334 w 580"/>
                  <a:gd name="T13" fmla="*/ 229 h 458"/>
                  <a:gd name="T14" fmla="*/ 344 w 580"/>
                  <a:gd name="T15" fmla="*/ 248 h 458"/>
                  <a:gd name="T16" fmla="*/ 519 w 580"/>
                  <a:gd name="T17" fmla="*/ 442 h 458"/>
                  <a:gd name="T18" fmla="*/ 545 w 580"/>
                  <a:gd name="T19" fmla="*/ 458 h 458"/>
                  <a:gd name="T20" fmla="*/ 580 w 580"/>
                  <a:gd name="T21" fmla="*/ 438 h 458"/>
                  <a:gd name="T22" fmla="*/ 570 w 580"/>
                  <a:gd name="T23" fmla="*/ 421 h 458"/>
                  <a:gd name="T24" fmla="*/ 411 w 580"/>
                  <a:gd name="T25" fmla="*/ 245 h 458"/>
                  <a:gd name="T26" fmla="*/ 399 w 580"/>
                  <a:gd name="T27" fmla="*/ 229 h 458"/>
                  <a:gd name="T28" fmla="*/ 411 w 580"/>
                  <a:gd name="T29" fmla="*/ 213 h 458"/>
                  <a:gd name="T30" fmla="*/ 252 w 580"/>
                  <a:gd name="T31" fmla="*/ 439 h 458"/>
                  <a:gd name="T32" fmla="*/ 281 w 580"/>
                  <a:gd name="T33" fmla="*/ 454 h 458"/>
                  <a:gd name="T34" fmla="*/ 309 w 580"/>
                  <a:gd name="T35" fmla="*/ 439 h 458"/>
                  <a:gd name="T36" fmla="*/ 309 w 580"/>
                  <a:gd name="T37" fmla="*/ 19 h 458"/>
                  <a:gd name="T38" fmla="*/ 281 w 580"/>
                  <a:gd name="T39" fmla="*/ 4 h 458"/>
                  <a:gd name="T40" fmla="*/ 252 w 580"/>
                  <a:gd name="T41" fmla="*/ 19 h 458"/>
                  <a:gd name="T42" fmla="*/ 252 w 580"/>
                  <a:gd name="T43" fmla="*/ 439 h 458"/>
                  <a:gd name="T44" fmla="*/ 0 w 580"/>
                  <a:gd name="T45" fmla="*/ 439 h 458"/>
                  <a:gd name="T46" fmla="*/ 28 w 580"/>
                  <a:gd name="T47" fmla="*/ 454 h 458"/>
                  <a:gd name="T48" fmla="*/ 56 w 580"/>
                  <a:gd name="T49" fmla="*/ 439 h 458"/>
                  <a:gd name="T50" fmla="*/ 56 w 580"/>
                  <a:gd name="T51" fmla="*/ 157 h 458"/>
                  <a:gd name="T52" fmla="*/ 165 w 580"/>
                  <a:gd name="T53" fmla="*/ 53 h 458"/>
                  <a:gd name="T54" fmla="*/ 180 w 580"/>
                  <a:gd name="T55" fmla="*/ 53 h 458"/>
                  <a:gd name="T56" fmla="*/ 196 w 580"/>
                  <a:gd name="T57" fmla="*/ 27 h 458"/>
                  <a:gd name="T58" fmla="*/ 154 w 580"/>
                  <a:gd name="T59" fmla="*/ 4 h 458"/>
                  <a:gd name="T60" fmla="*/ 0 w 580"/>
                  <a:gd name="T61" fmla="*/ 152 h 458"/>
                  <a:gd name="T62" fmla="*/ 0 w 580"/>
                  <a:gd name="T63" fmla="*/ 439 h 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80" h="458">
                    <a:moveTo>
                      <a:pt x="411" y="213"/>
                    </a:moveTo>
                    <a:cubicBezTo>
                      <a:pt x="570" y="37"/>
                      <a:pt x="570" y="37"/>
                      <a:pt x="570" y="37"/>
                    </a:cubicBezTo>
                    <a:cubicBezTo>
                      <a:pt x="576" y="30"/>
                      <a:pt x="580" y="25"/>
                      <a:pt x="580" y="20"/>
                    </a:cubicBezTo>
                    <a:cubicBezTo>
                      <a:pt x="580" y="10"/>
                      <a:pt x="559" y="0"/>
                      <a:pt x="545" y="0"/>
                    </a:cubicBezTo>
                    <a:cubicBezTo>
                      <a:pt x="535" y="0"/>
                      <a:pt x="526" y="8"/>
                      <a:pt x="519" y="16"/>
                    </a:cubicBezTo>
                    <a:cubicBezTo>
                      <a:pt x="344" y="210"/>
                      <a:pt x="344" y="210"/>
                      <a:pt x="344" y="210"/>
                    </a:cubicBezTo>
                    <a:cubicBezTo>
                      <a:pt x="336" y="219"/>
                      <a:pt x="334" y="224"/>
                      <a:pt x="334" y="229"/>
                    </a:cubicBezTo>
                    <a:cubicBezTo>
                      <a:pt x="334" y="234"/>
                      <a:pt x="336" y="239"/>
                      <a:pt x="344" y="248"/>
                    </a:cubicBezTo>
                    <a:cubicBezTo>
                      <a:pt x="519" y="442"/>
                      <a:pt x="519" y="442"/>
                      <a:pt x="519" y="442"/>
                    </a:cubicBezTo>
                    <a:cubicBezTo>
                      <a:pt x="526" y="450"/>
                      <a:pt x="535" y="458"/>
                      <a:pt x="545" y="458"/>
                    </a:cubicBezTo>
                    <a:cubicBezTo>
                      <a:pt x="559" y="458"/>
                      <a:pt x="580" y="448"/>
                      <a:pt x="580" y="438"/>
                    </a:cubicBezTo>
                    <a:cubicBezTo>
                      <a:pt x="580" y="433"/>
                      <a:pt x="576" y="428"/>
                      <a:pt x="570" y="421"/>
                    </a:cubicBezTo>
                    <a:cubicBezTo>
                      <a:pt x="411" y="245"/>
                      <a:pt x="411" y="245"/>
                      <a:pt x="411" y="245"/>
                    </a:cubicBezTo>
                    <a:cubicBezTo>
                      <a:pt x="403" y="236"/>
                      <a:pt x="399" y="232"/>
                      <a:pt x="399" y="229"/>
                    </a:cubicBezTo>
                    <a:cubicBezTo>
                      <a:pt x="399" y="226"/>
                      <a:pt x="403" y="222"/>
                      <a:pt x="411" y="213"/>
                    </a:cubicBezTo>
                    <a:moveTo>
                      <a:pt x="252" y="439"/>
                    </a:moveTo>
                    <a:cubicBezTo>
                      <a:pt x="252" y="449"/>
                      <a:pt x="261" y="454"/>
                      <a:pt x="281" y="454"/>
                    </a:cubicBezTo>
                    <a:cubicBezTo>
                      <a:pt x="300" y="454"/>
                      <a:pt x="309" y="449"/>
                      <a:pt x="309" y="439"/>
                    </a:cubicBezTo>
                    <a:cubicBezTo>
                      <a:pt x="309" y="19"/>
                      <a:pt x="309" y="19"/>
                      <a:pt x="309" y="19"/>
                    </a:cubicBezTo>
                    <a:cubicBezTo>
                      <a:pt x="309" y="9"/>
                      <a:pt x="300" y="4"/>
                      <a:pt x="281" y="4"/>
                    </a:cubicBezTo>
                    <a:cubicBezTo>
                      <a:pt x="261" y="4"/>
                      <a:pt x="252" y="9"/>
                      <a:pt x="252" y="19"/>
                    </a:cubicBezTo>
                    <a:lnTo>
                      <a:pt x="252" y="439"/>
                    </a:lnTo>
                    <a:close/>
                    <a:moveTo>
                      <a:pt x="0" y="439"/>
                    </a:moveTo>
                    <a:cubicBezTo>
                      <a:pt x="0" y="449"/>
                      <a:pt x="8" y="454"/>
                      <a:pt x="28" y="454"/>
                    </a:cubicBezTo>
                    <a:cubicBezTo>
                      <a:pt x="48" y="454"/>
                      <a:pt x="56" y="449"/>
                      <a:pt x="56" y="439"/>
                    </a:cubicBezTo>
                    <a:cubicBezTo>
                      <a:pt x="56" y="157"/>
                      <a:pt x="56" y="157"/>
                      <a:pt x="56" y="157"/>
                    </a:cubicBezTo>
                    <a:cubicBezTo>
                      <a:pt x="56" y="83"/>
                      <a:pt x="85" y="53"/>
                      <a:pt x="165" y="53"/>
                    </a:cubicBezTo>
                    <a:cubicBezTo>
                      <a:pt x="180" y="53"/>
                      <a:pt x="180" y="53"/>
                      <a:pt x="180" y="53"/>
                    </a:cubicBezTo>
                    <a:cubicBezTo>
                      <a:pt x="192" y="53"/>
                      <a:pt x="196" y="43"/>
                      <a:pt x="196" y="27"/>
                    </a:cubicBezTo>
                    <a:cubicBezTo>
                      <a:pt x="196" y="8"/>
                      <a:pt x="185" y="4"/>
                      <a:pt x="154" y="4"/>
                    </a:cubicBezTo>
                    <a:cubicBezTo>
                      <a:pt x="64" y="4"/>
                      <a:pt x="0" y="43"/>
                      <a:pt x="0" y="152"/>
                    </a:cubicBezTo>
                    <a:lnTo>
                      <a:pt x="0" y="43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25" name="Freeform 10">
                <a:extLst>
                  <a:ext uri="{FF2B5EF4-FFF2-40B4-BE49-F238E27FC236}">
                    <a16:creationId xmlns:a16="http://schemas.microsoft.com/office/drawing/2014/main" id="{2B91B16B-BC11-E547-8FAC-B9B8D18EA449}"/>
                  </a:ext>
                </a:extLst>
              </p:cNvPr>
              <p:cNvSpPr>
                <a:spLocks/>
              </p:cNvSpPr>
              <p:nvPr/>
            </p:nvSpPr>
            <p:spPr bwMode="gray">
              <a:xfrm>
                <a:off x="2880" y="1704"/>
                <a:ext cx="618" cy="916"/>
              </a:xfrm>
              <a:custGeom>
                <a:avLst/>
                <a:gdLst>
                  <a:gd name="T0" fmla="*/ 307 w 307"/>
                  <a:gd name="T1" fmla="*/ 405 h 455"/>
                  <a:gd name="T2" fmla="*/ 307 w 307"/>
                  <a:gd name="T3" fmla="*/ 244 h 455"/>
                  <a:gd name="T4" fmla="*/ 279 w 307"/>
                  <a:gd name="T5" fmla="*/ 229 h 455"/>
                  <a:gd name="T6" fmla="*/ 250 w 307"/>
                  <a:gd name="T7" fmla="*/ 244 h 455"/>
                  <a:gd name="T8" fmla="*/ 250 w 307"/>
                  <a:gd name="T9" fmla="*/ 378 h 455"/>
                  <a:gd name="T10" fmla="*/ 199 w 307"/>
                  <a:gd name="T11" fmla="*/ 408 h 455"/>
                  <a:gd name="T12" fmla="*/ 61 w 307"/>
                  <a:gd name="T13" fmla="*/ 231 h 455"/>
                  <a:gd name="T14" fmla="*/ 238 w 307"/>
                  <a:gd name="T15" fmla="*/ 49 h 455"/>
                  <a:gd name="T16" fmla="*/ 270 w 307"/>
                  <a:gd name="T17" fmla="*/ 49 h 455"/>
                  <a:gd name="T18" fmla="*/ 286 w 307"/>
                  <a:gd name="T19" fmla="*/ 23 h 455"/>
                  <a:gd name="T20" fmla="*/ 244 w 307"/>
                  <a:gd name="T21" fmla="*/ 0 h 455"/>
                  <a:gd name="T22" fmla="*/ 231 w 307"/>
                  <a:gd name="T23" fmla="*/ 0 h 455"/>
                  <a:gd name="T24" fmla="*/ 0 w 307"/>
                  <a:gd name="T25" fmla="*/ 232 h 455"/>
                  <a:gd name="T26" fmla="*/ 198 w 307"/>
                  <a:gd name="T27" fmla="*/ 455 h 455"/>
                  <a:gd name="T28" fmla="*/ 307 w 307"/>
                  <a:gd name="T29" fmla="*/ 405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7" h="455">
                    <a:moveTo>
                      <a:pt x="307" y="405"/>
                    </a:moveTo>
                    <a:cubicBezTo>
                      <a:pt x="307" y="244"/>
                      <a:pt x="307" y="244"/>
                      <a:pt x="307" y="244"/>
                    </a:cubicBezTo>
                    <a:cubicBezTo>
                      <a:pt x="307" y="234"/>
                      <a:pt x="298" y="229"/>
                      <a:pt x="279" y="229"/>
                    </a:cubicBezTo>
                    <a:cubicBezTo>
                      <a:pt x="259" y="229"/>
                      <a:pt x="250" y="234"/>
                      <a:pt x="250" y="244"/>
                    </a:cubicBezTo>
                    <a:cubicBezTo>
                      <a:pt x="250" y="378"/>
                      <a:pt x="250" y="378"/>
                      <a:pt x="250" y="378"/>
                    </a:cubicBezTo>
                    <a:cubicBezTo>
                      <a:pt x="250" y="399"/>
                      <a:pt x="241" y="408"/>
                      <a:pt x="199" y="408"/>
                    </a:cubicBezTo>
                    <a:cubicBezTo>
                      <a:pt x="114" y="408"/>
                      <a:pt x="61" y="342"/>
                      <a:pt x="61" y="231"/>
                    </a:cubicBezTo>
                    <a:cubicBezTo>
                      <a:pt x="61" y="115"/>
                      <a:pt x="126" y="49"/>
                      <a:pt x="238" y="49"/>
                    </a:cubicBezTo>
                    <a:cubicBezTo>
                      <a:pt x="270" y="49"/>
                      <a:pt x="270" y="49"/>
                      <a:pt x="270" y="49"/>
                    </a:cubicBezTo>
                    <a:cubicBezTo>
                      <a:pt x="282" y="49"/>
                      <a:pt x="286" y="39"/>
                      <a:pt x="286" y="23"/>
                    </a:cubicBezTo>
                    <a:cubicBezTo>
                      <a:pt x="286" y="4"/>
                      <a:pt x="275" y="0"/>
                      <a:pt x="244" y="0"/>
                    </a:cubicBezTo>
                    <a:cubicBezTo>
                      <a:pt x="231" y="0"/>
                      <a:pt x="231" y="0"/>
                      <a:pt x="231" y="0"/>
                    </a:cubicBezTo>
                    <a:cubicBezTo>
                      <a:pt x="101" y="0"/>
                      <a:pt x="0" y="71"/>
                      <a:pt x="0" y="232"/>
                    </a:cubicBezTo>
                    <a:cubicBezTo>
                      <a:pt x="0" y="386"/>
                      <a:pt x="88" y="455"/>
                      <a:pt x="198" y="455"/>
                    </a:cubicBezTo>
                    <a:cubicBezTo>
                      <a:pt x="286" y="455"/>
                      <a:pt x="307" y="430"/>
                      <a:pt x="307" y="40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26" name="Oval 11">
                <a:extLst>
                  <a:ext uri="{FF2B5EF4-FFF2-40B4-BE49-F238E27FC236}">
                    <a16:creationId xmlns:a16="http://schemas.microsoft.com/office/drawing/2014/main" id="{14F8C3C8-4888-7646-B9B4-64EB46A1DA23}"/>
                  </a:ext>
                </a:extLst>
              </p:cNvPr>
              <p:cNvSpPr>
                <a:spLocks noChangeArrowheads="1"/>
              </p:cNvSpPr>
              <p:nvPr/>
            </p:nvSpPr>
            <p:spPr bwMode="gray">
              <a:xfrm>
                <a:off x="3778" y="2099"/>
                <a:ext cx="122" cy="12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27" name="Freeform 12">
                <a:extLst>
                  <a:ext uri="{FF2B5EF4-FFF2-40B4-BE49-F238E27FC236}">
                    <a16:creationId xmlns:a16="http://schemas.microsoft.com/office/drawing/2014/main" id="{D79D01D1-4E3E-F34B-97D7-2D387E68746E}"/>
                  </a:ext>
                </a:extLst>
              </p:cNvPr>
              <p:cNvSpPr>
                <a:spLocks/>
              </p:cNvSpPr>
              <p:nvPr/>
            </p:nvSpPr>
            <p:spPr bwMode="gray">
              <a:xfrm>
                <a:off x="4321" y="1029"/>
                <a:ext cx="648" cy="649"/>
              </a:xfrm>
              <a:custGeom>
                <a:avLst/>
                <a:gdLst>
                  <a:gd name="T0" fmla="*/ 0 w 648"/>
                  <a:gd name="T1" fmla="*/ 649 h 649"/>
                  <a:gd name="T2" fmla="*/ 2 w 648"/>
                  <a:gd name="T3" fmla="*/ 649 h 649"/>
                  <a:gd name="T4" fmla="*/ 648 w 648"/>
                  <a:gd name="T5" fmla="*/ 0 h 649"/>
                  <a:gd name="T6" fmla="*/ 423 w 648"/>
                  <a:gd name="T7" fmla="*/ 0 h 649"/>
                  <a:gd name="T8" fmla="*/ 0 w 648"/>
                  <a:gd name="T9" fmla="*/ 649 h 649"/>
                </a:gdLst>
                <a:ahLst/>
                <a:cxnLst>
                  <a:cxn ang="0">
                    <a:pos x="T0" y="T1"/>
                  </a:cxn>
                  <a:cxn ang="0">
                    <a:pos x="T2" y="T3"/>
                  </a:cxn>
                  <a:cxn ang="0">
                    <a:pos x="T4" y="T5"/>
                  </a:cxn>
                  <a:cxn ang="0">
                    <a:pos x="T6" y="T7"/>
                  </a:cxn>
                  <a:cxn ang="0">
                    <a:pos x="T8" y="T9"/>
                  </a:cxn>
                </a:cxnLst>
                <a:rect l="0" t="0" r="r" b="b"/>
                <a:pathLst>
                  <a:path w="648" h="649">
                    <a:moveTo>
                      <a:pt x="0" y="649"/>
                    </a:moveTo>
                    <a:lnTo>
                      <a:pt x="2" y="649"/>
                    </a:lnTo>
                    <a:lnTo>
                      <a:pt x="648" y="0"/>
                    </a:lnTo>
                    <a:lnTo>
                      <a:pt x="423" y="0"/>
                    </a:lnTo>
                    <a:lnTo>
                      <a:pt x="0" y="64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28" name="Freeform 13">
                <a:extLst>
                  <a:ext uri="{FF2B5EF4-FFF2-40B4-BE49-F238E27FC236}">
                    <a16:creationId xmlns:a16="http://schemas.microsoft.com/office/drawing/2014/main" id="{46549898-6C52-B147-A8F6-A73FDBE6163B}"/>
                  </a:ext>
                </a:extLst>
              </p:cNvPr>
              <p:cNvSpPr>
                <a:spLocks/>
              </p:cNvSpPr>
              <p:nvPr/>
            </p:nvSpPr>
            <p:spPr bwMode="gray">
              <a:xfrm>
                <a:off x="4321" y="1029"/>
                <a:ext cx="648" cy="649"/>
              </a:xfrm>
              <a:custGeom>
                <a:avLst/>
                <a:gdLst>
                  <a:gd name="T0" fmla="*/ 0 w 648"/>
                  <a:gd name="T1" fmla="*/ 649 h 649"/>
                  <a:gd name="T2" fmla="*/ 2 w 648"/>
                  <a:gd name="T3" fmla="*/ 649 h 649"/>
                  <a:gd name="T4" fmla="*/ 648 w 648"/>
                  <a:gd name="T5" fmla="*/ 0 h 649"/>
                  <a:gd name="T6" fmla="*/ 423 w 648"/>
                  <a:gd name="T7" fmla="*/ 0 h 649"/>
                  <a:gd name="T8" fmla="*/ 0 w 648"/>
                  <a:gd name="T9" fmla="*/ 649 h 649"/>
                </a:gdLst>
                <a:ahLst/>
                <a:cxnLst>
                  <a:cxn ang="0">
                    <a:pos x="T0" y="T1"/>
                  </a:cxn>
                  <a:cxn ang="0">
                    <a:pos x="T2" y="T3"/>
                  </a:cxn>
                  <a:cxn ang="0">
                    <a:pos x="T4" y="T5"/>
                  </a:cxn>
                  <a:cxn ang="0">
                    <a:pos x="T6" y="T7"/>
                  </a:cxn>
                  <a:cxn ang="0">
                    <a:pos x="T8" y="T9"/>
                  </a:cxn>
                </a:cxnLst>
                <a:rect l="0" t="0" r="r" b="b"/>
                <a:pathLst>
                  <a:path w="648" h="649">
                    <a:moveTo>
                      <a:pt x="0" y="649"/>
                    </a:moveTo>
                    <a:lnTo>
                      <a:pt x="2" y="649"/>
                    </a:lnTo>
                    <a:lnTo>
                      <a:pt x="648" y="0"/>
                    </a:lnTo>
                    <a:lnTo>
                      <a:pt x="423" y="0"/>
                    </a:lnTo>
                    <a:lnTo>
                      <a:pt x="0" y="64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grpSp>
      </p:grpSp>
      <p:sp>
        <p:nvSpPr>
          <p:cNvPr id="7" name="Date Placeholder 6"/>
          <p:cNvSpPr>
            <a:spLocks noGrp="1"/>
          </p:cNvSpPr>
          <p:nvPr>
            <p:ph type="dt" sz="half" idx="10"/>
          </p:nvPr>
        </p:nvSpPr>
        <p:spPr>
          <a:xfrm>
            <a:off x="0" y="0"/>
            <a:ext cx="0" cy="0"/>
          </a:xfrm>
          <a:prstGeom prst="rect">
            <a:avLst/>
          </a:prstGeom>
        </p:spPr>
        <p:txBody>
          <a:bodyPr/>
          <a:lstStyle>
            <a:lvl1pPr>
              <a:defRPr sz="100">
                <a:noFill/>
              </a:defRPr>
            </a:lvl1pPr>
          </a:lstStyle>
          <a:p>
            <a:fld id="{D6D08F88-38D2-4786-82D6-89211B05083D}" type="datetime5">
              <a:rPr lang="en-US" smtClean="0"/>
              <a:t>26-Jun-20</a:t>
            </a:fld>
            <a:endParaRPr lang="en-US"/>
          </a:p>
        </p:txBody>
      </p:sp>
      <p:sp>
        <p:nvSpPr>
          <p:cNvPr id="8" name="Footer Placeholder 7"/>
          <p:cNvSpPr>
            <a:spLocks noGrp="1"/>
          </p:cNvSpPr>
          <p:nvPr>
            <p:ph type="ftr" sz="quarter" idx="11"/>
          </p:nvPr>
        </p:nvSpPr>
        <p:spPr>
          <a:xfrm>
            <a:off x="0" y="0"/>
            <a:ext cx="0" cy="0"/>
          </a:xfrm>
          <a:prstGeom prst="rect">
            <a:avLst/>
          </a:prstGeom>
        </p:spPr>
        <p:txBody>
          <a:bodyPr/>
          <a:lstStyle>
            <a:lvl1pPr marL="0" indent="0">
              <a:buNone/>
              <a:defRPr sz="100">
                <a:noFill/>
              </a:defRPr>
            </a:lvl1pPr>
          </a:lstStyle>
          <a:p>
            <a:r>
              <a:rPr lang="en-US"/>
              <a:t>Title of presentation (Insert / Header &amp; Footer / Apply to All)</a:t>
            </a:r>
          </a:p>
        </p:txBody>
      </p:sp>
      <p:sp>
        <p:nvSpPr>
          <p:cNvPr id="9" name="Slide Number Placeholder 8"/>
          <p:cNvSpPr>
            <a:spLocks noGrp="1"/>
          </p:cNvSpPr>
          <p:nvPr>
            <p:ph type="sldNum" sz="quarter" idx="12"/>
          </p:nvPr>
        </p:nvSpPr>
        <p:spPr>
          <a:xfrm>
            <a:off x="0" y="0"/>
            <a:ext cx="0" cy="0"/>
          </a:xfrm>
          <a:prstGeom prst="rect">
            <a:avLst/>
          </a:prstGeom>
        </p:spPr>
        <p:txBody>
          <a:bodyPr/>
          <a:lstStyle>
            <a:lvl1pPr>
              <a:defRPr sz="100">
                <a:noFill/>
              </a:defRPr>
            </a:lvl1pPr>
          </a:lstStyle>
          <a:p>
            <a:fld id="{8E3B25F7-8D1F-44B5-B485-EE3C438CFD7B}" type="slidenum">
              <a:rPr lang="en-US" smtClean="0"/>
              <a:pPr/>
              <a:t>‹#›</a:t>
            </a:fld>
            <a:endParaRPr lang="en-US"/>
          </a:p>
        </p:txBody>
      </p:sp>
      <p:sp>
        <p:nvSpPr>
          <p:cNvPr id="2" name="Title 1"/>
          <p:cNvSpPr>
            <a:spLocks noGrp="1"/>
          </p:cNvSpPr>
          <p:nvPr>
            <p:ph type="ctrTitle" hasCustomPrompt="1"/>
          </p:nvPr>
        </p:nvSpPr>
        <p:spPr>
          <a:xfrm>
            <a:off x="417600" y="1628775"/>
            <a:ext cx="3816000" cy="2236264"/>
          </a:xfrm>
        </p:spPr>
        <p:txBody>
          <a:bodyPr anchor="b"/>
          <a:lstStyle>
            <a:lvl1pPr algn="l">
              <a:defRPr sz="3600"/>
            </a:lvl1pPr>
          </a:lstStyle>
          <a:p>
            <a:r>
              <a:rPr lang="en-US"/>
              <a:t>Click to add presentation title</a:t>
            </a:r>
          </a:p>
        </p:txBody>
      </p:sp>
      <p:sp>
        <p:nvSpPr>
          <p:cNvPr id="3" name="Subtitle 2"/>
          <p:cNvSpPr>
            <a:spLocks noGrp="1"/>
          </p:cNvSpPr>
          <p:nvPr>
            <p:ph type="subTitle" idx="1" hasCustomPrompt="1"/>
          </p:nvPr>
        </p:nvSpPr>
        <p:spPr>
          <a:xfrm>
            <a:off x="417600" y="4094163"/>
            <a:ext cx="3816000" cy="1080000"/>
          </a:xfrm>
        </p:spPr>
        <p:txBody>
          <a:bodyPr/>
          <a:lstStyle>
            <a:lvl1pPr marL="0" indent="0" algn="l">
              <a:spcBef>
                <a:spcPts val="0"/>
              </a:spcBef>
              <a:buNone/>
              <a:defRPr sz="1800" b="1"/>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sp>
        <p:nvSpPr>
          <p:cNvPr id="31" name="Text Placeholder 30"/>
          <p:cNvSpPr>
            <a:spLocks noGrp="1"/>
          </p:cNvSpPr>
          <p:nvPr>
            <p:ph type="body" sz="quarter" idx="14" hasCustomPrompt="1"/>
          </p:nvPr>
        </p:nvSpPr>
        <p:spPr>
          <a:xfrm>
            <a:off x="417600" y="5393268"/>
            <a:ext cx="3816000" cy="296332"/>
          </a:xfrm>
        </p:spPr>
        <p:txBody>
          <a:bodyPr wrap="none"/>
          <a:lstStyle>
            <a:lvl1pPr marL="0" indent="0">
              <a:spcBef>
                <a:spcPts val="0"/>
              </a:spcBef>
              <a:buNone/>
              <a:defRPr sz="1200"/>
            </a:lvl1pPr>
            <a:lvl2pPr marL="0" indent="0">
              <a:buNone/>
              <a:defRPr sz="1200"/>
            </a:lvl2pPr>
            <a:lvl3pPr marL="0" indent="0">
              <a:buNone/>
              <a:defRPr sz="1200"/>
            </a:lvl3pPr>
            <a:lvl4pPr marL="0">
              <a:buNone/>
              <a:defRPr sz="1200"/>
            </a:lvl4pPr>
            <a:lvl5pPr marL="0" indent="0">
              <a:buNone/>
              <a:defRPr sz="1200"/>
            </a:lvl5pPr>
          </a:lstStyle>
          <a:p>
            <a:pPr lvl="0"/>
            <a:r>
              <a:rPr lang="en-US"/>
              <a:t>Name</a:t>
            </a:r>
          </a:p>
        </p:txBody>
      </p:sp>
      <p:sp>
        <p:nvSpPr>
          <p:cNvPr id="34" name="Text Placeholder 30"/>
          <p:cNvSpPr>
            <a:spLocks noGrp="1"/>
          </p:cNvSpPr>
          <p:nvPr>
            <p:ph type="body" sz="quarter" idx="15" hasCustomPrompt="1"/>
          </p:nvPr>
        </p:nvSpPr>
        <p:spPr>
          <a:xfrm>
            <a:off x="417600" y="5691446"/>
            <a:ext cx="3816000" cy="296332"/>
          </a:xfrm>
        </p:spPr>
        <p:txBody>
          <a:bodyPr wrap="none"/>
          <a:lstStyle>
            <a:lvl1pPr marL="0" indent="0">
              <a:spcBef>
                <a:spcPts val="0"/>
              </a:spcBef>
              <a:buNone/>
              <a:defRPr sz="1200"/>
            </a:lvl1pPr>
            <a:lvl2pPr marL="0" indent="0">
              <a:buNone/>
              <a:defRPr sz="1200"/>
            </a:lvl2pPr>
            <a:lvl3pPr marL="0" indent="0">
              <a:buNone/>
              <a:defRPr sz="1200"/>
            </a:lvl3pPr>
            <a:lvl4pPr marL="0">
              <a:buNone/>
              <a:defRPr sz="1200"/>
            </a:lvl4pPr>
            <a:lvl5pPr marL="0" indent="0">
              <a:buNone/>
              <a:defRPr sz="1200"/>
            </a:lvl5pPr>
          </a:lstStyle>
          <a:p>
            <a:pPr lvl="0"/>
            <a:r>
              <a:rPr lang="en-US"/>
              <a:t>Department</a:t>
            </a:r>
          </a:p>
        </p:txBody>
      </p:sp>
    </p:spTree>
    <p:extLst>
      <p:ext uri="{BB962C8B-B14F-4D97-AF65-F5344CB8AC3E}">
        <p14:creationId xmlns:p14="http://schemas.microsoft.com/office/powerpoint/2010/main" val="3405425640"/>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wo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p>
            <a:r>
              <a:rPr lang="en-US"/>
              <a:t>Click to add headline</a:t>
            </a:r>
          </a:p>
        </p:txBody>
      </p:sp>
      <p:sp>
        <p:nvSpPr>
          <p:cNvPr id="7" name="Textplatzhalter 2"/>
          <p:cNvSpPr>
            <a:spLocks noGrp="1"/>
          </p:cNvSpPr>
          <p:nvPr>
            <p:ph type="body" sz="quarter" idx="11" hasCustomPrompt="1"/>
          </p:nvPr>
        </p:nvSpPr>
        <p:spPr bwMode="gray">
          <a:xfrm>
            <a:off x="431213" y="1220755"/>
            <a:ext cx="11328987" cy="384340"/>
          </a:xfrm>
        </p:spPr>
        <p:txBody>
          <a:bodyPr>
            <a:noAutofit/>
          </a:bodyPr>
          <a:lstStyle>
            <a:lvl1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1pPr>
            <a:lvl2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2pPr>
            <a:lvl3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3pPr>
            <a:lvl4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4pPr>
            <a:lvl5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5pPr>
            <a:lvl6pPr marL="0" indent="0">
              <a:lnSpc>
                <a:spcPct val="100000"/>
              </a:lnSpc>
              <a:spcBef>
                <a:spcPts val="800"/>
              </a:spcBef>
              <a:buNone/>
              <a:defRPr lang="en-GB" sz="2400" kern="1200" noProof="0" smtClean="0">
                <a:solidFill>
                  <a:schemeClr val="tx2"/>
                </a:solidFill>
                <a:latin typeface="Arial" pitchFamily="34" charset="0"/>
                <a:ea typeface="+mn-ea"/>
                <a:cs typeface="Arial" pitchFamily="34" charset="0"/>
              </a:defRPr>
            </a:lvl6pPr>
            <a:lvl7pPr marL="0" indent="0">
              <a:lnSpc>
                <a:spcPct val="100000"/>
              </a:lnSpc>
              <a:spcBef>
                <a:spcPts val="800"/>
              </a:spcBef>
              <a:buNone/>
              <a:defRPr lang="en-GB" sz="2400" kern="1200" noProof="0" smtClean="0">
                <a:solidFill>
                  <a:schemeClr val="tx2"/>
                </a:solidFill>
                <a:latin typeface="Arial" pitchFamily="34" charset="0"/>
                <a:ea typeface="+mn-ea"/>
                <a:cs typeface="Arial" pitchFamily="34" charset="0"/>
              </a:defRPr>
            </a:lvl7pPr>
            <a:lvl8pPr marL="0" indent="0">
              <a:lnSpc>
                <a:spcPct val="100000"/>
              </a:lnSpc>
              <a:spcBef>
                <a:spcPts val="800"/>
              </a:spcBef>
              <a:buNone/>
              <a:defRPr lang="en-GB" sz="2400" kern="1200" noProof="0" smtClean="0">
                <a:solidFill>
                  <a:schemeClr val="tx2"/>
                </a:solidFill>
                <a:latin typeface="Arial" pitchFamily="34" charset="0"/>
                <a:ea typeface="+mn-ea"/>
                <a:cs typeface="Arial" pitchFamily="34" charset="0"/>
              </a:defRPr>
            </a:lvl8pPr>
            <a:lvl9pPr marL="0" indent="0">
              <a:lnSpc>
                <a:spcPct val="100000"/>
              </a:lnSpc>
              <a:spcBef>
                <a:spcPts val="800"/>
              </a:spcBef>
              <a:buNone/>
              <a:defRPr lang="de-DE" sz="2400" kern="1200" noProof="0" smtClean="0">
                <a:solidFill>
                  <a:schemeClr val="tx2"/>
                </a:solidFill>
                <a:latin typeface="Arial" pitchFamily="34" charset="0"/>
                <a:ea typeface="+mn-ea"/>
                <a:cs typeface="Arial" pitchFamily="34" charset="0"/>
              </a:defRPr>
            </a:lvl9pPr>
          </a:lstStyle>
          <a:p>
            <a:pPr lvl="0"/>
            <a:r>
              <a:rPr lang="en-US"/>
              <a:t>Click to add </a:t>
            </a:r>
            <a:r>
              <a:rPr lang="en-US" err="1"/>
              <a:t>subheadline</a:t>
            </a:r>
            <a:endParaRPr lang="en-US"/>
          </a:p>
        </p:txBody>
      </p:sp>
      <p:sp>
        <p:nvSpPr>
          <p:cNvPr id="9" name="Textplatzhalter 3"/>
          <p:cNvSpPr>
            <a:spLocks noGrp="1"/>
          </p:cNvSpPr>
          <p:nvPr>
            <p:ph type="body" sz="quarter" idx="12" hasCustomPrompt="1"/>
          </p:nvPr>
        </p:nvSpPr>
        <p:spPr bwMode="gray">
          <a:xfrm>
            <a:off x="431371" y="6404736"/>
            <a:ext cx="11328400" cy="192616"/>
          </a:xfrm>
        </p:spPr>
        <p:txBody>
          <a:bodyPr tIns="0" bIns="36000" anchor="b" anchorCtr="0">
            <a:noAutofit/>
          </a:bodyPr>
          <a:lstStyle>
            <a:lvl1pPr marL="0" marR="0" indent="0" algn="l" defTabSz="1219170" rtl="0" eaLnBrk="1" fontAlgn="auto" latinLnBrk="0" hangingPunct="1">
              <a:lnSpc>
                <a:spcPct val="100000"/>
              </a:lnSpc>
              <a:spcBef>
                <a:spcPts val="0"/>
              </a:spcBef>
              <a:spcAft>
                <a:spcPts val="0"/>
              </a:spcAft>
              <a:buClrTx/>
              <a:buSzTx/>
              <a:buFont typeface="Arial" pitchFamily="34" charset="0"/>
              <a:buNone/>
              <a:tabLst/>
              <a:defRPr lang="de-DE" sz="1067" kern="1200" baseline="0" noProof="0" smtClean="0">
                <a:solidFill>
                  <a:schemeClr val="bg2"/>
                </a:solidFill>
                <a:latin typeface="Arial" pitchFamily="34" charset="0"/>
                <a:ea typeface="+mn-ea"/>
                <a:cs typeface="Arial" pitchFamily="34" charset="0"/>
              </a:defRPr>
            </a:lvl1pPr>
            <a:lvl2pPr marL="0" indent="0">
              <a:lnSpc>
                <a:spcPct val="100000"/>
              </a:lnSpc>
              <a:spcBef>
                <a:spcPts val="0"/>
              </a:spcBef>
              <a:buFont typeface="Arial" panose="020B0604020202020204" pitchFamily="34" charset="0"/>
              <a:buNone/>
              <a:defRPr lang="de-DE" sz="1067" kern="1200" baseline="0" noProof="0" smtClean="0">
                <a:solidFill>
                  <a:schemeClr val="bg2"/>
                </a:solidFill>
                <a:latin typeface="Arial" pitchFamily="34" charset="0"/>
                <a:ea typeface="+mn-ea"/>
                <a:cs typeface="Arial" pitchFamily="34" charset="0"/>
              </a:defRPr>
            </a:lvl2pPr>
            <a:lvl3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3pPr>
            <a:lvl4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4pPr>
            <a:lvl5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5pPr>
            <a:lvl6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6pPr>
            <a:lvl7pPr marL="0" indent="0">
              <a:lnSpc>
                <a:spcPct val="100000"/>
              </a:lnSpc>
              <a:spcBef>
                <a:spcPts val="0"/>
              </a:spcBef>
              <a:buNone/>
              <a:defRPr lang="de-DE" sz="1067" kern="1200" baseline="0" noProof="0" dirty="0" smtClean="0">
                <a:solidFill>
                  <a:schemeClr val="bg2"/>
                </a:solidFill>
                <a:latin typeface="Arial" pitchFamily="34" charset="0"/>
                <a:ea typeface="+mn-ea"/>
                <a:cs typeface="Arial" pitchFamily="34" charset="0"/>
              </a:defRPr>
            </a:lvl7pPr>
            <a:lvl8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8pPr>
            <a:lvl9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9pPr>
          </a:lstStyle>
          <a:p>
            <a:pPr lvl="0"/>
            <a:r>
              <a:rPr lang="en-US"/>
              <a:t>Click to add source information</a:t>
            </a:r>
          </a:p>
        </p:txBody>
      </p:sp>
      <p:sp>
        <p:nvSpPr>
          <p:cNvPr id="4" name="Content Placeholder 3"/>
          <p:cNvSpPr>
            <a:spLocks noGrp="1"/>
          </p:cNvSpPr>
          <p:nvPr>
            <p:ph sz="quarter" idx="13" hasCustomPrompt="1"/>
          </p:nvPr>
        </p:nvSpPr>
        <p:spPr bwMode="gray">
          <a:xfrm>
            <a:off x="431215" y="1700760"/>
            <a:ext cx="5568773" cy="4609024"/>
          </a:xfrm>
        </p:spPr>
        <p:txBody>
          <a:bodyPr/>
          <a:lstStyle/>
          <a:p>
            <a:pPr lvl="0"/>
            <a:r>
              <a:rPr lang="en-US" noProof="0"/>
              <a:t>Click to add tex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Content Placeholder 9"/>
          <p:cNvSpPr>
            <a:spLocks noGrp="1"/>
          </p:cNvSpPr>
          <p:nvPr>
            <p:ph sz="quarter" idx="14" hasCustomPrompt="1"/>
          </p:nvPr>
        </p:nvSpPr>
        <p:spPr bwMode="gray">
          <a:xfrm>
            <a:off x="6192014" y="1700760"/>
            <a:ext cx="5568773" cy="4609024"/>
          </a:xfrm>
        </p:spPr>
        <p:txBody>
          <a:bodyPr/>
          <a:lstStyle/>
          <a:p>
            <a:pPr lvl="0"/>
            <a:r>
              <a:rPr lang="en-US" noProof="0"/>
              <a:t>Click to add text</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3015838080"/>
      </p:ext>
    </p:extLst>
  </p:cSld>
  <p:clrMapOvr>
    <a:masterClrMapping/>
  </p:clrMapOvr>
</p:sldLayout>
</file>

<file path=ppt/slideLayouts/slideLayout540.xml><?xml version="1.0" encoding="utf-8"?>
<p:sldLayout xmlns:a="http://schemas.openxmlformats.org/drawingml/2006/main" xmlns:r="http://schemas.openxmlformats.org/officeDocument/2006/relationships" xmlns:p="http://schemas.openxmlformats.org/presentationml/2006/main" preserve="1">
  <p:cSld name="Divider 1">
    <p:spTree>
      <p:nvGrpSpPr>
        <p:cNvPr id="1" name=""/>
        <p:cNvGrpSpPr/>
        <p:nvPr/>
      </p:nvGrpSpPr>
      <p:grpSpPr>
        <a:xfrm>
          <a:off x="0" y="0"/>
          <a:ext cx="0" cy="0"/>
          <a:chOff x="0" y="0"/>
          <a:chExt cx="0" cy="0"/>
        </a:xfrm>
      </p:grpSpPr>
      <p:sp>
        <p:nvSpPr>
          <p:cNvPr id="12" name="Picture Placeholder 11"/>
          <p:cNvSpPr>
            <a:spLocks noGrp="1"/>
          </p:cNvSpPr>
          <p:nvPr>
            <p:ph type="pic" sz="quarter" idx="17" hasCustomPrompt="1"/>
          </p:nvPr>
        </p:nvSpPr>
        <p:spPr>
          <a:xfrm>
            <a:off x="-1" y="0"/>
            <a:ext cx="8822478" cy="6858000"/>
          </a:xfrm>
          <a:custGeom>
            <a:avLst/>
            <a:gdLst>
              <a:gd name="connsiteX0" fmla="*/ 0 w 8822478"/>
              <a:gd name="connsiteY0" fmla="*/ 0 h 6858000"/>
              <a:gd name="connsiteX1" fmla="*/ 8477306 w 8822478"/>
              <a:gd name="connsiteY1" fmla="*/ 0 h 6858000"/>
              <a:gd name="connsiteX2" fmla="*/ 6998505 w 8822478"/>
              <a:gd name="connsiteY2" fmla="*/ 3834029 h 6858000"/>
              <a:gd name="connsiteX3" fmla="*/ 8822478 w 8822478"/>
              <a:gd name="connsiteY3" fmla="*/ 6858000 h 6858000"/>
              <a:gd name="connsiteX4" fmla="*/ 0 w 8822478"/>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22478" h="6858000">
                <a:moveTo>
                  <a:pt x="0" y="0"/>
                </a:moveTo>
                <a:lnTo>
                  <a:pt x="8477306" y="0"/>
                </a:lnTo>
                <a:lnTo>
                  <a:pt x="6998505" y="3834029"/>
                </a:lnTo>
                <a:lnTo>
                  <a:pt x="8822478" y="6858000"/>
                </a:lnTo>
                <a:lnTo>
                  <a:pt x="0" y="6858000"/>
                </a:lnTo>
                <a:close/>
              </a:path>
            </a:pathLst>
          </a:custGeom>
          <a:solidFill>
            <a:srgbClr val="D9DADB"/>
          </a:solidFill>
        </p:spPr>
        <p:txBody>
          <a:bodyPr wrap="square">
            <a:noAutofit/>
          </a:bodyPr>
          <a:lstStyle>
            <a:lvl1pPr marL="0" indent="0">
              <a:buNone/>
              <a:defRPr/>
            </a:lvl1pPr>
          </a:lstStyle>
          <a:p>
            <a:r>
              <a:rPr lang="en-US"/>
              <a:t>Insert picture</a:t>
            </a:r>
          </a:p>
        </p:txBody>
      </p:sp>
      <p:sp>
        <p:nvSpPr>
          <p:cNvPr id="21" name="Date Placeholder 20"/>
          <p:cNvSpPr>
            <a:spLocks noGrp="1"/>
          </p:cNvSpPr>
          <p:nvPr>
            <p:ph type="dt" sz="half" idx="14"/>
          </p:nvPr>
        </p:nvSpPr>
        <p:spPr/>
        <p:txBody>
          <a:bodyPr/>
          <a:lstStyle>
            <a:lvl1pPr>
              <a:defRPr>
                <a:solidFill>
                  <a:schemeClr val="bg1"/>
                </a:solidFill>
              </a:defRPr>
            </a:lvl1pPr>
          </a:lstStyle>
          <a:p>
            <a:fld id="{4A274CF1-226C-4201-826C-EA56EA2B3C12}" type="datetime5">
              <a:rPr lang="en-US" smtClean="0"/>
              <a:t>26-Jun-20</a:t>
            </a:fld>
            <a:endParaRPr lang="en-US"/>
          </a:p>
        </p:txBody>
      </p:sp>
      <p:sp>
        <p:nvSpPr>
          <p:cNvPr id="22" name="Footer Placeholder 21"/>
          <p:cNvSpPr>
            <a:spLocks noGrp="1"/>
          </p:cNvSpPr>
          <p:nvPr>
            <p:ph type="ftr" sz="quarter" idx="15"/>
          </p:nvPr>
        </p:nvSpPr>
        <p:spPr/>
        <p:txBody>
          <a:bodyPr/>
          <a:lstStyle>
            <a:lvl1pPr>
              <a:defRPr>
                <a:solidFill>
                  <a:schemeClr val="bg1"/>
                </a:solidFill>
              </a:defRPr>
            </a:lvl1pPr>
          </a:lstStyle>
          <a:p>
            <a:r>
              <a:rPr lang="en-US"/>
              <a:t>Title of presentation (Insert / Header &amp; Footer / Apply to All)</a:t>
            </a:r>
          </a:p>
        </p:txBody>
      </p:sp>
      <p:sp>
        <p:nvSpPr>
          <p:cNvPr id="23" name="Slide Number Placeholder 22"/>
          <p:cNvSpPr>
            <a:spLocks noGrp="1"/>
          </p:cNvSpPr>
          <p:nvPr>
            <p:ph type="sldNum" sz="quarter" idx="16"/>
          </p:nvPr>
        </p:nvSpPr>
        <p:spPr/>
        <p:txBody>
          <a:bodyPr/>
          <a:lstStyle>
            <a:lvl1pPr>
              <a:defRPr>
                <a:solidFill>
                  <a:schemeClr val="tx1"/>
                </a:solidFill>
              </a:defRPr>
            </a:lvl1pPr>
          </a:lstStyle>
          <a:p>
            <a:fld id="{5F3E29E4-0979-4FCA-B4C5-5FC6044C982A}" type="slidenum">
              <a:rPr lang="en-US" smtClean="0"/>
              <a:pPr/>
              <a:t>‹#›</a:t>
            </a:fld>
            <a:endParaRPr lang="en-US"/>
          </a:p>
        </p:txBody>
      </p:sp>
      <p:sp>
        <p:nvSpPr>
          <p:cNvPr id="2" name="Title 1"/>
          <p:cNvSpPr>
            <a:spLocks noGrp="1"/>
          </p:cNvSpPr>
          <p:nvPr>
            <p:ph type="title" hasCustomPrompt="1"/>
          </p:nvPr>
        </p:nvSpPr>
        <p:spPr>
          <a:xfrm>
            <a:off x="7737533" y="2908628"/>
            <a:ext cx="4082992" cy="2103640"/>
          </a:xfrm>
        </p:spPr>
        <p:txBody>
          <a:bodyPr/>
          <a:lstStyle>
            <a:lvl1pPr>
              <a:defRPr>
                <a:solidFill>
                  <a:schemeClr val="tx1"/>
                </a:solidFill>
              </a:defRPr>
            </a:lvl1pPr>
          </a:lstStyle>
          <a:p>
            <a:r>
              <a:rPr lang="en-US"/>
              <a:t>Click to add section title</a:t>
            </a:r>
          </a:p>
        </p:txBody>
      </p:sp>
    </p:spTree>
    <p:extLst>
      <p:ext uri="{BB962C8B-B14F-4D97-AF65-F5344CB8AC3E}">
        <p14:creationId xmlns:p14="http://schemas.microsoft.com/office/powerpoint/2010/main" val="31088442"/>
      </p:ext>
    </p:extLst>
  </p:cSld>
  <p:clrMapOvr>
    <a:masterClrMapping/>
  </p:clrMapOvr>
</p:sldLayout>
</file>

<file path=ppt/slideLayouts/slideLayout541.xml><?xml version="1.0" encoding="utf-8"?>
<p:sldLayout xmlns:a="http://schemas.openxmlformats.org/drawingml/2006/main" xmlns:r="http://schemas.openxmlformats.org/officeDocument/2006/relationships" xmlns:p="http://schemas.openxmlformats.org/presentationml/2006/main" preserve="1">
  <p:cSld name="Divider 2">
    <p:spTree>
      <p:nvGrpSpPr>
        <p:cNvPr id="1" name=""/>
        <p:cNvGrpSpPr/>
        <p:nvPr/>
      </p:nvGrpSpPr>
      <p:grpSpPr>
        <a:xfrm>
          <a:off x="0" y="0"/>
          <a:ext cx="0" cy="0"/>
          <a:chOff x="0" y="0"/>
          <a:chExt cx="0" cy="0"/>
        </a:xfrm>
      </p:grpSpPr>
      <p:sp>
        <p:nvSpPr>
          <p:cNvPr id="4" name="shp2"/>
          <p:cNvSpPr/>
          <p:nvPr/>
        </p:nvSpPr>
        <p:spPr>
          <a:xfrm>
            <a:off x="0" y="0"/>
            <a:ext cx="121932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a:p>
        </p:txBody>
      </p:sp>
      <p:sp>
        <p:nvSpPr>
          <p:cNvPr id="21" name="Date Placeholder 20"/>
          <p:cNvSpPr>
            <a:spLocks noGrp="1"/>
          </p:cNvSpPr>
          <p:nvPr>
            <p:ph type="dt" sz="half" idx="14"/>
          </p:nvPr>
        </p:nvSpPr>
        <p:spPr bwMode="ltGray"/>
        <p:txBody>
          <a:bodyPr/>
          <a:lstStyle>
            <a:lvl1pPr>
              <a:defRPr>
                <a:solidFill>
                  <a:schemeClr val="bg1"/>
                </a:solidFill>
              </a:defRPr>
            </a:lvl1pPr>
          </a:lstStyle>
          <a:p>
            <a:fld id="{3869822F-F9F4-4987-AC88-332F892BB2CC}" type="datetime5">
              <a:rPr lang="en-US" smtClean="0"/>
              <a:t>26-Jun-20</a:t>
            </a:fld>
            <a:endParaRPr lang="en-US"/>
          </a:p>
        </p:txBody>
      </p:sp>
      <p:sp>
        <p:nvSpPr>
          <p:cNvPr id="22" name="Footer Placeholder 21"/>
          <p:cNvSpPr>
            <a:spLocks noGrp="1"/>
          </p:cNvSpPr>
          <p:nvPr>
            <p:ph type="ftr" sz="quarter" idx="15"/>
          </p:nvPr>
        </p:nvSpPr>
        <p:spPr bwMode="ltGray"/>
        <p:txBody>
          <a:bodyPr/>
          <a:lstStyle>
            <a:lvl1pPr>
              <a:defRPr>
                <a:solidFill>
                  <a:schemeClr val="bg1"/>
                </a:solidFill>
              </a:defRPr>
            </a:lvl1pPr>
          </a:lstStyle>
          <a:p>
            <a:r>
              <a:rPr lang="en-US"/>
              <a:t>Title of presentation (Insert / Header &amp; Footer / Apply to All)</a:t>
            </a:r>
          </a:p>
        </p:txBody>
      </p:sp>
      <p:sp>
        <p:nvSpPr>
          <p:cNvPr id="23" name="Slide Number Placeholder 22"/>
          <p:cNvSpPr>
            <a:spLocks noGrp="1"/>
          </p:cNvSpPr>
          <p:nvPr>
            <p:ph type="sldNum" sz="quarter" idx="16"/>
          </p:nvPr>
        </p:nvSpPr>
        <p:spPr bwMode="ltGray"/>
        <p:txBody>
          <a:bodyPr/>
          <a:lstStyle>
            <a:lvl1pPr>
              <a:defRPr>
                <a:solidFill>
                  <a:schemeClr val="bg1"/>
                </a:solidFill>
              </a:defRPr>
            </a:lvl1pPr>
          </a:lstStyle>
          <a:p>
            <a:fld id="{5F3E29E4-0979-4FCA-B4C5-5FC6044C982A}" type="slidenum">
              <a:rPr lang="en-US" smtClean="0"/>
              <a:pPr/>
              <a:t>‹#›</a:t>
            </a:fld>
            <a:endParaRPr lang="en-US"/>
          </a:p>
        </p:txBody>
      </p:sp>
      <p:sp>
        <p:nvSpPr>
          <p:cNvPr id="8" name="copyright"/>
          <p:cNvSpPr txBox="1"/>
          <p:nvPr/>
        </p:nvSpPr>
        <p:spPr>
          <a:xfrm>
            <a:off x="10672209" y="6237288"/>
            <a:ext cx="500617" cy="358173"/>
          </a:xfrm>
          <a:prstGeom prst="rect">
            <a:avLst/>
          </a:prstGeom>
          <a:noFill/>
        </p:spPr>
        <p:txBody>
          <a:bodyPr wrap="none" lIns="0" tIns="0" rIns="0" bIns="0" rtlCol="0" anchor="b" anchorCtr="0">
            <a:noAutofit/>
          </a:bodyPr>
          <a:lstStyle/>
          <a:p>
            <a:pPr marL="0" indent="0" algn="r">
              <a:lnSpc>
                <a:spcPct val="125000"/>
              </a:lnSpc>
              <a:buClr>
                <a:schemeClr val="tx2"/>
              </a:buClr>
              <a:buFont typeface="Wingdings" panose="05000000000000000000" pitchFamily="2" charset="2"/>
              <a:buNone/>
            </a:pPr>
            <a:r>
              <a:rPr lang="en-US" sz="800">
                <a:solidFill>
                  <a:schemeClr val="bg1"/>
                </a:solidFill>
              </a:rPr>
              <a:t>© GfK</a:t>
            </a:r>
          </a:p>
        </p:txBody>
      </p:sp>
      <p:sp>
        <p:nvSpPr>
          <p:cNvPr id="2" name="Title 1"/>
          <p:cNvSpPr>
            <a:spLocks noGrp="1"/>
          </p:cNvSpPr>
          <p:nvPr>
            <p:ph type="title" hasCustomPrompt="1"/>
          </p:nvPr>
        </p:nvSpPr>
        <p:spPr bwMode="ltGray">
          <a:xfrm>
            <a:off x="1075062" y="1519552"/>
            <a:ext cx="10097763" cy="2273171"/>
          </a:xfrm>
        </p:spPr>
        <p:txBody>
          <a:bodyPr/>
          <a:lstStyle>
            <a:lvl1pPr>
              <a:defRPr>
                <a:solidFill>
                  <a:schemeClr val="bg1"/>
                </a:solidFill>
              </a:defRPr>
            </a:lvl1pPr>
          </a:lstStyle>
          <a:p>
            <a:r>
              <a:rPr lang="en-US"/>
              <a:t>Click to add section title</a:t>
            </a:r>
          </a:p>
        </p:txBody>
      </p:sp>
      <p:grpSp>
        <p:nvGrpSpPr>
          <p:cNvPr id="9" name="logo">
            <a:extLst>
              <a:ext uri="{FF2B5EF4-FFF2-40B4-BE49-F238E27FC236}">
                <a16:creationId xmlns:a16="http://schemas.microsoft.com/office/drawing/2014/main" id="{57BD2C4C-DC67-B843-B26C-309622FC75F7}"/>
              </a:ext>
            </a:extLst>
          </p:cNvPr>
          <p:cNvGrpSpPr>
            <a:grpSpLocks noChangeAspect="1"/>
          </p:cNvGrpSpPr>
          <p:nvPr/>
        </p:nvGrpSpPr>
        <p:grpSpPr bwMode="gray">
          <a:xfrm>
            <a:off x="11174018" y="401441"/>
            <a:ext cx="644225" cy="646507"/>
            <a:chOff x="2711" y="1027"/>
            <a:chExt cx="2258" cy="2266"/>
          </a:xfrm>
        </p:grpSpPr>
        <p:sp>
          <p:nvSpPr>
            <p:cNvPr id="11" name="AutoShape 3">
              <a:extLst>
                <a:ext uri="{FF2B5EF4-FFF2-40B4-BE49-F238E27FC236}">
                  <a16:creationId xmlns:a16="http://schemas.microsoft.com/office/drawing/2014/main" id="{FE1DC41B-291E-574C-9F2C-874E70A40758}"/>
                </a:ext>
              </a:extLst>
            </p:cNvPr>
            <p:cNvSpPr>
              <a:spLocks noChangeAspect="1" noChangeArrowheads="1" noTextEdit="1"/>
            </p:cNvSpPr>
            <p:nvPr/>
          </p:nvSpPr>
          <p:spPr bwMode="gray">
            <a:xfrm>
              <a:off x="2711" y="1027"/>
              <a:ext cx="2258" cy="22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12" name="Freeform 5">
              <a:extLst>
                <a:ext uri="{FF2B5EF4-FFF2-40B4-BE49-F238E27FC236}">
                  <a16:creationId xmlns:a16="http://schemas.microsoft.com/office/drawing/2014/main" id="{D4B633C8-F761-C54B-9BD2-EB59D49A2DBC}"/>
                </a:ext>
              </a:extLst>
            </p:cNvPr>
            <p:cNvSpPr>
              <a:spLocks/>
            </p:cNvSpPr>
            <p:nvPr/>
          </p:nvSpPr>
          <p:spPr bwMode="gray">
            <a:xfrm>
              <a:off x="2709" y="1029"/>
              <a:ext cx="2260" cy="2262"/>
            </a:xfrm>
            <a:custGeom>
              <a:avLst/>
              <a:gdLst>
                <a:gd name="T0" fmla="*/ 2260 w 2260"/>
                <a:gd name="T1" fmla="*/ 0 h 2262"/>
                <a:gd name="T2" fmla="*/ 1612 w 2260"/>
                <a:gd name="T3" fmla="*/ 649 h 2262"/>
                <a:gd name="T4" fmla="*/ 1612 w 2260"/>
                <a:gd name="T5" fmla="*/ 649 h 2262"/>
                <a:gd name="T6" fmla="*/ 2035 w 2260"/>
                <a:gd name="T7" fmla="*/ 0 h 2262"/>
                <a:gd name="T8" fmla="*/ 0 w 2260"/>
                <a:gd name="T9" fmla="*/ 0 h 2262"/>
                <a:gd name="T10" fmla="*/ 0 w 2260"/>
                <a:gd name="T11" fmla="*/ 2262 h 2262"/>
                <a:gd name="T12" fmla="*/ 2260 w 2260"/>
                <a:gd name="T13" fmla="*/ 2262 h 2262"/>
                <a:gd name="T14" fmla="*/ 2260 w 2260"/>
                <a:gd name="T15" fmla="*/ 0 h 2262"/>
                <a:gd name="T16" fmla="*/ 2260 w 2260"/>
                <a:gd name="T17" fmla="*/ 0 h 2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0" h="2262">
                  <a:moveTo>
                    <a:pt x="2260" y="0"/>
                  </a:moveTo>
                  <a:lnTo>
                    <a:pt x="1612" y="649"/>
                  </a:lnTo>
                  <a:lnTo>
                    <a:pt x="1612" y="649"/>
                  </a:lnTo>
                  <a:lnTo>
                    <a:pt x="2035" y="0"/>
                  </a:lnTo>
                  <a:lnTo>
                    <a:pt x="0" y="0"/>
                  </a:lnTo>
                  <a:lnTo>
                    <a:pt x="0" y="2262"/>
                  </a:lnTo>
                  <a:lnTo>
                    <a:pt x="2260" y="2262"/>
                  </a:lnTo>
                  <a:lnTo>
                    <a:pt x="2260" y="0"/>
                  </a:lnTo>
                  <a:lnTo>
                    <a:pt x="2260" y="0"/>
                  </a:lnTo>
                  <a:close/>
                </a:path>
              </a:pathLst>
            </a:custGeom>
            <a:solidFill>
              <a:srgbClr val="E55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13" name="Freeform 6">
              <a:extLst>
                <a:ext uri="{FF2B5EF4-FFF2-40B4-BE49-F238E27FC236}">
                  <a16:creationId xmlns:a16="http://schemas.microsoft.com/office/drawing/2014/main" id="{B16BAAE4-1A41-C843-9754-490F7A1E1270}"/>
                </a:ext>
              </a:extLst>
            </p:cNvPr>
            <p:cNvSpPr>
              <a:spLocks noEditPoints="1"/>
            </p:cNvSpPr>
            <p:nvPr/>
          </p:nvSpPr>
          <p:spPr bwMode="gray">
            <a:xfrm>
              <a:off x="3623" y="1696"/>
              <a:ext cx="1167" cy="922"/>
            </a:xfrm>
            <a:custGeom>
              <a:avLst/>
              <a:gdLst>
                <a:gd name="T0" fmla="*/ 411 w 580"/>
                <a:gd name="T1" fmla="*/ 213 h 458"/>
                <a:gd name="T2" fmla="*/ 570 w 580"/>
                <a:gd name="T3" fmla="*/ 37 h 458"/>
                <a:gd name="T4" fmla="*/ 580 w 580"/>
                <a:gd name="T5" fmla="*/ 20 h 458"/>
                <a:gd name="T6" fmla="*/ 545 w 580"/>
                <a:gd name="T7" fmla="*/ 0 h 458"/>
                <a:gd name="T8" fmla="*/ 519 w 580"/>
                <a:gd name="T9" fmla="*/ 16 h 458"/>
                <a:gd name="T10" fmla="*/ 344 w 580"/>
                <a:gd name="T11" fmla="*/ 210 h 458"/>
                <a:gd name="T12" fmla="*/ 334 w 580"/>
                <a:gd name="T13" fmla="*/ 229 h 458"/>
                <a:gd name="T14" fmla="*/ 344 w 580"/>
                <a:gd name="T15" fmla="*/ 248 h 458"/>
                <a:gd name="T16" fmla="*/ 519 w 580"/>
                <a:gd name="T17" fmla="*/ 442 h 458"/>
                <a:gd name="T18" fmla="*/ 545 w 580"/>
                <a:gd name="T19" fmla="*/ 458 h 458"/>
                <a:gd name="T20" fmla="*/ 580 w 580"/>
                <a:gd name="T21" fmla="*/ 438 h 458"/>
                <a:gd name="T22" fmla="*/ 570 w 580"/>
                <a:gd name="T23" fmla="*/ 421 h 458"/>
                <a:gd name="T24" fmla="*/ 411 w 580"/>
                <a:gd name="T25" fmla="*/ 245 h 458"/>
                <a:gd name="T26" fmla="*/ 399 w 580"/>
                <a:gd name="T27" fmla="*/ 229 h 458"/>
                <a:gd name="T28" fmla="*/ 411 w 580"/>
                <a:gd name="T29" fmla="*/ 213 h 458"/>
                <a:gd name="T30" fmla="*/ 252 w 580"/>
                <a:gd name="T31" fmla="*/ 439 h 458"/>
                <a:gd name="T32" fmla="*/ 281 w 580"/>
                <a:gd name="T33" fmla="*/ 454 h 458"/>
                <a:gd name="T34" fmla="*/ 309 w 580"/>
                <a:gd name="T35" fmla="*/ 439 h 458"/>
                <a:gd name="T36" fmla="*/ 309 w 580"/>
                <a:gd name="T37" fmla="*/ 19 h 458"/>
                <a:gd name="T38" fmla="*/ 281 w 580"/>
                <a:gd name="T39" fmla="*/ 4 h 458"/>
                <a:gd name="T40" fmla="*/ 252 w 580"/>
                <a:gd name="T41" fmla="*/ 19 h 458"/>
                <a:gd name="T42" fmla="*/ 252 w 580"/>
                <a:gd name="T43" fmla="*/ 439 h 458"/>
                <a:gd name="T44" fmla="*/ 0 w 580"/>
                <a:gd name="T45" fmla="*/ 439 h 458"/>
                <a:gd name="T46" fmla="*/ 28 w 580"/>
                <a:gd name="T47" fmla="*/ 454 h 458"/>
                <a:gd name="T48" fmla="*/ 56 w 580"/>
                <a:gd name="T49" fmla="*/ 439 h 458"/>
                <a:gd name="T50" fmla="*/ 56 w 580"/>
                <a:gd name="T51" fmla="*/ 157 h 458"/>
                <a:gd name="T52" fmla="*/ 165 w 580"/>
                <a:gd name="T53" fmla="*/ 53 h 458"/>
                <a:gd name="T54" fmla="*/ 180 w 580"/>
                <a:gd name="T55" fmla="*/ 53 h 458"/>
                <a:gd name="T56" fmla="*/ 196 w 580"/>
                <a:gd name="T57" fmla="*/ 27 h 458"/>
                <a:gd name="T58" fmla="*/ 154 w 580"/>
                <a:gd name="T59" fmla="*/ 4 h 458"/>
                <a:gd name="T60" fmla="*/ 0 w 580"/>
                <a:gd name="T61" fmla="*/ 152 h 458"/>
                <a:gd name="T62" fmla="*/ 0 w 580"/>
                <a:gd name="T63" fmla="*/ 439 h 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80" h="458">
                  <a:moveTo>
                    <a:pt x="411" y="213"/>
                  </a:moveTo>
                  <a:cubicBezTo>
                    <a:pt x="570" y="37"/>
                    <a:pt x="570" y="37"/>
                    <a:pt x="570" y="37"/>
                  </a:cubicBezTo>
                  <a:cubicBezTo>
                    <a:pt x="576" y="30"/>
                    <a:pt x="580" y="25"/>
                    <a:pt x="580" y="20"/>
                  </a:cubicBezTo>
                  <a:cubicBezTo>
                    <a:pt x="580" y="10"/>
                    <a:pt x="559" y="0"/>
                    <a:pt x="545" y="0"/>
                  </a:cubicBezTo>
                  <a:cubicBezTo>
                    <a:pt x="535" y="0"/>
                    <a:pt x="526" y="8"/>
                    <a:pt x="519" y="16"/>
                  </a:cubicBezTo>
                  <a:cubicBezTo>
                    <a:pt x="344" y="210"/>
                    <a:pt x="344" y="210"/>
                    <a:pt x="344" y="210"/>
                  </a:cubicBezTo>
                  <a:cubicBezTo>
                    <a:pt x="336" y="219"/>
                    <a:pt x="334" y="224"/>
                    <a:pt x="334" y="229"/>
                  </a:cubicBezTo>
                  <a:cubicBezTo>
                    <a:pt x="334" y="234"/>
                    <a:pt x="336" y="239"/>
                    <a:pt x="344" y="248"/>
                  </a:cubicBezTo>
                  <a:cubicBezTo>
                    <a:pt x="519" y="442"/>
                    <a:pt x="519" y="442"/>
                    <a:pt x="519" y="442"/>
                  </a:cubicBezTo>
                  <a:cubicBezTo>
                    <a:pt x="526" y="450"/>
                    <a:pt x="535" y="458"/>
                    <a:pt x="545" y="458"/>
                  </a:cubicBezTo>
                  <a:cubicBezTo>
                    <a:pt x="559" y="458"/>
                    <a:pt x="580" y="448"/>
                    <a:pt x="580" y="438"/>
                  </a:cubicBezTo>
                  <a:cubicBezTo>
                    <a:pt x="580" y="433"/>
                    <a:pt x="576" y="428"/>
                    <a:pt x="570" y="421"/>
                  </a:cubicBezTo>
                  <a:cubicBezTo>
                    <a:pt x="411" y="245"/>
                    <a:pt x="411" y="245"/>
                    <a:pt x="411" y="245"/>
                  </a:cubicBezTo>
                  <a:cubicBezTo>
                    <a:pt x="403" y="236"/>
                    <a:pt x="399" y="232"/>
                    <a:pt x="399" y="229"/>
                  </a:cubicBezTo>
                  <a:cubicBezTo>
                    <a:pt x="399" y="226"/>
                    <a:pt x="403" y="222"/>
                    <a:pt x="411" y="213"/>
                  </a:cubicBezTo>
                  <a:moveTo>
                    <a:pt x="252" y="439"/>
                  </a:moveTo>
                  <a:cubicBezTo>
                    <a:pt x="252" y="449"/>
                    <a:pt x="261" y="454"/>
                    <a:pt x="281" y="454"/>
                  </a:cubicBezTo>
                  <a:cubicBezTo>
                    <a:pt x="300" y="454"/>
                    <a:pt x="309" y="449"/>
                    <a:pt x="309" y="439"/>
                  </a:cubicBezTo>
                  <a:cubicBezTo>
                    <a:pt x="309" y="19"/>
                    <a:pt x="309" y="19"/>
                    <a:pt x="309" y="19"/>
                  </a:cubicBezTo>
                  <a:cubicBezTo>
                    <a:pt x="309" y="9"/>
                    <a:pt x="300" y="4"/>
                    <a:pt x="281" y="4"/>
                  </a:cubicBezTo>
                  <a:cubicBezTo>
                    <a:pt x="261" y="4"/>
                    <a:pt x="252" y="9"/>
                    <a:pt x="252" y="19"/>
                  </a:cubicBezTo>
                  <a:lnTo>
                    <a:pt x="252" y="439"/>
                  </a:lnTo>
                  <a:close/>
                  <a:moveTo>
                    <a:pt x="0" y="439"/>
                  </a:moveTo>
                  <a:cubicBezTo>
                    <a:pt x="0" y="449"/>
                    <a:pt x="8" y="454"/>
                    <a:pt x="28" y="454"/>
                  </a:cubicBezTo>
                  <a:cubicBezTo>
                    <a:pt x="48" y="454"/>
                    <a:pt x="56" y="449"/>
                    <a:pt x="56" y="439"/>
                  </a:cubicBezTo>
                  <a:cubicBezTo>
                    <a:pt x="56" y="157"/>
                    <a:pt x="56" y="157"/>
                    <a:pt x="56" y="157"/>
                  </a:cubicBezTo>
                  <a:cubicBezTo>
                    <a:pt x="56" y="83"/>
                    <a:pt x="85" y="53"/>
                    <a:pt x="165" y="53"/>
                  </a:cubicBezTo>
                  <a:cubicBezTo>
                    <a:pt x="180" y="53"/>
                    <a:pt x="180" y="53"/>
                    <a:pt x="180" y="53"/>
                  </a:cubicBezTo>
                  <a:cubicBezTo>
                    <a:pt x="192" y="53"/>
                    <a:pt x="196" y="43"/>
                    <a:pt x="196" y="27"/>
                  </a:cubicBezTo>
                  <a:cubicBezTo>
                    <a:pt x="196" y="8"/>
                    <a:pt x="185" y="4"/>
                    <a:pt x="154" y="4"/>
                  </a:cubicBezTo>
                  <a:cubicBezTo>
                    <a:pt x="64" y="4"/>
                    <a:pt x="0" y="43"/>
                    <a:pt x="0" y="152"/>
                  </a:cubicBezTo>
                  <a:lnTo>
                    <a:pt x="0" y="43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14" name="Freeform 7">
              <a:extLst>
                <a:ext uri="{FF2B5EF4-FFF2-40B4-BE49-F238E27FC236}">
                  <a16:creationId xmlns:a16="http://schemas.microsoft.com/office/drawing/2014/main" id="{2F32DCBD-8628-F245-85CD-97686A20ECFD}"/>
                </a:ext>
              </a:extLst>
            </p:cNvPr>
            <p:cNvSpPr>
              <a:spLocks/>
            </p:cNvSpPr>
            <p:nvPr/>
          </p:nvSpPr>
          <p:spPr bwMode="gray">
            <a:xfrm>
              <a:off x="2880" y="1704"/>
              <a:ext cx="618" cy="916"/>
            </a:xfrm>
            <a:custGeom>
              <a:avLst/>
              <a:gdLst>
                <a:gd name="T0" fmla="*/ 307 w 307"/>
                <a:gd name="T1" fmla="*/ 405 h 455"/>
                <a:gd name="T2" fmla="*/ 307 w 307"/>
                <a:gd name="T3" fmla="*/ 244 h 455"/>
                <a:gd name="T4" fmla="*/ 279 w 307"/>
                <a:gd name="T5" fmla="*/ 229 h 455"/>
                <a:gd name="T6" fmla="*/ 250 w 307"/>
                <a:gd name="T7" fmla="*/ 244 h 455"/>
                <a:gd name="T8" fmla="*/ 250 w 307"/>
                <a:gd name="T9" fmla="*/ 378 h 455"/>
                <a:gd name="T10" fmla="*/ 199 w 307"/>
                <a:gd name="T11" fmla="*/ 408 h 455"/>
                <a:gd name="T12" fmla="*/ 61 w 307"/>
                <a:gd name="T13" fmla="*/ 231 h 455"/>
                <a:gd name="T14" fmla="*/ 238 w 307"/>
                <a:gd name="T15" fmla="*/ 49 h 455"/>
                <a:gd name="T16" fmla="*/ 270 w 307"/>
                <a:gd name="T17" fmla="*/ 49 h 455"/>
                <a:gd name="T18" fmla="*/ 286 w 307"/>
                <a:gd name="T19" fmla="*/ 23 h 455"/>
                <a:gd name="T20" fmla="*/ 244 w 307"/>
                <a:gd name="T21" fmla="*/ 0 h 455"/>
                <a:gd name="T22" fmla="*/ 231 w 307"/>
                <a:gd name="T23" fmla="*/ 0 h 455"/>
                <a:gd name="T24" fmla="*/ 0 w 307"/>
                <a:gd name="T25" fmla="*/ 232 h 455"/>
                <a:gd name="T26" fmla="*/ 198 w 307"/>
                <a:gd name="T27" fmla="*/ 455 h 455"/>
                <a:gd name="T28" fmla="*/ 307 w 307"/>
                <a:gd name="T29" fmla="*/ 405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7" h="455">
                  <a:moveTo>
                    <a:pt x="307" y="405"/>
                  </a:moveTo>
                  <a:cubicBezTo>
                    <a:pt x="307" y="244"/>
                    <a:pt x="307" y="244"/>
                    <a:pt x="307" y="244"/>
                  </a:cubicBezTo>
                  <a:cubicBezTo>
                    <a:pt x="307" y="234"/>
                    <a:pt x="298" y="229"/>
                    <a:pt x="279" y="229"/>
                  </a:cubicBezTo>
                  <a:cubicBezTo>
                    <a:pt x="259" y="229"/>
                    <a:pt x="250" y="234"/>
                    <a:pt x="250" y="244"/>
                  </a:cubicBezTo>
                  <a:cubicBezTo>
                    <a:pt x="250" y="378"/>
                    <a:pt x="250" y="378"/>
                    <a:pt x="250" y="378"/>
                  </a:cubicBezTo>
                  <a:cubicBezTo>
                    <a:pt x="250" y="399"/>
                    <a:pt x="241" y="408"/>
                    <a:pt x="199" y="408"/>
                  </a:cubicBezTo>
                  <a:cubicBezTo>
                    <a:pt x="114" y="408"/>
                    <a:pt x="61" y="342"/>
                    <a:pt x="61" y="231"/>
                  </a:cubicBezTo>
                  <a:cubicBezTo>
                    <a:pt x="61" y="115"/>
                    <a:pt x="126" y="49"/>
                    <a:pt x="238" y="49"/>
                  </a:cubicBezTo>
                  <a:cubicBezTo>
                    <a:pt x="270" y="49"/>
                    <a:pt x="270" y="49"/>
                    <a:pt x="270" y="49"/>
                  </a:cubicBezTo>
                  <a:cubicBezTo>
                    <a:pt x="282" y="49"/>
                    <a:pt x="286" y="39"/>
                    <a:pt x="286" y="23"/>
                  </a:cubicBezTo>
                  <a:cubicBezTo>
                    <a:pt x="286" y="4"/>
                    <a:pt x="275" y="0"/>
                    <a:pt x="244" y="0"/>
                  </a:cubicBezTo>
                  <a:cubicBezTo>
                    <a:pt x="231" y="0"/>
                    <a:pt x="231" y="0"/>
                    <a:pt x="231" y="0"/>
                  </a:cubicBezTo>
                  <a:cubicBezTo>
                    <a:pt x="101" y="0"/>
                    <a:pt x="0" y="71"/>
                    <a:pt x="0" y="232"/>
                  </a:cubicBezTo>
                  <a:cubicBezTo>
                    <a:pt x="0" y="386"/>
                    <a:pt x="88" y="455"/>
                    <a:pt x="198" y="455"/>
                  </a:cubicBezTo>
                  <a:cubicBezTo>
                    <a:pt x="286" y="455"/>
                    <a:pt x="307" y="430"/>
                    <a:pt x="307" y="40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15" name="Oval 8">
              <a:extLst>
                <a:ext uri="{FF2B5EF4-FFF2-40B4-BE49-F238E27FC236}">
                  <a16:creationId xmlns:a16="http://schemas.microsoft.com/office/drawing/2014/main" id="{60D97C11-1A3B-5449-A48D-98A3E79B3810}"/>
                </a:ext>
              </a:extLst>
            </p:cNvPr>
            <p:cNvSpPr>
              <a:spLocks noChangeArrowheads="1"/>
            </p:cNvSpPr>
            <p:nvPr/>
          </p:nvSpPr>
          <p:spPr bwMode="gray">
            <a:xfrm>
              <a:off x="3778" y="2099"/>
              <a:ext cx="122" cy="12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16" name="Freeform 9">
              <a:extLst>
                <a:ext uri="{FF2B5EF4-FFF2-40B4-BE49-F238E27FC236}">
                  <a16:creationId xmlns:a16="http://schemas.microsoft.com/office/drawing/2014/main" id="{5856770D-B8F0-244E-A05D-AED190086F10}"/>
                </a:ext>
              </a:extLst>
            </p:cNvPr>
            <p:cNvSpPr>
              <a:spLocks noEditPoints="1"/>
            </p:cNvSpPr>
            <p:nvPr/>
          </p:nvSpPr>
          <p:spPr bwMode="gray">
            <a:xfrm>
              <a:off x="3623" y="1696"/>
              <a:ext cx="1167" cy="922"/>
            </a:xfrm>
            <a:custGeom>
              <a:avLst/>
              <a:gdLst>
                <a:gd name="T0" fmla="*/ 411 w 580"/>
                <a:gd name="T1" fmla="*/ 213 h 458"/>
                <a:gd name="T2" fmla="*/ 570 w 580"/>
                <a:gd name="T3" fmla="*/ 37 h 458"/>
                <a:gd name="T4" fmla="*/ 580 w 580"/>
                <a:gd name="T5" fmla="*/ 20 h 458"/>
                <a:gd name="T6" fmla="*/ 545 w 580"/>
                <a:gd name="T7" fmla="*/ 0 h 458"/>
                <a:gd name="T8" fmla="*/ 519 w 580"/>
                <a:gd name="T9" fmla="*/ 16 h 458"/>
                <a:gd name="T10" fmla="*/ 344 w 580"/>
                <a:gd name="T11" fmla="*/ 210 h 458"/>
                <a:gd name="T12" fmla="*/ 334 w 580"/>
                <a:gd name="T13" fmla="*/ 229 h 458"/>
                <a:gd name="T14" fmla="*/ 344 w 580"/>
                <a:gd name="T15" fmla="*/ 248 h 458"/>
                <a:gd name="T16" fmla="*/ 519 w 580"/>
                <a:gd name="T17" fmla="*/ 442 h 458"/>
                <a:gd name="T18" fmla="*/ 545 w 580"/>
                <a:gd name="T19" fmla="*/ 458 h 458"/>
                <a:gd name="T20" fmla="*/ 580 w 580"/>
                <a:gd name="T21" fmla="*/ 438 h 458"/>
                <a:gd name="T22" fmla="*/ 570 w 580"/>
                <a:gd name="T23" fmla="*/ 421 h 458"/>
                <a:gd name="T24" fmla="*/ 411 w 580"/>
                <a:gd name="T25" fmla="*/ 245 h 458"/>
                <a:gd name="T26" fmla="*/ 399 w 580"/>
                <a:gd name="T27" fmla="*/ 229 h 458"/>
                <a:gd name="T28" fmla="*/ 411 w 580"/>
                <a:gd name="T29" fmla="*/ 213 h 458"/>
                <a:gd name="T30" fmla="*/ 252 w 580"/>
                <a:gd name="T31" fmla="*/ 439 h 458"/>
                <a:gd name="T32" fmla="*/ 281 w 580"/>
                <a:gd name="T33" fmla="*/ 454 h 458"/>
                <a:gd name="T34" fmla="*/ 309 w 580"/>
                <a:gd name="T35" fmla="*/ 439 h 458"/>
                <a:gd name="T36" fmla="*/ 309 w 580"/>
                <a:gd name="T37" fmla="*/ 19 h 458"/>
                <a:gd name="T38" fmla="*/ 281 w 580"/>
                <a:gd name="T39" fmla="*/ 4 h 458"/>
                <a:gd name="T40" fmla="*/ 252 w 580"/>
                <a:gd name="T41" fmla="*/ 19 h 458"/>
                <a:gd name="T42" fmla="*/ 252 w 580"/>
                <a:gd name="T43" fmla="*/ 439 h 458"/>
                <a:gd name="T44" fmla="*/ 0 w 580"/>
                <a:gd name="T45" fmla="*/ 439 h 458"/>
                <a:gd name="T46" fmla="*/ 28 w 580"/>
                <a:gd name="T47" fmla="*/ 454 h 458"/>
                <a:gd name="T48" fmla="*/ 56 w 580"/>
                <a:gd name="T49" fmla="*/ 439 h 458"/>
                <a:gd name="T50" fmla="*/ 56 w 580"/>
                <a:gd name="T51" fmla="*/ 157 h 458"/>
                <a:gd name="T52" fmla="*/ 165 w 580"/>
                <a:gd name="T53" fmla="*/ 53 h 458"/>
                <a:gd name="T54" fmla="*/ 180 w 580"/>
                <a:gd name="T55" fmla="*/ 53 h 458"/>
                <a:gd name="T56" fmla="*/ 196 w 580"/>
                <a:gd name="T57" fmla="*/ 27 h 458"/>
                <a:gd name="T58" fmla="*/ 154 w 580"/>
                <a:gd name="T59" fmla="*/ 4 h 458"/>
                <a:gd name="T60" fmla="*/ 0 w 580"/>
                <a:gd name="T61" fmla="*/ 152 h 458"/>
                <a:gd name="T62" fmla="*/ 0 w 580"/>
                <a:gd name="T63" fmla="*/ 439 h 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80" h="458">
                  <a:moveTo>
                    <a:pt x="411" y="213"/>
                  </a:moveTo>
                  <a:cubicBezTo>
                    <a:pt x="570" y="37"/>
                    <a:pt x="570" y="37"/>
                    <a:pt x="570" y="37"/>
                  </a:cubicBezTo>
                  <a:cubicBezTo>
                    <a:pt x="576" y="30"/>
                    <a:pt x="580" y="25"/>
                    <a:pt x="580" y="20"/>
                  </a:cubicBezTo>
                  <a:cubicBezTo>
                    <a:pt x="580" y="10"/>
                    <a:pt x="559" y="0"/>
                    <a:pt x="545" y="0"/>
                  </a:cubicBezTo>
                  <a:cubicBezTo>
                    <a:pt x="535" y="0"/>
                    <a:pt x="526" y="8"/>
                    <a:pt x="519" y="16"/>
                  </a:cubicBezTo>
                  <a:cubicBezTo>
                    <a:pt x="344" y="210"/>
                    <a:pt x="344" y="210"/>
                    <a:pt x="344" y="210"/>
                  </a:cubicBezTo>
                  <a:cubicBezTo>
                    <a:pt x="336" y="219"/>
                    <a:pt x="334" y="224"/>
                    <a:pt x="334" y="229"/>
                  </a:cubicBezTo>
                  <a:cubicBezTo>
                    <a:pt x="334" y="234"/>
                    <a:pt x="336" y="239"/>
                    <a:pt x="344" y="248"/>
                  </a:cubicBezTo>
                  <a:cubicBezTo>
                    <a:pt x="519" y="442"/>
                    <a:pt x="519" y="442"/>
                    <a:pt x="519" y="442"/>
                  </a:cubicBezTo>
                  <a:cubicBezTo>
                    <a:pt x="526" y="450"/>
                    <a:pt x="535" y="458"/>
                    <a:pt x="545" y="458"/>
                  </a:cubicBezTo>
                  <a:cubicBezTo>
                    <a:pt x="559" y="458"/>
                    <a:pt x="580" y="448"/>
                    <a:pt x="580" y="438"/>
                  </a:cubicBezTo>
                  <a:cubicBezTo>
                    <a:pt x="580" y="433"/>
                    <a:pt x="576" y="428"/>
                    <a:pt x="570" y="421"/>
                  </a:cubicBezTo>
                  <a:cubicBezTo>
                    <a:pt x="411" y="245"/>
                    <a:pt x="411" y="245"/>
                    <a:pt x="411" y="245"/>
                  </a:cubicBezTo>
                  <a:cubicBezTo>
                    <a:pt x="403" y="236"/>
                    <a:pt x="399" y="232"/>
                    <a:pt x="399" y="229"/>
                  </a:cubicBezTo>
                  <a:cubicBezTo>
                    <a:pt x="399" y="226"/>
                    <a:pt x="403" y="222"/>
                    <a:pt x="411" y="213"/>
                  </a:cubicBezTo>
                  <a:moveTo>
                    <a:pt x="252" y="439"/>
                  </a:moveTo>
                  <a:cubicBezTo>
                    <a:pt x="252" y="449"/>
                    <a:pt x="261" y="454"/>
                    <a:pt x="281" y="454"/>
                  </a:cubicBezTo>
                  <a:cubicBezTo>
                    <a:pt x="300" y="454"/>
                    <a:pt x="309" y="449"/>
                    <a:pt x="309" y="439"/>
                  </a:cubicBezTo>
                  <a:cubicBezTo>
                    <a:pt x="309" y="19"/>
                    <a:pt x="309" y="19"/>
                    <a:pt x="309" y="19"/>
                  </a:cubicBezTo>
                  <a:cubicBezTo>
                    <a:pt x="309" y="9"/>
                    <a:pt x="300" y="4"/>
                    <a:pt x="281" y="4"/>
                  </a:cubicBezTo>
                  <a:cubicBezTo>
                    <a:pt x="261" y="4"/>
                    <a:pt x="252" y="9"/>
                    <a:pt x="252" y="19"/>
                  </a:cubicBezTo>
                  <a:lnTo>
                    <a:pt x="252" y="439"/>
                  </a:lnTo>
                  <a:close/>
                  <a:moveTo>
                    <a:pt x="0" y="439"/>
                  </a:moveTo>
                  <a:cubicBezTo>
                    <a:pt x="0" y="449"/>
                    <a:pt x="8" y="454"/>
                    <a:pt x="28" y="454"/>
                  </a:cubicBezTo>
                  <a:cubicBezTo>
                    <a:pt x="48" y="454"/>
                    <a:pt x="56" y="449"/>
                    <a:pt x="56" y="439"/>
                  </a:cubicBezTo>
                  <a:cubicBezTo>
                    <a:pt x="56" y="157"/>
                    <a:pt x="56" y="157"/>
                    <a:pt x="56" y="157"/>
                  </a:cubicBezTo>
                  <a:cubicBezTo>
                    <a:pt x="56" y="83"/>
                    <a:pt x="85" y="53"/>
                    <a:pt x="165" y="53"/>
                  </a:cubicBezTo>
                  <a:cubicBezTo>
                    <a:pt x="180" y="53"/>
                    <a:pt x="180" y="53"/>
                    <a:pt x="180" y="53"/>
                  </a:cubicBezTo>
                  <a:cubicBezTo>
                    <a:pt x="192" y="53"/>
                    <a:pt x="196" y="43"/>
                    <a:pt x="196" y="27"/>
                  </a:cubicBezTo>
                  <a:cubicBezTo>
                    <a:pt x="196" y="8"/>
                    <a:pt x="185" y="4"/>
                    <a:pt x="154" y="4"/>
                  </a:cubicBezTo>
                  <a:cubicBezTo>
                    <a:pt x="64" y="4"/>
                    <a:pt x="0" y="43"/>
                    <a:pt x="0" y="152"/>
                  </a:cubicBezTo>
                  <a:lnTo>
                    <a:pt x="0" y="43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17" name="Freeform 10">
              <a:extLst>
                <a:ext uri="{FF2B5EF4-FFF2-40B4-BE49-F238E27FC236}">
                  <a16:creationId xmlns:a16="http://schemas.microsoft.com/office/drawing/2014/main" id="{2B91B16B-BC11-E547-8FAC-B9B8D18EA449}"/>
                </a:ext>
              </a:extLst>
            </p:cNvPr>
            <p:cNvSpPr>
              <a:spLocks/>
            </p:cNvSpPr>
            <p:nvPr/>
          </p:nvSpPr>
          <p:spPr bwMode="gray">
            <a:xfrm>
              <a:off x="2880" y="1704"/>
              <a:ext cx="618" cy="916"/>
            </a:xfrm>
            <a:custGeom>
              <a:avLst/>
              <a:gdLst>
                <a:gd name="T0" fmla="*/ 307 w 307"/>
                <a:gd name="T1" fmla="*/ 405 h 455"/>
                <a:gd name="T2" fmla="*/ 307 w 307"/>
                <a:gd name="T3" fmla="*/ 244 h 455"/>
                <a:gd name="T4" fmla="*/ 279 w 307"/>
                <a:gd name="T5" fmla="*/ 229 h 455"/>
                <a:gd name="T6" fmla="*/ 250 w 307"/>
                <a:gd name="T7" fmla="*/ 244 h 455"/>
                <a:gd name="T8" fmla="*/ 250 w 307"/>
                <a:gd name="T9" fmla="*/ 378 h 455"/>
                <a:gd name="T10" fmla="*/ 199 w 307"/>
                <a:gd name="T11" fmla="*/ 408 h 455"/>
                <a:gd name="T12" fmla="*/ 61 w 307"/>
                <a:gd name="T13" fmla="*/ 231 h 455"/>
                <a:gd name="T14" fmla="*/ 238 w 307"/>
                <a:gd name="T15" fmla="*/ 49 h 455"/>
                <a:gd name="T16" fmla="*/ 270 w 307"/>
                <a:gd name="T17" fmla="*/ 49 h 455"/>
                <a:gd name="T18" fmla="*/ 286 w 307"/>
                <a:gd name="T19" fmla="*/ 23 h 455"/>
                <a:gd name="T20" fmla="*/ 244 w 307"/>
                <a:gd name="T21" fmla="*/ 0 h 455"/>
                <a:gd name="T22" fmla="*/ 231 w 307"/>
                <a:gd name="T23" fmla="*/ 0 h 455"/>
                <a:gd name="T24" fmla="*/ 0 w 307"/>
                <a:gd name="T25" fmla="*/ 232 h 455"/>
                <a:gd name="T26" fmla="*/ 198 w 307"/>
                <a:gd name="T27" fmla="*/ 455 h 455"/>
                <a:gd name="T28" fmla="*/ 307 w 307"/>
                <a:gd name="T29" fmla="*/ 405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7" h="455">
                  <a:moveTo>
                    <a:pt x="307" y="405"/>
                  </a:moveTo>
                  <a:cubicBezTo>
                    <a:pt x="307" y="244"/>
                    <a:pt x="307" y="244"/>
                    <a:pt x="307" y="244"/>
                  </a:cubicBezTo>
                  <a:cubicBezTo>
                    <a:pt x="307" y="234"/>
                    <a:pt x="298" y="229"/>
                    <a:pt x="279" y="229"/>
                  </a:cubicBezTo>
                  <a:cubicBezTo>
                    <a:pt x="259" y="229"/>
                    <a:pt x="250" y="234"/>
                    <a:pt x="250" y="244"/>
                  </a:cubicBezTo>
                  <a:cubicBezTo>
                    <a:pt x="250" y="378"/>
                    <a:pt x="250" y="378"/>
                    <a:pt x="250" y="378"/>
                  </a:cubicBezTo>
                  <a:cubicBezTo>
                    <a:pt x="250" y="399"/>
                    <a:pt x="241" y="408"/>
                    <a:pt x="199" y="408"/>
                  </a:cubicBezTo>
                  <a:cubicBezTo>
                    <a:pt x="114" y="408"/>
                    <a:pt x="61" y="342"/>
                    <a:pt x="61" y="231"/>
                  </a:cubicBezTo>
                  <a:cubicBezTo>
                    <a:pt x="61" y="115"/>
                    <a:pt x="126" y="49"/>
                    <a:pt x="238" y="49"/>
                  </a:cubicBezTo>
                  <a:cubicBezTo>
                    <a:pt x="270" y="49"/>
                    <a:pt x="270" y="49"/>
                    <a:pt x="270" y="49"/>
                  </a:cubicBezTo>
                  <a:cubicBezTo>
                    <a:pt x="282" y="49"/>
                    <a:pt x="286" y="39"/>
                    <a:pt x="286" y="23"/>
                  </a:cubicBezTo>
                  <a:cubicBezTo>
                    <a:pt x="286" y="4"/>
                    <a:pt x="275" y="0"/>
                    <a:pt x="244" y="0"/>
                  </a:cubicBezTo>
                  <a:cubicBezTo>
                    <a:pt x="231" y="0"/>
                    <a:pt x="231" y="0"/>
                    <a:pt x="231" y="0"/>
                  </a:cubicBezTo>
                  <a:cubicBezTo>
                    <a:pt x="101" y="0"/>
                    <a:pt x="0" y="71"/>
                    <a:pt x="0" y="232"/>
                  </a:cubicBezTo>
                  <a:cubicBezTo>
                    <a:pt x="0" y="386"/>
                    <a:pt x="88" y="455"/>
                    <a:pt x="198" y="455"/>
                  </a:cubicBezTo>
                  <a:cubicBezTo>
                    <a:pt x="286" y="455"/>
                    <a:pt x="307" y="430"/>
                    <a:pt x="307" y="40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18" name="Oval 11">
              <a:extLst>
                <a:ext uri="{FF2B5EF4-FFF2-40B4-BE49-F238E27FC236}">
                  <a16:creationId xmlns:a16="http://schemas.microsoft.com/office/drawing/2014/main" id="{14F8C3C8-4888-7646-B9B4-64EB46A1DA23}"/>
                </a:ext>
              </a:extLst>
            </p:cNvPr>
            <p:cNvSpPr>
              <a:spLocks noChangeArrowheads="1"/>
            </p:cNvSpPr>
            <p:nvPr/>
          </p:nvSpPr>
          <p:spPr bwMode="gray">
            <a:xfrm>
              <a:off x="3778" y="2099"/>
              <a:ext cx="122" cy="12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19" name="Freeform 12">
              <a:extLst>
                <a:ext uri="{FF2B5EF4-FFF2-40B4-BE49-F238E27FC236}">
                  <a16:creationId xmlns:a16="http://schemas.microsoft.com/office/drawing/2014/main" id="{D79D01D1-4E3E-F34B-97D7-2D387E68746E}"/>
                </a:ext>
              </a:extLst>
            </p:cNvPr>
            <p:cNvSpPr>
              <a:spLocks/>
            </p:cNvSpPr>
            <p:nvPr/>
          </p:nvSpPr>
          <p:spPr bwMode="gray">
            <a:xfrm>
              <a:off x="4321" y="1029"/>
              <a:ext cx="648" cy="649"/>
            </a:xfrm>
            <a:custGeom>
              <a:avLst/>
              <a:gdLst>
                <a:gd name="T0" fmla="*/ 0 w 648"/>
                <a:gd name="T1" fmla="*/ 649 h 649"/>
                <a:gd name="T2" fmla="*/ 2 w 648"/>
                <a:gd name="T3" fmla="*/ 649 h 649"/>
                <a:gd name="T4" fmla="*/ 648 w 648"/>
                <a:gd name="T5" fmla="*/ 0 h 649"/>
                <a:gd name="T6" fmla="*/ 423 w 648"/>
                <a:gd name="T7" fmla="*/ 0 h 649"/>
                <a:gd name="T8" fmla="*/ 0 w 648"/>
                <a:gd name="T9" fmla="*/ 649 h 649"/>
              </a:gdLst>
              <a:ahLst/>
              <a:cxnLst>
                <a:cxn ang="0">
                  <a:pos x="T0" y="T1"/>
                </a:cxn>
                <a:cxn ang="0">
                  <a:pos x="T2" y="T3"/>
                </a:cxn>
                <a:cxn ang="0">
                  <a:pos x="T4" y="T5"/>
                </a:cxn>
                <a:cxn ang="0">
                  <a:pos x="T6" y="T7"/>
                </a:cxn>
                <a:cxn ang="0">
                  <a:pos x="T8" y="T9"/>
                </a:cxn>
              </a:cxnLst>
              <a:rect l="0" t="0" r="r" b="b"/>
              <a:pathLst>
                <a:path w="648" h="649">
                  <a:moveTo>
                    <a:pt x="0" y="649"/>
                  </a:moveTo>
                  <a:lnTo>
                    <a:pt x="2" y="649"/>
                  </a:lnTo>
                  <a:lnTo>
                    <a:pt x="648" y="0"/>
                  </a:lnTo>
                  <a:lnTo>
                    <a:pt x="423" y="0"/>
                  </a:lnTo>
                  <a:lnTo>
                    <a:pt x="0" y="64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20" name="Freeform 13">
              <a:extLst>
                <a:ext uri="{FF2B5EF4-FFF2-40B4-BE49-F238E27FC236}">
                  <a16:creationId xmlns:a16="http://schemas.microsoft.com/office/drawing/2014/main" id="{46549898-6C52-B147-A8F6-A73FDBE6163B}"/>
                </a:ext>
              </a:extLst>
            </p:cNvPr>
            <p:cNvSpPr>
              <a:spLocks/>
            </p:cNvSpPr>
            <p:nvPr/>
          </p:nvSpPr>
          <p:spPr bwMode="gray">
            <a:xfrm>
              <a:off x="4321" y="1029"/>
              <a:ext cx="648" cy="649"/>
            </a:xfrm>
            <a:custGeom>
              <a:avLst/>
              <a:gdLst>
                <a:gd name="T0" fmla="*/ 0 w 648"/>
                <a:gd name="T1" fmla="*/ 649 h 649"/>
                <a:gd name="T2" fmla="*/ 2 w 648"/>
                <a:gd name="T3" fmla="*/ 649 h 649"/>
                <a:gd name="T4" fmla="*/ 648 w 648"/>
                <a:gd name="T5" fmla="*/ 0 h 649"/>
                <a:gd name="T6" fmla="*/ 423 w 648"/>
                <a:gd name="T7" fmla="*/ 0 h 649"/>
                <a:gd name="T8" fmla="*/ 0 w 648"/>
                <a:gd name="T9" fmla="*/ 649 h 649"/>
              </a:gdLst>
              <a:ahLst/>
              <a:cxnLst>
                <a:cxn ang="0">
                  <a:pos x="T0" y="T1"/>
                </a:cxn>
                <a:cxn ang="0">
                  <a:pos x="T2" y="T3"/>
                </a:cxn>
                <a:cxn ang="0">
                  <a:pos x="T4" y="T5"/>
                </a:cxn>
                <a:cxn ang="0">
                  <a:pos x="T6" y="T7"/>
                </a:cxn>
                <a:cxn ang="0">
                  <a:pos x="T8" y="T9"/>
                </a:cxn>
              </a:cxnLst>
              <a:rect l="0" t="0" r="r" b="b"/>
              <a:pathLst>
                <a:path w="648" h="649">
                  <a:moveTo>
                    <a:pt x="0" y="649"/>
                  </a:moveTo>
                  <a:lnTo>
                    <a:pt x="2" y="649"/>
                  </a:lnTo>
                  <a:lnTo>
                    <a:pt x="648" y="0"/>
                  </a:lnTo>
                  <a:lnTo>
                    <a:pt x="423" y="0"/>
                  </a:lnTo>
                  <a:lnTo>
                    <a:pt x="0" y="64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grpSp>
    </p:spTree>
    <p:extLst>
      <p:ext uri="{BB962C8B-B14F-4D97-AF65-F5344CB8AC3E}">
        <p14:creationId xmlns:p14="http://schemas.microsoft.com/office/powerpoint/2010/main" val="2751315462"/>
      </p:ext>
    </p:extLst>
  </p:cSld>
  <p:clrMapOvr>
    <a:masterClrMapping/>
  </p:clrMapOvr>
</p:sldLayout>
</file>

<file path=ppt/slideLayouts/slideLayout542.xml><?xml version="1.0" encoding="utf-8"?>
<p:sldLayout xmlns:a="http://schemas.openxmlformats.org/drawingml/2006/main" xmlns:r="http://schemas.openxmlformats.org/officeDocument/2006/relationships" xmlns:p="http://schemas.openxmlformats.org/presentationml/2006/main" preserve="1">
  <p:cSld name="Headline only">
    <p:spTree>
      <p:nvGrpSpPr>
        <p:cNvPr id="1" name=""/>
        <p:cNvGrpSpPr/>
        <p:nvPr/>
      </p:nvGrpSpPr>
      <p:grpSpPr>
        <a:xfrm>
          <a:off x="0" y="0"/>
          <a:ext cx="0" cy="0"/>
          <a:chOff x="0" y="0"/>
          <a:chExt cx="0" cy="0"/>
        </a:xfrm>
      </p:grpSpPr>
      <p:sp>
        <p:nvSpPr>
          <p:cNvPr id="21" name="Date Placeholder 20"/>
          <p:cNvSpPr>
            <a:spLocks noGrp="1"/>
          </p:cNvSpPr>
          <p:nvPr>
            <p:ph type="dt" sz="half" idx="14"/>
          </p:nvPr>
        </p:nvSpPr>
        <p:spPr/>
        <p:txBody>
          <a:bodyPr/>
          <a:lstStyle/>
          <a:p>
            <a:fld id="{7DCAAD07-09FD-49C1-9253-3DC58F499B21}" type="datetime5">
              <a:rPr lang="en-US" smtClean="0"/>
              <a:t>26-Jun-20</a:t>
            </a:fld>
            <a:endParaRPr lang="en-US"/>
          </a:p>
        </p:txBody>
      </p:sp>
      <p:sp>
        <p:nvSpPr>
          <p:cNvPr id="22" name="Footer Placeholder 21"/>
          <p:cNvSpPr>
            <a:spLocks noGrp="1"/>
          </p:cNvSpPr>
          <p:nvPr>
            <p:ph type="ftr" sz="quarter" idx="15"/>
          </p:nvPr>
        </p:nvSpPr>
        <p:spPr/>
        <p:txBody>
          <a:bodyPr/>
          <a:lstStyle/>
          <a:p>
            <a:r>
              <a:rPr lang="en-US"/>
              <a:t>Title of presentation (Insert / Header &amp; Footer / Apply to All)</a:t>
            </a:r>
          </a:p>
        </p:txBody>
      </p:sp>
      <p:sp>
        <p:nvSpPr>
          <p:cNvPr id="23" name="Slide Number Placeholder 22"/>
          <p:cNvSpPr>
            <a:spLocks noGrp="1"/>
          </p:cNvSpPr>
          <p:nvPr>
            <p:ph type="sldNum" sz="quarter" idx="16"/>
          </p:nvPr>
        </p:nvSpPr>
        <p:spPr/>
        <p:txBody>
          <a:bodyPr/>
          <a:lstStyle/>
          <a:p>
            <a:fld id="{5F3E29E4-0979-4FCA-B4C5-5FC6044C982A}" type="slidenum">
              <a:rPr lang="en-US" smtClean="0"/>
              <a:t>‹#›</a:t>
            </a:fld>
            <a:endParaRPr lang="en-US"/>
          </a:p>
        </p:txBody>
      </p:sp>
      <p:sp>
        <p:nvSpPr>
          <p:cNvPr id="2" name="Title 1"/>
          <p:cNvSpPr>
            <a:spLocks noGrp="1"/>
          </p:cNvSpPr>
          <p:nvPr>
            <p:ph type="title" hasCustomPrompt="1"/>
          </p:nvPr>
        </p:nvSpPr>
        <p:spPr/>
        <p:txBody>
          <a:bodyPr/>
          <a:lstStyle>
            <a:lvl1pPr>
              <a:defRPr/>
            </a:lvl1pPr>
          </a:lstStyle>
          <a:p>
            <a:r>
              <a:rPr lang="en-US"/>
              <a:t>Click to add slide title</a:t>
            </a:r>
          </a:p>
        </p:txBody>
      </p:sp>
      <p:sp>
        <p:nvSpPr>
          <p:cNvPr id="7" name="Subtitle 2"/>
          <p:cNvSpPr>
            <a:spLocks noGrp="1"/>
          </p:cNvSpPr>
          <p:nvPr>
            <p:ph type="subTitle" idx="13" hasCustomPrompt="1"/>
          </p:nvPr>
        </p:nvSpPr>
        <p:spPr>
          <a:xfrm>
            <a:off x="1075061" y="964671"/>
            <a:ext cx="7910158" cy="490042"/>
          </a:xfrm>
        </p:spPr>
        <p:txBody>
          <a:bodyPr wrap="none"/>
          <a:lstStyle>
            <a:lvl1pPr marL="0" indent="0" algn="l">
              <a:spcBef>
                <a:spcPts val="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sp>
        <p:nvSpPr>
          <p:cNvPr id="9" name="Text Placeholder 4"/>
          <p:cNvSpPr>
            <a:spLocks noGrp="1"/>
          </p:cNvSpPr>
          <p:nvPr>
            <p:ph type="body" sz="quarter" idx="17" hasCustomPrompt="1"/>
          </p:nvPr>
        </p:nvSpPr>
        <p:spPr>
          <a:xfrm>
            <a:off x="1075063" y="6307665"/>
            <a:ext cx="8162717" cy="133200"/>
          </a:xfrm>
        </p:spPr>
        <p:txBody>
          <a:bodyPr lIns="0" tIns="0" rIns="0" bIns="0" anchor="b" anchorCtr="0"/>
          <a:lstStyle>
            <a:lvl1pPr marL="0" indent="0" algn="l">
              <a:lnSpc>
                <a:spcPct val="100000"/>
              </a:lnSpc>
              <a:spcBef>
                <a:spcPts val="0"/>
              </a:spcBef>
              <a:buNone/>
              <a:defRPr sz="800" baseline="0"/>
            </a:lvl1pPr>
            <a:lvl2pPr marL="0" indent="0" algn="l">
              <a:lnSpc>
                <a:spcPct val="100000"/>
              </a:lnSpc>
              <a:spcBef>
                <a:spcPts val="0"/>
              </a:spcBef>
              <a:buNone/>
              <a:defRPr sz="800"/>
            </a:lvl2pPr>
            <a:lvl3pPr marL="0" indent="0" algn="l">
              <a:lnSpc>
                <a:spcPct val="100000"/>
              </a:lnSpc>
              <a:spcBef>
                <a:spcPts val="0"/>
              </a:spcBef>
              <a:buNone/>
              <a:defRPr sz="800"/>
            </a:lvl3pPr>
            <a:lvl4pPr marL="0" algn="l">
              <a:lnSpc>
                <a:spcPct val="100000"/>
              </a:lnSpc>
              <a:spcBef>
                <a:spcPts val="0"/>
              </a:spcBef>
              <a:buNone/>
              <a:defRPr sz="800"/>
            </a:lvl4pPr>
            <a:lvl5pPr marL="0" indent="0" algn="l">
              <a:lnSpc>
                <a:spcPct val="100000"/>
              </a:lnSpc>
              <a:spcBef>
                <a:spcPts val="0"/>
              </a:spcBef>
              <a:buNone/>
              <a:defRPr sz="800"/>
            </a:lvl5pPr>
          </a:lstStyle>
          <a:p>
            <a:pPr lvl="0"/>
            <a:r>
              <a:rPr lang="en-US"/>
              <a:t>Source line</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81198653"/>
      </p:ext>
    </p:extLst>
  </p:cSld>
  <p:clrMapOvr>
    <a:masterClrMapping/>
  </p:clrMapOvr>
</p:sldLayout>
</file>

<file path=ppt/slideLayouts/slideLayout543.xml><?xml version="1.0" encoding="utf-8"?>
<p:sldLayout xmlns:a="http://schemas.openxmlformats.org/drawingml/2006/main" xmlns:r="http://schemas.openxmlformats.org/officeDocument/2006/relationships" xmlns:p="http://schemas.openxmlformats.org/presentationml/2006/main" preserve="1">
  <p:cSld name="One content">
    <p:spTree>
      <p:nvGrpSpPr>
        <p:cNvPr id="1" name=""/>
        <p:cNvGrpSpPr/>
        <p:nvPr/>
      </p:nvGrpSpPr>
      <p:grpSpPr>
        <a:xfrm>
          <a:off x="0" y="0"/>
          <a:ext cx="0" cy="0"/>
          <a:chOff x="0" y="0"/>
          <a:chExt cx="0" cy="0"/>
        </a:xfrm>
      </p:grpSpPr>
      <p:sp>
        <p:nvSpPr>
          <p:cNvPr id="21" name="Date Placeholder 20"/>
          <p:cNvSpPr>
            <a:spLocks noGrp="1"/>
          </p:cNvSpPr>
          <p:nvPr>
            <p:ph type="dt" sz="half" idx="14"/>
          </p:nvPr>
        </p:nvSpPr>
        <p:spPr/>
        <p:txBody>
          <a:bodyPr/>
          <a:lstStyle/>
          <a:p>
            <a:fld id="{4CC19292-71B2-4BF0-8023-C669B9188137}" type="datetime5">
              <a:rPr lang="en-US" smtClean="0"/>
              <a:t>26-Jun-20</a:t>
            </a:fld>
            <a:endParaRPr lang="en-US"/>
          </a:p>
        </p:txBody>
      </p:sp>
      <p:sp>
        <p:nvSpPr>
          <p:cNvPr id="22" name="Footer Placeholder 21"/>
          <p:cNvSpPr>
            <a:spLocks noGrp="1"/>
          </p:cNvSpPr>
          <p:nvPr>
            <p:ph type="ftr" sz="quarter" idx="15"/>
          </p:nvPr>
        </p:nvSpPr>
        <p:spPr/>
        <p:txBody>
          <a:bodyPr/>
          <a:lstStyle/>
          <a:p>
            <a:r>
              <a:rPr lang="en-US"/>
              <a:t>Title of presentation (Insert / Header &amp; Footer / Apply to All)</a:t>
            </a:r>
          </a:p>
        </p:txBody>
      </p:sp>
      <p:sp>
        <p:nvSpPr>
          <p:cNvPr id="23" name="Slide Number Placeholder 22"/>
          <p:cNvSpPr>
            <a:spLocks noGrp="1"/>
          </p:cNvSpPr>
          <p:nvPr>
            <p:ph type="sldNum" sz="quarter" idx="16"/>
          </p:nvPr>
        </p:nvSpPr>
        <p:spPr/>
        <p:txBody>
          <a:bodyPr/>
          <a:lstStyle/>
          <a:p>
            <a:fld id="{5F3E29E4-0979-4FCA-B4C5-5FC6044C982A}" type="slidenum">
              <a:rPr lang="en-US" smtClean="0"/>
              <a:t>‹#›</a:t>
            </a:fld>
            <a:endParaRPr lang="en-US"/>
          </a:p>
        </p:txBody>
      </p:sp>
      <p:sp>
        <p:nvSpPr>
          <p:cNvPr id="2" name="Title 1"/>
          <p:cNvSpPr>
            <a:spLocks noGrp="1"/>
          </p:cNvSpPr>
          <p:nvPr>
            <p:ph type="title" hasCustomPrompt="1"/>
          </p:nvPr>
        </p:nvSpPr>
        <p:spPr/>
        <p:txBody>
          <a:bodyPr/>
          <a:lstStyle>
            <a:lvl1pPr>
              <a:defRPr/>
            </a:lvl1pPr>
          </a:lstStyle>
          <a:p>
            <a:r>
              <a:rPr lang="en-US"/>
              <a:t>Click to add slide title</a:t>
            </a:r>
          </a:p>
        </p:txBody>
      </p:sp>
      <p:sp>
        <p:nvSpPr>
          <p:cNvPr id="7" name="Subtitle 2"/>
          <p:cNvSpPr>
            <a:spLocks noGrp="1"/>
          </p:cNvSpPr>
          <p:nvPr>
            <p:ph type="subTitle" idx="13" hasCustomPrompt="1"/>
          </p:nvPr>
        </p:nvSpPr>
        <p:spPr>
          <a:xfrm>
            <a:off x="1075061" y="964671"/>
            <a:ext cx="7910158" cy="490042"/>
          </a:xfrm>
        </p:spPr>
        <p:txBody>
          <a:bodyPr wrap="none"/>
          <a:lstStyle>
            <a:lvl1pPr marL="0" indent="0" algn="l">
              <a:spcBef>
                <a:spcPts val="0"/>
              </a:spcBef>
              <a:buNone/>
              <a:defRPr sz="2400" baseline="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sp>
        <p:nvSpPr>
          <p:cNvPr id="3" name="Content Placeholder 2"/>
          <p:cNvSpPr>
            <a:spLocks noGrp="1"/>
          </p:cNvSpPr>
          <p:nvPr>
            <p:ph idx="1" hasCustomPrompt="1"/>
          </p:nvPr>
        </p:nvSpPr>
        <p:spPr/>
        <p:txBody>
          <a:bodyPr/>
          <a:lstStyle>
            <a:lvl1pPr>
              <a:defRPr baseline="0"/>
            </a:lvl1pPr>
          </a:lstStyle>
          <a:p>
            <a:pPr lvl="0"/>
            <a:r>
              <a:rPr lang="en-US"/>
              <a:t>Click to add text or content</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17" hasCustomPrompt="1"/>
          </p:nvPr>
        </p:nvSpPr>
        <p:spPr>
          <a:xfrm>
            <a:off x="1075063" y="6307665"/>
            <a:ext cx="8162717" cy="133200"/>
          </a:xfrm>
        </p:spPr>
        <p:txBody>
          <a:bodyPr lIns="0" tIns="0" rIns="0" bIns="0" anchor="b" anchorCtr="0"/>
          <a:lstStyle>
            <a:lvl1pPr marL="0" indent="0" algn="l">
              <a:lnSpc>
                <a:spcPct val="100000"/>
              </a:lnSpc>
              <a:spcBef>
                <a:spcPts val="0"/>
              </a:spcBef>
              <a:buNone/>
              <a:defRPr sz="800" baseline="0"/>
            </a:lvl1pPr>
            <a:lvl2pPr marL="0" indent="0" algn="l">
              <a:lnSpc>
                <a:spcPct val="100000"/>
              </a:lnSpc>
              <a:spcBef>
                <a:spcPts val="0"/>
              </a:spcBef>
              <a:buNone/>
              <a:defRPr sz="800"/>
            </a:lvl2pPr>
            <a:lvl3pPr marL="0" indent="0" algn="l">
              <a:lnSpc>
                <a:spcPct val="100000"/>
              </a:lnSpc>
              <a:spcBef>
                <a:spcPts val="0"/>
              </a:spcBef>
              <a:buNone/>
              <a:defRPr sz="800"/>
            </a:lvl3pPr>
            <a:lvl4pPr marL="0" algn="l">
              <a:lnSpc>
                <a:spcPct val="100000"/>
              </a:lnSpc>
              <a:spcBef>
                <a:spcPts val="0"/>
              </a:spcBef>
              <a:buNone/>
              <a:defRPr sz="800"/>
            </a:lvl4pPr>
            <a:lvl5pPr marL="0" indent="0" algn="l">
              <a:lnSpc>
                <a:spcPct val="100000"/>
              </a:lnSpc>
              <a:spcBef>
                <a:spcPts val="0"/>
              </a:spcBef>
              <a:buNone/>
              <a:defRPr sz="800"/>
            </a:lvl5pPr>
          </a:lstStyle>
          <a:p>
            <a:pPr lvl="0"/>
            <a:r>
              <a:rPr lang="en-US"/>
              <a:t>Source line</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95545723"/>
      </p:ext>
    </p:extLst>
  </p:cSld>
  <p:clrMapOvr>
    <a:masterClrMapping/>
  </p:clrMapOvr>
</p:sldLayout>
</file>

<file path=ppt/slideLayouts/slideLayout544.xml><?xml version="1.0" encoding="utf-8"?>
<p:sldLayout xmlns:a="http://schemas.openxmlformats.org/drawingml/2006/main" xmlns:r="http://schemas.openxmlformats.org/officeDocument/2006/relationships" xmlns:p="http://schemas.openxmlformats.org/presentationml/2006/main" preserve="1">
  <p:cSld name="Content and picture">
    <p:spTree>
      <p:nvGrpSpPr>
        <p:cNvPr id="1" name=""/>
        <p:cNvGrpSpPr/>
        <p:nvPr/>
      </p:nvGrpSpPr>
      <p:grpSpPr>
        <a:xfrm>
          <a:off x="0" y="0"/>
          <a:ext cx="0" cy="0"/>
          <a:chOff x="0" y="0"/>
          <a:chExt cx="0" cy="0"/>
        </a:xfrm>
      </p:grpSpPr>
      <p:sp>
        <p:nvSpPr>
          <p:cNvPr id="21" name="Date Placeholder 20"/>
          <p:cNvSpPr>
            <a:spLocks noGrp="1"/>
          </p:cNvSpPr>
          <p:nvPr>
            <p:ph type="dt" sz="half" idx="14"/>
          </p:nvPr>
        </p:nvSpPr>
        <p:spPr/>
        <p:txBody>
          <a:bodyPr/>
          <a:lstStyle/>
          <a:p>
            <a:fld id="{97AF90B7-6970-4C8C-AA59-7302F717A183}" type="datetime5">
              <a:rPr lang="en-US" smtClean="0"/>
              <a:t>26-Jun-20</a:t>
            </a:fld>
            <a:endParaRPr lang="en-US"/>
          </a:p>
        </p:txBody>
      </p:sp>
      <p:sp>
        <p:nvSpPr>
          <p:cNvPr id="22" name="Footer Placeholder 21"/>
          <p:cNvSpPr>
            <a:spLocks noGrp="1"/>
          </p:cNvSpPr>
          <p:nvPr>
            <p:ph type="ftr" sz="quarter" idx="15"/>
          </p:nvPr>
        </p:nvSpPr>
        <p:spPr/>
        <p:txBody>
          <a:bodyPr/>
          <a:lstStyle/>
          <a:p>
            <a:r>
              <a:rPr lang="en-US"/>
              <a:t>Title of presentation (Insert / Header &amp; Footer / Apply to All)</a:t>
            </a:r>
          </a:p>
        </p:txBody>
      </p:sp>
      <p:sp>
        <p:nvSpPr>
          <p:cNvPr id="23" name="Slide Number Placeholder 22"/>
          <p:cNvSpPr>
            <a:spLocks noGrp="1"/>
          </p:cNvSpPr>
          <p:nvPr>
            <p:ph type="sldNum" sz="quarter" idx="16"/>
          </p:nvPr>
        </p:nvSpPr>
        <p:spPr/>
        <p:txBody>
          <a:bodyPr/>
          <a:lstStyle/>
          <a:p>
            <a:fld id="{5F3E29E4-0979-4FCA-B4C5-5FC6044C982A}" type="slidenum">
              <a:rPr lang="en-US" smtClean="0"/>
              <a:t>‹#›</a:t>
            </a:fld>
            <a:endParaRPr lang="en-US"/>
          </a:p>
        </p:txBody>
      </p:sp>
      <p:sp>
        <p:nvSpPr>
          <p:cNvPr id="2" name="Title 1"/>
          <p:cNvSpPr>
            <a:spLocks noGrp="1"/>
          </p:cNvSpPr>
          <p:nvPr>
            <p:ph type="title" hasCustomPrompt="1"/>
          </p:nvPr>
        </p:nvSpPr>
        <p:spPr/>
        <p:txBody>
          <a:bodyPr/>
          <a:lstStyle>
            <a:lvl1pPr>
              <a:defRPr/>
            </a:lvl1pPr>
          </a:lstStyle>
          <a:p>
            <a:r>
              <a:rPr lang="en-US"/>
              <a:t>Click to add slide title</a:t>
            </a:r>
          </a:p>
        </p:txBody>
      </p:sp>
      <p:sp>
        <p:nvSpPr>
          <p:cNvPr id="7" name="Subtitle 2"/>
          <p:cNvSpPr>
            <a:spLocks noGrp="1"/>
          </p:cNvSpPr>
          <p:nvPr>
            <p:ph type="subTitle" idx="13" hasCustomPrompt="1"/>
          </p:nvPr>
        </p:nvSpPr>
        <p:spPr>
          <a:xfrm>
            <a:off x="1075061" y="964671"/>
            <a:ext cx="7910158" cy="490042"/>
          </a:xfrm>
        </p:spPr>
        <p:txBody>
          <a:bodyPr wrap="none"/>
          <a:lstStyle>
            <a:lvl1pPr marL="0" indent="0" algn="l">
              <a:spcBef>
                <a:spcPts val="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sp>
        <p:nvSpPr>
          <p:cNvPr id="3" name="Content Placeholder 2"/>
          <p:cNvSpPr>
            <a:spLocks noGrp="1"/>
          </p:cNvSpPr>
          <p:nvPr>
            <p:ph idx="1" hasCustomPrompt="1"/>
          </p:nvPr>
        </p:nvSpPr>
        <p:spPr>
          <a:xfrm>
            <a:off x="1075062" y="1629618"/>
            <a:ext cx="5220000" cy="4139357"/>
          </a:xfrm>
        </p:spPr>
        <p:txBody>
          <a:bodyPr/>
          <a:lstStyle>
            <a:lvl1pPr>
              <a:defRPr/>
            </a:lvl1pPr>
          </a:lstStyle>
          <a:p>
            <a:pPr lvl="0"/>
            <a:r>
              <a:rPr lang="en-US"/>
              <a:t>Click to add text or content</a:t>
            </a:r>
          </a:p>
          <a:p>
            <a:pPr lvl="1"/>
            <a:r>
              <a:rPr lang="en-US"/>
              <a:t>Second level</a:t>
            </a:r>
          </a:p>
          <a:p>
            <a:pPr lvl="2"/>
            <a:r>
              <a:rPr lang="en-US"/>
              <a:t>Third level</a:t>
            </a:r>
          </a:p>
          <a:p>
            <a:pPr lvl="3"/>
            <a:r>
              <a:rPr lang="en-US"/>
              <a:t>Fourth level</a:t>
            </a:r>
          </a:p>
          <a:p>
            <a:pPr lvl="4"/>
            <a:r>
              <a:rPr lang="en-US"/>
              <a:t>Fifth level</a:t>
            </a:r>
          </a:p>
        </p:txBody>
      </p:sp>
      <p:sp>
        <p:nvSpPr>
          <p:cNvPr id="5" name="Picture Placeholder 4"/>
          <p:cNvSpPr>
            <a:spLocks noGrp="1"/>
          </p:cNvSpPr>
          <p:nvPr>
            <p:ph type="pic" sz="quarter" idx="17" hasCustomPrompt="1"/>
          </p:nvPr>
        </p:nvSpPr>
        <p:spPr>
          <a:xfrm>
            <a:off x="6600525" y="1637783"/>
            <a:ext cx="5220000" cy="4599506"/>
          </a:xfrm>
          <a:solidFill>
            <a:srgbClr val="D9DADB"/>
          </a:solidFill>
        </p:spPr>
        <p:txBody>
          <a:bodyPr/>
          <a:lstStyle>
            <a:lvl1pPr marL="0" indent="0">
              <a:buNone/>
              <a:defRPr/>
            </a:lvl1pPr>
          </a:lstStyle>
          <a:p>
            <a:r>
              <a:rPr lang="en-US"/>
              <a:t>Insert picture</a:t>
            </a:r>
          </a:p>
        </p:txBody>
      </p:sp>
      <p:sp>
        <p:nvSpPr>
          <p:cNvPr id="10" name="Text Placeholder 4"/>
          <p:cNvSpPr>
            <a:spLocks noGrp="1"/>
          </p:cNvSpPr>
          <p:nvPr>
            <p:ph type="body" sz="quarter" idx="18" hasCustomPrompt="1"/>
          </p:nvPr>
        </p:nvSpPr>
        <p:spPr>
          <a:xfrm>
            <a:off x="1075063" y="6307665"/>
            <a:ext cx="8162717" cy="133200"/>
          </a:xfrm>
        </p:spPr>
        <p:txBody>
          <a:bodyPr lIns="0" tIns="0" rIns="0" bIns="0" anchor="b" anchorCtr="0"/>
          <a:lstStyle>
            <a:lvl1pPr marL="0" indent="0" algn="l">
              <a:lnSpc>
                <a:spcPct val="100000"/>
              </a:lnSpc>
              <a:spcBef>
                <a:spcPts val="0"/>
              </a:spcBef>
              <a:buNone/>
              <a:defRPr sz="800" baseline="0"/>
            </a:lvl1pPr>
            <a:lvl2pPr marL="0" indent="0" algn="l">
              <a:lnSpc>
                <a:spcPct val="100000"/>
              </a:lnSpc>
              <a:spcBef>
                <a:spcPts val="0"/>
              </a:spcBef>
              <a:buNone/>
              <a:defRPr sz="800"/>
            </a:lvl2pPr>
            <a:lvl3pPr marL="0" indent="0" algn="l">
              <a:lnSpc>
                <a:spcPct val="100000"/>
              </a:lnSpc>
              <a:spcBef>
                <a:spcPts val="0"/>
              </a:spcBef>
              <a:buNone/>
              <a:defRPr sz="800"/>
            </a:lvl3pPr>
            <a:lvl4pPr marL="0" algn="l">
              <a:lnSpc>
                <a:spcPct val="100000"/>
              </a:lnSpc>
              <a:spcBef>
                <a:spcPts val="0"/>
              </a:spcBef>
              <a:buNone/>
              <a:defRPr sz="800"/>
            </a:lvl4pPr>
            <a:lvl5pPr marL="0" indent="0" algn="l">
              <a:lnSpc>
                <a:spcPct val="100000"/>
              </a:lnSpc>
              <a:spcBef>
                <a:spcPts val="0"/>
              </a:spcBef>
              <a:buNone/>
              <a:defRPr sz="800"/>
            </a:lvl5pPr>
          </a:lstStyle>
          <a:p>
            <a:pPr lvl="0"/>
            <a:r>
              <a:rPr lang="en-US"/>
              <a:t>Source line</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72021534"/>
      </p:ext>
    </p:extLst>
  </p:cSld>
  <p:clrMapOvr>
    <a:masterClrMapping/>
  </p:clrMapOvr>
</p:sldLayout>
</file>

<file path=ppt/slideLayouts/slideLayout545.xml><?xml version="1.0" encoding="utf-8"?>
<p:sldLayout xmlns:a="http://schemas.openxmlformats.org/drawingml/2006/main" xmlns:r="http://schemas.openxmlformats.org/officeDocument/2006/relationships" xmlns:p="http://schemas.openxmlformats.org/presentationml/2006/main" preserve="1">
  <p:cSld name="Content with full picture">
    <p:spTree>
      <p:nvGrpSpPr>
        <p:cNvPr id="1" name=""/>
        <p:cNvGrpSpPr/>
        <p:nvPr/>
      </p:nvGrpSpPr>
      <p:grpSpPr>
        <a:xfrm>
          <a:off x="0" y="0"/>
          <a:ext cx="0" cy="0"/>
          <a:chOff x="0" y="0"/>
          <a:chExt cx="0" cy="0"/>
        </a:xfrm>
      </p:grpSpPr>
      <p:sp>
        <p:nvSpPr>
          <p:cNvPr id="12" name="Picture Placeholder 11"/>
          <p:cNvSpPr>
            <a:spLocks noGrp="1"/>
          </p:cNvSpPr>
          <p:nvPr>
            <p:ph type="pic" sz="quarter" idx="17" hasCustomPrompt="1"/>
          </p:nvPr>
        </p:nvSpPr>
        <p:spPr>
          <a:xfrm>
            <a:off x="0" y="0"/>
            <a:ext cx="12193200" cy="6858000"/>
          </a:xfrm>
          <a:prstGeom prst="rect">
            <a:avLst/>
          </a:prstGeom>
          <a:solidFill>
            <a:srgbClr val="D9DADB"/>
          </a:solidFill>
        </p:spPr>
        <p:txBody>
          <a:bodyPr wrap="square">
            <a:noAutofit/>
          </a:bodyPr>
          <a:lstStyle>
            <a:lvl1pPr marL="0" indent="0">
              <a:buNone/>
              <a:defRPr/>
            </a:lvl1pPr>
          </a:lstStyle>
          <a:p>
            <a:r>
              <a:rPr lang="en-US"/>
              <a:t>Insert picture</a:t>
            </a:r>
          </a:p>
        </p:txBody>
      </p:sp>
      <p:sp>
        <p:nvSpPr>
          <p:cNvPr id="9" name="copyright"/>
          <p:cNvSpPr txBox="1"/>
          <p:nvPr/>
        </p:nvSpPr>
        <p:spPr>
          <a:xfrm>
            <a:off x="10672209" y="6237288"/>
            <a:ext cx="500617" cy="358173"/>
          </a:xfrm>
          <a:prstGeom prst="rect">
            <a:avLst/>
          </a:prstGeom>
          <a:noFill/>
        </p:spPr>
        <p:txBody>
          <a:bodyPr wrap="none" lIns="0" tIns="0" rIns="0" bIns="0" rtlCol="0" anchor="b" anchorCtr="0">
            <a:noAutofit/>
          </a:bodyPr>
          <a:lstStyle/>
          <a:p>
            <a:pPr marL="0" indent="0" algn="r">
              <a:lnSpc>
                <a:spcPct val="125000"/>
              </a:lnSpc>
              <a:buClr>
                <a:schemeClr val="tx2"/>
              </a:buClr>
              <a:buFont typeface="Wingdings" panose="05000000000000000000" pitchFamily="2" charset="2"/>
              <a:buNone/>
            </a:pPr>
            <a:r>
              <a:rPr lang="en-US" sz="800">
                <a:solidFill>
                  <a:schemeClr val="bg1"/>
                </a:solidFill>
              </a:rPr>
              <a:t>© GfK</a:t>
            </a:r>
          </a:p>
        </p:txBody>
      </p:sp>
      <p:sp>
        <p:nvSpPr>
          <p:cNvPr id="21" name="Date Placeholder 20"/>
          <p:cNvSpPr>
            <a:spLocks noGrp="1"/>
          </p:cNvSpPr>
          <p:nvPr>
            <p:ph type="dt" sz="half" idx="14"/>
          </p:nvPr>
        </p:nvSpPr>
        <p:spPr/>
        <p:txBody>
          <a:bodyPr/>
          <a:lstStyle>
            <a:lvl1pPr>
              <a:defRPr>
                <a:solidFill>
                  <a:schemeClr val="bg1"/>
                </a:solidFill>
              </a:defRPr>
            </a:lvl1pPr>
          </a:lstStyle>
          <a:p>
            <a:fld id="{50FDD96B-8754-4910-8CA2-9F882EDC331D}" type="datetime5">
              <a:rPr lang="en-US" smtClean="0"/>
              <a:t>26-Jun-20</a:t>
            </a:fld>
            <a:endParaRPr lang="en-US"/>
          </a:p>
        </p:txBody>
      </p:sp>
      <p:sp>
        <p:nvSpPr>
          <p:cNvPr id="22" name="Footer Placeholder 21"/>
          <p:cNvSpPr>
            <a:spLocks noGrp="1"/>
          </p:cNvSpPr>
          <p:nvPr>
            <p:ph type="ftr" sz="quarter" idx="15"/>
          </p:nvPr>
        </p:nvSpPr>
        <p:spPr/>
        <p:txBody>
          <a:bodyPr/>
          <a:lstStyle>
            <a:lvl1pPr>
              <a:defRPr>
                <a:solidFill>
                  <a:schemeClr val="bg1"/>
                </a:solidFill>
              </a:defRPr>
            </a:lvl1pPr>
          </a:lstStyle>
          <a:p>
            <a:r>
              <a:rPr lang="en-US"/>
              <a:t>Title of presentation (Insert / Header &amp; Footer / Apply to All)</a:t>
            </a:r>
          </a:p>
        </p:txBody>
      </p:sp>
      <p:sp>
        <p:nvSpPr>
          <p:cNvPr id="23" name="Slide Number Placeholder 22"/>
          <p:cNvSpPr>
            <a:spLocks noGrp="1"/>
          </p:cNvSpPr>
          <p:nvPr>
            <p:ph type="sldNum" sz="quarter" idx="16"/>
          </p:nvPr>
        </p:nvSpPr>
        <p:spPr/>
        <p:txBody>
          <a:bodyPr/>
          <a:lstStyle>
            <a:lvl1pPr>
              <a:defRPr>
                <a:solidFill>
                  <a:schemeClr val="bg1"/>
                </a:solidFill>
              </a:defRPr>
            </a:lvl1pPr>
          </a:lstStyle>
          <a:p>
            <a:fld id="{5F3E29E4-0979-4FCA-B4C5-5FC6044C982A}" type="slidenum">
              <a:rPr lang="en-US" smtClean="0"/>
              <a:pPr/>
              <a:t>‹#›</a:t>
            </a:fld>
            <a:endParaRPr lang="en-US"/>
          </a:p>
        </p:txBody>
      </p:sp>
      <p:sp>
        <p:nvSpPr>
          <p:cNvPr id="2" name="Title 1"/>
          <p:cNvSpPr>
            <a:spLocks noGrp="1"/>
          </p:cNvSpPr>
          <p:nvPr>
            <p:ph type="title" hasCustomPrompt="1"/>
          </p:nvPr>
        </p:nvSpPr>
        <p:spPr>
          <a:xfrm>
            <a:off x="6543675" y="1519552"/>
            <a:ext cx="4629150" cy="4249423"/>
          </a:xfrm>
        </p:spPr>
        <p:txBody>
          <a:bodyPr/>
          <a:lstStyle>
            <a:lvl1pPr>
              <a:defRPr>
                <a:solidFill>
                  <a:schemeClr val="bg1"/>
                </a:solidFill>
              </a:defRPr>
            </a:lvl1pPr>
          </a:lstStyle>
          <a:p>
            <a:r>
              <a:rPr lang="en-US"/>
              <a:t>Click to add text</a:t>
            </a:r>
          </a:p>
        </p:txBody>
      </p:sp>
      <p:sp>
        <p:nvSpPr>
          <p:cNvPr id="8" name="Text Placeholder 4"/>
          <p:cNvSpPr>
            <a:spLocks noGrp="1"/>
          </p:cNvSpPr>
          <p:nvPr>
            <p:ph type="body" sz="quarter" idx="18" hasCustomPrompt="1"/>
          </p:nvPr>
        </p:nvSpPr>
        <p:spPr>
          <a:xfrm>
            <a:off x="1075063" y="6307665"/>
            <a:ext cx="8162717" cy="133200"/>
          </a:xfrm>
        </p:spPr>
        <p:txBody>
          <a:bodyPr lIns="0" tIns="0" rIns="0" bIns="0" anchor="b" anchorCtr="0"/>
          <a:lstStyle>
            <a:lvl1pPr marL="0" indent="0" algn="l">
              <a:lnSpc>
                <a:spcPct val="100000"/>
              </a:lnSpc>
              <a:spcBef>
                <a:spcPts val="0"/>
              </a:spcBef>
              <a:buNone/>
              <a:defRPr sz="800" baseline="0">
                <a:solidFill>
                  <a:schemeClr val="bg1"/>
                </a:solidFill>
              </a:defRPr>
            </a:lvl1pPr>
            <a:lvl2pPr marL="0" indent="0" algn="l">
              <a:lnSpc>
                <a:spcPct val="100000"/>
              </a:lnSpc>
              <a:spcBef>
                <a:spcPts val="0"/>
              </a:spcBef>
              <a:buNone/>
              <a:defRPr sz="800">
                <a:solidFill>
                  <a:schemeClr val="bg1"/>
                </a:solidFill>
              </a:defRPr>
            </a:lvl2pPr>
            <a:lvl3pPr marL="0" indent="0" algn="l">
              <a:lnSpc>
                <a:spcPct val="100000"/>
              </a:lnSpc>
              <a:spcBef>
                <a:spcPts val="0"/>
              </a:spcBef>
              <a:buNone/>
              <a:defRPr sz="800">
                <a:solidFill>
                  <a:schemeClr val="bg1"/>
                </a:solidFill>
              </a:defRPr>
            </a:lvl3pPr>
            <a:lvl4pPr marL="0" algn="l">
              <a:lnSpc>
                <a:spcPct val="100000"/>
              </a:lnSpc>
              <a:spcBef>
                <a:spcPts val="0"/>
              </a:spcBef>
              <a:buNone/>
              <a:defRPr sz="800">
                <a:solidFill>
                  <a:schemeClr val="bg1"/>
                </a:solidFill>
              </a:defRPr>
            </a:lvl4pPr>
            <a:lvl5pPr marL="0" indent="0" algn="l">
              <a:lnSpc>
                <a:spcPct val="100000"/>
              </a:lnSpc>
              <a:spcBef>
                <a:spcPts val="0"/>
              </a:spcBef>
              <a:buNone/>
              <a:defRPr sz="800">
                <a:solidFill>
                  <a:schemeClr val="bg1"/>
                </a:solidFill>
              </a:defRPr>
            </a:lvl5pPr>
          </a:lstStyle>
          <a:p>
            <a:pPr lvl="0"/>
            <a:r>
              <a:rPr lang="en-US"/>
              <a:t>Source line</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9080815"/>
      </p:ext>
    </p:extLst>
  </p:cSld>
  <p:clrMapOvr>
    <a:masterClrMapping/>
  </p:clrMapOvr>
</p:sldLayout>
</file>

<file path=ppt/slideLayouts/slideLayout546.xml><?xml version="1.0" encoding="utf-8"?>
<p:sldLayout xmlns:a="http://schemas.openxmlformats.org/drawingml/2006/main" xmlns:r="http://schemas.openxmlformats.org/officeDocument/2006/relationships" xmlns:p="http://schemas.openxmlformats.org/presentationml/2006/main" preserve="1">
  <p:cSld name="Two pictures">
    <p:spTree>
      <p:nvGrpSpPr>
        <p:cNvPr id="1" name=""/>
        <p:cNvGrpSpPr/>
        <p:nvPr/>
      </p:nvGrpSpPr>
      <p:grpSpPr>
        <a:xfrm>
          <a:off x="0" y="0"/>
          <a:ext cx="0" cy="0"/>
          <a:chOff x="0" y="0"/>
          <a:chExt cx="0" cy="0"/>
        </a:xfrm>
      </p:grpSpPr>
      <p:sp>
        <p:nvSpPr>
          <p:cNvPr id="21" name="Date Placeholder 20"/>
          <p:cNvSpPr>
            <a:spLocks noGrp="1"/>
          </p:cNvSpPr>
          <p:nvPr>
            <p:ph type="dt" sz="half" idx="14"/>
          </p:nvPr>
        </p:nvSpPr>
        <p:spPr/>
        <p:txBody>
          <a:bodyPr/>
          <a:lstStyle/>
          <a:p>
            <a:fld id="{0C2FFEBC-2BB8-4026-95F3-22D358B37101}" type="datetime5">
              <a:rPr lang="en-US" smtClean="0"/>
              <a:t>26-Jun-20</a:t>
            </a:fld>
            <a:endParaRPr lang="en-US"/>
          </a:p>
        </p:txBody>
      </p:sp>
      <p:sp>
        <p:nvSpPr>
          <p:cNvPr id="22" name="Footer Placeholder 21"/>
          <p:cNvSpPr>
            <a:spLocks noGrp="1"/>
          </p:cNvSpPr>
          <p:nvPr>
            <p:ph type="ftr" sz="quarter" idx="15"/>
          </p:nvPr>
        </p:nvSpPr>
        <p:spPr/>
        <p:txBody>
          <a:bodyPr/>
          <a:lstStyle/>
          <a:p>
            <a:r>
              <a:rPr lang="en-US"/>
              <a:t>Title of presentation (Insert / Header &amp; Footer / Apply to All)</a:t>
            </a:r>
          </a:p>
        </p:txBody>
      </p:sp>
      <p:sp>
        <p:nvSpPr>
          <p:cNvPr id="23" name="Slide Number Placeholder 22"/>
          <p:cNvSpPr>
            <a:spLocks noGrp="1"/>
          </p:cNvSpPr>
          <p:nvPr>
            <p:ph type="sldNum" sz="quarter" idx="16"/>
          </p:nvPr>
        </p:nvSpPr>
        <p:spPr/>
        <p:txBody>
          <a:bodyPr/>
          <a:lstStyle/>
          <a:p>
            <a:fld id="{5F3E29E4-0979-4FCA-B4C5-5FC6044C982A}" type="slidenum">
              <a:rPr lang="en-US" smtClean="0"/>
              <a:t>‹#›</a:t>
            </a:fld>
            <a:endParaRPr lang="en-US"/>
          </a:p>
        </p:txBody>
      </p:sp>
      <p:sp>
        <p:nvSpPr>
          <p:cNvPr id="2" name="Title 1"/>
          <p:cNvSpPr>
            <a:spLocks noGrp="1"/>
          </p:cNvSpPr>
          <p:nvPr>
            <p:ph type="title" hasCustomPrompt="1"/>
          </p:nvPr>
        </p:nvSpPr>
        <p:spPr/>
        <p:txBody>
          <a:bodyPr/>
          <a:lstStyle>
            <a:lvl1pPr>
              <a:defRPr/>
            </a:lvl1pPr>
          </a:lstStyle>
          <a:p>
            <a:r>
              <a:rPr lang="en-US"/>
              <a:t>Click to add slide title</a:t>
            </a:r>
          </a:p>
        </p:txBody>
      </p:sp>
      <p:sp>
        <p:nvSpPr>
          <p:cNvPr id="7" name="Subtitle 2"/>
          <p:cNvSpPr>
            <a:spLocks noGrp="1"/>
          </p:cNvSpPr>
          <p:nvPr>
            <p:ph type="subTitle" idx="13" hasCustomPrompt="1"/>
          </p:nvPr>
        </p:nvSpPr>
        <p:spPr>
          <a:xfrm>
            <a:off x="1075061" y="964671"/>
            <a:ext cx="7910158" cy="490042"/>
          </a:xfrm>
        </p:spPr>
        <p:txBody>
          <a:bodyPr wrap="none"/>
          <a:lstStyle>
            <a:lvl1pPr marL="0" indent="0" algn="l">
              <a:spcBef>
                <a:spcPts val="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sp>
        <p:nvSpPr>
          <p:cNvPr id="5" name="Picture Placeholder 4"/>
          <p:cNvSpPr>
            <a:spLocks noGrp="1"/>
          </p:cNvSpPr>
          <p:nvPr>
            <p:ph type="pic" sz="quarter" idx="17" hasCustomPrompt="1"/>
          </p:nvPr>
        </p:nvSpPr>
        <p:spPr>
          <a:xfrm>
            <a:off x="1075062" y="1637783"/>
            <a:ext cx="5220000" cy="4599506"/>
          </a:xfrm>
          <a:solidFill>
            <a:srgbClr val="D9DADB"/>
          </a:solidFill>
        </p:spPr>
        <p:txBody>
          <a:bodyPr/>
          <a:lstStyle>
            <a:lvl1pPr marL="0" indent="0">
              <a:buNone/>
              <a:defRPr/>
            </a:lvl1pPr>
          </a:lstStyle>
          <a:p>
            <a:r>
              <a:rPr lang="en-US"/>
              <a:t>Insert picture</a:t>
            </a:r>
          </a:p>
        </p:txBody>
      </p:sp>
      <p:sp>
        <p:nvSpPr>
          <p:cNvPr id="9" name="Picture Placeholder 4"/>
          <p:cNvSpPr>
            <a:spLocks noGrp="1"/>
          </p:cNvSpPr>
          <p:nvPr>
            <p:ph type="pic" sz="quarter" idx="18" hasCustomPrompt="1"/>
          </p:nvPr>
        </p:nvSpPr>
        <p:spPr>
          <a:xfrm>
            <a:off x="6600525" y="1637783"/>
            <a:ext cx="5220000" cy="4599506"/>
          </a:xfrm>
          <a:solidFill>
            <a:srgbClr val="D9DADB"/>
          </a:solidFill>
        </p:spPr>
        <p:txBody>
          <a:bodyPr/>
          <a:lstStyle>
            <a:lvl1pPr marL="0" indent="0">
              <a:buNone/>
              <a:defRPr/>
            </a:lvl1pPr>
          </a:lstStyle>
          <a:p>
            <a:r>
              <a:rPr lang="en-US"/>
              <a:t>Insert picture</a:t>
            </a:r>
          </a:p>
        </p:txBody>
      </p:sp>
      <p:sp>
        <p:nvSpPr>
          <p:cNvPr id="11" name="Text Placeholder 4"/>
          <p:cNvSpPr>
            <a:spLocks noGrp="1"/>
          </p:cNvSpPr>
          <p:nvPr>
            <p:ph type="body" sz="quarter" idx="19" hasCustomPrompt="1"/>
          </p:nvPr>
        </p:nvSpPr>
        <p:spPr>
          <a:xfrm>
            <a:off x="1075063" y="6307665"/>
            <a:ext cx="8162717" cy="133200"/>
          </a:xfrm>
        </p:spPr>
        <p:txBody>
          <a:bodyPr lIns="0" tIns="0" rIns="0" bIns="0" anchor="b" anchorCtr="0"/>
          <a:lstStyle>
            <a:lvl1pPr marL="0" indent="0" algn="l">
              <a:lnSpc>
                <a:spcPct val="100000"/>
              </a:lnSpc>
              <a:spcBef>
                <a:spcPts val="0"/>
              </a:spcBef>
              <a:buNone/>
              <a:defRPr sz="800" baseline="0"/>
            </a:lvl1pPr>
            <a:lvl2pPr marL="0" indent="0" algn="l">
              <a:lnSpc>
                <a:spcPct val="100000"/>
              </a:lnSpc>
              <a:spcBef>
                <a:spcPts val="0"/>
              </a:spcBef>
              <a:buNone/>
              <a:defRPr sz="800"/>
            </a:lvl2pPr>
            <a:lvl3pPr marL="0" indent="0" algn="l">
              <a:lnSpc>
                <a:spcPct val="100000"/>
              </a:lnSpc>
              <a:spcBef>
                <a:spcPts val="0"/>
              </a:spcBef>
              <a:buNone/>
              <a:defRPr sz="800"/>
            </a:lvl3pPr>
            <a:lvl4pPr marL="0" algn="l">
              <a:lnSpc>
                <a:spcPct val="100000"/>
              </a:lnSpc>
              <a:spcBef>
                <a:spcPts val="0"/>
              </a:spcBef>
              <a:buNone/>
              <a:defRPr sz="800"/>
            </a:lvl4pPr>
            <a:lvl5pPr marL="0" indent="0" algn="l">
              <a:lnSpc>
                <a:spcPct val="100000"/>
              </a:lnSpc>
              <a:spcBef>
                <a:spcPts val="0"/>
              </a:spcBef>
              <a:buNone/>
              <a:defRPr sz="800"/>
            </a:lvl5pPr>
          </a:lstStyle>
          <a:p>
            <a:pPr lvl="0"/>
            <a:r>
              <a:rPr lang="en-US"/>
              <a:t>Source line</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64693349"/>
      </p:ext>
    </p:extLst>
  </p:cSld>
  <p:clrMapOvr>
    <a:masterClrMapping/>
  </p:clrMapOvr>
</p:sldLayout>
</file>

<file path=ppt/slideLayouts/slideLayout547.xml><?xml version="1.0" encoding="utf-8"?>
<p:sldLayout xmlns:a="http://schemas.openxmlformats.org/drawingml/2006/main" xmlns:r="http://schemas.openxmlformats.org/officeDocument/2006/relationships" xmlns:p="http://schemas.openxmlformats.org/presentationml/2006/main" preserve="1">
  <p:cSld name="Two contents">
    <p:spTree>
      <p:nvGrpSpPr>
        <p:cNvPr id="1" name=""/>
        <p:cNvGrpSpPr/>
        <p:nvPr/>
      </p:nvGrpSpPr>
      <p:grpSpPr>
        <a:xfrm>
          <a:off x="0" y="0"/>
          <a:ext cx="0" cy="0"/>
          <a:chOff x="0" y="0"/>
          <a:chExt cx="0" cy="0"/>
        </a:xfrm>
      </p:grpSpPr>
      <p:sp>
        <p:nvSpPr>
          <p:cNvPr id="21" name="Date Placeholder 20"/>
          <p:cNvSpPr>
            <a:spLocks noGrp="1"/>
          </p:cNvSpPr>
          <p:nvPr>
            <p:ph type="dt" sz="half" idx="14"/>
          </p:nvPr>
        </p:nvSpPr>
        <p:spPr/>
        <p:txBody>
          <a:bodyPr/>
          <a:lstStyle/>
          <a:p>
            <a:fld id="{9D45F382-CD09-4611-8552-1549F9F12240}" type="datetime5">
              <a:rPr lang="en-US" smtClean="0"/>
              <a:t>26-Jun-20</a:t>
            </a:fld>
            <a:endParaRPr lang="en-US"/>
          </a:p>
        </p:txBody>
      </p:sp>
      <p:sp>
        <p:nvSpPr>
          <p:cNvPr id="22" name="Footer Placeholder 21"/>
          <p:cNvSpPr>
            <a:spLocks noGrp="1"/>
          </p:cNvSpPr>
          <p:nvPr>
            <p:ph type="ftr" sz="quarter" idx="15"/>
          </p:nvPr>
        </p:nvSpPr>
        <p:spPr/>
        <p:txBody>
          <a:bodyPr/>
          <a:lstStyle/>
          <a:p>
            <a:r>
              <a:rPr lang="en-US"/>
              <a:t>Title of presentation (Insert / Header &amp; Footer / Apply to All)</a:t>
            </a:r>
          </a:p>
        </p:txBody>
      </p:sp>
      <p:sp>
        <p:nvSpPr>
          <p:cNvPr id="23" name="Slide Number Placeholder 22"/>
          <p:cNvSpPr>
            <a:spLocks noGrp="1"/>
          </p:cNvSpPr>
          <p:nvPr>
            <p:ph type="sldNum" sz="quarter" idx="16"/>
          </p:nvPr>
        </p:nvSpPr>
        <p:spPr/>
        <p:txBody>
          <a:bodyPr/>
          <a:lstStyle/>
          <a:p>
            <a:fld id="{5F3E29E4-0979-4FCA-B4C5-5FC6044C982A}" type="slidenum">
              <a:rPr lang="en-US" smtClean="0"/>
              <a:t>‹#›</a:t>
            </a:fld>
            <a:endParaRPr lang="en-US"/>
          </a:p>
        </p:txBody>
      </p:sp>
      <p:sp>
        <p:nvSpPr>
          <p:cNvPr id="2" name="Title 1"/>
          <p:cNvSpPr>
            <a:spLocks noGrp="1"/>
          </p:cNvSpPr>
          <p:nvPr>
            <p:ph type="title" hasCustomPrompt="1"/>
          </p:nvPr>
        </p:nvSpPr>
        <p:spPr/>
        <p:txBody>
          <a:bodyPr/>
          <a:lstStyle>
            <a:lvl1pPr>
              <a:defRPr/>
            </a:lvl1pPr>
          </a:lstStyle>
          <a:p>
            <a:r>
              <a:rPr lang="en-US"/>
              <a:t>Click to add slide title</a:t>
            </a:r>
          </a:p>
        </p:txBody>
      </p:sp>
      <p:sp>
        <p:nvSpPr>
          <p:cNvPr id="7" name="Subtitle 2"/>
          <p:cNvSpPr>
            <a:spLocks noGrp="1"/>
          </p:cNvSpPr>
          <p:nvPr>
            <p:ph type="subTitle" idx="13" hasCustomPrompt="1"/>
          </p:nvPr>
        </p:nvSpPr>
        <p:spPr>
          <a:xfrm>
            <a:off x="1075061" y="964671"/>
            <a:ext cx="7910158" cy="490042"/>
          </a:xfrm>
        </p:spPr>
        <p:txBody>
          <a:bodyPr wrap="none"/>
          <a:lstStyle>
            <a:lvl1pPr marL="0" indent="0" algn="l">
              <a:spcBef>
                <a:spcPts val="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sp>
        <p:nvSpPr>
          <p:cNvPr id="3" name="Content Placeholder 2"/>
          <p:cNvSpPr>
            <a:spLocks noGrp="1"/>
          </p:cNvSpPr>
          <p:nvPr>
            <p:ph idx="1" hasCustomPrompt="1"/>
          </p:nvPr>
        </p:nvSpPr>
        <p:spPr>
          <a:xfrm>
            <a:off x="1075062" y="1629618"/>
            <a:ext cx="5220000" cy="4139357"/>
          </a:xfrm>
        </p:spPr>
        <p:txBody>
          <a:bodyPr/>
          <a:lstStyle>
            <a:lvl1pPr>
              <a:defRPr/>
            </a:lvl1pPr>
          </a:lstStyle>
          <a:p>
            <a:pPr lvl="0"/>
            <a:r>
              <a:rPr lang="en-US"/>
              <a:t>Click to add text or content</a:t>
            </a:r>
          </a:p>
          <a:p>
            <a:pPr lvl="1"/>
            <a:r>
              <a:rPr lang="en-US"/>
              <a:t>Second level</a:t>
            </a:r>
          </a:p>
          <a:p>
            <a:pPr lvl="2"/>
            <a:r>
              <a:rPr lang="en-US"/>
              <a:t>Third level</a:t>
            </a:r>
          </a:p>
          <a:p>
            <a:pPr lvl="3"/>
            <a:r>
              <a:rPr lang="en-US"/>
              <a:t>Fourth level</a:t>
            </a:r>
          </a:p>
          <a:p>
            <a:pPr lvl="4"/>
            <a:r>
              <a:rPr lang="en-US"/>
              <a:t>Fifth level</a:t>
            </a:r>
          </a:p>
        </p:txBody>
      </p:sp>
      <p:sp>
        <p:nvSpPr>
          <p:cNvPr id="9" name="Content Placeholder 2"/>
          <p:cNvSpPr>
            <a:spLocks noGrp="1"/>
          </p:cNvSpPr>
          <p:nvPr>
            <p:ph idx="17" hasCustomPrompt="1"/>
          </p:nvPr>
        </p:nvSpPr>
        <p:spPr>
          <a:xfrm>
            <a:off x="6600525" y="1629618"/>
            <a:ext cx="5220000" cy="4139357"/>
          </a:xfrm>
        </p:spPr>
        <p:txBody>
          <a:bodyPr/>
          <a:lstStyle>
            <a:lvl1pPr>
              <a:defRPr/>
            </a:lvl1pPr>
          </a:lstStyle>
          <a:p>
            <a:pPr lvl="0"/>
            <a:r>
              <a:rPr lang="en-US"/>
              <a:t>Click to add text or content</a:t>
            </a:r>
          </a:p>
          <a:p>
            <a:pPr lvl="1"/>
            <a:r>
              <a:rPr lang="en-US"/>
              <a:t>Second level</a:t>
            </a:r>
          </a:p>
          <a:p>
            <a:pPr lvl="2"/>
            <a:r>
              <a:rPr lang="en-US"/>
              <a:t>Third level</a:t>
            </a:r>
          </a:p>
          <a:p>
            <a:pPr lvl="3"/>
            <a:r>
              <a:rPr lang="en-US"/>
              <a:t>Fourth level</a:t>
            </a:r>
          </a:p>
          <a:p>
            <a:pPr lvl="4"/>
            <a:r>
              <a:rPr lang="en-US"/>
              <a:t>Fifth level</a:t>
            </a:r>
          </a:p>
        </p:txBody>
      </p:sp>
      <p:sp>
        <p:nvSpPr>
          <p:cNvPr id="11" name="Text Placeholder 4"/>
          <p:cNvSpPr>
            <a:spLocks noGrp="1"/>
          </p:cNvSpPr>
          <p:nvPr>
            <p:ph type="body" sz="quarter" idx="18" hasCustomPrompt="1"/>
          </p:nvPr>
        </p:nvSpPr>
        <p:spPr>
          <a:xfrm>
            <a:off x="1075063" y="6307665"/>
            <a:ext cx="8162717" cy="133200"/>
          </a:xfrm>
        </p:spPr>
        <p:txBody>
          <a:bodyPr lIns="0" tIns="0" rIns="0" bIns="0" anchor="b" anchorCtr="0"/>
          <a:lstStyle>
            <a:lvl1pPr marL="0" indent="0" algn="l">
              <a:lnSpc>
                <a:spcPct val="100000"/>
              </a:lnSpc>
              <a:spcBef>
                <a:spcPts val="0"/>
              </a:spcBef>
              <a:buNone/>
              <a:defRPr sz="800" baseline="0"/>
            </a:lvl1pPr>
            <a:lvl2pPr marL="0" indent="0" algn="l">
              <a:lnSpc>
                <a:spcPct val="100000"/>
              </a:lnSpc>
              <a:spcBef>
                <a:spcPts val="0"/>
              </a:spcBef>
              <a:buNone/>
              <a:defRPr sz="800"/>
            </a:lvl2pPr>
            <a:lvl3pPr marL="0" indent="0" algn="l">
              <a:lnSpc>
                <a:spcPct val="100000"/>
              </a:lnSpc>
              <a:spcBef>
                <a:spcPts val="0"/>
              </a:spcBef>
              <a:buNone/>
              <a:defRPr sz="800"/>
            </a:lvl3pPr>
            <a:lvl4pPr marL="0" algn="l">
              <a:lnSpc>
                <a:spcPct val="100000"/>
              </a:lnSpc>
              <a:spcBef>
                <a:spcPts val="0"/>
              </a:spcBef>
              <a:buNone/>
              <a:defRPr sz="800"/>
            </a:lvl4pPr>
            <a:lvl5pPr marL="0" indent="0" algn="l">
              <a:lnSpc>
                <a:spcPct val="100000"/>
              </a:lnSpc>
              <a:spcBef>
                <a:spcPts val="0"/>
              </a:spcBef>
              <a:buNone/>
              <a:defRPr sz="800"/>
            </a:lvl5pPr>
          </a:lstStyle>
          <a:p>
            <a:pPr lvl="0"/>
            <a:r>
              <a:rPr lang="en-US"/>
              <a:t>Source line</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05828431"/>
      </p:ext>
    </p:extLst>
  </p:cSld>
  <p:clrMapOvr>
    <a:masterClrMapping/>
  </p:clrMapOvr>
</p:sldLayout>
</file>

<file path=ppt/slideLayouts/slideLayout548.xml><?xml version="1.0" encoding="utf-8"?>
<p:sldLayout xmlns:a="http://schemas.openxmlformats.org/drawingml/2006/main" xmlns:r="http://schemas.openxmlformats.org/officeDocument/2006/relationships" xmlns:p="http://schemas.openxmlformats.org/presentationml/2006/main" preserve="1">
  <p:cSld name="Three contents">
    <p:spTree>
      <p:nvGrpSpPr>
        <p:cNvPr id="1" name=""/>
        <p:cNvGrpSpPr/>
        <p:nvPr/>
      </p:nvGrpSpPr>
      <p:grpSpPr>
        <a:xfrm>
          <a:off x="0" y="0"/>
          <a:ext cx="0" cy="0"/>
          <a:chOff x="0" y="0"/>
          <a:chExt cx="0" cy="0"/>
        </a:xfrm>
      </p:grpSpPr>
      <p:sp>
        <p:nvSpPr>
          <p:cNvPr id="21" name="Date Placeholder 20"/>
          <p:cNvSpPr>
            <a:spLocks noGrp="1"/>
          </p:cNvSpPr>
          <p:nvPr>
            <p:ph type="dt" sz="half" idx="14"/>
          </p:nvPr>
        </p:nvSpPr>
        <p:spPr/>
        <p:txBody>
          <a:bodyPr/>
          <a:lstStyle/>
          <a:p>
            <a:fld id="{E67FA33E-39D1-4C68-AC07-495881E0A93B}" type="datetime5">
              <a:rPr lang="en-US" smtClean="0"/>
              <a:t>26-Jun-20</a:t>
            </a:fld>
            <a:endParaRPr lang="en-US"/>
          </a:p>
        </p:txBody>
      </p:sp>
      <p:sp>
        <p:nvSpPr>
          <p:cNvPr id="22" name="Footer Placeholder 21"/>
          <p:cNvSpPr>
            <a:spLocks noGrp="1"/>
          </p:cNvSpPr>
          <p:nvPr>
            <p:ph type="ftr" sz="quarter" idx="15"/>
          </p:nvPr>
        </p:nvSpPr>
        <p:spPr/>
        <p:txBody>
          <a:bodyPr/>
          <a:lstStyle/>
          <a:p>
            <a:r>
              <a:rPr lang="en-US"/>
              <a:t>Title of presentation (Insert / Header &amp; Footer / Apply to All)</a:t>
            </a:r>
          </a:p>
        </p:txBody>
      </p:sp>
      <p:sp>
        <p:nvSpPr>
          <p:cNvPr id="23" name="Slide Number Placeholder 22"/>
          <p:cNvSpPr>
            <a:spLocks noGrp="1"/>
          </p:cNvSpPr>
          <p:nvPr>
            <p:ph type="sldNum" sz="quarter" idx="16"/>
          </p:nvPr>
        </p:nvSpPr>
        <p:spPr/>
        <p:txBody>
          <a:bodyPr/>
          <a:lstStyle/>
          <a:p>
            <a:fld id="{5F3E29E4-0979-4FCA-B4C5-5FC6044C982A}" type="slidenum">
              <a:rPr lang="en-US" smtClean="0"/>
              <a:t>‹#›</a:t>
            </a:fld>
            <a:endParaRPr lang="en-US"/>
          </a:p>
        </p:txBody>
      </p:sp>
      <p:sp>
        <p:nvSpPr>
          <p:cNvPr id="2" name="Title 1"/>
          <p:cNvSpPr>
            <a:spLocks noGrp="1"/>
          </p:cNvSpPr>
          <p:nvPr>
            <p:ph type="title" hasCustomPrompt="1"/>
          </p:nvPr>
        </p:nvSpPr>
        <p:spPr/>
        <p:txBody>
          <a:bodyPr/>
          <a:lstStyle>
            <a:lvl1pPr>
              <a:defRPr/>
            </a:lvl1pPr>
          </a:lstStyle>
          <a:p>
            <a:r>
              <a:rPr lang="en-US"/>
              <a:t>Click to add slide title</a:t>
            </a:r>
          </a:p>
        </p:txBody>
      </p:sp>
      <p:sp>
        <p:nvSpPr>
          <p:cNvPr id="7" name="Subtitle 2"/>
          <p:cNvSpPr>
            <a:spLocks noGrp="1"/>
          </p:cNvSpPr>
          <p:nvPr>
            <p:ph type="subTitle" idx="13" hasCustomPrompt="1"/>
          </p:nvPr>
        </p:nvSpPr>
        <p:spPr>
          <a:xfrm>
            <a:off x="1075061" y="964671"/>
            <a:ext cx="7910158" cy="490042"/>
          </a:xfrm>
        </p:spPr>
        <p:txBody>
          <a:bodyPr wrap="none"/>
          <a:lstStyle>
            <a:lvl1pPr marL="0" indent="0" algn="l">
              <a:spcBef>
                <a:spcPts val="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sp>
        <p:nvSpPr>
          <p:cNvPr id="3" name="Content Placeholder 2"/>
          <p:cNvSpPr>
            <a:spLocks noGrp="1"/>
          </p:cNvSpPr>
          <p:nvPr>
            <p:ph idx="1" hasCustomPrompt="1"/>
          </p:nvPr>
        </p:nvSpPr>
        <p:spPr>
          <a:xfrm>
            <a:off x="1075061" y="1629618"/>
            <a:ext cx="3384000" cy="4139357"/>
          </a:xfrm>
        </p:spPr>
        <p:txBody>
          <a:bodyPr/>
          <a:lstStyle>
            <a:lvl1pPr>
              <a:defRPr/>
            </a:lvl1pPr>
          </a:lstStyle>
          <a:p>
            <a:pPr lvl="0"/>
            <a:r>
              <a:rPr lang="en-US"/>
              <a:t>Click to add text or content</a:t>
            </a:r>
          </a:p>
          <a:p>
            <a:pPr lvl="1"/>
            <a:r>
              <a:rPr lang="en-US"/>
              <a:t>Second level</a:t>
            </a:r>
          </a:p>
          <a:p>
            <a:pPr lvl="2"/>
            <a:r>
              <a:rPr lang="en-US"/>
              <a:t>Third level</a:t>
            </a:r>
          </a:p>
          <a:p>
            <a:pPr lvl="3"/>
            <a:r>
              <a:rPr lang="en-US"/>
              <a:t>Fourth level</a:t>
            </a:r>
          </a:p>
          <a:p>
            <a:pPr lvl="4"/>
            <a:r>
              <a:rPr lang="en-US"/>
              <a:t>Fifth level</a:t>
            </a:r>
          </a:p>
        </p:txBody>
      </p:sp>
      <p:sp>
        <p:nvSpPr>
          <p:cNvPr id="9" name="Content Placeholder 2"/>
          <p:cNvSpPr>
            <a:spLocks noGrp="1"/>
          </p:cNvSpPr>
          <p:nvPr>
            <p:ph idx="17" hasCustomPrompt="1"/>
          </p:nvPr>
        </p:nvSpPr>
        <p:spPr>
          <a:xfrm>
            <a:off x="4755793" y="1629618"/>
            <a:ext cx="3384000" cy="4139357"/>
          </a:xfrm>
        </p:spPr>
        <p:txBody>
          <a:bodyPr/>
          <a:lstStyle>
            <a:lvl1pPr>
              <a:defRPr/>
            </a:lvl1pPr>
          </a:lstStyle>
          <a:p>
            <a:pPr lvl="0"/>
            <a:r>
              <a:rPr lang="en-US"/>
              <a:t>Click to add text or content</a:t>
            </a:r>
          </a:p>
          <a:p>
            <a:pPr lvl="1"/>
            <a:r>
              <a:rPr lang="en-US"/>
              <a:t>Second level</a:t>
            </a:r>
          </a:p>
          <a:p>
            <a:pPr lvl="2"/>
            <a:r>
              <a:rPr lang="en-US"/>
              <a:t>Third level</a:t>
            </a:r>
          </a:p>
          <a:p>
            <a:pPr lvl="3"/>
            <a:r>
              <a:rPr lang="en-US"/>
              <a:t>Fourth level</a:t>
            </a:r>
          </a:p>
          <a:p>
            <a:pPr lvl="4"/>
            <a:r>
              <a:rPr lang="en-US"/>
              <a:t>Fifth level</a:t>
            </a:r>
          </a:p>
        </p:txBody>
      </p:sp>
      <p:sp>
        <p:nvSpPr>
          <p:cNvPr id="10" name="Content Placeholder 2"/>
          <p:cNvSpPr>
            <a:spLocks noGrp="1"/>
          </p:cNvSpPr>
          <p:nvPr>
            <p:ph idx="18" hasCustomPrompt="1"/>
          </p:nvPr>
        </p:nvSpPr>
        <p:spPr>
          <a:xfrm>
            <a:off x="8436525" y="1629618"/>
            <a:ext cx="3384000" cy="4139357"/>
          </a:xfrm>
        </p:spPr>
        <p:txBody>
          <a:bodyPr/>
          <a:lstStyle>
            <a:lvl1pPr>
              <a:defRPr/>
            </a:lvl1pPr>
          </a:lstStyle>
          <a:p>
            <a:pPr lvl="0"/>
            <a:r>
              <a:rPr lang="en-US"/>
              <a:t>Click to add text or content</a:t>
            </a:r>
          </a:p>
          <a:p>
            <a:pPr lvl="1"/>
            <a:r>
              <a:rPr lang="en-US"/>
              <a:t>Second level</a:t>
            </a:r>
          </a:p>
          <a:p>
            <a:pPr lvl="2"/>
            <a:r>
              <a:rPr lang="en-US"/>
              <a:t>Third level</a:t>
            </a:r>
          </a:p>
          <a:p>
            <a:pPr lvl="3"/>
            <a:r>
              <a:rPr lang="en-US"/>
              <a:t>Fourth level</a:t>
            </a:r>
          </a:p>
          <a:p>
            <a:pPr lvl="4"/>
            <a:r>
              <a:rPr lang="en-US"/>
              <a:t>Fifth level</a:t>
            </a:r>
          </a:p>
        </p:txBody>
      </p:sp>
      <p:sp>
        <p:nvSpPr>
          <p:cNvPr id="12" name="Text Placeholder 4"/>
          <p:cNvSpPr>
            <a:spLocks noGrp="1"/>
          </p:cNvSpPr>
          <p:nvPr>
            <p:ph type="body" sz="quarter" idx="19" hasCustomPrompt="1"/>
          </p:nvPr>
        </p:nvSpPr>
        <p:spPr>
          <a:xfrm>
            <a:off x="1075063" y="6307665"/>
            <a:ext cx="8162717" cy="133200"/>
          </a:xfrm>
        </p:spPr>
        <p:txBody>
          <a:bodyPr lIns="0" tIns="0" rIns="0" bIns="0" anchor="b" anchorCtr="0"/>
          <a:lstStyle>
            <a:lvl1pPr marL="0" indent="0" algn="l">
              <a:lnSpc>
                <a:spcPct val="100000"/>
              </a:lnSpc>
              <a:spcBef>
                <a:spcPts val="0"/>
              </a:spcBef>
              <a:buNone/>
              <a:defRPr sz="800" baseline="0"/>
            </a:lvl1pPr>
            <a:lvl2pPr marL="0" indent="0" algn="l">
              <a:lnSpc>
                <a:spcPct val="100000"/>
              </a:lnSpc>
              <a:spcBef>
                <a:spcPts val="0"/>
              </a:spcBef>
              <a:buNone/>
              <a:defRPr sz="800"/>
            </a:lvl2pPr>
            <a:lvl3pPr marL="0" indent="0" algn="l">
              <a:lnSpc>
                <a:spcPct val="100000"/>
              </a:lnSpc>
              <a:spcBef>
                <a:spcPts val="0"/>
              </a:spcBef>
              <a:buNone/>
              <a:defRPr sz="800"/>
            </a:lvl3pPr>
            <a:lvl4pPr marL="0" algn="l">
              <a:lnSpc>
                <a:spcPct val="100000"/>
              </a:lnSpc>
              <a:spcBef>
                <a:spcPts val="0"/>
              </a:spcBef>
              <a:buNone/>
              <a:defRPr sz="800"/>
            </a:lvl4pPr>
            <a:lvl5pPr marL="0" indent="0" algn="l">
              <a:lnSpc>
                <a:spcPct val="100000"/>
              </a:lnSpc>
              <a:spcBef>
                <a:spcPts val="0"/>
              </a:spcBef>
              <a:buNone/>
              <a:defRPr sz="800"/>
            </a:lvl5pPr>
          </a:lstStyle>
          <a:p>
            <a:pPr lvl="0"/>
            <a:r>
              <a:rPr lang="en-US"/>
              <a:t>Source line</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7566271"/>
      </p:ext>
    </p:extLst>
  </p:cSld>
  <p:clrMapOvr>
    <a:masterClrMapping/>
  </p:clrMapOvr>
</p:sldLayout>
</file>

<file path=ppt/slideLayouts/slideLayout549.xml><?xml version="1.0" encoding="utf-8"?>
<p:sldLayout xmlns:a="http://schemas.openxmlformats.org/drawingml/2006/main" xmlns:r="http://schemas.openxmlformats.org/officeDocument/2006/relationships" xmlns:p="http://schemas.openxmlformats.org/presentationml/2006/main" preserve="1">
  <p:cSld name="Four contents 1">
    <p:spTree>
      <p:nvGrpSpPr>
        <p:cNvPr id="1" name=""/>
        <p:cNvGrpSpPr/>
        <p:nvPr/>
      </p:nvGrpSpPr>
      <p:grpSpPr>
        <a:xfrm>
          <a:off x="0" y="0"/>
          <a:ext cx="0" cy="0"/>
          <a:chOff x="0" y="0"/>
          <a:chExt cx="0" cy="0"/>
        </a:xfrm>
      </p:grpSpPr>
      <p:sp>
        <p:nvSpPr>
          <p:cNvPr id="21" name="Date Placeholder 20"/>
          <p:cNvSpPr>
            <a:spLocks noGrp="1"/>
          </p:cNvSpPr>
          <p:nvPr>
            <p:ph type="dt" sz="half" idx="14"/>
          </p:nvPr>
        </p:nvSpPr>
        <p:spPr/>
        <p:txBody>
          <a:bodyPr/>
          <a:lstStyle/>
          <a:p>
            <a:fld id="{C2672A55-7139-4AA9-8041-42818C956C2C}" type="datetime5">
              <a:rPr lang="en-US" smtClean="0"/>
              <a:t>26-Jun-20</a:t>
            </a:fld>
            <a:endParaRPr lang="en-US"/>
          </a:p>
        </p:txBody>
      </p:sp>
      <p:sp>
        <p:nvSpPr>
          <p:cNvPr id="22" name="Footer Placeholder 21"/>
          <p:cNvSpPr>
            <a:spLocks noGrp="1"/>
          </p:cNvSpPr>
          <p:nvPr>
            <p:ph type="ftr" sz="quarter" idx="15"/>
          </p:nvPr>
        </p:nvSpPr>
        <p:spPr/>
        <p:txBody>
          <a:bodyPr/>
          <a:lstStyle/>
          <a:p>
            <a:r>
              <a:rPr lang="en-US"/>
              <a:t>Title of presentation (Insert / Header &amp; Footer / Apply to All)</a:t>
            </a:r>
          </a:p>
        </p:txBody>
      </p:sp>
      <p:sp>
        <p:nvSpPr>
          <p:cNvPr id="23" name="Slide Number Placeholder 22"/>
          <p:cNvSpPr>
            <a:spLocks noGrp="1"/>
          </p:cNvSpPr>
          <p:nvPr>
            <p:ph type="sldNum" sz="quarter" idx="16"/>
          </p:nvPr>
        </p:nvSpPr>
        <p:spPr/>
        <p:txBody>
          <a:bodyPr/>
          <a:lstStyle/>
          <a:p>
            <a:fld id="{5F3E29E4-0979-4FCA-B4C5-5FC6044C982A}" type="slidenum">
              <a:rPr lang="en-US" smtClean="0"/>
              <a:t>‹#›</a:t>
            </a:fld>
            <a:endParaRPr lang="en-US"/>
          </a:p>
        </p:txBody>
      </p:sp>
      <p:sp>
        <p:nvSpPr>
          <p:cNvPr id="2" name="Title 1"/>
          <p:cNvSpPr>
            <a:spLocks noGrp="1"/>
          </p:cNvSpPr>
          <p:nvPr>
            <p:ph type="title" hasCustomPrompt="1"/>
          </p:nvPr>
        </p:nvSpPr>
        <p:spPr/>
        <p:txBody>
          <a:bodyPr/>
          <a:lstStyle>
            <a:lvl1pPr>
              <a:defRPr/>
            </a:lvl1pPr>
          </a:lstStyle>
          <a:p>
            <a:r>
              <a:rPr lang="en-US"/>
              <a:t>Click to add slide title</a:t>
            </a:r>
          </a:p>
        </p:txBody>
      </p:sp>
      <p:sp>
        <p:nvSpPr>
          <p:cNvPr id="7" name="Subtitle 2"/>
          <p:cNvSpPr>
            <a:spLocks noGrp="1"/>
          </p:cNvSpPr>
          <p:nvPr>
            <p:ph type="subTitle" idx="13" hasCustomPrompt="1"/>
          </p:nvPr>
        </p:nvSpPr>
        <p:spPr>
          <a:xfrm>
            <a:off x="1075061" y="964671"/>
            <a:ext cx="7910158" cy="490042"/>
          </a:xfrm>
        </p:spPr>
        <p:txBody>
          <a:bodyPr wrap="none"/>
          <a:lstStyle>
            <a:lvl1pPr marL="0" indent="0" algn="l">
              <a:spcBef>
                <a:spcPts val="0"/>
              </a:spcBef>
              <a:buNone/>
              <a:defRPr sz="2400" baseline="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sp>
        <p:nvSpPr>
          <p:cNvPr id="3" name="Content Placeholder 2"/>
          <p:cNvSpPr>
            <a:spLocks noGrp="1"/>
          </p:cNvSpPr>
          <p:nvPr>
            <p:ph idx="1" hasCustomPrompt="1"/>
          </p:nvPr>
        </p:nvSpPr>
        <p:spPr>
          <a:xfrm>
            <a:off x="192088" y="1629618"/>
            <a:ext cx="2682000" cy="4139357"/>
          </a:xfrm>
        </p:spPr>
        <p:txBody>
          <a:bodyPr/>
          <a:lstStyle>
            <a:lvl1pPr>
              <a:defRPr/>
            </a:lvl1pPr>
          </a:lstStyle>
          <a:p>
            <a:pPr lvl="0"/>
            <a:r>
              <a:rPr lang="en-US"/>
              <a:t>Click to add text or content</a:t>
            </a:r>
          </a:p>
          <a:p>
            <a:pPr lvl="1"/>
            <a:r>
              <a:rPr lang="en-US"/>
              <a:t>Second level</a:t>
            </a:r>
          </a:p>
          <a:p>
            <a:pPr lvl="2"/>
            <a:r>
              <a:rPr lang="en-US"/>
              <a:t>Third level</a:t>
            </a:r>
          </a:p>
          <a:p>
            <a:pPr lvl="3"/>
            <a:r>
              <a:rPr lang="en-US"/>
              <a:t>Fourth level</a:t>
            </a:r>
          </a:p>
          <a:p>
            <a:pPr lvl="4"/>
            <a:r>
              <a:rPr lang="en-US"/>
              <a:t>Fifth level</a:t>
            </a:r>
          </a:p>
        </p:txBody>
      </p:sp>
      <p:sp>
        <p:nvSpPr>
          <p:cNvPr id="9" name="Content Placeholder 2"/>
          <p:cNvSpPr>
            <a:spLocks noGrp="1"/>
          </p:cNvSpPr>
          <p:nvPr>
            <p:ph idx="17" hasCustomPrompt="1"/>
          </p:nvPr>
        </p:nvSpPr>
        <p:spPr>
          <a:xfrm>
            <a:off x="3174234" y="1629618"/>
            <a:ext cx="2682000" cy="4139357"/>
          </a:xfrm>
        </p:spPr>
        <p:txBody>
          <a:bodyPr/>
          <a:lstStyle>
            <a:lvl1pPr>
              <a:defRPr/>
            </a:lvl1pPr>
          </a:lstStyle>
          <a:p>
            <a:pPr lvl="0"/>
            <a:r>
              <a:rPr lang="en-US"/>
              <a:t>Click to add text or content</a:t>
            </a:r>
          </a:p>
          <a:p>
            <a:pPr lvl="1"/>
            <a:r>
              <a:rPr lang="en-US"/>
              <a:t>Second level</a:t>
            </a:r>
          </a:p>
          <a:p>
            <a:pPr lvl="2"/>
            <a:r>
              <a:rPr lang="en-US"/>
              <a:t>Third level</a:t>
            </a:r>
          </a:p>
          <a:p>
            <a:pPr lvl="3"/>
            <a:r>
              <a:rPr lang="en-US"/>
              <a:t>Fourth level</a:t>
            </a:r>
          </a:p>
          <a:p>
            <a:pPr lvl="4"/>
            <a:r>
              <a:rPr lang="en-US"/>
              <a:t>Fifth level</a:t>
            </a:r>
          </a:p>
        </p:txBody>
      </p:sp>
      <p:sp>
        <p:nvSpPr>
          <p:cNvPr id="10" name="Content Placeholder 2"/>
          <p:cNvSpPr>
            <a:spLocks noGrp="1"/>
          </p:cNvSpPr>
          <p:nvPr>
            <p:ph idx="18" hasCustomPrompt="1"/>
          </p:nvPr>
        </p:nvSpPr>
        <p:spPr>
          <a:xfrm>
            <a:off x="6156380" y="1629618"/>
            <a:ext cx="2682000" cy="4139357"/>
          </a:xfrm>
        </p:spPr>
        <p:txBody>
          <a:bodyPr/>
          <a:lstStyle>
            <a:lvl1pPr>
              <a:defRPr/>
            </a:lvl1pPr>
          </a:lstStyle>
          <a:p>
            <a:pPr lvl="0"/>
            <a:r>
              <a:rPr lang="en-US"/>
              <a:t>Click to add text or content</a:t>
            </a:r>
          </a:p>
          <a:p>
            <a:pPr lvl="1"/>
            <a:r>
              <a:rPr lang="en-US"/>
              <a:t>Second level</a:t>
            </a:r>
          </a:p>
          <a:p>
            <a:pPr lvl="2"/>
            <a:r>
              <a:rPr lang="en-US"/>
              <a:t>Third level</a:t>
            </a:r>
          </a:p>
          <a:p>
            <a:pPr lvl="3"/>
            <a:r>
              <a:rPr lang="en-US"/>
              <a:t>Fourth level</a:t>
            </a:r>
          </a:p>
          <a:p>
            <a:pPr lvl="4"/>
            <a:r>
              <a:rPr lang="en-US"/>
              <a:t>Fifth level</a:t>
            </a:r>
          </a:p>
        </p:txBody>
      </p:sp>
      <p:sp>
        <p:nvSpPr>
          <p:cNvPr id="13" name="Content Placeholder 2"/>
          <p:cNvSpPr>
            <a:spLocks noGrp="1"/>
          </p:cNvSpPr>
          <p:nvPr>
            <p:ph idx="19" hasCustomPrompt="1"/>
          </p:nvPr>
        </p:nvSpPr>
        <p:spPr>
          <a:xfrm>
            <a:off x="9138525" y="1629618"/>
            <a:ext cx="2682000" cy="4139357"/>
          </a:xfrm>
        </p:spPr>
        <p:txBody>
          <a:bodyPr/>
          <a:lstStyle>
            <a:lvl1pPr>
              <a:defRPr/>
            </a:lvl1pPr>
          </a:lstStyle>
          <a:p>
            <a:pPr lvl="0"/>
            <a:r>
              <a:rPr lang="en-US"/>
              <a:t>Click to add text or content</a:t>
            </a:r>
          </a:p>
          <a:p>
            <a:pPr lvl="1"/>
            <a:r>
              <a:rPr lang="en-US"/>
              <a:t>Second level</a:t>
            </a:r>
          </a:p>
          <a:p>
            <a:pPr lvl="2"/>
            <a:r>
              <a:rPr lang="en-US"/>
              <a:t>Third level</a:t>
            </a:r>
          </a:p>
          <a:p>
            <a:pPr lvl="3"/>
            <a:r>
              <a:rPr lang="en-US"/>
              <a:t>Fourth level</a:t>
            </a:r>
          </a:p>
          <a:p>
            <a:pPr lvl="4"/>
            <a:r>
              <a:rPr lang="en-US"/>
              <a:t>Fifth level</a:t>
            </a:r>
          </a:p>
        </p:txBody>
      </p:sp>
      <p:sp>
        <p:nvSpPr>
          <p:cNvPr id="12" name="Text Placeholder 4"/>
          <p:cNvSpPr>
            <a:spLocks noGrp="1"/>
          </p:cNvSpPr>
          <p:nvPr>
            <p:ph type="body" sz="quarter" idx="20" hasCustomPrompt="1"/>
          </p:nvPr>
        </p:nvSpPr>
        <p:spPr>
          <a:xfrm>
            <a:off x="1075063" y="6307665"/>
            <a:ext cx="8162717" cy="133200"/>
          </a:xfrm>
        </p:spPr>
        <p:txBody>
          <a:bodyPr lIns="0" tIns="0" rIns="0" bIns="0" anchor="b" anchorCtr="0"/>
          <a:lstStyle>
            <a:lvl1pPr marL="0" indent="0" algn="l">
              <a:lnSpc>
                <a:spcPct val="100000"/>
              </a:lnSpc>
              <a:spcBef>
                <a:spcPts val="0"/>
              </a:spcBef>
              <a:buNone/>
              <a:defRPr sz="800" baseline="0"/>
            </a:lvl1pPr>
            <a:lvl2pPr marL="0" indent="0" algn="l">
              <a:lnSpc>
                <a:spcPct val="100000"/>
              </a:lnSpc>
              <a:spcBef>
                <a:spcPts val="0"/>
              </a:spcBef>
              <a:buNone/>
              <a:defRPr sz="800"/>
            </a:lvl2pPr>
            <a:lvl3pPr marL="0" indent="0" algn="l">
              <a:lnSpc>
                <a:spcPct val="100000"/>
              </a:lnSpc>
              <a:spcBef>
                <a:spcPts val="0"/>
              </a:spcBef>
              <a:buNone/>
              <a:defRPr sz="800"/>
            </a:lvl3pPr>
            <a:lvl4pPr marL="0" algn="l">
              <a:lnSpc>
                <a:spcPct val="100000"/>
              </a:lnSpc>
              <a:spcBef>
                <a:spcPts val="0"/>
              </a:spcBef>
              <a:buNone/>
              <a:defRPr sz="800"/>
            </a:lvl4pPr>
            <a:lvl5pPr marL="0" indent="0" algn="l">
              <a:lnSpc>
                <a:spcPct val="100000"/>
              </a:lnSpc>
              <a:spcBef>
                <a:spcPts val="0"/>
              </a:spcBef>
              <a:buNone/>
              <a:defRPr sz="800"/>
            </a:lvl5pPr>
          </a:lstStyle>
          <a:p>
            <a:pPr lvl="0"/>
            <a:r>
              <a:rPr lang="en-US"/>
              <a:t>Source line</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89259888"/>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hree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p>
            <a:r>
              <a:rPr lang="en-US"/>
              <a:t>Click to add headline</a:t>
            </a:r>
          </a:p>
        </p:txBody>
      </p:sp>
      <p:sp>
        <p:nvSpPr>
          <p:cNvPr id="7" name="Textplatzhalter 2"/>
          <p:cNvSpPr>
            <a:spLocks noGrp="1"/>
          </p:cNvSpPr>
          <p:nvPr>
            <p:ph type="body" sz="quarter" idx="11" hasCustomPrompt="1"/>
          </p:nvPr>
        </p:nvSpPr>
        <p:spPr bwMode="gray">
          <a:xfrm>
            <a:off x="431214" y="1220694"/>
            <a:ext cx="11329573" cy="384055"/>
          </a:xfrm>
        </p:spPr>
        <p:txBody>
          <a:bodyPr>
            <a:noAutofit/>
          </a:bodyPr>
          <a:lstStyle>
            <a:lvl1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1pPr>
            <a:lvl2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2pPr>
            <a:lvl3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3pPr>
            <a:lvl4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4pPr>
            <a:lvl5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5pPr>
            <a:lvl6pPr marL="0" indent="0">
              <a:lnSpc>
                <a:spcPct val="100000"/>
              </a:lnSpc>
              <a:spcBef>
                <a:spcPts val="800"/>
              </a:spcBef>
              <a:buNone/>
              <a:defRPr lang="en-GB" sz="2400" kern="1200" noProof="0" smtClean="0">
                <a:solidFill>
                  <a:schemeClr val="tx2"/>
                </a:solidFill>
                <a:latin typeface="Arial" pitchFamily="34" charset="0"/>
                <a:ea typeface="+mn-ea"/>
                <a:cs typeface="Arial" pitchFamily="34" charset="0"/>
              </a:defRPr>
            </a:lvl6pPr>
            <a:lvl7pPr marL="0" indent="0">
              <a:lnSpc>
                <a:spcPct val="100000"/>
              </a:lnSpc>
              <a:spcBef>
                <a:spcPts val="800"/>
              </a:spcBef>
              <a:buNone/>
              <a:defRPr lang="en-GB" sz="2400" kern="1200" noProof="0" smtClean="0">
                <a:solidFill>
                  <a:schemeClr val="tx2"/>
                </a:solidFill>
                <a:latin typeface="Arial" pitchFamily="34" charset="0"/>
                <a:ea typeface="+mn-ea"/>
                <a:cs typeface="Arial" pitchFamily="34" charset="0"/>
              </a:defRPr>
            </a:lvl7pPr>
            <a:lvl8pPr marL="0" indent="0">
              <a:lnSpc>
                <a:spcPct val="100000"/>
              </a:lnSpc>
              <a:spcBef>
                <a:spcPts val="800"/>
              </a:spcBef>
              <a:buNone/>
              <a:defRPr lang="en-GB" sz="2400" kern="1200" noProof="0" smtClean="0">
                <a:solidFill>
                  <a:schemeClr val="tx2"/>
                </a:solidFill>
                <a:latin typeface="Arial" pitchFamily="34" charset="0"/>
                <a:ea typeface="+mn-ea"/>
                <a:cs typeface="Arial" pitchFamily="34" charset="0"/>
              </a:defRPr>
            </a:lvl8pPr>
            <a:lvl9pPr marL="0" indent="0">
              <a:lnSpc>
                <a:spcPct val="100000"/>
              </a:lnSpc>
              <a:spcBef>
                <a:spcPts val="800"/>
              </a:spcBef>
              <a:buNone/>
              <a:defRPr lang="de-DE" sz="2400" kern="1200" noProof="0" smtClean="0">
                <a:solidFill>
                  <a:schemeClr val="tx2"/>
                </a:solidFill>
                <a:latin typeface="Arial" pitchFamily="34" charset="0"/>
                <a:ea typeface="+mn-ea"/>
                <a:cs typeface="Arial" pitchFamily="34" charset="0"/>
              </a:defRPr>
            </a:lvl9pPr>
          </a:lstStyle>
          <a:p>
            <a:pPr lvl="0"/>
            <a:r>
              <a:rPr lang="en-US"/>
              <a:t>Click to add </a:t>
            </a:r>
            <a:r>
              <a:rPr lang="en-US" err="1"/>
              <a:t>subheadline</a:t>
            </a:r>
            <a:endParaRPr lang="en-US"/>
          </a:p>
        </p:txBody>
      </p:sp>
      <p:sp>
        <p:nvSpPr>
          <p:cNvPr id="8" name="Textplatzhalter 3"/>
          <p:cNvSpPr>
            <a:spLocks noGrp="1"/>
          </p:cNvSpPr>
          <p:nvPr>
            <p:ph type="body" sz="quarter" idx="12" hasCustomPrompt="1"/>
          </p:nvPr>
        </p:nvSpPr>
        <p:spPr bwMode="gray">
          <a:xfrm>
            <a:off x="431371" y="6404736"/>
            <a:ext cx="11328400" cy="192616"/>
          </a:xfrm>
        </p:spPr>
        <p:txBody>
          <a:bodyPr tIns="0" bIns="36000" anchor="b" anchorCtr="0">
            <a:noAutofit/>
          </a:bodyPr>
          <a:lstStyle>
            <a:lvl1pPr marL="0" marR="0" indent="0" algn="l" defTabSz="1219170" rtl="0" eaLnBrk="1" fontAlgn="auto" latinLnBrk="0" hangingPunct="1">
              <a:lnSpc>
                <a:spcPct val="100000"/>
              </a:lnSpc>
              <a:spcBef>
                <a:spcPts val="0"/>
              </a:spcBef>
              <a:spcAft>
                <a:spcPts val="0"/>
              </a:spcAft>
              <a:buClrTx/>
              <a:buSzTx/>
              <a:buFont typeface="Arial" pitchFamily="34" charset="0"/>
              <a:buNone/>
              <a:tabLst/>
              <a:defRPr lang="de-DE" sz="1067" kern="1200" baseline="0" noProof="0" smtClean="0">
                <a:solidFill>
                  <a:schemeClr val="bg2"/>
                </a:solidFill>
                <a:latin typeface="Arial" pitchFamily="34" charset="0"/>
                <a:ea typeface="+mn-ea"/>
                <a:cs typeface="Arial" pitchFamily="34" charset="0"/>
              </a:defRPr>
            </a:lvl1pPr>
            <a:lvl2pPr marL="0" indent="0">
              <a:lnSpc>
                <a:spcPct val="100000"/>
              </a:lnSpc>
              <a:spcBef>
                <a:spcPts val="0"/>
              </a:spcBef>
              <a:buFont typeface="Arial" panose="020B0604020202020204" pitchFamily="34" charset="0"/>
              <a:buNone/>
              <a:defRPr lang="de-DE" sz="1067" kern="1200" baseline="0" noProof="0" smtClean="0">
                <a:solidFill>
                  <a:schemeClr val="bg2"/>
                </a:solidFill>
                <a:latin typeface="Arial" pitchFamily="34" charset="0"/>
                <a:ea typeface="+mn-ea"/>
                <a:cs typeface="Arial" pitchFamily="34" charset="0"/>
              </a:defRPr>
            </a:lvl2pPr>
            <a:lvl3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3pPr>
            <a:lvl4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4pPr>
            <a:lvl5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5pPr>
            <a:lvl6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6pPr>
            <a:lvl7pPr marL="0" indent="0">
              <a:lnSpc>
                <a:spcPct val="100000"/>
              </a:lnSpc>
              <a:spcBef>
                <a:spcPts val="0"/>
              </a:spcBef>
              <a:buNone/>
              <a:defRPr lang="de-DE" sz="1067" kern="1200" baseline="0" noProof="0" dirty="0" smtClean="0">
                <a:solidFill>
                  <a:schemeClr val="bg2"/>
                </a:solidFill>
                <a:latin typeface="Arial" pitchFamily="34" charset="0"/>
                <a:ea typeface="+mn-ea"/>
                <a:cs typeface="Arial" pitchFamily="34" charset="0"/>
              </a:defRPr>
            </a:lvl7pPr>
            <a:lvl8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8pPr>
            <a:lvl9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9pPr>
          </a:lstStyle>
          <a:p>
            <a:pPr lvl="0"/>
            <a:r>
              <a:rPr lang="en-US"/>
              <a:t>Click to add source information</a:t>
            </a:r>
          </a:p>
        </p:txBody>
      </p:sp>
      <p:sp>
        <p:nvSpPr>
          <p:cNvPr id="4" name="Content Placeholder 3"/>
          <p:cNvSpPr>
            <a:spLocks noGrp="1"/>
          </p:cNvSpPr>
          <p:nvPr>
            <p:ph sz="quarter" idx="13" hasCustomPrompt="1"/>
          </p:nvPr>
        </p:nvSpPr>
        <p:spPr bwMode="gray">
          <a:xfrm>
            <a:off x="431214" y="1700760"/>
            <a:ext cx="3647604" cy="4609024"/>
          </a:xfrm>
        </p:spPr>
        <p:txBody>
          <a:bodyPr/>
          <a:lstStyle/>
          <a:p>
            <a:pPr lvl="0"/>
            <a:r>
              <a:rPr lang="en-US" noProof="0"/>
              <a:t>Click to add tex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Content Placeholder 10"/>
          <p:cNvSpPr>
            <a:spLocks noGrp="1"/>
          </p:cNvSpPr>
          <p:nvPr>
            <p:ph sz="quarter" idx="14" hasCustomPrompt="1"/>
          </p:nvPr>
        </p:nvSpPr>
        <p:spPr bwMode="gray">
          <a:xfrm>
            <a:off x="4271746" y="1701800"/>
            <a:ext cx="3648508" cy="4607984"/>
          </a:xfrm>
        </p:spPr>
        <p:txBody>
          <a:bodyPr/>
          <a:lstStyle/>
          <a:p>
            <a:pPr lvl="0"/>
            <a:r>
              <a:rPr lang="en-US" noProof="0"/>
              <a:t>Click to add tex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Content Placeholder 12"/>
          <p:cNvSpPr>
            <a:spLocks noGrp="1"/>
          </p:cNvSpPr>
          <p:nvPr>
            <p:ph sz="quarter" idx="15" hasCustomPrompt="1"/>
          </p:nvPr>
        </p:nvSpPr>
        <p:spPr bwMode="gray">
          <a:xfrm>
            <a:off x="8112280" y="1701800"/>
            <a:ext cx="3648507" cy="4607984"/>
          </a:xfrm>
        </p:spPr>
        <p:txBody>
          <a:bodyPr/>
          <a:lstStyle/>
          <a:p>
            <a:pPr lvl="0"/>
            <a:r>
              <a:rPr lang="en-US" noProof="0"/>
              <a:t>Click to add text</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684319591"/>
      </p:ext>
    </p:extLst>
  </p:cSld>
  <p:clrMapOvr>
    <a:masterClrMapping/>
  </p:clrMapOvr>
</p:sldLayout>
</file>

<file path=ppt/slideLayouts/slideLayout550.xml><?xml version="1.0" encoding="utf-8"?>
<p:sldLayout xmlns:a="http://schemas.openxmlformats.org/drawingml/2006/main" xmlns:r="http://schemas.openxmlformats.org/officeDocument/2006/relationships" xmlns:p="http://schemas.openxmlformats.org/presentationml/2006/main" preserve="1">
  <p:cSld name="Four contents 2">
    <p:spTree>
      <p:nvGrpSpPr>
        <p:cNvPr id="1" name=""/>
        <p:cNvGrpSpPr/>
        <p:nvPr/>
      </p:nvGrpSpPr>
      <p:grpSpPr>
        <a:xfrm>
          <a:off x="0" y="0"/>
          <a:ext cx="0" cy="0"/>
          <a:chOff x="0" y="0"/>
          <a:chExt cx="0" cy="0"/>
        </a:xfrm>
      </p:grpSpPr>
      <p:sp>
        <p:nvSpPr>
          <p:cNvPr id="21" name="Date Placeholder 20"/>
          <p:cNvSpPr>
            <a:spLocks noGrp="1"/>
          </p:cNvSpPr>
          <p:nvPr>
            <p:ph type="dt" sz="half" idx="14"/>
          </p:nvPr>
        </p:nvSpPr>
        <p:spPr/>
        <p:txBody>
          <a:bodyPr/>
          <a:lstStyle/>
          <a:p>
            <a:fld id="{C1A94770-6330-463A-BD32-DB4363F98C83}" type="datetime5">
              <a:rPr lang="en-US" smtClean="0"/>
              <a:t>26-Jun-20</a:t>
            </a:fld>
            <a:endParaRPr lang="en-US"/>
          </a:p>
        </p:txBody>
      </p:sp>
      <p:sp>
        <p:nvSpPr>
          <p:cNvPr id="22" name="Footer Placeholder 21"/>
          <p:cNvSpPr>
            <a:spLocks noGrp="1"/>
          </p:cNvSpPr>
          <p:nvPr>
            <p:ph type="ftr" sz="quarter" idx="15"/>
          </p:nvPr>
        </p:nvSpPr>
        <p:spPr/>
        <p:txBody>
          <a:bodyPr/>
          <a:lstStyle/>
          <a:p>
            <a:r>
              <a:rPr lang="en-US"/>
              <a:t>Title of presentation (Insert / Header &amp; Footer / Apply to All)</a:t>
            </a:r>
          </a:p>
        </p:txBody>
      </p:sp>
      <p:sp>
        <p:nvSpPr>
          <p:cNvPr id="23" name="Slide Number Placeholder 22"/>
          <p:cNvSpPr>
            <a:spLocks noGrp="1"/>
          </p:cNvSpPr>
          <p:nvPr>
            <p:ph type="sldNum" sz="quarter" idx="16"/>
          </p:nvPr>
        </p:nvSpPr>
        <p:spPr/>
        <p:txBody>
          <a:bodyPr/>
          <a:lstStyle/>
          <a:p>
            <a:fld id="{5F3E29E4-0979-4FCA-B4C5-5FC6044C982A}" type="slidenum">
              <a:rPr lang="en-US" smtClean="0"/>
              <a:t>‹#›</a:t>
            </a:fld>
            <a:endParaRPr lang="en-US"/>
          </a:p>
        </p:txBody>
      </p:sp>
      <p:sp>
        <p:nvSpPr>
          <p:cNvPr id="2" name="Title 1"/>
          <p:cNvSpPr>
            <a:spLocks noGrp="1"/>
          </p:cNvSpPr>
          <p:nvPr>
            <p:ph type="title" hasCustomPrompt="1"/>
          </p:nvPr>
        </p:nvSpPr>
        <p:spPr/>
        <p:txBody>
          <a:bodyPr/>
          <a:lstStyle>
            <a:lvl1pPr>
              <a:defRPr/>
            </a:lvl1pPr>
          </a:lstStyle>
          <a:p>
            <a:r>
              <a:rPr lang="en-US"/>
              <a:t>Click to add slide title</a:t>
            </a:r>
          </a:p>
        </p:txBody>
      </p:sp>
      <p:sp>
        <p:nvSpPr>
          <p:cNvPr id="7" name="Subtitle 2"/>
          <p:cNvSpPr>
            <a:spLocks noGrp="1"/>
          </p:cNvSpPr>
          <p:nvPr>
            <p:ph type="subTitle" idx="13" hasCustomPrompt="1"/>
          </p:nvPr>
        </p:nvSpPr>
        <p:spPr>
          <a:xfrm>
            <a:off x="1075061" y="964671"/>
            <a:ext cx="7910158" cy="490042"/>
          </a:xfrm>
        </p:spPr>
        <p:txBody>
          <a:bodyPr wrap="none"/>
          <a:lstStyle>
            <a:lvl1pPr marL="0" indent="0" algn="l">
              <a:spcBef>
                <a:spcPts val="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sp>
        <p:nvSpPr>
          <p:cNvPr id="3" name="Content Placeholder 2"/>
          <p:cNvSpPr>
            <a:spLocks noGrp="1"/>
          </p:cNvSpPr>
          <p:nvPr>
            <p:ph idx="1" hasCustomPrompt="1"/>
          </p:nvPr>
        </p:nvSpPr>
        <p:spPr>
          <a:xfrm>
            <a:off x="192088" y="1629617"/>
            <a:ext cx="6102974" cy="2160000"/>
          </a:xfrm>
        </p:spPr>
        <p:txBody>
          <a:bodyPr/>
          <a:lstStyle>
            <a:lvl1pPr>
              <a:defRPr/>
            </a:lvl1pPr>
          </a:lstStyle>
          <a:p>
            <a:pPr lvl="0"/>
            <a:r>
              <a:rPr lang="en-US"/>
              <a:t>Click to add text or content</a:t>
            </a:r>
          </a:p>
          <a:p>
            <a:pPr lvl="1"/>
            <a:r>
              <a:rPr lang="en-US"/>
              <a:t>Second level</a:t>
            </a:r>
          </a:p>
          <a:p>
            <a:pPr lvl="2"/>
            <a:r>
              <a:rPr lang="en-US"/>
              <a:t>Third level</a:t>
            </a:r>
          </a:p>
          <a:p>
            <a:pPr lvl="3"/>
            <a:r>
              <a:rPr lang="en-US"/>
              <a:t>Fourth level</a:t>
            </a:r>
          </a:p>
          <a:p>
            <a:pPr lvl="4"/>
            <a:r>
              <a:rPr lang="en-US"/>
              <a:t>Fifth level</a:t>
            </a:r>
          </a:p>
        </p:txBody>
      </p:sp>
      <p:sp>
        <p:nvSpPr>
          <p:cNvPr id="9" name="Content Placeholder 2"/>
          <p:cNvSpPr>
            <a:spLocks noGrp="1"/>
          </p:cNvSpPr>
          <p:nvPr>
            <p:ph idx="17" hasCustomPrompt="1"/>
          </p:nvPr>
        </p:nvSpPr>
        <p:spPr>
          <a:xfrm>
            <a:off x="6600525" y="1629617"/>
            <a:ext cx="5234144" cy="2160000"/>
          </a:xfrm>
        </p:spPr>
        <p:txBody>
          <a:bodyPr/>
          <a:lstStyle>
            <a:lvl1pPr>
              <a:defRPr/>
            </a:lvl1pPr>
          </a:lstStyle>
          <a:p>
            <a:pPr lvl="0"/>
            <a:r>
              <a:rPr lang="en-US"/>
              <a:t>Click to add text or content</a:t>
            </a:r>
          </a:p>
          <a:p>
            <a:pPr lvl="1"/>
            <a:r>
              <a:rPr lang="en-US"/>
              <a:t>Second level</a:t>
            </a:r>
          </a:p>
          <a:p>
            <a:pPr lvl="2"/>
            <a:r>
              <a:rPr lang="en-US"/>
              <a:t>Third level</a:t>
            </a:r>
          </a:p>
          <a:p>
            <a:pPr lvl="3"/>
            <a:r>
              <a:rPr lang="en-US"/>
              <a:t>Fourth level</a:t>
            </a:r>
          </a:p>
          <a:p>
            <a:pPr lvl="4"/>
            <a:r>
              <a:rPr lang="en-US"/>
              <a:t>Fifth level</a:t>
            </a:r>
          </a:p>
        </p:txBody>
      </p:sp>
      <p:sp>
        <p:nvSpPr>
          <p:cNvPr id="10" name="Content Placeholder 2"/>
          <p:cNvSpPr>
            <a:spLocks noGrp="1"/>
          </p:cNvSpPr>
          <p:nvPr>
            <p:ph idx="18" hasCustomPrompt="1"/>
          </p:nvPr>
        </p:nvSpPr>
        <p:spPr>
          <a:xfrm>
            <a:off x="192088" y="4077289"/>
            <a:ext cx="6102974" cy="2160000"/>
          </a:xfrm>
        </p:spPr>
        <p:txBody>
          <a:bodyPr/>
          <a:lstStyle>
            <a:lvl1pPr>
              <a:defRPr/>
            </a:lvl1pPr>
          </a:lstStyle>
          <a:p>
            <a:pPr lvl="0"/>
            <a:r>
              <a:rPr lang="en-US"/>
              <a:t>Click to add text or content</a:t>
            </a:r>
          </a:p>
          <a:p>
            <a:pPr lvl="1"/>
            <a:r>
              <a:rPr lang="en-US"/>
              <a:t>Second level</a:t>
            </a:r>
          </a:p>
          <a:p>
            <a:pPr lvl="2"/>
            <a:r>
              <a:rPr lang="en-US"/>
              <a:t>Third level</a:t>
            </a:r>
          </a:p>
          <a:p>
            <a:pPr lvl="3"/>
            <a:r>
              <a:rPr lang="en-US"/>
              <a:t>Fourth level</a:t>
            </a:r>
          </a:p>
          <a:p>
            <a:pPr lvl="4"/>
            <a:r>
              <a:rPr lang="en-US"/>
              <a:t>Fifth level</a:t>
            </a:r>
          </a:p>
        </p:txBody>
      </p:sp>
      <p:sp>
        <p:nvSpPr>
          <p:cNvPr id="13" name="Content Placeholder 2"/>
          <p:cNvSpPr>
            <a:spLocks noGrp="1"/>
          </p:cNvSpPr>
          <p:nvPr>
            <p:ph idx="19" hasCustomPrompt="1"/>
          </p:nvPr>
        </p:nvSpPr>
        <p:spPr>
          <a:xfrm>
            <a:off x="6600525" y="4077289"/>
            <a:ext cx="5234144" cy="2160000"/>
          </a:xfrm>
        </p:spPr>
        <p:txBody>
          <a:bodyPr/>
          <a:lstStyle>
            <a:lvl1pPr>
              <a:defRPr/>
            </a:lvl1pPr>
          </a:lstStyle>
          <a:p>
            <a:pPr lvl="0"/>
            <a:r>
              <a:rPr lang="en-US"/>
              <a:t>Click to add text or content</a:t>
            </a:r>
          </a:p>
          <a:p>
            <a:pPr lvl="1"/>
            <a:r>
              <a:rPr lang="en-US"/>
              <a:t>Second level</a:t>
            </a:r>
          </a:p>
          <a:p>
            <a:pPr lvl="2"/>
            <a:r>
              <a:rPr lang="en-US"/>
              <a:t>Third level</a:t>
            </a:r>
          </a:p>
          <a:p>
            <a:pPr lvl="3"/>
            <a:r>
              <a:rPr lang="en-US"/>
              <a:t>Fourth level</a:t>
            </a:r>
          </a:p>
          <a:p>
            <a:pPr lvl="4"/>
            <a:r>
              <a:rPr lang="en-US"/>
              <a:t>Fifth level</a:t>
            </a:r>
          </a:p>
        </p:txBody>
      </p:sp>
      <p:sp>
        <p:nvSpPr>
          <p:cNvPr id="12" name="Text Placeholder 4"/>
          <p:cNvSpPr>
            <a:spLocks noGrp="1"/>
          </p:cNvSpPr>
          <p:nvPr>
            <p:ph type="body" sz="quarter" idx="20" hasCustomPrompt="1"/>
          </p:nvPr>
        </p:nvSpPr>
        <p:spPr>
          <a:xfrm>
            <a:off x="1075063" y="6307665"/>
            <a:ext cx="8162717" cy="133200"/>
          </a:xfrm>
        </p:spPr>
        <p:txBody>
          <a:bodyPr lIns="0" tIns="0" rIns="0" bIns="0" anchor="b" anchorCtr="0"/>
          <a:lstStyle>
            <a:lvl1pPr marL="0" indent="0" algn="l">
              <a:lnSpc>
                <a:spcPct val="100000"/>
              </a:lnSpc>
              <a:spcBef>
                <a:spcPts val="0"/>
              </a:spcBef>
              <a:buNone/>
              <a:defRPr sz="800" baseline="0"/>
            </a:lvl1pPr>
            <a:lvl2pPr marL="0" indent="0" algn="l">
              <a:lnSpc>
                <a:spcPct val="100000"/>
              </a:lnSpc>
              <a:spcBef>
                <a:spcPts val="0"/>
              </a:spcBef>
              <a:buNone/>
              <a:defRPr sz="800"/>
            </a:lvl2pPr>
            <a:lvl3pPr marL="0" indent="0" algn="l">
              <a:lnSpc>
                <a:spcPct val="100000"/>
              </a:lnSpc>
              <a:spcBef>
                <a:spcPts val="0"/>
              </a:spcBef>
              <a:buNone/>
              <a:defRPr sz="800"/>
            </a:lvl3pPr>
            <a:lvl4pPr marL="0" algn="l">
              <a:lnSpc>
                <a:spcPct val="100000"/>
              </a:lnSpc>
              <a:spcBef>
                <a:spcPts val="0"/>
              </a:spcBef>
              <a:buNone/>
              <a:defRPr sz="800"/>
            </a:lvl4pPr>
            <a:lvl5pPr marL="0" indent="0" algn="l">
              <a:lnSpc>
                <a:spcPct val="100000"/>
              </a:lnSpc>
              <a:spcBef>
                <a:spcPts val="0"/>
              </a:spcBef>
              <a:buNone/>
              <a:defRPr sz="800"/>
            </a:lvl5pPr>
          </a:lstStyle>
          <a:p>
            <a:pPr lvl="0"/>
            <a:r>
              <a:rPr lang="en-US"/>
              <a:t>Source line</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882737"/>
      </p:ext>
    </p:extLst>
  </p:cSld>
  <p:clrMapOvr>
    <a:masterClrMapping/>
  </p:clrMapOvr>
</p:sldLayout>
</file>

<file path=ppt/slideLayouts/slideLayout551.xml><?xml version="1.0" encoding="utf-8"?>
<p:sldLayout xmlns:a="http://schemas.openxmlformats.org/drawingml/2006/main" xmlns:r="http://schemas.openxmlformats.org/officeDocument/2006/relationships" xmlns:p="http://schemas.openxmlformats.org/presentationml/2006/main" preserve="1">
  <p:cSld name="Large charts and tables">
    <p:spTree>
      <p:nvGrpSpPr>
        <p:cNvPr id="1" name=""/>
        <p:cNvGrpSpPr/>
        <p:nvPr/>
      </p:nvGrpSpPr>
      <p:grpSpPr>
        <a:xfrm>
          <a:off x="0" y="0"/>
          <a:ext cx="0" cy="0"/>
          <a:chOff x="0" y="0"/>
          <a:chExt cx="0" cy="0"/>
        </a:xfrm>
      </p:grpSpPr>
      <p:sp>
        <p:nvSpPr>
          <p:cNvPr id="21" name="Date Placeholder 20"/>
          <p:cNvSpPr>
            <a:spLocks noGrp="1"/>
          </p:cNvSpPr>
          <p:nvPr>
            <p:ph type="dt" sz="half" idx="14"/>
          </p:nvPr>
        </p:nvSpPr>
        <p:spPr/>
        <p:txBody>
          <a:bodyPr/>
          <a:lstStyle/>
          <a:p>
            <a:fld id="{C8265AAA-10E5-49CF-B48E-DC443F79F14E}" type="datetime5">
              <a:rPr lang="en-US" smtClean="0"/>
              <a:t>26-Jun-20</a:t>
            </a:fld>
            <a:endParaRPr lang="en-US"/>
          </a:p>
        </p:txBody>
      </p:sp>
      <p:sp>
        <p:nvSpPr>
          <p:cNvPr id="22" name="Footer Placeholder 21"/>
          <p:cNvSpPr>
            <a:spLocks noGrp="1"/>
          </p:cNvSpPr>
          <p:nvPr>
            <p:ph type="ftr" sz="quarter" idx="15"/>
          </p:nvPr>
        </p:nvSpPr>
        <p:spPr/>
        <p:txBody>
          <a:bodyPr/>
          <a:lstStyle/>
          <a:p>
            <a:r>
              <a:rPr lang="en-US"/>
              <a:t>Title of presentation (Insert / Header &amp; Footer / Apply to All)</a:t>
            </a:r>
          </a:p>
        </p:txBody>
      </p:sp>
      <p:sp>
        <p:nvSpPr>
          <p:cNvPr id="23" name="Slide Number Placeholder 22"/>
          <p:cNvSpPr>
            <a:spLocks noGrp="1"/>
          </p:cNvSpPr>
          <p:nvPr>
            <p:ph type="sldNum" sz="quarter" idx="16"/>
          </p:nvPr>
        </p:nvSpPr>
        <p:spPr/>
        <p:txBody>
          <a:bodyPr/>
          <a:lstStyle/>
          <a:p>
            <a:fld id="{5F3E29E4-0979-4FCA-B4C5-5FC6044C982A}" type="slidenum">
              <a:rPr lang="en-US" smtClean="0"/>
              <a:t>‹#›</a:t>
            </a:fld>
            <a:endParaRPr lang="en-US"/>
          </a:p>
        </p:txBody>
      </p:sp>
      <p:sp>
        <p:nvSpPr>
          <p:cNvPr id="2" name="Title 1"/>
          <p:cNvSpPr>
            <a:spLocks noGrp="1"/>
          </p:cNvSpPr>
          <p:nvPr>
            <p:ph type="title" hasCustomPrompt="1"/>
          </p:nvPr>
        </p:nvSpPr>
        <p:spPr/>
        <p:txBody>
          <a:bodyPr/>
          <a:lstStyle>
            <a:lvl1pPr>
              <a:defRPr/>
            </a:lvl1pPr>
          </a:lstStyle>
          <a:p>
            <a:r>
              <a:rPr lang="en-US"/>
              <a:t>Click to add slide title</a:t>
            </a:r>
          </a:p>
        </p:txBody>
      </p:sp>
      <p:sp>
        <p:nvSpPr>
          <p:cNvPr id="7" name="Subtitle 2"/>
          <p:cNvSpPr>
            <a:spLocks noGrp="1"/>
          </p:cNvSpPr>
          <p:nvPr>
            <p:ph type="subTitle" idx="13" hasCustomPrompt="1"/>
          </p:nvPr>
        </p:nvSpPr>
        <p:spPr>
          <a:xfrm>
            <a:off x="1075061" y="964671"/>
            <a:ext cx="7910158" cy="490042"/>
          </a:xfrm>
        </p:spPr>
        <p:txBody>
          <a:bodyPr wrap="none"/>
          <a:lstStyle>
            <a:lvl1pPr marL="0" indent="0" algn="l">
              <a:spcBef>
                <a:spcPts val="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sp>
        <p:nvSpPr>
          <p:cNvPr id="3" name="Content Placeholder 2"/>
          <p:cNvSpPr>
            <a:spLocks noGrp="1"/>
          </p:cNvSpPr>
          <p:nvPr>
            <p:ph idx="1" hasCustomPrompt="1"/>
          </p:nvPr>
        </p:nvSpPr>
        <p:spPr>
          <a:xfrm>
            <a:off x="192088" y="1629617"/>
            <a:ext cx="11642581" cy="4599506"/>
          </a:xfrm>
        </p:spPr>
        <p:txBody>
          <a:bodyPr anchor="t"/>
          <a:lstStyle>
            <a:lvl1pPr marL="0" indent="0" algn="ctr">
              <a:spcBef>
                <a:spcPts val="1000"/>
              </a:spcBef>
              <a:buNone/>
              <a:defRPr sz="2800" baseline="0"/>
            </a:lvl1pPr>
            <a:lvl2pPr marL="0" indent="0">
              <a:spcBef>
                <a:spcPts val="1000"/>
              </a:spcBef>
              <a:buNone/>
              <a:defRPr sz="2800"/>
            </a:lvl2pPr>
            <a:lvl3pPr marL="0" indent="0">
              <a:spcBef>
                <a:spcPts val="1000"/>
              </a:spcBef>
              <a:buNone/>
              <a:defRPr sz="2800"/>
            </a:lvl3pPr>
            <a:lvl4pPr>
              <a:spcBef>
                <a:spcPts val="1000"/>
              </a:spcBef>
              <a:buNone/>
              <a:defRPr sz="2800"/>
            </a:lvl4pPr>
            <a:lvl5pPr marL="0" indent="0">
              <a:spcBef>
                <a:spcPts val="1000"/>
              </a:spcBef>
              <a:buNone/>
              <a:defRPr sz="2800"/>
            </a:lvl5pPr>
          </a:lstStyle>
          <a:p>
            <a:pPr lvl="0"/>
            <a:r>
              <a:rPr lang="en-US"/>
              <a:t>Use this layout for large charts and tables only. Please, do not use with text.</a:t>
            </a:r>
          </a:p>
          <a:p>
            <a:pPr lvl="1"/>
            <a:r>
              <a:rPr lang="en-US"/>
              <a:t>Second level</a:t>
            </a:r>
          </a:p>
          <a:p>
            <a:pPr lvl="2"/>
            <a:r>
              <a:rPr lang="en-US"/>
              <a:t>Third level</a:t>
            </a:r>
          </a:p>
          <a:p>
            <a:pPr lvl="3"/>
            <a:r>
              <a:rPr lang="en-US"/>
              <a:t>Fourth level</a:t>
            </a:r>
          </a:p>
          <a:p>
            <a:pPr lvl="4"/>
            <a:r>
              <a:rPr lang="en-US"/>
              <a:t>Fifth level</a:t>
            </a:r>
          </a:p>
        </p:txBody>
      </p:sp>
      <p:sp>
        <p:nvSpPr>
          <p:cNvPr id="9" name="Text Placeholder 4"/>
          <p:cNvSpPr>
            <a:spLocks noGrp="1"/>
          </p:cNvSpPr>
          <p:nvPr>
            <p:ph type="body" sz="quarter" idx="17" hasCustomPrompt="1"/>
          </p:nvPr>
        </p:nvSpPr>
        <p:spPr>
          <a:xfrm>
            <a:off x="1075063" y="6307665"/>
            <a:ext cx="8162717" cy="133200"/>
          </a:xfrm>
        </p:spPr>
        <p:txBody>
          <a:bodyPr lIns="0" tIns="0" rIns="0" bIns="0" anchor="b" anchorCtr="0"/>
          <a:lstStyle>
            <a:lvl1pPr marL="0" indent="0" algn="l">
              <a:lnSpc>
                <a:spcPct val="100000"/>
              </a:lnSpc>
              <a:spcBef>
                <a:spcPts val="0"/>
              </a:spcBef>
              <a:buNone/>
              <a:defRPr sz="800" baseline="0"/>
            </a:lvl1pPr>
            <a:lvl2pPr marL="0" indent="0" algn="l">
              <a:lnSpc>
                <a:spcPct val="100000"/>
              </a:lnSpc>
              <a:spcBef>
                <a:spcPts val="0"/>
              </a:spcBef>
              <a:buNone/>
              <a:defRPr sz="800"/>
            </a:lvl2pPr>
            <a:lvl3pPr marL="0" indent="0" algn="l">
              <a:lnSpc>
                <a:spcPct val="100000"/>
              </a:lnSpc>
              <a:spcBef>
                <a:spcPts val="0"/>
              </a:spcBef>
              <a:buNone/>
              <a:defRPr sz="800"/>
            </a:lvl3pPr>
            <a:lvl4pPr marL="0" algn="l">
              <a:lnSpc>
                <a:spcPct val="100000"/>
              </a:lnSpc>
              <a:spcBef>
                <a:spcPts val="0"/>
              </a:spcBef>
              <a:buNone/>
              <a:defRPr sz="800"/>
            </a:lvl4pPr>
            <a:lvl5pPr marL="0" indent="0" algn="l">
              <a:lnSpc>
                <a:spcPct val="100000"/>
              </a:lnSpc>
              <a:spcBef>
                <a:spcPts val="0"/>
              </a:spcBef>
              <a:buNone/>
              <a:defRPr sz="800"/>
            </a:lvl5pPr>
          </a:lstStyle>
          <a:p>
            <a:pPr lvl="0"/>
            <a:r>
              <a:rPr lang="en-US"/>
              <a:t>Source line</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73359145"/>
      </p:ext>
    </p:extLst>
  </p:cSld>
  <p:clrMapOvr>
    <a:masterClrMapping/>
  </p:clrMapOvr>
</p:sldLayout>
</file>

<file path=ppt/slideLayouts/slideLayout552.xml><?xml version="1.0" encoding="utf-8"?>
<p:sldLayout xmlns:a="http://schemas.openxmlformats.org/drawingml/2006/main" xmlns:r="http://schemas.openxmlformats.org/officeDocument/2006/relationships" xmlns:p="http://schemas.openxmlformats.org/presentationml/2006/main" preserve="1">
  <p:cSld name="Chart with description">
    <p:spTree>
      <p:nvGrpSpPr>
        <p:cNvPr id="1" name=""/>
        <p:cNvGrpSpPr/>
        <p:nvPr/>
      </p:nvGrpSpPr>
      <p:grpSpPr>
        <a:xfrm>
          <a:off x="0" y="0"/>
          <a:ext cx="0" cy="0"/>
          <a:chOff x="0" y="0"/>
          <a:chExt cx="0" cy="0"/>
        </a:xfrm>
      </p:grpSpPr>
      <p:sp>
        <p:nvSpPr>
          <p:cNvPr id="21" name="Date Placeholder 20"/>
          <p:cNvSpPr>
            <a:spLocks noGrp="1"/>
          </p:cNvSpPr>
          <p:nvPr>
            <p:ph type="dt" sz="half" idx="14"/>
          </p:nvPr>
        </p:nvSpPr>
        <p:spPr/>
        <p:txBody>
          <a:bodyPr/>
          <a:lstStyle/>
          <a:p>
            <a:fld id="{7E0CC7EF-9DF0-4DDD-B873-4143C4455B77}" type="datetime5">
              <a:rPr lang="en-US" smtClean="0"/>
              <a:t>26-Jun-20</a:t>
            </a:fld>
            <a:endParaRPr lang="en-US"/>
          </a:p>
        </p:txBody>
      </p:sp>
      <p:sp>
        <p:nvSpPr>
          <p:cNvPr id="22" name="Footer Placeholder 21"/>
          <p:cNvSpPr>
            <a:spLocks noGrp="1"/>
          </p:cNvSpPr>
          <p:nvPr>
            <p:ph type="ftr" sz="quarter" idx="15"/>
          </p:nvPr>
        </p:nvSpPr>
        <p:spPr/>
        <p:txBody>
          <a:bodyPr/>
          <a:lstStyle/>
          <a:p>
            <a:r>
              <a:rPr lang="en-US"/>
              <a:t>Title of presentation (Insert / Header &amp; Footer / Apply to All)</a:t>
            </a:r>
          </a:p>
        </p:txBody>
      </p:sp>
      <p:sp>
        <p:nvSpPr>
          <p:cNvPr id="23" name="Slide Number Placeholder 22"/>
          <p:cNvSpPr>
            <a:spLocks noGrp="1"/>
          </p:cNvSpPr>
          <p:nvPr>
            <p:ph type="sldNum" sz="quarter" idx="16"/>
          </p:nvPr>
        </p:nvSpPr>
        <p:spPr/>
        <p:txBody>
          <a:bodyPr/>
          <a:lstStyle/>
          <a:p>
            <a:fld id="{5F3E29E4-0979-4FCA-B4C5-5FC6044C982A}" type="slidenum">
              <a:rPr lang="en-US" smtClean="0"/>
              <a:t>‹#›</a:t>
            </a:fld>
            <a:endParaRPr lang="en-US"/>
          </a:p>
        </p:txBody>
      </p:sp>
      <p:sp>
        <p:nvSpPr>
          <p:cNvPr id="2" name="Title 1"/>
          <p:cNvSpPr>
            <a:spLocks noGrp="1"/>
          </p:cNvSpPr>
          <p:nvPr>
            <p:ph type="title" hasCustomPrompt="1"/>
          </p:nvPr>
        </p:nvSpPr>
        <p:spPr/>
        <p:txBody>
          <a:bodyPr/>
          <a:lstStyle>
            <a:lvl1pPr>
              <a:defRPr/>
            </a:lvl1pPr>
          </a:lstStyle>
          <a:p>
            <a:r>
              <a:rPr lang="en-US"/>
              <a:t>Click to add slide title</a:t>
            </a:r>
          </a:p>
        </p:txBody>
      </p:sp>
      <p:sp>
        <p:nvSpPr>
          <p:cNvPr id="7" name="Subtitle 2"/>
          <p:cNvSpPr>
            <a:spLocks noGrp="1"/>
          </p:cNvSpPr>
          <p:nvPr>
            <p:ph type="subTitle" idx="13" hasCustomPrompt="1"/>
          </p:nvPr>
        </p:nvSpPr>
        <p:spPr>
          <a:xfrm>
            <a:off x="1075061" y="964671"/>
            <a:ext cx="7910158" cy="490042"/>
          </a:xfrm>
        </p:spPr>
        <p:txBody>
          <a:bodyPr wrap="none"/>
          <a:lstStyle>
            <a:lvl1pPr marL="0" indent="0" algn="l">
              <a:spcBef>
                <a:spcPts val="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sp>
        <p:nvSpPr>
          <p:cNvPr id="4" name="Chart Placeholder 3"/>
          <p:cNvSpPr>
            <a:spLocks noGrp="1"/>
          </p:cNvSpPr>
          <p:nvPr>
            <p:ph type="chart" sz="quarter" idx="17" hasCustomPrompt="1"/>
          </p:nvPr>
        </p:nvSpPr>
        <p:spPr>
          <a:xfrm>
            <a:off x="192088" y="1629617"/>
            <a:ext cx="5903913" cy="4599506"/>
          </a:xfrm>
        </p:spPr>
        <p:txBody>
          <a:bodyPr/>
          <a:lstStyle>
            <a:lvl1pPr>
              <a:defRPr/>
            </a:lvl1pPr>
          </a:lstStyle>
          <a:p>
            <a:r>
              <a:rPr lang="en-US"/>
              <a:t>Click to add chart</a:t>
            </a:r>
          </a:p>
        </p:txBody>
      </p:sp>
      <p:sp>
        <p:nvSpPr>
          <p:cNvPr id="6" name="Text Placeholder 5"/>
          <p:cNvSpPr>
            <a:spLocks noGrp="1"/>
          </p:cNvSpPr>
          <p:nvPr>
            <p:ph type="body" sz="quarter" idx="18" hasCustomPrompt="1"/>
          </p:nvPr>
        </p:nvSpPr>
        <p:spPr>
          <a:xfrm>
            <a:off x="6206067" y="3393019"/>
            <a:ext cx="5628602" cy="2023841"/>
          </a:xfrm>
          <a:solidFill>
            <a:srgbClr val="D9DADB"/>
          </a:solidFill>
        </p:spPr>
        <p:txBody>
          <a:bodyPr lIns="108000" tIns="108000" rIns="108000" bIns="108000"/>
          <a:lstStyle>
            <a:lvl1pPr>
              <a:defRPr sz="1600"/>
            </a:lvl1pPr>
            <a:lvl2pPr>
              <a:defRPr sz="1600"/>
            </a:lvl2pPr>
            <a:lvl3pPr>
              <a:defRPr sz="1600"/>
            </a:lvl3pPr>
            <a:lvl4pPr>
              <a:defRPr sz="1600"/>
            </a:lvl4pPr>
            <a:lvl5pPr>
              <a:defRPr sz="1600"/>
            </a:lvl5pPr>
          </a:lstStyle>
          <a:p>
            <a:pPr lvl="0"/>
            <a:r>
              <a:rPr lang="en-US"/>
              <a:t>Click to add text</a:t>
            </a:r>
          </a:p>
          <a:p>
            <a:pPr lvl="1"/>
            <a:r>
              <a:rPr lang="en-US"/>
              <a:t>Second level</a:t>
            </a:r>
          </a:p>
          <a:p>
            <a:pPr lvl="2"/>
            <a:r>
              <a:rPr lang="en-US"/>
              <a:t>Third level</a:t>
            </a:r>
          </a:p>
          <a:p>
            <a:pPr lvl="3"/>
            <a:r>
              <a:rPr lang="en-US"/>
              <a:t>Fourth level</a:t>
            </a:r>
          </a:p>
          <a:p>
            <a:pPr lvl="4"/>
            <a:r>
              <a:rPr lang="en-US"/>
              <a:t>Fifth level</a:t>
            </a:r>
          </a:p>
        </p:txBody>
      </p:sp>
      <p:sp>
        <p:nvSpPr>
          <p:cNvPr id="10" name="Text Placeholder 4"/>
          <p:cNvSpPr>
            <a:spLocks noGrp="1"/>
          </p:cNvSpPr>
          <p:nvPr>
            <p:ph type="body" sz="quarter" idx="19" hasCustomPrompt="1"/>
          </p:nvPr>
        </p:nvSpPr>
        <p:spPr>
          <a:xfrm>
            <a:off x="1075063" y="6307665"/>
            <a:ext cx="8162717" cy="133200"/>
          </a:xfrm>
        </p:spPr>
        <p:txBody>
          <a:bodyPr lIns="0" tIns="0" rIns="0" bIns="0" anchor="b" anchorCtr="0"/>
          <a:lstStyle>
            <a:lvl1pPr marL="0" indent="0" algn="l">
              <a:lnSpc>
                <a:spcPct val="100000"/>
              </a:lnSpc>
              <a:spcBef>
                <a:spcPts val="0"/>
              </a:spcBef>
              <a:buNone/>
              <a:defRPr sz="800" baseline="0"/>
            </a:lvl1pPr>
            <a:lvl2pPr marL="0" indent="0" algn="l">
              <a:lnSpc>
                <a:spcPct val="100000"/>
              </a:lnSpc>
              <a:spcBef>
                <a:spcPts val="0"/>
              </a:spcBef>
              <a:buNone/>
              <a:defRPr sz="800"/>
            </a:lvl2pPr>
            <a:lvl3pPr marL="0" indent="0" algn="l">
              <a:lnSpc>
                <a:spcPct val="100000"/>
              </a:lnSpc>
              <a:spcBef>
                <a:spcPts val="0"/>
              </a:spcBef>
              <a:buNone/>
              <a:defRPr sz="800"/>
            </a:lvl3pPr>
            <a:lvl4pPr marL="0" algn="l">
              <a:lnSpc>
                <a:spcPct val="100000"/>
              </a:lnSpc>
              <a:spcBef>
                <a:spcPts val="0"/>
              </a:spcBef>
              <a:buNone/>
              <a:defRPr sz="800"/>
            </a:lvl4pPr>
            <a:lvl5pPr marL="0" indent="0" algn="l">
              <a:lnSpc>
                <a:spcPct val="100000"/>
              </a:lnSpc>
              <a:spcBef>
                <a:spcPts val="0"/>
              </a:spcBef>
              <a:buNone/>
              <a:defRPr sz="800"/>
            </a:lvl5pPr>
          </a:lstStyle>
          <a:p>
            <a:pPr lvl="0"/>
            <a:r>
              <a:rPr lang="en-US"/>
              <a:t>Source line</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9682347"/>
      </p:ext>
    </p:extLst>
  </p:cSld>
  <p:clrMapOvr>
    <a:masterClrMapping/>
  </p:clrMapOvr>
</p:sldLayout>
</file>

<file path=ppt/slideLayouts/slideLayout553.xml><?xml version="1.0" encoding="utf-8"?>
<p:sldLayout xmlns:a="http://schemas.openxmlformats.org/drawingml/2006/main" xmlns:r="http://schemas.openxmlformats.org/officeDocument/2006/relationships" xmlns:p="http://schemas.openxmlformats.org/presentationml/2006/main" preserve="1">
  <p:cSld name="Notebook">
    <p:spTree>
      <p:nvGrpSpPr>
        <p:cNvPr id="1" name=""/>
        <p:cNvGrpSpPr/>
        <p:nvPr/>
      </p:nvGrpSpPr>
      <p:grpSpPr>
        <a:xfrm>
          <a:off x="0" y="0"/>
          <a:ext cx="0" cy="0"/>
          <a:chOff x="0" y="0"/>
          <a:chExt cx="0" cy="0"/>
        </a:xfrm>
      </p:grpSpPr>
      <p:pic>
        <p:nvPicPr>
          <p:cNvPr id="13" name="Notebook">
            <a:extLst>
              <a:ext uri="{FF2B5EF4-FFF2-40B4-BE49-F238E27FC236}">
                <a16:creationId xmlns:a16="http://schemas.microsoft.com/office/drawing/2014/main" id="{6DEE1461-64EC-7246-8FA6-71C6BF497627}"/>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3651351" y="1267197"/>
            <a:ext cx="8528460" cy="5161713"/>
          </a:xfrm>
          <a:prstGeom prst="rect">
            <a:avLst/>
          </a:prstGeom>
        </p:spPr>
      </p:pic>
      <p:sp>
        <p:nvSpPr>
          <p:cNvPr id="21" name="Date Placeholder 20"/>
          <p:cNvSpPr>
            <a:spLocks noGrp="1"/>
          </p:cNvSpPr>
          <p:nvPr>
            <p:ph type="dt" sz="half" idx="14"/>
          </p:nvPr>
        </p:nvSpPr>
        <p:spPr/>
        <p:txBody>
          <a:bodyPr/>
          <a:lstStyle/>
          <a:p>
            <a:fld id="{DC5CC4D7-5797-439F-A8BE-F20DB0B4B50C}" type="datetime5">
              <a:rPr lang="en-US" smtClean="0"/>
              <a:t>26-Jun-20</a:t>
            </a:fld>
            <a:endParaRPr lang="en-US"/>
          </a:p>
        </p:txBody>
      </p:sp>
      <p:sp>
        <p:nvSpPr>
          <p:cNvPr id="22" name="Footer Placeholder 21"/>
          <p:cNvSpPr>
            <a:spLocks noGrp="1"/>
          </p:cNvSpPr>
          <p:nvPr>
            <p:ph type="ftr" sz="quarter" idx="15"/>
          </p:nvPr>
        </p:nvSpPr>
        <p:spPr/>
        <p:txBody>
          <a:bodyPr/>
          <a:lstStyle/>
          <a:p>
            <a:r>
              <a:rPr lang="en-US"/>
              <a:t>Title of presentation (Insert / Header &amp; Footer / Apply to All)</a:t>
            </a:r>
          </a:p>
        </p:txBody>
      </p:sp>
      <p:sp>
        <p:nvSpPr>
          <p:cNvPr id="23" name="Slide Number Placeholder 22"/>
          <p:cNvSpPr>
            <a:spLocks noGrp="1"/>
          </p:cNvSpPr>
          <p:nvPr>
            <p:ph type="sldNum" sz="quarter" idx="16"/>
          </p:nvPr>
        </p:nvSpPr>
        <p:spPr/>
        <p:txBody>
          <a:bodyPr/>
          <a:lstStyle/>
          <a:p>
            <a:fld id="{5F3E29E4-0979-4FCA-B4C5-5FC6044C982A}" type="slidenum">
              <a:rPr lang="en-US" smtClean="0"/>
              <a:t>‹#›</a:t>
            </a:fld>
            <a:endParaRPr lang="en-US"/>
          </a:p>
        </p:txBody>
      </p:sp>
      <p:sp>
        <p:nvSpPr>
          <p:cNvPr id="2" name="Title 1"/>
          <p:cNvSpPr>
            <a:spLocks noGrp="1"/>
          </p:cNvSpPr>
          <p:nvPr>
            <p:ph type="title" hasCustomPrompt="1"/>
          </p:nvPr>
        </p:nvSpPr>
        <p:spPr/>
        <p:txBody>
          <a:bodyPr/>
          <a:lstStyle>
            <a:lvl1pPr>
              <a:defRPr/>
            </a:lvl1pPr>
          </a:lstStyle>
          <a:p>
            <a:r>
              <a:rPr lang="en-US"/>
              <a:t>Click to add slide title</a:t>
            </a:r>
          </a:p>
        </p:txBody>
      </p:sp>
      <p:sp>
        <p:nvSpPr>
          <p:cNvPr id="7" name="Subtitle 2"/>
          <p:cNvSpPr>
            <a:spLocks noGrp="1"/>
          </p:cNvSpPr>
          <p:nvPr>
            <p:ph type="subTitle" idx="13" hasCustomPrompt="1"/>
          </p:nvPr>
        </p:nvSpPr>
        <p:spPr>
          <a:xfrm>
            <a:off x="1075061" y="964671"/>
            <a:ext cx="7910158" cy="490042"/>
          </a:xfrm>
        </p:spPr>
        <p:txBody>
          <a:bodyPr wrap="none"/>
          <a:lstStyle>
            <a:lvl1pPr marL="0" indent="0" algn="l">
              <a:spcBef>
                <a:spcPts val="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sp>
        <p:nvSpPr>
          <p:cNvPr id="3" name="Content Placeholder 2"/>
          <p:cNvSpPr>
            <a:spLocks noGrp="1"/>
          </p:cNvSpPr>
          <p:nvPr>
            <p:ph idx="1" hasCustomPrompt="1"/>
          </p:nvPr>
        </p:nvSpPr>
        <p:spPr>
          <a:xfrm>
            <a:off x="1075062" y="1852623"/>
            <a:ext cx="3287388" cy="3658714"/>
          </a:xfrm>
        </p:spPr>
        <p:txBody>
          <a:bodyPr anchor="ctr"/>
          <a:lstStyle>
            <a:lvl1pPr>
              <a:defRPr sz="1600"/>
            </a:lvl1pPr>
            <a:lvl2pPr>
              <a:defRPr sz="1600"/>
            </a:lvl2pPr>
            <a:lvl3pPr>
              <a:defRPr sz="1600"/>
            </a:lvl3pPr>
            <a:lvl4pPr>
              <a:defRPr sz="1600"/>
            </a:lvl4pPr>
            <a:lvl5pPr>
              <a:defRPr sz="1600"/>
            </a:lvl5pPr>
          </a:lstStyle>
          <a:p>
            <a:pPr lvl="0"/>
            <a:r>
              <a:rPr lang="en-US"/>
              <a:t>Click to add text</a:t>
            </a:r>
          </a:p>
          <a:p>
            <a:pPr lvl="1"/>
            <a:r>
              <a:rPr lang="en-US"/>
              <a:t>Second level</a:t>
            </a:r>
          </a:p>
          <a:p>
            <a:pPr lvl="2"/>
            <a:r>
              <a:rPr lang="en-US"/>
              <a:t>Third level</a:t>
            </a:r>
          </a:p>
          <a:p>
            <a:pPr lvl="3"/>
            <a:r>
              <a:rPr lang="en-US"/>
              <a:t>Fourth level</a:t>
            </a:r>
          </a:p>
          <a:p>
            <a:pPr lvl="4"/>
            <a:r>
              <a:rPr lang="en-US"/>
              <a:t>Fifth level</a:t>
            </a:r>
          </a:p>
        </p:txBody>
      </p:sp>
      <p:sp>
        <p:nvSpPr>
          <p:cNvPr id="5" name="Picture Placeholder 4"/>
          <p:cNvSpPr>
            <a:spLocks noGrp="1"/>
          </p:cNvSpPr>
          <p:nvPr>
            <p:ph type="pic" sz="quarter" idx="17" hasCustomPrompt="1"/>
          </p:nvPr>
        </p:nvSpPr>
        <p:spPr>
          <a:xfrm>
            <a:off x="4904507" y="1821610"/>
            <a:ext cx="6001200" cy="3664800"/>
          </a:xfrm>
          <a:solidFill>
            <a:srgbClr val="D9DADB"/>
          </a:solidFill>
        </p:spPr>
        <p:txBody>
          <a:bodyPr/>
          <a:lstStyle>
            <a:lvl1pPr marL="0" indent="0">
              <a:buNone/>
              <a:defRPr/>
            </a:lvl1pPr>
          </a:lstStyle>
          <a:p>
            <a:r>
              <a:rPr lang="en-US"/>
              <a:t>Insert picture</a:t>
            </a:r>
          </a:p>
        </p:txBody>
      </p:sp>
      <p:sp>
        <p:nvSpPr>
          <p:cNvPr id="11" name="Text Placeholder 4"/>
          <p:cNvSpPr>
            <a:spLocks noGrp="1"/>
          </p:cNvSpPr>
          <p:nvPr>
            <p:ph type="body" sz="quarter" idx="18" hasCustomPrompt="1"/>
          </p:nvPr>
        </p:nvSpPr>
        <p:spPr>
          <a:xfrm>
            <a:off x="1075063" y="6307665"/>
            <a:ext cx="8162717" cy="133200"/>
          </a:xfrm>
        </p:spPr>
        <p:txBody>
          <a:bodyPr lIns="0" tIns="0" rIns="0" bIns="0" anchor="b" anchorCtr="0"/>
          <a:lstStyle>
            <a:lvl1pPr marL="0" indent="0" algn="l">
              <a:lnSpc>
                <a:spcPct val="100000"/>
              </a:lnSpc>
              <a:spcBef>
                <a:spcPts val="0"/>
              </a:spcBef>
              <a:buNone/>
              <a:defRPr sz="800" baseline="0"/>
            </a:lvl1pPr>
            <a:lvl2pPr marL="0" indent="0" algn="l">
              <a:lnSpc>
                <a:spcPct val="100000"/>
              </a:lnSpc>
              <a:spcBef>
                <a:spcPts val="0"/>
              </a:spcBef>
              <a:buNone/>
              <a:defRPr sz="800"/>
            </a:lvl2pPr>
            <a:lvl3pPr marL="0" indent="0" algn="l">
              <a:lnSpc>
                <a:spcPct val="100000"/>
              </a:lnSpc>
              <a:spcBef>
                <a:spcPts val="0"/>
              </a:spcBef>
              <a:buNone/>
              <a:defRPr sz="800"/>
            </a:lvl3pPr>
            <a:lvl4pPr marL="0" algn="l">
              <a:lnSpc>
                <a:spcPct val="100000"/>
              </a:lnSpc>
              <a:spcBef>
                <a:spcPts val="0"/>
              </a:spcBef>
              <a:buNone/>
              <a:defRPr sz="800"/>
            </a:lvl4pPr>
            <a:lvl5pPr marL="0" indent="0" algn="l">
              <a:lnSpc>
                <a:spcPct val="100000"/>
              </a:lnSpc>
              <a:spcBef>
                <a:spcPts val="0"/>
              </a:spcBef>
              <a:buNone/>
              <a:defRPr sz="800"/>
            </a:lvl5pPr>
          </a:lstStyle>
          <a:p>
            <a:pPr lvl="0"/>
            <a:r>
              <a:rPr lang="en-US"/>
              <a:t>Source line</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55850791"/>
      </p:ext>
    </p:extLst>
  </p:cSld>
  <p:clrMapOvr>
    <a:masterClrMapping/>
  </p:clrMapOvr>
</p:sldLayout>
</file>

<file path=ppt/slideLayouts/slideLayout554.xml><?xml version="1.0" encoding="utf-8"?>
<p:sldLayout xmlns:a="http://schemas.openxmlformats.org/drawingml/2006/main" xmlns:r="http://schemas.openxmlformats.org/officeDocument/2006/relationships" xmlns:p="http://schemas.openxmlformats.org/presentationml/2006/main" preserve="1">
  <p:cSld name="Tablet">
    <p:spTree>
      <p:nvGrpSpPr>
        <p:cNvPr id="1" name=""/>
        <p:cNvGrpSpPr/>
        <p:nvPr/>
      </p:nvGrpSpPr>
      <p:grpSpPr>
        <a:xfrm>
          <a:off x="0" y="0"/>
          <a:ext cx="0" cy="0"/>
          <a:chOff x="0" y="0"/>
          <a:chExt cx="0" cy="0"/>
        </a:xfrm>
      </p:grpSpPr>
      <p:pic>
        <p:nvPicPr>
          <p:cNvPr id="12" name="Grafik 3">
            <a:extLst>
              <a:ext uri="{FF2B5EF4-FFF2-40B4-BE49-F238E27FC236}">
                <a16:creationId xmlns:a16="http://schemas.microsoft.com/office/drawing/2014/main" id="{1D97A272-8DE5-144D-9076-0F435EC79171}"/>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4422451" y="1441279"/>
            <a:ext cx="6858000" cy="5323585"/>
          </a:xfrm>
          <a:prstGeom prst="rect">
            <a:avLst/>
          </a:prstGeom>
        </p:spPr>
      </p:pic>
      <p:sp>
        <p:nvSpPr>
          <p:cNvPr id="21" name="Date Placeholder 20"/>
          <p:cNvSpPr>
            <a:spLocks noGrp="1"/>
          </p:cNvSpPr>
          <p:nvPr>
            <p:ph type="dt" sz="half" idx="14"/>
          </p:nvPr>
        </p:nvSpPr>
        <p:spPr/>
        <p:txBody>
          <a:bodyPr/>
          <a:lstStyle/>
          <a:p>
            <a:fld id="{22BF40EB-4E4B-4735-9535-C7494D4B38E6}" type="datetime5">
              <a:rPr lang="en-US" smtClean="0"/>
              <a:t>26-Jun-20</a:t>
            </a:fld>
            <a:endParaRPr lang="en-US"/>
          </a:p>
        </p:txBody>
      </p:sp>
      <p:sp>
        <p:nvSpPr>
          <p:cNvPr id="22" name="Footer Placeholder 21"/>
          <p:cNvSpPr>
            <a:spLocks noGrp="1"/>
          </p:cNvSpPr>
          <p:nvPr>
            <p:ph type="ftr" sz="quarter" idx="15"/>
          </p:nvPr>
        </p:nvSpPr>
        <p:spPr/>
        <p:txBody>
          <a:bodyPr/>
          <a:lstStyle/>
          <a:p>
            <a:r>
              <a:rPr lang="en-US"/>
              <a:t>Title of presentation (Insert / Header &amp; Footer / Apply to All)</a:t>
            </a:r>
          </a:p>
        </p:txBody>
      </p:sp>
      <p:sp>
        <p:nvSpPr>
          <p:cNvPr id="23" name="Slide Number Placeholder 22"/>
          <p:cNvSpPr>
            <a:spLocks noGrp="1"/>
          </p:cNvSpPr>
          <p:nvPr>
            <p:ph type="sldNum" sz="quarter" idx="16"/>
          </p:nvPr>
        </p:nvSpPr>
        <p:spPr/>
        <p:txBody>
          <a:bodyPr/>
          <a:lstStyle/>
          <a:p>
            <a:fld id="{5F3E29E4-0979-4FCA-B4C5-5FC6044C982A}" type="slidenum">
              <a:rPr lang="en-US" smtClean="0"/>
              <a:t>‹#›</a:t>
            </a:fld>
            <a:endParaRPr lang="en-US"/>
          </a:p>
        </p:txBody>
      </p:sp>
      <p:sp>
        <p:nvSpPr>
          <p:cNvPr id="2" name="Title 1"/>
          <p:cNvSpPr>
            <a:spLocks noGrp="1"/>
          </p:cNvSpPr>
          <p:nvPr>
            <p:ph type="title" hasCustomPrompt="1"/>
          </p:nvPr>
        </p:nvSpPr>
        <p:spPr/>
        <p:txBody>
          <a:bodyPr/>
          <a:lstStyle>
            <a:lvl1pPr>
              <a:defRPr/>
            </a:lvl1pPr>
          </a:lstStyle>
          <a:p>
            <a:r>
              <a:rPr lang="en-US"/>
              <a:t>Click to add slide title</a:t>
            </a:r>
          </a:p>
        </p:txBody>
      </p:sp>
      <p:sp>
        <p:nvSpPr>
          <p:cNvPr id="7" name="Subtitle 2"/>
          <p:cNvSpPr>
            <a:spLocks noGrp="1"/>
          </p:cNvSpPr>
          <p:nvPr>
            <p:ph type="subTitle" idx="13" hasCustomPrompt="1"/>
          </p:nvPr>
        </p:nvSpPr>
        <p:spPr>
          <a:xfrm>
            <a:off x="1075061" y="964671"/>
            <a:ext cx="7910158" cy="490042"/>
          </a:xfrm>
        </p:spPr>
        <p:txBody>
          <a:bodyPr wrap="none"/>
          <a:lstStyle>
            <a:lvl1pPr marL="0" indent="0" algn="l">
              <a:spcBef>
                <a:spcPts val="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sp>
        <p:nvSpPr>
          <p:cNvPr id="3" name="Content Placeholder 2"/>
          <p:cNvSpPr>
            <a:spLocks noGrp="1"/>
          </p:cNvSpPr>
          <p:nvPr>
            <p:ph idx="1" hasCustomPrompt="1"/>
          </p:nvPr>
        </p:nvSpPr>
        <p:spPr>
          <a:xfrm>
            <a:off x="1075062" y="1852623"/>
            <a:ext cx="3287388" cy="3658714"/>
          </a:xfrm>
        </p:spPr>
        <p:txBody>
          <a:bodyPr anchor="ctr"/>
          <a:lstStyle>
            <a:lvl1pPr>
              <a:defRPr sz="1600"/>
            </a:lvl1pPr>
            <a:lvl2pPr>
              <a:defRPr sz="1600"/>
            </a:lvl2pPr>
            <a:lvl3pPr>
              <a:defRPr sz="1600"/>
            </a:lvl3pPr>
            <a:lvl4pPr>
              <a:defRPr sz="1600"/>
            </a:lvl4pPr>
            <a:lvl5pPr>
              <a:defRPr sz="1600"/>
            </a:lvl5pPr>
          </a:lstStyle>
          <a:p>
            <a:pPr lvl="0"/>
            <a:r>
              <a:rPr lang="en-US"/>
              <a:t>Click to add text</a:t>
            </a:r>
          </a:p>
          <a:p>
            <a:pPr lvl="1"/>
            <a:r>
              <a:rPr lang="en-US"/>
              <a:t>Second level</a:t>
            </a:r>
          </a:p>
          <a:p>
            <a:pPr lvl="2"/>
            <a:r>
              <a:rPr lang="en-US"/>
              <a:t>Third level</a:t>
            </a:r>
          </a:p>
          <a:p>
            <a:pPr lvl="3"/>
            <a:r>
              <a:rPr lang="en-US"/>
              <a:t>Fourth level</a:t>
            </a:r>
          </a:p>
          <a:p>
            <a:pPr lvl="4"/>
            <a:r>
              <a:rPr lang="en-US"/>
              <a:t>Fifth level</a:t>
            </a:r>
          </a:p>
        </p:txBody>
      </p:sp>
      <p:sp>
        <p:nvSpPr>
          <p:cNvPr id="5" name="Picture Placeholder 4"/>
          <p:cNvSpPr>
            <a:spLocks noGrp="1"/>
          </p:cNvSpPr>
          <p:nvPr>
            <p:ph type="pic" sz="quarter" idx="17" hasCustomPrompt="1"/>
          </p:nvPr>
        </p:nvSpPr>
        <p:spPr>
          <a:xfrm>
            <a:off x="5135561" y="2010934"/>
            <a:ext cx="5491064" cy="3428280"/>
          </a:xfrm>
          <a:solidFill>
            <a:srgbClr val="D9DADB"/>
          </a:solidFill>
        </p:spPr>
        <p:txBody>
          <a:bodyPr/>
          <a:lstStyle>
            <a:lvl1pPr marL="0" indent="0">
              <a:buNone/>
              <a:defRPr/>
            </a:lvl1pPr>
          </a:lstStyle>
          <a:p>
            <a:r>
              <a:rPr lang="en-US"/>
              <a:t>Insert picture</a:t>
            </a:r>
          </a:p>
        </p:txBody>
      </p:sp>
      <p:sp>
        <p:nvSpPr>
          <p:cNvPr id="11" name="Text Placeholder 4"/>
          <p:cNvSpPr>
            <a:spLocks noGrp="1"/>
          </p:cNvSpPr>
          <p:nvPr>
            <p:ph type="body" sz="quarter" idx="18" hasCustomPrompt="1"/>
          </p:nvPr>
        </p:nvSpPr>
        <p:spPr>
          <a:xfrm>
            <a:off x="1075063" y="6307665"/>
            <a:ext cx="8162717" cy="133200"/>
          </a:xfrm>
        </p:spPr>
        <p:txBody>
          <a:bodyPr lIns="0" tIns="0" rIns="0" bIns="0" anchor="b" anchorCtr="0"/>
          <a:lstStyle>
            <a:lvl1pPr marL="0" indent="0" algn="l">
              <a:lnSpc>
                <a:spcPct val="100000"/>
              </a:lnSpc>
              <a:spcBef>
                <a:spcPts val="0"/>
              </a:spcBef>
              <a:buNone/>
              <a:defRPr sz="800" baseline="0"/>
            </a:lvl1pPr>
            <a:lvl2pPr marL="0" indent="0" algn="l">
              <a:lnSpc>
                <a:spcPct val="100000"/>
              </a:lnSpc>
              <a:spcBef>
                <a:spcPts val="0"/>
              </a:spcBef>
              <a:buNone/>
              <a:defRPr sz="800"/>
            </a:lvl2pPr>
            <a:lvl3pPr marL="0" indent="0" algn="l">
              <a:lnSpc>
                <a:spcPct val="100000"/>
              </a:lnSpc>
              <a:spcBef>
                <a:spcPts val="0"/>
              </a:spcBef>
              <a:buNone/>
              <a:defRPr sz="800"/>
            </a:lvl3pPr>
            <a:lvl4pPr marL="0" algn="l">
              <a:lnSpc>
                <a:spcPct val="100000"/>
              </a:lnSpc>
              <a:spcBef>
                <a:spcPts val="0"/>
              </a:spcBef>
              <a:buNone/>
              <a:defRPr sz="800"/>
            </a:lvl4pPr>
            <a:lvl5pPr marL="0" indent="0" algn="l">
              <a:lnSpc>
                <a:spcPct val="100000"/>
              </a:lnSpc>
              <a:spcBef>
                <a:spcPts val="0"/>
              </a:spcBef>
              <a:buNone/>
              <a:defRPr sz="800"/>
            </a:lvl5pPr>
          </a:lstStyle>
          <a:p>
            <a:pPr lvl="0"/>
            <a:r>
              <a:rPr lang="en-US"/>
              <a:t>Source line</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25275289"/>
      </p:ext>
    </p:extLst>
  </p:cSld>
  <p:clrMapOvr>
    <a:masterClrMapping/>
  </p:clrMapOvr>
</p:sldLayout>
</file>

<file path=ppt/slideLayouts/slideLayout555.xml><?xml version="1.0" encoding="utf-8"?>
<p:sldLayout xmlns:a="http://schemas.openxmlformats.org/drawingml/2006/main" xmlns:r="http://schemas.openxmlformats.org/officeDocument/2006/relationships" xmlns:p="http://schemas.openxmlformats.org/presentationml/2006/main" preserve="1">
  <p:cSld name="Smartphone">
    <p:spTree>
      <p:nvGrpSpPr>
        <p:cNvPr id="1" name=""/>
        <p:cNvGrpSpPr/>
        <p:nvPr/>
      </p:nvGrpSpPr>
      <p:grpSpPr>
        <a:xfrm>
          <a:off x="0" y="0"/>
          <a:ext cx="0" cy="0"/>
          <a:chOff x="0" y="0"/>
          <a:chExt cx="0" cy="0"/>
        </a:xfrm>
      </p:grpSpPr>
      <p:pic>
        <p:nvPicPr>
          <p:cNvPr id="10" name="Grafik 2">
            <a:extLst>
              <a:ext uri="{FF2B5EF4-FFF2-40B4-BE49-F238E27FC236}">
                <a16:creationId xmlns:a16="http://schemas.microsoft.com/office/drawing/2014/main" id="{6421FD8A-F5D4-E041-A727-98ABA693B1A7}"/>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5472449" y="1362516"/>
            <a:ext cx="4953000" cy="4865134"/>
          </a:xfrm>
          <a:prstGeom prst="rect">
            <a:avLst/>
          </a:prstGeom>
          <a:effectLst>
            <a:reflection blurRad="6350" stA="48000" endPos="6000" dir="5400000" sy="-100000" algn="bl" rotWithShape="0"/>
          </a:effectLst>
        </p:spPr>
      </p:pic>
      <p:sp>
        <p:nvSpPr>
          <p:cNvPr id="21" name="Date Placeholder 20"/>
          <p:cNvSpPr>
            <a:spLocks noGrp="1"/>
          </p:cNvSpPr>
          <p:nvPr>
            <p:ph type="dt" sz="half" idx="14"/>
          </p:nvPr>
        </p:nvSpPr>
        <p:spPr/>
        <p:txBody>
          <a:bodyPr/>
          <a:lstStyle/>
          <a:p>
            <a:fld id="{3A57DC1E-3194-45CD-A5C4-CC4893251E0F}" type="datetime5">
              <a:rPr lang="en-US" smtClean="0"/>
              <a:t>26-Jun-20</a:t>
            </a:fld>
            <a:endParaRPr lang="en-US"/>
          </a:p>
        </p:txBody>
      </p:sp>
      <p:sp>
        <p:nvSpPr>
          <p:cNvPr id="22" name="Footer Placeholder 21"/>
          <p:cNvSpPr>
            <a:spLocks noGrp="1"/>
          </p:cNvSpPr>
          <p:nvPr>
            <p:ph type="ftr" sz="quarter" idx="15"/>
          </p:nvPr>
        </p:nvSpPr>
        <p:spPr/>
        <p:txBody>
          <a:bodyPr/>
          <a:lstStyle/>
          <a:p>
            <a:r>
              <a:rPr lang="en-US"/>
              <a:t>Title of presentation (Insert / Header &amp; Footer / Apply to All)</a:t>
            </a:r>
          </a:p>
        </p:txBody>
      </p:sp>
      <p:sp>
        <p:nvSpPr>
          <p:cNvPr id="23" name="Slide Number Placeholder 22"/>
          <p:cNvSpPr>
            <a:spLocks noGrp="1"/>
          </p:cNvSpPr>
          <p:nvPr>
            <p:ph type="sldNum" sz="quarter" idx="16"/>
          </p:nvPr>
        </p:nvSpPr>
        <p:spPr/>
        <p:txBody>
          <a:bodyPr/>
          <a:lstStyle/>
          <a:p>
            <a:fld id="{5F3E29E4-0979-4FCA-B4C5-5FC6044C982A}" type="slidenum">
              <a:rPr lang="en-US" smtClean="0"/>
              <a:t>‹#›</a:t>
            </a:fld>
            <a:endParaRPr lang="en-US"/>
          </a:p>
        </p:txBody>
      </p:sp>
      <p:sp>
        <p:nvSpPr>
          <p:cNvPr id="2" name="Title 1"/>
          <p:cNvSpPr>
            <a:spLocks noGrp="1"/>
          </p:cNvSpPr>
          <p:nvPr>
            <p:ph type="title" hasCustomPrompt="1"/>
          </p:nvPr>
        </p:nvSpPr>
        <p:spPr/>
        <p:txBody>
          <a:bodyPr/>
          <a:lstStyle>
            <a:lvl1pPr>
              <a:defRPr/>
            </a:lvl1pPr>
          </a:lstStyle>
          <a:p>
            <a:r>
              <a:rPr lang="en-US"/>
              <a:t>Click to add slide title</a:t>
            </a:r>
          </a:p>
        </p:txBody>
      </p:sp>
      <p:sp>
        <p:nvSpPr>
          <p:cNvPr id="7" name="Subtitle 2"/>
          <p:cNvSpPr>
            <a:spLocks noGrp="1"/>
          </p:cNvSpPr>
          <p:nvPr>
            <p:ph type="subTitle" idx="13" hasCustomPrompt="1"/>
          </p:nvPr>
        </p:nvSpPr>
        <p:spPr>
          <a:xfrm>
            <a:off x="1075061" y="964671"/>
            <a:ext cx="7910158" cy="490042"/>
          </a:xfrm>
        </p:spPr>
        <p:txBody>
          <a:bodyPr wrap="none"/>
          <a:lstStyle>
            <a:lvl1pPr marL="0" indent="0" algn="l">
              <a:spcBef>
                <a:spcPts val="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sp>
        <p:nvSpPr>
          <p:cNvPr id="3" name="Content Placeholder 2"/>
          <p:cNvSpPr>
            <a:spLocks noGrp="1"/>
          </p:cNvSpPr>
          <p:nvPr>
            <p:ph idx="1" hasCustomPrompt="1"/>
          </p:nvPr>
        </p:nvSpPr>
        <p:spPr>
          <a:xfrm>
            <a:off x="1075061" y="1852623"/>
            <a:ext cx="5241071" cy="3658714"/>
          </a:xfrm>
        </p:spPr>
        <p:txBody>
          <a:bodyPr anchor="ctr"/>
          <a:lstStyle>
            <a:lvl1pPr>
              <a:defRPr sz="1600"/>
            </a:lvl1pPr>
            <a:lvl2pPr>
              <a:defRPr sz="1600"/>
            </a:lvl2pPr>
            <a:lvl3pPr>
              <a:defRPr sz="1600"/>
            </a:lvl3pPr>
            <a:lvl4pPr>
              <a:defRPr sz="1600"/>
            </a:lvl4pPr>
            <a:lvl5pPr>
              <a:defRPr sz="1600"/>
            </a:lvl5pPr>
          </a:lstStyle>
          <a:p>
            <a:pPr lvl="0"/>
            <a:r>
              <a:rPr lang="en-US"/>
              <a:t>Click to add text</a:t>
            </a:r>
          </a:p>
          <a:p>
            <a:pPr lvl="1"/>
            <a:r>
              <a:rPr lang="en-US"/>
              <a:t>Second level</a:t>
            </a:r>
          </a:p>
          <a:p>
            <a:pPr lvl="2"/>
            <a:r>
              <a:rPr lang="en-US"/>
              <a:t>Third level</a:t>
            </a:r>
          </a:p>
          <a:p>
            <a:pPr lvl="3"/>
            <a:r>
              <a:rPr lang="en-US"/>
              <a:t>Fourth level</a:t>
            </a:r>
          </a:p>
          <a:p>
            <a:pPr lvl="4"/>
            <a:r>
              <a:rPr lang="en-US"/>
              <a:t>Fifth level</a:t>
            </a:r>
          </a:p>
        </p:txBody>
      </p:sp>
      <p:sp>
        <p:nvSpPr>
          <p:cNvPr id="5" name="Picture Placeholder 4"/>
          <p:cNvSpPr>
            <a:spLocks noGrp="1"/>
          </p:cNvSpPr>
          <p:nvPr>
            <p:ph type="pic" sz="quarter" idx="17" hasCustomPrompt="1"/>
          </p:nvPr>
        </p:nvSpPr>
        <p:spPr>
          <a:xfrm>
            <a:off x="6923531" y="1784822"/>
            <a:ext cx="2006654" cy="4104000"/>
          </a:xfrm>
          <a:solidFill>
            <a:srgbClr val="D9DADB"/>
          </a:solidFill>
        </p:spPr>
        <p:txBody>
          <a:bodyPr/>
          <a:lstStyle>
            <a:lvl1pPr marL="0" indent="0">
              <a:buNone/>
              <a:defRPr/>
            </a:lvl1pPr>
          </a:lstStyle>
          <a:p>
            <a:r>
              <a:rPr lang="en-US"/>
              <a:t>Insert picture</a:t>
            </a:r>
          </a:p>
        </p:txBody>
      </p:sp>
      <p:sp>
        <p:nvSpPr>
          <p:cNvPr id="12" name="Text Placeholder 4"/>
          <p:cNvSpPr>
            <a:spLocks noGrp="1"/>
          </p:cNvSpPr>
          <p:nvPr>
            <p:ph type="body" sz="quarter" idx="18" hasCustomPrompt="1"/>
          </p:nvPr>
        </p:nvSpPr>
        <p:spPr>
          <a:xfrm>
            <a:off x="1075063" y="6307665"/>
            <a:ext cx="8162717" cy="133200"/>
          </a:xfrm>
        </p:spPr>
        <p:txBody>
          <a:bodyPr lIns="0" tIns="0" rIns="0" bIns="0" anchor="b" anchorCtr="0"/>
          <a:lstStyle>
            <a:lvl1pPr marL="0" indent="0" algn="l">
              <a:lnSpc>
                <a:spcPct val="100000"/>
              </a:lnSpc>
              <a:spcBef>
                <a:spcPts val="0"/>
              </a:spcBef>
              <a:buNone/>
              <a:defRPr sz="800" baseline="0"/>
            </a:lvl1pPr>
            <a:lvl2pPr marL="0" indent="0" algn="l">
              <a:lnSpc>
                <a:spcPct val="100000"/>
              </a:lnSpc>
              <a:spcBef>
                <a:spcPts val="0"/>
              </a:spcBef>
              <a:buNone/>
              <a:defRPr sz="800"/>
            </a:lvl2pPr>
            <a:lvl3pPr marL="0" indent="0" algn="l">
              <a:lnSpc>
                <a:spcPct val="100000"/>
              </a:lnSpc>
              <a:spcBef>
                <a:spcPts val="0"/>
              </a:spcBef>
              <a:buNone/>
              <a:defRPr sz="800"/>
            </a:lvl3pPr>
            <a:lvl4pPr marL="0" algn="l">
              <a:lnSpc>
                <a:spcPct val="100000"/>
              </a:lnSpc>
              <a:spcBef>
                <a:spcPts val="0"/>
              </a:spcBef>
              <a:buNone/>
              <a:defRPr sz="800"/>
            </a:lvl4pPr>
            <a:lvl5pPr marL="0" indent="0" algn="l">
              <a:lnSpc>
                <a:spcPct val="100000"/>
              </a:lnSpc>
              <a:spcBef>
                <a:spcPts val="0"/>
              </a:spcBef>
              <a:buNone/>
              <a:defRPr sz="800"/>
            </a:lvl5pPr>
          </a:lstStyle>
          <a:p>
            <a:pPr lvl="0"/>
            <a:r>
              <a:rPr lang="en-US"/>
              <a:t>Source line</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72765299"/>
      </p:ext>
    </p:extLst>
  </p:cSld>
  <p:clrMapOvr>
    <a:masterClrMapping/>
  </p:clrMapOvr>
</p:sldLayout>
</file>

<file path=ppt/slideLayouts/slideLayout556.xml><?xml version="1.0" encoding="utf-8"?>
<p:sldLayout xmlns:a="http://schemas.openxmlformats.org/drawingml/2006/main" xmlns:r="http://schemas.openxmlformats.org/officeDocument/2006/relationships" xmlns:p="http://schemas.openxmlformats.org/presentationml/2006/main" preserve="1">
  <p:cSld name="One contact">
    <p:spTree>
      <p:nvGrpSpPr>
        <p:cNvPr id="1" name=""/>
        <p:cNvGrpSpPr/>
        <p:nvPr/>
      </p:nvGrpSpPr>
      <p:grpSpPr>
        <a:xfrm>
          <a:off x="0" y="0"/>
          <a:ext cx="0" cy="0"/>
          <a:chOff x="0" y="0"/>
          <a:chExt cx="0" cy="0"/>
        </a:xfrm>
      </p:grpSpPr>
      <p:sp>
        <p:nvSpPr>
          <p:cNvPr id="4" name="Picture Placeholder 3"/>
          <p:cNvSpPr>
            <a:spLocks noGrp="1"/>
          </p:cNvSpPr>
          <p:nvPr>
            <p:ph type="pic" sz="quarter" idx="17" hasCustomPrompt="1"/>
          </p:nvPr>
        </p:nvSpPr>
        <p:spPr>
          <a:xfrm>
            <a:off x="1056217" y="1833656"/>
            <a:ext cx="3203503" cy="3935319"/>
          </a:xfrm>
          <a:solidFill>
            <a:srgbClr val="D9DADB"/>
          </a:solidFill>
        </p:spPr>
        <p:txBody>
          <a:bodyPr/>
          <a:lstStyle>
            <a:lvl1pPr marL="0" indent="0">
              <a:buNone/>
              <a:defRPr sz="1400"/>
            </a:lvl1pPr>
          </a:lstStyle>
          <a:p>
            <a:r>
              <a:rPr lang="en-US"/>
              <a:t>Insert picture</a:t>
            </a:r>
          </a:p>
        </p:txBody>
      </p:sp>
      <p:sp>
        <p:nvSpPr>
          <p:cNvPr id="21" name="Date Placeholder 20"/>
          <p:cNvSpPr>
            <a:spLocks noGrp="1"/>
          </p:cNvSpPr>
          <p:nvPr>
            <p:ph type="dt" sz="half" idx="14"/>
          </p:nvPr>
        </p:nvSpPr>
        <p:spPr/>
        <p:txBody>
          <a:bodyPr/>
          <a:lstStyle/>
          <a:p>
            <a:fld id="{59171ED9-6851-4525-A763-2524710A57F8}" type="datetime5">
              <a:rPr lang="en-US" smtClean="0"/>
              <a:t>26-Jun-20</a:t>
            </a:fld>
            <a:endParaRPr lang="en-US"/>
          </a:p>
        </p:txBody>
      </p:sp>
      <p:sp>
        <p:nvSpPr>
          <p:cNvPr id="22" name="Footer Placeholder 21"/>
          <p:cNvSpPr>
            <a:spLocks noGrp="1"/>
          </p:cNvSpPr>
          <p:nvPr>
            <p:ph type="ftr" sz="quarter" idx="15"/>
          </p:nvPr>
        </p:nvSpPr>
        <p:spPr/>
        <p:txBody>
          <a:bodyPr/>
          <a:lstStyle/>
          <a:p>
            <a:r>
              <a:rPr lang="en-US"/>
              <a:t>Title of presentation (Insert / Header &amp; Footer / Apply to All)</a:t>
            </a:r>
          </a:p>
        </p:txBody>
      </p:sp>
      <p:sp>
        <p:nvSpPr>
          <p:cNvPr id="23" name="Slide Number Placeholder 22"/>
          <p:cNvSpPr>
            <a:spLocks noGrp="1"/>
          </p:cNvSpPr>
          <p:nvPr>
            <p:ph type="sldNum" sz="quarter" idx="16"/>
          </p:nvPr>
        </p:nvSpPr>
        <p:spPr/>
        <p:txBody>
          <a:bodyPr/>
          <a:lstStyle/>
          <a:p>
            <a:fld id="{5F3E29E4-0979-4FCA-B4C5-5FC6044C982A}" type="slidenum">
              <a:rPr lang="en-US" smtClean="0"/>
              <a:t>‹#›</a:t>
            </a:fld>
            <a:endParaRPr lang="en-US"/>
          </a:p>
        </p:txBody>
      </p:sp>
      <p:sp>
        <p:nvSpPr>
          <p:cNvPr id="2" name="Title 1"/>
          <p:cNvSpPr>
            <a:spLocks noGrp="1"/>
          </p:cNvSpPr>
          <p:nvPr>
            <p:ph type="title" hasCustomPrompt="1"/>
          </p:nvPr>
        </p:nvSpPr>
        <p:spPr/>
        <p:txBody>
          <a:bodyPr/>
          <a:lstStyle>
            <a:lvl1pPr>
              <a:defRPr/>
            </a:lvl1pPr>
          </a:lstStyle>
          <a:p>
            <a:r>
              <a:rPr lang="en-US"/>
              <a:t>Click to add contact title</a:t>
            </a:r>
          </a:p>
        </p:txBody>
      </p:sp>
      <p:sp>
        <p:nvSpPr>
          <p:cNvPr id="7" name="Subtitle 2"/>
          <p:cNvSpPr>
            <a:spLocks noGrp="1"/>
          </p:cNvSpPr>
          <p:nvPr>
            <p:ph type="subTitle" idx="13" hasCustomPrompt="1"/>
          </p:nvPr>
        </p:nvSpPr>
        <p:spPr>
          <a:xfrm>
            <a:off x="1075061" y="964671"/>
            <a:ext cx="7910158" cy="490042"/>
          </a:xfrm>
        </p:spPr>
        <p:txBody>
          <a:bodyPr wrap="none"/>
          <a:lstStyle>
            <a:lvl1pPr marL="0" indent="0" algn="l">
              <a:spcBef>
                <a:spcPts val="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grpSp>
        <p:nvGrpSpPr>
          <p:cNvPr id="8" name="Gruppieren 80">
            <a:extLst>
              <a:ext uri="{FF2B5EF4-FFF2-40B4-BE49-F238E27FC236}">
                <a16:creationId xmlns:a16="http://schemas.microsoft.com/office/drawing/2014/main" id="{6B969E7B-9C39-4443-9B02-74C1E7C5CCAC}"/>
              </a:ext>
            </a:extLst>
          </p:cNvPr>
          <p:cNvGrpSpPr/>
          <p:nvPr/>
        </p:nvGrpSpPr>
        <p:grpSpPr>
          <a:xfrm>
            <a:off x="4451001" y="2884199"/>
            <a:ext cx="171180" cy="171180"/>
            <a:chOff x="3392092" y="1841122"/>
            <a:chExt cx="646508" cy="646508"/>
          </a:xfrm>
        </p:grpSpPr>
        <p:sp>
          <p:nvSpPr>
            <p:cNvPr id="9" name="Rechteck 14">
              <a:extLst>
                <a:ext uri="{FF2B5EF4-FFF2-40B4-BE49-F238E27FC236}">
                  <a16:creationId xmlns:a16="http://schemas.microsoft.com/office/drawing/2014/main" id="{D78F58EA-5525-8D43-8295-FEA52ECF6BFA}"/>
                </a:ext>
              </a:extLst>
            </p:cNvPr>
            <p:cNvSpPr>
              <a:spLocks noChangeAspect="1"/>
            </p:cNvSpPr>
            <p:nvPr/>
          </p:nvSpPr>
          <p:spPr bwMode="gray">
            <a:xfrm>
              <a:off x="3392092" y="1841122"/>
              <a:ext cx="646508" cy="646508"/>
            </a:xfrm>
            <a:prstGeom prst="rect">
              <a:avLst/>
            </a:prstGeom>
            <a:solidFill>
              <a:srgbClr val="E55A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pPr>
              <a:endParaRPr lang="en-US" sz="1000">
                <a:solidFill>
                  <a:schemeClr val="tx1"/>
                </a:solidFill>
                <a:latin typeface="Arial" pitchFamily="34" charset="0"/>
                <a:cs typeface="Arial" pitchFamily="34" charset="0"/>
              </a:endParaRPr>
            </a:p>
          </p:txBody>
        </p:sp>
        <p:sp>
          <p:nvSpPr>
            <p:cNvPr id="10" name="Freeform 67">
              <a:extLst>
                <a:ext uri="{FF2B5EF4-FFF2-40B4-BE49-F238E27FC236}">
                  <a16:creationId xmlns:a16="http://schemas.microsoft.com/office/drawing/2014/main" id="{D01A6292-2776-4945-B828-483D79DC4908}"/>
                </a:ext>
              </a:extLst>
            </p:cNvPr>
            <p:cNvSpPr>
              <a:spLocks noChangeAspect="1"/>
            </p:cNvSpPr>
            <p:nvPr/>
          </p:nvSpPr>
          <p:spPr bwMode="auto">
            <a:xfrm>
              <a:off x="3546638" y="1970424"/>
              <a:ext cx="337415" cy="387905"/>
            </a:xfrm>
            <a:custGeom>
              <a:avLst/>
              <a:gdLst>
                <a:gd name="T0" fmla="*/ 573 w 1624"/>
                <a:gd name="T1" fmla="*/ 1257 h 1867"/>
                <a:gd name="T2" fmla="*/ 662 w 1624"/>
                <a:gd name="T3" fmla="*/ 1288 h 1867"/>
                <a:gd name="T4" fmla="*/ 938 w 1624"/>
                <a:gd name="T5" fmla="*/ 1051 h 1867"/>
                <a:gd name="T6" fmla="*/ 1106 w 1624"/>
                <a:gd name="T7" fmla="*/ 731 h 1867"/>
                <a:gd name="T8" fmla="*/ 1059 w 1624"/>
                <a:gd name="T9" fmla="*/ 645 h 1867"/>
                <a:gd name="T10" fmla="*/ 1001 w 1624"/>
                <a:gd name="T11" fmla="*/ 613 h 1867"/>
                <a:gd name="T12" fmla="*/ 924 w 1624"/>
                <a:gd name="T13" fmla="*/ 432 h 1867"/>
                <a:gd name="T14" fmla="*/ 1114 w 1624"/>
                <a:gd name="T15" fmla="*/ 81 h 1867"/>
                <a:gd name="T16" fmla="*/ 1287 w 1624"/>
                <a:gd name="T17" fmla="*/ 35 h 1867"/>
                <a:gd name="T18" fmla="*/ 1350 w 1624"/>
                <a:gd name="T19" fmla="*/ 69 h 1867"/>
                <a:gd name="T20" fmla="*/ 1527 w 1624"/>
                <a:gd name="T21" fmla="*/ 235 h 1867"/>
                <a:gd name="T22" fmla="*/ 1583 w 1624"/>
                <a:gd name="T23" fmla="*/ 555 h 1867"/>
                <a:gd name="T24" fmla="*/ 1172 w 1624"/>
                <a:gd name="T25" fmla="*/ 1253 h 1867"/>
                <a:gd name="T26" fmla="*/ 586 w 1624"/>
                <a:gd name="T27" fmla="*/ 1803 h 1867"/>
                <a:gd name="T28" fmla="*/ 269 w 1624"/>
                <a:gd name="T29" fmla="*/ 1807 h 1867"/>
                <a:gd name="T30" fmla="*/ 33 w 1624"/>
                <a:gd name="T31" fmla="*/ 1602 h 1867"/>
                <a:gd name="T32" fmla="*/ 2 w 1624"/>
                <a:gd name="T33" fmla="*/ 1508 h 1867"/>
                <a:gd name="T34" fmla="*/ 45 w 1624"/>
                <a:gd name="T35" fmla="*/ 1421 h 1867"/>
                <a:gd name="T36" fmla="*/ 346 w 1624"/>
                <a:gd name="T37" fmla="*/ 1158 h 1867"/>
                <a:gd name="T38" fmla="*/ 448 w 1624"/>
                <a:gd name="T39" fmla="*/ 1145 h 1867"/>
                <a:gd name="T40" fmla="*/ 573 w 1624"/>
                <a:gd name="T41" fmla="*/ 1257 h 18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24" h="1867">
                  <a:moveTo>
                    <a:pt x="573" y="1257"/>
                  </a:moveTo>
                  <a:cubicBezTo>
                    <a:pt x="592" y="1282"/>
                    <a:pt x="630" y="1303"/>
                    <a:pt x="662" y="1288"/>
                  </a:cubicBezTo>
                  <a:cubicBezTo>
                    <a:pt x="753" y="1245"/>
                    <a:pt x="854" y="1156"/>
                    <a:pt x="938" y="1051"/>
                  </a:cubicBezTo>
                  <a:cubicBezTo>
                    <a:pt x="1020" y="948"/>
                    <a:pt x="1084" y="831"/>
                    <a:pt x="1106" y="731"/>
                  </a:cubicBezTo>
                  <a:cubicBezTo>
                    <a:pt x="1113" y="696"/>
                    <a:pt x="1089" y="661"/>
                    <a:pt x="1059" y="645"/>
                  </a:cubicBezTo>
                  <a:cubicBezTo>
                    <a:pt x="1001" y="613"/>
                    <a:pt x="1001" y="613"/>
                    <a:pt x="1001" y="613"/>
                  </a:cubicBezTo>
                  <a:cubicBezTo>
                    <a:pt x="942" y="580"/>
                    <a:pt x="888" y="499"/>
                    <a:pt x="924" y="432"/>
                  </a:cubicBezTo>
                  <a:cubicBezTo>
                    <a:pt x="1114" y="81"/>
                    <a:pt x="1114" y="81"/>
                    <a:pt x="1114" y="81"/>
                  </a:cubicBezTo>
                  <a:cubicBezTo>
                    <a:pt x="1150" y="16"/>
                    <a:pt x="1224" y="0"/>
                    <a:pt x="1287" y="35"/>
                  </a:cubicBezTo>
                  <a:cubicBezTo>
                    <a:pt x="1350" y="69"/>
                    <a:pt x="1350" y="69"/>
                    <a:pt x="1350" y="69"/>
                  </a:cubicBezTo>
                  <a:cubicBezTo>
                    <a:pt x="1415" y="105"/>
                    <a:pt x="1479" y="165"/>
                    <a:pt x="1527" y="235"/>
                  </a:cubicBezTo>
                  <a:cubicBezTo>
                    <a:pt x="1593" y="332"/>
                    <a:pt x="1624" y="442"/>
                    <a:pt x="1583" y="555"/>
                  </a:cubicBezTo>
                  <a:cubicBezTo>
                    <a:pt x="1500" y="781"/>
                    <a:pt x="1351" y="1030"/>
                    <a:pt x="1172" y="1253"/>
                  </a:cubicBezTo>
                  <a:cubicBezTo>
                    <a:pt x="994" y="1477"/>
                    <a:pt x="786" y="1676"/>
                    <a:pt x="586" y="1803"/>
                  </a:cubicBezTo>
                  <a:cubicBezTo>
                    <a:pt x="486" y="1867"/>
                    <a:pt x="375" y="1856"/>
                    <a:pt x="269" y="1807"/>
                  </a:cubicBezTo>
                  <a:cubicBezTo>
                    <a:pt x="157" y="1755"/>
                    <a:pt x="106" y="1695"/>
                    <a:pt x="33" y="1602"/>
                  </a:cubicBezTo>
                  <a:cubicBezTo>
                    <a:pt x="11" y="1573"/>
                    <a:pt x="0" y="1540"/>
                    <a:pt x="2" y="1508"/>
                  </a:cubicBezTo>
                  <a:cubicBezTo>
                    <a:pt x="4" y="1475"/>
                    <a:pt x="18" y="1444"/>
                    <a:pt x="45" y="1421"/>
                  </a:cubicBezTo>
                  <a:cubicBezTo>
                    <a:pt x="70" y="1399"/>
                    <a:pt x="346" y="1158"/>
                    <a:pt x="346" y="1158"/>
                  </a:cubicBezTo>
                  <a:cubicBezTo>
                    <a:pt x="376" y="1134"/>
                    <a:pt x="413" y="1133"/>
                    <a:pt x="448" y="1145"/>
                  </a:cubicBezTo>
                  <a:cubicBezTo>
                    <a:pt x="510" y="1166"/>
                    <a:pt x="536" y="1210"/>
                    <a:pt x="573" y="1257"/>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351"/>
            </a:p>
          </p:txBody>
        </p:sp>
      </p:grpSp>
      <p:grpSp>
        <p:nvGrpSpPr>
          <p:cNvPr id="11" name="Group 3">
            <a:extLst>
              <a:ext uri="{FF2B5EF4-FFF2-40B4-BE49-F238E27FC236}">
                <a16:creationId xmlns:a16="http://schemas.microsoft.com/office/drawing/2014/main" id="{DED6A25A-5DE2-1441-8BA2-C68D3B4F9209}"/>
              </a:ext>
            </a:extLst>
          </p:cNvPr>
          <p:cNvGrpSpPr>
            <a:grpSpLocks noChangeAspect="1"/>
          </p:cNvGrpSpPr>
          <p:nvPr>
            <p:custDataLst>
              <p:tags r:id="rId1"/>
            </p:custDataLst>
          </p:nvPr>
        </p:nvGrpSpPr>
        <p:grpSpPr>
          <a:xfrm>
            <a:off x="4451002" y="3169087"/>
            <a:ext cx="171180" cy="171180"/>
            <a:chOff x="328396" y="5313940"/>
            <a:chExt cx="720000" cy="720000"/>
          </a:xfrm>
        </p:grpSpPr>
        <p:sp>
          <p:nvSpPr>
            <p:cNvPr id="12" name="Rectangle 4">
              <a:extLst>
                <a:ext uri="{FF2B5EF4-FFF2-40B4-BE49-F238E27FC236}">
                  <a16:creationId xmlns:a16="http://schemas.microsoft.com/office/drawing/2014/main" id="{5F49E67F-D4FA-9D48-96BC-59AE946ECD15}"/>
                </a:ext>
              </a:extLst>
            </p:cNvPr>
            <p:cNvSpPr/>
            <p:nvPr/>
          </p:nvSpPr>
          <p:spPr bwMode="gray">
            <a:xfrm>
              <a:off x="328396" y="5313940"/>
              <a:ext cx="720000" cy="720000"/>
            </a:xfrm>
            <a:prstGeom prst="rect">
              <a:avLst/>
            </a:prstGeom>
            <a:solidFill>
              <a:srgbClr val="E55A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pPr>
              <a:endParaRPr lang="en-US" sz="1000">
                <a:solidFill>
                  <a:schemeClr val="tx1"/>
                </a:solidFill>
                <a:latin typeface="Arial" pitchFamily="34" charset="0"/>
                <a:cs typeface="Arial" pitchFamily="34" charset="0"/>
              </a:endParaRPr>
            </a:p>
          </p:txBody>
        </p:sp>
        <p:sp>
          <p:nvSpPr>
            <p:cNvPr id="13" name="Freeform 76">
              <a:extLst>
                <a:ext uri="{FF2B5EF4-FFF2-40B4-BE49-F238E27FC236}">
                  <a16:creationId xmlns:a16="http://schemas.microsoft.com/office/drawing/2014/main" id="{187E70E6-AF3F-2549-908E-DF4BA61040AA}"/>
                </a:ext>
              </a:extLst>
            </p:cNvPr>
            <p:cNvSpPr>
              <a:spLocks noChangeAspect="1" noEditPoints="1"/>
            </p:cNvSpPr>
            <p:nvPr/>
          </p:nvSpPr>
          <p:spPr bwMode="auto">
            <a:xfrm>
              <a:off x="456202" y="5509222"/>
              <a:ext cx="504000" cy="329436"/>
            </a:xfrm>
            <a:custGeom>
              <a:avLst/>
              <a:gdLst>
                <a:gd name="T0" fmla="*/ 0 w 2080"/>
                <a:gd name="T1" fmla="*/ 65 h 1360"/>
                <a:gd name="T2" fmla="*/ 0 w 2080"/>
                <a:gd name="T3" fmla="*/ 0 h 1360"/>
                <a:gd name="T4" fmla="*/ 2080 w 2080"/>
                <a:gd name="T5" fmla="*/ 0 h 1360"/>
                <a:gd name="T6" fmla="*/ 2080 w 2080"/>
                <a:gd name="T7" fmla="*/ 65 h 1360"/>
                <a:gd name="T8" fmla="*/ 1089 w 2080"/>
                <a:gd name="T9" fmla="*/ 862 h 1360"/>
                <a:gd name="T10" fmla="*/ 991 w 2080"/>
                <a:gd name="T11" fmla="*/ 862 h 1360"/>
                <a:gd name="T12" fmla="*/ 0 w 2080"/>
                <a:gd name="T13" fmla="*/ 65 h 1360"/>
                <a:gd name="T14" fmla="*/ 1139 w 2080"/>
                <a:gd name="T15" fmla="*/ 924 h 1360"/>
                <a:gd name="T16" fmla="*/ 1282 w 2080"/>
                <a:gd name="T17" fmla="*/ 810 h 1360"/>
                <a:gd name="T18" fmla="*/ 2076 w 2080"/>
                <a:gd name="T19" fmla="*/ 1360 h 1360"/>
                <a:gd name="T20" fmla="*/ 4 w 2080"/>
                <a:gd name="T21" fmla="*/ 1360 h 1360"/>
                <a:gd name="T22" fmla="*/ 798 w 2080"/>
                <a:gd name="T23" fmla="*/ 810 h 1360"/>
                <a:gd name="T24" fmla="*/ 941 w 2080"/>
                <a:gd name="T25" fmla="*/ 924 h 1360"/>
                <a:gd name="T26" fmla="*/ 1139 w 2080"/>
                <a:gd name="T27" fmla="*/ 924 h 1360"/>
                <a:gd name="T28" fmla="*/ 2 w 2080"/>
                <a:gd name="T29" fmla="*/ 137 h 1360"/>
                <a:gd name="T30" fmla="*/ 42 w 2080"/>
                <a:gd name="T31" fmla="*/ 201 h 1360"/>
                <a:gd name="T32" fmla="*/ 734 w 2080"/>
                <a:gd name="T33" fmla="*/ 758 h 1360"/>
                <a:gd name="T34" fmla="*/ 0 w 2080"/>
                <a:gd name="T35" fmla="*/ 1266 h 1360"/>
                <a:gd name="T36" fmla="*/ 0 w 2080"/>
                <a:gd name="T37" fmla="*/ 135 h 1360"/>
                <a:gd name="T38" fmla="*/ 2 w 2080"/>
                <a:gd name="T39" fmla="*/ 137 h 1360"/>
                <a:gd name="T40" fmla="*/ 2080 w 2080"/>
                <a:gd name="T41" fmla="*/ 136 h 1360"/>
                <a:gd name="T42" fmla="*/ 2080 w 2080"/>
                <a:gd name="T43" fmla="*/ 1265 h 1360"/>
                <a:gd name="T44" fmla="*/ 1346 w 2080"/>
                <a:gd name="T45" fmla="*/ 758 h 1360"/>
                <a:gd name="T46" fmla="*/ 2038 w 2080"/>
                <a:gd name="T47" fmla="*/ 201 h 1360"/>
                <a:gd name="T48" fmla="*/ 2080 w 2080"/>
                <a:gd name="T49" fmla="*/ 136 h 1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080" h="1360">
                  <a:moveTo>
                    <a:pt x="0" y="65"/>
                  </a:moveTo>
                  <a:cubicBezTo>
                    <a:pt x="0" y="0"/>
                    <a:pt x="0" y="0"/>
                    <a:pt x="0" y="0"/>
                  </a:cubicBezTo>
                  <a:cubicBezTo>
                    <a:pt x="2080" y="0"/>
                    <a:pt x="2080" y="0"/>
                    <a:pt x="2080" y="0"/>
                  </a:cubicBezTo>
                  <a:cubicBezTo>
                    <a:pt x="2080" y="65"/>
                    <a:pt x="2080" y="65"/>
                    <a:pt x="2080" y="65"/>
                  </a:cubicBezTo>
                  <a:cubicBezTo>
                    <a:pt x="1089" y="862"/>
                    <a:pt x="1089" y="862"/>
                    <a:pt x="1089" y="862"/>
                  </a:cubicBezTo>
                  <a:cubicBezTo>
                    <a:pt x="1060" y="886"/>
                    <a:pt x="1020" y="886"/>
                    <a:pt x="991" y="862"/>
                  </a:cubicBezTo>
                  <a:lnTo>
                    <a:pt x="0" y="65"/>
                  </a:lnTo>
                  <a:close/>
                  <a:moveTo>
                    <a:pt x="1139" y="924"/>
                  </a:moveTo>
                  <a:cubicBezTo>
                    <a:pt x="1282" y="810"/>
                    <a:pt x="1282" y="810"/>
                    <a:pt x="1282" y="810"/>
                  </a:cubicBezTo>
                  <a:cubicBezTo>
                    <a:pt x="2076" y="1360"/>
                    <a:pt x="2076" y="1360"/>
                    <a:pt x="2076" y="1360"/>
                  </a:cubicBezTo>
                  <a:cubicBezTo>
                    <a:pt x="4" y="1360"/>
                    <a:pt x="4" y="1360"/>
                    <a:pt x="4" y="1360"/>
                  </a:cubicBezTo>
                  <a:cubicBezTo>
                    <a:pt x="798" y="810"/>
                    <a:pt x="798" y="810"/>
                    <a:pt x="798" y="810"/>
                  </a:cubicBezTo>
                  <a:cubicBezTo>
                    <a:pt x="941" y="924"/>
                    <a:pt x="941" y="924"/>
                    <a:pt x="941" y="924"/>
                  </a:cubicBezTo>
                  <a:cubicBezTo>
                    <a:pt x="1000" y="972"/>
                    <a:pt x="1080" y="972"/>
                    <a:pt x="1139" y="924"/>
                  </a:cubicBezTo>
                  <a:close/>
                  <a:moveTo>
                    <a:pt x="2" y="137"/>
                  </a:moveTo>
                  <a:cubicBezTo>
                    <a:pt x="8" y="163"/>
                    <a:pt x="22" y="185"/>
                    <a:pt x="42" y="201"/>
                  </a:cubicBezTo>
                  <a:cubicBezTo>
                    <a:pt x="734" y="758"/>
                    <a:pt x="734" y="758"/>
                    <a:pt x="734" y="758"/>
                  </a:cubicBezTo>
                  <a:cubicBezTo>
                    <a:pt x="0" y="1266"/>
                    <a:pt x="0" y="1266"/>
                    <a:pt x="0" y="1266"/>
                  </a:cubicBezTo>
                  <a:cubicBezTo>
                    <a:pt x="0" y="135"/>
                    <a:pt x="0" y="135"/>
                    <a:pt x="0" y="135"/>
                  </a:cubicBezTo>
                  <a:lnTo>
                    <a:pt x="2" y="137"/>
                  </a:lnTo>
                  <a:close/>
                  <a:moveTo>
                    <a:pt x="2080" y="136"/>
                  </a:moveTo>
                  <a:cubicBezTo>
                    <a:pt x="2080" y="1265"/>
                    <a:pt x="2080" y="1265"/>
                    <a:pt x="2080" y="1265"/>
                  </a:cubicBezTo>
                  <a:cubicBezTo>
                    <a:pt x="1346" y="758"/>
                    <a:pt x="1346" y="758"/>
                    <a:pt x="1346" y="758"/>
                  </a:cubicBezTo>
                  <a:cubicBezTo>
                    <a:pt x="2038" y="201"/>
                    <a:pt x="2038" y="201"/>
                    <a:pt x="2038" y="201"/>
                  </a:cubicBezTo>
                  <a:cubicBezTo>
                    <a:pt x="2060" y="182"/>
                    <a:pt x="2072" y="162"/>
                    <a:pt x="2080" y="13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000"/>
            </a:p>
          </p:txBody>
        </p:sp>
      </p:grpSp>
      <p:cxnSp>
        <p:nvCxnSpPr>
          <p:cNvPr id="20" name="Straight Connector 19"/>
          <p:cNvCxnSpPr/>
          <p:nvPr/>
        </p:nvCxnSpPr>
        <p:spPr>
          <a:xfrm>
            <a:off x="4451001" y="3494093"/>
            <a:ext cx="2463190" cy="0"/>
          </a:xfrm>
          <a:prstGeom prst="line">
            <a:avLst/>
          </a:prstGeom>
          <a:ln w="6350">
            <a:solidFill>
              <a:schemeClr val="tx2"/>
            </a:solidFill>
            <a:prstDash val="dash"/>
          </a:ln>
        </p:spPr>
        <p:style>
          <a:lnRef idx="1">
            <a:schemeClr val="accent1"/>
          </a:lnRef>
          <a:fillRef idx="0">
            <a:schemeClr val="accent1"/>
          </a:fillRef>
          <a:effectRef idx="0">
            <a:schemeClr val="accent1"/>
          </a:effectRef>
          <a:fontRef idx="minor">
            <a:schemeClr val="tx1"/>
          </a:fontRef>
        </p:style>
      </p:cxnSp>
      <p:sp>
        <p:nvSpPr>
          <p:cNvPr id="6" name="Text Placeholder 5"/>
          <p:cNvSpPr>
            <a:spLocks noGrp="1"/>
          </p:cNvSpPr>
          <p:nvPr>
            <p:ph type="body" sz="quarter" idx="19" hasCustomPrompt="1"/>
          </p:nvPr>
        </p:nvSpPr>
        <p:spPr>
          <a:xfrm>
            <a:off x="4451001" y="1824401"/>
            <a:ext cx="2463190" cy="192360"/>
          </a:xfrm>
        </p:spPr>
        <p:txBody>
          <a:bodyPr lIns="0" tIns="0" rIns="0" bIns="0" anchor="ctr" anchorCtr="0"/>
          <a:lstStyle>
            <a:lvl1pPr marL="0" indent="0" algn="l">
              <a:lnSpc>
                <a:spcPct val="100000"/>
              </a:lnSpc>
              <a:buNone/>
              <a:defRPr sz="100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Country</a:t>
            </a:r>
          </a:p>
        </p:txBody>
      </p:sp>
      <p:sp>
        <p:nvSpPr>
          <p:cNvPr id="26" name="Text Placeholder 5"/>
          <p:cNvSpPr>
            <a:spLocks noGrp="1"/>
          </p:cNvSpPr>
          <p:nvPr>
            <p:ph type="body" sz="quarter" idx="20" hasCustomPrompt="1"/>
          </p:nvPr>
        </p:nvSpPr>
        <p:spPr>
          <a:xfrm>
            <a:off x="4451001" y="2036217"/>
            <a:ext cx="2463190" cy="266182"/>
          </a:xfrm>
        </p:spPr>
        <p:txBody>
          <a:bodyPr lIns="0" tIns="0" rIns="0" bIns="0" anchor="b" anchorCtr="0"/>
          <a:lstStyle>
            <a:lvl1pPr marL="0" indent="0" algn="l">
              <a:lnSpc>
                <a:spcPct val="100000"/>
              </a:lnSpc>
              <a:buNone/>
              <a:defRPr sz="1400" b="1" baseline="0">
                <a:solidFill>
                  <a:schemeClr val="tx2"/>
                </a:solidFill>
              </a:defRPr>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Name, Surname</a:t>
            </a:r>
          </a:p>
        </p:txBody>
      </p:sp>
      <p:sp>
        <p:nvSpPr>
          <p:cNvPr id="27" name="Text Placeholder 5"/>
          <p:cNvSpPr>
            <a:spLocks noGrp="1"/>
          </p:cNvSpPr>
          <p:nvPr>
            <p:ph type="body" sz="quarter" idx="21" hasCustomPrompt="1"/>
          </p:nvPr>
        </p:nvSpPr>
        <p:spPr>
          <a:xfrm>
            <a:off x="4451001" y="2332792"/>
            <a:ext cx="2463190"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Job Position</a:t>
            </a:r>
          </a:p>
        </p:txBody>
      </p:sp>
      <p:sp>
        <p:nvSpPr>
          <p:cNvPr id="28" name="Text Placeholder 5"/>
          <p:cNvSpPr>
            <a:spLocks noGrp="1"/>
          </p:cNvSpPr>
          <p:nvPr>
            <p:ph type="body" sz="quarter" idx="22" hasCustomPrompt="1"/>
          </p:nvPr>
        </p:nvSpPr>
        <p:spPr>
          <a:xfrm>
            <a:off x="4695884" y="2861468"/>
            <a:ext cx="2218307"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Phone number</a:t>
            </a:r>
          </a:p>
        </p:txBody>
      </p:sp>
      <p:sp>
        <p:nvSpPr>
          <p:cNvPr id="29" name="Text Placeholder 5"/>
          <p:cNvSpPr>
            <a:spLocks noGrp="1"/>
          </p:cNvSpPr>
          <p:nvPr>
            <p:ph type="body" sz="quarter" idx="23" hasCustomPrompt="1"/>
          </p:nvPr>
        </p:nvSpPr>
        <p:spPr>
          <a:xfrm>
            <a:off x="4695884" y="3144275"/>
            <a:ext cx="2218307"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Email address</a:t>
            </a:r>
          </a:p>
        </p:txBody>
      </p:sp>
      <p:sp>
        <p:nvSpPr>
          <p:cNvPr id="35" name="Text Placeholder 34"/>
          <p:cNvSpPr>
            <a:spLocks noGrp="1"/>
          </p:cNvSpPr>
          <p:nvPr>
            <p:ph type="body" sz="quarter" idx="24" hasCustomPrompt="1"/>
          </p:nvPr>
        </p:nvSpPr>
        <p:spPr>
          <a:xfrm>
            <a:off x="4492626" y="3681413"/>
            <a:ext cx="4492594" cy="2087562"/>
          </a:xfrm>
        </p:spPr>
        <p:txBody>
          <a:bodyPr/>
          <a:lstStyle>
            <a:lvl1pPr>
              <a:defRPr sz="1400" baseline="0"/>
            </a:lvl1pPr>
            <a:lvl2pPr>
              <a:defRPr sz="1400"/>
            </a:lvl2pPr>
            <a:lvl3pPr>
              <a:defRPr sz="1400"/>
            </a:lvl3pPr>
            <a:lvl4pPr>
              <a:defRPr sz="1400"/>
            </a:lvl4pPr>
            <a:lvl5pPr>
              <a:defRPr sz="1400"/>
            </a:lvl5pPr>
          </a:lstStyle>
          <a:p>
            <a:pPr lvl="0"/>
            <a:r>
              <a:rPr lang="en-US"/>
              <a:t>Additional information (if needed)</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85944370"/>
      </p:ext>
    </p:extLst>
  </p:cSld>
  <p:clrMapOvr>
    <a:masterClrMapping/>
  </p:clrMapOvr>
</p:sldLayout>
</file>

<file path=ppt/slideLayouts/slideLayout557.xml><?xml version="1.0" encoding="utf-8"?>
<p:sldLayout xmlns:a="http://schemas.openxmlformats.org/drawingml/2006/main" xmlns:r="http://schemas.openxmlformats.org/officeDocument/2006/relationships" xmlns:p="http://schemas.openxmlformats.org/presentationml/2006/main" preserve="1">
  <p:cSld name="Two contacts">
    <p:spTree>
      <p:nvGrpSpPr>
        <p:cNvPr id="1" name=""/>
        <p:cNvGrpSpPr/>
        <p:nvPr/>
      </p:nvGrpSpPr>
      <p:grpSpPr>
        <a:xfrm>
          <a:off x="0" y="0"/>
          <a:ext cx="0" cy="0"/>
          <a:chOff x="0" y="0"/>
          <a:chExt cx="0" cy="0"/>
        </a:xfrm>
      </p:grpSpPr>
      <p:sp>
        <p:nvSpPr>
          <p:cNvPr id="21" name="Date Placeholder 20"/>
          <p:cNvSpPr>
            <a:spLocks noGrp="1"/>
          </p:cNvSpPr>
          <p:nvPr>
            <p:ph type="dt" sz="half" idx="14"/>
          </p:nvPr>
        </p:nvSpPr>
        <p:spPr/>
        <p:txBody>
          <a:bodyPr/>
          <a:lstStyle/>
          <a:p>
            <a:fld id="{3F4603FF-FCF6-4AE0-9349-4AF38C1FF5B2}" type="datetime5">
              <a:rPr lang="en-US" smtClean="0"/>
              <a:t>26-Jun-20</a:t>
            </a:fld>
            <a:endParaRPr lang="en-US"/>
          </a:p>
        </p:txBody>
      </p:sp>
      <p:sp>
        <p:nvSpPr>
          <p:cNvPr id="22" name="Footer Placeholder 21"/>
          <p:cNvSpPr>
            <a:spLocks noGrp="1"/>
          </p:cNvSpPr>
          <p:nvPr>
            <p:ph type="ftr" sz="quarter" idx="15"/>
          </p:nvPr>
        </p:nvSpPr>
        <p:spPr/>
        <p:txBody>
          <a:bodyPr/>
          <a:lstStyle/>
          <a:p>
            <a:r>
              <a:rPr lang="en-US"/>
              <a:t>Title of presentation (Insert / Header &amp; Footer / Apply to All)</a:t>
            </a:r>
          </a:p>
        </p:txBody>
      </p:sp>
      <p:sp>
        <p:nvSpPr>
          <p:cNvPr id="23" name="Slide Number Placeholder 22"/>
          <p:cNvSpPr>
            <a:spLocks noGrp="1"/>
          </p:cNvSpPr>
          <p:nvPr>
            <p:ph type="sldNum" sz="quarter" idx="16"/>
          </p:nvPr>
        </p:nvSpPr>
        <p:spPr/>
        <p:txBody>
          <a:bodyPr/>
          <a:lstStyle/>
          <a:p>
            <a:fld id="{5F3E29E4-0979-4FCA-B4C5-5FC6044C982A}" type="slidenum">
              <a:rPr lang="en-US" smtClean="0"/>
              <a:t>‹#›</a:t>
            </a:fld>
            <a:endParaRPr lang="en-US"/>
          </a:p>
        </p:txBody>
      </p:sp>
      <p:sp>
        <p:nvSpPr>
          <p:cNvPr id="2" name="Title 1"/>
          <p:cNvSpPr>
            <a:spLocks noGrp="1"/>
          </p:cNvSpPr>
          <p:nvPr>
            <p:ph type="title" hasCustomPrompt="1"/>
          </p:nvPr>
        </p:nvSpPr>
        <p:spPr/>
        <p:txBody>
          <a:bodyPr/>
          <a:lstStyle>
            <a:lvl1pPr>
              <a:defRPr/>
            </a:lvl1pPr>
          </a:lstStyle>
          <a:p>
            <a:r>
              <a:rPr lang="en-US"/>
              <a:t>Click to add contact title</a:t>
            </a:r>
          </a:p>
        </p:txBody>
      </p:sp>
      <p:sp>
        <p:nvSpPr>
          <p:cNvPr id="7" name="Subtitle 2"/>
          <p:cNvSpPr>
            <a:spLocks noGrp="1"/>
          </p:cNvSpPr>
          <p:nvPr>
            <p:ph type="subTitle" idx="13" hasCustomPrompt="1"/>
          </p:nvPr>
        </p:nvSpPr>
        <p:spPr>
          <a:xfrm>
            <a:off x="1075061" y="964671"/>
            <a:ext cx="7910158" cy="490042"/>
          </a:xfrm>
        </p:spPr>
        <p:txBody>
          <a:bodyPr wrap="none"/>
          <a:lstStyle>
            <a:lvl1pPr marL="0" indent="0" algn="l">
              <a:spcBef>
                <a:spcPts val="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grpSp>
        <p:nvGrpSpPr>
          <p:cNvPr id="8" name="Gruppieren 80">
            <a:extLst>
              <a:ext uri="{FF2B5EF4-FFF2-40B4-BE49-F238E27FC236}">
                <a16:creationId xmlns:a16="http://schemas.microsoft.com/office/drawing/2014/main" id="{6B969E7B-9C39-4443-9B02-74C1E7C5CCAC}"/>
              </a:ext>
            </a:extLst>
          </p:cNvPr>
          <p:cNvGrpSpPr/>
          <p:nvPr/>
        </p:nvGrpSpPr>
        <p:grpSpPr>
          <a:xfrm>
            <a:off x="3770065" y="2868319"/>
            <a:ext cx="171180" cy="171180"/>
            <a:chOff x="3392092" y="1841122"/>
            <a:chExt cx="646508" cy="646508"/>
          </a:xfrm>
        </p:grpSpPr>
        <p:sp>
          <p:nvSpPr>
            <p:cNvPr id="9" name="Rechteck 14">
              <a:extLst>
                <a:ext uri="{FF2B5EF4-FFF2-40B4-BE49-F238E27FC236}">
                  <a16:creationId xmlns:a16="http://schemas.microsoft.com/office/drawing/2014/main" id="{D78F58EA-5525-8D43-8295-FEA52ECF6BFA}"/>
                </a:ext>
              </a:extLst>
            </p:cNvPr>
            <p:cNvSpPr>
              <a:spLocks noChangeAspect="1"/>
            </p:cNvSpPr>
            <p:nvPr/>
          </p:nvSpPr>
          <p:spPr bwMode="gray">
            <a:xfrm>
              <a:off x="3392092" y="1841122"/>
              <a:ext cx="646508" cy="646508"/>
            </a:xfrm>
            <a:prstGeom prst="rect">
              <a:avLst/>
            </a:prstGeom>
            <a:solidFill>
              <a:srgbClr val="E55A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pPr>
              <a:endParaRPr lang="en-US" sz="1000">
                <a:solidFill>
                  <a:schemeClr val="tx1"/>
                </a:solidFill>
                <a:latin typeface="Arial" pitchFamily="34" charset="0"/>
                <a:cs typeface="Arial" pitchFamily="34" charset="0"/>
              </a:endParaRPr>
            </a:p>
          </p:txBody>
        </p:sp>
        <p:sp>
          <p:nvSpPr>
            <p:cNvPr id="10" name="Freeform 67">
              <a:extLst>
                <a:ext uri="{FF2B5EF4-FFF2-40B4-BE49-F238E27FC236}">
                  <a16:creationId xmlns:a16="http://schemas.microsoft.com/office/drawing/2014/main" id="{D01A6292-2776-4945-B828-483D79DC4908}"/>
                </a:ext>
              </a:extLst>
            </p:cNvPr>
            <p:cNvSpPr>
              <a:spLocks noChangeAspect="1"/>
            </p:cNvSpPr>
            <p:nvPr/>
          </p:nvSpPr>
          <p:spPr bwMode="auto">
            <a:xfrm>
              <a:off x="3546638" y="1970424"/>
              <a:ext cx="337415" cy="387905"/>
            </a:xfrm>
            <a:custGeom>
              <a:avLst/>
              <a:gdLst>
                <a:gd name="T0" fmla="*/ 573 w 1624"/>
                <a:gd name="T1" fmla="*/ 1257 h 1867"/>
                <a:gd name="T2" fmla="*/ 662 w 1624"/>
                <a:gd name="T3" fmla="*/ 1288 h 1867"/>
                <a:gd name="T4" fmla="*/ 938 w 1624"/>
                <a:gd name="T5" fmla="*/ 1051 h 1867"/>
                <a:gd name="T6" fmla="*/ 1106 w 1624"/>
                <a:gd name="T7" fmla="*/ 731 h 1867"/>
                <a:gd name="T8" fmla="*/ 1059 w 1624"/>
                <a:gd name="T9" fmla="*/ 645 h 1867"/>
                <a:gd name="T10" fmla="*/ 1001 w 1624"/>
                <a:gd name="T11" fmla="*/ 613 h 1867"/>
                <a:gd name="T12" fmla="*/ 924 w 1624"/>
                <a:gd name="T13" fmla="*/ 432 h 1867"/>
                <a:gd name="T14" fmla="*/ 1114 w 1624"/>
                <a:gd name="T15" fmla="*/ 81 h 1867"/>
                <a:gd name="T16" fmla="*/ 1287 w 1624"/>
                <a:gd name="T17" fmla="*/ 35 h 1867"/>
                <a:gd name="T18" fmla="*/ 1350 w 1624"/>
                <a:gd name="T19" fmla="*/ 69 h 1867"/>
                <a:gd name="T20" fmla="*/ 1527 w 1624"/>
                <a:gd name="T21" fmla="*/ 235 h 1867"/>
                <a:gd name="T22" fmla="*/ 1583 w 1624"/>
                <a:gd name="T23" fmla="*/ 555 h 1867"/>
                <a:gd name="T24" fmla="*/ 1172 w 1624"/>
                <a:gd name="T25" fmla="*/ 1253 h 1867"/>
                <a:gd name="T26" fmla="*/ 586 w 1624"/>
                <a:gd name="T27" fmla="*/ 1803 h 1867"/>
                <a:gd name="T28" fmla="*/ 269 w 1624"/>
                <a:gd name="T29" fmla="*/ 1807 h 1867"/>
                <a:gd name="T30" fmla="*/ 33 w 1624"/>
                <a:gd name="T31" fmla="*/ 1602 h 1867"/>
                <a:gd name="T32" fmla="*/ 2 w 1624"/>
                <a:gd name="T33" fmla="*/ 1508 h 1867"/>
                <a:gd name="T34" fmla="*/ 45 w 1624"/>
                <a:gd name="T35" fmla="*/ 1421 h 1867"/>
                <a:gd name="T36" fmla="*/ 346 w 1624"/>
                <a:gd name="T37" fmla="*/ 1158 h 1867"/>
                <a:gd name="T38" fmla="*/ 448 w 1624"/>
                <a:gd name="T39" fmla="*/ 1145 h 1867"/>
                <a:gd name="T40" fmla="*/ 573 w 1624"/>
                <a:gd name="T41" fmla="*/ 1257 h 18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24" h="1867">
                  <a:moveTo>
                    <a:pt x="573" y="1257"/>
                  </a:moveTo>
                  <a:cubicBezTo>
                    <a:pt x="592" y="1282"/>
                    <a:pt x="630" y="1303"/>
                    <a:pt x="662" y="1288"/>
                  </a:cubicBezTo>
                  <a:cubicBezTo>
                    <a:pt x="753" y="1245"/>
                    <a:pt x="854" y="1156"/>
                    <a:pt x="938" y="1051"/>
                  </a:cubicBezTo>
                  <a:cubicBezTo>
                    <a:pt x="1020" y="948"/>
                    <a:pt x="1084" y="831"/>
                    <a:pt x="1106" y="731"/>
                  </a:cubicBezTo>
                  <a:cubicBezTo>
                    <a:pt x="1113" y="696"/>
                    <a:pt x="1089" y="661"/>
                    <a:pt x="1059" y="645"/>
                  </a:cubicBezTo>
                  <a:cubicBezTo>
                    <a:pt x="1001" y="613"/>
                    <a:pt x="1001" y="613"/>
                    <a:pt x="1001" y="613"/>
                  </a:cubicBezTo>
                  <a:cubicBezTo>
                    <a:pt x="942" y="580"/>
                    <a:pt x="888" y="499"/>
                    <a:pt x="924" y="432"/>
                  </a:cubicBezTo>
                  <a:cubicBezTo>
                    <a:pt x="1114" y="81"/>
                    <a:pt x="1114" y="81"/>
                    <a:pt x="1114" y="81"/>
                  </a:cubicBezTo>
                  <a:cubicBezTo>
                    <a:pt x="1150" y="16"/>
                    <a:pt x="1224" y="0"/>
                    <a:pt x="1287" y="35"/>
                  </a:cubicBezTo>
                  <a:cubicBezTo>
                    <a:pt x="1350" y="69"/>
                    <a:pt x="1350" y="69"/>
                    <a:pt x="1350" y="69"/>
                  </a:cubicBezTo>
                  <a:cubicBezTo>
                    <a:pt x="1415" y="105"/>
                    <a:pt x="1479" y="165"/>
                    <a:pt x="1527" y="235"/>
                  </a:cubicBezTo>
                  <a:cubicBezTo>
                    <a:pt x="1593" y="332"/>
                    <a:pt x="1624" y="442"/>
                    <a:pt x="1583" y="555"/>
                  </a:cubicBezTo>
                  <a:cubicBezTo>
                    <a:pt x="1500" y="781"/>
                    <a:pt x="1351" y="1030"/>
                    <a:pt x="1172" y="1253"/>
                  </a:cubicBezTo>
                  <a:cubicBezTo>
                    <a:pt x="994" y="1477"/>
                    <a:pt x="786" y="1676"/>
                    <a:pt x="586" y="1803"/>
                  </a:cubicBezTo>
                  <a:cubicBezTo>
                    <a:pt x="486" y="1867"/>
                    <a:pt x="375" y="1856"/>
                    <a:pt x="269" y="1807"/>
                  </a:cubicBezTo>
                  <a:cubicBezTo>
                    <a:pt x="157" y="1755"/>
                    <a:pt x="106" y="1695"/>
                    <a:pt x="33" y="1602"/>
                  </a:cubicBezTo>
                  <a:cubicBezTo>
                    <a:pt x="11" y="1573"/>
                    <a:pt x="0" y="1540"/>
                    <a:pt x="2" y="1508"/>
                  </a:cubicBezTo>
                  <a:cubicBezTo>
                    <a:pt x="4" y="1475"/>
                    <a:pt x="18" y="1444"/>
                    <a:pt x="45" y="1421"/>
                  </a:cubicBezTo>
                  <a:cubicBezTo>
                    <a:pt x="70" y="1399"/>
                    <a:pt x="346" y="1158"/>
                    <a:pt x="346" y="1158"/>
                  </a:cubicBezTo>
                  <a:cubicBezTo>
                    <a:pt x="376" y="1134"/>
                    <a:pt x="413" y="1133"/>
                    <a:pt x="448" y="1145"/>
                  </a:cubicBezTo>
                  <a:cubicBezTo>
                    <a:pt x="510" y="1166"/>
                    <a:pt x="536" y="1210"/>
                    <a:pt x="573" y="1257"/>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351"/>
            </a:p>
          </p:txBody>
        </p:sp>
      </p:grpSp>
      <p:grpSp>
        <p:nvGrpSpPr>
          <p:cNvPr id="11" name="Group 3">
            <a:extLst>
              <a:ext uri="{FF2B5EF4-FFF2-40B4-BE49-F238E27FC236}">
                <a16:creationId xmlns:a16="http://schemas.microsoft.com/office/drawing/2014/main" id="{DED6A25A-5DE2-1441-8BA2-C68D3B4F9209}"/>
              </a:ext>
            </a:extLst>
          </p:cNvPr>
          <p:cNvGrpSpPr>
            <a:grpSpLocks noChangeAspect="1"/>
          </p:cNvGrpSpPr>
          <p:nvPr>
            <p:custDataLst>
              <p:tags r:id="rId1"/>
            </p:custDataLst>
          </p:nvPr>
        </p:nvGrpSpPr>
        <p:grpSpPr>
          <a:xfrm>
            <a:off x="3770066" y="3153207"/>
            <a:ext cx="171180" cy="171180"/>
            <a:chOff x="328396" y="5313940"/>
            <a:chExt cx="720000" cy="720000"/>
          </a:xfrm>
        </p:grpSpPr>
        <p:sp>
          <p:nvSpPr>
            <p:cNvPr id="12" name="Rectangle 4">
              <a:extLst>
                <a:ext uri="{FF2B5EF4-FFF2-40B4-BE49-F238E27FC236}">
                  <a16:creationId xmlns:a16="http://schemas.microsoft.com/office/drawing/2014/main" id="{5F49E67F-D4FA-9D48-96BC-59AE946ECD15}"/>
                </a:ext>
              </a:extLst>
            </p:cNvPr>
            <p:cNvSpPr/>
            <p:nvPr/>
          </p:nvSpPr>
          <p:spPr bwMode="gray">
            <a:xfrm>
              <a:off x="328396" y="5313940"/>
              <a:ext cx="720000" cy="720000"/>
            </a:xfrm>
            <a:prstGeom prst="rect">
              <a:avLst/>
            </a:prstGeom>
            <a:solidFill>
              <a:srgbClr val="E55A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pPr>
              <a:endParaRPr lang="en-US" sz="1000">
                <a:solidFill>
                  <a:schemeClr val="tx1"/>
                </a:solidFill>
                <a:latin typeface="Arial" pitchFamily="34" charset="0"/>
                <a:cs typeface="Arial" pitchFamily="34" charset="0"/>
              </a:endParaRPr>
            </a:p>
          </p:txBody>
        </p:sp>
        <p:sp>
          <p:nvSpPr>
            <p:cNvPr id="13" name="Freeform 76">
              <a:extLst>
                <a:ext uri="{FF2B5EF4-FFF2-40B4-BE49-F238E27FC236}">
                  <a16:creationId xmlns:a16="http://schemas.microsoft.com/office/drawing/2014/main" id="{187E70E6-AF3F-2549-908E-DF4BA61040AA}"/>
                </a:ext>
              </a:extLst>
            </p:cNvPr>
            <p:cNvSpPr>
              <a:spLocks noChangeAspect="1" noEditPoints="1"/>
            </p:cNvSpPr>
            <p:nvPr/>
          </p:nvSpPr>
          <p:spPr bwMode="auto">
            <a:xfrm>
              <a:off x="456202" y="5509222"/>
              <a:ext cx="504000" cy="329436"/>
            </a:xfrm>
            <a:custGeom>
              <a:avLst/>
              <a:gdLst>
                <a:gd name="T0" fmla="*/ 0 w 2080"/>
                <a:gd name="T1" fmla="*/ 65 h 1360"/>
                <a:gd name="T2" fmla="*/ 0 w 2080"/>
                <a:gd name="T3" fmla="*/ 0 h 1360"/>
                <a:gd name="T4" fmla="*/ 2080 w 2080"/>
                <a:gd name="T5" fmla="*/ 0 h 1360"/>
                <a:gd name="T6" fmla="*/ 2080 w 2080"/>
                <a:gd name="T7" fmla="*/ 65 h 1360"/>
                <a:gd name="T8" fmla="*/ 1089 w 2080"/>
                <a:gd name="T9" fmla="*/ 862 h 1360"/>
                <a:gd name="T10" fmla="*/ 991 w 2080"/>
                <a:gd name="T11" fmla="*/ 862 h 1360"/>
                <a:gd name="T12" fmla="*/ 0 w 2080"/>
                <a:gd name="T13" fmla="*/ 65 h 1360"/>
                <a:gd name="T14" fmla="*/ 1139 w 2080"/>
                <a:gd name="T15" fmla="*/ 924 h 1360"/>
                <a:gd name="T16" fmla="*/ 1282 w 2080"/>
                <a:gd name="T17" fmla="*/ 810 h 1360"/>
                <a:gd name="T18" fmla="*/ 2076 w 2080"/>
                <a:gd name="T19" fmla="*/ 1360 h 1360"/>
                <a:gd name="T20" fmla="*/ 4 w 2080"/>
                <a:gd name="T21" fmla="*/ 1360 h 1360"/>
                <a:gd name="T22" fmla="*/ 798 w 2080"/>
                <a:gd name="T23" fmla="*/ 810 h 1360"/>
                <a:gd name="T24" fmla="*/ 941 w 2080"/>
                <a:gd name="T25" fmla="*/ 924 h 1360"/>
                <a:gd name="T26" fmla="*/ 1139 w 2080"/>
                <a:gd name="T27" fmla="*/ 924 h 1360"/>
                <a:gd name="T28" fmla="*/ 2 w 2080"/>
                <a:gd name="T29" fmla="*/ 137 h 1360"/>
                <a:gd name="T30" fmla="*/ 42 w 2080"/>
                <a:gd name="T31" fmla="*/ 201 h 1360"/>
                <a:gd name="T32" fmla="*/ 734 w 2080"/>
                <a:gd name="T33" fmla="*/ 758 h 1360"/>
                <a:gd name="T34" fmla="*/ 0 w 2080"/>
                <a:gd name="T35" fmla="*/ 1266 h 1360"/>
                <a:gd name="T36" fmla="*/ 0 w 2080"/>
                <a:gd name="T37" fmla="*/ 135 h 1360"/>
                <a:gd name="T38" fmla="*/ 2 w 2080"/>
                <a:gd name="T39" fmla="*/ 137 h 1360"/>
                <a:gd name="T40" fmla="*/ 2080 w 2080"/>
                <a:gd name="T41" fmla="*/ 136 h 1360"/>
                <a:gd name="T42" fmla="*/ 2080 w 2080"/>
                <a:gd name="T43" fmla="*/ 1265 h 1360"/>
                <a:gd name="T44" fmla="*/ 1346 w 2080"/>
                <a:gd name="T45" fmla="*/ 758 h 1360"/>
                <a:gd name="T46" fmla="*/ 2038 w 2080"/>
                <a:gd name="T47" fmla="*/ 201 h 1360"/>
                <a:gd name="T48" fmla="*/ 2080 w 2080"/>
                <a:gd name="T49" fmla="*/ 136 h 1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080" h="1360">
                  <a:moveTo>
                    <a:pt x="0" y="65"/>
                  </a:moveTo>
                  <a:cubicBezTo>
                    <a:pt x="0" y="0"/>
                    <a:pt x="0" y="0"/>
                    <a:pt x="0" y="0"/>
                  </a:cubicBezTo>
                  <a:cubicBezTo>
                    <a:pt x="2080" y="0"/>
                    <a:pt x="2080" y="0"/>
                    <a:pt x="2080" y="0"/>
                  </a:cubicBezTo>
                  <a:cubicBezTo>
                    <a:pt x="2080" y="65"/>
                    <a:pt x="2080" y="65"/>
                    <a:pt x="2080" y="65"/>
                  </a:cubicBezTo>
                  <a:cubicBezTo>
                    <a:pt x="1089" y="862"/>
                    <a:pt x="1089" y="862"/>
                    <a:pt x="1089" y="862"/>
                  </a:cubicBezTo>
                  <a:cubicBezTo>
                    <a:pt x="1060" y="886"/>
                    <a:pt x="1020" y="886"/>
                    <a:pt x="991" y="862"/>
                  </a:cubicBezTo>
                  <a:lnTo>
                    <a:pt x="0" y="65"/>
                  </a:lnTo>
                  <a:close/>
                  <a:moveTo>
                    <a:pt x="1139" y="924"/>
                  </a:moveTo>
                  <a:cubicBezTo>
                    <a:pt x="1282" y="810"/>
                    <a:pt x="1282" y="810"/>
                    <a:pt x="1282" y="810"/>
                  </a:cubicBezTo>
                  <a:cubicBezTo>
                    <a:pt x="2076" y="1360"/>
                    <a:pt x="2076" y="1360"/>
                    <a:pt x="2076" y="1360"/>
                  </a:cubicBezTo>
                  <a:cubicBezTo>
                    <a:pt x="4" y="1360"/>
                    <a:pt x="4" y="1360"/>
                    <a:pt x="4" y="1360"/>
                  </a:cubicBezTo>
                  <a:cubicBezTo>
                    <a:pt x="798" y="810"/>
                    <a:pt x="798" y="810"/>
                    <a:pt x="798" y="810"/>
                  </a:cubicBezTo>
                  <a:cubicBezTo>
                    <a:pt x="941" y="924"/>
                    <a:pt x="941" y="924"/>
                    <a:pt x="941" y="924"/>
                  </a:cubicBezTo>
                  <a:cubicBezTo>
                    <a:pt x="1000" y="972"/>
                    <a:pt x="1080" y="972"/>
                    <a:pt x="1139" y="924"/>
                  </a:cubicBezTo>
                  <a:close/>
                  <a:moveTo>
                    <a:pt x="2" y="137"/>
                  </a:moveTo>
                  <a:cubicBezTo>
                    <a:pt x="8" y="163"/>
                    <a:pt x="22" y="185"/>
                    <a:pt x="42" y="201"/>
                  </a:cubicBezTo>
                  <a:cubicBezTo>
                    <a:pt x="734" y="758"/>
                    <a:pt x="734" y="758"/>
                    <a:pt x="734" y="758"/>
                  </a:cubicBezTo>
                  <a:cubicBezTo>
                    <a:pt x="0" y="1266"/>
                    <a:pt x="0" y="1266"/>
                    <a:pt x="0" y="1266"/>
                  </a:cubicBezTo>
                  <a:cubicBezTo>
                    <a:pt x="0" y="135"/>
                    <a:pt x="0" y="135"/>
                    <a:pt x="0" y="135"/>
                  </a:cubicBezTo>
                  <a:lnTo>
                    <a:pt x="2" y="137"/>
                  </a:lnTo>
                  <a:close/>
                  <a:moveTo>
                    <a:pt x="2080" y="136"/>
                  </a:moveTo>
                  <a:cubicBezTo>
                    <a:pt x="2080" y="1265"/>
                    <a:pt x="2080" y="1265"/>
                    <a:pt x="2080" y="1265"/>
                  </a:cubicBezTo>
                  <a:cubicBezTo>
                    <a:pt x="1346" y="758"/>
                    <a:pt x="1346" y="758"/>
                    <a:pt x="1346" y="758"/>
                  </a:cubicBezTo>
                  <a:cubicBezTo>
                    <a:pt x="2038" y="201"/>
                    <a:pt x="2038" y="201"/>
                    <a:pt x="2038" y="201"/>
                  </a:cubicBezTo>
                  <a:cubicBezTo>
                    <a:pt x="2060" y="182"/>
                    <a:pt x="2072" y="162"/>
                    <a:pt x="2080" y="13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000"/>
            </a:p>
          </p:txBody>
        </p:sp>
      </p:grpSp>
      <p:grpSp>
        <p:nvGrpSpPr>
          <p:cNvPr id="14" name="Gruppieren 2">
            <a:extLst>
              <a:ext uri="{FF2B5EF4-FFF2-40B4-BE49-F238E27FC236}">
                <a16:creationId xmlns:a16="http://schemas.microsoft.com/office/drawing/2014/main" id="{BE697CE9-EBDE-6B4A-BE70-582D92A8A831}"/>
              </a:ext>
            </a:extLst>
          </p:cNvPr>
          <p:cNvGrpSpPr/>
          <p:nvPr/>
        </p:nvGrpSpPr>
        <p:grpSpPr>
          <a:xfrm>
            <a:off x="8701917" y="2868319"/>
            <a:ext cx="171180" cy="171180"/>
            <a:chOff x="3392092" y="1841122"/>
            <a:chExt cx="646508" cy="646508"/>
          </a:xfrm>
        </p:grpSpPr>
        <p:sp>
          <p:nvSpPr>
            <p:cNvPr id="15" name="Rechteck 14">
              <a:extLst>
                <a:ext uri="{FF2B5EF4-FFF2-40B4-BE49-F238E27FC236}">
                  <a16:creationId xmlns:a16="http://schemas.microsoft.com/office/drawing/2014/main" id="{E142A731-19B7-C34D-9534-9E05108F895F}"/>
                </a:ext>
              </a:extLst>
            </p:cNvPr>
            <p:cNvSpPr>
              <a:spLocks noChangeAspect="1"/>
            </p:cNvSpPr>
            <p:nvPr/>
          </p:nvSpPr>
          <p:spPr bwMode="gray">
            <a:xfrm>
              <a:off x="3392092" y="1841122"/>
              <a:ext cx="646508" cy="646508"/>
            </a:xfrm>
            <a:prstGeom prst="rect">
              <a:avLst/>
            </a:prstGeom>
            <a:solidFill>
              <a:srgbClr val="E55A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pPr>
              <a:endParaRPr lang="en-US" sz="1000">
                <a:solidFill>
                  <a:schemeClr val="tx1"/>
                </a:solidFill>
                <a:latin typeface="Arial" pitchFamily="34" charset="0"/>
                <a:cs typeface="Arial" pitchFamily="34" charset="0"/>
              </a:endParaRPr>
            </a:p>
          </p:txBody>
        </p:sp>
        <p:sp>
          <p:nvSpPr>
            <p:cNvPr id="16" name="Freeform 15">
              <a:extLst>
                <a:ext uri="{FF2B5EF4-FFF2-40B4-BE49-F238E27FC236}">
                  <a16:creationId xmlns:a16="http://schemas.microsoft.com/office/drawing/2014/main" id="{F97E84AE-4AD9-4B44-9AA1-F797FC373809}"/>
                </a:ext>
              </a:extLst>
            </p:cNvPr>
            <p:cNvSpPr>
              <a:spLocks noChangeAspect="1"/>
            </p:cNvSpPr>
            <p:nvPr/>
          </p:nvSpPr>
          <p:spPr bwMode="auto">
            <a:xfrm>
              <a:off x="3546638" y="1970424"/>
              <a:ext cx="337415" cy="387905"/>
            </a:xfrm>
            <a:custGeom>
              <a:avLst/>
              <a:gdLst>
                <a:gd name="T0" fmla="*/ 573 w 1624"/>
                <a:gd name="T1" fmla="*/ 1257 h 1867"/>
                <a:gd name="T2" fmla="*/ 662 w 1624"/>
                <a:gd name="T3" fmla="*/ 1288 h 1867"/>
                <a:gd name="T4" fmla="*/ 938 w 1624"/>
                <a:gd name="T5" fmla="*/ 1051 h 1867"/>
                <a:gd name="T6" fmla="*/ 1106 w 1624"/>
                <a:gd name="T7" fmla="*/ 731 h 1867"/>
                <a:gd name="T8" fmla="*/ 1059 w 1624"/>
                <a:gd name="T9" fmla="*/ 645 h 1867"/>
                <a:gd name="T10" fmla="*/ 1001 w 1624"/>
                <a:gd name="T11" fmla="*/ 613 h 1867"/>
                <a:gd name="T12" fmla="*/ 924 w 1624"/>
                <a:gd name="T13" fmla="*/ 432 h 1867"/>
                <a:gd name="T14" fmla="*/ 1114 w 1624"/>
                <a:gd name="T15" fmla="*/ 81 h 1867"/>
                <a:gd name="T16" fmla="*/ 1287 w 1624"/>
                <a:gd name="T17" fmla="*/ 35 h 1867"/>
                <a:gd name="T18" fmla="*/ 1350 w 1624"/>
                <a:gd name="T19" fmla="*/ 69 h 1867"/>
                <a:gd name="T20" fmla="*/ 1527 w 1624"/>
                <a:gd name="T21" fmla="*/ 235 h 1867"/>
                <a:gd name="T22" fmla="*/ 1583 w 1624"/>
                <a:gd name="T23" fmla="*/ 555 h 1867"/>
                <a:gd name="T24" fmla="*/ 1172 w 1624"/>
                <a:gd name="T25" fmla="*/ 1253 h 1867"/>
                <a:gd name="T26" fmla="*/ 586 w 1624"/>
                <a:gd name="T27" fmla="*/ 1803 h 1867"/>
                <a:gd name="T28" fmla="*/ 269 w 1624"/>
                <a:gd name="T29" fmla="*/ 1807 h 1867"/>
                <a:gd name="T30" fmla="*/ 33 w 1624"/>
                <a:gd name="T31" fmla="*/ 1602 h 1867"/>
                <a:gd name="T32" fmla="*/ 2 w 1624"/>
                <a:gd name="T33" fmla="*/ 1508 h 1867"/>
                <a:gd name="T34" fmla="*/ 45 w 1624"/>
                <a:gd name="T35" fmla="*/ 1421 h 1867"/>
                <a:gd name="T36" fmla="*/ 346 w 1624"/>
                <a:gd name="T37" fmla="*/ 1158 h 1867"/>
                <a:gd name="T38" fmla="*/ 448 w 1624"/>
                <a:gd name="T39" fmla="*/ 1145 h 1867"/>
                <a:gd name="T40" fmla="*/ 573 w 1624"/>
                <a:gd name="T41" fmla="*/ 1257 h 18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24" h="1867">
                  <a:moveTo>
                    <a:pt x="573" y="1257"/>
                  </a:moveTo>
                  <a:cubicBezTo>
                    <a:pt x="592" y="1282"/>
                    <a:pt x="630" y="1303"/>
                    <a:pt x="662" y="1288"/>
                  </a:cubicBezTo>
                  <a:cubicBezTo>
                    <a:pt x="753" y="1245"/>
                    <a:pt x="854" y="1156"/>
                    <a:pt x="938" y="1051"/>
                  </a:cubicBezTo>
                  <a:cubicBezTo>
                    <a:pt x="1020" y="948"/>
                    <a:pt x="1084" y="831"/>
                    <a:pt x="1106" y="731"/>
                  </a:cubicBezTo>
                  <a:cubicBezTo>
                    <a:pt x="1113" y="696"/>
                    <a:pt x="1089" y="661"/>
                    <a:pt x="1059" y="645"/>
                  </a:cubicBezTo>
                  <a:cubicBezTo>
                    <a:pt x="1001" y="613"/>
                    <a:pt x="1001" y="613"/>
                    <a:pt x="1001" y="613"/>
                  </a:cubicBezTo>
                  <a:cubicBezTo>
                    <a:pt x="942" y="580"/>
                    <a:pt x="888" y="499"/>
                    <a:pt x="924" y="432"/>
                  </a:cubicBezTo>
                  <a:cubicBezTo>
                    <a:pt x="1114" y="81"/>
                    <a:pt x="1114" y="81"/>
                    <a:pt x="1114" y="81"/>
                  </a:cubicBezTo>
                  <a:cubicBezTo>
                    <a:pt x="1150" y="16"/>
                    <a:pt x="1224" y="0"/>
                    <a:pt x="1287" y="35"/>
                  </a:cubicBezTo>
                  <a:cubicBezTo>
                    <a:pt x="1350" y="69"/>
                    <a:pt x="1350" y="69"/>
                    <a:pt x="1350" y="69"/>
                  </a:cubicBezTo>
                  <a:cubicBezTo>
                    <a:pt x="1415" y="105"/>
                    <a:pt x="1479" y="165"/>
                    <a:pt x="1527" y="235"/>
                  </a:cubicBezTo>
                  <a:cubicBezTo>
                    <a:pt x="1593" y="332"/>
                    <a:pt x="1624" y="442"/>
                    <a:pt x="1583" y="555"/>
                  </a:cubicBezTo>
                  <a:cubicBezTo>
                    <a:pt x="1500" y="781"/>
                    <a:pt x="1351" y="1030"/>
                    <a:pt x="1172" y="1253"/>
                  </a:cubicBezTo>
                  <a:cubicBezTo>
                    <a:pt x="994" y="1477"/>
                    <a:pt x="786" y="1676"/>
                    <a:pt x="586" y="1803"/>
                  </a:cubicBezTo>
                  <a:cubicBezTo>
                    <a:pt x="486" y="1867"/>
                    <a:pt x="375" y="1856"/>
                    <a:pt x="269" y="1807"/>
                  </a:cubicBezTo>
                  <a:cubicBezTo>
                    <a:pt x="157" y="1755"/>
                    <a:pt x="106" y="1695"/>
                    <a:pt x="33" y="1602"/>
                  </a:cubicBezTo>
                  <a:cubicBezTo>
                    <a:pt x="11" y="1573"/>
                    <a:pt x="0" y="1540"/>
                    <a:pt x="2" y="1508"/>
                  </a:cubicBezTo>
                  <a:cubicBezTo>
                    <a:pt x="4" y="1475"/>
                    <a:pt x="18" y="1444"/>
                    <a:pt x="45" y="1421"/>
                  </a:cubicBezTo>
                  <a:cubicBezTo>
                    <a:pt x="70" y="1399"/>
                    <a:pt x="346" y="1158"/>
                    <a:pt x="346" y="1158"/>
                  </a:cubicBezTo>
                  <a:cubicBezTo>
                    <a:pt x="376" y="1134"/>
                    <a:pt x="413" y="1133"/>
                    <a:pt x="448" y="1145"/>
                  </a:cubicBezTo>
                  <a:cubicBezTo>
                    <a:pt x="510" y="1166"/>
                    <a:pt x="536" y="1210"/>
                    <a:pt x="573" y="1257"/>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351"/>
            </a:p>
          </p:txBody>
        </p:sp>
      </p:grpSp>
      <p:grpSp>
        <p:nvGrpSpPr>
          <p:cNvPr id="17" name="Group 3">
            <a:extLst>
              <a:ext uri="{FF2B5EF4-FFF2-40B4-BE49-F238E27FC236}">
                <a16:creationId xmlns:a16="http://schemas.microsoft.com/office/drawing/2014/main" id="{7104BADD-8CD1-6F4A-B894-869C3BDB3EEB}"/>
              </a:ext>
            </a:extLst>
          </p:cNvPr>
          <p:cNvGrpSpPr>
            <a:grpSpLocks noChangeAspect="1"/>
          </p:cNvGrpSpPr>
          <p:nvPr>
            <p:custDataLst>
              <p:tags r:id="rId2"/>
            </p:custDataLst>
          </p:nvPr>
        </p:nvGrpSpPr>
        <p:grpSpPr>
          <a:xfrm>
            <a:off x="8701918" y="3153207"/>
            <a:ext cx="171180" cy="171180"/>
            <a:chOff x="328396" y="5313940"/>
            <a:chExt cx="720000" cy="720000"/>
          </a:xfrm>
        </p:grpSpPr>
        <p:sp>
          <p:nvSpPr>
            <p:cNvPr id="18" name="Rectangle 4">
              <a:extLst>
                <a:ext uri="{FF2B5EF4-FFF2-40B4-BE49-F238E27FC236}">
                  <a16:creationId xmlns:a16="http://schemas.microsoft.com/office/drawing/2014/main" id="{74BE3D5F-1445-6E40-8B49-72E15568383B}"/>
                </a:ext>
              </a:extLst>
            </p:cNvPr>
            <p:cNvSpPr/>
            <p:nvPr/>
          </p:nvSpPr>
          <p:spPr bwMode="gray">
            <a:xfrm>
              <a:off x="328396" y="5313940"/>
              <a:ext cx="720000" cy="720000"/>
            </a:xfrm>
            <a:prstGeom prst="rect">
              <a:avLst/>
            </a:prstGeom>
            <a:solidFill>
              <a:srgbClr val="E55A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pPr>
              <a:endParaRPr lang="en-US" sz="1000">
                <a:solidFill>
                  <a:schemeClr val="tx1"/>
                </a:solidFill>
                <a:latin typeface="Arial" pitchFamily="34" charset="0"/>
                <a:cs typeface="Arial" pitchFamily="34" charset="0"/>
              </a:endParaRPr>
            </a:p>
          </p:txBody>
        </p:sp>
        <p:sp>
          <p:nvSpPr>
            <p:cNvPr id="19" name="Freeform 76">
              <a:extLst>
                <a:ext uri="{FF2B5EF4-FFF2-40B4-BE49-F238E27FC236}">
                  <a16:creationId xmlns:a16="http://schemas.microsoft.com/office/drawing/2014/main" id="{55DB3C95-7D0C-D141-901E-96D692794D2B}"/>
                </a:ext>
              </a:extLst>
            </p:cNvPr>
            <p:cNvSpPr>
              <a:spLocks noChangeAspect="1" noEditPoints="1"/>
            </p:cNvSpPr>
            <p:nvPr/>
          </p:nvSpPr>
          <p:spPr bwMode="auto">
            <a:xfrm>
              <a:off x="456202" y="5509222"/>
              <a:ext cx="504000" cy="329436"/>
            </a:xfrm>
            <a:custGeom>
              <a:avLst/>
              <a:gdLst>
                <a:gd name="T0" fmla="*/ 0 w 2080"/>
                <a:gd name="T1" fmla="*/ 65 h 1360"/>
                <a:gd name="T2" fmla="*/ 0 w 2080"/>
                <a:gd name="T3" fmla="*/ 0 h 1360"/>
                <a:gd name="T4" fmla="*/ 2080 w 2080"/>
                <a:gd name="T5" fmla="*/ 0 h 1360"/>
                <a:gd name="T6" fmla="*/ 2080 w 2080"/>
                <a:gd name="T7" fmla="*/ 65 h 1360"/>
                <a:gd name="T8" fmla="*/ 1089 w 2080"/>
                <a:gd name="T9" fmla="*/ 862 h 1360"/>
                <a:gd name="T10" fmla="*/ 991 w 2080"/>
                <a:gd name="T11" fmla="*/ 862 h 1360"/>
                <a:gd name="T12" fmla="*/ 0 w 2080"/>
                <a:gd name="T13" fmla="*/ 65 h 1360"/>
                <a:gd name="T14" fmla="*/ 1139 w 2080"/>
                <a:gd name="T15" fmla="*/ 924 h 1360"/>
                <a:gd name="T16" fmla="*/ 1282 w 2080"/>
                <a:gd name="T17" fmla="*/ 810 h 1360"/>
                <a:gd name="T18" fmla="*/ 2076 w 2080"/>
                <a:gd name="T19" fmla="*/ 1360 h 1360"/>
                <a:gd name="T20" fmla="*/ 4 w 2080"/>
                <a:gd name="T21" fmla="*/ 1360 h 1360"/>
                <a:gd name="T22" fmla="*/ 798 w 2080"/>
                <a:gd name="T23" fmla="*/ 810 h 1360"/>
                <a:gd name="T24" fmla="*/ 941 w 2080"/>
                <a:gd name="T25" fmla="*/ 924 h 1360"/>
                <a:gd name="T26" fmla="*/ 1139 w 2080"/>
                <a:gd name="T27" fmla="*/ 924 h 1360"/>
                <a:gd name="T28" fmla="*/ 2 w 2080"/>
                <a:gd name="T29" fmla="*/ 137 h 1360"/>
                <a:gd name="T30" fmla="*/ 42 w 2080"/>
                <a:gd name="T31" fmla="*/ 201 h 1360"/>
                <a:gd name="T32" fmla="*/ 734 w 2080"/>
                <a:gd name="T33" fmla="*/ 758 h 1360"/>
                <a:gd name="T34" fmla="*/ 0 w 2080"/>
                <a:gd name="T35" fmla="*/ 1266 h 1360"/>
                <a:gd name="T36" fmla="*/ 0 w 2080"/>
                <a:gd name="T37" fmla="*/ 135 h 1360"/>
                <a:gd name="T38" fmla="*/ 2 w 2080"/>
                <a:gd name="T39" fmla="*/ 137 h 1360"/>
                <a:gd name="T40" fmla="*/ 2080 w 2080"/>
                <a:gd name="T41" fmla="*/ 136 h 1360"/>
                <a:gd name="T42" fmla="*/ 2080 w 2080"/>
                <a:gd name="T43" fmla="*/ 1265 h 1360"/>
                <a:gd name="T44" fmla="*/ 1346 w 2080"/>
                <a:gd name="T45" fmla="*/ 758 h 1360"/>
                <a:gd name="T46" fmla="*/ 2038 w 2080"/>
                <a:gd name="T47" fmla="*/ 201 h 1360"/>
                <a:gd name="T48" fmla="*/ 2080 w 2080"/>
                <a:gd name="T49" fmla="*/ 136 h 1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080" h="1360">
                  <a:moveTo>
                    <a:pt x="0" y="65"/>
                  </a:moveTo>
                  <a:cubicBezTo>
                    <a:pt x="0" y="0"/>
                    <a:pt x="0" y="0"/>
                    <a:pt x="0" y="0"/>
                  </a:cubicBezTo>
                  <a:cubicBezTo>
                    <a:pt x="2080" y="0"/>
                    <a:pt x="2080" y="0"/>
                    <a:pt x="2080" y="0"/>
                  </a:cubicBezTo>
                  <a:cubicBezTo>
                    <a:pt x="2080" y="65"/>
                    <a:pt x="2080" y="65"/>
                    <a:pt x="2080" y="65"/>
                  </a:cubicBezTo>
                  <a:cubicBezTo>
                    <a:pt x="1089" y="862"/>
                    <a:pt x="1089" y="862"/>
                    <a:pt x="1089" y="862"/>
                  </a:cubicBezTo>
                  <a:cubicBezTo>
                    <a:pt x="1060" y="886"/>
                    <a:pt x="1020" y="886"/>
                    <a:pt x="991" y="862"/>
                  </a:cubicBezTo>
                  <a:lnTo>
                    <a:pt x="0" y="65"/>
                  </a:lnTo>
                  <a:close/>
                  <a:moveTo>
                    <a:pt x="1139" y="924"/>
                  </a:moveTo>
                  <a:cubicBezTo>
                    <a:pt x="1282" y="810"/>
                    <a:pt x="1282" y="810"/>
                    <a:pt x="1282" y="810"/>
                  </a:cubicBezTo>
                  <a:cubicBezTo>
                    <a:pt x="2076" y="1360"/>
                    <a:pt x="2076" y="1360"/>
                    <a:pt x="2076" y="1360"/>
                  </a:cubicBezTo>
                  <a:cubicBezTo>
                    <a:pt x="4" y="1360"/>
                    <a:pt x="4" y="1360"/>
                    <a:pt x="4" y="1360"/>
                  </a:cubicBezTo>
                  <a:cubicBezTo>
                    <a:pt x="798" y="810"/>
                    <a:pt x="798" y="810"/>
                    <a:pt x="798" y="810"/>
                  </a:cubicBezTo>
                  <a:cubicBezTo>
                    <a:pt x="941" y="924"/>
                    <a:pt x="941" y="924"/>
                    <a:pt x="941" y="924"/>
                  </a:cubicBezTo>
                  <a:cubicBezTo>
                    <a:pt x="1000" y="972"/>
                    <a:pt x="1080" y="972"/>
                    <a:pt x="1139" y="924"/>
                  </a:cubicBezTo>
                  <a:close/>
                  <a:moveTo>
                    <a:pt x="2" y="137"/>
                  </a:moveTo>
                  <a:cubicBezTo>
                    <a:pt x="8" y="163"/>
                    <a:pt x="22" y="185"/>
                    <a:pt x="42" y="201"/>
                  </a:cubicBezTo>
                  <a:cubicBezTo>
                    <a:pt x="734" y="758"/>
                    <a:pt x="734" y="758"/>
                    <a:pt x="734" y="758"/>
                  </a:cubicBezTo>
                  <a:cubicBezTo>
                    <a:pt x="0" y="1266"/>
                    <a:pt x="0" y="1266"/>
                    <a:pt x="0" y="1266"/>
                  </a:cubicBezTo>
                  <a:cubicBezTo>
                    <a:pt x="0" y="135"/>
                    <a:pt x="0" y="135"/>
                    <a:pt x="0" y="135"/>
                  </a:cubicBezTo>
                  <a:lnTo>
                    <a:pt x="2" y="137"/>
                  </a:lnTo>
                  <a:close/>
                  <a:moveTo>
                    <a:pt x="2080" y="136"/>
                  </a:moveTo>
                  <a:cubicBezTo>
                    <a:pt x="2080" y="1265"/>
                    <a:pt x="2080" y="1265"/>
                    <a:pt x="2080" y="1265"/>
                  </a:cubicBezTo>
                  <a:cubicBezTo>
                    <a:pt x="1346" y="758"/>
                    <a:pt x="1346" y="758"/>
                    <a:pt x="1346" y="758"/>
                  </a:cubicBezTo>
                  <a:cubicBezTo>
                    <a:pt x="2038" y="201"/>
                    <a:pt x="2038" y="201"/>
                    <a:pt x="2038" y="201"/>
                  </a:cubicBezTo>
                  <a:cubicBezTo>
                    <a:pt x="2060" y="182"/>
                    <a:pt x="2072" y="162"/>
                    <a:pt x="2080" y="13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000"/>
            </a:p>
          </p:txBody>
        </p:sp>
      </p:grpSp>
      <p:cxnSp>
        <p:nvCxnSpPr>
          <p:cNvPr id="20" name="Straight Connector 19"/>
          <p:cNvCxnSpPr/>
          <p:nvPr/>
        </p:nvCxnSpPr>
        <p:spPr>
          <a:xfrm>
            <a:off x="2371725" y="3478213"/>
            <a:ext cx="3888000" cy="0"/>
          </a:xfrm>
          <a:prstGeom prst="line">
            <a:avLst/>
          </a:prstGeom>
          <a:ln w="6350">
            <a:solidFill>
              <a:schemeClr val="tx2"/>
            </a:solidFill>
            <a:prstDash val="dash"/>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p:nvCxnSpPr>
        <p:spPr>
          <a:xfrm>
            <a:off x="7287766" y="3478213"/>
            <a:ext cx="3888000" cy="0"/>
          </a:xfrm>
          <a:prstGeom prst="line">
            <a:avLst/>
          </a:prstGeom>
          <a:ln w="6350">
            <a:solidFill>
              <a:schemeClr val="tx2"/>
            </a:solidFill>
            <a:prstDash val="dash"/>
          </a:ln>
        </p:spPr>
        <p:style>
          <a:lnRef idx="1">
            <a:schemeClr val="accent1"/>
          </a:lnRef>
          <a:fillRef idx="0">
            <a:schemeClr val="accent1"/>
          </a:fillRef>
          <a:effectRef idx="0">
            <a:schemeClr val="accent1"/>
          </a:effectRef>
          <a:fontRef idx="minor">
            <a:schemeClr val="tx1"/>
          </a:fontRef>
        </p:style>
      </p:cxnSp>
      <p:sp>
        <p:nvSpPr>
          <p:cNvPr id="4" name="Picture Placeholder 3"/>
          <p:cNvSpPr>
            <a:spLocks noGrp="1"/>
          </p:cNvSpPr>
          <p:nvPr>
            <p:ph type="pic" sz="quarter" idx="17" hasCustomPrompt="1"/>
          </p:nvPr>
        </p:nvSpPr>
        <p:spPr>
          <a:xfrm>
            <a:off x="2355914" y="1808984"/>
            <a:ext cx="1188677" cy="1547840"/>
          </a:xfrm>
          <a:solidFill>
            <a:srgbClr val="D9DADB"/>
          </a:solidFill>
        </p:spPr>
        <p:txBody>
          <a:bodyPr/>
          <a:lstStyle>
            <a:lvl1pPr marL="0" indent="0">
              <a:buNone/>
              <a:defRPr sz="1400"/>
            </a:lvl1pPr>
          </a:lstStyle>
          <a:p>
            <a:r>
              <a:rPr lang="en-US"/>
              <a:t>Insert picture</a:t>
            </a:r>
          </a:p>
        </p:txBody>
      </p:sp>
      <p:sp>
        <p:nvSpPr>
          <p:cNvPr id="25" name="Picture Placeholder 3"/>
          <p:cNvSpPr>
            <a:spLocks noGrp="1"/>
          </p:cNvSpPr>
          <p:nvPr>
            <p:ph type="pic" sz="quarter" idx="18" hasCustomPrompt="1"/>
          </p:nvPr>
        </p:nvSpPr>
        <p:spPr>
          <a:xfrm>
            <a:off x="7287766" y="1808984"/>
            <a:ext cx="1188677" cy="1547840"/>
          </a:xfrm>
          <a:solidFill>
            <a:srgbClr val="D9DADB"/>
          </a:solidFill>
        </p:spPr>
        <p:txBody>
          <a:bodyPr/>
          <a:lstStyle>
            <a:lvl1pPr marL="0" indent="0">
              <a:buNone/>
              <a:defRPr sz="1400"/>
            </a:lvl1pPr>
          </a:lstStyle>
          <a:p>
            <a:r>
              <a:rPr lang="en-US"/>
              <a:t>Insert picture</a:t>
            </a:r>
          </a:p>
        </p:txBody>
      </p:sp>
      <p:sp>
        <p:nvSpPr>
          <p:cNvPr id="6" name="Text Placeholder 5"/>
          <p:cNvSpPr>
            <a:spLocks noGrp="1"/>
          </p:cNvSpPr>
          <p:nvPr>
            <p:ph type="body" sz="quarter" idx="19" hasCustomPrompt="1"/>
          </p:nvPr>
        </p:nvSpPr>
        <p:spPr>
          <a:xfrm>
            <a:off x="3770065" y="1808521"/>
            <a:ext cx="2463190" cy="192360"/>
          </a:xfrm>
        </p:spPr>
        <p:txBody>
          <a:bodyPr lIns="0" tIns="0" rIns="0" bIns="0" anchor="ctr" anchorCtr="0"/>
          <a:lstStyle>
            <a:lvl1pPr marL="0" indent="0" algn="l">
              <a:lnSpc>
                <a:spcPct val="100000"/>
              </a:lnSpc>
              <a:buNone/>
              <a:defRPr sz="100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Country</a:t>
            </a:r>
          </a:p>
        </p:txBody>
      </p:sp>
      <p:sp>
        <p:nvSpPr>
          <p:cNvPr id="26" name="Text Placeholder 5"/>
          <p:cNvSpPr>
            <a:spLocks noGrp="1"/>
          </p:cNvSpPr>
          <p:nvPr>
            <p:ph type="body" sz="quarter" idx="20" hasCustomPrompt="1"/>
          </p:nvPr>
        </p:nvSpPr>
        <p:spPr>
          <a:xfrm>
            <a:off x="3770065" y="2020337"/>
            <a:ext cx="2463190" cy="266182"/>
          </a:xfrm>
        </p:spPr>
        <p:txBody>
          <a:bodyPr lIns="0" tIns="0" rIns="0" bIns="0" anchor="b" anchorCtr="0"/>
          <a:lstStyle>
            <a:lvl1pPr marL="0" indent="0" algn="l">
              <a:lnSpc>
                <a:spcPct val="100000"/>
              </a:lnSpc>
              <a:buNone/>
              <a:defRPr sz="1400" b="1" baseline="0">
                <a:solidFill>
                  <a:schemeClr val="tx2"/>
                </a:solidFill>
              </a:defRPr>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Name, Surname</a:t>
            </a:r>
          </a:p>
        </p:txBody>
      </p:sp>
      <p:sp>
        <p:nvSpPr>
          <p:cNvPr id="27" name="Text Placeholder 5"/>
          <p:cNvSpPr>
            <a:spLocks noGrp="1"/>
          </p:cNvSpPr>
          <p:nvPr>
            <p:ph type="body" sz="quarter" idx="21" hasCustomPrompt="1"/>
          </p:nvPr>
        </p:nvSpPr>
        <p:spPr>
          <a:xfrm>
            <a:off x="3770065" y="2316912"/>
            <a:ext cx="2463190"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Job Position</a:t>
            </a:r>
          </a:p>
        </p:txBody>
      </p:sp>
      <p:sp>
        <p:nvSpPr>
          <p:cNvPr id="28" name="Text Placeholder 5"/>
          <p:cNvSpPr>
            <a:spLocks noGrp="1"/>
          </p:cNvSpPr>
          <p:nvPr>
            <p:ph type="body" sz="quarter" idx="22" hasCustomPrompt="1"/>
          </p:nvPr>
        </p:nvSpPr>
        <p:spPr>
          <a:xfrm>
            <a:off x="4014948" y="2845588"/>
            <a:ext cx="2218307"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Phone number</a:t>
            </a:r>
          </a:p>
        </p:txBody>
      </p:sp>
      <p:sp>
        <p:nvSpPr>
          <p:cNvPr id="29" name="Text Placeholder 5"/>
          <p:cNvSpPr>
            <a:spLocks noGrp="1"/>
          </p:cNvSpPr>
          <p:nvPr>
            <p:ph type="body" sz="quarter" idx="23" hasCustomPrompt="1"/>
          </p:nvPr>
        </p:nvSpPr>
        <p:spPr>
          <a:xfrm>
            <a:off x="4014948" y="3128395"/>
            <a:ext cx="2218307"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Email address</a:t>
            </a:r>
          </a:p>
        </p:txBody>
      </p:sp>
      <p:sp>
        <p:nvSpPr>
          <p:cNvPr id="30" name="Text Placeholder 5"/>
          <p:cNvSpPr>
            <a:spLocks noGrp="1"/>
          </p:cNvSpPr>
          <p:nvPr>
            <p:ph type="body" sz="quarter" idx="24" hasCustomPrompt="1"/>
          </p:nvPr>
        </p:nvSpPr>
        <p:spPr>
          <a:xfrm>
            <a:off x="8701917" y="1808521"/>
            <a:ext cx="2463190" cy="192360"/>
          </a:xfrm>
        </p:spPr>
        <p:txBody>
          <a:bodyPr lIns="0" tIns="0" rIns="0" bIns="0" anchor="ctr" anchorCtr="0"/>
          <a:lstStyle>
            <a:lvl1pPr marL="0" indent="0" algn="l">
              <a:lnSpc>
                <a:spcPct val="100000"/>
              </a:lnSpc>
              <a:buNone/>
              <a:defRPr sz="100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Country</a:t>
            </a:r>
          </a:p>
        </p:txBody>
      </p:sp>
      <p:sp>
        <p:nvSpPr>
          <p:cNvPr id="31" name="Text Placeholder 5"/>
          <p:cNvSpPr>
            <a:spLocks noGrp="1"/>
          </p:cNvSpPr>
          <p:nvPr>
            <p:ph type="body" sz="quarter" idx="25" hasCustomPrompt="1"/>
          </p:nvPr>
        </p:nvSpPr>
        <p:spPr>
          <a:xfrm>
            <a:off x="8701917" y="2020337"/>
            <a:ext cx="2463190" cy="266182"/>
          </a:xfrm>
        </p:spPr>
        <p:txBody>
          <a:bodyPr lIns="0" tIns="0" rIns="0" bIns="0" anchor="b" anchorCtr="0"/>
          <a:lstStyle>
            <a:lvl1pPr marL="0" indent="0" algn="l">
              <a:lnSpc>
                <a:spcPct val="100000"/>
              </a:lnSpc>
              <a:buNone/>
              <a:defRPr sz="1400" b="1" baseline="0">
                <a:solidFill>
                  <a:schemeClr val="tx2"/>
                </a:solidFill>
              </a:defRPr>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Name, Surname</a:t>
            </a:r>
          </a:p>
        </p:txBody>
      </p:sp>
      <p:sp>
        <p:nvSpPr>
          <p:cNvPr id="32" name="Text Placeholder 5"/>
          <p:cNvSpPr>
            <a:spLocks noGrp="1"/>
          </p:cNvSpPr>
          <p:nvPr>
            <p:ph type="body" sz="quarter" idx="26" hasCustomPrompt="1"/>
          </p:nvPr>
        </p:nvSpPr>
        <p:spPr>
          <a:xfrm>
            <a:off x="8701917" y="2316912"/>
            <a:ext cx="2463190"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Job Position</a:t>
            </a:r>
          </a:p>
        </p:txBody>
      </p:sp>
      <p:sp>
        <p:nvSpPr>
          <p:cNvPr id="33" name="Text Placeholder 5"/>
          <p:cNvSpPr>
            <a:spLocks noGrp="1"/>
          </p:cNvSpPr>
          <p:nvPr>
            <p:ph type="body" sz="quarter" idx="27" hasCustomPrompt="1"/>
          </p:nvPr>
        </p:nvSpPr>
        <p:spPr>
          <a:xfrm>
            <a:off x="8946800" y="2845588"/>
            <a:ext cx="2218307"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Phone number</a:t>
            </a:r>
          </a:p>
        </p:txBody>
      </p:sp>
      <p:sp>
        <p:nvSpPr>
          <p:cNvPr id="34" name="Text Placeholder 5"/>
          <p:cNvSpPr>
            <a:spLocks noGrp="1"/>
          </p:cNvSpPr>
          <p:nvPr>
            <p:ph type="body" sz="quarter" idx="28" hasCustomPrompt="1"/>
          </p:nvPr>
        </p:nvSpPr>
        <p:spPr>
          <a:xfrm>
            <a:off x="8946800" y="3128395"/>
            <a:ext cx="2218307"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Email address</a:t>
            </a:r>
          </a:p>
        </p:txBody>
      </p:sp>
    </p:spTree>
    <p:extLst>
      <p:ext uri="{BB962C8B-B14F-4D97-AF65-F5344CB8AC3E}">
        <p14:creationId xmlns:p14="http://schemas.microsoft.com/office/powerpoint/2010/main" val="326929839"/>
      </p:ext>
    </p:extLst>
  </p:cSld>
  <p:clrMapOvr>
    <a:masterClrMapping/>
  </p:clrMapOvr>
</p:sldLayout>
</file>

<file path=ppt/slideLayouts/slideLayout558.xml><?xml version="1.0" encoding="utf-8"?>
<p:sldLayout xmlns:a="http://schemas.openxmlformats.org/drawingml/2006/main" xmlns:r="http://schemas.openxmlformats.org/officeDocument/2006/relationships" xmlns:p="http://schemas.openxmlformats.org/presentationml/2006/main" preserve="1">
  <p:cSld name="Three contacts">
    <p:spTree>
      <p:nvGrpSpPr>
        <p:cNvPr id="1" name=""/>
        <p:cNvGrpSpPr/>
        <p:nvPr/>
      </p:nvGrpSpPr>
      <p:grpSpPr>
        <a:xfrm>
          <a:off x="0" y="0"/>
          <a:ext cx="0" cy="0"/>
          <a:chOff x="0" y="0"/>
          <a:chExt cx="0" cy="0"/>
        </a:xfrm>
      </p:grpSpPr>
      <p:sp>
        <p:nvSpPr>
          <p:cNvPr id="21" name="Date Placeholder 20"/>
          <p:cNvSpPr>
            <a:spLocks noGrp="1"/>
          </p:cNvSpPr>
          <p:nvPr>
            <p:ph type="dt" sz="half" idx="14"/>
          </p:nvPr>
        </p:nvSpPr>
        <p:spPr/>
        <p:txBody>
          <a:bodyPr/>
          <a:lstStyle/>
          <a:p>
            <a:fld id="{6580B400-49DF-489E-B82C-8D138BFCC234}" type="datetime5">
              <a:rPr lang="en-US" smtClean="0"/>
              <a:t>26-Jun-20</a:t>
            </a:fld>
            <a:endParaRPr lang="en-US"/>
          </a:p>
        </p:txBody>
      </p:sp>
      <p:sp>
        <p:nvSpPr>
          <p:cNvPr id="22" name="Footer Placeholder 21"/>
          <p:cNvSpPr>
            <a:spLocks noGrp="1"/>
          </p:cNvSpPr>
          <p:nvPr>
            <p:ph type="ftr" sz="quarter" idx="15"/>
          </p:nvPr>
        </p:nvSpPr>
        <p:spPr/>
        <p:txBody>
          <a:bodyPr/>
          <a:lstStyle/>
          <a:p>
            <a:r>
              <a:rPr lang="en-US"/>
              <a:t>Title of presentation (Insert / Header &amp; Footer / Apply to All)</a:t>
            </a:r>
          </a:p>
        </p:txBody>
      </p:sp>
      <p:sp>
        <p:nvSpPr>
          <p:cNvPr id="23" name="Slide Number Placeholder 22"/>
          <p:cNvSpPr>
            <a:spLocks noGrp="1"/>
          </p:cNvSpPr>
          <p:nvPr>
            <p:ph type="sldNum" sz="quarter" idx="16"/>
          </p:nvPr>
        </p:nvSpPr>
        <p:spPr/>
        <p:txBody>
          <a:bodyPr/>
          <a:lstStyle/>
          <a:p>
            <a:fld id="{5F3E29E4-0979-4FCA-B4C5-5FC6044C982A}" type="slidenum">
              <a:rPr lang="en-US" smtClean="0"/>
              <a:t>‹#›</a:t>
            </a:fld>
            <a:endParaRPr lang="en-US"/>
          </a:p>
        </p:txBody>
      </p:sp>
      <p:sp>
        <p:nvSpPr>
          <p:cNvPr id="2" name="Title 1"/>
          <p:cNvSpPr>
            <a:spLocks noGrp="1"/>
          </p:cNvSpPr>
          <p:nvPr>
            <p:ph type="title" hasCustomPrompt="1"/>
          </p:nvPr>
        </p:nvSpPr>
        <p:spPr/>
        <p:txBody>
          <a:bodyPr/>
          <a:lstStyle>
            <a:lvl1pPr>
              <a:defRPr/>
            </a:lvl1pPr>
          </a:lstStyle>
          <a:p>
            <a:r>
              <a:rPr lang="en-US"/>
              <a:t>Click to add contact title</a:t>
            </a:r>
          </a:p>
        </p:txBody>
      </p:sp>
      <p:sp>
        <p:nvSpPr>
          <p:cNvPr id="7" name="Subtitle 2"/>
          <p:cNvSpPr>
            <a:spLocks noGrp="1"/>
          </p:cNvSpPr>
          <p:nvPr>
            <p:ph type="subTitle" idx="13" hasCustomPrompt="1"/>
          </p:nvPr>
        </p:nvSpPr>
        <p:spPr>
          <a:xfrm>
            <a:off x="1075061" y="964671"/>
            <a:ext cx="7910158" cy="490042"/>
          </a:xfrm>
        </p:spPr>
        <p:txBody>
          <a:bodyPr wrap="none"/>
          <a:lstStyle>
            <a:lvl1pPr marL="0" indent="0" algn="l">
              <a:spcBef>
                <a:spcPts val="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grpSp>
        <p:nvGrpSpPr>
          <p:cNvPr id="8" name="Gruppieren 80">
            <a:extLst>
              <a:ext uri="{FF2B5EF4-FFF2-40B4-BE49-F238E27FC236}">
                <a16:creationId xmlns:a16="http://schemas.microsoft.com/office/drawing/2014/main" id="{6B969E7B-9C39-4443-9B02-74C1E7C5CCAC}"/>
              </a:ext>
            </a:extLst>
          </p:cNvPr>
          <p:cNvGrpSpPr/>
          <p:nvPr/>
        </p:nvGrpSpPr>
        <p:grpSpPr>
          <a:xfrm>
            <a:off x="3770065" y="2868319"/>
            <a:ext cx="171180" cy="171180"/>
            <a:chOff x="3392092" y="1841122"/>
            <a:chExt cx="646508" cy="646508"/>
          </a:xfrm>
        </p:grpSpPr>
        <p:sp>
          <p:nvSpPr>
            <p:cNvPr id="9" name="Rechteck 14">
              <a:extLst>
                <a:ext uri="{FF2B5EF4-FFF2-40B4-BE49-F238E27FC236}">
                  <a16:creationId xmlns:a16="http://schemas.microsoft.com/office/drawing/2014/main" id="{D78F58EA-5525-8D43-8295-FEA52ECF6BFA}"/>
                </a:ext>
              </a:extLst>
            </p:cNvPr>
            <p:cNvSpPr>
              <a:spLocks noChangeAspect="1"/>
            </p:cNvSpPr>
            <p:nvPr/>
          </p:nvSpPr>
          <p:spPr bwMode="gray">
            <a:xfrm>
              <a:off x="3392092" y="1841122"/>
              <a:ext cx="646508" cy="646508"/>
            </a:xfrm>
            <a:prstGeom prst="rect">
              <a:avLst/>
            </a:prstGeom>
            <a:solidFill>
              <a:srgbClr val="E55A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pPr>
              <a:endParaRPr lang="en-US" sz="1000">
                <a:solidFill>
                  <a:schemeClr val="tx1"/>
                </a:solidFill>
                <a:latin typeface="Arial" pitchFamily="34" charset="0"/>
                <a:cs typeface="Arial" pitchFamily="34" charset="0"/>
              </a:endParaRPr>
            </a:p>
          </p:txBody>
        </p:sp>
        <p:sp>
          <p:nvSpPr>
            <p:cNvPr id="10" name="Freeform 67">
              <a:extLst>
                <a:ext uri="{FF2B5EF4-FFF2-40B4-BE49-F238E27FC236}">
                  <a16:creationId xmlns:a16="http://schemas.microsoft.com/office/drawing/2014/main" id="{D01A6292-2776-4945-B828-483D79DC4908}"/>
                </a:ext>
              </a:extLst>
            </p:cNvPr>
            <p:cNvSpPr>
              <a:spLocks noChangeAspect="1"/>
            </p:cNvSpPr>
            <p:nvPr/>
          </p:nvSpPr>
          <p:spPr bwMode="auto">
            <a:xfrm>
              <a:off x="3546638" y="1970424"/>
              <a:ext cx="337415" cy="387905"/>
            </a:xfrm>
            <a:custGeom>
              <a:avLst/>
              <a:gdLst>
                <a:gd name="T0" fmla="*/ 573 w 1624"/>
                <a:gd name="T1" fmla="*/ 1257 h 1867"/>
                <a:gd name="T2" fmla="*/ 662 w 1624"/>
                <a:gd name="T3" fmla="*/ 1288 h 1867"/>
                <a:gd name="T4" fmla="*/ 938 w 1624"/>
                <a:gd name="T5" fmla="*/ 1051 h 1867"/>
                <a:gd name="T6" fmla="*/ 1106 w 1624"/>
                <a:gd name="T7" fmla="*/ 731 h 1867"/>
                <a:gd name="T8" fmla="*/ 1059 w 1624"/>
                <a:gd name="T9" fmla="*/ 645 h 1867"/>
                <a:gd name="T10" fmla="*/ 1001 w 1624"/>
                <a:gd name="T11" fmla="*/ 613 h 1867"/>
                <a:gd name="T12" fmla="*/ 924 w 1624"/>
                <a:gd name="T13" fmla="*/ 432 h 1867"/>
                <a:gd name="T14" fmla="*/ 1114 w 1624"/>
                <a:gd name="T15" fmla="*/ 81 h 1867"/>
                <a:gd name="T16" fmla="*/ 1287 w 1624"/>
                <a:gd name="T17" fmla="*/ 35 h 1867"/>
                <a:gd name="T18" fmla="*/ 1350 w 1624"/>
                <a:gd name="T19" fmla="*/ 69 h 1867"/>
                <a:gd name="T20" fmla="*/ 1527 w 1624"/>
                <a:gd name="T21" fmla="*/ 235 h 1867"/>
                <a:gd name="T22" fmla="*/ 1583 w 1624"/>
                <a:gd name="T23" fmla="*/ 555 h 1867"/>
                <a:gd name="T24" fmla="*/ 1172 w 1624"/>
                <a:gd name="T25" fmla="*/ 1253 h 1867"/>
                <a:gd name="T26" fmla="*/ 586 w 1624"/>
                <a:gd name="T27" fmla="*/ 1803 h 1867"/>
                <a:gd name="T28" fmla="*/ 269 w 1624"/>
                <a:gd name="T29" fmla="*/ 1807 h 1867"/>
                <a:gd name="T30" fmla="*/ 33 w 1624"/>
                <a:gd name="T31" fmla="*/ 1602 h 1867"/>
                <a:gd name="T32" fmla="*/ 2 w 1624"/>
                <a:gd name="T33" fmla="*/ 1508 h 1867"/>
                <a:gd name="T34" fmla="*/ 45 w 1624"/>
                <a:gd name="T35" fmla="*/ 1421 h 1867"/>
                <a:gd name="T36" fmla="*/ 346 w 1624"/>
                <a:gd name="T37" fmla="*/ 1158 h 1867"/>
                <a:gd name="T38" fmla="*/ 448 w 1624"/>
                <a:gd name="T39" fmla="*/ 1145 h 1867"/>
                <a:gd name="T40" fmla="*/ 573 w 1624"/>
                <a:gd name="T41" fmla="*/ 1257 h 18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24" h="1867">
                  <a:moveTo>
                    <a:pt x="573" y="1257"/>
                  </a:moveTo>
                  <a:cubicBezTo>
                    <a:pt x="592" y="1282"/>
                    <a:pt x="630" y="1303"/>
                    <a:pt x="662" y="1288"/>
                  </a:cubicBezTo>
                  <a:cubicBezTo>
                    <a:pt x="753" y="1245"/>
                    <a:pt x="854" y="1156"/>
                    <a:pt x="938" y="1051"/>
                  </a:cubicBezTo>
                  <a:cubicBezTo>
                    <a:pt x="1020" y="948"/>
                    <a:pt x="1084" y="831"/>
                    <a:pt x="1106" y="731"/>
                  </a:cubicBezTo>
                  <a:cubicBezTo>
                    <a:pt x="1113" y="696"/>
                    <a:pt x="1089" y="661"/>
                    <a:pt x="1059" y="645"/>
                  </a:cubicBezTo>
                  <a:cubicBezTo>
                    <a:pt x="1001" y="613"/>
                    <a:pt x="1001" y="613"/>
                    <a:pt x="1001" y="613"/>
                  </a:cubicBezTo>
                  <a:cubicBezTo>
                    <a:pt x="942" y="580"/>
                    <a:pt x="888" y="499"/>
                    <a:pt x="924" y="432"/>
                  </a:cubicBezTo>
                  <a:cubicBezTo>
                    <a:pt x="1114" y="81"/>
                    <a:pt x="1114" y="81"/>
                    <a:pt x="1114" y="81"/>
                  </a:cubicBezTo>
                  <a:cubicBezTo>
                    <a:pt x="1150" y="16"/>
                    <a:pt x="1224" y="0"/>
                    <a:pt x="1287" y="35"/>
                  </a:cubicBezTo>
                  <a:cubicBezTo>
                    <a:pt x="1350" y="69"/>
                    <a:pt x="1350" y="69"/>
                    <a:pt x="1350" y="69"/>
                  </a:cubicBezTo>
                  <a:cubicBezTo>
                    <a:pt x="1415" y="105"/>
                    <a:pt x="1479" y="165"/>
                    <a:pt x="1527" y="235"/>
                  </a:cubicBezTo>
                  <a:cubicBezTo>
                    <a:pt x="1593" y="332"/>
                    <a:pt x="1624" y="442"/>
                    <a:pt x="1583" y="555"/>
                  </a:cubicBezTo>
                  <a:cubicBezTo>
                    <a:pt x="1500" y="781"/>
                    <a:pt x="1351" y="1030"/>
                    <a:pt x="1172" y="1253"/>
                  </a:cubicBezTo>
                  <a:cubicBezTo>
                    <a:pt x="994" y="1477"/>
                    <a:pt x="786" y="1676"/>
                    <a:pt x="586" y="1803"/>
                  </a:cubicBezTo>
                  <a:cubicBezTo>
                    <a:pt x="486" y="1867"/>
                    <a:pt x="375" y="1856"/>
                    <a:pt x="269" y="1807"/>
                  </a:cubicBezTo>
                  <a:cubicBezTo>
                    <a:pt x="157" y="1755"/>
                    <a:pt x="106" y="1695"/>
                    <a:pt x="33" y="1602"/>
                  </a:cubicBezTo>
                  <a:cubicBezTo>
                    <a:pt x="11" y="1573"/>
                    <a:pt x="0" y="1540"/>
                    <a:pt x="2" y="1508"/>
                  </a:cubicBezTo>
                  <a:cubicBezTo>
                    <a:pt x="4" y="1475"/>
                    <a:pt x="18" y="1444"/>
                    <a:pt x="45" y="1421"/>
                  </a:cubicBezTo>
                  <a:cubicBezTo>
                    <a:pt x="70" y="1399"/>
                    <a:pt x="346" y="1158"/>
                    <a:pt x="346" y="1158"/>
                  </a:cubicBezTo>
                  <a:cubicBezTo>
                    <a:pt x="376" y="1134"/>
                    <a:pt x="413" y="1133"/>
                    <a:pt x="448" y="1145"/>
                  </a:cubicBezTo>
                  <a:cubicBezTo>
                    <a:pt x="510" y="1166"/>
                    <a:pt x="536" y="1210"/>
                    <a:pt x="573" y="1257"/>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351"/>
            </a:p>
          </p:txBody>
        </p:sp>
      </p:grpSp>
      <p:grpSp>
        <p:nvGrpSpPr>
          <p:cNvPr id="11" name="Group 3">
            <a:extLst>
              <a:ext uri="{FF2B5EF4-FFF2-40B4-BE49-F238E27FC236}">
                <a16:creationId xmlns:a16="http://schemas.microsoft.com/office/drawing/2014/main" id="{DED6A25A-5DE2-1441-8BA2-C68D3B4F9209}"/>
              </a:ext>
            </a:extLst>
          </p:cNvPr>
          <p:cNvGrpSpPr>
            <a:grpSpLocks noChangeAspect="1"/>
          </p:cNvGrpSpPr>
          <p:nvPr>
            <p:custDataLst>
              <p:tags r:id="rId1"/>
            </p:custDataLst>
          </p:nvPr>
        </p:nvGrpSpPr>
        <p:grpSpPr>
          <a:xfrm>
            <a:off x="3770066" y="3153207"/>
            <a:ext cx="171180" cy="171180"/>
            <a:chOff x="328396" y="5313940"/>
            <a:chExt cx="720000" cy="720000"/>
          </a:xfrm>
        </p:grpSpPr>
        <p:sp>
          <p:nvSpPr>
            <p:cNvPr id="12" name="Rectangle 4">
              <a:extLst>
                <a:ext uri="{FF2B5EF4-FFF2-40B4-BE49-F238E27FC236}">
                  <a16:creationId xmlns:a16="http://schemas.microsoft.com/office/drawing/2014/main" id="{5F49E67F-D4FA-9D48-96BC-59AE946ECD15}"/>
                </a:ext>
              </a:extLst>
            </p:cNvPr>
            <p:cNvSpPr/>
            <p:nvPr/>
          </p:nvSpPr>
          <p:spPr bwMode="gray">
            <a:xfrm>
              <a:off x="328396" y="5313940"/>
              <a:ext cx="720000" cy="720000"/>
            </a:xfrm>
            <a:prstGeom prst="rect">
              <a:avLst/>
            </a:prstGeom>
            <a:solidFill>
              <a:srgbClr val="E55A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pPr>
              <a:endParaRPr lang="en-US" sz="1000">
                <a:solidFill>
                  <a:schemeClr val="tx1"/>
                </a:solidFill>
                <a:latin typeface="Arial" pitchFamily="34" charset="0"/>
                <a:cs typeface="Arial" pitchFamily="34" charset="0"/>
              </a:endParaRPr>
            </a:p>
          </p:txBody>
        </p:sp>
        <p:sp>
          <p:nvSpPr>
            <p:cNvPr id="13" name="Freeform 76">
              <a:extLst>
                <a:ext uri="{FF2B5EF4-FFF2-40B4-BE49-F238E27FC236}">
                  <a16:creationId xmlns:a16="http://schemas.microsoft.com/office/drawing/2014/main" id="{187E70E6-AF3F-2549-908E-DF4BA61040AA}"/>
                </a:ext>
              </a:extLst>
            </p:cNvPr>
            <p:cNvSpPr>
              <a:spLocks noChangeAspect="1" noEditPoints="1"/>
            </p:cNvSpPr>
            <p:nvPr/>
          </p:nvSpPr>
          <p:spPr bwMode="auto">
            <a:xfrm>
              <a:off x="456202" y="5509222"/>
              <a:ext cx="504000" cy="329436"/>
            </a:xfrm>
            <a:custGeom>
              <a:avLst/>
              <a:gdLst>
                <a:gd name="T0" fmla="*/ 0 w 2080"/>
                <a:gd name="T1" fmla="*/ 65 h 1360"/>
                <a:gd name="T2" fmla="*/ 0 w 2080"/>
                <a:gd name="T3" fmla="*/ 0 h 1360"/>
                <a:gd name="T4" fmla="*/ 2080 w 2080"/>
                <a:gd name="T5" fmla="*/ 0 h 1360"/>
                <a:gd name="T6" fmla="*/ 2080 w 2080"/>
                <a:gd name="T7" fmla="*/ 65 h 1360"/>
                <a:gd name="T8" fmla="*/ 1089 w 2080"/>
                <a:gd name="T9" fmla="*/ 862 h 1360"/>
                <a:gd name="T10" fmla="*/ 991 w 2080"/>
                <a:gd name="T11" fmla="*/ 862 h 1360"/>
                <a:gd name="T12" fmla="*/ 0 w 2080"/>
                <a:gd name="T13" fmla="*/ 65 h 1360"/>
                <a:gd name="T14" fmla="*/ 1139 w 2080"/>
                <a:gd name="T15" fmla="*/ 924 h 1360"/>
                <a:gd name="T16" fmla="*/ 1282 w 2080"/>
                <a:gd name="T17" fmla="*/ 810 h 1360"/>
                <a:gd name="T18" fmla="*/ 2076 w 2080"/>
                <a:gd name="T19" fmla="*/ 1360 h 1360"/>
                <a:gd name="T20" fmla="*/ 4 w 2080"/>
                <a:gd name="T21" fmla="*/ 1360 h 1360"/>
                <a:gd name="T22" fmla="*/ 798 w 2080"/>
                <a:gd name="T23" fmla="*/ 810 h 1360"/>
                <a:gd name="T24" fmla="*/ 941 w 2080"/>
                <a:gd name="T25" fmla="*/ 924 h 1360"/>
                <a:gd name="T26" fmla="*/ 1139 w 2080"/>
                <a:gd name="T27" fmla="*/ 924 h 1360"/>
                <a:gd name="T28" fmla="*/ 2 w 2080"/>
                <a:gd name="T29" fmla="*/ 137 h 1360"/>
                <a:gd name="T30" fmla="*/ 42 w 2080"/>
                <a:gd name="T31" fmla="*/ 201 h 1360"/>
                <a:gd name="T32" fmla="*/ 734 w 2080"/>
                <a:gd name="T33" fmla="*/ 758 h 1360"/>
                <a:gd name="T34" fmla="*/ 0 w 2080"/>
                <a:gd name="T35" fmla="*/ 1266 h 1360"/>
                <a:gd name="T36" fmla="*/ 0 w 2080"/>
                <a:gd name="T37" fmla="*/ 135 h 1360"/>
                <a:gd name="T38" fmla="*/ 2 w 2080"/>
                <a:gd name="T39" fmla="*/ 137 h 1360"/>
                <a:gd name="T40" fmla="*/ 2080 w 2080"/>
                <a:gd name="T41" fmla="*/ 136 h 1360"/>
                <a:gd name="T42" fmla="*/ 2080 w 2080"/>
                <a:gd name="T43" fmla="*/ 1265 h 1360"/>
                <a:gd name="T44" fmla="*/ 1346 w 2080"/>
                <a:gd name="T45" fmla="*/ 758 h 1360"/>
                <a:gd name="T46" fmla="*/ 2038 w 2080"/>
                <a:gd name="T47" fmla="*/ 201 h 1360"/>
                <a:gd name="T48" fmla="*/ 2080 w 2080"/>
                <a:gd name="T49" fmla="*/ 136 h 1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080" h="1360">
                  <a:moveTo>
                    <a:pt x="0" y="65"/>
                  </a:moveTo>
                  <a:cubicBezTo>
                    <a:pt x="0" y="0"/>
                    <a:pt x="0" y="0"/>
                    <a:pt x="0" y="0"/>
                  </a:cubicBezTo>
                  <a:cubicBezTo>
                    <a:pt x="2080" y="0"/>
                    <a:pt x="2080" y="0"/>
                    <a:pt x="2080" y="0"/>
                  </a:cubicBezTo>
                  <a:cubicBezTo>
                    <a:pt x="2080" y="65"/>
                    <a:pt x="2080" y="65"/>
                    <a:pt x="2080" y="65"/>
                  </a:cubicBezTo>
                  <a:cubicBezTo>
                    <a:pt x="1089" y="862"/>
                    <a:pt x="1089" y="862"/>
                    <a:pt x="1089" y="862"/>
                  </a:cubicBezTo>
                  <a:cubicBezTo>
                    <a:pt x="1060" y="886"/>
                    <a:pt x="1020" y="886"/>
                    <a:pt x="991" y="862"/>
                  </a:cubicBezTo>
                  <a:lnTo>
                    <a:pt x="0" y="65"/>
                  </a:lnTo>
                  <a:close/>
                  <a:moveTo>
                    <a:pt x="1139" y="924"/>
                  </a:moveTo>
                  <a:cubicBezTo>
                    <a:pt x="1282" y="810"/>
                    <a:pt x="1282" y="810"/>
                    <a:pt x="1282" y="810"/>
                  </a:cubicBezTo>
                  <a:cubicBezTo>
                    <a:pt x="2076" y="1360"/>
                    <a:pt x="2076" y="1360"/>
                    <a:pt x="2076" y="1360"/>
                  </a:cubicBezTo>
                  <a:cubicBezTo>
                    <a:pt x="4" y="1360"/>
                    <a:pt x="4" y="1360"/>
                    <a:pt x="4" y="1360"/>
                  </a:cubicBezTo>
                  <a:cubicBezTo>
                    <a:pt x="798" y="810"/>
                    <a:pt x="798" y="810"/>
                    <a:pt x="798" y="810"/>
                  </a:cubicBezTo>
                  <a:cubicBezTo>
                    <a:pt x="941" y="924"/>
                    <a:pt x="941" y="924"/>
                    <a:pt x="941" y="924"/>
                  </a:cubicBezTo>
                  <a:cubicBezTo>
                    <a:pt x="1000" y="972"/>
                    <a:pt x="1080" y="972"/>
                    <a:pt x="1139" y="924"/>
                  </a:cubicBezTo>
                  <a:close/>
                  <a:moveTo>
                    <a:pt x="2" y="137"/>
                  </a:moveTo>
                  <a:cubicBezTo>
                    <a:pt x="8" y="163"/>
                    <a:pt x="22" y="185"/>
                    <a:pt x="42" y="201"/>
                  </a:cubicBezTo>
                  <a:cubicBezTo>
                    <a:pt x="734" y="758"/>
                    <a:pt x="734" y="758"/>
                    <a:pt x="734" y="758"/>
                  </a:cubicBezTo>
                  <a:cubicBezTo>
                    <a:pt x="0" y="1266"/>
                    <a:pt x="0" y="1266"/>
                    <a:pt x="0" y="1266"/>
                  </a:cubicBezTo>
                  <a:cubicBezTo>
                    <a:pt x="0" y="135"/>
                    <a:pt x="0" y="135"/>
                    <a:pt x="0" y="135"/>
                  </a:cubicBezTo>
                  <a:lnTo>
                    <a:pt x="2" y="137"/>
                  </a:lnTo>
                  <a:close/>
                  <a:moveTo>
                    <a:pt x="2080" y="136"/>
                  </a:moveTo>
                  <a:cubicBezTo>
                    <a:pt x="2080" y="1265"/>
                    <a:pt x="2080" y="1265"/>
                    <a:pt x="2080" y="1265"/>
                  </a:cubicBezTo>
                  <a:cubicBezTo>
                    <a:pt x="1346" y="758"/>
                    <a:pt x="1346" y="758"/>
                    <a:pt x="1346" y="758"/>
                  </a:cubicBezTo>
                  <a:cubicBezTo>
                    <a:pt x="2038" y="201"/>
                    <a:pt x="2038" y="201"/>
                    <a:pt x="2038" y="201"/>
                  </a:cubicBezTo>
                  <a:cubicBezTo>
                    <a:pt x="2060" y="182"/>
                    <a:pt x="2072" y="162"/>
                    <a:pt x="2080" y="13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000"/>
            </a:p>
          </p:txBody>
        </p:sp>
      </p:grpSp>
      <p:grpSp>
        <p:nvGrpSpPr>
          <p:cNvPr id="14" name="Gruppieren 2">
            <a:extLst>
              <a:ext uri="{FF2B5EF4-FFF2-40B4-BE49-F238E27FC236}">
                <a16:creationId xmlns:a16="http://schemas.microsoft.com/office/drawing/2014/main" id="{BE697CE9-EBDE-6B4A-BE70-582D92A8A831}"/>
              </a:ext>
            </a:extLst>
          </p:cNvPr>
          <p:cNvGrpSpPr/>
          <p:nvPr/>
        </p:nvGrpSpPr>
        <p:grpSpPr>
          <a:xfrm>
            <a:off x="8701917" y="2868319"/>
            <a:ext cx="171180" cy="171180"/>
            <a:chOff x="3392092" y="1841122"/>
            <a:chExt cx="646508" cy="646508"/>
          </a:xfrm>
        </p:grpSpPr>
        <p:sp>
          <p:nvSpPr>
            <p:cNvPr id="15" name="Rechteck 14">
              <a:extLst>
                <a:ext uri="{FF2B5EF4-FFF2-40B4-BE49-F238E27FC236}">
                  <a16:creationId xmlns:a16="http://schemas.microsoft.com/office/drawing/2014/main" id="{E142A731-19B7-C34D-9534-9E05108F895F}"/>
                </a:ext>
              </a:extLst>
            </p:cNvPr>
            <p:cNvSpPr>
              <a:spLocks noChangeAspect="1"/>
            </p:cNvSpPr>
            <p:nvPr/>
          </p:nvSpPr>
          <p:spPr bwMode="gray">
            <a:xfrm>
              <a:off x="3392092" y="1841122"/>
              <a:ext cx="646508" cy="646508"/>
            </a:xfrm>
            <a:prstGeom prst="rect">
              <a:avLst/>
            </a:prstGeom>
            <a:solidFill>
              <a:srgbClr val="E55A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pPr>
              <a:endParaRPr lang="en-US" sz="1000">
                <a:solidFill>
                  <a:schemeClr val="tx1"/>
                </a:solidFill>
                <a:latin typeface="Arial" pitchFamily="34" charset="0"/>
                <a:cs typeface="Arial" pitchFamily="34" charset="0"/>
              </a:endParaRPr>
            </a:p>
          </p:txBody>
        </p:sp>
        <p:sp>
          <p:nvSpPr>
            <p:cNvPr id="16" name="Freeform 15">
              <a:extLst>
                <a:ext uri="{FF2B5EF4-FFF2-40B4-BE49-F238E27FC236}">
                  <a16:creationId xmlns:a16="http://schemas.microsoft.com/office/drawing/2014/main" id="{F97E84AE-4AD9-4B44-9AA1-F797FC373809}"/>
                </a:ext>
              </a:extLst>
            </p:cNvPr>
            <p:cNvSpPr>
              <a:spLocks noChangeAspect="1"/>
            </p:cNvSpPr>
            <p:nvPr/>
          </p:nvSpPr>
          <p:spPr bwMode="auto">
            <a:xfrm>
              <a:off x="3546638" y="1970424"/>
              <a:ext cx="337415" cy="387905"/>
            </a:xfrm>
            <a:custGeom>
              <a:avLst/>
              <a:gdLst>
                <a:gd name="T0" fmla="*/ 573 w 1624"/>
                <a:gd name="T1" fmla="*/ 1257 h 1867"/>
                <a:gd name="T2" fmla="*/ 662 w 1624"/>
                <a:gd name="T3" fmla="*/ 1288 h 1867"/>
                <a:gd name="T4" fmla="*/ 938 w 1624"/>
                <a:gd name="T5" fmla="*/ 1051 h 1867"/>
                <a:gd name="T6" fmla="*/ 1106 w 1624"/>
                <a:gd name="T7" fmla="*/ 731 h 1867"/>
                <a:gd name="T8" fmla="*/ 1059 w 1624"/>
                <a:gd name="T9" fmla="*/ 645 h 1867"/>
                <a:gd name="T10" fmla="*/ 1001 w 1624"/>
                <a:gd name="T11" fmla="*/ 613 h 1867"/>
                <a:gd name="T12" fmla="*/ 924 w 1624"/>
                <a:gd name="T13" fmla="*/ 432 h 1867"/>
                <a:gd name="T14" fmla="*/ 1114 w 1624"/>
                <a:gd name="T15" fmla="*/ 81 h 1867"/>
                <a:gd name="T16" fmla="*/ 1287 w 1624"/>
                <a:gd name="T17" fmla="*/ 35 h 1867"/>
                <a:gd name="T18" fmla="*/ 1350 w 1624"/>
                <a:gd name="T19" fmla="*/ 69 h 1867"/>
                <a:gd name="T20" fmla="*/ 1527 w 1624"/>
                <a:gd name="T21" fmla="*/ 235 h 1867"/>
                <a:gd name="T22" fmla="*/ 1583 w 1624"/>
                <a:gd name="T23" fmla="*/ 555 h 1867"/>
                <a:gd name="T24" fmla="*/ 1172 w 1624"/>
                <a:gd name="T25" fmla="*/ 1253 h 1867"/>
                <a:gd name="T26" fmla="*/ 586 w 1624"/>
                <a:gd name="T27" fmla="*/ 1803 h 1867"/>
                <a:gd name="T28" fmla="*/ 269 w 1624"/>
                <a:gd name="T29" fmla="*/ 1807 h 1867"/>
                <a:gd name="T30" fmla="*/ 33 w 1624"/>
                <a:gd name="T31" fmla="*/ 1602 h 1867"/>
                <a:gd name="T32" fmla="*/ 2 w 1624"/>
                <a:gd name="T33" fmla="*/ 1508 h 1867"/>
                <a:gd name="T34" fmla="*/ 45 w 1624"/>
                <a:gd name="T35" fmla="*/ 1421 h 1867"/>
                <a:gd name="T36" fmla="*/ 346 w 1624"/>
                <a:gd name="T37" fmla="*/ 1158 h 1867"/>
                <a:gd name="T38" fmla="*/ 448 w 1624"/>
                <a:gd name="T39" fmla="*/ 1145 h 1867"/>
                <a:gd name="T40" fmla="*/ 573 w 1624"/>
                <a:gd name="T41" fmla="*/ 1257 h 18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24" h="1867">
                  <a:moveTo>
                    <a:pt x="573" y="1257"/>
                  </a:moveTo>
                  <a:cubicBezTo>
                    <a:pt x="592" y="1282"/>
                    <a:pt x="630" y="1303"/>
                    <a:pt x="662" y="1288"/>
                  </a:cubicBezTo>
                  <a:cubicBezTo>
                    <a:pt x="753" y="1245"/>
                    <a:pt x="854" y="1156"/>
                    <a:pt x="938" y="1051"/>
                  </a:cubicBezTo>
                  <a:cubicBezTo>
                    <a:pt x="1020" y="948"/>
                    <a:pt x="1084" y="831"/>
                    <a:pt x="1106" y="731"/>
                  </a:cubicBezTo>
                  <a:cubicBezTo>
                    <a:pt x="1113" y="696"/>
                    <a:pt x="1089" y="661"/>
                    <a:pt x="1059" y="645"/>
                  </a:cubicBezTo>
                  <a:cubicBezTo>
                    <a:pt x="1001" y="613"/>
                    <a:pt x="1001" y="613"/>
                    <a:pt x="1001" y="613"/>
                  </a:cubicBezTo>
                  <a:cubicBezTo>
                    <a:pt x="942" y="580"/>
                    <a:pt x="888" y="499"/>
                    <a:pt x="924" y="432"/>
                  </a:cubicBezTo>
                  <a:cubicBezTo>
                    <a:pt x="1114" y="81"/>
                    <a:pt x="1114" y="81"/>
                    <a:pt x="1114" y="81"/>
                  </a:cubicBezTo>
                  <a:cubicBezTo>
                    <a:pt x="1150" y="16"/>
                    <a:pt x="1224" y="0"/>
                    <a:pt x="1287" y="35"/>
                  </a:cubicBezTo>
                  <a:cubicBezTo>
                    <a:pt x="1350" y="69"/>
                    <a:pt x="1350" y="69"/>
                    <a:pt x="1350" y="69"/>
                  </a:cubicBezTo>
                  <a:cubicBezTo>
                    <a:pt x="1415" y="105"/>
                    <a:pt x="1479" y="165"/>
                    <a:pt x="1527" y="235"/>
                  </a:cubicBezTo>
                  <a:cubicBezTo>
                    <a:pt x="1593" y="332"/>
                    <a:pt x="1624" y="442"/>
                    <a:pt x="1583" y="555"/>
                  </a:cubicBezTo>
                  <a:cubicBezTo>
                    <a:pt x="1500" y="781"/>
                    <a:pt x="1351" y="1030"/>
                    <a:pt x="1172" y="1253"/>
                  </a:cubicBezTo>
                  <a:cubicBezTo>
                    <a:pt x="994" y="1477"/>
                    <a:pt x="786" y="1676"/>
                    <a:pt x="586" y="1803"/>
                  </a:cubicBezTo>
                  <a:cubicBezTo>
                    <a:pt x="486" y="1867"/>
                    <a:pt x="375" y="1856"/>
                    <a:pt x="269" y="1807"/>
                  </a:cubicBezTo>
                  <a:cubicBezTo>
                    <a:pt x="157" y="1755"/>
                    <a:pt x="106" y="1695"/>
                    <a:pt x="33" y="1602"/>
                  </a:cubicBezTo>
                  <a:cubicBezTo>
                    <a:pt x="11" y="1573"/>
                    <a:pt x="0" y="1540"/>
                    <a:pt x="2" y="1508"/>
                  </a:cubicBezTo>
                  <a:cubicBezTo>
                    <a:pt x="4" y="1475"/>
                    <a:pt x="18" y="1444"/>
                    <a:pt x="45" y="1421"/>
                  </a:cubicBezTo>
                  <a:cubicBezTo>
                    <a:pt x="70" y="1399"/>
                    <a:pt x="346" y="1158"/>
                    <a:pt x="346" y="1158"/>
                  </a:cubicBezTo>
                  <a:cubicBezTo>
                    <a:pt x="376" y="1134"/>
                    <a:pt x="413" y="1133"/>
                    <a:pt x="448" y="1145"/>
                  </a:cubicBezTo>
                  <a:cubicBezTo>
                    <a:pt x="510" y="1166"/>
                    <a:pt x="536" y="1210"/>
                    <a:pt x="573" y="1257"/>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351"/>
            </a:p>
          </p:txBody>
        </p:sp>
      </p:grpSp>
      <p:grpSp>
        <p:nvGrpSpPr>
          <p:cNvPr id="17" name="Group 3">
            <a:extLst>
              <a:ext uri="{FF2B5EF4-FFF2-40B4-BE49-F238E27FC236}">
                <a16:creationId xmlns:a16="http://schemas.microsoft.com/office/drawing/2014/main" id="{7104BADD-8CD1-6F4A-B894-869C3BDB3EEB}"/>
              </a:ext>
            </a:extLst>
          </p:cNvPr>
          <p:cNvGrpSpPr>
            <a:grpSpLocks noChangeAspect="1"/>
          </p:cNvGrpSpPr>
          <p:nvPr>
            <p:custDataLst>
              <p:tags r:id="rId2"/>
            </p:custDataLst>
          </p:nvPr>
        </p:nvGrpSpPr>
        <p:grpSpPr>
          <a:xfrm>
            <a:off x="8701918" y="3153207"/>
            <a:ext cx="171180" cy="171180"/>
            <a:chOff x="328396" y="5313940"/>
            <a:chExt cx="720000" cy="720000"/>
          </a:xfrm>
        </p:grpSpPr>
        <p:sp>
          <p:nvSpPr>
            <p:cNvPr id="18" name="Rectangle 4">
              <a:extLst>
                <a:ext uri="{FF2B5EF4-FFF2-40B4-BE49-F238E27FC236}">
                  <a16:creationId xmlns:a16="http://schemas.microsoft.com/office/drawing/2014/main" id="{74BE3D5F-1445-6E40-8B49-72E15568383B}"/>
                </a:ext>
              </a:extLst>
            </p:cNvPr>
            <p:cNvSpPr/>
            <p:nvPr/>
          </p:nvSpPr>
          <p:spPr bwMode="gray">
            <a:xfrm>
              <a:off x="328396" y="5313940"/>
              <a:ext cx="720000" cy="720000"/>
            </a:xfrm>
            <a:prstGeom prst="rect">
              <a:avLst/>
            </a:prstGeom>
            <a:solidFill>
              <a:srgbClr val="E55A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pPr>
              <a:endParaRPr lang="en-US" sz="1000">
                <a:solidFill>
                  <a:schemeClr val="tx1"/>
                </a:solidFill>
                <a:latin typeface="Arial" pitchFamily="34" charset="0"/>
                <a:cs typeface="Arial" pitchFamily="34" charset="0"/>
              </a:endParaRPr>
            </a:p>
          </p:txBody>
        </p:sp>
        <p:sp>
          <p:nvSpPr>
            <p:cNvPr id="19" name="Freeform 76">
              <a:extLst>
                <a:ext uri="{FF2B5EF4-FFF2-40B4-BE49-F238E27FC236}">
                  <a16:creationId xmlns:a16="http://schemas.microsoft.com/office/drawing/2014/main" id="{55DB3C95-7D0C-D141-901E-96D692794D2B}"/>
                </a:ext>
              </a:extLst>
            </p:cNvPr>
            <p:cNvSpPr>
              <a:spLocks noChangeAspect="1" noEditPoints="1"/>
            </p:cNvSpPr>
            <p:nvPr/>
          </p:nvSpPr>
          <p:spPr bwMode="auto">
            <a:xfrm>
              <a:off x="456202" y="5509222"/>
              <a:ext cx="504000" cy="329436"/>
            </a:xfrm>
            <a:custGeom>
              <a:avLst/>
              <a:gdLst>
                <a:gd name="T0" fmla="*/ 0 w 2080"/>
                <a:gd name="T1" fmla="*/ 65 h 1360"/>
                <a:gd name="T2" fmla="*/ 0 w 2080"/>
                <a:gd name="T3" fmla="*/ 0 h 1360"/>
                <a:gd name="T4" fmla="*/ 2080 w 2080"/>
                <a:gd name="T5" fmla="*/ 0 h 1360"/>
                <a:gd name="T6" fmla="*/ 2080 w 2080"/>
                <a:gd name="T7" fmla="*/ 65 h 1360"/>
                <a:gd name="T8" fmla="*/ 1089 w 2080"/>
                <a:gd name="T9" fmla="*/ 862 h 1360"/>
                <a:gd name="T10" fmla="*/ 991 w 2080"/>
                <a:gd name="T11" fmla="*/ 862 h 1360"/>
                <a:gd name="T12" fmla="*/ 0 w 2080"/>
                <a:gd name="T13" fmla="*/ 65 h 1360"/>
                <a:gd name="T14" fmla="*/ 1139 w 2080"/>
                <a:gd name="T15" fmla="*/ 924 h 1360"/>
                <a:gd name="T16" fmla="*/ 1282 w 2080"/>
                <a:gd name="T17" fmla="*/ 810 h 1360"/>
                <a:gd name="T18" fmla="*/ 2076 w 2080"/>
                <a:gd name="T19" fmla="*/ 1360 h 1360"/>
                <a:gd name="T20" fmla="*/ 4 w 2080"/>
                <a:gd name="T21" fmla="*/ 1360 h 1360"/>
                <a:gd name="T22" fmla="*/ 798 w 2080"/>
                <a:gd name="T23" fmla="*/ 810 h 1360"/>
                <a:gd name="T24" fmla="*/ 941 w 2080"/>
                <a:gd name="T25" fmla="*/ 924 h 1360"/>
                <a:gd name="T26" fmla="*/ 1139 w 2080"/>
                <a:gd name="T27" fmla="*/ 924 h 1360"/>
                <a:gd name="T28" fmla="*/ 2 w 2080"/>
                <a:gd name="T29" fmla="*/ 137 h 1360"/>
                <a:gd name="T30" fmla="*/ 42 w 2080"/>
                <a:gd name="T31" fmla="*/ 201 h 1360"/>
                <a:gd name="T32" fmla="*/ 734 w 2080"/>
                <a:gd name="T33" fmla="*/ 758 h 1360"/>
                <a:gd name="T34" fmla="*/ 0 w 2080"/>
                <a:gd name="T35" fmla="*/ 1266 h 1360"/>
                <a:gd name="T36" fmla="*/ 0 w 2080"/>
                <a:gd name="T37" fmla="*/ 135 h 1360"/>
                <a:gd name="T38" fmla="*/ 2 w 2080"/>
                <a:gd name="T39" fmla="*/ 137 h 1360"/>
                <a:gd name="T40" fmla="*/ 2080 w 2080"/>
                <a:gd name="T41" fmla="*/ 136 h 1360"/>
                <a:gd name="T42" fmla="*/ 2080 w 2080"/>
                <a:gd name="T43" fmla="*/ 1265 h 1360"/>
                <a:gd name="T44" fmla="*/ 1346 w 2080"/>
                <a:gd name="T45" fmla="*/ 758 h 1360"/>
                <a:gd name="T46" fmla="*/ 2038 w 2080"/>
                <a:gd name="T47" fmla="*/ 201 h 1360"/>
                <a:gd name="T48" fmla="*/ 2080 w 2080"/>
                <a:gd name="T49" fmla="*/ 136 h 1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080" h="1360">
                  <a:moveTo>
                    <a:pt x="0" y="65"/>
                  </a:moveTo>
                  <a:cubicBezTo>
                    <a:pt x="0" y="0"/>
                    <a:pt x="0" y="0"/>
                    <a:pt x="0" y="0"/>
                  </a:cubicBezTo>
                  <a:cubicBezTo>
                    <a:pt x="2080" y="0"/>
                    <a:pt x="2080" y="0"/>
                    <a:pt x="2080" y="0"/>
                  </a:cubicBezTo>
                  <a:cubicBezTo>
                    <a:pt x="2080" y="65"/>
                    <a:pt x="2080" y="65"/>
                    <a:pt x="2080" y="65"/>
                  </a:cubicBezTo>
                  <a:cubicBezTo>
                    <a:pt x="1089" y="862"/>
                    <a:pt x="1089" y="862"/>
                    <a:pt x="1089" y="862"/>
                  </a:cubicBezTo>
                  <a:cubicBezTo>
                    <a:pt x="1060" y="886"/>
                    <a:pt x="1020" y="886"/>
                    <a:pt x="991" y="862"/>
                  </a:cubicBezTo>
                  <a:lnTo>
                    <a:pt x="0" y="65"/>
                  </a:lnTo>
                  <a:close/>
                  <a:moveTo>
                    <a:pt x="1139" y="924"/>
                  </a:moveTo>
                  <a:cubicBezTo>
                    <a:pt x="1282" y="810"/>
                    <a:pt x="1282" y="810"/>
                    <a:pt x="1282" y="810"/>
                  </a:cubicBezTo>
                  <a:cubicBezTo>
                    <a:pt x="2076" y="1360"/>
                    <a:pt x="2076" y="1360"/>
                    <a:pt x="2076" y="1360"/>
                  </a:cubicBezTo>
                  <a:cubicBezTo>
                    <a:pt x="4" y="1360"/>
                    <a:pt x="4" y="1360"/>
                    <a:pt x="4" y="1360"/>
                  </a:cubicBezTo>
                  <a:cubicBezTo>
                    <a:pt x="798" y="810"/>
                    <a:pt x="798" y="810"/>
                    <a:pt x="798" y="810"/>
                  </a:cubicBezTo>
                  <a:cubicBezTo>
                    <a:pt x="941" y="924"/>
                    <a:pt x="941" y="924"/>
                    <a:pt x="941" y="924"/>
                  </a:cubicBezTo>
                  <a:cubicBezTo>
                    <a:pt x="1000" y="972"/>
                    <a:pt x="1080" y="972"/>
                    <a:pt x="1139" y="924"/>
                  </a:cubicBezTo>
                  <a:close/>
                  <a:moveTo>
                    <a:pt x="2" y="137"/>
                  </a:moveTo>
                  <a:cubicBezTo>
                    <a:pt x="8" y="163"/>
                    <a:pt x="22" y="185"/>
                    <a:pt x="42" y="201"/>
                  </a:cubicBezTo>
                  <a:cubicBezTo>
                    <a:pt x="734" y="758"/>
                    <a:pt x="734" y="758"/>
                    <a:pt x="734" y="758"/>
                  </a:cubicBezTo>
                  <a:cubicBezTo>
                    <a:pt x="0" y="1266"/>
                    <a:pt x="0" y="1266"/>
                    <a:pt x="0" y="1266"/>
                  </a:cubicBezTo>
                  <a:cubicBezTo>
                    <a:pt x="0" y="135"/>
                    <a:pt x="0" y="135"/>
                    <a:pt x="0" y="135"/>
                  </a:cubicBezTo>
                  <a:lnTo>
                    <a:pt x="2" y="137"/>
                  </a:lnTo>
                  <a:close/>
                  <a:moveTo>
                    <a:pt x="2080" y="136"/>
                  </a:moveTo>
                  <a:cubicBezTo>
                    <a:pt x="2080" y="1265"/>
                    <a:pt x="2080" y="1265"/>
                    <a:pt x="2080" y="1265"/>
                  </a:cubicBezTo>
                  <a:cubicBezTo>
                    <a:pt x="1346" y="758"/>
                    <a:pt x="1346" y="758"/>
                    <a:pt x="1346" y="758"/>
                  </a:cubicBezTo>
                  <a:cubicBezTo>
                    <a:pt x="2038" y="201"/>
                    <a:pt x="2038" y="201"/>
                    <a:pt x="2038" y="201"/>
                  </a:cubicBezTo>
                  <a:cubicBezTo>
                    <a:pt x="2060" y="182"/>
                    <a:pt x="2072" y="162"/>
                    <a:pt x="2080" y="13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000"/>
            </a:p>
          </p:txBody>
        </p:sp>
      </p:grpSp>
      <p:cxnSp>
        <p:nvCxnSpPr>
          <p:cNvPr id="20" name="Straight Connector 19"/>
          <p:cNvCxnSpPr/>
          <p:nvPr/>
        </p:nvCxnSpPr>
        <p:spPr>
          <a:xfrm>
            <a:off x="2371725" y="3478213"/>
            <a:ext cx="3888000" cy="0"/>
          </a:xfrm>
          <a:prstGeom prst="line">
            <a:avLst/>
          </a:prstGeom>
          <a:ln w="6350">
            <a:solidFill>
              <a:schemeClr val="tx2"/>
            </a:solidFill>
            <a:prstDash val="dash"/>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p:nvCxnSpPr>
        <p:spPr>
          <a:xfrm>
            <a:off x="7287766" y="3478213"/>
            <a:ext cx="3888000" cy="0"/>
          </a:xfrm>
          <a:prstGeom prst="line">
            <a:avLst/>
          </a:prstGeom>
          <a:ln w="6350">
            <a:solidFill>
              <a:schemeClr val="tx2"/>
            </a:solidFill>
            <a:prstDash val="dash"/>
          </a:ln>
        </p:spPr>
        <p:style>
          <a:lnRef idx="1">
            <a:schemeClr val="accent1"/>
          </a:lnRef>
          <a:fillRef idx="0">
            <a:schemeClr val="accent1"/>
          </a:fillRef>
          <a:effectRef idx="0">
            <a:schemeClr val="accent1"/>
          </a:effectRef>
          <a:fontRef idx="minor">
            <a:schemeClr val="tx1"/>
          </a:fontRef>
        </p:style>
      </p:cxnSp>
      <p:sp>
        <p:nvSpPr>
          <p:cNvPr id="4" name="Picture Placeholder 3"/>
          <p:cNvSpPr>
            <a:spLocks noGrp="1"/>
          </p:cNvSpPr>
          <p:nvPr>
            <p:ph type="pic" sz="quarter" idx="17" hasCustomPrompt="1"/>
          </p:nvPr>
        </p:nvSpPr>
        <p:spPr>
          <a:xfrm>
            <a:off x="2355914" y="1808984"/>
            <a:ext cx="1188677" cy="1547840"/>
          </a:xfrm>
          <a:solidFill>
            <a:srgbClr val="D9DADB"/>
          </a:solidFill>
        </p:spPr>
        <p:txBody>
          <a:bodyPr/>
          <a:lstStyle>
            <a:lvl1pPr marL="0" indent="0">
              <a:buNone/>
              <a:defRPr sz="1400"/>
            </a:lvl1pPr>
          </a:lstStyle>
          <a:p>
            <a:r>
              <a:rPr lang="en-US"/>
              <a:t>Insert picture</a:t>
            </a:r>
          </a:p>
        </p:txBody>
      </p:sp>
      <p:sp>
        <p:nvSpPr>
          <p:cNvPr id="25" name="Picture Placeholder 3"/>
          <p:cNvSpPr>
            <a:spLocks noGrp="1"/>
          </p:cNvSpPr>
          <p:nvPr>
            <p:ph type="pic" sz="quarter" idx="18" hasCustomPrompt="1"/>
          </p:nvPr>
        </p:nvSpPr>
        <p:spPr>
          <a:xfrm>
            <a:off x="7287766" y="1808984"/>
            <a:ext cx="1188677" cy="1547840"/>
          </a:xfrm>
          <a:solidFill>
            <a:srgbClr val="D9DADB"/>
          </a:solidFill>
        </p:spPr>
        <p:txBody>
          <a:bodyPr/>
          <a:lstStyle>
            <a:lvl1pPr marL="0" indent="0">
              <a:buNone/>
              <a:defRPr sz="1400"/>
            </a:lvl1pPr>
          </a:lstStyle>
          <a:p>
            <a:r>
              <a:rPr lang="en-US"/>
              <a:t>Insert picture</a:t>
            </a:r>
          </a:p>
        </p:txBody>
      </p:sp>
      <p:sp>
        <p:nvSpPr>
          <p:cNvPr id="6" name="Text Placeholder 5"/>
          <p:cNvSpPr>
            <a:spLocks noGrp="1"/>
          </p:cNvSpPr>
          <p:nvPr>
            <p:ph type="body" sz="quarter" idx="19" hasCustomPrompt="1"/>
          </p:nvPr>
        </p:nvSpPr>
        <p:spPr>
          <a:xfrm>
            <a:off x="3770065" y="1808521"/>
            <a:ext cx="2463190" cy="192360"/>
          </a:xfrm>
        </p:spPr>
        <p:txBody>
          <a:bodyPr lIns="0" tIns="0" rIns="0" bIns="0" anchor="ctr" anchorCtr="0"/>
          <a:lstStyle>
            <a:lvl1pPr marL="0" indent="0" algn="l">
              <a:lnSpc>
                <a:spcPct val="100000"/>
              </a:lnSpc>
              <a:buNone/>
              <a:defRPr sz="100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Country</a:t>
            </a:r>
          </a:p>
        </p:txBody>
      </p:sp>
      <p:sp>
        <p:nvSpPr>
          <p:cNvPr id="26" name="Text Placeholder 5"/>
          <p:cNvSpPr>
            <a:spLocks noGrp="1"/>
          </p:cNvSpPr>
          <p:nvPr>
            <p:ph type="body" sz="quarter" idx="20" hasCustomPrompt="1"/>
          </p:nvPr>
        </p:nvSpPr>
        <p:spPr>
          <a:xfrm>
            <a:off x="3770065" y="2020337"/>
            <a:ext cx="2463190" cy="266182"/>
          </a:xfrm>
        </p:spPr>
        <p:txBody>
          <a:bodyPr lIns="0" tIns="0" rIns="0" bIns="0" anchor="b" anchorCtr="0"/>
          <a:lstStyle>
            <a:lvl1pPr marL="0" indent="0" algn="l">
              <a:lnSpc>
                <a:spcPct val="100000"/>
              </a:lnSpc>
              <a:buNone/>
              <a:defRPr sz="1400" b="1" baseline="0">
                <a:solidFill>
                  <a:schemeClr val="tx2"/>
                </a:solidFill>
              </a:defRPr>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Name, Surname</a:t>
            </a:r>
          </a:p>
        </p:txBody>
      </p:sp>
      <p:sp>
        <p:nvSpPr>
          <p:cNvPr id="27" name="Text Placeholder 5"/>
          <p:cNvSpPr>
            <a:spLocks noGrp="1"/>
          </p:cNvSpPr>
          <p:nvPr>
            <p:ph type="body" sz="quarter" idx="21" hasCustomPrompt="1"/>
          </p:nvPr>
        </p:nvSpPr>
        <p:spPr>
          <a:xfrm>
            <a:off x="3770065" y="2316912"/>
            <a:ext cx="2463190"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Job Position</a:t>
            </a:r>
          </a:p>
        </p:txBody>
      </p:sp>
      <p:sp>
        <p:nvSpPr>
          <p:cNvPr id="28" name="Text Placeholder 5"/>
          <p:cNvSpPr>
            <a:spLocks noGrp="1"/>
          </p:cNvSpPr>
          <p:nvPr>
            <p:ph type="body" sz="quarter" idx="22" hasCustomPrompt="1"/>
          </p:nvPr>
        </p:nvSpPr>
        <p:spPr>
          <a:xfrm>
            <a:off x="4014948" y="2845588"/>
            <a:ext cx="2218307"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Phone number</a:t>
            </a:r>
          </a:p>
        </p:txBody>
      </p:sp>
      <p:sp>
        <p:nvSpPr>
          <p:cNvPr id="29" name="Text Placeholder 5"/>
          <p:cNvSpPr>
            <a:spLocks noGrp="1"/>
          </p:cNvSpPr>
          <p:nvPr>
            <p:ph type="body" sz="quarter" idx="23" hasCustomPrompt="1"/>
          </p:nvPr>
        </p:nvSpPr>
        <p:spPr>
          <a:xfrm>
            <a:off x="4014948" y="3128395"/>
            <a:ext cx="2218307"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Email address</a:t>
            </a:r>
          </a:p>
        </p:txBody>
      </p:sp>
      <p:sp>
        <p:nvSpPr>
          <p:cNvPr id="30" name="Text Placeholder 5"/>
          <p:cNvSpPr>
            <a:spLocks noGrp="1"/>
          </p:cNvSpPr>
          <p:nvPr>
            <p:ph type="body" sz="quarter" idx="24" hasCustomPrompt="1"/>
          </p:nvPr>
        </p:nvSpPr>
        <p:spPr>
          <a:xfrm>
            <a:off x="8701917" y="1808521"/>
            <a:ext cx="2463190" cy="192360"/>
          </a:xfrm>
        </p:spPr>
        <p:txBody>
          <a:bodyPr lIns="0" tIns="0" rIns="0" bIns="0" anchor="ctr" anchorCtr="0"/>
          <a:lstStyle>
            <a:lvl1pPr marL="0" indent="0" algn="l">
              <a:lnSpc>
                <a:spcPct val="100000"/>
              </a:lnSpc>
              <a:buNone/>
              <a:defRPr sz="100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Country</a:t>
            </a:r>
          </a:p>
        </p:txBody>
      </p:sp>
      <p:sp>
        <p:nvSpPr>
          <p:cNvPr id="31" name="Text Placeholder 5"/>
          <p:cNvSpPr>
            <a:spLocks noGrp="1"/>
          </p:cNvSpPr>
          <p:nvPr>
            <p:ph type="body" sz="quarter" idx="25" hasCustomPrompt="1"/>
          </p:nvPr>
        </p:nvSpPr>
        <p:spPr>
          <a:xfrm>
            <a:off x="8701917" y="2020337"/>
            <a:ext cx="2463190" cy="266182"/>
          </a:xfrm>
        </p:spPr>
        <p:txBody>
          <a:bodyPr lIns="0" tIns="0" rIns="0" bIns="0" anchor="b" anchorCtr="0"/>
          <a:lstStyle>
            <a:lvl1pPr marL="0" indent="0" algn="l">
              <a:lnSpc>
                <a:spcPct val="100000"/>
              </a:lnSpc>
              <a:buNone/>
              <a:defRPr sz="1400" b="1" baseline="0">
                <a:solidFill>
                  <a:schemeClr val="tx2"/>
                </a:solidFill>
              </a:defRPr>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Name, Surname</a:t>
            </a:r>
          </a:p>
        </p:txBody>
      </p:sp>
      <p:sp>
        <p:nvSpPr>
          <p:cNvPr id="32" name="Text Placeholder 5"/>
          <p:cNvSpPr>
            <a:spLocks noGrp="1"/>
          </p:cNvSpPr>
          <p:nvPr>
            <p:ph type="body" sz="quarter" idx="26" hasCustomPrompt="1"/>
          </p:nvPr>
        </p:nvSpPr>
        <p:spPr>
          <a:xfrm>
            <a:off x="8701917" y="2316912"/>
            <a:ext cx="2463190"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Job Position</a:t>
            </a:r>
          </a:p>
        </p:txBody>
      </p:sp>
      <p:sp>
        <p:nvSpPr>
          <p:cNvPr id="33" name="Text Placeholder 5"/>
          <p:cNvSpPr>
            <a:spLocks noGrp="1"/>
          </p:cNvSpPr>
          <p:nvPr>
            <p:ph type="body" sz="quarter" idx="27" hasCustomPrompt="1"/>
          </p:nvPr>
        </p:nvSpPr>
        <p:spPr>
          <a:xfrm>
            <a:off x="8946800" y="2845588"/>
            <a:ext cx="2218307"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Phone number</a:t>
            </a:r>
          </a:p>
        </p:txBody>
      </p:sp>
      <p:sp>
        <p:nvSpPr>
          <p:cNvPr id="34" name="Text Placeholder 5"/>
          <p:cNvSpPr>
            <a:spLocks noGrp="1"/>
          </p:cNvSpPr>
          <p:nvPr>
            <p:ph type="body" sz="quarter" idx="28" hasCustomPrompt="1"/>
          </p:nvPr>
        </p:nvSpPr>
        <p:spPr>
          <a:xfrm>
            <a:off x="8946800" y="3128395"/>
            <a:ext cx="2218307"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Email address</a:t>
            </a:r>
          </a:p>
        </p:txBody>
      </p:sp>
      <p:grpSp>
        <p:nvGrpSpPr>
          <p:cNvPr id="35" name="Gruppieren 2">
            <a:extLst>
              <a:ext uri="{FF2B5EF4-FFF2-40B4-BE49-F238E27FC236}">
                <a16:creationId xmlns:a16="http://schemas.microsoft.com/office/drawing/2014/main" id="{BE697CE9-EBDE-6B4A-BE70-582D92A8A831}"/>
              </a:ext>
            </a:extLst>
          </p:cNvPr>
          <p:cNvGrpSpPr/>
          <p:nvPr/>
        </p:nvGrpSpPr>
        <p:grpSpPr>
          <a:xfrm>
            <a:off x="3770065" y="5045939"/>
            <a:ext cx="171180" cy="171180"/>
            <a:chOff x="3392092" y="1841122"/>
            <a:chExt cx="646508" cy="646508"/>
          </a:xfrm>
        </p:grpSpPr>
        <p:sp>
          <p:nvSpPr>
            <p:cNvPr id="36" name="Rechteck 14">
              <a:extLst>
                <a:ext uri="{FF2B5EF4-FFF2-40B4-BE49-F238E27FC236}">
                  <a16:creationId xmlns:a16="http://schemas.microsoft.com/office/drawing/2014/main" id="{E142A731-19B7-C34D-9534-9E05108F895F}"/>
                </a:ext>
              </a:extLst>
            </p:cNvPr>
            <p:cNvSpPr>
              <a:spLocks noChangeAspect="1"/>
            </p:cNvSpPr>
            <p:nvPr/>
          </p:nvSpPr>
          <p:spPr bwMode="gray">
            <a:xfrm>
              <a:off x="3392092" y="1841122"/>
              <a:ext cx="646508" cy="646508"/>
            </a:xfrm>
            <a:prstGeom prst="rect">
              <a:avLst/>
            </a:prstGeom>
            <a:solidFill>
              <a:srgbClr val="E55A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pPr>
              <a:endParaRPr lang="en-US" sz="1000">
                <a:solidFill>
                  <a:schemeClr val="tx1"/>
                </a:solidFill>
                <a:latin typeface="Arial" pitchFamily="34" charset="0"/>
                <a:cs typeface="Arial" pitchFamily="34" charset="0"/>
              </a:endParaRPr>
            </a:p>
          </p:txBody>
        </p:sp>
        <p:sp>
          <p:nvSpPr>
            <p:cNvPr id="37" name="Freeform 36">
              <a:extLst>
                <a:ext uri="{FF2B5EF4-FFF2-40B4-BE49-F238E27FC236}">
                  <a16:creationId xmlns:a16="http://schemas.microsoft.com/office/drawing/2014/main" id="{F97E84AE-4AD9-4B44-9AA1-F797FC373809}"/>
                </a:ext>
              </a:extLst>
            </p:cNvPr>
            <p:cNvSpPr>
              <a:spLocks noChangeAspect="1"/>
            </p:cNvSpPr>
            <p:nvPr/>
          </p:nvSpPr>
          <p:spPr bwMode="auto">
            <a:xfrm>
              <a:off x="3546638" y="1970424"/>
              <a:ext cx="337415" cy="387905"/>
            </a:xfrm>
            <a:custGeom>
              <a:avLst/>
              <a:gdLst>
                <a:gd name="T0" fmla="*/ 573 w 1624"/>
                <a:gd name="T1" fmla="*/ 1257 h 1867"/>
                <a:gd name="T2" fmla="*/ 662 w 1624"/>
                <a:gd name="T3" fmla="*/ 1288 h 1867"/>
                <a:gd name="T4" fmla="*/ 938 w 1624"/>
                <a:gd name="T5" fmla="*/ 1051 h 1867"/>
                <a:gd name="T6" fmla="*/ 1106 w 1624"/>
                <a:gd name="T7" fmla="*/ 731 h 1867"/>
                <a:gd name="T8" fmla="*/ 1059 w 1624"/>
                <a:gd name="T9" fmla="*/ 645 h 1867"/>
                <a:gd name="T10" fmla="*/ 1001 w 1624"/>
                <a:gd name="T11" fmla="*/ 613 h 1867"/>
                <a:gd name="T12" fmla="*/ 924 w 1624"/>
                <a:gd name="T13" fmla="*/ 432 h 1867"/>
                <a:gd name="T14" fmla="*/ 1114 w 1624"/>
                <a:gd name="T15" fmla="*/ 81 h 1867"/>
                <a:gd name="T16" fmla="*/ 1287 w 1624"/>
                <a:gd name="T17" fmla="*/ 35 h 1867"/>
                <a:gd name="T18" fmla="*/ 1350 w 1624"/>
                <a:gd name="T19" fmla="*/ 69 h 1867"/>
                <a:gd name="T20" fmla="*/ 1527 w 1624"/>
                <a:gd name="T21" fmla="*/ 235 h 1867"/>
                <a:gd name="T22" fmla="*/ 1583 w 1624"/>
                <a:gd name="T23" fmla="*/ 555 h 1867"/>
                <a:gd name="T24" fmla="*/ 1172 w 1624"/>
                <a:gd name="T25" fmla="*/ 1253 h 1867"/>
                <a:gd name="T26" fmla="*/ 586 w 1624"/>
                <a:gd name="T27" fmla="*/ 1803 h 1867"/>
                <a:gd name="T28" fmla="*/ 269 w 1624"/>
                <a:gd name="T29" fmla="*/ 1807 h 1867"/>
                <a:gd name="T30" fmla="*/ 33 w 1624"/>
                <a:gd name="T31" fmla="*/ 1602 h 1867"/>
                <a:gd name="T32" fmla="*/ 2 w 1624"/>
                <a:gd name="T33" fmla="*/ 1508 h 1867"/>
                <a:gd name="T34" fmla="*/ 45 w 1624"/>
                <a:gd name="T35" fmla="*/ 1421 h 1867"/>
                <a:gd name="T36" fmla="*/ 346 w 1624"/>
                <a:gd name="T37" fmla="*/ 1158 h 1867"/>
                <a:gd name="T38" fmla="*/ 448 w 1624"/>
                <a:gd name="T39" fmla="*/ 1145 h 1867"/>
                <a:gd name="T40" fmla="*/ 573 w 1624"/>
                <a:gd name="T41" fmla="*/ 1257 h 18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24" h="1867">
                  <a:moveTo>
                    <a:pt x="573" y="1257"/>
                  </a:moveTo>
                  <a:cubicBezTo>
                    <a:pt x="592" y="1282"/>
                    <a:pt x="630" y="1303"/>
                    <a:pt x="662" y="1288"/>
                  </a:cubicBezTo>
                  <a:cubicBezTo>
                    <a:pt x="753" y="1245"/>
                    <a:pt x="854" y="1156"/>
                    <a:pt x="938" y="1051"/>
                  </a:cubicBezTo>
                  <a:cubicBezTo>
                    <a:pt x="1020" y="948"/>
                    <a:pt x="1084" y="831"/>
                    <a:pt x="1106" y="731"/>
                  </a:cubicBezTo>
                  <a:cubicBezTo>
                    <a:pt x="1113" y="696"/>
                    <a:pt x="1089" y="661"/>
                    <a:pt x="1059" y="645"/>
                  </a:cubicBezTo>
                  <a:cubicBezTo>
                    <a:pt x="1001" y="613"/>
                    <a:pt x="1001" y="613"/>
                    <a:pt x="1001" y="613"/>
                  </a:cubicBezTo>
                  <a:cubicBezTo>
                    <a:pt x="942" y="580"/>
                    <a:pt x="888" y="499"/>
                    <a:pt x="924" y="432"/>
                  </a:cubicBezTo>
                  <a:cubicBezTo>
                    <a:pt x="1114" y="81"/>
                    <a:pt x="1114" y="81"/>
                    <a:pt x="1114" y="81"/>
                  </a:cubicBezTo>
                  <a:cubicBezTo>
                    <a:pt x="1150" y="16"/>
                    <a:pt x="1224" y="0"/>
                    <a:pt x="1287" y="35"/>
                  </a:cubicBezTo>
                  <a:cubicBezTo>
                    <a:pt x="1350" y="69"/>
                    <a:pt x="1350" y="69"/>
                    <a:pt x="1350" y="69"/>
                  </a:cubicBezTo>
                  <a:cubicBezTo>
                    <a:pt x="1415" y="105"/>
                    <a:pt x="1479" y="165"/>
                    <a:pt x="1527" y="235"/>
                  </a:cubicBezTo>
                  <a:cubicBezTo>
                    <a:pt x="1593" y="332"/>
                    <a:pt x="1624" y="442"/>
                    <a:pt x="1583" y="555"/>
                  </a:cubicBezTo>
                  <a:cubicBezTo>
                    <a:pt x="1500" y="781"/>
                    <a:pt x="1351" y="1030"/>
                    <a:pt x="1172" y="1253"/>
                  </a:cubicBezTo>
                  <a:cubicBezTo>
                    <a:pt x="994" y="1477"/>
                    <a:pt x="786" y="1676"/>
                    <a:pt x="586" y="1803"/>
                  </a:cubicBezTo>
                  <a:cubicBezTo>
                    <a:pt x="486" y="1867"/>
                    <a:pt x="375" y="1856"/>
                    <a:pt x="269" y="1807"/>
                  </a:cubicBezTo>
                  <a:cubicBezTo>
                    <a:pt x="157" y="1755"/>
                    <a:pt x="106" y="1695"/>
                    <a:pt x="33" y="1602"/>
                  </a:cubicBezTo>
                  <a:cubicBezTo>
                    <a:pt x="11" y="1573"/>
                    <a:pt x="0" y="1540"/>
                    <a:pt x="2" y="1508"/>
                  </a:cubicBezTo>
                  <a:cubicBezTo>
                    <a:pt x="4" y="1475"/>
                    <a:pt x="18" y="1444"/>
                    <a:pt x="45" y="1421"/>
                  </a:cubicBezTo>
                  <a:cubicBezTo>
                    <a:pt x="70" y="1399"/>
                    <a:pt x="346" y="1158"/>
                    <a:pt x="346" y="1158"/>
                  </a:cubicBezTo>
                  <a:cubicBezTo>
                    <a:pt x="376" y="1134"/>
                    <a:pt x="413" y="1133"/>
                    <a:pt x="448" y="1145"/>
                  </a:cubicBezTo>
                  <a:cubicBezTo>
                    <a:pt x="510" y="1166"/>
                    <a:pt x="536" y="1210"/>
                    <a:pt x="573" y="1257"/>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351"/>
            </a:p>
          </p:txBody>
        </p:sp>
      </p:grpSp>
      <p:grpSp>
        <p:nvGrpSpPr>
          <p:cNvPr id="38" name="Group 3">
            <a:extLst>
              <a:ext uri="{FF2B5EF4-FFF2-40B4-BE49-F238E27FC236}">
                <a16:creationId xmlns:a16="http://schemas.microsoft.com/office/drawing/2014/main" id="{7104BADD-8CD1-6F4A-B894-869C3BDB3EEB}"/>
              </a:ext>
            </a:extLst>
          </p:cNvPr>
          <p:cNvGrpSpPr>
            <a:grpSpLocks noChangeAspect="1"/>
          </p:cNvGrpSpPr>
          <p:nvPr>
            <p:custDataLst>
              <p:tags r:id="rId3"/>
            </p:custDataLst>
          </p:nvPr>
        </p:nvGrpSpPr>
        <p:grpSpPr>
          <a:xfrm>
            <a:off x="3770066" y="5330827"/>
            <a:ext cx="171180" cy="171180"/>
            <a:chOff x="328396" y="5313940"/>
            <a:chExt cx="720000" cy="720000"/>
          </a:xfrm>
        </p:grpSpPr>
        <p:sp>
          <p:nvSpPr>
            <p:cNvPr id="39" name="Rectangle 4">
              <a:extLst>
                <a:ext uri="{FF2B5EF4-FFF2-40B4-BE49-F238E27FC236}">
                  <a16:creationId xmlns:a16="http://schemas.microsoft.com/office/drawing/2014/main" id="{74BE3D5F-1445-6E40-8B49-72E15568383B}"/>
                </a:ext>
              </a:extLst>
            </p:cNvPr>
            <p:cNvSpPr/>
            <p:nvPr/>
          </p:nvSpPr>
          <p:spPr bwMode="gray">
            <a:xfrm>
              <a:off x="328396" y="5313940"/>
              <a:ext cx="720000" cy="720000"/>
            </a:xfrm>
            <a:prstGeom prst="rect">
              <a:avLst/>
            </a:prstGeom>
            <a:solidFill>
              <a:srgbClr val="E55A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pPr>
              <a:endParaRPr lang="en-US" sz="1000">
                <a:solidFill>
                  <a:schemeClr val="tx1"/>
                </a:solidFill>
                <a:latin typeface="Arial" pitchFamily="34" charset="0"/>
                <a:cs typeface="Arial" pitchFamily="34" charset="0"/>
              </a:endParaRPr>
            </a:p>
          </p:txBody>
        </p:sp>
        <p:sp>
          <p:nvSpPr>
            <p:cNvPr id="40" name="Freeform 76">
              <a:extLst>
                <a:ext uri="{FF2B5EF4-FFF2-40B4-BE49-F238E27FC236}">
                  <a16:creationId xmlns:a16="http://schemas.microsoft.com/office/drawing/2014/main" id="{55DB3C95-7D0C-D141-901E-96D692794D2B}"/>
                </a:ext>
              </a:extLst>
            </p:cNvPr>
            <p:cNvSpPr>
              <a:spLocks noChangeAspect="1" noEditPoints="1"/>
            </p:cNvSpPr>
            <p:nvPr/>
          </p:nvSpPr>
          <p:spPr bwMode="auto">
            <a:xfrm>
              <a:off x="456202" y="5509222"/>
              <a:ext cx="504000" cy="329436"/>
            </a:xfrm>
            <a:custGeom>
              <a:avLst/>
              <a:gdLst>
                <a:gd name="T0" fmla="*/ 0 w 2080"/>
                <a:gd name="T1" fmla="*/ 65 h 1360"/>
                <a:gd name="T2" fmla="*/ 0 w 2080"/>
                <a:gd name="T3" fmla="*/ 0 h 1360"/>
                <a:gd name="T4" fmla="*/ 2080 w 2080"/>
                <a:gd name="T5" fmla="*/ 0 h 1360"/>
                <a:gd name="T6" fmla="*/ 2080 w 2080"/>
                <a:gd name="T7" fmla="*/ 65 h 1360"/>
                <a:gd name="T8" fmla="*/ 1089 w 2080"/>
                <a:gd name="T9" fmla="*/ 862 h 1360"/>
                <a:gd name="T10" fmla="*/ 991 w 2080"/>
                <a:gd name="T11" fmla="*/ 862 h 1360"/>
                <a:gd name="T12" fmla="*/ 0 w 2080"/>
                <a:gd name="T13" fmla="*/ 65 h 1360"/>
                <a:gd name="T14" fmla="*/ 1139 w 2080"/>
                <a:gd name="T15" fmla="*/ 924 h 1360"/>
                <a:gd name="T16" fmla="*/ 1282 w 2080"/>
                <a:gd name="T17" fmla="*/ 810 h 1360"/>
                <a:gd name="T18" fmla="*/ 2076 w 2080"/>
                <a:gd name="T19" fmla="*/ 1360 h 1360"/>
                <a:gd name="T20" fmla="*/ 4 w 2080"/>
                <a:gd name="T21" fmla="*/ 1360 h 1360"/>
                <a:gd name="T22" fmla="*/ 798 w 2080"/>
                <a:gd name="T23" fmla="*/ 810 h 1360"/>
                <a:gd name="T24" fmla="*/ 941 w 2080"/>
                <a:gd name="T25" fmla="*/ 924 h 1360"/>
                <a:gd name="T26" fmla="*/ 1139 w 2080"/>
                <a:gd name="T27" fmla="*/ 924 h 1360"/>
                <a:gd name="T28" fmla="*/ 2 w 2080"/>
                <a:gd name="T29" fmla="*/ 137 h 1360"/>
                <a:gd name="T30" fmla="*/ 42 w 2080"/>
                <a:gd name="T31" fmla="*/ 201 h 1360"/>
                <a:gd name="T32" fmla="*/ 734 w 2080"/>
                <a:gd name="T33" fmla="*/ 758 h 1360"/>
                <a:gd name="T34" fmla="*/ 0 w 2080"/>
                <a:gd name="T35" fmla="*/ 1266 h 1360"/>
                <a:gd name="T36" fmla="*/ 0 w 2080"/>
                <a:gd name="T37" fmla="*/ 135 h 1360"/>
                <a:gd name="T38" fmla="*/ 2 w 2080"/>
                <a:gd name="T39" fmla="*/ 137 h 1360"/>
                <a:gd name="T40" fmla="*/ 2080 w 2080"/>
                <a:gd name="T41" fmla="*/ 136 h 1360"/>
                <a:gd name="T42" fmla="*/ 2080 w 2080"/>
                <a:gd name="T43" fmla="*/ 1265 h 1360"/>
                <a:gd name="T44" fmla="*/ 1346 w 2080"/>
                <a:gd name="T45" fmla="*/ 758 h 1360"/>
                <a:gd name="T46" fmla="*/ 2038 w 2080"/>
                <a:gd name="T47" fmla="*/ 201 h 1360"/>
                <a:gd name="T48" fmla="*/ 2080 w 2080"/>
                <a:gd name="T49" fmla="*/ 136 h 1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080" h="1360">
                  <a:moveTo>
                    <a:pt x="0" y="65"/>
                  </a:moveTo>
                  <a:cubicBezTo>
                    <a:pt x="0" y="0"/>
                    <a:pt x="0" y="0"/>
                    <a:pt x="0" y="0"/>
                  </a:cubicBezTo>
                  <a:cubicBezTo>
                    <a:pt x="2080" y="0"/>
                    <a:pt x="2080" y="0"/>
                    <a:pt x="2080" y="0"/>
                  </a:cubicBezTo>
                  <a:cubicBezTo>
                    <a:pt x="2080" y="65"/>
                    <a:pt x="2080" y="65"/>
                    <a:pt x="2080" y="65"/>
                  </a:cubicBezTo>
                  <a:cubicBezTo>
                    <a:pt x="1089" y="862"/>
                    <a:pt x="1089" y="862"/>
                    <a:pt x="1089" y="862"/>
                  </a:cubicBezTo>
                  <a:cubicBezTo>
                    <a:pt x="1060" y="886"/>
                    <a:pt x="1020" y="886"/>
                    <a:pt x="991" y="862"/>
                  </a:cubicBezTo>
                  <a:lnTo>
                    <a:pt x="0" y="65"/>
                  </a:lnTo>
                  <a:close/>
                  <a:moveTo>
                    <a:pt x="1139" y="924"/>
                  </a:moveTo>
                  <a:cubicBezTo>
                    <a:pt x="1282" y="810"/>
                    <a:pt x="1282" y="810"/>
                    <a:pt x="1282" y="810"/>
                  </a:cubicBezTo>
                  <a:cubicBezTo>
                    <a:pt x="2076" y="1360"/>
                    <a:pt x="2076" y="1360"/>
                    <a:pt x="2076" y="1360"/>
                  </a:cubicBezTo>
                  <a:cubicBezTo>
                    <a:pt x="4" y="1360"/>
                    <a:pt x="4" y="1360"/>
                    <a:pt x="4" y="1360"/>
                  </a:cubicBezTo>
                  <a:cubicBezTo>
                    <a:pt x="798" y="810"/>
                    <a:pt x="798" y="810"/>
                    <a:pt x="798" y="810"/>
                  </a:cubicBezTo>
                  <a:cubicBezTo>
                    <a:pt x="941" y="924"/>
                    <a:pt x="941" y="924"/>
                    <a:pt x="941" y="924"/>
                  </a:cubicBezTo>
                  <a:cubicBezTo>
                    <a:pt x="1000" y="972"/>
                    <a:pt x="1080" y="972"/>
                    <a:pt x="1139" y="924"/>
                  </a:cubicBezTo>
                  <a:close/>
                  <a:moveTo>
                    <a:pt x="2" y="137"/>
                  </a:moveTo>
                  <a:cubicBezTo>
                    <a:pt x="8" y="163"/>
                    <a:pt x="22" y="185"/>
                    <a:pt x="42" y="201"/>
                  </a:cubicBezTo>
                  <a:cubicBezTo>
                    <a:pt x="734" y="758"/>
                    <a:pt x="734" y="758"/>
                    <a:pt x="734" y="758"/>
                  </a:cubicBezTo>
                  <a:cubicBezTo>
                    <a:pt x="0" y="1266"/>
                    <a:pt x="0" y="1266"/>
                    <a:pt x="0" y="1266"/>
                  </a:cubicBezTo>
                  <a:cubicBezTo>
                    <a:pt x="0" y="135"/>
                    <a:pt x="0" y="135"/>
                    <a:pt x="0" y="135"/>
                  </a:cubicBezTo>
                  <a:lnTo>
                    <a:pt x="2" y="137"/>
                  </a:lnTo>
                  <a:close/>
                  <a:moveTo>
                    <a:pt x="2080" y="136"/>
                  </a:moveTo>
                  <a:cubicBezTo>
                    <a:pt x="2080" y="1265"/>
                    <a:pt x="2080" y="1265"/>
                    <a:pt x="2080" y="1265"/>
                  </a:cubicBezTo>
                  <a:cubicBezTo>
                    <a:pt x="1346" y="758"/>
                    <a:pt x="1346" y="758"/>
                    <a:pt x="1346" y="758"/>
                  </a:cubicBezTo>
                  <a:cubicBezTo>
                    <a:pt x="2038" y="201"/>
                    <a:pt x="2038" y="201"/>
                    <a:pt x="2038" y="201"/>
                  </a:cubicBezTo>
                  <a:cubicBezTo>
                    <a:pt x="2060" y="182"/>
                    <a:pt x="2072" y="162"/>
                    <a:pt x="2080" y="13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000"/>
            </a:p>
          </p:txBody>
        </p:sp>
      </p:grpSp>
      <p:cxnSp>
        <p:nvCxnSpPr>
          <p:cNvPr id="41" name="Straight Connector 40"/>
          <p:cNvCxnSpPr/>
          <p:nvPr/>
        </p:nvCxnSpPr>
        <p:spPr>
          <a:xfrm>
            <a:off x="2355914" y="5655833"/>
            <a:ext cx="3888000" cy="0"/>
          </a:xfrm>
          <a:prstGeom prst="line">
            <a:avLst/>
          </a:prstGeom>
          <a:ln w="6350">
            <a:solidFill>
              <a:schemeClr val="tx2"/>
            </a:solidFill>
            <a:prstDash val="dash"/>
          </a:ln>
        </p:spPr>
        <p:style>
          <a:lnRef idx="1">
            <a:schemeClr val="accent1"/>
          </a:lnRef>
          <a:fillRef idx="0">
            <a:schemeClr val="accent1"/>
          </a:fillRef>
          <a:effectRef idx="0">
            <a:schemeClr val="accent1"/>
          </a:effectRef>
          <a:fontRef idx="minor">
            <a:schemeClr val="tx1"/>
          </a:fontRef>
        </p:style>
      </p:cxnSp>
      <p:sp>
        <p:nvSpPr>
          <p:cNvPr id="42" name="Picture Placeholder 3"/>
          <p:cNvSpPr>
            <a:spLocks noGrp="1"/>
          </p:cNvSpPr>
          <p:nvPr>
            <p:ph type="pic" sz="quarter" idx="29" hasCustomPrompt="1"/>
          </p:nvPr>
        </p:nvSpPr>
        <p:spPr>
          <a:xfrm>
            <a:off x="2355914" y="3986604"/>
            <a:ext cx="1188677" cy="1547840"/>
          </a:xfrm>
          <a:solidFill>
            <a:srgbClr val="D9DADB"/>
          </a:solidFill>
        </p:spPr>
        <p:txBody>
          <a:bodyPr/>
          <a:lstStyle>
            <a:lvl1pPr marL="0" indent="0">
              <a:buNone/>
              <a:defRPr sz="1400"/>
            </a:lvl1pPr>
          </a:lstStyle>
          <a:p>
            <a:r>
              <a:rPr lang="en-US"/>
              <a:t>Insert picture</a:t>
            </a:r>
          </a:p>
        </p:txBody>
      </p:sp>
      <p:sp>
        <p:nvSpPr>
          <p:cNvPr id="43" name="Text Placeholder 5"/>
          <p:cNvSpPr>
            <a:spLocks noGrp="1"/>
          </p:cNvSpPr>
          <p:nvPr>
            <p:ph type="body" sz="quarter" idx="30" hasCustomPrompt="1"/>
          </p:nvPr>
        </p:nvSpPr>
        <p:spPr>
          <a:xfrm>
            <a:off x="3770065" y="3986141"/>
            <a:ext cx="2463190" cy="192360"/>
          </a:xfrm>
        </p:spPr>
        <p:txBody>
          <a:bodyPr lIns="0" tIns="0" rIns="0" bIns="0" anchor="ctr" anchorCtr="0"/>
          <a:lstStyle>
            <a:lvl1pPr marL="0" indent="0" algn="l">
              <a:lnSpc>
                <a:spcPct val="100000"/>
              </a:lnSpc>
              <a:buNone/>
              <a:defRPr sz="100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Country</a:t>
            </a:r>
          </a:p>
        </p:txBody>
      </p:sp>
      <p:sp>
        <p:nvSpPr>
          <p:cNvPr id="44" name="Text Placeholder 5"/>
          <p:cNvSpPr>
            <a:spLocks noGrp="1"/>
          </p:cNvSpPr>
          <p:nvPr>
            <p:ph type="body" sz="quarter" idx="31" hasCustomPrompt="1"/>
          </p:nvPr>
        </p:nvSpPr>
        <p:spPr>
          <a:xfrm>
            <a:off x="3770065" y="4197957"/>
            <a:ext cx="2463190" cy="266182"/>
          </a:xfrm>
        </p:spPr>
        <p:txBody>
          <a:bodyPr lIns="0" tIns="0" rIns="0" bIns="0" anchor="b" anchorCtr="0"/>
          <a:lstStyle>
            <a:lvl1pPr marL="0" indent="0" algn="l">
              <a:lnSpc>
                <a:spcPct val="100000"/>
              </a:lnSpc>
              <a:buNone/>
              <a:defRPr sz="1400" b="1" baseline="0">
                <a:solidFill>
                  <a:schemeClr val="tx2"/>
                </a:solidFill>
              </a:defRPr>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Name, Surname</a:t>
            </a:r>
          </a:p>
        </p:txBody>
      </p:sp>
      <p:sp>
        <p:nvSpPr>
          <p:cNvPr id="45" name="Text Placeholder 5"/>
          <p:cNvSpPr>
            <a:spLocks noGrp="1"/>
          </p:cNvSpPr>
          <p:nvPr>
            <p:ph type="body" sz="quarter" idx="32" hasCustomPrompt="1"/>
          </p:nvPr>
        </p:nvSpPr>
        <p:spPr>
          <a:xfrm>
            <a:off x="3770065" y="4494532"/>
            <a:ext cx="2463190"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Job Position</a:t>
            </a:r>
          </a:p>
        </p:txBody>
      </p:sp>
      <p:sp>
        <p:nvSpPr>
          <p:cNvPr id="46" name="Text Placeholder 5"/>
          <p:cNvSpPr>
            <a:spLocks noGrp="1"/>
          </p:cNvSpPr>
          <p:nvPr>
            <p:ph type="body" sz="quarter" idx="33" hasCustomPrompt="1"/>
          </p:nvPr>
        </p:nvSpPr>
        <p:spPr>
          <a:xfrm>
            <a:off x="4014948" y="5023208"/>
            <a:ext cx="2218307"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Phone number</a:t>
            </a:r>
          </a:p>
        </p:txBody>
      </p:sp>
      <p:sp>
        <p:nvSpPr>
          <p:cNvPr id="47" name="Text Placeholder 5"/>
          <p:cNvSpPr>
            <a:spLocks noGrp="1"/>
          </p:cNvSpPr>
          <p:nvPr>
            <p:ph type="body" sz="quarter" idx="34" hasCustomPrompt="1"/>
          </p:nvPr>
        </p:nvSpPr>
        <p:spPr>
          <a:xfrm>
            <a:off x="4014948" y="5306015"/>
            <a:ext cx="2218307"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Email address</a:t>
            </a:r>
          </a:p>
        </p:txBody>
      </p:sp>
    </p:spTree>
    <p:extLst>
      <p:ext uri="{BB962C8B-B14F-4D97-AF65-F5344CB8AC3E}">
        <p14:creationId xmlns:p14="http://schemas.microsoft.com/office/powerpoint/2010/main" val="3346291823"/>
      </p:ext>
    </p:extLst>
  </p:cSld>
  <p:clrMapOvr>
    <a:masterClrMapping/>
  </p:clrMapOvr>
</p:sldLayout>
</file>

<file path=ppt/slideLayouts/slideLayout559.xml><?xml version="1.0" encoding="utf-8"?>
<p:sldLayout xmlns:a="http://schemas.openxmlformats.org/drawingml/2006/main" xmlns:r="http://schemas.openxmlformats.org/officeDocument/2006/relationships" xmlns:p="http://schemas.openxmlformats.org/presentationml/2006/main" preserve="1">
  <p:cSld name="Four contacts">
    <p:spTree>
      <p:nvGrpSpPr>
        <p:cNvPr id="1" name=""/>
        <p:cNvGrpSpPr/>
        <p:nvPr/>
      </p:nvGrpSpPr>
      <p:grpSpPr>
        <a:xfrm>
          <a:off x="0" y="0"/>
          <a:ext cx="0" cy="0"/>
          <a:chOff x="0" y="0"/>
          <a:chExt cx="0" cy="0"/>
        </a:xfrm>
      </p:grpSpPr>
      <p:sp>
        <p:nvSpPr>
          <p:cNvPr id="21" name="Date Placeholder 20"/>
          <p:cNvSpPr>
            <a:spLocks noGrp="1"/>
          </p:cNvSpPr>
          <p:nvPr>
            <p:ph type="dt" sz="half" idx="14"/>
          </p:nvPr>
        </p:nvSpPr>
        <p:spPr/>
        <p:txBody>
          <a:bodyPr/>
          <a:lstStyle/>
          <a:p>
            <a:fld id="{279C7CF9-AE45-4637-9DF5-AFC713D6D2FE}" type="datetime5">
              <a:rPr lang="en-US" smtClean="0"/>
              <a:t>26-Jun-20</a:t>
            </a:fld>
            <a:endParaRPr lang="en-US"/>
          </a:p>
        </p:txBody>
      </p:sp>
      <p:sp>
        <p:nvSpPr>
          <p:cNvPr id="22" name="Footer Placeholder 21"/>
          <p:cNvSpPr>
            <a:spLocks noGrp="1"/>
          </p:cNvSpPr>
          <p:nvPr>
            <p:ph type="ftr" sz="quarter" idx="15"/>
          </p:nvPr>
        </p:nvSpPr>
        <p:spPr/>
        <p:txBody>
          <a:bodyPr/>
          <a:lstStyle/>
          <a:p>
            <a:r>
              <a:rPr lang="en-US"/>
              <a:t>Title of presentation (Insert / Header &amp; Footer / Apply to All)</a:t>
            </a:r>
          </a:p>
        </p:txBody>
      </p:sp>
      <p:sp>
        <p:nvSpPr>
          <p:cNvPr id="23" name="Slide Number Placeholder 22"/>
          <p:cNvSpPr>
            <a:spLocks noGrp="1"/>
          </p:cNvSpPr>
          <p:nvPr>
            <p:ph type="sldNum" sz="quarter" idx="16"/>
          </p:nvPr>
        </p:nvSpPr>
        <p:spPr/>
        <p:txBody>
          <a:bodyPr/>
          <a:lstStyle/>
          <a:p>
            <a:fld id="{5F3E29E4-0979-4FCA-B4C5-5FC6044C982A}" type="slidenum">
              <a:rPr lang="en-US" smtClean="0"/>
              <a:t>‹#›</a:t>
            </a:fld>
            <a:endParaRPr lang="en-US"/>
          </a:p>
        </p:txBody>
      </p:sp>
      <p:sp>
        <p:nvSpPr>
          <p:cNvPr id="2" name="Title 1"/>
          <p:cNvSpPr>
            <a:spLocks noGrp="1"/>
          </p:cNvSpPr>
          <p:nvPr>
            <p:ph type="title" hasCustomPrompt="1"/>
          </p:nvPr>
        </p:nvSpPr>
        <p:spPr/>
        <p:txBody>
          <a:bodyPr/>
          <a:lstStyle>
            <a:lvl1pPr>
              <a:defRPr/>
            </a:lvl1pPr>
          </a:lstStyle>
          <a:p>
            <a:r>
              <a:rPr lang="en-US"/>
              <a:t>Click to add contact title</a:t>
            </a:r>
          </a:p>
        </p:txBody>
      </p:sp>
      <p:sp>
        <p:nvSpPr>
          <p:cNvPr id="7" name="Subtitle 2"/>
          <p:cNvSpPr>
            <a:spLocks noGrp="1"/>
          </p:cNvSpPr>
          <p:nvPr>
            <p:ph type="subTitle" idx="13" hasCustomPrompt="1"/>
          </p:nvPr>
        </p:nvSpPr>
        <p:spPr>
          <a:xfrm>
            <a:off x="1075061" y="964671"/>
            <a:ext cx="7910158" cy="490042"/>
          </a:xfrm>
        </p:spPr>
        <p:txBody>
          <a:bodyPr wrap="none"/>
          <a:lstStyle>
            <a:lvl1pPr marL="0" indent="0" algn="l">
              <a:spcBef>
                <a:spcPts val="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grpSp>
        <p:nvGrpSpPr>
          <p:cNvPr id="8" name="Gruppieren 80">
            <a:extLst>
              <a:ext uri="{FF2B5EF4-FFF2-40B4-BE49-F238E27FC236}">
                <a16:creationId xmlns:a16="http://schemas.microsoft.com/office/drawing/2014/main" id="{6B969E7B-9C39-4443-9B02-74C1E7C5CCAC}"/>
              </a:ext>
            </a:extLst>
          </p:cNvPr>
          <p:cNvGrpSpPr/>
          <p:nvPr/>
        </p:nvGrpSpPr>
        <p:grpSpPr>
          <a:xfrm>
            <a:off x="3770065" y="2868319"/>
            <a:ext cx="171180" cy="171180"/>
            <a:chOff x="3392092" y="1841122"/>
            <a:chExt cx="646508" cy="646508"/>
          </a:xfrm>
        </p:grpSpPr>
        <p:sp>
          <p:nvSpPr>
            <p:cNvPr id="9" name="Rechteck 14">
              <a:extLst>
                <a:ext uri="{FF2B5EF4-FFF2-40B4-BE49-F238E27FC236}">
                  <a16:creationId xmlns:a16="http://schemas.microsoft.com/office/drawing/2014/main" id="{D78F58EA-5525-8D43-8295-FEA52ECF6BFA}"/>
                </a:ext>
              </a:extLst>
            </p:cNvPr>
            <p:cNvSpPr>
              <a:spLocks noChangeAspect="1"/>
            </p:cNvSpPr>
            <p:nvPr/>
          </p:nvSpPr>
          <p:spPr bwMode="gray">
            <a:xfrm>
              <a:off x="3392092" y="1841122"/>
              <a:ext cx="646508" cy="646508"/>
            </a:xfrm>
            <a:prstGeom prst="rect">
              <a:avLst/>
            </a:prstGeom>
            <a:solidFill>
              <a:srgbClr val="E55A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pPr>
              <a:endParaRPr lang="en-US" sz="1000">
                <a:solidFill>
                  <a:schemeClr val="tx1"/>
                </a:solidFill>
                <a:latin typeface="Arial" pitchFamily="34" charset="0"/>
                <a:cs typeface="Arial" pitchFamily="34" charset="0"/>
              </a:endParaRPr>
            </a:p>
          </p:txBody>
        </p:sp>
        <p:sp>
          <p:nvSpPr>
            <p:cNvPr id="10" name="Freeform 67">
              <a:extLst>
                <a:ext uri="{FF2B5EF4-FFF2-40B4-BE49-F238E27FC236}">
                  <a16:creationId xmlns:a16="http://schemas.microsoft.com/office/drawing/2014/main" id="{D01A6292-2776-4945-B828-483D79DC4908}"/>
                </a:ext>
              </a:extLst>
            </p:cNvPr>
            <p:cNvSpPr>
              <a:spLocks noChangeAspect="1"/>
            </p:cNvSpPr>
            <p:nvPr/>
          </p:nvSpPr>
          <p:spPr bwMode="auto">
            <a:xfrm>
              <a:off x="3546638" y="1970424"/>
              <a:ext cx="337415" cy="387905"/>
            </a:xfrm>
            <a:custGeom>
              <a:avLst/>
              <a:gdLst>
                <a:gd name="T0" fmla="*/ 573 w 1624"/>
                <a:gd name="T1" fmla="*/ 1257 h 1867"/>
                <a:gd name="T2" fmla="*/ 662 w 1624"/>
                <a:gd name="T3" fmla="*/ 1288 h 1867"/>
                <a:gd name="T4" fmla="*/ 938 w 1624"/>
                <a:gd name="T5" fmla="*/ 1051 h 1867"/>
                <a:gd name="T6" fmla="*/ 1106 w 1624"/>
                <a:gd name="T7" fmla="*/ 731 h 1867"/>
                <a:gd name="T8" fmla="*/ 1059 w 1624"/>
                <a:gd name="T9" fmla="*/ 645 h 1867"/>
                <a:gd name="T10" fmla="*/ 1001 w 1624"/>
                <a:gd name="T11" fmla="*/ 613 h 1867"/>
                <a:gd name="T12" fmla="*/ 924 w 1624"/>
                <a:gd name="T13" fmla="*/ 432 h 1867"/>
                <a:gd name="T14" fmla="*/ 1114 w 1624"/>
                <a:gd name="T15" fmla="*/ 81 h 1867"/>
                <a:gd name="T16" fmla="*/ 1287 w 1624"/>
                <a:gd name="T17" fmla="*/ 35 h 1867"/>
                <a:gd name="T18" fmla="*/ 1350 w 1624"/>
                <a:gd name="T19" fmla="*/ 69 h 1867"/>
                <a:gd name="T20" fmla="*/ 1527 w 1624"/>
                <a:gd name="T21" fmla="*/ 235 h 1867"/>
                <a:gd name="T22" fmla="*/ 1583 w 1624"/>
                <a:gd name="T23" fmla="*/ 555 h 1867"/>
                <a:gd name="T24" fmla="*/ 1172 w 1624"/>
                <a:gd name="T25" fmla="*/ 1253 h 1867"/>
                <a:gd name="T26" fmla="*/ 586 w 1624"/>
                <a:gd name="T27" fmla="*/ 1803 h 1867"/>
                <a:gd name="T28" fmla="*/ 269 w 1624"/>
                <a:gd name="T29" fmla="*/ 1807 h 1867"/>
                <a:gd name="T30" fmla="*/ 33 w 1624"/>
                <a:gd name="T31" fmla="*/ 1602 h 1867"/>
                <a:gd name="T32" fmla="*/ 2 w 1624"/>
                <a:gd name="T33" fmla="*/ 1508 h 1867"/>
                <a:gd name="T34" fmla="*/ 45 w 1624"/>
                <a:gd name="T35" fmla="*/ 1421 h 1867"/>
                <a:gd name="T36" fmla="*/ 346 w 1624"/>
                <a:gd name="T37" fmla="*/ 1158 h 1867"/>
                <a:gd name="T38" fmla="*/ 448 w 1624"/>
                <a:gd name="T39" fmla="*/ 1145 h 1867"/>
                <a:gd name="T40" fmla="*/ 573 w 1624"/>
                <a:gd name="T41" fmla="*/ 1257 h 18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24" h="1867">
                  <a:moveTo>
                    <a:pt x="573" y="1257"/>
                  </a:moveTo>
                  <a:cubicBezTo>
                    <a:pt x="592" y="1282"/>
                    <a:pt x="630" y="1303"/>
                    <a:pt x="662" y="1288"/>
                  </a:cubicBezTo>
                  <a:cubicBezTo>
                    <a:pt x="753" y="1245"/>
                    <a:pt x="854" y="1156"/>
                    <a:pt x="938" y="1051"/>
                  </a:cubicBezTo>
                  <a:cubicBezTo>
                    <a:pt x="1020" y="948"/>
                    <a:pt x="1084" y="831"/>
                    <a:pt x="1106" y="731"/>
                  </a:cubicBezTo>
                  <a:cubicBezTo>
                    <a:pt x="1113" y="696"/>
                    <a:pt x="1089" y="661"/>
                    <a:pt x="1059" y="645"/>
                  </a:cubicBezTo>
                  <a:cubicBezTo>
                    <a:pt x="1001" y="613"/>
                    <a:pt x="1001" y="613"/>
                    <a:pt x="1001" y="613"/>
                  </a:cubicBezTo>
                  <a:cubicBezTo>
                    <a:pt x="942" y="580"/>
                    <a:pt x="888" y="499"/>
                    <a:pt x="924" y="432"/>
                  </a:cubicBezTo>
                  <a:cubicBezTo>
                    <a:pt x="1114" y="81"/>
                    <a:pt x="1114" y="81"/>
                    <a:pt x="1114" y="81"/>
                  </a:cubicBezTo>
                  <a:cubicBezTo>
                    <a:pt x="1150" y="16"/>
                    <a:pt x="1224" y="0"/>
                    <a:pt x="1287" y="35"/>
                  </a:cubicBezTo>
                  <a:cubicBezTo>
                    <a:pt x="1350" y="69"/>
                    <a:pt x="1350" y="69"/>
                    <a:pt x="1350" y="69"/>
                  </a:cubicBezTo>
                  <a:cubicBezTo>
                    <a:pt x="1415" y="105"/>
                    <a:pt x="1479" y="165"/>
                    <a:pt x="1527" y="235"/>
                  </a:cubicBezTo>
                  <a:cubicBezTo>
                    <a:pt x="1593" y="332"/>
                    <a:pt x="1624" y="442"/>
                    <a:pt x="1583" y="555"/>
                  </a:cubicBezTo>
                  <a:cubicBezTo>
                    <a:pt x="1500" y="781"/>
                    <a:pt x="1351" y="1030"/>
                    <a:pt x="1172" y="1253"/>
                  </a:cubicBezTo>
                  <a:cubicBezTo>
                    <a:pt x="994" y="1477"/>
                    <a:pt x="786" y="1676"/>
                    <a:pt x="586" y="1803"/>
                  </a:cubicBezTo>
                  <a:cubicBezTo>
                    <a:pt x="486" y="1867"/>
                    <a:pt x="375" y="1856"/>
                    <a:pt x="269" y="1807"/>
                  </a:cubicBezTo>
                  <a:cubicBezTo>
                    <a:pt x="157" y="1755"/>
                    <a:pt x="106" y="1695"/>
                    <a:pt x="33" y="1602"/>
                  </a:cubicBezTo>
                  <a:cubicBezTo>
                    <a:pt x="11" y="1573"/>
                    <a:pt x="0" y="1540"/>
                    <a:pt x="2" y="1508"/>
                  </a:cubicBezTo>
                  <a:cubicBezTo>
                    <a:pt x="4" y="1475"/>
                    <a:pt x="18" y="1444"/>
                    <a:pt x="45" y="1421"/>
                  </a:cubicBezTo>
                  <a:cubicBezTo>
                    <a:pt x="70" y="1399"/>
                    <a:pt x="346" y="1158"/>
                    <a:pt x="346" y="1158"/>
                  </a:cubicBezTo>
                  <a:cubicBezTo>
                    <a:pt x="376" y="1134"/>
                    <a:pt x="413" y="1133"/>
                    <a:pt x="448" y="1145"/>
                  </a:cubicBezTo>
                  <a:cubicBezTo>
                    <a:pt x="510" y="1166"/>
                    <a:pt x="536" y="1210"/>
                    <a:pt x="573" y="1257"/>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351"/>
            </a:p>
          </p:txBody>
        </p:sp>
      </p:grpSp>
      <p:grpSp>
        <p:nvGrpSpPr>
          <p:cNvPr id="11" name="Group 3">
            <a:extLst>
              <a:ext uri="{FF2B5EF4-FFF2-40B4-BE49-F238E27FC236}">
                <a16:creationId xmlns:a16="http://schemas.microsoft.com/office/drawing/2014/main" id="{DED6A25A-5DE2-1441-8BA2-C68D3B4F9209}"/>
              </a:ext>
            </a:extLst>
          </p:cNvPr>
          <p:cNvGrpSpPr>
            <a:grpSpLocks noChangeAspect="1"/>
          </p:cNvGrpSpPr>
          <p:nvPr>
            <p:custDataLst>
              <p:tags r:id="rId1"/>
            </p:custDataLst>
          </p:nvPr>
        </p:nvGrpSpPr>
        <p:grpSpPr>
          <a:xfrm>
            <a:off x="3770066" y="3153207"/>
            <a:ext cx="171180" cy="171180"/>
            <a:chOff x="328396" y="5313940"/>
            <a:chExt cx="720000" cy="720000"/>
          </a:xfrm>
        </p:grpSpPr>
        <p:sp>
          <p:nvSpPr>
            <p:cNvPr id="12" name="Rectangle 4">
              <a:extLst>
                <a:ext uri="{FF2B5EF4-FFF2-40B4-BE49-F238E27FC236}">
                  <a16:creationId xmlns:a16="http://schemas.microsoft.com/office/drawing/2014/main" id="{5F49E67F-D4FA-9D48-96BC-59AE946ECD15}"/>
                </a:ext>
              </a:extLst>
            </p:cNvPr>
            <p:cNvSpPr/>
            <p:nvPr/>
          </p:nvSpPr>
          <p:spPr bwMode="gray">
            <a:xfrm>
              <a:off x="328396" y="5313940"/>
              <a:ext cx="720000" cy="720000"/>
            </a:xfrm>
            <a:prstGeom prst="rect">
              <a:avLst/>
            </a:prstGeom>
            <a:solidFill>
              <a:srgbClr val="E55A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pPr>
              <a:endParaRPr lang="en-US" sz="1000">
                <a:solidFill>
                  <a:schemeClr val="tx1"/>
                </a:solidFill>
                <a:latin typeface="Arial" pitchFamily="34" charset="0"/>
                <a:cs typeface="Arial" pitchFamily="34" charset="0"/>
              </a:endParaRPr>
            </a:p>
          </p:txBody>
        </p:sp>
        <p:sp>
          <p:nvSpPr>
            <p:cNvPr id="13" name="Freeform 76">
              <a:extLst>
                <a:ext uri="{FF2B5EF4-FFF2-40B4-BE49-F238E27FC236}">
                  <a16:creationId xmlns:a16="http://schemas.microsoft.com/office/drawing/2014/main" id="{187E70E6-AF3F-2549-908E-DF4BA61040AA}"/>
                </a:ext>
              </a:extLst>
            </p:cNvPr>
            <p:cNvSpPr>
              <a:spLocks noChangeAspect="1" noEditPoints="1"/>
            </p:cNvSpPr>
            <p:nvPr/>
          </p:nvSpPr>
          <p:spPr bwMode="auto">
            <a:xfrm>
              <a:off x="456202" y="5509222"/>
              <a:ext cx="504000" cy="329436"/>
            </a:xfrm>
            <a:custGeom>
              <a:avLst/>
              <a:gdLst>
                <a:gd name="T0" fmla="*/ 0 w 2080"/>
                <a:gd name="T1" fmla="*/ 65 h 1360"/>
                <a:gd name="T2" fmla="*/ 0 w 2080"/>
                <a:gd name="T3" fmla="*/ 0 h 1360"/>
                <a:gd name="T4" fmla="*/ 2080 w 2080"/>
                <a:gd name="T5" fmla="*/ 0 h 1360"/>
                <a:gd name="T6" fmla="*/ 2080 w 2080"/>
                <a:gd name="T7" fmla="*/ 65 h 1360"/>
                <a:gd name="T8" fmla="*/ 1089 w 2080"/>
                <a:gd name="T9" fmla="*/ 862 h 1360"/>
                <a:gd name="T10" fmla="*/ 991 w 2080"/>
                <a:gd name="T11" fmla="*/ 862 h 1360"/>
                <a:gd name="T12" fmla="*/ 0 w 2080"/>
                <a:gd name="T13" fmla="*/ 65 h 1360"/>
                <a:gd name="T14" fmla="*/ 1139 w 2080"/>
                <a:gd name="T15" fmla="*/ 924 h 1360"/>
                <a:gd name="T16" fmla="*/ 1282 w 2080"/>
                <a:gd name="T17" fmla="*/ 810 h 1360"/>
                <a:gd name="T18" fmla="*/ 2076 w 2080"/>
                <a:gd name="T19" fmla="*/ 1360 h 1360"/>
                <a:gd name="T20" fmla="*/ 4 w 2080"/>
                <a:gd name="T21" fmla="*/ 1360 h 1360"/>
                <a:gd name="T22" fmla="*/ 798 w 2080"/>
                <a:gd name="T23" fmla="*/ 810 h 1360"/>
                <a:gd name="T24" fmla="*/ 941 w 2080"/>
                <a:gd name="T25" fmla="*/ 924 h 1360"/>
                <a:gd name="T26" fmla="*/ 1139 w 2080"/>
                <a:gd name="T27" fmla="*/ 924 h 1360"/>
                <a:gd name="T28" fmla="*/ 2 w 2080"/>
                <a:gd name="T29" fmla="*/ 137 h 1360"/>
                <a:gd name="T30" fmla="*/ 42 w 2080"/>
                <a:gd name="T31" fmla="*/ 201 h 1360"/>
                <a:gd name="T32" fmla="*/ 734 w 2080"/>
                <a:gd name="T33" fmla="*/ 758 h 1360"/>
                <a:gd name="T34" fmla="*/ 0 w 2080"/>
                <a:gd name="T35" fmla="*/ 1266 h 1360"/>
                <a:gd name="T36" fmla="*/ 0 w 2080"/>
                <a:gd name="T37" fmla="*/ 135 h 1360"/>
                <a:gd name="T38" fmla="*/ 2 w 2080"/>
                <a:gd name="T39" fmla="*/ 137 h 1360"/>
                <a:gd name="T40" fmla="*/ 2080 w 2080"/>
                <a:gd name="T41" fmla="*/ 136 h 1360"/>
                <a:gd name="T42" fmla="*/ 2080 w 2080"/>
                <a:gd name="T43" fmla="*/ 1265 h 1360"/>
                <a:gd name="T44" fmla="*/ 1346 w 2080"/>
                <a:gd name="T45" fmla="*/ 758 h 1360"/>
                <a:gd name="T46" fmla="*/ 2038 w 2080"/>
                <a:gd name="T47" fmla="*/ 201 h 1360"/>
                <a:gd name="T48" fmla="*/ 2080 w 2080"/>
                <a:gd name="T49" fmla="*/ 136 h 1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080" h="1360">
                  <a:moveTo>
                    <a:pt x="0" y="65"/>
                  </a:moveTo>
                  <a:cubicBezTo>
                    <a:pt x="0" y="0"/>
                    <a:pt x="0" y="0"/>
                    <a:pt x="0" y="0"/>
                  </a:cubicBezTo>
                  <a:cubicBezTo>
                    <a:pt x="2080" y="0"/>
                    <a:pt x="2080" y="0"/>
                    <a:pt x="2080" y="0"/>
                  </a:cubicBezTo>
                  <a:cubicBezTo>
                    <a:pt x="2080" y="65"/>
                    <a:pt x="2080" y="65"/>
                    <a:pt x="2080" y="65"/>
                  </a:cubicBezTo>
                  <a:cubicBezTo>
                    <a:pt x="1089" y="862"/>
                    <a:pt x="1089" y="862"/>
                    <a:pt x="1089" y="862"/>
                  </a:cubicBezTo>
                  <a:cubicBezTo>
                    <a:pt x="1060" y="886"/>
                    <a:pt x="1020" y="886"/>
                    <a:pt x="991" y="862"/>
                  </a:cubicBezTo>
                  <a:lnTo>
                    <a:pt x="0" y="65"/>
                  </a:lnTo>
                  <a:close/>
                  <a:moveTo>
                    <a:pt x="1139" y="924"/>
                  </a:moveTo>
                  <a:cubicBezTo>
                    <a:pt x="1282" y="810"/>
                    <a:pt x="1282" y="810"/>
                    <a:pt x="1282" y="810"/>
                  </a:cubicBezTo>
                  <a:cubicBezTo>
                    <a:pt x="2076" y="1360"/>
                    <a:pt x="2076" y="1360"/>
                    <a:pt x="2076" y="1360"/>
                  </a:cubicBezTo>
                  <a:cubicBezTo>
                    <a:pt x="4" y="1360"/>
                    <a:pt x="4" y="1360"/>
                    <a:pt x="4" y="1360"/>
                  </a:cubicBezTo>
                  <a:cubicBezTo>
                    <a:pt x="798" y="810"/>
                    <a:pt x="798" y="810"/>
                    <a:pt x="798" y="810"/>
                  </a:cubicBezTo>
                  <a:cubicBezTo>
                    <a:pt x="941" y="924"/>
                    <a:pt x="941" y="924"/>
                    <a:pt x="941" y="924"/>
                  </a:cubicBezTo>
                  <a:cubicBezTo>
                    <a:pt x="1000" y="972"/>
                    <a:pt x="1080" y="972"/>
                    <a:pt x="1139" y="924"/>
                  </a:cubicBezTo>
                  <a:close/>
                  <a:moveTo>
                    <a:pt x="2" y="137"/>
                  </a:moveTo>
                  <a:cubicBezTo>
                    <a:pt x="8" y="163"/>
                    <a:pt x="22" y="185"/>
                    <a:pt x="42" y="201"/>
                  </a:cubicBezTo>
                  <a:cubicBezTo>
                    <a:pt x="734" y="758"/>
                    <a:pt x="734" y="758"/>
                    <a:pt x="734" y="758"/>
                  </a:cubicBezTo>
                  <a:cubicBezTo>
                    <a:pt x="0" y="1266"/>
                    <a:pt x="0" y="1266"/>
                    <a:pt x="0" y="1266"/>
                  </a:cubicBezTo>
                  <a:cubicBezTo>
                    <a:pt x="0" y="135"/>
                    <a:pt x="0" y="135"/>
                    <a:pt x="0" y="135"/>
                  </a:cubicBezTo>
                  <a:lnTo>
                    <a:pt x="2" y="137"/>
                  </a:lnTo>
                  <a:close/>
                  <a:moveTo>
                    <a:pt x="2080" y="136"/>
                  </a:moveTo>
                  <a:cubicBezTo>
                    <a:pt x="2080" y="1265"/>
                    <a:pt x="2080" y="1265"/>
                    <a:pt x="2080" y="1265"/>
                  </a:cubicBezTo>
                  <a:cubicBezTo>
                    <a:pt x="1346" y="758"/>
                    <a:pt x="1346" y="758"/>
                    <a:pt x="1346" y="758"/>
                  </a:cubicBezTo>
                  <a:cubicBezTo>
                    <a:pt x="2038" y="201"/>
                    <a:pt x="2038" y="201"/>
                    <a:pt x="2038" y="201"/>
                  </a:cubicBezTo>
                  <a:cubicBezTo>
                    <a:pt x="2060" y="182"/>
                    <a:pt x="2072" y="162"/>
                    <a:pt x="2080" y="13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000"/>
            </a:p>
          </p:txBody>
        </p:sp>
      </p:grpSp>
      <p:grpSp>
        <p:nvGrpSpPr>
          <p:cNvPr id="14" name="Gruppieren 2">
            <a:extLst>
              <a:ext uri="{FF2B5EF4-FFF2-40B4-BE49-F238E27FC236}">
                <a16:creationId xmlns:a16="http://schemas.microsoft.com/office/drawing/2014/main" id="{BE697CE9-EBDE-6B4A-BE70-582D92A8A831}"/>
              </a:ext>
            </a:extLst>
          </p:cNvPr>
          <p:cNvGrpSpPr/>
          <p:nvPr/>
        </p:nvGrpSpPr>
        <p:grpSpPr>
          <a:xfrm>
            <a:off x="8701917" y="2868319"/>
            <a:ext cx="171180" cy="171180"/>
            <a:chOff x="3392092" y="1841122"/>
            <a:chExt cx="646508" cy="646508"/>
          </a:xfrm>
        </p:grpSpPr>
        <p:sp>
          <p:nvSpPr>
            <p:cNvPr id="15" name="Rechteck 14">
              <a:extLst>
                <a:ext uri="{FF2B5EF4-FFF2-40B4-BE49-F238E27FC236}">
                  <a16:creationId xmlns:a16="http://schemas.microsoft.com/office/drawing/2014/main" id="{E142A731-19B7-C34D-9534-9E05108F895F}"/>
                </a:ext>
              </a:extLst>
            </p:cNvPr>
            <p:cNvSpPr>
              <a:spLocks noChangeAspect="1"/>
            </p:cNvSpPr>
            <p:nvPr/>
          </p:nvSpPr>
          <p:spPr bwMode="gray">
            <a:xfrm>
              <a:off x="3392092" y="1841122"/>
              <a:ext cx="646508" cy="646508"/>
            </a:xfrm>
            <a:prstGeom prst="rect">
              <a:avLst/>
            </a:prstGeom>
            <a:solidFill>
              <a:srgbClr val="E55A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pPr>
              <a:endParaRPr lang="en-US" sz="1000">
                <a:solidFill>
                  <a:schemeClr val="tx1"/>
                </a:solidFill>
                <a:latin typeface="Arial" pitchFamily="34" charset="0"/>
                <a:cs typeface="Arial" pitchFamily="34" charset="0"/>
              </a:endParaRPr>
            </a:p>
          </p:txBody>
        </p:sp>
        <p:sp>
          <p:nvSpPr>
            <p:cNvPr id="16" name="Freeform 15">
              <a:extLst>
                <a:ext uri="{FF2B5EF4-FFF2-40B4-BE49-F238E27FC236}">
                  <a16:creationId xmlns:a16="http://schemas.microsoft.com/office/drawing/2014/main" id="{F97E84AE-4AD9-4B44-9AA1-F797FC373809}"/>
                </a:ext>
              </a:extLst>
            </p:cNvPr>
            <p:cNvSpPr>
              <a:spLocks noChangeAspect="1"/>
            </p:cNvSpPr>
            <p:nvPr/>
          </p:nvSpPr>
          <p:spPr bwMode="auto">
            <a:xfrm>
              <a:off x="3546638" y="1970424"/>
              <a:ext cx="337415" cy="387905"/>
            </a:xfrm>
            <a:custGeom>
              <a:avLst/>
              <a:gdLst>
                <a:gd name="T0" fmla="*/ 573 w 1624"/>
                <a:gd name="T1" fmla="*/ 1257 h 1867"/>
                <a:gd name="T2" fmla="*/ 662 w 1624"/>
                <a:gd name="T3" fmla="*/ 1288 h 1867"/>
                <a:gd name="T4" fmla="*/ 938 w 1624"/>
                <a:gd name="T5" fmla="*/ 1051 h 1867"/>
                <a:gd name="T6" fmla="*/ 1106 w 1624"/>
                <a:gd name="T7" fmla="*/ 731 h 1867"/>
                <a:gd name="T8" fmla="*/ 1059 w 1624"/>
                <a:gd name="T9" fmla="*/ 645 h 1867"/>
                <a:gd name="T10" fmla="*/ 1001 w 1624"/>
                <a:gd name="T11" fmla="*/ 613 h 1867"/>
                <a:gd name="T12" fmla="*/ 924 w 1624"/>
                <a:gd name="T13" fmla="*/ 432 h 1867"/>
                <a:gd name="T14" fmla="*/ 1114 w 1624"/>
                <a:gd name="T15" fmla="*/ 81 h 1867"/>
                <a:gd name="T16" fmla="*/ 1287 w 1624"/>
                <a:gd name="T17" fmla="*/ 35 h 1867"/>
                <a:gd name="T18" fmla="*/ 1350 w 1624"/>
                <a:gd name="T19" fmla="*/ 69 h 1867"/>
                <a:gd name="T20" fmla="*/ 1527 w 1624"/>
                <a:gd name="T21" fmla="*/ 235 h 1867"/>
                <a:gd name="T22" fmla="*/ 1583 w 1624"/>
                <a:gd name="T23" fmla="*/ 555 h 1867"/>
                <a:gd name="T24" fmla="*/ 1172 w 1624"/>
                <a:gd name="T25" fmla="*/ 1253 h 1867"/>
                <a:gd name="T26" fmla="*/ 586 w 1624"/>
                <a:gd name="T27" fmla="*/ 1803 h 1867"/>
                <a:gd name="T28" fmla="*/ 269 w 1624"/>
                <a:gd name="T29" fmla="*/ 1807 h 1867"/>
                <a:gd name="T30" fmla="*/ 33 w 1624"/>
                <a:gd name="T31" fmla="*/ 1602 h 1867"/>
                <a:gd name="T32" fmla="*/ 2 w 1624"/>
                <a:gd name="T33" fmla="*/ 1508 h 1867"/>
                <a:gd name="T34" fmla="*/ 45 w 1624"/>
                <a:gd name="T35" fmla="*/ 1421 h 1867"/>
                <a:gd name="T36" fmla="*/ 346 w 1624"/>
                <a:gd name="T37" fmla="*/ 1158 h 1867"/>
                <a:gd name="T38" fmla="*/ 448 w 1624"/>
                <a:gd name="T39" fmla="*/ 1145 h 1867"/>
                <a:gd name="T40" fmla="*/ 573 w 1624"/>
                <a:gd name="T41" fmla="*/ 1257 h 18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24" h="1867">
                  <a:moveTo>
                    <a:pt x="573" y="1257"/>
                  </a:moveTo>
                  <a:cubicBezTo>
                    <a:pt x="592" y="1282"/>
                    <a:pt x="630" y="1303"/>
                    <a:pt x="662" y="1288"/>
                  </a:cubicBezTo>
                  <a:cubicBezTo>
                    <a:pt x="753" y="1245"/>
                    <a:pt x="854" y="1156"/>
                    <a:pt x="938" y="1051"/>
                  </a:cubicBezTo>
                  <a:cubicBezTo>
                    <a:pt x="1020" y="948"/>
                    <a:pt x="1084" y="831"/>
                    <a:pt x="1106" y="731"/>
                  </a:cubicBezTo>
                  <a:cubicBezTo>
                    <a:pt x="1113" y="696"/>
                    <a:pt x="1089" y="661"/>
                    <a:pt x="1059" y="645"/>
                  </a:cubicBezTo>
                  <a:cubicBezTo>
                    <a:pt x="1001" y="613"/>
                    <a:pt x="1001" y="613"/>
                    <a:pt x="1001" y="613"/>
                  </a:cubicBezTo>
                  <a:cubicBezTo>
                    <a:pt x="942" y="580"/>
                    <a:pt x="888" y="499"/>
                    <a:pt x="924" y="432"/>
                  </a:cubicBezTo>
                  <a:cubicBezTo>
                    <a:pt x="1114" y="81"/>
                    <a:pt x="1114" y="81"/>
                    <a:pt x="1114" y="81"/>
                  </a:cubicBezTo>
                  <a:cubicBezTo>
                    <a:pt x="1150" y="16"/>
                    <a:pt x="1224" y="0"/>
                    <a:pt x="1287" y="35"/>
                  </a:cubicBezTo>
                  <a:cubicBezTo>
                    <a:pt x="1350" y="69"/>
                    <a:pt x="1350" y="69"/>
                    <a:pt x="1350" y="69"/>
                  </a:cubicBezTo>
                  <a:cubicBezTo>
                    <a:pt x="1415" y="105"/>
                    <a:pt x="1479" y="165"/>
                    <a:pt x="1527" y="235"/>
                  </a:cubicBezTo>
                  <a:cubicBezTo>
                    <a:pt x="1593" y="332"/>
                    <a:pt x="1624" y="442"/>
                    <a:pt x="1583" y="555"/>
                  </a:cubicBezTo>
                  <a:cubicBezTo>
                    <a:pt x="1500" y="781"/>
                    <a:pt x="1351" y="1030"/>
                    <a:pt x="1172" y="1253"/>
                  </a:cubicBezTo>
                  <a:cubicBezTo>
                    <a:pt x="994" y="1477"/>
                    <a:pt x="786" y="1676"/>
                    <a:pt x="586" y="1803"/>
                  </a:cubicBezTo>
                  <a:cubicBezTo>
                    <a:pt x="486" y="1867"/>
                    <a:pt x="375" y="1856"/>
                    <a:pt x="269" y="1807"/>
                  </a:cubicBezTo>
                  <a:cubicBezTo>
                    <a:pt x="157" y="1755"/>
                    <a:pt x="106" y="1695"/>
                    <a:pt x="33" y="1602"/>
                  </a:cubicBezTo>
                  <a:cubicBezTo>
                    <a:pt x="11" y="1573"/>
                    <a:pt x="0" y="1540"/>
                    <a:pt x="2" y="1508"/>
                  </a:cubicBezTo>
                  <a:cubicBezTo>
                    <a:pt x="4" y="1475"/>
                    <a:pt x="18" y="1444"/>
                    <a:pt x="45" y="1421"/>
                  </a:cubicBezTo>
                  <a:cubicBezTo>
                    <a:pt x="70" y="1399"/>
                    <a:pt x="346" y="1158"/>
                    <a:pt x="346" y="1158"/>
                  </a:cubicBezTo>
                  <a:cubicBezTo>
                    <a:pt x="376" y="1134"/>
                    <a:pt x="413" y="1133"/>
                    <a:pt x="448" y="1145"/>
                  </a:cubicBezTo>
                  <a:cubicBezTo>
                    <a:pt x="510" y="1166"/>
                    <a:pt x="536" y="1210"/>
                    <a:pt x="573" y="1257"/>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351"/>
            </a:p>
          </p:txBody>
        </p:sp>
      </p:grpSp>
      <p:grpSp>
        <p:nvGrpSpPr>
          <p:cNvPr id="17" name="Group 3">
            <a:extLst>
              <a:ext uri="{FF2B5EF4-FFF2-40B4-BE49-F238E27FC236}">
                <a16:creationId xmlns:a16="http://schemas.microsoft.com/office/drawing/2014/main" id="{7104BADD-8CD1-6F4A-B894-869C3BDB3EEB}"/>
              </a:ext>
            </a:extLst>
          </p:cNvPr>
          <p:cNvGrpSpPr>
            <a:grpSpLocks noChangeAspect="1"/>
          </p:cNvGrpSpPr>
          <p:nvPr>
            <p:custDataLst>
              <p:tags r:id="rId2"/>
            </p:custDataLst>
          </p:nvPr>
        </p:nvGrpSpPr>
        <p:grpSpPr>
          <a:xfrm>
            <a:off x="8701918" y="3153207"/>
            <a:ext cx="171180" cy="171180"/>
            <a:chOff x="328396" y="5313940"/>
            <a:chExt cx="720000" cy="720000"/>
          </a:xfrm>
        </p:grpSpPr>
        <p:sp>
          <p:nvSpPr>
            <p:cNvPr id="18" name="Rectangle 4">
              <a:extLst>
                <a:ext uri="{FF2B5EF4-FFF2-40B4-BE49-F238E27FC236}">
                  <a16:creationId xmlns:a16="http://schemas.microsoft.com/office/drawing/2014/main" id="{74BE3D5F-1445-6E40-8B49-72E15568383B}"/>
                </a:ext>
              </a:extLst>
            </p:cNvPr>
            <p:cNvSpPr/>
            <p:nvPr/>
          </p:nvSpPr>
          <p:spPr bwMode="gray">
            <a:xfrm>
              <a:off x="328396" y="5313940"/>
              <a:ext cx="720000" cy="720000"/>
            </a:xfrm>
            <a:prstGeom prst="rect">
              <a:avLst/>
            </a:prstGeom>
            <a:solidFill>
              <a:srgbClr val="E55A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pPr>
              <a:endParaRPr lang="en-US" sz="1000">
                <a:solidFill>
                  <a:schemeClr val="tx1"/>
                </a:solidFill>
                <a:latin typeface="Arial" pitchFamily="34" charset="0"/>
                <a:cs typeface="Arial" pitchFamily="34" charset="0"/>
              </a:endParaRPr>
            </a:p>
          </p:txBody>
        </p:sp>
        <p:sp>
          <p:nvSpPr>
            <p:cNvPr id="19" name="Freeform 76">
              <a:extLst>
                <a:ext uri="{FF2B5EF4-FFF2-40B4-BE49-F238E27FC236}">
                  <a16:creationId xmlns:a16="http://schemas.microsoft.com/office/drawing/2014/main" id="{55DB3C95-7D0C-D141-901E-96D692794D2B}"/>
                </a:ext>
              </a:extLst>
            </p:cNvPr>
            <p:cNvSpPr>
              <a:spLocks noChangeAspect="1" noEditPoints="1"/>
            </p:cNvSpPr>
            <p:nvPr/>
          </p:nvSpPr>
          <p:spPr bwMode="auto">
            <a:xfrm>
              <a:off x="456202" y="5509222"/>
              <a:ext cx="504000" cy="329436"/>
            </a:xfrm>
            <a:custGeom>
              <a:avLst/>
              <a:gdLst>
                <a:gd name="T0" fmla="*/ 0 w 2080"/>
                <a:gd name="T1" fmla="*/ 65 h 1360"/>
                <a:gd name="T2" fmla="*/ 0 w 2080"/>
                <a:gd name="T3" fmla="*/ 0 h 1360"/>
                <a:gd name="T4" fmla="*/ 2080 w 2080"/>
                <a:gd name="T5" fmla="*/ 0 h 1360"/>
                <a:gd name="T6" fmla="*/ 2080 w 2080"/>
                <a:gd name="T7" fmla="*/ 65 h 1360"/>
                <a:gd name="T8" fmla="*/ 1089 w 2080"/>
                <a:gd name="T9" fmla="*/ 862 h 1360"/>
                <a:gd name="T10" fmla="*/ 991 w 2080"/>
                <a:gd name="T11" fmla="*/ 862 h 1360"/>
                <a:gd name="T12" fmla="*/ 0 w 2080"/>
                <a:gd name="T13" fmla="*/ 65 h 1360"/>
                <a:gd name="T14" fmla="*/ 1139 w 2080"/>
                <a:gd name="T15" fmla="*/ 924 h 1360"/>
                <a:gd name="T16" fmla="*/ 1282 w 2080"/>
                <a:gd name="T17" fmla="*/ 810 h 1360"/>
                <a:gd name="T18" fmla="*/ 2076 w 2080"/>
                <a:gd name="T19" fmla="*/ 1360 h 1360"/>
                <a:gd name="T20" fmla="*/ 4 w 2080"/>
                <a:gd name="T21" fmla="*/ 1360 h 1360"/>
                <a:gd name="T22" fmla="*/ 798 w 2080"/>
                <a:gd name="T23" fmla="*/ 810 h 1360"/>
                <a:gd name="T24" fmla="*/ 941 w 2080"/>
                <a:gd name="T25" fmla="*/ 924 h 1360"/>
                <a:gd name="T26" fmla="*/ 1139 w 2080"/>
                <a:gd name="T27" fmla="*/ 924 h 1360"/>
                <a:gd name="T28" fmla="*/ 2 w 2080"/>
                <a:gd name="T29" fmla="*/ 137 h 1360"/>
                <a:gd name="T30" fmla="*/ 42 w 2080"/>
                <a:gd name="T31" fmla="*/ 201 h 1360"/>
                <a:gd name="T32" fmla="*/ 734 w 2080"/>
                <a:gd name="T33" fmla="*/ 758 h 1360"/>
                <a:gd name="T34" fmla="*/ 0 w 2080"/>
                <a:gd name="T35" fmla="*/ 1266 h 1360"/>
                <a:gd name="T36" fmla="*/ 0 w 2080"/>
                <a:gd name="T37" fmla="*/ 135 h 1360"/>
                <a:gd name="T38" fmla="*/ 2 w 2080"/>
                <a:gd name="T39" fmla="*/ 137 h 1360"/>
                <a:gd name="T40" fmla="*/ 2080 w 2080"/>
                <a:gd name="T41" fmla="*/ 136 h 1360"/>
                <a:gd name="T42" fmla="*/ 2080 w 2080"/>
                <a:gd name="T43" fmla="*/ 1265 h 1360"/>
                <a:gd name="T44" fmla="*/ 1346 w 2080"/>
                <a:gd name="T45" fmla="*/ 758 h 1360"/>
                <a:gd name="T46" fmla="*/ 2038 w 2080"/>
                <a:gd name="T47" fmla="*/ 201 h 1360"/>
                <a:gd name="T48" fmla="*/ 2080 w 2080"/>
                <a:gd name="T49" fmla="*/ 136 h 1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080" h="1360">
                  <a:moveTo>
                    <a:pt x="0" y="65"/>
                  </a:moveTo>
                  <a:cubicBezTo>
                    <a:pt x="0" y="0"/>
                    <a:pt x="0" y="0"/>
                    <a:pt x="0" y="0"/>
                  </a:cubicBezTo>
                  <a:cubicBezTo>
                    <a:pt x="2080" y="0"/>
                    <a:pt x="2080" y="0"/>
                    <a:pt x="2080" y="0"/>
                  </a:cubicBezTo>
                  <a:cubicBezTo>
                    <a:pt x="2080" y="65"/>
                    <a:pt x="2080" y="65"/>
                    <a:pt x="2080" y="65"/>
                  </a:cubicBezTo>
                  <a:cubicBezTo>
                    <a:pt x="1089" y="862"/>
                    <a:pt x="1089" y="862"/>
                    <a:pt x="1089" y="862"/>
                  </a:cubicBezTo>
                  <a:cubicBezTo>
                    <a:pt x="1060" y="886"/>
                    <a:pt x="1020" y="886"/>
                    <a:pt x="991" y="862"/>
                  </a:cubicBezTo>
                  <a:lnTo>
                    <a:pt x="0" y="65"/>
                  </a:lnTo>
                  <a:close/>
                  <a:moveTo>
                    <a:pt x="1139" y="924"/>
                  </a:moveTo>
                  <a:cubicBezTo>
                    <a:pt x="1282" y="810"/>
                    <a:pt x="1282" y="810"/>
                    <a:pt x="1282" y="810"/>
                  </a:cubicBezTo>
                  <a:cubicBezTo>
                    <a:pt x="2076" y="1360"/>
                    <a:pt x="2076" y="1360"/>
                    <a:pt x="2076" y="1360"/>
                  </a:cubicBezTo>
                  <a:cubicBezTo>
                    <a:pt x="4" y="1360"/>
                    <a:pt x="4" y="1360"/>
                    <a:pt x="4" y="1360"/>
                  </a:cubicBezTo>
                  <a:cubicBezTo>
                    <a:pt x="798" y="810"/>
                    <a:pt x="798" y="810"/>
                    <a:pt x="798" y="810"/>
                  </a:cubicBezTo>
                  <a:cubicBezTo>
                    <a:pt x="941" y="924"/>
                    <a:pt x="941" y="924"/>
                    <a:pt x="941" y="924"/>
                  </a:cubicBezTo>
                  <a:cubicBezTo>
                    <a:pt x="1000" y="972"/>
                    <a:pt x="1080" y="972"/>
                    <a:pt x="1139" y="924"/>
                  </a:cubicBezTo>
                  <a:close/>
                  <a:moveTo>
                    <a:pt x="2" y="137"/>
                  </a:moveTo>
                  <a:cubicBezTo>
                    <a:pt x="8" y="163"/>
                    <a:pt x="22" y="185"/>
                    <a:pt x="42" y="201"/>
                  </a:cubicBezTo>
                  <a:cubicBezTo>
                    <a:pt x="734" y="758"/>
                    <a:pt x="734" y="758"/>
                    <a:pt x="734" y="758"/>
                  </a:cubicBezTo>
                  <a:cubicBezTo>
                    <a:pt x="0" y="1266"/>
                    <a:pt x="0" y="1266"/>
                    <a:pt x="0" y="1266"/>
                  </a:cubicBezTo>
                  <a:cubicBezTo>
                    <a:pt x="0" y="135"/>
                    <a:pt x="0" y="135"/>
                    <a:pt x="0" y="135"/>
                  </a:cubicBezTo>
                  <a:lnTo>
                    <a:pt x="2" y="137"/>
                  </a:lnTo>
                  <a:close/>
                  <a:moveTo>
                    <a:pt x="2080" y="136"/>
                  </a:moveTo>
                  <a:cubicBezTo>
                    <a:pt x="2080" y="1265"/>
                    <a:pt x="2080" y="1265"/>
                    <a:pt x="2080" y="1265"/>
                  </a:cubicBezTo>
                  <a:cubicBezTo>
                    <a:pt x="1346" y="758"/>
                    <a:pt x="1346" y="758"/>
                    <a:pt x="1346" y="758"/>
                  </a:cubicBezTo>
                  <a:cubicBezTo>
                    <a:pt x="2038" y="201"/>
                    <a:pt x="2038" y="201"/>
                    <a:pt x="2038" y="201"/>
                  </a:cubicBezTo>
                  <a:cubicBezTo>
                    <a:pt x="2060" y="182"/>
                    <a:pt x="2072" y="162"/>
                    <a:pt x="2080" y="13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000"/>
            </a:p>
          </p:txBody>
        </p:sp>
      </p:grpSp>
      <p:cxnSp>
        <p:nvCxnSpPr>
          <p:cNvPr id="20" name="Straight Connector 19"/>
          <p:cNvCxnSpPr/>
          <p:nvPr/>
        </p:nvCxnSpPr>
        <p:spPr>
          <a:xfrm>
            <a:off x="2371725" y="3478213"/>
            <a:ext cx="3888000" cy="0"/>
          </a:xfrm>
          <a:prstGeom prst="line">
            <a:avLst/>
          </a:prstGeom>
          <a:ln w="6350">
            <a:solidFill>
              <a:schemeClr val="tx2"/>
            </a:solidFill>
            <a:prstDash val="dash"/>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p:nvCxnSpPr>
        <p:spPr>
          <a:xfrm>
            <a:off x="7287766" y="3478213"/>
            <a:ext cx="3888000" cy="0"/>
          </a:xfrm>
          <a:prstGeom prst="line">
            <a:avLst/>
          </a:prstGeom>
          <a:ln w="6350">
            <a:solidFill>
              <a:schemeClr val="tx2"/>
            </a:solidFill>
            <a:prstDash val="dash"/>
          </a:ln>
        </p:spPr>
        <p:style>
          <a:lnRef idx="1">
            <a:schemeClr val="accent1"/>
          </a:lnRef>
          <a:fillRef idx="0">
            <a:schemeClr val="accent1"/>
          </a:fillRef>
          <a:effectRef idx="0">
            <a:schemeClr val="accent1"/>
          </a:effectRef>
          <a:fontRef idx="minor">
            <a:schemeClr val="tx1"/>
          </a:fontRef>
        </p:style>
      </p:cxnSp>
      <p:sp>
        <p:nvSpPr>
          <p:cNvPr id="4" name="Picture Placeholder 3"/>
          <p:cNvSpPr>
            <a:spLocks noGrp="1"/>
          </p:cNvSpPr>
          <p:nvPr>
            <p:ph type="pic" sz="quarter" idx="17" hasCustomPrompt="1"/>
          </p:nvPr>
        </p:nvSpPr>
        <p:spPr>
          <a:xfrm>
            <a:off x="2355914" y="1808984"/>
            <a:ext cx="1188677" cy="1547840"/>
          </a:xfrm>
          <a:solidFill>
            <a:srgbClr val="D9DADB"/>
          </a:solidFill>
        </p:spPr>
        <p:txBody>
          <a:bodyPr/>
          <a:lstStyle>
            <a:lvl1pPr marL="0" indent="0">
              <a:buNone/>
              <a:defRPr sz="1400"/>
            </a:lvl1pPr>
          </a:lstStyle>
          <a:p>
            <a:r>
              <a:rPr lang="en-US"/>
              <a:t>Insert picture</a:t>
            </a:r>
          </a:p>
        </p:txBody>
      </p:sp>
      <p:sp>
        <p:nvSpPr>
          <p:cNvPr id="25" name="Picture Placeholder 3"/>
          <p:cNvSpPr>
            <a:spLocks noGrp="1"/>
          </p:cNvSpPr>
          <p:nvPr>
            <p:ph type="pic" sz="quarter" idx="18" hasCustomPrompt="1"/>
          </p:nvPr>
        </p:nvSpPr>
        <p:spPr>
          <a:xfrm>
            <a:off x="7287766" y="1808984"/>
            <a:ext cx="1188677" cy="1547840"/>
          </a:xfrm>
          <a:solidFill>
            <a:srgbClr val="D9DADB"/>
          </a:solidFill>
        </p:spPr>
        <p:txBody>
          <a:bodyPr/>
          <a:lstStyle>
            <a:lvl1pPr marL="0" indent="0">
              <a:buNone/>
              <a:defRPr sz="1400"/>
            </a:lvl1pPr>
          </a:lstStyle>
          <a:p>
            <a:r>
              <a:rPr lang="en-US"/>
              <a:t>Insert picture</a:t>
            </a:r>
          </a:p>
        </p:txBody>
      </p:sp>
      <p:sp>
        <p:nvSpPr>
          <p:cNvPr id="6" name="Text Placeholder 5"/>
          <p:cNvSpPr>
            <a:spLocks noGrp="1"/>
          </p:cNvSpPr>
          <p:nvPr>
            <p:ph type="body" sz="quarter" idx="19" hasCustomPrompt="1"/>
          </p:nvPr>
        </p:nvSpPr>
        <p:spPr>
          <a:xfrm>
            <a:off x="3770065" y="1808521"/>
            <a:ext cx="2463190" cy="192360"/>
          </a:xfrm>
        </p:spPr>
        <p:txBody>
          <a:bodyPr lIns="0" tIns="0" rIns="0" bIns="0" anchor="ctr" anchorCtr="0"/>
          <a:lstStyle>
            <a:lvl1pPr marL="0" indent="0" algn="l">
              <a:lnSpc>
                <a:spcPct val="100000"/>
              </a:lnSpc>
              <a:buNone/>
              <a:defRPr sz="100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Country</a:t>
            </a:r>
          </a:p>
        </p:txBody>
      </p:sp>
      <p:sp>
        <p:nvSpPr>
          <p:cNvPr id="26" name="Text Placeholder 5"/>
          <p:cNvSpPr>
            <a:spLocks noGrp="1"/>
          </p:cNvSpPr>
          <p:nvPr>
            <p:ph type="body" sz="quarter" idx="20" hasCustomPrompt="1"/>
          </p:nvPr>
        </p:nvSpPr>
        <p:spPr>
          <a:xfrm>
            <a:off x="3770065" y="2020337"/>
            <a:ext cx="2463190" cy="266182"/>
          </a:xfrm>
        </p:spPr>
        <p:txBody>
          <a:bodyPr lIns="0" tIns="0" rIns="0" bIns="0" anchor="b" anchorCtr="0"/>
          <a:lstStyle>
            <a:lvl1pPr marL="0" indent="0" algn="l">
              <a:lnSpc>
                <a:spcPct val="100000"/>
              </a:lnSpc>
              <a:buNone/>
              <a:defRPr sz="1400" b="1" baseline="0">
                <a:solidFill>
                  <a:schemeClr val="tx2"/>
                </a:solidFill>
              </a:defRPr>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Name, Surname</a:t>
            </a:r>
          </a:p>
        </p:txBody>
      </p:sp>
      <p:sp>
        <p:nvSpPr>
          <p:cNvPr id="27" name="Text Placeholder 5"/>
          <p:cNvSpPr>
            <a:spLocks noGrp="1"/>
          </p:cNvSpPr>
          <p:nvPr>
            <p:ph type="body" sz="quarter" idx="21" hasCustomPrompt="1"/>
          </p:nvPr>
        </p:nvSpPr>
        <p:spPr>
          <a:xfrm>
            <a:off x="3770065" y="2316912"/>
            <a:ext cx="2463190"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Job Position</a:t>
            </a:r>
          </a:p>
        </p:txBody>
      </p:sp>
      <p:sp>
        <p:nvSpPr>
          <p:cNvPr id="28" name="Text Placeholder 5"/>
          <p:cNvSpPr>
            <a:spLocks noGrp="1"/>
          </p:cNvSpPr>
          <p:nvPr>
            <p:ph type="body" sz="quarter" idx="22" hasCustomPrompt="1"/>
          </p:nvPr>
        </p:nvSpPr>
        <p:spPr>
          <a:xfrm>
            <a:off x="4014948" y="2845588"/>
            <a:ext cx="2218307"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Phone number</a:t>
            </a:r>
          </a:p>
        </p:txBody>
      </p:sp>
      <p:sp>
        <p:nvSpPr>
          <p:cNvPr id="29" name="Text Placeholder 5"/>
          <p:cNvSpPr>
            <a:spLocks noGrp="1"/>
          </p:cNvSpPr>
          <p:nvPr>
            <p:ph type="body" sz="quarter" idx="23" hasCustomPrompt="1"/>
          </p:nvPr>
        </p:nvSpPr>
        <p:spPr>
          <a:xfrm>
            <a:off x="4014948" y="3128395"/>
            <a:ext cx="2218307"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Email address</a:t>
            </a:r>
          </a:p>
        </p:txBody>
      </p:sp>
      <p:sp>
        <p:nvSpPr>
          <p:cNvPr id="30" name="Text Placeholder 5"/>
          <p:cNvSpPr>
            <a:spLocks noGrp="1"/>
          </p:cNvSpPr>
          <p:nvPr>
            <p:ph type="body" sz="quarter" idx="24" hasCustomPrompt="1"/>
          </p:nvPr>
        </p:nvSpPr>
        <p:spPr>
          <a:xfrm>
            <a:off x="8701917" y="1808521"/>
            <a:ext cx="2463190" cy="192360"/>
          </a:xfrm>
        </p:spPr>
        <p:txBody>
          <a:bodyPr lIns="0" tIns="0" rIns="0" bIns="0" anchor="ctr" anchorCtr="0"/>
          <a:lstStyle>
            <a:lvl1pPr marL="0" indent="0" algn="l">
              <a:lnSpc>
                <a:spcPct val="100000"/>
              </a:lnSpc>
              <a:buNone/>
              <a:defRPr sz="100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Country</a:t>
            </a:r>
          </a:p>
        </p:txBody>
      </p:sp>
      <p:sp>
        <p:nvSpPr>
          <p:cNvPr id="31" name="Text Placeholder 5"/>
          <p:cNvSpPr>
            <a:spLocks noGrp="1"/>
          </p:cNvSpPr>
          <p:nvPr>
            <p:ph type="body" sz="quarter" idx="25" hasCustomPrompt="1"/>
          </p:nvPr>
        </p:nvSpPr>
        <p:spPr>
          <a:xfrm>
            <a:off x="8701917" y="2020337"/>
            <a:ext cx="2463190" cy="266182"/>
          </a:xfrm>
        </p:spPr>
        <p:txBody>
          <a:bodyPr lIns="0" tIns="0" rIns="0" bIns="0" anchor="b" anchorCtr="0"/>
          <a:lstStyle>
            <a:lvl1pPr marL="0" indent="0" algn="l">
              <a:lnSpc>
                <a:spcPct val="100000"/>
              </a:lnSpc>
              <a:buNone/>
              <a:defRPr sz="1400" b="1" baseline="0">
                <a:solidFill>
                  <a:schemeClr val="tx2"/>
                </a:solidFill>
              </a:defRPr>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Name, Surname</a:t>
            </a:r>
          </a:p>
        </p:txBody>
      </p:sp>
      <p:sp>
        <p:nvSpPr>
          <p:cNvPr id="32" name="Text Placeholder 5"/>
          <p:cNvSpPr>
            <a:spLocks noGrp="1"/>
          </p:cNvSpPr>
          <p:nvPr>
            <p:ph type="body" sz="quarter" idx="26" hasCustomPrompt="1"/>
          </p:nvPr>
        </p:nvSpPr>
        <p:spPr>
          <a:xfrm>
            <a:off x="8701917" y="2316912"/>
            <a:ext cx="2463190"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Job Position</a:t>
            </a:r>
          </a:p>
        </p:txBody>
      </p:sp>
      <p:sp>
        <p:nvSpPr>
          <p:cNvPr id="33" name="Text Placeholder 5"/>
          <p:cNvSpPr>
            <a:spLocks noGrp="1"/>
          </p:cNvSpPr>
          <p:nvPr>
            <p:ph type="body" sz="quarter" idx="27" hasCustomPrompt="1"/>
          </p:nvPr>
        </p:nvSpPr>
        <p:spPr>
          <a:xfrm>
            <a:off x="8946800" y="2845588"/>
            <a:ext cx="2218307"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Phone number</a:t>
            </a:r>
          </a:p>
        </p:txBody>
      </p:sp>
      <p:sp>
        <p:nvSpPr>
          <p:cNvPr id="34" name="Text Placeholder 5"/>
          <p:cNvSpPr>
            <a:spLocks noGrp="1"/>
          </p:cNvSpPr>
          <p:nvPr>
            <p:ph type="body" sz="quarter" idx="28" hasCustomPrompt="1"/>
          </p:nvPr>
        </p:nvSpPr>
        <p:spPr>
          <a:xfrm>
            <a:off x="8946800" y="3128395"/>
            <a:ext cx="2218307"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Email address</a:t>
            </a:r>
          </a:p>
        </p:txBody>
      </p:sp>
      <p:grpSp>
        <p:nvGrpSpPr>
          <p:cNvPr id="35" name="Gruppieren 2">
            <a:extLst>
              <a:ext uri="{FF2B5EF4-FFF2-40B4-BE49-F238E27FC236}">
                <a16:creationId xmlns:a16="http://schemas.microsoft.com/office/drawing/2014/main" id="{BE697CE9-EBDE-6B4A-BE70-582D92A8A831}"/>
              </a:ext>
            </a:extLst>
          </p:cNvPr>
          <p:cNvGrpSpPr/>
          <p:nvPr/>
        </p:nvGrpSpPr>
        <p:grpSpPr>
          <a:xfrm>
            <a:off x="3770065" y="5045939"/>
            <a:ext cx="171180" cy="171180"/>
            <a:chOff x="3392092" y="1841122"/>
            <a:chExt cx="646508" cy="646508"/>
          </a:xfrm>
        </p:grpSpPr>
        <p:sp>
          <p:nvSpPr>
            <p:cNvPr id="36" name="Rechteck 14">
              <a:extLst>
                <a:ext uri="{FF2B5EF4-FFF2-40B4-BE49-F238E27FC236}">
                  <a16:creationId xmlns:a16="http://schemas.microsoft.com/office/drawing/2014/main" id="{E142A731-19B7-C34D-9534-9E05108F895F}"/>
                </a:ext>
              </a:extLst>
            </p:cNvPr>
            <p:cNvSpPr>
              <a:spLocks noChangeAspect="1"/>
            </p:cNvSpPr>
            <p:nvPr/>
          </p:nvSpPr>
          <p:spPr bwMode="gray">
            <a:xfrm>
              <a:off x="3392092" y="1841122"/>
              <a:ext cx="646508" cy="646508"/>
            </a:xfrm>
            <a:prstGeom prst="rect">
              <a:avLst/>
            </a:prstGeom>
            <a:solidFill>
              <a:srgbClr val="E55A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pPr>
              <a:endParaRPr lang="en-US" sz="1000">
                <a:solidFill>
                  <a:schemeClr val="tx1"/>
                </a:solidFill>
                <a:latin typeface="Arial" pitchFamily="34" charset="0"/>
                <a:cs typeface="Arial" pitchFamily="34" charset="0"/>
              </a:endParaRPr>
            </a:p>
          </p:txBody>
        </p:sp>
        <p:sp>
          <p:nvSpPr>
            <p:cNvPr id="37" name="Freeform 36">
              <a:extLst>
                <a:ext uri="{FF2B5EF4-FFF2-40B4-BE49-F238E27FC236}">
                  <a16:creationId xmlns:a16="http://schemas.microsoft.com/office/drawing/2014/main" id="{F97E84AE-4AD9-4B44-9AA1-F797FC373809}"/>
                </a:ext>
              </a:extLst>
            </p:cNvPr>
            <p:cNvSpPr>
              <a:spLocks noChangeAspect="1"/>
            </p:cNvSpPr>
            <p:nvPr/>
          </p:nvSpPr>
          <p:spPr bwMode="auto">
            <a:xfrm>
              <a:off x="3546638" y="1970424"/>
              <a:ext cx="337415" cy="387905"/>
            </a:xfrm>
            <a:custGeom>
              <a:avLst/>
              <a:gdLst>
                <a:gd name="T0" fmla="*/ 573 w 1624"/>
                <a:gd name="T1" fmla="*/ 1257 h 1867"/>
                <a:gd name="T2" fmla="*/ 662 w 1624"/>
                <a:gd name="T3" fmla="*/ 1288 h 1867"/>
                <a:gd name="T4" fmla="*/ 938 w 1624"/>
                <a:gd name="T5" fmla="*/ 1051 h 1867"/>
                <a:gd name="T6" fmla="*/ 1106 w 1624"/>
                <a:gd name="T7" fmla="*/ 731 h 1867"/>
                <a:gd name="T8" fmla="*/ 1059 w 1624"/>
                <a:gd name="T9" fmla="*/ 645 h 1867"/>
                <a:gd name="T10" fmla="*/ 1001 w 1624"/>
                <a:gd name="T11" fmla="*/ 613 h 1867"/>
                <a:gd name="T12" fmla="*/ 924 w 1624"/>
                <a:gd name="T13" fmla="*/ 432 h 1867"/>
                <a:gd name="T14" fmla="*/ 1114 w 1624"/>
                <a:gd name="T15" fmla="*/ 81 h 1867"/>
                <a:gd name="T16" fmla="*/ 1287 w 1624"/>
                <a:gd name="T17" fmla="*/ 35 h 1867"/>
                <a:gd name="T18" fmla="*/ 1350 w 1624"/>
                <a:gd name="T19" fmla="*/ 69 h 1867"/>
                <a:gd name="T20" fmla="*/ 1527 w 1624"/>
                <a:gd name="T21" fmla="*/ 235 h 1867"/>
                <a:gd name="T22" fmla="*/ 1583 w 1624"/>
                <a:gd name="T23" fmla="*/ 555 h 1867"/>
                <a:gd name="T24" fmla="*/ 1172 w 1624"/>
                <a:gd name="T25" fmla="*/ 1253 h 1867"/>
                <a:gd name="T26" fmla="*/ 586 w 1624"/>
                <a:gd name="T27" fmla="*/ 1803 h 1867"/>
                <a:gd name="T28" fmla="*/ 269 w 1624"/>
                <a:gd name="T29" fmla="*/ 1807 h 1867"/>
                <a:gd name="T30" fmla="*/ 33 w 1624"/>
                <a:gd name="T31" fmla="*/ 1602 h 1867"/>
                <a:gd name="T32" fmla="*/ 2 w 1624"/>
                <a:gd name="T33" fmla="*/ 1508 h 1867"/>
                <a:gd name="T34" fmla="*/ 45 w 1624"/>
                <a:gd name="T35" fmla="*/ 1421 h 1867"/>
                <a:gd name="T36" fmla="*/ 346 w 1624"/>
                <a:gd name="T37" fmla="*/ 1158 h 1867"/>
                <a:gd name="T38" fmla="*/ 448 w 1624"/>
                <a:gd name="T39" fmla="*/ 1145 h 1867"/>
                <a:gd name="T40" fmla="*/ 573 w 1624"/>
                <a:gd name="T41" fmla="*/ 1257 h 18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24" h="1867">
                  <a:moveTo>
                    <a:pt x="573" y="1257"/>
                  </a:moveTo>
                  <a:cubicBezTo>
                    <a:pt x="592" y="1282"/>
                    <a:pt x="630" y="1303"/>
                    <a:pt x="662" y="1288"/>
                  </a:cubicBezTo>
                  <a:cubicBezTo>
                    <a:pt x="753" y="1245"/>
                    <a:pt x="854" y="1156"/>
                    <a:pt x="938" y="1051"/>
                  </a:cubicBezTo>
                  <a:cubicBezTo>
                    <a:pt x="1020" y="948"/>
                    <a:pt x="1084" y="831"/>
                    <a:pt x="1106" y="731"/>
                  </a:cubicBezTo>
                  <a:cubicBezTo>
                    <a:pt x="1113" y="696"/>
                    <a:pt x="1089" y="661"/>
                    <a:pt x="1059" y="645"/>
                  </a:cubicBezTo>
                  <a:cubicBezTo>
                    <a:pt x="1001" y="613"/>
                    <a:pt x="1001" y="613"/>
                    <a:pt x="1001" y="613"/>
                  </a:cubicBezTo>
                  <a:cubicBezTo>
                    <a:pt x="942" y="580"/>
                    <a:pt x="888" y="499"/>
                    <a:pt x="924" y="432"/>
                  </a:cubicBezTo>
                  <a:cubicBezTo>
                    <a:pt x="1114" y="81"/>
                    <a:pt x="1114" y="81"/>
                    <a:pt x="1114" y="81"/>
                  </a:cubicBezTo>
                  <a:cubicBezTo>
                    <a:pt x="1150" y="16"/>
                    <a:pt x="1224" y="0"/>
                    <a:pt x="1287" y="35"/>
                  </a:cubicBezTo>
                  <a:cubicBezTo>
                    <a:pt x="1350" y="69"/>
                    <a:pt x="1350" y="69"/>
                    <a:pt x="1350" y="69"/>
                  </a:cubicBezTo>
                  <a:cubicBezTo>
                    <a:pt x="1415" y="105"/>
                    <a:pt x="1479" y="165"/>
                    <a:pt x="1527" y="235"/>
                  </a:cubicBezTo>
                  <a:cubicBezTo>
                    <a:pt x="1593" y="332"/>
                    <a:pt x="1624" y="442"/>
                    <a:pt x="1583" y="555"/>
                  </a:cubicBezTo>
                  <a:cubicBezTo>
                    <a:pt x="1500" y="781"/>
                    <a:pt x="1351" y="1030"/>
                    <a:pt x="1172" y="1253"/>
                  </a:cubicBezTo>
                  <a:cubicBezTo>
                    <a:pt x="994" y="1477"/>
                    <a:pt x="786" y="1676"/>
                    <a:pt x="586" y="1803"/>
                  </a:cubicBezTo>
                  <a:cubicBezTo>
                    <a:pt x="486" y="1867"/>
                    <a:pt x="375" y="1856"/>
                    <a:pt x="269" y="1807"/>
                  </a:cubicBezTo>
                  <a:cubicBezTo>
                    <a:pt x="157" y="1755"/>
                    <a:pt x="106" y="1695"/>
                    <a:pt x="33" y="1602"/>
                  </a:cubicBezTo>
                  <a:cubicBezTo>
                    <a:pt x="11" y="1573"/>
                    <a:pt x="0" y="1540"/>
                    <a:pt x="2" y="1508"/>
                  </a:cubicBezTo>
                  <a:cubicBezTo>
                    <a:pt x="4" y="1475"/>
                    <a:pt x="18" y="1444"/>
                    <a:pt x="45" y="1421"/>
                  </a:cubicBezTo>
                  <a:cubicBezTo>
                    <a:pt x="70" y="1399"/>
                    <a:pt x="346" y="1158"/>
                    <a:pt x="346" y="1158"/>
                  </a:cubicBezTo>
                  <a:cubicBezTo>
                    <a:pt x="376" y="1134"/>
                    <a:pt x="413" y="1133"/>
                    <a:pt x="448" y="1145"/>
                  </a:cubicBezTo>
                  <a:cubicBezTo>
                    <a:pt x="510" y="1166"/>
                    <a:pt x="536" y="1210"/>
                    <a:pt x="573" y="1257"/>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351"/>
            </a:p>
          </p:txBody>
        </p:sp>
      </p:grpSp>
      <p:grpSp>
        <p:nvGrpSpPr>
          <p:cNvPr id="38" name="Group 3">
            <a:extLst>
              <a:ext uri="{FF2B5EF4-FFF2-40B4-BE49-F238E27FC236}">
                <a16:creationId xmlns:a16="http://schemas.microsoft.com/office/drawing/2014/main" id="{7104BADD-8CD1-6F4A-B894-869C3BDB3EEB}"/>
              </a:ext>
            </a:extLst>
          </p:cNvPr>
          <p:cNvGrpSpPr>
            <a:grpSpLocks noChangeAspect="1"/>
          </p:cNvGrpSpPr>
          <p:nvPr>
            <p:custDataLst>
              <p:tags r:id="rId3"/>
            </p:custDataLst>
          </p:nvPr>
        </p:nvGrpSpPr>
        <p:grpSpPr>
          <a:xfrm>
            <a:off x="3770066" y="5330827"/>
            <a:ext cx="171180" cy="171180"/>
            <a:chOff x="328396" y="5313940"/>
            <a:chExt cx="720000" cy="720000"/>
          </a:xfrm>
        </p:grpSpPr>
        <p:sp>
          <p:nvSpPr>
            <p:cNvPr id="39" name="Rectangle 4">
              <a:extLst>
                <a:ext uri="{FF2B5EF4-FFF2-40B4-BE49-F238E27FC236}">
                  <a16:creationId xmlns:a16="http://schemas.microsoft.com/office/drawing/2014/main" id="{74BE3D5F-1445-6E40-8B49-72E15568383B}"/>
                </a:ext>
              </a:extLst>
            </p:cNvPr>
            <p:cNvSpPr/>
            <p:nvPr/>
          </p:nvSpPr>
          <p:spPr bwMode="gray">
            <a:xfrm>
              <a:off x="328396" y="5313940"/>
              <a:ext cx="720000" cy="720000"/>
            </a:xfrm>
            <a:prstGeom prst="rect">
              <a:avLst/>
            </a:prstGeom>
            <a:solidFill>
              <a:srgbClr val="E55A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pPr>
              <a:endParaRPr lang="en-US" sz="1000">
                <a:solidFill>
                  <a:schemeClr val="tx1"/>
                </a:solidFill>
                <a:latin typeface="Arial" pitchFamily="34" charset="0"/>
                <a:cs typeface="Arial" pitchFamily="34" charset="0"/>
              </a:endParaRPr>
            </a:p>
          </p:txBody>
        </p:sp>
        <p:sp>
          <p:nvSpPr>
            <p:cNvPr id="40" name="Freeform 76">
              <a:extLst>
                <a:ext uri="{FF2B5EF4-FFF2-40B4-BE49-F238E27FC236}">
                  <a16:creationId xmlns:a16="http://schemas.microsoft.com/office/drawing/2014/main" id="{55DB3C95-7D0C-D141-901E-96D692794D2B}"/>
                </a:ext>
              </a:extLst>
            </p:cNvPr>
            <p:cNvSpPr>
              <a:spLocks noChangeAspect="1" noEditPoints="1"/>
            </p:cNvSpPr>
            <p:nvPr/>
          </p:nvSpPr>
          <p:spPr bwMode="auto">
            <a:xfrm>
              <a:off x="456202" y="5509222"/>
              <a:ext cx="504000" cy="329436"/>
            </a:xfrm>
            <a:custGeom>
              <a:avLst/>
              <a:gdLst>
                <a:gd name="T0" fmla="*/ 0 w 2080"/>
                <a:gd name="T1" fmla="*/ 65 h 1360"/>
                <a:gd name="T2" fmla="*/ 0 w 2080"/>
                <a:gd name="T3" fmla="*/ 0 h 1360"/>
                <a:gd name="T4" fmla="*/ 2080 w 2080"/>
                <a:gd name="T5" fmla="*/ 0 h 1360"/>
                <a:gd name="T6" fmla="*/ 2080 w 2080"/>
                <a:gd name="T7" fmla="*/ 65 h 1360"/>
                <a:gd name="T8" fmla="*/ 1089 w 2080"/>
                <a:gd name="T9" fmla="*/ 862 h 1360"/>
                <a:gd name="T10" fmla="*/ 991 w 2080"/>
                <a:gd name="T11" fmla="*/ 862 h 1360"/>
                <a:gd name="T12" fmla="*/ 0 w 2080"/>
                <a:gd name="T13" fmla="*/ 65 h 1360"/>
                <a:gd name="T14" fmla="*/ 1139 w 2080"/>
                <a:gd name="T15" fmla="*/ 924 h 1360"/>
                <a:gd name="T16" fmla="*/ 1282 w 2080"/>
                <a:gd name="T17" fmla="*/ 810 h 1360"/>
                <a:gd name="T18" fmla="*/ 2076 w 2080"/>
                <a:gd name="T19" fmla="*/ 1360 h 1360"/>
                <a:gd name="T20" fmla="*/ 4 w 2080"/>
                <a:gd name="T21" fmla="*/ 1360 h 1360"/>
                <a:gd name="T22" fmla="*/ 798 w 2080"/>
                <a:gd name="T23" fmla="*/ 810 h 1360"/>
                <a:gd name="T24" fmla="*/ 941 w 2080"/>
                <a:gd name="T25" fmla="*/ 924 h 1360"/>
                <a:gd name="T26" fmla="*/ 1139 w 2080"/>
                <a:gd name="T27" fmla="*/ 924 h 1360"/>
                <a:gd name="T28" fmla="*/ 2 w 2080"/>
                <a:gd name="T29" fmla="*/ 137 h 1360"/>
                <a:gd name="T30" fmla="*/ 42 w 2080"/>
                <a:gd name="T31" fmla="*/ 201 h 1360"/>
                <a:gd name="T32" fmla="*/ 734 w 2080"/>
                <a:gd name="T33" fmla="*/ 758 h 1360"/>
                <a:gd name="T34" fmla="*/ 0 w 2080"/>
                <a:gd name="T35" fmla="*/ 1266 h 1360"/>
                <a:gd name="T36" fmla="*/ 0 w 2080"/>
                <a:gd name="T37" fmla="*/ 135 h 1360"/>
                <a:gd name="T38" fmla="*/ 2 w 2080"/>
                <a:gd name="T39" fmla="*/ 137 h 1360"/>
                <a:gd name="T40" fmla="*/ 2080 w 2080"/>
                <a:gd name="T41" fmla="*/ 136 h 1360"/>
                <a:gd name="T42" fmla="*/ 2080 w 2080"/>
                <a:gd name="T43" fmla="*/ 1265 h 1360"/>
                <a:gd name="T44" fmla="*/ 1346 w 2080"/>
                <a:gd name="T45" fmla="*/ 758 h 1360"/>
                <a:gd name="T46" fmla="*/ 2038 w 2080"/>
                <a:gd name="T47" fmla="*/ 201 h 1360"/>
                <a:gd name="T48" fmla="*/ 2080 w 2080"/>
                <a:gd name="T49" fmla="*/ 136 h 1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080" h="1360">
                  <a:moveTo>
                    <a:pt x="0" y="65"/>
                  </a:moveTo>
                  <a:cubicBezTo>
                    <a:pt x="0" y="0"/>
                    <a:pt x="0" y="0"/>
                    <a:pt x="0" y="0"/>
                  </a:cubicBezTo>
                  <a:cubicBezTo>
                    <a:pt x="2080" y="0"/>
                    <a:pt x="2080" y="0"/>
                    <a:pt x="2080" y="0"/>
                  </a:cubicBezTo>
                  <a:cubicBezTo>
                    <a:pt x="2080" y="65"/>
                    <a:pt x="2080" y="65"/>
                    <a:pt x="2080" y="65"/>
                  </a:cubicBezTo>
                  <a:cubicBezTo>
                    <a:pt x="1089" y="862"/>
                    <a:pt x="1089" y="862"/>
                    <a:pt x="1089" y="862"/>
                  </a:cubicBezTo>
                  <a:cubicBezTo>
                    <a:pt x="1060" y="886"/>
                    <a:pt x="1020" y="886"/>
                    <a:pt x="991" y="862"/>
                  </a:cubicBezTo>
                  <a:lnTo>
                    <a:pt x="0" y="65"/>
                  </a:lnTo>
                  <a:close/>
                  <a:moveTo>
                    <a:pt x="1139" y="924"/>
                  </a:moveTo>
                  <a:cubicBezTo>
                    <a:pt x="1282" y="810"/>
                    <a:pt x="1282" y="810"/>
                    <a:pt x="1282" y="810"/>
                  </a:cubicBezTo>
                  <a:cubicBezTo>
                    <a:pt x="2076" y="1360"/>
                    <a:pt x="2076" y="1360"/>
                    <a:pt x="2076" y="1360"/>
                  </a:cubicBezTo>
                  <a:cubicBezTo>
                    <a:pt x="4" y="1360"/>
                    <a:pt x="4" y="1360"/>
                    <a:pt x="4" y="1360"/>
                  </a:cubicBezTo>
                  <a:cubicBezTo>
                    <a:pt x="798" y="810"/>
                    <a:pt x="798" y="810"/>
                    <a:pt x="798" y="810"/>
                  </a:cubicBezTo>
                  <a:cubicBezTo>
                    <a:pt x="941" y="924"/>
                    <a:pt x="941" y="924"/>
                    <a:pt x="941" y="924"/>
                  </a:cubicBezTo>
                  <a:cubicBezTo>
                    <a:pt x="1000" y="972"/>
                    <a:pt x="1080" y="972"/>
                    <a:pt x="1139" y="924"/>
                  </a:cubicBezTo>
                  <a:close/>
                  <a:moveTo>
                    <a:pt x="2" y="137"/>
                  </a:moveTo>
                  <a:cubicBezTo>
                    <a:pt x="8" y="163"/>
                    <a:pt x="22" y="185"/>
                    <a:pt x="42" y="201"/>
                  </a:cubicBezTo>
                  <a:cubicBezTo>
                    <a:pt x="734" y="758"/>
                    <a:pt x="734" y="758"/>
                    <a:pt x="734" y="758"/>
                  </a:cubicBezTo>
                  <a:cubicBezTo>
                    <a:pt x="0" y="1266"/>
                    <a:pt x="0" y="1266"/>
                    <a:pt x="0" y="1266"/>
                  </a:cubicBezTo>
                  <a:cubicBezTo>
                    <a:pt x="0" y="135"/>
                    <a:pt x="0" y="135"/>
                    <a:pt x="0" y="135"/>
                  </a:cubicBezTo>
                  <a:lnTo>
                    <a:pt x="2" y="137"/>
                  </a:lnTo>
                  <a:close/>
                  <a:moveTo>
                    <a:pt x="2080" y="136"/>
                  </a:moveTo>
                  <a:cubicBezTo>
                    <a:pt x="2080" y="1265"/>
                    <a:pt x="2080" y="1265"/>
                    <a:pt x="2080" y="1265"/>
                  </a:cubicBezTo>
                  <a:cubicBezTo>
                    <a:pt x="1346" y="758"/>
                    <a:pt x="1346" y="758"/>
                    <a:pt x="1346" y="758"/>
                  </a:cubicBezTo>
                  <a:cubicBezTo>
                    <a:pt x="2038" y="201"/>
                    <a:pt x="2038" y="201"/>
                    <a:pt x="2038" y="201"/>
                  </a:cubicBezTo>
                  <a:cubicBezTo>
                    <a:pt x="2060" y="182"/>
                    <a:pt x="2072" y="162"/>
                    <a:pt x="2080" y="13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000"/>
            </a:p>
          </p:txBody>
        </p:sp>
      </p:grpSp>
      <p:cxnSp>
        <p:nvCxnSpPr>
          <p:cNvPr id="41" name="Straight Connector 40"/>
          <p:cNvCxnSpPr/>
          <p:nvPr/>
        </p:nvCxnSpPr>
        <p:spPr>
          <a:xfrm>
            <a:off x="2355914" y="5655833"/>
            <a:ext cx="3888000" cy="0"/>
          </a:xfrm>
          <a:prstGeom prst="line">
            <a:avLst/>
          </a:prstGeom>
          <a:ln w="6350">
            <a:solidFill>
              <a:schemeClr val="tx2"/>
            </a:solidFill>
            <a:prstDash val="dash"/>
          </a:ln>
        </p:spPr>
        <p:style>
          <a:lnRef idx="1">
            <a:schemeClr val="accent1"/>
          </a:lnRef>
          <a:fillRef idx="0">
            <a:schemeClr val="accent1"/>
          </a:fillRef>
          <a:effectRef idx="0">
            <a:schemeClr val="accent1"/>
          </a:effectRef>
          <a:fontRef idx="minor">
            <a:schemeClr val="tx1"/>
          </a:fontRef>
        </p:style>
      </p:cxnSp>
      <p:sp>
        <p:nvSpPr>
          <p:cNvPr id="42" name="Picture Placeholder 3"/>
          <p:cNvSpPr>
            <a:spLocks noGrp="1"/>
          </p:cNvSpPr>
          <p:nvPr>
            <p:ph type="pic" sz="quarter" idx="29" hasCustomPrompt="1"/>
          </p:nvPr>
        </p:nvSpPr>
        <p:spPr>
          <a:xfrm>
            <a:off x="2355914" y="3986604"/>
            <a:ext cx="1188677" cy="1547840"/>
          </a:xfrm>
          <a:solidFill>
            <a:srgbClr val="D9DADB"/>
          </a:solidFill>
        </p:spPr>
        <p:txBody>
          <a:bodyPr/>
          <a:lstStyle>
            <a:lvl1pPr marL="0" indent="0">
              <a:buNone/>
              <a:defRPr sz="1400"/>
            </a:lvl1pPr>
          </a:lstStyle>
          <a:p>
            <a:r>
              <a:rPr lang="en-US"/>
              <a:t>Insert picture</a:t>
            </a:r>
          </a:p>
        </p:txBody>
      </p:sp>
      <p:sp>
        <p:nvSpPr>
          <p:cNvPr id="43" name="Text Placeholder 5"/>
          <p:cNvSpPr>
            <a:spLocks noGrp="1"/>
          </p:cNvSpPr>
          <p:nvPr>
            <p:ph type="body" sz="quarter" idx="30" hasCustomPrompt="1"/>
          </p:nvPr>
        </p:nvSpPr>
        <p:spPr>
          <a:xfrm>
            <a:off x="3770065" y="3986141"/>
            <a:ext cx="2463190" cy="192360"/>
          </a:xfrm>
        </p:spPr>
        <p:txBody>
          <a:bodyPr lIns="0" tIns="0" rIns="0" bIns="0" anchor="ctr" anchorCtr="0"/>
          <a:lstStyle>
            <a:lvl1pPr marL="0" indent="0" algn="l">
              <a:lnSpc>
                <a:spcPct val="100000"/>
              </a:lnSpc>
              <a:buNone/>
              <a:defRPr sz="100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Country</a:t>
            </a:r>
          </a:p>
        </p:txBody>
      </p:sp>
      <p:sp>
        <p:nvSpPr>
          <p:cNvPr id="44" name="Text Placeholder 5"/>
          <p:cNvSpPr>
            <a:spLocks noGrp="1"/>
          </p:cNvSpPr>
          <p:nvPr>
            <p:ph type="body" sz="quarter" idx="31" hasCustomPrompt="1"/>
          </p:nvPr>
        </p:nvSpPr>
        <p:spPr>
          <a:xfrm>
            <a:off x="3770065" y="4197957"/>
            <a:ext cx="2463190" cy="266182"/>
          </a:xfrm>
        </p:spPr>
        <p:txBody>
          <a:bodyPr lIns="0" tIns="0" rIns="0" bIns="0" anchor="b" anchorCtr="0"/>
          <a:lstStyle>
            <a:lvl1pPr marL="0" indent="0" algn="l">
              <a:lnSpc>
                <a:spcPct val="100000"/>
              </a:lnSpc>
              <a:buNone/>
              <a:defRPr sz="1400" b="1" baseline="0">
                <a:solidFill>
                  <a:schemeClr val="tx2"/>
                </a:solidFill>
              </a:defRPr>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Name, Surname</a:t>
            </a:r>
          </a:p>
        </p:txBody>
      </p:sp>
      <p:sp>
        <p:nvSpPr>
          <p:cNvPr id="45" name="Text Placeholder 5"/>
          <p:cNvSpPr>
            <a:spLocks noGrp="1"/>
          </p:cNvSpPr>
          <p:nvPr>
            <p:ph type="body" sz="quarter" idx="32" hasCustomPrompt="1"/>
          </p:nvPr>
        </p:nvSpPr>
        <p:spPr>
          <a:xfrm>
            <a:off x="3770065" y="4494532"/>
            <a:ext cx="2463190"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Job Position</a:t>
            </a:r>
          </a:p>
        </p:txBody>
      </p:sp>
      <p:sp>
        <p:nvSpPr>
          <p:cNvPr id="46" name="Text Placeholder 5"/>
          <p:cNvSpPr>
            <a:spLocks noGrp="1"/>
          </p:cNvSpPr>
          <p:nvPr>
            <p:ph type="body" sz="quarter" idx="33" hasCustomPrompt="1"/>
          </p:nvPr>
        </p:nvSpPr>
        <p:spPr>
          <a:xfrm>
            <a:off x="4014948" y="5023208"/>
            <a:ext cx="2218307"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Phone number</a:t>
            </a:r>
          </a:p>
        </p:txBody>
      </p:sp>
      <p:sp>
        <p:nvSpPr>
          <p:cNvPr id="47" name="Text Placeholder 5"/>
          <p:cNvSpPr>
            <a:spLocks noGrp="1"/>
          </p:cNvSpPr>
          <p:nvPr>
            <p:ph type="body" sz="quarter" idx="34" hasCustomPrompt="1"/>
          </p:nvPr>
        </p:nvSpPr>
        <p:spPr>
          <a:xfrm>
            <a:off x="4014948" y="5306015"/>
            <a:ext cx="2218307"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Email address</a:t>
            </a:r>
          </a:p>
        </p:txBody>
      </p:sp>
      <p:grpSp>
        <p:nvGrpSpPr>
          <p:cNvPr id="48" name="Gruppieren 2">
            <a:extLst>
              <a:ext uri="{FF2B5EF4-FFF2-40B4-BE49-F238E27FC236}">
                <a16:creationId xmlns:a16="http://schemas.microsoft.com/office/drawing/2014/main" id="{BE697CE9-EBDE-6B4A-BE70-582D92A8A831}"/>
              </a:ext>
            </a:extLst>
          </p:cNvPr>
          <p:cNvGrpSpPr/>
          <p:nvPr/>
        </p:nvGrpSpPr>
        <p:grpSpPr>
          <a:xfrm>
            <a:off x="8701917" y="5043528"/>
            <a:ext cx="171180" cy="171180"/>
            <a:chOff x="3392092" y="1841122"/>
            <a:chExt cx="646508" cy="646508"/>
          </a:xfrm>
        </p:grpSpPr>
        <p:sp>
          <p:nvSpPr>
            <p:cNvPr id="49" name="Rechteck 14">
              <a:extLst>
                <a:ext uri="{FF2B5EF4-FFF2-40B4-BE49-F238E27FC236}">
                  <a16:creationId xmlns:a16="http://schemas.microsoft.com/office/drawing/2014/main" id="{E142A731-19B7-C34D-9534-9E05108F895F}"/>
                </a:ext>
              </a:extLst>
            </p:cNvPr>
            <p:cNvSpPr>
              <a:spLocks noChangeAspect="1"/>
            </p:cNvSpPr>
            <p:nvPr/>
          </p:nvSpPr>
          <p:spPr bwMode="gray">
            <a:xfrm>
              <a:off x="3392092" y="1841122"/>
              <a:ext cx="646508" cy="646508"/>
            </a:xfrm>
            <a:prstGeom prst="rect">
              <a:avLst/>
            </a:prstGeom>
            <a:solidFill>
              <a:srgbClr val="E55A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pPr>
              <a:endParaRPr lang="en-US" sz="1000">
                <a:solidFill>
                  <a:schemeClr val="tx1"/>
                </a:solidFill>
                <a:latin typeface="Arial" pitchFamily="34" charset="0"/>
                <a:cs typeface="Arial" pitchFamily="34" charset="0"/>
              </a:endParaRPr>
            </a:p>
          </p:txBody>
        </p:sp>
        <p:sp>
          <p:nvSpPr>
            <p:cNvPr id="50" name="Freeform 49">
              <a:extLst>
                <a:ext uri="{FF2B5EF4-FFF2-40B4-BE49-F238E27FC236}">
                  <a16:creationId xmlns:a16="http://schemas.microsoft.com/office/drawing/2014/main" id="{F97E84AE-4AD9-4B44-9AA1-F797FC373809}"/>
                </a:ext>
              </a:extLst>
            </p:cNvPr>
            <p:cNvSpPr>
              <a:spLocks noChangeAspect="1"/>
            </p:cNvSpPr>
            <p:nvPr/>
          </p:nvSpPr>
          <p:spPr bwMode="auto">
            <a:xfrm>
              <a:off x="3546638" y="1970424"/>
              <a:ext cx="337415" cy="387905"/>
            </a:xfrm>
            <a:custGeom>
              <a:avLst/>
              <a:gdLst>
                <a:gd name="T0" fmla="*/ 573 w 1624"/>
                <a:gd name="T1" fmla="*/ 1257 h 1867"/>
                <a:gd name="T2" fmla="*/ 662 w 1624"/>
                <a:gd name="T3" fmla="*/ 1288 h 1867"/>
                <a:gd name="T4" fmla="*/ 938 w 1624"/>
                <a:gd name="T5" fmla="*/ 1051 h 1867"/>
                <a:gd name="T6" fmla="*/ 1106 w 1624"/>
                <a:gd name="T7" fmla="*/ 731 h 1867"/>
                <a:gd name="T8" fmla="*/ 1059 w 1624"/>
                <a:gd name="T9" fmla="*/ 645 h 1867"/>
                <a:gd name="T10" fmla="*/ 1001 w 1624"/>
                <a:gd name="T11" fmla="*/ 613 h 1867"/>
                <a:gd name="T12" fmla="*/ 924 w 1624"/>
                <a:gd name="T13" fmla="*/ 432 h 1867"/>
                <a:gd name="T14" fmla="*/ 1114 w 1624"/>
                <a:gd name="T15" fmla="*/ 81 h 1867"/>
                <a:gd name="T16" fmla="*/ 1287 w 1624"/>
                <a:gd name="T17" fmla="*/ 35 h 1867"/>
                <a:gd name="T18" fmla="*/ 1350 w 1624"/>
                <a:gd name="T19" fmla="*/ 69 h 1867"/>
                <a:gd name="T20" fmla="*/ 1527 w 1624"/>
                <a:gd name="T21" fmla="*/ 235 h 1867"/>
                <a:gd name="T22" fmla="*/ 1583 w 1624"/>
                <a:gd name="T23" fmla="*/ 555 h 1867"/>
                <a:gd name="T24" fmla="*/ 1172 w 1624"/>
                <a:gd name="T25" fmla="*/ 1253 h 1867"/>
                <a:gd name="T26" fmla="*/ 586 w 1624"/>
                <a:gd name="T27" fmla="*/ 1803 h 1867"/>
                <a:gd name="T28" fmla="*/ 269 w 1624"/>
                <a:gd name="T29" fmla="*/ 1807 h 1867"/>
                <a:gd name="T30" fmla="*/ 33 w 1624"/>
                <a:gd name="T31" fmla="*/ 1602 h 1867"/>
                <a:gd name="T32" fmla="*/ 2 w 1624"/>
                <a:gd name="T33" fmla="*/ 1508 h 1867"/>
                <a:gd name="T34" fmla="*/ 45 w 1624"/>
                <a:gd name="T35" fmla="*/ 1421 h 1867"/>
                <a:gd name="T36" fmla="*/ 346 w 1624"/>
                <a:gd name="T37" fmla="*/ 1158 h 1867"/>
                <a:gd name="T38" fmla="*/ 448 w 1624"/>
                <a:gd name="T39" fmla="*/ 1145 h 1867"/>
                <a:gd name="T40" fmla="*/ 573 w 1624"/>
                <a:gd name="T41" fmla="*/ 1257 h 18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24" h="1867">
                  <a:moveTo>
                    <a:pt x="573" y="1257"/>
                  </a:moveTo>
                  <a:cubicBezTo>
                    <a:pt x="592" y="1282"/>
                    <a:pt x="630" y="1303"/>
                    <a:pt x="662" y="1288"/>
                  </a:cubicBezTo>
                  <a:cubicBezTo>
                    <a:pt x="753" y="1245"/>
                    <a:pt x="854" y="1156"/>
                    <a:pt x="938" y="1051"/>
                  </a:cubicBezTo>
                  <a:cubicBezTo>
                    <a:pt x="1020" y="948"/>
                    <a:pt x="1084" y="831"/>
                    <a:pt x="1106" y="731"/>
                  </a:cubicBezTo>
                  <a:cubicBezTo>
                    <a:pt x="1113" y="696"/>
                    <a:pt x="1089" y="661"/>
                    <a:pt x="1059" y="645"/>
                  </a:cubicBezTo>
                  <a:cubicBezTo>
                    <a:pt x="1001" y="613"/>
                    <a:pt x="1001" y="613"/>
                    <a:pt x="1001" y="613"/>
                  </a:cubicBezTo>
                  <a:cubicBezTo>
                    <a:pt x="942" y="580"/>
                    <a:pt x="888" y="499"/>
                    <a:pt x="924" y="432"/>
                  </a:cubicBezTo>
                  <a:cubicBezTo>
                    <a:pt x="1114" y="81"/>
                    <a:pt x="1114" y="81"/>
                    <a:pt x="1114" y="81"/>
                  </a:cubicBezTo>
                  <a:cubicBezTo>
                    <a:pt x="1150" y="16"/>
                    <a:pt x="1224" y="0"/>
                    <a:pt x="1287" y="35"/>
                  </a:cubicBezTo>
                  <a:cubicBezTo>
                    <a:pt x="1350" y="69"/>
                    <a:pt x="1350" y="69"/>
                    <a:pt x="1350" y="69"/>
                  </a:cubicBezTo>
                  <a:cubicBezTo>
                    <a:pt x="1415" y="105"/>
                    <a:pt x="1479" y="165"/>
                    <a:pt x="1527" y="235"/>
                  </a:cubicBezTo>
                  <a:cubicBezTo>
                    <a:pt x="1593" y="332"/>
                    <a:pt x="1624" y="442"/>
                    <a:pt x="1583" y="555"/>
                  </a:cubicBezTo>
                  <a:cubicBezTo>
                    <a:pt x="1500" y="781"/>
                    <a:pt x="1351" y="1030"/>
                    <a:pt x="1172" y="1253"/>
                  </a:cubicBezTo>
                  <a:cubicBezTo>
                    <a:pt x="994" y="1477"/>
                    <a:pt x="786" y="1676"/>
                    <a:pt x="586" y="1803"/>
                  </a:cubicBezTo>
                  <a:cubicBezTo>
                    <a:pt x="486" y="1867"/>
                    <a:pt x="375" y="1856"/>
                    <a:pt x="269" y="1807"/>
                  </a:cubicBezTo>
                  <a:cubicBezTo>
                    <a:pt x="157" y="1755"/>
                    <a:pt x="106" y="1695"/>
                    <a:pt x="33" y="1602"/>
                  </a:cubicBezTo>
                  <a:cubicBezTo>
                    <a:pt x="11" y="1573"/>
                    <a:pt x="0" y="1540"/>
                    <a:pt x="2" y="1508"/>
                  </a:cubicBezTo>
                  <a:cubicBezTo>
                    <a:pt x="4" y="1475"/>
                    <a:pt x="18" y="1444"/>
                    <a:pt x="45" y="1421"/>
                  </a:cubicBezTo>
                  <a:cubicBezTo>
                    <a:pt x="70" y="1399"/>
                    <a:pt x="346" y="1158"/>
                    <a:pt x="346" y="1158"/>
                  </a:cubicBezTo>
                  <a:cubicBezTo>
                    <a:pt x="376" y="1134"/>
                    <a:pt x="413" y="1133"/>
                    <a:pt x="448" y="1145"/>
                  </a:cubicBezTo>
                  <a:cubicBezTo>
                    <a:pt x="510" y="1166"/>
                    <a:pt x="536" y="1210"/>
                    <a:pt x="573" y="1257"/>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351"/>
            </a:p>
          </p:txBody>
        </p:sp>
      </p:grpSp>
      <p:grpSp>
        <p:nvGrpSpPr>
          <p:cNvPr id="51" name="Group 3">
            <a:extLst>
              <a:ext uri="{FF2B5EF4-FFF2-40B4-BE49-F238E27FC236}">
                <a16:creationId xmlns:a16="http://schemas.microsoft.com/office/drawing/2014/main" id="{7104BADD-8CD1-6F4A-B894-869C3BDB3EEB}"/>
              </a:ext>
            </a:extLst>
          </p:cNvPr>
          <p:cNvGrpSpPr>
            <a:grpSpLocks noChangeAspect="1"/>
          </p:cNvGrpSpPr>
          <p:nvPr>
            <p:custDataLst>
              <p:tags r:id="rId4"/>
            </p:custDataLst>
          </p:nvPr>
        </p:nvGrpSpPr>
        <p:grpSpPr>
          <a:xfrm>
            <a:off x="8701918" y="5328416"/>
            <a:ext cx="171180" cy="171180"/>
            <a:chOff x="328396" y="5313940"/>
            <a:chExt cx="720000" cy="720000"/>
          </a:xfrm>
        </p:grpSpPr>
        <p:sp>
          <p:nvSpPr>
            <p:cNvPr id="52" name="Rectangle 4">
              <a:extLst>
                <a:ext uri="{FF2B5EF4-FFF2-40B4-BE49-F238E27FC236}">
                  <a16:creationId xmlns:a16="http://schemas.microsoft.com/office/drawing/2014/main" id="{74BE3D5F-1445-6E40-8B49-72E15568383B}"/>
                </a:ext>
              </a:extLst>
            </p:cNvPr>
            <p:cNvSpPr/>
            <p:nvPr/>
          </p:nvSpPr>
          <p:spPr bwMode="gray">
            <a:xfrm>
              <a:off x="328396" y="5313940"/>
              <a:ext cx="720000" cy="720000"/>
            </a:xfrm>
            <a:prstGeom prst="rect">
              <a:avLst/>
            </a:prstGeom>
            <a:solidFill>
              <a:srgbClr val="E55A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pPr>
              <a:endParaRPr lang="en-US" sz="1000">
                <a:solidFill>
                  <a:schemeClr val="tx1"/>
                </a:solidFill>
                <a:latin typeface="Arial" pitchFamily="34" charset="0"/>
                <a:cs typeface="Arial" pitchFamily="34" charset="0"/>
              </a:endParaRPr>
            </a:p>
          </p:txBody>
        </p:sp>
        <p:sp>
          <p:nvSpPr>
            <p:cNvPr id="53" name="Freeform 76">
              <a:extLst>
                <a:ext uri="{FF2B5EF4-FFF2-40B4-BE49-F238E27FC236}">
                  <a16:creationId xmlns:a16="http://schemas.microsoft.com/office/drawing/2014/main" id="{55DB3C95-7D0C-D141-901E-96D692794D2B}"/>
                </a:ext>
              </a:extLst>
            </p:cNvPr>
            <p:cNvSpPr>
              <a:spLocks noChangeAspect="1" noEditPoints="1"/>
            </p:cNvSpPr>
            <p:nvPr/>
          </p:nvSpPr>
          <p:spPr bwMode="auto">
            <a:xfrm>
              <a:off x="456202" y="5509222"/>
              <a:ext cx="504000" cy="329436"/>
            </a:xfrm>
            <a:custGeom>
              <a:avLst/>
              <a:gdLst>
                <a:gd name="T0" fmla="*/ 0 w 2080"/>
                <a:gd name="T1" fmla="*/ 65 h 1360"/>
                <a:gd name="T2" fmla="*/ 0 w 2080"/>
                <a:gd name="T3" fmla="*/ 0 h 1360"/>
                <a:gd name="T4" fmla="*/ 2080 w 2080"/>
                <a:gd name="T5" fmla="*/ 0 h 1360"/>
                <a:gd name="T6" fmla="*/ 2080 w 2080"/>
                <a:gd name="T7" fmla="*/ 65 h 1360"/>
                <a:gd name="T8" fmla="*/ 1089 w 2080"/>
                <a:gd name="T9" fmla="*/ 862 h 1360"/>
                <a:gd name="T10" fmla="*/ 991 w 2080"/>
                <a:gd name="T11" fmla="*/ 862 h 1360"/>
                <a:gd name="T12" fmla="*/ 0 w 2080"/>
                <a:gd name="T13" fmla="*/ 65 h 1360"/>
                <a:gd name="T14" fmla="*/ 1139 w 2080"/>
                <a:gd name="T15" fmla="*/ 924 h 1360"/>
                <a:gd name="T16" fmla="*/ 1282 w 2080"/>
                <a:gd name="T17" fmla="*/ 810 h 1360"/>
                <a:gd name="T18" fmla="*/ 2076 w 2080"/>
                <a:gd name="T19" fmla="*/ 1360 h 1360"/>
                <a:gd name="T20" fmla="*/ 4 w 2080"/>
                <a:gd name="T21" fmla="*/ 1360 h 1360"/>
                <a:gd name="T22" fmla="*/ 798 w 2080"/>
                <a:gd name="T23" fmla="*/ 810 h 1360"/>
                <a:gd name="T24" fmla="*/ 941 w 2080"/>
                <a:gd name="T25" fmla="*/ 924 h 1360"/>
                <a:gd name="T26" fmla="*/ 1139 w 2080"/>
                <a:gd name="T27" fmla="*/ 924 h 1360"/>
                <a:gd name="T28" fmla="*/ 2 w 2080"/>
                <a:gd name="T29" fmla="*/ 137 h 1360"/>
                <a:gd name="T30" fmla="*/ 42 w 2080"/>
                <a:gd name="T31" fmla="*/ 201 h 1360"/>
                <a:gd name="T32" fmla="*/ 734 w 2080"/>
                <a:gd name="T33" fmla="*/ 758 h 1360"/>
                <a:gd name="T34" fmla="*/ 0 w 2080"/>
                <a:gd name="T35" fmla="*/ 1266 h 1360"/>
                <a:gd name="T36" fmla="*/ 0 w 2080"/>
                <a:gd name="T37" fmla="*/ 135 h 1360"/>
                <a:gd name="T38" fmla="*/ 2 w 2080"/>
                <a:gd name="T39" fmla="*/ 137 h 1360"/>
                <a:gd name="T40" fmla="*/ 2080 w 2080"/>
                <a:gd name="T41" fmla="*/ 136 h 1360"/>
                <a:gd name="T42" fmla="*/ 2080 w 2080"/>
                <a:gd name="T43" fmla="*/ 1265 h 1360"/>
                <a:gd name="T44" fmla="*/ 1346 w 2080"/>
                <a:gd name="T45" fmla="*/ 758 h 1360"/>
                <a:gd name="T46" fmla="*/ 2038 w 2080"/>
                <a:gd name="T47" fmla="*/ 201 h 1360"/>
                <a:gd name="T48" fmla="*/ 2080 w 2080"/>
                <a:gd name="T49" fmla="*/ 136 h 1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080" h="1360">
                  <a:moveTo>
                    <a:pt x="0" y="65"/>
                  </a:moveTo>
                  <a:cubicBezTo>
                    <a:pt x="0" y="0"/>
                    <a:pt x="0" y="0"/>
                    <a:pt x="0" y="0"/>
                  </a:cubicBezTo>
                  <a:cubicBezTo>
                    <a:pt x="2080" y="0"/>
                    <a:pt x="2080" y="0"/>
                    <a:pt x="2080" y="0"/>
                  </a:cubicBezTo>
                  <a:cubicBezTo>
                    <a:pt x="2080" y="65"/>
                    <a:pt x="2080" y="65"/>
                    <a:pt x="2080" y="65"/>
                  </a:cubicBezTo>
                  <a:cubicBezTo>
                    <a:pt x="1089" y="862"/>
                    <a:pt x="1089" y="862"/>
                    <a:pt x="1089" y="862"/>
                  </a:cubicBezTo>
                  <a:cubicBezTo>
                    <a:pt x="1060" y="886"/>
                    <a:pt x="1020" y="886"/>
                    <a:pt x="991" y="862"/>
                  </a:cubicBezTo>
                  <a:lnTo>
                    <a:pt x="0" y="65"/>
                  </a:lnTo>
                  <a:close/>
                  <a:moveTo>
                    <a:pt x="1139" y="924"/>
                  </a:moveTo>
                  <a:cubicBezTo>
                    <a:pt x="1282" y="810"/>
                    <a:pt x="1282" y="810"/>
                    <a:pt x="1282" y="810"/>
                  </a:cubicBezTo>
                  <a:cubicBezTo>
                    <a:pt x="2076" y="1360"/>
                    <a:pt x="2076" y="1360"/>
                    <a:pt x="2076" y="1360"/>
                  </a:cubicBezTo>
                  <a:cubicBezTo>
                    <a:pt x="4" y="1360"/>
                    <a:pt x="4" y="1360"/>
                    <a:pt x="4" y="1360"/>
                  </a:cubicBezTo>
                  <a:cubicBezTo>
                    <a:pt x="798" y="810"/>
                    <a:pt x="798" y="810"/>
                    <a:pt x="798" y="810"/>
                  </a:cubicBezTo>
                  <a:cubicBezTo>
                    <a:pt x="941" y="924"/>
                    <a:pt x="941" y="924"/>
                    <a:pt x="941" y="924"/>
                  </a:cubicBezTo>
                  <a:cubicBezTo>
                    <a:pt x="1000" y="972"/>
                    <a:pt x="1080" y="972"/>
                    <a:pt x="1139" y="924"/>
                  </a:cubicBezTo>
                  <a:close/>
                  <a:moveTo>
                    <a:pt x="2" y="137"/>
                  </a:moveTo>
                  <a:cubicBezTo>
                    <a:pt x="8" y="163"/>
                    <a:pt x="22" y="185"/>
                    <a:pt x="42" y="201"/>
                  </a:cubicBezTo>
                  <a:cubicBezTo>
                    <a:pt x="734" y="758"/>
                    <a:pt x="734" y="758"/>
                    <a:pt x="734" y="758"/>
                  </a:cubicBezTo>
                  <a:cubicBezTo>
                    <a:pt x="0" y="1266"/>
                    <a:pt x="0" y="1266"/>
                    <a:pt x="0" y="1266"/>
                  </a:cubicBezTo>
                  <a:cubicBezTo>
                    <a:pt x="0" y="135"/>
                    <a:pt x="0" y="135"/>
                    <a:pt x="0" y="135"/>
                  </a:cubicBezTo>
                  <a:lnTo>
                    <a:pt x="2" y="137"/>
                  </a:lnTo>
                  <a:close/>
                  <a:moveTo>
                    <a:pt x="2080" y="136"/>
                  </a:moveTo>
                  <a:cubicBezTo>
                    <a:pt x="2080" y="1265"/>
                    <a:pt x="2080" y="1265"/>
                    <a:pt x="2080" y="1265"/>
                  </a:cubicBezTo>
                  <a:cubicBezTo>
                    <a:pt x="1346" y="758"/>
                    <a:pt x="1346" y="758"/>
                    <a:pt x="1346" y="758"/>
                  </a:cubicBezTo>
                  <a:cubicBezTo>
                    <a:pt x="2038" y="201"/>
                    <a:pt x="2038" y="201"/>
                    <a:pt x="2038" y="201"/>
                  </a:cubicBezTo>
                  <a:cubicBezTo>
                    <a:pt x="2060" y="182"/>
                    <a:pt x="2072" y="162"/>
                    <a:pt x="2080" y="13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000"/>
            </a:p>
          </p:txBody>
        </p:sp>
      </p:grpSp>
      <p:cxnSp>
        <p:nvCxnSpPr>
          <p:cNvPr id="54" name="Straight Connector 53"/>
          <p:cNvCxnSpPr/>
          <p:nvPr/>
        </p:nvCxnSpPr>
        <p:spPr>
          <a:xfrm>
            <a:off x="7287766" y="5653422"/>
            <a:ext cx="3888000" cy="0"/>
          </a:xfrm>
          <a:prstGeom prst="line">
            <a:avLst/>
          </a:prstGeom>
          <a:ln w="6350">
            <a:solidFill>
              <a:schemeClr val="tx2"/>
            </a:solidFill>
            <a:prstDash val="dash"/>
          </a:ln>
        </p:spPr>
        <p:style>
          <a:lnRef idx="1">
            <a:schemeClr val="accent1"/>
          </a:lnRef>
          <a:fillRef idx="0">
            <a:schemeClr val="accent1"/>
          </a:fillRef>
          <a:effectRef idx="0">
            <a:schemeClr val="accent1"/>
          </a:effectRef>
          <a:fontRef idx="minor">
            <a:schemeClr val="tx1"/>
          </a:fontRef>
        </p:style>
      </p:cxnSp>
      <p:sp>
        <p:nvSpPr>
          <p:cNvPr id="55" name="Picture Placeholder 3"/>
          <p:cNvSpPr>
            <a:spLocks noGrp="1"/>
          </p:cNvSpPr>
          <p:nvPr>
            <p:ph type="pic" sz="quarter" idx="35" hasCustomPrompt="1"/>
          </p:nvPr>
        </p:nvSpPr>
        <p:spPr>
          <a:xfrm>
            <a:off x="7287766" y="3984193"/>
            <a:ext cx="1188677" cy="1547840"/>
          </a:xfrm>
          <a:solidFill>
            <a:srgbClr val="D9DADB"/>
          </a:solidFill>
        </p:spPr>
        <p:txBody>
          <a:bodyPr/>
          <a:lstStyle>
            <a:lvl1pPr marL="0" indent="0">
              <a:buNone/>
              <a:defRPr sz="1400"/>
            </a:lvl1pPr>
          </a:lstStyle>
          <a:p>
            <a:r>
              <a:rPr lang="en-US"/>
              <a:t>Insert picture</a:t>
            </a:r>
          </a:p>
        </p:txBody>
      </p:sp>
      <p:sp>
        <p:nvSpPr>
          <p:cNvPr id="56" name="Text Placeholder 5"/>
          <p:cNvSpPr>
            <a:spLocks noGrp="1"/>
          </p:cNvSpPr>
          <p:nvPr>
            <p:ph type="body" sz="quarter" idx="36" hasCustomPrompt="1"/>
          </p:nvPr>
        </p:nvSpPr>
        <p:spPr>
          <a:xfrm>
            <a:off x="8701917" y="3983730"/>
            <a:ext cx="2463190" cy="192360"/>
          </a:xfrm>
        </p:spPr>
        <p:txBody>
          <a:bodyPr lIns="0" tIns="0" rIns="0" bIns="0" anchor="ctr" anchorCtr="0"/>
          <a:lstStyle>
            <a:lvl1pPr marL="0" indent="0" algn="l">
              <a:lnSpc>
                <a:spcPct val="100000"/>
              </a:lnSpc>
              <a:buNone/>
              <a:defRPr sz="100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Country</a:t>
            </a:r>
          </a:p>
        </p:txBody>
      </p:sp>
      <p:sp>
        <p:nvSpPr>
          <p:cNvPr id="57" name="Text Placeholder 5"/>
          <p:cNvSpPr>
            <a:spLocks noGrp="1"/>
          </p:cNvSpPr>
          <p:nvPr>
            <p:ph type="body" sz="quarter" idx="37" hasCustomPrompt="1"/>
          </p:nvPr>
        </p:nvSpPr>
        <p:spPr>
          <a:xfrm>
            <a:off x="8701917" y="4195546"/>
            <a:ext cx="2463190" cy="266182"/>
          </a:xfrm>
        </p:spPr>
        <p:txBody>
          <a:bodyPr lIns="0" tIns="0" rIns="0" bIns="0" anchor="b" anchorCtr="0"/>
          <a:lstStyle>
            <a:lvl1pPr marL="0" indent="0" algn="l">
              <a:lnSpc>
                <a:spcPct val="100000"/>
              </a:lnSpc>
              <a:buNone/>
              <a:defRPr sz="1400" b="1" baseline="0">
                <a:solidFill>
                  <a:schemeClr val="tx2"/>
                </a:solidFill>
              </a:defRPr>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Name, Surname</a:t>
            </a:r>
          </a:p>
        </p:txBody>
      </p:sp>
      <p:sp>
        <p:nvSpPr>
          <p:cNvPr id="58" name="Text Placeholder 5"/>
          <p:cNvSpPr>
            <a:spLocks noGrp="1"/>
          </p:cNvSpPr>
          <p:nvPr>
            <p:ph type="body" sz="quarter" idx="38" hasCustomPrompt="1"/>
          </p:nvPr>
        </p:nvSpPr>
        <p:spPr>
          <a:xfrm>
            <a:off x="8701917" y="4492121"/>
            <a:ext cx="2463190"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Job Position</a:t>
            </a:r>
          </a:p>
        </p:txBody>
      </p:sp>
      <p:sp>
        <p:nvSpPr>
          <p:cNvPr id="59" name="Text Placeholder 5"/>
          <p:cNvSpPr>
            <a:spLocks noGrp="1"/>
          </p:cNvSpPr>
          <p:nvPr>
            <p:ph type="body" sz="quarter" idx="39" hasCustomPrompt="1"/>
          </p:nvPr>
        </p:nvSpPr>
        <p:spPr>
          <a:xfrm>
            <a:off x="8946800" y="5020797"/>
            <a:ext cx="2218307"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Phone number</a:t>
            </a:r>
          </a:p>
        </p:txBody>
      </p:sp>
      <p:sp>
        <p:nvSpPr>
          <p:cNvPr id="60" name="Text Placeholder 5"/>
          <p:cNvSpPr>
            <a:spLocks noGrp="1"/>
          </p:cNvSpPr>
          <p:nvPr>
            <p:ph type="body" sz="quarter" idx="40" hasCustomPrompt="1"/>
          </p:nvPr>
        </p:nvSpPr>
        <p:spPr>
          <a:xfrm>
            <a:off x="8946800" y="5303604"/>
            <a:ext cx="2218307"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Email address</a:t>
            </a:r>
          </a:p>
        </p:txBody>
      </p:sp>
    </p:spTree>
    <p:extLst>
      <p:ext uri="{BB962C8B-B14F-4D97-AF65-F5344CB8AC3E}">
        <p14:creationId xmlns:p14="http://schemas.microsoft.com/office/powerpoint/2010/main" val="3687950927"/>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Four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2306346557"/>
              </p:ext>
            </p:ext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spid="_x0000_s94278" name="think-cell Folie" r:id="rId4" imgW="353" imgH="353" progId="TCLayout.ActiveDocument.1">
                  <p:embed/>
                </p:oleObj>
              </mc:Choice>
              <mc:Fallback>
                <p:oleObj name="think-cell Folie" r:id="rId4" imgW="353" imgH="353" progId="TCLayout.ActiveDocument.1">
                  <p:embed/>
                  <p:pic>
                    <p:nvPicPr>
                      <p:cNvPr id="5" name="Object 4" hidden="1"/>
                      <p:cNvPicPr/>
                      <p:nvPr/>
                    </p:nvPicPr>
                    <p:blipFill>
                      <a:blip r:embed="rId5"/>
                      <a:stretch>
                        <a:fillRect/>
                      </a:stretch>
                    </p:blipFill>
                    <p:spPr>
                      <a:xfrm>
                        <a:off x="2118" y="2118"/>
                        <a:ext cx="2116" cy="2116"/>
                      </a:xfrm>
                      <a:prstGeom prst="rect">
                        <a:avLst/>
                      </a:prstGeom>
                    </p:spPr>
                  </p:pic>
                </p:oleObj>
              </mc:Fallback>
            </mc:AlternateContent>
          </a:graphicData>
        </a:graphic>
      </p:graphicFrame>
      <p:sp>
        <p:nvSpPr>
          <p:cNvPr id="4" name="Content Placeholder 3"/>
          <p:cNvSpPr>
            <a:spLocks noGrp="1"/>
          </p:cNvSpPr>
          <p:nvPr>
            <p:ph sz="quarter" idx="16" hasCustomPrompt="1"/>
          </p:nvPr>
        </p:nvSpPr>
        <p:spPr bwMode="gray">
          <a:xfrm>
            <a:off x="431215" y="1700760"/>
            <a:ext cx="2688373" cy="4609024"/>
          </a:xfrm>
        </p:spPr>
        <p:txBody>
          <a:bodyPr/>
          <a:lstStyle/>
          <a:p>
            <a:pPr lvl="0"/>
            <a:r>
              <a:rPr lang="en-US" noProof="0"/>
              <a:t>Click to add tex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2" name="Content Placeholder 3"/>
          <p:cNvSpPr>
            <a:spLocks noGrp="1"/>
          </p:cNvSpPr>
          <p:nvPr>
            <p:ph sz="quarter" idx="17" hasCustomPrompt="1"/>
          </p:nvPr>
        </p:nvSpPr>
        <p:spPr bwMode="gray">
          <a:xfrm>
            <a:off x="3311615" y="1700760"/>
            <a:ext cx="2688372" cy="4607984"/>
          </a:xfrm>
        </p:spPr>
        <p:txBody>
          <a:bodyPr/>
          <a:lstStyle/>
          <a:p>
            <a:pPr lvl="0"/>
            <a:r>
              <a:rPr lang="en-US" noProof="0"/>
              <a:t>Click to add tex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Content Placeholder 3"/>
          <p:cNvSpPr>
            <a:spLocks noGrp="1"/>
          </p:cNvSpPr>
          <p:nvPr>
            <p:ph sz="quarter" idx="18" hasCustomPrompt="1"/>
          </p:nvPr>
        </p:nvSpPr>
        <p:spPr bwMode="gray">
          <a:xfrm>
            <a:off x="6192014" y="1700760"/>
            <a:ext cx="2688373" cy="4606944"/>
          </a:xfrm>
        </p:spPr>
        <p:txBody>
          <a:bodyPr/>
          <a:lstStyle/>
          <a:p>
            <a:pPr lvl="0"/>
            <a:r>
              <a:rPr lang="en-US" noProof="0"/>
              <a:t>Click to add tex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4" name="Content Placeholder 3"/>
          <p:cNvSpPr>
            <a:spLocks noGrp="1"/>
          </p:cNvSpPr>
          <p:nvPr>
            <p:ph sz="quarter" idx="19" hasCustomPrompt="1"/>
          </p:nvPr>
        </p:nvSpPr>
        <p:spPr bwMode="gray">
          <a:xfrm>
            <a:off x="9072414" y="1700760"/>
            <a:ext cx="2688373" cy="4605904"/>
          </a:xfrm>
        </p:spPr>
        <p:txBody>
          <a:bodyPr/>
          <a:lstStyle/>
          <a:p>
            <a:pPr lvl="0"/>
            <a:r>
              <a:rPr lang="en-US" noProof="0"/>
              <a:t>Click to add tex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 name="Title 1"/>
          <p:cNvSpPr>
            <a:spLocks noGrp="1"/>
          </p:cNvSpPr>
          <p:nvPr>
            <p:ph type="title" hasCustomPrompt="1"/>
          </p:nvPr>
        </p:nvSpPr>
        <p:spPr bwMode="gray"/>
        <p:txBody>
          <a:bodyPr/>
          <a:lstStyle/>
          <a:p>
            <a:r>
              <a:rPr lang="en-US"/>
              <a:t>Click to add headline</a:t>
            </a:r>
          </a:p>
        </p:txBody>
      </p:sp>
      <p:sp>
        <p:nvSpPr>
          <p:cNvPr id="7" name="Textplatzhalter 2"/>
          <p:cNvSpPr>
            <a:spLocks noGrp="1"/>
          </p:cNvSpPr>
          <p:nvPr>
            <p:ph type="body" sz="quarter" idx="11" hasCustomPrompt="1"/>
          </p:nvPr>
        </p:nvSpPr>
        <p:spPr bwMode="gray">
          <a:xfrm>
            <a:off x="431213" y="1220755"/>
            <a:ext cx="11328987" cy="384340"/>
          </a:xfrm>
        </p:spPr>
        <p:txBody>
          <a:bodyPr>
            <a:noAutofit/>
          </a:bodyPr>
          <a:lstStyle>
            <a:lvl1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1pPr>
            <a:lvl2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2pPr>
            <a:lvl3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3pPr>
            <a:lvl4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4pPr>
            <a:lvl5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5pPr>
            <a:lvl6pPr marL="0" indent="0">
              <a:lnSpc>
                <a:spcPct val="100000"/>
              </a:lnSpc>
              <a:spcBef>
                <a:spcPts val="800"/>
              </a:spcBef>
              <a:buNone/>
              <a:defRPr lang="en-GB" sz="2400" kern="1200" noProof="0" smtClean="0">
                <a:solidFill>
                  <a:schemeClr val="tx2"/>
                </a:solidFill>
                <a:latin typeface="Arial" pitchFamily="34" charset="0"/>
                <a:ea typeface="+mn-ea"/>
                <a:cs typeface="Arial" pitchFamily="34" charset="0"/>
              </a:defRPr>
            </a:lvl6pPr>
            <a:lvl7pPr marL="0" indent="0">
              <a:lnSpc>
                <a:spcPct val="100000"/>
              </a:lnSpc>
              <a:spcBef>
                <a:spcPts val="800"/>
              </a:spcBef>
              <a:buNone/>
              <a:defRPr lang="en-GB" sz="2400" kern="1200" noProof="0" smtClean="0">
                <a:solidFill>
                  <a:schemeClr val="tx2"/>
                </a:solidFill>
                <a:latin typeface="Arial" pitchFamily="34" charset="0"/>
                <a:ea typeface="+mn-ea"/>
                <a:cs typeface="Arial" pitchFamily="34" charset="0"/>
              </a:defRPr>
            </a:lvl7pPr>
            <a:lvl8pPr marL="0" indent="0">
              <a:lnSpc>
                <a:spcPct val="100000"/>
              </a:lnSpc>
              <a:spcBef>
                <a:spcPts val="800"/>
              </a:spcBef>
              <a:buNone/>
              <a:defRPr lang="en-GB" sz="2400" kern="1200" noProof="0" smtClean="0">
                <a:solidFill>
                  <a:schemeClr val="tx2"/>
                </a:solidFill>
                <a:latin typeface="Arial" pitchFamily="34" charset="0"/>
                <a:ea typeface="+mn-ea"/>
                <a:cs typeface="Arial" pitchFamily="34" charset="0"/>
              </a:defRPr>
            </a:lvl8pPr>
            <a:lvl9pPr marL="0" indent="0">
              <a:lnSpc>
                <a:spcPct val="100000"/>
              </a:lnSpc>
              <a:spcBef>
                <a:spcPts val="800"/>
              </a:spcBef>
              <a:buNone/>
              <a:defRPr lang="de-DE" sz="2400" kern="1200" noProof="0" smtClean="0">
                <a:solidFill>
                  <a:schemeClr val="tx2"/>
                </a:solidFill>
                <a:latin typeface="Arial" pitchFamily="34" charset="0"/>
                <a:ea typeface="+mn-ea"/>
                <a:cs typeface="Arial" pitchFamily="34" charset="0"/>
              </a:defRPr>
            </a:lvl9pPr>
          </a:lstStyle>
          <a:p>
            <a:pPr lvl="0"/>
            <a:r>
              <a:rPr lang="en-US"/>
              <a:t>Click to add </a:t>
            </a:r>
            <a:r>
              <a:rPr lang="en-US" err="1"/>
              <a:t>subheadline</a:t>
            </a:r>
            <a:endParaRPr lang="en-US"/>
          </a:p>
        </p:txBody>
      </p:sp>
      <p:sp>
        <p:nvSpPr>
          <p:cNvPr id="8" name="Textplatzhalter 3"/>
          <p:cNvSpPr>
            <a:spLocks noGrp="1"/>
          </p:cNvSpPr>
          <p:nvPr>
            <p:ph type="body" sz="quarter" idx="12" hasCustomPrompt="1"/>
          </p:nvPr>
        </p:nvSpPr>
        <p:spPr bwMode="gray">
          <a:xfrm>
            <a:off x="431371" y="6404736"/>
            <a:ext cx="11328400" cy="192616"/>
          </a:xfrm>
        </p:spPr>
        <p:txBody>
          <a:bodyPr tIns="0" bIns="36000" anchor="b" anchorCtr="0">
            <a:noAutofit/>
          </a:bodyPr>
          <a:lstStyle>
            <a:lvl1pPr marL="0" marR="0" indent="0" algn="l" defTabSz="1219170" rtl="0" eaLnBrk="1" fontAlgn="auto" latinLnBrk="0" hangingPunct="1">
              <a:lnSpc>
                <a:spcPct val="100000"/>
              </a:lnSpc>
              <a:spcBef>
                <a:spcPts val="0"/>
              </a:spcBef>
              <a:spcAft>
                <a:spcPts val="0"/>
              </a:spcAft>
              <a:buClrTx/>
              <a:buSzTx/>
              <a:buFont typeface="Arial" pitchFamily="34" charset="0"/>
              <a:buNone/>
              <a:tabLst/>
              <a:defRPr lang="de-DE" sz="1067" kern="1200" baseline="0" noProof="0" smtClean="0">
                <a:solidFill>
                  <a:schemeClr val="bg2"/>
                </a:solidFill>
                <a:latin typeface="Arial" pitchFamily="34" charset="0"/>
                <a:ea typeface="+mn-ea"/>
                <a:cs typeface="Arial" pitchFamily="34" charset="0"/>
              </a:defRPr>
            </a:lvl1pPr>
            <a:lvl2pPr marL="0" indent="0">
              <a:lnSpc>
                <a:spcPct val="100000"/>
              </a:lnSpc>
              <a:spcBef>
                <a:spcPts val="0"/>
              </a:spcBef>
              <a:buFont typeface="Arial" panose="020B0604020202020204" pitchFamily="34" charset="0"/>
              <a:buNone/>
              <a:defRPr lang="de-DE" sz="1067" kern="1200" baseline="0" noProof="0" smtClean="0">
                <a:solidFill>
                  <a:schemeClr val="bg2"/>
                </a:solidFill>
                <a:latin typeface="Arial" pitchFamily="34" charset="0"/>
                <a:ea typeface="+mn-ea"/>
                <a:cs typeface="Arial" pitchFamily="34" charset="0"/>
              </a:defRPr>
            </a:lvl2pPr>
            <a:lvl3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3pPr>
            <a:lvl4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4pPr>
            <a:lvl5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5pPr>
            <a:lvl6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6pPr>
            <a:lvl7pPr marL="0" indent="0">
              <a:lnSpc>
                <a:spcPct val="100000"/>
              </a:lnSpc>
              <a:spcBef>
                <a:spcPts val="0"/>
              </a:spcBef>
              <a:buNone/>
              <a:defRPr lang="de-DE" sz="1067" kern="1200" baseline="0" noProof="0" dirty="0" smtClean="0">
                <a:solidFill>
                  <a:schemeClr val="bg2"/>
                </a:solidFill>
                <a:latin typeface="Arial" pitchFamily="34" charset="0"/>
                <a:ea typeface="+mn-ea"/>
                <a:cs typeface="Arial" pitchFamily="34" charset="0"/>
              </a:defRPr>
            </a:lvl7pPr>
            <a:lvl8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8pPr>
            <a:lvl9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9pPr>
          </a:lstStyle>
          <a:p>
            <a:pPr lvl="0"/>
            <a:r>
              <a:rPr lang="en-US"/>
              <a:t>Click to add source information</a:t>
            </a:r>
          </a:p>
        </p:txBody>
      </p:sp>
    </p:spTree>
    <p:extLst>
      <p:ext uri="{BB962C8B-B14F-4D97-AF65-F5344CB8AC3E}">
        <p14:creationId xmlns:p14="http://schemas.microsoft.com/office/powerpoint/2010/main" val="2821379227"/>
      </p:ext>
    </p:extLst>
  </p:cSld>
  <p:clrMapOvr>
    <a:masterClrMapping/>
  </p:clrMapOvr>
</p:sldLayout>
</file>

<file path=ppt/slideLayouts/slideLayout560.xml><?xml version="1.0" encoding="utf-8"?>
<p:sldLayout xmlns:a="http://schemas.openxmlformats.org/drawingml/2006/main" xmlns:r="http://schemas.openxmlformats.org/officeDocument/2006/relationships" xmlns:p="http://schemas.openxmlformats.org/presentationml/2006/main" showMasterSp="0" preserve="1">
  <p:cSld name="End slide">
    <p:spTree>
      <p:nvGrpSpPr>
        <p:cNvPr id="1" name=""/>
        <p:cNvGrpSpPr/>
        <p:nvPr/>
      </p:nvGrpSpPr>
      <p:grpSpPr>
        <a:xfrm>
          <a:off x="0" y="0"/>
          <a:ext cx="0" cy="0"/>
          <a:chOff x="0" y="0"/>
          <a:chExt cx="0" cy="0"/>
        </a:xfrm>
      </p:grpSpPr>
      <p:pic>
        <p:nvPicPr>
          <p:cNvPr id="30" name="picture">
            <a:extLst>
              <a:ext uri="{FF2B5EF4-FFF2-40B4-BE49-F238E27FC236}">
                <a16:creationId xmlns:a16="http://schemas.microsoft.com/office/drawing/2014/main" id="{8BF907F5-A9CD-2740-AF54-6BACB62334AE}"/>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2620212" y="-8808"/>
            <a:ext cx="9697299" cy="6866807"/>
          </a:xfrm>
          <a:prstGeom prst="rect">
            <a:avLst/>
          </a:prstGeom>
        </p:spPr>
      </p:pic>
      <p:sp>
        <p:nvSpPr>
          <p:cNvPr id="29" name="shpPicture"/>
          <p:cNvSpPr/>
          <p:nvPr/>
        </p:nvSpPr>
        <p:spPr>
          <a:xfrm>
            <a:off x="0" y="0"/>
            <a:ext cx="4347306" cy="6858000"/>
          </a:xfrm>
          <a:custGeom>
            <a:avLst/>
            <a:gdLst>
              <a:gd name="connsiteX0" fmla="*/ 0 w 4347306"/>
              <a:gd name="connsiteY0" fmla="*/ 0 h 6858000"/>
              <a:gd name="connsiteX1" fmla="*/ 3252806 w 4347306"/>
              <a:gd name="connsiteY1" fmla="*/ 0 h 6858000"/>
              <a:gd name="connsiteX2" fmla="*/ 4347306 w 4347306"/>
              <a:gd name="connsiteY2" fmla="*/ 4140909 h 6858000"/>
              <a:gd name="connsiteX3" fmla="*/ 2943442 w 4347306"/>
              <a:gd name="connsiteY3" fmla="*/ 6858000 h 6858000"/>
              <a:gd name="connsiteX4" fmla="*/ 0 w 4347306"/>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47306" h="6858000">
                <a:moveTo>
                  <a:pt x="0" y="0"/>
                </a:moveTo>
                <a:lnTo>
                  <a:pt x="3252806" y="0"/>
                </a:lnTo>
                <a:lnTo>
                  <a:pt x="4347306" y="4140909"/>
                </a:lnTo>
                <a:lnTo>
                  <a:pt x="2943442"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US" sz="1600"/>
          </a:p>
        </p:txBody>
      </p:sp>
      <p:grpSp>
        <p:nvGrpSpPr>
          <p:cNvPr id="14" name="logo">
            <a:extLst>
              <a:ext uri="{FF2B5EF4-FFF2-40B4-BE49-F238E27FC236}">
                <a16:creationId xmlns:a16="http://schemas.microsoft.com/office/drawing/2014/main" id="{18C26D95-70F8-8A4D-9F18-DCCB92522AF8}"/>
              </a:ext>
            </a:extLst>
          </p:cNvPr>
          <p:cNvGrpSpPr/>
          <p:nvPr/>
        </p:nvGrpSpPr>
        <p:grpSpPr bwMode="gray">
          <a:xfrm>
            <a:off x="417363" y="407485"/>
            <a:ext cx="1518585" cy="646507"/>
            <a:chOff x="334963" y="296652"/>
            <a:chExt cx="1268411" cy="540000"/>
          </a:xfrm>
        </p:grpSpPr>
        <p:sp>
          <p:nvSpPr>
            <p:cNvPr id="17" name="Freeform 6">
              <a:extLst>
                <a:ext uri="{FF2B5EF4-FFF2-40B4-BE49-F238E27FC236}">
                  <a16:creationId xmlns:a16="http://schemas.microsoft.com/office/drawing/2014/main" id="{08737AD0-E375-E445-97E6-CD2E2DF60620}"/>
                </a:ext>
              </a:extLst>
            </p:cNvPr>
            <p:cNvSpPr>
              <a:spLocks noEditPoints="1"/>
            </p:cNvSpPr>
            <p:nvPr/>
          </p:nvSpPr>
          <p:spPr bwMode="gray">
            <a:xfrm>
              <a:off x="982662" y="360462"/>
              <a:ext cx="620712" cy="431800"/>
            </a:xfrm>
            <a:custGeom>
              <a:avLst/>
              <a:gdLst>
                <a:gd name="T0" fmla="*/ 19 w 1809"/>
                <a:gd name="T1" fmla="*/ 97 h 1253"/>
                <a:gd name="T2" fmla="*/ 165 w 1809"/>
                <a:gd name="T3" fmla="*/ 41 h 1253"/>
                <a:gd name="T4" fmla="*/ 211 w 1809"/>
                <a:gd name="T5" fmla="*/ 224 h 1253"/>
                <a:gd name="T6" fmla="*/ 248 w 1809"/>
                <a:gd name="T7" fmla="*/ 155 h 1253"/>
                <a:gd name="T8" fmla="*/ 931 w 1809"/>
                <a:gd name="T9" fmla="*/ 995 h 1253"/>
                <a:gd name="T10" fmla="*/ 858 w 1809"/>
                <a:gd name="T11" fmla="*/ 1115 h 1253"/>
                <a:gd name="T12" fmla="*/ 749 w 1809"/>
                <a:gd name="T13" fmla="*/ 1117 h 1253"/>
                <a:gd name="T14" fmla="*/ 681 w 1809"/>
                <a:gd name="T15" fmla="*/ 1055 h 1253"/>
                <a:gd name="T16" fmla="*/ 800 w 1809"/>
                <a:gd name="T17" fmla="*/ 1054 h 1253"/>
                <a:gd name="T18" fmla="*/ 884 w 1809"/>
                <a:gd name="T19" fmla="*/ 1181 h 1253"/>
                <a:gd name="T20" fmla="*/ 118 w 1809"/>
                <a:gd name="T21" fmla="*/ 1086 h 1253"/>
                <a:gd name="T22" fmla="*/ 147 w 1809"/>
                <a:gd name="T23" fmla="*/ 1026 h 1253"/>
                <a:gd name="T24" fmla="*/ 102 w 1809"/>
                <a:gd name="T25" fmla="*/ 1026 h 1253"/>
                <a:gd name="T26" fmla="*/ 639 w 1809"/>
                <a:gd name="T27" fmla="*/ 84 h 1253"/>
                <a:gd name="T28" fmla="*/ 763 w 1809"/>
                <a:gd name="T29" fmla="*/ 145 h 1253"/>
                <a:gd name="T30" fmla="*/ 863 w 1809"/>
                <a:gd name="T31" fmla="*/ 221 h 1253"/>
                <a:gd name="T32" fmla="*/ 834 w 1809"/>
                <a:gd name="T33" fmla="*/ 208 h 1253"/>
                <a:gd name="T34" fmla="*/ 719 w 1809"/>
                <a:gd name="T35" fmla="*/ 182 h 1253"/>
                <a:gd name="T36" fmla="*/ 507 w 1809"/>
                <a:gd name="T37" fmla="*/ 711 h 1253"/>
                <a:gd name="T38" fmla="*/ 614 w 1809"/>
                <a:gd name="T39" fmla="*/ 706 h 1253"/>
                <a:gd name="T40" fmla="*/ 736 w 1809"/>
                <a:gd name="T41" fmla="*/ 730 h 1253"/>
                <a:gd name="T42" fmla="*/ 607 w 1809"/>
                <a:gd name="T43" fmla="*/ 539 h 1253"/>
                <a:gd name="T44" fmla="*/ 1505 w 1809"/>
                <a:gd name="T45" fmla="*/ 1136 h 1253"/>
                <a:gd name="T46" fmla="*/ 1613 w 1809"/>
                <a:gd name="T47" fmla="*/ 1002 h 1253"/>
                <a:gd name="T48" fmla="*/ 1472 w 1809"/>
                <a:gd name="T49" fmla="*/ 1164 h 1253"/>
                <a:gd name="T50" fmla="*/ 1525 w 1809"/>
                <a:gd name="T51" fmla="*/ 1142 h 1253"/>
                <a:gd name="T52" fmla="*/ 1556 w 1809"/>
                <a:gd name="T53" fmla="*/ 1172 h 1253"/>
                <a:gd name="T54" fmla="*/ 1387 w 1809"/>
                <a:gd name="T55" fmla="*/ 910 h 1253"/>
                <a:gd name="T56" fmla="*/ 1261 w 1809"/>
                <a:gd name="T57" fmla="*/ 1157 h 1253"/>
                <a:gd name="T58" fmla="*/ 1413 w 1809"/>
                <a:gd name="T59" fmla="*/ 934 h 1253"/>
                <a:gd name="T60" fmla="*/ 1378 w 1809"/>
                <a:gd name="T61" fmla="*/ 1052 h 1253"/>
                <a:gd name="T62" fmla="*/ 488 w 1809"/>
                <a:gd name="T63" fmla="*/ 85 h 1253"/>
                <a:gd name="T64" fmla="*/ 509 w 1809"/>
                <a:gd name="T65" fmla="*/ 112 h 1253"/>
                <a:gd name="T66" fmla="*/ 548 w 1809"/>
                <a:gd name="T67" fmla="*/ 1187 h 1253"/>
                <a:gd name="T68" fmla="*/ 472 w 1809"/>
                <a:gd name="T69" fmla="*/ 1122 h 1253"/>
                <a:gd name="T70" fmla="*/ 558 w 1809"/>
                <a:gd name="T71" fmla="*/ 1157 h 1253"/>
                <a:gd name="T72" fmla="*/ 287 w 1809"/>
                <a:gd name="T73" fmla="*/ 654 h 1253"/>
                <a:gd name="T74" fmla="*/ 416 w 1809"/>
                <a:gd name="T75" fmla="*/ 684 h 1253"/>
                <a:gd name="T76" fmla="*/ 1106 w 1809"/>
                <a:gd name="T77" fmla="*/ 147 h 1253"/>
                <a:gd name="T78" fmla="*/ 1229 w 1809"/>
                <a:gd name="T79" fmla="*/ 258 h 1253"/>
                <a:gd name="T80" fmla="*/ 1106 w 1809"/>
                <a:gd name="T81" fmla="*/ 96 h 1253"/>
                <a:gd name="T82" fmla="*/ 1219 w 1809"/>
                <a:gd name="T83" fmla="*/ 1077 h 1253"/>
                <a:gd name="T84" fmla="*/ 1214 w 1809"/>
                <a:gd name="T85" fmla="*/ 1157 h 1253"/>
                <a:gd name="T86" fmla="*/ 1150 w 1809"/>
                <a:gd name="T87" fmla="*/ 1092 h 1253"/>
                <a:gd name="T88" fmla="*/ 1139 w 1809"/>
                <a:gd name="T89" fmla="*/ 1070 h 1253"/>
                <a:gd name="T90" fmla="*/ 1659 w 1809"/>
                <a:gd name="T91" fmla="*/ 1031 h 1253"/>
                <a:gd name="T92" fmla="*/ 1714 w 1809"/>
                <a:gd name="T93" fmla="*/ 1155 h 1253"/>
                <a:gd name="T94" fmla="*/ 1760 w 1809"/>
                <a:gd name="T95" fmla="*/ 1030 h 1253"/>
                <a:gd name="T96" fmla="*/ 111 w 1809"/>
                <a:gd name="T97" fmla="*/ 569 h 1253"/>
                <a:gd name="T98" fmla="*/ 109 w 1809"/>
                <a:gd name="T99" fmla="*/ 460 h 1253"/>
                <a:gd name="T100" fmla="*/ 32 w 1809"/>
                <a:gd name="T101" fmla="*/ 704 h 1253"/>
                <a:gd name="T102" fmla="*/ 310 w 1809"/>
                <a:gd name="T103" fmla="*/ 1058 h 1253"/>
                <a:gd name="T104" fmla="*/ 431 w 1809"/>
                <a:gd name="T105" fmla="*/ 1044 h 1253"/>
                <a:gd name="T106" fmla="*/ 278 w 1809"/>
                <a:gd name="T107" fmla="*/ 1165 h 1253"/>
                <a:gd name="T108" fmla="*/ 261 w 1809"/>
                <a:gd name="T109" fmla="*/ 540 h 1253"/>
                <a:gd name="T110" fmla="*/ 150 w 1809"/>
                <a:gd name="T111" fmla="*/ 635 h 1253"/>
                <a:gd name="T112" fmla="*/ 994 w 1809"/>
                <a:gd name="T113" fmla="*/ 1185 h 1253"/>
                <a:gd name="T114" fmla="*/ 331 w 1809"/>
                <a:gd name="T115" fmla="*/ 176 h 1253"/>
                <a:gd name="T116" fmla="*/ 333 w 1809"/>
                <a:gd name="T117" fmla="*/ 109 h 1253"/>
                <a:gd name="T118" fmla="*/ 946 w 1809"/>
                <a:gd name="T119" fmla="*/ 234 h 1253"/>
                <a:gd name="T120" fmla="*/ 1022 w 1809"/>
                <a:gd name="T121" fmla="*/ 113 h 1253"/>
                <a:gd name="T122" fmla="*/ 949 w 1809"/>
                <a:gd name="T123" fmla="*/ 65 h 1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09" h="1253">
                  <a:moveTo>
                    <a:pt x="248" y="198"/>
                  </a:moveTo>
                  <a:cubicBezTo>
                    <a:pt x="248" y="211"/>
                    <a:pt x="248" y="224"/>
                    <a:pt x="249" y="237"/>
                  </a:cubicBezTo>
                  <a:cubicBezTo>
                    <a:pt x="249" y="245"/>
                    <a:pt x="246" y="249"/>
                    <a:pt x="240" y="253"/>
                  </a:cubicBezTo>
                  <a:cubicBezTo>
                    <a:pt x="231" y="260"/>
                    <a:pt x="220" y="264"/>
                    <a:pt x="209" y="268"/>
                  </a:cubicBezTo>
                  <a:cubicBezTo>
                    <a:pt x="179" y="279"/>
                    <a:pt x="148" y="280"/>
                    <a:pt x="118" y="275"/>
                  </a:cubicBezTo>
                  <a:cubicBezTo>
                    <a:pt x="86" y="269"/>
                    <a:pt x="58" y="252"/>
                    <a:pt x="39" y="224"/>
                  </a:cubicBezTo>
                  <a:cubicBezTo>
                    <a:pt x="24" y="203"/>
                    <a:pt x="18" y="180"/>
                    <a:pt x="15" y="155"/>
                  </a:cubicBezTo>
                  <a:cubicBezTo>
                    <a:pt x="11" y="135"/>
                    <a:pt x="15" y="115"/>
                    <a:pt x="19" y="97"/>
                  </a:cubicBezTo>
                  <a:cubicBezTo>
                    <a:pt x="26" y="68"/>
                    <a:pt x="42" y="44"/>
                    <a:pt x="68" y="27"/>
                  </a:cubicBezTo>
                  <a:cubicBezTo>
                    <a:pt x="87" y="14"/>
                    <a:pt x="109" y="6"/>
                    <a:pt x="133" y="5"/>
                  </a:cubicBezTo>
                  <a:cubicBezTo>
                    <a:pt x="149" y="4"/>
                    <a:pt x="165" y="5"/>
                    <a:pt x="181" y="6"/>
                  </a:cubicBezTo>
                  <a:cubicBezTo>
                    <a:pt x="204" y="8"/>
                    <a:pt x="225" y="20"/>
                    <a:pt x="243" y="35"/>
                  </a:cubicBezTo>
                  <a:cubicBezTo>
                    <a:pt x="246" y="37"/>
                    <a:pt x="246" y="40"/>
                    <a:pt x="244" y="43"/>
                  </a:cubicBezTo>
                  <a:cubicBezTo>
                    <a:pt x="242" y="47"/>
                    <a:pt x="239" y="52"/>
                    <a:pt x="236" y="55"/>
                  </a:cubicBezTo>
                  <a:cubicBezTo>
                    <a:pt x="226" y="65"/>
                    <a:pt x="224" y="65"/>
                    <a:pt x="206" y="54"/>
                  </a:cubicBezTo>
                  <a:cubicBezTo>
                    <a:pt x="193" y="46"/>
                    <a:pt x="180" y="40"/>
                    <a:pt x="165" y="41"/>
                  </a:cubicBezTo>
                  <a:cubicBezTo>
                    <a:pt x="151" y="41"/>
                    <a:pt x="137" y="39"/>
                    <a:pt x="124" y="42"/>
                  </a:cubicBezTo>
                  <a:cubicBezTo>
                    <a:pt x="104" y="46"/>
                    <a:pt x="87" y="57"/>
                    <a:pt x="75" y="74"/>
                  </a:cubicBezTo>
                  <a:cubicBezTo>
                    <a:pt x="56" y="99"/>
                    <a:pt x="51" y="129"/>
                    <a:pt x="55" y="159"/>
                  </a:cubicBezTo>
                  <a:cubicBezTo>
                    <a:pt x="60" y="189"/>
                    <a:pt x="73" y="214"/>
                    <a:pt x="98" y="230"/>
                  </a:cubicBezTo>
                  <a:cubicBezTo>
                    <a:pt x="109" y="237"/>
                    <a:pt x="121" y="242"/>
                    <a:pt x="135" y="241"/>
                  </a:cubicBezTo>
                  <a:cubicBezTo>
                    <a:pt x="146" y="241"/>
                    <a:pt x="158" y="241"/>
                    <a:pt x="169" y="241"/>
                  </a:cubicBezTo>
                  <a:cubicBezTo>
                    <a:pt x="182" y="242"/>
                    <a:pt x="193" y="235"/>
                    <a:pt x="205" y="232"/>
                  </a:cubicBezTo>
                  <a:cubicBezTo>
                    <a:pt x="210" y="231"/>
                    <a:pt x="211" y="227"/>
                    <a:pt x="211" y="224"/>
                  </a:cubicBezTo>
                  <a:cubicBezTo>
                    <a:pt x="211" y="210"/>
                    <a:pt x="211" y="196"/>
                    <a:pt x="211" y="183"/>
                  </a:cubicBezTo>
                  <a:cubicBezTo>
                    <a:pt x="211" y="177"/>
                    <a:pt x="207" y="175"/>
                    <a:pt x="202" y="175"/>
                  </a:cubicBezTo>
                  <a:cubicBezTo>
                    <a:pt x="193" y="175"/>
                    <a:pt x="184" y="175"/>
                    <a:pt x="175" y="175"/>
                  </a:cubicBezTo>
                  <a:cubicBezTo>
                    <a:pt x="171" y="175"/>
                    <a:pt x="168" y="174"/>
                    <a:pt x="166" y="171"/>
                  </a:cubicBezTo>
                  <a:cubicBezTo>
                    <a:pt x="163" y="163"/>
                    <a:pt x="164" y="154"/>
                    <a:pt x="166" y="146"/>
                  </a:cubicBezTo>
                  <a:cubicBezTo>
                    <a:pt x="167" y="142"/>
                    <a:pt x="171" y="142"/>
                    <a:pt x="175" y="142"/>
                  </a:cubicBezTo>
                  <a:cubicBezTo>
                    <a:pt x="196" y="142"/>
                    <a:pt x="217" y="142"/>
                    <a:pt x="238" y="142"/>
                  </a:cubicBezTo>
                  <a:cubicBezTo>
                    <a:pt x="247" y="142"/>
                    <a:pt x="248" y="148"/>
                    <a:pt x="248" y="155"/>
                  </a:cubicBezTo>
                  <a:cubicBezTo>
                    <a:pt x="249" y="169"/>
                    <a:pt x="248" y="183"/>
                    <a:pt x="248" y="198"/>
                  </a:cubicBezTo>
                  <a:close/>
                  <a:moveTo>
                    <a:pt x="884" y="1181"/>
                  </a:moveTo>
                  <a:cubicBezTo>
                    <a:pt x="889" y="1167"/>
                    <a:pt x="894" y="1152"/>
                    <a:pt x="898" y="1137"/>
                  </a:cubicBezTo>
                  <a:cubicBezTo>
                    <a:pt x="901" y="1127"/>
                    <a:pt x="905" y="1116"/>
                    <a:pt x="908" y="1106"/>
                  </a:cubicBezTo>
                  <a:cubicBezTo>
                    <a:pt x="911" y="1098"/>
                    <a:pt x="912" y="1089"/>
                    <a:pt x="916" y="1081"/>
                  </a:cubicBezTo>
                  <a:cubicBezTo>
                    <a:pt x="921" y="1072"/>
                    <a:pt x="923" y="1060"/>
                    <a:pt x="927" y="1050"/>
                  </a:cubicBezTo>
                  <a:cubicBezTo>
                    <a:pt x="932" y="1037"/>
                    <a:pt x="934" y="1023"/>
                    <a:pt x="940" y="1010"/>
                  </a:cubicBezTo>
                  <a:cubicBezTo>
                    <a:pt x="945" y="1001"/>
                    <a:pt x="941" y="995"/>
                    <a:pt x="931" y="995"/>
                  </a:cubicBezTo>
                  <a:cubicBezTo>
                    <a:pt x="927" y="995"/>
                    <a:pt x="922" y="995"/>
                    <a:pt x="918" y="995"/>
                  </a:cubicBezTo>
                  <a:cubicBezTo>
                    <a:pt x="913" y="995"/>
                    <a:pt x="908" y="997"/>
                    <a:pt x="907" y="1001"/>
                  </a:cubicBezTo>
                  <a:cubicBezTo>
                    <a:pt x="904" y="1008"/>
                    <a:pt x="900" y="1015"/>
                    <a:pt x="899" y="1023"/>
                  </a:cubicBezTo>
                  <a:cubicBezTo>
                    <a:pt x="897" y="1034"/>
                    <a:pt x="893" y="1045"/>
                    <a:pt x="889" y="1055"/>
                  </a:cubicBezTo>
                  <a:cubicBezTo>
                    <a:pt x="887" y="1064"/>
                    <a:pt x="885" y="1072"/>
                    <a:pt x="882" y="1080"/>
                  </a:cubicBezTo>
                  <a:cubicBezTo>
                    <a:pt x="878" y="1091"/>
                    <a:pt x="874" y="1103"/>
                    <a:pt x="871" y="1115"/>
                  </a:cubicBezTo>
                  <a:cubicBezTo>
                    <a:pt x="870" y="1118"/>
                    <a:pt x="871" y="1124"/>
                    <a:pt x="866" y="1124"/>
                  </a:cubicBezTo>
                  <a:cubicBezTo>
                    <a:pt x="861" y="1125"/>
                    <a:pt x="859" y="1120"/>
                    <a:pt x="858" y="1115"/>
                  </a:cubicBezTo>
                  <a:cubicBezTo>
                    <a:pt x="856" y="1110"/>
                    <a:pt x="856" y="1104"/>
                    <a:pt x="854" y="1099"/>
                  </a:cubicBezTo>
                  <a:cubicBezTo>
                    <a:pt x="848" y="1080"/>
                    <a:pt x="841" y="1062"/>
                    <a:pt x="835" y="1044"/>
                  </a:cubicBezTo>
                  <a:cubicBezTo>
                    <a:pt x="831" y="1030"/>
                    <a:pt x="828" y="1016"/>
                    <a:pt x="822" y="1003"/>
                  </a:cubicBezTo>
                  <a:cubicBezTo>
                    <a:pt x="819" y="997"/>
                    <a:pt x="814" y="994"/>
                    <a:pt x="808" y="994"/>
                  </a:cubicBezTo>
                  <a:cubicBezTo>
                    <a:pt x="799" y="993"/>
                    <a:pt x="791" y="993"/>
                    <a:pt x="787" y="1001"/>
                  </a:cubicBezTo>
                  <a:cubicBezTo>
                    <a:pt x="783" y="1008"/>
                    <a:pt x="780" y="1015"/>
                    <a:pt x="779" y="1022"/>
                  </a:cubicBezTo>
                  <a:cubicBezTo>
                    <a:pt x="778" y="1034"/>
                    <a:pt x="772" y="1044"/>
                    <a:pt x="769" y="1055"/>
                  </a:cubicBezTo>
                  <a:cubicBezTo>
                    <a:pt x="762" y="1076"/>
                    <a:pt x="754" y="1096"/>
                    <a:pt x="749" y="1117"/>
                  </a:cubicBezTo>
                  <a:cubicBezTo>
                    <a:pt x="748" y="1120"/>
                    <a:pt x="747" y="1124"/>
                    <a:pt x="742" y="1124"/>
                  </a:cubicBezTo>
                  <a:cubicBezTo>
                    <a:pt x="737" y="1124"/>
                    <a:pt x="737" y="1120"/>
                    <a:pt x="736" y="1116"/>
                  </a:cubicBezTo>
                  <a:cubicBezTo>
                    <a:pt x="734" y="1104"/>
                    <a:pt x="730" y="1092"/>
                    <a:pt x="726" y="1080"/>
                  </a:cubicBezTo>
                  <a:cubicBezTo>
                    <a:pt x="720" y="1061"/>
                    <a:pt x="714" y="1040"/>
                    <a:pt x="708" y="1020"/>
                  </a:cubicBezTo>
                  <a:cubicBezTo>
                    <a:pt x="703" y="1000"/>
                    <a:pt x="698" y="994"/>
                    <a:pt x="676" y="995"/>
                  </a:cubicBezTo>
                  <a:cubicBezTo>
                    <a:pt x="665" y="996"/>
                    <a:pt x="661" y="1001"/>
                    <a:pt x="667" y="1011"/>
                  </a:cubicBezTo>
                  <a:cubicBezTo>
                    <a:pt x="669" y="1016"/>
                    <a:pt x="670" y="1021"/>
                    <a:pt x="672" y="1025"/>
                  </a:cubicBezTo>
                  <a:cubicBezTo>
                    <a:pt x="675" y="1035"/>
                    <a:pt x="678" y="1046"/>
                    <a:pt x="681" y="1055"/>
                  </a:cubicBezTo>
                  <a:cubicBezTo>
                    <a:pt x="685" y="1068"/>
                    <a:pt x="689" y="1080"/>
                    <a:pt x="693" y="1092"/>
                  </a:cubicBezTo>
                  <a:cubicBezTo>
                    <a:pt x="697" y="1103"/>
                    <a:pt x="699" y="1113"/>
                    <a:pt x="703" y="1124"/>
                  </a:cubicBezTo>
                  <a:cubicBezTo>
                    <a:pt x="707" y="1136"/>
                    <a:pt x="711" y="1147"/>
                    <a:pt x="715" y="1160"/>
                  </a:cubicBezTo>
                  <a:cubicBezTo>
                    <a:pt x="717" y="1168"/>
                    <a:pt x="720" y="1176"/>
                    <a:pt x="724" y="1183"/>
                  </a:cubicBezTo>
                  <a:cubicBezTo>
                    <a:pt x="728" y="1189"/>
                    <a:pt x="752" y="1185"/>
                    <a:pt x="757" y="1180"/>
                  </a:cubicBezTo>
                  <a:cubicBezTo>
                    <a:pt x="764" y="1173"/>
                    <a:pt x="762" y="1163"/>
                    <a:pt x="766" y="1156"/>
                  </a:cubicBezTo>
                  <a:cubicBezTo>
                    <a:pt x="774" y="1140"/>
                    <a:pt x="778" y="1122"/>
                    <a:pt x="784" y="1105"/>
                  </a:cubicBezTo>
                  <a:cubicBezTo>
                    <a:pt x="789" y="1088"/>
                    <a:pt x="796" y="1072"/>
                    <a:pt x="800" y="1054"/>
                  </a:cubicBezTo>
                  <a:cubicBezTo>
                    <a:pt x="800" y="1053"/>
                    <a:pt x="801" y="1050"/>
                    <a:pt x="803" y="1050"/>
                  </a:cubicBezTo>
                  <a:cubicBezTo>
                    <a:pt x="806" y="1050"/>
                    <a:pt x="806" y="1052"/>
                    <a:pt x="807" y="1055"/>
                  </a:cubicBezTo>
                  <a:cubicBezTo>
                    <a:pt x="807" y="1060"/>
                    <a:pt x="810" y="1066"/>
                    <a:pt x="811" y="1071"/>
                  </a:cubicBezTo>
                  <a:cubicBezTo>
                    <a:pt x="814" y="1081"/>
                    <a:pt x="818" y="1090"/>
                    <a:pt x="821" y="1099"/>
                  </a:cubicBezTo>
                  <a:cubicBezTo>
                    <a:pt x="824" y="1110"/>
                    <a:pt x="827" y="1120"/>
                    <a:pt x="831" y="1131"/>
                  </a:cubicBezTo>
                  <a:cubicBezTo>
                    <a:pt x="834" y="1142"/>
                    <a:pt x="839" y="1153"/>
                    <a:pt x="842" y="1164"/>
                  </a:cubicBezTo>
                  <a:cubicBezTo>
                    <a:pt x="846" y="1179"/>
                    <a:pt x="850" y="1188"/>
                    <a:pt x="869" y="1185"/>
                  </a:cubicBezTo>
                  <a:cubicBezTo>
                    <a:pt x="873" y="1184"/>
                    <a:pt x="881" y="1189"/>
                    <a:pt x="884" y="1181"/>
                  </a:cubicBezTo>
                  <a:close/>
                  <a:moveTo>
                    <a:pt x="33" y="1051"/>
                  </a:moveTo>
                  <a:cubicBezTo>
                    <a:pt x="33" y="1087"/>
                    <a:pt x="33" y="1124"/>
                    <a:pt x="33" y="1160"/>
                  </a:cubicBezTo>
                  <a:cubicBezTo>
                    <a:pt x="33" y="1188"/>
                    <a:pt x="29" y="1184"/>
                    <a:pt x="58" y="1185"/>
                  </a:cubicBezTo>
                  <a:cubicBezTo>
                    <a:pt x="72" y="1185"/>
                    <a:pt x="73" y="1184"/>
                    <a:pt x="73" y="1170"/>
                  </a:cubicBezTo>
                  <a:cubicBezTo>
                    <a:pt x="73" y="1138"/>
                    <a:pt x="73" y="1107"/>
                    <a:pt x="73" y="1076"/>
                  </a:cubicBezTo>
                  <a:cubicBezTo>
                    <a:pt x="73" y="1071"/>
                    <a:pt x="72" y="1067"/>
                    <a:pt x="78" y="1065"/>
                  </a:cubicBezTo>
                  <a:cubicBezTo>
                    <a:pt x="91" y="1062"/>
                    <a:pt x="102" y="1067"/>
                    <a:pt x="110" y="1076"/>
                  </a:cubicBezTo>
                  <a:cubicBezTo>
                    <a:pt x="112" y="1080"/>
                    <a:pt x="115" y="1083"/>
                    <a:pt x="118" y="1086"/>
                  </a:cubicBezTo>
                  <a:cubicBezTo>
                    <a:pt x="132" y="1103"/>
                    <a:pt x="146" y="1119"/>
                    <a:pt x="161" y="1136"/>
                  </a:cubicBezTo>
                  <a:cubicBezTo>
                    <a:pt x="173" y="1150"/>
                    <a:pt x="186" y="1165"/>
                    <a:pt x="198" y="1179"/>
                  </a:cubicBezTo>
                  <a:cubicBezTo>
                    <a:pt x="207" y="1188"/>
                    <a:pt x="218" y="1184"/>
                    <a:pt x="228" y="1185"/>
                  </a:cubicBezTo>
                  <a:cubicBezTo>
                    <a:pt x="233" y="1185"/>
                    <a:pt x="241" y="1188"/>
                    <a:pt x="244" y="1182"/>
                  </a:cubicBezTo>
                  <a:cubicBezTo>
                    <a:pt x="246" y="1178"/>
                    <a:pt x="239" y="1173"/>
                    <a:pt x="235" y="1169"/>
                  </a:cubicBezTo>
                  <a:cubicBezTo>
                    <a:pt x="206" y="1133"/>
                    <a:pt x="176" y="1098"/>
                    <a:pt x="146" y="1062"/>
                  </a:cubicBezTo>
                  <a:cubicBezTo>
                    <a:pt x="141" y="1056"/>
                    <a:pt x="131" y="1052"/>
                    <a:pt x="132" y="1044"/>
                  </a:cubicBezTo>
                  <a:cubicBezTo>
                    <a:pt x="132" y="1036"/>
                    <a:pt x="142" y="1032"/>
                    <a:pt x="147" y="1026"/>
                  </a:cubicBezTo>
                  <a:cubicBezTo>
                    <a:pt x="164" y="1006"/>
                    <a:pt x="182" y="988"/>
                    <a:pt x="198" y="968"/>
                  </a:cubicBezTo>
                  <a:cubicBezTo>
                    <a:pt x="209" y="954"/>
                    <a:pt x="221" y="942"/>
                    <a:pt x="234" y="929"/>
                  </a:cubicBezTo>
                  <a:cubicBezTo>
                    <a:pt x="236" y="926"/>
                    <a:pt x="238" y="923"/>
                    <a:pt x="237" y="920"/>
                  </a:cubicBezTo>
                  <a:cubicBezTo>
                    <a:pt x="235" y="915"/>
                    <a:pt x="231" y="917"/>
                    <a:pt x="228" y="917"/>
                  </a:cubicBezTo>
                  <a:cubicBezTo>
                    <a:pt x="224" y="918"/>
                    <a:pt x="221" y="918"/>
                    <a:pt x="217" y="918"/>
                  </a:cubicBezTo>
                  <a:cubicBezTo>
                    <a:pt x="204" y="917"/>
                    <a:pt x="193" y="922"/>
                    <a:pt x="185" y="931"/>
                  </a:cubicBezTo>
                  <a:cubicBezTo>
                    <a:pt x="172" y="946"/>
                    <a:pt x="158" y="961"/>
                    <a:pt x="145" y="977"/>
                  </a:cubicBezTo>
                  <a:cubicBezTo>
                    <a:pt x="131" y="993"/>
                    <a:pt x="117" y="1010"/>
                    <a:pt x="102" y="1026"/>
                  </a:cubicBezTo>
                  <a:cubicBezTo>
                    <a:pt x="96" y="1032"/>
                    <a:pt x="87" y="1037"/>
                    <a:pt x="78" y="1034"/>
                  </a:cubicBezTo>
                  <a:cubicBezTo>
                    <a:pt x="70" y="1030"/>
                    <a:pt x="73" y="1021"/>
                    <a:pt x="73" y="1015"/>
                  </a:cubicBezTo>
                  <a:cubicBezTo>
                    <a:pt x="73" y="991"/>
                    <a:pt x="73" y="967"/>
                    <a:pt x="73" y="944"/>
                  </a:cubicBezTo>
                  <a:cubicBezTo>
                    <a:pt x="73" y="916"/>
                    <a:pt x="75" y="917"/>
                    <a:pt x="46" y="918"/>
                  </a:cubicBezTo>
                  <a:cubicBezTo>
                    <a:pt x="33" y="918"/>
                    <a:pt x="33" y="918"/>
                    <a:pt x="33" y="931"/>
                  </a:cubicBezTo>
                  <a:cubicBezTo>
                    <a:pt x="33" y="971"/>
                    <a:pt x="33" y="1011"/>
                    <a:pt x="33" y="1051"/>
                  </a:cubicBezTo>
                  <a:cubicBezTo>
                    <a:pt x="33" y="1051"/>
                    <a:pt x="33" y="1051"/>
                    <a:pt x="33" y="1051"/>
                  </a:cubicBezTo>
                  <a:close/>
                  <a:moveTo>
                    <a:pt x="639" y="84"/>
                  </a:moveTo>
                  <a:cubicBezTo>
                    <a:pt x="627" y="84"/>
                    <a:pt x="626" y="84"/>
                    <a:pt x="629" y="95"/>
                  </a:cubicBezTo>
                  <a:cubicBezTo>
                    <a:pt x="634" y="113"/>
                    <a:pt x="640" y="131"/>
                    <a:pt x="646" y="148"/>
                  </a:cubicBezTo>
                  <a:cubicBezTo>
                    <a:pt x="652" y="166"/>
                    <a:pt x="658" y="185"/>
                    <a:pt x="664" y="203"/>
                  </a:cubicBezTo>
                  <a:cubicBezTo>
                    <a:pt x="671" y="223"/>
                    <a:pt x="676" y="244"/>
                    <a:pt x="684" y="264"/>
                  </a:cubicBezTo>
                  <a:cubicBezTo>
                    <a:pt x="688" y="274"/>
                    <a:pt x="694" y="274"/>
                    <a:pt x="702" y="274"/>
                  </a:cubicBezTo>
                  <a:cubicBezTo>
                    <a:pt x="711" y="274"/>
                    <a:pt x="719" y="272"/>
                    <a:pt x="723" y="263"/>
                  </a:cubicBezTo>
                  <a:cubicBezTo>
                    <a:pt x="733" y="236"/>
                    <a:pt x="741" y="208"/>
                    <a:pt x="750" y="181"/>
                  </a:cubicBezTo>
                  <a:cubicBezTo>
                    <a:pt x="754" y="169"/>
                    <a:pt x="757" y="156"/>
                    <a:pt x="763" y="145"/>
                  </a:cubicBezTo>
                  <a:cubicBezTo>
                    <a:pt x="764" y="143"/>
                    <a:pt x="764" y="140"/>
                    <a:pt x="767" y="140"/>
                  </a:cubicBezTo>
                  <a:cubicBezTo>
                    <a:pt x="770" y="140"/>
                    <a:pt x="770" y="143"/>
                    <a:pt x="771" y="145"/>
                  </a:cubicBezTo>
                  <a:cubicBezTo>
                    <a:pt x="771" y="156"/>
                    <a:pt x="777" y="165"/>
                    <a:pt x="780" y="175"/>
                  </a:cubicBezTo>
                  <a:cubicBezTo>
                    <a:pt x="782" y="184"/>
                    <a:pt x="785" y="193"/>
                    <a:pt x="788" y="201"/>
                  </a:cubicBezTo>
                  <a:cubicBezTo>
                    <a:pt x="794" y="219"/>
                    <a:pt x="801" y="237"/>
                    <a:pt x="806" y="255"/>
                  </a:cubicBezTo>
                  <a:cubicBezTo>
                    <a:pt x="811" y="272"/>
                    <a:pt x="825" y="280"/>
                    <a:pt x="842" y="273"/>
                  </a:cubicBezTo>
                  <a:cubicBezTo>
                    <a:pt x="845" y="271"/>
                    <a:pt x="847" y="269"/>
                    <a:pt x="848" y="266"/>
                  </a:cubicBezTo>
                  <a:cubicBezTo>
                    <a:pt x="853" y="251"/>
                    <a:pt x="859" y="236"/>
                    <a:pt x="863" y="221"/>
                  </a:cubicBezTo>
                  <a:cubicBezTo>
                    <a:pt x="867" y="202"/>
                    <a:pt x="875" y="185"/>
                    <a:pt x="880" y="166"/>
                  </a:cubicBezTo>
                  <a:cubicBezTo>
                    <a:pt x="886" y="144"/>
                    <a:pt x="895" y="123"/>
                    <a:pt x="900" y="101"/>
                  </a:cubicBezTo>
                  <a:cubicBezTo>
                    <a:pt x="901" y="96"/>
                    <a:pt x="909" y="91"/>
                    <a:pt x="904" y="86"/>
                  </a:cubicBezTo>
                  <a:cubicBezTo>
                    <a:pt x="900" y="81"/>
                    <a:pt x="892" y="84"/>
                    <a:pt x="886" y="84"/>
                  </a:cubicBezTo>
                  <a:cubicBezTo>
                    <a:pt x="885" y="84"/>
                    <a:pt x="883" y="84"/>
                    <a:pt x="881" y="84"/>
                  </a:cubicBezTo>
                  <a:cubicBezTo>
                    <a:pt x="875" y="84"/>
                    <a:pt x="872" y="86"/>
                    <a:pt x="869" y="91"/>
                  </a:cubicBezTo>
                  <a:cubicBezTo>
                    <a:pt x="860" y="110"/>
                    <a:pt x="856" y="131"/>
                    <a:pt x="850" y="151"/>
                  </a:cubicBezTo>
                  <a:cubicBezTo>
                    <a:pt x="844" y="170"/>
                    <a:pt x="836" y="188"/>
                    <a:pt x="834" y="208"/>
                  </a:cubicBezTo>
                  <a:cubicBezTo>
                    <a:pt x="833" y="211"/>
                    <a:pt x="831" y="214"/>
                    <a:pt x="827" y="214"/>
                  </a:cubicBezTo>
                  <a:cubicBezTo>
                    <a:pt x="823" y="214"/>
                    <a:pt x="822" y="210"/>
                    <a:pt x="822" y="207"/>
                  </a:cubicBezTo>
                  <a:cubicBezTo>
                    <a:pt x="817" y="188"/>
                    <a:pt x="811" y="170"/>
                    <a:pt x="805" y="152"/>
                  </a:cubicBezTo>
                  <a:cubicBezTo>
                    <a:pt x="799" y="133"/>
                    <a:pt x="794" y="114"/>
                    <a:pt x="786" y="96"/>
                  </a:cubicBezTo>
                  <a:cubicBezTo>
                    <a:pt x="783" y="87"/>
                    <a:pt x="779" y="84"/>
                    <a:pt x="770" y="84"/>
                  </a:cubicBezTo>
                  <a:cubicBezTo>
                    <a:pt x="761" y="84"/>
                    <a:pt x="752" y="82"/>
                    <a:pt x="748" y="94"/>
                  </a:cubicBezTo>
                  <a:cubicBezTo>
                    <a:pt x="744" y="109"/>
                    <a:pt x="738" y="123"/>
                    <a:pt x="734" y="138"/>
                  </a:cubicBezTo>
                  <a:cubicBezTo>
                    <a:pt x="729" y="153"/>
                    <a:pt x="724" y="167"/>
                    <a:pt x="719" y="182"/>
                  </a:cubicBezTo>
                  <a:cubicBezTo>
                    <a:pt x="716" y="192"/>
                    <a:pt x="715" y="203"/>
                    <a:pt x="708" y="212"/>
                  </a:cubicBezTo>
                  <a:cubicBezTo>
                    <a:pt x="707" y="214"/>
                    <a:pt x="707" y="217"/>
                    <a:pt x="704" y="217"/>
                  </a:cubicBezTo>
                  <a:cubicBezTo>
                    <a:pt x="701" y="217"/>
                    <a:pt x="701" y="213"/>
                    <a:pt x="700" y="211"/>
                  </a:cubicBezTo>
                  <a:cubicBezTo>
                    <a:pt x="699" y="198"/>
                    <a:pt x="694" y="186"/>
                    <a:pt x="690" y="174"/>
                  </a:cubicBezTo>
                  <a:cubicBezTo>
                    <a:pt x="684" y="153"/>
                    <a:pt x="677" y="131"/>
                    <a:pt x="672" y="110"/>
                  </a:cubicBezTo>
                  <a:cubicBezTo>
                    <a:pt x="667" y="88"/>
                    <a:pt x="663" y="84"/>
                    <a:pt x="645" y="84"/>
                  </a:cubicBezTo>
                  <a:cubicBezTo>
                    <a:pt x="643" y="84"/>
                    <a:pt x="641" y="84"/>
                    <a:pt x="639" y="84"/>
                  </a:cubicBezTo>
                  <a:close/>
                  <a:moveTo>
                    <a:pt x="507" y="711"/>
                  </a:moveTo>
                  <a:cubicBezTo>
                    <a:pt x="507" y="730"/>
                    <a:pt x="507" y="730"/>
                    <a:pt x="526" y="730"/>
                  </a:cubicBezTo>
                  <a:cubicBezTo>
                    <a:pt x="539" y="730"/>
                    <a:pt x="541" y="729"/>
                    <a:pt x="541" y="715"/>
                  </a:cubicBezTo>
                  <a:cubicBezTo>
                    <a:pt x="541" y="677"/>
                    <a:pt x="541" y="638"/>
                    <a:pt x="540" y="600"/>
                  </a:cubicBezTo>
                  <a:cubicBezTo>
                    <a:pt x="540" y="593"/>
                    <a:pt x="543" y="587"/>
                    <a:pt x="548" y="582"/>
                  </a:cubicBezTo>
                  <a:cubicBezTo>
                    <a:pt x="553" y="576"/>
                    <a:pt x="559" y="573"/>
                    <a:pt x="564" y="569"/>
                  </a:cubicBezTo>
                  <a:cubicBezTo>
                    <a:pt x="574" y="564"/>
                    <a:pt x="594" y="566"/>
                    <a:pt x="602" y="574"/>
                  </a:cubicBezTo>
                  <a:cubicBezTo>
                    <a:pt x="611" y="582"/>
                    <a:pt x="614" y="592"/>
                    <a:pt x="614" y="604"/>
                  </a:cubicBezTo>
                  <a:cubicBezTo>
                    <a:pt x="614" y="638"/>
                    <a:pt x="614" y="672"/>
                    <a:pt x="614" y="706"/>
                  </a:cubicBezTo>
                  <a:cubicBezTo>
                    <a:pt x="614" y="730"/>
                    <a:pt x="614" y="730"/>
                    <a:pt x="638" y="730"/>
                  </a:cubicBezTo>
                  <a:cubicBezTo>
                    <a:pt x="650" y="730"/>
                    <a:pt x="650" y="730"/>
                    <a:pt x="650" y="717"/>
                  </a:cubicBezTo>
                  <a:cubicBezTo>
                    <a:pt x="650" y="684"/>
                    <a:pt x="650" y="650"/>
                    <a:pt x="650" y="617"/>
                  </a:cubicBezTo>
                  <a:cubicBezTo>
                    <a:pt x="650" y="606"/>
                    <a:pt x="651" y="597"/>
                    <a:pt x="657" y="586"/>
                  </a:cubicBezTo>
                  <a:cubicBezTo>
                    <a:pt x="667" y="565"/>
                    <a:pt x="703" y="560"/>
                    <a:pt x="716" y="579"/>
                  </a:cubicBezTo>
                  <a:cubicBezTo>
                    <a:pt x="723" y="588"/>
                    <a:pt x="724" y="598"/>
                    <a:pt x="724" y="609"/>
                  </a:cubicBezTo>
                  <a:cubicBezTo>
                    <a:pt x="724" y="645"/>
                    <a:pt x="724" y="682"/>
                    <a:pt x="724" y="718"/>
                  </a:cubicBezTo>
                  <a:cubicBezTo>
                    <a:pt x="724" y="727"/>
                    <a:pt x="727" y="731"/>
                    <a:pt x="736" y="730"/>
                  </a:cubicBezTo>
                  <a:cubicBezTo>
                    <a:pt x="738" y="730"/>
                    <a:pt x="741" y="730"/>
                    <a:pt x="743" y="730"/>
                  </a:cubicBezTo>
                  <a:cubicBezTo>
                    <a:pt x="758" y="730"/>
                    <a:pt x="759" y="729"/>
                    <a:pt x="759" y="715"/>
                  </a:cubicBezTo>
                  <a:cubicBezTo>
                    <a:pt x="759" y="677"/>
                    <a:pt x="758" y="639"/>
                    <a:pt x="759" y="601"/>
                  </a:cubicBezTo>
                  <a:cubicBezTo>
                    <a:pt x="759" y="571"/>
                    <a:pt x="742" y="540"/>
                    <a:pt x="704" y="538"/>
                  </a:cubicBezTo>
                  <a:cubicBezTo>
                    <a:pt x="681" y="536"/>
                    <a:pt x="661" y="542"/>
                    <a:pt x="646" y="560"/>
                  </a:cubicBezTo>
                  <a:cubicBezTo>
                    <a:pt x="638" y="569"/>
                    <a:pt x="638" y="569"/>
                    <a:pt x="631" y="559"/>
                  </a:cubicBezTo>
                  <a:cubicBezTo>
                    <a:pt x="630" y="558"/>
                    <a:pt x="630" y="557"/>
                    <a:pt x="629" y="556"/>
                  </a:cubicBezTo>
                  <a:cubicBezTo>
                    <a:pt x="623" y="548"/>
                    <a:pt x="616" y="541"/>
                    <a:pt x="607" y="539"/>
                  </a:cubicBezTo>
                  <a:cubicBezTo>
                    <a:pt x="584" y="534"/>
                    <a:pt x="563" y="539"/>
                    <a:pt x="545" y="555"/>
                  </a:cubicBezTo>
                  <a:cubicBezTo>
                    <a:pt x="540" y="559"/>
                    <a:pt x="537" y="561"/>
                    <a:pt x="537" y="552"/>
                  </a:cubicBezTo>
                  <a:cubicBezTo>
                    <a:pt x="536" y="543"/>
                    <a:pt x="526" y="538"/>
                    <a:pt x="515" y="539"/>
                  </a:cubicBezTo>
                  <a:cubicBezTo>
                    <a:pt x="506" y="540"/>
                    <a:pt x="507" y="546"/>
                    <a:pt x="507" y="552"/>
                  </a:cubicBezTo>
                  <a:cubicBezTo>
                    <a:pt x="507" y="580"/>
                    <a:pt x="507" y="607"/>
                    <a:pt x="507" y="634"/>
                  </a:cubicBezTo>
                  <a:cubicBezTo>
                    <a:pt x="507" y="660"/>
                    <a:pt x="507" y="685"/>
                    <a:pt x="507" y="711"/>
                  </a:cubicBezTo>
                  <a:close/>
                  <a:moveTo>
                    <a:pt x="1525" y="1142"/>
                  </a:moveTo>
                  <a:cubicBezTo>
                    <a:pt x="1517" y="1143"/>
                    <a:pt x="1511" y="1141"/>
                    <a:pt x="1505" y="1136"/>
                  </a:cubicBezTo>
                  <a:cubicBezTo>
                    <a:pt x="1501" y="1133"/>
                    <a:pt x="1495" y="1130"/>
                    <a:pt x="1498" y="1124"/>
                  </a:cubicBezTo>
                  <a:cubicBezTo>
                    <a:pt x="1500" y="1118"/>
                    <a:pt x="1504" y="1114"/>
                    <a:pt x="1512" y="1114"/>
                  </a:cubicBezTo>
                  <a:cubicBezTo>
                    <a:pt x="1521" y="1115"/>
                    <a:pt x="1530" y="1114"/>
                    <a:pt x="1538" y="1115"/>
                  </a:cubicBezTo>
                  <a:cubicBezTo>
                    <a:pt x="1573" y="1117"/>
                    <a:pt x="1610" y="1084"/>
                    <a:pt x="1602" y="1044"/>
                  </a:cubicBezTo>
                  <a:cubicBezTo>
                    <a:pt x="1600" y="1035"/>
                    <a:pt x="1599" y="1028"/>
                    <a:pt x="1611" y="1027"/>
                  </a:cubicBezTo>
                  <a:cubicBezTo>
                    <a:pt x="1614" y="1027"/>
                    <a:pt x="1617" y="1024"/>
                    <a:pt x="1619" y="1023"/>
                  </a:cubicBezTo>
                  <a:cubicBezTo>
                    <a:pt x="1626" y="1019"/>
                    <a:pt x="1624" y="1013"/>
                    <a:pt x="1623" y="1008"/>
                  </a:cubicBezTo>
                  <a:cubicBezTo>
                    <a:pt x="1623" y="1002"/>
                    <a:pt x="1618" y="1003"/>
                    <a:pt x="1613" y="1002"/>
                  </a:cubicBezTo>
                  <a:cubicBezTo>
                    <a:pt x="1598" y="1002"/>
                    <a:pt x="1582" y="1004"/>
                    <a:pt x="1567" y="1000"/>
                  </a:cubicBezTo>
                  <a:cubicBezTo>
                    <a:pt x="1560" y="999"/>
                    <a:pt x="1554" y="993"/>
                    <a:pt x="1546" y="993"/>
                  </a:cubicBezTo>
                  <a:cubicBezTo>
                    <a:pt x="1536" y="994"/>
                    <a:pt x="1525" y="992"/>
                    <a:pt x="1515" y="993"/>
                  </a:cubicBezTo>
                  <a:cubicBezTo>
                    <a:pt x="1490" y="997"/>
                    <a:pt x="1469" y="1010"/>
                    <a:pt x="1462" y="1034"/>
                  </a:cubicBezTo>
                  <a:cubicBezTo>
                    <a:pt x="1455" y="1056"/>
                    <a:pt x="1457" y="1079"/>
                    <a:pt x="1476" y="1096"/>
                  </a:cubicBezTo>
                  <a:cubicBezTo>
                    <a:pt x="1483" y="1103"/>
                    <a:pt x="1483" y="1107"/>
                    <a:pt x="1476" y="1113"/>
                  </a:cubicBezTo>
                  <a:cubicBezTo>
                    <a:pt x="1462" y="1126"/>
                    <a:pt x="1462" y="1142"/>
                    <a:pt x="1473" y="1157"/>
                  </a:cubicBezTo>
                  <a:cubicBezTo>
                    <a:pt x="1476" y="1160"/>
                    <a:pt x="1476" y="1162"/>
                    <a:pt x="1472" y="1164"/>
                  </a:cubicBezTo>
                  <a:cubicBezTo>
                    <a:pt x="1470" y="1166"/>
                    <a:pt x="1468" y="1168"/>
                    <a:pt x="1466" y="1170"/>
                  </a:cubicBezTo>
                  <a:cubicBezTo>
                    <a:pt x="1449" y="1183"/>
                    <a:pt x="1444" y="1201"/>
                    <a:pt x="1454" y="1218"/>
                  </a:cubicBezTo>
                  <a:cubicBezTo>
                    <a:pt x="1464" y="1235"/>
                    <a:pt x="1479" y="1246"/>
                    <a:pt x="1499" y="1249"/>
                  </a:cubicBezTo>
                  <a:cubicBezTo>
                    <a:pt x="1517" y="1252"/>
                    <a:pt x="1535" y="1253"/>
                    <a:pt x="1553" y="1250"/>
                  </a:cubicBezTo>
                  <a:cubicBezTo>
                    <a:pt x="1584" y="1245"/>
                    <a:pt x="1607" y="1232"/>
                    <a:pt x="1619" y="1200"/>
                  </a:cubicBezTo>
                  <a:cubicBezTo>
                    <a:pt x="1627" y="1180"/>
                    <a:pt x="1611" y="1155"/>
                    <a:pt x="1593" y="1148"/>
                  </a:cubicBezTo>
                  <a:cubicBezTo>
                    <a:pt x="1578" y="1142"/>
                    <a:pt x="1563" y="1143"/>
                    <a:pt x="1549" y="1142"/>
                  </a:cubicBezTo>
                  <a:cubicBezTo>
                    <a:pt x="1540" y="1142"/>
                    <a:pt x="1532" y="1142"/>
                    <a:pt x="1525" y="1142"/>
                  </a:cubicBezTo>
                  <a:close/>
                  <a:moveTo>
                    <a:pt x="1556" y="1172"/>
                  </a:moveTo>
                  <a:cubicBezTo>
                    <a:pt x="1566" y="1172"/>
                    <a:pt x="1576" y="1176"/>
                    <a:pt x="1583" y="1183"/>
                  </a:cubicBezTo>
                  <a:cubicBezTo>
                    <a:pt x="1589" y="1190"/>
                    <a:pt x="1589" y="1198"/>
                    <a:pt x="1583" y="1205"/>
                  </a:cubicBezTo>
                  <a:cubicBezTo>
                    <a:pt x="1575" y="1215"/>
                    <a:pt x="1565" y="1220"/>
                    <a:pt x="1553" y="1223"/>
                  </a:cubicBezTo>
                  <a:cubicBezTo>
                    <a:pt x="1534" y="1228"/>
                    <a:pt x="1516" y="1225"/>
                    <a:pt x="1499" y="1219"/>
                  </a:cubicBezTo>
                  <a:cubicBezTo>
                    <a:pt x="1486" y="1214"/>
                    <a:pt x="1479" y="1203"/>
                    <a:pt x="1482" y="1193"/>
                  </a:cubicBezTo>
                  <a:cubicBezTo>
                    <a:pt x="1485" y="1182"/>
                    <a:pt x="1496" y="1168"/>
                    <a:pt x="1514" y="1171"/>
                  </a:cubicBezTo>
                  <a:cubicBezTo>
                    <a:pt x="1526" y="1173"/>
                    <a:pt x="1541" y="1171"/>
                    <a:pt x="1556" y="1172"/>
                  </a:cubicBezTo>
                  <a:close/>
                  <a:moveTo>
                    <a:pt x="1531" y="1019"/>
                  </a:moveTo>
                  <a:cubicBezTo>
                    <a:pt x="1553" y="1017"/>
                    <a:pt x="1570" y="1033"/>
                    <a:pt x="1570" y="1052"/>
                  </a:cubicBezTo>
                  <a:cubicBezTo>
                    <a:pt x="1570" y="1075"/>
                    <a:pt x="1554" y="1093"/>
                    <a:pt x="1532" y="1091"/>
                  </a:cubicBezTo>
                  <a:cubicBezTo>
                    <a:pt x="1508" y="1089"/>
                    <a:pt x="1494" y="1082"/>
                    <a:pt x="1493" y="1053"/>
                  </a:cubicBezTo>
                  <a:cubicBezTo>
                    <a:pt x="1494" y="1029"/>
                    <a:pt x="1508" y="1020"/>
                    <a:pt x="1531" y="1019"/>
                  </a:cubicBezTo>
                  <a:close/>
                  <a:moveTo>
                    <a:pt x="1413" y="934"/>
                  </a:moveTo>
                  <a:cubicBezTo>
                    <a:pt x="1413" y="909"/>
                    <a:pt x="1413" y="909"/>
                    <a:pt x="1389" y="910"/>
                  </a:cubicBezTo>
                  <a:cubicBezTo>
                    <a:pt x="1388" y="910"/>
                    <a:pt x="1387" y="910"/>
                    <a:pt x="1387" y="910"/>
                  </a:cubicBezTo>
                  <a:cubicBezTo>
                    <a:pt x="1379" y="910"/>
                    <a:pt x="1376" y="915"/>
                    <a:pt x="1376" y="921"/>
                  </a:cubicBezTo>
                  <a:cubicBezTo>
                    <a:pt x="1376" y="939"/>
                    <a:pt x="1377" y="956"/>
                    <a:pt x="1377" y="974"/>
                  </a:cubicBezTo>
                  <a:cubicBezTo>
                    <a:pt x="1377" y="983"/>
                    <a:pt x="1377" y="991"/>
                    <a:pt x="1377" y="1000"/>
                  </a:cubicBezTo>
                  <a:cubicBezTo>
                    <a:pt x="1377" y="1005"/>
                    <a:pt x="1374" y="1009"/>
                    <a:pt x="1369" y="1005"/>
                  </a:cubicBezTo>
                  <a:cubicBezTo>
                    <a:pt x="1352" y="990"/>
                    <a:pt x="1332" y="993"/>
                    <a:pt x="1312" y="993"/>
                  </a:cubicBezTo>
                  <a:cubicBezTo>
                    <a:pt x="1303" y="994"/>
                    <a:pt x="1294" y="998"/>
                    <a:pt x="1287" y="1003"/>
                  </a:cubicBezTo>
                  <a:cubicBezTo>
                    <a:pt x="1265" y="1017"/>
                    <a:pt x="1252" y="1039"/>
                    <a:pt x="1248" y="1065"/>
                  </a:cubicBezTo>
                  <a:cubicBezTo>
                    <a:pt x="1244" y="1096"/>
                    <a:pt x="1244" y="1128"/>
                    <a:pt x="1261" y="1157"/>
                  </a:cubicBezTo>
                  <a:cubicBezTo>
                    <a:pt x="1270" y="1170"/>
                    <a:pt x="1281" y="1181"/>
                    <a:pt x="1296" y="1185"/>
                  </a:cubicBezTo>
                  <a:cubicBezTo>
                    <a:pt x="1323" y="1191"/>
                    <a:pt x="1349" y="1188"/>
                    <a:pt x="1370" y="1167"/>
                  </a:cubicBezTo>
                  <a:cubicBezTo>
                    <a:pt x="1372" y="1165"/>
                    <a:pt x="1375" y="1162"/>
                    <a:pt x="1379" y="1163"/>
                  </a:cubicBezTo>
                  <a:cubicBezTo>
                    <a:pt x="1382" y="1165"/>
                    <a:pt x="1381" y="1169"/>
                    <a:pt x="1381" y="1172"/>
                  </a:cubicBezTo>
                  <a:cubicBezTo>
                    <a:pt x="1383" y="1181"/>
                    <a:pt x="1390" y="1186"/>
                    <a:pt x="1403" y="1186"/>
                  </a:cubicBezTo>
                  <a:cubicBezTo>
                    <a:pt x="1413" y="1185"/>
                    <a:pt x="1413" y="1178"/>
                    <a:pt x="1413" y="1172"/>
                  </a:cubicBezTo>
                  <a:cubicBezTo>
                    <a:pt x="1413" y="1131"/>
                    <a:pt x="1413" y="1090"/>
                    <a:pt x="1413" y="1049"/>
                  </a:cubicBezTo>
                  <a:cubicBezTo>
                    <a:pt x="1413" y="1010"/>
                    <a:pt x="1413" y="972"/>
                    <a:pt x="1413" y="934"/>
                  </a:cubicBezTo>
                  <a:close/>
                  <a:moveTo>
                    <a:pt x="1378" y="1113"/>
                  </a:moveTo>
                  <a:cubicBezTo>
                    <a:pt x="1378" y="1136"/>
                    <a:pt x="1360" y="1155"/>
                    <a:pt x="1337" y="1157"/>
                  </a:cubicBezTo>
                  <a:cubicBezTo>
                    <a:pt x="1319" y="1159"/>
                    <a:pt x="1304" y="1154"/>
                    <a:pt x="1294" y="1139"/>
                  </a:cubicBezTo>
                  <a:cubicBezTo>
                    <a:pt x="1286" y="1128"/>
                    <a:pt x="1283" y="1116"/>
                    <a:pt x="1283" y="1102"/>
                  </a:cubicBezTo>
                  <a:cubicBezTo>
                    <a:pt x="1282" y="1085"/>
                    <a:pt x="1282" y="1067"/>
                    <a:pt x="1290" y="1051"/>
                  </a:cubicBezTo>
                  <a:cubicBezTo>
                    <a:pt x="1297" y="1036"/>
                    <a:pt x="1308" y="1024"/>
                    <a:pt x="1325" y="1022"/>
                  </a:cubicBezTo>
                  <a:cubicBezTo>
                    <a:pt x="1342" y="1020"/>
                    <a:pt x="1358" y="1021"/>
                    <a:pt x="1371" y="1035"/>
                  </a:cubicBezTo>
                  <a:cubicBezTo>
                    <a:pt x="1376" y="1041"/>
                    <a:pt x="1378" y="1046"/>
                    <a:pt x="1378" y="1052"/>
                  </a:cubicBezTo>
                  <a:cubicBezTo>
                    <a:pt x="1378" y="1064"/>
                    <a:pt x="1378" y="1075"/>
                    <a:pt x="1378" y="1086"/>
                  </a:cubicBezTo>
                  <a:cubicBezTo>
                    <a:pt x="1378" y="1086"/>
                    <a:pt x="1378" y="1086"/>
                    <a:pt x="1378" y="1086"/>
                  </a:cubicBezTo>
                  <a:cubicBezTo>
                    <a:pt x="1378" y="1095"/>
                    <a:pt x="1378" y="1104"/>
                    <a:pt x="1378" y="1113"/>
                  </a:cubicBezTo>
                  <a:close/>
                  <a:moveTo>
                    <a:pt x="578" y="259"/>
                  </a:moveTo>
                  <a:cubicBezTo>
                    <a:pt x="603" y="241"/>
                    <a:pt x="611" y="213"/>
                    <a:pt x="614" y="183"/>
                  </a:cubicBezTo>
                  <a:cubicBezTo>
                    <a:pt x="615" y="171"/>
                    <a:pt x="610" y="159"/>
                    <a:pt x="609" y="147"/>
                  </a:cubicBezTo>
                  <a:cubicBezTo>
                    <a:pt x="608" y="137"/>
                    <a:pt x="603" y="129"/>
                    <a:pt x="599" y="121"/>
                  </a:cubicBezTo>
                  <a:cubicBezTo>
                    <a:pt x="579" y="87"/>
                    <a:pt x="527" y="70"/>
                    <a:pt x="488" y="85"/>
                  </a:cubicBezTo>
                  <a:cubicBezTo>
                    <a:pt x="453" y="99"/>
                    <a:pt x="436" y="127"/>
                    <a:pt x="431" y="163"/>
                  </a:cubicBezTo>
                  <a:cubicBezTo>
                    <a:pt x="429" y="180"/>
                    <a:pt x="430" y="196"/>
                    <a:pt x="436" y="213"/>
                  </a:cubicBezTo>
                  <a:cubicBezTo>
                    <a:pt x="439" y="222"/>
                    <a:pt x="442" y="232"/>
                    <a:pt x="447" y="239"/>
                  </a:cubicBezTo>
                  <a:cubicBezTo>
                    <a:pt x="465" y="265"/>
                    <a:pt x="491" y="277"/>
                    <a:pt x="525" y="276"/>
                  </a:cubicBezTo>
                  <a:cubicBezTo>
                    <a:pt x="543" y="278"/>
                    <a:pt x="562" y="271"/>
                    <a:pt x="578" y="259"/>
                  </a:cubicBezTo>
                  <a:close/>
                  <a:moveTo>
                    <a:pt x="471" y="205"/>
                  </a:moveTo>
                  <a:cubicBezTo>
                    <a:pt x="466" y="185"/>
                    <a:pt x="468" y="167"/>
                    <a:pt x="472" y="147"/>
                  </a:cubicBezTo>
                  <a:cubicBezTo>
                    <a:pt x="477" y="130"/>
                    <a:pt x="493" y="116"/>
                    <a:pt x="509" y="112"/>
                  </a:cubicBezTo>
                  <a:cubicBezTo>
                    <a:pt x="525" y="108"/>
                    <a:pt x="539" y="110"/>
                    <a:pt x="553" y="119"/>
                  </a:cubicBezTo>
                  <a:cubicBezTo>
                    <a:pt x="563" y="125"/>
                    <a:pt x="568" y="135"/>
                    <a:pt x="571" y="146"/>
                  </a:cubicBezTo>
                  <a:cubicBezTo>
                    <a:pt x="577" y="167"/>
                    <a:pt x="578" y="189"/>
                    <a:pt x="571" y="211"/>
                  </a:cubicBezTo>
                  <a:cubicBezTo>
                    <a:pt x="565" y="231"/>
                    <a:pt x="549" y="249"/>
                    <a:pt x="521" y="247"/>
                  </a:cubicBezTo>
                  <a:cubicBezTo>
                    <a:pt x="496" y="247"/>
                    <a:pt x="478" y="230"/>
                    <a:pt x="471" y="205"/>
                  </a:cubicBezTo>
                  <a:close/>
                  <a:moveTo>
                    <a:pt x="472" y="1122"/>
                  </a:moveTo>
                  <a:cubicBezTo>
                    <a:pt x="475" y="1136"/>
                    <a:pt x="481" y="1148"/>
                    <a:pt x="491" y="1158"/>
                  </a:cubicBezTo>
                  <a:cubicBezTo>
                    <a:pt x="506" y="1176"/>
                    <a:pt x="524" y="1185"/>
                    <a:pt x="548" y="1187"/>
                  </a:cubicBezTo>
                  <a:cubicBezTo>
                    <a:pt x="568" y="1188"/>
                    <a:pt x="587" y="1187"/>
                    <a:pt x="605" y="1177"/>
                  </a:cubicBezTo>
                  <a:cubicBezTo>
                    <a:pt x="632" y="1162"/>
                    <a:pt x="644" y="1136"/>
                    <a:pt x="649" y="1107"/>
                  </a:cubicBezTo>
                  <a:cubicBezTo>
                    <a:pt x="652" y="1089"/>
                    <a:pt x="649" y="1072"/>
                    <a:pt x="644" y="1054"/>
                  </a:cubicBezTo>
                  <a:cubicBezTo>
                    <a:pt x="638" y="1034"/>
                    <a:pt x="627" y="1019"/>
                    <a:pt x="610" y="1007"/>
                  </a:cubicBezTo>
                  <a:cubicBezTo>
                    <a:pt x="589" y="992"/>
                    <a:pt x="566" y="991"/>
                    <a:pt x="541" y="994"/>
                  </a:cubicBezTo>
                  <a:cubicBezTo>
                    <a:pt x="526" y="995"/>
                    <a:pt x="512" y="1002"/>
                    <a:pt x="500" y="1012"/>
                  </a:cubicBezTo>
                  <a:cubicBezTo>
                    <a:pt x="476" y="1032"/>
                    <a:pt x="469" y="1060"/>
                    <a:pt x="466" y="1095"/>
                  </a:cubicBezTo>
                  <a:cubicBezTo>
                    <a:pt x="465" y="1101"/>
                    <a:pt x="470" y="1111"/>
                    <a:pt x="472" y="1122"/>
                  </a:cubicBezTo>
                  <a:close/>
                  <a:moveTo>
                    <a:pt x="508" y="1113"/>
                  </a:moveTo>
                  <a:cubicBezTo>
                    <a:pt x="505" y="1095"/>
                    <a:pt x="506" y="1078"/>
                    <a:pt x="508" y="1061"/>
                  </a:cubicBezTo>
                  <a:cubicBezTo>
                    <a:pt x="511" y="1042"/>
                    <a:pt x="538" y="1021"/>
                    <a:pt x="554" y="1022"/>
                  </a:cubicBezTo>
                  <a:cubicBezTo>
                    <a:pt x="570" y="1022"/>
                    <a:pt x="586" y="1024"/>
                    <a:pt x="596" y="1037"/>
                  </a:cubicBezTo>
                  <a:cubicBezTo>
                    <a:pt x="602" y="1044"/>
                    <a:pt x="607" y="1052"/>
                    <a:pt x="608" y="1061"/>
                  </a:cubicBezTo>
                  <a:cubicBezTo>
                    <a:pt x="608" y="1064"/>
                    <a:pt x="609" y="1067"/>
                    <a:pt x="610" y="1070"/>
                  </a:cubicBezTo>
                  <a:cubicBezTo>
                    <a:pt x="618" y="1089"/>
                    <a:pt x="612" y="1107"/>
                    <a:pt x="607" y="1125"/>
                  </a:cubicBezTo>
                  <a:cubicBezTo>
                    <a:pt x="601" y="1143"/>
                    <a:pt x="588" y="1160"/>
                    <a:pt x="558" y="1157"/>
                  </a:cubicBezTo>
                  <a:cubicBezTo>
                    <a:pt x="530" y="1157"/>
                    <a:pt x="512" y="1141"/>
                    <a:pt x="508" y="1113"/>
                  </a:cubicBezTo>
                  <a:close/>
                  <a:moveTo>
                    <a:pt x="430" y="716"/>
                  </a:moveTo>
                  <a:cubicBezTo>
                    <a:pt x="450" y="703"/>
                    <a:pt x="459" y="683"/>
                    <a:pt x="464" y="661"/>
                  </a:cubicBezTo>
                  <a:cubicBezTo>
                    <a:pt x="468" y="648"/>
                    <a:pt x="467" y="635"/>
                    <a:pt x="466" y="621"/>
                  </a:cubicBezTo>
                  <a:cubicBezTo>
                    <a:pt x="463" y="592"/>
                    <a:pt x="453" y="567"/>
                    <a:pt x="427" y="550"/>
                  </a:cubicBezTo>
                  <a:cubicBezTo>
                    <a:pt x="401" y="534"/>
                    <a:pt x="372" y="532"/>
                    <a:pt x="345" y="541"/>
                  </a:cubicBezTo>
                  <a:cubicBezTo>
                    <a:pt x="310" y="552"/>
                    <a:pt x="291" y="580"/>
                    <a:pt x="287" y="617"/>
                  </a:cubicBezTo>
                  <a:cubicBezTo>
                    <a:pt x="286" y="629"/>
                    <a:pt x="286" y="641"/>
                    <a:pt x="287" y="654"/>
                  </a:cubicBezTo>
                  <a:cubicBezTo>
                    <a:pt x="289" y="671"/>
                    <a:pt x="295" y="686"/>
                    <a:pt x="306" y="700"/>
                  </a:cubicBezTo>
                  <a:cubicBezTo>
                    <a:pt x="324" y="722"/>
                    <a:pt x="348" y="733"/>
                    <a:pt x="378" y="731"/>
                  </a:cubicBezTo>
                  <a:cubicBezTo>
                    <a:pt x="396" y="733"/>
                    <a:pt x="414" y="727"/>
                    <a:pt x="430" y="716"/>
                  </a:cubicBezTo>
                  <a:close/>
                  <a:moveTo>
                    <a:pt x="331" y="592"/>
                  </a:moveTo>
                  <a:cubicBezTo>
                    <a:pt x="339" y="580"/>
                    <a:pt x="349" y="569"/>
                    <a:pt x="365" y="567"/>
                  </a:cubicBezTo>
                  <a:cubicBezTo>
                    <a:pt x="387" y="564"/>
                    <a:pt x="406" y="568"/>
                    <a:pt x="419" y="588"/>
                  </a:cubicBezTo>
                  <a:cubicBezTo>
                    <a:pt x="423" y="595"/>
                    <a:pt x="426" y="603"/>
                    <a:pt x="427" y="610"/>
                  </a:cubicBezTo>
                  <a:cubicBezTo>
                    <a:pt x="433" y="635"/>
                    <a:pt x="431" y="661"/>
                    <a:pt x="416" y="684"/>
                  </a:cubicBezTo>
                  <a:cubicBezTo>
                    <a:pt x="403" y="706"/>
                    <a:pt x="362" y="708"/>
                    <a:pt x="345" y="692"/>
                  </a:cubicBezTo>
                  <a:cubicBezTo>
                    <a:pt x="329" y="678"/>
                    <a:pt x="323" y="661"/>
                    <a:pt x="323" y="631"/>
                  </a:cubicBezTo>
                  <a:cubicBezTo>
                    <a:pt x="323" y="619"/>
                    <a:pt x="323" y="605"/>
                    <a:pt x="331" y="592"/>
                  </a:cubicBezTo>
                  <a:close/>
                  <a:moveTo>
                    <a:pt x="1073" y="259"/>
                  </a:moveTo>
                  <a:cubicBezTo>
                    <a:pt x="1073" y="269"/>
                    <a:pt x="1075" y="272"/>
                    <a:pt x="1086" y="272"/>
                  </a:cubicBezTo>
                  <a:cubicBezTo>
                    <a:pt x="1088" y="272"/>
                    <a:pt x="1090" y="272"/>
                    <a:pt x="1092" y="272"/>
                  </a:cubicBezTo>
                  <a:cubicBezTo>
                    <a:pt x="1105" y="272"/>
                    <a:pt x="1106" y="271"/>
                    <a:pt x="1106" y="258"/>
                  </a:cubicBezTo>
                  <a:cubicBezTo>
                    <a:pt x="1106" y="221"/>
                    <a:pt x="1106" y="184"/>
                    <a:pt x="1106" y="147"/>
                  </a:cubicBezTo>
                  <a:cubicBezTo>
                    <a:pt x="1106" y="143"/>
                    <a:pt x="1106" y="140"/>
                    <a:pt x="1107" y="137"/>
                  </a:cubicBezTo>
                  <a:cubicBezTo>
                    <a:pt x="1117" y="117"/>
                    <a:pt x="1157" y="104"/>
                    <a:pt x="1177" y="114"/>
                  </a:cubicBezTo>
                  <a:cubicBezTo>
                    <a:pt x="1179" y="115"/>
                    <a:pt x="1180" y="117"/>
                    <a:pt x="1182" y="118"/>
                  </a:cubicBezTo>
                  <a:cubicBezTo>
                    <a:pt x="1194" y="131"/>
                    <a:pt x="1196" y="147"/>
                    <a:pt x="1196" y="163"/>
                  </a:cubicBezTo>
                  <a:cubicBezTo>
                    <a:pt x="1197" y="195"/>
                    <a:pt x="1196" y="226"/>
                    <a:pt x="1196" y="258"/>
                  </a:cubicBezTo>
                  <a:cubicBezTo>
                    <a:pt x="1196" y="271"/>
                    <a:pt x="1197" y="272"/>
                    <a:pt x="1210" y="272"/>
                  </a:cubicBezTo>
                  <a:cubicBezTo>
                    <a:pt x="1212" y="272"/>
                    <a:pt x="1213" y="272"/>
                    <a:pt x="1215" y="272"/>
                  </a:cubicBezTo>
                  <a:cubicBezTo>
                    <a:pt x="1227" y="272"/>
                    <a:pt x="1229" y="270"/>
                    <a:pt x="1229" y="258"/>
                  </a:cubicBezTo>
                  <a:cubicBezTo>
                    <a:pt x="1229" y="222"/>
                    <a:pt x="1229" y="187"/>
                    <a:pt x="1229" y="151"/>
                  </a:cubicBezTo>
                  <a:cubicBezTo>
                    <a:pt x="1229" y="142"/>
                    <a:pt x="1228" y="132"/>
                    <a:pt x="1225" y="123"/>
                  </a:cubicBezTo>
                  <a:cubicBezTo>
                    <a:pt x="1219" y="105"/>
                    <a:pt x="1208" y="91"/>
                    <a:pt x="1189" y="85"/>
                  </a:cubicBezTo>
                  <a:cubicBezTo>
                    <a:pt x="1173" y="80"/>
                    <a:pt x="1156" y="84"/>
                    <a:pt x="1139" y="84"/>
                  </a:cubicBezTo>
                  <a:cubicBezTo>
                    <a:pt x="1137" y="84"/>
                    <a:pt x="1136" y="86"/>
                    <a:pt x="1134" y="87"/>
                  </a:cubicBezTo>
                  <a:cubicBezTo>
                    <a:pt x="1128" y="91"/>
                    <a:pt x="1121" y="96"/>
                    <a:pt x="1115" y="100"/>
                  </a:cubicBezTo>
                  <a:cubicBezTo>
                    <a:pt x="1113" y="102"/>
                    <a:pt x="1111" y="105"/>
                    <a:pt x="1108" y="103"/>
                  </a:cubicBezTo>
                  <a:cubicBezTo>
                    <a:pt x="1105" y="102"/>
                    <a:pt x="1106" y="98"/>
                    <a:pt x="1106" y="96"/>
                  </a:cubicBezTo>
                  <a:cubicBezTo>
                    <a:pt x="1106" y="69"/>
                    <a:pt x="1106" y="43"/>
                    <a:pt x="1106" y="17"/>
                  </a:cubicBezTo>
                  <a:cubicBezTo>
                    <a:pt x="1106" y="0"/>
                    <a:pt x="1106" y="0"/>
                    <a:pt x="1089" y="0"/>
                  </a:cubicBezTo>
                  <a:cubicBezTo>
                    <a:pt x="1074" y="0"/>
                    <a:pt x="1073" y="1"/>
                    <a:pt x="1073" y="16"/>
                  </a:cubicBezTo>
                  <a:cubicBezTo>
                    <a:pt x="1073" y="56"/>
                    <a:pt x="1073" y="96"/>
                    <a:pt x="1073" y="136"/>
                  </a:cubicBezTo>
                  <a:cubicBezTo>
                    <a:pt x="1073" y="177"/>
                    <a:pt x="1073" y="218"/>
                    <a:pt x="1073" y="259"/>
                  </a:cubicBezTo>
                  <a:close/>
                  <a:moveTo>
                    <a:pt x="1150" y="1092"/>
                  </a:moveTo>
                  <a:cubicBezTo>
                    <a:pt x="1168" y="1092"/>
                    <a:pt x="1186" y="1092"/>
                    <a:pt x="1204" y="1092"/>
                  </a:cubicBezTo>
                  <a:cubicBezTo>
                    <a:pt x="1215" y="1092"/>
                    <a:pt x="1218" y="1087"/>
                    <a:pt x="1219" y="1077"/>
                  </a:cubicBezTo>
                  <a:cubicBezTo>
                    <a:pt x="1220" y="1062"/>
                    <a:pt x="1216" y="1049"/>
                    <a:pt x="1210" y="1036"/>
                  </a:cubicBezTo>
                  <a:cubicBezTo>
                    <a:pt x="1204" y="1020"/>
                    <a:pt x="1193" y="1008"/>
                    <a:pt x="1177" y="1001"/>
                  </a:cubicBezTo>
                  <a:cubicBezTo>
                    <a:pt x="1155" y="992"/>
                    <a:pt x="1133" y="991"/>
                    <a:pt x="1109" y="999"/>
                  </a:cubicBezTo>
                  <a:cubicBezTo>
                    <a:pt x="1079" y="1010"/>
                    <a:pt x="1062" y="1031"/>
                    <a:pt x="1056" y="1061"/>
                  </a:cubicBezTo>
                  <a:cubicBezTo>
                    <a:pt x="1051" y="1090"/>
                    <a:pt x="1052" y="1120"/>
                    <a:pt x="1069" y="1148"/>
                  </a:cubicBezTo>
                  <a:cubicBezTo>
                    <a:pt x="1081" y="1169"/>
                    <a:pt x="1100" y="1180"/>
                    <a:pt x="1122" y="1185"/>
                  </a:cubicBezTo>
                  <a:cubicBezTo>
                    <a:pt x="1149" y="1190"/>
                    <a:pt x="1176" y="1186"/>
                    <a:pt x="1200" y="1171"/>
                  </a:cubicBezTo>
                  <a:cubicBezTo>
                    <a:pt x="1206" y="1168"/>
                    <a:pt x="1213" y="1165"/>
                    <a:pt x="1214" y="1157"/>
                  </a:cubicBezTo>
                  <a:cubicBezTo>
                    <a:pt x="1215" y="1147"/>
                    <a:pt x="1202" y="1139"/>
                    <a:pt x="1193" y="1144"/>
                  </a:cubicBezTo>
                  <a:cubicBezTo>
                    <a:pt x="1187" y="1147"/>
                    <a:pt x="1180" y="1150"/>
                    <a:pt x="1174" y="1153"/>
                  </a:cubicBezTo>
                  <a:cubicBezTo>
                    <a:pt x="1158" y="1161"/>
                    <a:pt x="1140" y="1161"/>
                    <a:pt x="1124" y="1155"/>
                  </a:cubicBezTo>
                  <a:cubicBezTo>
                    <a:pt x="1112" y="1151"/>
                    <a:pt x="1102" y="1142"/>
                    <a:pt x="1096" y="1129"/>
                  </a:cubicBezTo>
                  <a:cubicBezTo>
                    <a:pt x="1092" y="1121"/>
                    <a:pt x="1091" y="1112"/>
                    <a:pt x="1089" y="1104"/>
                  </a:cubicBezTo>
                  <a:cubicBezTo>
                    <a:pt x="1087" y="1093"/>
                    <a:pt x="1087" y="1092"/>
                    <a:pt x="1099" y="1092"/>
                  </a:cubicBezTo>
                  <a:cubicBezTo>
                    <a:pt x="1116" y="1092"/>
                    <a:pt x="1133" y="1092"/>
                    <a:pt x="1150" y="1092"/>
                  </a:cubicBezTo>
                  <a:cubicBezTo>
                    <a:pt x="1150" y="1092"/>
                    <a:pt x="1150" y="1092"/>
                    <a:pt x="1150" y="1092"/>
                  </a:cubicBezTo>
                  <a:close/>
                  <a:moveTo>
                    <a:pt x="1099" y="1070"/>
                  </a:moveTo>
                  <a:cubicBezTo>
                    <a:pt x="1092" y="1071"/>
                    <a:pt x="1089" y="1067"/>
                    <a:pt x="1091" y="1060"/>
                  </a:cubicBezTo>
                  <a:cubicBezTo>
                    <a:pt x="1094" y="1045"/>
                    <a:pt x="1108" y="1023"/>
                    <a:pt x="1128" y="1022"/>
                  </a:cubicBezTo>
                  <a:cubicBezTo>
                    <a:pt x="1142" y="1021"/>
                    <a:pt x="1156" y="1018"/>
                    <a:pt x="1168" y="1029"/>
                  </a:cubicBezTo>
                  <a:cubicBezTo>
                    <a:pt x="1181" y="1038"/>
                    <a:pt x="1185" y="1051"/>
                    <a:pt x="1187" y="1066"/>
                  </a:cubicBezTo>
                  <a:cubicBezTo>
                    <a:pt x="1188" y="1071"/>
                    <a:pt x="1183" y="1070"/>
                    <a:pt x="1180" y="1070"/>
                  </a:cubicBezTo>
                  <a:cubicBezTo>
                    <a:pt x="1166" y="1070"/>
                    <a:pt x="1153" y="1070"/>
                    <a:pt x="1139" y="1070"/>
                  </a:cubicBezTo>
                  <a:cubicBezTo>
                    <a:pt x="1139" y="1070"/>
                    <a:pt x="1139" y="1070"/>
                    <a:pt x="1139" y="1070"/>
                  </a:cubicBezTo>
                  <a:cubicBezTo>
                    <a:pt x="1126" y="1070"/>
                    <a:pt x="1113" y="1070"/>
                    <a:pt x="1099" y="1070"/>
                  </a:cubicBezTo>
                  <a:close/>
                  <a:moveTo>
                    <a:pt x="1741" y="1092"/>
                  </a:moveTo>
                  <a:cubicBezTo>
                    <a:pt x="1759" y="1092"/>
                    <a:pt x="1776" y="1092"/>
                    <a:pt x="1793" y="1092"/>
                  </a:cubicBezTo>
                  <a:cubicBezTo>
                    <a:pt x="1806" y="1092"/>
                    <a:pt x="1808" y="1089"/>
                    <a:pt x="1808" y="1076"/>
                  </a:cubicBezTo>
                  <a:cubicBezTo>
                    <a:pt x="1809" y="1063"/>
                    <a:pt x="1807" y="1051"/>
                    <a:pt x="1802" y="1038"/>
                  </a:cubicBezTo>
                  <a:cubicBezTo>
                    <a:pt x="1794" y="1021"/>
                    <a:pt x="1782" y="1008"/>
                    <a:pt x="1764" y="1000"/>
                  </a:cubicBezTo>
                  <a:cubicBezTo>
                    <a:pt x="1742" y="991"/>
                    <a:pt x="1720" y="991"/>
                    <a:pt x="1698" y="1000"/>
                  </a:cubicBezTo>
                  <a:cubicBezTo>
                    <a:pt x="1681" y="1006"/>
                    <a:pt x="1668" y="1016"/>
                    <a:pt x="1659" y="1031"/>
                  </a:cubicBezTo>
                  <a:cubicBezTo>
                    <a:pt x="1646" y="1050"/>
                    <a:pt x="1643" y="1071"/>
                    <a:pt x="1644" y="1094"/>
                  </a:cubicBezTo>
                  <a:cubicBezTo>
                    <a:pt x="1644" y="1110"/>
                    <a:pt x="1647" y="1127"/>
                    <a:pt x="1655" y="1141"/>
                  </a:cubicBezTo>
                  <a:cubicBezTo>
                    <a:pt x="1669" y="1168"/>
                    <a:pt x="1691" y="1183"/>
                    <a:pt x="1722" y="1186"/>
                  </a:cubicBezTo>
                  <a:cubicBezTo>
                    <a:pt x="1750" y="1188"/>
                    <a:pt x="1775" y="1183"/>
                    <a:pt x="1798" y="1165"/>
                  </a:cubicBezTo>
                  <a:cubicBezTo>
                    <a:pt x="1803" y="1161"/>
                    <a:pt x="1806" y="1157"/>
                    <a:pt x="1802" y="1151"/>
                  </a:cubicBezTo>
                  <a:cubicBezTo>
                    <a:pt x="1798" y="1144"/>
                    <a:pt x="1791" y="1140"/>
                    <a:pt x="1783" y="1144"/>
                  </a:cubicBezTo>
                  <a:cubicBezTo>
                    <a:pt x="1778" y="1147"/>
                    <a:pt x="1771" y="1149"/>
                    <a:pt x="1766" y="1152"/>
                  </a:cubicBezTo>
                  <a:cubicBezTo>
                    <a:pt x="1749" y="1161"/>
                    <a:pt x="1730" y="1162"/>
                    <a:pt x="1714" y="1155"/>
                  </a:cubicBezTo>
                  <a:cubicBezTo>
                    <a:pt x="1692" y="1145"/>
                    <a:pt x="1680" y="1127"/>
                    <a:pt x="1679" y="1102"/>
                  </a:cubicBezTo>
                  <a:cubicBezTo>
                    <a:pt x="1678" y="1095"/>
                    <a:pt x="1681" y="1092"/>
                    <a:pt x="1689" y="1092"/>
                  </a:cubicBezTo>
                  <a:cubicBezTo>
                    <a:pt x="1706" y="1092"/>
                    <a:pt x="1724" y="1092"/>
                    <a:pt x="1741" y="1092"/>
                  </a:cubicBezTo>
                  <a:cubicBezTo>
                    <a:pt x="1741" y="1092"/>
                    <a:pt x="1741" y="1092"/>
                    <a:pt x="1741" y="1092"/>
                  </a:cubicBezTo>
                  <a:close/>
                  <a:moveTo>
                    <a:pt x="1690" y="1070"/>
                  </a:moveTo>
                  <a:cubicBezTo>
                    <a:pt x="1683" y="1071"/>
                    <a:pt x="1680" y="1068"/>
                    <a:pt x="1681" y="1062"/>
                  </a:cubicBezTo>
                  <a:cubicBezTo>
                    <a:pt x="1683" y="1048"/>
                    <a:pt x="1697" y="1024"/>
                    <a:pt x="1716" y="1022"/>
                  </a:cubicBezTo>
                  <a:cubicBezTo>
                    <a:pt x="1731" y="1020"/>
                    <a:pt x="1747" y="1018"/>
                    <a:pt x="1760" y="1030"/>
                  </a:cubicBezTo>
                  <a:cubicBezTo>
                    <a:pt x="1771" y="1038"/>
                    <a:pt x="1775" y="1050"/>
                    <a:pt x="1778" y="1062"/>
                  </a:cubicBezTo>
                  <a:cubicBezTo>
                    <a:pt x="1780" y="1068"/>
                    <a:pt x="1775" y="1070"/>
                    <a:pt x="1769" y="1070"/>
                  </a:cubicBezTo>
                  <a:cubicBezTo>
                    <a:pt x="1756" y="1070"/>
                    <a:pt x="1742" y="1070"/>
                    <a:pt x="1729" y="1070"/>
                  </a:cubicBezTo>
                  <a:cubicBezTo>
                    <a:pt x="1729" y="1070"/>
                    <a:pt x="1729" y="1070"/>
                    <a:pt x="1729" y="1070"/>
                  </a:cubicBezTo>
                  <a:cubicBezTo>
                    <a:pt x="1716" y="1070"/>
                    <a:pt x="1703" y="1070"/>
                    <a:pt x="1690" y="1070"/>
                  </a:cubicBezTo>
                  <a:close/>
                  <a:moveTo>
                    <a:pt x="68" y="581"/>
                  </a:moveTo>
                  <a:cubicBezTo>
                    <a:pt x="68" y="573"/>
                    <a:pt x="70" y="568"/>
                    <a:pt x="80" y="569"/>
                  </a:cubicBezTo>
                  <a:cubicBezTo>
                    <a:pt x="90" y="570"/>
                    <a:pt x="101" y="570"/>
                    <a:pt x="111" y="569"/>
                  </a:cubicBezTo>
                  <a:cubicBezTo>
                    <a:pt x="120" y="569"/>
                    <a:pt x="120" y="563"/>
                    <a:pt x="120" y="556"/>
                  </a:cubicBezTo>
                  <a:cubicBezTo>
                    <a:pt x="120" y="549"/>
                    <a:pt x="119" y="544"/>
                    <a:pt x="111" y="544"/>
                  </a:cubicBezTo>
                  <a:cubicBezTo>
                    <a:pt x="104" y="544"/>
                    <a:pt x="97" y="544"/>
                    <a:pt x="91" y="544"/>
                  </a:cubicBezTo>
                  <a:cubicBezTo>
                    <a:pt x="66" y="544"/>
                    <a:pt x="65" y="543"/>
                    <a:pt x="68" y="518"/>
                  </a:cubicBezTo>
                  <a:cubicBezTo>
                    <a:pt x="69" y="504"/>
                    <a:pt x="83" y="487"/>
                    <a:pt x="99" y="489"/>
                  </a:cubicBezTo>
                  <a:cubicBezTo>
                    <a:pt x="103" y="489"/>
                    <a:pt x="107" y="489"/>
                    <a:pt x="110" y="488"/>
                  </a:cubicBezTo>
                  <a:cubicBezTo>
                    <a:pt x="118" y="487"/>
                    <a:pt x="123" y="479"/>
                    <a:pt x="123" y="471"/>
                  </a:cubicBezTo>
                  <a:cubicBezTo>
                    <a:pt x="123" y="461"/>
                    <a:pt x="116" y="462"/>
                    <a:pt x="109" y="460"/>
                  </a:cubicBezTo>
                  <a:cubicBezTo>
                    <a:pt x="100" y="458"/>
                    <a:pt x="92" y="460"/>
                    <a:pt x="84" y="460"/>
                  </a:cubicBezTo>
                  <a:cubicBezTo>
                    <a:pt x="68" y="461"/>
                    <a:pt x="56" y="469"/>
                    <a:pt x="47" y="480"/>
                  </a:cubicBezTo>
                  <a:cubicBezTo>
                    <a:pt x="34" y="493"/>
                    <a:pt x="32" y="511"/>
                    <a:pt x="32" y="529"/>
                  </a:cubicBezTo>
                  <a:cubicBezTo>
                    <a:pt x="32" y="544"/>
                    <a:pt x="32" y="544"/>
                    <a:pt x="17" y="544"/>
                  </a:cubicBezTo>
                  <a:cubicBezTo>
                    <a:pt x="4" y="543"/>
                    <a:pt x="0" y="548"/>
                    <a:pt x="4" y="561"/>
                  </a:cubicBezTo>
                  <a:cubicBezTo>
                    <a:pt x="6" y="569"/>
                    <a:pt x="13" y="568"/>
                    <a:pt x="19" y="569"/>
                  </a:cubicBezTo>
                  <a:cubicBezTo>
                    <a:pt x="32" y="571"/>
                    <a:pt x="32" y="571"/>
                    <a:pt x="32" y="584"/>
                  </a:cubicBezTo>
                  <a:cubicBezTo>
                    <a:pt x="32" y="624"/>
                    <a:pt x="32" y="664"/>
                    <a:pt x="32" y="704"/>
                  </a:cubicBezTo>
                  <a:cubicBezTo>
                    <a:pt x="32" y="731"/>
                    <a:pt x="32" y="730"/>
                    <a:pt x="57" y="731"/>
                  </a:cubicBezTo>
                  <a:cubicBezTo>
                    <a:pt x="66" y="731"/>
                    <a:pt x="68" y="727"/>
                    <a:pt x="68" y="720"/>
                  </a:cubicBezTo>
                  <a:cubicBezTo>
                    <a:pt x="68" y="697"/>
                    <a:pt x="68" y="674"/>
                    <a:pt x="68" y="651"/>
                  </a:cubicBezTo>
                  <a:cubicBezTo>
                    <a:pt x="68" y="628"/>
                    <a:pt x="68" y="605"/>
                    <a:pt x="68" y="581"/>
                  </a:cubicBezTo>
                  <a:close/>
                  <a:moveTo>
                    <a:pt x="278" y="1165"/>
                  </a:moveTo>
                  <a:cubicBezTo>
                    <a:pt x="278" y="1183"/>
                    <a:pt x="278" y="1183"/>
                    <a:pt x="296" y="1184"/>
                  </a:cubicBezTo>
                  <a:cubicBezTo>
                    <a:pt x="310" y="1184"/>
                    <a:pt x="310" y="1184"/>
                    <a:pt x="310" y="1169"/>
                  </a:cubicBezTo>
                  <a:cubicBezTo>
                    <a:pt x="310" y="1132"/>
                    <a:pt x="310" y="1095"/>
                    <a:pt x="310" y="1058"/>
                  </a:cubicBezTo>
                  <a:cubicBezTo>
                    <a:pt x="310" y="1052"/>
                    <a:pt x="312" y="1047"/>
                    <a:pt x="316" y="1042"/>
                  </a:cubicBezTo>
                  <a:cubicBezTo>
                    <a:pt x="324" y="1033"/>
                    <a:pt x="334" y="1027"/>
                    <a:pt x="345" y="1024"/>
                  </a:cubicBezTo>
                  <a:cubicBezTo>
                    <a:pt x="357" y="1020"/>
                    <a:pt x="371" y="1018"/>
                    <a:pt x="383" y="1028"/>
                  </a:cubicBezTo>
                  <a:cubicBezTo>
                    <a:pt x="397" y="1039"/>
                    <a:pt x="401" y="1054"/>
                    <a:pt x="401" y="1071"/>
                  </a:cubicBezTo>
                  <a:cubicBezTo>
                    <a:pt x="401" y="1102"/>
                    <a:pt x="401" y="1132"/>
                    <a:pt x="401" y="1163"/>
                  </a:cubicBezTo>
                  <a:cubicBezTo>
                    <a:pt x="401" y="1183"/>
                    <a:pt x="401" y="1182"/>
                    <a:pt x="420" y="1184"/>
                  </a:cubicBezTo>
                  <a:cubicBezTo>
                    <a:pt x="429" y="1185"/>
                    <a:pt x="433" y="1181"/>
                    <a:pt x="433" y="1173"/>
                  </a:cubicBezTo>
                  <a:cubicBezTo>
                    <a:pt x="432" y="1130"/>
                    <a:pt x="435" y="1087"/>
                    <a:pt x="431" y="1044"/>
                  </a:cubicBezTo>
                  <a:cubicBezTo>
                    <a:pt x="427" y="1014"/>
                    <a:pt x="404" y="996"/>
                    <a:pt x="376" y="994"/>
                  </a:cubicBezTo>
                  <a:cubicBezTo>
                    <a:pt x="353" y="992"/>
                    <a:pt x="333" y="1000"/>
                    <a:pt x="317" y="1017"/>
                  </a:cubicBezTo>
                  <a:cubicBezTo>
                    <a:pt x="312" y="1021"/>
                    <a:pt x="311" y="1019"/>
                    <a:pt x="309" y="1015"/>
                  </a:cubicBezTo>
                  <a:cubicBezTo>
                    <a:pt x="309" y="1013"/>
                    <a:pt x="308" y="1011"/>
                    <a:pt x="308" y="1008"/>
                  </a:cubicBezTo>
                  <a:cubicBezTo>
                    <a:pt x="306" y="1001"/>
                    <a:pt x="298" y="997"/>
                    <a:pt x="287" y="998"/>
                  </a:cubicBezTo>
                  <a:cubicBezTo>
                    <a:pt x="279" y="999"/>
                    <a:pt x="278" y="1004"/>
                    <a:pt x="278" y="1011"/>
                  </a:cubicBezTo>
                  <a:cubicBezTo>
                    <a:pt x="278" y="1037"/>
                    <a:pt x="278" y="1064"/>
                    <a:pt x="278" y="1091"/>
                  </a:cubicBezTo>
                  <a:cubicBezTo>
                    <a:pt x="278" y="1115"/>
                    <a:pt x="278" y="1140"/>
                    <a:pt x="278" y="1165"/>
                  </a:cubicBezTo>
                  <a:close/>
                  <a:moveTo>
                    <a:pt x="150" y="705"/>
                  </a:moveTo>
                  <a:cubicBezTo>
                    <a:pt x="150" y="734"/>
                    <a:pt x="145" y="730"/>
                    <a:pt x="176" y="731"/>
                  </a:cubicBezTo>
                  <a:cubicBezTo>
                    <a:pt x="185" y="731"/>
                    <a:pt x="187" y="727"/>
                    <a:pt x="187" y="719"/>
                  </a:cubicBezTo>
                  <a:cubicBezTo>
                    <a:pt x="187" y="685"/>
                    <a:pt x="187" y="651"/>
                    <a:pt x="187" y="618"/>
                  </a:cubicBezTo>
                  <a:cubicBezTo>
                    <a:pt x="187" y="597"/>
                    <a:pt x="204" y="578"/>
                    <a:pt x="225" y="574"/>
                  </a:cubicBezTo>
                  <a:cubicBezTo>
                    <a:pt x="232" y="572"/>
                    <a:pt x="240" y="574"/>
                    <a:pt x="247" y="575"/>
                  </a:cubicBezTo>
                  <a:cubicBezTo>
                    <a:pt x="257" y="576"/>
                    <a:pt x="261" y="572"/>
                    <a:pt x="265" y="564"/>
                  </a:cubicBezTo>
                  <a:cubicBezTo>
                    <a:pt x="269" y="556"/>
                    <a:pt x="267" y="542"/>
                    <a:pt x="261" y="540"/>
                  </a:cubicBezTo>
                  <a:cubicBezTo>
                    <a:pt x="253" y="538"/>
                    <a:pt x="244" y="534"/>
                    <a:pt x="237" y="536"/>
                  </a:cubicBezTo>
                  <a:cubicBezTo>
                    <a:pt x="228" y="537"/>
                    <a:pt x="217" y="537"/>
                    <a:pt x="209" y="544"/>
                  </a:cubicBezTo>
                  <a:cubicBezTo>
                    <a:pt x="204" y="549"/>
                    <a:pt x="198" y="553"/>
                    <a:pt x="194" y="558"/>
                  </a:cubicBezTo>
                  <a:cubicBezTo>
                    <a:pt x="192" y="561"/>
                    <a:pt x="189" y="563"/>
                    <a:pt x="185" y="562"/>
                  </a:cubicBezTo>
                  <a:cubicBezTo>
                    <a:pt x="182" y="561"/>
                    <a:pt x="182" y="558"/>
                    <a:pt x="182" y="556"/>
                  </a:cubicBezTo>
                  <a:cubicBezTo>
                    <a:pt x="180" y="539"/>
                    <a:pt x="179" y="539"/>
                    <a:pt x="162" y="539"/>
                  </a:cubicBezTo>
                  <a:cubicBezTo>
                    <a:pt x="151" y="539"/>
                    <a:pt x="150" y="540"/>
                    <a:pt x="150" y="551"/>
                  </a:cubicBezTo>
                  <a:cubicBezTo>
                    <a:pt x="150" y="579"/>
                    <a:pt x="150" y="607"/>
                    <a:pt x="150" y="635"/>
                  </a:cubicBezTo>
                  <a:cubicBezTo>
                    <a:pt x="150" y="658"/>
                    <a:pt x="149" y="682"/>
                    <a:pt x="150" y="705"/>
                  </a:cubicBezTo>
                  <a:close/>
                  <a:moveTo>
                    <a:pt x="1011" y="1049"/>
                  </a:moveTo>
                  <a:cubicBezTo>
                    <a:pt x="1011" y="1008"/>
                    <a:pt x="1011" y="966"/>
                    <a:pt x="1011" y="924"/>
                  </a:cubicBezTo>
                  <a:cubicBezTo>
                    <a:pt x="1011" y="913"/>
                    <a:pt x="1008" y="910"/>
                    <a:pt x="997" y="910"/>
                  </a:cubicBezTo>
                  <a:cubicBezTo>
                    <a:pt x="995" y="910"/>
                    <a:pt x="992" y="910"/>
                    <a:pt x="990" y="910"/>
                  </a:cubicBezTo>
                  <a:cubicBezTo>
                    <a:pt x="976" y="910"/>
                    <a:pt x="975" y="911"/>
                    <a:pt x="975" y="926"/>
                  </a:cubicBezTo>
                  <a:cubicBezTo>
                    <a:pt x="975" y="1006"/>
                    <a:pt x="975" y="1085"/>
                    <a:pt x="975" y="1165"/>
                  </a:cubicBezTo>
                  <a:cubicBezTo>
                    <a:pt x="975" y="1185"/>
                    <a:pt x="975" y="1185"/>
                    <a:pt x="994" y="1185"/>
                  </a:cubicBezTo>
                  <a:cubicBezTo>
                    <a:pt x="1009" y="1185"/>
                    <a:pt x="1011" y="1184"/>
                    <a:pt x="1011" y="1169"/>
                  </a:cubicBezTo>
                  <a:cubicBezTo>
                    <a:pt x="1011" y="1129"/>
                    <a:pt x="1011" y="1089"/>
                    <a:pt x="1011" y="1049"/>
                  </a:cubicBezTo>
                  <a:cubicBezTo>
                    <a:pt x="1011" y="1049"/>
                    <a:pt x="1011" y="1049"/>
                    <a:pt x="1011" y="1049"/>
                  </a:cubicBezTo>
                  <a:close/>
                  <a:moveTo>
                    <a:pt x="296" y="176"/>
                  </a:moveTo>
                  <a:cubicBezTo>
                    <a:pt x="296" y="201"/>
                    <a:pt x="296" y="226"/>
                    <a:pt x="296" y="251"/>
                  </a:cubicBezTo>
                  <a:cubicBezTo>
                    <a:pt x="295" y="276"/>
                    <a:pt x="296" y="274"/>
                    <a:pt x="318" y="274"/>
                  </a:cubicBezTo>
                  <a:cubicBezTo>
                    <a:pt x="330" y="274"/>
                    <a:pt x="331" y="274"/>
                    <a:pt x="331" y="260"/>
                  </a:cubicBezTo>
                  <a:cubicBezTo>
                    <a:pt x="331" y="232"/>
                    <a:pt x="331" y="204"/>
                    <a:pt x="331" y="176"/>
                  </a:cubicBezTo>
                  <a:cubicBezTo>
                    <a:pt x="331" y="165"/>
                    <a:pt x="331" y="155"/>
                    <a:pt x="337" y="145"/>
                  </a:cubicBezTo>
                  <a:cubicBezTo>
                    <a:pt x="349" y="123"/>
                    <a:pt x="359" y="117"/>
                    <a:pt x="377" y="118"/>
                  </a:cubicBezTo>
                  <a:cubicBezTo>
                    <a:pt x="383" y="118"/>
                    <a:pt x="389" y="119"/>
                    <a:pt x="395" y="120"/>
                  </a:cubicBezTo>
                  <a:cubicBezTo>
                    <a:pt x="401" y="120"/>
                    <a:pt x="407" y="118"/>
                    <a:pt x="408" y="112"/>
                  </a:cubicBezTo>
                  <a:cubicBezTo>
                    <a:pt x="409" y="103"/>
                    <a:pt x="415" y="93"/>
                    <a:pt x="407" y="85"/>
                  </a:cubicBezTo>
                  <a:cubicBezTo>
                    <a:pt x="406" y="84"/>
                    <a:pt x="404" y="84"/>
                    <a:pt x="402" y="84"/>
                  </a:cubicBezTo>
                  <a:cubicBezTo>
                    <a:pt x="376" y="78"/>
                    <a:pt x="353" y="82"/>
                    <a:pt x="337" y="106"/>
                  </a:cubicBezTo>
                  <a:cubicBezTo>
                    <a:pt x="336" y="108"/>
                    <a:pt x="335" y="110"/>
                    <a:pt x="333" y="109"/>
                  </a:cubicBezTo>
                  <a:cubicBezTo>
                    <a:pt x="331" y="109"/>
                    <a:pt x="330" y="107"/>
                    <a:pt x="330" y="105"/>
                  </a:cubicBezTo>
                  <a:cubicBezTo>
                    <a:pt x="329" y="101"/>
                    <a:pt x="329" y="97"/>
                    <a:pt x="328" y="94"/>
                  </a:cubicBezTo>
                  <a:cubicBezTo>
                    <a:pt x="325" y="85"/>
                    <a:pt x="318" y="82"/>
                    <a:pt x="303" y="84"/>
                  </a:cubicBezTo>
                  <a:cubicBezTo>
                    <a:pt x="297" y="84"/>
                    <a:pt x="295" y="86"/>
                    <a:pt x="295" y="92"/>
                  </a:cubicBezTo>
                  <a:cubicBezTo>
                    <a:pt x="296" y="120"/>
                    <a:pt x="295" y="148"/>
                    <a:pt x="295" y="176"/>
                  </a:cubicBezTo>
                  <a:cubicBezTo>
                    <a:pt x="296" y="176"/>
                    <a:pt x="296" y="176"/>
                    <a:pt x="296" y="176"/>
                  </a:cubicBezTo>
                  <a:close/>
                  <a:moveTo>
                    <a:pt x="946" y="179"/>
                  </a:moveTo>
                  <a:cubicBezTo>
                    <a:pt x="946" y="197"/>
                    <a:pt x="946" y="215"/>
                    <a:pt x="946" y="234"/>
                  </a:cubicBezTo>
                  <a:cubicBezTo>
                    <a:pt x="946" y="248"/>
                    <a:pt x="951" y="260"/>
                    <a:pt x="963" y="268"/>
                  </a:cubicBezTo>
                  <a:cubicBezTo>
                    <a:pt x="982" y="280"/>
                    <a:pt x="1011" y="277"/>
                    <a:pt x="1029" y="264"/>
                  </a:cubicBezTo>
                  <a:cubicBezTo>
                    <a:pt x="1036" y="259"/>
                    <a:pt x="1036" y="254"/>
                    <a:pt x="1032" y="248"/>
                  </a:cubicBezTo>
                  <a:cubicBezTo>
                    <a:pt x="1026" y="239"/>
                    <a:pt x="1020" y="238"/>
                    <a:pt x="1013" y="242"/>
                  </a:cubicBezTo>
                  <a:cubicBezTo>
                    <a:pt x="996" y="252"/>
                    <a:pt x="978" y="243"/>
                    <a:pt x="978" y="223"/>
                  </a:cubicBezTo>
                  <a:cubicBezTo>
                    <a:pt x="978" y="190"/>
                    <a:pt x="978" y="157"/>
                    <a:pt x="978" y="123"/>
                  </a:cubicBezTo>
                  <a:cubicBezTo>
                    <a:pt x="978" y="116"/>
                    <a:pt x="981" y="113"/>
                    <a:pt x="988" y="113"/>
                  </a:cubicBezTo>
                  <a:cubicBezTo>
                    <a:pt x="999" y="114"/>
                    <a:pt x="1011" y="113"/>
                    <a:pt x="1022" y="113"/>
                  </a:cubicBezTo>
                  <a:cubicBezTo>
                    <a:pt x="1028" y="113"/>
                    <a:pt x="1033" y="112"/>
                    <a:pt x="1033" y="104"/>
                  </a:cubicBezTo>
                  <a:cubicBezTo>
                    <a:pt x="1033" y="96"/>
                    <a:pt x="1032" y="90"/>
                    <a:pt x="1022" y="90"/>
                  </a:cubicBezTo>
                  <a:cubicBezTo>
                    <a:pt x="1011" y="90"/>
                    <a:pt x="1001" y="90"/>
                    <a:pt x="990" y="90"/>
                  </a:cubicBezTo>
                  <a:cubicBezTo>
                    <a:pt x="981" y="91"/>
                    <a:pt x="977" y="88"/>
                    <a:pt x="978" y="78"/>
                  </a:cubicBezTo>
                  <a:cubicBezTo>
                    <a:pt x="978" y="64"/>
                    <a:pt x="978" y="49"/>
                    <a:pt x="978" y="35"/>
                  </a:cubicBezTo>
                  <a:cubicBezTo>
                    <a:pt x="978" y="30"/>
                    <a:pt x="978" y="25"/>
                    <a:pt x="971" y="24"/>
                  </a:cubicBezTo>
                  <a:cubicBezTo>
                    <a:pt x="964" y="24"/>
                    <a:pt x="956" y="24"/>
                    <a:pt x="955" y="32"/>
                  </a:cubicBezTo>
                  <a:cubicBezTo>
                    <a:pt x="952" y="43"/>
                    <a:pt x="949" y="54"/>
                    <a:pt x="949" y="65"/>
                  </a:cubicBezTo>
                  <a:cubicBezTo>
                    <a:pt x="948" y="88"/>
                    <a:pt x="947" y="88"/>
                    <a:pt x="924" y="91"/>
                  </a:cubicBezTo>
                  <a:cubicBezTo>
                    <a:pt x="919" y="92"/>
                    <a:pt x="914" y="92"/>
                    <a:pt x="914" y="99"/>
                  </a:cubicBezTo>
                  <a:cubicBezTo>
                    <a:pt x="915" y="107"/>
                    <a:pt x="917" y="113"/>
                    <a:pt x="926" y="113"/>
                  </a:cubicBezTo>
                  <a:cubicBezTo>
                    <a:pt x="929" y="114"/>
                    <a:pt x="932" y="113"/>
                    <a:pt x="935" y="113"/>
                  </a:cubicBezTo>
                  <a:cubicBezTo>
                    <a:pt x="943" y="113"/>
                    <a:pt x="946" y="116"/>
                    <a:pt x="946" y="124"/>
                  </a:cubicBezTo>
                  <a:cubicBezTo>
                    <a:pt x="946" y="142"/>
                    <a:pt x="946" y="161"/>
                    <a:pt x="946" y="179"/>
                  </a:cubicBezTo>
                  <a:cubicBezTo>
                    <a:pt x="946" y="179"/>
                    <a:pt x="946" y="179"/>
                    <a:pt x="946" y="179"/>
                  </a:cubicBezTo>
                  <a:close/>
                </a:path>
              </a:pathLst>
            </a:custGeom>
            <a:solidFill>
              <a:srgbClr val="4C505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grpSp>
          <p:nvGrpSpPr>
            <p:cNvPr id="18" name="Group 4">
              <a:extLst>
                <a:ext uri="{FF2B5EF4-FFF2-40B4-BE49-F238E27FC236}">
                  <a16:creationId xmlns:a16="http://schemas.microsoft.com/office/drawing/2014/main" id="{57BD2C4C-DC67-B843-B26C-309622FC75F7}"/>
                </a:ext>
              </a:extLst>
            </p:cNvPr>
            <p:cNvGrpSpPr>
              <a:grpSpLocks noChangeAspect="1"/>
            </p:cNvGrpSpPr>
            <p:nvPr/>
          </p:nvGrpSpPr>
          <p:grpSpPr bwMode="gray">
            <a:xfrm>
              <a:off x="334963" y="296652"/>
              <a:ext cx="538094" cy="540000"/>
              <a:chOff x="2711" y="1027"/>
              <a:chExt cx="2258" cy="2266"/>
            </a:xfrm>
          </p:grpSpPr>
          <p:sp>
            <p:nvSpPr>
              <p:cNvPr id="19" name="AutoShape 3">
                <a:extLst>
                  <a:ext uri="{FF2B5EF4-FFF2-40B4-BE49-F238E27FC236}">
                    <a16:creationId xmlns:a16="http://schemas.microsoft.com/office/drawing/2014/main" id="{FE1DC41B-291E-574C-9F2C-874E70A40758}"/>
                  </a:ext>
                </a:extLst>
              </p:cNvPr>
              <p:cNvSpPr>
                <a:spLocks noChangeAspect="1" noChangeArrowheads="1" noTextEdit="1"/>
              </p:cNvSpPr>
              <p:nvPr/>
            </p:nvSpPr>
            <p:spPr bwMode="gray">
              <a:xfrm>
                <a:off x="2711" y="1027"/>
                <a:ext cx="2258" cy="22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20" name="Freeform 5">
                <a:extLst>
                  <a:ext uri="{FF2B5EF4-FFF2-40B4-BE49-F238E27FC236}">
                    <a16:creationId xmlns:a16="http://schemas.microsoft.com/office/drawing/2014/main" id="{D4B633C8-F761-C54B-9BD2-EB59D49A2DBC}"/>
                  </a:ext>
                </a:extLst>
              </p:cNvPr>
              <p:cNvSpPr>
                <a:spLocks/>
              </p:cNvSpPr>
              <p:nvPr/>
            </p:nvSpPr>
            <p:spPr bwMode="gray">
              <a:xfrm>
                <a:off x="2709" y="1029"/>
                <a:ext cx="2260" cy="2262"/>
              </a:xfrm>
              <a:custGeom>
                <a:avLst/>
                <a:gdLst>
                  <a:gd name="T0" fmla="*/ 2260 w 2260"/>
                  <a:gd name="T1" fmla="*/ 0 h 2262"/>
                  <a:gd name="T2" fmla="*/ 1612 w 2260"/>
                  <a:gd name="T3" fmla="*/ 649 h 2262"/>
                  <a:gd name="T4" fmla="*/ 1612 w 2260"/>
                  <a:gd name="T5" fmla="*/ 649 h 2262"/>
                  <a:gd name="T6" fmla="*/ 2035 w 2260"/>
                  <a:gd name="T7" fmla="*/ 0 h 2262"/>
                  <a:gd name="T8" fmla="*/ 0 w 2260"/>
                  <a:gd name="T9" fmla="*/ 0 h 2262"/>
                  <a:gd name="T10" fmla="*/ 0 w 2260"/>
                  <a:gd name="T11" fmla="*/ 2262 h 2262"/>
                  <a:gd name="T12" fmla="*/ 2260 w 2260"/>
                  <a:gd name="T13" fmla="*/ 2262 h 2262"/>
                  <a:gd name="T14" fmla="*/ 2260 w 2260"/>
                  <a:gd name="T15" fmla="*/ 0 h 2262"/>
                  <a:gd name="T16" fmla="*/ 2260 w 2260"/>
                  <a:gd name="T17" fmla="*/ 0 h 2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0" h="2262">
                    <a:moveTo>
                      <a:pt x="2260" y="0"/>
                    </a:moveTo>
                    <a:lnTo>
                      <a:pt x="1612" y="649"/>
                    </a:lnTo>
                    <a:lnTo>
                      <a:pt x="1612" y="649"/>
                    </a:lnTo>
                    <a:lnTo>
                      <a:pt x="2035" y="0"/>
                    </a:lnTo>
                    <a:lnTo>
                      <a:pt x="0" y="0"/>
                    </a:lnTo>
                    <a:lnTo>
                      <a:pt x="0" y="2262"/>
                    </a:lnTo>
                    <a:lnTo>
                      <a:pt x="2260" y="2262"/>
                    </a:lnTo>
                    <a:lnTo>
                      <a:pt x="2260" y="0"/>
                    </a:lnTo>
                    <a:lnTo>
                      <a:pt x="2260" y="0"/>
                    </a:lnTo>
                    <a:close/>
                  </a:path>
                </a:pathLst>
              </a:custGeom>
              <a:solidFill>
                <a:srgbClr val="E55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21" name="Freeform 6">
                <a:extLst>
                  <a:ext uri="{FF2B5EF4-FFF2-40B4-BE49-F238E27FC236}">
                    <a16:creationId xmlns:a16="http://schemas.microsoft.com/office/drawing/2014/main" id="{B16BAAE4-1A41-C843-9754-490F7A1E1270}"/>
                  </a:ext>
                </a:extLst>
              </p:cNvPr>
              <p:cNvSpPr>
                <a:spLocks noEditPoints="1"/>
              </p:cNvSpPr>
              <p:nvPr/>
            </p:nvSpPr>
            <p:spPr bwMode="gray">
              <a:xfrm>
                <a:off x="3623" y="1696"/>
                <a:ext cx="1167" cy="922"/>
              </a:xfrm>
              <a:custGeom>
                <a:avLst/>
                <a:gdLst>
                  <a:gd name="T0" fmla="*/ 411 w 580"/>
                  <a:gd name="T1" fmla="*/ 213 h 458"/>
                  <a:gd name="T2" fmla="*/ 570 w 580"/>
                  <a:gd name="T3" fmla="*/ 37 h 458"/>
                  <a:gd name="T4" fmla="*/ 580 w 580"/>
                  <a:gd name="T5" fmla="*/ 20 h 458"/>
                  <a:gd name="T6" fmla="*/ 545 w 580"/>
                  <a:gd name="T7" fmla="*/ 0 h 458"/>
                  <a:gd name="T8" fmla="*/ 519 w 580"/>
                  <a:gd name="T9" fmla="*/ 16 h 458"/>
                  <a:gd name="T10" fmla="*/ 344 w 580"/>
                  <a:gd name="T11" fmla="*/ 210 h 458"/>
                  <a:gd name="T12" fmla="*/ 334 w 580"/>
                  <a:gd name="T13" fmla="*/ 229 h 458"/>
                  <a:gd name="T14" fmla="*/ 344 w 580"/>
                  <a:gd name="T15" fmla="*/ 248 h 458"/>
                  <a:gd name="T16" fmla="*/ 519 w 580"/>
                  <a:gd name="T17" fmla="*/ 442 h 458"/>
                  <a:gd name="T18" fmla="*/ 545 w 580"/>
                  <a:gd name="T19" fmla="*/ 458 h 458"/>
                  <a:gd name="T20" fmla="*/ 580 w 580"/>
                  <a:gd name="T21" fmla="*/ 438 h 458"/>
                  <a:gd name="T22" fmla="*/ 570 w 580"/>
                  <a:gd name="T23" fmla="*/ 421 h 458"/>
                  <a:gd name="T24" fmla="*/ 411 w 580"/>
                  <a:gd name="T25" fmla="*/ 245 h 458"/>
                  <a:gd name="T26" fmla="*/ 399 w 580"/>
                  <a:gd name="T27" fmla="*/ 229 h 458"/>
                  <a:gd name="T28" fmla="*/ 411 w 580"/>
                  <a:gd name="T29" fmla="*/ 213 h 458"/>
                  <a:gd name="T30" fmla="*/ 252 w 580"/>
                  <a:gd name="T31" fmla="*/ 439 h 458"/>
                  <a:gd name="T32" fmla="*/ 281 w 580"/>
                  <a:gd name="T33" fmla="*/ 454 h 458"/>
                  <a:gd name="T34" fmla="*/ 309 w 580"/>
                  <a:gd name="T35" fmla="*/ 439 h 458"/>
                  <a:gd name="T36" fmla="*/ 309 w 580"/>
                  <a:gd name="T37" fmla="*/ 19 h 458"/>
                  <a:gd name="T38" fmla="*/ 281 w 580"/>
                  <a:gd name="T39" fmla="*/ 4 h 458"/>
                  <a:gd name="T40" fmla="*/ 252 w 580"/>
                  <a:gd name="T41" fmla="*/ 19 h 458"/>
                  <a:gd name="T42" fmla="*/ 252 w 580"/>
                  <a:gd name="T43" fmla="*/ 439 h 458"/>
                  <a:gd name="T44" fmla="*/ 0 w 580"/>
                  <a:gd name="T45" fmla="*/ 439 h 458"/>
                  <a:gd name="T46" fmla="*/ 28 w 580"/>
                  <a:gd name="T47" fmla="*/ 454 h 458"/>
                  <a:gd name="T48" fmla="*/ 56 w 580"/>
                  <a:gd name="T49" fmla="*/ 439 h 458"/>
                  <a:gd name="T50" fmla="*/ 56 w 580"/>
                  <a:gd name="T51" fmla="*/ 157 h 458"/>
                  <a:gd name="T52" fmla="*/ 165 w 580"/>
                  <a:gd name="T53" fmla="*/ 53 h 458"/>
                  <a:gd name="T54" fmla="*/ 180 w 580"/>
                  <a:gd name="T55" fmla="*/ 53 h 458"/>
                  <a:gd name="T56" fmla="*/ 196 w 580"/>
                  <a:gd name="T57" fmla="*/ 27 h 458"/>
                  <a:gd name="T58" fmla="*/ 154 w 580"/>
                  <a:gd name="T59" fmla="*/ 4 h 458"/>
                  <a:gd name="T60" fmla="*/ 0 w 580"/>
                  <a:gd name="T61" fmla="*/ 152 h 458"/>
                  <a:gd name="T62" fmla="*/ 0 w 580"/>
                  <a:gd name="T63" fmla="*/ 439 h 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80" h="458">
                    <a:moveTo>
                      <a:pt x="411" y="213"/>
                    </a:moveTo>
                    <a:cubicBezTo>
                      <a:pt x="570" y="37"/>
                      <a:pt x="570" y="37"/>
                      <a:pt x="570" y="37"/>
                    </a:cubicBezTo>
                    <a:cubicBezTo>
                      <a:pt x="576" y="30"/>
                      <a:pt x="580" y="25"/>
                      <a:pt x="580" y="20"/>
                    </a:cubicBezTo>
                    <a:cubicBezTo>
                      <a:pt x="580" y="10"/>
                      <a:pt x="559" y="0"/>
                      <a:pt x="545" y="0"/>
                    </a:cubicBezTo>
                    <a:cubicBezTo>
                      <a:pt x="535" y="0"/>
                      <a:pt x="526" y="8"/>
                      <a:pt x="519" y="16"/>
                    </a:cubicBezTo>
                    <a:cubicBezTo>
                      <a:pt x="344" y="210"/>
                      <a:pt x="344" y="210"/>
                      <a:pt x="344" y="210"/>
                    </a:cubicBezTo>
                    <a:cubicBezTo>
                      <a:pt x="336" y="219"/>
                      <a:pt x="334" y="224"/>
                      <a:pt x="334" y="229"/>
                    </a:cubicBezTo>
                    <a:cubicBezTo>
                      <a:pt x="334" y="234"/>
                      <a:pt x="336" y="239"/>
                      <a:pt x="344" y="248"/>
                    </a:cubicBezTo>
                    <a:cubicBezTo>
                      <a:pt x="519" y="442"/>
                      <a:pt x="519" y="442"/>
                      <a:pt x="519" y="442"/>
                    </a:cubicBezTo>
                    <a:cubicBezTo>
                      <a:pt x="526" y="450"/>
                      <a:pt x="535" y="458"/>
                      <a:pt x="545" y="458"/>
                    </a:cubicBezTo>
                    <a:cubicBezTo>
                      <a:pt x="559" y="458"/>
                      <a:pt x="580" y="448"/>
                      <a:pt x="580" y="438"/>
                    </a:cubicBezTo>
                    <a:cubicBezTo>
                      <a:pt x="580" y="433"/>
                      <a:pt x="576" y="428"/>
                      <a:pt x="570" y="421"/>
                    </a:cubicBezTo>
                    <a:cubicBezTo>
                      <a:pt x="411" y="245"/>
                      <a:pt x="411" y="245"/>
                      <a:pt x="411" y="245"/>
                    </a:cubicBezTo>
                    <a:cubicBezTo>
                      <a:pt x="403" y="236"/>
                      <a:pt x="399" y="232"/>
                      <a:pt x="399" y="229"/>
                    </a:cubicBezTo>
                    <a:cubicBezTo>
                      <a:pt x="399" y="226"/>
                      <a:pt x="403" y="222"/>
                      <a:pt x="411" y="213"/>
                    </a:cubicBezTo>
                    <a:moveTo>
                      <a:pt x="252" y="439"/>
                    </a:moveTo>
                    <a:cubicBezTo>
                      <a:pt x="252" y="449"/>
                      <a:pt x="261" y="454"/>
                      <a:pt x="281" y="454"/>
                    </a:cubicBezTo>
                    <a:cubicBezTo>
                      <a:pt x="300" y="454"/>
                      <a:pt x="309" y="449"/>
                      <a:pt x="309" y="439"/>
                    </a:cubicBezTo>
                    <a:cubicBezTo>
                      <a:pt x="309" y="19"/>
                      <a:pt x="309" y="19"/>
                      <a:pt x="309" y="19"/>
                    </a:cubicBezTo>
                    <a:cubicBezTo>
                      <a:pt x="309" y="9"/>
                      <a:pt x="300" y="4"/>
                      <a:pt x="281" y="4"/>
                    </a:cubicBezTo>
                    <a:cubicBezTo>
                      <a:pt x="261" y="4"/>
                      <a:pt x="252" y="9"/>
                      <a:pt x="252" y="19"/>
                    </a:cubicBezTo>
                    <a:lnTo>
                      <a:pt x="252" y="439"/>
                    </a:lnTo>
                    <a:close/>
                    <a:moveTo>
                      <a:pt x="0" y="439"/>
                    </a:moveTo>
                    <a:cubicBezTo>
                      <a:pt x="0" y="449"/>
                      <a:pt x="8" y="454"/>
                      <a:pt x="28" y="454"/>
                    </a:cubicBezTo>
                    <a:cubicBezTo>
                      <a:pt x="48" y="454"/>
                      <a:pt x="56" y="449"/>
                      <a:pt x="56" y="439"/>
                    </a:cubicBezTo>
                    <a:cubicBezTo>
                      <a:pt x="56" y="157"/>
                      <a:pt x="56" y="157"/>
                      <a:pt x="56" y="157"/>
                    </a:cubicBezTo>
                    <a:cubicBezTo>
                      <a:pt x="56" y="83"/>
                      <a:pt x="85" y="53"/>
                      <a:pt x="165" y="53"/>
                    </a:cubicBezTo>
                    <a:cubicBezTo>
                      <a:pt x="180" y="53"/>
                      <a:pt x="180" y="53"/>
                      <a:pt x="180" y="53"/>
                    </a:cubicBezTo>
                    <a:cubicBezTo>
                      <a:pt x="192" y="53"/>
                      <a:pt x="196" y="43"/>
                      <a:pt x="196" y="27"/>
                    </a:cubicBezTo>
                    <a:cubicBezTo>
                      <a:pt x="196" y="8"/>
                      <a:pt x="185" y="4"/>
                      <a:pt x="154" y="4"/>
                    </a:cubicBezTo>
                    <a:cubicBezTo>
                      <a:pt x="64" y="4"/>
                      <a:pt x="0" y="43"/>
                      <a:pt x="0" y="152"/>
                    </a:cubicBezTo>
                    <a:lnTo>
                      <a:pt x="0" y="43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22" name="Freeform 7">
                <a:extLst>
                  <a:ext uri="{FF2B5EF4-FFF2-40B4-BE49-F238E27FC236}">
                    <a16:creationId xmlns:a16="http://schemas.microsoft.com/office/drawing/2014/main" id="{2F32DCBD-8628-F245-85CD-97686A20ECFD}"/>
                  </a:ext>
                </a:extLst>
              </p:cNvPr>
              <p:cNvSpPr>
                <a:spLocks/>
              </p:cNvSpPr>
              <p:nvPr/>
            </p:nvSpPr>
            <p:spPr bwMode="gray">
              <a:xfrm>
                <a:off x="2880" y="1704"/>
                <a:ext cx="618" cy="916"/>
              </a:xfrm>
              <a:custGeom>
                <a:avLst/>
                <a:gdLst>
                  <a:gd name="T0" fmla="*/ 307 w 307"/>
                  <a:gd name="T1" fmla="*/ 405 h 455"/>
                  <a:gd name="T2" fmla="*/ 307 w 307"/>
                  <a:gd name="T3" fmla="*/ 244 h 455"/>
                  <a:gd name="T4" fmla="*/ 279 w 307"/>
                  <a:gd name="T5" fmla="*/ 229 h 455"/>
                  <a:gd name="T6" fmla="*/ 250 w 307"/>
                  <a:gd name="T7" fmla="*/ 244 h 455"/>
                  <a:gd name="T8" fmla="*/ 250 w 307"/>
                  <a:gd name="T9" fmla="*/ 378 h 455"/>
                  <a:gd name="T10" fmla="*/ 199 w 307"/>
                  <a:gd name="T11" fmla="*/ 408 h 455"/>
                  <a:gd name="T12" fmla="*/ 61 w 307"/>
                  <a:gd name="T13" fmla="*/ 231 h 455"/>
                  <a:gd name="T14" fmla="*/ 238 w 307"/>
                  <a:gd name="T15" fmla="*/ 49 h 455"/>
                  <a:gd name="T16" fmla="*/ 270 w 307"/>
                  <a:gd name="T17" fmla="*/ 49 h 455"/>
                  <a:gd name="T18" fmla="*/ 286 w 307"/>
                  <a:gd name="T19" fmla="*/ 23 h 455"/>
                  <a:gd name="T20" fmla="*/ 244 w 307"/>
                  <a:gd name="T21" fmla="*/ 0 h 455"/>
                  <a:gd name="T22" fmla="*/ 231 w 307"/>
                  <a:gd name="T23" fmla="*/ 0 h 455"/>
                  <a:gd name="T24" fmla="*/ 0 w 307"/>
                  <a:gd name="T25" fmla="*/ 232 h 455"/>
                  <a:gd name="T26" fmla="*/ 198 w 307"/>
                  <a:gd name="T27" fmla="*/ 455 h 455"/>
                  <a:gd name="T28" fmla="*/ 307 w 307"/>
                  <a:gd name="T29" fmla="*/ 405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7" h="455">
                    <a:moveTo>
                      <a:pt x="307" y="405"/>
                    </a:moveTo>
                    <a:cubicBezTo>
                      <a:pt x="307" y="244"/>
                      <a:pt x="307" y="244"/>
                      <a:pt x="307" y="244"/>
                    </a:cubicBezTo>
                    <a:cubicBezTo>
                      <a:pt x="307" y="234"/>
                      <a:pt x="298" y="229"/>
                      <a:pt x="279" y="229"/>
                    </a:cubicBezTo>
                    <a:cubicBezTo>
                      <a:pt x="259" y="229"/>
                      <a:pt x="250" y="234"/>
                      <a:pt x="250" y="244"/>
                    </a:cubicBezTo>
                    <a:cubicBezTo>
                      <a:pt x="250" y="378"/>
                      <a:pt x="250" y="378"/>
                      <a:pt x="250" y="378"/>
                    </a:cubicBezTo>
                    <a:cubicBezTo>
                      <a:pt x="250" y="399"/>
                      <a:pt x="241" y="408"/>
                      <a:pt x="199" y="408"/>
                    </a:cubicBezTo>
                    <a:cubicBezTo>
                      <a:pt x="114" y="408"/>
                      <a:pt x="61" y="342"/>
                      <a:pt x="61" y="231"/>
                    </a:cubicBezTo>
                    <a:cubicBezTo>
                      <a:pt x="61" y="115"/>
                      <a:pt x="126" y="49"/>
                      <a:pt x="238" y="49"/>
                    </a:cubicBezTo>
                    <a:cubicBezTo>
                      <a:pt x="270" y="49"/>
                      <a:pt x="270" y="49"/>
                      <a:pt x="270" y="49"/>
                    </a:cubicBezTo>
                    <a:cubicBezTo>
                      <a:pt x="282" y="49"/>
                      <a:pt x="286" y="39"/>
                      <a:pt x="286" y="23"/>
                    </a:cubicBezTo>
                    <a:cubicBezTo>
                      <a:pt x="286" y="4"/>
                      <a:pt x="275" y="0"/>
                      <a:pt x="244" y="0"/>
                    </a:cubicBezTo>
                    <a:cubicBezTo>
                      <a:pt x="231" y="0"/>
                      <a:pt x="231" y="0"/>
                      <a:pt x="231" y="0"/>
                    </a:cubicBezTo>
                    <a:cubicBezTo>
                      <a:pt x="101" y="0"/>
                      <a:pt x="0" y="71"/>
                      <a:pt x="0" y="232"/>
                    </a:cubicBezTo>
                    <a:cubicBezTo>
                      <a:pt x="0" y="386"/>
                      <a:pt x="88" y="455"/>
                      <a:pt x="198" y="455"/>
                    </a:cubicBezTo>
                    <a:cubicBezTo>
                      <a:pt x="286" y="455"/>
                      <a:pt x="307" y="430"/>
                      <a:pt x="307" y="40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23" name="Oval 8">
                <a:extLst>
                  <a:ext uri="{FF2B5EF4-FFF2-40B4-BE49-F238E27FC236}">
                    <a16:creationId xmlns:a16="http://schemas.microsoft.com/office/drawing/2014/main" id="{60D97C11-1A3B-5449-A48D-98A3E79B3810}"/>
                  </a:ext>
                </a:extLst>
              </p:cNvPr>
              <p:cNvSpPr>
                <a:spLocks noChangeArrowheads="1"/>
              </p:cNvSpPr>
              <p:nvPr/>
            </p:nvSpPr>
            <p:spPr bwMode="gray">
              <a:xfrm>
                <a:off x="3778" y="2099"/>
                <a:ext cx="122" cy="12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24" name="Freeform 9">
                <a:extLst>
                  <a:ext uri="{FF2B5EF4-FFF2-40B4-BE49-F238E27FC236}">
                    <a16:creationId xmlns:a16="http://schemas.microsoft.com/office/drawing/2014/main" id="{5856770D-B8F0-244E-A05D-AED190086F10}"/>
                  </a:ext>
                </a:extLst>
              </p:cNvPr>
              <p:cNvSpPr>
                <a:spLocks noEditPoints="1"/>
              </p:cNvSpPr>
              <p:nvPr/>
            </p:nvSpPr>
            <p:spPr bwMode="gray">
              <a:xfrm>
                <a:off x="3623" y="1696"/>
                <a:ext cx="1167" cy="922"/>
              </a:xfrm>
              <a:custGeom>
                <a:avLst/>
                <a:gdLst>
                  <a:gd name="T0" fmla="*/ 411 w 580"/>
                  <a:gd name="T1" fmla="*/ 213 h 458"/>
                  <a:gd name="T2" fmla="*/ 570 w 580"/>
                  <a:gd name="T3" fmla="*/ 37 h 458"/>
                  <a:gd name="T4" fmla="*/ 580 w 580"/>
                  <a:gd name="T5" fmla="*/ 20 h 458"/>
                  <a:gd name="T6" fmla="*/ 545 w 580"/>
                  <a:gd name="T7" fmla="*/ 0 h 458"/>
                  <a:gd name="T8" fmla="*/ 519 w 580"/>
                  <a:gd name="T9" fmla="*/ 16 h 458"/>
                  <a:gd name="T10" fmla="*/ 344 w 580"/>
                  <a:gd name="T11" fmla="*/ 210 h 458"/>
                  <a:gd name="T12" fmla="*/ 334 w 580"/>
                  <a:gd name="T13" fmla="*/ 229 h 458"/>
                  <a:gd name="T14" fmla="*/ 344 w 580"/>
                  <a:gd name="T15" fmla="*/ 248 h 458"/>
                  <a:gd name="T16" fmla="*/ 519 w 580"/>
                  <a:gd name="T17" fmla="*/ 442 h 458"/>
                  <a:gd name="T18" fmla="*/ 545 w 580"/>
                  <a:gd name="T19" fmla="*/ 458 h 458"/>
                  <a:gd name="T20" fmla="*/ 580 w 580"/>
                  <a:gd name="T21" fmla="*/ 438 h 458"/>
                  <a:gd name="T22" fmla="*/ 570 w 580"/>
                  <a:gd name="T23" fmla="*/ 421 h 458"/>
                  <a:gd name="T24" fmla="*/ 411 w 580"/>
                  <a:gd name="T25" fmla="*/ 245 h 458"/>
                  <a:gd name="T26" fmla="*/ 399 w 580"/>
                  <a:gd name="T27" fmla="*/ 229 h 458"/>
                  <a:gd name="T28" fmla="*/ 411 w 580"/>
                  <a:gd name="T29" fmla="*/ 213 h 458"/>
                  <a:gd name="T30" fmla="*/ 252 w 580"/>
                  <a:gd name="T31" fmla="*/ 439 h 458"/>
                  <a:gd name="T32" fmla="*/ 281 w 580"/>
                  <a:gd name="T33" fmla="*/ 454 h 458"/>
                  <a:gd name="T34" fmla="*/ 309 w 580"/>
                  <a:gd name="T35" fmla="*/ 439 h 458"/>
                  <a:gd name="T36" fmla="*/ 309 w 580"/>
                  <a:gd name="T37" fmla="*/ 19 h 458"/>
                  <a:gd name="T38" fmla="*/ 281 w 580"/>
                  <a:gd name="T39" fmla="*/ 4 h 458"/>
                  <a:gd name="T40" fmla="*/ 252 w 580"/>
                  <a:gd name="T41" fmla="*/ 19 h 458"/>
                  <a:gd name="T42" fmla="*/ 252 w 580"/>
                  <a:gd name="T43" fmla="*/ 439 h 458"/>
                  <a:gd name="T44" fmla="*/ 0 w 580"/>
                  <a:gd name="T45" fmla="*/ 439 h 458"/>
                  <a:gd name="T46" fmla="*/ 28 w 580"/>
                  <a:gd name="T47" fmla="*/ 454 h 458"/>
                  <a:gd name="T48" fmla="*/ 56 w 580"/>
                  <a:gd name="T49" fmla="*/ 439 h 458"/>
                  <a:gd name="T50" fmla="*/ 56 w 580"/>
                  <a:gd name="T51" fmla="*/ 157 h 458"/>
                  <a:gd name="T52" fmla="*/ 165 w 580"/>
                  <a:gd name="T53" fmla="*/ 53 h 458"/>
                  <a:gd name="T54" fmla="*/ 180 w 580"/>
                  <a:gd name="T55" fmla="*/ 53 h 458"/>
                  <a:gd name="T56" fmla="*/ 196 w 580"/>
                  <a:gd name="T57" fmla="*/ 27 h 458"/>
                  <a:gd name="T58" fmla="*/ 154 w 580"/>
                  <a:gd name="T59" fmla="*/ 4 h 458"/>
                  <a:gd name="T60" fmla="*/ 0 w 580"/>
                  <a:gd name="T61" fmla="*/ 152 h 458"/>
                  <a:gd name="T62" fmla="*/ 0 w 580"/>
                  <a:gd name="T63" fmla="*/ 439 h 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80" h="458">
                    <a:moveTo>
                      <a:pt x="411" y="213"/>
                    </a:moveTo>
                    <a:cubicBezTo>
                      <a:pt x="570" y="37"/>
                      <a:pt x="570" y="37"/>
                      <a:pt x="570" y="37"/>
                    </a:cubicBezTo>
                    <a:cubicBezTo>
                      <a:pt x="576" y="30"/>
                      <a:pt x="580" y="25"/>
                      <a:pt x="580" y="20"/>
                    </a:cubicBezTo>
                    <a:cubicBezTo>
                      <a:pt x="580" y="10"/>
                      <a:pt x="559" y="0"/>
                      <a:pt x="545" y="0"/>
                    </a:cubicBezTo>
                    <a:cubicBezTo>
                      <a:pt x="535" y="0"/>
                      <a:pt x="526" y="8"/>
                      <a:pt x="519" y="16"/>
                    </a:cubicBezTo>
                    <a:cubicBezTo>
                      <a:pt x="344" y="210"/>
                      <a:pt x="344" y="210"/>
                      <a:pt x="344" y="210"/>
                    </a:cubicBezTo>
                    <a:cubicBezTo>
                      <a:pt x="336" y="219"/>
                      <a:pt x="334" y="224"/>
                      <a:pt x="334" y="229"/>
                    </a:cubicBezTo>
                    <a:cubicBezTo>
                      <a:pt x="334" y="234"/>
                      <a:pt x="336" y="239"/>
                      <a:pt x="344" y="248"/>
                    </a:cubicBezTo>
                    <a:cubicBezTo>
                      <a:pt x="519" y="442"/>
                      <a:pt x="519" y="442"/>
                      <a:pt x="519" y="442"/>
                    </a:cubicBezTo>
                    <a:cubicBezTo>
                      <a:pt x="526" y="450"/>
                      <a:pt x="535" y="458"/>
                      <a:pt x="545" y="458"/>
                    </a:cubicBezTo>
                    <a:cubicBezTo>
                      <a:pt x="559" y="458"/>
                      <a:pt x="580" y="448"/>
                      <a:pt x="580" y="438"/>
                    </a:cubicBezTo>
                    <a:cubicBezTo>
                      <a:pt x="580" y="433"/>
                      <a:pt x="576" y="428"/>
                      <a:pt x="570" y="421"/>
                    </a:cubicBezTo>
                    <a:cubicBezTo>
                      <a:pt x="411" y="245"/>
                      <a:pt x="411" y="245"/>
                      <a:pt x="411" y="245"/>
                    </a:cubicBezTo>
                    <a:cubicBezTo>
                      <a:pt x="403" y="236"/>
                      <a:pt x="399" y="232"/>
                      <a:pt x="399" y="229"/>
                    </a:cubicBezTo>
                    <a:cubicBezTo>
                      <a:pt x="399" y="226"/>
                      <a:pt x="403" y="222"/>
                      <a:pt x="411" y="213"/>
                    </a:cubicBezTo>
                    <a:moveTo>
                      <a:pt x="252" y="439"/>
                    </a:moveTo>
                    <a:cubicBezTo>
                      <a:pt x="252" y="449"/>
                      <a:pt x="261" y="454"/>
                      <a:pt x="281" y="454"/>
                    </a:cubicBezTo>
                    <a:cubicBezTo>
                      <a:pt x="300" y="454"/>
                      <a:pt x="309" y="449"/>
                      <a:pt x="309" y="439"/>
                    </a:cubicBezTo>
                    <a:cubicBezTo>
                      <a:pt x="309" y="19"/>
                      <a:pt x="309" y="19"/>
                      <a:pt x="309" y="19"/>
                    </a:cubicBezTo>
                    <a:cubicBezTo>
                      <a:pt x="309" y="9"/>
                      <a:pt x="300" y="4"/>
                      <a:pt x="281" y="4"/>
                    </a:cubicBezTo>
                    <a:cubicBezTo>
                      <a:pt x="261" y="4"/>
                      <a:pt x="252" y="9"/>
                      <a:pt x="252" y="19"/>
                    </a:cubicBezTo>
                    <a:lnTo>
                      <a:pt x="252" y="439"/>
                    </a:lnTo>
                    <a:close/>
                    <a:moveTo>
                      <a:pt x="0" y="439"/>
                    </a:moveTo>
                    <a:cubicBezTo>
                      <a:pt x="0" y="449"/>
                      <a:pt x="8" y="454"/>
                      <a:pt x="28" y="454"/>
                    </a:cubicBezTo>
                    <a:cubicBezTo>
                      <a:pt x="48" y="454"/>
                      <a:pt x="56" y="449"/>
                      <a:pt x="56" y="439"/>
                    </a:cubicBezTo>
                    <a:cubicBezTo>
                      <a:pt x="56" y="157"/>
                      <a:pt x="56" y="157"/>
                      <a:pt x="56" y="157"/>
                    </a:cubicBezTo>
                    <a:cubicBezTo>
                      <a:pt x="56" y="83"/>
                      <a:pt x="85" y="53"/>
                      <a:pt x="165" y="53"/>
                    </a:cubicBezTo>
                    <a:cubicBezTo>
                      <a:pt x="180" y="53"/>
                      <a:pt x="180" y="53"/>
                      <a:pt x="180" y="53"/>
                    </a:cubicBezTo>
                    <a:cubicBezTo>
                      <a:pt x="192" y="53"/>
                      <a:pt x="196" y="43"/>
                      <a:pt x="196" y="27"/>
                    </a:cubicBezTo>
                    <a:cubicBezTo>
                      <a:pt x="196" y="8"/>
                      <a:pt x="185" y="4"/>
                      <a:pt x="154" y="4"/>
                    </a:cubicBezTo>
                    <a:cubicBezTo>
                      <a:pt x="64" y="4"/>
                      <a:pt x="0" y="43"/>
                      <a:pt x="0" y="152"/>
                    </a:cubicBezTo>
                    <a:lnTo>
                      <a:pt x="0" y="43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25" name="Freeform 10">
                <a:extLst>
                  <a:ext uri="{FF2B5EF4-FFF2-40B4-BE49-F238E27FC236}">
                    <a16:creationId xmlns:a16="http://schemas.microsoft.com/office/drawing/2014/main" id="{2B91B16B-BC11-E547-8FAC-B9B8D18EA449}"/>
                  </a:ext>
                </a:extLst>
              </p:cNvPr>
              <p:cNvSpPr>
                <a:spLocks/>
              </p:cNvSpPr>
              <p:nvPr/>
            </p:nvSpPr>
            <p:spPr bwMode="gray">
              <a:xfrm>
                <a:off x="2880" y="1704"/>
                <a:ext cx="618" cy="916"/>
              </a:xfrm>
              <a:custGeom>
                <a:avLst/>
                <a:gdLst>
                  <a:gd name="T0" fmla="*/ 307 w 307"/>
                  <a:gd name="T1" fmla="*/ 405 h 455"/>
                  <a:gd name="T2" fmla="*/ 307 w 307"/>
                  <a:gd name="T3" fmla="*/ 244 h 455"/>
                  <a:gd name="T4" fmla="*/ 279 w 307"/>
                  <a:gd name="T5" fmla="*/ 229 h 455"/>
                  <a:gd name="T6" fmla="*/ 250 w 307"/>
                  <a:gd name="T7" fmla="*/ 244 h 455"/>
                  <a:gd name="T8" fmla="*/ 250 w 307"/>
                  <a:gd name="T9" fmla="*/ 378 h 455"/>
                  <a:gd name="T10" fmla="*/ 199 w 307"/>
                  <a:gd name="T11" fmla="*/ 408 h 455"/>
                  <a:gd name="T12" fmla="*/ 61 w 307"/>
                  <a:gd name="T13" fmla="*/ 231 h 455"/>
                  <a:gd name="T14" fmla="*/ 238 w 307"/>
                  <a:gd name="T15" fmla="*/ 49 h 455"/>
                  <a:gd name="T16" fmla="*/ 270 w 307"/>
                  <a:gd name="T17" fmla="*/ 49 h 455"/>
                  <a:gd name="T18" fmla="*/ 286 w 307"/>
                  <a:gd name="T19" fmla="*/ 23 h 455"/>
                  <a:gd name="T20" fmla="*/ 244 w 307"/>
                  <a:gd name="T21" fmla="*/ 0 h 455"/>
                  <a:gd name="T22" fmla="*/ 231 w 307"/>
                  <a:gd name="T23" fmla="*/ 0 h 455"/>
                  <a:gd name="T24" fmla="*/ 0 w 307"/>
                  <a:gd name="T25" fmla="*/ 232 h 455"/>
                  <a:gd name="T26" fmla="*/ 198 w 307"/>
                  <a:gd name="T27" fmla="*/ 455 h 455"/>
                  <a:gd name="T28" fmla="*/ 307 w 307"/>
                  <a:gd name="T29" fmla="*/ 405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7" h="455">
                    <a:moveTo>
                      <a:pt x="307" y="405"/>
                    </a:moveTo>
                    <a:cubicBezTo>
                      <a:pt x="307" y="244"/>
                      <a:pt x="307" y="244"/>
                      <a:pt x="307" y="244"/>
                    </a:cubicBezTo>
                    <a:cubicBezTo>
                      <a:pt x="307" y="234"/>
                      <a:pt x="298" y="229"/>
                      <a:pt x="279" y="229"/>
                    </a:cubicBezTo>
                    <a:cubicBezTo>
                      <a:pt x="259" y="229"/>
                      <a:pt x="250" y="234"/>
                      <a:pt x="250" y="244"/>
                    </a:cubicBezTo>
                    <a:cubicBezTo>
                      <a:pt x="250" y="378"/>
                      <a:pt x="250" y="378"/>
                      <a:pt x="250" y="378"/>
                    </a:cubicBezTo>
                    <a:cubicBezTo>
                      <a:pt x="250" y="399"/>
                      <a:pt x="241" y="408"/>
                      <a:pt x="199" y="408"/>
                    </a:cubicBezTo>
                    <a:cubicBezTo>
                      <a:pt x="114" y="408"/>
                      <a:pt x="61" y="342"/>
                      <a:pt x="61" y="231"/>
                    </a:cubicBezTo>
                    <a:cubicBezTo>
                      <a:pt x="61" y="115"/>
                      <a:pt x="126" y="49"/>
                      <a:pt x="238" y="49"/>
                    </a:cubicBezTo>
                    <a:cubicBezTo>
                      <a:pt x="270" y="49"/>
                      <a:pt x="270" y="49"/>
                      <a:pt x="270" y="49"/>
                    </a:cubicBezTo>
                    <a:cubicBezTo>
                      <a:pt x="282" y="49"/>
                      <a:pt x="286" y="39"/>
                      <a:pt x="286" y="23"/>
                    </a:cubicBezTo>
                    <a:cubicBezTo>
                      <a:pt x="286" y="4"/>
                      <a:pt x="275" y="0"/>
                      <a:pt x="244" y="0"/>
                    </a:cubicBezTo>
                    <a:cubicBezTo>
                      <a:pt x="231" y="0"/>
                      <a:pt x="231" y="0"/>
                      <a:pt x="231" y="0"/>
                    </a:cubicBezTo>
                    <a:cubicBezTo>
                      <a:pt x="101" y="0"/>
                      <a:pt x="0" y="71"/>
                      <a:pt x="0" y="232"/>
                    </a:cubicBezTo>
                    <a:cubicBezTo>
                      <a:pt x="0" y="386"/>
                      <a:pt x="88" y="455"/>
                      <a:pt x="198" y="455"/>
                    </a:cubicBezTo>
                    <a:cubicBezTo>
                      <a:pt x="286" y="455"/>
                      <a:pt x="307" y="430"/>
                      <a:pt x="307" y="40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26" name="Oval 11">
                <a:extLst>
                  <a:ext uri="{FF2B5EF4-FFF2-40B4-BE49-F238E27FC236}">
                    <a16:creationId xmlns:a16="http://schemas.microsoft.com/office/drawing/2014/main" id="{14F8C3C8-4888-7646-B9B4-64EB46A1DA23}"/>
                  </a:ext>
                </a:extLst>
              </p:cNvPr>
              <p:cNvSpPr>
                <a:spLocks noChangeArrowheads="1"/>
              </p:cNvSpPr>
              <p:nvPr/>
            </p:nvSpPr>
            <p:spPr bwMode="gray">
              <a:xfrm>
                <a:off x="3778" y="2099"/>
                <a:ext cx="122" cy="12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27" name="Freeform 12">
                <a:extLst>
                  <a:ext uri="{FF2B5EF4-FFF2-40B4-BE49-F238E27FC236}">
                    <a16:creationId xmlns:a16="http://schemas.microsoft.com/office/drawing/2014/main" id="{D79D01D1-4E3E-F34B-97D7-2D387E68746E}"/>
                  </a:ext>
                </a:extLst>
              </p:cNvPr>
              <p:cNvSpPr>
                <a:spLocks/>
              </p:cNvSpPr>
              <p:nvPr/>
            </p:nvSpPr>
            <p:spPr bwMode="gray">
              <a:xfrm>
                <a:off x="4321" y="1029"/>
                <a:ext cx="648" cy="649"/>
              </a:xfrm>
              <a:custGeom>
                <a:avLst/>
                <a:gdLst>
                  <a:gd name="T0" fmla="*/ 0 w 648"/>
                  <a:gd name="T1" fmla="*/ 649 h 649"/>
                  <a:gd name="T2" fmla="*/ 2 w 648"/>
                  <a:gd name="T3" fmla="*/ 649 h 649"/>
                  <a:gd name="T4" fmla="*/ 648 w 648"/>
                  <a:gd name="T5" fmla="*/ 0 h 649"/>
                  <a:gd name="T6" fmla="*/ 423 w 648"/>
                  <a:gd name="T7" fmla="*/ 0 h 649"/>
                  <a:gd name="T8" fmla="*/ 0 w 648"/>
                  <a:gd name="T9" fmla="*/ 649 h 649"/>
                </a:gdLst>
                <a:ahLst/>
                <a:cxnLst>
                  <a:cxn ang="0">
                    <a:pos x="T0" y="T1"/>
                  </a:cxn>
                  <a:cxn ang="0">
                    <a:pos x="T2" y="T3"/>
                  </a:cxn>
                  <a:cxn ang="0">
                    <a:pos x="T4" y="T5"/>
                  </a:cxn>
                  <a:cxn ang="0">
                    <a:pos x="T6" y="T7"/>
                  </a:cxn>
                  <a:cxn ang="0">
                    <a:pos x="T8" y="T9"/>
                  </a:cxn>
                </a:cxnLst>
                <a:rect l="0" t="0" r="r" b="b"/>
                <a:pathLst>
                  <a:path w="648" h="649">
                    <a:moveTo>
                      <a:pt x="0" y="649"/>
                    </a:moveTo>
                    <a:lnTo>
                      <a:pt x="2" y="649"/>
                    </a:lnTo>
                    <a:lnTo>
                      <a:pt x="648" y="0"/>
                    </a:lnTo>
                    <a:lnTo>
                      <a:pt x="423" y="0"/>
                    </a:lnTo>
                    <a:lnTo>
                      <a:pt x="0" y="64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28" name="Freeform 13">
                <a:extLst>
                  <a:ext uri="{FF2B5EF4-FFF2-40B4-BE49-F238E27FC236}">
                    <a16:creationId xmlns:a16="http://schemas.microsoft.com/office/drawing/2014/main" id="{46549898-6C52-B147-A8F6-A73FDBE6163B}"/>
                  </a:ext>
                </a:extLst>
              </p:cNvPr>
              <p:cNvSpPr>
                <a:spLocks/>
              </p:cNvSpPr>
              <p:nvPr/>
            </p:nvSpPr>
            <p:spPr bwMode="gray">
              <a:xfrm>
                <a:off x="4321" y="1029"/>
                <a:ext cx="648" cy="649"/>
              </a:xfrm>
              <a:custGeom>
                <a:avLst/>
                <a:gdLst>
                  <a:gd name="T0" fmla="*/ 0 w 648"/>
                  <a:gd name="T1" fmla="*/ 649 h 649"/>
                  <a:gd name="T2" fmla="*/ 2 w 648"/>
                  <a:gd name="T3" fmla="*/ 649 h 649"/>
                  <a:gd name="T4" fmla="*/ 648 w 648"/>
                  <a:gd name="T5" fmla="*/ 0 h 649"/>
                  <a:gd name="T6" fmla="*/ 423 w 648"/>
                  <a:gd name="T7" fmla="*/ 0 h 649"/>
                  <a:gd name="T8" fmla="*/ 0 w 648"/>
                  <a:gd name="T9" fmla="*/ 649 h 649"/>
                </a:gdLst>
                <a:ahLst/>
                <a:cxnLst>
                  <a:cxn ang="0">
                    <a:pos x="T0" y="T1"/>
                  </a:cxn>
                  <a:cxn ang="0">
                    <a:pos x="T2" y="T3"/>
                  </a:cxn>
                  <a:cxn ang="0">
                    <a:pos x="T4" y="T5"/>
                  </a:cxn>
                  <a:cxn ang="0">
                    <a:pos x="T6" y="T7"/>
                  </a:cxn>
                  <a:cxn ang="0">
                    <a:pos x="T8" y="T9"/>
                  </a:cxn>
                </a:cxnLst>
                <a:rect l="0" t="0" r="r" b="b"/>
                <a:pathLst>
                  <a:path w="648" h="649">
                    <a:moveTo>
                      <a:pt x="0" y="649"/>
                    </a:moveTo>
                    <a:lnTo>
                      <a:pt x="2" y="649"/>
                    </a:lnTo>
                    <a:lnTo>
                      <a:pt x="648" y="0"/>
                    </a:lnTo>
                    <a:lnTo>
                      <a:pt x="423" y="0"/>
                    </a:lnTo>
                    <a:lnTo>
                      <a:pt x="0" y="64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grpSp>
      </p:grpSp>
      <p:sp>
        <p:nvSpPr>
          <p:cNvPr id="7" name="Date Placeholder 6"/>
          <p:cNvSpPr>
            <a:spLocks noGrp="1"/>
          </p:cNvSpPr>
          <p:nvPr>
            <p:ph type="dt" sz="half" idx="10"/>
          </p:nvPr>
        </p:nvSpPr>
        <p:spPr>
          <a:xfrm>
            <a:off x="0" y="0"/>
            <a:ext cx="0" cy="0"/>
          </a:xfrm>
          <a:prstGeom prst="rect">
            <a:avLst/>
          </a:prstGeom>
        </p:spPr>
        <p:txBody>
          <a:bodyPr/>
          <a:lstStyle>
            <a:lvl1pPr>
              <a:defRPr sz="100">
                <a:noFill/>
              </a:defRPr>
            </a:lvl1pPr>
          </a:lstStyle>
          <a:p>
            <a:fld id="{D76217CC-534C-41BF-930C-27B1184E95F2}" type="datetime5">
              <a:rPr lang="en-US" smtClean="0"/>
              <a:t>26-Jun-20</a:t>
            </a:fld>
            <a:endParaRPr lang="en-US"/>
          </a:p>
        </p:txBody>
      </p:sp>
      <p:sp>
        <p:nvSpPr>
          <p:cNvPr id="8" name="Footer Placeholder 7"/>
          <p:cNvSpPr>
            <a:spLocks noGrp="1"/>
          </p:cNvSpPr>
          <p:nvPr>
            <p:ph type="ftr" sz="quarter" idx="11"/>
          </p:nvPr>
        </p:nvSpPr>
        <p:spPr>
          <a:xfrm>
            <a:off x="0" y="0"/>
            <a:ext cx="0" cy="0"/>
          </a:xfrm>
          <a:prstGeom prst="rect">
            <a:avLst/>
          </a:prstGeom>
        </p:spPr>
        <p:txBody>
          <a:bodyPr/>
          <a:lstStyle>
            <a:lvl1pPr marL="0" indent="0">
              <a:buNone/>
              <a:defRPr sz="100">
                <a:noFill/>
              </a:defRPr>
            </a:lvl1pPr>
          </a:lstStyle>
          <a:p>
            <a:r>
              <a:rPr lang="en-US"/>
              <a:t>Title of presentation (Insert / Header &amp; Footer / Apply to All)</a:t>
            </a:r>
          </a:p>
        </p:txBody>
      </p:sp>
      <p:sp>
        <p:nvSpPr>
          <p:cNvPr id="9" name="Slide Number Placeholder 8"/>
          <p:cNvSpPr>
            <a:spLocks noGrp="1"/>
          </p:cNvSpPr>
          <p:nvPr>
            <p:ph type="sldNum" sz="quarter" idx="12"/>
          </p:nvPr>
        </p:nvSpPr>
        <p:spPr>
          <a:xfrm>
            <a:off x="0" y="0"/>
            <a:ext cx="0" cy="0"/>
          </a:xfrm>
          <a:prstGeom prst="rect">
            <a:avLst/>
          </a:prstGeom>
        </p:spPr>
        <p:txBody>
          <a:bodyPr/>
          <a:lstStyle>
            <a:lvl1pPr>
              <a:defRPr sz="100">
                <a:noFill/>
              </a:defRPr>
            </a:lvl1pPr>
          </a:lstStyle>
          <a:p>
            <a:fld id="{8E3B25F7-8D1F-44B5-B485-EE3C438CFD7B}" type="slidenum">
              <a:rPr lang="en-US" smtClean="0"/>
              <a:pPr/>
              <a:t>‹#›</a:t>
            </a:fld>
            <a:endParaRPr lang="en-US"/>
          </a:p>
        </p:txBody>
      </p:sp>
      <p:sp>
        <p:nvSpPr>
          <p:cNvPr id="2" name="Title 1"/>
          <p:cNvSpPr>
            <a:spLocks noGrp="1"/>
          </p:cNvSpPr>
          <p:nvPr>
            <p:ph type="ctrTitle" hasCustomPrompt="1"/>
          </p:nvPr>
        </p:nvSpPr>
        <p:spPr>
          <a:xfrm>
            <a:off x="4777671" y="2019727"/>
            <a:ext cx="3816000" cy="2236264"/>
          </a:xfrm>
        </p:spPr>
        <p:txBody>
          <a:bodyPr anchor="b"/>
          <a:lstStyle>
            <a:lvl1pPr algn="l">
              <a:defRPr sz="3600"/>
            </a:lvl1pPr>
          </a:lstStyle>
          <a:p>
            <a:r>
              <a:rPr lang="en-US"/>
              <a:t>Click to add thank you</a:t>
            </a:r>
          </a:p>
        </p:txBody>
      </p:sp>
    </p:spTree>
    <p:extLst>
      <p:ext uri="{BB962C8B-B14F-4D97-AF65-F5344CB8AC3E}">
        <p14:creationId xmlns:p14="http://schemas.microsoft.com/office/powerpoint/2010/main" val="137255795"/>
      </p:ext>
    </p:extLst>
  </p:cSld>
  <p:clrMapOvr>
    <a:masterClrMapping/>
  </p:clrMapOvr>
</p:sldLayout>
</file>

<file path=ppt/slideLayouts/slideLayout561.xml><?xml version="1.0" encoding="utf-8"?>
<p:sldLayout xmlns:a="http://schemas.openxmlformats.org/drawingml/2006/main" xmlns:r="http://schemas.openxmlformats.org/officeDocument/2006/relationships" xmlns:p="http://schemas.openxmlformats.org/presentationml/2006/main" preserve="1">
  <p:cSld name="Empty">
    <p:spTree>
      <p:nvGrpSpPr>
        <p:cNvPr id="1" name=""/>
        <p:cNvGrpSpPr/>
        <p:nvPr/>
      </p:nvGrpSpPr>
      <p:grpSpPr>
        <a:xfrm>
          <a:off x="0" y="0"/>
          <a:ext cx="0" cy="0"/>
          <a:chOff x="0" y="0"/>
          <a:chExt cx="0" cy="0"/>
        </a:xfrm>
      </p:grpSpPr>
      <p:sp>
        <p:nvSpPr>
          <p:cNvPr id="5" name="Rectangle 4"/>
          <p:cNvSpPr/>
          <p:nvPr/>
        </p:nvSpPr>
        <p:spPr bwMode="white">
          <a:xfrm>
            <a:off x="0" y="0"/>
            <a:ext cx="514350" cy="16287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Date Placeholder 5"/>
          <p:cNvSpPr>
            <a:spLocks noGrp="1"/>
          </p:cNvSpPr>
          <p:nvPr>
            <p:ph type="dt" sz="half" idx="10"/>
          </p:nvPr>
        </p:nvSpPr>
        <p:spPr/>
        <p:txBody>
          <a:bodyPr/>
          <a:lstStyle/>
          <a:p>
            <a:fld id="{2DD22AFC-145E-4433-8756-926F8A0E61FA}" type="datetime5">
              <a:rPr lang="en-US" smtClean="0"/>
              <a:t>26-Jun-20</a:t>
            </a:fld>
            <a:endParaRPr lang="en-US"/>
          </a:p>
        </p:txBody>
      </p:sp>
      <p:sp>
        <p:nvSpPr>
          <p:cNvPr id="7" name="Footer Placeholder 6"/>
          <p:cNvSpPr>
            <a:spLocks noGrp="1"/>
          </p:cNvSpPr>
          <p:nvPr>
            <p:ph type="ftr" sz="quarter" idx="11"/>
          </p:nvPr>
        </p:nvSpPr>
        <p:spPr/>
        <p:txBody>
          <a:bodyPr/>
          <a:lstStyle/>
          <a:p>
            <a:r>
              <a:rPr lang="en-US"/>
              <a:t>Title of presentation (Insert / Header &amp; Footer / Apply to All)</a:t>
            </a:r>
          </a:p>
        </p:txBody>
      </p:sp>
      <p:sp>
        <p:nvSpPr>
          <p:cNvPr id="8" name="Slide Number Placeholder 7"/>
          <p:cNvSpPr>
            <a:spLocks noGrp="1"/>
          </p:cNvSpPr>
          <p:nvPr>
            <p:ph type="sldNum" sz="quarter" idx="12"/>
          </p:nvPr>
        </p:nvSpPr>
        <p:spPr/>
        <p:txBody>
          <a:bodyPr/>
          <a:lstStyle/>
          <a:p>
            <a:fld id="{5F3E29E4-0979-4FCA-B4C5-5FC6044C982A}" type="slidenum">
              <a:rPr lang="en-US" smtClean="0"/>
              <a:pPr/>
              <a:t>‹#›</a:t>
            </a:fld>
            <a:endParaRPr lang="en-US"/>
          </a:p>
        </p:txBody>
      </p:sp>
      <p:sp>
        <p:nvSpPr>
          <p:cNvPr id="10" name="Text Placeholder 4"/>
          <p:cNvSpPr>
            <a:spLocks noGrp="1"/>
          </p:cNvSpPr>
          <p:nvPr>
            <p:ph type="body" sz="quarter" idx="17" hasCustomPrompt="1"/>
          </p:nvPr>
        </p:nvSpPr>
        <p:spPr>
          <a:xfrm>
            <a:off x="1075063" y="6307665"/>
            <a:ext cx="8162717" cy="133200"/>
          </a:xfrm>
        </p:spPr>
        <p:txBody>
          <a:bodyPr lIns="0" tIns="0" rIns="0" bIns="0" anchor="b" anchorCtr="0"/>
          <a:lstStyle>
            <a:lvl1pPr marL="0" indent="0" algn="l">
              <a:lnSpc>
                <a:spcPct val="100000"/>
              </a:lnSpc>
              <a:spcBef>
                <a:spcPts val="0"/>
              </a:spcBef>
              <a:buNone/>
              <a:defRPr sz="800" baseline="0"/>
            </a:lvl1pPr>
            <a:lvl2pPr marL="0" indent="0" algn="l">
              <a:lnSpc>
                <a:spcPct val="100000"/>
              </a:lnSpc>
              <a:spcBef>
                <a:spcPts val="0"/>
              </a:spcBef>
              <a:buNone/>
              <a:defRPr sz="800"/>
            </a:lvl2pPr>
            <a:lvl3pPr marL="0" indent="0" algn="l">
              <a:lnSpc>
                <a:spcPct val="100000"/>
              </a:lnSpc>
              <a:spcBef>
                <a:spcPts val="0"/>
              </a:spcBef>
              <a:buNone/>
              <a:defRPr sz="800"/>
            </a:lvl3pPr>
            <a:lvl4pPr marL="0" algn="l">
              <a:lnSpc>
                <a:spcPct val="100000"/>
              </a:lnSpc>
              <a:spcBef>
                <a:spcPts val="0"/>
              </a:spcBef>
              <a:buNone/>
              <a:defRPr sz="800"/>
            </a:lvl4pPr>
            <a:lvl5pPr marL="0" indent="0" algn="l">
              <a:lnSpc>
                <a:spcPct val="100000"/>
              </a:lnSpc>
              <a:spcBef>
                <a:spcPts val="0"/>
              </a:spcBef>
              <a:buNone/>
              <a:defRPr sz="800"/>
            </a:lvl5pPr>
          </a:lstStyle>
          <a:p>
            <a:pPr lvl="0"/>
            <a:r>
              <a:rPr lang="en-US"/>
              <a:t>Source line</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4450650"/>
      </p:ext>
    </p:extLst>
  </p:cSld>
  <p:clrMapOvr>
    <a:masterClrMapping/>
  </p:clrMapOvr>
</p:sldLayout>
</file>

<file path=ppt/slideLayouts/slideLayout562.xml><?xml version="1.0" encoding="utf-8"?>
<p:sldLayout xmlns:a="http://schemas.openxmlformats.org/drawingml/2006/main" xmlns:r="http://schemas.openxmlformats.org/officeDocument/2006/relationships" xmlns:p="http://schemas.openxmlformats.org/presentationml/2006/main" type="vertTx" preserve="1">
  <p:cSld name="Заголовок и вертикальный текст">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ru-RU"/>
              <a:t>Образец заголовка</a:t>
            </a:r>
            <a:endParaRPr lang="en-US"/>
          </a:p>
        </p:txBody>
      </p:sp>
      <p:sp>
        <p:nvSpPr>
          <p:cNvPr id="3" name="Vertical Text Placeholder 2"/>
          <p:cNvSpPr>
            <a:spLocks noGrp="1"/>
          </p:cNvSpPr>
          <p:nvPr>
            <p:ph type="body" orient="vert" idx="1"/>
          </p:nvPr>
        </p:nvSpPr>
        <p:spPr/>
        <p:txBody>
          <a:bodyPr vert="eaVert"/>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endParaRPr lang="en-US"/>
          </a:p>
        </p:txBody>
      </p:sp>
      <p:sp>
        <p:nvSpPr>
          <p:cNvPr id="7" name="Date Placeholder 6"/>
          <p:cNvSpPr>
            <a:spLocks noGrp="1"/>
          </p:cNvSpPr>
          <p:nvPr>
            <p:ph type="dt" sz="half" idx="10"/>
          </p:nvPr>
        </p:nvSpPr>
        <p:spPr/>
        <p:txBody>
          <a:bodyPr/>
          <a:lstStyle/>
          <a:p>
            <a:fld id="{AF5B2FD7-A1C3-4F99-9996-6254468DC4CB}" type="datetime5">
              <a:rPr lang="en-US" smtClean="0"/>
              <a:t>26-Jun-20</a:t>
            </a:fld>
            <a:endParaRPr lang="en-US"/>
          </a:p>
        </p:txBody>
      </p:sp>
      <p:sp>
        <p:nvSpPr>
          <p:cNvPr id="8" name="Footer Placeholder 7"/>
          <p:cNvSpPr>
            <a:spLocks noGrp="1"/>
          </p:cNvSpPr>
          <p:nvPr>
            <p:ph type="ftr" sz="quarter" idx="11"/>
          </p:nvPr>
        </p:nvSpPr>
        <p:spPr/>
        <p:txBody>
          <a:bodyPr/>
          <a:lstStyle/>
          <a:p>
            <a:r>
              <a:rPr lang="en-US"/>
              <a:t>Title of presentation (Insert / Header &amp; Footer / Apply to All)</a:t>
            </a:r>
          </a:p>
        </p:txBody>
      </p:sp>
      <p:sp>
        <p:nvSpPr>
          <p:cNvPr id="9" name="Slide Number Placeholder 8"/>
          <p:cNvSpPr>
            <a:spLocks noGrp="1"/>
          </p:cNvSpPr>
          <p:nvPr>
            <p:ph type="sldNum" sz="quarter" idx="12"/>
          </p:nvPr>
        </p:nvSpPr>
        <p:spPr/>
        <p:txBody>
          <a:bodyPr/>
          <a:lstStyle/>
          <a:p>
            <a:fld id="{5F3E29E4-0979-4FCA-B4C5-5FC6044C982A}" type="slidenum">
              <a:rPr lang="en-US" smtClean="0"/>
              <a:pPr/>
              <a:t>‹#›</a:t>
            </a:fld>
            <a:endParaRPr lang="en-US"/>
          </a:p>
        </p:txBody>
      </p:sp>
    </p:spTree>
    <p:extLst>
      <p:ext uri="{BB962C8B-B14F-4D97-AF65-F5344CB8AC3E}">
        <p14:creationId xmlns:p14="http://schemas.microsoft.com/office/powerpoint/2010/main" val="1311087892"/>
      </p:ext>
    </p:extLst>
  </p:cSld>
  <p:clrMapOvr>
    <a:masterClrMapping/>
  </p:clrMapOvr>
</p:sldLayout>
</file>

<file path=ppt/slideLayouts/slideLayout563.xml><?xml version="1.0" encoding="utf-8"?>
<p:sldLayout xmlns:a="http://schemas.openxmlformats.org/drawingml/2006/main" xmlns:r="http://schemas.openxmlformats.org/officeDocument/2006/relationships" xmlns:p="http://schemas.openxmlformats.org/presentationml/2006/main" type="vertTitleAndTx" preserve="1">
  <p:cSld name="Вертикальный заголовок и текст">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196278" y="404813"/>
            <a:ext cx="1400175" cy="5832474"/>
          </a:xfrm>
        </p:spPr>
        <p:txBody>
          <a:bodyPr vert="eaVert"/>
          <a:lstStyle/>
          <a:p>
            <a:r>
              <a:rPr lang="ru-RU"/>
              <a:t>Образец заголовка</a:t>
            </a:r>
            <a:endParaRPr lang="en-US"/>
          </a:p>
        </p:txBody>
      </p:sp>
      <p:sp>
        <p:nvSpPr>
          <p:cNvPr id="3" name="Vertical Text Placeholder 2"/>
          <p:cNvSpPr>
            <a:spLocks noGrp="1"/>
          </p:cNvSpPr>
          <p:nvPr>
            <p:ph type="body" orient="vert" idx="1"/>
          </p:nvPr>
        </p:nvSpPr>
        <p:spPr>
          <a:xfrm>
            <a:off x="1076400" y="404813"/>
            <a:ext cx="5943525" cy="5832474"/>
          </a:xfrm>
        </p:spPr>
        <p:txBody>
          <a:bodyPr vert="eaVert"/>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endParaRPr lang="en-US"/>
          </a:p>
        </p:txBody>
      </p:sp>
      <p:sp>
        <p:nvSpPr>
          <p:cNvPr id="7" name="Date Placeholder 6"/>
          <p:cNvSpPr>
            <a:spLocks noGrp="1"/>
          </p:cNvSpPr>
          <p:nvPr>
            <p:ph type="dt" sz="half" idx="10"/>
          </p:nvPr>
        </p:nvSpPr>
        <p:spPr/>
        <p:txBody>
          <a:bodyPr/>
          <a:lstStyle/>
          <a:p>
            <a:fld id="{A1079567-0E61-4D85-B570-3273C3AD246A}" type="datetime5">
              <a:rPr lang="en-US" smtClean="0"/>
              <a:t>26-Jun-20</a:t>
            </a:fld>
            <a:endParaRPr lang="en-US"/>
          </a:p>
        </p:txBody>
      </p:sp>
      <p:sp>
        <p:nvSpPr>
          <p:cNvPr id="8" name="Footer Placeholder 7"/>
          <p:cNvSpPr>
            <a:spLocks noGrp="1"/>
          </p:cNvSpPr>
          <p:nvPr>
            <p:ph type="ftr" sz="quarter" idx="11"/>
          </p:nvPr>
        </p:nvSpPr>
        <p:spPr/>
        <p:txBody>
          <a:bodyPr/>
          <a:lstStyle/>
          <a:p>
            <a:r>
              <a:rPr lang="en-US"/>
              <a:t>Title of presentation (Insert / Header &amp; Footer / Apply to All)</a:t>
            </a:r>
          </a:p>
        </p:txBody>
      </p:sp>
      <p:sp>
        <p:nvSpPr>
          <p:cNvPr id="9" name="Slide Number Placeholder 8"/>
          <p:cNvSpPr>
            <a:spLocks noGrp="1"/>
          </p:cNvSpPr>
          <p:nvPr>
            <p:ph type="sldNum" sz="quarter" idx="12"/>
          </p:nvPr>
        </p:nvSpPr>
        <p:spPr/>
        <p:txBody>
          <a:bodyPr/>
          <a:lstStyle/>
          <a:p>
            <a:fld id="{5F3E29E4-0979-4FCA-B4C5-5FC6044C982A}" type="slidenum">
              <a:rPr lang="en-US" smtClean="0"/>
              <a:pPr/>
              <a:t>‹#›</a:t>
            </a:fld>
            <a:endParaRPr lang="en-US"/>
          </a:p>
        </p:txBody>
      </p:sp>
    </p:spTree>
    <p:extLst>
      <p:ext uri="{BB962C8B-B14F-4D97-AF65-F5344CB8AC3E}">
        <p14:creationId xmlns:p14="http://schemas.microsoft.com/office/powerpoint/2010/main" val="2151405373"/>
      </p:ext>
    </p:extLst>
  </p:cSld>
  <p:clrMapOvr>
    <a:masterClrMapping/>
  </p:clrMapOvr>
</p:sldLayout>
</file>

<file path=ppt/slideLayouts/slideLayout564.xml><?xml version="1.0" encoding="utf-8"?>
<p:sldLayout xmlns:a="http://schemas.openxmlformats.org/drawingml/2006/main" xmlns:r="http://schemas.openxmlformats.org/officeDocument/2006/relationships" xmlns:p="http://schemas.openxmlformats.org/presentationml/2006/main" userDrawn="1">
  <p:cSld name="1_Headline only">
    <p:spTree>
      <p:nvGrpSpPr>
        <p:cNvPr id="1" name=""/>
        <p:cNvGrpSpPr/>
        <p:nvPr/>
      </p:nvGrpSpPr>
      <p:grpSpPr>
        <a:xfrm>
          <a:off x="0" y="0"/>
          <a:ext cx="0" cy="0"/>
          <a:chOff x="0" y="0"/>
          <a:chExt cx="0" cy="0"/>
        </a:xfrm>
      </p:grpSpPr>
      <p:sp>
        <p:nvSpPr>
          <p:cNvPr id="3" name="Textplatzhalter 2"/>
          <p:cNvSpPr>
            <a:spLocks noGrp="1"/>
          </p:cNvSpPr>
          <p:nvPr>
            <p:ph type="body" sz="quarter" idx="10" hasCustomPrompt="1"/>
          </p:nvPr>
        </p:nvSpPr>
        <p:spPr bwMode="gray">
          <a:xfrm>
            <a:off x="431213" y="1220755"/>
            <a:ext cx="11328987" cy="384340"/>
          </a:xfrm>
        </p:spPr>
        <p:txBody>
          <a:bodyPr>
            <a:noAutofit/>
          </a:bodyPr>
          <a:lstStyle>
            <a:lvl1pPr marL="0" indent="0">
              <a:lnSpc>
                <a:spcPct val="100000"/>
              </a:lnSpc>
              <a:spcBef>
                <a:spcPts val="800"/>
              </a:spcBef>
              <a:buFont typeface="Arial" panose="020B0604020202020204" pitchFamily="34" charset="0"/>
              <a:buNone/>
              <a:defRPr lang="en-GB" sz="2399" kern="1200" noProof="0" smtClean="0">
                <a:solidFill>
                  <a:schemeClr val="tx2"/>
                </a:solidFill>
                <a:latin typeface="Arial" pitchFamily="34" charset="0"/>
                <a:ea typeface="+mn-ea"/>
                <a:cs typeface="Arial" pitchFamily="34" charset="0"/>
              </a:defRPr>
            </a:lvl1pPr>
            <a:lvl2pPr marL="0" indent="0">
              <a:lnSpc>
                <a:spcPct val="100000"/>
              </a:lnSpc>
              <a:spcBef>
                <a:spcPts val="800"/>
              </a:spcBef>
              <a:buFont typeface="Arial" panose="020B0604020202020204" pitchFamily="34" charset="0"/>
              <a:buNone/>
              <a:defRPr lang="en-GB" sz="2399" kern="1200" noProof="0" smtClean="0">
                <a:solidFill>
                  <a:schemeClr val="tx2"/>
                </a:solidFill>
                <a:latin typeface="Arial" pitchFamily="34" charset="0"/>
                <a:ea typeface="+mn-ea"/>
                <a:cs typeface="Arial" pitchFamily="34" charset="0"/>
              </a:defRPr>
            </a:lvl2pPr>
            <a:lvl3pPr marL="0" indent="0">
              <a:lnSpc>
                <a:spcPct val="100000"/>
              </a:lnSpc>
              <a:spcBef>
                <a:spcPts val="800"/>
              </a:spcBef>
              <a:buFont typeface="Arial" panose="020B0604020202020204" pitchFamily="34" charset="0"/>
              <a:buNone/>
              <a:defRPr lang="en-GB" sz="2399" kern="1200" noProof="0" smtClean="0">
                <a:solidFill>
                  <a:schemeClr val="tx2"/>
                </a:solidFill>
                <a:latin typeface="Arial" pitchFamily="34" charset="0"/>
                <a:ea typeface="+mn-ea"/>
                <a:cs typeface="Arial" pitchFamily="34" charset="0"/>
              </a:defRPr>
            </a:lvl3pPr>
            <a:lvl4pPr marL="0" indent="0">
              <a:lnSpc>
                <a:spcPct val="100000"/>
              </a:lnSpc>
              <a:spcBef>
                <a:spcPts val="800"/>
              </a:spcBef>
              <a:buFont typeface="Arial" panose="020B0604020202020204" pitchFamily="34" charset="0"/>
              <a:buNone/>
              <a:defRPr lang="en-GB" sz="2399" kern="1200" noProof="0" smtClean="0">
                <a:solidFill>
                  <a:schemeClr val="tx2"/>
                </a:solidFill>
                <a:latin typeface="Arial" pitchFamily="34" charset="0"/>
                <a:ea typeface="+mn-ea"/>
                <a:cs typeface="Arial" pitchFamily="34" charset="0"/>
              </a:defRPr>
            </a:lvl4pPr>
            <a:lvl5pPr marL="0" indent="0">
              <a:lnSpc>
                <a:spcPct val="100000"/>
              </a:lnSpc>
              <a:spcBef>
                <a:spcPts val="800"/>
              </a:spcBef>
              <a:buFont typeface="Arial" panose="020B0604020202020204" pitchFamily="34" charset="0"/>
              <a:buNone/>
              <a:defRPr lang="en-GB" sz="2399" kern="1200" noProof="0" smtClean="0">
                <a:solidFill>
                  <a:schemeClr val="tx2"/>
                </a:solidFill>
                <a:latin typeface="Arial" pitchFamily="34" charset="0"/>
                <a:ea typeface="+mn-ea"/>
                <a:cs typeface="Arial" pitchFamily="34" charset="0"/>
              </a:defRPr>
            </a:lvl5pPr>
            <a:lvl6pPr marL="0" indent="0">
              <a:lnSpc>
                <a:spcPct val="100000"/>
              </a:lnSpc>
              <a:spcBef>
                <a:spcPts val="800"/>
              </a:spcBef>
              <a:buNone/>
              <a:defRPr lang="en-GB" sz="2399" kern="1200" noProof="0" smtClean="0">
                <a:solidFill>
                  <a:schemeClr val="tx2"/>
                </a:solidFill>
                <a:latin typeface="Arial" pitchFamily="34" charset="0"/>
                <a:ea typeface="+mn-ea"/>
                <a:cs typeface="Arial" pitchFamily="34" charset="0"/>
              </a:defRPr>
            </a:lvl6pPr>
            <a:lvl7pPr marL="0" indent="0">
              <a:lnSpc>
                <a:spcPct val="100000"/>
              </a:lnSpc>
              <a:spcBef>
                <a:spcPts val="800"/>
              </a:spcBef>
              <a:buNone/>
              <a:defRPr lang="en-GB" sz="2399" kern="1200" noProof="0" smtClean="0">
                <a:solidFill>
                  <a:schemeClr val="tx2"/>
                </a:solidFill>
                <a:latin typeface="Arial" pitchFamily="34" charset="0"/>
                <a:ea typeface="+mn-ea"/>
                <a:cs typeface="Arial" pitchFamily="34" charset="0"/>
              </a:defRPr>
            </a:lvl7pPr>
            <a:lvl8pPr marL="0" indent="0">
              <a:lnSpc>
                <a:spcPct val="100000"/>
              </a:lnSpc>
              <a:spcBef>
                <a:spcPts val="800"/>
              </a:spcBef>
              <a:buNone/>
              <a:defRPr lang="en-GB" sz="2399" kern="1200" noProof="0" smtClean="0">
                <a:solidFill>
                  <a:schemeClr val="tx2"/>
                </a:solidFill>
                <a:latin typeface="Arial" pitchFamily="34" charset="0"/>
                <a:ea typeface="+mn-ea"/>
                <a:cs typeface="Arial" pitchFamily="34" charset="0"/>
              </a:defRPr>
            </a:lvl8pPr>
            <a:lvl9pPr marL="0" indent="0">
              <a:lnSpc>
                <a:spcPct val="100000"/>
              </a:lnSpc>
              <a:spcBef>
                <a:spcPts val="800"/>
              </a:spcBef>
              <a:buNone/>
              <a:defRPr lang="de-DE" sz="2399" kern="1200" noProof="0" smtClean="0">
                <a:solidFill>
                  <a:schemeClr val="tx2"/>
                </a:solidFill>
                <a:latin typeface="Arial" pitchFamily="34" charset="0"/>
                <a:ea typeface="+mn-ea"/>
                <a:cs typeface="Arial" pitchFamily="34" charset="0"/>
              </a:defRPr>
            </a:lvl9pPr>
          </a:lstStyle>
          <a:p>
            <a:pPr lvl="0"/>
            <a:r>
              <a:rPr lang="en-US"/>
              <a:t>Click to add </a:t>
            </a:r>
            <a:r>
              <a:rPr lang="en-US" err="1"/>
              <a:t>subheadline</a:t>
            </a:r>
            <a:endParaRPr lang="en-US"/>
          </a:p>
        </p:txBody>
      </p:sp>
      <p:sp>
        <p:nvSpPr>
          <p:cNvPr id="4" name="Textplatzhalter 3"/>
          <p:cNvSpPr>
            <a:spLocks noGrp="1"/>
          </p:cNvSpPr>
          <p:nvPr>
            <p:ph type="body" sz="quarter" idx="11" hasCustomPrompt="1"/>
          </p:nvPr>
        </p:nvSpPr>
        <p:spPr bwMode="gray">
          <a:xfrm>
            <a:off x="431371" y="6404736"/>
            <a:ext cx="11328400" cy="192617"/>
          </a:xfrm>
        </p:spPr>
        <p:txBody>
          <a:bodyPr tIns="0" bIns="47999" anchor="b" anchorCtr="0">
            <a:noAutofit/>
          </a:bodyPr>
          <a:lstStyle>
            <a:lvl1pPr marL="0" marR="0" indent="0" algn="l" defTabSz="1218774" rtl="0" eaLnBrk="1" fontAlgn="auto" latinLnBrk="0" hangingPunct="1">
              <a:lnSpc>
                <a:spcPct val="100000"/>
              </a:lnSpc>
              <a:spcBef>
                <a:spcPts val="0"/>
              </a:spcBef>
              <a:spcAft>
                <a:spcPts val="0"/>
              </a:spcAft>
              <a:buClrTx/>
              <a:buSzTx/>
              <a:buFont typeface="Arial" pitchFamily="34" charset="0"/>
              <a:buNone/>
              <a:tabLst/>
              <a:defRPr lang="de-DE" sz="1100" kern="1200" baseline="0" noProof="0" smtClean="0">
                <a:solidFill>
                  <a:schemeClr val="bg2"/>
                </a:solidFill>
                <a:latin typeface="Arial" pitchFamily="34" charset="0"/>
                <a:ea typeface="+mn-ea"/>
                <a:cs typeface="Arial" pitchFamily="34" charset="0"/>
              </a:defRPr>
            </a:lvl1pPr>
            <a:lvl2pPr marL="0" indent="0">
              <a:lnSpc>
                <a:spcPct val="100000"/>
              </a:lnSpc>
              <a:spcBef>
                <a:spcPts val="0"/>
              </a:spcBef>
              <a:buFont typeface="Arial" panose="020B0604020202020204" pitchFamily="34" charset="0"/>
              <a:buNone/>
              <a:defRPr lang="de-DE" sz="1100" kern="1200" baseline="0" noProof="0" smtClean="0">
                <a:solidFill>
                  <a:schemeClr val="bg2"/>
                </a:solidFill>
                <a:latin typeface="Arial" pitchFamily="34" charset="0"/>
                <a:ea typeface="+mn-ea"/>
                <a:cs typeface="Arial" pitchFamily="34" charset="0"/>
              </a:defRPr>
            </a:lvl2pPr>
            <a:lvl3pPr marL="0" indent="0">
              <a:lnSpc>
                <a:spcPct val="100000"/>
              </a:lnSpc>
              <a:spcBef>
                <a:spcPts val="0"/>
              </a:spcBef>
              <a:buNone/>
              <a:defRPr lang="de-DE" sz="1100" kern="1200" baseline="0" noProof="0" smtClean="0">
                <a:solidFill>
                  <a:schemeClr val="bg2"/>
                </a:solidFill>
                <a:latin typeface="Arial" pitchFamily="34" charset="0"/>
                <a:ea typeface="+mn-ea"/>
                <a:cs typeface="Arial" pitchFamily="34" charset="0"/>
              </a:defRPr>
            </a:lvl3pPr>
            <a:lvl4pPr marL="0" indent="0">
              <a:lnSpc>
                <a:spcPct val="100000"/>
              </a:lnSpc>
              <a:spcBef>
                <a:spcPts val="0"/>
              </a:spcBef>
              <a:buNone/>
              <a:defRPr lang="de-DE" sz="1100" kern="1200" baseline="0" noProof="0" smtClean="0">
                <a:solidFill>
                  <a:schemeClr val="bg2"/>
                </a:solidFill>
                <a:latin typeface="Arial" pitchFamily="34" charset="0"/>
                <a:ea typeface="+mn-ea"/>
                <a:cs typeface="Arial" pitchFamily="34" charset="0"/>
              </a:defRPr>
            </a:lvl4pPr>
            <a:lvl5pPr marL="0" indent="0">
              <a:lnSpc>
                <a:spcPct val="100000"/>
              </a:lnSpc>
              <a:spcBef>
                <a:spcPts val="0"/>
              </a:spcBef>
              <a:buNone/>
              <a:defRPr lang="de-DE" sz="1100" kern="1200" baseline="0" noProof="0" smtClean="0">
                <a:solidFill>
                  <a:schemeClr val="bg2"/>
                </a:solidFill>
                <a:latin typeface="Arial" pitchFamily="34" charset="0"/>
                <a:ea typeface="+mn-ea"/>
                <a:cs typeface="Arial" pitchFamily="34" charset="0"/>
              </a:defRPr>
            </a:lvl5pPr>
            <a:lvl6pPr marL="0" indent="0">
              <a:lnSpc>
                <a:spcPct val="100000"/>
              </a:lnSpc>
              <a:spcBef>
                <a:spcPts val="0"/>
              </a:spcBef>
              <a:buNone/>
              <a:defRPr lang="de-DE" sz="1100" kern="1200" baseline="0" noProof="0" smtClean="0">
                <a:solidFill>
                  <a:schemeClr val="bg2"/>
                </a:solidFill>
                <a:latin typeface="Arial" pitchFamily="34" charset="0"/>
                <a:ea typeface="+mn-ea"/>
                <a:cs typeface="Arial" pitchFamily="34" charset="0"/>
              </a:defRPr>
            </a:lvl6pPr>
            <a:lvl7pPr marL="0" indent="0">
              <a:lnSpc>
                <a:spcPct val="100000"/>
              </a:lnSpc>
              <a:spcBef>
                <a:spcPts val="0"/>
              </a:spcBef>
              <a:buNone/>
              <a:defRPr lang="de-DE" sz="1100" kern="1200" baseline="0" noProof="0" dirty="0" smtClean="0">
                <a:solidFill>
                  <a:schemeClr val="bg2"/>
                </a:solidFill>
                <a:latin typeface="Arial" pitchFamily="34" charset="0"/>
                <a:ea typeface="+mn-ea"/>
                <a:cs typeface="Arial" pitchFamily="34" charset="0"/>
              </a:defRPr>
            </a:lvl7pPr>
            <a:lvl8pPr marL="0" indent="0">
              <a:lnSpc>
                <a:spcPct val="100000"/>
              </a:lnSpc>
              <a:spcBef>
                <a:spcPts val="0"/>
              </a:spcBef>
              <a:buNone/>
              <a:defRPr lang="de-DE" sz="1100" kern="1200" baseline="0" noProof="0" smtClean="0">
                <a:solidFill>
                  <a:schemeClr val="bg2"/>
                </a:solidFill>
                <a:latin typeface="Arial" pitchFamily="34" charset="0"/>
                <a:ea typeface="+mn-ea"/>
                <a:cs typeface="Arial" pitchFamily="34" charset="0"/>
              </a:defRPr>
            </a:lvl8pPr>
            <a:lvl9pPr marL="0" indent="0">
              <a:lnSpc>
                <a:spcPct val="100000"/>
              </a:lnSpc>
              <a:spcBef>
                <a:spcPts val="0"/>
              </a:spcBef>
              <a:buNone/>
              <a:defRPr lang="de-DE" sz="1100" kern="1200" baseline="0" noProof="0" smtClean="0">
                <a:solidFill>
                  <a:schemeClr val="bg2"/>
                </a:solidFill>
                <a:latin typeface="Arial" pitchFamily="34" charset="0"/>
                <a:ea typeface="+mn-ea"/>
                <a:cs typeface="Arial" pitchFamily="34" charset="0"/>
              </a:defRPr>
            </a:lvl9pPr>
          </a:lstStyle>
          <a:p>
            <a:pPr lvl="0"/>
            <a:r>
              <a:rPr lang="en-US"/>
              <a:t>Click to add source information</a:t>
            </a:r>
          </a:p>
        </p:txBody>
      </p:sp>
      <p:sp>
        <p:nvSpPr>
          <p:cNvPr id="5" name="Title 4"/>
          <p:cNvSpPr>
            <a:spLocks noGrp="1"/>
          </p:cNvSpPr>
          <p:nvPr>
            <p:ph type="title" hasCustomPrompt="1"/>
          </p:nvPr>
        </p:nvSpPr>
        <p:spPr/>
        <p:txBody>
          <a:bodyPr/>
          <a:lstStyle/>
          <a:p>
            <a:r>
              <a:rPr lang="en-US"/>
              <a:t>Click to add headline</a:t>
            </a:r>
          </a:p>
        </p:txBody>
      </p:sp>
    </p:spTree>
    <p:extLst>
      <p:ext uri="{BB962C8B-B14F-4D97-AF65-F5344CB8AC3E}">
        <p14:creationId xmlns:p14="http://schemas.microsoft.com/office/powerpoint/2010/main" val="1680229715"/>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Four contents (2)">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p>
            <a:r>
              <a:rPr lang="en-US"/>
              <a:t>Click to add headline</a:t>
            </a:r>
          </a:p>
        </p:txBody>
      </p:sp>
      <p:sp>
        <p:nvSpPr>
          <p:cNvPr id="7" name="Textplatzhalter 2"/>
          <p:cNvSpPr>
            <a:spLocks noGrp="1"/>
          </p:cNvSpPr>
          <p:nvPr>
            <p:ph type="body" sz="quarter" idx="11" hasCustomPrompt="1"/>
          </p:nvPr>
        </p:nvSpPr>
        <p:spPr bwMode="gray">
          <a:xfrm>
            <a:off x="431213" y="1220755"/>
            <a:ext cx="11328987" cy="384340"/>
          </a:xfrm>
        </p:spPr>
        <p:txBody>
          <a:bodyPr>
            <a:noAutofit/>
          </a:bodyPr>
          <a:lstStyle>
            <a:lvl1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1pPr>
            <a:lvl2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2pPr>
            <a:lvl3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3pPr>
            <a:lvl4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4pPr>
            <a:lvl5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5pPr>
            <a:lvl6pPr marL="0" indent="0">
              <a:lnSpc>
                <a:spcPct val="100000"/>
              </a:lnSpc>
              <a:spcBef>
                <a:spcPts val="800"/>
              </a:spcBef>
              <a:buNone/>
              <a:defRPr lang="en-GB" sz="2400" kern="1200" noProof="0" smtClean="0">
                <a:solidFill>
                  <a:schemeClr val="tx2"/>
                </a:solidFill>
                <a:latin typeface="Arial" pitchFamily="34" charset="0"/>
                <a:ea typeface="+mn-ea"/>
                <a:cs typeface="Arial" pitchFamily="34" charset="0"/>
              </a:defRPr>
            </a:lvl6pPr>
            <a:lvl7pPr marL="0" indent="0">
              <a:lnSpc>
                <a:spcPct val="100000"/>
              </a:lnSpc>
              <a:spcBef>
                <a:spcPts val="800"/>
              </a:spcBef>
              <a:buNone/>
              <a:defRPr lang="en-GB" sz="2400" kern="1200" noProof="0" smtClean="0">
                <a:solidFill>
                  <a:schemeClr val="tx2"/>
                </a:solidFill>
                <a:latin typeface="Arial" pitchFamily="34" charset="0"/>
                <a:ea typeface="+mn-ea"/>
                <a:cs typeface="Arial" pitchFamily="34" charset="0"/>
              </a:defRPr>
            </a:lvl7pPr>
            <a:lvl8pPr marL="0" indent="0">
              <a:lnSpc>
                <a:spcPct val="100000"/>
              </a:lnSpc>
              <a:spcBef>
                <a:spcPts val="800"/>
              </a:spcBef>
              <a:buNone/>
              <a:defRPr lang="en-GB" sz="2400" kern="1200" noProof="0" smtClean="0">
                <a:solidFill>
                  <a:schemeClr val="tx2"/>
                </a:solidFill>
                <a:latin typeface="Arial" pitchFamily="34" charset="0"/>
                <a:ea typeface="+mn-ea"/>
                <a:cs typeface="Arial" pitchFamily="34" charset="0"/>
              </a:defRPr>
            </a:lvl8pPr>
            <a:lvl9pPr marL="0" indent="0">
              <a:lnSpc>
                <a:spcPct val="100000"/>
              </a:lnSpc>
              <a:spcBef>
                <a:spcPts val="800"/>
              </a:spcBef>
              <a:buNone/>
              <a:defRPr lang="de-DE" sz="2400" kern="1200" noProof="0" smtClean="0">
                <a:solidFill>
                  <a:schemeClr val="tx2"/>
                </a:solidFill>
                <a:latin typeface="Arial" pitchFamily="34" charset="0"/>
                <a:ea typeface="+mn-ea"/>
                <a:cs typeface="Arial" pitchFamily="34" charset="0"/>
              </a:defRPr>
            </a:lvl9pPr>
          </a:lstStyle>
          <a:p>
            <a:pPr lvl="0"/>
            <a:r>
              <a:rPr lang="en-US"/>
              <a:t>Click to add </a:t>
            </a:r>
            <a:r>
              <a:rPr lang="en-US" err="1"/>
              <a:t>subheadline</a:t>
            </a:r>
            <a:endParaRPr lang="en-US"/>
          </a:p>
        </p:txBody>
      </p:sp>
      <p:sp>
        <p:nvSpPr>
          <p:cNvPr id="8" name="Textplatzhalter 3"/>
          <p:cNvSpPr>
            <a:spLocks noGrp="1"/>
          </p:cNvSpPr>
          <p:nvPr>
            <p:ph type="body" sz="quarter" idx="12" hasCustomPrompt="1"/>
          </p:nvPr>
        </p:nvSpPr>
        <p:spPr bwMode="gray">
          <a:xfrm>
            <a:off x="431371" y="6404736"/>
            <a:ext cx="11328400" cy="192616"/>
          </a:xfrm>
        </p:spPr>
        <p:txBody>
          <a:bodyPr tIns="0" bIns="36000" anchor="b" anchorCtr="0">
            <a:noAutofit/>
          </a:bodyPr>
          <a:lstStyle>
            <a:lvl1pPr marL="0" marR="0" indent="0" algn="l" defTabSz="1219170" rtl="0" eaLnBrk="1" fontAlgn="auto" latinLnBrk="0" hangingPunct="1">
              <a:lnSpc>
                <a:spcPct val="100000"/>
              </a:lnSpc>
              <a:spcBef>
                <a:spcPts val="0"/>
              </a:spcBef>
              <a:spcAft>
                <a:spcPts val="0"/>
              </a:spcAft>
              <a:buClrTx/>
              <a:buSzTx/>
              <a:buFont typeface="Arial" pitchFamily="34" charset="0"/>
              <a:buNone/>
              <a:tabLst/>
              <a:defRPr lang="de-DE" sz="1067" kern="1200" baseline="0" noProof="0" smtClean="0">
                <a:solidFill>
                  <a:schemeClr val="bg2"/>
                </a:solidFill>
                <a:latin typeface="Arial" pitchFamily="34" charset="0"/>
                <a:ea typeface="+mn-ea"/>
                <a:cs typeface="Arial" pitchFamily="34" charset="0"/>
              </a:defRPr>
            </a:lvl1pPr>
            <a:lvl2pPr marL="0" indent="0">
              <a:lnSpc>
                <a:spcPct val="100000"/>
              </a:lnSpc>
              <a:spcBef>
                <a:spcPts val="0"/>
              </a:spcBef>
              <a:buFont typeface="Arial" panose="020B0604020202020204" pitchFamily="34" charset="0"/>
              <a:buNone/>
              <a:defRPr lang="de-DE" sz="1067" kern="1200" baseline="0" noProof="0" smtClean="0">
                <a:solidFill>
                  <a:schemeClr val="bg2"/>
                </a:solidFill>
                <a:latin typeface="Arial" pitchFamily="34" charset="0"/>
                <a:ea typeface="+mn-ea"/>
                <a:cs typeface="Arial" pitchFamily="34" charset="0"/>
              </a:defRPr>
            </a:lvl2pPr>
            <a:lvl3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3pPr>
            <a:lvl4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4pPr>
            <a:lvl5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5pPr>
            <a:lvl6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6pPr>
            <a:lvl7pPr marL="0" indent="0">
              <a:lnSpc>
                <a:spcPct val="100000"/>
              </a:lnSpc>
              <a:spcBef>
                <a:spcPts val="0"/>
              </a:spcBef>
              <a:buNone/>
              <a:defRPr lang="de-DE" sz="1067" kern="1200" baseline="0" noProof="0" dirty="0" smtClean="0">
                <a:solidFill>
                  <a:schemeClr val="bg2"/>
                </a:solidFill>
                <a:latin typeface="Arial" pitchFamily="34" charset="0"/>
                <a:ea typeface="+mn-ea"/>
                <a:cs typeface="Arial" pitchFamily="34" charset="0"/>
              </a:defRPr>
            </a:lvl7pPr>
            <a:lvl8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8pPr>
            <a:lvl9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9pPr>
          </a:lstStyle>
          <a:p>
            <a:pPr lvl="0"/>
            <a:r>
              <a:rPr lang="en-US"/>
              <a:t>Click to add source information</a:t>
            </a:r>
          </a:p>
        </p:txBody>
      </p:sp>
      <p:sp>
        <p:nvSpPr>
          <p:cNvPr id="4" name="Content Placeholder 3"/>
          <p:cNvSpPr>
            <a:spLocks noGrp="1"/>
          </p:cNvSpPr>
          <p:nvPr>
            <p:ph sz="quarter" idx="13" hasCustomPrompt="1"/>
          </p:nvPr>
        </p:nvSpPr>
        <p:spPr bwMode="gray">
          <a:xfrm>
            <a:off x="431215" y="1700760"/>
            <a:ext cx="5568773" cy="2208307"/>
          </a:xfrm>
        </p:spPr>
        <p:txBody>
          <a:bodyPr/>
          <a:lstStyle/>
          <a:p>
            <a:pPr lvl="0"/>
            <a:r>
              <a:rPr lang="en-US" noProof="0"/>
              <a:t>Click to add tex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Content Placeholder 3"/>
          <p:cNvSpPr>
            <a:spLocks noGrp="1"/>
          </p:cNvSpPr>
          <p:nvPr>
            <p:ph sz="quarter" idx="14" hasCustomPrompt="1"/>
          </p:nvPr>
        </p:nvSpPr>
        <p:spPr bwMode="gray">
          <a:xfrm>
            <a:off x="6192014" y="1700760"/>
            <a:ext cx="5568773" cy="2208307"/>
          </a:xfrm>
        </p:spPr>
        <p:txBody>
          <a:bodyPr/>
          <a:lstStyle/>
          <a:p>
            <a:pPr lvl="0"/>
            <a:r>
              <a:rPr lang="en-US" noProof="0"/>
              <a:t>Click to add tex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Content Placeholder 3"/>
          <p:cNvSpPr>
            <a:spLocks noGrp="1"/>
          </p:cNvSpPr>
          <p:nvPr>
            <p:ph sz="quarter" idx="15" hasCustomPrompt="1"/>
          </p:nvPr>
        </p:nvSpPr>
        <p:spPr bwMode="gray">
          <a:xfrm>
            <a:off x="431215" y="4101093"/>
            <a:ext cx="5568773" cy="2208307"/>
          </a:xfrm>
        </p:spPr>
        <p:txBody>
          <a:bodyPr/>
          <a:lstStyle/>
          <a:p>
            <a:pPr lvl="0"/>
            <a:r>
              <a:rPr lang="en-US" noProof="0"/>
              <a:t>Click to add tex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5" name="Content Placeholder 3"/>
          <p:cNvSpPr>
            <a:spLocks noGrp="1"/>
          </p:cNvSpPr>
          <p:nvPr>
            <p:ph sz="quarter" idx="16" hasCustomPrompt="1"/>
          </p:nvPr>
        </p:nvSpPr>
        <p:spPr bwMode="gray">
          <a:xfrm>
            <a:off x="6192014" y="4101093"/>
            <a:ext cx="5568773" cy="2208307"/>
          </a:xfrm>
        </p:spPr>
        <p:txBody>
          <a:bodyPr/>
          <a:lstStyle/>
          <a:p>
            <a:pPr lvl="0"/>
            <a:r>
              <a:rPr lang="en-US" noProof="0"/>
              <a:t>Click to add text</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263383052"/>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blank" preserve="1">
  <p:cSld name="Empty">
    <p:spTree>
      <p:nvGrpSpPr>
        <p:cNvPr id="1" name=""/>
        <p:cNvGrpSpPr/>
        <p:nvPr/>
      </p:nvGrpSpPr>
      <p:grpSpPr>
        <a:xfrm>
          <a:off x="0" y="0"/>
          <a:ext cx="0" cy="0"/>
          <a:chOff x="0" y="0"/>
          <a:chExt cx="0" cy="0"/>
        </a:xfrm>
      </p:grpSpPr>
      <p:sp>
        <p:nvSpPr>
          <p:cNvPr id="5" name="Rectangle 4"/>
          <p:cNvSpPr/>
          <p:nvPr userDrawn="1"/>
        </p:nvSpPr>
        <p:spPr bwMode="gray">
          <a:xfrm>
            <a:off x="0" y="0"/>
            <a:ext cx="12192000" cy="685800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indent="0" algn="ctr">
              <a:spcBef>
                <a:spcPts val="400"/>
              </a:spcBef>
              <a:buFont typeface="Courier New" pitchFamily="49" charset="0"/>
              <a:buNone/>
            </a:pPr>
            <a:endParaRPr lang="en-US" sz="2133">
              <a:solidFill>
                <a:schemeClr val="tx1"/>
              </a:solidFill>
              <a:latin typeface="Arial" pitchFamily="34" charset="0"/>
              <a:cs typeface="Arial" pitchFamily="34" charset="0"/>
            </a:endParaRPr>
          </a:p>
        </p:txBody>
      </p:sp>
    </p:spTree>
    <p:extLst>
      <p:ext uri="{BB962C8B-B14F-4D97-AF65-F5344CB8AC3E}">
        <p14:creationId xmlns:p14="http://schemas.microsoft.com/office/powerpoint/2010/main" val="2035411159"/>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Pure White and text">
    <p:spTree>
      <p:nvGrpSpPr>
        <p:cNvPr id="1" name=""/>
        <p:cNvGrpSpPr/>
        <p:nvPr/>
      </p:nvGrpSpPr>
      <p:grpSpPr>
        <a:xfrm>
          <a:off x="0" y="0"/>
          <a:ext cx="0" cy="0"/>
          <a:chOff x="0" y="0"/>
          <a:chExt cx="0" cy="0"/>
        </a:xfrm>
      </p:grpSpPr>
      <p:sp>
        <p:nvSpPr>
          <p:cNvPr id="62" name="Rechteck 61"/>
          <p:cNvSpPr/>
          <p:nvPr userDrawn="1"/>
        </p:nvSpPr>
        <p:spPr bwMode="gray">
          <a:xfrm>
            <a:off x="0" y="0"/>
            <a:ext cx="12192000" cy="685800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indent="0" algn="ctr">
              <a:buFont typeface="Courier New" pitchFamily="49" charset="0"/>
              <a:buNone/>
            </a:pPr>
            <a:endParaRPr lang="en-US" sz="2133">
              <a:solidFill>
                <a:schemeClr val="tx1"/>
              </a:solidFill>
              <a:latin typeface="Arial" pitchFamily="34" charset="0"/>
            </a:endParaRPr>
          </a:p>
        </p:txBody>
      </p:sp>
      <p:sp>
        <p:nvSpPr>
          <p:cNvPr id="2" name="Titel 1"/>
          <p:cNvSpPr>
            <a:spLocks noGrp="1"/>
          </p:cNvSpPr>
          <p:nvPr>
            <p:ph type="title" hasCustomPrompt="1"/>
          </p:nvPr>
        </p:nvSpPr>
        <p:spPr bwMode="gray">
          <a:xfrm>
            <a:off x="431801" y="1221319"/>
            <a:ext cx="11328399" cy="2685635"/>
          </a:xfrm>
        </p:spPr>
        <p:txBody>
          <a:bodyPr vert="horz" lIns="0" tIns="18000" rIns="0" bIns="0" rtlCol="0" anchor="b" anchorCtr="0">
            <a:noAutofit/>
          </a:bodyPr>
          <a:lstStyle>
            <a:lvl1pPr>
              <a:defRPr lang="de-DE" sz="4800" cap="none" baseline="0">
                <a:solidFill>
                  <a:schemeClr val="tx2"/>
                </a:solidFill>
                <a:latin typeface="Arial" pitchFamily="34" charset="0"/>
                <a:ea typeface="+mn-ea"/>
                <a:cs typeface="+mn-cs"/>
              </a:defRPr>
            </a:lvl1pPr>
          </a:lstStyle>
          <a:p>
            <a:pPr lvl="0"/>
            <a:r>
              <a:rPr lang="en-US"/>
              <a:t>Click to add text</a:t>
            </a:r>
          </a:p>
        </p:txBody>
      </p:sp>
    </p:spTree>
    <p:extLst>
      <p:ext uri="{BB962C8B-B14F-4D97-AF65-F5344CB8AC3E}">
        <p14:creationId xmlns:p14="http://schemas.microsoft.com/office/powerpoint/2010/main" val="160358817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Divider (2)">
    <p:bg>
      <p:bgPr>
        <a:solidFill>
          <a:schemeClr val="bg1"/>
        </a:solidFill>
        <a:effectLst/>
      </p:bgPr>
    </p:bg>
    <p:spTree>
      <p:nvGrpSpPr>
        <p:cNvPr id="1" name=""/>
        <p:cNvGrpSpPr/>
        <p:nvPr/>
      </p:nvGrpSpPr>
      <p:grpSpPr>
        <a:xfrm>
          <a:off x="0" y="0"/>
          <a:ext cx="0" cy="0"/>
          <a:chOff x="0" y="0"/>
          <a:chExt cx="0" cy="0"/>
        </a:xfrm>
      </p:grpSpPr>
      <p:sp>
        <p:nvSpPr>
          <p:cNvPr id="3" name="Rechteck 2"/>
          <p:cNvSpPr/>
          <p:nvPr/>
        </p:nvSpPr>
        <p:spPr bwMode="gray">
          <a:xfrm>
            <a:off x="0" y="99"/>
            <a:ext cx="12192000" cy="2180068"/>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802" tIns="60901" rIns="121802" bIns="60901" numCol="1" spcCol="0" rtlCol="0" fromWordArt="0" anchor="ctr" anchorCtr="0" forceAA="0" compatLnSpc="1">
            <a:prstTxWarp prst="textNoShape">
              <a:avLst/>
            </a:prstTxWarp>
            <a:noAutofit/>
          </a:bodyPr>
          <a:lstStyle/>
          <a:p>
            <a:pPr marL="0" indent="0" algn="ctr">
              <a:buFont typeface="Courier New" pitchFamily="49" charset="0"/>
              <a:buNone/>
            </a:pPr>
            <a:endParaRPr lang="en-US" sz="2133">
              <a:solidFill>
                <a:schemeClr val="tx1"/>
              </a:solidFill>
              <a:latin typeface="Arial" pitchFamily="34" charset="0"/>
            </a:endParaRPr>
          </a:p>
        </p:txBody>
      </p:sp>
      <p:sp>
        <p:nvSpPr>
          <p:cNvPr id="2" name="Titel 1"/>
          <p:cNvSpPr>
            <a:spLocks noGrp="1"/>
          </p:cNvSpPr>
          <p:nvPr>
            <p:ph type="title" hasCustomPrompt="1"/>
          </p:nvPr>
        </p:nvSpPr>
        <p:spPr bwMode="gray">
          <a:xfrm>
            <a:off x="431215" y="2372788"/>
            <a:ext cx="11328557" cy="1919817"/>
          </a:xfr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24000" tIns="0" rIns="324000" bIns="0" numCol="1" spcCol="0" rtlCol="0" fromWordArt="0" anchor="ctr" anchorCtr="0" forceAA="0" compatLnSpc="1">
            <a:prstTxWarp prst="textNoShape">
              <a:avLst/>
            </a:prstTxWarp>
            <a:noAutofit/>
          </a:bodyPr>
          <a:lstStyle>
            <a:lvl1pPr>
              <a:defRPr lang="de-DE" sz="3996" kern="1200" dirty="0">
                <a:solidFill>
                  <a:schemeClr val="tx1"/>
                </a:solidFill>
                <a:latin typeface="Arial" pitchFamily="34" charset="0"/>
                <a:ea typeface="+mn-ea"/>
                <a:cs typeface="+mn-cs"/>
              </a:defRPr>
            </a:lvl1pPr>
          </a:lstStyle>
          <a:p>
            <a:pPr lvl="0"/>
            <a:r>
              <a:rPr lang="en-US"/>
              <a:t>Click to add text for divider slide</a:t>
            </a:r>
          </a:p>
        </p:txBody>
      </p:sp>
      <p:sp>
        <p:nvSpPr>
          <p:cNvPr id="59" name="Rechteck 58"/>
          <p:cNvSpPr/>
          <p:nvPr/>
        </p:nvSpPr>
        <p:spPr bwMode="gray">
          <a:xfrm>
            <a:off x="431213" y="2372883"/>
            <a:ext cx="11329512" cy="96000"/>
          </a:xfrm>
          <a:prstGeom prst="rect">
            <a:avLst/>
          </a:prstGeom>
          <a:gradFill>
            <a:gsLst>
              <a:gs pos="2000">
                <a:schemeClr val="accent6"/>
              </a:gs>
              <a:gs pos="100000">
                <a:srgbClr val="F9B200"/>
              </a:gs>
            </a:gsLst>
            <a:lin ang="0" scaled="0"/>
          </a:gra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802" tIns="60901" rIns="121802" bIns="60901" numCol="1" spcCol="0" rtlCol="0" fromWordArt="0" anchor="ctr" anchorCtr="0" forceAA="0" compatLnSpc="1">
            <a:prstTxWarp prst="textNoShape">
              <a:avLst/>
            </a:prstTxWarp>
            <a:noAutofit/>
          </a:bodyPr>
          <a:lstStyle/>
          <a:p>
            <a:pPr algn="ctr"/>
            <a:endParaRPr lang="en-US" sz="2133" err="1">
              <a:solidFill>
                <a:schemeClr val="tx1"/>
              </a:solidFill>
              <a:latin typeface="Arial" pitchFamily="34" charset="0"/>
            </a:endParaRPr>
          </a:p>
        </p:txBody>
      </p:sp>
      <p:sp>
        <p:nvSpPr>
          <p:cNvPr id="60" name="Rechteck 59"/>
          <p:cNvSpPr/>
          <p:nvPr/>
        </p:nvSpPr>
        <p:spPr bwMode="gray">
          <a:xfrm>
            <a:off x="431215" y="4197085"/>
            <a:ext cx="11328157" cy="96000"/>
          </a:xfrm>
          <a:prstGeom prst="rect">
            <a:avLst/>
          </a:prstGeom>
          <a:gradFill>
            <a:gsLst>
              <a:gs pos="2000">
                <a:schemeClr val="accent6"/>
              </a:gs>
              <a:gs pos="100000">
                <a:srgbClr val="F9B200"/>
              </a:gs>
            </a:gsLst>
            <a:lin ang="0" scaled="0"/>
          </a:gra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802" tIns="60901" rIns="121802" bIns="60901" numCol="1" spcCol="0" rtlCol="0" fromWordArt="0" anchor="ctr" anchorCtr="0" forceAA="0" compatLnSpc="1">
            <a:prstTxWarp prst="textNoShape">
              <a:avLst/>
            </a:prstTxWarp>
            <a:noAutofit/>
          </a:bodyPr>
          <a:lstStyle/>
          <a:p>
            <a:pPr algn="ctr"/>
            <a:endParaRPr lang="en-US" sz="2133" err="1">
              <a:solidFill>
                <a:schemeClr val="tx1"/>
              </a:solidFill>
              <a:latin typeface="Arial" pitchFamily="34" charset="0"/>
            </a:endParaRPr>
          </a:p>
        </p:txBody>
      </p:sp>
    </p:spTree>
    <p:extLst>
      <p:ext uri="{BB962C8B-B14F-4D97-AF65-F5344CB8AC3E}">
        <p14:creationId xmlns:p14="http://schemas.microsoft.com/office/powerpoint/2010/main" val="2946972999"/>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Pure Black and text">
    <p:bg bwMode="gray">
      <p:bgPr>
        <a:solidFill>
          <a:schemeClr val="bg1"/>
        </a:solidFill>
        <a:effectLst/>
      </p:bgPr>
    </p:bg>
    <p:spTree>
      <p:nvGrpSpPr>
        <p:cNvPr id="1" name=""/>
        <p:cNvGrpSpPr/>
        <p:nvPr/>
      </p:nvGrpSpPr>
      <p:grpSpPr>
        <a:xfrm>
          <a:off x="0" y="0"/>
          <a:ext cx="0" cy="0"/>
          <a:chOff x="0" y="0"/>
          <a:chExt cx="0" cy="0"/>
        </a:xfrm>
      </p:grpSpPr>
      <p:sp>
        <p:nvSpPr>
          <p:cNvPr id="3" name="Rechteck 2"/>
          <p:cNvSpPr/>
          <p:nvPr userDrawn="1"/>
        </p:nvSpPr>
        <p:spPr bwMode="gray">
          <a:xfrm>
            <a:off x="0" y="0"/>
            <a:ext cx="12192000" cy="6858000"/>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indent="0" algn="ctr">
              <a:buFont typeface="Courier New" pitchFamily="49" charset="0"/>
              <a:buNone/>
            </a:pPr>
            <a:endParaRPr lang="en-US" sz="2133">
              <a:solidFill>
                <a:schemeClr val="tx1"/>
              </a:solidFill>
              <a:latin typeface="Arial" pitchFamily="34" charset="0"/>
            </a:endParaRPr>
          </a:p>
        </p:txBody>
      </p:sp>
      <p:sp>
        <p:nvSpPr>
          <p:cNvPr id="2" name="Titel 1"/>
          <p:cNvSpPr>
            <a:spLocks noGrp="1"/>
          </p:cNvSpPr>
          <p:nvPr>
            <p:ph type="title" hasCustomPrompt="1"/>
          </p:nvPr>
        </p:nvSpPr>
        <p:spPr bwMode="gray">
          <a:xfrm>
            <a:off x="431802" y="1221319"/>
            <a:ext cx="11328399" cy="2688168"/>
          </a:xfrm>
        </p:spPr>
        <p:txBody>
          <a:bodyPr vert="horz" lIns="0" tIns="18000" rIns="0" bIns="0" rtlCol="0" anchor="b" anchorCtr="0">
            <a:noAutofit/>
          </a:bodyPr>
          <a:lstStyle>
            <a:lvl1pPr>
              <a:defRPr lang="de-DE" sz="4800" cap="none" baseline="0">
                <a:solidFill>
                  <a:schemeClr val="bg1"/>
                </a:solidFill>
                <a:latin typeface="Arial" pitchFamily="34" charset="0"/>
                <a:ea typeface="+mn-ea"/>
                <a:cs typeface="+mn-cs"/>
              </a:defRPr>
            </a:lvl1pPr>
          </a:lstStyle>
          <a:p>
            <a:pPr lvl="0"/>
            <a:r>
              <a:rPr lang="en-US"/>
              <a:t>Click to add text</a:t>
            </a:r>
          </a:p>
        </p:txBody>
      </p:sp>
    </p:spTree>
    <p:extLst>
      <p:ext uri="{BB962C8B-B14F-4D97-AF65-F5344CB8AC3E}">
        <p14:creationId xmlns:p14="http://schemas.microsoft.com/office/powerpoint/2010/main" val="2889492367"/>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Pure Orange and text">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bwMode="gray">
          <a:xfrm>
            <a:off x="0" y="0"/>
            <a:ext cx="12192000" cy="6858000"/>
          </a:xfrm>
          <a:prstGeom prst="rect">
            <a:avLst/>
          </a:prstGeom>
          <a:noFill/>
          <a:ln>
            <a:noFill/>
          </a:ln>
        </p:spPr>
      </p:pic>
      <p:sp>
        <p:nvSpPr>
          <p:cNvPr id="3" name="Titel 2"/>
          <p:cNvSpPr>
            <a:spLocks noGrp="1"/>
          </p:cNvSpPr>
          <p:nvPr>
            <p:ph type="title" hasCustomPrompt="1"/>
          </p:nvPr>
        </p:nvSpPr>
        <p:spPr bwMode="gray">
          <a:xfrm>
            <a:off x="431801" y="1221318"/>
            <a:ext cx="11328400" cy="2688167"/>
          </a:xfrm>
        </p:spPr>
        <p:txBody>
          <a:bodyPr vert="horz" lIns="0" tIns="18000" rIns="0" bIns="0" rtlCol="0" anchor="b" anchorCtr="0">
            <a:noAutofit/>
          </a:bodyPr>
          <a:lstStyle>
            <a:lvl1pPr>
              <a:defRPr lang="de-DE" sz="4800" cap="none" baseline="0">
                <a:solidFill>
                  <a:schemeClr val="bg1"/>
                </a:solidFill>
                <a:latin typeface="Arial" pitchFamily="34" charset="0"/>
                <a:ea typeface="+mn-ea"/>
                <a:cs typeface="+mn-cs"/>
              </a:defRPr>
            </a:lvl1pPr>
          </a:lstStyle>
          <a:p>
            <a:pPr lvl="0"/>
            <a:r>
              <a:rPr lang="en-US"/>
              <a:t>Click to add text</a:t>
            </a:r>
          </a:p>
        </p:txBody>
      </p:sp>
    </p:spTree>
    <p:extLst>
      <p:ext uri="{BB962C8B-B14F-4D97-AF65-F5344CB8AC3E}">
        <p14:creationId xmlns:p14="http://schemas.microsoft.com/office/powerpoint/2010/main" val="3511482088"/>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wo contacts">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p>
            <a:r>
              <a:rPr lang="en-US"/>
              <a:t>Click to add headline</a:t>
            </a:r>
          </a:p>
        </p:txBody>
      </p:sp>
      <p:sp>
        <p:nvSpPr>
          <p:cNvPr id="24" name="Textplatzhalter 2"/>
          <p:cNvSpPr>
            <a:spLocks noGrp="1"/>
          </p:cNvSpPr>
          <p:nvPr>
            <p:ph type="body" sz="quarter" idx="11" hasCustomPrompt="1"/>
          </p:nvPr>
        </p:nvSpPr>
        <p:spPr bwMode="gray">
          <a:xfrm>
            <a:off x="431800" y="1220755"/>
            <a:ext cx="11328400" cy="384340"/>
          </a:xfrm>
        </p:spPr>
        <p:txBody>
          <a:bodyPr>
            <a:noAutofit/>
          </a:bodyPr>
          <a:lstStyle>
            <a:lvl1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1pPr>
            <a:lvl2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2pPr>
            <a:lvl3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3pPr>
            <a:lvl4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4pPr>
            <a:lvl5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5pPr>
            <a:lvl6pPr marL="0" indent="0">
              <a:lnSpc>
                <a:spcPct val="100000"/>
              </a:lnSpc>
              <a:spcBef>
                <a:spcPts val="800"/>
              </a:spcBef>
              <a:buNone/>
              <a:defRPr lang="en-GB" sz="2400" kern="1200" noProof="0" smtClean="0">
                <a:solidFill>
                  <a:schemeClr val="tx2"/>
                </a:solidFill>
                <a:latin typeface="Arial" pitchFamily="34" charset="0"/>
                <a:ea typeface="+mn-ea"/>
                <a:cs typeface="Arial" pitchFamily="34" charset="0"/>
              </a:defRPr>
            </a:lvl6pPr>
            <a:lvl7pPr marL="0" indent="0">
              <a:lnSpc>
                <a:spcPct val="100000"/>
              </a:lnSpc>
              <a:spcBef>
                <a:spcPts val="800"/>
              </a:spcBef>
              <a:buNone/>
              <a:defRPr lang="en-GB" sz="2400" kern="1200" noProof="0" smtClean="0">
                <a:solidFill>
                  <a:schemeClr val="tx2"/>
                </a:solidFill>
                <a:latin typeface="Arial" pitchFamily="34" charset="0"/>
                <a:ea typeface="+mn-ea"/>
                <a:cs typeface="Arial" pitchFamily="34" charset="0"/>
              </a:defRPr>
            </a:lvl7pPr>
            <a:lvl8pPr marL="0" indent="0">
              <a:lnSpc>
                <a:spcPct val="100000"/>
              </a:lnSpc>
              <a:spcBef>
                <a:spcPts val="800"/>
              </a:spcBef>
              <a:buNone/>
              <a:defRPr lang="en-GB" sz="2400" kern="1200" noProof="0" smtClean="0">
                <a:solidFill>
                  <a:schemeClr val="tx2"/>
                </a:solidFill>
                <a:latin typeface="Arial" pitchFamily="34" charset="0"/>
                <a:ea typeface="+mn-ea"/>
                <a:cs typeface="Arial" pitchFamily="34" charset="0"/>
              </a:defRPr>
            </a:lvl8pPr>
            <a:lvl9pPr marL="0" indent="0">
              <a:lnSpc>
                <a:spcPct val="100000"/>
              </a:lnSpc>
              <a:spcBef>
                <a:spcPts val="800"/>
              </a:spcBef>
              <a:buNone/>
              <a:defRPr lang="de-DE" sz="2400" kern="1200" noProof="0" smtClean="0">
                <a:solidFill>
                  <a:schemeClr val="tx2"/>
                </a:solidFill>
                <a:latin typeface="Arial" pitchFamily="34" charset="0"/>
                <a:ea typeface="+mn-ea"/>
                <a:cs typeface="Arial" pitchFamily="34" charset="0"/>
              </a:defRPr>
            </a:lvl9pPr>
          </a:lstStyle>
          <a:p>
            <a:pPr lvl="0"/>
            <a:r>
              <a:rPr lang="en-US"/>
              <a:t>Click to add </a:t>
            </a:r>
            <a:r>
              <a:rPr lang="en-US" err="1"/>
              <a:t>subheadline</a:t>
            </a:r>
            <a:endParaRPr lang="en-US"/>
          </a:p>
        </p:txBody>
      </p:sp>
      <p:sp>
        <p:nvSpPr>
          <p:cNvPr id="25" name="Picture Placeholder 4"/>
          <p:cNvSpPr>
            <a:spLocks noGrp="1"/>
          </p:cNvSpPr>
          <p:nvPr>
            <p:ph type="pic" sz="quarter" idx="34" hasCustomPrompt="1"/>
          </p:nvPr>
        </p:nvSpPr>
        <p:spPr bwMode="gray">
          <a:xfrm>
            <a:off x="431371" y="1700810"/>
            <a:ext cx="1728192" cy="2208245"/>
          </a:xfrm>
        </p:spPr>
        <p:txBody>
          <a:bodyPr/>
          <a:lstStyle>
            <a:lvl1pPr marL="0" indent="0">
              <a:buNone/>
              <a:defRPr/>
            </a:lvl1pPr>
          </a:lstStyle>
          <a:p>
            <a:r>
              <a:rPr lang="de-DE"/>
              <a:t>Picture</a:t>
            </a:r>
            <a:endParaRPr lang="en-US"/>
          </a:p>
        </p:txBody>
      </p:sp>
      <p:sp>
        <p:nvSpPr>
          <p:cNvPr id="26" name="Text Placeholder 3"/>
          <p:cNvSpPr>
            <a:spLocks noGrp="1"/>
          </p:cNvSpPr>
          <p:nvPr>
            <p:ph type="body" sz="quarter" idx="35" hasCustomPrompt="1"/>
          </p:nvPr>
        </p:nvSpPr>
        <p:spPr bwMode="gray">
          <a:xfrm>
            <a:off x="2351586" y="3046305"/>
            <a:ext cx="3648404" cy="288032"/>
          </a:xfrm>
        </p:spPr>
        <p:txBody>
          <a:bodyPr tIns="0" anchor="b" anchorCtr="0"/>
          <a:lstStyle>
            <a:lvl1pPr marL="0" indent="0">
              <a:spcBef>
                <a:spcPts val="0"/>
              </a:spcBef>
              <a:spcAft>
                <a:spcPts val="0"/>
              </a:spcAft>
              <a:buNone/>
              <a:defRPr sz="1600">
                <a:solidFill>
                  <a:schemeClr val="tx1"/>
                </a:solidFill>
              </a:defRPr>
            </a:lvl1pPr>
            <a:lvl2pPr marL="0" indent="0">
              <a:spcBef>
                <a:spcPts val="0"/>
              </a:spcBef>
              <a:spcAft>
                <a:spcPts val="0"/>
              </a:spcAft>
              <a:buNone/>
              <a:defRPr sz="1600"/>
            </a:lvl2pPr>
            <a:lvl3pPr marL="0" indent="0" algn="l">
              <a:spcBef>
                <a:spcPts val="0"/>
              </a:spcBef>
              <a:spcAft>
                <a:spcPts val="0"/>
              </a:spcAft>
              <a:buFontTx/>
              <a:buNone/>
              <a:tabLst>
                <a:tab pos="840296" algn="l"/>
              </a:tabLst>
              <a:defRPr sz="1600"/>
            </a:lvl3pPr>
            <a:lvl4pPr marL="0" indent="0" algn="l">
              <a:spcBef>
                <a:spcPts val="0"/>
              </a:spcBef>
              <a:spcAft>
                <a:spcPts val="0"/>
              </a:spcAft>
              <a:buFontTx/>
              <a:buNone/>
              <a:defRPr sz="1600">
                <a:solidFill>
                  <a:schemeClr val="tx1"/>
                </a:solidFill>
              </a:defRPr>
            </a:lvl4pPr>
            <a:lvl5pPr marL="0" indent="0" algn="l">
              <a:spcBef>
                <a:spcPts val="0"/>
              </a:spcBef>
              <a:spcAft>
                <a:spcPts val="0"/>
              </a:spcAft>
              <a:buFontTx/>
              <a:buNone/>
              <a:defRPr sz="1600"/>
            </a:lvl5pPr>
            <a:lvl6pPr marL="0" indent="0" algn="l">
              <a:spcBef>
                <a:spcPts val="0"/>
              </a:spcBef>
              <a:spcAft>
                <a:spcPts val="0"/>
              </a:spcAft>
              <a:buFontTx/>
              <a:buNone/>
              <a:defRPr sz="1600"/>
            </a:lvl6pPr>
            <a:lvl7pPr marL="0" indent="0" algn="l">
              <a:spcBef>
                <a:spcPts val="0"/>
              </a:spcBef>
              <a:spcAft>
                <a:spcPts val="0"/>
              </a:spcAft>
              <a:buFontTx/>
              <a:buNone/>
              <a:defRPr sz="1600"/>
            </a:lvl7pPr>
            <a:lvl8pPr marL="0" indent="0" algn="l">
              <a:spcBef>
                <a:spcPts val="0"/>
              </a:spcBef>
              <a:spcAft>
                <a:spcPts val="0"/>
              </a:spcAft>
              <a:buFontTx/>
              <a:buNone/>
              <a:defRPr sz="1600"/>
            </a:lvl8pPr>
            <a:lvl9pPr marL="0" indent="0" algn="l">
              <a:spcBef>
                <a:spcPts val="0"/>
              </a:spcBef>
              <a:spcAft>
                <a:spcPts val="0"/>
              </a:spcAft>
              <a:buFontTx/>
              <a:buNone/>
              <a:defRPr sz="1600"/>
            </a:lvl9pPr>
          </a:lstStyle>
          <a:p>
            <a:pPr lvl="4"/>
            <a:r>
              <a:rPr lang="en-US"/>
              <a:t>[phone number]</a:t>
            </a:r>
          </a:p>
        </p:txBody>
      </p:sp>
      <p:sp>
        <p:nvSpPr>
          <p:cNvPr id="27" name="Text Placeholder 3"/>
          <p:cNvSpPr>
            <a:spLocks noGrp="1"/>
          </p:cNvSpPr>
          <p:nvPr>
            <p:ph type="body" sz="quarter" idx="36" hasCustomPrompt="1"/>
          </p:nvPr>
        </p:nvSpPr>
        <p:spPr bwMode="gray">
          <a:xfrm>
            <a:off x="2351584" y="2470241"/>
            <a:ext cx="3648405" cy="576000"/>
          </a:xfrm>
        </p:spPr>
        <p:txBody>
          <a:bodyPr tIns="36000" anchor="t" anchorCtr="0"/>
          <a:lstStyle>
            <a:lvl1pPr marL="0" indent="0">
              <a:spcBef>
                <a:spcPts val="0"/>
              </a:spcBef>
              <a:spcAft>
                <a:spcPts val="0"/>
              </a:spcAft>
              <a:buNone/>
              <a:defRPr sz="1600">
                <a:solidFill>
                  <a:schemeClr val="tx1"/>
                </a:solidFill>
              </a:defRPr>
            </a:lvl1pPr>
            <a:lvl2pPr marL="0" indent="0">
              <a:spcBef>
                <a:spcPts val="0"/>
              </a:spcBef>
              <a:spcAft>
                <a:spcPts val="0"/>
              </a:spcAft>
              <a:buNone/>
              <a:defRPr sz="1600"/>
            </a:lvl2pPr>
            <a:lvl3pPr marL="0" indent="0" algn="l">
              <a:spcBef>
                <a:spcPts val="0"/>
              </a:spcBef>
              <a:spcAft>
                <a:spcPts val="0"/>
              </a:spcAft>
              <a:buFontTx/>
              <a:buNone/>
              <a:tabLst>
                <a:tab pos="840296" algn="l"/>
              </a:tabLst>
              <a:defRPr sz="1600"/>
            </a:lvl3pPr>
            <a:lvl4pPr marL="0" indent="0" algn="l">
              <a:spcBef>
                <a:spcPts val="0"/>
              </a:spcBef>
              <a:spcAft>
                <a:spcPts val="0"/>
              </a:spcAft>
              <a:buFontTx/>
              <a:buNone/>
              <a:defRPr sz="1600">
                <a:solidFill>
                  <a:schemeClr val="tx1"/>
                </a:solidFill>
              </a:defRPr>
            </a:lvl4pPr>
            <a:lvl5pPr marL="0" indent="0" algn="l">
              <a:spcBef>
                <a:spcPts val="0"/>
              </a:spcBef>
              <a:spcAft>
                <a:spcPts val="0"/>
              </a:spcAft>
              <a:buFontTx/>
              <a:buNone/>
              <a:defRPr sz="1600"/>
            </a:lvl5pPr>
            <a:lvl6pPr marL="0" indent="0" algn="l">
              <a:spcBef>
                <a:spcPts val="0"/>
              </a:spcBef>
              <a:spcAft>
                <a:spcPts val="0"/>
              </a:spcAft>
              <a:buFontTx/>
              <a:buNone/>
              <a:defRPr sz="1600"/>
            </a:lvl6pPr>
            <a:lvl7pPr marL="0" indent="0" algn="l">
              <a:spcBef>
                <a:spcPts val="0"/>
              </a:spcBef>
              <a:spcAft>
                <a:spcPts val="0"/>
              </a:spcAft>
              <a:buFontTx/>
              <a:buNone/>
              <a:defRPr sz="1600"/>
            </a:lvl7pPr>
            <a:lvl8pPr marL="0" indent="0" algn="l">
              <a:spcBef>
                <a:spcPts val="0"/>
              </a:spcBef>
              <a:spcAft>
                <a:spcPts val="0"/>
              </a:spcAft>
              <a:buFontTx/>
              <a:buNone/>
              <a:defRPr sz="1600"/>
            </a:lvl8pPr>
            <a:lvl9pPr marL="0" indent="0" algn="l">
              <a:spcBef>
                <a:spcPts val="0"/>
              </a:spcBef>
              <a:spcAft>
                <a:spcPts val="0"/>
              </a:spcAft>
              <a:buFontTx/>
              <a:buNone/>
              <a:defRPr sz="1600"/>
            </a:lvl9pPr>
          </a:lstStyle>
          <a:p>
            <a:pPr lvl="4"/>
            <a:r>
              <a:rPr lang="en-US"/>
              <a:t>[title]</a:t>
            </a:r>
          </a:p>
        </p:txBody>
      </p:sp>
      <p:sp>
        <p:nvSpPr>
          <p:cNvPr id="28" name="Text Placeholder 3"/>
          <p:cNvSpPr>
            <a:spLocks noGrp="1"/>
          </p:cNvSpPr>
          <p:nvPr>
            <p:ph type="body" sz="quarter" idx="37" hasCustomPrompt="1"/>
          </p:nvPr>
        </p:nvSpPr>
        <p:spPr bwMode="gray">
          <a:xfrm>
            <a:off x="2351584" y="1701800"/>
            <a:ext cx="3648405" cy="768440"/>
          </a:xfrm>
        </p:spPr>
        <p:txBody>
          <a:bodyPr tIns="0" bIns="36000" anchor="b" anchorCtr="0"/>
          <a:lstStyle>
            <a:lvl1pPr marL="0" indent="0">
              <a:spcBef>
                <a:spcPts val="0"/>
              </a:spcBef>
              <a:spcAft>
                <a:spcPts val="0"/>
              </a:spcAft>
              <a:buFontTx/>
              <a:buNone/>
              <a:defRPr sz="1867">
                <a:solidFill>
                  <a:schemeClr val="tx2"/>
                </a:solidFill>
              </a:defRPr>
            </a:lvl1pPr>
            <a:lvl2pPr marL="0" indent="0">
              <a:spcBef>
                <a:spcPts val="0"/>
              </a:spcBef>
              <a:spcAft>
                <a:spcPts val="0"/>
              </a:spcAft>
              <a:buNone/>
              <a:defRPr sz="1867">
                <a:solidFill>
                  <a:schemeClr val="tx2"/>
                </a:solidFill>
              </a:defRPr>
            </a:lvl2pPr>
            <a:lvl3pPr marL="0" indent="0" algn="l">
              <a:spcBef>
                <a:spcPts val="0"/>
              </a:spcBef>
              <a:spcAft>
                <a:spcPts val="0"/>
              </a:spcAft>
              <a:buFontTx/>
              <a:buNone/>
              <a:tabLst>
                <a:tab pos="840296" algn="l"/>
              </a:tabLst>
              <a:defRPr sz="1867">
                <a:solidFill>
                  <a:schemeClr val="tx2"/>
                </a:solidFill>
              </a:defRPr>
            </a:lvl3pPr>
            <a:lvl4pPr marL="0" indent="0" algn="l">
              <a:spcBef>
                <a:spcPts val="0"/>
              </a:spcBef>
              <a:spcAft>
                <a:spcPts val="0"/>
              </a:spcAft>
              <a:buFontTx/>
              <a:buNone/>
              <a:defRPr sz="1867">
                <a:solidFill>
                  <a:schemeClr val="tx2"/>
                </a:solidFill>
              </a:defRPr>
            </a:lvl4pPr>
            <a:lvl5pPr marL="0" indent="0" algn="l">
              <a:spcBef>
                <a:spcPts val="0"/>
              </a:spcBef>
              <a:spcAft>
                <a:spcPts val="0"/>
              </a:spcAft>
              <a:buFontTx/>
              <a:buNone/>
              <a:defRPr sz="1867" b="0">
                <a:solidFill>
                  <a:schemeClr val="tx2"/>
                </a:solidFill>
              </a:defRPr>
            </a:lvl5pPr>
            <a:lvl6pPr marL="0" indent="0" algn="l">
              <a:spcBef>
                <a:spcPts val="0"/>
              </a:spcBef>
              <a:spcAft>
                <a:spcPts val="0"/>
              </a:spcAft>
              <a:buFontTx/>
              <a:buNone/>
              <a:defRPr sz="1867">
                <a:solidFill>
                  <a:schemeClr val="tx2"/>
                </a:solidFill>
              </a:defRPr>
            </a:lvl6pPr>
            <a:lvl7pPr marL="0" indent="0" algn="l">
              <a:spcBef>
                <a:spcPts val="0"/>
              </a:spcBef>
              <a:spcAft>
                <a:spcPts val="0"/>
              </a:spcAft>
              <a:buFontTx/>
              <a:buNone/>
              <a:defRPr sz="1867">
                <a:solidFill>
                  <a:schemeClr val="tx2"/>
                </a:solidFill>
              </a:defRPr>
            </a:lvl7pPr>
            <a:lvl8pPr marL="0" indent="0" algn="l">
              <a:spcBef>
                <a:spcPts val="0"/>
              </a:spcBef>
              <a:spcAft>
                <a:spcPts val="0"/>
              </a:spcAft>
              <a:buFontTx/>
              <a:buNone/>
              <a:defRPr sz="1867"/>
            </a:lvl8pPr>
            <a:lvl9pPr marL="0" indent="0" algn="l">
              <a:spcBef>
                <a:spcPts val="0"/>
              </a:spcBef>
              <a:spcAft>
                <a:spcPts val="0"/>
              </a:spcAft>
              <a:buFontTx/>
              <a:buNone/>
              <a:defRPr sz="1867">
                <a:solidFill>
                  <a:schemeClr val="tx2"/>
                </a:solidFill>
              </a:defRPr>
            </a:lvl9pPr>
          </a:lstStyle>
          <a:p>
            <a:pPr lvl="0"/>
            <a:r>
              <a:rPr lang="en-US" noProof="0"/>
              <a:t>[name]</a:t>
            </a:r>
          </a:p>
        </p:txBody>
      </p:sp>
      <p:sp>
        <p:nvSpPr>
          <p:cNvPr id="29" name="Text Placeholder 3"/>
          <p:cNvSpPr>
            <a:spLocks noGrp="1"/>
          </p:cNvSpPr>
          <p:nvPr>
            <p:ph type="body" sz="quarter" idx="38" hasCustomPrompt="1"/>
          </p:nvPr>
        </p:nvSpPr>
        <p:spPr bwMode="gray">
          <a:xfrm>
            <a:off x="2351584" y="3334336"/>
            <a:ext cx="3648405" cy="288032"/>
          </a:xfrm>
        </p:spPr>
        <p:txBody>
          <a:bodyPr tIns="0" anchor="b" anchorCtr="0"/>
          <a:lstStyle>
            <a:lvl1pPr marL="0" indent="0">
              <a:spcBef>
                <a:spcPts val="0"/>
              </a:spcBef>
              <a:spcAft>
                <a:spcPts val="0"/>
              </a:spcAft>
              <a:buNone/>
              <a:defRPr sz="1600">
                <a:solidFill>
                  <a:schemeClr val="tx1"/>
                </a:solidFill>
              </a:defRPr>
            </a:lvl1pPr>
            <a:lvl2pPr marL="0" indent="0">
              <a:spcBef>
                <a:spcPts val="0"/>
              </a:spcBef>
              <a:spcAft>
                <a:spcPts val="0"/>
              </a:spcAft>
              <a:buNone/>
              <a:defRPr sz="1600"/>
            </a:lvl2pPr>
            <a:lvl3pPr marL="0" indent="0" algn="l">
              <a:spcBef>
                <a:spcPts val="0"/>
              </a:spcBef>
              <a:spcAft>
                <a:spcPts val="0"/>
              </a:spcAft>
              <a:buFontTx/>
              <a:buNone/>
              <a:tabLst>
                <a:tab pos="840296" algn="l"/>
              </a:tabLst>
              <a:defRPr sz="1600"/>
            </a:lvl3pPr>
            <a:lvl4pPr marL="0" indent="0" algn="l">
              <a:spcBef>
                <a:spcPts val="0"/>
              </a:spcBef>
              <a:spcAft>
                <a:spcPts val="0"/>
              </a:spcAft>
              <a:buFontTx/>
              <a:buNone/>
              <a:defRPr sz="1600">
                <a:solidFill>
                  <a:schemeClr val="tx1"/>
                </a:solidFill>
              </a:defRPr>
            </a:lvl4pPr>
            <a:lvl5pPr marL="0" indent="0" algn="l">
              <a:spcBef>
                <a:spcPts val="0"/>
              </a:spcBef>
              <a:spcAft>
                <a:spcPts val="0"/>
              </a:spcAft>
              <a:buFontTx/>
              <a:buNone/>
              <a:defRPr sz="1600"/>
            </a:lvl5pPr>
            <a:lvl6pPr marL="0" indent="0" algn="l">
              <a:spcBef>
                <a:spcPts val="0"/>
              </a:spcBef>
              <a:spcAft>
                <a:spcPts val="0"/>
              </a:spcAft>
              <a:buFontTx/>
              <a:buNone/>
              <a:defRPr sz="1600"/>
            </a:lvl6pPr>
            <a:lvl7pPr marL="0" indent="0" algn="l">
              <a:spcBef>
                <a:spcPts val="0"/>
              </a:spcBef>
              <a:spcAft>
                <a:spcPts val="0"/>
              </a:spcAft>
              <a:buFontTx/>
              <a:buNone/>
              <a:defRPr sz="1600"/>
            </a:lvl7pPr>
            <a:lvl8pPr marL="0" indent="0" algn="l">
              <a:spcBef>
                <a:spcPts val="0"/>
              </a:spcBef>
              <a:spcAft>
                <a:spcPts val="0"/>
              </a:spcAft>
              <a:buFontTx/>
              <a:buNone/>
              <a:defRPr sz="1600"/>
            </a:lvl8pPr>
            <a:lvl9pPr marL="0" indent="0" algn="l">
              <a:spcBef>
                <a:spcPts val="0"/>
              </a:spcBef>
              <a:spcAft>
                <a:spcPts val="0"/>
              </a:spcAft>
              <a:buFontTx/>
              <a:buNone/>
              <a:defRPr sz="1600"/>
            </a:lvl9pPr>
          </a:lstStyle>
          <a:p>
            <a:pPr lvl="4"/>
            <a:r>
              <a:rPr lang="en-US"/>
              <a:t>[email address]</a:t>
            </a:r>
          </a:p>
        </p:txBody>
      </p:sp>
      <p:sp>
        <p:nvSpPr>
          <p:cNvPr id="30" name="Text Placeholder 3"/>
          <p:cNvSpPr>
            <a:spLocks noGrp="1"/>
          </p:cNvSpPr>
          <p:nvPr>
            <p:ph type="body" sz="quarter" idx="39" hasCustomPrompt="1"/>
          </p:nvPr>
        </p:nvSpPr>
        <p:spPr bwMode="gray">
          <a:xfrm>
            <a:off x="2351690" y="3622368"/>
            <a:ext cx="3648301" cy="286685"/>
          </a:xfrm>
        </p:spPr>
        <p:txBody>
          <a:bodyPr tIns="0" anchor="b" anchorCtr="0"/>
          <a:lstStyle>
            <a:lvl1pPr marL="0" indent="0">
              <a:spcBef>
                <a:spcPts val="0"/>
              </a:spcBef>
              <a:spcAft>
                <a:spcPts val="0"/>
              </a:spcAft>
              <a:buNone/>
              <a:defRPr sz="1600">
                <a:solidFill>
                  <a:schemeClr val="tx1"/>
                </a:solidFill>
              </a:defRPr>
            </a:lvl1pPr>
            <a:lvl2pPr marL="0" indent="0">
              <a:spcBef>
                <a:spcPts val="0"/>
              </a:spcBef>
              <a:spcAft>
                <a:spcPts val="0"/>
              </a:spcAft>
              <a:buNone/>
              <a:defRPr sz="1600"/>
            </a:lvl2pPr>
            <a:lvl3pPr marL="0" indent="0" algn="l">
              <a:spcBef>
                <a:spcPts val="0"/>
              </a:spcBef>
              <a:spcAft>
                <a:spcPts val="0"/>
              </a:spcAft>
              <a:buFontTx/>
              <a:buNone/>
              <a:tabLst>
                <a:tab pos="840296" algn="l"/>
              </a:tabLst>
              <a:defRPr sz="1600"/>
            </a:lvl3pPr>
            <a:lvl4pPr marL="0" indent="0" algn="l">
              <a:spcBef>
                <a:spcPts val="0"/>
              </a:spcBef>
              <a:spcAft>
                <a:spcPts val="0"/>
              </a:spcAft>
              <a:buFontTx/>
              <a:buNone/>
              <a:defRPr sz="1600">
                <a:solidFill>
                  <a:schemeClr val="tx1"/>
                </a:solidFill>
              </a:defRPr>
            </a:lvl4pPr>
            <a:lvl5pPr marL="0" indent="0" algn="l">
              <a:spcBef>
                <a:spcPts val="0"/>
              </a:spcBef>
              <a:spcAft>
                <a:spcPts val="0"/>
              </a:spcAft>
              <a:buFontTx/>
              <a:buNone/>
              <a:defRPr sz="1600"/>
            </a:lvl5pPr>
            <a:lvl6pPr marL="0" indent="0" algn="l">
              <a:spcBef>
                <a:spcPts val="0"/>
              </a:spcBef>
              <a:spcAft>
                <a:spcPts val="0"/>
              </a:spcAft>
              <a:buFontTx/>
              <a:buNone/>
              <a:defRPr sz="1600"/>
            </a:lvl6pPr>
            <a:lvl7pPr marL="0" indent="0" algn="l">
              <a:spcBef>
                <a:spcPts val="0"/>
              </a:spcBef>
              <a:spcAft>
                <a:spcPts val="0"/>
              </a:spcAft>
              <a:buFontTx/>
              <a:buNone/>
              <a:defRPr sz="1600"/>
            </a:lvl7pPr>
            <a:lvl8pPr marL="0" indent="0" algn="l">
              <a:spcBef>
                <a:spcPts val="0"/>
              </a:spcBef>
              <a:spcAft>
                <a:spcPts val="0"/>
              </a:spcAft>
              <a:buFontTx/>
              <a:buNone/>
              <a:defRPr sz="1600"/>
            </a:lvl8pPr>
            <a:lvl9pPr marL="0" indent="0" algn="l">
              <a:spcBef>
                <a:spcPts val="0"/>
              </a:spcBef>
              <a:spcAft>
                <a:spcPts val="0"/>
              </a:spcAft>
              <a:buFontTx/>
              <a:buNone/>
              <a:defRPr sz="1600"/>
            </a:lvl9pPr>
          </a:lstStyle>
          <a:p>
            <a:pPr lvl="4"/>
            <a:r>
              <a:rPr lang="en-US"/>
              <a:t>[country]</a:t>
            </a:r>
          </a:p>
        </p:txBody>
      </p:sp>
      <p:sp>
        <p:nvSpPr>
          <p:cNvPr id="31" name="Picture Placeholder 4"/>
          <p:cNvSpPr>
            <a:spLocks noGrp="1"/>
          </p:cNvSpPr>
          <p:nvPr>
            <p:ph type="pic" sz="quarter" idx="40" hasCustomPrompt="1"/>
          </p:nvPr>
        </p:nvSpPr>
        <p:spPr bwMode="gray">
          <a:xfrm>
            <a:off x="6192971" y="1701800"/>
            <a:ext cx="1728192" cy="2208000"/>
          </a:xfrm>
        </p:spPr>
        <p:txBody>
          <a:bodyPr/>
          <a:lstStyle>
            <a:lvl1pPr marL="0" indent="0">
              <a:buNone/>
              <a:defRPr/>
            </a:lvl1pPr>
          </a:lstStyle>
          <a:p>
            <a:r>
              <a:rPr lang="de-DE"/>
              <a:t>Picture</a:t>
            </a:r>
            <a:endParaRPr lang="en-US"/>
          </a:p>
        </p:txBody>
      </p:sp>
      <p:sp>
        <p:nvSpPr>
          <p:cNvPr id="32" name="Text Placeholder 3"/>
          <p:cNvSpPr>
            <a:spLocks noGrp="1"/>
          </p:cNvSpPr>
          <p:nvPr>
            <p:ph type="body" sz="quarter" idx="41" hasCustomPrompt="1"/>
          </p:nvPr>
        </p:nvSpPr>
        <p:spPr bwMode="gray">
          <a:xfrm>
            <a:off x="8113186" y="3046305"/>
            <a:ext cx="3648404" cy="288032"/>
          </a:xfrm>
        </p:spPr>
        <p:txBody>
          <a:bodyPr tIns="0" anchor="b" anchorCtr="0"/>
          <a:lstStyle>
            <a:lvl1pPr marL="0" indent="0">
              <a:spcBef>
                <a:spcPts val="0"/>
              </a:spcBef>
              <a:spcAft>
                <a:spcPts val="0"/>
              </a:spcAft>
              <a:buNone/>
              <a:defRPr sz="1600">
                <a:solidFill>
                  <a:schemeClr val="tx1"/>
                </a:solidFill>
              </a:defRPr>
            </a:lvl1pPr>
            <a:lvl2pPr marL="0" indent="0">
              <a:spcBef>
                <a:spcPts val="0"/>
              </a:spcBef>
              <a:spcAft>
                <a:spcPts val="0"/>
              </a:spcAft>
              <a:buNone/>
              <a:defRPr sz="1600"/>
            </a:lvl2pPr>
            <a:lvl3pPr marL="0" indent="0" algn="l">
              <a:spcBef>
                <a:spcPts val="0"/>
              </a:spcBef>
              <a:spcAft>
                <a:spcPts val="0"/>
              </a:spcAft>
              <a:buFontTx/>
              <a:buNone/>
              <a:tabLst>
                <a:tab pos="840296" algn="l"/>
              </a:tabLst>
              <a:defRPr sz="1600"/>
            </a:lvl3pPr>
            <a:lvl4pPr marL="0" indent="0" algn="l">
              <a:spcBef>
                <a:spcPts val="0"/>
              </a:spcBef>
              <a:spcAft>
                <a:spcPts val="0"/>
              </a:spcAft>
              <a:buFontTx/>
              <a:buNone/>
              <a:defRPr sz="1600">
                <a:solidFill>
                  <a:schemeClr val="tx1"/>
                </a:solidFill>
              </a:defRPr>
            </a:lvl4pPr>
            <a:lvl5pPr marL="0" indent="0" algn="l">
              <a:spcBef>
                <a:spcPts val="0"/>
              </a:spcBef>
              <a:spcAft>
                <a:spcPts val="0"/>
              </a:spcAft>
              <a:buFontTx/>
              <a:buNone/>
              <a:defRPr sz="1600"/>
            </a:lvl5pPr>
            <a:lvl6pPr marL="0" indent="0" algn="l">
              <a:spcBef>
                <a:spcPts val="0"/>
              </a:spcBef>
              <a:spcAft>
                <a:spcPts val="0"/>
              </a:spcAft>
              <a:buFontTx/>
              <a:buNone/>
              <a:defRPr sz="1600"/>
            </a:lvl6pPr>
            <a:lvl7pPr marL="0" indent="0" algn="l">
              <a:spcBef>
                <a:spcPts val="0"/>
              </a:spcBef>
              <a:spcAft>
                <a:spcPts val="0"/>
              </a:spcAft>
              <a:buFontTx/>
              <a:buNone/>
              <a:defRPr sz="1600"/>
            </a:lvl7pPr>
            <a:lvl8pPr marL="0" indent="0" algn="l">
              <a:spcBef>
                <a:spcPts val="0"/>
              </a:spcBef>
              <a:spcAft>
                <a:spcPts val="0"/>
              </a:spcAft>
              <a:buFontTx/>
              <a:buNone/>
              <a:defRPr sz="1600"/>
            </a:lvl8pPr>
            <a:lvl9pPr marL="0" indent="0" algn="l">
              <a:spcBef>
                <a:spcPts val="0"/>
              </a:spcBef>
              <a:spcAft>
                <a:spcPts val="0"/>
              </a:spcAft>
              <a:buFontTx/>
              <a:buNone/>
              <a:defRPr sz="1600"/>
            </a:lvl9pPr>
          </a:lstStyle>
          <a:p>
            <a:pPr lvl="4"/>
            <a:r>
              <a:rPr lang="en-US"/>
              <a:t>[phone number]</a:t>
            </a:r>
          </a:p>
        </p:txBody>
      </p:sp>
      <p:sp>
        <p:nvSpPr>
          <p:cNvPr id="33" name="Text Placeholder 3"/>
          <p:cNvSpPr>
            <a:spLocks noGrp="1"/>
          </p:cNvSpPr>
          <p:nvPr>
            <p:ph type="body" sz="quarter" idx="42" hasCustomPrompt="1"/>
          </p:nvPr>
        </p:nvSpPr>
        <p:spPr bwMode="gray">
          <a:xfrm>
            <a:off x="8113184" y="2470241"/>
            <a:ext cx="3648405" cy="576000"/>
          </a:xfrm>
        </p:spPr>
        <p:txBody>
          <a:bodyPr tIns="36000" anchor="t" anchorCtr="0"/>
          <a:lstStyle>
            <a:lvl1pPr marL="0" indent="0">
              <a:spcBef>
                <a:spcPts val="0"/>
              </a:spcBef>
              <a:spcAft>
                <a:spcPts val="0"/>
              </a:spcAft>
              <a:buNone/>
              <a:defRPr sz="1600">
                <a:solidFill>
                  <a:schemeClr val="tx1"/>
                </a:solidFill>
              </a:defRPr>
            </a:lvl1pPr>
            <a:lvl2pPr marL="0" indent="0">
              <a:spcBef>
                <a:spcPts val="0"/>
              </a:spcBef>
              <a:spcAft>
                <a:spcPts val="0"/>
              </a:spcAft>
              <a:buNone/>
              <a:defRPr sz="1600"/>
            </a:lvl2pPr>
            <a:lvl3pPr marL="0" indent="0" algn="l">
              <a:spcBef>
                <a:spcPts val="0"/>
              </a:spcBef>
              <a:spcAft>
                <a:spcPts val="0"/>
              </a:spcAft>
              <a:buFontTx/>
              <a:buNone/>
              <a:tabLst>
                <a:tab pos="840296" algn="l"/>
              </a:tabLst>
              <a:defRPr sz="1600"/>
            </a:lvl3pPr>
            <a:lvl4pPr marL="0" indent="0" algn="l">
              <a:spcBef>
                <a:spcPts val="0"/>
              </a:spcBef>
              <a:spcAft>
                <a:spcPts val="0"/>
              </a:spcAft>
              <a:buFontTx/>
              <a:buNone/>
              <a:defRPr sz="1600">
                <a:solidFill>
                  <a:schemeClr val="tx1"/>
                </a:solidFill>
              </a:defRPr>
            </a:lvl4pPr>
            <a:lvl5pPr marL="0" indent="0" algn="l">
              <a:spcBef>
                <a:spcPts val="0"/>
              </a:spcBef>
              <a:spcAft>
                <a:spcPts val="0"/>
              </a:spcAft>
              <a:buFontTx/>
              <a:buNone/>
              <a:defRPr sz="1600"/>
            </a:lvl5pPr>
            <a:lvl6pPr marL="0" indent="0" algn="l">
              <a:spcBef>
                <a:spcPts val="0"/>
              </a:spcBef>
              <a:spcAft>
                <a:spcPts val="0"/>
              </a:spcAft>
              <a:buFontTx/>
              <a:buNone/>
              <a:defRPr sz="1600"/>
            </a:lvl6pPr>
            <a:lvl7pPr marL="0" indent="0" algn="l">
              <a:spcBef>
                <a:spcPts val="0"/>
              </a:spcBef>
              <a:spcAft>
                <a:spcPts val="0"/>
              </a:spcAft>
              <a:buFontTx/>
              <a:buNone/>
              <a:defRPr sz="1600"/>
            </a:lvl7pPr>
            <a:lvl8pPr marL="0" indent="0" algn="l">
              <a:spcBef>
                <a:spcPts val="0"/>
              </a:spcBef>
              <a:spcAft>
                <a:spcPts val="0"/>
              </a:spcAft>
              <a:buFontTx/>
              <a:buNone/>
              <a:defRPr sz="1600"/>
            </a:lvl8pPr>
            <a:lvl9pPr marL="0" indent="0" algn="l">
              <a:spcBef>
                <a:spcPts val="0"/>
              </a:spcBef>
              <a:spcAft>
                <a:spcPts val="0"/>
              </a:spcAft>
              <a:buFontTx/>
              <a:buNone/>
              <a:defRPr sz="1600"/>
            </a:lvl9pPr>
          </a:lstStyle>
          <a:p>
            <a:pPr lvl="4"/>
            <a:r>
              <a:rPr lang="en-US"/>
              <a:t>[title]</a:t>
            </a:r>
          </a:p>
        </p:txBody>
      </p:sp>
      <p:sp>
        <p:nvSpPr>
          <p:cNvPr id="34" name="Text Placeholder 3"/>
          <p:cNvSpPr>
            <a:spLocks noGrp="1"/>
          </p:cNvSpPr>
          <p:nvPr>
            <p:ph type="body" sz="quarter" idx="43" hasCustomPrompt="1"/>
          </p:nvPr>
        </p:nvSpPr>
        <p:spPr bwMode="gray">
          <a:xfrm>
            <a:off x="8113184" y="1702432"/>
            <a:ext cx="3648405" cy="768000"/>
          </a:xfrm>
        </p:spPr>
        <p:txBody>
          <a:bodyPr tIns="0" bIns="36000" anchor="b" anchorCtr="0"/>
          <a:lstStyle>
            <a:lvl1pPr marL="0" indent="0">
              <a:spcBef>
                <a:spcPts val="0"/>
              </a:spcBef>
              <a:spcAft>
                <a:spcPts val="0"/>
              </a:spcAft>
              <a:buFontTx/>
              <a:buNone/>
              <a:defRPr sz="1867">
                <a:solidFill>
                  <a:schemeClr val="tx2"/>
                </a:solidFill>
              </a:defRPr>
            </a:lvl1pPr>
            <a:lvl2pPr marL="0" indent="0">
              <a:spcBef>
                <a:spcPts val="0"/>
              </a:spcBef>
              <a:spcAft>
                <a:spcPts val="0"/>
              </a:spcAft>
              <a:buNone/>
              <a:defRPr sz="1867">
                <a:solidFill>
                  <a:schemeClr val="tx2"/>
                </a:solidFill>
              </a:defRPr>
            </a:lvl2pPr>
            <a:lvl3pPr marL="0" indent="0" algn="l">
              <a:spcBef>
                <a:spcPts val="0"/>
              </a:spcBef>
              <a:spcAft>
                <a:spcPts val="0"/>
              </a:spcAft>
              <a:buFontTx/>
              <a:buNone/>
              <a:tabLst>
                <a:tab pos="840296" algn="l"/>
              </a:tabLst>
              <a:defRPr sz="1867">
                <a:solidFill>
                  <a:schemeClr val="tx2"/>
                </a:solidFill>
              </a:defRPr>
            </a:lvl3pPr>
            <a:lvl4pPr marL="0" indent="0" algn="l">
              <a:spcBef>
                <a:spcPts val="0"/>
              </a:spcBef>
              <a:spcAft>
                <a:spcPts val="0"/>
              </a:spcAft>
              <a:buFontTx/>
              <a:buNone/>
              <a:defRPr sz="1867">
                <a:solidFill>
                  <a:schemeClr val="tx2"/>
                </a:solidFill>
              </a:defRPr>
            </a:lvl4pPr>
            <a:lvl5pPr marL="0" indent="0" algn="l">
              <a:spcBef>
                <a:spcPts val="0"/>
              </a:spcBef>
              <a:spcAft>
                <a:spcPts val="0"/>
              </a:spcAft>
              <a:buFontTx/>
              <a:buNone/>
              <a:defRPr sz="1867" b="0">
                <a:solidFill>
                  <a:schemeClr val="tx2"/>
                </a:solidFill>
              </a:defRPr>
            </a:lvl5pPr>
            <a:lvl6pPr marL="0" indent="0" algn="l">
              <a:spcBef>
                <a:spcPts val="0"/>
              </a:spcBef>
              <a:spcAft>
                <a:spcPts val="0"/>
              </a:spcAft>
              <a:buFontTx/>
              <a:buNone/>
              <a:defRPr sz="1867">
                <a:solidFill>
                  <a:schemeClr val="tx2"/>
                </a:solidFill>
              </a:defRPr>
            </a:lvl6pPr>
            <a:lvl7pPr marL="0" indent="0" algn="l">
              <a:spcBef>
                <a:spcPts val="0"/>
              </a:spcBef>
              <a:spcAft>
                <a:spcPts val="0"/>
              </a:spcAft>
              <a:buFontTx/>
              <a:buNone/>
              <a:defRPr sz="1867">
                <a:solidFill>
                  <a:schemeClr val="tx2"/>
                </a:solidFill>
              </a:defRPr>
            </a:lvl7pPr>
            <a:lvl8pPr marL="0" indent="0" algn="l">
              <a:spcBef>
                <a:spcPts val="0"/>
              </a:spcBef>
              <a:spcAft>
                <a:spcPts val="0"/>
              </a:spcAft>
              <a:buFontTx/>
              <a:buNone/>
              <a:defRPr sz="1867"/>
            </a:lvl8pPr>
            <a:lvl9pPr marL="0" indent="0" algn="l">
              <a:spcBef>
                <a:spcPts val="0"/>
              </a:spcBef>
              <a:spcAft>
                <a:spcPts val="0"/>
              </a:spcAft>
              <a:buFontTx/>
              <a:buNone/>
              <a:defRPr sz="1867">
                <a:solidFill>
                  <a:schemeClr val="tx2"/>
                </a:solidFill>
              </a:defRPr>
            </a:lvl9pPr>
          </a:lstStyle>
          <a:p>
            <a:pPr lvl="0"/>
            <a:r>
              <a:rPr lang="en-US"/>
              <a:t>[name]</a:t>
            </a:r>
          </a:p>
        </p:txBody>
      </p:sp>
      <p:sp>
        <p:nvSpPr>
          <p:cNvPr id="35" name="Text Placeholder 3"/>
          <p:cNvSpPr>
            <a:spLocks noGrp="1"/>
          </p:cNvSpPr>
          <p:nvPr>
            <p:ph type="body" sz="quarter" idx="44" hasCustomPrompt="1"/>
          </p:nvPr>
        </p:nvSpPr>
        <p:spPr bwMode="gray">
          <a:xfrm>
            <a:off x="8113184" y="3334336"/>
            <a:ext cx="3648405" cy="288032"/>
          </a:xfrm>
        </p:spPr>
        <p:txBody>
          <a:bodyPr tIns="0" anchor="b" anchorCtr="0"/>
          <a:lstStyle>
            <a:lvl1pPr marL="0" indent="0">
              <a:spcBef>
                <a:spcPts val="0"/>
              </a:spcBef>
              <a:spcAft>
                <a:spcPts val="0"/>
              </a:spcAft>
              <a:buNone/>
              <a:defRPr sz="1600">
                <a:solidFill>
                  <a:schemeClr val="tx1"/>
                </a:solidFill>
              </a:defRPr>
            </a:lvl1pPr>
            <a:lvl2pPr marL="0" indent="0">
              <a:spcBef>
                <a:spcPts val="0"/>
              </a:spcBef>
              <a:spcAft>
                <a:spcPts val="0"/>
              </a:spcAft>
              <a:buNone/>
              <a:defRPr sz="1600"/>
            </a:lvl2pPr>
            <a:lvl3pPr marL="0" indent="0" algn="l">
              <a:spcBef>
                <a:spcPts val="0"/>
              </a:spcBef>
              <a:spcAft>
                <a:spcPts val="0"/>
              </a:spcAft>
              <a:buFontTx/>
              <a:buNone/>
              <a:tabLst>
                <a:tab pos="840296" algn="l"/>
              </a:tabLst>
              <a:defRPr sz="1600"/>
            </a:lvl3pPr>
            <a:lvl4pPr marL="0" indent="0" algn="l">
              <a:spcBef>
                <a:spcPts val="0"/>
              </a:spcBef>
              <a:spcAft>
                <a:spcPts val="0"/>
              </a:spcAft>
              <a:buFontTx/>
              <a:buNone/>
              <a:defRPr sz="1600">
                <a:solidFill>
                  <a:schemeClr val="tx1"/>
                </a:solidFill>
              </a:defRPr>
            </a:lvl4pPr>
            <a:lvl5pPr marL="0" indent="0" algn="l">
              <a:spcBef>
                <a:spcPts val="0"/>
              </a:spcBef>
              <a:spcAft>
                <a:spcPts val="0"/>
              </a:spcAft>
              <a:buFontTx/>
              <a:buNone/>
              <a:defRPr sz="1600"/>
            </a:lvl5pPr>
            <a:lvl6pPr marL="0" indent="0" algn="l">
              <a:spcBef>
                <a:spcPts val="0"/>
              </a:spcBef>
              <a:spcAft>
                <a:spcPts val="0"/>
              </a:spcAft>
              <a:buFontTx/>
              <a:buNone/>
              <a:defRPr sz="1600"/>
            </a:lvl6pPr>
            <a:lvl7pPr marL="0" indent="0" algn="l">
              <a:spcBef>
                <a:spcPts val="0"/>
              </a:spcBef>
              <a:spcAft>
                <a:spcPts val="0"/>
              </a:spcAft>
              <a:buFontTx/>
              <a:buNone/>
              <a:defRPr sz="1600"/>
            </a:lvl7pPr>
            <a:lvl8pPr marL="0" indent="0" algn="l">
              <a:spcBef>
                <a:spcPts val="0"/>
              </a:spcBef>
              <a:spcAft>
                <a:spcPts val="0"/>
              </a:spcAft>
              <a:buFontTx/>
              <a:buNone/>
              <a:defRPr sz="1600"/>
            </a:lvl8pPr>
            <a:lvl9pPr marL="0" indent="0" algn="l">
              <a:spcBef>
                <a:spcPts val="0"/>
              </a:spcBef>
              <a:spcAft>
                <a:spcPts val="0"/>
              </a:spcAft>
              <a:buFontTx/>
              <a:buNone/>
              <a:defRPr sz="1600"/>
            </a:lvl9pPr>
          </a:lstStyle>
          <a:p>
            <a:pPr lvl="4"/>
            <a:r>
              <a:rPr lang="en-US"/>
              <a:t>[email address]</a:t>
            </a:r>
          </a:p>
        </p:txBody>
      </p:sp>
      <p:sp>
        <p:nvSpPr>
          <p:cNvPr id="36" name="Text Placeholder 3"/>
          <p:cNvSpPr>
            <a:spLocks noGrp="1"/>
          </p:cNvSpPr>
          <p:nvPr>
            <p:ph type="body" sz="quarter" idx="45" hasCustomPrompt="1"/>
          </p:nvPr>
        </p:nvSpPr>
        <p:spPr bwMode="gray">
          <a:xfrm>
            <a:off x="8113290" y="3622368"/>
            <a:ext cx="3648301" cy="286685"/>
          </a:xfrm>
        </p:spPr>
        <p:txBody>
          <a:bodyPr tIns="0" anchor="b" anchorCtr="0"/>
          <a:lstStyle>
            <a:lvl1pPr marL="0" indent="0">
              <a:spcBef>
                <a:spcPts val="0"/>
              </a:spcBef>
              <a:spcAft>
                <a:spcPts val="0"/>
              </a:spcAft>
              <a:buNone/>
              <a:defRPr sz="1600">
                <a:solidFill>
                  <a:schemeClr val="tx1"/>
                </a:solidFill>
              </a:defRPr>
            </a:lvl1pPr>
            <a:lvl2pPr marL="0" indent="0">
              <a:spcBef>
                <a:spcPts val="0"/>
              </a:spcBef>
              <a:spcAft>
                <a:spcPts val="0"/>
              </a:spcAft>
              <a:buNone/>
              <a:defRPr sz="1600"/>
            </a:lvl2pPr>
            <a:lvl3pPr marL="0" indent="0" algn="l">
              <a:spcBef>
                <a:spcPts val="0"/>
              </a:spcBef>
              <a:spcAft>
                <a:spcPts val="0"/>
              </a:spcAft>
              <a:buFontTx/>
              <a:buNone/>
              <a:tabLst>
                <a:tab pos="840296" algn="l"/>
              </a:tabLst>
              <a:defRPr sz="1600"/>
            </a:lvl3pPr>
            <a:lvl4pPr marL="0" indent="0" algn="l">
              <a:spcBef>
                <a:spcPts val="0"/>
              </a:spcBef>
              <a:spcAft>
                <a:spcPts val="0"/>
              </a:spcAft>
              <a:buFontTx/>
              <a:buNone/>
              <a:defRPr sz="1600">
                <a:solidFill>
                  <a:schemeClr val="tx1"/>
                </a:solidFill>
              </a:defRPr>
            </a:lvl4pPr>
            <a:lvl5pPr marL="0" indent="0" algn="l">
              <a:spcBef>
                <a:spcPts val="0"/>
              </a:spcBef>
              <a:spcAft>
                <a:spcPts val="0"/>
              </a:spcAft>
              <a:buFontTx/>
              <a:buNone/>
              <a:defRPr sz="1600"/>
            </a:lvl5pPr>
            <a:lvl6pPr marL="0" indent="0" algn="l">
              <a:spcBef>
                <a:spcPts val="0"/>
              </a:spcBef>
              <a:spcAft>
                <a:spcPts val="0"/>
              </a:spcAft>
              <a:buFontTx/>
              <a:buNone/>
              <a:defRPr sz="1600"/>
            </a:lvl6pPr>
            <a:lvl7pPr marL="0" indent="0" algn="l">
              <a:spcBef>
                <a:spcPts val="0"/>
              </a:spcBef>
              <a:spcAft>
                <a:spcPts val="0"/>
              </a:spcAft>
              <a:buFontTx/>
              <a:buNone/>
              <a:defRPr sz="1600"/>
            </a:lvl7pPr>
            <a:lvl8pPr marL="0" indent="0" algn="l">
              <a:spcBef>
                <a:spcPts val="0"/>
              </a:spcBef>
              <a:spcAft>
                <a:spcPts val="0"/>
              </a:spcAft>
              <a:buFontTx/>
              <a:buNone/>
              <a:defRPr sz="1600"/>
            </a:lvl8pPr>
            <a:lvl9pPr marL="0" indent="0" algn="l">
              <a:spcBef>
                <a:spcPts val="0"/>
              </a:spcBef>
              <a:spcAft>
                <a:spcPts val="0"/>
              </a:spcAft>
              <a:buFontTx/>
              <a:buNone/>
              <a:defRPr sz="1600"/>
            </a:lvl9pPr>
          </a:lstStyle>
          <a:p>
            <a:pPr lvl="4"/>
            <a:r>
              <a:rPr lang="en-US"/>
              <a:t>[country]</a:t>
            </a:r>
          </a:p>
        </p:txBody>
      </p:sp>
    </p:spTree>
    <p:extLst>
      <p:ext uri="{BB962C8B-B14F-4D97-AF65-F5344CB8AC3E}">
        <p14:creationId xmlns:p14="http://schemas.microsoft.com/office/powerpoint/2010/main" val="1211769339"/>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Four contacts">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p>
            <a:r>
              <a:rPr lang="en-US"/>
              <a:t>Click to add headline</a:t>
            </a:r>
          </a:p>
        </p:txBody>
      </p:sp>
      <p:sp>
        <p:nvSpPr>
          <p:cNvPr id="13" name="Picture Placeholder 4"/>
          <p:cNvSpPr>
            <a:spLocks noGrp="1"/>
          </p:cNvSpPr>
          <p:nvPr>
            <p:ph type="pic" sz="quarter" idx="15" hasCustomPrompt="1"/>
          </p:nvPr>
        </p:nvSpPr>
        <p:spPr bwMode="gray">
          <a:xfrm>
            <a:off x="431371" y="4101320"/>
            <a:ext cx="1728192" cy="2208000"/>
          </a:xfrm>
        </p:spPr>
        <p:txBody>
          <a:bodyPr/>
          <a:lstStyle>
            <a:lvl1pPr marL="0" indent="0">
              <a:buNone/>
              <a:defRPr/>
            </a:lvl1pPr>
          </a:lstStyle>
          <a:p>
            <a:r>
              <a:rPr lang="de-DE"/>
              <a:t>Picture</a:t>
            </a:r>
            <a:endParaRPr lang="en-US"/>
          </a:p>
        </p:txBody>
      </p:sp>
      <p:sp>
        <p:nvSpPr>
          <p:cNvPr id="14" name="Text Placeholder 3"/>
          <p:cNvSpPr>
            <a:spLocks noGrp="1"/>
          </p:cNvSpPr>
          <p:nvPr>
            <p:ph type="body" sz="quarter" idx="18" hasCustomPrompt="1"/>
          </p:nvPr>
        </p:nvSpPr>
        <p:spPr bwMode="gray">
          <a:xfrm>
            <a:off x="2351586" y="5445305"/>
            <a:ext cx="3648404" cy="288032"/>
          </a:xfrm>
        </p:spPr>
        <p:txBody>
          <a:bodyPr tIns="0" anchor="b" anchorCtr="0"/>
          <a:lstStyle>
            <a:lvl1pPr marL="0" indent="0">
              <a:spcBef>
                <a:spcPts val="0"/>
              </a:spcBef>
              <a:spcAft>
                <a:spcPts val="0"/>
              </a:spcAft>
              <a:buNone/>
              <a:defRPr sz="1600">
                <a:solidFill>
                  <a:schemeClr val="tx1"/>
                </a:solidFill>
              </a:defRPr>
            </a:lvl1pPr>
            <a:lvl2pPr marL="0" indent="0">
              <a:spcBef>
                <a:spcPts val="0"/>
              </a:spcBef>
              <a:spcAft>
                <a:spcPts val="0"/>
              </a:spcAft>
              <a:buNone/>
              <a:defRPr sz="1600"/>
            </a:lvl2pPr>
            <a:lvl3pPr marL="0" indent="0" algn="l">
              <a:spcBef>
                <a:spcPts val="0"/>
              </a:spcBef>
              <a:spcAft>
                <a:spcPts val="0"/>
              </a:spcAft>
              <a:buFontTx/>
              <a:buNone/>
              <a:tabLst>
                <a:tab pos="840296" algn="l"/>
              </a:tabLst>
              <a:defRPr sz="1600"/>
            </a:lvl3pPr>
            <a:lvl4pPr marL="0" indent="0" algn="l">
              <a:spcBef>
                <a:spcPts val="0"/>
              </a:spcBef>
              <a:spcAft>
                <a:spcPts val="0"/>
              </a:spcAft>
              <a:buFontTx/>
              <a:buNone/>
              <a:defRPr sz="1600">
                <a:solidFill>
                  <a:schemeClr val="tx1"/>
                </a:solidFill>
              </a:defRPr>
            </a:lvl4pPr>
            <a:lvl5pPr marL="0" indent="0" algn="l">
              <a:spcBef>
                <a:spcPts val="0"/>
              </a:spcBef>
              <a:spcAft>
                <a:spcPts val="0"/>
              </a:spcAft>
              <a:buFontTx/>
              <a:buNone/>
              <a:defRPr sz="1600"/>
            </a:lvl5pPr>
            <a:lvl6pPr marL="0" indent="0" algn="l">
              <a:spcBef>
                <a:spcPts val="0"/>
              </a:spcBef>
              <a:spcAft>
                <a:spcPts val="0"/>
              </a:spcAft>
              <a:buFontTx/>
              <a:buNone/>
              <a:defRPr sz="1600"/>
            </a:lvl6pPr>
            <a:lvl7pPr marL="0" indent="0" algn="l">
              <a:spcBef>
                <a:spcPts val="0"/>
              </a:spcBef>
              <a:spcAft>
                <a:spcPts val="0"/>
              </a:spcAft>
              <a:buFontTx/>
              <a:buNone/>
              <a:defRPr sz="1600"/>
            </a:lvl7pPr>
            <a:lvl8pPr marL="0" indent="0" algn="l">
              <a:spcBef>
                <a:spcPts val="0"/>
              </a:spcBef>
              <a:spcAft>
                <a:spcPts val="0"/>
              </a:spcAft>
              <a:buFontTx/>
              <a:buNone/>
              <a:defRPr sz="1600"/>
            </a:lvl8pPr>
            <a:lvl9pPr marL="0" indent="0" algn="l">
              <a:spcBef>
                <a:spcPts val="0"/>
              </a:spcBef>
              <a:spcAft>
                <a:spcPts val="0"/>
              </a:spcAft>
              <a:buFontTx/>
              <a:buNone/>
              <a:defRPr sz="1600"/>
            </a:lvl9pPr>
          </a:lstStyle>
          <a:p>
            <a:pPr lvl="4"/>
            <a:r>
              <a:rPr lang="en-US"/>
              <a:t>[phone number]</a:t>
            </a:r>
          </a:p>
        </p:txBody>
      </p:sp>
      <p:sp>
        <p:nvSpPr>
          <p:cNvPr id="17" name="Text Placeholder 3"/>
          <p:cNvSpPr>
            <a:spLocks noGrp="1"/>
          </p:cNvSpPr>
          <p:nvPr>
            <p:ph type="body" sz="quarter" idx="19" hasCustomPrompt="1"/>
          </p:nvPr>
        </p:nvSpPr>
        <p:spPr bwMode="gray">
          <a:xfrm>
            <a:off x="2351584" y="4869241"/>
            <a:ext cx="3648405" cy="576000"/>
          </a:xfrm>
        </p:spPr>
        <p:txBody>
          <a:bodyPr tIns="36000" anchor="t" anchorCtr="0"/>
          <a:lstStyle>
            <a:lvl1pPr marL="0" indent="0">
              <a:spcBef>
                <a:spcPts val="0"/>
              </a:spcBef>
              <a:spcAft>
                <a:spcPts val="0"/>
              </a:spcAft>
              <a:buNone/>
              <a:defRPr sz="1600">
                <a:solidFill>
                  <a:schemeClr val="tx1"/>
                </a:solidFill>
              </a:defRPr>
            </a:lvl1pPr>
            <a:lvl2pPr marL="0" indent="0">
              <a:spcBef>
                <a:spcPts val="0"/>
              </a:spcBef>
              <a:spcAft>
                <a:spcPts val="0"/>
              </a:spcAft>
              <a:buNone/>
              <a:defRPr sz="1600"/>
            </a:lvl2pPr>
            <a:lvl3pPr marL="0" indent="0" algn="l">
              <a:spcBef>
                <a:spcPts val="0"/>
              </a:spcBef>
              <a:spcAft>
                <a:spcPts val="0"/>
              </a:spcAft>
              <a:buFontTx/>
              <a:buNone/>
              <a:tabLst>
                <a:tab pos="840296" algn="l"/>
              </a:tabLst>
              <a:defRPr sz="1600"/>
            </a:lvl3pPr>
            <a:lvl4pPr marL="0" indent="0" algn="l">
              <a:spcBef>
                <a:spcPts val="0"/>
              </a:spcBef>
              <a:spcAft>
                <a:spcPts val="0"/>
              </a:spcAft>
              <a:buFontTx/>
              <a:buNone/>
              <a:defRPr sz="1600">
                <a:solidFill>
                  <a:schemeClr val="tx1"/>
                </a:solidFill>
              </a:defRPr>
            </a:lvl4pPr>
            <a:lvl5pPr marL="0" indent="0" algn="l">
              <a:spcBef>
                <a:spcPts val="0"/>
              </a:spcBef>
              <a:spcAft>
                <a:spcPts val="0"/>
              </a:spcAft>
              <a:buFontTx/>
              <a:buNone/>
              <a:defRPr sz="1600"/>
            </a:lvl5pPr>
            <a:lvl6pPr marL="0" indent="0" algn="l">
              <a:spcBef>
                <a:spcPts val="0"/>
              </a:spcBef>
              <a:spcAft>
                <a:spcPts val="0"/>
              </a:spcAft>
              <a:buFontTx/>
              <a:buNone/>
              <a:defRPr sz="1600"/>
            </a:lvl6pPr>
            <a:lvl7pPr marL="0" indent="0" algn="l">
              <a:spcBef>
                <a:spcPts val="0"/>
              </a:spcBef>
              <a:spcAft>
                <a:spcPts val="0"/>
              </a:spcAft>
              <a:buFontTx/>
              <a:buNone/>
              <a:defRPr sz="1600"/>
            </a:lvl7pPr>
            <a:lvl8pPr marL="0" indent="0" algn="l">
              <a:spcBef>
                <a:spcPts val="0"/>
              </a:spcBef>
              <a:spcAft>
                <a:spcPts val="0"/>
              </a:spcAft>
              <a:buFontTx/>
              <a:buNone/>
              <a:defRPr sz="1600"/>
            </a:lvl8pPr>
            <a:lvl9pPr marL="0" indent="0" algn="l">
              <a:spcBef>
                <a:spcPts val="0"/>
              </a:spcBef>
              <a:spcAft>
                <a:spcPts val="0"/>
              </a:spcAft>
              <a:buFontTx/>
              <a:buNone/>
              <a:defRPr sz="1600"/>
            </a:lvl9pPr>
          </a:lstStyle>
          <a:p>
            <a:pPr lvl="4"/>
            <a:r>
              <a:rPr lang="en-US"/>
              <a:t>[title]</a:t>
            </a:r>
          </a:p>
        </p:txBody>
      </p:sp>
      <p:sp>
        <p:nvSpPr>
          <p:cNvPr id="19" name="Text Placeholder 3"/>
          <p:cNvSpPr>
            <a:spLocks noGrp="1"/>
          </p:cNvSpPr>
          <p:nvPr>
            <p:ph type="body" sz="quarter" idx="26" hasCustomPrompt="1"/>
          </p:nvPr>
        </p:nvSpPr>
        <p:spPr bwMode="gray">
          <a:xfrm>
            <a:off x="2351584" y="5733336"/>
            <a:ext cx="3648405" cy="288032"/>
          </a:xfrm>
        </p:spPr>
        <p:txBody>
          <a:bodyPr tIns="0" anchor="b" anchorCtr="0"/>
          <a:lstStyle>
            <a:lvl1pPr marL="0" indent="0">
              <a:spcBef>
                <a:spcPts val="0"/>
              </a:spcBef>
              <a:spcAft>
                <a:spcPts val="0"/>
              </a:spcAft>
              <a:buNone/>
              <a:defRPr sz="1600">
                <a:solidFill>
                  <a:schemeClr val="tx1"/>
                </a:solidFill>
              </a:defRPr>
            </a:lvl1pPr>
            <a:lvl2pPr marL="0" indent="0">
              <a:spcBef>
                <a:spcPts val="0"/>
              </a:spcBef>
              <a:spcAft>
                <a:spcPts val="0"/>
              </a:spcAft>
              <a:buNone/>
              <a:defRPr sz="1600"/>
            </a:lvl2pPr>
            <a:lvl3pPr marL="0" indent="0" algn="l">
              <a:spcBef>
                <a:spcPts val="0"/>
              </a:spcBef>
              <a:spcAft>
                <a:spcPts val="0"/>
              </a:spcAft>
              <a:buFontTx/>
              <a:buNone/>
              <a:tabLst>
                <a:tab pos="840296" algn="l"/>
              </a:tabLst>
              <a:defRPr sz="1600"/>
            </a:lvl3pPr>
            <a:lvl4pPr marL="0" indent="0" algn="l">
              <a:spcBef>
                <a:spcPts val="0"/>
              </a:spcBef>
              <a:spcAft>
                <a:spcPts val="0"/>
              </a:spcAft>
              <a:buFontTx/>
              <a:buNone/>
              <a:defRPr sz="1600">
                <a:solidFill>
                  <a:schemeClr val="tx1"/>
                </a:solidFill>
              </a:defRPr>
            </a:lvl4pPr>
            <a:lvl5pPr marL="0" indent="0" algn="l">
              <a:spcBef>
                <a:spcPts val="0"/>
              </a:spcBef>
              <a:spcAft>
                <a:spcPts val="0"/>
              </a:spcAft>
              <a:buFontTx/>
              <a:buNone/>
              <a:defRPr sz="1600"/>
            </a:lvl5pPr>
            <a:lvl6pPr marL="0" indent="0" algn="l">
              <a:spcBef>
                <a:spcPts val="0"/>
              </a:spcBef>
              <a:spcAft>
                <a:spcPts val="0"/>
              </a:spcAft>
              <a:buFontTx/>
              <a:buNone/>
              <a:defRPr sz="1600"/>
            </a:lvl6pPr>
            <a:lvl7pPr marL="0" indent="0" algn="l">
              <a:spcBef>
                <a:spcPts val="0"/>
              </a:spcBef>
              <a:spcAft>
                <a:spcPts val="0"/>
              </a:spcAft>
              <a:buFontTx/>
              <a:buNone/>
              <a:defRPr sz="1600"/>
            </a:lvl7pPr>
            <a:lvl8pPr marL="0" indent="0" algn="l">
              <a:spcBef>
                <a:spcPts val="0"/>
              </a:spcBef>
              <a:spcAft>
                <a:spcPts val="0"/>
              </a:spcAft>
              <a:buFontTx/>
              <a:buNone/>
              <a:defRPr sz="1600"/>
            </a:lvl8pPr>
            <a:lvl9pPr marL="0" indent="0" algn="l">
              <a:spcBef>
                <a:spcPts val="0"/>
              </a:spcBef>
              <a:spcAft>
                <a:spcPts val="0"/>
              </a:spcAft>
              <a:buFontTx/>
              <a:buNone/>
              <a:defRPr sz="1600"/>
            </a:lvl9pPr>
          </a:lstStyle>
          <a:p>
            <a:pPr lvl="4"/>
            <a:r>
              <a:rPr lang="en-US"/>
              <a:t>[email address]</a:t>
            </a:r>
          </a:p>
        </p:txBody>
      </p:sp>
      <p:sp>
        <p:nvSpPr>
          <p:cNvPr id="26" name="Text Placeholder 3"/>
          <p:cNvSpPr>
            <a:spLocks noGrp="1"/>
          </p:cNvSpPr>
          <p:nvPr>
            <p:ph type="body" sz="quarter" idx="27" hasCustomPrompt="1"/>
          </p:nvPr>
        </p:nvSpPr>
        <p:spPr bwMode="gray">
          <a:xfrm>
            <a:off x="2351690" y="6021368"/>
            <a:ext cx="3648301" cy="286685"/>
          </a:xfrm>
        </p:spPr>
        <p:txBody>
          <a:bodyPr tIns="0" anchor="b" anchorCtr="0"/>
          <a:lstStyle>
            <a:lvl1pPr marL="0" indent="0">
              <a:spcBef>
                <a:spcPts val="0"/>
              </a:spcBef>
              <a:spcAft>
                <a:spcPts val="0"/>
              </a:spcAft>
              <a:buNone/>
              <a:defRPr sz="1600">
                <a:solidFill>
                  <a:schemeClr val="tx1"/>
                </a:solidFill>
              </a:defRPr>
            </a:lvl1pPr>
            <a:lvl2pPr marL="0" indent="0">
              <a:spcBef>
                <a:spcPts val="0"/>
              </a:spcBef>
              <a:spcAft>
                <a:spcPts val="0"/>
              </a:spcAft>
              <a:buNone/>
              <a:defRPr sz="1600"/>
            </a:lvl2pPr>
            <a:lvl3pPr marL="0" indent="0" algn="l">
              <a:spcBef>
                <a:spcPts val="0"/>
              </a:spcBef>
              <a:spcAft>
                <a:spcPts val="0"/>
              </a:spcAft>
              <a:buFontTx/>
              <a:buNone/>
              <a:tabLst>
                <a:tab pos="840296" algn="l"/>
              </a:tabLst>
              <a:defRPr sz="1600"/>
            </a:lvl3pPr>
            <a:lvl4pPr marL="0" indent="0" algn="l">
              <a:spcBef>
                <a:spcPts val="0"/>
              </a:spcBef>
              <a:spcAft>
                <a:spcPts val="0"/>
              </a:spcAft>
              <a:buFontTx/>
              <a:buNone/>
              <a:defRPr sz="1600">
                <a:solidFill>
                  <a:schemeClr val="tx1"/>
                </a:solidFill>
              </a:defRPr>
            </a:lvl4pPr>
            <a:lvl5pPr marL="0" indent="0" algn="l">
              <a:spcBef>
                <a:spcPts val="0"/>
              </a:spcBef>
              <a:spcAft>
                <a:spcPts val="0"/>
              </a:spcAft>
              <a:buFontTx/>
              <a:buNone/>
              <a:defRPr sz="1600"/>
            </a:lvl5pPr>
            <a:lvl6pPr marL="0" indent="0" algn="l">
              <a:spcBef>
                <a:spcPts val="0"/>
              </a:spcBef>
              <a:spcAft>
                <a:spcPts val="0"/>
              </a:spcAft>
              <a:buFontTx/>
              <a:buNone/>
              <a:defRPr sz="1600"/>
            </a:lvl6pPr>
            <a:lvl7pPr marL="0" indent="0" algn="l">
              <a:spcBef>
                <a:spcPts val="0"/>
              </a:spcBef>
              <a:spcAft>
                <a:spcPts val="0"/>
              </a:spcAft>
              <a:buFontTx/>
              <a:buNone/>
              <a:defRPr sz="1600"/>
            </a:lvl7pPr>
            <a:lvl8pPr marL="0" indent="0" algn="l">
              <a:spcBef>
                <a:spcPts val="0"/>
              </a:spcBef>
              <a:spcAft>
                <a:spcPts val="0"/>
              </a:spcAft>
              <a:buFontTx/>
              <a:buNone/>
              <a:defRPr sz="1600"/>
            </a:lvl8pPr>
            <a:lvl9pPr marL="0" indent="0" algn="l">
              <a:spcBef>
                <a:spcPts val="0"/>
              </a:spcBef>
              <a:spcAft>
                <a:spcPts val="0"/>
              </a:spcAft>
              <a:buFontTx/>
              <a:buNone/>
              <a:defRPr sz="1600"/>
            </a:lvl9pPr>
          </a:lstStyle>
          <a:p>
            <a:pPr lvl="4"/>
            <a:r>
              <a:rPr lang="en-US"/>
              <a:t>[country]</a:t>
            </a:r>
          </a:p>
        </p:txBody>
      </p:sp>
      <p:sp>
        <p:nvSpPr>
          <p:cNvPr id="27" name="Picture Placeholder 4"/>
          <p:cNvSpPr>
            <a:spLocks noGrp="1"/>
          </p:cNvSpPr>
          <p:nvPr>
            <p:ph type="pic" sz="quarter" idx="28" hasCustomPrompt="1"/>
          </p:nvPr>
        </p:nvSpPr>
        <p:spPr bwMode="gray">
          <a:xfrm>
            <a:off x="6192971" y="4101320"/>
            <a:ext cx="1728192" cy="2208000"/>
          </a:xfrm>
        </p:spPr>
        <p:txBody>
          <a:bodyPr/>
          <a:lstStyle>
            <a:lvl1pPr marL="0" indent="0">
              <a:buNone/>
              <a:defRPr/>
            </a:lvl1pPr>
          </a:lstStyle>
          <a:p>
            <a:r>
              <a:rPr lang="de-DE"/>
              <a:t>Picture</a:t>
            </a:r>
            <a:endParaRPr lang="en-US"/>
          </a:p>
        </p:txBody>
      </p:sp>
      <p:sp>
        <p:nvSpPr>
          <p:cNvPr id="28" name="Text Placeholder 3"/>
          <p:cNvSpPr>
            <a:spLocks noGrp="1"/>
          </p:cNvSpPr>
          <p:nvPr>
            <p:ph type="body" sz="quarter" idx="29" hasCustomPrompt="1"/>
          </p:nvPr>
        </p:nvSpPr>
        <p:spPr bwMode="gray">
          <a:xfrm>
            <a:off x="8113186" y="5445305"/>
            <a:ext cx="3648404" cy="288032"/>
          </a:xfrm>
        </p:spPr>
        <p:txBody>
          <a:bodyPr tIns="0" anchor="b" anchorCtr="0"/>
          <a:lstStyle>
            <a:lvl1pPr marL="0" indent="0">
              <a:spcBef>
                <a:spcPts val="0"/>
              </a:spcBef>
              <a:spcAft>
                <a:spcPts val="0"/>
              </a:spcAft>
              <a:buNone/>
              <a:defRPr sz="1600">
                <a:solidFill>
                  <a:schemeClr val="tx1"/>
                </a:solidFill>
              </a:defRPr>
            </a:lvl1pPr>
            <a:lvl2pPr marL="0" indent="0">
              <a:spcBef>
                <a:spcPts val="0"/>
              </a:spcBef>
              <a:spcAft>
                <a:spcPts val="0"/>
              </a:spcAft>
              <a:buNone/>
              <a:defRPr sz="1600"/>
            </a:lvl2pPr>
            <a:lvl3pPr marL="0" indent="0" algn="l">
              <a:spcBef>
                <a:spcPts val="0"/>
              </a:spcBef>
              <a:spcAft>
                <a:spcPts val="0"/>
              </a:spcAft>
              <a:buFontTx/>
              <a:buNone/>
              <a:tabLst>
                <a:tab pos="840296" algn="l"/>
              </a:tabLst>
              <a:defRPr sz="1600"/>
            </a:lvl3pPr>
            <a:lvl4pPr marL="0" indent="0" algn="l">
              <a:spcBef>
                <a:spcPts val="0"/>
              </a:spcBef>
              <a:spcAft>
                <a:spcPts val="0"/>
              </a:spcAft>
              <a:buFontTx/>
              <a:buNone/>
              <a:defRPr sz="1600">
                <a:solidFill>
                  <a:schemeClr val="tx1"/>
                </a:solidFill>
              </a:defRPr>
            </a:lvl4pPr>
            <a:lvl5pPr marL="0" indent="0" algn="l">
              <a:spcBef>
                <a:spcPts val="0"/>
              </a:spcBef>
              <a:spcAft>
                <a:spcPts val="0"/>
              </a:spcAft>
              <a:buFontTx/>
              <a:buNone/>
              <a:defRPr sz="1600"/>
            </a:lvl5pPr>
            <a:lvl6pPr marL="0" indent="0" algn="l">
              <a:spcBef>
                <a:spcPts val="0"/>
              </a:spcBef>
              <a:spcAft>
                <a:spcPts val="0"/>
              </a:spcAft>
              <a:buFontTx/>
              <a:buNone/>
              <a:defRPr sz="1600"/>
            </a:lvl6pPr>
            <a:lvl7pPr marL="0" indent="0" algn="l">
              <a:spcBef>
                <a:spcPts val="0"/>
              </a:spcBef>
              <a:spcAft>
                <a:spcPts val="0"/>
              </a:spcAft>
              <a:buFontTx/>
              <a:buNone/>
              <a:defRPr sz="1600"/>
            </a:lvl7pPr>
            <a:lvl8pPr marL="0" indent="0" algn="l">
              <a:spcBef>
                <a:spcPts val="0"/>
              </a:spcBef>
              <a:spcAft>
                <a:spcPts val="0"/>
              </a:spcAft>
              <a:buFontTx/>
              <a:buNone/>
              <a:defRPr sz="1600"/>
            </a:lvl8pPr>
            <a:lvl9pPr marL="0" indent="0" algn="l">
              <a:spcBef>
                <a:spcPts val="0"/>
              </a:spcBef>
              <a:spcAft>
                <a:spcPts val="0"/>
              </a:spcAft>
              <a:buFontTx/>
              <a:buNone/>
              <a:defRPr sz="1600"/>
            </a:lvl9pPr>
          </a:lstStyle>
          <a:p>
            <a:pPr lvl="4"/>
            <a:r>
              <a:rPr lang="en-US"/>
              <a:t>[phone number]</a:t>
            </a:r>
          </a:p>
        </p:txBody>
      </p:sp>
      <p:sp>
        <p:nvSpPr>
          <p:cNvPr id="29" name="Text Placeholder 3"/>
          <p:cNvSpPr>
            <a:spLocks noGrp="1"/>
          </p:cNvSpPr>
          <p:nvPr>
            <p:ph type="body" sz="quarter" idx="30" hasCustomPrompt="1"/>
          </p:nvPr>
        </p:nvSpPr>
        <p:spPr bwMode="gray">
          <a:xfrm>
            <a:off x="8113184" y="4869241"/>
            <a:ext cx="3648405" cy="576000"/>
          </a:xfrm>
        </p:spPr>
        <p:txBody>
          <a:bodyPr tIns="36000" anchor="t" anchorCtr="0"/>
          <a:lstStyle>
            <a:lvl1pPr marL="0" indent="0">
              <a:spcBef>
                <a:spcPts val="0"/>
              </a:spcBef>
              <a:spcAft>
                <a:spcPts val="0"/>
              </a:spcAft>
              <a:buNone/>
              <a:defRPr sz="1600">
                <a:solidFill>
                  <a:schemeClr val="tx1"/>
                </a:solidFill>
              </a:defRPr>
            </a:lvl1pPr>
            <a:lvl2pPr marL="0" indent="0">
              <a:spcBef>
                <a:spcPts val="0"/>
              </a:spcBef>
              <a:spcAft>
                <a:spcPts val="0"/>
              </a:spcAft>
              <a:buNone/>
              <a:defRPr sz="1600"/>
            </a:lvl2pPr>
            <a:lvl3pPr marL="0" indent="0" algn="l">
              <a:spcBef>
                <a:spcPts val="0"/>
              </a:spcBef>
              <a:spcAft>
                <a:spcPts val="0"/>
              </a:spcAft>
              <a:buFontTx/>
              <a:buNone/>
              <a:tabLst>
                <a:tab pos="840296" algn="l"/>
              </a:tabLst>
              <a:defRPr sz="1600"/>
            </a:lvl3pPr>
            <a:lvl4pPr marL="0" indent="0" algn="l">
              <a:spcBef>
                <a:spcPts val="0"/>
              </a:spcBef>
              <a:spcAft>
                <a:spcPts val="0"/>
              </a:spcAft>
              <a:buFontTx/>
              <a:buNone/>
              <a:defRPr sz="1600">
                <a:solidFill>
                  <a:schemeClr val="tx1"/>
                </a:solidFill>
              </a:defRPr>
            </a:lvl4pPr>
            <a:lvl5pPr marL="0" indent="0" algn="l">
              <a:spcBef>
                <a:spcPts val="0"/>
              </a:spcBef>
              <a:spcAft>
                <a:spcPts val="0"/>
              </a:spcAft>
              <a:buFontTx/>
              <a:buNone/>
              <a:defRPr sz="1600"/>
            </a:lvl5pPr>
            <a:lvl6pPr marL="0" indent="0" algn="l">
              <a:spcBef>
                <a:spcPts val="0"/>
              </a:spcBef>
              <a:spcAft>
                <a:spcPts val="0"/>
              </a:spcAft>
              <a:buFontTx/>
              <a:buNone/>
              <a:defRPr sz="1600"/>
            </a:lvl6pPr>
            <a:lvl7pPr marL="0" indent="0" algn="l">
              <a:spcBef>
                <a:spcPts val="0"/>
              </a:spcBef>
              <a:spcAft>
                <a:spcPts val="0"/>
              </a:spcAft>
              <a:buFontTx/>
              <a:buNone/>
              <a:defRPr sz="1600"/>
            </a:lvl7pPr>
            <a:lvl8pPr marL="0" indent="0" algn="l">
              <a:spcBef>
                <a:spcPts val="0"/>
              </a:spcBef>
              <a:spcAft>
                <a:spcPts val="0"/>
              </a:spcAft>
              <a:buFontTx/>
              <a:buNone/>
              <a:defRPr sz="1600"/>
            </a:lvl8pPr>
            <a:lvl9pPr marL="0" indent="0" algn="l">
              <a:spcBef>
                <a:spcPts val="0"/>
              </a:spcBef>
              <a:spcAft>
                <a:spcPts val="0"/>
              </a:spcAft>
              <a:buFontTx/>
              <a:buNone/>
              <a:defRPr sz="1600"/>
            </a:lvl9pPr>
          </a:lstStyle>
          <a:p>
            <a:pPr lvl="4"/>
            <a:r>
              <a:rPr lang="en-US"/>
              <a:t>[title]</a:t>
            </a:r>
          </a:p>
        </p:txBody>
      </p:sp>
      <p:sp>
        <p:nvSpPr>
          <p:cNvPr id="31" name="Text Placeholder 3"/>
          <p:cNvSpPr>
            <a:spLocks noGrp="1"/>
          </p:cNvSpPr>
          <p:nvPr>
            <p:ph type="body" sz="quarter" idx="32" hasCustomPrompt="1"/>
          </p:nvPr>
        </p:nvSpPr>
        <p:spPr bwMode="gray">
          <a:xfrm>
            <a:off x="8113184" y="5733336"/>
            <a:ext cx="3648405" cy="288032"/>
          </a:xfrm>
        </p:spPr>
        <p:txBody>
          <a:bodyPr tIns="0" anchor="b" anchorCtr="0"/>
          <a:lstStyle>
            <a:lvl1pPr marL="0" indent="0">
              <a:spcBef>
                <a:spcPts val="0"/>
              </a:spcBef>
              <a:spcAft>
                <a:spcPts val="0"/>
              </a:spcAft>
              <a:buNone/>
              <a:defRPr sz="1600">
                <a:solidFill>
                  <a:schemeClr val="tx1"/>
                </a:solidFill>
              </a:defRPr>
            </a:lvl1pPr>
            <a:lvl2pPr marL="0" indent="0">
              <a:spcBef>
                <a:spcPts val="0"/>
              </a:spcBef>
              <a:spcAft>
                <a:spcPts val="0"/>
              </a:spcAft>
              <a:buNone/>
              <a:defRPr sz="1600"/>
            </a:lvl2pPr>
            <a:lvl3pPr marL="0" indent="0" algn="l">
              <a:spcBef>
                <a:spcPts val="0"/>
              </a:spcBef>
              <a:spcAft>
                <a:spcPts val="0"/>
              </a:spcAft>
              <a:buFontTx/>
              <a:buNone/>
              <a:tabLst>
                <a:tab pos="840296" algn="l"/>
              </a:tabLst>
              <a:defRPr sz="1600"/>
            </a:lvl3pPr>
            <a:lvl4pPr marL="0" indent="0" algn="l">
              <a:spcBef>
                <a:spcPts val="0"/>
              </a:spcBef>
              <a:spcAft>
                <a:spcPts val="0"/>
              </a:spcAft>
              <a:buFontTx/>
              <a:buNone/>
              <a:defRPr sz="1600">
                <a:solidFill>
                  <a:schemeClr val="tx1"/>
                </a:solidFill>
              </a:defRPr>
            </a:lvl4pPr>
            <a:lvl5pPr marL="0" indent="0" algn="l">
              <a:spcBef>
                <a:spcPts val="0"/>
              </a:spcBef>
              <a:spcAft>
                <a:spcPts val="0"/>
              </a:spcAft>
              <a:buFontTx/>
              <a:buNone/>
              <a:defRPr sz="1600"/>
            </a:lvl5pPr>
            <a:lvl6pPr marL="0" indent="0" algn="l">
              <a:spcBef>
                <a:spcPts val="0"/>
              </a:spcBef>
              <a:spcAft>
                <a:spcPts val="0"/>
              </a:spcAft>
              <a:buFontTx/>
              <a:buNone/>
              <a:defRPr sz="1600"/>
            </a:lvl6pPr>
            <a:lvl7pPr marL="0" indent="0" algn="l">
              <a:spcBef>
                <a:spcPts val="0"/>
              </a:spcBef>
              <a:spcAft>
                <a:spcPts val="0"/>
              </a:spcAft>
              <a:buFontTx/>
              <a:buNone/>
              <a:defRPr sz="1600"/>
            </a:lvl7pPr>
            <a:lvl8pPr marL="0" indent="0" algn="l">
              <a:spcBef>
                <a:spcPts val="0"/>
              </a:spcBef>
              <a:spcAft>
                <a:spcPts val="0"/>
              </a:spcAft>
              <a:buFontTx/>
              <a:buNone/>
              <a:defRPr sz="1600"/>
            </a:lvl8pPr>
            <a:lvl9pPr marL="0" indent="0" algn="l">
              <a:spcBef>
                <a:spcPts val="0"/>
              </a:spcBef>
              <a:spcAft>
                <a:spcPts val="0"/>
              </a:spcAft>
              <a:buFontTx/>
              <a:buNone/>
              <a:defRPr sz="1600"/>
            </a:lvl9pPr>
          </a:lstStyle>
          <a:p>
            <a:pPr lvl="4"/>
            <a:r>
              <a:rPr lang="en-US"/>
              <a:t>[email address]</a:t>
            </a:r>
          </a:p>
        </p:txBody>
      </p:sp>
      <p:sp>
        <p:nvSpPr>
          <p:cNvPr id="32" name="Text Placeholder 3"/>
          <p:cNvSpPr>
            <a:spLocks noGrp="1"/>
          </p:cNvSpPr>
          <p:nvPr>
            <p:ph type="body" sz="quarter" idx="33" hasCustomPrompt="1"/>
          </p:nvPr>
        </p:nvSpPr>
        <p:spPr bwMode="gray">
          <a:xfrm>
            <a:off x="8113290" y="6021368"/>
            <a:ext cx="3648301" cy="286685"/>
          </a:xfrm>
        </p:spPr>
        <p:txBody>
          <a:bodyPr tIns="0" anchor="b" anchorCtr="0"/>
          <a:lstStyle>
            <a:lvl1pPr marL="0" indent="0">
              <a:spcBef>
                <a:spcPts val="0"/>
              </a:spcBef>
              <a:spcAft>
                <a:spcPts val="0"/>
              </a:spcAft>
              <a:buNone/>
              <a:defRPr sz="1600">
                <a:solidFill>
                  <a:schemeClr val="tx1"/>
                </a:solidFill>
              </a:defRPr>
            </a:lvl1pPr>
            <a:lvl2pPr marL="0" indent="0">
              <a:spcBef>
                <a:spcPts val="0"/>
              </a:spcBef>
              <a:spcAft>
                <a:spcPts val="0"/>
              </a:spcAft>
              <a:buNone/>
              <a:defRPr sz="1600"/>
            </a:lvl2pPr>
            <a:lvl3pPr marL="0" indent="0" algn="l">
              <a:spcBef>
                <a:spcPts val="0"/>
              </a:spcBef>
              <a:spcAft>
                <a:spcPts val="0"/>
              </a:spcAft>
              <a:buFontTx/>
              <a:buNone/>
              <a:tabLst>
                <a:tab pos="840296" algn="l"/>
              </a:tabLst>
              <a:defRPr sz="1600"/>
            </a:lvl3pPr>
            <a:lvl4pPr marL="0" indent="0" algn="l">
              <a:spcBef>
                <a:spcPts val="0"/>
              </a:spcBef>
              <a:spcAft>
                <a:spcPts val="0"/>
              </a:spcAft>
              <a:buFontTx/>
              <a:buNone/>
              <a:defRPr sz="1600">
                <a:solidFill>
                  <a:schemeClr val="tx1"/>
                </a:solidFill>
              </a:defRPr>
            </a:lvl4pPr>
            <a:lvl5pPr marL="0" indent="0" algn="l">
              <a:spcBef>
                <a:spcPts val="0"/>
              </a:spcBef>
              <a:spcAft>
                <a:spcPts val="0"/>
              </a:spcAft>
              <a:buFontTx/>
              <a:buNone/>
              <a:defRPr sz="1600"/>
            </a:lvl5pPr>
            <a:lvl6pPr marL="0" indent="0" algn="l">
              <a:spcBef>
                <a:spcPts val="0"/>
              </a:spcBef>
              <a:spcAft>
                <a:spcPts val="0"/>
              </a:spcAft>
              <a:buFontTx/>
              <a:buNone/>
              <a:defRPr sz="1600"/>
            </a:lvl6pPr>
            <a:lvl7pPr marL="0" indent="0" algn="l">
              <a:spcBef>
                <a:spcPts val="0"/>
              </a:spcBef>
              <a:spcAft>
                <a:spcPts val="0"/>
              </a:spcAft>
              <a:buFontTx/>
              <a:buNone/>
              <a:defRPr sz="1600"/>
            </a:lvl7pPr>
            <a:lvl8pPr marL="0" indent="0" algn="l">
              <a:spcBef>
                <a:spcPts val="0"/>
              </a:spcBef>
              <a:spcAft>
                <a:spcPts val="0"/>
              </a:spcAft>
              <a:buFontTx/>
              <a:buNone/>
              <a:defRPr sz="1600"/>
            </a:lvl8pPr>
            <a:lvl9pPr marL="0" indent="0" algn="l">
              <a:spcBef>
                <a:spcPts val="0"/>
              </a:spcBef>
              <a:spcAft>
                <a:spcPts val="0"/>
              </a:spcAft>
              <a:buFontTx/>
              <a:buNone/>
              <a:defRPr sz="1600"/>
            </a:lvl9pPr>
          </a:lstStyle>
          <a:p>
            <a:pPr lvl="4"/>
            <a:r>
              <a:rPr lang="en-US"/>
              <a:t>[country]</a:t>
            </a:r>
          </a:p>
        </p:txBody>
      </p:sp>
      <p:sp>
        <p:nvSpPr>
          <p:cNvPr id="33" name="Picture Placeholder 4"/>
          <p:cNvSpPr>
            <a:spLocks noGrp="1"/>
          </p:cNvSpPr>
          <p:nvPr>
            <p:ph type="pic" sz="quarter" idx="34" hasCustomPrompt="1"/>
          </p:nvPr>
        </p:nvSpPr>
        <p:spPr bwMode="gray">
          <a:xfrm>
            <a:off x="431371" y="1700810"/>
            <a:ext cx="1728192" cy="2208245"/>
          </a:xfrm>
        </p:spPr>
        <p:txBody>
          <a:bodyPr/>
          <a:lstStyle>
            <a:lvl1pPr marL="0" indent="0">
              <a:buNone/>
              <a:defRPr/>
            </a:lvl1pPr>
          </a:lstStyle>
          <a:p>
            <a:r>
              <a:rPr lang="de-DE"/>
              <a:t>Picture</a:t>
            </a:r>
            <a:endParaRPr lang="en-US"/>
          </a:p>
        </p:txBody>
      </p:sp>
      <p:sp>
        <p:nvSpPr>
          <p:cNvPr id="34" name="Text Placeholder 3"/>
          <p:cNvSpPr>
            <a:spLocks noGrp="1"/>
          </p:cNvSpPr>
          <p:nvPr>
            <p:ph type="body" sz="quarter" idx="35" hasCustomPrompt="1"/>
          </p:nvPr>
        </p:nvSpPr>
        <p:spPr bwMode="gray">
          <a:xfrm>
            <a:off x="2351586" y="3046305"/>
            <a:ext cx="3648404" cy="288032"/>
          </a:xfrm>
        </p:spPr>
        <p:txBody>
          <a:bodyPr tIns="0" anchor="b" anchorCtr="0"/>
          <a:lstStyle>
            <a:lvl1pPr marL="0" indent="0">
              <a:spcBef>
                <a:spcPts val="0"/>
              </a:spcBef>
              <a:spcAft>
                <a:spcPts val="0"/>
              </a:spcAft>
              <a:buNone/>
              <a:defRPr sz="1600">
                <a:solidFill>
                  <a:schemeClr val="tx1"/>
                </a:solidFill>
              </a:defRPr>
            </a:lvl1pPr>
            <a:lvl2pPr marL="0" indent="0">
              <a:spcBef>
                <a:spcPts val="0"/>
              </a:spcBef>
              <a:spcAft>
                <a:spcPts val="0"/>
              </a:spcAft>
              <a:buNone/>
              <a:defRPr sz="1600"/>
            </a:lvl2pPr>
            <a:lvl3pPr marL="0" indent="0" algn="l">
              <a:spcBef>
                <a:spcPts val="0"/>
              </a:spcBef>
              <a:spcAft>
                <a:spcPts val="0"/>
              </a:spcAft>
              <a:buFontTx/>
              <a:buNone/>
              <a:tabLst>
                <a:tab pos="840296" algn="l"/>
              </a:tabLst>
              <a:defRPr sz="1600"/>
            </a:lvl3pPr>
            <a:lvl4pPr marL="0" indent="0" algn="l">
              <a:spcBef>
                <a:spcPts val="0"/>
              </a:spcBef>
              <a:spcAft>
                <a:spcPts val="0"/>
              </a:spcAft>
              <a:buFontTx/>
              <a:buNone/>
              <a:defRPr sz="1600">
                <a:solidFill>
                  <a:schemeClr val="tx1"/>
                </a:solidFill>
              </a:defRPr>
            </a:lvl4pPr>
            <a:lvl5pPr marL="0" indent="0" algn="l">
              <a:spcBef>
                <a:spcPts val="0"/>
              </a:spcBef>
              <a:spcAft>
                <a:spcPts val="0"/>
              </a:spcAft>
              <a:buFontTx/>
              <a:buNone/>
              <a:defRPr sz="1600"/>
            </a:lvl5pPr>
            <a:lvl6pPr marL="0" indent="0" algn="l">
              <a:spcBef>
                <a:spcPts val="0"/>
              </a:spcBef>
              <a:spcAft>
                <a:spcPts val="0"/>
              </a:spcAft>
              <a:buFontTx/>
              <a:buNone/>
              <a:defRPr sz="1600"/>
            </a:lvl6pPr>
            <a:lvl7pPr marL="0" indent="0" algn="l">
              <a:spcBef>
                <a:spcPts val="0"/>
              </a:spcBef>
              <a:spcAft>
                <a:spcPts val="0"/>
              </a:spcAft>
              <a:buFontTx/>
              <a:buNone/>
              <a:defRPr sz="1600"/>
            </a:lvl7pPr>
            <a:lvl8pPr marL="0" indent="0" algn="l">
              <a:spcBef>
                <a:spcPts val="0"/>
              </a:spcBef>
              <a:spcAft>
                <a:spcPts val="0"/>
              </a:spcAft>
              <a:buFontTx/>
              <a:buNone/>
              <a:defRPr sz="1600"/>
            </a:lvl8pPr>
            <a:lvl9pPr marL="0" indent="0" algn="l">
              <a:spcBef>
                <a:spcPts val="0"/>
              </a:spcBef>
              <a:spcAft>
                <a:spcPts val="0"/>
              </a:spcAft>
              <a:buFontTx/>
              <a:buNone/>
              <a:defRPr sz="1600"/>
            </a:lvl9pPr>
          </a:lstStyle>
          <a:p>
            <a:pPr lvl="4"/>
            <a:r>
              <a:rPr lang="en-US"/>
              <a:t>[phone number]</a:t>
            </a:r>
          </a:p>
        </p:txBody>
      </p:sp>
      <p:sp>
        <p:nvSpPr>
          <p:cNvPr id="35" name="Text Placeholder 3"/>
          <p:cNvSpPr>
            <a:spLocks noGrp="1"/>
          </p:cNvSpPr>
          <p:nvPr>
            <p:ph type="body" sz="quarter" idx="36" hasCustomPrompt="1"/>
          </p:nvPr>
        </p:nvSpPr>
        <p:spPr bwMode="gray">
          <a:xfrm>
            <a:off x="2351584" y="2470241"/>
            <a:ext cx="3648405" cy="576000"/>
          </a:xfrm>
        </p:spPr>
        <p:txBody>
          <a:bodyPr tIns="36000" anchor="t" anchorCtr="0"/>
          <a:lstStyle>
            <a:lvl1pPr marL="0" indent="0">
              <a:spcBef>
                <a:spcPts val="0"/>
              </a:spcBef>
              <a:spcAft>
                <a:spcPts val="0"/>
              </a:spcAft>
              <a:buNone/>
              <a:defRPr sz="1600">
                <a:solidFill>
                  <a:schemeClr val="tx1"/>
                </a:solidFill>
              </a:defRPr>
            </a:lvl1pPr>
            <a:lvl2pPr marL="0" indent="0">
              <a:spcBef>
                <a:spcPts val="0"/>
              </a:spcBef>
              <a:spcAft>
                <a:spcPts val="0"/>
              </a:spcAft>
              <a:buNone/>
              <a:defRPr sz="1600"/>
            </a:lvl2pPr>
            <a:lvl3pPr marL="0" indent="0" algn="l">
              <a:spcBef>
                <a:spcPts val="0"/>
              </a:spcBef>
              <a:spcAft>
                <a:spcPts val="0"/>
              </a:spcAft>
              <a:buFontTx/>
              <a:buNone/>
              <a:tabLst>
                <a:tab pos="840296" algn="l"/>
              </a:tabLst>
              <a:defRPr sz="1600"/>
            </a:lvl3pPr>
            <a:lvl4pPr marL="0" indent="0" algn="l">
              <a:spcBef>
                <a:spcPts val="0"/>
              </a:spcBef>
              <a:spcAft>
                <a:spcPts val="0"/>
              </a:spcAft>
              <a:buFontTx/>
              <a:buNone/>
              <a:defRPr sz="1600">
                <a:solidFill>
                  <a:schemeClr val="tx1"/>
                </a:solidFill>
              </a:defRPr>
            </a:lvl4pPr>
            <a:lvl5pPr marL="0" indent="0" algn="l">
              <a:spcBef>
                <a:spcPts val="0"/>
              </a:spcBef>
              <a:spcAft>
                <a:spcPts val="0"/>
              </a:spcAft>
              <a:buFontTx/>
              <a:buNone/>
              <a:defRPr sz="1600"/>
            </a:lvl5pPr>
            <a:lvl6pPr marL="0" indent="0" algn="l">
              <a:spcBef>
                <a:spcPts val="0"/>
              </a:spcBef>
              <a:spcAft>
                <a:spcPts val="0"/>
              </a:spcAft>
              <a:buFontTx/>
              <a:buNone/>
              <a:defRPr sz="1600"/>
            </a:lvl6pPr>
            <a:lvl7pPr marL="0" indent="0" algn="l">
              <a:spcBef>
                <a:spcPts val="0"/>
              </a:spcBef>
              <a:spcAft>
                <a:spcPts val="0"/>
              </a:spcAft>
              <a:buFontTx/>
              <a:buNone/>
              <a:defRPr sz="1600"/>
            </a:lvl7pPr>
            <a:lvl8pPr marL="0" indent="0" algn="l">
              <a:spcBef>
                <a:spcPts val="0"/>
              </a:spcBef>
              <a:spcAft>
                <a:spcPts val="0"/>
              </a:spcAft>
              <a:buFontTx/>
              <a:buNone/>
              <a:defRPr sz="1600"/>
            </a:lvl8pPr>
            <a:lvl9pPr marL="0" indent="0" algn="l">
              <a:spcBef>
                <a:spcPts val="0"/>
              </a:spcBef>
              <a:spcAft>
                <a:spcPts val="0"/>
              </a:spcAft>
              <a:buFontTx/>
              <a:buNone/>
              <a:defRPr sz="1600"/>
            </a:lvl9pPr>
          </a:lstStyle>
          <a:p>
            <a:pPr lvl="4"/>
            <a:r>
              <a:rPr lang="en-US"/>
              <a:t>[title]</a:t>
            </a:r>
          </a:p>
        </p:txBody>
      </p:sp>
      <p:sp>
        <p:nvSpPr>
          <p:cNvPr id="37" name="Text Placeholder 3"/>
          <p:cNvSpPr>
            <a:spLocks noGrp="1"/>
          </p:cNvSpPr>
          <p:nvPr>
            <p:ph type="body" sz="quarter" idx="38" hasCustomPrompt="1"/>
          </p:nvPr>
        </p:nvSpPr>
        <p:spPr bwMode="gray">
          <a:xfrm>
            <a:off x="2351584" y="3334336"/>
            <a:ext cx="3648405" cy="288032"/>
          </a:xfrm>
        </p:spPr>
        <p:txBody>
          <a:bodyPr tIns="0" anchor="b" anchorCtr="0"/>
          <a:lstStyle>
            <a:lvl1pPr marL="0" indent="0">
              <a:spcBef>
                <a:spcPts val="0"/>
              </a:spcBef>
              <a:spcAft>
                <a:spcPts val="0"/>
              </a:spcAft>
              <a:buNone/>
              <a:defRPr sz="1600">
                <a:solidFill>
                  <a:schemeClr val="tx1"/>
                </a:solidFill>
              </a:defRPr>
            </a:lvl1pPr>
            <a:lvl2pPr marL="0" indent="0">
              <a:spcBef>
                <a:spcPts val="0"/>
              </a:spcBef>
              <a:spcAft>
                <a:spcPts val="0"/>
              </a:spcAft>
              <a:buNone/>
              <a:defRPr sz="1600"/>
            </a:lvl2pPr>
            <a:lvl3pPr marL="0" indent="0" algn="l">
              <a:spcBef>
                <a:spcPts val="0"/>
              </a:spcBef>
              <a:spcAft>
                <a:spcPts val="0"/>
              </a:spcAft>
              <a:buFontTx/>
              <a:buNone/>
              <a:tabLst>
                <a:tab pos="840296" algn="l"/>
              </a:tabLst>
              <a:defRPr sz="1600"/>
            </a:lvl3pPr>
            <a:lvl4pPr marL="0" indent="0" algn="l">
              <a:spcBef>
                <a:spcPts val="0"/>
              </a:spcBef>
              <a:spcAft>
                <a:spcPts val="0"/>
              </a:spcAft>
              <a:buFontTx/>
              <a:buNone/>
              <a:defRPr sz="1600">
                <a:solidFill>
                  <a:schemeClr val="tx1"/>
                </a:solidFill>
              </a:defRPr>
            </a:lvl4pPr>
            <a:lvl5pPr marL="0" indent="0" algn="l">
              <a:spcBef>
                <a:spcPts val="0"/>
              </a:spcBef>
              <a:spcAft>
                <a:spcPts val="0"/>
              </a:spcAft>
              <a:buFontTx/>
              <a:buNone/>
              <a:defRPr sz="1600"/>
            </a:lvl5pPr>
            <a:lvl6pPr marL="0" indent="0" algn="l">
              <a:spcBef>
                <a:spcPts val="0"/>
              </a:spcBef>
              <a:spcAft>
                <a:spcPts val="0"/>
              </a:spcAft>
              <a:buFontTx/>
              <a:buNone/>
              <a:defRPr sz="1600"/>
            </a:lvl6pPr>
            <a:lvl7pPr marL="0" indent="0" algn="l">
              <a:spcBef>
                <a:spcPts val="0"/>
              </a:spcBef>
              <a:spcAft>
                <a:spcPts val="0"/>
              </a:spcAft>
              <a:buFontTx/>
              <a:buNone/>
              <a:defRPr sz="1600"/>
            </a:lvl7pPr>
            <a:lvl8pPr marL="0" indent="0" algn="l">
              <a:spcBef>
                <a:spcPts val="0"/>
              </a:spcBef>
              <a:spcAft>
                <a:spcPts val="0"/>
              </a:spcAft>
              <a:buFontTx/>
              <a:buNone/>
              <a:defRPr sz="1600"/>
            </a:lvl8pPr>
            <a:lvl9pPr marL="0" indent="0" algn="l">
              <a:spcBef>
                <a:spcPts val="0"/>
              </a:spcBef>
              <a:spcAft>
                <a:spcPts val="0"/>
              </a:spcAft>
              <a:buFontTx/>
              <a:buNone/>
              <a:defRPr sz="1600"/>
            </a:lvl9pPr>
          </a:lstStyle>
          <a:p>
            <a:pPr lvl="4"/>
            <a:r>
              <a:rPr lang="en-US"/>
              <a:t>[email address]</a:t>
            </a:r>
          </a:p>
        </p:txBody>
      </p:sp>
      <p:sp>
        <p:nvSpPr>
          <p:cNvPr id="38" name="Text Placeholder 3"/>
          <p:cNvSpPr>
            <a:spLocks noGrp="1"/>
          </p:cNvSpPr>
          <p:nvPr>
            <p:ph type="body" sz="quarter" idx="39" hasCustomPrompt="1"/>
          </p:nvPr>
        </p:nvSpPr>
        <p:spPr bwMode="gray">
          <a:xfrm>
            <a:off x="2351690" y="3622368"/>
            <a:ext cx="3648301" cy="286685"/>
          </a:xfrm>
        </p:spPr>
        <p:txBody>
          <a:bodyPr tIns="0" anchor="b" anchorCtr="0"/>
          <a:lstStyle>
            <a:lvl1pPr marL="0" indent="0">
              <a:spcBef>
                <a:spcPts val="0"/>
              </a:spcBef>
              <a:spcAft>
                <a:spcPts val="0"/>
              </a:spcAft>
              <a:buNone/>
              <a:defRPr sz="1600">
                <a:solidFill>
                  <a:schemeClr val="tx1"/>
                </a:solidFill>
              </a:defRPr>
            </a:lvl1pPr>
            <a:lvl2pPr marL="0" indent="0">
              <a:spcBef>
                <a:spcPts val="0"/>
              </a:spcBef>
              <a:spcAft>
                <a:spcPts val="0"/>
              </a:spcAft>
              <a:buNone/>
              <a:defRPr sz="1600"/>
            </a:lvl2pPr>
            <a:lvl3pPr marL="0" indent="0" algn="l">
              <a:spcBef>
                <a:spcPts val="0"/>
              </a:spcBef>
              <a:spcAft>
                <a:spcPts val="0"/>
              </a:spcAft>
              <a:buFontTx/>
              <a:buNone/>
              <a:tabLst>
                <a:tab pos="840296" algn="l"/>
              </a:tabLst>
              <a:defRPr sz="1600"/>
            </a:lvl3pPr>
            <a:lvl4pPr marL="0" indent="0" algn="l">
              <a:spcBef>
                <a:spcPts val="0"/>
              </a:spcBef>
              <a:spcAft>
                <a:spcPts val="0"/>
              </a:spcAft>
              <a:buFontTx/>
              <a:buNone/>
              <a:defRPr sz="1600">
                <a:solidFill>
                  <a:schemeClr val="tx1"/>
                </a:solidFill>
              </a:defRPr>
            </a:lvl4pPr>
            <a:lvl5pPr marL="0" indent="0" algn="l">
              <a:spcBef>
                <a:spcPts val="0"/>
              </a:spcBef>
              <a:spcAft>
                <a:spcPts val="0"/>
              </a:spcAft>
              <a:buFontTx/>
              <a:buNone/>
              <a:defRPr sz="1600"/>
            </a:lvl5pPr>
            <a:lvl6pPr marL="0" indent="0" algn="l">
              <a:spcBef>
                <a:spcPts val="0"/>
              </a:spcBef>
              <a:spcAft>
                <a:spcPts val="0"/>
              </a:spcAft>
              <a:buFontTx/>
              <a:buNone/>
              <a:defRPr sz="1600"/>
            </a:lvl6pPr>
            <a:lvl7pPr marL="0" indent="0" algn="l">
              <a:spcBef>
                <a:spcPts val="0"/>
              </a:spcBef>
              <a:spcAft>
                <a:spcPts val="0"/>
              </a:spcAft>
              <a:buFontTx/>
              <a:buNone/>
              <a:defRPr sz="1600"/>
            </a:lvl7pPr>
            <a:lvl8pPr marL="0" indent="0" algn="l">
              <a:spcBef>
                <a:spcPts val="0"/>
              </a:spcBef>
              <a:spcAft>
                <a:spcPts val="0"/>
              </a:spcAft>
              <a:buFontTx/>
              <a:buNone/>
              <a:defRPr sz="1600"/>
            </a:lvl8pPr>
            <a:lvl9pPr marL="0" indent="0" algn="l">
              <a:spcBef>
                <a:spcPts val="0"/>
              </a:spcBef>
              <a:spcAft>
                <a:spcPts val="0"/>
              </a:spcAft>
              <a:buFontTx/>
              <a:buNone/>
              <a:defRPr sz="1600"/>
            </a:lvl9pPr>
          </a:lstStyle>
          <a:p>
            <a:pPr lvl="4"/>
            <a:r>
              <a:rPr lang="en-US"/>
              <a:t>[country]</a:t>
            </a:r>
          </a:p>
        </p:txBody>
      </p:sp>
      <p:sp>
        <p:nvSpPr>
          <p:cNvPr id="39" name="Picture Placeholder 4"/>
          <p:cNvSpPr>
            <a:spLocks noGrp="1"/>
          </p:cNvSpPr>
          <p:nvPr>
            <p:ph type="pic" sz="quarter" idx="40" hasCustomPrompt="1"/>
          </p:nvPr>
        </p:nvSpPr>
        <p:spPr bwMode="gray">
          <a:xfrm>
            <a:off x="6192971" y="1701800"/>
            <a:ext cx="1728192" cy="2208000"/>
          </a:xfrm>
        </p:spPr>
        <p:txBody>
          <a:bodyPr/>
          <a:lstStyle>
            <a:lvl1pPr marL="0" indent="0">
              <a:buNone/>
              <a:defRPr/>
            </a:lvl1pPr>
          </a:lstStyle>
          <a:p>
            <a:r>
              <a:rPr lang="de-DE"/>
              <a:t>Picture</a:t>
            </a:r>
            <a:endParaRPr lang="en-US"/>
          </a:p>
        </p:txBody>
      </p:sp>
      <p:sp>
        <p:nvSpPr>
          <p:cNvPr id="40" name="Text Placeholder 3"/>
          <p:cNvSpPr>
            <a:spLocks noGrp="1"/>
          </p:cNvSpPr>
          <p:nvPr>
            <p:ph type="body" sz="quarter" idx="41" hasCustomPrompt="1"/>
          </p:nvPr>
        </p:nvSpPr>
        <p:spPr bwMode="gray">
          <a:xfrm>
            <a:off x="8113186" y="3046305"/>
            <a:ext cx="3648404" cy="288032"/>
          </a:xfrm>
        </p:spPr>
        <p:txBody>
          <a:bodyPr tIns="0" anchor="b" anchorCtr="0"/>
          <a:lstStyle>
            <a:lvl1pPr marL="0" indent="0">
              <a:spcBef>
                <a:spcPts val="0"/>
              </a:spcBef>
              <a:spcAft>
                <a:spcPts val="0"/>
              </a:spcAft>
              <a:buNone/>
              <a:defRPr sz="1600">
                <a:solidFill>
                  <a:schemeClr val="tx1"/>
                </a:solidFill>
              </a:defRPr>
            </a:lvl1pPr>
            <a:lvl2pPr marL="0" indent="0">
              <a:spcBef>
                <a:spcPts val="0"/>
              </a:spcBef>
              <a:spcAft>
                <a:spcPts val="0"/>
              </a:spcAft>
              <a:buNone/>
              <a:defRPr sz="1600"/>
            </a:lvl2pPr>
            <a:lvl3pPr marL="0" indent="0" algn="l">
              <a:spcBef>
                <a:spcPts val="0"/>
              </a:spcBef>
              <a:spcAft>
                <a:spcPts val="0"/>
              </a:spcAft>
              <a:buFontTx/>
              <a:buNone/>
              <a:tabLst>
                <a:tab pos="840296" algn="l"/>
              </a:tabLst>
              <a:defRPr sz="1600"/>
            </a:lvl3pPr>
            <a:lvl4pPr marL="0" indent="0" algn="l">
              <a:spcBef>
                <a:spcPts val="0"/>
              </a:spcBef>
              <a:spcAft>
                <a:spcPts val="0"/>
              </a:spcAft>
              <a:buFontTx/>
              <a:buNone/>
              <a:defRPr sz="1600">
                <a:solidFill>
                  <a:schemeClr val="tx1"/>
                </a:solidFill>
              </a:defRPr>
            </a:lvl4pPr>
            <a:lvl5pPr marL="0" indent="0" algn="l">
              <a:spcBef>
                <a:spcPts val="0"/>
              </a:spcBef>
              <a:spcAft>
                <a:spcPts val="0"/>
              </a:spcAft>
              <a:buFontTx/>
              <a:buNone/>
              <a:defRPr sz="1600"/>
            </a:lvl5pPr>
            <a:lvl6pPr marL="0" indent="0" algn="l">
              <a:spcBef>
                <a:spcPts val="0"/>
              </a:spcBef>
              <a:spcAft>
                <a:spcPts val="0"/>
              </a:spcAft>
              <a:buFontTx/>
              <a:buNone/>
              <a:defRPr sz="1600"/>
            </a:lvl6pPr>
            <a:lvl7pPr marL="0" indent="0" algn="l">
              <a:spcBef>
                <a:spcPts val="0"/>
              </a:spcBef>
              <a:spcAft>
                <a:spcPts val="0"/>
              </a:spcAft>
              <a:buFontTx/>
              <a:buNone/>
              <a:defRPr sz="1600"/>
            </a:lvl7pPr>
            <a:lvl8pPr marL="0" indent="0" algn="l">
              <a:spcBef>
                <a:spcPts val="0"/>
              </a:spcBef>
              <a:spcAft>
                <a:spcPts val="0"/>
              </a:spcAft>
              <a:buFontTx/>
              <a:buNone/>
              <a:defRPr sz="1600"/>
            </a:lvl8pPr>
            <a:lvl9pPr marL="0" indent="0" algn="l">
              <a:spcBef>
                <a:spcPts val="0"/>
              </a:spcBef>
              <a:spcAft>
                <a:spcPts val="0"/>
              </a:spcAft>
              <a:buFontTx/>
              <a:buNone/>
              <a:defRPr sz="1600"/>
            </a:lvl9pPr>
          </a:lstStyle>
          <a:p>
            <a:pPr lvl="4"/>
            <a:r>
              <a:rPr lang="en-US"/>
              <a:t>[phone number]</a:t>
            </a:r>
          </a:p>
        </p:txBody>
      </p:sp>
      <p:sp>
        <p:nvSpPr>
          <p:cNvPr id="41" name="Text Placeholder 3"/>
          <p:cNvSpPr>
            <a:spLocks noGrp="1"/>
          </p:cNvSpPr>
          <p:nvPr>
            <p:ph type="body" sz="quarter" idx="42" hasCustomPrompt="1"/>
          </p:nvPr>
        </p:nvSpPr>
        <p:spPr bwMode="gray">
          <a:xfrm>
            <a:off x="8113184" y="2470241"/>
            <a:ext cx="3648405" cy="576000"/>
          </a:xfrm>
        </p:spPr>
        <p:txBody>
          <a:bodyPr tIns="36000" anchor="t" anchorCtr="0"/>
          <a:lstStyle>
            <a:lvl1pPr marL="0" indent="0">
              <a:spcBef>
                <a:spcPts val="0"/>
              </a:spcBef>
              <a:spcAft>
                <a:spcPts val="0"/>
              </a:spcAft>
              <a:buNone/>
              <a:defRPr sz="1600">
                <a:solidFill>
                  <a:schemeClr val="tx1"/>
                </a:solidFill>
              </a:defRPr>
            </a:lvl1pPr>
            <a:lvl2pPr marL="0" indent="0">
              <a:spcBef>
                <a:spcPts val="0"/>
              </a:spcBef>
              <a:spcAft>
                <a:spcPts val="0"/>
              </a:spcAft>
              <a:buNone/>
              <a:defRPr sz="1600"/>
            </a:lvl2pPr>
            <a:lvl3pPr marL="0" indent="0" algn="l">
              <a:spcBef>
                <a:spcPts val="0"/>
              </a:spcBef>
              <a:spcAft>
                <a:spcPts val="0"/>
              </a:spcAft>
              <a:buFontTx/>
              <a:buNone/>
              <a:tabLst>
                <a:tab pos="840296" algn="l"/>
              </a:tabLst>
              <a:defRPr sz="1600"/>
            </a:lvl3pPr>
            <a:lvl4pPr marL="0" indent="0" algn="l">
              <a:spcBef>
                <a:spcPts val="0"/>
              </a:spcBef>
              <a:spcAft>
                <a:spcPts val="0"/>
              </a:spcAft>
              <a:buFontTx/>
              <a:buNone/>
              <a:defRPr sz="1600">
                <a:solidFill>
                  <a:schemeClr val="tx1"/>
                </a:solidFill>
              </a:defRPr>
            </a:lvl4pPr>
            <a:lvl5pPr marL="0" indent="0" algn="l">
              <a:spcBef>
                <a:spcPts val="0"/>
              </a:spcBef>
              <a:spcAft>
                <a:spcPts val="0"/>
              </a:spcAft>
              <a:buFontTx/>
              <a:buNone/>
              <a:defRPr sz="1600"/>
            </a:lvl5pPr>
            <a:lvl6pPr marL="0" indent="0" algn="l">
              <a:spcBef>
                <a:spcPts val="0"/>
              </a:spcBef>
              <a:spcAft>
                <a:spcPts val="0"/>
              </a:spcAft>
              <a:buFontTx/>
              <a:buNone/>
              <a:defRPr sz="1600"/>
            </a:lvl6pPr>
            <a:lvl7pPr marL="0" indent="0" algn="l">
              <a:spcBef>
                <a:spcPts val="0"/>
              </a:spcBef>
              <a:spcAft>
                <a:spcPts val="0"/>
              </a:spcAft>
              <a:buFontTx/>
              <a:buNone/>
              <a:defRPr sz="1600"/>
            </a:lvl7pPr>
            <a:lvl8pPr marL="0" indent="0" algn="l">
              <a:spcBef>
                <a:spcPts val="0"/>
              </a:spcBef>
              <a:spcAft>
                <a:spcPts val="0"/>
              </a:spcAft>
              <a:buFontTx/>
              <a:buNone/>
              <a:defRPr sz="1600"/>
            </a:lvl8pPr>
            <a:lvl9pPr marL="0" indent="0" algn="l">
              <a:spcBef>
                <a:spcPts val="0"/>
              </a:spcBef>
              <a:spcAft>
                <a:spcPts val="0"/>
              </a:spcAft>
              <a:buFontTx/>
              <a:buNone/>
              <a:defRPr sz="1600"/>
            </a:lvl9pPr>
          </a:lstStyle>
          <a:p>
            <a:pPr lvl="4"/>
            <a:r>
              <a:rPr lang="en-US"/>
              <a:t>[title]</a:t>
            </a:r>
          </a:p>
        </p:txBody>
      </p:sp>
      <p:sp>
        <p:nvSpPr>
          <p:cNvPr id="43" name="Text Placeholder 3"/>
          <p:cNvSpPr>
            <a:spLocks noGrp="1"/>
          </p:cNvSpPr>
          <p:nvPr>
            <p:ph type="body" sz="quarter" idx="44" hasCustomPrompt="1"/>
          </p:nvPr>
        </p:nvSpPr>
        <p:spPr bwMode="gray">
          <a:xfrm>
            <a:off x="8113184" y="3334336"/>
            <a:ext cx="3648405" cy="288032"/>
          </a:xfrm>
        </p:spPr>
        <p:txBody>
          <a:bodyPr tIns="0" anchor="b" anchorCtr="0"/>
          <a:lstStyle>
            <a:lvl1pPr marL="0" indent="0">
              <a:spcBef>
                <a:spcPts val="0"/>
              </a:spcBef>
              <a:spcAft>
                <a:spcPts val="0"/>
              </a:spcAft>
              <a:buNone/>
              <a:defRPr sz="1600">
                <a:solidFill>
                  <a:schemeClr val="tx1"/>
                </a:solidFill>
              </a:defRPr>
            </a:lvl1pPr>
            <a:lvl2pPr marL="0" indent="0">
              <a:spcBef>
                <a:spcPts val="0"/>
              </a:spcBef>
              <a:spcAft>
                <a:spcPts val="0"/>
              </a:spcAft>
              <a:buNone/>
              <a:defRPr sz="1600"/>
            </a:lvl2pPr>
            <a:lvl3pPr marL="0" indent="0" algn="l">
              <a:spcBef>
                <a:spcPts val="0"/>
              </a:spcBef>
              <a:spcAft>
                <a:spcPts val="0"/>
              </a:spcAft>
              <a:buFontTx/>
              <a:buNone/>
              <a:tabLst>
                <a:tab pos="840296" algn="l"/>
              </a:tabLst>
              <a:defRPr sz="1600"/>
            </a:lvl3pPr>
            <a:lvl4pPr marL="0" indent="0" algn="l">
              <a:spcBef>
                <a:spcPts val="0"/>
              </a:spcBef>
              <a:spcAft>
                <a:spcPts val="0"/>
              </a:spcAft>
              <a:buFontTx/>
              <a:buNone/>
              <a:defRPr sz="1600">
                <a:solidFill>
                  <a:schemeClr val="tx1"/>
                </a:solidFill>
              </a:defRPr>
            </a:lvl4pPr>
            <a:lvl5pPr marL="0" indent="0" algn="l">
              <a:spcBef>
                <a:spcPts val="0"/>
              </a:spcBef>
              <a:spcAft>
                <a:spcPts val="0"/>
              </a:spcAft>
              <a:buFontTx/>
              <a:buNone/>
              <a:defRPr sz="1600"/>
            </a:lvl5pPr>
            <a:lvl6pPr marL="0" indent="0" algn="l">
              <a:spcBef>
                <a:spcPts val="0"/>
              </a:spcBef>
              <a:spcAft>
                <a:spcPts val="0"/>
              </a:spcAft>
              <a:buFontTx/>
              <a:buNone/>
              <a:defRPr sz="1600"/>
            </a:lvl6pPr>
            <a:lvl7pPr marL="0" indent="0" algn="l">
              <a:spcBef>
                <a:spcPts val="0"/>
              </a:spcBef>
              <a:spcAft>
                <a:spcPts val="0"/>
              </a:spcAft>
              <a:buFontTx/>
              <a:buNone/>
              <a:defRPr sz="1600"/>
            </a:lvl7pPr>
            <a:lvl8pPr marL="0" indent="0" algn="l">
              <a:spcBef>
                <a:spcPts val="0"/>
              </a:spcBef>
              <a:spcAft>
                <a:spcPts val="0"/>
              </a:spcAft>
              <a:buFontTx/>
              <a:buNone/>
              <a:defRPr sz="1600"/>
            </a:lvl8pPr>
            <a:lvl9pPr marL="0" indent="0" algn="l">
              <a:spcBef>
                <a:spcPts val="0"/>
              </a:spcBef>
              <a:spcAft>
                <a:spcPts val="0"/>
              </a:spcAft>
              <a:buFontTx/>
              <a:buNone/>
              <a:defRPr sz="1600"/>
            </a:lvl9pPr>
          </a:lstStyle>
          <a:p>
            <a:pPr lvl="4"/>
            <a:r>
              <a:rPr lang="en-US"/>
              <a:t>[email address]</a:t>
            </a:r>
          </a:p>
        </p:txBody>
      </p:sp>
      <p:sp>
        <p:nvSpPr>
          <p:cNvPr id="44" name="Text Placeholder 3"/>
          <p:cNvSpPr>
            <a:spLocks noGrp="1"/>
          </p:cNvSpPr>
          <p:nvPr>
            <p:ph type="body" sz="quarter" idx="45" hasCustomPrompt="1"/>
          </p:nvPr>
        </p:nvSpPr>
        <p:spPr bwMode="gray">
          <a:xfrm>
            <a:off x="8113290" y="3622368"/>
            <a:ext cx="3648301" cy="286685"/>
          </a:xfrm>
        </p:spPr>
        <p:txBody>
          <a:bodyPr tIns="0" anchor="b" anchorCtr="0"/>
          <a:lstStyle>
            <a:lvl1pPr marL="0" indent="0">
              <a:spcBef>
                <a:spcPts val="0"/>
              </a:spcBef>
              <a:spcAft>
                <a:spcPts val="0"/>
              </a:spcAft>
              <a:buNone/>
              <a:defRPr sz="1600">
                <a:solidFill>
                  <a:schemeClr val="tx1"/>
                </a:solidFill>
              </a:defRPr>
            </a:lvl1pPr>
            <a:lvl2pPr marL="0" indent="0">
              <a:spcBef>
                <a:spcPts val="0"/>
              </a:spcBef>
              <a:spcAft>
                <a:spcPts val="0"/>
              </a:spcAft>
              <a:buNone/>
              <a:defRPr sz="1600"/>
            </a:lvl2pPr>
            <a:lvl3pPr marL="0" indent="0" algn="l">
              <a:spcBef>
                <a:spcPts val="0"/>
              </a:spcBef>
              <a:spcAft>
                <a:spcPts val="0"/>
              </a:spcAft>
              <a:buFontTx/>
              <a:buNone/>
              <a:tabLst>
                <a:tab pos="840296" algn="l"/>
              </a:tabLst>
              <a:defRPr sz="1600"/>
            </a:lvl3pPr>
            <a:lvl4pPr marL="0" indent="0" algn="l">
              <a:spcBef>
                <a:spcPts val="0"/>
              </a:spcBef>
              <a:spcAft>
                <a:spcPts val="0"/>
              </a:spcAft>
              <a:buFontTx/>
              <a:buNone/>
              <a:defRPr sz="1600">
                <a:solidFill>
                  <a:schemeClr val="tx1"/>
                </a:solidFill>
              </a:defRPr>
            </a:lvl4pPr>
            <a:lvl5pPr marL="0" indent="0" algn="l">
              <a:spcBef>
                <a:spcPts val="0"/>
              </a:spcBef>
              <a:spcAft>
                <a:spcPts val="0"/>
              </a:spcAft>
              <a:buFontTx/>
              <a:buNone/>
              <a:defRPr sz="1600"/>
            </a:lvl5pPr>
            <a:lvl6pPr marL="0" indent="0" algn="l">
              <a:spcBef>
                <a:spcPts val="0"/>
              </a:spcBef>
              <a:spcAft>
                <a:spcPts val="0"/>
              </a:spcAft>
              <a:buFontTx/>
              <a:buNone/>
              <a:defRPr sz="1600"/>
            </a:lvl6pPr>
            <a:lvl7pPr marL="0" indent="0" algn="l">
              <a:spcBef>
                <a:spcPts val="0"/>
              </a:spcBef>
              <a:spcAft>
                <a:spcPts val="0"/>
              </a:spcAft>
              <a:buFontTx/>
              <a:buNone/>
              <a:defRPr sz="1600"/>
            </a:lvl7pPr>
            <a:lvl8pPr marL="0" indent="0" algn="l">
              <a:spcBef>
                <a:spcPts val="0"/>
              </a:spcBef>
              <a:spcAft>
                <a:spcPts val="0"/>
              </a:spcAft>
              <a:buFontTx/>
              <a:buNone/>
              <a:defRPr sz="1600"/>
            </a:lvl8pPr>
            <a:lvl9pPr marL="0" indent="0" algn="l">
              <a:spcBef>
                <a:spcPts val="0"/>
              </a:spcBef>
              <a:spcAft>
                <a:spcPts val="0"/>
              </a:spcAft>
              <a:buFontTx/>
              <a:buNone/>
              <a:defRPr sz="1600"/>
            </a:lvl9pPr>
          </a:lstStyle>
          <a:p>
            <a:pPr lvl="4"/>
            <a:r>
              <a:rPr lang="en-US"/>
              <a:t>[country]</a:t>
            </a:r>
          </a:p>
        </p:txBody>
      </p:sp>
      <p:sp>
        <p:nvSpPr>
          <p:cNvPr id="45" name="Textplatzhalter 2"/>
          <p:cNvSpPr>
            <a:spLocks noGrp="1"/>
          </p:cNvSpPr>
          <p:nvPr>
            <p:ph type="body" sz="quarter" idx="11" hasCustomPrompt="1"/>
          </p:nvPr>
        </p:nvSpPr>
        <p:spPr bwMode="gray">
          <a:xfrm>
            <a:off x="431800" y="1220755"/>
            <a:ext cx="11328400" cy="384340"/>
          </a:xfrm>
        </p:spPr>
        <p:txBody>
          <a:bodyPr>
            <a:noAutofit/>
          </a:bodyPr>
          <a:lstStyle>
            <a:lvl1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1pPr>
            <a:lvl2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2pPr>
            <a:lvl3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3pPr>
            <a:lvl4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4pPr>
            <a:lvl5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5pPr>
            <a:lvl6pPr marL="0" indent="0">
              <a:lnSpc>
                <a:spcPct val="100000"/>
              </a:lnSpc>
              <a:spcBef>
                <a:spcPts val="800"/>
              </a:spcBef>
              <a:buNone/>
              <a:defRPr lang="en-GB" sz="2400" kern="1200" noProof="0" smtClean="0">
                <a:solidFill>
                  <a:schemeClr val="tx2"/>
                </a:solidFill>
                <a:latin typeface="Arial" pitchFamily="34" charset="0"/>
                <a:ea typeface="+mn-ea"/>
                <a:cs typeface="Arial" pitchFamily="34" charset="0"/>
              </a:defRPr>
            </a:lvl6pPr>
            <a:lvl7pPr marL="0" indent="0">
              <a:lnSpc>
                <a:spcPct val="100000"/>
              </a:lnSpc>
              <a:spcBef>
                <a:spcPts val="800"/>
              </a:spcBef>
              <a:buNone/>
              <a:defRPr lang="en-GB" sz="2400" kern="1200" noProof="0" smtClean="0">
                <a:solidFill>
                  <a:schemeClr val="tx2"/>
                </a:solidFill>
                <a:latin typeface="Arial" pitchFamily="34" charset="0"/>
                <a:ea typeface="+mn-ea"/>
                <a:cs typeface="Arial" pitchFamily="34" charset="0"/>
              </a:defRPr>
            </a:lvl7pPr>
            <a:lvl8pPr marL="0" indent="0">
              <a:lnSpc>
                <a:spcPct val="100000"/>
              </a:lnSpc>
              <a:spcBef>
                <a:spcPts val="800"/>
              </a:spcBef>
              <a:buNone/>
              <a:defRPr lang="en-GB" sz="2400" kern="1200" noProof="0" smtClean="0">
                <a:solidFill>
                  <a:schemeClr val="tx2"/>
                </a:solidFill>
                <a:latin typeface="Arial" pitchFamily="34" charset="0"/>
                <a:ea typeface="+mn-ea"/>
                <a:cs typeface="Arial" pitchFamily="34" charset="0"/>
              </a:defRPr>
            </a:lvl8pPr>
            <a:lvl9pPr marL="0" indent="0">
              <a:lnSpc>
                <a:spcPct val="100000"/>
              </a:lnSpc>
              <a:spcBef>
                <a:spcPts val="800"/>
              </a:spcBef>
              <a:buNone/>
              <a:defRPr lang="de-DE" sz="2400" kern="1200" noProof="0" smtClean="0">
                <a:solidFill>
                  <a:schemeClr val="tx2"/>
                </a:solidFill>
                <a:latin typeface="Arial" pitchFamily="34" charset="0"/>
                <a:ea typeface="+mn-ea"/>
                <a:cs typeface="Arial" pitchFamily="34" charset="0"/>
              </a:defRPr>
            </a:lvl9pPr>
          </a:lstStyle>
          <a:p>
            <a:pPr lvl="0"/>
            <a:r>
              <a:rPr lang="en-US"/>
              <a:t>Click to add </a:t>
            </a:r>
            <a:r>
              <a:rPr lang="en-US" err="1"/>
              <a:t>subheadline</a:t>
            </a:r>
            <a:endParaRPr lang="en-US"/>
          </a:p>
        </p:txBody>
      </p:sp>
      <p:sp>
        <p:nvSpPr>
          <p:cNvPr id="46" name="Text Placeholder 3"/>
          <p:cNvSpPr>
            <a:spLocks noGrp="1"/>
          </p:cNvSpPr>
          <p:nvPr>
            <p:ph type="body" sz="quarter" idx="37" hasCustomPrompt="1"/>
          </p:nvPr>
        </p:nvSpPr>
        <p:spPr bwMode="gray">
          <a:xfrm>
            <a:off x="2351584" y="1701800"/>
            <a:ext cx="3648405" cy="768440"/>
          </a:xfrm>
        </p:spPr>
        <p:txBody>
          <a:bodyPr tIns="0" bIns="36000" anchor="b" anchorCtr="0"/>
          <a:lstStyle>
            <a:lvl1pPr marL="0" indent="0">
              <a:spcBef>
                <a:spcPts val="0"/>
              </a:spcBef>
              <a:spcAft>
                <a:spcPts val="0"/>
              </a:spcAft>
              <a:buFontTx/>
              <a:buNone/>
              <a:defRPr sz="1867">
                <a:solidFill>
                  <a:schemeClr val="tx2"/>
                </a:solidFill>
              </a:defRPr>
            </a:lvl1pPr>
            <a:lvl2pPr marL="0" indent="0">
              <a:spcBef>
                <a:spcPts val="0"/>
              </a:spcBef>
              <a:spcAft>
                <a:spcPts val="0"/>
              </a:spcAft>
              <a:buNone/>
              <a:defRPr sz="1867">
                <a:solidFill>
                  <a:schemeClr val="tx2"/>
                </a:solidFill>
              </a:defRPr>
            </a:lvl2pPr>
            <a:lvl3pPr marL="0" indent="0" algn="l">
              <a:spcBef>
                <a:spcPts val="0"/>
              </a:spcBef>
              <a:spcAft>
                <a:spcPts val="0"/>
              </a:spcAft>
              <a:buFontTx/>
              <a:buNone/>
              <a:tabLst>
                <a:tab pos="840296" algn="l"/>
              </a:tabLst>
              <a:defRPr sz="1867">
                <a:solidFill>
                  <a:schemeClr val="tx2"/>
                </a:solidFill>
              </a:defRPr>
            </a:lvl3pPr>
            <a:lvl4pPr marL="0" indent="0" algn="l">
              <a:spcBef>
                <a:spcPts val="0"/>
              </a:spcBef>
              <a:spcAft>
                <a:spcPts val="0"/>
              </a:spcAft>
              <a:buFontTx/>
              <a:buNone/>
              <a:defRPr sz="1867">
                <a:solidFill>
                  <a:schemeClr val="tx2"/>
                </a:solidFill>
              </a:defRPr>
            </a:lvl4pPr>
            <a:lvl5pPr marL="0" indent="0" algn="l">
              <a:spcBef>
                <a:spcPts val="0"/>
              </a:spcBef>
              <a:spcAft>
                <a:spcPts val="0"/>
              </a:spcAft>
              <a:buFontTx/>
              <a:buNone/>
              <a:defRPr sz="1867" b="0">
                <a:solidFill>
                  <a:schemeClr val="tx2"/>
                </a:solidFill>
              </a:defRPr>
            </a:lvl5pPr>
            <a:lvl6pPr marL="0" indent="0" algn="l">
              <a:spcBef>
                <a:spcPts val="0"/>
              </a:spcBef>
              <a:spcAft>
                <a:spcPts val="0"/>
              </a:spcAft>
              <a:buFontTx/>
              <a:buNone/>
              <a:defRPr sz="1867">
                <a:solidFill>
                  <a:schemeClr val="tx2"/>
                </a:solidFill>
              </a:defRPr>
            </a:lvl6pPr>
            <a:lvl7pPr marL="0" indent="0" algn="l">
              <a:spcBef>
                <a:spcPts val="0"/>
              </a:spcBef>
              <a:spcAft>
                <a:spcPts val="0"/>
              </a:spcAft>
              <a:buFontTx/>
              <a:buNone/>
              <a:defRPr sz="1867">
                <a:solidFill>
                  <a:schemeClr val="tx2"/>
                </a:solidFill>
              </a:defRPr>
            </a:lvl7pPr>
            <a:lvl8pPr marL="0" indent="0" algn="l">
              <a:spcBef>
                <a:spcPts val="0"/>
              </a:spcBef>
              <a:spcAft>
                <a:spcPts val="0"/>
              </a:spcAft>
              <a:buFontTx/>
              <a:buNone/>
              <a:defRPr sz="1867"/>
            </a:lvl8pPr>
            <a:lvl9pPr marL="0" indent="0" algn="l">
              <a:spcBef>
                <a:spcPts val="0"/>
              </a:spcBef>
              <a:spcAft>
                <a:spcPts val="0"/>
              </a:spcAft>
              <a:buFontTx/>
              <a:buNone/>
              <a:defRPr sz="1867">
                <a:solidFill>
                  <a:schemeClr val="tx2"/>
                </a:solidFill>
              </a:defRPr>
            </a:lvl9pPr>
          </a:lstStyle>
          <a:p>
            <a:pPr lvl="0"/>
            <a:r>
              <a:rPr lang="en-US" noProof="0"/>
              <a:t>[name]</a:t>
            </a:r>
          </a:p>
        </p:txBody>
      </p:sp>
      <p:sp>
        <p:nvSpPr>
          <p:cNvPr id="47" name="Text Placeholder 3"/>
          <p:cNvSpPr>
            <a:spLocks noGrp="1"/>
          </p:cNvSpPr>
          <p:nvPr>
            <p:ph type="body" sz="quarter" idx="43" hasCustomPrompt="1"/>
          </p:nvPr>
        </p:nvSpPr>
        <p:spPr bwMode="gray">
          <a:xfrm>
            <a:off x="8113184" y="1702432"/>
            <a:ext cx="3648405" cy="768000"/>
          </a:xfrm>
        </p:spPr>
        <p:txBody>
          <a:bodyPr tIns="0" bIns="36000" anchor="b" anchorCtr="0"/>
          <a:lstStyle>
            <a:lvl1pPr marL="0" indent="0">
              <a:spcBef>
                <a:spcPts val="0"/>
              </a:spcBef>
              <a:spcAft>
                <a:spcPts val="0"/>
              </a:spcAft>
              <a:buFontTx/>
              <a:buNone/>
              <a:defRPr sz="1867">
                <a:solidFill>
                  <a:schemeClr val="tx2"/>
                </a:solidFill>
              </a:defRPr>
            </a:lvl1pPr>
            <a:lvl2pPr marL="0" indent="0">
              <a:spcBef>
                <a:spcPts val="0"/>
              </a:spcBef>
              <a:spcAft>
                <a:spcPts val="0"/>
              </a:spcAft>
              <a:buNone/>
              <a:defRPr sz="1867">
                <a:solidFill>
                  <a:schemeClr val="tx2"/>
                </a:solidFill>
              </a:defRPr>
            </a:lvl2pPr>
            <a:lvl3pPr marL="0" indent="0" algn="l">
              <a:spcBef>
                <a:spcPts val="0"/>
              </a:spcBef>
              <a:spcAft>
                <a:spcPts val="0"/>
              </a:spcAft>
              <a:buFontTx/>
              <a:buNone/>
              <a:tabLst>
                <a:tab pos="840296" algn="l"/>
              </a:tabLst>
              <a:defRPr sz="1867">
                <a:solidFill>
                  <a:schemeClr val="tx2"/>
                </a:solidFill>
              </a:defRPr>
            </a:lvl3pPr>
            <a:lvl4pPr marL="0" indent="0" algn="l">
              <a:spcBef>
                <a:spcPts val="0"/>
              </a:spcBef>
              <a:spcAft>
                <a:spcPts val="0"/>
              </a:spcAft>
              <a:buFontTx/>
              <a:buNone/>
              <a:defRPr sz="1867">
                <a:solidFill>
                  <a:schemeClr val="tx2"/>
                </a:solidFill>
              </a:defRPr>
            </a:lvl4pPr>
            <a:lvl5pPr marL="0" indent="0" algn="l">
              <a:spcBef>
                <a:spcPts val="0"/>
              </a:spcBef>
              <a:spcAft>
                <a:spcPts val="0"/>
              </a:spcAft>
              <a:buFontTx/>
              <a:buNone/>
              <a:defRPr sz="1867" b="0">
                <a:solidFill>
                  <a:schemeClr val="tx2"/>
                </a:solidFill>
              </a:defRPr>
            </a:lvl5pPr>
            <a:lvl6pPr marL="0" indent="0" algn="l">
              <a:spcBef>
                <a:spcPts val="0"/>
              </a:spcBef>
              <a:spcAft>
                <a:spcPts val="0"/>
              </a:spcAft>
              <a:buFontTx/>
              <a:buNone/>
              <a:defRPr sz="1867">
                <a:solidFill>
                  <a:schemeClr val="tx2"/>
                </a:solidFill>
              </a:defRPr>
            </a:lvl6pPr>
            <a:lvl7pPr marL="0" indent="0" algn="l">
              <a:spcBef>
                <a:spcPts val="0"/>
              </a:spcBef>
              <a:spcAft>
                <a:spcPts val="0"/>
              </a:spcAft>
              <a:buFontTx/>
              <a:buNone/>
              <a:defRPr sz="1867">
                <a:solidFill>
                  <a:schemeClr val="tx2"/>
                </a:solidFill>
              </a:defRPr>
            </a:lvl7pPr>
            <a:lvl8pPr marL="0" indent="0" algn="l">
              <a:spcBef>
                <a:spcPts val="0"/>
              </a:spcBef>
              <a:spcAft>
                <a:spcPts val="0"/>
              </a:spcAft>
              <a:buFontTx/>
              <a:buNone/>
              <a:defRPr sz="1867"/>
            </a:lvl8pPr>
            <a:lvl9pPr marL="0" indent="0" algn="l">
              <a:spcBef>
                <a:spcPts val="0"/>
              </a:spcBef>
              <a:spcAft>
                <a:spcPts val="0"/>
              </a:spcAft>
              <a:buFontTx/>
              <a:buNone/>
              <a:defRPr sz="1867">
                <a:solidFill>
                  <a:schemeClr val="tx2"/>
                </a:solidFill>
              </a:defRPr>
            </a:lvl9pPr>
          </a:lstStyle>
          <a:p>
            <a:pPr lvl="0"/>
            <a:r>
              <a:rPr lang="en-US"/>
              <a:t>[name]</a:t>
            </a:r>
          </a:p>
        </p:txBody>
      </p:sp>
      <p:sp>
        <p:nvSpPr>
          <p:cNvPr id="48" name="Text Placeholder 3"/>
          <p:cNvSpPr>
            <a:spLocks noGrp="1"/>
          </p:cNvSpPr>
          <p:nvPr>
            <p:ph type="body" sz="quarter" idx="46" hasCustomPrompt="1"/>
          </p:nvPr>
        </p:nvSpPr>
        <p:spPr bwMode="gray">
          <a:xfrm>
            <a:off x="2351584" y="4101093"/>
            <a:ext cx="3648405" cy="768440"/>
          </a:xfrm>
        </p:spPr>
        <p:txBody>
          <a:bodyPr tIns="0" bIns="36000" anchor="b" anchorCtr="0"/>
          <a:lstStyle>
            <a:lvl1pPr marL="0" indent="0">
              <a:spcBef>
                <a:spcPts val="0"/>
              </a:spcBef>
              <a:spcAft>
                <a:spcPts val="0"/>
              </a:spcAft>
              <a:buFontTx/>
              <a:buNone/>
              <a:defRPr sz="1867">
                <a:solidFill>
                  <a:schemeClr val="tx2"/>
                </a:solidFill>
              </a:defRPr>
            </a:lvl1pPr>
            <a:lvl2pPr marL="0" indent="0">
              <a:spcBef>
                <a:spcPts val="0"/>
              </a:spcBef>
              <a:spcAft>
                <a:spcPts val="0"/>
              </a:spcAft>
              <a:buNone/>
              <a:defRPr sz="1867">
                <a:solidFill>
                  <a:schemeClr val="tx2"/>
                </a:solidFill>
              </a:defRPr>
            </a:lvl2pPr>
            <a:lvl3pPr marL="0" indent="0" algn="l">
              <a:spcBef>
                <a:spcPts val="0"/>
              </a:spcBef>
              <a:spcAft>
                <a:spcPts val="0"/>
              </a:spcAft>
              <a:buFontTx/>
              <a:buNone/>
              <a:tabLst>
                <a:tab pos="840296" algn="l"/>
              </a:tabLst>
              <a:defRPr sz="1867">
                <a:solidFill>
                  <a:schemeClr val="tx2"/>
                </a:solidFill>
              </a:defRPr>
            </a:lvl3pPr>
            <a:lvl4pPr marL="0" indent="0" algn="l">
              <a:spcBef>
                <a:spcPts val="0"/>
              </a:spcBef>
              <a:spcAft>
                <a:spcPts val="0"/>
              </a:spcAft>
              <a:buFontTx/>
              <a:buNone/>
              <a:defRPr sz="1867">
                <a:solidFill>
                  <a:schemeClr val="tx2"/>
                </a:solidFill>
              </a:defRPr>
            </a:lvl4pPr>
            <a:lvl5pPr marL="0" indent="0" algn="l">
              <a:spcBef>
                <a:spcPts val="0"/>
              </a:spcBef>
              <a:spcAft>
                <a:spcPts val="0"/>
              </a:spcAft>
              <a:buFontTx/>
              <a:buNone/>
              <a:defRPr sz="1867" b="0">
                <a:solidFill>
                  <a:schemeClr val="tx2"/>
                </a:solidFill>
              </a:defRPr>
            </a:lvl5pPr>
            <a:lvl6pPr marL="0" indent="0" algn="l">
              <a:spcBef>
                <a:spcPts val="0"/>
              </a:spcBef>
              <a:spcAft>
                <a:spcPts val="0"/>
              </a:spcAft>
              <a:buFontTx/>
              <a:buNone/>
              <a:defRPr sz="1867">
                <a:solidFill>
                  <a:schemeClr val="tx2"/>
                </a:solidFill>
              </a:defRPr>
            </a:lvl6pPr>
            <a:lvl7pPr marL="0" indent="0" algn="l">
              <a:spcBef>
                <a:spcPts val="0"/>
              </a:spcBef>
              <a:spcAft>
                <a:spcPts val="0"/>
              </a:spcAft>
              <a:buFontTx/>
              <a:buNone/>
              <a:defRPr sz="1867">
                <a:solidFill>
                  <a:schemeClr val="tx2"/>
                </a:solidFill>
              </a:defRPr>
            </a:lvl7pPr>
            <a:lvl8pPr marL="0" indent="0" algn="l">
              <a:spcBef>
                <a:spcPts val="0"/>
              </a:spcBef>
              <a:spcAft>
                <a:spcPts val="0"/>
              </a:spcAft>
              <a:buFontTx/>
              <a:buNone/>
              <a:defRPr sz="1867"/>
            </a:lvl8pPr>
            <a:lvl9pPr marL="0" indent="0" algn="l">
              <a:spcBef>
                <a:spcPts val="0"/>
              </a:spcBef>
              <a:spcAft>
                <a:spcPts val="0"/>
              </a:spcAft>
              <a:buFontTx/>
              <a:buNone/>
              <a:defRPr sz="1867">
                <a:solidFill>
                  <a:schemeClr val="tx2"/>
                </a:solidFill>
              </a:defRPr>
            </a:lvl9pPr>
          </a:lstStyle>
          <a:p>
            <a:pPr lvl="0"/>
            <a:r>
              <a:rPr lang="en-US" noProof="0"/>
              <a:t>[name]</a:t>
            </a:r>
          </a:p>
        </p:txBody>
      </p:sp>
      <p:sp>
        <p:nvSpPr>
          <p:cNvPr id="49" name="Text Placeholder 3"/>
          <p:cNvSpPr>
            <a:spLocks noGrp="1"/>
          </p:cNvSpPr>
          <p:nvPr>
            <p:ph type="body" sz="quarter" idx="47" hasCustomPrompt="1"/>
          </p:nvPr>
        </p:nvSpPr>
        <p:spPr bwMode="gray">
          <a:xfrm>
            <a:off x="8113184" y="4101725"/>
            <a:ext cx="3648405" cy="768000"/>
          </a:xfrm>
        </p:spPr>
        <p:txBody>
          <a:bodyPr tIns="0" bIns="36000" anchor="b" anchorCtr="0"/>
          <a:lstStyle>
            <a:lvl1pPr marL="0" indent="0">
              <a:spcBef>
                <a:spcPts val="0"/>
              </a:spcBef>
              <a:spcAft>
                <a:spcPts val="0"/>
              </a:spcAft>
              <a:buFontTx/>
              <a:buNone/>
              <a:defRPr sz="1867">
                <a:solidFill>
                  <a:schemeClr val="tx2"/>
                </a:solidFill>
              </a:defRPr>
            </a:lvl1pPr>
            <a:lvl2pPr marL="0" indent="0">
              <a:spcBef>
                <a:spcPts val="0"/>
              </a:spcBef>
              <a:spcAft>
                <a:spcPts val="0"/>
              </a:spcAft>
              <a:buNone/>
              <a:defRPr sz="1867">
                <a:solidFill>
                  <a:schemeClr val="tx2"/>
                </a:solidFill>
              </a:defRPr>
            </a:lvl2pPr>
            <a:lvl3pPr marL="0" indent="0" algn="l">
              <a:spcBef>
                <a:spcPts val="0"/>
              </a:spcBef>
              <a:spcAft>
                <a:spcPts val="0"/>
              </a:spcAft>
              <a:buFontTx/>
              <a:buNone/>
              <a:tabLst>
                <a:tab pos="840296" algn="l"/>
              </a:tabLst>
              <a:defRPr sz="1867">
                <a:solidFill>
                  <a:schemeClr val="tx2"/>
                </a:solidFill>
              </a:defRPr>
            </a:lvl3pPr>
            <a:lvl4pPr marL="0" indent="0" algn="l">
              <a:spcBef>
                <a:spcPts val="0"/>
              </a:spcBef>
              <a:spcAft>
                <a:spcPts val="0"/>
              </a:spcAft>
              <a:buFontTx/>
              <a:buNone/>
              <a:defRPr sz="1867">
                <a:solidFill>
                  <a:schemeClr val="tx2"/>
                </a:solidFill>
              </a:defRPr>
            </a:lvl4pPr>
            <a:lvl5pPr marL="0" indent="0" algn="l">
              <a:spcBef>
                <a:spcPts val="0"/>
              </a:spcBef>
              <a:spcAft>
                <a:spcPts val="0"/>
              </a:spcAft>
              <a:buFontTx/>
              <a:buNone/>
              <a:defRPr sz="1867" b="0">
                <a:solidFill>
                  <a:schemeClr val="tx2"/>
                </a:solidFill>
              </a:defRPr>
            </a:lvl5pPr>
            <a:lvl6pPr marL="0" indent="0" algn="l">
              <a:spcBef>
                <a:spcPts val="0"/>
              </a:spcBef>
              <a:spcAft>
                <a:spcPts val="0"/>
              </a:spcAft>
              <a:buFontTx/>
              <a:buNone/>
              <a:defRPr sz="1867">
                <a:solidFill>
                  <a:schemeClr val="tx2"/>
                </a:solidFill>
              </a:defRPr>
            </a:lvl6pPr>
            <a:lvl7pPr marL="0" indent="0" algn="l">
              <a:spcBef>
                <a:spcPts val="0"/>
              </a:spcBef>
              <a:spcAft>
                <a:spcPts val="0"/>
              </a:spcAft>
              <a:buFontTx/>
              <a:buNone/>
              <a:defRPr sz="1867">
                <a:solidFill>
                  <a:schemeClr val="tx2"/>
                </a:solidFill>
              </a:defRPr>
            </a:lvl7pPr>
            <a:lvl8pPr marL="0" indent="0" algn="l">
              <a:spcBef>
                <a:spcPts val="0"/>
              </a:spcBef>
              <a:spcAft>
                <a:spcPts val="0"/>
              </a:spcAft>
              <a:buFontTx/>
              <a:buNone/>
              <a:defRPr sz="1867"/>
            </a:lvl8pPr>
            <a:lvl9pPr marL="0" indent="0" algn="l">
              <a:spcBef>
                <a:spcPts val="0"/>
              </a:spcBef>
              <a:spcAft>
                <a:spcPts val="0"/>
              </a:spcAft>
              <a:buFontTx/>
              <a:buNone/>
              <a:defRPr sz="1867">
                <a:solidFill>
                  <a:schemeClr val="tx2"/>
                </a:solidFill>
              </a:defRPr>
            </a:lvl9pPr>
          </a:lstStyle>
          <a:p>
            <a:pPr lvl="0"/>
            <a:r>
              <a:rPr lang="en-US"/>
              <a:t>[name]</a:t>
            </a:r>
          </a:p>
        </p:txBody>
      </p:sp>
    </p:spTree>
    <p:extLst>
      <p:ext uri="{BB962C8B-B14F-4D97-AF65-F5344CB8AC3E}">
        <p14:creationId xmlns:p14="http://schemas.microsoft.com/office/powerpoint/2010/main" val="2230996643"/>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End Slide">
    <p:spTree>
      <p:nvGrpSpPr>
        <p:cNvPr id="1" name=""/>
        <p:cNvGrpSpPr/>
        <p:nvPr/>
      </p:nvGrpSpPr>
      <p:grpSpPr>
        <a:xfrm>
          <a:off x="0" y="0"/>
          <a:ext cx="0" cy="0"/>
          <a:chOff x="0" y="0"/>
          <a:chExt cx="0" cy="0"/>
        </a:xfrm>
      </p:grpSpPr>
      <p:pic>
        <p:nvPicPr>
          <p:cNvPr id="7" name="Picture 1"/>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bwMode="gray">
          <a:xfrm>
            <a:off x="0" y="0"/>
            <a:ext cx="12192000" cy="6858000"/>
          </a:xfrm>
          <a:prstGeom prst="rect">
            <a:avLst/>
          </a:prstGeom>
          <a:noFill/>
          <a:ln>
            <a:noFill/>
          </a:ln>
        </p:spPr>
      </p:pic>
      <p:sp>
        <p:nvSpPr>
          <p:cNvPr id="3" name="Title 2"/>
          <p:cNvSpPr>
            <a:spLocks noGrp="1"/>
          </p:cNvSpPr>
          <p:nvPr>
            <p:ph type="title" hasCustomPrompt="1"/>
          </p:nvPr>
        </p:nvSpPr>
        <p:spPr bwMode="gray">
          <a:xfrm>
            <a:off x="431214" y="1316567"/>
            <a:ext cx="11329573" cy="2592917"/>
          </a:xfrm>
        </p:spPr>
        <p:txBody>
          <a:bodyPr anchor="b"/>
          <a:lstStyle>
            <a:lvl1pPr>
              <a:defRPr sz="4800" cap="none" baseline="0">
                <a:solidFill>
                  <a:schemeClr val="bg1"/>
                </a:solidFill>
                <a:latin typeface="Arial" pitchFamily="34" charset="0"/>
              </a:defRPr>
            </a:lvl1pPr>
          </a:lstStyle>
          <a:p>
            <a:r>
              <a:rPr lang="en-US"/>
              <a:t>Thank you</a:t>
            </a:r>
          </a:p>
        </p:txBody>
      </p:sp>
      <p:sp>
        <p:nvSpPr>
          <p:cNvPr id="8" name="Text Placeholder 5"/>
          <p:cNvSpPr>
            <a:spLocks noGrp="1"/>
          </p:cNvSpPr>
          <p:nvPr>
            <p:ph type="body" sz="quarter" idx="10" hasCustomPrompt="1"/>
          </p:nvPr>
        </p:nvSpPr>
        <p:spPr bwMode="gray">
          <a:xfrm>
            <a:off x="431371" y="6309408"/>
            <a:ext cx="11329259" cy="288032"/>
          </a:xfrm>
        </p:spPr>
        <p:txBody>
          <a:bodyPr anchor="b"/>
          <a:lstStyle>
            <a:lvl1pPr marL="0" indent="0">
              <a:spcBef>
                <a:spcPts val="0"/>
              </a:spcBef>
              <a:spcAft>
                <a:spcPts val="0"/>
              </a:spcAft>
              <a:buFontTx/>
              <a:buNone/>
              <a:defRPr sz="1600" baseline="0">
                <a:solidFill>
                  <a:schemeClr val="bg1"/>
                </a:solidFill>
              </a:defRPr>
            </a:lvl1pPr>
            <a:lvl2pPr marL="0" indent="0">
              <a:spcBef>
                <a:spcPts val="0"/>
              </a:spcBef>
              <a:spcAft>
                <a:spcPts val="0"/>
              </a:spcAft>
              <a:buFontTx/>
              <a:buNone/>
              <a:defRPr sz="1600">
                <a:solidFill>
                  <a:schemeClr val="bg1"/>
                </a:solidFill>
              </a:defRPr>
            </a:lvl2pPr>
            <a:lvl3pPr marL="0" indent="0">
              <a:spcBef>
                <a:spcPts val="0"/>
              </a:spcBef>
              <a:spcAft>
                <a:spcPts val="0"/>
              </a:spcAft>
              <a:buFontTx/>
              <a:buNone/>
              <a:defRPr sz="1600">
                <a:solidFill>
                  <a:schemeClr val="bg1"/>
                </a:solidFill>
              </a:defRPr>
            </a:lvl3pPr>
            <a:lvl4pPr marL="0" indent="0">
              <a:spcBef>
                <a:spcPts val="0"/>
              </a:spcBef>
              <a:spcAft>
                <a:spcPts val="0"/>
              </a:spcAft>
              <a:buFontTx/>
              <a:buNone/>
              <a:defRPr sz="1600">
                <a:solidFill>
                  <a:schemeClr val="bg1"/>
                </a:solidFill>
              </a:defRPr>
            </a:lvl4pPr>
            <a:lvl5pPr marL="0" indent="0">
              <a:spcBef>
                <a:spcPts val="0"/>
              </a:spcBef>
              <a:spcAft>
                <a:spcPts val="0"/>
              </a:spcAft>
              <a:buFontTx/>
              <a:buNone/>
              <a:defRPr sz="1600">
                <a:solidFill>
                  <a:schemeClr val="bg1"/>
                </a:solidFill>
              </a:defRPr>
            </a:lvl5pPr>
            <a:lvl6pPr marL="0" indent="0">
              <a:spcBef>
                <a:spcPts val="0"/>
              </a:spcBef>
              <a:spcAft>
                <a:spcPts val="0"/>
              </a:spcAft>
              <a:buFontTx/>
              <a:buNone/>
              <a:defRPr sz="1600">
                <a:solidFill>
                  <a:schemeClr val="bg1"/>
                </a:solidFill>
              </a:defRPr>
            </a:lvl6pPr>
            <a:lvl7pPr marL="0" indent="0">
              <a:spcBef>
                <a:spcPts val="0"/>
              </a:spcBef>
              <a:spcAft>
                <a:spcPts val="0"/>
              </a:spcAft>
              <a:buFontTx/>
              <a:buNone/>
              <a:defRPr sz="1600">
                <a:solidFill>
                  <a:schemeClr val="bg1"/>
                </a:solidFill>
              </a:defRPr>
            </a:lvl7pPr>
            <a:lvl8pPr marL="0" indent="0">
              <a:spcBef>
                <a:spcPts val="0"/>
              </a:spcBef>
              <a:spcAft>
                <a:spcPts val="0"/>
              </a:spcAft>
              <a:buFontTx/>
              <a:buNone/>
              <a:defRPr sz="1600">
                <a:solidFill>
                  <a:schemeClr val="bg1"/>
                </a:solidFill>
              </a:defRPr>
            </a:lvl8pPr>
            <a:lvl9pPr marL="0" indent="0">
              <a:spcBef>
                <a:spcPts val="0"/>
              </a:spcBef>
              <a:spcAft>
                <a:spcPts val="0"/>
              </a:spcAft>
              <a:buFontTx/>
              <a:buNone/>
              <a:defRPr sz="1600">
                <a:solidFill>
                  <a:schemeClr val="bg1"/>
                </a:solidFill>
              </a:defRPr>
            </a:lvl9pPr>
          </a:lstStyle>
          <a:p>
            <a:pPr lvl="0"/>
            <a:r>
              <a:rPr lang="en-US" noProof="0"/>
              <a:t>Click to add additional text, e.g. author, location, date</a:t>
            </a:r>
          </a:p>
        </p:txBody>
      </p:sp>
    </p:spTree>
    <p:extLst>
      <p:ext uri="{BB962C8B-B14F-4D97-AF65-F5344CB8AC3E}">
        <p14:creationId xmlns:p14="http://schemas.microsoft.com/office/powerpoint/2010/main" val="248915510"/>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p:cSld name="Title 1">
    <p:bg>
      <p:bgPr>
        <a:blipFill dpi="0" rotWithShape="1">
          <a:blip r:embed="rId2" cstate="print">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9" name="shpPicture"/>
          <p:cNvSpPr/>
          <p:nvPr/>
        </p:nvSpPr>
        <p:spPr>
          <a:xfrm>
            <a:off x="0" y="0"/>
            <a:ext cx="4956718" cy="6858000"/>
          </a:xfrm>
          <a:custGeom>
            <a:avLst/>
            <a:gdLst>
              <a:gd name="connsiteX0" fmla="*/ 0 w 4956718"/>
              <a:gd name="connsiteY0" fmla="*/ 0 h 6858000"/>
              <a:gd name="connsiteX1" fmla="*/ 3707268 w 4956718"/>
              <a:gd name="connsiteY1" fmla="*/ 0 h 6858000"/>
              <a:gd name="connsiteX2" fmla="*/ 4956718 w 4956718"/>
              <a:gd name="connsiteY2" fmla="*/ 4163677 h 6858000"/>
              <a:gd name="connsiteX3" fmla="*/ 3376226 w 4956718"/>
              <a:gd name="connsiteY3" fmla="*/ 6858000 h 6858000"/>
              <a:gd name="connsiteX4" fmla="*/ 0 w 4956718"/>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56718" h="6858000">
                <a:moveTo>
                  <a:pt x="0" y="0"/>
                </a:moveTo>
                <a:lnTo>
                  <a:pt x="3707268" y="0"/>
                </a:lnTo>
                <a:lnTo>
                  <a:pt x="4956718" y="4163677"/>
                </a:lnTo>
                <a:lnTo>
                  <a:pt x="3376226"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125000"/>
              </a:lnSpc>
            </a:pPr>
            <a:endParaRPr lang="en-US" sz="1600"/>
          </a:p>
        </p:txBody>
      </p:sp>
      <p:grpSp>
        <p:nvGrpSpPr>
          <p:cNvPr id="14" name="logo">
            <a:extLst>
              <a:ext uri="{FF2B5EF4-FFF2-40B4-BE49-F238E27FC236}">
                <a16:creationId xmlns:a16="http://schemas.microsoft.com/office/drawing/2014/main" id="{18C26D95-70F8-8A4D-9F18-DCCB92522AF8}"/>
              </a:ext>
            </a:extLst>
          </p:cNvPr>
          <p:cNvGrpSpPr/>
          <p:nvPr/>
        </p:nvGrpSpPr>
        <p:grpSpPr bwMode="gray">
          <a:xfrm>
            <a:off x="417363" y="407485"/>
            <a:ext cx="1518585" cy="646507"/>
            <a:chOff x="334963" y="296652"/>
            <a:chExt cx="1268411" cy="540000"/>
          </a:xfrm>
        </p:grpSpPr>
        <p:sp>
          <p:nvSpPr>
            <p:cNvPr id="17" name="Freeform 6">
              <a:extLst>
                <a:ext uri="{FF2B5EF4-FFF2-40B4-BE49-F238E27FC236}">
                  <a16:creationId xmlns:a16="http://schemas.microsoft.com/office/drawing/2014/main" id="{08737AD0-E375-E445-97E6-CD2E2DF60620}"/>
                </a:ext>
              </a:extLst>
            </p:cNvPr>
            <p:cNvSpPr>
              <a:spLocks noEditPoints="1"/>
            </p:cNvSpPr>
            <p:nvPr/>
          </p:nvSpPr>
          <p:spPr bwMode="gray">
            <a:xfrm>
              <a:off x="982662" y="360462"/>
              <a:ext cx="620712" cy="431800"/>
            </a:xfrm>
            <a:custGeom>
              <a:avLst/>
              <a:gdLst>
                <a:gd name="T0" fmla="*/ 19 w 1809"/>
                <a:gd name="T1" fmla="*/ 97 h 1253"/>
                <a:gd name="T2" fmla="*/ 165 w 1809"/>
                <a:gd name="T3" fmla="*/ 41 h 1253"/>
                <a:gd name="T4" fmla="*/ 211 w 1809"/>
                <a:gd name="T5" fmla="*/ 224 h 1253"/>
                <a:gd name="T6" fmla="*/ 248 w 1809"/>
                <a:gd name="T7" fmla="*/ 155 h 1253"/>
                <a:gd name="T8" fmla="*/ 931 w 1809"/>
                <a:gd name="T9" fmla="*/ 995 h 1253"/>
                <a:gd name="T10" fmla="*/ 858 w 1809"/>
                <a:gd name="T11" fmla="*/ 1115 h 1253"/>
                <a:gd name="T12" fmla="*/ 749 w 1809"/>
                <a:gd name="T13" fmla="*/ 1117 h 1253"/>
                <a:gd name="T14" fmla="*/ 681 w 1809"/>
                <a:gd name="T15" fmla="*/ 1055 h 1253"/>
                <a:gd name="T16" fmla="*/ 800 w 1809"/>
                <a:gd name="T17" fmla="*/ 1054 h 1253"/>
                <a:gd name="T18" fmla="*/ 884 w 1809"/>
                <a:gd name="T19" fmla="*/ 1181 h 1253"/>
                <a:gd name="T20" fmla="*/ 118 w 1809"/>
                <a:gd name="T21" fmla="*/ 1086 h 1253"/>
                <a:gd name="T22" fmla="*/ 147 w 1809"/>
                <a:gd name="T23" fmla="*/ 1026 h 1253"/>
                <a:gd name="T24" fmla="*/ 102 w 1809"/>
                <a:gd name="T25" fmla="*/ 1026 h 1253"/>
                <a:gd name="T26" fmla="*/ 639 w 1809"/>
                <a:gd name="T27" fmla="*/ 84 h 1253"/>
                <a:gd name="T28" fmla="*/ 763 w 1809"/>
                <a:gd name="T29" fmla="*/ 145 h 1253"/>
                <a:gd name="T30" fmla="*/ 863 w 1809"/>
                <a:gd name="T31" fmla="*/ 221 h 1253"/>
                <a:gd name="T32" fmla="*/ 834 w 1809"/>
                <a:gd name="T33" fmla="*/ 208 h 1253"/>
                <a:gd name="T34" fmla="*/ 719 w 1809"/>
                <a:gd name="T35" fmla="*/ 182 h 1253"/>
                <a:gd name="T36" fmla="*/ 507 w 1809"/>
                <a:gd name="T37" fmla="*/ 711 h 1253"/>
                <a:gd name="T38" fmla="*/ 614 w 1809"/>
                <a:gd name="T39" fmla="*/ 706 h 1253"/>
                <a:gd name="T40" fmla="*/ 736 w 1809"/>
                <a:gd name="T41" fmla="*/ 730 h 1253"/>
                <a:gd name="T42" fmla="*/ 607 w 1809"/>
                <a:gd name="T43" fmla="*/ 539 h 1253"/>
                <a:gd name="T44" fmla="*/ 1505 w 1809"/>
                <a:gd name="T45" fmla="*/ 1136 h 1253"/>
                <a:gd name="T46" fmla="*/ 1613 w 1809"/>
                <a:gd name="T47" fmla="*/ 1002 h 1253"/>
                <a:gd name="T48" fmla="*/ 1472 w 1809"/>
                <a:gd name="T49" fmla="*/ 1164 h 1253"/>
                <a:gd name="T50" fmla="*/ 1525 w 1809"/>
                <a:gd name="T51" fmla="*/ 1142 h 1253"/>
                <a:gd name="T52" fmla="*/ 1556 w 1809"/>
                <a:gd name="T53" fmla="*/ 1172 h 1253"/>
                <a:gd name="T54" fmla="*/ 1387 w 1809"/>
                <a:gd name="T55" fmla="*/ 910 h 1253"/>
                <a:gd name="T56" fmla="*/ 1261 w 1809"/>
                <a:gd name="T57" fmla="*/ 1157 h 1253"/>
                <a:gd name="T58" fmla="*/ 1413 w 1809"/>
                <a:gd name="T59" fmla="*/ 934 h 1253"/>
                <a:gd name="T60" fmla="*/ 1378 w 1809"/>
                <a:gd name="T61" fmla="*/ 1052 h 1253"/>
                <a:gd name="T62" fmla="*/ 488 w 1809"/>
                <a:gd name="T63" fmla="*/ 85 h 1253"/>
                <a:gd name="T64" fmla="*/ 509 w 1809"/>
                <a:gd name="T65" fmla="*/ 112 h 1253"/>
                <a:gd name="T66" fmla="*/ 548 w 1809"/>
                <a:gd name="T67" fmla="*/ 1187 h 1253"/>
                <a:gd name="T68" fmla="*/ 472 w 1809"/>
                <a:gd name="T69" fmla="*/ 1122 h 1253"/>
                <a:gd name="T70" fmla="*/ 558 w 1809"/>
                <a:gd name="T71" fmla="*/ 1157 h 1253"/>
                <a:gd name="T72" fmla="*/ 287 w 1809"/>
                <a:gd name="T73" fmla="*/ 654 h 1253"/>
                <a:gd name="T74" fmla="*/ 416 w 1809"/>
                <a:gd name="T75" fmla="*/ 684 h 1253"/>
                <a:gd name="T76" fmla="*/ 1106 w 1809"/>
                <a:gd name="T77" fmla="*/ 147 h 1253"/>
                <a:gd name="T78" fmla="*/ 1229 w 1809"/>
                <a:gd name="T79" fmla="*/ 258 h 1253"/>
                <a:gd name="T80" fmla="*/ 1106 w 1809"/>
                <a:gd name="T81" fmla="*/ 96 h 1253"/>
                <a:gd name="T82" fmla="*/ 1219 w 1809"/>
                <a:gd name="T83" fmla="*/ 1077 h 1253"/>
                <a:gd name="T84" fmla="*/ 1214 w 1809"/>
                <a:gd name="T85" fmla="*/ 1157 h 1253"/>
                <a:gd name="T86" fmla="*/ 1150 w 1809"/>
                <a:gd name="T87" fmla="*/ 1092 h 1253"/>
                <a:gd name="T88" fmla="*/ 1139 w 1809"/>
                <a:gd name="T89" fmla="*/ 1070 h 1253"/>
                <a:gd name="T90" fmla="*/ 1659 w 1809"/>
                <a:gd name="T91" fmla="*/ 1031 h 1253"/>
                <a:gd name="T92" fmla="*/ 1714 w 1809"/>
                <a:gd name="T93" fmla="*/ 1155 h 1253"/>
                <a:gd name="T94" fmla="*/ 1760 w 1809"/>
                <a:gd name="T95" fmla="*/ 1030 h 1253"/>
                <a:gd name="T96" fmla="*/ 111 w 1809"/>
                <a:gd name="T97" fmla="*/ 569 h 1253"/>
                <a:gd name="T98" fmla="*/ 109 w 1809"/>
                <a:gd name="T99" fmla="*/ 460 h 1253"/>
                <a:gd name="T100" fmla="*/ 32 w 1809"/>
                <a:gd name="T101" fmla="*/ 704 h 1253"/>
                <a:gd name="T102" fmla="*/ 310 w 1809"/>
                <a:gd name="T103" fmla="*/ 1058 h 1253"/>
                <a:gd name="T104" fmla="*/ 431 w 1809"/>
                <a:gd name="T105" fmla="*/ 1044 h 1253"/>
                <a:gd name="T106" fmla="*/ 278 w 1809"/>
                <a:gd name="T107" fmla="*/ 1165 h 1253"/>
                <a:gd name="T108" fmla="*/ 261 w 1809"/>
                <a:gd name="T109" fmla="*/ 540 h 1253"/>
                <a:gd name="T110" fmla="*/ 150 w 1809"/>
                <a:gd name="T111" fmla="*/ 635 h 1253"/>
                <a:gd name="T112" fmla="*/ 994 w 1809"/>
                <a:gd name="T113" fmla="*/ 1185 h 1253"/>
                <a:gd name="T114" fmla="*/ 331 w 1809"/>
                <a:gd name="T115" fmla="*/ 176 h 1253"/>
                <a:gd name="T116" fmla="*/ 333 w 1809"/>
                <a:gd name="T117" fmla="*/ 109 h 1253"/>
                <a:gd name="T118" fmla="*/ 946 w 1809"/>
                <a:gd name="T119" fmla="*/ 234 h 1253"/>
                <a:gd name="T120" fmla="*/ 1022 w 1809"/>
                <a:gd name="T121" fmla="*/ 113 h 1253"/>
                <a:gd name="T122" fmla="*/ 949 w 1809"/>
                <a:gd name="T123" fmla="*/ 65 h 1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09" h="1253">
                  <a:moveTo>
                    <a:pt x="248" y="198"/>
                  </a:moveTo>
                  <a:cubicBezTo>
                    <a:pt x="248" y="211"/>
                    <a:pt x="248" y="224"/>
                    <a:pt x="249" y="237"/>
                  </a:cubicBezTo>
                  <a:cubicBezTo>
                    <a:pt x="249" y="245"/>
                    <a:pt x="246" y="249"/>
                    <a:pt x="240" y="253"/>
                  </a:cubicBezTo>
                  <a:cubicBezTo>
                    <a:pt x="231" y="260"/>
                    <a:pt x="220" y="264"/>
                    <a:pt x="209" y="268"/>
                  </a:cubicBezTo>
                  <a:cubicBezTo>
                    <a:pt x="179" y="279"/>
                    <a:pt x="148" y="280"/>
                    <a:pt x="118" y="275"/>
                  </a:cubicBezTo>
                  <a:cubicBezTo>
                    <a:pt x="86" y="269"/>
                    <a:pt x="58" y="252"/>
                    <a:pt x="39" y="224"/>
                  </a:cubicBezTo>
                  <a:cubicBezTo>
                    <a:pt x="24" y="203"/>
                    <a:pt x="18" y="180"/>
                    <a:pt x="15" y="155"/>
                  </a:cubicBezTo>
                  <a:cubicBezTo>
                    <a:pt x="11" y="135"/>
                    <a:pt x="15" y="115"/>
                    <a:pt x="19" y="97"/>
                  </a:cubicBezTo>
                  <a:cubicBezTo>
                    <a:pt x="26" y="68"/>
                    <a:pt x="42" y="44"/>
                    <a:pt x="68" y="27"/>
                  </a:cubicBezTo>
                  <a:cubicBezTo>
                    <a:pt x="87" y="14"/>
                    <a:pt x="109" y="6"/>
                    <a:pt x="133" y="5"/>
                  </a:cubicBezTo>
                  <a:cubicBezTo>
                    <a:pt x="149" y="4"/>
                    <a:pt x="165" y="5"/>
                    <a:pt x="181" y="6"/>
                  </a:cubicBezTo>
                  <a:cubicBezTo>
                    <a:pt x="204" y="8"/>
                    <a:pt x="225" y="20"/>
                    <a:pt x="243" y="35"/>
                  </a:cubicBezTo>
                  <a:cubicBezTo>
                    <a:pt x="246" y="37"/>
                    <a:pt x="246" y="40"/>
                    <a:pt x="244" y="43"/>
                  </a:cubicBezTo>
                  <a:cubicBezTo>
                    <a:pt x="242" y="47"/>
                    <a:pt x="239" y="52"/>
                    <a:pt x="236" y="55"/>
                  </a:cubicBezTo>
                  <a:cubicBezTo>
                    <a:pt x="226" y="65"/>
                    <a:pt x="224" y="65"/>
                    <a:pt x="206" y="54"/>
                  </a:cubicBezTo>
                  <a:cubicBezTo>
                    <a:pt x="193" y="46"/>
                    <a:pt x="180" y="40"/>
                    <a:pt x="165" y="41"/>
                  </a:cubicBezTo>
                  <a:cubicBezTo>
                    <a:pt x="151" y="41"/>
                    <a:pt x="137" y="39"/>
                    <a:pt x="124" y="42"/>
                  </a:cubicBezTo>
                  <a:cubicBezTo>
                    <a:pt x="104" y="46"/>
                    <a:pt x="87" y="57"/>
                    <a:pt x="75" y="74"/>
                  </a:cubicBezTo>
                  <a:cubicBezTo>
                    <a:pt x="56" y="99"/>
                    <a:pt x="51" y="129"/>
                    <a:pt x="55" y="159"/>
                  </a:cubicBezTo>
                  <a:cubicBezTo>
                    <a:pt x="60" y="189"/>
                    <a:pt x="73" y="214"/>
                    <a:pt x="98" y="230"/>
                  </a:cubicBezTo>
                  <a:cubicBezTo>
                    <a:pt x="109" y="237"/>
                    <a:pt x="121" y="242"/>
                    <a:pt x="135" y="241"/>
                  </a:cubicBezTo>
                  <a:cubicBezTo>
                    <a:pt x="146" y="241"/>
                    <a:pt x="158" y="241"/>
                    <a:pt x="169" y="241"/>
                  </a:cubicBezTo>
                  <a:cubicBezTo>
                    <a:pt x="182" y="242"/>
                    <a:pt x="193" y="235"/>
                    <a:pt x="205" y="232"/>
                  </a:cubicBezTo>
                  <a:cubicBezTo>
                    <a:pt x="210" y="231"/>
                    <a:pt x="211" y="227"/>
                    <a:pt x="211" y="224"/>
                  </a:cubicBezTo>
                  <a:cubicBezTo>
                    <a:pt x="211" y="210"/>
                    <a:pt x="211" y="196"/>
                    <a:pt x="211" y="183"/>
                  </a:cubicBezTo>
                  <a:cubicBezTo>
                    <a:pt x="211" y="177"/>
                    <a:pt x="207" y="175"/>
                    <a:pt x="202" y="175"/>
                  </a:cubicBezTo>
                  <a:cubicBezTo>
                    <a:pt x="193" y="175"/>
                    <a:pt x="184" y="175"/>
                    <a:pt x="175" y="175"/>
                  </a:cubicBezTo>
                  <a:cubicBezTo>
                    <a:pt x="171" y="175"/>
                    <a:pt x="168" y="174"/>
                    <a:pt x="166" y="171"/>
                  </a:cubicBezTo>
                  <a:cubicBezTo>
                    <a:pt x="163" y="163"/>
                    <a:pt x="164" y="154"/>
                    <a:pt x="166" y="146"/>
                  </a:cubicBezTo>
                  <a:cubicBezTo>
                    <a:pt x="167" y="142"/>
                    <a:pt x="171" y="142"/>
                    <a:pt x="175" y="142"/>
                  </a:cubicBezTo>
                  <a:cubicBezTo>
                    <a:pt x="196" y="142"/>
                    <a:pt x="217" y="142"/>
                    <a:pt x="238" y="142"/>
                  </a:cubicBezTo>
                  <a:cubicBezTo>
                    <a:pt x="247" y="142"/>
                    <a:pt x="248" y="148"/>
                    <a:pt x="248" y="155"/>
                  </a:cubicBezTo>
                  <a:cubicBezTo>
                    <a:pt x="249" y="169"/>
                    <a:pt x="248" y="183"/>
                    <a:pt x="248" y="198"/>
                  </a:cubicBezTo>
                  <a:close/>
                  <a:moveTo>
                    <a:pt x="884" y="1181"/>
                  </a:moveTo>
                  <a:cubicBezTo>
                    <a:pt x="889" y="1167"/>
                    <a:pt x="894" y="1152"/>
                    <a:pt x="898" y="1137"/>
                  </a:cubicBezTo>
                  <a:cubicBezTo>
                    <a:pt x="901" y="1127"/>
                    <a:pt x="905" y="1116"/>
                    <a:pt x="908" y="1106"/>
                  </a:cubicBezTo>
                  <a:cubicBezTo>
                    <a:pt x="911" y="1098"/>
                    <a:pt x="912" y="1089"/>
                    <a:pt x="916" y="1081"/>
                  </a:cubicBezTo>
                  <a:cubicBezTo>
                    <a:pt x="921" y="1072"/>
                    <a:pt x="923" y="1060"/>
                    <a:pt x="927" y="1050"/>
                  </a:cubicBezTo>
                  <a:cubicBezTo>
                    <a:pt x="932" y="1037"/>
                    <a:pt x="934" y="1023"/>
                    <a:pt x="940" y="1010"/>
                  </a:cubicBezTo>
                  <a:cubicBezTo>
                    <a:pt x="945" y="1001"/>
                    <a:pt x="941" y="995"/>
                    <a:pt x="931" y="995"/>
                  </a:cubicBezTo>
                  <a:cubicBezTo>
                    <a:pt x="927" y="995"/>
                    <a:pt x="922" y="995"/>
                    <a:pt x="918" y="995"/>
                  </a:cubicBezTo>
                  <a:cubicBezTo>
                    <a:pt x="913" y="995"/>
                    <a:pt x="908" y="997"/>
                    <a:pt x="907" y="1001"/>
                  </a:cubicBezTo>
                  <a:cubicBezTo>
                    <a:pt x="904" y="1008"/>
                    <a:pt x="900" y="1015"/>
                    <a:pt x="899" y="1023"/>
                  </a:cubicBezTo>
                  <a:cubicBezTo>
                    <a:pt x="897" y="1034"/>
                    <a:pt x="893" y="1045"/>
                    <a:pt x="889" y="1055"/>
                  </a:cubicBezTo>
                  <a:cubicBezTo>
                    <a:pt x="887" y="1064"/>
                    <a:pt x="885" y="1072"/>
                    <a:pt x="882" y="1080"/>
                  </a:cubicBezTo>
                  <a:cubicBezTo>
                    <a:pt x="878" y="1091"/>
                    <a:pt x="874" y="1103"/>
                    <a:pt x="871" y="1115"/>
                  </a:cubicBezTo>
                  <a:cubicBezTo>
                    <a:pt x="870" y="1118"/>
                    <a:pt x="871" y="1124"/>
                    <a:pt x="866" y="1124"/>
                  </a:cubicBezTo>
                  <a:cubicBezTo>
                    <a:pt x="861" y="1125"/>
                    <a:pt x="859" y="1120"/>
                    <a:pt x="858" y="1115"/>
                  </a:cubicBezTo>
                  <a:cubicBezTo>
                    <a:pt x="856" y="1110"/>
                    <a:pt x="856" y="1104"/>
                    <a:pt x="854" y="1099"/>
                  </a:cubicBezTo>
                  <a:cubicBezTo>
                    <a:pt x="848" y="1080"/>
                    <a:pt x="841" y="1062"/>
                    <a:pt x="835" y="1044"/>
                  </a:cubicBezTo>
                  <a:cubicBezTo>
                    <a:pt x="831" y="1030"/>
                    <a:pt x="828" y="1016"/>
                    <a:pt x="822" y="1003"/>
                  </a:cubicBezTo>
                  <a:cubicBezTo>
                    <a:pt x="819" y="997"/>
                    <a:pt x="814" y="994"/>
                    <a:pt x="808" y="994"/>
                  </a:cubicBezTo>
                  <a:cubicBezTo>
                    <a:pt x="799" y="993"/>
                    <a:pt x="791" y="993"/>
                    <a:pt x="787" y="1001"/>
                  </a:cubicBezTo>
                  <a:cubicBezTo>
                    <a:pt x="783" y="1008"/>
                    <a:pt x="780" y="1015"/>
                    <a:pt x="779" y="1022"/>
                  </a:cubicBezTo>
                  <a:cubicBezTo>
                    <a:pt x="778" y="1034"/>
                    <a:pt x="772" y="1044"/>
                    <a:pt x="769" y="1055"/>
                  </a:cubicBezTo>
                  <a:cubicBezTo>
                    <a:pt x="762" y="1076"/>
                    <a:pt x="754" y="1096"/>
                    <a:pt x="749" y="1117"/>
                  </a:cubicBezTo>
                  <a:cubicBezTo>
                    <a:pt x="748" y="1120"/>
                    <a:pt x="747" y="1124"/>
                    <a:pt x="742" y="1124"/>
                  </a:cubicBezTo>
                  <a:cubicBezTo>
                    <a:pt x="737" y="1124"/>
                    <a:pt x="737" y="1120"/>
                    <a:pt x="736" y="1116"/>
                  </a:cubicBezTo>
                  <a:cubicBezTo>
                    <a:pt x="734" y="1104"/>
                    <a:pt x="730" y="1092"/>
                    <a:pt x="726" y="1080"/>
                  </a:cubicBezTo>
                  <a:cubicBezTo>
                    <a:pt x="720" y="1061"/>
                    <a:pt x="714" y="1040"/>
                    <a:pt x="708" y="1020"/>
                  </a:cubicBezTo>
                  <a:cubicBezTo>
                    <a:pt x="703" y="1000"/>
                    <a:pt x="698" y="994"/>
                    <a:pt x="676" y="995"/>
                  </a:cubicBezTo>
                  <a:cubicBezTo>
                    <a:pt x="665" y="996"/>
                    <a:pt x="661" y="1001"/>
                    <a:pt x="667" y="1011"/>
                  </a:cubicBezTo>
                  <a:cubicBezTo>
                    <a:pt x="669" y="1016"/>
                    <a:pt x="670" y="1021"/>
                    <a:pt x="672" y="1025"/>
                  </a:cubicBezTo>
                  <a:cubicBezTo>
                    <a:pt x="675" y="1035"/>
                    <a:pt x="678" y="1046"/>
                    <a:pt x="681" y="1055"/>
                  </a:cubicBezTo>
                  <a:cubicBezTo>
                    <a:pt x="685" y="1068"/>
                    <a:pt x="689" y="1080"/>
                    <a:pt x="693" y="1092"/>
                  </a:cubicBezTo>
                  <a:cubicBezTo>
                    <a:pt x="697" y="1103"/>
                    <a:pt x="699" y="1113"/>
                    <a:pt x="703" y="1124"/>
                  </a:cubicBezTo>
                  <a:cubicBezTo>
                    <a:pt x="707" y="1136"/>
                    <a:pt x="711" y="1147"/>
                    <a:pt x="715" y="1160"/>
                  </a:cubicBezTo>
                  <a:cubicBezTo>
                    <a:pt x="717" y="1168"/>
                    <a:pt x="720" y="1176"/>
                    <a:pt x="724" y="1183"/>
                  </a:cubicBezTo>
                  <a:cubicBezTo>
                    <a:pt x="728" y="1189"/>
                    <a:pt x="752" y="1185"/>
                    <a:pt x="757" y="1180"/>
                  </a:cubicBezTo>
                  <a:cubicBezTo>
                    <a:pt x="764" y="1173"/>
                    <a:pt x="762" y="1163"/>
                    <a:pt x="766" y="1156"/>
                  </a:cubicBezTo>
                  <a:cubicBezTo>
                    <a:pt x="774" y="1140"/>
                    <a:pt x="778" y="1122"/>
                    <a:pt x="784" y="1105"/>
                  </a:cubicBezTo>
                  <a:cubicBezTo>
                    <a:pt x="789" y="1088"/>
                    <a:pt x="796" y="1072"/>
                    <a:pt x="800" y="1054"/>
                  </a:cubicBezTo>
                  <a:cubicBezTo>
                    <a:pt x="800" y="1053"/>
                    <a:pt x="801" y="1050"/>
                    <a:pt x="803" y="1050"/>
                  </a:cubicBezTo>
                  <a:cubicBezTo>
                    <a:pt x="806" y="1050"/>
                    <a:pt x="806" y="1052"/>
                    <a:pt x="807" y="1055"/>
                  </a:cubicBezTo>
                  <a:cubicBezTo>
                    <a:pt x="807" y="1060"/>
                    <a:pt x="810" y="1066"/>
                    <a:pt x="811" y="1071"/>
                  </a:cubicBezTo>
                  <a:cubicBezTo>
                    <a:pt x="814" y="1081"/>
                    <a:pt x="818" y="1090"/>
                    <a:pt x="821" y="1099"/>
                  </a:cubicBezTo>
                  <a:cubicBezTo>
                    <a:pt x="824" y="1110"/>
                    <a:pt x="827" y="1120"/>
                    <a:pt x="831" y="1131"/>
                  </a:cubicBezTo>
                  <a:cubicBezTo>
                    <a:pt x="834" y="1142"/>
                    <a:pt x="839" y="1153"/>
                    <a:pt x="842" y="1164"/>
                  </a:cubicBezTo>
                  <a:cubicBezTo>
                    <a:pt x="846" y="1179"/>
                    <a:pt x="850" y="1188"/>
                    <a:pt x="869" y="1185"/>
                  </a:cubicBezTo>
                  <a:cubicBezTo>
                    <a:pt x="873" y="1184"/>
                    <a:pt x="881" y="1189"/>
                    <a:pt x="884" y="1181"/>
                  </a:cubicBezTo>
                  <a:close/>
                  <a:moveTo>
                    <a:pt x="33" y="1051"/>
                  </a:moveTo>
                  <a:cubicBezTo>
                    <a:pt x="33" y="1087"/>
                    <a:pt x="33" y="1124"/>
                    <a:pt x="33" y="1160"/>
                  </a:cubicBezTo>
                  <a:cubicBezTo>
                    <a:pt x="33" y="1188"/>
                    <a:pt x="29" y="1184"/>
                    <a:pt x="58" y="1185"/>
                  </a:cubicBezTo>
                  <a:cubicBezTo>
                    <a:pt x="72" y="1185"/>
                    <a:pt x="73" y="1184"/>
                    <a:pt x="73" y="1170"/>
                  </a:cubicBezTo>
                  <a:cubicBezTo>
                    <a:pt x="73" y="1138"/>
                    <a:pt x="73" y="1107"/>
                    <a:pt x="73" y="1076"/>
                  </a:cubicBezTo>
                  <a:cubicBezTo>
                    <a:pt x="73" y="1071"/>
                    <a:pt x="72" y="1067"/>
                    <a:pt x="78" y="1065"/>
                  </a:cubicBezTo>
                  <a:cubicBezTo>
                    <a:pt x="91" y="1062"/>
                    <a:pt x="102" y="1067"/>
                    <a:pt x="110" y="1076"/>
                  </a:cubicBezTo>
                  <a:cubicBezTo>
                    <a:pt x="112" y="1080"/>
                    <a:pt x="115" y="1083"/>
                    <a:pt x="118" y="1086"/>
                  </a:cubicBezTo>
                  <a:cubicBezTo>
                    <a:pt x="132" y="1103"/>
                    <a:pt x="146" y="1119"/>
                    <a:pt x="161" y="1136"/>
                  </a:cubicBezTo>
                  <a:cubicBezTo>
                    <a:pt x="173" y="1150"/>
                    <a:pt x="186" y="1165"/>
                    <a:pt x="198" y="1179"/>
                  </a:cubicBezTo>
                  <a:cubicBezTo>
                    <a:pt x="207" y="1188"/>
                    <a:pt x="218" y="1184"/>
                    <a:pt x="228" y="1185"/>
                  </a:cubicBezTo>
                  <a:cubicBezTo>
                    <a:pt x="233" y="1185"/>
                    <a:pt x="241" y="1188"/>
                    <a:pt x="244" y="1182"/>
                  </a:cubicBezTo>
                  <a:cubicBezTo>
                    <a:pt x="246" y="1178"/>
                    <a:pt x="239" y="1173"/>
                    <a:pt x="235" y="1169"/>
                  </a:cubicBezTo>
                  <a:cubicBezTo>
                    <a:pt x="206" y="1133"/>
                    <a:pt x="176" y="1098"/>
                    <a:pt x="146" y="1062"/>
                  </a:cubicBezTo>
                  <a:cubicBezTo>
                    <a:pt x="141" y="1056"/>
                    <a:pt x="131" y="1052"/>
                    <a:pt x="132" y="1044"/>
                  </a:cubicBezTo>
                  <a:cubicBezTo>
                    <a:pt x="132" y="1036"/>
                    <a:pt x="142" y="1032"/>
                    <a:pt x="147" y="1026"/>
                  </a:cubicBezTo>
                  <a:cubicBezTo>
                    <a:pt x="164" y="1006"/>
                    <a:pt x="182" y="988"/>
                    <a:pt x="198" y="968"/>
                  </a:cubicBezTo>
                  <a:cubicBezTo>
                    <a:pt x="209" y="954"/>
                    <a:pt x="221" y="942"/>
                    <a:pt x="234" y="929"/>
                  </a:cubicBezTo>
                  <a:cubicBezTo>
                    <a:pt x="236" y="926"/>
                    <a:pt x="238" y="923"/>
                    <a:pt x="237" y="920"/>
                  </a:cubicBezTo>
                  <a:cubicBezTo>
                    <a:pt x="235" y="915"/>
                    <a:pt x="231" y="917"/>
                    <a:pt x="228" y="917"/>
                  </a:cubicBezTo>
                  <a:cubicBezTo>
                    <a:pt x="224" y="918"/>
                    <a:pt x="221" y="918"/>
                    <a:pt x="217" y="918"/>
                  </a:cubicBezTo>
                  <a:cubicBezTo>
                    <a:pt x="204" y="917"/>
                    <a:pt x="193" y="922"/>
                    <a:pt x="185" y="931"/>
                  </a:cubicBezTo>
                  <a:cubicBezTo>
                    <a:pt x="172" y="946"/>
                    <a:pt x="158" y="961"/>
                    <a:pt x="145" y="977"/>
                  </a:cubicBezTo>
                  <a:cubicBezTo>
                    <a:pt x="131" y="993"/>
                    <a:pt x="117" y="1010"/>
                    <a:pt x="102" y="1026"/>
                  </a:cubicBezTo>
                  <a:cubicBezTo>
                    <a:pt x="96" y="1032"/>
                    <a:pt x="87" y="1037"/>
                    <a:pt x="78" y="1034"/>
                  </a:cubicBezTo>
                  <a:cubicBezTo>
                    <a:pt x="70" y="1030"/>
                    <a:pt x="73" y="1021"/>
                    <a:pt x="73" y="1015"/>
                  </a:cubicBezTo>
                  <a:cubicBezTo>
                    <a:pt x="73" y="991"/>
                    <a:pt x="73" y="967"/>
                    <a:pt x="73" y="944"/>
                  </a:cubicBezTo>
                  <a:cubicBezTo>
                    <a:pt x="73" y="916"/>
                    <a:pt x="75" y="917"/>
                    <a:pt x="46" y="918"/>
                  </a:cubicBezTo>
                  <a:cubicBezTo>
                    <a:pt x="33" y="918"/>
                    <a:pt x="33" y="918"/>
                    <a:pt x="33" y="931"/>
                  </a:cubicBezTo>
                  <a:cubicBezTo>
                    <a:pt x="33" y="971"/>
                    <a:pt x="33" y="1011"/>
                    <a:pt x="33" y="1051"/>
                  </a:cubicBezTo>
                  <a:cubicBezTo>
                    <a:pt x="33" y="1051"/>
                    <a:pt x="33" y="1051"/>
                    <a:pt x="33" y="1051"/>
                  </a:cubicBezTo>
                  <a:close/>
                  <a:moveTo>
                    <a:pt x="639" y="84"/>
                  </a:moveTo>
                  <a:cubicBezTo>
                    <a:pt x="627" y="84"/>
                    <a:pt x="626" y="84"/>
                    <a:pt x="629" y="95"/>
                  </a:cubicBezTo>
                  <a:cubicBezTo>
                    <a:pt x="634" y="113"/>
                    <a:pt x="640" y="131"/>
                    <a:pt x="646" y="148"/>
                  </a:cubicBezTo>
                  <a:cubicBezTo>
                    <a:pt x="652" y="166"/>
                    <a:pt x="658" y="185"/>
                    <a:pt x="664" y="203"/>
                  </a:cubicBezTo>
                  <a:cubicBezTo>
                    <a:pt x="671" y="223"/>
                    <a:pt x="676" y="244"/>
                    <a:pt x="684" y="264"/>
                  </a:cubicBezTo>
                  <a:cubicBezTo>
                    <a:pt x="688" y="274"/>
                    <a:pt x="694" y="274"/>
                    <a:pt x="702" y="274"/>
                  </a:cubicBezTo>
                  <a:cubicBezTo>
                    <a:pt x="711" y="274"/>
                    <a:pt x="719" y="272"/>
                    <a:pt x="723" y="263"/>
                  </a:cubicBezTo>
                  <a:cubicBezTo>
                    <a:pt x="733" y="236"/>
                    <a:pt x="741" y="208"/>
                    <a:pt x="750" y="181"/>
                  </a:cubicBezTo>
                  <a:cubicBezTo>
                    <a:pt x="754" y="169"/>
                    <a:pt x="757" y="156"/>
                    <a:pt x="763" y="145"/>
                  </a:cubicBezTo>
                  <a:cubicBezTo>
                    <a:pt x="764" y="143"/>
                    <a:pt x="764" y="140"/>
                    <a:pt x="767" y="140"/>
                  </a:cubicBezTo>
                  <a:cubicBezTo>
                    <a:pt x="770" y="140"/>
                    <a:pt x="770" y="143"/>
                    <a:pt x="771" y="145"/>
                  </a:cubicBezTo>
                  <a:cubicBezTo>
                    <a:pt x="771" y="156"/>
                    <a:pt x="777" y="165"/>
                    <a:pt x="780" y="175"/>
                  </a:cubicBezTo>
                  <a:cubicBezTo>
                    <a:pt x="782" y="184"/>
                    <a:pt x="785" y="193"/>
                    <a:pt x="788" y="201"/>
                  </a:cubicBezTo>
                  <a:cubicBezTo>
                    <a:pt x="794" y="219"/>
                    <a:pt x="801" y="237"/>
                    <a:pt x="806" y="255"/>
                  </a:cubicBezTo>
                  <a:cubicBezTo>
                    <a:pt x="811" y="272"/>
                    <a:pt x="825" y="280"/>
                    <a:pt x="842" y="273"/>
                  </a:cubicBezTo>
                  <a:cubicBezTo>
                    <a:pt x="845" y="271"/>
                    <a:pt x="847" y="269"/>
                    <a:pt x="848" y="266"/>
                  </a:cubicBezTo>
                  <a:cubicBezTo>
                    <a:pt x="853" y="251"/>
                    <a:pt x="859" y="236"/>
                    <a:pt x="863" y="221"/>
                  </a:cubicBezTo>
                  <a:cubicBezTo>
                    <a:pt x="867" y="202"/>
                    <a:pt x="875" y="185"/>
                    <a:pt x="880" y="166"/>
                  </a:cubicBezTo>
                  <a:cubicBezTo>
                    <a:pt x="886" y="144"/>
                    <a:pt x="895" y="123"/>
                    <a:pt x="900" y="101"/>
                  </a:cubicBezTo>
                  <a:cubicBezTo>
                    <a:pt x="901" y="96"/>
                    <a:pt x="909" y="91"/>
                    <a:pt x="904" y="86"/>
                  </a:cubicBezTo>
                  <a:cubicBezTo>
                    <a:pt x="900" y="81"/>
                    <a:pt x="892" y="84"/>
                    <a:pt x="886" y="84"/>
                  </a:cubicBezTo>
                  <a:cubicBezTo>
                    <a:pt x="885" y="84"/>
                    <a:pt x="883" y="84"/>
                    <a:pt x="881" y="84"/>
                  </a:cubicBezTo>
                  <a:cubicBezTo>
                    <a:pt x="875" y="84"/>
                    <a:pt x="872" y="86"/>
                    <a:pt x="869" y="91"/>
                  </a:cubicBezTo>
                  <a:cubicBezTo>
                    <a:pt x="860" y="110"/>
                    <a:pt x="856" y="131"/>
                    <a:pt x="850" y="151"/>
                  </a:cubicBezTo>
                  <a:cubicBezTo>
                    <a:pt x="844" y="170"/>
                    <a:pt x="836" y="188"/>
                    <a:pt x="834" y="208"/>
                  </a:cubicBezTo>
                  <a:cubicBezTo>
                    <a:pt x="833" y="211"/>
                    <a:pt x="831" y="214"/>
                    <a:pt x="827" y="214"/>
                  </a:cubicBezTo>
                  <a:cubicBezTo>
                    <a:pt x="823" y="214"/>
                    <a:pt x="822" y="210"/>
                    <a:pt x="822" y="207"/>
                  </a:cubicBezTo>
                  <a:cubicBezTo>
                    <a:pt x="817" y="188"/>
                    <a:pt x="811" y="170"/>
                    <a:pt x="805" y="152"/>
                  </a:cubicBezTo>
                  <a:cubicBezTo>
                    <a:pt x="799" y="133"/>
                    <a:pt x="794" y="114"/>
                    <a:pt x="786" y="96"/>
                  </a:cubicBezTo>
                  <a:cubicBezTo>
                    <a:pt x="783" y="87"/>
                    <a:pt x="779" y="84"/>
                    <a:pt x="770" y="84"/>
                  </a:cubicBezTo>
                  <a:cubicBezTo>
                    <a:pt x="761" y="84"/>
                    <a:pt x="752" y="82"/>
                    <a:pt x="748" y="94"/>
                  </a:cubicBezTo>
                  <a:cubicBezTo>
                    <a:pt x="744" y="109"/>
                    <a:pt x="738" y="123"/>
                    <a:pt x="734" y="138"/>
                  </a:cubicBezTo>
                  <a:cubicBezTo>
                    <a:pt x="729" y="153"/>
                    <a:pt x="724" y="167"/>
                    <a:pt x="719" y="182"/>
                  </a:cubicBezTo>
                  <a:cubicBezTo>
                    <a:pt x="716" y="192"/>
                    <a:pt x="715" y="203"/>
                    <a:pt x="708" y="212"/>
                  </a:cubicBezTo>
                  <a:cubicBezTo>
                    <a:pt x="707" y="214"/>
                    <a:pt x="707" y="217"/>
                    <a:pt x="704" y="217"/>
                  </a:cubicBezTo>
                  <a:cubicBezTo>
                    <a:pt x="701" y="217"/>
                    <a:pt x="701" y="213"/>
                    <a:pt x="700" y="211"/>
                  </a:cubicBezTo>
                  <a:cubicBezTo>
                    <a:pt x="699" y="198"/>
                    <a:pt x="694" y="186"/>
                    <a:pt x="690" y="174"/>
                  </a:cubicBezTo>
                  <a:cubicBezTo>
                    <a:pt x="684" y="153"/>
                    <a:pt x="677" y="131"/>
                    <a:pt x="672" y="110"/>
                  </a:cubicBezTo>
                  <a:cubicBezTo>
                    <a:pt x="667" y="88"/>
                    <a:pt x="663" y="84"/>
                    <a:pt x="645" y="84"/>
                  </a:cubicBezTo>
                  <a:cubicBezTo>
                    <a:pt x="643" y="84"/>
                    <a:pt x="641" y="84"/>
                    <a:pt x="639" y="84"/>
                  </a:cubicBezTo>
                  <a:close/>
                  <a:moveTo>
                    <a:pt x="507" y="711"/>
                  </a:moveTo>
                  <a:cubicBezTo>
                    <a:pt x="507" y="730"/>
                    <a:pt x="507" y="730"/>
                    <a:pt x="526" y="730"/>
                  </a:cubicBezTo>
                  <a:cubicBezTo>
                    <a:pt x="539" y="730"/>
                    <a:pt x="541" y="729"/>
                    <a:pt x="541" y="715"/>
                  </a:cubicBezTo>
                  <a:cubicBezTo>
                    <a:pt x="541" y="677"/>
                    <a:pt x="541" y="638"/>
                    <a:pt x="540" y="600"/>
                  </a:cubicBezTo>
                  <a:cubicBezTo>
                    <a:pt x="540" y="593"/>
                    <a:pt x="543" y="587"/>
                    <a:pt x="548" y="582"/>
                  </a:cubicBezTo>
                  <a:cubicBezTo>
                    <a:pt x="553" y="576"/>
                    <a:pt x="559" y="573"/>
                    <a:pt x="564" y="569"/>
                  </a:cubicBezTo>
                  <a:cubicBezTo>
                    <a:pt x="574" y="564"/>
                    <a:pt x="594" y="566"/>
                    <a:pt x="602" y="574"/>
                  </a:cubicBezTo>
                  <a:cubicBezTo>
                    <a:pt x="611" y="582"/>
                    <a:pt x="614" y="592"/>
                    <a:pt x="614" y="604"/>
                  </a:cubicBezTo>
                  <a:cubicBezTo>
                    <a:pt x="614" y="638"/>
                    <a:pt x="614" y="672"/>
                    <a:pt x="614" y="706"/>
                  </a:cubicBezTo>
                  <a:cubicBezTo>
                    <a:pt x="614" y="730"/>
                    <a:pt x="614" y="730"/>
                    <a:pt x="638" y="730"/>
                  </a:cubicBezTo>
                  <a:cubicBezTo>
                    <a:pt x="650" y="730"/>
                    <a:pt x="650" y="730"/>
                    <a:pt x="650" y="717"/>
                  </a:cubicBezTo>
                  <a:cubicBezTo>
                    <a:pt x="650" y="684"/>
                    <a:pt x="650" y="650"/>
                    <a:pt x="650" y="617"/>
                  </a:cubicBezTo>
                  <a:cubicBezTo>
                    <a:pt x="650" y="606"/>
                    <a:pt x="651" y="597"/>
                    <a:pt x="657" y="586"/>
                  </a:cubicBezTo>
                  <a:cubicBezTo>
                    <a:pt x="667" y="565"/>
                    <a:pt x="703" y="560"/>
                    <a:pt x="716" y="579"/>
                  </a:cubicBezTo>
                  <a:cubicBezTo>
                    <a:pt x="723" y="588"/>
                    <a:pt x="724" y="598"/>
                    <a:pt x="724" y="609"/>
                  </a:cubicBezTo>
                  <a:cubicBezTo>
                    <a:pt x="724" y="645"/>
                    <a:pt x="724" y="682"/>
                    <a:pt x="724" y="718"/>
                  </a:cubicBezTo>
                  <a:cubicBezTo>
                    <a:pt x="724" y="727"/>
                    <a:pt x="727" y="731"/>
                    <a:pt x="736" y="730"/>
                  </a:cubicBezTo>
                  <a:cubicBezTo>
                    <a:pt x="738" y="730"/>
                    <a:pt x="741" y="730"/>
                    <a:pt x="743" y="730"/>
                  </a:cubicBezTo>
                  <a:cubicBezTo>
                    <a:pt x="758" y="730"/>
                    <a:pt x="759" y="729"/>
                    <a:pt x="759" y="715"/>
                  </a:cubicBezTo>
                  <a:cubicBezTo>
                    <a:pt x="759" y="677"/>
                    <a:pt x="758" y="639"/>
                    <a:pt x="759" y="601"/>
                  </a:cubicBezTo>
                  <a:cubicBezTo>
                    <a:pt x="759" y="571"/>
                    <a:pt x="742" y="540"/>
                    <a:pt x="704" y="538"/>
                  </a:cubicBezTo>
                  <a:cubicBezTo>
                    <a:pt x="681" y="536"/>
                    <a:pt x="661" y="542"/>
                    <a:pt x="646" y="560"/>
                  </a:cubicBezTo>
                  <a:cubicBezTo>
                    <a:pt x="638" y="569"/>
                    <a:pt x="638" y="569"/>
                    <a:pt x="631" y="559"/>
                  </a:cubicBezTo>
                  <a:cubicBezTo>
                    <a:pt x="630" y="558"/>
                    <a:pt x="630" y="557"/>
                    <a:pt x="629" y="556"/>
                  </a:cubicBezTo>
                  <a:cubicBezTo>
                    <a:pt x="623" y="548"/>
                    <a:pt x="616" y="541"/>
                    <a:pt x="607" y="539"/>
                  </a:cubicBezTo>
                  <a:cubicBezTo>
                    <a:pt x="584" y="534"/>
                    <a:pt x="563" y="539"/>
                    <a:pt x="545" y="555"/>
                  </a:cubicBezTo>
                  <a:cubicBezTo>
                    <a:pt x="540" y="559"/>
                    <a:pt x="537" y="561"/>
                    <a:pt x="537" y="552"/>
                  </a:cubicBezTo>
                  <a:cubicBezTo>
                    <a:pt x="536" y="543"/>
                    <a:pt x="526" y="538"/>
                    <a:pt x="515" y="539"/>
                  </a:cubicBezTo>
                  <a:cubicBezTo>
                    <a:pt x="506" y="540"/>
                    <a:pt x="507" y="546"/>
                    <a:pt x="507" y="552"/>
                  </a:cubicBezTo>
                  <a:cubicBezTo>
                    <a:pt x="507" y="580"/>
                    <a:pt x="507" y="607"/>
                    <a:pt x="507" y="634"/>
                  </a:cubicBezTo>
                  <a:cubicBezTo>
                    <a:pt x="507" y="660"/>
                    <a:pt x="507" y="685"/>
                    <a:pt x="507" y="711"/>
                  </a:cubicBezTo>
                  <a:close/>
                  <a:moveTo>
                    <a:pt x="1525" y="1142"/>
                  </a:moveTo>
                  <a:cubicBezTo>
                    <a:pt x="1517" y="1143"/>
                    <a:pt x="1511" y="1141"/>
                    <a:pt x="1505" y="1136"/>
                  </a:cubicBezTo>
                  <a:cubicBezTo>
                    <a:pt x="1501" y="1133"/>
                    <a:pt x="1495" y="1130"/>
                    <a:pt x="1498" y="1124"/>
                  </a:cubicBezTo>
                  <a:cubicBezTo>
                    <a:pt x="1500" y="1118"/>
                    <a:pt x="1504" y="1114"/>
                    <a:pt x="1512" y="1114"/>
                  </a:cubicBezTo>
                  <a:cubicBezTo>
                    <a:pt x="1521" y="1115"/>
                    <a:pt x="1530" y="1114"/>
                    <a:pt x="1538" y="1115"/>
                  </a:cubicBezTo>
                  <a:cubicBezTo>
                    <a:pt x="1573" y="1117"/>
                    <a:pt x="1610" y="1084"/>
                    <a:pt x="1602" y="1044"/>
                  </a:cubicBezTo>
                  <a:cubicBezTo>
                    <a:pt x="1600" y="1035"/>
                    <a:pt x="1599" y="1028"/>
                    <a:pt x="1611" y="1027"/>
                  </a:cubicBezTo>
                  <a:cubicBezTo>
                    <a:pt x="1614" y="1027"/>
                    <a:pt x="1617" y="1024"/>
                    <a:pt x="1619" y="1023"/>
                  </a:cubicBezTo>
                  <a:cubicBezTo>
                    <a:pt x="1626" y="1019"/>
                    <a:pt x="1624" y="1013"/>
                    <a:pt x="1623" y="1008"/>
                  </a:cubicBezTo>
                  <a:cubicBezTo>
                    <a:pt x="1623" y="1002"/>
                    <a:pt x="1618" y="1003"/>
                    <a:pt x="1613" y="1002"/>
                  </a:cubicBezTo>
                  <a:cubicBezTo>
                    <a:pt x="1598" y="1002"/>
                    <a:pt x="1582" y="1004"/>
                    <a:pt x="1567" y="1000"/>
                  </a:cubicBezTo>
                  <a:cubicBezTo>
                    <a:pt x="1560" y="999"/>
                    <a:pt x="1554" y="993"/>
                    <a:pt x="1546" y="993"/>
                  </a:cubicBezTo>
                  <a:cubicBezTo>
                    <a:pt x="1536" y="994"/>
                    <a:pt x="1525" y="992"/>
                    <a:pt x="1515" y="993"/>
                  </a:cubicBezTo>
                  <a:cubicBezTo>
                    <a:pt x="1490" y="997"/>
                    <a:pt x="1469" y="1010"/>
                    <a:pt x="1462" y="1034"/>
                  </a:cubicBezTo>
                  <a:cubicBezTo>
                    <a:pt x="1455" y="1056"/>
                    <a:pt x="1457" y="1079"/>
                    <a:pt x="1476" y="1096"/>
                  </a:cubicBezTo>
                  <a:cubicBezTo>
                    <a:pt x="1483" y="1103"/>
                    <a:pt x="1483" y="1107"/>
                    <a:pt x="1476" y="1113"/>
                  </a:cubicBezTo>
                  <a:cubicBezTo>
                    <a:pt x="1462" y="1126"/>
                    <a:pt x="1462" y="1142"/>
                    <a:pt x="1473" y="1157"/>
                  </a:cubicBezTo>
                  <a:cubicBezTo>
                    <a:pt x="1476" y="1160"/>
                    <a:pt x="1476" y="1162"/>
                    <a:pt x="1472" y="1164"/>
                  </a:cubicBezTo>
                  <a:cubicBezTo>
                    <a:pt x="1470" y="1166"/>
                    <a:pt x="1468" y="1168"/>
                    <a:pt x="1466" y="1170"/>
                  </a:cubicBezTo>
                  <a:cubicBezTo>
                    <a:pt x="1449" y="1183"/>
                    <a:pt x="1444" y="1201"/>
                    <a:pt x="1454" y="1218"/>
                  </a:cubicBezTo>
                  <a:cubicBezTo>
                    <a:pt x="1464" y="1235"/>
                    <a:pt x="1479" y="1246"/>
                    <a:pt x="1499" y="1249"/>
                  </a:cubicBezTo>
                  <a:cubicBezTo>
                    <a:pt x="1517" y="1252"/>
                    <a:pt x="1535" y="1253"/>
                    <a:pt x="1553" y="1250"/>
                  </a:cubicBezTo>
                  <a:cubicBezTo>
                    <a:pt x="1584" y="1245"/>
                    <a:pt x="1607" y="1232"/>
                    <a:pt x="1619" y="1200"/>
                  </a:cubicBezTo>
                  <a:cubicBezTo>
                    <a:pt x="1627" y="1180"/>
                    <a:pt x="1611" y="1155"/>
                    <a:pt x="1593" y="1148"/>
                  </a:cubicBezTo>
                  <a:cubicBezTo>
                    <a:pt x="1578" y="1142"/>
                    <a:pt x="1563" y="1143"/>
                    <a:pt x="1549" y="1142"/>
                  </a:cubicBezTo>
                  <a:cubicBezTo>
                    <a:pt x="1540" y="1142"/>
                    <a:pt x="1532" y="1142"/>
                    <a:pt x="1525" y="1142"/>
                  </a:cubicBezTo>
                  <a:close/>
                  <a:moveTo>
                    <a:pt x="1556" y="1172"/>
                  </a:moveTo>
                  <a:cubicBezTo>
                    <a:pt x="1566" y="1172"/>
                    <a:pt x="1576" y="1176"/>
                    <a:pt x="1583" y="1183"/>
                  </a:cubicBezTo>
                  <a:cubicBezTo>
                    <a:pt x="1589" y="1190"/>
                    <a:pt x="1589" y="1198"/>
                    <a:pt x="1583" y="1205"/>
                  </a:cubicBezTo>
                  <a:cubicBezTo>
                    <a:pt x="1575" y="1215"/>
                    <a:pt x="1565" y="1220"/>
                    <a:pt x="1553" y="1223"/>
                  </a:cubicBezTo>
                  <a:cubicBezTo>
                    <a:pt x="1534" y="1228"/>
                    <a:pt x="1516" y="1225"/>
                    <a:pt x="1499" y="1219"/>
                  </a:cubicBezTo>
                  <a:cubicBezTo>
                    <a:pt x="1486" y="1214"/>
                    <a:pt x="1479" y="1203"/>
                    <a:pt x="1482" y="1193"/>
                  </a:cubicBezTo>
                  <a:cubicBezTo>
                    <a:pt x="1485" y="1182"/>
                    <a:pt x="1496" y="1168"/>
                    <a:pt x="1514" y="1171"/>
                  </a:cubicBezTo>
                  <a:cubicBezTo>
                    <a:pt x="1526" y="1173"/>
                    <a:pt x="1541" y="1171"/>
                    <a:pt x="1556" y="1172"/>
                  </a:cubicBezTo>
                  <a:close/>
                  <a:moveTo>
                    <a:pt x="1531" y="1019"/>
                  </a:moveTo>
                  <a:cubicBezTo>
                    <a:pt x="1553" y="1017"/>
                    <a:pt x="1570" y="1033"/>
                    <a:pt x="1570" y="1052"/>
                  </a:cubicBezTo>
                  <a:cubicBezTo>
                    <a:pt x="1570" y="1075"/>
                    <a:pt x="1554" y="1093"/>
                    <a:pt x="1532" y="1091"/>
                  </a:cubicBezTo>
                  <a:cubicBezTo>
                    <a:pt x="1508" y="1089"/>
                    <a:pt x="1494" y="1082"/>
                    <a:pt x="1493" y="1053"/>
                  </a:cubicBezTo>
                  <a:cubicBezTo>
                    <a:pt x="1494" y="1029"/>
                    <a:pt x="1508" y="1020"/>
                    <a:pt x="1531" y="1019"/>
                  </a:cubicBezTo>
                  <a:close/>
                  <a:moveTo>
                    <a:pt x="1413" y="934"/>
                  </a:moveTo>
                  <a:cubicBezTo>
                    <a:pt x="1413" y="909"/>
                    <a:pt x="1413" y="909"/>
                    <a:pt x="1389" y="910"/>
                  </a:cubicBezTo>
                  <a:cubicBezTo>
                    <a:pt x="1388" y="910"/>
                    <a:pt x="1387" y="910"/>
                    <a:pt x="1387" y="910"/>
                  </a:cubicBezTo>
                  <a:cubicBezTo>
                    <a:pt x="1379" y="910"/>
                    <a:pt x="1376" y="915"/>
                    <a:pt x="1376" y="921"/>
                  </a:cubicBezTo>
                  <a:cubicBezTo>
                    <a:pt x="1376" y="939"/>
                    <a:pt x="1377" y="956"/>
                    <a:pt x="1377" y="974"/>
                  </a:cubicBezTo>
                  <a:cubicBezTo>
                    <a:pt x="1377" y="983"/>
                    <a:pt x="1377" y="991"/>
                    <a:pt x="1377" y="1000"/>
                  </a:cubicBezTo>
                  <a:cubicBezTo>
                    <a:pt x="1377" y="1005"/>
                    <a:pt x="1374" y="1009"/>
                    <a:pt x="1369" y="1005"/>
                  </a:cubicBezTo>
                  <a:cubicBezTo>
                    <a:pt x="1352" y="990"/>
                    <a:pt x="1332" y="993"/>
                    <a:pt x="1312" y="993"/>
                  </a:cubicBezTo>
                  <a:cubicBezTo>
                    <a:pt x="1303" y="994"/>
                    <a:pt x="1294" y="998"/>
                    <a:pt x="1287" y="1003"/>
                  </a:cubicBezTo>
                  <a:cubicBezTo>
                    <a:pt x="1265" y="1017"/>
                    <a:pt x="1252" y="1039"/>
                    <a:pt x="1248" y="1065"/>
                  </a:cubicBezTo>
                  <a:cubicBezTo>
                    <a:pt x="1244" y="1096"/>
                    <a:pt x="1244" y="1128"/>
                    <a:pt x="1261" y="1157"/>
                  </a:cubicBezTo>
                  <a:cubicBezTo>
                    <a:pt x="1270" y="1170"/>
                    <a:pt x="1281" y="1181"/>
                    <a:pt x="1296" y="1185"/>
                  </a:cubicBezTo>
                  <a:cubicBezTo>
                    <a:pt x="1323" y="1191"/>
                    <a:pt x="1349" y="1188"/>
                    <a:pt x="1370" y="1167"/>
                  </a:cubicBezTo>
                  <a:cubicBezTo>
                    <a:pt x="1372" y="1165"/>
                    <a:pt x="1375" y="1162"/>
                    <a:pt x="1379" y="1163"/>
                  </a:cubicBezTo>
                  <a:cubicBezTo>
                    <a:pt x="1382" y="1165"/>
                    <a:pt x="1381" y="1169"/>
                    <a:pt x="1381" y="1172"/>
                  </a:cubicBezTo>
                  <a:cubicBezTo>
                    <a:pt x="1383" y="1181"/>
                    <a:pt x="1390" y="1186"/>
                    <a:pt x="1403" y="1186"/>
                  </a:cubicBezTo>
                  <a:cubicBezTo>
                    <a:pt x="1413" y="1185"/>
                    <a:pt x="1413" y="1178"/>
                    <a:pt x="1413" y="1172"/>
                  </a:cubicBezTo>
                  <a:cubicBezTo>
                    <a:pt x="1413" y="1131"/>
                    <a:pt x="1413" y="1090"/>
                    <a:pt x="1413" y="1049"/>
                  </a:cubicBezTo>
                  <a:cubicBezTo>
                    <a:pt x="1413" y="1010"/>
                    <a:pt x="1413" y="972"/>
                    <a:pt x="1413" y="934"/>
                  </a:cubicBezTo>
                  <a:close/>
                  <a:moveTo>
                    <a:pt x="1378" y="1113"/>
                  </a:moveTo>
                  <a:cubicBezTo>
                    <a:pt x="1378" y="1136"/>
                    <a:pt x="1360" y="1155"/>
                    <a:pt x="1337" y="1157"/>
                  </a:cubicBezTo>
                  <a:cubicBezTo>
                    <a:pt x="1319" y="1159"/>
                    <a:pt x="1304" y="1154"/>
                    <a:pt x="1294" y="1139"/>
                  </a:cubicBezTo>
                  <a:cubicBezTo>
                    <a:pt x="1286" y="1128"/>
                    <a:pt x="1283" y="1116"/>
                    <a:pt x="1283" y="1102"/>
                  </a:cubicBezTo>
                  <a:cubicBezTo>
                    <a:pt x="1282" y="1085"/>
                    <a:pt x="1282" y="1067"/>
                    <a:pt x="1290" y="1051"/>
                  </a:cubicBezTo>
                  <a:cubicBezTo>
                    <a:pt x="1297" y="1036"/>
                    <a:pt x="1308" y="1024"/>
                    <a:pt x="1325" y="1022"/>
                  </a:cubicBezTo>
                  <a:cubicBezTo>
                    <a:pt x="1342" y="1020"/>
                    <a:pt x="1358" y="1021"/>
                    <a:pt x="1371" y="1035"/>
                  </a:cubicBezTo>
                  <a:cubicBezTo>
                    <a:pt x="1376" y="1041"/>
                    <a:pt x="1378" y="1046"/>
                    <a:pt x="1378" y="1052"/>
                  </a:cubicBezTo>
                  <a:cubicBezTo>
                    <a:pt x="1378" y="1064"/>
                    <a:pt x="1378" y="1075"/>
                    <a:pt x="1378" y="1086"/>
                  </a:cubicBezTo>
                  <a:cubicBezTo>
                    <a:pt x="1378" y="1086"/>
                    <a:pt x="1378" y="1086"/>
                    <a:pt x="1378" y="1086"/>
                  </a:cubicBezTo>
                  <a:cubicBezTo>
                    <a:pt x="1378" y="1095"/>
                    <a:pt x="1378" y="1104"/>
                    <a:pt x="1378" y="1113"/>
                  </a:cubicBezTo>
                  <a:close/>
                  <a:moveTo>
                    <a:pt x="578" y="259"/>
                  </a:moveTo>
                  <a:cubicBezTo>
                    <a:pt x="603" y="241"/>
                    <a:pt x="611" y="213"/>
                    <a:pt x="614" y="183"/>
                  </a:cubicBezTo>
                  <a:cubicBezTo>
                    <a:pt x="615" y="171"/>
                    <a:pt x="610" y="159"/>
                    <a:pt x="609" y="147"/>
                  </a:cubicBezTo>
                  <a:cubicBezTo>
                    <a:pt x="608" y="137"/>
                    <a:pt x="603" y="129"/>
                    <a:pt x="599" y="121"/>
                  </a:cubicBezTo>
                  <a:cubicBezTo>
                    <a:pt x="579" y="87"/>
                    <a:pt x="527" y="70"/>
                    <a:pt x="488" y="85"/>
                  </a:cubicBezTo>
                  <a:cubicBezTo>
                    <a:pt x="453" y="99"/>
                    <a:pt x="436" y="127"/>
                    <a:pt x="431" y="163"/>
                  </a:cubicBezTo>
                  <a:cubicBezTo>
                    <a:pt x="429" y="180"/>
                    <a:pt x="430" y="196"/>
                    <a:pt x="436" y="213"/>
                  </a:cubicBezTo>
                  <a:cubicBezTo>
                    <a:pt x="439" y="222"/>
                    <a:pt x="442" y="232"/>
                    <a:pt x="447" y="239"/>
                  </a:cubicBezTo>
                  <a:cubicBezTo>
                    <a:pt x="465" y="265"/>
                    <a:pt x="491" y="277"/>
                    <a:pt x="525" y="276"/>
                  </a:cubicBezTo>
                  <a:cubicBezTo>
                    <a:pt x="543" y="278"/>
                    <a:pt x="562" y="271"/>
                    <a:pt x="578" y="259"/>
                  </a:cubicBezTo>
                  <a:close/>
                  <a:moveTo>
                    <a:pt x="471" y="205"/>
                  </a:moveTo>
                  <a:cubicBezTo>
                    <a:pt x="466" y="185"/>
                    <a:pt x="468" y="167"/>
                    <a:pt x="472" y="147"/>
                  </a:cubicBezTo>
                  <a:cubicBezTo>
                    <a:pt x="477" y="130"/>
                    <a:pt x="493" y="116"/>
                    <a:pt x="509" y="112"/>
                  </a:cubicBezTo>
                  <a:cubicBezTo>
                    <a:pt x="525" y="108"/>
                    <a:pt x="539" y="110"/>
                    <a:pt x="553" y="119"/>
                  </a:cubicBezTo>
                  <a:cubicBezTo>
                    <a:pt x="563" y="125"/>
                    <a:pt x="568" y="135"/>
                    <a:pt x="571" y="146"/>
                  </a:cubicBezTo>
                  <a:cubicBezTo>
                    <a:pt x="577" y="167"/>
                    <a:pt x="578" y="189"/>
                    <a:pt x="571" y="211"/>
                  </a:cubicBezTo>
                  <a:cubicBezTo>
                    <a:pt x="565" y="231"/>
                    <a:pt x="549" y="249"/>
                    <a:pt x="521" y="247"/>
                  </a:cubicBezTo>
                  <a:cubicBezTo>
                    <a:pt x="496" y="247"/>
                    <a:pt x="478" y="230"/>
                    <a:pt x="471" y="205"/>
                  </a:cubicBezTo>
                  <a:close/>
                  <a:moveTo>
                    <a:pt x="472" y="1122"/>
                  </a:moveTo>
                  <a:cubicBezTo>
                    <a:pt x="475" y="1136"/>
                    <a:pt x="481" y="1148"/>
                    <a:pt x="491" y="1158"/>
                  </a:cubicBezTo>
                  <a:cubicBezTo>
                    <a:pt x="506" y="1176"/>
                    <a:pt x="524" y="1185"/>
                    <a:pt x="548" y="1187"/>
                  </a:cubicBezTo>
                  <a:cubicBezTo>
                    <a:pt x="568" y="1188"/>
                    <a:pt x="587" y="1187"/>
                    <a:pt x="605" y="1177"/>
                  </a:cubicBezTo>
                  <a:cubicBezTo>
                    <a:pt x="632" y="1162"/>
                    <a:pt x="644" y="1136"/>
                    <a:pt x="649" y="1107"/>
                  </a:cubicBezTo>
                  <a:cubicBezTo>
                    <a:pt x="652" y="1089"/>
                    <a:pt x="649" y="1072"/>
                    <a:pt x="644" y="1054"/>
                  </a:cubicBezTo>
                  <a:cubicBezTo>
                    <a:pt x="638" y="1034"/>
                    <a:pt x="627" y="1019"/>
                    <a:pt x="610" y="1007"/>
                  </a:cubicBezTo>
                  <a:cubicBezTo>
                    <a:pt x="589" y="992"/>
                    <a:pt x="566" y="991"/>
                    <a:pt x="541" y="994"/>
                  </a:cubicBezTo>
                  <a:cubicBezTo>
                    <a:pt x="526" y="995"/>
                    <a:pt x="512" y="1002"/>
                    <a:pt x="500" y="1012"/>
                  </a:cubicBezTo>
                  <a:cubicBezTo>
                    <a:pt x="476" y="1032"/>
                    <a:pt x="469" y="1060"/>
                    <a:pt x="466" y="1095"/>
                  </a:cubicBezTo>
                  <a:cubicBezTo>
                    <a:pt x="465" y="1101"/>
                    <a:pt x="470" y="1111"/>
                    <a:pt x="472" y="1122"/>
                  </a:cubicBezTo>
                  <a:close/>
                  <a:moveTo>
                    <a:pt x="508" y="1113"/>
                  </a:moveTo>
                  <a:cubicBezTo>
                    <a:pt x="505" y="1095"/>
                    <a:pt x="506" y="1078"/>
                    <a:pt x="508" y="1061"/>
                  </a:cubicBezTo>
                  <a:cubicBezTo>
                    <a:pt x="511" y="1042"/>
                    <a:pt x="538" y="1021"/>
                    <a:pt x="554" y="1022"/>
                  </a:cubicBezTo>
                  <a:cubicBezTo>
                    <a:pt x="570" y="1022"/>
                    <a:pt x="586" y="1024"/>
                    <a:pt x="596" y="1037"/>
                  </a:cubicBezTo>
                  <a:cubicBezTo>
                    <a:pt x="602" y="1044"/>
                    <a:pt x="607" y="1052"/>
                    <a:pt x="608" y="1061"/>
                  </a:cubicBezTo>
                  <a:cubicBezTo>
                    <a:pt x="608" y="1064"/>
                    <a:pt x="609" y="1067"/>
                    <a:pt x="610" y="1070"/>
                  </a:cubicBezTo>
                  <a:cubicBezTo>
                    <a:pt x="618" y="1089"/>
                    <a:pt x="612" y="1107"/>
                    <a:pt x="607" y="1125"/>
                  </a:cubicBezTo>
                  <a:cubicBezTo>
                    <a:pt x="601" y="1143"/>
                    <a:pt x="588" y="1160"/>
                    <a:pt x="558" y="1157"/>
                  </a:cubicBezTo>
                  <a:cubicBezTo>
                    <a:pt x="530" y="1157"/>
                    <a:pt x="512" y="1141"/>
                    <a:pt x="508" y="1113"/>
                  </a:cubicBezTo>
                  <a:close/>
                  <a:moveTo>
                    <a:pt x="430" y="716"/>
                  </a:moveTo>
                  <a:cubicBezTo>
                    <a:pt x="450" y="703"/>
                    <a:pt x="459" y="683"/>
                    <a:pt x="464" y="661"/>
                  </a:cubicBezTo>
                  <a:cubicBezTo>
                    <a:pt x="468" y="648"/>
                    <a:pt x="467" y="635"/>
                    <a:pt x="466" y="621"/>
                  </a:cubicBezTo>
                  <a:cubicBezTo>
                    <a:pt x="463" y="592"/>
                    <a:pt x="453" y="567"/>
                    <a:pt x="427" y="550"/>
                  </a:cubicBezTo>
                  <a:cubicBezTo>
                    <a:pt x="401" y="534"/>
                    <a:pt x="372" y="532"/>
                    <a:pt x="345" y="541"/>
                  </a:cubicBezTo>
                  <a:cubicBezTo>
                    <a:pt x="310" y="552"/>
                    <a:pt x="291" y="580"/>
                    <a:pt x="287" y="617"/>
                  </a:cubicBezTo>
                  <a:cubicBezTo>
                    <a:pt x="286" y="629"/>
                    <a:pt x="286" y="641"/>
                    <a:pt x="287" y="654"/>
                  </a:cubicBezTo>
                  <a:cubicBezTo>
                    <a:pt x="289" y="671"/>
                    <a:pt x="295" y="686"/>
                    <a:pt x="306" y="700"/>
                  </a:cubicBezTo>
                  <a:cubicBezTo>
                    <a:pt x="324" y="722"/>
                    <a:pt x="348" y="733"/>
                    <a:pt x="378" y="731"/>
                  </a:cubicBezTo>
                  <a:cubicBezTo>
                    <a:pt x="396" y="733"/>
                    <a:pt x="414" y="727"/>
                    <a:pt x="430" y="716"/>
                  </a:cubicBezTo>
                  <a:close/>
                  <a:moveTo>
                    <a:pt x="331" y="592"/>
                  </a:moveTo>
                  <a:cubicBezTo>
                    <a:pt x="339" y="580"/>
                    <a:pt x="349" y="569"/>
                    <a:pt x="365" y="567"/>
                  </a:cubicBezTo>
                  <a:cubicBezTo>
                    <a:pt x="387" y="564"/>
                    <a:pt x="406" y="568"/>
                    <a:pt x="419" y="588"/>
                  </a:cubicBezTo>
                  <a:cubicBezTo>
                    <a:pt x="423" y="595"/>
                    <a:pt x="426" y="603"/>
                    <a:pt x="427" y="610"/>
                  </a:cubicBezTo>
                  <a:cubicBezTo>
                    <a:pt x="433" y="635"/>
                    <a:pt x="431" y="661"/>
                    <a:pt x="416" y="684"/>
                  </a:cubicBezTo>
                  <a:cubicBezTo>
                    <a:pt x="403" y="706"/>
                    <a:pt x="362" y="708"/>
                    <a:pt x="345" y="692"/>
                  </a:cubicBezTo>
                  <a:cubicBezTo>
                    <a:pt x="329" y="678"/>
                    <a:pt x="323" y="661"/>
                    <a:pt x="323" y="631"/>
                  </a:cubicBezTo>
                  <a:cubicBezTo>
                    <a:pt x="323" y="619"/>
                    <a:pt x="323" y="605"/>
                    <a:pt x="331" y="592"/>
                  </a:cubicBezTo>
                  <a:close/>
                  <a:moveTo>
                    <a:pt x="1073" y="259"/>
                  </a:moveTo>
                  <a:cubicBezTo>
                    <a:pt x="1073" y="269"/>
                    <a:pt x="1075" y="272"/>
                    <a:pt x="1086" y="272"/>
                  </a:cubicBezTo>
                  <a:cubicBezTo>
                    <a:pt x="1088" y="272"/>
                    <a:pt x="1090" y="272"/>
                    <a:pt x="1092" y="272"/>
                  </a:cubicBezTo>
                  <a:cubicBezTo>
                    <a:pt x="1105" y="272"/>
                    <a:pt x="1106" y="271"/>
                    <a:pt x="1106" y="258"/>
                  </a:cubicBezTo>
                  <a:cubicBezTo>
                    <a:pt x="1106" y="221"/>
                    <a:pt x="1106" y="184"/>
                    <a:pt x="1106" y="147"/>
                  </a:cubicBezTo>
                  <a:cubicBezTo>
                    <a:pt x="1106" y="143"/>
                    <a:pt x="1106" y="140"/>
                    <a:pt x="1107" y="137"/>
                  </a:cubicBezTo>
                  <a:cubicBezTo>
                    <a:pt x="1117" y="117"/>
                    <a:pt x="1157" y="104"/>
                    <a:pt x="1177" y="114"/>
                  </a:cubicBezTo>
                  <a:cubicBezTo>
                    <a:pt x="1179" y="115"/>
                    <a:pt x="1180" y="117"/>
                    <a:pt x="1182" y="118"/>
                  </a:cubicBezTo>
                  <a:cubicBezTo>
                    <a:pt x="1194" y="131"/>
                    <a:pt x="1196" y="147"/>
                    <a:pt x="1196" y="163"/>
                  </a:cubicBezTo>
                  <a:cubicBezTo>
                    <a:pt x="1197" y="195"/>
                    <a:pt x="1196" y="226"/>
                    <a:pt x="1196" y="258"/>
                  </a:cubicBezTo>
                  <a:cubicBezTo>
                    <a:pt x="1196" y="271"/>
                    <a:pt x="1197" y="272"/>
                    <a:pt x="1210" y="272"/>
                  </a:cubicBezTo>
                  <a:cubicBezTo>
                    <a:pt x="1212" y="272"/>
                    <a:pt x="1213" y="272"/>
                    <a:pt x="1215" y="272"/>
                  </a:cubicBezTo>
                  <a:cubicBezTo>
                    <a:pt x="1227" y="272"/>
                    <a:pt x="1229" y="270"/>
                    <a:pt x="1229" y="258"/>
                  </a:cubicBezTo>
                  <a:cubicBezTo>
                    <a:pt x="1229" y="222"/>
                    <a:pt x="1229" y="187"/>
                    <a:pt x="1229" y="151"/>
                  </a:cubicBezTo>
                  <a:cubicBezTo>
                    <a:pt x="1229" y="142"/>
                    <a:pt x="1228" y="132"/>
                    <a:pt x="1225" y="123"/>
                  </a:cubicBezTo>
                  <a:cubicBezTo>
                    <a:pt x="1219" y="105"/>
                    <a:pt x="1208" y="91"/>
                    <a:pt x="1189" y="85"/>
                  </a:cubicBezTo>
                  <a:cubicBezTo>
                    <a:pt x="1173" y="80"/>
                    <a:pt x="1156" y="84"/>
                    <a:pt x="1139" y="84"/>
                  </a:cubicBezTo>
                  <a:cubicBezTo>
                    <a:pt x="1137" y="84"/>
                    <a:pt x="1136" y="86"/>
                    <a:pt x="1134" y="87"/>
                  </a:cubicBezTo>
                  <a:cubicBezTo>
                    <a:pt x="1128" y="91"/>
                    <a:pt x="1121" y="96"/>
                    <a:pt x="1115" y="100"/>
                  </a:cubicBezTo>
                  <a:cubicBezTo>
                    <a:pt x="1113" y="102"/>
                    <a:pt x="1111" y="105"/>
                    <a:pt x="1108" y="103"/>
                  </a:cubicBezTo>
                  <a:cubicBezTo>
                    <a:pt x="1105" y="102"/>
                    <a:pt x="1106" y="98"/>
                    <a:pt x="1106" y="96"/>
                  </a:cubicBezTo>
                  <a:cubicBezTo>
                    <a:pt x="1106" y="69"/>
                    <a:pt x="1106" y="43"/>
                    <a:pt x="1106" y="17"/>
                  </a:cubicBezTo>
                  <a:cubicBezTo>
                    <a:pt x="1106" y="0"/>
                    <a:pt x="1106" y="0"/>
                    <a:pt x="1089" y="0"/>
                  </a:cubicBezTo>
                  <a:cubicBezTo>
                    <a:pt x="1074" y="0"/>
                    <a:pt x="1073" y="1"/>
                    <a:pt x="1073" y="16"/>
                  </a:cubicBezTo>
                  <a:cubicBezTo>
                    <a:pt x="1073" y="56"/>
                    <a:pt x="1073" y="96"/>
                    <a:pt x="1073" y="136"/>
                  </a:cubicBezTo>
                  <a:cubicBezTo>
                    <a:pt x="1073" y="177"/>
                    <a:pt x="1073" y="218"/>
                    <a:pt x="1073" y="259"/>
                  </a:cubicBezTo>
                  <a:close/>
                  <a:moveTo>
                    <a:pt x="1150" y="1092"/>
                  </a:moveTo>
                  <a:cubicBezTo>
                    <a:pt x="1168" y="1092"/>
                    <a:pt x="1186" y="1092"/>
                    <a:pt x="1204" y="1092"/>
                  </a:cubicBezTo>
                  <a:cubicBezTo>
                    <a:pt x="1215" y="1092"/>
                    <a:pt x="1218" y="1087"/>
                    <a:pt x="1219" y="1077"/>
                  </a:cubicBezTo>
                  <a:cubicBezTo>
                    <a:pt x="1220" y="1062"/>
                    <a:pt x="1216" y="1049"/>
                    <a:pt x="1210" y="1036"/>
                  </a:cubicBezTo>
                  <a:cubicBezTo>
                    <a:pt x="1204" y="1020"/>
                    <a:pt x="1193" y="1008"/>
                    <a:pt x="1177" y="1001"/>
                  </a:cubicBezTo>
                  <a:cubicBezTo>
                    <a:pt x="1155" y="992"/>
                    <a:pt x="1133" y="991"/>
                    <a:pt x="1109" y="999"/>
                  </a:cubicBezTo>
                  <a:cubicBezTo>
                    <a:pt x="1079" y="1010"/>
                    <a:pt x="1062" y="1031"/>
                    <a:pt x="1056" y="1061"/>
                  </a:cubicBezTo>
                  <a:cubicBezTo>
                    <a:pt x="1051" y="1090"/>
                    <a:pt x="1052" y="1120"/>
                    <a:pt x="1069" y="1148"/>
                  </a:cubicBezTo>
                  <a:cubicBezTo>
                    <a:pt x="1081" y="1169"/>
                    <a:pt x="1100" y="1180"/>
                    <a:pt x="1122" y="1185"/>
                  </a:cubicBezTo>
                  <a:cubicBezTo>
                    <a:pt x="1149" y="1190"/>
                    <a:pt x="1176" y="1186"/>
                    <a:pt x="1200" y="1171"/>
                  </a:cubicBezTo>
                  <a:cubicBezTo>
                    <a:pt x="1206" y="1168"/>
                    <a:pt x="1213" y="1165"/>
                    <a:pt x="1214" y="1157"/>
                  </a:cubicBezTo>
                  <a:cubicBezTo>
                    <a:pt x="1215" y="1147"/>
                    <a:pt x="1202" y="1139"/>
                    <a:pt x="1193" y="1144"/>
                  </a:cubicBezTo>
                  <a:cubicBezTo>
                    <a:pt x="1187" y="1147"/>
                    <a:pt x="1180" y="1150"/>
                    <a:pt x="1174" y="1153"/>
                  </a:cubicBezTo>
                  <a:cubicBezTo>
                    <a:pt x="1158" y="1161"/>
                    <a:pt x="1140" y="1161"/>
                    <a:pt x="1124" y="1155"/>
                  </a:cubicBezTo>
                  <a:cubicBezTo>
                    <a:pt x="1112" y="1151"/>
                    <a:pt x="1102" y="1142"/>
                    <a:pt x="1096" y="1129"/>
                  </a:cubicBezTo>
                  <a:cubicBezTo>
                    <a:pt x="1092" y="1121"/>
                    <a:pt x="1091" y="1112"/>
                    <a:pt x="1089" y="1104"/>
                  </a:cubicBezTo>
                  <a:cubicBezTo>
                    <a:pt x="1087" y="1093"/>
                    <a:pt x="1087" y="1092"/>
                    <a:pt x="1099" y="1092"/>
                  </a:cubicBezTo>
                  <a:cubicBezTo>
                    <a:pt x="1116" y="1092"/>
                    <a:pt x="1133" y="1092"/>
                    <a:pt x="1150" y="1092"/>
                  </a:cubicBezTo>
                  <a:cubicBezTo>
                    <a:pt x="1150" y="1092"/>
                    <a:pt x="1150" y="1092"/>
                    <a:pt x="1150" y="1092"/>
                  </a:cubicBezTo>
                  <a:close/>
                  <a:moveTo>
                    <a:pt x="1099" y="1070"/>
                  </a:moveTo>
                  <a:cubicBezTo>
                    <a:pt x="1092" y="1071"/>
                    <a:pt x="1089" y="1067"/>
                    <a:pt x="1091" y="1060"/>
                  </a:cubicBezTo>
                  <a:cubicBezTo>
                    <a:pt x="1094" y="1045"/>
                    <a:pt x="1108" y="1023"/>
                    <a:pt x="1128" y="1022"/>
                  </a:cubicBezTo>
                  <a:cubicBezTo>
                    <a:pt x="1142" y="1021"/>
                    <a:pt x="1156" y="1018"/>
                    <a:pt x="1168" y="1029"/>
                  </a:cubicBezTo>
                  <a:cubicBezTo>
                    <a:pt x="1181" y="1038"/>
                    <a:pt x="1185" y="1051"/>
                    <a:pt x="1187" y="1066"/>
                  </a:cubicBezTo>
                  <a:cubicBezTo>
                    <a:pt x="1188" y="1071"/>
                    <a:pt x="1183" y="1070"/>
                    <a:pt x="1180" y="1070"/>
                  </a:cubicBezTo>
                  <a:cubicBezTo>
                    <a:pt x="1166" y="1070"/>
                    <a:pt x="1153" y="1070"/>
                    <a:pt x="1139" y="1070"/>
                  </a:cubicBezTo>
                  <a:cubicBezTo>
                    <a:pt x="1139" y="1070"/>
                    <a:pt x="1139" y="1070"/>
                    <a:pt x="1139" y="1070"/>
                  </a:cubicBezTo>
                  <a:cubicBezTo>
                    <a:pt x="1126" y="1070"/>
                    <a:pt x="1113" y="1070"/>
                    <a:pt x="1099" y="1070"/>
                  </a:cubicBezTo>
                  <a:close/>
                  <a:moveTo>
                    <a:pt x="1741" y="1092"/>
                  </a:moveTo>
                  <a:cubicBezTo>
                    <a:pt x="1759" y="1092"/>
                    <a:pt x="1776" y="1092"/>
                    <a:pt x="1793" y="1092"/>
                  </a:cubicBezTo>
                  <a:cubicBezTo>
                    <a:pt x="1806" y="1092"/>
                    <a:pt x="1808" y="1089"/>
                    <a:pt x="1808" y="1076"/>
                  </a:cubicBezTo>
                  <a:cubicBezTo>
                    <a:pt x="1809" y="1063"/>
                    <a:pt x="1807" y="1051"/>
                    <a:pt x="1802" y="1038"/>
                  </a:cubicBezTo>
                  <a:cubicBezTo>
                    <a:pt x="1794" y="1021"/>
                    <a:pt x="1782" y="1008"/>
                    <a:pt x="1764" y="1000"/>
                  </a:cubicBezTo>
                  <a:cubicBezTo>
                    <a:pt x="1742" y="991"/>
                    <a:pt x="1720" y="991"/>
                    <a:pt x="1698" y="1000"/>
                  </a:cubicBezTo>
                  <a:cubicBezTo>
                    <a:pt x="1681" y="1006"/>
                    <a:pt x="1668" y="1016"/>
                    <a:pt x="1659" y="1031"/>
                  </a:cubicBezTo>
                  <a:cubicBezTo>
                    <a:pt x="1646" y="1050"/>
                    <a:pt x="1643" y="1071"/>
                    <a:pt x="1644" y="1094"/>
                  </a:cubicBezTo>
                  <a:cubicBezTo>
                    <a:pt x="1644" y="1110"/>
                    <a:pt x="1647" y="1127"/>
                    <a:pt x="1655" y="1141"/>
                  </a:cubicBezTo>
                  <a:cubicBezTo>
                    <a:pt x="1669" y="1168"/>
                    <a:pt x="1691" y="1183"/>
                    <a:pt x="1722" y="1186"/>
                  </a:cubicBezTo>
                  <a:cubicBezTo>
                    <a:pt x="1750" y="1188"/>
                    <a:pt x="1775" y="1183"/>
                    <a:pt x="1798" y="1165"/>
                  </a:cubicBezTo>
                  <a:cubicBezTo>
                    <a:pt x="1803" y="1161"/>
                    <a:pt x="1806" y="1157"/>
                    <a:pt x="1802" y="1151"/>
                  </a:cubicBezTo>
                  <a:cubicBezTo>
                    <a:pt x="1798" y="1144"/>
                    <a:pt x="1791" y="1140"/>
                    <a:pt x="1783" y="1144"/>
                  </a:cubicBezTo>
                  <a:cubicBezTo>
                    <a:pt x="1778" y="1147"/>
                    <a:pt x="1771" y="1149"/>
                    <a:pt x="1766" y="1152"/>
                  </a:cubicBezTo>
                  <a:cubicBezTo>
                    <a:pt x="1749" y="1161"/>
                    <a:pt x="1730" y="1162"/>
                    <a:pt x="1714" y="1155"/>
                  </a:cubicBezTo>
                  <a:cubicBezTo>
                    <a:pt x="1692" y="1145"/>
                    <a:pt x="1680" y="1127"/>
                    <a:pt x="1679" y="1102"/>
                  </a:cubicBezTo>
                  <a:cubicBezTo>
                    <a:pt x="1678" y="1095"/>
                    <a:pt x="1681" y="1092"/>
                    <a:pt x="1689" y="1092"/>
                  </a:cubicBezTo>
                  <a:cubicBezTo>
                    <a:pt x="1706" y="1092"/>
                    <a:pt x="1724" y="1092"/>
                    <a:pt x="1741" y="1092"/>
                  </a:cubicBezTo>
                  <a:cubicBezTo>
                    <a:pt x="1741" y="1092"/>
                    <a:pt x="1741" y="1092"/>
                    <a:pt x="1741" y="1092"/>
                  </a:cubicBezTo>
                  <a:close/>
                  <a:moveTo>
                    <a:pt x="1690" y="1070"/>
                  </a:moveTo>
                  <a:cubicBezTo>
                    <a:pt x="1683" y="1071"/>
                    <a:pt x="1680" y="1068"/>
                    <a:pt x="1681" y="1062"/>
                  </a:cubicBezTo>
                  <a:cubicBezTo>
                    <a:pt x="1683" y="1048"/>
                    <a:pt x="1697" y="1024"/>
                    <a:pt x="1716" y="1022"/>
                  </a:cubicBezTo>
                  <a:cubicBezTo>
                    <a:pt x="1731" y="1020"/>
                    <a:pt x="1747" y="1018"/>
                    <a:pt x="1760" y="1030"/>
                  </a:cubicBezTo>
                  <a:cubicBezTo>
                    <a:pt x="1771" y="1038"/>
                    <a:pt x="1775" y="1050"/>
                    <a:pt x="1778" y="1062"/>
                  </a:cubicBezTo>
                  <a:cubicBezTo>
                    <a:pt x="1780" y="1068"/>
                    <a:pt x="1775" y="1070"/>
                    <a:pt x="1769" y="1070"/>
                  </a:cubicBezTo>
                  <a:cubicBezTo>
                    <a:pt x="1756" y="1070"/>
                    <a:pt x="1742" y="1070"/>
                    <a:pt x="1729" y="1070"/>
                  </a:cubicBezTo>
                  <a:cubicBezTo>
                    <a:pt x="1729" y="1070"/>
                    <a:pt x="1729" y="1070"/>
                    <a:pt x="1729" y="1070"/>
                  </a:cubicBezTo>
                  <a:cubicBezTo>
                    <a:pt x="1716" y="1070"/>
                    <a:pt x="1703" y="1070"/>
                    <a:pt x="1690" y="1070"/>
                  </a:cubicBezTo>
                  <a:close/>
                  <a:moveTo>
                    <a:pt x="68" y="581"/>
                  </a:moveTo>
                  <a:cubicBezTo>
                    <a:pt x="68" y="573"/>
                    <a:pt x="70" y="568"/>
                    <a:pt x="80" y="569"/>
                  </a:cubicBezTo>
                  <a:cubicBezTo>
                    <a:pt x="90" y="570"/>
                    <a:pt x="101" y="570"/>
                    <a:pt x="111" y="569"/>
                  </a:cubicBezTo>
                  <a:cubicBezTo>
                    <a:pt x="120" y="569"/>
                    <a:pt x="120" y="563"/>
                    <a:pt x="120" y="556"/>
                  </a:cubicBezTo>
                  <a:cubicBezTo>
                    <a:pt x="120" y="549"/>
                    <a:pt x="119" y="544"/>
                    <a:pt x="111" y="544"/>
                  </a:cubicBezTo>
                  <a:cubicBezTo>
                    <a:pt x="104" y="544"/>
                    <a:pt x="97" y="544"/>
                    <a:pt x="91" y="544"/>
                  </a:cubicBezTo>
                  <a:cubicBezTo>
                    <a:pt x="66" y="544"/>
                    <a:pt x="65" y="543"/>
                    <a:pt x="68" y="518"/>
                  </a:cubicBezTo>
                  <a:cubicBezTo>
                    <a:pt x="69" y="504"/>
                    <a:pt x="83" y="487"/>
                    <a:pt x="99" y="489"/>
                  </a:cubicBezTo>
                  <a:cubicBezTo>
                    <a:pt x="103" y="489"/>
                    <a:pt x="107" y="489"/>
                    <a:pt x="110" y="488"/>
                  </a:cubicBezTo>
                  <a:cubicBezTo>
                    <a:pt x="118" y="487"/>
                    <a:pt x="123" y="479"/>
                    <a:pt x="123" y="471"/>
                  </a:cubicBezTo>
                  <a:cubicBezTo>
                    <a:pt x="123" y="461"/>
                    <a:pt x="116" y="462"/>
                    <a:pt x="109" y="460"/>
                  </a:cubicBezTo>
                  <a:cubicBezTo>
                    <a:pt x="100" y="458"/>
                    <a:pt x="92" y="460"/>
                    <a:pt x="84" y="460"/>
                  </a:cubicBezTo>
                  <a:cubicBezTo>
                    <a:pt x="68" y="461"/>
                    <a:pt x="56" y="469"/>
                    <a:pt x="47" y="480"/>
                  </a:cubicBezTo>
                  <a:cubicBezTo>
                    <a:pt x="34" y="493"/>
                    <a:pt x="32" y="511"/>
                    <a:pt x="32" y="529"/>
                  </a:cubicBezTo>
                  <a:cubicBezTo>
                    <a:pt x="32" y="544"/>
                    <a:pt x="32" y="544"/>
                    <a:pt x="17" y="544"/>
                  </a:cubicBezTo>
                  <a:cubicBezTo>
                    <a:pt x="4" y="543"/>
                    <a:pt x="0" y="548"/>
                    <a:pt x="4" y="561"/>
                  </a:cubicBezTo>
                  <a:cubicBezTo>
                    <a:pt x="6" y="569"/>
                    <a:pt x="13" y="568"/>
                    <a:pt x="19" y="569"/>
                  </a:cubicBezTo>
                  <a:cubicBezTo>
                    <a:pt x="32" y="571"/>
                    <a:pt x="32" y="571"/>
                    <a:pt x="32" y="584"/>
                  </a:cubicBezTo>
                  <a:cubicBezTo>
                    <a:pt x="32" y="624"/>
                    <a:pt x="32" y="664"/>
                    <a:pt x="32" y="704"/>
                  </a:cubicBezTo>
                  <a:cubicBezTo>
                    <a:pt x="32" y="731"/>
                    <a:pt x="32" y="730"/>
                    <a:pt x="57" y="731"/>
                  </a:cubicBezTo>
                  <a:cubicBezTo>
                    <a:pt x="66" y="731"/>
                    <a:pt x="68" y="727"/>
                    <a:pt x="68" y="720"/>
                  </a:cubicBezTo>
                  <a:cubicBezTo>
                    <a:pt x="68" y="697"/>
                    <a:pt x="68" y="674"/>
                    <a:pt x="68" y="651"/>
                  </a:cubicBezTo>
                  <a:cubicBezTo>
                    <a:pt x="68" y="628"/>
                    <a:pt x="68" y="605"/>
                    <a:pt x="68" y="581"/>
                  </a:cubicBezTo>
                  <a:close/>
                  <a:moveTo>
                    <a:pt x="278" y="1165"/>
                  </a:moveTo>
                  <a:cubicBezTo>
                    <a:pt x="278" y="1183"/>
                    <a:pt x="278" y="1183"/>
                    <a:pt x="296" y="1184"/>
                  </a:cubicBezTo>
                  <a:cubicBezTo>
                    <a:pt x="310" y="1184"/>
                    <a:pt x="310" y="1184"/>
                    <a:pt x="310" y="1169"/>
                  </a:cubicBezTo>
                  <a:cubicBezTo>
                    <a:pt x="310" y="1132"/>
                    <a:pt x="310" y="1095"/>
                    <a:pt x="310" y="1058"/>
                  </a:cubicBezTo>
                  <a:cubicBezTo>
                    <a:pt x="310" y="1052"/>
                    <a:pt x="312" y="1047"/>
                    <a:pt x="316" y="1042"/>
                  </a:cubicBezTo>
                  <a:cubicBezTo>
                    <a:pt x="324" y="1033"/>
                    <a:pt x="334" y="1027"/>
                    <a:pt x="345" y="1024"/>
                  </a:cubicBezTo>
                  <a:cubicBezTo>
                    <a:pt x="357" y="1020"/>
                    <a:pt x="371" y="1018"/>
                    <a:pt x="383" y="1028"/>
                  </a:cubicBezTo>
                  <a:cubicBezTo>
                    <a:pt x="397" y="1039"/>
                    <a:pt x="401" y="1054"/>
                    <a:pt x="401" y="1071"/>
                  </a:cubicBezTo>
                  <a:cubicBezTo>
                    <a:pt x="401" y="1102"/>
                    <a:pt x="401" y="1132"/>
                    <a:pt x="401" y="1163"/>
                  </a:cubicBezTo>
                  <a:cubicBezTo>
                    <a:pt x="401" y="1183"/>
                    <a:pt x="401" y="1182"/>
                    <a:pt x="420" y="1184"/>
                  </a:cubicBezTo>
                  <a:cubicBezTo>
                    <a:pt x="429" y="1185"/>
                    <a:pt x="433" y="1181"/>
                    <a:pt x="433" y="1173"/>
                  </a:cubicBezTo>
                  <a:cubicBezTo>
                    <a:pt x="432" y="1130"/>
                    <a:pt x="435" y="1087"/>
                    <a:pt x="431" y="1044"/>
                  </a:cubicBezTo>
                  <a:cubicBezTo>
                    <a:pt x="427" y="1014"/>
                    <a:pt x="404" y="996"/>
                    <a:pt x="376" y="994"/>
                  </a:cubicBezTo>
                  <a:cubicBezTo>
                    <a:pt x="353" y="992"/>
                    <a:pt x="333" y="1000"/>
                    <a:pt x="317" y="1017"/>
                  </a:cubicBezTo>
                  <a:cubicBezTo>
                    <a:pt x="312" y="1021"/>
                    <a:pt x="311" y="1019"/>
                    <a:pt x="309" y="1015"/>
                  </a:cubicBezTo>
                  <a:cubicBezTo>
                    <a:pt x="309" y="1013"/>
                    <a:pt x="308" y="1011"/>
                    <a:pt x="308" y="1008"/>
                  </a:cubicBezTo>
                  <a:cubicBezTo>
                    <a:pt x="306" y="1001"/>
                    <a:pt x="298" y="997"/>
                    <a:pt x="287" y="998"/>
                  </a:cubicBezTo>
                  <a:cubicBezTo>
                    <a:pt x="279" y="999"/>
                    <a:pt x="278" y="1004"/>
                    <a:pt x="278" y="1011"/>
                  </a:cubicBezTo>
                  <a:cubicBezTo>
                    <a:pt x="278" y="1037"/>
                    <a:pt x="278" y="1064"/>
                    <a:pt x="278" y="1091"/>
                  </a:cubicBezTo>
                  <a:cubicBezTo>
                    <a:pt x="278" y="1115"/>
                    <a:pt x="278" y="1140"/>
                    <a:pt x="278" y="1165"/>
                  </a:cubicBezTo>
                  <a:close/>
                  <a:moveTo>
                    <a:pt x="150" y="705"/>
                  </a:moveTo>
                  <a:cubicBezTo>
                    <a:pt x="150" y="734"/>
                    <a:pt x="145" y="730"/>
                    <a:pt x="176" y="731"/>
                  </a:cubicBezTo>
                  <a:cubicBezTo>
                    <a:pt x="185" y="731"/>
                    <a:pt x="187" y="727"/>
                    <a:pt x="187" y="719"/>
                  </a:cubicBezTo>
                  <a:cubicBezTo>
                    <a:pt x="187" y="685"/>
                    <a:pt x="187" y="651"/>
                    <a:pt x="187" y="618"/>
                  </a:cubicBezTo>
                  <a:cubicBezTo>
                    <a:pt x="187" y="597"/>
                    <a:pt x="204" y="578"/>
                    <a:pt x="225" y="574"/>
                  </a:cubicBezTo>
                  <a:cubicBezTo>
                    <a:pt x="232" y="572"/>
                    <a:pt x="240" y="574"/>
                    <a:pt x="247" y="575"/>
                  </a:cubicBezTo>
                  <a:cubicBezTo>
                    <a:pt x="257" y="576"/>
                    <a:pt x="261" y="572"/>
                    <a:pt x="265" y="564"/>
                  </a:cubicBezTo>
                  <a:cubicBezTo>
                    <a:pt x="269" y="556"/>
                    <a:pt x="267" y="542"/>
                    <a:pt x="261" y="540"/>
                  </a:cubicBezTo>
                  <a:cubicBezTo>
                    <a:pt x="253" y="538"/>
                    <a:pt x="244" y="534"/>
                    <a:pt x="237" y="536"/>
                  </a:cubicBezTo>
                  <a:cubicBezTo>
                    <a:pt x="228" y="537"/>
                    <a:pt x="217" y="537"/>
                    <a:pt x="209" y="544"/>
                  </a:cubicBezTo>
                  <a:cubicBezTo>
                    <a:pt x="204" y="549"/>
                    <a:pt x="198" y="553"/>
                    <a:pt x="194" y="558"/>
                  </a:cubicBezTo>
                  <a:cubicBezTo>
                    <a:pt x="192" y="561"/>
                    <a:pt x="189" y="563"/>
                    <a:pt x="185" y="562"/>
                  </a:cubicBezTo>
                  <a:cubicBezTo>
                    <a:pt x="182" y="561"/>
                    <a:pt x="182" y="558"/>
                    <a:pt x="182" y="556"/>
                  </a:cubicBezTo>
                  <a:cubicBezTo>
                    <a:pt x="180" y="539"/>
                    <a:pt x="179" y="539"/>
                    <a:pt x="162" y="539"/>
                  </a:cubicBezTo>
                  <a:cubicBezTo>
                    <a:pt x="151" y="539"/>
                    <a:pt x="150" y="540"/>
                    <a:pt x="150" y="551"/>
                  </a:cubicBezTo>
                  <a:cubicBezTo>
                    <a:pt x="150" y="579"/>
                    <a:pt x="150" y="607"/>
                    <a:pt x="150" y="635"/>
                  </a:cubicBezTo>
                  <a:cubicBezTo>
                    <a:pt x="150" y="658"/>
                    <a:pt x="149" y="682"/>
                    <a:pt x="150" y="705"/>
                  </a:cubicBezTo>
                  <a:close/>
                  <a:moveTo>
                    <a:pt x="1011" y="1049"/>
                  </a:moveTo>
                  <a:cubicBezTo>
                    <a:pt x="1011" y="1008"/>
                    <a:pt x="1011" y="966"/>
                    <a:pt x="1011" y="924"/>
                  </a:cubicBezTo>
                  <a:cubicBezTo>
                    <a:pt x="1011" y="913"/>
                    <a:pt x="1008" y="910"/>
                    <a:pt x="997" y="910"/>
                  </a:cubicBezTo>
                  <a:cubicBezTo>
                    <a:pt x="995" y="910"/>
                    <a:pt x="992" y="910"/>
                    <a:pt x="990" y="910"/>
                  </a:cubicBezTo>
                  <a:cubicBezTo>
                    <a:pt x="976" y="910"/>
                    <a:pt x="975" y="911"/>
                    <a:pt x="975" y="926"/>
                  </a:cubicBezTo>
                  <a:cubicBezTo>
                    <a:pt x="975" y="1006"/>
                    <a:pt x="975" y="1085"/>
                    <a:pt x="975" y="1165"/>
                  </a:cubicBezTo>
                  <a:cubicBezTo>
                    <a:pt x="975" y="1185"/>
                    <a:pt x="975" y="1185"/>
                    <a:pt x="994" y="1185"/>
                  </a:cubicBezTo>
                  <a:cubicBezTo>
                    <a:pt x="1009" y="1185"/>
                    <a:pt x="1011" y="1184"/>
                    <a:pt x="1011" y="1169"/>
                  </a:cubicBezTo>
                  <a:cubicBezTo>
                    <a:pt x="1011" y="1129"/>
                    <a:pt x="1011" y="1089"/>
                    <a:pt x="1011" y="1049"/>
                  </a:cubicBezTo>
                  <a:cubicBezTo>
                    <a:pt x="1011" y="1049"/>
                    <a:pt x="1011" y="1049"/>
                    <a:pt x="1011" y="1049"/>
                  </a:cubicBezTo>
                  <a:close/>
                  <a:moveTo>
                    <a:pt x="296" y="176"/>
                  </a:moveTo>
                  <a:cubicBezTo>
                    <a:pt x="296" y="201"/>
                    <a:pt x="296" y="226"/>
                    <a:pt x="296" y="251"/>
                  </a:cubicBezTo>
                  <a:cubicBezTo>
                    <a:pt x="295" y="276"/>
                    <a:pt x="296" y="274"/>
                    <a:pt x="318" y="274"/>
                  </a:cubicBezTo>
                  <a:cubicBezTo>
                    <a:pt x="330" y="274"/>
                    <a:pt x="331" y="274"/>
                    <a:pt x="331" y="260"/>
                  </a:cubicBezTo>
                  <a:cubicBezTo>
                    <a:pt x="331" y="232"/>
                    <a:pt x="331" y="204"/>
                    <a:pt x="331" y="176"/>
                  </a:cubicBezTo>
                  <a:cubicBezTo>
                    <a:pt x="331" y="165"/>
                    <a:pt x="331" y="155"/>
                    <a:pt x="337" y="145"/>
                  </a:cubicBezTo>
                  <a:cubicBezTo>
                    <a:pt x="349" y="123"/>
                    <a:pt x="359" y="117"/>
                    <a:pt x="377" y="118"/>
                  </a:cubicBezTo>
                  <a:cubicBezTo>
                    <a:pt x="383" y="118"/>
                    <a:pt x="389" y="119"/>
                    <a:pt x="395" y="120"/>
                  </a:cubicBezTo>
                  <a:cubicBezTo>
                    <a:pt x="401" y="120"/>
                    <a:pt x="407" y="118"/>
                    <a:pt x="408" y="112"/>
                  </a:cubicBezTo>
                  <a:cubicBezTo>
                    <a:pt x="409" y="103"/>
                    <a:pt x="415" y="93"/>
                    <a:pt x="407" y="85"/>
                  </a:cubicBezTo>
                  <a:cubicBezTo>
                    <a:pt x="406" y="84"/>
                    <a:pt x="404" y="84"/>
                    <a:pt x="402" y="84"/>
                  </a:cubicBezTo>
                  <a:cubicBezTo>
                    <a:pt x="376" y="78"/>
                    <a:pt x="353" y="82"/>
                    <a:pt x="337" y="106"/>
                  </a:cubicBezTo>
                  <a:cubicBezTo>
                    <a:pt x="336" y="108"/>
                    <a:pt x="335" y="110"/>
                    <a:pt x="333" y="109"/>
                  </a:cubicBezTo>
                  <a:cubicBezTo>
                    <a:pt x="331" y="109"/>
                    <a:pt x="330" y="107"/>
                    <a:pt x="330" y="105"/>
                  </a:cubicBezTo>
                  <a:cubicBezTo>
                    <a:pt x="329" y="101"/>
                    <a:pt x="329" y="97"/>
                    <a:pt x="328" y="94"/>
                  </a:cubicBezTo>
                  <a:cubicBezTo>
                    <a:pt x="325" y="85"/>
                    <a:pt x="318" y="82"/>
                    <a:pt x="303" y="84"/>
                  </a:cubicBezTo>
                  <a:cubicBezTo>
                    <a:pt x="297" y="84"/>
                    <a:pt x="295" y="86"/>
                    <a:pt x="295" y="92"/>
                  </a:cubicBezTo>
                  <a:cubicBezTo>
                    <a:pt x="296" y="120"/>
                    <a:pt x="295" y="148"/>
                    <a:pt x="295" y="176"/>
                  </a:cubicBezTo>
                  <a:cubicBezTo>
                    <a:pt x="296" y="176"/>
                    <a:pt x="296" y="176"/>
                    <a:pt x="296" y="176"/>
                  </a:cubicBezTo>
                  <a:close/>
                  <a:moveTo>
                    <a:pt x="946" y="179"/>
                  </a:moveTo>
                  <a:cubicBezTo>
                    <a:pt x="946" y="197"/>
                    <a:pt x="946" y="215"/>
                    <a:pt x="946" y="234"/>
                  </a:cubicBezTo>
                  <a:cubicBezTo>
                    <a:pt x="946" y="248"/>
                    <a:pt x="951" y="260"/>
                    <a:pt x="963" y="268"/>
                  </a:cubicBezTo>
                  <a:cubicBezTo>
                    <a:pt x="982" y="280"/>
                    <a:pt x="1011" y="277"/>
                    <a:pt x="1029" y="264"/>
                  </a:cubicBezTo>
                  <a:cubicBezTo>
                    <a:pt x="1036" y="259"/>
                    <a:pt x="1036" y="254"/>
                    <a:pt x="1032" y="248"/>
                  </a:cubicBezTo>
                  <a:cubicBezTo>
                    <a:pt x="1026" y="239"/>
                    <a:pt x="1020" y="238"/>
                    <a:pt x="1013" y="242"/>
                  </a:cubicBezTo>
                  <a:cubicBezTo>
                    <a:pt x="996" y="252"/>
                    <a:pt x="978" y="243"/>
                    <a:pt x="978" y="223"/>
                  </a:cubicBezTo>
                  <a:cubicBezTo>
                    <a:pt x="978" y="190"/>
                    <a:pt x="978" y="157"/>
                    <a:pt x="978" y="123"/>
                  </a:cubicBezTo>
                  <a:cubicBezTo>
                    <a:pt x="978" y="116"/>
                    <a:pt x="981" y="113"/>
                    <a:pt x="988" y="113"/>
                  </a:cubicBezTo>
                  <a:cubicBezTo>
                    <a:pt x="999" y="114"/>
                    <a:pt x="1011" y="113"/>
                    <a:pt x="1022" y="113"/>
                  </a:cubicBezTo>
                  <a:cubicBezTo>
                    <a:pt x="1028" y="113"/>
                    <a:pt x="1033" y="112"/>
                    <a:pt x="1033" y="104"/>
                  </a:cubicBezTo>
                  <a:cubicBezTo>
                    <a:pt x="1033" y="96"/>
                    <a:pt x="1032" y="90"/>
                    <a:pt x="1022" y="90"/>
                  </a:cubicBezTo>
                  <a:cubicBezTo>
                    <a:pt x="1011" y="90"/>
                    <a:pt x="1001" y="90"/>
                    <a:pt x="990" y="90"/>
                  </a:cubicBezTo>
                  <a:cubicBezTo>
                    <a:pt x="981" y="91"/>
                    <a:pt x="977" y="88"/>
                    <a:pt x="978" y="78"/>
                  </a:cubicBezTo>
                  <a:cubicBezTo>
                    <a:pt x="978" y="64"/>
                    <a:pt x="978" y="49"/>
                    <a:pt x="978" y="35"/>
                  </a:cubicBezTo>
                  <a:cubicBezTo>
                    <a:pt x="978" y="30"/>
                    <a:pt x="978" y="25"/>
                    <a:pt x="971" y="24"/>
                  </a:cubicBezTo>
                  <a:cubicBezTo>
                    <a:pt x="964" y="24"/>
                    <a:pt x="956" y="24"/>
                    <a:pt x="955" y="32"/>
                  </a:cubicBezTo>
                  <a:cubicBezTo>
                    <a:pt x="952" y="43"/>
                    <a:pt x="949" y="54"/>
                    <a:pt x="949" y="65"/>
                  </a:cubicBezTo>
                  <a:cubicBezTo>
                    <a:pt x="948" y="88"/>
                    <a:pt x="947" y="88"/>
                    <a:pt x="924" y="91"/>
                  </a:cubicBezTo>
                  <a:cubicBezTo>
                    <a:pt x="919" y="92"/>
                    <a:pt x="914" y="92"/>
                    <a:pt x="914" y="99"/>
                  </a:cubicBezTo>
                  <a:cubicBezTo>
                    <a:pt x="915" y="107"/>
                    <a:pt x="917" y="113"/>
                    <a:pt x="926" y="113"/>
                  </a:cubicBezTo>
                  <a:cubicBezTo>
                    <a:pt x="929" y="114"/>
                    <a:pt x="932" y="113"/>
                    <a:pt x="935" y="113"/>
                  </a:cubicBezTo>
                  <a:cubicBezTo>
                    <a:pt x="943" y="113"/>
                    <a:pt x="946" y="116"/>
                    <a:pt x="946" y="124"/>
                  </a:cubicBezTo>
                  <a:cubicBezTo>
                    <a:pt x="946" y="142"/>
                    <a:pt x="946" y="161"/>
                    <a:pt x="946" y="179"/>
                  </a:cubicBezTo>
                  <a:cubicBezTo>
                    <a:pt x="946" y="179"/>
                    <a:pt x="946" y="179"/>
                    <a:pt x="946" y="179"/>
                  </a:cubicBezTo>
                  <a:close/>
                </a:path>
              </a:pathLst>
            </a:custGeom>
            <a:solidFill>
              <a:srgbClr val="4C505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grpSp>
          <p:nvGrpSpPr>
            <p:cNvPr id="18" name="Group 4">
              <a:extLst>
                <a:ext uri="{FF2B5EF4-FFF2-40B4-BE49-F238E27FC236}">
                  <a16:creationId xmlns:a16="http://schemas.microsoft.com/office/drawing/2014/main" id="{57BD2C4C-DC67-B843-B26C-309622FC75F7}"/>
                </a:ext>
              </a:extLst>
            </p:cNvPr>
            <p:cNvGrpSpPr>
              <a:grpSpLocks noChangeAspect="1"/>
            </p:cNvGrpSpPr>
            <p:nvPr/>
          </p:nvGrpSpPr>
          <p:grpSpPr bwMode="gray">
            <a:xfrm>
              <a:off x="334963" y="296652"/>
              <a:ext cx="538094" cy="540000"/>
              <a:chOff x="2711" y="1027"/>
              <a:chExt cx="2258" cy="2266"/>
            </a:xfrm>
          </p:grpSpPr>
          <p:sp>
            <p:nvSpPr>
              <p:cNvPr id="19" name="AutoShape 3">
                <a:extLst>
                  <a:ext uri="{FF2B5EF4-FFF2-40B4-BE49-F238E27FC236}">
                    <a16:creationId xmlns:a16="http://schemas.microsoft.com/office/drawing/2014/main" id="{FE1DC41B-291E-574C-9F2C-874E70A40758}"/>
                  </a:ext>
                </a:extLst>
              </p:cNvPr>
              <p:cNvSpPr>
                <a:spLocks noChangeAspect="1" noChangeArrowheads="1" noTextEdit="1"/>
              </p:cNvSpPr>
              <p:nvPr/>
            </p:nvSpPr>
            <p:spPr bwMode="gray">
              <a:xfrm>
                <a:off x="2711" y="1027"/>
                <a:ext cx="2258" cy="22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20" name="Freeform 5">
                <a:extLst>
                  <a:ext uri="{FF2B5EF4-FFF2-40B4-BE49-F238E27FC236}">
                    <a16:creationId xmlns:a16="http://schemas.microsoft.com/office/drawing/2014/main" id="{D4B633C8-F761-C54B-9BD2-EB59D49A2DBC}"/>
                  </a:ext>
                </a:extLst>
              </p:cNvPr>
              <p:cNvSpPr>
                <a:spLocks/>
              </p:cNvSpPr>
              <p:nvPr/>
            </p:nvSpPr>
            <p:spPr bwMode="gray">
              <a:xfrm>
                <a:off x="2709" y="1029"/>
                <a:ext cx="2260" cy="2262"/>
              </a:xfrm>
              <a:custGeom>
                <a:avLst/>
                <a:gdLst>
                  <a:gd name="T0" fmla="*/ 2260 w 2260"/>
                  <a:gd name="T1" fmla="*/ 0 h 2262"/>
                  <a:gd name="T2" fmla="*/ 1612 w 2260"/>
                  <a:gd name="T3" fmla="*/ 649 h 2262"/>
                  <a:gd name="T4" fmla="*/ 1612 w 2260"/>
                  <a:gd name="T5" fmla="*/ 649 h 2262"/>
                  <a:gd name="T6" fmla="*/ 2035 w 2260"/>
                  <a:gd name="T7" fmla="*/ 0 h 2262"/>
                  <a:gd name="T8" fmla="*/ 0 w 2260"/>
                  <a:gd name="T9" fmla="*/ 0 h 2262"/>
                  <a:gd name="T10" fmla="*/ 0 w 2260"/>
                  <a:gd name="T11" fmla="*/ 2262 h 2262"/>
                  <a:gd name="T12" fmla="*/ 2260 w 2260"/>
                  <a:gd name="T13" fmla="*/ 2262 h 2262"/>
                  <a:gd name="T14" fmla="*/ 2260 w 2260"/>
                  <a:gd name="T15" fmla="*/ 0 h 2262"/>
                  <a:gd name="T16" fmla="*/ 2260 w 2260"/>
                  <a:gd name="T17" fmla="*/ 0 h 2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0" h="2262">
                    <a:moveTo>
                      <a:pt x="2260" y="0"/>
                    </a:moveTo>
                    <a:lnTo>
                      <a:pt x="1612" y="649"/>
                    </a:lnTo>
                    <a:lnTo>
                      <a:pt x="1612" y="649"/>
                    </a:lnTo>
                    <a:lnTo>
                      <a:pt x="2035" y="0"/>
                    </a:lnTo>
                    <a:lnTo>
                      <a:pt x="0" y="0"/>
                    </a:lnTo>
                    <a:lnTo>
                      <a:pt x="0" y="2262"/>
                    </a:lnTo>
                    <a:lnTo>
                      <a:pt x="2260" y="2262"/>
                    </a:lnTo>
                    <a:lnTo>
                      <a:pt x="2260" y="0"/>
                    </a:lnTo>
                    <a:lnTo>
                      <a:pt x="2260" y="0"/>
                    </a:lnTo>
                    <a:close/>
                  </a:path>
                </a:pathLst>
              </a:custGeom>
              <a:solidFill>
                <a:srgbClr val="E55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21" name="Freeform 6">
                <a:extLst>
                  <a:ext uri="{FF2B5EF4-FFF2-40B4-BE49-F238E27FC236}">
                    <a16:creationId xmlns:a16="http://schemas.microsoft.com/office/drawing/2014/main" id="{B16BAAE4-1A41-C843-9754-490F7A1E1270}"/>
                  </a:ext>
                </a:extLst>
              </p:cNvPr>
              <p:cNvSpPr>
                <a:spLocks noEditPoints="1"/>
              </p:cNvSpPr>
              <p:nvPr/>
            </p:nvSpPr>
            <p:spPr bwMode="gray">
              <a:xfrm>
                <a:off x="3623" y="1696"/>
                <a:ext cx="1167" cy="922"/>
              </a:xfrm>
              <a:custGeom>
                <a:avLst/>
                <a:gdLst>
                  <a:gd name="T0" fmla="*/ 411 w 580"/>
                  <a:gd name="T1" fmla="*/ 213 h 458"/>
                  <a:gd name="T2" fmla="*/ 570 w 580"/>
                  <a:gd name="T3" fmla="*/ 37 h 458"/>
                  <a:gd name="T4" fmla="*/ 580 w 580"/>
                  <a:gd name="T5" fmla="*/ 20 h 458"/>
                  <a:gd name="T6" fmla="*/ 545 w 580"/>
                  <a:gd name="T7" fmla="*/ 0 h 458"/>
                  <a:gd name="T8" fmla="*/ 519 w 580"/>
                  <a:gd name="T9" fmla="*/ 16 h 458"/>
                  <a:gd name="T10" fmla="*/ 344 w 580"/>
                  <a:gd name="T11" fmla="*/ 210 h 458"/>
                  <a:gd name="T12" fmla="*/ 334 w 580"/>
                  <a:gd name="T13" fmla="*/ 229 h 458"/>
                  <a:gd name="T14" fmla="*/ 344 w 580"/>
                  <a:gd name="T15" fmla="*/ 248 h 458"/>
                  <a:gd name="T16" fmla="*/ 519 w 580"/>
                  <a:gd name="T17" fmla="*/ 442 h 458"/>
                  <a:gd name="T18" fmla="*/ 545 w 580"/>
                  <a:gd name="T19" fmla="*/ 458 h 458"/>
                  <a:gd name="T20" fmla="*/ 580 w 580"/>
                  <a:gd name="T21" fmla="*/ 438 h 458"/>
                  <a:gd name="T22" fmla="*/ 570 w 580"/>
                  <a:gd name="T23" fmla="*/ 421 h 458"/>
                  <a:gd name="T24" fmla="*/ 411 w 580"/>
                  <a:gd name="T25" fmla="*/ 245 h 458"/>
                  <a:gd name="T26" fmla="*/ 399 w 580"/>
                  <a:gd name="T27" fmla="*/ 229 h 458"/>
                  <a:gd name="T28" fmla="*/ 411 w 580"/>
                  <a:gd name="T29" fmla="*/ 213 h 458"/>
                  <a:gd name="T30" fmla="*/ 252 w 580"/>
                  <a:gd name="T31" fmla="*/ 439 h 458"/>
                  <a:gd name="T32" fmla="*/ 281 w 580"/>
                  <a:gd name="T33" fmla="*/ 454 h 458"/>
                  <a:gd name="T34" fmla="*/ 309 w 580"/>
                  <a:gd name="T35" fmla="*/ 439 h 458"/>
                  <a:gd name="T36" fmla="*/ 309 w 580"/>
                  <a:gd name="T37" fmla="*/ 19 h 458"/>
                  <a:gd name="T38" fmla="*/ 281 w 580"/>
                  <a:gd name="T39" fmla="*/ 4 h 458"/>
                  <a:gd name="T40" fmla="*/ 252 w 580"/>
                  <a:gd name="T41" fmla="*/ 19 h 458"/>
                  <a:gd name="T42" fmla="*/ 252 w 580"/>
                  <a:gd name="T43" fmla="*/ 439 h 458"/>
                  <a:gd name="T44" fmla="*/ 0 w 580"/>
                  <a:gd name="T45" fmla="*/ 439 h 458"/>
                  <a:gd name="T46" fmla="*/ 28 w 580"/>
                  <a:gd name="T47" fmla="*/ 454 h 458"/>
                  <a:gd name="T48" fmla="*/ 56 w 580"/>
                  <a:gd name="T49" fmla="*/ 439 h 458"/>
                  <a:gd name="T50" fmla="*/ 56 w 580"/>
                  <a:gd name="T51" fmla="*/ 157 h 458"/>
                  <a:gd name="T52" fmla="*/ 165 w 580"/>
                  <a:gd name="T53" fmla="*/ 53 h 458"/>
                  <a:gd name="T54" fmla="*/ 180 w 580"/>
                  <a:gd name="T55" fmla="*/ 53 h 458"/>
                  <a:gd name="T56" fmla="*/ 196 w 580"/>
                  <a:gd name="T57" fmla="*/ 27 h 458"/>
                  <a:gd name="T58" fmla="*/ 154 w 580"/>
                  <a:gd name="T59" fmla="*/ 4 h 458"/>
                  <a:gd name="T60" fmla="*/ 0 w 580"/>
                  <a:gd name="T61" fmla="*/ 152 h 458"/>
                  <a:gd name="T62" fmla="*/ 0 w 580"/>
                  <a:gd name="T63" fmla="*/ 439 h 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80" h="458">
                    <a:moveTo>
                      <a:pt x="411" y="213"/>
                    </a:moveTo>
                    <a:cubicBezTo>
                      <a:pt x="570" y="37"/>
                      <a:pt x="570" y="37"/>
                      <a:pt x="570" y="37"/>
                    </a:cubicBezTo>
                    <a:cubicBezTo>
                      <a:pt x="576" y="30"/>
                      <a:pt x="580" y="25"/>
                      <a:pt x="580" y="20"/>
                    </a:cubicBezTo>
                    <a:cubicBezTo>
                      <a:pt x="580" y="10"/>
                      <a:pt x="559" y="0"/>
                      <a:pt x="545" y="0"/>
                    </a:cubicBezTo>
                    <a:cubicBezTo>
                      <a:pt x="535" y="0"/>
                      <a:pt x="526" y="8"/>
                      <a:pt x="519" y="16"/>
                    </a:cubicBezTo>
                    <a:cubicBezTo>
                      <a:pt x="344" y="210"/>
                      <a:pt x="344" y="210"/>
                      <a:pt x="344" y="210"/>
                    </a:cubicBezTo>
                    <a:cubicBezTo>
                      <a:pt x="336" y="219"/>
                      <a:pt x="334" y="224"/>
                      <a:pt x="334" y="229"/>
                    </a:cubicBezTo>
                    <a:cubicBezTo>
                      <a:pt x="334" y="234"/>
                      <a:pt x="336" y="239"/>
                      <a:pt x="344" y="248"/>
                    </a:cubicBezTo>
                    <a:cubicBezTo>
                      <a:pt x="519" y="442"/>
                      <a:pt x="519" y="442"/>
                      <a:pt x="519" y="442"/>
                    </a:cubicBezTo>
                    <a:cubicBezTo>
                      <a:pt x="526" y="450"/>
                      <a:pt x="535" y="458"/>
                      <a:pt x="545" y="458"/>
                    </a:cubicBezTo>
                    <a:cubicBezTo>
                      <a:pt x="559" y="458"/>
                      <a:pt x="580" y="448"/>
                      <a:pt x="580" y="438"/>
                    </a:cubicBezTo>
                    <a:cubicBezTo>
                      <a:pt x="580" y="433"/>
                      <a:pt x="576" y="428"/>
                      <a:pt x="570" y="421"/>
                    </a:cubicBezTo>
                    <a:cubicBezTo>
                      <a:pt x="411" y="245"/>
                      <a:pt x="411" y="245"/>
                      <a:pt x="411" y="245"/>
                    </a:cubicBezTo>
                    <a:cubicBezTo>
                      <a:pt x="403" y="236"/>
                      <a:pt x="399" y="232"/>
                      <a:pt x="399" y="229"/>
                    </a:cubicBezTo>
                    <a:cubicBezTo>
                      <a:pt x="399" y="226"/>
                      <a:pt x="403" y="222"/>
                      <a:pt x="411" y="213"/>
                    </a:cubicBezTo>
                    <a:moveTo>
                      <a:pt x="252" y="439"/>
                    </a:moveTo>
                    <a:cubicBezTo>
                      <a:pt x="252" y="449"/>
                      <a:pt x="261" y="454"/>
                      <a:pt x="281" y="454"/>
                    </a:cubicBezTo>
                    <a:cubicBezTo>
                      <a:pt x="300" y="454"/>
                      <a:pt x="309" y="449"/>
                      <a:pt x="309" y="439"/>
                    </a:cubicBezTo>
                    <a:cubicBezTo>
                      <a:pt x="309" y="19"/>
                      <a:pt x="309" y="19"/>
                      <a:pt x="309" y="19"/>
                    </a:cubicBezTo>
                    <a:cubicBezTo>
                      <a:pt x="309" y="9"/>
                      <a:pt x="300" y="4"/>
                      <a:pt x="281" y="4"/>
                    </a:cubicBezTo>
                    <a:cubicBezTo>
                      <a:pt x="261" y="4"/>
                      <a:pt x="252" y="9"/>
                      <a:pt x="252" y="19"/>
                    </a:cubicBezTo>
                    <a:lnTo>
                      <a:pt x="252" y="439"/>
                    </a:lnTo>
                    <a:close/>
                    <a:moveTo>
                      <a:pt x="0" y="439"/>
                    </a:moveTo>
                    <a:cubicBezTo>
                      <a:pt x="0" y="449"/>
                      <a:pt x="8" y="454"/>
                      <a:pt x="28" y="454"/>
                    </a:cubicBezTo>
                    <a:cubicBezTo>
                      <a:pt x="48" y="454"/>
                      <a:pt x="56" y="449"/>
                      <a:pt x="56" y="439"/>
                    </a:cubicBezTo>
                    <a:cubicBezTo>
                      <a:pt x="56" y="157"/>
                      <a:pt x="56" y="157"/>
                      <a:pt x="56" y="157"/>
                    </a:cubicBezTo>
                    <a:cubicBezTo>
                      <a:pt x="56" y="83"/>
                      <a:pt x="85" y="53"/>
                      <a:pt x="165" y="53"/>
                    </a:cubicBezTo>
                    <a:cubicBezTo>
                      <a:pt x="180" y="53"/>
                      <a:pt x="180" y="53"/>
                      <a:pt x="180" y="53"/>
                    </a:cubicBezTo>
                    <a:cubicBezTo>
                      <a:pt x="192" y="53"/>
                      <a:pt x="196" y="43"/>
                      <a:pt x="196" y="27"/>
                    </a:cubicBezTo>
                    <a:cubicBezTo>
                      <a:pt x="196" y="8"/>
                      <a:pt x="185" y="4"/>
                      <a:pt x="154" y="4"/>
                    </a:cubicBezTo>
                    <a:cubicBezTo>
                      <a:pt x="64" y="4"/>
                      <a:pt x="0" y="43"/>
                      <a:pt x="0" y="152"/>
                    </a:cubicBezTo>
                    <a:lnTo>
                      <a:pt x="0" y="43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22" name="Freeform 7">
                <a:extLst>
                  <a:ext uri="{FF2B5EF4-FFF2-40B4-BE49-F238E27FC236}">
                    <a16:creationId xmlns:a16="http://schemas.microsoft.com/office/drawing/2014/main" id="{2F32DCBD-8628-F245-85CD-97686A20ECFD}"/>
                  </a:ext>
                </a:extLst>
              </p:cNvPr>
              <p:cNvSpPr>
                <a:spLocks/>
              </p:cNvSpPr>
              <p:nvPr/>
            </p:nvSpPr>
            <p:spPr bwMode="gray">
              <a:xfrm>
                <a:off x="2880" y="1704"/>
                <a:ext cx="618" cy="916"/>
              </a:xfrm>
              <a:custGeom>
                <a:avLst/>
                <a:gdLst>
                  <a:gd name="T0" fmla="*/ 307 w 307"/>
                  <a:gd name="T1" fmla="*/ 405 h 455"/>
                  <a:gd name="T2" fmla="*/ 307 w 307"/>
                  <a:gd name="T3" fmla="*/ 244 h 455"/>
                  <a:gd name="T4" fmla="*/ 279 w 307"/>
                  <a:gd name="T5" fmla="*/ 229 h 455"/>
                  <a:gd name="T6" fmla="*/ 250 w 307"/>
                  <a:gd name="T7" fmla="*/ 244 h 455"/>
                  <a:gd name="T8" fmla="*/ 250 w 307"/>
                  <a:gd name="T9" fmla="*/ 378 h 455"/>
                  <a:gd name="T10" fmla="*/ 199 w 307"/>
                  <a:gd name="T11" fmla="*/ 408 h 455"/>
                  <a:gd name="T12" fmla="*/ 61 w 307"/>
                  <a:gd name="T13" fmla="*/ 231 h 455"/>
                  <a:gd name="T14" fmla="*/ 238 w 307"/>
                  <a:gd name="T15" fmla="*/ 49 h 455"/>
                  <a:gd name="T16" fmla="*/ 270 w 307"/>
                  <a:gd name="T17" fmla="*/ 49 h 455"/>
                  <a:gd name="T18" fmla="*/ 286 w 307"/>
                  <a:gd name="T19" fmla="*/ 23 h 455"/>
                  <a:gd name="T20" fmla="*/ 244 w 307"/>
                  <a:gd name="T21" fmla="*/ 0 h 455"/>
                  <a:gd name="T22" fmla="*/ 231 w 307"/>
                  <a:gd name="T23" fmla="*/ 0 h 455"/>
                  <a:gd name="T24" fmla="*/ 0 w 307"/>
                  <a:gd name="T25" fmla="*/ 232 h 455"/>
                  <a:gd name="T26" fmla="*/ 198 w 307"/>
                  <a:gd name="T27" fmla="*/ 455 h 455"/>
                  <a:gd name="T28" fmla="*/ 307 w 307"/>
                  <a:gd name="T29" fmla="*/ 405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7" h="455">
                    <a:moveTo>
                      <a:pt x="307" y="405"/>
                    </a:moveTo>
                    <a:cubicBezTo>
                      <a:pt x="307" y="244"/>
                      <a:pt x="307" y="244"/>
                      <a:pt x="307" y="244"/>
                    </a:cubicBezTo>
                    <a:cubicBezTo>
                      <a:pt x="307" y="234"/>
                      <a:pt x="298" y="229"/>
                      <a:pt x="279" y="229"/>
                    </a:cubicBezTo>
                    <a:cubicBezTo>
                      <a:pt x="259" y="229"/>
                      <a:pt x="250" y="234"/>
                      <a:pt x="250" y="244"/>
                    </a:cubicBezTo>
                    <a:cubicBezTo>
                      <a:pt x="250" y="378"/>
                      <a:pt x="250" y="378"/>
                      <a:pt x="250" y="378"/>
                    </a:cubicBezTo>
                    <a:cubicBezTo>
                      <a:pt x="250" y="399"/>
                      <a:pt x="241" y="408"/>
                      <a:pt x="199" y="408"/>
                    </a:cubicBezTo>
                    <a:cubicBezTo>
                      <a:pt x="114" y="408"/>
                      <a:pt x="61" y="342"/>
                      <a:pt x="61" y="231"/>
                    </a:cubicBezTo>
                    <a:cubicBezTo>
                      <a:pt x="61" y="115"/>
                      <a:pt x="126" y="49"/>
                      <a:pt x="238" y="49"/>
                    </a:cubicBezTo>
                    <a:cubicBezTo>
                      <a:pt x="270" y="49"/>
                      <a:pt x="270" y="49"/>
                      <a:pt x="270" y="49"/>
                    </a:cubicBezTo>
                    <a:cubicBezTo>
                      <a:pt x="282" y="49"/>
                      <a:pt x="286" y="39"/>
                      <a:pt x="286" y="23"/>
                    </a:cubicBezTo>
                    <a:cubicBezTo>
                      <a:pt x="286" y="4"/>
                      <a:pt x="275" y="0"/>
                      <a:pt x="244" y="0"/>
                    </a:cubicBezTo>
                    <a:cubicBezTo>
                      <a:pt x="231" y="0"/>
                      <a:pt x="231" y="0"/>
                      <a:pt x="231" y="0"/>
                    </a:cubicBezTo>
                    <a:cubicBezTo>
                      <a:pt x="101" y="0"/>
                      <a:pt x="0" y="71"/>
                      <a:pt x="0" y="232"/>
                    </a:cubicBezTo>
                    <a:cubicBezTo>
                      <a:pt x="0" y="386"/>
                      <a:pt x="88" y="455"/>
                      <a:pt x="198" y="455"/>
                    </a:cubicBezTo>
                    <a:cubicBezTo>
                      <a:pt x="286" y="455"/>
                      <a:pt x="307" y="430"/>
                      <a:pt x="307" y="40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23" name="Oval 8">
                <a:extLst>
                  <a:ext uri="{FF2B5EF4-FFF2-40B4-BE49-F238E27FC236}">
                    <a16:creationId xmlns:a16="http://schemas.microsoft.com/office/drawing/2014/main" id="{60D97C11-1A3B-5449-A48D-98A3E79B3810}"/>
                  </a:ext>
                </a:extLst>
              </p:cNvPr>
              <p:cNvSpPr>
                <a:spLocks noChangeArrowheads="1"/>
              </p:cNvSpPr>
              <p:nvPr/>
            </p:nvSpPr>
            <p:spPr bwMode="gray">
              <a:xfrm>
                <a:off x="3778" y="2099"/>
                <a:ext cx="122" cy="12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24" name="Freeform 9">
                <a:extLst>
                  <a:ext uri="{FF2B5EF4-FFF2-40B4-BE49-F238E27FC236}">
                    <a16:creationId xmlns:a16="http://schemas.microsoft.com/office/drawing/2014/main" id="{5856770D-B8F0-244E-A05D-AED190086F10}"/>
                  </a:ext>
                </a:extLst>
              </p:cNvPr>
              <p:cNvSpPr>
                <a:spLocks noEditPoints="1"/>
              </p:cNvSpPr>
              <p:nvPr/>
            </p:nvSpPr>
            <p:spPr bwMode="gray">
              <a:xfrm>
                <a:off x="3623" y="1696"/>
                <a:ext cx="1167" cy="922"/>
              </a:xfrm>
              <a:custGeom>
                <a:avLst/>
                <a:gdLst>
                  <a:gd name="T0" fmla="*/ 411 w 580"/>
                  <a:gd name="T1" fmla="*/ 213 h 458"/>
                  <a:gd name="T2" fmla="*/ 570 w 580"/>
                  <a:gd name="T3" fmla="*/ 37 h 458"/>
                  <a:gd name="T4" fmla="*/ 580 w 580"/>
                  <a:gd name="T5" fmla="*/ 20 h 458"/>
                  <a:gd name="T6" fmla="*/ 545 w 580"/>
                  <a:gd name="T7" fmla="*/ 0 h 458"/>
                  <a:gd name="T8" fmla="*/ 519 w 580"/>
                  <a:gd name="T9" fmla="*/ 16 h 458"/>
                  <a:gd name="T10" fmla="*/ 344 w 580"/>
                  <a:gd name="T11" fmla="*/ 210 h 458"/>
                  <a:gd name="T12" fmla="*/ 334 w 580"/>
                  <a:gd name="T13" fmla="*/ 229 h 458"/>
                  <a:gd name="T14" fmla="*/ 344 w 580"/>
                  <a:gd name="T15" fmla="*/ 248 h 458"/>
                  <a:gd name="T16" fmla="*/ 519 w 580"/>
                  <a:gd name="T17" fmla="*/ 442 h 458"/>
                  <a:gd name="T18" fmla="*/ 545 w 580"/>
                  <a:gd name="T19" fmla="*/ 458 h 458"/>
                  <a:gd name="T20" fmla="*/ 580 w 580"/>
                  <a:gd name="T21" fmla="*/ 438 h 458"/>
                  <a:gd name="T22" fmla="*/ 570 w 580"/>
                  <a:gd name="T23" fmla="*/ 421 h 458"/>
                  <a:gd name="T24" fmla="*/ 411 w 580"/>
                  <a:gd name="T25" fmla="*/ 245 h 458"/>
                  <a:gd name="T26" fmla="*/ 399 w 580"/>
                  <a:gd name="T27" fmla="*/ 229 h 458"/>
                  <a:gd name="T28" fmla="*/ 411 w 580"/>
                  <a:gd name="T29" fmla="*/ 213 h 458"/>
                  <a:gd name="T30" fmla="*/ 252 w 580"/>
                  <a:gd name="T31" fmla="*/ 439 h 458"/>
                  <a:gd name="T32" fmla="*/ 281 w 580"/>
                  <a:gd name="T33" fmla="*/ 454 h 458"/>
                  <a:gd name="T34" fmla="*/ 309 w 580"/>
                  <a:gd name="T35" fmla="*/ 439 h 458"/>
                  <a:gd name="T36" fmla="*/ 309 w 580"/>
                  <a:gd name="T37" fmla="*/ 19 h 458"/>
                  <a:gd name="T38" fmla="*/ 281 w 580"/>
                  <a:gd name="T39" fmla="*/ 4 h 458"/>
                  <a:gd name="T40" fmla="*/ 252 w 580"/>
                  <a:gd name="T41" fmla="*/ 19 h 458"/>
                  <a:gd name="T42" fmla="*/ 252 w 580"/>
                  <a:gd name="T43" fmla="*/ 439 h 458"/>
                  <a:gd name="T44" fmla="*/ 0 w 580"/>
                  <a:gd name="T45" fmla="*/ 439 h 458"/>
                  <a:gd name="T46" fmla="*/ 28 w 580"/>
                  <a:gd name="T47" fmla="*/ 454 h 458"/>
                  <a:gd name="T48" fmla="*/ 56 w 580"/>
                  <a:gd name="T49" fmla="*/ 439 h 458"/>
                  <a:gd name="T50" fmla="*/ 56 w 580"/>
                  <a:gd name="T51" fmla="*/ 157 h 458"/>
                  <a:gd name="T52" fmla="*/ 165 w 580"/>
                  <a:gd name="T53" fmla="*/ 53 h 458"/>
                  <a:gd name="T54" fmla="*/ 180 w 580"/>
                  <a:gd name="T55" fmla="*/ 53 h 458"/>
                  <a:gd name="T56" fmla="*/ 196 w 580"/>
                  <a:gd name="T57" fmla="*/ 27 h 458"/>
                  <a:gd name="T58" fmla="*/ 154 w 580"/>
                  <a:gd name="T59" fmla="*/ 4 h 458"/>
                  <a:gd name="T60" fmla="*/ 0 w 580"/>
                  <a:gd name="T61" fmla="*/ 152 h 458"/>
                  <a:gd name="T62" fmla="*/ 0 w 580"/>
                  <a:gd name="T63" fmla="*/ 439 h 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80" h="458">
                    <a:moveTo>
                      <a:pt x="411" y="213"/>
                    </a:moveTo>
                    <a:cubicBezTo>
                      <a:pt x="570" y="37"/>
                      <a:pt x="570" y="37"/>
                      <a:pt x="570" y="37"/>
                    </a:cubicBezTo>
                    <a:cubicBezTo>
                      <a:pt x="576" y="30"/>
                      <a:pt x="580" y="25"/>
                      <a:pt x="580" y="20"/>
                    </a:cubicBezTo>
                    <a:cubicBezTo>
                      <a:pt x="580" y="10"/>
                      <a:pt x="559" y="0"/>
                      <a:pt x="545" y="0"/>
                    </a:cubicBezTo>
                    <a:cubicBezTo>
                      <a:pt x="535" y="0"/>
                      <a:pt x="526" y="8"/>
                      <a:pt x="519" y="16"/>
                    </a:cubicBezTo>
                    <a:cubicBezTo>
                      <a:pt x="344" y="210"/>
                      <a:pt x="344" y="210"/>
                      <a:pt x="344" y="210"/>
                    </a:cubicBezTo>
                    <a:cubicBezTo>
                      <a:pt x="336" y="219"/>
                      <a:pt x="334" y="224"/>
                      <a:pt x="334" y="229"/>
                    </a:cubicBezTo>
                    <a:cubicBezTo>
                      <a:pt x="334" y="234"/>
                      <a:pt x="336" y="239"/>
                      <a:pt x="344" y="248"/>
                    </a:cubicBezTo>
                    <a:cubicBezTo>
                      <a:pt x="519" y="442"/>
                      <a:pt x="519" y="442"/>
                      <a:pt x="519" y="442"/>
                    </a:cubicBezTo>
                    <a:cubicBezTo>
                      <a:pt x="526" y="450"/>
                      <a:pt x="535" y="458"/>
                      <a:pt x="545" y="458"/>
                    </a:cubicBezTo>
                    <a:cubicBezTo>
                      <a:pt x="559" y="458"/>
                      <a:pt x="580" y="448"/>
                      <a:pt x="580" y="438"/>
                    </a:cubicBezTo>
                    <a:cubicBezTo>
                      <a:pt x="580" y="433"/>
                      <a:pt x="576" y="428"/>
                      <a:pt x="570" y="421"/>
                    </a:cubicBezTo>
                    <a:cubicBezTo>
                      <a:pt x="411" y="245"/>
                      <a:pt x="411" y="245"/>
                      <a:pt x="411" y="245"/>
                    </a:cubicBezTo>
                    <a:cubicBezTo>
                      <a:pt x="403" y="236"/>
                      <a:pt x="399" y="232"/>
                      <a:pt x="399" y="229"/>
                    </a:cubicBezTo>
                    <a:cubicBezTo>
                      <a:pt x="399" y="226"/>
                      <a:pt x="403" y="222"/>
                      <a:pt x="411" y="213"/>
                    </a:cubicBezTo>
                    <a:moveTo>
                      <a:pt x="252" y="439"/>
                    </a:moveTo>
                    <a:cubicBezTo>
                      <a:pt x="252" y="449"/>
                      <a:pt x="261" y="454"/>
                      <a:pt x="281" y="454"/>
                    </a:cubicBezTo>
                    <a:cubicBezTo>
                      <a:pt x="300" y="454"/>
                      <a:pt x="309" y="449"/>
                      <a:pt x="309" y="439"/>
                    </a:cubicBezTo>
                    <a:cubicBezTo>
                      <a:pt x="309" y="19"/>
                      <a:pt x="309" y="19"/>
                      <a:pt x="309" y="19"/>
                    </a:cubicBezTo>
                    <a:cubicBezTo>
                      <a:pt x="309" y="9"/>
                      <a:pt x="300" y="4"/>
                      <a:pt x="281" y="4"/>
                    </a:cubicBezTo>
                    <a:cubicBezTo>
                      <a:pt x="261" y="4"/>
                      <a:pt x="252" y="9"/>
                      <a:pt x="252" y="19"/>
                    </a:cubicBezTo>
                    <a:lnTo>
                      <a:pt x="252" y="439"/>
                    </a:lnTo>
                    <a:close/>
                    <a:moveTo>
                      <a:pt x="0" y="439"/>
                    </a:moveTo>
                    <a:cubicBezTo>
                      <a:pt x="0" y="449"/>
                      <a:pt x="8" y="454"/>
                      <a:pt x="28" y="454"/>
                    </a:cubicBezTo>
                    <a:cubicBezTo>
                      <a:pt x="48" y="454"/>
                      <a:pt x="56" y="449"/>
                      <a:pt x="56" y="439"/>
                    </a:cubicBezTo>
                    <a:cubicBezTo>
                      <a:pt x="56" y="157"/>
                      <a:pt x="56" y="157"/>
                      <a:pt x="56" y="157"/>
                    </a:cubicBezTo>
                    <a:cubicBezTo>
                      <a:pt x="56" y="83"/>
                      <a:pt x="85" y="53"/>
                      <a:pt x="165" y="53"/>
                    </a:cubicBezTo>
                    <a:cubicBezTo>
                      <a:pt x="180" y="53"/>
                      <a:pt x="180" y="53"/>
                      <a:pt x="180" y="53"/>
                    </a:cubicBezTo>
                    <a:cubicBezTo>
                      <a:pt x="192" y="53"/>
                      <a:pt x="196" y="43"/>
                      <a:pt x="196" y="27"/>
                    </a:cubicBezTo>
                    <a:cubicBezTo>
                      <a:pt x="196" y="8"/>
                      <a:pt x="185" y="4"/>
                      <a:pt x="154" y="4"/>
                    </a:cubicBezTo>
                    <a:cubicBezTo>
                      <a:pt x="64" y="4"/>
                      <a:pt x="0" y="43"/>
                      <a:pt x="0" y="152"/>
                    </a:cubicBezTo>
                    <a:lnTo>
                      <a:pt x="0" y="43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25" name="Freeform 10">
                <a:extLst>
                  <a:ext uri="{FF2B5EF4-FFF2-40B4-BE49-F238E27FC236}">
                    <a16:creationId xmlns:a16="http://schemas.microsoft.com/office/drawing/2014/main" id="{2B91B16B-BC11-E547-8FAC-B9B8D18EA449}"/>
                  </a:ext>
                </a:extLst>
              </p:cNvPr>
              <p:cNvSpPr>
                <a:spLocks/>
              </p:cNvSpPr>
              <p:nvPr/>
            </p:nvSpPr>
            <p:spPr bwMode="gray">
              <a:xfrm>
                <a:off x="2880" y="1704"/>
                <a:ext cx="618" cy="916"/>
              </a:xfrm>
              <a:custGeom>
                <a:avLst/>
                <a:gdLst>
                  <a:gd name="T0" fmla="*/ 307 w 307"/>
                  <a:gd name="T1" fmla="*/ 405 h 455"/>
                  <a:gd name="T2" fmla="*/ 307 w 307"/>
                  <a:gd name="T3" fmla="*/ 244 h 455"/>
                  <a:gd name="T4" fmla="*/ 279 w 307"/>
                  <a:gd name="T5" fmla="*/ 229 h 455"/>
                  <a:gd name="T6" fmla="*/ 250 w 307"/>
                  <a:gd name="T7" fmla="*/ 244 h 455"/>
                  <a:gd name="T8" fmla="*/ 250 w 307"/>
                  <a:gd name="T9" fmla="*/ 378 h 455"/>
                  <a:gd name="T10" fmla="*/ 199 w 307"/>
                  <a:gd name="T11" fmla="*/ 408 h 455"/>
                  <a:gd name="T12" fmla="*/ 61 w 307"/>
                  <a:gd name="T13" fmla="*/ 231 h 455"/>
                  <a:gd name="T14" fmla="*/ 238 w 307"/>
                  <a:gd name="T15" fmla="*/ 49 h 455"/>
                  <a:gd name="T16" fmla="*/ 270 w 307"/>
                  <a:gd name="T17" fmla="*/ 49 h 455"/>
                  <a:gd name="T18" fmla="*/ 286 w 307"/>
                  <a:gd name="T19" fmla="*/ 23 h 455"/>
                  <a:gd name="T20" fmla="*/ 244 w 307"/>
                  <a:gd name="T21" fmla="*/ 0 h 455"/>
                  <a:gd name="T22" fmla="*/ 231 w 307"/>
                  <a:gd name="T23" fmla="*/ 0 h 455"/>
                  <a:gd name="T24" fmla="*/ 0 w 307"/>
                  <a:gd name="T25" fmla="*/ 232 h 455"/>
                  <a:gd name="T26" fmla="*/ 198 w 307"/>
                  <a:gd name="T27" fmla="*/ 455 h 455"/>
                  <a:gd name="T28" fmla="*/ 307 w 307"/>
                  <a:gd name="T29" fmla="*/ 405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7" h="455">
                    <a:moveTo>
                      <a:pt x="307" y="405"/>
                    </a:moveTo>
                    <a:cubicBezTo>
                      <a:pt x="307" y="244"/>
                      <a:pt x="307" y="244"/>
                      <a:pt x="307" y="244"/>
                    </a:cubicBezTo>
                    <a:cubicBezTo>
                      <a:pt x="307" y="234"/>
                      <a:pt x="298" y="229"/>
                      <a:pt x="279" y="229"/>
                    </a:cubicBezTo>
                    <a:cubicBezTo>
                      <a:pt x="259" y="229"/>
                      <a:pt x="250" y="234"/>
                      <a:pt x="250" y="244"/>
                    </a:cubicBezTo>
                    <a:cubicBezTo>
                      <a:pt x="250" y="378"/>
                      <a:pt x="250" y="378"/>
                      <a:pt x="250" y="378"/>
                    </a:cubicBezTo>
                    <a:cubicBezTo>
                      <a:pt x="250" y="399"/>
                      <a:pt x="241" y="408"/>
                      <a:pt x="199" y="408"/>
                    </a:cubicBezTo>
                    <a:cubicBezTo>
                      <a:pt x="114" y="408"/>
                      <a:pt x="61" y="342"/>
                      <a:pt x="61" y="231"/>
                    </a:cubicBezTo>
                    <a:cubicBezTo>
                      <a:pt x="61" y="115"/>
                      <a:pt x="126" y="49"/>
                      <a:pt x="238" y="49"/>
                    </a:cubicBezTo>
                    <a:cubicBezTo>
                      <a:pt x="270" y="49"/>
                      <a:pt x="270" y="49"/>
                      <a:pt x="270" y="49"/>
                    </a:cubicBezTo>
                    <a:cubicBezTo>
                      <a:pt x="282" y="49"/>
                      <a:pt x="286" y="39"/>
                      <a:pt x="286" y="23"/>
                    </a:cubicBezTo>
                    <a:cubicBezTo>
                      <a:pt x="286" y="4"/>
                      <a:pt x="275" y="0"/>
                      <a:pt x="244" y="0"/>
                    </a:cubicBezTo>
                    <a:cubicBezTo>
                      <a:pt x="231" y="0"/>
                      <a:pt x="231" y="0"/>
                      <a:pt x="231" y="0"/>
                    </a:cubicBezTo>
                    <a:cubicBezTo>
                      <a:pt x="101" y="0"/>
                      <a:pt x="0" y="71"/>
                      <a:pt x="0" y="232"/>
                    </a:cubicBezTo>
                    <a:cubicBezTo>
                      <a:pt x="0" y="386"/>
                      <a:pt x="88" y="455"/>
                      <a:pt x="198" y="455"/>
                    </a:cubicBezTo>
                    <a:cubicBezTo>
                      <a:pt x="286" y="455"/>
                      <a:pt x="307" y="430"/>
                      <a:pt x="307" y="40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26" name="Oval 11">
                <a:extLst>
                  <a:ext uri="{FF2B5EF4-FFF2-40B4-BE49-F238E27FC236}">
                    <a16:creationId xmlns:a16="http://schemas.microsoft.com/office/drawing/2014/main" id="{14F8C3C8-4888-7646-B9B4-64EB46A1DA23}"/>
                  </a:ext>
                </a:extLst>
              </p:cNvPr>
              <p:cNvSpPr>
                <a:spLocks noChangeArrowheads="1"/>
              </p:cNvSpPr>
              <p:nvPr/>
            </p:nvSpPr>
            <p:spPr bwMode="gray">
              <a:xfrm>
                <a:off x="3778" y="2099"/>
                <a:ext cx="122" cy="12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27" name="Freeform 12">
                <a:extLst>
                  <a:ext uri="{FF2B5EF4-FFF2-40B4-BE49-F238E27FC236}">
                    <a16:creationId xmlns:a16="http://schemas.microsoft.com/office/drawing/2014/main" id="{D79D01D1-4E3E-F34B-97D7-2D387E68746E}"/>
                  </a:ext>
                </a:extLst>
              </p:cNvPr>
              <p:cNvSpPr>
                <a:spLocks/>
              </p:cNvSpPr>
              <p:nvPr/>
            </p:nvSpPr>
            <p:spPr bwMode="gray">
              <a:xfrm>
                <a:off x="4321" y="1029"/>
                <a:ext cx="648" cy="649"/>
              </a:xfrm>
              <a:custGeom>
                <a:avLst/>
                <a:gdLst>
                  <a:gd name="T0" fmla="*/ 0 w 648"/>
                  <a:gd name="T1" fmla="*/ 649 h 649"/>
                  <a:gd name="T2" fmla="*/ 2 w 648"/>
                  <a:gd name="T3" fmla="*/ 649 h 649"/>
                  <a:gd name="T4" fmla="*/ 648 w 648"/>
                  <a:gd name="T5" fmla="*/ 0 h 649"/>
                  <a:gd name="T6" fmla="*/ 423 w 648"/>
                  <a:gd name="T7" fmla="*/ 0 h 649"/>
                  <a:gd name="T8" fmla="*/ 0 w 648"/>
                  <a:gd name="T9" fmla="*/ 649 h 649"/>
                </a:gdLst>
                <a:ahLst/>
                <a:cxnLst>
                  <a:cxn ang="0">
                    <a:pos x="T0" y="T1"/>
                  </a:cxn>
                  <a:cxn ang="0">
                    <a:pos x="T2" y="T3"/>
                  </a:cxn>
                  <a:cxn ang="0">
                    <a:pos x="T4" y="T5"/>
                  </a:cxn>
                  <a:cxn ang="0">
                    <a:pos x="T6" y="T7"/>
                  </a:cxn>
                  <a:cxn ang="0">
                    <a:pos x="T8" y="T9"/>
                  </a:cxn>
                </a:cxnLst>
                <a:rect l="0" t="0" r="r" b="b"/>
                <a:pathLst>
                  <a:path w="648" h="649">
                    <a:moveTo>
                      <a:pt x="0" y="649"/>
                    </a:moveTo>
                    <a:lnTo>
                      <a:pt x="2" y="649"/>
                    </a:lnTo>
                    <a:lnTo>
                      <a:pt x="648" y="0"/>
                    </a:lnTo>
                    <a:lnTo>
                      <a:pt x="423" y="0"/>
                    </a:lnTo>
                    <a:lnTo>
                      <a:pt x="0" y="64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28" name="Freeform 13">
                <a:extLst>
                  <a:ext uri="{FF2B5EF4-FFF2-40B4-BE49-F238E27FC236}">
                    <a16:creationId xmlns:a16="http://schemas.microsoft.com/office/drawing/2014/main" id="{46549898-6C52-B147-A8F6-A73FDBE6163B}"/>
                  </a:ext>
                </a:extLst>
              </p:cNvPr>
              <p:cNvSpPr>
                <a:spLocks/>
              </p:cNvSpPr>
              <p:nvPr/>
            </p:nvSpPr>
            <p:spPr bwMode="gray">
              <a:xfrm>
                <a:off x="4321" y="1029"/>
                <a:ext cx="648" cy="649"/>
              </a:xfrm>
              <a:custGeom>
                <a:avLst/>
                <a:gdLst>
                  <a:gd name="T0" fmla="*/ 0 w 648"/>
                  <a:gd name="T1" fmla="*/ 649 h 649"/>
                  <a:gd name="T2" fmla="*/ 2 w 648"/>
                  <a:gd name="T3" fmla="*/ 649 h 649"/>
                  <a:gd name="T4" fmla="*/ 648 w 648"/>
                  <a:gd name="T5" fmla="*/ 0 h 649"/>
                  <a:gd name="T6" fmla="*/ 423 w 648"/>
                  <a:gd name="T7" fmla="*/ 0 h 649"/>
                  <a:gd name="T8" fmla="*/ 0 w 648"/>
                  <a:gd name="T9" fmla="*/ 649 h 649"/>
                </a:gdLst>
                <a:ahLst/>
                <a:cxnLst>
                  <a:cxn ang="0">
                    <a:pos x="T0" y="T1"/>
                  </a:cxn>
                  <a:cxn ang="0">
                    <a:pos x="T2" y="T3"/>
                  </a:cxn>
                  <a:cxn ang="0">
                    <a:pos x="T4" y="T5"/>
                  </a:cxn>
                  <a:cxn ang="0">
                    <a:pos x="T6" y="T7"/>
                  </a:cxn>
                  <a:cxn ang="0">
                    <a:pos x="T8" y="T9"/>
                  </a:cxn>
                </a:cxnLst>
                <a:rect l="0" t="0" r="r" b="b"/>
                <a:pathLst>
                  <a:path w="648" h="649">
                    <a:moveTo>
                      <a:pt x="0" y="649"/>
                    </a:moveTo>
                    <a:lnTo>
                      <a:pt x="2" y="649"/>
                    </a:lnTo>
                    <a:lnTo>
                      <a:pt x="648" y="0"/>
                    </a:lnTo>
                    <a:lnTo>
                      <a:pt x="423" y="0"/>
                    </a:lnTo>
                    <a:lnTo>
                      <a:pt x="0" y="64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grpSp>
      </p:grpSp>
      <p:sp>
        <p:nvSpPr>
          <p:cNvPr id="7" name="Date Placeholder 6"/>
          <p:cNvSpPr>
            <a:spLocks noGrp="1"/>
          </p:cNvSpPr>
          <p:nvPr>
            <p:ph type="dt" sz="half" idx="10"/>
          </p:nvPr>
        </p:nvSpPr>
        <p:spPr>
          <a:xfrm>
            <a:off x="0" y="0"/>
            <a:ext cx="0" cy="0"/>
          </a:xfrm>
          <a:prstGeom prst="rect">
            <a:avLst/>
          </a:prstGeom>
        </p:spPr>
        <p:txBody>
          <a:bodyPr/>
          <a:lstStyle>
            <a:lvl1pPr>
              <a:defRPr sz="100">
                <a:noFill/>
              </a:defRPr>
            </a:lvl1pPr>
          </a:lstStyle>
          <a:p>
            <a:fld id="{3EA3BA3C-82AC-45BA-9659-DD8E28BB5C16}" type="datetime5">
              <a:rPr lang="en-US" smtClean="0"/>
              <a:t>26-Jun-20</a:t>
            </a:fld>
            <a:endParaRPr lang="en-US"/>
          </a:p>
        </p:txBody>
      </p:sp>
      <p:sp>
        <p:nvSpPr>
          <p:cNvPr id="8" name="Footer Placeholder 7"/>
          <p:cNvSpPr>
            <a:spLocks noGrp="1"/>
          </p:cNvSpPr>
          <p:nvPr>
            <p:ph type="ftr" sz="quarter" idx="11"/>
          </p:nvPr>
        </p:nvSpPr>
        <p:spPr>
          <a:xfrm>
            <a:off x="0" y="0"/>
            <a:ext cx="0" cy="0"/>
          </a:xfrm>
          <a:prstGeom prst="rect">
            <a:avLst/>
          </a:prstGeom>
        </p:spPr>
        <p:txBody>
          <a:bodyPr/>
          <a:lstStyle>
            <a:lvl1pPr marL="0" indent="0">
              <a:buNone/>
              <a:defRPr sz="100">
                <a:noFill/>
              </a:defRPr>
            </a:lvl1pPr>
          </a:lstStyle>
          <a:p>
            <a:r>
              <a:rPr lang="en-US"/>
              <a:t>Title of presentation (Insert / Header &amp; Footer / Apply to All)</a:t>
            </a:r>
          </a:p>
        </p:txBody>
      </p:sp>
      <p:sp>
        <p:nvSpPr>
          <p:cNvPr id="9" name="Slide Number Placeholder 8"/>
          <p:cNvSpPr>
            <a:spLocks noGrp="1"/>
          </p:cNvSpPr>
          <p:nvPr>
            <p:ph type="sldNum" sz="quarter" idx="12"/>
          </p:nvPr>
        </p:nvSpPr>
        <p:spPr>
          <a:xfrm>
            <a:off x="0" y="0"/>
            <a:ext cx="0" cy="0"/>
          </a:xfrm>
          <a:prstGeom prst="rect">
            <a:avLst/>
          </a:prstGeom>
        </p:spPr>
        <p:txBody>
          <a:bodyPr/>
          <a:lstStyle>
            <a:lvl1pPr>
              <a:defRPr sz="100">
                <a:noFill/>
              </a:defRPr>
            </a:lvl1pPr>
          </a:lstStyle>
          <a:p>
            <a:fld id="{8E3B25F7-8D1F-44B5-B485-EE3C438CFD7B}" type="slidenum">
              <a:rPr lang="en-US" smtClean="0"/>
              <a:pPr/>
              <a:t>‹#›</a:t>
            </a:fld>
            <a:endParaRPr lang="en-US"/>
          </a:p>
        </p:txBody>
      </p:sp>
      <p:sp>
        <p:nvSpPr>
          <p:cNvPr id="2" name="Title 1"/>
          <p:cNvSpPr>
            <a:spLocks noGrp="1"/>
          </p:cNvSpPr>
          <p:nvPr>
            <p:ph type="ctrTitle" hasCustomPrompt="1"/>
          </p:nvPr>
        </p:nvSpPr>
        <p:spPr>
          <a:xfrm>
            <a:off x="417600" y="1628775"/>
            <a:ext cx="3816000" cy="2236264"/>
          </a:xfrm>
        </p:spPr>
        <p:txBody>
          <a:bodyPr anchor="b"/>
          <a:lstStyle>
            <a:lvl1pPr algn="l">
              <a:defRPr sz="3600" baseline="0"/>
            </a:lvl1pPr>
          </a:lstStyle>
          <a:p>
            <a:r>
              <a:rPr lang="en-US"/>
              <a:t>Click to add presentation title</a:t>
            </a:r>
          </a:p>
        </p:txBody>
      </p:sp>
      <p:sp>
        <p:nvSpPr>
          <p:cNvPr id="3" name="Subtitle 2"/>
          <p:cNvSpPr>
            <a:spLocks noGrp="1"/>
          </p:cNvSpPr>
          <p:nvPr>
            <p:ph type="subTitle" idx="1" hasCustomPrompt="1"/>
          </p:nvPr>
        </p:nvSpPr>
        <p:spPr>
          <a:xfrm>
            <a:off x="417600" y="4094163"/>
            <a:ext cx="3816000" cy="1080000"/>
          </a:xfrm>
        </p:spPr>
        <p:txBody>
          <a:bodyPr/>
          <a:lstStyle>
            <a:lvl1pPr marL="0" indent="0" algn="l">
              <a:spcBef>
                <a:spcPts val="0"/>
              </a:spcBef>
              <a:buNone/>
              <a:defRPr sz="1800" b="1"/>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sp>
        <p:nvSpPr>
          <p:cNvPr id="31" name="Text Placeholder 30"/>
          <p:cNvSpPr>
            <a:spLocks noGrp="1"/>
          </p:cNvSpPr>
          <p:nvPr>
            <p:ph type="body" sz="quarter" idx="14" hasCustomPrompt="1"/>
          </p:nvPr>
        </p:nvSpPr>
        <p:spPr>
          <a:xfrm>
            <a:off x="417600" y="5393268"/>
            <a:ext cx="3816000" cy="296332"/>
          </a:xfrm>
        </p:spPr>
        <p:txBody>
          <a:bodyPr wrap="none"/>
          <a:lstStyle>
            <a:lvl1pPr marL="0" indent="0">
              <a:spcBef>
                <a:spcPts val="0"/>
              </a:spcBef>
              <a:buNone/>
              <a:defRPr sz="1200"/>
            </a:lvl1pPr>
            <a:lvl2pPr marL="0" indent="0">
              <a:buNone/>
              <a:defRPr sz="1200"/>
            </a:lvl2pPr>
            <a:lvl3pPr marL="0" indent="0">
              <a:buNone/>
              <a:defRPr sz="1200"/>
            </a:lvl3pPr>
            <a:lvl4pPr marL="0">
              <a:buNone/>
              <a:defRPr sz="1200"/>
            </a:lvl4pPr>
            <a:lvl5pPr marL="0" indent="0">
              <a:buNone/>
              <a:defRPr sz="1200"/>
            </a:lvl5pPr>
          </a:lstStyle>
          <a:p>
            <a:pPr lvl="0"/>
            <a:r>
              <a:rPr lang="en-US"/>
              <a:t>Name</a:t>
            </a:r>
          </a:p>
        </p:txBody>
      </p:sp>
      <p:sp>
        <p:nvSpPr>
          <p:cNvPr id="34" name="Text Placeholder 30"/>
          <p:cNvSpPr>
            <a:spLocks noGrp="1"/>
          </p:cNvSpPr>
          <p:nvPr>
            <p:ph type="body" sz="quarter" idx="15" hasCustomPrompt="1"/>
          </p:nvPr>
        </p:nvSpPr>
        <p:spPr>
          <a:xfrm>
            <a:off x="417600" y="5691446"/>
            <a:ext cx="3816000" cy="296332"/>
          </a:xfrm>
        </p:spPr>
        <p:txBody>
          <a:bodyPr wrap="none"/>
          <a:lstStyle>
            <a:lvl1pPr marL="0" indent="0">
              <a:spcBef>
                <a:spcPts val="0"/>
              </a:spcBef>
              <a:buNone/>
              <a:defRPr sz="1200"/>
            </a:lvl1pPr>
            <a:lvl2pPr marL="0" indent="0">
              <a:buNone/>
              <a:defRPr sz="1200"/>
            </a:lvl2pPr>
            <a:lvl3pPr marL="0" indent="0">
              <a:buNone/>
              <a:defRPr sz="1200"/>
            </a:lvl3pPr>
            <a:lvl4pPr marL="0">
              <a:buNone/>
              <a:defRPr sz="1200"/>
            </a:lvl4pPr>
            <a:lvl5pPr marL="0" indent="0">
              <a:buNone/>
              <a:defRPr sz="1200"/>
            </a:lvl5pPr>
          </a:lstStyle>
          <a:p>
            <a:pPr lvl="0"/>
            <a:r>
              <a:rPr lang="en-US"/>
              <a:t>Department</a:t>
            </a:r>
          </a:p>
        </p:txBody>
      </p:sp>
    </p:spTree>
    <p:extLst>
      <p:ext uri="{BB962C8B-B14F-4D97-AF65-F5344CB8AC3E}">
        <p14:creationId xmlns:p14="http://schemas.microsoft.com/office/powerpoint/2010/main" val="4226383175"/>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p:cSld name="Title 2">
    <p:spTree>
      <p:nvGrpSpPr>
        <p:cNvPr id="1" name=""/>
        <p:cNvGrpSpPr/>
        <p:nvPr/>
      </p:nvGrpSpPr>
      <p:grpSpPr>
        <a:xfrm>
          <a:off x="0" y="0"/>
          <a:ext cx="0" cy="0"/>
          <a:chOff x="0" y="0"/>
          <a:chExt cx="0" cy="0"/>
        </a:xfrm>
      </p:grpSpPr>
      <p:pic>
        <p:nvPicPr>
          <p:cNvPr id="29" name="picture">
            <a:extLst>
              <a:ext uri="{FF2B5EF4-FFF2-40B4-BE49-F238E27FC236}">
                <a16:creationId xmlns:a16="http://schemas.microsoft.com/office/drawing/2014/main" id="{8BF907F5-A9CD-2740-AF54-6BACB62334AE}"/>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2620212" y="-8808"/>
            <a:ext cx="9697299" cy="6866807"/>
          </a:xfrm>
          <a:prstGeom prst="rect">
            <a:avLst/>
          </a:prstGeom>
        </p:spPr>
      </p:pic>
      <p:sp>
        <p:nvSpPr>
          <p:cNvPr id="32" name="shpPicture"/>
          <p:cNvSpPr/>
          <p:nvPr/>
        </p:nvSpPr>
        <p:spPr>
          <a:xfrm>
            <a:off x="1" y="0"/>
            <a:ext cx="4112145" cy="6858000"/>
          </a:xfrm>
          <a:custGeom>
            <a:avLst/>
            <a:gdLst>
              <a:gd name="connsiteX0" fmla="*/ 0 w 4112145"/>
              <a:gd name="connsiteY0" fmla="*/ 0 h 6858000"/>
              <a:gd name="connsiteX1" fmla="*/ 2588964 w 4112145"/>
              <a:gd name="connsiteY1" fmla="*/ 0 h 6858000"/>
              <a:gd name="connsiteX2" fmla="*/ 4112145 w 4112145"/>
              <a:gd name="connsiteY2" fmla="*/ 3083531 h 6858000"/>
              <a:gd name="connsiteX3" fmla="*/ 2697661 w 4112145"/>
              <a:gd name="connsiteY3" fmla="*/ 6858000 h 6858000"/>
              <a:gd name="connsiteX4" fmla="*/ 0 w 4112145"/>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12145" h="6858000">
                <a:moveTo>
                  <a:pt x="0" y="0"/>
                </a:moveTo>
                <a:lnTo>
                  <a:pt x="2588964" y="0"/>
                </a:lnTo>
                <a:lnTo>
                  <a:pt x="4112145" y="3083531"/>
                </a:lnTo>
                <a:lnTo>
                  <a:pt x="2697661"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US" sz="1600"/>
          </a:p>
        </p:txBody>
      </p:sp>
      <p:grpSp>
        <p:nvGrpSpPr>
          <p:cNvPr id="14" name="logo">
            <a:extLst>
              <a:ext uri="{FF2B5EF4-FFF2-40B4-BE49-F238E27FC236}">
                <a16:creationId xmlns:a16="http://schemas.microsoft.com/office/drawing/2014/main" id="{18C26D95-70F8-8A4D-9F18-DCCB92522AF8}"/>
              </a:ext>
            </a:extLst>
          </p:cNvPr>
          <p:cNvGrpSpPr/>
          <p:nvPr/>
        </p:nvGrpSpPr>
        <p:grpSpPr bwMode="gray">
          <a:xfrm>
            <a:off x="417363" y="407485"/>
            <a:ext cx="1518585" cy="646507"/>
            <a:chOff x="334963" y="296652"/>
            <a:chExt cx="1268411" cy="540000"/>
          </a:xfrm>
        </p:grpSpPr>
        <p:sp>
          <p:nvSpPr>
            <p:cNvPr id="17" name="Freeform 6">
              <a:extLst>
                <a:ext uri="{FF2B5EF4-FFF2-40B4-BE49-F238E27FC236}">
                  <a16:creationId xmlns:a16="http://schemas.microsoft.com/office/drawing/2014/main" id="{08737AD0-E375-E445-97E6-CD2E2DF60620}"/>
                </a:ext>
              </a:extLst>
            </p:cNvPr>
            <p:cNvSpPr>
              <a:spLocks noEditPoints="1"/>
            </p:cNvSpPr>
            <p:nvPr/>
          </p:nvSpPr>
          <p:spPr bwMode="gray">
            <a:xfrm>
              <a:off x="982662" y="360462"/>
              <a:ext cx="620712" cy="431800"/>
            </a:xfrm>
            <a:custGeom>
              <a:avLst/>
              <a:gdLst>
                <a:gd name="T0" fmla="*/ 19 w 1809"/>
                <a:gd name="T1" fmla="*/ 97 h 1253"/>
                <a:gd name="T2" fmla="*/ 165 w 1809"/>
                <a:gd name="T3" fmla="*/ 41 h 1253"/>
                <a:gd name="T4" fmla="*/ 211 w 1809"/>
                <a:gd name="T5" fmla="*/ 224 h 1253"/>
                <a:gd name="T6" fmla="*/ 248 w 1809"/>
                <a:gd name="T7" fmla="*/ 155 h 1253"/>
                <a:gd name="T8" fmla="*/ 931 w 1809"/>
                <a:gd name="T9" fmla="*/ 995 h 1253"/>
                <a:gd name="T10" fmla="*/ 858 w 1809"/>
                <a:gd name="T11" fmla="*/ 1115 h 1253"/>
                <a:gd name="T12" fmla="*/ 749 w 1809"/>
                <a:gd name="T13" fmla="*/ 1117 h 1253"/>
                <a:gd name="T14" fmla="*/ 681 w 1809"/>
                <a:gd name="T15" fmla="*/ 1055 h 1253"/>
                <a:gd name="T16" fmla="*/ 800 w 1809"/>
                <a:gd name="T17" fmla="*/ 1054 h 1253"/>
                <a:gd name="T18" fmla="*/ 884 w 1809"/>
                <a:gd name="T19" fmla="*/ 1181 h 1253"/>
                <a:gd name="T20" fmla="*/ 118 w 1809"/>
                <a:gd name="T21" fmla="*/ 1086 h 1253"/>
                <a:gd name="T22" fmla="*/ 147 w 1809"/>
                <a:gd name="T23" fmla="*/ 1026 h 1253"/>
                <a:gd name="T24" fmla="*/ 102 w 1809"/>
                <a:gd name="T25" fmla="*/ 1026 h 1253"/>
                <a:gd name="T26" fmla="*/ 639 w 1809"/>
                <a:gd name="T27" fmla="*/ 84 h 1253"/>
                <a:gd name="T28" fmla="*/ 763 w 1809"/>
                <a:gd name="T29" fmla="*/ 145 h 1253"/>
                <a:gd name="T30" fmla="*/ 863 w 1809"/>
                <a:gd name="T31" fmla="*/ 221 h 1253"/>
                <a:gd name="T32" fmla="*/ 834 w 1809"/>
                <a:gd name="T33" fmla="*/ 208 h 1253"/>
                <a:gd name="T34" fmla="*/ 719 w 1809"/>
                <a:gd name="T35" fmla="*/ 182 h 1253"/>
                <a:gd name="T36" fmla="*/ 507 w 1809"/>
                <a:gd name="T37" fmla="*/ 711 h 1253"/>
                <a:gd name="T38" fmla="*/ 614 w 1809"/>
                <a:gd name="T39" fmla="*/ 706 h 1253"/>
                <a:gd name="T40" fmla="*/ 736 w 1809"/>
                <a:gd name="T41" fmla="*/ 730 h 1253"/>
                <a:gd name="T42" fmla="*/ 607 w 1809"/>
                <a:gd name="T43" fmla="*/ 539 h 1253"/>
                <a:gd name="T44" fmla="*/ 1505 w 1809"/>
                <a:gd name="T45" fmla="*/ 1136 h 1253"/>
                <a:gd name="T46" fmla="*/ 1613 w 1809"/>
                <a:gd name="T47" fmla="*/ 1002 h 1253"/>
                <a:gd name="T48" fmla="*/ 1472 w 1809"/>
                <a:gd name="T49" fmla="*/ 1164 h 1253"/>
                <a:gd name="T50" fmla="*/ 1525 w 1809"/>
                <a:gd name="T51" fmla="*/ 1142 h 1253"/>
                <a:gd name="T52" fmla="*/ 1556 w 1809"/>
                <a:gd name="T53" fmla="*/ 1172 h 1253"/>
                <a:gd name="T54" fmla="*/ 1387 w 1809"/>
                <a:gd name="T55" fmla="*/ 910 h 1253"/>
                <a:gd name="T56" fmla="*/ 1261 w 1809"/>
                <a:gd name="T57" fmla="*/ 1157 h 1253"/>
                <a:gd name="T58" fmla="*/ 1413 w 1809"/>
                <a:gd name="T59" fmla="*/ 934 h 1253"/>
                <a:gd name="T60" fmla="*/ 1378 w 1809"/>
                <a:gd name="T61" fmla="*/ 1052 h 1253"/>
                <a:gd name="T62" fmla="*/ 488 w 1809"/>
                <a:gd name="T63" fmla="*/ 85 h 1253"/>
                <a:gd name="T64" fmla="*/ 509 w 1809"/>
                <a:gd name="T65" fmla="*/ 112 h 1253"/>
                <a:gd name="T66" fmla="*/ 548 w 1809"/>
                <a:gd name="T67" fmla="*/ 1187 h 1253"/>
                <a:gd name="T68" fmla="*/ 472 w 1809"/>
                <a:gd name="T69" fmla="*/ 1122 h 1253"/>
                <a:gd name="T70" fmla="*/ 558 w 1809"/>
                <a:gd name="T71" fmla="*/ 1157 h 1253"/>
                <a:gd name="T72" fmla="*/ 287 w 1809"/>
                <a:gd name="T73" fmla="*/ 654 h 1253"/>
                <a:gd name="T74" fmla="*/ 416 w 1809"/>
                <a:gd name="T75" fmla="*/ 684 h 1253"/>
                <a:gd name="T76" fmla="*/ 1106 w 1809"/>
                <a:gd name="T77" fmla="*/ 147 h 1253"/>
                <a:gd name="T78" fmla="*/ 1229 w 1809"/>
                <a:gd name="T79" fmla="*/ 258 h 1253"/>
                <a:gd name="T80" fmla="*/ 1106 w 1809"/>
                <a:gd name="T81" fmla="*/ 96 h 1253"/>
                <a:gd name="T82" fmla="*/ 1219 w 1809"/>
                <a:gd name="T83" fmla="*/ 1077 h 1253"/>
                <a:gd name="T84" fmla="*/ 1214 w 1809"/>
                <a:gd name="T85" fmla="*/ 1157 h 1253"/>
                <a:gd name="T86" fmla="*/ 1150 w 1809"/>
                <a:gd name="T87" fmla="*/ 1092 h 1253"/>
                <a:gd name="T88" fmla="*/ 1139 w 1809"/>
                <a:gd name="T89" fmla="*/ 1070 h 1253"/>
                <a:gd name="T90" fmla="*/ 1659 w 1809"/>
                <a:gd name="T91" fmla="*/ 1031 h 1253"/>
                <a:gd name="T92" fmla="*/ 1714 w 1809"/>
                <a:gd name="T93" fmla="*/ 1155 h 1253"/>
                <a:gd name="T94" fmla="*/ 1760 w 1809"/>
                <a:gd name="T95" fmla="*/ 1030 h 1253"/>
                <a:gd name="T96" fmla="*/ 111 w 1809"/>
                <a:gd name="T97" fmla="*/ 569 h 1253"/>
                <a:gd name="T98" fmla="*/ 109 w 1809"/>
                <a:gd name="T99" fmla="*/ 460 h 1253"/>
                <a:gd name="T100" fmla="*/ 32 w 1809"/>
                <a:gd name="T101" fmla="*/ 704 h 1253"/>
                <a:gd name="T102" fmla="*/ 310 w 1809"/>
                <a:gd name="T103" fmla="*/ 1058 h 1253"/>
                <a:gd name="T104" fmla="*/ 431 w 1809"/>
                <a:gd name="T105" fmla="*/ 1044 h 1253"/>
                <a:gd name="T106" fmla="*/ 278 w 1809"/>
                <a:gd name="T107" fmla="*/ 1165 h 1253"/>
                <a:gd name="T108" fmla="*/ 261 w 1809"/>
                <a:gd name="T109" fmla="*/ 540 h 1253"/>
                <a:gd name="T110" fmla="*/ 150 w 1809"/>
                <a:gd name="T111" fmla="*/ 635 h 1253"/>
                <a:gd name="T112" fmla="*/ 994 w 1809"/>
                <a:gd name="T113" fmla="*/ 1185 h 1253"/>
                <a:gd name="T114" fmla="*/ 331 w 1809"/>
                <a:gd name="T115" fmla="*/ 176 h 1253"/>
                <a:gd name="T116" fmla="*/ 333 w 1809"/>
                <a:gd name="T117" fmla="*/ 109 h 1253"/>
                <a:gd name="T118" fmla="*/ 946 w 1809"/>
                <a:gd name="T119" fmla="*/ 234 h 1253"/>
                <a:gd name="T120" fmla="*/ 1022 w 1809"/>
                <a:gd name="T121" fmla="*/ 113 h 1253"/>
                <a:gd name="T122" fmla="*/ 949 w 1809"/>
                <a:gd name="T123" fmla="*/ 65 h 1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09" h="1253">
                  <a:moveTo>
                    <a:pt x="248" y="198"/>
                  </a:moveTo>
                  <a:cubicBezTo>
                    <a:pt x="248" y="211"/>
                    <a:pt x="248" y="224"/>
                    <a:pt x="249" y="237"/>
                  </a:cubicBezTo>
                  <a:cubicBezTo>
                    <a:pt x="249" y="245"/>
                    <a:pt x="246" y="249"/>
                    <a:pt x="240" y="253"/>
                  </a:cubicBezTo>
                  <a:cubicBezTo>
                    <a:pt x="231" y="260"/>
                    <a:pt x="220" y="264"/>
                    <a:pt x="209" y="268"/>
                  </a:cubicBezTo>
                  <a:cubicBezTo>
                    <a:pt x="179" y="279"/>
                    <a:pt x="148" y="280"/>
                    <a:pt x="118" y="275"/>
                  </a:cubicBezTo>
                  <a:cubicBezTo>
                    <a:pt x="86" y="269"/>
                    <a:pt x="58" y="252"/>
                    <a:pt x="39" y="224"/>
                  </a:cubicBezTo>
                  <a:cubicBezTo>
                    <a:pt x="24" y="203"/>
                    <a:pt x="18" y="180"/>
                    <a:pt x="15" y="155"/>
                  </a:cubicBezTo>
                  <a:cubicBezTo>
                    <a:pt x="11" y="135"/>
                    <a:pt x="15" y="115"/>
                    <a:pt x="19" y="97"/>
                  </a:cubicBezTo>
                  <a:cubicBezTo>
                    <a:pt x="26" y="68"/>
                    <a:pt x="42" y="44"/>
                    <a:pt x="68" y="27"/>
                  </a:cubicBezTo>
                  <a:cubicBezTo>
                    <a:pt x="87" y="14"/>
                    <a:pt x="109" y="6"/>
                    <a:pt x="133" y="5"/>
                  </a:cubicBezTo>
                  <a:cubicBezTo>
                    <a:pt x="149" y="4"/>
                    <a:pt x="165" y="5"/>
                    <a:pt x="181" y="6"/>
                  </a:cubicBezTo>
                  <a:cubicBezTo>
                    <a:pt x="204" y="8"/>
                    <a:pt x="225" y="20"/>
                    <a:pt x="243" y="35"/>
                  </a:cubicBezTo>
                  <a:cubicBezTo>
                    <a:pt x="246" y="37"/>
                    <a:pt x="246" y="40"/>
                    <a:pt x="244" y="43"/>
                  </a:cubicBezTo>
                  <a:cubicBezTo>
                    <a:pt x="242" y="47"/>
                    <a:pt x="239" y="52"/>
                    <a:pt x="236" y="55"/>
                  </a:cubicBezTo>
                  <a:cubicBezTo>
                    <a:pt x="226" y="65"/>
                    <a:pt x="224" y="65"/>
                    <a:pt x="206" y="54"/>
                  </a:cubicBezTo>
                  <a:cubicBezTo>
                    <a:pt x="193" y="46"/>
                    <a:pt x="180" y="40"/>
                    <a:pt x="165" y="41"/>
                  </a:cubicBezTo>
                  <a:cubicBezTo>
                    <a:pt x="151" y="41"/>
                    <a:pt x="137" y="39"/>
                    <a:pt x="124" y="42"/>
                  </a:cubicBezTo>
                  <a:cubicBezTo>
                    <a:pt x="104" y="46"/>
                    <a:pt x="87" y="57"/>
                    <a:pt x="75" y="74"/>
                  </a:cubicBezTo>
                  <a:cubicBezTo>
                    <a:pt x="56" y="99"/>
                    <a:pt x="51" y="129"/>
                    <a:pt x="55" y="159"/>
                  </a:cubicBezTo>
                  <a:cubicBezTo>
                    <a:pt x="60" y="189"/>
                    <a:pt x="73" y="214"/>
                    <a:pt x="98" y="230"/>
                  </a:cubicBezTo>
                  <a:cubicBezTo>
                    <a:pt x="109" y="237"/>
                    <a:pt x="121" y="242"/>
                    <a:pt x="135" y="241"/>
                  </a:cubicBezTo>
                  <a:cubicBezTo>
                    <a:pt x="146" y="241"/>
                    <a:pt x="158" y="241"/>
                    <a:pt x="169" y="241"/>
                  </a:cubicBezTo>
                  <a:cubicBezTo>
                    <a:pt x="182" y="242"/>
                    <a:pt x="193" y="235"/>
                    <a:pt x="205" y="232"/>
                  </a:cubicBezTo>
                  <a:cubicBezTo>
                    <a:pt x="210" y="231"/>
                    <a:pt x="211" y="227"/>
                    <a:pt x="211" y="224"/>
                  </a:cubicBezTo>
                  <a:cubicBezTo>
                    <a:pt x="211" y="210"/>
                    <a:pt x="211" y="196"/>
                    <a:pt x="211" y="183"/>
                  </a:cubicBezTo>
                  <a:cubicBezTo>
                    <a:pt x="211" y="177"/>
                    <a:pt x="207" y="175"/>
                    <a:pt x="202" y="175"/>
                  </a:cubicBezTo>
                  <a:cubicBezTo>
                    <a:pt x="193" y="175"/>
                    <a:pt x="184" y="175"/>
                    <a:pt x="175" y="175"/>
                  </a:cubicBezTo>
                  <a:cubicBezTo>
                    <a:pt x="171" y="175"/>
                    <a:pt x="168" y="174"/>
                    <a:pt x="166" y="171"/>
                  </a:cubicBezTo>
                  <a:cubicBezTo>
                    <a:pt x="163" y="163"/>
                    <a:pt x="164" y="154"/>
                    <a:pt x="166" y="146"/>
                  </a:cubicBezTo>
                  <a:cubicBezTo>
                    <a:pt x="167" y="142"/>
                    <a:pt x="171" y="142"/>
                    <a:pt x="175" y="142"/>
                  </a:cubicBezTo>
                  <a:cubicBezTo>
                    <a:pt x="196" y="142"/>
                    <a:pt x="217" y="142"/>
                    <a:pt x="238" y="142"/>
                  </a:cubicBezTo>
                  <a:cubicBezTo>
                    <a:pt x="247" y="142"/>
                    <a:pt x="248" y="148"/>
                    <a:pt x="248" y="155"/>
                  </a:cubicBezTo>
                  <a:cubicBezTo>
                    <a:pt x="249" y="169"/>
                    <a:pt x="248" y="183"/>
                    <a:pt x="248" y="198"/>
                  </a:cubicBezTo>
                  <a:close/>
                  <a:moveTo>
                    <a:pt x="884" y="1181"/>
                  </a:moveTo>
                  <a:cubicBezTo>
                    <a:pt x="889" y="1167"/>
                    <a:pt x="894" y="1152"/>
                    <a:pt x="898" y="1137"/>
                  </a:cubicBezTo>
                  <a:cubicBezTo>
                    <a:pt x="901" y="1127"/>
                    <a:pt x="905" y="1116"/>
                    <a:pt x="908" y="1106"/>
                  </a:cubicBezTo>
                  <a:cubicBezTo>
                    <a:pt x="911" y="1098"/>
                    <a:pt x="912" y="1089"/>
                    <a:pt x="916" y="1081"/>
                  </a:cubicBezTo>
                  <a:cubicBezTo>
                    <a:pt x="921" y="1072"/>
                    <a:pt x="923" y="1060"/>
                    <a:pt x="927" y="1050"/>
                  </a:cubicBezTo>
                  <a:cubicBezTo>
                    <a:pt x="932" y="1037"/>
                    <a:pt x="934" y="1023"/>
                    <a:pt x="940" y="1010"/>
                  </a:cubicBezTo>
                  <a:cubicBezTo>
                    <a:pt x="945" y="1001"/>
                    <a:pt x="941" y="995"/>
                    <a:pt x="931" y="995"/>
                  </a:cubicBezTo>
                  <a:cubicBezTo>
                    <a:pt x="927" y="995"/>
                    <a:pt x="922" y="995"/>
                    <a:pt x="918" y="995"/>
                  </a:cubicBezTo>
                  <a:cubicBezTo>
                    <a:pt x="913" y="995"/>
                    <a:pt x="908" y="997"/>
                    <a:pt x="907" y="1001"/>
                  </a:cubicBezTo>
                  <a:cubicBezTo>
                    <a:pt x="904" y="1008"/>
                    <a:pt x="900" y="1015"/>
                    <a:pt x="899" y="1023"/>
                  </a:cubicBezTo>
                  <a:cubicBezTo>
                    <a:pt x="897" y="1034"/>
                    <a:pt x="893" y="1045"/>
                    <a:pt x="889" y="1055"/>
                  </a:cubicBezTo>
                  <a:cubicBezTo>
                    <a:pt x="887" y="1064"/>
                    <a:pt x="885" y="1072"/>
                    <a:pt x="882" y="1080"/>
                  </a:cubicBezTo>
                  <a:cubicBezTo>
                    <a:pt x="878" y="1091"/>
                    <a:pt x="874" y="1103"/>
                    <a:pt x="871" y="1115"/>
                  </a:cubicBezTo>
                  <a:cubicBezTo>
                    <a:pt x="870" y="1118"/>
                    <a:pt x="871" y="1124"/>
                    <a:pt x="866" y="1124"/>
                  </a:cubicBezTo>
                  <a:cubicBezTo>
                    <a:pt x="861" y="1125"/>
                    <a:pt x="859" y="1120"/>
                    <a:pt x="858" y="1115"/>
                  </a:cubicBezTo>
                  <a:cubicBezTo>
                    <a:pt x="856" y="1110"/>
                    <a:pt x="856" y="1104"/>
                    <a:pt x="854" y="1099"/>
                  </a:cubicBezTo>
                  <a:cubicBezTo>
                    <a:pt x="848" y="1080"/>
                    <a:pt x="841" y="1062"/>
                    <a:pt x="835" y="1044"/>
                  </a:cubicBezTo>
                  <a:cubicBezTo>
                    <a:pt x="831" y="1030"/>
                    <a:pt x="828" y="1016"/>
                    <a:pt x="822" y="1003"/>
                  </a:cubicBezTo>
                  <a:cubicBezTo>
                    <a:pt x="819" y="997"/>
                    <a:pt x="814" y="994"/>
                    <a:pt x="808" y="994"/>
                  </a:cubicBezTo>
                  <a:cubicBezTo>
                    <a:pt x="799" y="993"/>
                    <a:pt x="791" y="993"/>
                    <a:pt x="787" y="1001"/>
                  </a:cubicBezTo>
                  <a:cubicBezTo>
                    <a:pt x="783" y="1008"/>
                    <a:pt x="780" y="1015"/>
                    <a:pt x="779" y="1022"/>
                  </a:cubicBezTo>
                  <a:cubicBezTo>
                    <a:pt x="778" y="1034"/>
                    <a:pt x="772" y="1044"/>
                    <a:pt x="769" y="1055"/>
                  </a:cubicBezTo>
                  <a:cubicBezTo>
                    <a:pt x="762" y="1076"/>
                    <a:pt x="754" y="1096"/>
                    <a:pt x="749" y="1117"/>
                  </a:cubicBezTo>
                  <a:cubicBezTo>
                    <a:pt x="748" y="1120"/>
                    <a:pt x="747" y="1124"/>
                    <a:pt x="742" y="1124"/>
                  </a:cubicBezTo>
                  <a:cubicBezTo>
                    <a:pt x="737" y="1124"/>
                    <a:pt x="737" y="1120"/>
                    <a:pt x="736" y="1116"/>
                  </a:cubicBezTo>
                  <a:cubicBezTo>
                    <a:pt x="734" y="1104"/>
                    <a:pt x="730" y="1092"/>
                    <a:pt x="726" y="1080"/>
                  </a:cubicBezTo>
                  <a:cubicBezTo>
                    <a:pt x="720" y="1061"/>
                    <a:pt x="714" y="1040"/>
                    <a:pt x="708" y="1020"/>
                  </a:cubicBezTo>
                  <a:cubicBezTo>
                    <a:pt x="703" y="1000"/>
                    <a:pt x="698" y="994"/>
                    <a:pt x="676" y="995"/>
                  </a:cubicBezTo>
                  <a:cubicBezTo>
                    <a:pt x="665" y="996"/>
                    <a:pt x="661" y="1001"/>
                    <a:pt x="667" y="1011"/>
                  </a:cubicBezTo>
                  <a:cubicBezTo>
                    <a:pt x="669" y="1016"/>
                    <a:pt x="670" y="1021"/>
                    <a:pt x="672" y="1025"/>
                  </a:cubicBezTo>
                  <a:cubicBezTo>
                    <a:pt x="675" y="1035"/>
                    <a:pt x="678" y="1046"/>
                    <a:pt x="681" y="1055"/>
                  </a:cubicBezTo>
                  <a:cubicBezTo>
                    <a:pt x="685" y="1068"/>
                    <a:pt x="689" y="1080"/>
                    <a:pt x="693" y="1092"/>
                  </a:cubicBezTo>
                  <a:cubicBezTo>
                    <a:pt x="697" y="1103"/>
                    <a:pt x="699" y="1113"/>
                    <a:pt x="703" y="1124"/>
                  </a:cubicBezTo>
                  <a:cubicBezTo>
                    <a:pt x="707" y="1136"/>
                    <a:pt x="711" y="1147"/>
                    <a:pt x="715" y="1160"/>
                  </a:cubicBezTo>
                  <a:cubicBezTo>
                    <a:pt x="717" y="1168"/>
                    <a:pt x="720" y="1176"/>
                    <a:pt x="724" y="1183"/>
                  </a:cubicBezTo>
                  <a:cubicBezTo>
                    <a:pt x="728" y="1189"/>
                    <a:pt x="752" y="1185"/>
                    <a:pt x="757" y="1180"/>
                  </a:cubicBezTo>
                  <a:cubicBezTo>
                    <a:pt x="764" y="1173"/>
                    <a:pt x="762" y="1163"/>
                    <a:pt x="766" y="1156"/>
                  </a:cubicBezTo>
                  <a:cubicBezTo>
                    <a:pt x="774" y="1140"/>
                    <a:pt x="778" y="1122"/>
                    <a:pt x="784" y="1105"/>
                  </a:cubicBezTo>
                  <a:cubicBezTo>
                    <a:pt x="789" y="1088"/>
                    <a:pt x="796" y="1072"/>
                    <a:pt x="800" y="1054"/>
                  </a:cubicBezTo>
                  <a:cubicBezTo>
                    <a:pt x="800" y="1053"/>
                    <a:pt x="801" y="1050"/>
                    <a:pt x="803" y="1050"/>
                  </a:cubicBezTo>
                  <a:cubicBezTo>
                    <a:pt x="806" y="1050"/>
                    <a:pt x="806" y="1052"/>
                    <a:pt x="807" y="1055"/>
                  </a:cubicBezTo>
                  <a:cubicBezTo>
                    <a:pt x="807" y="1060"/>
                    <a:pt x="810" y="1066"/>
                    <a:pt x="811" y="1071"/>
                  </a:cubicBezTo>
                  <a:cubicBezTo>
                    <a:pt x="814" y="1081"/>
                    <a:pt x="818" y="1090"/>
                    <a:pt x="821" y="1099"/>
                  </a:cubicBezTo>
                  <a:cubicBezTo>
                    <a:pt x="824" y="1110"/>
                    <a:pt x="827" y="1120"/>
                    <a:pt x="831" y="1131"/>
                  </a:cubicBezTo>
                  <a:cubicBezTo>
                    <a:pt x="834" y="1142"/>
                    <a:pt x="839" y="1153"/>
                    <a:pt x="842" y="1164"/>
                  </a:cubicBezTo>
                  <a:cubicBezTo>
                    <a:pt x="846" y="1179"/>
                    <a:pt x="850" y="1188"/>
                    <a:pt x="869" y="1185"/>
                  </a:cubicBezTo>
                  <a:cubicBezTo>
                    <a:pt x="873" y="1184"/>
                    <a:pt x="881" y="1189"/>
                    <a:pt x="884" y="1181"/>
                  </a:cubicBezTo>
                  <a:close/>
                  <a:moveTo>
                    <a:pt x="33" y="1051"/>
                  </a:moveTo>
                  <a:cubicBezTo>
                    <a:pt x="33" y="1087"/>
                    <a:pt x="33" y="1124"/>
                    <a:pt x="33" y="1160"/>
                  </a:cubicBezTo>
                  <a:cubicBezTo>
                    <a:pt x="33" y="1188"/>
                    <a:pt x="29" y="1184"/>
                    <a:pt x="58" y="1185"/>
                  </a:cubicBezTo>
                  <a:cubicBezTo>
                    <a:pt x="72" y="1185"/>
                    <a:pt x="73" y="1184"/>
                    <a:pt x="73" y="1170"/>
                  </a:cubicBezTo>
                  <a:cubicBezTo>
                    <a:pt x="73" y="1138"/>
                    <a:pt x="73" y="1107"/>
                    <a:pt x="73" y="1076"/>
                  </a:cubicBezTo>
                  <a:cubicBezTo>
                    <a:pt x="73" y="1071"/>
                    <a:pt x="72" y="1067"/>
                    <a:pt x="78" y="1065"/>
                  </a:cubicBezTo>
                  <a:cubicBezTo>
                    <a:pt x="91" y="1062"/>
                    <a:pt x="102" y="1067"/>
                    <a:pt x="110" y="1076"/>
                  </a:cubicBezTo>
                  <a:cubicBezTo>
                    <a:pt x="112" y="1080"/>
                    <a:pt x="115" y="1083"/>
                    <a:pt x="118" y="1086"/>
                  </a:cubicBezTo>
                  <a:cubicBezTo>
                    <a:pt x="132" y="1103"/>
                    <a:pt x="146" y="1119"/>
                    <a:pt x="161" y="1136"/>
                  </a:cubicBezTo>
                  <a:cubicBezTo>
                    <a:pt x="173" y="1150"/>
                    <a:pt x="186" y="1165"/>
                    <a:pt x="198" y="1179"/>
                  </a:cubicBezTo>
                  <a:cubicBezTo>
                    <a:pt x="207" y="1188"/>
                    <a:pt x="218" y="1184"/>
                    <a:pt x="228" y="1185"/>
                  </a:cubicBezTo>
                  <a:cubicBezTo>
                    <a:pt x="233" y="1185"/>
                    <a:pt x="241" y="1188"/>
                    <a:pt x="244" y="1182"/>
                  </a:cubicBezTo>
                  <a:cubicBezTo>
                    <a:pt x="246" y="1178"/>
                    <a:pt x="239" y="1173"/>
                    <a:pt x="235" y="1169"/>
                  </a:cubicBezTo>
                  <a:cubicBezTo>
                    <a:pt x="206" y="1133"/>
                    <a:pt x="176" y="1098"/>
                    <a:pt x="146" y="1062"/>
                  </a:cubicBezTo>
                  <a:cubicBezTo>
                    <a:pt x="141" y="1056"/>
                    <a:pt x="131" y="1052"/>
                    <a:pt x="132" y="1044"/>
                  </a:cubicBezTo>
                  <a:cubicBezTo>
                    <a:pt x="132" y="1036"/>
                    <a:pt x="142" y="1032"/>
                    <a:pt x="147" y="1026"/>
                  </a:cubicBezTo>
                  <a:cubicBezTo>
                    <a:pt x="164" y="1006"/>
                    <a:pt x="182" y="988"/>
                    <a:pt x="198" y="968"/>
                  </a:cubicBezTo>
                  <a:cubicBezTo>
                    <a:pt x="209" y="954"/>
                    <a:pt x="221" y="942"/>
                    <a:pt x="234" y="929"/>
                  </a:cubicBezTo>
                  <a:cubicBezTo>
                    <a:pt x="236" y="926"/>
                    <a:pt x="238" y="923"/>
                    <a:pt x="237" y="920"/>
                  </a:cubicBezTo>
                  <a:cubicBezTo>
                    <a:pt x="235" y="915"/>
                    <a:pt x="231" y="917"/>
                    <a:pt x="228" y="917"/>
                  </a:cubicBezTo>
                  <a:cubicBezTo>
                    <a:pt x="224" y="918"/>
                    <a:pt x="221" y="918"/>
                    <a:pt x="217" y="918"/>
                  </a:cubicBezTo>
                  <a:cubicBezTo>
                    <a:pt x="204" y="917"/>
                    <a:pt x="193" y="922"/>
                    <a:pt x="185" y="931"/>
                  </a:cubicBezTo>
                  <a:cubicBezTo>
                    <a:pt x="172" y="946"/>
                    <a:pt x="158" y="961"/>
                    <a:pt x="145" y="977"/>
                  </a:cubicBezTo>
                  <a:cubicBezTo>
                    <a:pt x="131" y="993"/>
                    <a:pt x="117" y="1010"/>
                    <a:pt x="102" y="1026"/>
                  </a:cubicBezTo>
                  <a:cubicBezTo>
                    <a:pt x="96" y="1032"/>
                    <a:pt x="87" y="1037"/>
                    <a:pt x="78" y="1034"/>
                  </a:cubicBezTo>
                  <a:cubicBezTo>
                    <a:pt x="70" y="1030"/>
                    <a:pt x="73" y="1021"/>
                    <a:pt x="73" y="1015"/>
                  </a:cubicBezTo>
                  <a:cubicBezTo>
                    <a:pt x="73" y="991"/>
                    <a:pt x="73" y="967"/>
                    <a:pt x="73" y="944"/>
                  </a:cubicBezTo>
                  <a:cubicBezTo>
                    <a:pt x="73" y="916"/>
                    <a:pt x="75" y="917"/>
                    <a:pt x="46" y="918"/>
                  </a:cubicBezTo>
                  <a:cubicBezTo>
                    <a:pt x="33" y="918"/>
                    <a:pt x="33" y="918"/>
                    <a:pt x="33" y="931"/>
                  </a:cubicBezTo>
                  <a:cubicBezTo>
                    <a:pt x="33" y="971"/>
                    <a:pt x="33" y="1011"/>
                    <a:pt x="33" y="1051"/>
                  </a:cubicBezTo>
                  <a:cubicBezTo>
                    <a:pt x="33" y="1051"/>
                    <a:pt x="33" y="1051"/>
                    <a:pt x="33" y="1051"/>
                  </a:cubicBezTo>
                  <a:close/>
                  <a:moveTo>
                    <a:pt x="639" y="84"/>
                  </a:moveTo>
                  <a:cubicBezTo>
                    <a:pt x="627" y="84"/>
                    <a:pt x="626" y="84"/>
                    <a:pt x="629" y="95"/>
                  </a:cubicBezTo>
                  <a:cubicBezTo>
                    <a:pt x="634" y="113"/>
                    <a:pt x="640" y="131"/>
                    <a:pt x="646" y="148"/>
                  </a:cubicBezTo>
                  <a:cubicBezTo>
                    <a:pt x="652" y="166"/>
                    <a:pt x="658" y="185"/>
                    <a:pt x="664" y="203"/>
                  </a:cubicBezTo>
                  <a:cubicBezTo>
                    <a:pt x="671" y="223"/>
                    <a:pt x="676" y="244"/>
                    <a:pt x="684" y="264"/>
                  </a:cubicBezTo>
                  <a:cubicBezTo>
                    <a:pt x="688" y="274"/>
                    <a:pt x="694" y="274"/>
                    <a:pt x="702" y="274"/>
                  </a:cubicBezTo>
                  <a:cubicBezTo>
                    <a:pt x="711" y="274"/>
                    <a:pt x="719" y="272"/>
                    <a:pt x="723" y="263"/>
                  </a:cubicBezTo>
                  <a:cubicBezTo>
                    <a:pt x="733" y="236"/>
                    <a:pt x="741" y="208"/>
                    <a:pt x="750" y="181"/>
                  </a:cubicBezTo>
                  <a:cubicBezTo>
                    <a:pt x="754" y="169"/>
                    <a:pt x="757" y="156"/>
                    <a:pt x="763" y="145"/>
                  </a:cubicBezTo>
                  <a:cubicBezTo>
                    <a:pt x="764" y="143"/>
                    <a:pt x="764" y="140"/>
                    <a:pt x="767" y="140"/>
                  </a:cubicBezTo>
                  <a:cubicBezTo>
                    <a:pt x="770" y="140"/>
                    <a:pt x="770" y="143"/>
                    <a:pt x="771" y="145"/>
                  </a:cubicBezTo>
                  <a:cubicBezTo>
                    <a:pt x="771" y="156"/>
                    <a:pt x="777" y="165"/>
                    <a:pt x="780" y="175"/>
                  </a:cubicBezTo>
                  <a:cubicBezTo>
                    <a:pt x="782" y="184"/>
                    <a:pt x="785" y="193"/>
                    <a:pt x="788" y="201"/>
                  </a:cubicBezTo>
                  <a:cubicBezTo>
                    <a:pt x="794" y="219"/>
                    <a:pt x="801" y="237"/>
                    <a:pt x="806" y="255"/>
                  </a:cubicBezTo>
                  <a:cubicBezTo>
                    <a:pt x="811" y="272"/>
                    <a:pt x="825" y="280"/>
                    <a:pt x="842" y="273"/>
                  </a:cubicBezTo>
                  <a:cubicBezTo>
                    <a:pt x="845" y="271"/>
                    <a:pt x="847" y="269"/>
                    <a:pt x="848" y="266"/>
                  </a:cubicBezTo>
                  <a:cubicBezTo>
                    <a:pt x="853" y="251"/>
                    <a:pt x="859" y="236"/>
                    <a:pt x="863" y="221"/>
                  </a:cubicBezTo>
                  <a:cubicBezTo>
                    <a:pt x="867" y="202"/>
                    <a:pt x="875" y="185"/>
                    <a:pt x="880" y="166"/>
                  </a:cubicBezTo>
                  <a:cubicBezTo>
                    <a:pt x="886" y="144"/>
                    <a:pt x="895" y="123"/>
                    <a:pt x="900" y="101"/>
                  </a:cubicBezTo>
                  <a:cubicBezTo>
                    <a:pt x="901" y="96"/>
                    <a:pt x="909" y="91"/>
                    <a:pt x="904" y="86"/>
                  </a:cubicBezTo>
                  <a:cubicBezTo>
                    <a:pt x="900" y="81"/>
                    <a:pt x="892" y="84"/>
                    <a:pt x="886" y="84"/>
                  </a:cubicBezTo>
                  <a:cubicBezTo>
                    <a:pt x="885" y="84"/>
                    <a:pt x="883" y="84"/>
                    <a:pt x="881" y="84"/>
                  </a:cubicBezTo>
                  <a:cubicBezTo>
                    <a:pt x="875" y="84"/>
                    <a:pt x="872" y="86"/>
                    <a:pt x="869" y="91"/>
                  </a:cubicBezTo>
                  <a:cubicBezTo>
                    <a:pt x="860" y="110"/>
                    <a:pt x="856" y="131"/>
                    <a:pt x="850" y="151"/>
                  </a:cubicBezTo>
                  <a:cubicBezTo>
                    <a:pt x="844" y="170"/>
                    <a:pt x="836" y="188"/>
                    <a:pt x="834" y="208"/>
                  </a:cubicBezTo>
                  <a:cubicBezTo>
                    <a:pt x="833" y="211"/>
                    <a:pt x="831" y="214"/>
                    <a:pt x="827" y="214"/>
                  </a:cubicBezTo>
                  <a:cubicBezTo>
                    <a:pt x="823" y="214"/>
                    <a:pt x="822" y="210"/>
                    <a:pt x="822" y="207"/>
                  </a:cubicBezTo>
                  <a:cubicBezTo>
                    <a:pt x="817" y="188"/>
                    <a:pt x="811" y="170"/>
                    <a:pt x="805" y="152"/>
                  </a:cubicBezTo>
                  <a:cubicBezTo>
                    <a:pt x="799" y="133"/>
                    <a:pt x="794" y="114"/>
                    <a:pt x="786" y="96"/>
                  </a:cubicBezTo>
                  <a:cubicBezTo>
                    <a:pt x="783" y="87"/>
                    <a:pt x="779" y="84"/>
                    <a:pt x="770" y="84"/>
                  </a:cubicBezTo>
                  <a:cubicBezTo>
                    <a:pt x="761" y="84"/>
                    <a:pt x="752" y="82"/>
                    <a:pt x="748" y="94"/>
                  </a:cubicBezTo>
                  <a:cubicBezTo>
                    <a:pt x="744" y="109"/>
                    <a:pt x="738" y="123"/>
                    <a:pt x="734" y="138"/>
                  </a:cubicBezTo>
                  <a:cubicBezTo>
                    <a:pt x="729" y="153"/>
                    <a:pt x="724" y="167"/>
                    <a:pt x="719" y="182"/>
                  </a:cubicBezTo>
                  <a:cubicBezTo>
                    <a:pt x="716" y="192"/>
                    <a:pt x="715" y="203"/>
                    <a:pt x="708" y="212"/>
                  </a:cubicBezTo>
                  <a:cubicBezTo>
                    <a:pt x="707" y="214"/>
                    <a:pt x="707" y="217"/>
                    <a:pt x="704" y="217"/>
                  </a:cubicBezTo>
                  <a:cubicBezTo>
                    <a:pt x="701" y="217"/>
                    <a:pt x="701" y="213"/>
                    <a:pt x="700" y="211"/>
                  </a:cubicBezTo>
                  <a:cubicBezTo>
                    <a:pt x="699" y="198"/>
                    <a:pt x="694" y="186"/>
                    <a:pt x="690" y="174"/>
                  </a:cubicBezTo>
                  <a:cubicBezTo>
                    <a:pt x="684" y="153"/>
                    <a:pt x="677" y="131"/>
                    <a:pt x="672" y="110"/>
                  </a:cubicBezTo>
                  <a:cubicBezTo>
                    <a:pt x="667" y="88"/>
                    <a:pt x="663" y="84"/>
                    <a:pt x="645" y="84"/>
                  </a:cubicBezTo>
                  <a:cubicBezTo>
                    <a:pt x="643" y="84"/>
                    <a:pt x="641" y="84"/>
                    <a:pt x="639" y="84"/>
                  </a:cubicBezTo>
                  <a:close/>
                  <a:moveTo>
                    <a:pt x="507" y="711"/>
                  </a:moveTo>
                  <a:cubicBezTo>
                    <a:pt x="507" y="730"/>
                    <a:pt x="507" y="730"/>
                    <a:pt x="526" y="730"/>
                  </a:cubicBezTo>
                  <a:cubicBezTo>
                    <a:pt x="539" y="730"/>
                    <a:pt x="541" y="729"/>
                    <a:pt x="541" y="715"/>
                  </a:cubicBezTo>
                  <a:cubicBezTo>
                    <a:pt x="541" y="677"/>
                    <a:pt x="541" y="638"/>
                    <a:pt x="540" y="600"/>
                  </a:cubicBezTo>
                  <a:cubicBezTo>
                    <a:pt x="540" y="593"/>
                    <a:pt x="543" y="587"/>
                    <a:pt x="548" y="582"/>
                  </a:cubicBezTo>
                  <a:cubicBezTo>
                    <a:pt x="553" y="576"/>
                    <a:pt x="559" y="573"/>
                    <a:pt x="564" y="569"/>
                  </a:cubicBezTo>
                  <a:cubicBezTo>
                    <a:pt x="574" y="564"/>
                    <a:pt x="594" y="566"/>
                    <a:pt x="602" y="574"/>
                  </a:cubicBezTo>
                  <a:cubicBezTo>
                    <a:pt x="611" y="582"/>
                    <a:pt x="614" y="592"/>
                    <a:pt x="614" y="604"/>
                  </a:cubicBezTo>
                  <a:cubicBezTo>
                    <a:pt x="614" y="638"/>
                    <a:pt x="614" y="672"/>
                    <a:pt x="614" y="706"/>
                  </a:cubicBezTo>
                  <a:cubicBezTo>
                    <a:pt x="614" y="730"/>
                    <a:pt x="614" y="730"/>
                    <a:pt x="638" y="730"/>
                  </a:cubicBezTo>
                  <a:cubicBezTo>
                    <a:pt x="650" y="730"/>
                    <a:pt x="650" y="730"/>
                    <a:pt x="650" y="717"/>
                  </a:cubicBezTo>
                  <a:cubicBezTo>
                    <a:pt x="650" y="684"/>
                    <a:pt x="650" y="650"/>
                    <a:pt x="650" y="617"/>
                  </a:cubicBezTo>
                  <a:cubicBezTo>
                    <a:pt x="650" y="606"/>
                    <a:pt x="651" y="597"/>
                    <a:pt x="657" y="586"/>
                  </a:cubicBezTo>
                  <a:cubicBezTo>
                    <a:pt x="667" y="565"/>
                    <a:pt x="703" y="560"/>
                    <a:pt x="716" y="579"/>
                  </a:cubicBezTo>
                  <a:cubicBezTo>
                    <a:pt x="723" y="588"/>
                    <a:pt x="724" y="598"/>
                    <a:pt x="724" y="609"/>
                  </a:cubicBezTo>
                  <a:cubicBezTo>
                    <a:pt x="724" y="645"/>
                    <a:pt x="724" y="682"/>
                    <a:pt x="724" y="718"/>
                  </a:cubicBezTo>
                  <a:cubicBezTo>
                    <a:pt x="724" y="727"/>
                    <a:pt x="727" y="731"/>
                    <a:pt x="736" y="730"/>
                  </a:cubicBezTo>
                  <a:cubicBezTo>
                    <a:pt x="738" y="730"/>
                    <a:pt x="741" y="730"/>
                    <a:pt x="743" y="730"/>
                  </a:cubicBezTo>
                  <a:cubicBezTo>
                    <a:pt x="758" y="730"/>
                    <a:pt x="759" y="729"/>
                    <a:pt x="759" y="715"/>
                  </a:cubicBezTo>
                  <a:cubicBezTo>
                    <a:pt x="759" y="677"/>
                    <a:pt x="758" y="639"/>
                    <a:pt x="759" y="601"/>
                  </a:cubicBezTo>
                  <a:cubicBezTo>
                    <a:pt x="759" y="571"/>
                    <a:pt x="742" y="540"/>
                    <a:pt x="704" y="538"/>
                  </a:cubicBezTo>
                  <a:cubicBezTo>
                    <a:pt x="681" y="536"/>
                    <a:pt x="661" y="542"/>
                    <a:pt x="646" y="560"/>
                  </a:cubicBezTo>
                  <a:cubicBezTo>
                    <a:pt x="638" y="569"/>
                    <a:pt x="638" y="569"/>
                    <a:pt x="631" y="559"/>
                  </a:cubicBezTo>
                  <a:cubicBezTo>
                    <a:pt x="630" y="558"/>
                    <a:pt x="630" y="557"/>
                    <a:pt x="629" y="556"/>
                  </a:cubicBezTo>
                  <a:cubicBezTo>
                    <a:pt x="623" y="548"/>
                    <a:pt x="616" y="541"/>
                    <a:pt x="607" y="539"/>
                  </a:cubicBezTo>
                  <a:cubicBezTo>
                    <a:pt x="584" y="534"/>
                    <a:pt x="563" y="539"/>
                    <a:pt x="545" y="555"/>
                  </a:cubicBezTo>
                  <a:cubicBezTo>
                    <a:pt x="540" y="559"/>
                    <a:pt x="537" y="561"/>
                    <a:pt x="537" y="552"/>
                  </a:cubicBezTo>
                  <a:cubicBezTo>
                    <a:pt x="536" y="543"/>
                    <a:pt x="526" y="538"/>
                    <a:pt x="515" y="539"/>
                  </a:cubicBezTo>
                  <a:cubicBezTo>
                    <a:pt x="506" y="540"/>
                    <a:pt x="507" y="546"/>
                    <a:pt x="507" y="552"/>
                  </a:cubicBezTo>
                  <a:cubicBezTo>
                    <a:pt x="507" y="580"/>
                    <a:pt x="507" y="607"/>
                    <a:pt x="507" y="634"/>
                  </a:cubicBezTo>
                  <a:cubicBezTo>
                    <a:pt x="507" y="660"/>
                    <a:pt x="507" y="685"/>
                    <a:pt x="507" y="711"/>
                  </a:cubicBezTo>
                  <a:close/>
                  <a:moveTo>
                    <a:pt x="1525" y="1142"/>
                  </a:moveTo>
                  <a:cubicBezTo>
                    <a:pt x="1517" y="1143"/>
                    <a:pt x="1511" y="1141"/>
                    <a:pt x="1505" y="1136"/>
                  </a:cubicBezTo>
                  <a:cubicBezTo>
                    <a:pt x="1501" y="1133"/>
                    <a:pt x="1495" y="1130"/>
                    <a:pt x="1498" y="1124"/>
                  </a:cubicBezTo>
                  <a:cubicBezTo>
                    <a:pt x="1500" y="1118"/>
                    <a:pt x="1504" y="1114"/>
                    <a:pt x="1512" y="1114"/>
                  </a:cubicBezTo>
                  <a:cubicBezTo>
                    <a:pt x="1521" y="1115"/>
                    <a:pt x="1530" y="1114"/>
                    <a:pt x="1538" y="1115"/>
                  </a:cubicBezTo>
                  <a:cubicBezTo>
                    <a:pt x="1573" y="1117"/>
                    <a:pt x="1610" y="1084"/>
                    <a:pt x="1602" y="1044"/>
                  </a:cubicBezTo>
                  <a:cubicBezTo>
                    <a:pt x="1600" y="1035"/>
                    <a:pt x="1599" y="1028"/>
                    <a:pt x="1611" y="1027"/>
                  </a:cubicBezTo>
                  <a:cubicBezTo>
                    <a:pt x="1614" y="1027"/>
                    <a:pt x="1617" y="1024"/>
                    <a:pt x="1619" y="1023"/>
                  </a:cubicBezTo>
                  <a:cubicBezTo>
                    <a:pt x="1626" y="1019"/>
                    <a:pt x="1624" y="1013"/>
                    <a:pt x="1623" y="1008"/>
                  </a:cubicBezTo>
                  <a:cubicBezTo>
                    <a:pt x="1623" y="1002"/>
                    <a:pt x="1618" y="1003"/>
                    <a:pt x="1613" y="1002"/>
                  </a:cubicBezTo>
                  <a:cubicBezTo>
                    <a:pt x="1598" y="1002"/>
                    <a:pt x="1582" y="1004"/>
                    <a:pt x="1567" y="1000"/>
                  </a:cubicBezTo>
                  <a:cubicBezTo>
                    <a:pt x="1560" y="999"/>
                    <a:pt x="1554" y="993"/>
                    <a:pt x="1546" y="993"/>
                  </a:cubicBezTo>
                  <a:cubicBezTo>
                    <a:pt x="1536" y="994"/>
                    <a:pt x="1525" y="992"/>
                    <a:pt x="1515" y="993"/>
                  </a:cubicBezTo>
                  <a:cubicBezTo>
                    <a:pt x="1490" y="997"/>
                    <a:pt x="1469" y="1010"/>
                    <a:pt x="1462" y="1034"/>
                  </a:cubicBezTo>
                  <a:cubicBezTo>
                    <a:pt x="1455" y="1056"/>
                    <a:pt x="1457" y="1079"/>
                    <a:pt x="1476" y="1096"/>
                  </a:cubicBezTo>
                  <a:cubicBezTo>
                    <a:pt x="1483" y="1103"/>
                    <a:pt x="1483" y="1107"/>
                    <a:pt x="1476" y="1113"/>
                  </a:cubicBezTo>
                  <a:cubicBezTo>
                    <a:pt x="1462" y="1126"/>
                    <a:pt x="1462" y="1142"/>
                    <a:pt x="1473" y="1157"/>
                  </a:cubicBezTo>
                  <a:cubicBezTo>
                    <a:pt x="1476" y="1160"/>
                    <a:pt x="1476" y="1162"/>
                    <a:pt x="1472" y="1164"/>
                  </a:cubicBezTo>
                  <a:cubicBezTo>
                    <a:pt x="1470" y="1166"/>
                    <a:pt x="1468" y="1168"/>
                    <a:pt x="1466" y="1170"/>
                  </a:cubicBezTo>
                  <a:cubicBezTo>
                    <a:pt x="1449" y="1183"/>
                    <a:pt x="1444" y="1201"/>
                    <a:pt x="1454" y="1218"/>
                  </a:cubicBezTo>
                  <a:cubicBezTo>
                    <a:pt x="1464" y="1235"/>
                    <a:pt x="1479" y="1246"/>
                    <a:pt x="1499" y="1249"/>
                  </a:cubicBezTo>
                  <a:cubicBezTo>
                    <a:pt x="1517" y="1252"/>
                    <a:pt x="1535" y="1253"/>
                    <a:pt x="1553" y="1250"/>
                  </a:cubicBezTo>
                  <a:cubicBezTo>
                    <a:pt x="1584" y="1245"/>
                    <a:pt x="1607" y="1232"/>
                    <a:pt x="1619" y="1200"/>
                  </a:cubicBezTo>
                  <a:cubicBezTo>
                    <a:pt x="1627" y="1180"/>
                    <a:pt x="1611" y="1155"/>
                    <a:pt x="1593" y="1148"/>
                  </a:cubicBezTo>
                  <a:cubicBezTo>
                    <a:pt x="1578" y="1142"/>
                    <a:pt x="1563" y="1143"/>
                    <a:pt x="1549" y="1142"/>
                  </a:cubicBezTo>
                  <a:cubicBezTo>
                    <a:pt x="1540" y="1142"/>
                    <a:pt x="1532" y="1142"/>
                    <a:pt x="1525" y="1142"/>
                  </a:cubicBezTo>
                  <a:close/>
                  <a:moveTo>
                    <a:pt x="1556" y="1172"/>
                  </a:moveTo>
                  <a:cubicBezTo>
                    <a:pt x="1566" y="1172"/>
                    <a:pt x="1576" y="1176"/>
                    <a:pt x="1583" y="1183"/>
                  </a:cubicBezTo>
                  <a:cubicBezTo>
                    <a:pt x="1589" y="1190"/>
                    <a:pt x="1589" y="1198"/>
                    <a:pt x="1583" y="1205"/>
                  </a:cubicBezTo>
                  <a:cubicBezTo>
                    <a:pt x="1575" y="1215"/>
                    <a:pt x="1565" y="1220"/>
                    <a:pt x="1553" y="1223"/>
                  </a:cubicBezTo>
                  <a:cubicBezTo>
                    <a:pt x="1534" y="1228"/>
                    <a:pt x="1516" y="1225"/>
                    <a:pt x="1499" y="1219"/>
                  </a:cubicBezTo>
                  <a:cubicBezTo>
                    <a:pt x="1486" y="1214"/>
                    <a:pt x="1479" y="1203"/>
                    <a:pt x="1482" y="1193"/>
                  </a:cubicBezTo>
                  <a:cubicBezTo>
                    <a:pt x="1485" y="1182"/>
                    <a:pt x="1496" y="1168"/>
                    <a:pt x="1514" y="1171"/>
                  </a:cubicBezTo>
                  <a:cubicBezTo>
                    <a:pt x="1526" y="1173"/>
                    <a:pt x="1541" y="1171"/>
                    <a:pt x="1556" y="1172"/>
                  </a:cubicBezTo>
                  <a:close/>
                  <a:moveTo>
                    <a:pt x="1531" y="1019"/>
                  </a:moveTo>
                  <a:cubicBezTo>
                    <a:pt x="1553" y="1017"/>
                    <a:pt x="1570" y="1033"/>
                    <a:pt x="1570" y="1052"/>
                  </a:cubicBezTo>
                  <a:cubicBezTo>
                    <a:pt x="1570" y="1075"/>
                    <a:pt x="1554" y="1093"/>
                    <a:pt x="1532" y="1091"/>
                  </a:cubicBezTo>
                  <a:cubicBezTo>
                    <a:pt x="1508" y="1089"/>
                    <a:pt x="1494" y="1082"/>
                    <a:pt x="1493" y="1053"/>
                  </a:cubicBezTo>
                  <a:cubicBezTo>
                    <a:pt x="1494" y="1029"/>
                    <a:pt x="1508" y="1020"/>
                    <a:pt x="1531" y="1019"/>
                  </a:cubicBezTo>
                  <a:close/>
                  <a:moveTo>
                    <a:pt x="1413" y="934"/>
                  </a:moveTo>
                  <a:cubicBezTo>
                    <a:pt x="1413" y="909"/>
                    <a:pt x="1413" y="909"/>
                    <a:pt x="1389" y="910"/>
                  </a:cubicBezTo>
                  <a:cubicBezTo>
                    <a:pt x="1388" y="910"/>
                    <a:pt x="1387" y="910"/>
                    <a:pt x="1387" y="910"/>
                  </a:cubicBezTo>
                  <a:cubicBezTo>
                    <a:pt x="1379" y="910"/>
                    <a:pt x="1376" y="915"/>
                    <a:pt x="1376" y="921"/>
                  </a:cubicBezTo>
                  <a:cubicBezTo>
                    <a:pt x="1376" y="939"/>
                    <a:pt x="1377" y="956"/>
                    <a:pt x="1377" y="974"/>
                  </a:cubicBezTo>
                  <a:cubicBezTo>
                    <a:pt x="1377" y="983"/>
                    <a:pt x="1377" y="991"/>
                    <a:pt x="1377" y="1000"/>
                  </a:cubicBezTo>
                  <a:cubicBezTo>
                    <a:pt x="1377" y="1005"/>
                    <a:pt x="1374" y="1009"/>
                    <a:pt x="1369" y="1005"/>
                  </a:cubicBezTo>
                  <a:cubicBezTo>
                    <a:pt x="1352" y="990"/>
                    <a:pt x="1332" y="993"/>
                    <a:pt x="1312" y="993"/>
                  </a:cubicBezTo>
                  <a:cubicBezTo>
                    <a:pt x="1303" y="994"/>
                    <a:pt x="1294" y="998"/>
                    <a:pt x="1287" y="1003"/>
                  </a:cubicBezTo>
                  <a:cubicBezTo>
                    <a:pt x="1265" y="1017"/>
                    <a:pt x="1252" y="1039"/>
                    <a:pt x="1248" y="1065"/>
                  </a:cubicBezTo>
                  <a:cubicBezTo>
                    <a:pt x="1244" y="1096"/>
                    <a:pt x="1244" y="1128"/>
                    <a:pt x="1261" y="1157"/>
                  </a:cubicBezTo>
                  <a:cubicBezTo>
                    <a:pt x="1270" y="1170"/>
                    <a:pt x="1281" y="1181"/>
                    <a:pt x="1296" y="1185"/>
                  </a:cubicBezTo>
                  <a:cubicBezTo>
                    <a:pt x="1323" y="1191"/>
                    <a:pt x="1349" y="1188"/>
                    <a:pt x="1370" y="1167"/>
                  </a:cubicBezTo>
                  <a:cubicBezTo>
                    <a:pt x="1372" y="1165"/>
                    <a:pt x="1375" y="1162"/>
                    <a:pt x="1379" y="1163"/>
                  </a:cubicBezTo>
                  <a:cubicBezTo>
                    <a:pt x="1382" y="1165"/>
                    <a:pt x="1381" y="1169"/>
                    <a:pt x="1381" y="1172"/>
                  </a:cubicBezTo>
                  <a:cubicBezTo>
                    <a:pt x="1383" y="1181"/>
                    <a:pt x="1390" y="1186"/>
                    <a:pt x="1403" y="1186"/>
                  </a:cubicBezTo>
                  <a:cubicBezTo>
                    <a:pt x="1413" y="1185"/>
                    <a:pt x="1413" y="1178"/>
                    <a:pt x="1413" y="1172"/>
                  </a:cubicBezTo>
                  <a:cubicBezTo>
                    <a:pt x="1413" y="1131"/>
                    <a:pt x="1413" y="1090"/>
                    <a:pt x="1413" y="1049"/>
                  </a:cubicBezTo>
                  <a:cubicBezTo>
                    <a:pt x="1413" y="1010"/>
                    <a:pt x="1413" y="972"/>
                    <a:pt x="1413" y="934"/>
                  </a:cubicBezTo>
                  <a:close/>
                  <a:moveTo>
                    <a:pt x="1378" y="1113"/>
                  </a:moveTo>
                  <a:cubicBezTo>
                    <a:pt x="1378" y="1136"/>
                    <a:pt x="1360" y="1155"/>
                    <a:pt x="1337" y="1157"/>
                  </a:cubicBezTo>
                  <a:cubicBezTo>
                    <a:pt x="1319" y="1159"/>
                    <a:pt x="1304" y="1154"/>
                    <a:pt x="1294" y="1139"/>
                  </a:cubicBezTo>
                  <a:cubicBezTo>
                    <a:pt x="1286" y="1128"/>
                    <a:pt x="1283" y="1116"/>
                    <a:pt x="1283" y="1102"/>
                  </a:cubicBezTo>
                  <a:cubicBezTo>
                    <a:pt x="1282" y="1085"/>
                    <a:pt x="1282" y="1067"/>
                    <a:pt x="1290" y="1051"/>
                  </a:cubicBezTo>
                  <a:cubicBezTo>
                    <a:pt x="1297" y="1036"/>
                    <a:pt x="1308" y="1024"/>
                    <a:pt x="1325" y="1022"/>
                  </a:cubicBezTo>
                  <a:cubicBezTo>
                    <a:pt x="1342" y="1020"/>
                    <a:pt x="1358" y="1021"/>
                    <a:pt x="1371" y="1035"/>
                  </a:cubicBezTo>
                  <a:cubicBezTo>
                    <a:pt x="1376" y="1041"/>
                    <a:pt x="1378" y="1046"/>
                    <a:pt x="1378" y="1052"/>
                  </a:cubicBezTo>
                  <a:cubicBezTo>
                    <a:pt x="1378" y="1064"/>
                    <a:pt x="1378" y="1075"/>
                    <a:pt x="1378" y="1086"/>
                  </a:cubicBezTo>
                  <a:cubicBezTo>
                    <a:pt x="1378" y="1086"/>
                    <a:pt x="1378" y="1086"/>
                    <a:pt x="1378" y="1086"/>
                  </a:cubicBezTo>
                  <a:cubicBezTo>
                    <a:pt x="1378" y="1095"/>
                    <a:pt x="1378" y="1104"/>
                    <a:pt x="1378" y="1113"/>
                  </a:cubicBezTo>
                  <a:close/>
                  <a:moveTo>
                    <a:pt x="578" y="259"/>
                  </a:moveTo>
                  <a:cubicBezTo>
                    <a:pt x="603" y="241"/>
                    <a:pt x="611" y="213"/>
                    <a:pt x="614" y="183"/>
                  </a:cubicBezTo>
                  <a:cubicBezTo>
                    <a:pt x="615" y="171"/>
                    <a:pt x="610" y="159"/>
                    <a:pt x="609" y="147"/>
                  </a:cubicBezTo>
                  <a:cubicBezTo>
                    <a:pt x="608" y="137"/>
                    <a:pt x="603" y="129"/>
                    <a:pt x="599" y="121"/>
                  </a:cubicBezTo>
                  <a:cubicBezTo>
                    <a:pt x="579" y="87"/>
                    <a:pt x="527" y="70"/>
                    <a:pt x="488" y="85"/>
                  </a:cubicBezTo>
                  <a:cubicBezTo>
                    <a:pt x="453" y="99"/>
                    <a:pt x="436" y="127"/>
                    <a:pt x="431" y="163"/>
                  </a:cubicBezTo>
                  <a:cubicBezTo>
                    <a:pt x="429" y="180"/>
                    <a:pt x="430" y="196"/>
                    <a:pt x="436" y="213"/>
                  </a:cubicBezTo>
                  <a:cubicBezTo>
                    <a:pt x="439" y="222"/>
                    <a:pt x="442" y="232"/>
                    <a:pt x="447" y="239"/>
                  </a:cubicBezTo>
                  <a:cubicBezTo>
                    <a:pt x="465" y="265"/>
                    <a:pt x="491" y="277"/>
                    <a:pt x="525" y="276"/>
                  </a:cubicBezTo>
                  <a:cubicBezTo>
                    <a:pt x="543" y="278"/>
                    <a:pt x="562" y="271"/>
                    <a:pt x="578" y="259"/>
                  </a:cubicBezTo>
                  <a:close/>
                  <a:moveTo>
                    <a:pt x="471" y="205"/>
                  </a:moveTo>
                  <a:cubicBezTo>
                    <a:pt x="466" y="185"/>
                    <a:pt x="468" y="167"/>
                    <a:pt x="472" y="147"/>
                  </a:cubicBezTo>
                  <a:cubicBezTo>
                    <a:pt x="477" y="130"/>
                    <a:pt x="493" y="116"/>
                    <a:pt x="509" y="112"/>
                  </a:cubicBezTo>
                  <a:cubicBezTo>
                    <a:pt x="525" y="108"/>
                    <a:pt x="539" y="110"/>
                    <a:pt x="553" y="119"/>
                  </a:cubicBezTo>
                  <a:cubicBezTo>
                    <a:pt x="563" y="125"/>
                    <a:pt x="568" y="135"/>
                    <a:pt x="571" y="146"/>
                  </a:cubicBezTo>
                  <a:cubicBezTo>
                    <a:pt x="577" y="167"/>
                    <a:pt x="578" y="189"/>
                    <a:pt x="571" y="211"/>
                  </a:cubicBezTo>
                  <a:cubicBezTo>
                    <a:pt x="565" y="231"/>
                    <a:pt x="549" y="249"/>
                    <a:pt x="521" y="247"/>
                  </a:cubicBezTo>
                  <a:cubicBezTo>
                    <a:pt x="496" y="247"/>
                    <a:pt x="478" y="230"/>
                    <a:pt x="471" y="205"/>
                  </a:cubicBezTo>
                  <a:close/>
                  <a:moveTo>
                    <a:pt x="472" y="1122"/>
                  </a:moveTo>
                  <a:cubicBezTo>
                    <a:pt x="475" y="1136"/>
                    <a:pt x="481" y="1148"/>
                    <a:pt x="491" y="1158"/>
                  </a:cubicBezTo>
                  <a:cubicBezTo>
                    <a:pt x="506" y="1176"/>
                    <a:pt x="524" y="1185"/>
                    <a:pt x="548" y="1187"/>
                  </a:cubicBezTo>
                  <a:cubicBezTo>
                    <a:pt x="568" y="1188"/>
                    <a:pt x="587" y="1187"/>
                    <a:pt x="605" y="1177"/>
                  </a:cubicBezTo>
                  <a:cubicBezTo>
                    <a:pt x="632" y="1162"/>
                    <a:pt x="644" y="1136"/>
                    <a:pt x="649" y="1107"/>
                  </a:cubicBezTo>
                  <a:cubicBezTo>
                    <a:pt x="652" y="1089"/>
                    <a:pt x="649" y="1072"/>
                    <a:pt x="644" y="1054"/>
                  </a:cubicBezTo>
                  <a:cubicBezTo>
                    <a:pt x="638" y="1034"/>
                    <a:pt x="627" y="1019"/>
                    <a:pt x="610" y="1007"/>
                  </a:cubicBezTo>
                  <a:cubicBezTo>
                    <a:pt x="589" y="992"/>
                    <a:pt x="566" y="991"/>
                    <a:pt x="541" y="994"/>
                  </a:cubicBezTo>
                  <a:cubicBezTo>
                    <a:pt x="526" y="995"/>
                    <a:pt x="512" y="1002"/>
                    <a:pt x="500" y="1012"/>
                  </a:cubicBezTo>
                  <a:cubicBezTo>
                    <a:pt x="476" y="1032"/>
                    <a:pt x="469" y="1060"/>
                    <a:pt x="466" y="1095"/>
                  </a:cubicBezTo>
                  <a:cubicBezTo>
                    <a:pt x="465" y="1101"/>
                    <a:pt x="470" y="1111"/>
                    <a:pt x="472" y="1122"/>
                  </a:cubicBezTo>
                  <a:close/>
                  <a:moveTo>
                    <a:pt x="508" y="1113"/>
                  </a:moveTo>
                  <a:cubicBezTo>
                    <a:pt x="505" y="1095"/>
                    <a:pt x="506" y="1078"/>
                    <a:pt x="508" y="1061"/>
                  </a:cubicBezTo>
                  <a:cubicBezTo>
                    <a:pt x="511" y="1042"/>
                    <a:pt x="538" y="1021"/>
                    <a:pt x="554" y="1022"/>
                  </a:cubicBezTo>
                  <a:cubicBezTo>
                    <a:pt x="570" y="1022"/>
                    <a:pt x="586" y="1024"/>
                    <a:pt x="596" y="1037"/>
                  </a:cubicBezTo>
                  <a:cubicBezTo>
                    <a:pt x="602" y="1044"/>
                    <a:pt x="607" y="1052"/>
                    <a:pt x="608" y="1061"/>
                  </a:cubicBezTo>
                  <a:cubicBezTo>
                    <a:pt x="608" y="1064"/>
                    <a:pt x="609" y="1067"/>
                    <a:pt x="610" y="1070"/>
                  </a:cubicBezTo>
                  <a:cubicBezTo>
                    <a:pt x="618" y="1089"/>
                    <a:pt x="612" y="1107"/>
                    <a:pt x="607" y="1125"/>
                  </a:cubicBezTo>
                  <a:cubicBezTo>
                    <a:pt x="601" y="1143"/>
                    <a:pt x="588" y="1160"/>
                    <a:pt x="558" y="1157"/>
                  </a:cubicBezTo>
                  <a:cubicBezTo>
                    <a:pt x="530" y="1157"/>
                    <a:pt x="512" y="1141"/>
                    <a:pt x="508" y="1113"/>
                  </a:cubicBezTo>
                  <a:close/>
                  <a:moveTo>
                    <a:pt x="430" y="716"/>
                  </a:moveTo>
                  <a:cubicBezTo>
                    <a:pt x="450" y="703"/>
                    <a:pt x="459" y="683"/>
                    <a:pt x="464" y="661"/>
                  </a:cubicBezTo>
                  <a:cubicBezTo>
                    <a:pt x="468" y="648"/>
                    <a:pt x="467" y="635"/>
                    <a:pt x="466" y="621"/>
                  </a:cubicBezTo>
                  <a:cubicBezTo>
                    <a:pt x="463" y="592"/>
                    <a:pt x="453" y="567"/>
                    <a:pt x="427" y="550"/>
                  </a:cubicBezTo>
                  <a:cubicBezTo>
                    <a:pt x="401" y="534"/>
                    <a:pt x="372" y="532"/>
                    <a:pt x="345" y="541"/>
                  </a:cubicBezTo>
                  <a:cubicBezTo>
                    <a:pt x="310" y="552"/>
                    <a:pt x="291" y="580"/>
                    <a:pt x="287" y="617"/>
                  </a:cubicBezTo>
                  <a:cubicBezTo>
                    <a:pt x="286" y="629"/>
                    <a:pt x="286" y="641"/>
                    <a:pt x="287" y="654"/>
                  </a:cubicBezTo>
                  <a:cubicBezTo>
                    <a:pt x="289" y="671"/>
                    <a:pt x="295" y="686"/>
                    <a:pt x="306" y="700"/>
                  </a:cubicBezTo>
                  <a:cubicBezTo>
                    <a:pt x="324" y="722"/>
                    <a:pt x="348" y="733"/>
                    <a:pt x="378" y="731"/>
                  </a:cubicBezTo>
                  <a:cubicBezTo>
                    <a:pt x="396" y="733"/>
                    <a:pt x="414" y="727"/>
                    <a:pt x="430" y="716"/>
                  </a:cubicBezTo>
                  <a:close/>
                  <a:moveTo>
                    <a:pt x="331" y="592"/>
                  </a:moveTo>
                  <a:cubicBezTo>
                    <a:pt x="339" y="580"/>
                    <a:pt x="349" y="569"/>
                    <a:pt x="365" y="567"/>
                  </a:cubicBezTo>
                  <a:cubicBezTo>
                    <a:pt x="387" y="564"/>
                    <a:pt x="406" y="568"/>
                    <a:pt x="419" y="588"/>
                  </a:cubicBezTo>
                  <a:cubicBezTo>
                    <a:pt x="423" y="595"/>
                    <a:pt x="426" y="603"/>
                    <a:pt x="427" y="610"/>
                  </a:cubicBezTo>
                  <a:cubicBezTo>
                    <a:pt x="433" y="635"/>
                    <a:pt x="431" y="661"/>
                    <a:pt x="416" y="684"/>
                  </a:cubicBezTo>
                  <a:cubicBezTo>
                    <a:pt x="403" y="706"/>
                    <a:pt x="362" y="708"/>
                    <a:pt x="345" y="692"/>
                  </a:cubicBezTo>
                  <a:cubicBezTo>
                    <a:pt x="329" y="678"/>
                    <a:pt x="323" y="661"/>
                    <a:pt x="323" y="631"/>
                  </a:cubicBezTo>
                  <a:cubicBezTo>
                    <a:pt x="323" y="619"/>
                    <a:pt x="323" y="605"/>
                    <a:pt x="331" y="592"/>
                  </a:cubicBezTo>
                  <a:close/>
                  <a:moveTo>
                    <a:pt x="1073" y="259"/>
                  </a:moveTo>
                  <a:cubicBezTo>
                    <a:pt x="1073" y="269"/>
                    <a:pt x="1075" y="272"/>
                    <a:pt x="1086" y="272"/>
                  </a:cubicBezTo>
                  <a:cubicBezTo>
                    <a:pt x="1088" y="272"/>
                    <a:pt x="1090" y="272"/>
                    <a:pt x="1092" y="272"/>
                  </a:cubicBezTo>
                  <a:cubicBezTo>
                    <a:pt x="1105" y="272"/>
                    <a:pt x="1106" y="271"/>
                    <a:pt x="1106" y="258"/>
                  </a:cubicBezTo>
                  <a:cubicBezTo>
                    <a:pt x="1106" y="221"/>
                    <a:pt x="1106" y="184"/>
                    <a:pt x="1106" y="147"/>
                  </a:cubicBezTo>
                  <a:cubicBezTo>
                    <a:pt x="1106" y="143"/>
                    <a:pt x="1106" y="140"/>
                    <a:pt x="1107" y="137"/>
                  </a:cubicBezTo>
                  <a:cubicBezTo>
                    <a:pt x="1117" y="117"/>
                    <a:pt x="1157" y="104"/>
                    <a:pt x="1177" y="114"/>
                  </a:cubicBezTo>
                  <a:cubicBezTo>
                    <a:pt x="1179" y="115"/>
                    <a:pt x="1180" y="117"/>
                    <a:pt x="1182" y="118"/>
                  </a:cubicBezTo>
                  <a:cubicBezTo>
                    <a:pt x="1194" y="131"/>
                    <a:pt x="1196" y="147"/>
                    <a:pt x="1196" y="163"/>
                  </a:cubicBezTo>
                  <a:cubicBezTo>
                    <a:pt x="1197" y="195"/>
                    <a:pt x="1196" y="226"/>
                    <a:pt x="1196" y="258"/>
                  </a:cubicBezTo>
                  <a:cubicBezTo>
                    <a:pt x="1196" y="271"/>
                    <a:pt x="1197" y="272"/>
                    <a:pt x="1210" y="272"/>
                  </a:cubicBezTo>
                  <a:cubicBezTo>
                    <a:pt x="1212" y="272"/>
                    <a:pt x="1213" y="272"/>
                    <a:pt x="1215" y="272"/>
                  </a:cubicBezTo>
                  <a:cubicBezTo>
                    <a:pt x="1227" y="272"/>
                    <a:pt x="1229" y="270"/>
                    <a:pt x="1229" y="258"/>
                  </a:cubicBezTo>
                  <a:cubicBezTo>
                    <a:pt x="1229" y="222"/>
                    <a:pt x="1229" y="187"/>
                    <a:pt x="1229" y="151"/>
                  </a:cubicBezTo>
                  <a:cubicBezTo>
                    <a:pt x="1229" y="142"/>
                    <a:pt x="1228" y="132"/>
                    <a:pt x="1225" y="123"/>
                  </a:cubicBezTo>
                  <a:cubicBezTo>
                    <a:pt x="1219" y="105"/>
                    <a:pt x="1208" y="91"/>
                    <a:pt x="1189" y="85"/>
                  </a:cubicBezTo>
                  <a:cubicBezTo>
                    <a:pt x="1173" y="80"/>
                    <a:pt x="1156" y="84"/>
                    <a:pt x="1139" y="84"/>
                  </a:cubicBezTo>
                  <a:cubicBezTo>
                    <a:pt x="1137" y="84"/>
                    <a:pt x="1136" y="86"/>
                    <a:pt x="1134" y="87"/>
                  </a:cubicBezTo>
                  <a:cubicBezTo>
                    <a:pt x="1128" y="91"/>
                    <a:pt x="1121" y="96"/>
                    <a:pt x="1115" y="100"/>
                  </a:cubicBezTo>
                  <a:cubicBezTo>
                    <a:pt x="1113" y="102"/>
                    <a:pt x="1111" y="105"/>
                    <a:pt x="1108" y="103"/>
                  </a:cubicBezTo>
                  <a:cubicBezTo>
                    <a:pt x="1105" y="102"/>
                    <a:pt x="1106" y="98"/>
                    <a:pt x="1106" y="96"/>
                  </a:cubicBezTo>
                  <a:cubicBezTo>
                    <a:pt x="1106" y="69"/>
                    <a:pt x="1106" y="43"/>
                    <a:pt x="1106" y="17"/>
                  </a:cubicBezTo>
                  <a:cubicBezTo>
                    <a:pt x="1106" y="0"/>
                    <a:pt x="1106" y="0"/>
                    <a:pt x="1089" y="0"/>
                  </a:cubicBezTo>
                  <a:cubicBezTo>
                    <a:pt x="1074" y="0"/>
                    <a:pt x="1073" y="1"/>
                    <a:pt x="1073" y="16"/>
                  </a:cubicBezTo>
                  <a:cubicBezTo>
                    <a:pt x="1073" y="56"/>
                    <a:pt x="1073" y="96"/>
                    <a:pt x="1073" y="136"/>
                  </a:cubicBezTo>
                  <a:cubicBezTo>
                    <a:pt x="1073" y="177"/>
                    <a:pt x="1073" y="218"/>
                    <a:pt x="1073" y="259"/>
                  </a:cubicBezTo>
                  <a:close/>
                  <a:moveTo>
                    <a:pt x="1150" y="1092"/>
                  </a:moveTo>
                  <a:cubicBezTo>
                    <a:pt x="1168" y="1092"/>
                    <a:pt x="1186" y="1092"/>
                    <a:pt x="1204" y="1092"/>
                  </a:cubicBezTo>
                  <a:cubicBezTo>
                    <a:pt x="1215" y="1092"/>
                    <a:pt x="1218" y="1087"/>
                    <a:pt x="1219" y="1077"/>
                  </a:cubicBezTo>
                  <a:cubicBezTo>
                    <a:pt x="1220" y="1062"/>
                    <a:pt x="1216" y="1049"/>
                    <a:pt x="1210" y="1036"/>
                  </a:cubicBezTo>
                  <a:cubicBezTo>
                    <a:pt x="1204" y="1020"/>
                    <a:pt x="1193" y="1008"/>
                    <a:pt x="1177" y="1001"/>
                  </a:cubicBezTo>
                  <a:cubicBezTo>
                    <a:pt x="1155" y="992"/>
                    <a:pt x="1133" y="991"/>
                    <a:pt x="1109" y="999"/>
                  </a:cubicBezTo>
                  <a:cubicBezTo>
                    <a:pt x="1079" y="1010"/>
                    <a:pt x="1062" y="1031"/>
                    <a:pt x="1056" y="1061"/>
                  </a:cubicBezTo>
                  <a:cubicBezTo>
                    <a:pt x="1051" y="1090"/>
                    <a:pt x="1052" y="1120"/>
                    <a:pt x="1069" y="1148"/>
                  </a:cubicBezTo>
                  <a:cubicBezTo>
                    <a:pt x="1081" y="1169"/>
                    <a:pt x="1100" y="1180"/>
                    <a:pt x="1122" y="1185"/>
                  </a:cubicBezTo>
                  <a:cubicBezTo>
                    <a:pt x="1149" y="1190"/>
                    <a:pt x="1176" y="1186"/>
                    <a:pt x="1200" y="1171"/>
                  </a:cubicBezTo>
                  <a:cubicBezTo>
                    <a:pt x="1206" y="1168"/>
                    <a:pt x="1213" y="1165"/>
                    <a:pt x="1214" y="1157"/>
                  </a:cubicBezTo>
                  <a:cubicBezTo>
                    <a:pt x="1215" y="1147"/>
                    <a:pt x="1202" y="1139"/>
                    <a:pt x="1193" y="1144"/>
                  </a:cubicBezTo>
                  <a:cubicBezTo>
                    <a:pt x="1187" y="1147"/>
                    <a:pt x="1180" y="1150"/>
                    <a:pt x="1174" y="1153"/>
                  </a:cubicBezTo>
                  <a:cubicBezTo>
                    <a:pt x="1158" y="1161"/>
                    <a:pt x="1140" y="1161"/>
                    <a:pt x="1124" y="1155"/>
                  </a:cubicBezTo>
                  <a:cubicBezTo>
                    <a:pt x="1112" y="1151"/>
                    <a:pt x="1102" y="1142"/>
                    <a:pt x="1096" y="1129"/>
                  </a:cubicBezTo>
                  <a:cubicBezTo>
                    <a:pt x="1092" y="1121"/>
                    <a:pt x="1091" y="1112"/>
                    <a:pt x="1089" y="1104"/>
                  </a:cubicBezTo>
                  <a:cubicBezTo>
                    <a:pt x="1087" y="1093"/>
                    <a:pt x="1087" y="1092"/>
                    <a:pt x="1099" y="1092"/>
                  </a:cubicBezTo>
                  <a:cubicBezTo>
                    <a:pt x="1116" y="1092"/>
                    <a:pt x="1133" y="1092"/>
                    <a:pt x="1150" y="1092"/>
                  </a:cubicBezTo>
                  <a:cubicBezTo>
                    <a:pt x="1150" y="1092"/>
                    <a:pt x="1150" y="1092"/>
                    <a:pt x="1150" y="1092"/>
                  </a:cubicBezTo>
                  <a:close/>
                  <a:moveTo>
                    <a:pt x="1099" y="1070"/>
                  </a:moveTo>
                  <a:cubicBezTo>
                    <a:pt x="1092" y="1071"/>
                    <a:pt x="1089" y="1067"/>
                    <a:pt x="1091" y="1060"/>
                  </a:cubicBezTo>
                  <a:cubicBezTo>
                    <a:pt x="1094" y="1045"/>
                    <a:pt x="1108" y="1023"/>
                    <a:pt x="1128" y="1022"/>
                  </a:cubicBezTo>
                  <a:cubicBezTo>
                    <a:pt x="1142" y="1021"/>
                    <a:pt x="1156" y="1018"/>
                    <a:pt x="1168" y="1029"/>
                  </a:cubicBezTo>
                  <a:cubicBezTo>
                    <a:pt x="1181" y="1038"/>
                    <a:pt x="1185" y="1051"/>
                    <a:pt x="1187" y="1066"/>
                  </a:cubicBezTo>
                  <a:cubicBezTo>
                    <a:pt x="1188" y="1071"/>
                    <a:pt x="1183" y="1070"/>
                    <a:pt x="1180" y="1070"/>
                  </a:cubicBezTo>
                  <a:cubicBezTo>
                    <a:pt x="1166" y="1070"/>
                    <a:pt x="1153" y="1070"/>
                    <a:pt x="1139" y="1070"/>
                  </a:cubicBezTo>
                  <a:cubicBezTo>
                    <a:pt x="1139" y="1070"/>
                    <a:pt x="1139" y="1070"/>
                    <a:pt x="1139" y="1070"/>
                  </a:cubicBezTo>
                  <a:cubicBezTo>
                    <a:pt x="1126" y="1070"/>
                    <a:pt x="1113" y="1070"/>
                    <a:pt x="1099" y="1070"/>
                  </a:cubicBezTo>
                  <a:close/>
                  <a:moveTo>
                    <a:pt x="1741" y="1092"/>
                  </a:moveTo>
                  <a:cubicBezTo>
                    <a:pt x="1759" y="1092"/>
                    <a:pt x="1776" y="1092"/>
                    <a:pt x="1793" y="1092"/>
                  </a:cubicBezTo>
                  <a:cubicBezTo>
                    <a:pt x="1806" y="1092"/>
                    <a:pt x="1808" y="1089"/>
                    <a:pt x="1808" y="1076"/>
                  </a:cubicBezTo>
                  <a:cubicBezTo>
                    <a:pt x="1809" y="1063"/>
                    <a:pt x="1807" y="1051"/>
                    <a:pt x="1802" y="1038"/>
                  </a:cubicBezTo>
                  <a:cubicBezTo>
                    <a:pt x="1794" y="1021"/>
                    <a:pt x="1782" y="1008"/>
                    <a:pt x="1764" y="1000"/>
                  </a:cubicBezTo>
                  <a:cubicBezTo>
                    <a:pt x="1742" y="991"/>
                    <a:pt x="1720" y="991"/>
                    <a:pt x="1698" y="1000"/>
                  </a:cubicBezTo>
                  <a:cubicBezTo>
                    <a:pt x="1681" y="1006"/>
                    <a:pt x="1668" y="1016"/>
                    <a:pt x="1659" y="1031"/>
                  </a:cubicBezTo>
                  <a:cubicBezTo>
                    <a:pt x="1646" y="1050"/>
                    <a:pt x="1643" y="1071"/>
                    <a:pt x="1644" y="1094"/>
                  </a:cubicBezTo>
                  <a:cubicBezTo>
                    <a:pt x="1644" y="1110"/>
                    <a:pt x="1647" y="1127"/>
                    <a:pt x="1655" y="1141"/>
                  </a:cubicBezTo>
                  <a:cubicBezTo>
                    <a:pt x="1669" y="1168"/>
                    <a:pt x="1691" y="1183"/>
                    <a:pt x="1722" y="1186"/>
                  </a:cubicBezTo>
                  <a:cubicBezTo>
                    <a:pt x="1750" y="1188"/>
                    <a:pt x="1775" y="1183"/>
                    <a:pt x="1798" y="1165"/>
                  </a:cubicBezTo>
                  <a:cubicBezTo>
                    <a:pt x="1803" y="1161"/>
                    <a:pt x="1806" y="1157"/>
                    <a:pt x="1802" y="1151"/>
                  </a:cubicBezTo>
                  <a:cubicBezTo>
                    <a:pt x="1798" y="1144"/>
                    <a:pt x="1791" y="1140"/>
                    <a:pt x="1783" y="1144"/>
                  </a:cubicBezTo>
                  <a:cubicBezTo>
                    <a:pt x="1778" y="1147"/>
                    <a:pt x="1771" y="1149"/>
                    <a:pt x="1766" y="1152"/>
                  </a:cubicBezTo>
                  <a:cubicBezTo>
                    <a:pt x="1749" y="1161"/>
                    <a:pt x="1730" y="1162"/>
                    <a:pt x="1714" y="1155"/>
                  </a:cubicBezTo>
                  <a:cubicBezTo>
                    <a:pt x="1692" y="1145"/>
                    <a:pt x="1680" y="1127"/>
                    <a:pt x="1679" y="1102"/>
                  </a:cubicBezTo>
                  <a:cubicBezTo>
                    <a:pt x="1678" y="1095"/>
                    <a:pt x="1681" y="1092"/>
                    <a:pt x="1689" y="1092"/>
                  </a:cubicBezTo>
                  <a:cubicBezTo>
                    <a:pt x="1706" y="1092"/>
                    <a:pt x="1724" y="1092"/>
                    <a:pt x="1741" y="1092"/>
                  </a:cubicBezTo>
                  <a:cubicBezTo>
                    <a:pt x="1741" y="1092"/>
                    <a:pt x="1741" y="1092"/>
                    <a:pt x="1741" y="1092"/>
                  </a:cubicBezTo>
                  <a:close/>
                  <a:moveTo>
                    <a:pt x="1690" y="1070"/>
                  </a:moveTo>
                  <a:cubicBezTo>
                    <a:pt x="1683" y="1071"/>
                    <a:pt x="1680" y="1068"/>
                    <a:pt x="1681" y="1062"/>
                  </a:cubicBezTo>
                  <a:cubicBezTo>
                    <a:pt x="1683" y="1048"/>
                    <a:pt x="1697" y="1024"/>
                    <a:pt x="1716" y="1022"/>
                  </a:cubicBezTo>
                  <a:cubicBezTo>
                    <a:pt x="1731" y="1020"/>
                    <a:pt x="1747" y="1018"/>
                    <a:pt x="1760" y="1030"/>
                  </a:cubicBezTo>
                  <a:cubicBezTo>
                    <a:pt x="1771" y="1038"/>
                    <a:pt x="1775" y="1050"/>
                    <a:pt x="1778" y="1062"/>
                  </a:cubicBezTo>
                  <a:cubicBezTo>
                    <a:pt x="1780" y="1068"/>
                    <a:pt x="1775" y="1070"/>
                    <a:pt x="1769" y="1070"/>
                  </a:cubicBezTo>
                  <a:cubicBezTo>
                    <a:pt x="1756" y="1070"/>
                    <a:pt x="1742" y="1070"/>
                    <a:pt x="1729" y="1070"/>
                  </a:cubicBezTo>
                  <a:cubicBezTo>
                    <a:pt x="1729" y="1070"/>
                    <a:pt x="1729" y="1070"/>
                    <a:pt x="1729" y="1070"/>
                  </a:cubicBezTo>
                  <a:cubicBezTo>
                    <a:pt x="1716" y="1070"/>
                    <a:pt x="1703" y="1070"/>
                    <a:pt x="1690" y="1070"/>
                  </a:cubicBezTo>
                  <a:close/>
                  <a:moveTo>
                    <a:pt x="68" y="581"/>
                  </a:moveTo>
                  <a:cubicBezTo>
                    <a:pt x="68" y="573"/>
                    <a:pt x="70" y="568"/>
                    <a:pt x="80" y="569"/>
                  </a:cubicBezTo>
                  <a:cubicBezTo>
                    <a:pt x="90" y="570"/>
                    <a:pt x="101" y="570"/>
                    <a:pt x="111" y="569"/>
                  </a:cubicBezTo>
                  <a:cubicBezTo>
                    <a:pt x="120" y="569"/>
                    <a:pt x="120" y="563"/>
                    <a:pt x="120" y="556"/>
                  </a:cubicBezTo>
                  <a:cubicBezTo>
                    <a:pt x="120" y="549"/>
                    <a:pt x="119" y="544"/>
                    <a:pt x="111" y="544"/>
                  </a:cubicBezTo>
                  <a:cubicBezTo>
                    <a:pt x="104" y="544"/>
                    <a:pt x="97" y="544"/>
                    <a:pt x="91" y="544"/>
                  </a:cubicBezTo>
                  <a:cubicBezTo>
                    <a:pt x="66" y="544"/>
                    <a:pt x="65" y="543"/>
                    <a:pt x="68" y="518"/>
                  </a:cubicBezTo>
                  <a:cubicBezTo>
                    <a:pt x="69" y="504"/>
                    <a:pt x="83" y="487"/>
                    <a:pt x="99" y="489"/>
                  </a:cubicBezTo>
                  <a:cubicBezTo>
                    <a:pt x="103" y="489"/>
                    <a:pt x="107" y="489"/>
                    <a:pt x="110" y="488"/>
                  </a:cubicBezTo>
                  <a:cubicBezTo>
                    <a:pt x="118" y="487"/>
                    <a:pt x="123" y="479"/>
                    <a:pt x="123" y="471"/>
                  </a:cubicBezTo>
                  <a:cubicBezTo>
                    <a:pt x="123" y="461"/>
                    <a:pt x="116" y="462"/>
                    <a:pt x="109" y="460"/>
                  </a:cubicBezTo>
                  <a:cubicBezTo>
                    <a:pt x="100" y="458"/>
                    <a:pt x="92" y="460"/>
                    <a:pt x="84" y="460"/>
                  </a:cubicBezTo>
                  <a:cubicBezTo>
                    <a:pt x="68" y="461"/>
                    <a:pt x="56" y="469"/>
                    <a:pt x="47" y="480"/>
                  </a:cubicBezTo>
                  <a:cubicBezTo>
                    <a:pt x="34" y="493"/>
                    <a:pt x="32" y="511"/>
                    <a:pt x="32" y="529"/>
                  </a:cubicBezTo>
                  <a:cubicBezTo>
                    <a:pt x="32" y="544"/>
                    <a:pt x="32" y="544"/>
                    <a:pt x="17" y="544"/>
                  </a:cubicBezTo>
                  <a:cubicBezTo>
                    <a:pt x="4" y="543"/>
                    <a:pt x="0" y="548"/>
                    <a:pt x="4" y="561"/>
                  </a:cubicBezTo>
                  <a:cubicBezTo>
                    <a:pt x="6" y="569"/>
                    <a:pt x="13" y="568"/>
                    <a:pt x="19" y="569"/>
                  </a:cubicBezTo>
                  <a:cubicBezTo>
                    <a:pt x="32" y="571"/>
                    <a:pt x="32" y="571"/>
                    <a:pt x="32" y="584"/>
                  </a:cubicBezTo>
                  <a:cubicBezTo>
                    <a:pt x="32" y="624"/>
                    <a:pt x="32" y="664"/>
                    <a:pt x="32" y="704"/>
                  </a:cubicBezTo>
                  <a:cubicBezTo>
                    <a:pt x="32" y="731"/>
                    <a:pt x="32" y="730"/>
                    <a:pt x="57" y="731"/>
                  </a:cubicBezTo>
                  <a:cubicBezTo>
                    <a:pt x="66" y="731"/>
                    <a:pt x="68" y="727"/>
                    <a:pt x="68" y="720"/>
                  </a:cubicBezTo>
                  <a:cubicBezTo>
                    <a:pt x="68" y="697"/>
                    <a:pt x="68" y="674"/>
                    <a:pt x="68" y="651"/>
                  </a:cubicBezTo>
                  <a:cubicBezTo>
                    <a:pt x="68" y="628"/>
                    <a:pt x="68" y="605"/>
                    <a:pt x="68" y="581"/>
                  </a:cubicBezTo>
                  <a:close/>
                  <a:moveTo>
                    <a:pt x="278" y="1165"/>
                  </a:moveTo>
                  <a:cubicBezTo>
                    <a:pt x="278" y="1183"/>
                    <a:pt x="278" y="1183"/>
                    <a:pt x="296" y="1184"/>
                  </a:cubicBezTo>
                  <a:cubicBezTo>
                    <a:pt x="310" y="1184"/>
                    <a:pt x="310" y="1184"/>
                    <a:pt x="310" y="1169"/>
                  </a:cubicBezTo>
                  <a:cubicBezTo>
                    <a:pt x="310" y="1132"/>
                    <a:pt x="310" y="1095"/>
                    <a:pt x="310" y="1058"/>
                  </a:cubicBezTo>
                  <a:cubicBezTo>
                    <a:pt x="310" y="1052"/>
                    <a:pt x="312" y="1047"/>
                    <a:pt x="316" y="1042"/>
                  </a:cubicBezTo>
                  <a:cubicBezTo>
                    <a:pt x="324" y="1033"/>
                    <a:pt x="334" y="1027"/>
                    <a:pt x="345" y="1024"/>
                  </a:cubicBezTo>
                  <a:cubicBezTo>
                    <a:pt x="357" y="1020"/>
                    <a:pt x="371" y="1018"/>
                    <a:pt x="383" y="1028"/>
                  </a:cubicBezTo>
                  <a:cubicBezTo>
                    <a:pt x="397" y="1039"/>
                    <a:pt x="401" y="1054"/>
                    <a:pt x="401" y="1071"/>
                  </a:cubicBezTo>
                  <a:cubicBezTo>
                    <a:pt x="401" y="1102"/>
                    <a:pt x="401" y="1132"/>
                    <a:pt x="401" y="1163"/>
                  </a:cubicBezTo>
                  <a:cubicBezTo>
                    <a:pt x="401" y="1183"/>
                    <a:pt x="401" y="1182"/>
                    <a:pt x="420" y="1184"/>
                  </a:cubicBezTo>
                  <a:cubicBezTo>
                    <a:pt x="429" y="1185"/>
                    <a:pt x="433" y="1181"/>
                    <a:pt x="433" y="1173"/>
                  </a:cubicBezTo>
                  <a:cubicBezTo>
                    <a:pt x="432" y="1130"/>
                    <a:pt x="435" y="1087"/>
                    <a:pt x="431" y="1044"/>
                  </a:cubicBezTo>
                  <a:cubicBezTo>
                    <a:pt x="427" y="1014"/>
                    <a:pt x="404" y="996"/>
                    <a:pt x="376" y="994"/>
                  </a:cubicBezTo>
                  <a:cubicBezTo>
                    <a:pt x="353" y="992"/>
                    <a:pt x="333" y="1000"/>
                    <a:pt x="317" y="1017"/>
                  </a:cubicBezTo>
                  <a:cubicBezTo>
                    <a:pt x="312" y="1021"/>
                    <a:pt x="311" y="1019"/>
                    <a:pt x="309" y="1015"/>
                  </a:cubicBezTo>
                  <a:cubicBezTo>
                    <a:pt x="309" y="1013"/>
                    <a:pt x="308" y="1011"/>
                    <a:pt x="308" y="1008"/>
                  </a:cubicBezTo>
                  <a:cubicBezTo>
                    <a:pt x="306" y="1001"/>
                    <a:pt x="298" y="997"/>
                    <a:pt x="287" y="998"/>
                  </a:cubicBezTo>
                  <a:cubicBezTo>
                    <a:pt x="279" y="999"/>
                    <a:pt x="278" y="1004"/>
                    <a:pt x="278" y="1011"/>
                  </a:cubicBezTo>
                  <a:cubicBezTo>
                    <a:pt x="278" y="1037"/>
                    <a:pt x="278" y="1064"/>
                    <a:pt x="278" y="1091"/>
                  </a:cubicBezTo>
                  <a:cubicBezTo>
                    <a:pt x="278" y="1115"/>
                    <a:pt x="278" y="1140"/>
                    <a:pt x="278" y="1165"/>
                  </a:cubicBezTo>
                  <a:close/>
                  <a:moveTo>
                    <a:pt x="150" y="705"/>
                  </a:moveTo>
                  <a:cubicBezTo>
                    <a:pt x="150" y="734"/>
                    <a:pt x="145" y="730"/>
                    <a:pt x="176" y="731"/>
                  </a:cubicBezTo>
                  <a:cubicBezTo>
                    <a:pt x="185" y="731"/>
                    <a:pt x="187" y="727"/>
                    <a:pt x="187" y="719"/>
                  </a:cubicBezTo>
                  <a:cubicBezTo>
                    <a:pt x="187" y="685"/>
                    <a:pt x="187" y="651"/>
                    <a:pt x="187" y="618"/>
                  </a:cubicBezTo>
                  <a:cubicBezTo>
                    <a:pt x="187" y="597"/>
                    <a:pt x="204" y="578"/>
                    <a:pt x="225" y="574"/>
                  </a:cubicBezTo>
                  <a:cubicBezTo>
                    <a:pt x="232" y="572"/>
                    <a:pt x="240" y="574"/>
                    <a:pt x="247" y="575"/>
                  </a:cubicBezTo>
                  <a:cubicBezTo>
                    <a:pt x="257" y="576"/>
                    <a:pt x="261" y="572"/>
                    <a:pt x="265" y="564"/>
                  </a:cubicBezTo>
                  <a:cubicBezTo>
                    <a:pt x="269" y="556"/>
                    <a:pt x="267" y="542"/>
                    <a:pt x="261" y="540"/>
                  </a:cubicBezTo>
                  <a:cubicBezTo>
                    <a:pt x="253" y="538"/>
                    <a:pt x="244" y="534"/>
                    <a:pt x="237" y="536"/>
                  </a:cubicBezTo>
                  <a:cubicBezTo>
                    <a:pt x="228" y="537"/>
                    <a:pt x="217" y="537"/>
                    <a:pt x="209" y="544"/>
                  </a:cubicBezTo>
                  <a:cubicBezTo>
                    <a:pt x="204" y="549"/>
                    <a:pt x="198" y="553"/>
                    <a:pt x="194" y="558"/>
                  </a:cubicBezTo>
                  <a:cubicBezTo>
                    <a:pt x="192" y="561"/>
                    <a:pt x="189" y="563"/>
                    <a:pt x="185" y="562"/>
                  </a:cubicBezTo>
                  <a:cubicBezTo>
                    <a:pt x="182" y="561"/>
                    <a:pt x="182" y="558"/>
                    <a:pt x="182" y="556"/>
                  </a:cubicBezTo>
                  <a:cubicBezTo>
                    <a:pt x="180" y="539"/>
                    <a:pt x="179" y="539"/>
                    <a:pt x="162" y="539"/>
                  </a:cubicBezTo>
                  <a:cubicBezTo>
                    <a:pt x="151" y="539"/>
                    <a:pt x="150" y="540"/>
                    <a:pt x="150" y="551"/>
                  </a:cubicBezTo>
                  <a:cubicBezTo>
                    <a:pt x="150" y="579"/>
                    <a:pt x="150" y="607"/>
                    <a:pt x="150" y="635"/>
                  </a:cubicBezTo>
                  <a:cubicBezTo>
                    <a:pt x="150" y="658"/>
                    <a:pt x="149" y="682"/>
                    <a:pt x="150" y="705"/>
                  </a:cubicBezTo>
                  <a:close/>
                  <a:moveTo>
                    <a:pt x="1011" y="1049"/>
                  </a:moveTo>
                  <a:cubicBezTo>
                    <a:pt x="1011" y="1008"/>
                    <a:pt x="1011" y="966"/>
                    <a:pt x="1011" y="924"/>
                  </a:cubicBezTo>
                  <a:cubicBezTo>
                    <a:pt x="1011" y="913"/>
                    <a:pt x="1008" y="910"/>
                    <a:pt x="997" y="910"/>
                  </a:cubicBezTo>
                  <a:cubicBezTo>
                    <a:pt x="995" y="910"/>
                    <a:pt x="992" y="910"/>
                    <a:pt x="990" y="910"/>
                  </a:cubicBezTo>
                  <a:cubicBezTo>
                    <a:pt x="976" y="910"/>
                    <a:pt x="975" y="911"/>
                    <a:pt x="975" y="926"/>
                  </a:cubicBezTo>
                  <a:cubicBezTo>
                    <a:pt x="975" y="1006"/>
                    <a:pt x="975" y="1085"/>
                    <a:pt x="975" y="1165"/>
                  </a:cubicBezTo>
                  <a:cubicBezTo>
                    <a:pt x="975" y="1185"/>
                    <a:pt x="975" y="1185"/>
                    <a:pt x="994" y="1185"/>
                  </a:cubicBezTo>
                  <a:cubicBezTo>
                    <a:pt x="1009" y="1185"/>
                    <a:pt x="1011" y="1184"/>
                    <a:pt x="1011" y="1169"/>
                  </a:cubicBezTo>
                  <a:cubicBezTo>
                    <a:pt x="1011" y="1129"/>
                    <a:pt x="1011" y="1089"/>
                    <a:pt x="1011" y="1049"/>
                  </a:cubicBezTo>
                  <a:cubicBezTo>
                    <a:pt x="1011" y="1049"/>
                    <a:pt x="1011" y="1049"/>
                    <a:pt x="1011" y="1049"/>
                  </a:cubicBezTo>
                  <a:close/>
                  <a:moveTo>
                    <a:pt x="296" y="176"/>
                  </a:moveTo>
                  <a:cubicBezTo>
                    <a:pt x="296" y="201"/>
                    <a:pt x="296" y="226"/>
                    <a:pt x="296" y="251"/>
                  </a:cubicBezTo>
                  <a:cubicBezTo>
                    <a:pt x="295" y="276"/>
                    <a:pt x="296" y="274"/>
                    <a:pt x="318" y="274"/>
                  </a:cubicBezTo>
                  <a:cubicBezTo>
                    <a:pt x="330" y="274"/>
                    <a:pt x="331" y="274"/>
                    <a:pt x="331" y="260"/>
                  </a:cubicBezTo>
                  <a:cubicBezTo>
                    <a:pt x="331" y="232"/>
                    <a:pt x="331" y="204"/>
                    <a:pt x="331" y="176"/>
                  </a:cubicBezTo>
                  <a:cubicBezTo>
                    <a:pt x="331" y="165"/>
                    <a:pt x="331" y="155"/>
                    <a:pt x="337" y="145"/>
                  </a:cubicBezTo>
                  <a:cubicBezTo>
                    <a:pt x="349" y="123"/>
                    <a:pt x="359" y="117"/>
                    <a:pt x="377" y="118"/>
                  </a:cubicBezTo>
                  <a:cubicBezTo>
                    <a:pt x="383" y="118"/>
                    <a:pt x="389" y="119"/>
                    <a:pt x="395" y="120"/>
                  </a:cubicBezTo>
                  <a:cubicBezTo>
                    <a:pt x="401" y="120"/>
                    <a:pt x="407" y="118"/>
                    <a:pt x="408" y="112"/>
                  </a:cubicBezTo>
                  <a:cubicBezTo>
                    <a:pt x="409" y="103"/>
                    <a:pt x="415" y="93"/>
                    <a:pt x="407" y="85"/>
                  </a:cubicBezTo>
                  <a:cubicBezTo>
                    <a:pt x="406" y="84"/>
                    <a:pt x="404" y="84"/>
                    <a:pt x="402" y="84"/>
                  </a:cubicBezTo>
                  <a:cubicBezTo>
                    <a:pt x="376" y="78"/>
                    <a:pt x="353" y="82"/>
                    <a:pt x="337" y="106"/>
                  </a:cubicBezTo>
                  <a:cubicBezTo>
                    <a:pt x="336" y="108"/>
                    <a:pt x="335" y="110"/>
                    <a:pt x="333" y="109"/>
                  </a:cubicBezTo>
                  <a:cubicBezTo>
                    <a:pt x="331" y="109"/>
                    <a:pt x="330" y="107"/>
                    <a:pt x="330" y="105"/>
                  </a:cubicBezTo>
                  <a:cubicBezTo>
                    <a:pt x="329" y="101"/>
                    <a:pt x="329" y="97"/>
                    <a:pt x="328" y="94"/>
                  </a:cubicBezTo>
                  <a:cubicBezTo>
                    <a:pt x="325" y="85"/>
                    <a:pt x="318" y="82"/>
                    <a:pt x="303" y="84"/>
                  </a:cubicBezTo>
                  <a:cubicBezTo>
                    <a:pt x="297" y="84"/>
                    <a:pt x="295" y="86"/>
                    <a:pt x="295" y="92"/>
                  </a:cubicBezTo>
                  <a:cubicBezTo>
                    <a:pt x="296" y="120"/>
                    <a:pt x="295" y="148"/>
                    <a:pt x="295" y="176"/>
                  </a:cubicBezTo>
                  <a:cubicBezTo>
                    <a:pt x="296" y="176"/>
                    <a:pt x="296" y="176"/>
                    <a:pt x="296" y="176"/>
                  </a:cubicBezTo>
                  <a:close/>
                  <a:moveTo>
                    <a:pt x="946" y="179"/>
                  </a:moveTo>
                  <a:cubicBezTo>
                    <a:pt x="946" y="197"/>
                    <a:pt x="946" y="215"/>
                    <a:pt x="946" y="234"/>
                  </a:cubicBezTo>
                  <a:cubicBezTo>
                    <a:pt x="946" y="248"/>
                    <a:pt x="951" y="260"/>
                    <a:pt x="963" y="268"/>
                  </a:cubicBezTo>
                  <a:cubicBezTo>
                    <a:pt x="982" y="280"/>
                    <a:pt x="1011" y="277"/>
                    <a:pt x="1029" y="264"/>
                  </a:cubicBezTo>
                  <a:cubicBezTo>
                    <a:pt x="1036" y="259"/>
                    <a:pt x="1036" y="254"/>
                    <a:pt x="1032" y="248"/>
                  </a:cubicBezTo>
                  <a:cubicBezTo>
                    <a:pt x="1026" y="239"/>
                    <a:pt x="1020" y="238"/>
                    <a:pt x="1013" y="242"/>
                  </a:cubicBezTo>
                  <a:cubicBezTo>
                    <a:pt x="996" y="252"/>
                    <a:pt x="978" y="243"/>
                    <a:pt x="978" y="223"/>
                  </a:cubicBezTo>
                  <a:cubicBezTo>
                    <a:pt x="978" y="190"/>
                    <a:pt x="978" y="157"/>
                    <a:pt x="978" y="123"/>
                  </a:cubicBezTo>
                  <a:cubicBezTo>
                    <a:pt x="978" y="116"/>
                    <a:pt x="981" y="113"/>
                    <a:pt x="988" y="113"/>
                  </a:cubicBezTo>
                  <a:cubicBezTo>
                    <a:pt x="999" y="114"/>
                    <a:pt x="1011" y="113"/>
                    <a:pt x="1022" y="113"/>
                  </a:cubicBezTo>
                  <a:cubicBezTo>
                    <a:pt x="1028" y="113"/>
                    <a:pt x="1033" y="112"/>
                    <a:pt x="1033" y="104"/>
                  </a:cubicBezTo>
                  <a:cubicBezTo>
                    <a:pt x="1033" y="96"/>
                    <a:pt x="1032" y="90"/>
                    <a:pt x="1022" y="90"/>
                  </a:cubicBezTo>
                  <a:cubicBezTo>
                    <a:pt x="1011" y="90"/>
                    <a:pt x="1001" y="90"/>
                    <a:pt x="990" y="90"/>
                  </a:cubicBezTo>
                  <a:cubicBezTo>
                    <a:pt x="981" y="91"/>
                    <a:pt x="977" y="88"/>
                    <a:pt x="978" y="78"/>
                  </a:cubicBezTo>
                  <a:cubicBezTo>
                    <a:pt x="978" y="64"/>
                    <a:pt x="978" y="49"/>
                    <a:pt x="978" y="35"/>
                  </a:cubicBezTo>
                  <a:cubicBezTo>
                    <a:pt x="978" y="30"/>
                    <a:pt x="978" y="25"/>
                    <a:pt x="971" y="24"/>
                  </a:cubicBezTo>
                  <a:cubicBezTo>
                    <a:pt x="964" y="24"/>
                    <a:pt x="956" y="24"/>
                    <a:pt x="955" y="32"/>
                  </a:cubicBezTo>
                  <a:cubicBezTo>
                    <a:pt x="952" y="43"/>
                    <a:pt x="949" y="54"/>
                    <a:pt x="949" y="65"/>
                  </a:cubicBezTo>
                  <a:cubicBezTo>
                    <a:pt x="948" y="88"/>
                    <a:pt x="947" y="88"/>
                    <a:pt x="924" y="91"/>
                  </a:cubicBezTo>
                  <a:cubicBezTo>
                    <a:pt x="919" y="92"/>
                    <a:pt x="914" y="92"/>
                    <a:pt x="914" y="99"/>
                  </a:cubicBezTo>
                  <a:cubicBezTo>
                    <a:pt x="915" y="107"/>
                    <a:pt x="917" y="113"/>
                    <a:pt x="926" y="113"/>
                  </a:cubicBezTo>
                  <a:cubicBezTo>
                    <a:pt x="929" y="114"/>
                    <a:pt x="932" y="113"/>
                    <a:pt x="935" y="113"/>
                  </a:cubicBezTo>
                  <a:cubicBezTo>
                    <a:pt x="943" y="113"/>
                    <a:pt x="946" y="116"/>
                    <a:pt x="946" y="124"/>
                  </a:cubicBezTo>
                  <a:cubicBezTo>
                    <a:pt x="946" y="142"/>
                    <a:pt x="946" y="161"/>
                    <a:pt x="946" y="179"/>
                  </a:cubicBezTo>
                  <a:cubicBezTo>
                    <a:pt x="946" y="179"/>
                    <a:pt x="946" y="179"/>
                    <a:pt x="946" y="179"/>
                  </a:cubicBezTo>
                  <a:close/>
                </a:path>
              </a:pathLst>
            </a:custGeom>
            <a:solidFill>
              <a:srgbClr val="4C505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grpSp>
          <p:nvGrpSpPr>
            <p:cNvPr id="18" name="Group 4">
              <a:extLst>
                <a:ext uri="{FF2B5EF4-FFF2-40B4-BE49-F238E27FC236}">
                  <a16:creationId xmlns:a16="http://schemas.microsoft.com/office/drawing/2014/main" id="{57BD2C4C-DC67-B843-B26C-309622FC75F7}"/>
                </a:ext>
              </a:extLst>
            </p:cNvPr>
            <p:cNvGrpSpPr>
              <a:grpSpLocks noChangeAspect="1"/>
            </p:cNvGrpSpPr>
            <p:nvPr/>
          </p:nvGrpSpPr>
          <p:grpSpPr bwMode="gray">
            <a:xfrm>
              <a:off x="334963" y="296652"/>
              <a:ext cx="538094" cy="540000"/>
              <a:chOff x="2711" y="1027"/>
              <a:chExt cx="2258" cy="2266"/>
            </a:xfrm>
          </p:grpSpPr>
          <p:sp>
            <p:nvSpPr>
              <p:cNvPr id="19" name="AutoShape 3">
                <a:extLst>
                  <a:ext uri="{FF2B5EF4-FFF2-40B4-BE49-F238E27FC236}">
                    <a16:creationId xmlns:a16="http://schemas.microsoft.com/office/drawing/2014/main" id="{FE1DC41B-291E-574C-9F2C-874E70A40758}"/>
                  </a:ext>
                </a:extLst>
              </p:cNvPr>
              <p:cNvSpPr>
                <a:spLocks noChangeAspect="1" noChangeArrowheads="1" noTextEdit="1"/>
              </p:cNvSpPr>
              <p:nvPr/>
            </p:nvSpPr>
            <p:spPr bwMode="gray">
              <a:xfrm>
                <a:off x="2711" y="1027"/>
                <a:ext cx="2258" cy="22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20" name="Freeform 5">
                <a:extLst>
                  <a:ext uri="{FF2B5EF4-FFF2-40B4-BE49-F238E27FC236}">
                    <a16:creationId xmlns:a16="http://schemas.microsoft.com/office/drawing/2014/main" id="{D4B633C8-F761-C54B-9BD2-EB59D49A2DBC}"/>
                  </a:ext>
                </a:extLst>
              </p:cNvPr>
              <p:cNvSpPr>
                <a:spLocks/>
              </p:cNvSpPr>
              <p:nvPr/>
            </p:nvSpPr>
            <p:spPr bwMode="gray">
              <a:xfrm>
                <a:off x="2709" y="1029"/>
                <a:ext cx="2260" cy="2262"/>
              </a:xfrm>
              <a:custGeom>
                <a:avLst/>
                <a:gdLst>
                  <a:gd name="T0" fmla="*/ 2260 w 2260"/>
                  <a:gd name="T1" fmla="*/ 0 h 2262"/>
                  <a:gd name="T2" fmla="*/ 1612 w 2260"/>
                  <a:gd name="T3" fmla="*/ 649 h 2262"/>
                  <a:gd name="T4" fmla="*/ 1612 w 2260"/>
                  <a:gd name="T5" fmla="*/ 649 h 2262"/>
                  <a:gd name="T6" fmla="*/ 2035 w 2260"/>
                  <a:gd name="T7" fmla="*/ 0 h 2262"/>
                  <a:gd name="T8" fmla="*/ 0 w 2260"/>
                  <a:gd name="T9" fmla="*/ 0 h 2262"/>
                  <a:gd name="T10" fmla="*/ 0 w 2260"/>
                  <a:gd name="T11" fmla="*/ 2262 h 2262"/>
                  <a:gd name="T12" fmla="*/ 2260 w 2260"/>
                  <a:gd name="T13" fmla="*/ 2262 h 2262"/>
                  <a:gd name="T14" fmla="*/ 2260 w 2260"/>
                  <a:gd name="T15" fmla="*/ 0 h 2262"/>
                  <a:gd name="T16" fmla="*/ 2260 w 2260"/>
                  <a:gd name="T17" fmla="*/ 0 h 2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0" h="2262">
                    <a:moveTo>
                      <a:pt x="2260" y="0"/>
                    </a:moveTo>
                    <a:lnTo>
                      <a:pt x="1612" y="649"/>
                    </a:lnTo>
                    <a:lnTo>
                      <a:pt x="1612" y="649"/>
                    </a:lnTo>
                    <a:lnTo>
                      <a:pt x="2035" y="0"/>
                    </a:lnTo>
                    <a:lnTo>
                      <a:pt x="0" y="0"/>
                    </a:lnTo>
                    <a:lnTo>
                      <a:pt x="0" y="2262"/>
                    </a:lnTo>
                    <a:lnTo>
                      <a:pt x="2260" y="2262"/>
                    </a:lnTo>
                    <a:lnTo>
                      <a:pt x="2260" y="0"/>
                    </a:lnTo>
                    <a:lnTo>
                      <a:pt x="2260" y="0"/>
                    </a:lnTo>
                    <a:close/>
                  </a:path>
                </a:pathLst>
              </a:custGeom>
              <a:solidFill>
                <a:srgbClr val="E55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21" name="Freeform 6">
                <a:extLst>
                  <a:ext uri="{FF2B5EF4-FFF2-40B4-BE49-F238E27FC236}">
                    <a16:creationId xmlns:a16="http://schemas.microsoft.com/office/drawing/2014/main" id="{B16BAAE4-1A41-C843-9754-490F7A1E1270}"/>
                  </a:ext>
                </a:extLst>
              </p:cNvPr>
              <p:cNvSpPr>
                <a:spLocks noEditPoints="1"/>
              </p:cNvSpPr>
              <p:nvPr/>
            </p:nvSpPr>
            <p:spPr bwMode="gray">
              <a:xfrm>
                <a:off x="3623" y="1696"/>
                <a:ext cx="1167" cy="922"/>
              </a:xfrm>
              <a:custGeom>
                <a:avLst/>
                <a:gdLst>
                  <a:gd name="T0" fmla="*/ 411 w 580"/>
                  <a:gd name="T1" fmla="*/ 213 h 458"/>
                  <a:gd name="T2" fmla="*/ 570 w 580"/>
                  <a:gd name="T3" fmla="*/ 37 h 458"/>
                  <a:gd name="T4" fmla="*/ 580 w 580"/>
                  <a:gd name="T5" fmla="*/ 20 h 458"/>
                  <a:gd name="T6" fmla="*/ 545 w 580"/>
                  <a:gd name="T7" fmla="*/ 0 h 458"/>
                  <a:gd name="T8" fmla="*/ 519 w 580"/>
                  <a:gd name="T9" fmla="*/ 16 h 458"/>
                  <a:gd name="T10" fmla="*/ 344 w 580"/>
                  <a:gd name="T11" fmla="*/ 210 h 458"/>
                  <a:gd name="T12" fmla="*/ 334 w 580"/>
                  <a:gd name="T13" fmla="*/ 229 h 458"/>
                  <a:gd name="T14" fmla="*/ 344 w 580"/>
                  <a:gd name="T15" fmla="*/ 248 h 458"/>
                  <a:gd name="T16" fmla="*/ 519 w 580"/>
                  <a:gd name="T17" fmla="*/ 442 h 458"/>
                  <a:gd name="T18" fmla="*/ 545 w 580"/>
                  <a:gd name="T19" fmla="*/ 458 h 458"/>
                  <a:gd name="T20" fmla="*/ 580 w 580"/>
                  <a:gd name="T21" fmla="*/ 438 h 458"/>
                  <a:gd name="T22" fmla="*/ 570 w 580"/>
                  <a:gd name="T23" fmla="*/ 421 h 458"/>
                  <a:gd name="T24" fmla="*/ 411 w 580"/>
                  <a:gd name="T25" fmla="*/ 245 h 458"/>
                  <a:gd name="T26" fmla="*/ 399 w 580"/>
                  <a:gd name="T27" fmla="*/ 229 h 458"/>
                  <a:gd name="T28" fmla="*/ 411 w 580"/>
                  <a:gd name="T29" fmla="*/ 213 h 458"/>
                  <a:gd name="T30" fmla="*/ 252 w 580"/>
                  <a:gd name="T31" fmla="*/ 439 h 458"/>
                  <a:gd name="T32" fmla="*/ 281 w 580"/>
                  <a:gd name="T33" fmla="*/ 454 h 458"/>
                  <a:gd name="T34" fmla="*/ 309 w 580"/>
                  <a:gd name="T35" fmla="*/ 439 h 458"/>
                  <a:gd name="T36" fmla="*/ 309 w 580"/>
                  <a:gd name="T37" fmla="*/ 19 h 458"/>
                  <a:gd name="T38" fmla="*/ 281 w 580"/>
                  <a:gd name="T39" fmla="*/ 4 h 458"/>
                  <a:gd name="T40" fmla="*/ 252 w 580"/>
                  <a:gd name="T41" fmla="*/ 19 h 458"/>
                  <a:gd name="T42" fmla="*/ 252 w 580"/>
                  <a:gd name="T43" fmla="*/ 439 h 458"/>
                  <a:gd name="T44" fmla="*/ 0 w 580"/>
                  <a:gd name="T45" fmla="*/ 439 h 458"/>
                  <a:gd name="T46" fmla="*/ 28 w 580"/>
                  <a:gd name="T47" fmla="*/ 454 h 458"/>
                  <a:gd name="T48" fmla="*/ 56 w 580"/>
                  <a:gd name="T49" fmla="*/ 439 h 458"/>
                  <a:gd name="T50" fmla="*/ 56 w 580"/>
                  <a:gd name="T51" fmla="*/ 157 h 458"/>
                  <a:gd name="T52" fmla="*/ 165 w 580"/>
                  <a:gd name="T53" fmla="*/ 53 h 458"/>
                  <a:gd name="T54" fmla="*/ 180 w 580"/>
                  <a:gd name="T55" fmla="*/ 53 h 458"/>
                  <a:gd name="T56" fmla="*/ 196 w 580"/>
                  <a:gd name="T57" fmla="*/ 27 h 458"/>
                  <a:gd name="T58" fmla="*/ 154 w 580"/>
                  <a:gd name="T59" fmla="*/ 4 h 458"/>
                  <a:gd name="T60" fmla="*/ 0 w 580"/>
                  <a:gd name="T61" fmla="*/ 152 h 458"/>
                  <a:gd name="T62" fmla="*/ 0 w 580"/>
                  <a:gd name="T63" fmla="*/ 439 h 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80" h="458">
                    <a:moveTo>
                      <a:pt x="411" y="213"/>
                    </a:moveTo>
                    <a:cubicBezTo>
                      <a:pt x="570" y="37"/>
                      <a:pt x="570" y="37"/>
                      <a:pt x="570" y="37"/>
                    </a:cubicBezTo>
                    <a:cubicBezTo>
                      <a:pt x="576" y="30"/>
                      <a:pt x="580" y="25"/>
                      <a:pt x="580" y="20"/>
                    </a:cubicBezTo>
                    <a:cubicBezTo>
                      <a:pt x="580" y="10"/>
                      <a:pt x="559" y="0"/>
                      <a:pt x="545" y="0"/>
                    </a:cubicBezTo>
                    <a:cubicBezTo>
                      <a:pt x="535" y="0"/>
                      <a:pt x="526" y="8"/>
                      <a:pt x="519" y="16"/>
                    </a:cubicBezTo>
                    <a:cubicBezTo>
                      <a:pt x="344" y="210"/>
                      <a:pt x="344" y="210"/>
                      <a:pt x="344" y="210"/>
                    </a:cubicBezTo>
                    <a:cubicBezTo>
                      <a:pt x="336" y="219"/>
                      <a:pt x="334" y="224"/>
                      <a:pt x="334" y="229"/>
                    </a:cubicBezTo>
                    <a:cubicBezTo>
                      <a:pt x="334" y="234"/>
                      <a:pt x="336" y="239"/>
                      <a:pt x="344" y="248"/>
                    </a:cubicBezTo>
                    <a:cubicBezTo>
                      <a:pt x="519" y="442"/>
                      <a:pt x="519" y="442"/>
                      <a:pt x="519" y="442"/>
                    </a:cubicBezTo>
                    <a:cubicBezTo>
                      <a:pt x="526" y="450"/>
                      <a:pt x="535" y="458"/>
                      <a:pt x="545" y="458"/>
                    </a:cubicBezTo>
                    <a:cubicBezTo>
                      <a:pt x="559" y="458"/>
                      <a:pt x="580" y="448"/>
                      <a:pt x="580" y="438"/>
                    </a:cubicBezTo>
                    <a:cubicBezTo>
                      <a:pt x="580" y="433"/>
                      <a:pt x="576" y="428"/>
                      <a:pt x="570" y="421"/>
                    </a:cubicBezTo>
                    <a:cubicBezTo>
                      <a:pt x="411" y="245"/>
                      <a:pt x="411" y="245"/>
                      <a:pt x="411" y="245"/>
                    </a:cubicBezTo>
                    <a:cubicBezTo>
                      <a:pt x="403" y="236"/>
                      <a:pt x="399" y="232"/>
                      <a:pt x="399" y="229"/>
                    </a:cubicBezTo>
                    <a:cubicBezTo>
                      <a:pt x="399" y="226"/>
                      <a:pt x="403" y="222"/>
                      <a:pt x="411" y="213"/>
                    </a:cubicBezTo>
                    <a:moveTo>
                      <a:pt x="252" y="439"/>
                    </a:moveTo>
                    <a:cubicBezTo>
                      <a:pt x="252" y="449"/>
                      <a:pt x="261" y="454"/>
                      <a:pt x="281" y="454"/>
                    </a:cubicBezTo>
                    <a:cubicBezTo>
                      <a:pt x="300" y="454"/>
                      <a:pt x="309" y="449"/>
                      <a:pt x="309" y="439"/>
                    </a:cubicBezTo>
                    <a:cubicBezTo>
                      <a:pt x="309" y="19"/>
                      <a:pt x="309" y="19"/>
                      <a:pt x="309" y="19"/>
                    </a:cubicBezTo>
                    <a:cubicBezTo>
                      <a:pt x="309" y="9"/>
                      <a:pt x="300" y="4"/>
                      <a:pt x="281" y="4"/>
                    </a:cubicBezTo>
                    <a:cubicBezTo>
                      <a:pt x="261" y="4"/>
                      <a:pt x="252" y="9"/>
                      <a:pt x="252" y="19"/>
                    </a:cubicBezTo>
                    <a:lnTo>
                      <a:pt x="252" y="439"/>
                    </a:lnTo>
                    <a:close/>
                    <a:moveTo>
                      <a:pt x="0" y="439"/>
                    </a:moveTo>
                    <a:cubicBezTo>
                      <a:pt x="0" y="449"/>
                      <a:pt x="8" y="454"/>
                      <a:pt x="28" y="454"/>
                    </a:cubicBezTo>
                    <a:cubicBezTo>
                      <a:pt x="48" y="454"/>
                      <a:pt x="56" y="449"/>
                      <a:pt x="56" y="439"/>
                    </a:cubicBezTo>
                    <a:cubicBezTo>
                      <a:pt x="56" y="157"/>
                      <a:pt x="56" y="157"/>
                      <a:pt x="56" y="157"/>
                    </a:cubicBezTo>
                    <a:cubicBezTo>
                      <a:pt x="56" y="83"/>
                      <a:pt x="85" y="53"/>
                      <a:pt x="165" y="53"/>
                    </a:cubicBezTo>
                    <a:cubicBezTo>
                      <a:pt x="180" y="53"/>
                      <a:pt x="180" y="53"/>
                      <a:pt x="180" y="53"/>
                    </a:cubicBezTo>
                    <a:cubicBezTo>
                      <a:pt x="192" y="53"/>
                      <a:pt x="196" y="43"/>
                      <a:pt x="196" y="27"/>
                    </a:cubicBezTo>
                    <a:cubicBezTo>
                      <a:pt x="196" y="8"/>
                      <a:pt x="185" y="4"/>
                      <a:pt x="154" y="4"/>
                    </a:cubicBezTo>
                    <a:cubicBezTo>
                      <a:pt x="64" y="4"/>
                      <a:pt x="0" y="43"/>
                      <a:pt x="0" y="152"/>
                    </a:cubicBezTo>
                    <a:lnTo>
                      <a:pt x="0" y="43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22" name="Freeform 7">
                <a:extLst>
                  <a:ext uri="{FF2B5EF4-FFF2-40B4-BE49-F238E27FC236}">
                    <a16:creationId xmlns:a16="http://schemas.microsoft.com/office/drawing/2014/main" id="{2F32DCBD-8628-F245-85CD-97686A20ECFD}"/>
                  </a:ext>
                </a:extLst>
              </p:cNvPr>
              <p:cNvSpPr>
                <a:spLocks/>
              </p:cNvSpPr>
              <p:nvPr/>
            </p:nvSpPr>
            <p:spPr bwMode="gray">
              <a:xfrm>
                <a:off x="2880" y="1704"/>
                <a:ext cx="618" cy="916"/>
              </a:xfrm>
              <a:custGeom>
                <a:avLst/>
                <a:gdLst>
                  <a:gd name="T0" fmla="*/ 307 w 307"/>
                  <a:gd name="T1" fmla="*/ 405 h 455"/>
                  <a:gd name="T2" fmla="*/ 307 w 307"/>
                  <a:gd name="T3" fmla="*/ 244 h 455"/>
                  <a:gd name="T4" fmla="*/ 279 w 307"/>
                  <a:gd name="T5" fmla="*/ 229 h 455"/>
                  <a:gd name="T6" fmla="*/ 250 w 307"/>
                  <a:gd name="T7" fmla="*/ 244 h 455"/>
                  <a:gd name="T8" fmla="*/ 250 w 307"/>
                  <a:gd name="T9" fmla="*/ 378 h 455"/>
                  <a:gd name="T10" fmla="*/ 199 w 307"/>
                  <a:gd name="T11" fmla="*/ 408 h 455"/>
                  <a:gd name="T12" fmla="*/ 61 w 307"/>
                  <a:gd name="T13" fmla="*/ 231 h 455"/>
                  <a:gd name="T14" fmla="*/ 238 w 307"/>
                  <a:gd name="T15" fmla="*/ 49 h 455"/>
                  <a:gd name="T16" fmla="*/ 270 w 307"/>
                  <a:gd name="T17" fmla="*/ 49 h 455"/>
                  <a:gd name="T18" fmla="*/ 286 w 307"/>
                  <a:gd name="T19" fmla="*/ 23 h 455"/>
                  <a:gd name="T20" fmla="*/ 244 w 307"/>
                  <a:gd name="T21" fmla="*/ 0 h 455"/>
                  <a:gd name="T22" fmla="*/ 231 w 307"/>
                  <a:gd name="T23" fmla="*/ 0 h 455"/>
                  <a:gd name="T24" fmla="*/ 0 w 307"/>
                  <a:gd name="T25" fmla="*/ 232 h 455"/>
                  <a:gd name="T26" fmla="*/ 198 w 307"/>
                  <a:gd name="T27" fmla="*/ 455 h 455"/>
                  <a:gd name="T28" fmla="*/ 307 w 307"/>
                  <a:gd name="T29" fmla="*/ 405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7" h="455">
                    <a:moveTo>
                      <a:pt x="307" y="405"/>
                    </a:moveTo>
                    <a:cubicBezTo>
                      <a:pt x="307" y="244"/>
                      <a:pt x="307" y="244"/>
                      <a:pt x="307" y="244"/>
                    </a:cubicBezTo>
                    <a:cubicBezTo>
                      <a:pt x="307" y="234"/>
                      <a:pt x="298" y="229"/>
                      <a:pt x="279" y="229"/>
                    </a:cubicBezTo>
                    <a:cubicBezTo>
                      <a:pt x="259" y="229"/>
                      <a:pt x="250" y="234"/>
                      <a:pt x="250" y="244"/>
                    </a:cubicBezTo>
                    <a:cubicBezTo>
                      <a:pt x="250" y="378"/>
                      <a:pt x="250" y="378"/>
                      <a:pt x="250" y="378"/>
                    </a:cubicBezTo>
                    <a:cubicBezTo>
                      <a:pt x="250" y="399"/>
                      <a:pt x="241" y="408"/>
                      <a:pt x="199" y="408"/>
                    </a:cubicBezTo>
                    <a:cubicBezTo>
                      <a:pt x="114" y="408"/>
                      <a:pt x="61" y="342"/>
                      <a:pt x="61" y="231"/>
                    </a:cubicBezTo>
                    <a:cubicBezTo>
                      <a:pt x="61" y="115"/>
                      <a:pt x="126" y="49"/>
                      <a:pt x="238" y="49"/>
                    </a:cubicBezTo>
                    <a:cubicBezTo>
                      <a:pt x="270" y="49"/>
                      <a:pt x="270" y="49"/>
                      <a:pt x="270" y="49"/>
                    </a:cubicBezTo>
                    <a:cubicBezTo>
                      <a:pt x="282" y="49"/>
                      <a:pt x="286" y="39"/>
                      <a:pt x="286" y="23"/>
                    </a:cubicBezTo>
                    <a:cubicBezTo>
                      <a:pt x="286" y="4"/>
                      <a:pt x="275" y="0"/>
                      <a:pt x="244" y="0"/>
                    </a:cubicBezTo>
                    <a:cubicBezTo>
                      <a:pt x="231" y="0"/>
                      <a:pt x="231" y="0"/>
                      <a:pt x="231" y="0"/>
                    </a:cubicBezTo>
                    <a:cubicBezTo>
                      <a:pt x="101" y="0"/>
                      <a:pt x="0" y="71"/>
                      <a:pt x="0" y="232"/>
                    </a:cubicBezTo>
                    <a:cubicBezTo>
                      <a:pt x="0" y="386"/>
                      <a:pt x="88" y="455"/>
                      <a:pt x="198" y="455"/>
                    </a:cubicBezTo>
                    <a:cubicBezTo>
                      <a:pt x="286" y="455"/>
                      <a:pt x="307" y="430"/>
                      <a:pt x="307" y="40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23" name="Oval 8">
                <a:extLst>
                  <a:ext uri="{FF2B5EF4-FFF2-40B4-BE49-F238E27FC236}">
                    <a16:creationId xmlns:a16="http://schemas.microsoft.com/office/drawing/2014/main" id="{60D97C11-1A3B-5449-A48D-98A3E79B3810}"/>
                  </a:ext>
                </a:extLst>
              </p:cNvPr>
              <p:cNvSpPr>
                <a:spLocks noChangeArrowheads="1"/>
              </p:cNvSpPr>
              <p:nvPr/>
            </p:nvSpPr>
            <p:spPr bwMode="gray">
              <a:xfrm>
                <a:off x="3778" y="2099"/>
                <a:ext cx="122" cy="12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24" name="Freeform 9">
                <a:extLst>
                  <a:ext uri="{FF2B5EF4-FFF2-40B4-BE49-F238E27FC236}">
                    <a16:creationId xmlns:a16="http://schemas.microsoft.com/office/drawing/2014/main" id="{5856770D-B8F0-244E-A05D-AED190086F10}"/>
                  </a:ext>
                </a:extLst>
              </p:cNvPr>
              <p:cNvSpPr>
                <a:spLocks noEditPoints="1"/>
              </p:cNvSpPr>
              <p:nvPr/>
            </p:nvSpPr>
            <p:spPr bwMode="gray">
              <a:xfrm>
                <a:off x="3623" y="1696"/>
                <a:ext cx="1167" cy="922"/>
              </a:xfrm>
              <a:custGeom>
                <a:avLst/>
                <a:gdLst>
                  <a:gd name="T0" fmla="*/ 411 w 580"/>
                  <a:gd name="T1" fmla="*/ 213 h 458"/>
                  <a:gd name="T2" fmla="*/ 570 w 580"/>
                  <a:gd name="T3" fmla="*/ 37 h 458"/>
                  <a:gd name="T4" fmla="*/ 580 w 580"/>
                  <a:gd name="T5" fmla="*/ 20 h 458"/>
                  <a:gd name="T6" fmla="*/ 545 w 580"/>
                  <a:gd name="T7" fmla="*/ 0 h 458"/>
                  <a:gd name="T8" fmla="*/ 519 w 580"/>
                  <a:gd name="T9" fmla="*/ 16 h 458"/>
                  <a:gd name="T10" fmla="*/ 344 w 580"/>
                  <a:gd name="T11" fmla="*/ 210 h 458"/>
                  <a:gd name="T12" fmla="*/ 334 w 580"/>
                  <a:gd name="T13" fmla="*/ 229 h 458"/>
                  <a:gd name="T14" fmla="*/ 344 w 580"/>
                  <a:gd name="T15" fmla="*/ 248 h 458"/>
                  <a:gd name="T16" fmla="*/ 519 w 580"/>
                  <a:gd name="T17" fmla="*/ 442 h 458"/>
                  <a:gd name="T18" fmla="*/ 545 w 580"/>
                  <a:gd name="T19" fmla="*/ 458 h 458"/>
                  <a:gd name="T20" fmla="*/ 580 w 580"/>
                  <a:gd name="T21" fmla="*/ 438 h 458"/>
                  <a:gd name="T22" fmla="*/ 570 w 580"/>
                  <a:gd name="T23" fmla="*/ 421 h 458"/>
                  <a:gd name="T24" fmla="*/ 411 w 580"/>
                  <a:gd name="T25" fmla="*/ 245 h 458"/>
                  <a:gd name="T26" fmla="*/ 399 w 580"/>
                  <a:gd name="T27" fmla="*/ 229 h 458"/>
                  <a:gd name="T28" fmla="*/ 411 w 580"/>
                  <a:gd name="T29" fmla="*/ 213 h 458"/>
                  <a:gd name="T30" fmla="*/ 252 w 580"/>
                  <a:gd name="T31" fmla="*/ 439 h 458"/>
                  <a:gd name="T32" fmla="*/ 281 w 580"/>
                  <a:gd name="T33" fmla="*/ 454 h 458"/>
                  <a:gd name="T34" fmla="*/ 309 w 580"/>
                  <a:gd name="T35" fmla="*/ 439 h 458"/>
                  <a:gd name="T36" fmla="*/ 309 w 580"/>
                  <a:gd name="T37" fmla="*/ 19 h 458"/>
                  <a:gd name="T38" fmla="*/ 281 w 580"/>
                  <a:gd name="T39" fmla="*/ 4 h 458"/>
                  <a:gd name="T40" fmla="*/ 252 w 580"/>
                  <a:gd name="T41" fmla="*/ 19 h 458"/>
                  <a:gd name="T42" fmla="*/ 252 w 580"/>
                  <a:gd name="T43" fmla="*/ 439 h 458"/>
                  <a:gd name="T44" fmla="*/ 0 w 580"/>
                  <a:gd name="T45" fmla="*/ 439 h 458"/>
                  <a:gd name="T46" fmla="*/ 28 w 580"/>
                  <a:gd name="T47" fmla="*/ 454 h 458"/>
                  <a:gd name="T48" fmla="*/ 56 w 580"/>
                  <a:gd name="T49" fmla="*/ 439 h 458"/>
                  <a:gd name="T50" fmla="*/ 56 w 580"/>
                  <a:gd name="T51" fmla="*/ 157 h 458"/>
                  <a:gd name="T52" fmla="*/ 165 w 580"/>
                  <a:gd name="T53" fmla="*/ 53 h 458"/>
                  <a:gd name="T54" fmla="*/ 180 w 580"/>
                  <a:gd name="T55" fmla="*/ 53 h 458"/>
                  <a:gd name="T56" fmla="*/ 196 w 580"/>
                  <a:gd name="T57" fmla="*/ 27 h 458"/>
                  <a:gd name="T58" fmla="*/ 154 w 580"/>
                  <a:gd name="T59" fmla="*/ 4 h 458"/>
                  <a:gd name="T60" fmla="*/ 0 w 580"/>
                  <a:gd name="T61" fmla="*/ 152 h 458"/>
                  <a:gd name="T62" fmla="*/ 0 w 580"/>
                  <a:gd name="T63" fmla="*/ 439 h 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80" h="458">
                    <a:moveTo>
                      <a:pt x="411" y="213"/>
                    </a:moveTo>
                    <a:cubicBezTo>
                      <a:pt x="570" y="37"/>
                      <a:pt x="570" y="37"/>
                      <a:pt x="570" y="37"/>
                    </a:cubicBezTo>
                    <a:cubicBezTo>
                      <a:pt x="576" y="30"/>
                      <a:pt x="580" y="25"/>
                      <a:pt x="580" y="20"/>
                    </a:cubicBezTo>
                    <a:cubicBezTo>
                      <a:pt x="580" y="10"/>
                      <a:pt x="559" y="0"/>
                      <a:pt x="545" y="0"/>
                    </a:cubicBezTo>
                    <a:cubicBezTo>
                      <a:pt x="535" y="0"/>
                      <a:pt x="526" y="8"/>
                      <a:pt x="519" y="16"/>
                    </a:cubicBezTo>
                    <a:cubicBezTo>
                      <a:pt x="344" y="210"/>
                      <a:pt x="344" y="210"/>
                      <a:pt x="344" y="210"/>
                    </a:cubicBezTo>
                    <a:cubicBezTo>
                      <a:pt x="336" y="219"/>
                      <a:pt x="334" y="224"/>
                      <a:pt x="334" y="229"/>
                    </a:cubicBezTo>
                    <a:cubicBezTo>
                      <a:pt x="334" y="234"/>
                      <a:pt x="336" y="239"/>
                      <a:pt x="344" y="248"/>
                    </a:cubicBezTo>
                    <a:cubicBezTo>
                      <a:pt x="519" y="442"/>
                      <a:pt x="519" y="442"/>
                      <a:pt x="519" y="442"/>
                    </a:cubicBezTo>
                    <a:cubicBezTo>
                      <a:pt x="526" y="450"/>
                      <a:pt x="535" y="458"/>
                      <a:pt x="545" y="458"/>
                    </a:cubicBezTo>
                    <a:cubicBezTo>
                      <a:pt x="559" y="458"/>
                      <a:pt x="580" y="448"/>
                      <a:pt x="580" y="438"/>
                    </a:cubicBezTo>
                    <a:cubicBezTo>
                      <a:pt x="580" y="433"/>
                      <a:pt x="576" y="428"/>
                      <a:pt x="570" y="421"/>
                    </a:cubicBezTo>
                    <a:cubicBezTo>
                      <a:pt x="411" y="245"/>
                      <a:pt x="411" y="245"/>
                      <a:pt x="411" y="245"/>
                    </a:cubicBezTo>
                    <a:cubicBezTo>
                      <a:pt x="403" y="236"/>
                      <a:pt x="399" y="232"/>
                      <a:pt x="399" y="229"/>
                    </a:cubicBezTo>
                    <a:cubicBezTo>
                      <a:pt x="399" y="226"/>
                      <a:pt x="403" y="222"/>
                      <a:pt x="411" y="213"/>
                    </a:cubicBezTo>
                    <a:moveTo>
                      <a:pt x="252" y="439"/>
                    </a:moveTo>
                    <a:cubicBezTo>
                      <a:pt x="252" y="449"/>
                      <a:pt x="261" y="454"/>
                      <a:pt x="281" y="454"/>
                    </a:cubicBezTo>
                    <a:cubicBezTo>
                      <a:pt x="300" y="454"/>
                      <a:pt x="309" y="449"/>
                      <a:pt x="309" y="439"/>
                    </a:cubicBezTo>
                    <a:cubicBezTo>
                      <a:pt x="309" y="19"/>
                      <a:pt x="309" y="19"/>
                      <a:pt x="309" y="19"/>
                    </a:cubicBezTo>
                    <a:cubicBezTo>
                      <a:pt x="309" y="9"/>
                      <a:pt x="300" y="4"/>
                      <a:pt x="281" y="4"/>
                    </a:cubicBezTo>
                    <a:cubicBezTo>
                      <a:pt x="261" y="4"/>
                      <a:pt x="252" y="9"/>
                      <a:pt x="252" y="19"/>
                    </a:cubicBezTo>
                    <a:lnTo>
                      <a:pt x="252" y="439"/>
                    </a:lnTo>
                    <a:close/>
                    <a:moveTo>
                      <a:pt x="0" y="439"/>
                    </a:moveTo>
                    <a:cubicBezTo>
                      <a:pt x="0" y="449"/>
                      <a:pt x="8" y="454"/>
                      <a:pt x="28" y="454"/>
                    </a:cubicBezTo>
                    <a:cubicBezTo>
                      <a:pt x="48" y="454"/>
                      <a:pt x="56" y="449"/>
                      <a:pt x="56" y="439"/>
                    </a:cubicBezTo>
                    <a:cubicBezTo>
                      <a:pt x="56" y="157"/>
                      <a:pt x="56" y="157"/>
                      <a:pt x="56" y="157"/>
                    </a:cubicBezTo>
                    <a:cubicBezTo>
                      <a:pt x="56" y="83"/>
                      <a:pt x="85" y="53"/>
                      <a:pt x="165" y="53"/>
                    </a:cubicBezTo>
                    <a:cubicBezTo>
                      <a:pt x="180" y="53"/>
                      <a:pt x="180" y="53"/>
                      <a:pt x="180" y="53"/>
                    </a:cubicBezTo>
                    <a:cubicBezTo>
                      <a:pt x="192" y="53"/>
                      <a:pt x="196" y="43"/>
                      <a:pt x="196" y="27"/>
                    </a:cubicBezTo>
                    <a:cubicBezTo>
                      <a:pt x="196" y="8"/>
                      <a:pt x="185" y="4"/>
                      <a:pt x="154" y="4"/>
                    </a:cubicBezTo>
                    <a:cubicBezTo>
                      <a:pt x="64" y="4"/>
                      <a:pt x="0" y="43"/>
                      <a:pt x="0" y="152"/>
                    </a:cubicBezTo>
                    <a:lnTo>
                      <a:pt x="0" y="43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25" name="Freeform 10">
                <a:extLst>
                  <a:ext uri="{FF2B5EF4-FFF2-40B4-BE49-F238E27FC236}">
                    <a16:creationId xmlns:a16="http://schemas.microsoft.com/office/drawing/2014/main" id="{2B91B16B-BC11-E547-8FAC-B9B8D18EA449}"/>
                  </a:ext>
                </a:extLst>
              </p:cNvPr>
              <p:cNvSpPr>
                <a:spLocks/>
              </p:cNvSpPr>
              <p:nvPr/>
            </p:nvSpPr>
            <p:spPr bwMode="gray">
              <a:xfrm>
                <a:off x="2880" y="1704"/>
                <a:ext cx="618" cy="916"/>
              </a:xfrm>
              <a:custGeom>
                <a:avLst/>
                <a:gdLst>
                  <a:gd name="T0" fmla="*/ 307 w 307"/>
                  <a:gd name="T1" fmla="*/ 405 h 455"/>
                  <a:gd name="T2" fmla="*/ 307 w 307"/>
                  <a:gd name="T3" fmla="*/ 244 h 455"/>
                  <a:gd name="T4" fmla="*/ 279 w 307"/>
                  <a:gd name="T5" fmla="*/ 229 h 455"/>
                  <a:gd name="T6" fmla="*/ 250 w 307"/>
                  <a:gd name="T7" fmla="*/ 244 h 455"/>
                  <a:gd name="T8" fmla="*/ 250 w 307"/>
                  <a:gd name="T9" fmla="*/ 378 h 455"/>
                  <a:gd name="T10" fmla="*/ 199 w 307"/>
                  <a:gd name="T11" fmla="*/ 408 h 455"/>
                  <a:gd name="T12" fmla="*/ 61 w 307"/>
                  <a:gd name="T13" fmla="*/ 231 h 455"/>
                  <a:gd name="T14" fmla="*/ 238 w 307"/>
                  <a:gd name="T15" fmla="*/ 49 h 455"/>
                  <a:gd name="T16" fmla="*/ 270 w 307"/>
                  <a:gd name="T17" fmla="*/ 49 h 455"/>
                  <a:gd name="T18" fmla="*/ 286 w 307"/>
                  <a:gd name="T19" fmla="*/ 23 h 455"/>
                  <a:gd name="T20" fmla="*/ 244 w 307"/>
                  <a:gd name="T21" fmla="*/ 0 h 455"/>
                  <a:gd name="T22" fmla="*/ 231 w 307"/>
                  <a:gd name="T23" fmla="*/ 0 h 455"/>
                  <a:gd name="T24" fmla="*/ 0 w 307"/>
                  <a:gd name="T25" fmla="*/ 232 h 455"/>
                  <a:gd name="T26" fmla="*/ 198 w 307"/>
                  <a:gd name="T27" fmla="*/ 455 h 455"/>
                  <a:gd name="T28" fmla="*/ 307 w 307"/>
                  <a:gd name="T29" fmla="*/ 405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7" h="455">
                    <a:moveTo>
                      <a:pt x="307" y="405"/>
                    </a:moveTo>
                    <a:cubicBezTo>
                      <a:pt x="307" y="244"/>
                      <a:pt x="307" y="244"/>
                      <a:pt x="307" y="244"/>
                    </a:cubicBezTo>
                    <a:cubicBezTo>
                      <a:pt x="307" y="234"/>
                      <a:pt x="298" y="229"/>
                      <a:pt x="279" y="229"/>
                    </a:cubicBezTo>
                    <a:cubicBezTo>
                      <a:pt x="259" y="229"/>
                      <a:pt x="250" y="234"/>
                      <a:pt x="250" y="244"/>
                    </a:cubicBezTo>
                    <a:cubicBezTo>
                      <a:pt x="250" y="378"/>
                      <a:pt x="250" y="378"/>
                      <a:pt x="250" y="378"/>
                    </a:cubicBezTo>
                    <a:cubicBezTo>
                      <a:pt x="250" y="399"/>
                      <a:pt x="241" y="408"/>
                      <a:pt x="199" y="408"/>
                    </a:cubicBezTo>
                    <a:cubicBezTo>
                      <a:pt x="114" y="408"/>
                      <a:pt x="61" y="342"/>
                      <a:pt x="61" y="231"/>
                    </a:cubicBezTo>
                    <a:cubicBezTo>
                      <a:pt x="61" y="115"/>
                      <a:pt x="126" y="49"/>
                      <a:pt x="238" y="49"/>
                    </a:cubicBezTo>
                    <a:cubicBezTo>
                      <a:pt x="270" y="49"/>
                      <a:pt x="270" y="49"/>
                      <a:pt x="270" y="49"/>
                    </a:cubicBezTo>
                    <a:cubicBezTo>
                      <a:pt x="282" y="49"/>
                      <a:pt x="286" y="39"/>
                      <a:pt x="286" y="23"/>
                    </a:cubicBezTo>
                    <a:cubicBezTo>
                      <a:pt x="286" y="4"/>
                      <a:pt x="275" y="0"/>
                      <a:pt x="244" y="0"/>
                    </a:cubicBezTo>
                    <a:cubicBezTo>
                      <a:pt x="231" y="0"/>
                      <a:pt x="231" y="0"/>
                      <a:pt x="231" y="0"/>
                    </a:cubicBezTo>
                    <a:cubicBezTo>
                      <a:pt x="101" y="0"/>
                      <a:pt x="0" y="71"/>
                      <a:pt x="0" y="232"/>
                    </a:cubicBezTo>
                    <a:cubicBezTo>
                      <a:pt x="0" y="386"/>
                      <a:pt x="88" y="455"/>
                      <a:pt x="198" y="455"/>
                    </a:cubicBezTo>
                    <a:cubicBezTo>
                      <a:pt x="286" y="455"/>
                      <a:pt x="307" y="430"/>
                      <a:pt x="307" y="40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26" name="Oval 11">
                <a:extLst>
                  <a:ext uri="{FF2B5EF4-FFF2-40B4-BE49-F238E27FC236}">
                    <a16:creationId xmlns:a16="http://schemas.microsoft.com/office/drawing/2014/main" id="{14F8C3C8-4888-7646-B9B4-64EB46A1DA23}"/>
                  </a:ext>
                </a:extLst>
              </p:cNvPr>
              <p:cNvSpPr>
                <a:spLocks noChangeArrowheads="1"/>
              </p:cNvSpPr>
              <p:nvPr/>
            </p:nvSpPr>
            <p:spPr bwMode="gray">
              <a:xfrm>
                <a:off x="3778" y="2099"/>
                <a:ext cx="122" cy="12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27" name="Freeform 12">
                <a:extLst>
                  <a:ext uri="{FF2B5EF4-FFF2-40B4-BE49-F238E27FC236}">
                    <a16:creationId xmlns:a16="http://schemas.microsoft.com/office/drawing/2014/main" id="{D79D01D1-4E3E-F34B-97D7-2D387E68746E}"/>
                  </a:ext>
                </a:extLst>
              </p:cNvPr>
              <p:cNvSpPr>
                <a:spLocks/>
              </p:cNvSpPr>
              <p:nvPr/>
            </p:nvSpPr>
            <p:spPr bwMode="gray">
              <a:xfrm>
                <a:off x="4321" y="1029"/>
                <a:ext cx="648" cy="649"/>
              </a:xfrm>
              <a:custGeom>
                <a:avLst/>
                <a:gdLst>
                  <a:gd name="T0" fmla="*/ 0 w 648"/>
                  <a:gd name="T1" fmla="*/ 649 h 649"/>
                  <a:gd name="T2" fmla="*/ 2 w 648"/>
                  <a:gd name="T3" fmla="*/ 649 h 649"/>
                  <a:gd name="T4" fmla="*/ 648 w 648"/>
                  <a:gd name="T5" fmla="*/ 0 h 649"/>
                  <a:gd name="T6" fmla="*/ 423 w 648"/>
                  <a:gd name="T7" fmla="*/ 0 h 649"/>
                  <a:gd name="T8" fmla="*/ 0 w 648"/>
                  <a:gd name="T9" fmla="*/ 649 h 649"/>
                </a:gdLst>
                <a:ahLst/>
                <a:cxnLst>
                  <a:cxn ang="0">
                    <a:pos x="T0" y="T1"/>
                  </a:cxn>
                  <a:cxn ang="0">
                    <a:pos x="T2" y="T3"/>
                  </a:cxn>
                  <a:cxn ang="0">
                    <a:pos x="T4" y="T5"/>
                  </a:cxn>
                  <a:cxn ang="0">
                    <a:pos x="T6" y="T7"/>
                  </a:cxn>
                  <a:cxn ang="0">
                    <a:pos x="T8" y="T9"/>
                  </a:cxn>
                </a:cxnLst>
                <a:rect l="0" t="0" r="r" b="b"/>
                <a:pathLst>
                  <a:path w="648" h="649">
                    <a:moveTo>
                      <a:pt x="0" y="649"/>
                    </a:moveTo>
                    <a:lnTo>
                      <a:pt x="2" y="649"/>
                    </a:lnTo>
                    <a:lnTo>
                      <a:pt x="648" y="0"/>
                    </a:lnTo>
                    <a:lnTo>
                      <a:pt x="423" y="0"/>
                    </a:lnTo>
                    <a:lnTo>
                      <a:pt x="0" y="64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28" name="Freeform 13">
                <a:extLst>
                  <a:ext uri="{FF2B5EF4-FFF2-40B4-BE49-F238E27FC236}">
                    <a16:creationId xmlns:a16="http://schemas.microsoft.com/office/drawing/2014/main" id="{46549898-6C52-B147-A8F6-A73FDBE6163B}"/>
                  </a:ext>
                </a:extLst>
              </p:cNvPr>
              <p:cNvSpPr>
                <a:spLocks/>
              </p:cNvSpPr>
              <p:nvPr/>
            </p:nvSpPr>
            <p:spPr bwMode="gray">
              <a:xfrm>
                <a:off x="4321" y="1029"/>
                <a:ext cx="648" cy="649"/>
              </a:xfrm>
              <a:custGeom>
                <a:avLst/>
                <a:gdLst>
                  <a:gd name="T0" fmla="*/ 0 w 648"/>
                  <a:gd name="T1" fmla="*/ 649 h 649"/>
                  <a:gd name="T2" fmla="*/ 2 w 648"/>
                  <a:gd name="T3" fmla="*/ 649 h 649"/>
                  <a:gd name="T4" fmla="*/ 648 w 648"/>
                  <a:gd name="T5" fmla="*/ 0 h 649"/>
                  <a:gd name="T6" fmla="*/ 423 w 648"/>
                  <a:gd name="T7" fmla="*/ 0 h 649"/>
                  <a:gd name="T8" fmla="*/ 0 w 648"/>
                  <a:gd name="T9" fmla="*/ 649 h 649"/>
                </a:gdLst>
                <a:ahLst/>
                <a:cxnLst>
                  <a:cxn ang="0">
                    <a:pos x="T0" y="T1"/>
                  </a:cxn>
                  <a:cxn ang="0">
                    <a:pos x="T2" y="T3"/>
                  </a:cxn>
                  <a:cxn ang="0">
                    <a:pos x="T4" y="T5"/>
                  </a:cxn>
                  <a:cxn ang="0">
                    <a:pos x="T6" y="T7"/>
                  </a:cxn>
                  <a:cxn ang="0">
                    <a:pos x="T8" y="T9"/>
                  </a:cxn>
                </a:cxnLst>
                <a:rect l="0" t="0" r="r" b="b"/>
                <a:pathLst>
                  <a:path w="648" h="649">
                    <a:moveTo>
                      <a:pt x="0" y="649"/>
                    </a:moveTo>
                    <a:lnTo>
                      <a:pt x="2" y="649"/>
                    </a:lnTo>
                    <a:lnTo>
                      <a:pt x="648" y="0"/>
                    </a:lnTo>
                    <a:lnTo>
                      <a:pt x="423" y="0"/>
                    </a:lnTo>
                    <a:lnTo>
                      <a:pt x="0" y="64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grpSp>
      </p:grpSp>
      <p:sp>
        <p:nvSpPr>
          <p:cNvPr id="7" name="Date Placeholder 6"/>
          <p:cNvSpPr>
            <a:spLocks noGrp="1"/>
          </p:cNvSpPr>
          <p:nvPr>
            <p:ph type="dt" sz="half" idx="10"/>
          </p:nvPr>
        </p:nvSpPr>
        <p:spPr>
          <a:xfrm>
            <a:off x="0" y="0"/>
            <a:ext cx="0" cy="0"/>
          </a:xfrm>
          <a:prstGeom prst="rect">
            <a:avLst/>
          </a:prstGeom>
        </p:spPr>
        <p:txBody>
          <a:bodyPr/>
          <a:lstStyle>
            <a:lvl1pPr>
              <a:defRPr sz="100">
                <a:noFill/>
              </a:defRPr>
            </a:lvl1pPr>
          </a:lstStyle>
          <a:p>
            <a:fld id="{7630F4D0-4FCA-495D-93CB-4308FDD6CACA}" type="datetime5">
              <a:rPr lang="en-US" smtClean="0"/>
              <a:t>26-Jun-20</a:t>
            </a:fld>
            <a:endParaRPr lang="en-US"/>
          </a:p>
        </p:txBody>
      </p:sp>
      <p:sp>
        <p:nvSpPr>
          <p:cNvPr id="8" name="Footer Placeholder 7"/>
          <p:cNvSpPr>
            <a:spLocks noGrp="1"/>
          </p:cNvSpPr>
          <p:nvPr>
            <p:ph type="ftr" sz="quarter" idx="11"/>
          </p:nvPr>
        </p:nvSpPr>
        <p:spPr>
          <a:xfrm>
            <a:off x="0" y="0"/>
            <a:ext cx="0" cy="0"/>
          </a:xfrm>
          <a:prstGeom prst="rect">
            <a:avLst/>
          </a:prstGeom>
        </p:spPr>
        <p:txBody>
          <a:bodyPr/>
          <a:lstStyle>
            <a:lvl1pPr marL="0" indent="0">
              <a:buNone/>
              <a:defRPr sz="100">
                <a:noFill/>
              </a:defRPr>
            </a:lvl1pPr>
          </a:lstStyle>
          <a:p>
            <a:r>
              <a:rPr lang="en-US"/>
              <a:t>Title of presentation (Insert / Header &amp; Footer / Apply to All)</a:t>
            </a:r>
          </a:p>
        </p:txBody>
      </p:sp>
      <p:sp>
        <p:nvSpPr>
          <p:cNvPr id="9" name="Slide Number Placeholder 8"/>
          <p:cNvSpPr>
            <a:spLocks noGrp="1"/>
          </p:cNvSpPr>
          <p:nvPr>
            <p:ph type="sldNum" sz="quarter" idx="12"/>
          </p:nvPr>
        </p:nvSpPr>
        <p:spPr>
          <a:xfrm>
            <a:off x="0" y="0"/>
            <a:ext cx="0" cy="0"/>
          </a:xfrm>
          <a:prstGeom prst="rect">
            <a:avLst/>
          </a:prstGeom>
        </p:spPr>
        <p:txBody>
          <a:bodyPr/>
          <a:lstStyle>
            <a:lvl1pPr>
              <a:defRPr sz="100">
                <a:noFill/>
              </a:defRPr>
            </a:lvl1pPr>
          </a:lstStyle>
          <a:p>
            <a:fld id="{8E3B25F7-8D1F-44B5-B485-EE3C438CFD7B}" type="slidenum">
              <a:rPr lang="en-US" smtClean="0"/>
              <a:pPr/>
              <a:t>‹#›</a:t>
            </a:fld>
            <a:endParaRPr lang="en-US"/>
          </a:p>
        </p:txBody>
      </p:sp>
      <p:sp>
        <p:nvSpPr>
          <p:cNvPr id="2" name="Title 1"/>
          <p:cNvSpPr>
            <a:spLocks noGrp="1"/>
          </p:cNvSpPr>
          <p:nvPr>
            <p:ph type="ctrTitle" hasCustomPrompt="1"/>
          </p:nvPr>
        </p:nvSpPr>
        <p:spPr>
          <a:xfrm>
            <a:off x="4524589" y="1628775"/>
            <a:ext cx="5707662" cy="2236264"/>
          </a:xfrm>
        </p:spPr>
        <p:txBody>
          <a:bodyPr anchor="b"/>
          <a:lstStyle>
            <a:lvl1pPr algn="l">
              <a:defRPr sz="3600" baseline="0"/>
            </a:lvl1pPr>
          </a:lstStyle>
          <a:p>
            <a:r>
              <a:rPr lang="en-US"/>
              <a:t>Click to add a longer presentation title</a:t>
            </a:r>
          </a:p>
        </p:txBody>
      </p:sp>
      <p:sp>
        <p:nvSpPr>
          <p:cNvPr id="3" name="Subtitle 2"/>
          <p:cNvSpPr>
            <a:spLocks noGrp="1"/>
          </p:cNvSpPr>
          <p:nvPr>
            <p:ph type="subTitle" idx="1" hasCustomPrompt="1"/>
          </p:nvPr>
        </p:nvSpPr>
        <p:spPr>
          <a:xfrm>
            <a:off x="4524589" y="4094163"/>
            <a:ext cx="5707662" cy="1080000"/>
          </a:xfrm>
        </p:spPr>
        <p:txBody>
          <a:bodyPr/>
          <a:lstStyle>
            <a:lvl1pPr marL="0" indent="0" algn="l">
              <a:spcBef>
                <a:spcPts val="0"/>
              </a:spcBef>
              <a:buNone/>
              <a:defRPr sz="1800" b="1"/>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sp>
        <p:nvSpPr>
          <p:cNvPr id="31" name="Text Placeholder 30"/>
          <p:cNvSpPr>
            <a:spLocks noGrp="1"/>
          </p:cNvSpPr>
          <p:nvPr>
            <p:ph type="body" sz="quarter" idx="14" hasCustomPrompt="1"/>
          </p:nvPr>
        </p:nvSpPr>
        <p:spPr>
          <a:xfrm>
            <a:off x="417600" y="5393268"/>
            <a:ext cx="2494933" cy="296332"/>
          </a:xfrm>
        </p:spPr>
        <p:txBody>
          <a:bodyPr wrap="none"/>
          <a:lstStyle>
            <a:lvl1pPr marL="0" indent="0">
              <a:spcBef>
                <a:spcPts val="0"/>
              </a:spcBef>
              <a:buNone/>
              <a:defRPr sz="1200"/>
            </a:lvl1pPr>
            <a:lvl2pPr marL="0" indent="0">
              <a:buNone/>
              <a:defRPr sz="1200"/>
            </a:lvl2pPr>
            <a:lvl3pPr marL="0" indent="0">
              <a:buNone/>
              <a:defRPr sz="1200"/>
            </a:lvl3pPr>
            <a:lvl4pPr marL="0">
              <a:buNone/>
              <a:defRPr sz="1200"/>
            </a:lvl4pPr>
            <a:lvl5pPr marL="0" indent="0">
              <a:buNone/>
              <a:defRPr sz="1200"/>
            </a:lvl5pPr>
          </a:lstStyle>
          <a:p>
            <a:pPr lvl="0"/>
            <a:r>
              <a:rPr lang="en-US"/>
              <a:t>Name</a:t>
            </a:r>
          </a:p>
        </p:txBody>
      </p:sp>
      <p:sp>
        <p:nvSpPr>
          <p:cNvPr id="34" name="Text Placeholder 30"/>
          <p:cNvSpPr>
            <a:spLocks noGrp="1"/>
          </p:cNvSpPr>
          <p:nvPr>
            <p:ph type="body" sz="quarter" idx="15" hasCustomPrompt="1"/>
          </p:nvPr>
        </p:nvSpPr>
        <p:spPr>
          <a:xfrm>
            <a:off x="417600" y="5691446"/>
            <a:ext cx="2494933" cy="296332"/>
          </a:xfrm>
        </p:spPr>
        <p:txBody>
          <a:bodyPr wrap="none"/>
          <a:lstStyle>
            <a:lvl1pPr marL="0" indent="0">
              <a:spcBef>
                <a:spcPts val="0"/>
              </a:spcBef>
              <a:buNone/>
              <a:defRPr sz="1200"/>
            </a:lvl1pPr>
            <a:lvl2pPr marL="0" indent="0">
              <a:buNone/>
              <a:defRPr sz="1200"/>
            </a:lvl2pPr>
            <a:lvl3pPr marL="0" indent="0">
              <a:buNone/>
              <a:defRPr sz="1200"/>
            </a:lvl3pPr>
            <a:lvl4pPr marL="0">
              <a:buNone/>
              <a:defRPr sz="1200"/>
            </a:lvl4pPr>
            <a:lvl5pPr marL="0" indent="0">
              <a:buNone/>
              <a:defRPr sz="1200"/>
            </a:lvl5pPr>
          </a:lstStyle>
          <a:p>
            <a:pPr lvl="0"/>
            <a:r>
              <a:rPr lang="en-US"/>
              <a:t>Department</a:t>
            </a:r>
          </a:p>
        </p:txBody>
      </p:sp>
    </p:spTree>
    <p:extLst>
      <p:ext uri="{BB962C8B-B14F-4D97-AF65-F5344CB8AC3E}">
        <p14:creationId xmlns:p14="http://schemas.microsoft.com/office/powerpoint/2010/main" val="1600174718"/>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p:cSld name="Title with picture">
    <p:spTree>
      <p:nvGrpSpPr>
        <p:cNvPr id="1" name=""/>
        <p:cNvGrpSpPr/>
        <p:nvPr/>
      </p:nvGrpSpPr>
      <p:grpSpPr>
        <a:xfrm>
          <a:off x="0" y="0"/>
          <a:ext cx="0" cy="0"/>
          <a:chOff x="0" y="0"/>
          <a:chExt cx="0" cy="0"/>
        </a:xfrm>
      </p:grpSpPr>
      <p:sp>
        <p:nvSpPr>
          <p:cNvPr id="12" name="Picture Placeholder 11"/>
          <p:cNvSpPr>
            <a:spLocks noGrp="1"/>
          </p:cNvSpPr>
          <p:nvPr>
            <p:ph type="pic" sz="quarter" idx="13" hasCustomPrompt="1"/>
          </p:nvPr>
        </p:nvSpPr>
        <p:spPr>
          <a:xfrm>
            <a:off x="3376226" y="0"/>
            <a:ext cx="8815774" cy="6858000"/>
          </a:xfrm>
          <a:custGeom>
            <a:avLst/>
            <a:gdLst>
              <a:gd name="connsiteX0" fmla="*/ 331042 w 8815774"/>
              <a:gd name="connsiteY0" fmla="*/ 0 h 6858000"/>
              <a:gd name="connsiteX1" fmla="*/ 8815774 w 8815774"/>
              <a:gd name="connsiteY1" fmla="*/ 0 h 6858000"/>
              <a:gd name="connsiteX2" fmla="*/ 8815774 w 8815774"/>
              <a:gd name="connsiteY2" fmla="*/ 6858000 h 6858000"/>
              <a:gd name="connsiteX3" fmla="*/ 0 w 8815774"/>
              <a:gd name="connsiteY3" fmla="*/ 6858000 h 6858000"/>
              <a:gd name="connsiteX4" fmla="*/ 1580491 w 8815774"/>
              <a:gd name="connsiteY4" fmla="*/ 4163677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15774" h="6858000">
                <a:moveTo>
                  <a:pt x="331042" y="0"/>
                </a:moveTo>
                <a:lnTo>
                  <a:pt x="8815774" y="0"/>
                </a:lnTo>
                <a:lnTo>
                  <a:pt x="8815774" y="6858000"/>
                </a:lnTo>
                <a:lnTo>
                  <a:pt x="0" y="6858000"/>
                </a:lnTo>
                <a:lnTo>
                  <a:pt x="1580491" y="4163677"/>
                </a:lnTo>
                <a:close/>
              </a:path>
            </a:pathLst>
          </a:custGeom>
          <a:solidFill>
            <a:srgbClr val="D9DADB"/>
          </a:solidFill>
        </p:spPr>
        <p:txBody>
          <a:bodyPr wrap="square">
            <a:noAutofit/>
          </a:bodyPr>
          <a:lstStyle>
            <a:lvl1pPr marL="0" indent="0" algn="ctr">
              <a:buNone/>
              <a:defRPr/>
            </a:lvl1pPr>
          </a:lstStyle>
          <a:p>
            <a:r>
              <a:rPr lang="en-US"/>
              <a:t>Insert picture</a:t>
            </a:r>
          </a:p>
        </p:txBody>
      </p:sp>
      <p:grpSp>
        <p:nvGrpSpPr>
          <p:cNvPr id="14" name="logo">
            <a:extLst>
              <a:ext uri="{FF2B5EF4-FFF2-40B4-BE49-F238E27FC236}">
                <a16:creationId xmlns:a16="http://schemas.microsoft.com/office/drawing/2014/main" id="{18C26D95-70F8-8A4D-9F18-DCCB92522AF8}"/>
              </a:ext>
            </a:extLst>
          </p:cNvPr>
          <p:cNvGrpSpPr/>
          <p:nvPr/>
        </p:nvGrpSpPr>
        <p:grpSpPr bwMode="gray">
          <a:xfrm>
            <a:off x="417363" y="407485"/>
            <a:ext cx="1518585" cy="646507"/>
            <a:chOff x="334963" y="296652"/>
            <a:chExt cx="1268411" cy="540000"/>
          </a:xfrm>
        </p:grpSpPr>
        <p:sp>
          <p:nvSpPr>
            <p:cNvPr id="17" name="Freeform 6">
              <a:extLst>
                <a:ext uri="{FF2B5EF4-FFF2-40B4-BE49-F238E27FC236}">
                  <a16:creationId xmlns:a16="http://schemas.microsoft.com/office/drawing/2014/main" id="{08737AD0-E375-E445-97E6-CD2E2DF60620}"/>
                </a:ext>
              </a:extLst>
            </p:cNvPr>
            <p:cNvSpPr>
              <a:spLocks noEditPoints="1"/>
            </p:cNvSpPr>
            <p:nvPr/>
          </p:nvSpPr>
          <p:spPr bwMode="gray">
            <a:xfrm>
              <a:off x="982662" y="360462"/>
              <a:ext cx="620712" cy="431800"/>
            </a:xfrm>
            <a:custGeom>
              <a:avLst/>
              <a:gdLst>
                <a:gd name="T0" fmla="*/ 19 w 1809"/>
                <a:gd name="T1" fmla="*/ 97 h 1253"/>
                <a:gd name="T2" fmla="*/ 165 w 1809"/>
                <a:gd name="T3" fmla="*/ 41 h 1253"/>
                <a:gd name="T4" fmla="*/ 211 w 1809"/>
                <a:gd name="T5" fmla="*/ 224 h 1253"/>
                <a:gd name="T6" fmla="*/ 248 w 1809"/>
                <a:gd name="T7" fmla="*/ 155 h 1253"/>
                <a:gd name="T8" fmla="*/ 931 w 1809"/>
                <a:gd name="T9" fmla="*/ 995 h 1253"/>
                <a:gd name="T10" fmla="*/ 858 w 1809"/>
                <a:gd name="T11" fmla="*/ 1115 h 1253"/>
                <a:gd name="T12" fmla="*/ 749 w 1809"/>
                <a:gd name="T13" fmla="*/ 1117 h 1253"/>
                <a:gd name="T14" fmla="*/ 681 w 1809"/>
                <a:gd name="T15" fmla="*/ 1055 h 1253"/>
                <a:gd name="T16" fmla="*/ 800 w 1809"/>
                <a:gd name="T17" fmla="*/ 1054 h 1253"/>
                <a:gd name="T18" fmla="*/ 884 w 1809"/>
                <a:gd name="T19" fmla="*/ 1181 h 1253"/>
                <a:gd name="T20" fmla="*/ 118 w 1809"/>
                <a:gd name="T21" fmla="*/ 1086 h 1253"/>
                <a:gd name="T22" fmla="*/ 147 w 1809"/>
                <a:gd name="T23" fmla="*/ 1026 h 1253"/>
                <a:gd name="T24" fmla="*/ 102 w 1809"/>
                <a:gd name="T25" fmla="*/ 1026 h 1253"/>
                <a:gd name="T26" fmla="*/ 639 w 1809"/>
                <a:gd name="T27" fmla="*/ 84 h 1253"/>
                <a:gd name="T28" fmla="*/ 763 w 1809"/>
                <a:gd name="T29" fmla="*/ 145 h 1253"/>
                <a:gd name="T30" fmla="*/ 863 w 1809"/>
                <a:gd name="T31" fmla="*/ 221 h 1253"/>
                <a:gd name="T32" fmla="*/ 834 w 1809"/>
                <a:gd name="T33" fmla="*/ 208 h 1253"/>
                <a:gd name="T34" fmla="*/ 719 w 1809"/>
                <a:gd name="T35" fmla="*/ 182 h 1253"/>
                <a:gd name="T36" fmla="*/ 507 w 1809"/>
                <a:gd name="T37" fmla="*/ 711 h 1253"/>
                <a:gd name="T38" fmla="*/ 614 w 1809"/>
                <a:gd name="T39" fmla="*/ 706 h 1253"/>
                <a:gd name="T40" fmla="*/ 736 w 1809"/>
                <a:gd name="T41" fmla="*/ 730 h 1253"/>
                <a:gd name="T42" fmla="*/ 607 w 1809"/>
                <a:gd name="T43" fmla="*/ 539 h 1253"/>
                <a:gd name="T44" fmla="*/ 1505 w 1809"/>
                <a:gd name="T45" fmla="*/ 1136 h 1253"/>
                <a:gd name="T46" fmla="*/ 1613 w 1809"/>
                <a:gd name="T47" fmla="*/ 1002 h 1253"/>
                <a:gd name="T48" fmla="*/ 1472 w 1809"/>
                <a:gd name="T49" fmla="*/ 1164 h 1253"/>
                <a:gd name="T50" fmla="*/ 1525 w 1809"/>
                <a:gd name="T51" fmla="*/ 1142 h 1253"/>
                <a:gd name="T52" fmla="*/ 1556 w 1809"/>
                <a:gd name="T53" fmla="*/ 1172 h 1253"/>
                <a:gd name="T54" fmla="*/ 1387 w 1809"/>
                <a:gd name="T55" fmla="*/ 910 h 1253"/>
                <a:gd name="T56" fmla="*/ 1261 w 1809"/>
                <a:gd name="T57" fmla="*/ 1157 h 1253"/>
                <a:gd name="T58" fmla="*/ 1413 w 1809"/>
                <a:gd name="T59" fmla="*/ 934 h 1253"/>
                <a:gd name="T60" fmla="*/ 1378 w 1809"/>
                <a:gd name="T61" fmla="*/ 1052 h 1253"/>
                <a:gd name="T62" fmla="*/ 488 w 1809"/>
                <a:gd name="T63" fmla="*/ 85 h 1253"/>
                <a:gd name="T64" fmla="*/ 509 w 1809"/>
                <a:gd name="T65" fmla="*/ 112 h 1253"/>
                <a:gd name="T66" fmla="*/ 548 w 1809"/>
                <a:gd name="T67" fmla="*/ 1187 h 1253"/>
                <a:gd name="T68" fmla="*/ 472 w 1809"/>
                <a:gd name="T69" fmla="*/ 1122 h 1253"/>
                <a:gd name="T70" fmla="*/ 558 w 1809"/>
                <a:gd name="T71" fmla="*/ 1157 h 1253"/>
                <a:gd name="T72" fmla="*/ 287 w 1809"/>
                <a:gd name="T73" fmla="*/ 654 h 1253"/>
                <a:gd name="T74" fmla="*/ 416 w 1809"/>
                <a:gd name="T75" fmla="*/ 684 h 1253"/>
                <a:gd name="T76" fmla="*/ 1106 w 1809"/>
                <a:gd name="T77" fmla="*/ 147 h 1253"/>
                <a:gd name="T78" fmla="*/ 1229 w 1809"/>
                <a:gd name="T79" fmla="*/ 258 h 1253"/>
                <a:gd name="T80" fmla="*/ 1106 w 1809"/>
                <a:gd name="T81" fmla="*/ 96 h 1253"/>
                <a:gd name="T82" fmla="*/ 1219 w 1809"/>
                <a:gd name="T83" fmla="*/ 1077 h 1253"/>
                <a:gd name="T84" fmla="*/ 1214 w 1809"/>
                <a:gd name="T85" fmla="*/ 1157 h 1253"/>
                <a:gd name="T86" fmla="*/ 1150 w 1809"/>
                <a:gd name="T87" fmla="*/ 1092 h 1253"/>
                <a:gd name="T88" fmla="*/ 1139 w 1809"/>
                <a:gd name="T89" fmla="*/ 1070 h 1253"/>
                <a:gd name="T90" fmla="*/ 1659 w 1809"/>
                <a:gd name="T91" fmla="*/ 1031 h 1253"/>
                <a:gd name="T92" fmla="*/ 1714 w 1809"/>
                <a:gd name="T93" fmla="*/ 1155 h 1253"/>
                <a:gd name="T94" fmla="*/ 1760 w 1809"/>
                <a:gd name="T95" fmla="*/ 1030 h 1253"/>
                <a:gd name="T96" fmla="*/ 111 w 1809"/>
                <a:gd name="T97" fmla="*/ 569 h 1253"/>
                <a:gd name="T98" fmla="*/ 109 w 1809"/>
                <a:gd name="T99" fmla="*/ 460 h 1253"/>
                <a:gd name="T100" fmla="*/ 32 w 1809"/>
                <a:gd name="T101" fmla="*/ 704 h 1253"/>
                <a:gd name="T102" fmla="*/ 310 w 1809"/>
                <a:gd name="T103" fmla="*/ 1058 h 1253"/>
                <a:gd name="T104" fmla="*/ 431 w 1809"/>
                <a:gd name="T105" fmla="*/ 1044 h 1253"/>
                <a:gd name="T106" fmla="*/ 278 w 1809"/>
                <a:gd name="T107" fmla="*/ 1165 h 1253"/>
                <a:gd name="T108" fmla="*/ 261 w 1809"/>
                <a:gd name="T109" fmla="*/ 540 h 1253"/>
                <a:gd name="T110" fmla="*/ 150 w 1809"/>
                <a:gd name="T111" fmla="*/ 635 h 1253"/>
                <a:gd name="T112" fmla="*/ 994 w 1809"/>
                <a:gd name="T113" fmla="*/ 1185 h 1253"/>
                <a:gd name="T114" fmla="*/ 331 w 1809"/>
                <a:gd name="T115" fmla="*/ 176 h 1253"/>
                <a:gd name="T116" fmla="*/ 333 w 1809"/>
                <a:gd name="T117" fmla="*/ 109 h 1253"/>
                <a:gd name="T118" fmla="*/ 946 w 1809"/>
                <a:gd name="T119" fmla="*/ 234 h 1253"/>
                <a:gd name="T120" fmla="*/ 1022 w 1809"/>
                <a:gd name="T121" fmla="*/ 113 h 1253"/>
                <a:gd name="T122" fmla="*/ 949 w 1809"/>
                <a:gd name="T123" fmla="*/ 65 h 1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09" h="1253">
                  <a:moveTo>
                    <a:pt x="248" y="198"/>
                  </a:moveTo>
                  <a:cubicBezTo>
                    <a:pt x="248" y="211"/>
                    <a:pt x="248" y="224"/>
                    <a:pt x="249" y="237"/>
                  </a:cubicBezTo>
                  <a:cubicBezTo>
                    <a:pt x="249" y="245"/>
                    <a:pt x="246" y="249"/>
                    <a:pt x="240" y="253"/>
                  </a:cubicBezTo>
                  <a:cubicBezTo>
                    <a:pt x="231" y="260"/>
                    <a:pt x="220" y="264"/>
                    <a:pt x="209" y="268"/>
                  </a:cubicBezTo>
                  <a:cubicBezTo>
                    <a:pt x="179" y="279"/>
                    <a:pt x="148" y="280"/>
                    <a:pt x="118" y="275"/>
                  </a:cubicBezTo>
                  <a:cubicBezTo>
                    <a:pt x="86" y="269"/>
                    <a:pt x="58" y="252"/>
                    <a:pt x="39" y="224"/>
                  </a:cubicBezTo>
                  <a:cubicBezTo>
                    <a:pt x="24" y="203"/>
                    <a:pt x="18" y="180"/>
                    <a:pt x="15" y="155"/>
                  </a:cubicBezTo>
                  <a:cubicBezTo>
                    <a:pt x="11" y="135"/>
                    <a:pt x="15" y="115"/>
                    <a:pt x="19" y="97"/>
                  </a:cubicBezTo>
                  <a:cubicBezTo>
                    <a:pt x="26" y="68"/>
                    <a:pt x="42" y="44"/>
                    <a:pt x="68" y="27"/>
                  </a:cubicBezTo>
                  <a:cubicBezTo>
                    <a:pt x="87" y="14"/>
                    <a:pt x="109" y="6"/>
                    <a:pt x="133" y="5"/>
                  </a:cubicBezTo>
                  <a:cubicBezTo>
                    <a:pt x="149" y="4"/>
                    <a:pt x="165" y="5"/>
                    <a:pt x="181" y="6"/>
                  </a:cubicBezTo>
                  <a:cubicBezTo>
                    <a:pt x="204" y="8"/>
                    <a:pt x="225" y="20"/>
                    <a:pt x="243" y="35"/>
                  </a:cubicBezTo>
                  <a:cubicBezTo>
                    <a:pt x="246" y="37"/>
                    <a:pt x="246" y="40"/>
                    <a:pt x="244" y="43"/>
                  </a:cubicBezTo>
                  <a:cubicBezTo>
                    <a:pt x="242" y="47"/>
                    <a:pt x="239" y="52"/>
                    <a:pt x="236" y="55"/>
                  </a:cubicBezTo>
                  <a:cubicBezTo>
                    <a:pt x="226" y="65"/>
                    <a:pt x="224" y="65"/>
                    <a:pt x="206" y="54"/>
                  </a:cubicBezTo>
                  <a:cubicBezTo>
                    <a:pt x="193" y="46"/>
                    <a:pt x="180" y="40"/>
                    <a:pt x="165" y="41"/>
                  </a:cubicBezTo>
                  <a:cubicBezTo>
                    <a:pt x="151" y="41"/>
                    <a:pt x="137" y="39"/>
                    <a:pt x="124" y="42"/>
                  </a:cubicBezTo>
                  <a:cubicBezTo>
                    <a:pt x="104" y="46"/>
                    <a:pt x="87" y="57"/>
                    <a:pt x="75" y="74"/>
                  </a:cubicBezTo>
                  <a:cubicBezTo>
                    <a:pt x="56" y="99"/>
                    <a:pt x="51" y="129"/>
                    <a:pt x="55" y="159"/>
                  </a:cubicBezTo>
                  <a:cubicBezTo>
                    <a:pt x="60" y="189"/>
                    <a:pt x="73" y="214"/>
                    <a:pt x="98" y="230"/>
                  </a:cubicBezTo>
                  <a:cubicBezTo>
                    <a:pt x="109" y="237"/>
                    <a:pt x="121" y="242"/>
                    <a:pt x="135" y="241"/>
                  </a:cubicBezTo>
                  <a:cubicBezTo>
                    <a:pt x="146" y="241"/>
                    <a:pt x="158" y="241"/>
                    <a:pt x="169" y="241"/>
                  </a:cubicBezTo>
                  <a:cubicBezTo>
                    <a:pt x="182" y="242"/>
                    <a:pt x="193" y="235"/>
                    <a:pt x="205" y="232"/>
                  </a:cubicBezTo>
                  <a:cubicBezTo>
                    <a:pt x="210" y="231"/>
                    <a:pt x="211" y="227"/>
                    <a:pt x="211" y="224"/>
                  </a:cubicBezTo>
                  <a:cubicBezTo>
                    <a:pt x="211" y="210"/>
                    <a:pt x="211" y="196"/>
                    <a:pt x="211" y="183"/>
                  </a:cubicBezTo>
                  <a:cubicBezTo>
                    <a:pt x="211" y="177"/>
                    <a:pt x="207" y="175"/>
                    <a:pt x="202" y="175"/>
                  </a:cubicBezTo>
                  <a:cubicBezTo>
                    <a:pt x="193" y="175"/>
                    <a:pt x="184" y="175"/>
                    <a:pt x="175" y="175"/>
                  </a:cubicBezTo>
                  <a:cubicBezTo>
                    <a:pt x="171" y="175"/>
                    <a:pt x="168" y="174"/>
                    <a:pt x="166" y="171"/>
                  </a:cubicBezTo>
                  <a:cubicBezTo>
                    <a:pt x="163" y="163"/>
                    <a:pt x="164" y="154"/>
                    <a:pt x="166" y="146"/>
                  </a:cubicBezTo>
                  <a:cubicBezTo>
                    <a:pt x="167" y="142"/>
                    <a:pt x="171" y="142"/>
                    <a:pt x="175" y="142"/>
                  </a:cubicBezTo>
                  <a:cubicBezTo>
                    <a:pt x="196" y="142"/>
                    <a:pt x="217" y="142"/>
                    <a:pt x="238" y="142"/>
                  </a:cubicBezTo>
                  <a:cubicBezTo>
                    <a:pt x="247" y="142"/>
                    <a:pt x="248" y="148"/>
                    <a:pt x="248" y="155"/>
                  </a:cubicBezTo>
                  <a:cubicBezTo>
                    <a:pt x="249" y="169"/>
                    <a:pt x="248" y="183"/>
                    <a:pt x="248" y="198"/>
                  </a:cubicBezTo>
                  <a:close/>
                  <a:moveTo>
                    <a:pt x="884" y="1181"/>
                  </a:moveTo>
                  <a:cubicBezTo>
                    <a:pt x="889" y="1167"/>
                    <a:pt x="894" y="1152"/>
                    <a:pt x="898" y="1137"/>
                  </a:cubicBezTo>
                  <a:cubicBezTo>
                    <a:pt x="901" y="1127"/>
                    <a:pt x="905" y="1116"/>
                    <a:pt x="908" y="1106"/>
                  </a:cubicBezTo>
                  <a:cubicBezTo>
                    <a:pt x="911" y="1098"/>
                    <a:pt x="912" y="1089"/>
                    <a:pt x="916" y="1081"/>
                  </a:cubicBezTo>
                  <a:cubicBezTo>
                    <a:pt x="921" y="1072"/>
                    <a:pt x="923" y="1060"/>
                    <a:pt x="927" y="1050"/>
                  </a:cubicBezTo>
                  <a:cubicBezTo>
                    <a:pt x="932" y="1037"/>
                    <a:pt x="934" y="1023"/>
                    <a:pt x="940" y="1010"/>
                  </a:cubicBezTo>
                  <a:cubicBezTo>
                    <a:pt x="945" y="1001"/>
                    <a:pt x="941" y="995"/>
                    <a:pt x="931" y="995"/>
                  </a:cubicBezTo>
                  <a:cubicBezTo>
                    <a:pt x="927" y="995"/>
                    <a:pt x="922" y="995"/>
                    <a:pt x="918" y="995"/>
                  </a:cubicBezTo>
                  <a:cubicBezTo>
                    <a:pt x="913" y="995"/>
                    <a:pt x="908" y="997"/>
                    <a:pt x="907" y="1001"/>
                  </a:cubicBezTo>
                  <a:cubicBezTo>
                    <a:pt x="904" y="1008"/>
                    <a:pt x="900" y="1015"/>
                    <a:pt x="899" y="1023"/>
                  </a:cubicBezTo>
                  <a:cubicBezTo>
                    <a:pt x="897" y="1034"/>
                    <a:pt x="893" y="1045"/>
                    <a:pt x="889" y="1055"/>
                  </a:cubicBezTo>
                  <a:cubicBezTo>
                    <a:pt x="887" y="1064"/>
                    <a:pt x="885" y="1072"/>
                    <a:pt x="882" y="1080"/>
                  </a:cubicBezTo>
                  <a:cubicBezTo>
                    <a:pt x="878" y="1091"/>
                    <a:pt x="874" y="1103"/>
                    <a:pt x="871" y="1115"/>
                  </a:cubicBezTo>
                  <a:cubicBezTo>
                    <a:pt x="870" y="1118"/>
                    <a:pt x="871" y="1124"/>
                    <a:pt x="866" y="1124"/>
                  </a:cubicBezTo>
                  <a:cubicBezTo>
                    <a:pt x="861" y="1125"/>
                    <a:pt x="859" y="1120"/>
                    <a:pt x="858" y="1115"/>
                  </a:cubicBezTo>
                  <a:cubicBezTo>
                    <a:pt x="856" y="1110"/>
                    <a:pt x="856" y="1104"/>
                    <a:pt x="854" y="1099"/>
                  </a:cubicBezTo>
                  <a:cubicBezTo>
                    <a:pt x="848" y="1080"/>
                    <a:pt x="841" y="1062"/>
                    <a:pt x="835" y="1044"/>
                  </a:cubicBezTo>
                  <a:cubicBezTo>
                    <a:pt x="831" y="1030"/>
                    <a:pt x="828" y="1016"/>
                    <a:pt x="822" y="1003"/>
                  </a:cubicBezTo>
                  <a:cubicBezTo>
                    <a:pt x="819" y="997"/>
                    <a:pt x="814" y="994"/>
                    <a:pt x="808" y="994"/>
                  </a:cubicBezTo>
                  <a:cubicBezTo>
                    <a:pt x="799" y="993"/>
                    <a:pt x="791" y="993"/>
                    <a:pt x="787" y="1001"/>
                  </a:cubicBezTo>
                  <a:cubicBezTo>
                    <a:pt x="783" y="1008"/>
                    <a:pt x="780" y="1015"/>
                    <a:pt x="779" y="1022"/>
                  </a:cubicBezTo>
                  <a:cubicBezTo>
                    <a:pt x="778" y="1034"/>
                    <a:pt x="772" y="1044"/>
                    <a:pt x="769" y="1055"/>
                  </a:cubicBezTo>
                  <a:cubicBezTo>
                    <a:pt x="762" y="1076"/>
                    <a:pt x="754" y="1096"/>
                    <a:pt x="749" y="1117"/>
                  </a:cubicBezTo>
                  <a:cubicBezTo>
                    <a:pt x="748" y="1120"/>
                    <a:pt x="747" y="1124"/>
                    <a:pt x="742" y="1124"/>
                  </a:cubicBezTo>
                  <a:cubicBezTo>
                    <a:pt x="737" y="1124"/>
                    <a:pt x="737" y="1120"/>
                    <a:pt x="736" y="1116"/>
                  </a:cubicBezTo>
                  <a:cubicBezTo>
                    <a:pt x="734" y="1104"/>
                    <a:pt x="730" y="1092"/>
                    <a:pt x="726" y="1080"/>
                  </a:cubicBezTo>
                  <a:cubicBezTo>
                    <a:pt x="720" y="1061"/>
                    <a:pt x="714" y="1040"/>
                    <a:pt x="708" y="1020"/>
                  </a:cubicBezTo>
                  <a:cubicBezTo>
                    <a:pt x="703" y="1000"/>
                    <a:pt x="698" y="994"/>
                    <a:pt x="676" y="995"/>
                  </a:cubicBezTo>
                  <a:cubicBezTo>
                    <a:pt x="665" y="996"/>
                    <a:pt x="661" y="1001"/>
                    <a:pt x="667" y="1011"/>
                  </a:cubicBezTo>
                  <a:cubicBezTo>
                    <a:pt x="669" y="1016"/>
                    <a:pt x="670" y="1021"/>
                    <a:pt x="672" y="1025"/>
                  </a:cubicBezTo>
                  <a:cubicBezTo>
                    <a:pt x="675" y="1035"/>
                    <a:pt x="678" y="1046"/>
                    <a:pt x="681" y="1055"/>
                  </a:cubicBezTo>
                  <a:cubicBezTo>
                    <a:pt x="685" y="1068"/>
                    <a:pt x="689" y="1080"/>
                    <a:pt x="693" y="1092"/>
                  </a:cubicBezTo>
                  <a:cubicBezTo>
                    <a:pt x="697" y="1103"/>
                    <a:pt x="699" y="1113"/>
                    <a:pt x="703" y="1124"/>
                  </a:cubicBezTo>
                  <a:cubicBezTo>
                    <a:pt x="707" y="1136"/>
                    <a:pt x="711" y="1147"/>
                    <a:pt x="715" y="1160"/>
                  </a:cubicBezTo>
                  <a:cubicBezTo>
                    <a:pt x="717" y="1168"/>
                    <a:pt x="720" y="1176"/>
                    <a:pt x="724" y="1183"/>
                  </a:cubicBezTo>
                  <a:cubicBezTo>
                    <a:pt x="728" y="1189"/>
                    <a:pt x="752" y="1185"/>
                    <a:pt x="757" y="1180"/>
                  </a:cubicBezTo>
                  <a:cubicBezTo>
                    <a:pt x="764" y="1173"/>
                    <a:pt x="762" y="1163"/>
                    <a:pt x="766" y="1156"/>
                  </a:cubicBezTo>
                  <a:cubicBezTo>
                    <a:pt x="774" y="1140"/>
                    <a:pt x="778" y="1122"/>
                    <a:pt x="784" y="1105"/>
                  </a:cubicBezTo>
                  <a:cubicBezTo>
                    <a:pt x="789" y="1088"/>
                    <a:pt x="796" y="1072"/>
                    <a:pt x="800" y="1054"/>
                  </a:cubicBezTo>
                  <a:cubicBezTo>
                    <a:pt x="800" y="1053"/>
                    <a:pt x="801" y="1050"/>
                    <a:pt x="803" y="1050"/>
                  </a:cubicBezTo>
                  <a:cubicBezTo>
                    <a:pt x="806" y="1050"/>
                    <a:pt x="806" y="1052"/>
                    <a:pt x="807" y="1055"/>
                  </a:cubicBezTo>
                  <a:cubicBezTo>
                    <a:pt x="807" y="1060"/>
                    <a:pt x="810" y="1066"/>
                    <a:pt x="811" y="1071"/>
                  </a:cubicBezTo>
                  <a:cubicBezTo>
                    <a:pt x="814" y="1081"/>
                    <a:pt x="818" y="1090"/>
                    <a:pt x="821" y="1099"/>
                  </a:cubicBezTo>
                  <a:cubicBezTo>
                    <a:pt x="824" y="1110"/>
                    <a:pt x="827" y="1120"/>
                    <a:pt x="831" y="1131"/>
                  </a:cubicBezTo>
                  <a:cubicBezTo>
                    <a:pt x="834" y="1142"/>
                    <a:pt x="839" y="1153"/>
                    <a:pt x="842" y="1164"/>
                  </a:cubicBezTo>
                  <a:cubicBezTo>
                    <a:pt x="846" y="1179"/>
                    <a:pt x="850" y="1188"/>
                    <a:pt x="869" y="1185"/>
                  </a:cubicBezTo>
                  <a:cubicBezTo>
                    <a:pt x="873" y="1184"/>
                    <a:pt x="881" y="1189"/>
                    <a:pt x="884" y="1181"/>
                  </a:cubicBezTo>
                  <a:close/>
                  <a:moveTo>
                    <a:pt x="33" y="1051"/>
                  </a:moveTo>
                  <a:cubicBezTo>
                    <a:pt x="33" y="1087"/>
                    <a:pt x="33" y="1124"/>
                    <a:pt x="33" y="1160"/>
                  </a:cubicBezTo>
                  <a:cubicBezTo>
                    <a:pt x="33" y="1188"/>
                    <a:pt x="29" y="1184"/>
                    <a:pt x="58" y="1185"/>
                  </a:cubicBezTo>
                  <a:cubicBezTo>
                    <a:pt x="72" y="1185"/>
                    <a:pt x="73" y="1184"/>
                    <a:pt x="73" y="1170"/>
                  </a:cubicBezTo>
                  <a:cubicBezTo>
                    <a:pt x="73" y="1138"/>
                    <a:pt x="73" y="1107"/>
                    <a:pt x="73" y="1076"/>
                  </a:cubicBezTo>
                  <a:cubicBezTo>
                    <a:pt x="73" y="1071"/>
                    <a:pt x="72" y="1067"/>
                    <a:pt x="78" y="1065"/>
                  </a:cubicBezTo>
                  <a:cubicBezTo>
                    <a:pt x="91" y="1062"/>
                    <a:pt x="102" y="1067"/>
                    <a:pt x="110" y="1076"/>
                  </a:cubicBezTo>
                  <a:cubicBezTo>
                    <a:pt x="112" y="1080"/>
                    <a:pt x="115" y="1083"/>
                    <a:pt x="118" y="1086"/>
                  </a:cubicBezTo>
                  <a:cubicBezTo>
                    <a:pt x="132" y="1103"/>
                    <a:pt x="146" y="1119"/>
                    <a:pt x="161" y="1136"/>
                  </a:cubicBezTo>
                  <a:cubicBezTo>
                    <a:pt x="173" y="1150"/>
                    <a:pt x="186" y="1165"/>
                    <a:pt x="198" y="1179"/>
                  </a:cubicBezTo>
                  <a:cubicBezTo>
                    <a:pt x="207" y="1188"/>
                    <a:pt x="218" y="1184"/>
                    <a:pt x="228" y="1185"/>
                  </a:cubicBezTo>
                  <a:cubicBezTo>
                    <a:pt x="233" y="1185"/>
                    <a:pt x="241" y="1188"/>
                    <a:pt x="244" y="1182"/>
                  </a:cubicBezTo>
                  <a:cubicBezTo>
                    <a:pt x="246" y="1178"/>
                    <a:pt x="239" y="1173"/>
                    <a:pt x="235" y="1169"/>
                  </a:cubicBezTo>
                  <a:cubicBezTo>
                    <a:pt x="206" y="1133"/>
                    <a:pt x="176" y="1098"/>
                    <a:pt x="146" y="1062"/>
                  </a:cubicBezTo>
                  <a:cubicBezTo>
                    <a:pt x="141" y="1056"/>
                    <a:pt x="131" y="1052"/>
                    <a:pt x="132" y="1044"/>
                  </a:cubicBezTo>
                  <a:cubicBezTo>
                    <a:pt x="132" y="1036"/>
                    <a:pt x="142" y="1032"/>
                    <a:pt x="147" y="1026"/>
                  </a:cubicBezTo>
                  <a:cubicBezTo>
                    <a:pt x="164" y="1006"/>
                    <a:pt x="182" y="988"/>
                    <a:pt x="198" y="968"/>
                  </a:cubicBezTo>
                  <a:cubicBezTo>
                    <a:pt x="209" y="954"/>
                    <a:pt x="221" y="942"/>
                    <a:pt x="234" y="929"/>
                  </a:cubicBezTo>
                  <a:cubicBezTo>
                    <a:pt x="236" y="926"/>
                    <a:pt x="238" y="923"/>
                    <a:pt x="237" y="920"/>
                  </a:cubicBezTo>
                  <a:cubicBezTo>
                    <a:pt x="235" y="915"/>
                    <a:pt x="231" y="917"/>
                    <a:pt x="228" y="917"/>
                  </a:cubicBezTo>
                  <a:cubicBezTo>
                    <a:pt x="224" y="918"/>
                    <a:pt x="221" y="918"/>
                    <a:pt x="217" y="918"/>
                  </a:cubicBezTo>
                  <a:cubicBezTo>
                    <a:pt x="204" y="917"/>
                    <a:pt x="193" y="922"/>
                    <a:pt x="185" y="931"/>
                  </a:cubicBezTo>
                  <a:cubicBezTo>
                    <a:pt x="172" y="946"/>
                    <a:pt x="158" y="961"/>
                    <a:pt x="145" y="977"/>
                  </a:cubicBezTo>
                  <a:cubicBezTo>
                    <a:pt x="131" y="993"/>
                    <a:pt x="117" y="1010"/>
                    <a:pt x="102" y="1026"/>
                  </a:cubicBezTo>
                  <a:cubicBezTo>
                    <a:pt x="96" y="1032"/>
                    <a:pt x="87" y="1037"/>
                    <a:pt x="78" y="1034"/>
                  </a:cubicBezTo>
                  <a:cubicBezTo>
                    <a:pt x="70" y="1030"/>
                    <a:pt x="73" y="1021"/>
                    <a:pt x="73" y="1015"/>
                  </a:cubicBezTo>
                  <a:cubicBezTo>
                    <a:pt x="73" y="991"/>
                    <a:pt x="73" y="967"/>
                    <a:pt x="73" y="944"/>
                  </a:cubicBezTo>
                  <a:cubicBezTo>
                    <a:pt x="73" y="916"/>
                    <a:pt x="75" y="917"/>
                    <a:pt x="46" y="918"/>
                  </a:cubicBezTo>
                  <a:cubicBezTo>
                    <a:pt x="33" y="918"/>
                    <a:pt x="33" y="918"/>
                    <a:pt x="33" y="931"/>
                  </a:cubicBezTo>
                  <a:cubicBezTo>
                    <a:pt x="33" y="971"/>
                    <a:pt x="33" y="1011"/>
                    <a:pt x="33" y="1051"/>
                  </a:cubicBezTo>
                  <a:cubicBezTo>
                    <a:pt x="33" y="1051"/>
                    <a:pt x="33" y="1051"/>
                    <a:pt x="33" y="1051"/>
                  </a:cubicBezTo>
                  <a:close/>
                  <a:moveTo>
                    <a:pt x="639" y="84"/>
                  </a:moveTo>
                  <a:cubicBezTo>
                    <a:pt x="627" y="84"/>
                    <a:pt x="626" y="84"/>
                    <a:pt x="629" y="95"/>
                  </a:cubicBezTo>
                  <a:cubicBezTo>
                    <a:pt x="634" y="113"/>
                    <a:pt x="640" y="131"/>
                    <a:pt x="646" y="148"/>
                  </a:cubicBezTo>
                  <a:cubicBezTo>
                    <a:pt x="652" y="166"/>
                    <a:pt x="658" y="185"/>
                    <a:pt x="664" y="203"/>
                  </a:cubicBezTo>
                  <a:cubicBezTo>
                    <a:pt x="671" y="223"/>
                    <a:pt x="676" y="244"/>
                    <a:pt x="684" y="264"/>
                  </a:cubicBezTo>
                  <a:cubicBezTo>
                    <a:pt x="688" y="274"/>
                    <a:pt x="694" y="274"/>
                    <a:pt x="702" y="274"/>
                  </a:cubicBezTo>
                  <a:cubicBezTo>
                    <a:pt x="711" y="274"/>
                    <a:pt x="719" y="272"/>
                    <a:pt x="723" y="263"/>
                  </a:cubicBezTo>
                  <a:cubicBezTo>
                    <a:pt x="733" y="236"/>
                    <a:pt x="741" y="208"/>
                    <a:pt x="750" y="181"/>
                  </a:cubicBezTo>
                  <a:cubicBezTo>
                    <a:pt x="754" y="169"/>
                    <a:pt x="757" y="156"/>
                    <a:pt x="763" y="145"/>
                  </a:cubicBezTo>
                  <a:cubicBezTo>
                    <a:pt x="764" y="143"/>
                    <a:pt x="764" y="140"/>
                    <a:pt x="767" y="140"/>
                  </a:cubicBezTo>
                  <a:cubicBezTo>
                    <a:pt x="770" y="140"/>
                    <a:pt x="770" y="143"/>
                    <a:pt x="771" y="145"/>
                  </a:cubicBezTo>
                  <a:cubicBezTo>
                    <a:pt x="771" y="156"/>
                    <a:pt x="777" y="165"/>
                    <a:pt x="780" y="175"/>
                  </a:cubicBezTo>
                  <a:cubicBezTo>
                    <a:pt x="782" y="184"/>
                    <a:pt x="785" y="193"/>
                    <a:pt x="788" y="201"/>
                  </a:cubicBezTo>
                  <a:cubicBezTo>
                    <a:pt x="794" y="219"/>
                    <a:pt x="801" y="237"/>
                    <a:pt x="806" y="255"/>
                  </a:cubicBezTo>
                  <a:cubicBezTo>
                    <a:pt x="811" y="272"/>
                    <a:pt x="825" y="280"/>
                    <a:pt x="842" y="273"/>
                  </a:cubicBezTo>
                  <a:cubicBezTo>
                    <a:pt x="845" y="271"/>
                    <a:pt x="847" y="269"/>
                    <a:pt x="848" y="266"/>
                  </a:cubicBezTo>
                  <a:cubicBezTo>
                    <a:pt x="853" y="251"/>
                    <a:pt x="859" y="236"/>
                    <a:pt x="863" y="221"/>
                  </a:cubicBezTo>
                  <a:cubicBezTo>
                    <a:pt x="867" y="202"/>
                    <a:pt x="875" y="185"/>
                    <a:pt x="880" y="166"/>
                  </a:cubicBezTo>
                  <a:cubicBezTo>
                    <a:pt x="886" y="144"/>
                    <a:pt x="895" y="123"/>
                    <a:pt x="900" y="101"/>
                  </a:cubicBezTo>
                  <a:cubicBezTo>
                    <a:pt x="901" y="96"/>
                    <a:pt x="909" y="91"/>
                    <a:pt x="904" y="86"/>
                  </a:cubicBezTo>
                  <a:cubicBezTo>
                    <a:pt x="900" y="81"/>
                    <a:pt x="892" y="84"/>
                    <a:pt x="886" y="84"/>
                  </a:cubicBezTo>
                  <a:cubicBezTo>
                    <a:pt x="885" y="84"/>
                    <a:pt x="883" y="84"/>
                    <a:pt x="881" y="84"/>
                  </a:cubicBezTo>
                  <a:cubicBezTo>
                    <a:pt x="875" y="84"/>
                    <a:pt x="872" y="86"/>
                    <a:pt x="869" y="91"/>
                  </a:cubicBezTo>
                  <a:cubicBezTo>
                    <a:pt x="860" y="110"/>
                    <a:pt x="856" y="131"/>
                    <a:pt x="850" y="151"/>
                  </a:cubicBezTo>
                  <a:cubicBezTo>
                    <a:pt x="844" y="170"/>
                    <a:pt x="836" y="188"/>
                    <a:pt x="834" y="208"/>
                  </a:cubicBezTo>
                  <a:cubicBezTo>
                    <a:pt x="833" y="211"/>
                    <a:pt x="831" y="214"/>
                    <a:pt x="827" y="214"/>
                  </a:cubicBezTo>
                  <a:cubicBezTo>
                    <a:pt x="823" y="214"/>
                    <a:pt x="822" y="210"/>
                    <a:pt x="822" y="207"/>
                  </a:cubicBezTo>
                  <a:cubicBezTo>
                    <a:pt x="817" y="188"/>
                    <a:pt x="811" y="170"/>
                    <a:pt x="805" y="152"/>
                  </a:cubicBezTo>
                  <a:cubicBezTo>
                    <a:pt x="799" y="133"/>
                    <a:pt x="794" y="114"/>
                    <a:pt x="786" y="96"/>
                  </a:cubicBezTo>
                  <a:cubicBezTo>
                    <a:pt x="783" y="87"/>
                    <a:pt x="779" y="84"/>
                    <a:pt x="770" y="84"/>
                  </a:cubicBezTo>
                  <a:cubicBezTo>
                    <a:pt x="761" y="84"/>
                    <a:pt x="752" y="82"/>
                    <a:pt x="748" y="94"/>
                  </a:cubicBezTo>
                  <a:cubicBezTo>
                    <a:pt x="744" y="109"/>
                    <a:pt x="738" y="123"/>
                    <a:pt x="734" y="138"/>
                  </a:cubicBezTo>
                  <a:cubicBezTo>
                    <a:pt x="729" y="153"/>
                    <a:pt x="724" y="167"/>
                    <a:pt x="719" y="182"/>
                  </a:cubicBezTo>
                  <a:cubicBezTo>
                    <a:pt x="716" y="192"/>
                    <a:pt x="715" y="203"/>
                    <a:pt x="708" y="212"/>
                  </a:cubicBezTo>
                  <a:cubicBezTo>
                    <a:pt x="707" y="214"/>
                    <a:pt x="707" y="217"/>
                    <a:pt x="704" y="217"/>
                  </a:cubicBezTo>
                  <a:cubicBezTo>
                    <a:pt x="701" y="217"/>
                    <a:pt x="701" y="213"/>
                    <a:pt x="700" y="211"/>
                  </a:cubicBezTo>
                  <a:cubicBezTo>
                    <a:pt x="699" y="198"/>
                    <a:pt x="694" y="186"/>
                    <a:pt x="690" y="174"/>
                  </a:cubicBezTo>
                  <a:cubicBezTo>
                    <a:pt x="684" y="153"/>
                    <a:pt x="677" y="131"/>
                    <a:pt x="672" y="110"/>
                  </a:cubicBezTo>
                  <a:cubicBezTo>
                    <a:pt x="667" y="88"/>
                    <a:pt x="663" y="84"/>
                    <a:pt x="645" y="84"/>
                  </a:cubicBezTo>
                  <a:cubicBezTo>
                    <a:pt x="643" y="84"/>
                    <a:pt x="641" y="84"/>
                    <a:pt x="639" y="84"/>
                  </a:cubicBezTo>
                  <a:close/>
                  <a:moveTo>
                    <a:pt x="507" y="711"/>
                  </a:moveTo>
                  <a:cubicBezTo>
                    <a:pt x="507" y="730"/>
                    <a:pt x="507" y="730"/>
                    <a:pt x="526" y="730"/>
                  </a:cubicBezTo>
                  <a:cubicBezTo>
                    <a:pt x="539" y="730"/>
                    <a:pt x="541" y="729"/>
                    <a:pt x="541" y="715"/>
                  </a:cubicBezTo>
                  <a:cubicBezTo>
                    <a:pt x="541" y="677"/>
                    <a:pt x="541" y="638"/>
                    <a:pt x="540" y="600"/>
                  </a:cubicBezTo>
                  <a:cubicBezTo>
                    <a:pt x="540" y="593"/>
                    <a:pt x="543" y="587"/>
                    <a:pt x="548" y="582"/>
                  </a:cubicBezTo>
                  <a:cubicBezTo>
                    <a:pt x="553" y="576"/>
                    <a:pt x="559" y="573"/>
                    <a:pt x="564" y="569"/>
                  </a:cubicBezTo>
                  <a:cubicBezTo>
                    <a:pt x="574" y="564"/>
                    <a:pt x="594" y="566"/>
                    <a:pt x="602" y="574"/>
                  </a:cubicBezTo>
                  <a:cubicBezTo>
                    <a:pt x="611" y="582"/>
                    <a:pt x="614" y="592"/>
                    <a:pt x="614" y="604"/>
                  </a:cubicBezTo>
                  <a:cubicBezTo>
                    <a:pt x="614" y="638"/>
                    <a:pt x="614" y="672"/>
                    <a:pt x="614" y="706"/>
                  </a:cubicBezTo>
                  <a:cubicBezTo>
                    <a:pt x="614" y="730"/>
                    <a:pt x="614" y="730"/>
                    <a:pt x="638" y="730"/>
                  </a:cubicBezTo>
                  <a:cubicBezTo>
                    <a:pt x="650" y="730"/>
                    <a:pt x="650" y="730"/>
                    <a:pt x="650" y="717"/>
                  </a:cubicBezTo>
                  <a:cubicBezTo>
                    <a:pt x="650" y="684"/>
                    <a:pt x="650" y="650"/>
                    <a:pt x="650" y="617"/>
                  </a:cubicBezTo>
                  <a:cubicBezTo>
                    <a:pt x="650" y="606"/>
                    <a:pt x="651" y="597"/>
                    <a:pt x="657" y="586"/>
                  </a:cubicBezTo>
                  <a:cubicBezTo>
                    <a:pt x="667" y="565"/>
                    <a:pt x="703" y="560"/>
                    <a:pt x="716" y="579"/>
                  </a:cubicBezTo>
                  <a:cubicBezTo>
                    <a:pt x="723" y="588"/>
                    <a:pt x="724" y="598"/>
                    <a:pt x="724" y="609"/>
                  </a:cubicBezTo>
                  <a:cubicBezTo>
                    <a:pt x="724" y="645"/>
                    <a:pt x="724" y="682"/>
                    <a:pt x="724" y="718"/>
                  </a:cubicBezTo>
                  <a:cubicBezTo>
                    <a:pt x="724" y="727"/>
                    <a:pt x="727" y="731"/>
                    <a:pt x="736" y="730"/>
                  </a:cubicBezTo>
                  <a:cubicBezTo>
                    <a:pt x="738" y="730"/>
                    <a:pt x="741" y="730"/>
                    <a:pt x="743" y="730"/>
                  </a:cubicBezTo>
                  <a:cubicBezTo>
                    <a:pt x="758" y="730"/>
                    <a:pt x="759" y="729"/>
                    <a:pt x="759" y="715"/>
                  </a:cubicBezTo>
                  <a:cubicBezTo>
                    <a:pt x="759" y="677"/>
                    <a:pt x="758" y="639"/>
                    <a:pt x="759" y="601"/>
                  </a:cubicBezTo>
                  <a:cubicBezTo>
                    <a:pt x="759" y="571"/>
                    <a:pt x="742" y="540"/>
                    <a:pt x="704" y="538"/>
                  </a:cubicBezTo>
                  <a:cubicBezTo>
                    <a:pt x="681" y="536"/>
                    <a:pt x="661" y="542"/>
                    <a:pt x="646" y="560"/>
                  </a:cubicBezTo>
                  <a:cubicBezTo>
                    <a:pt x="638" y="569"/>
                    <a:pt x="638" y="569"/>
                    <a:pt x="631" y="559"/>
                  </a:cubicBezTo>
                  <a:cubicBezTo>
                    <a:pt x="630" y="558"/>
                    <a:pt x="630" y="557"/>
                    <a:pt x="629" y="556"/>
                  </a:cubicBezTo>
                  <a:cubicBezTo>
                    <a:pt x="623" y="548"/>
                    <a:pt x="616" y="541"/>
                    <a:pt x="607" y="539"/>
                  </a:cubicBezTo>
                  <a:cubicBezTo>
                    <a:pt x="584" y="534"/>
                    <a:pt x="563" y="539"/>
                    <a:pt x="545" y="555"/>
                  </a:cubicBezTo>
                  <a:cubicBezTo>
                    <a:pt x="540" y="559"/>
                    <a:pt x="537" y="561"/>
                    <a:pt x="537" y="552"/>
                  </a:cubicBezTo>
                  <a:cubicBezTo>
                    <a:pt x="536" y="543"/>
                    <a:pt x="526" y="538"/>
                    <a:pt x="515" y="539"/>
                  </a:cubicBezTo>
                  <a:cubicBezTo>
                    <a:pt x="506" y="540"/>
                    <a:pt x="507" y="546"/>
                    <a:pt x="507" y="552"/>
                  </a:cubicBezTo>
                  <a:cubicBezTo>
                    <a:pt x="507" y="580"/>
                    <a:pt x="507" y="607"/>
                    <a:pt x="507" y="634"/>
                  </a:cubicBezTo>
                  <a:cubicBezTo>
                    <a:pt x="507" y="660"/>
                    <a:pt x="507" y="685"/>
                    <a:pt x="507" y="711"/>
                  </a:cubicBezTo>
                  <a:close/>
                  <a:moveTo>
                    <a:pt x="1525" y="1142"/>
                  </a:moveTo>
                  <a:cubicBezTo>
                    <a:pt x="1517" y="1143"/>
                    <a:pt x="1511" y="1141"/>
                    <a:pt x="1505" y="1136"/>
                  </a:cubicBezTo>
                  <a:cubicBezTo>
                    <a:pt x="1501" y="1133"/>
                    <a:pt x="1495" y="1130"/>
                    <a:pt x="1498" y="1124"/>
                  </a:cubicBezTo>
                  <a:cubicBezTo>
                    <a:pt x="1500" y="1118"/>
                    <a:pt x="1504" y="1114"/>
                    <a:pt x="1512" y="1114"/>
                  </a:cubicBezTo>
                  <a:cubicBezTo>
                    <a:pt x="1521" y="1115"/>
                    <a:pt x="1530" y="1114"/>
                    <a:pt x="1538" y="1115"/>
                  </a:cubicBezTo>
                  <a:cubicBezTo>
                    <a:pt x="1573" y="1117"/>
                    <a:pt x="1610" y="1084"/>
                    <a:pt x="1602" y="1044"/>
                  </a:cubicBezTo>
                  <a:cubicBezTo>
                    <a:pt x="1600" y="1035"/>
                    <a:pt x="1599" y="1028"/>
                    <a:pt x="1611" y="1027"/>
                  </a:cubicBezTo>
                  <a:cubicBezTo>
                    <a:pt x="1614" y="1027"/>
                    <a:pt x="1617" y="1024"/>
                    <a:pt x="1619" y="1023"/>
                  </a:cubicBezTo>
                  <a:cubicBezTo>
                    <a:pt x="1626" y="1019"/>
                    <a:pt x="1624" y="1013"/>
                    <a:pt x="1623" y="1008"/>
                  </a:cubicBezTo>
                  <a:cubicBezTo>
                    <a:pt x="1623" y="1002"/>
                    <a:pt x="1618" y="1003"/>
                    <a:pt x="1613" y="1002"/>
                  </a:cubicBezTo>
                  <a:cubicBezTo>
                    <a:pt x="1598" y="1002"/>
                    <a:pt x="1582" y="1004"/>
                    <a:pt x="1567" y="1000"/>
                  </a:cubicBezTo>
                  <a:cubicBezTo>
                    <a:pt x="1560" y="999"/>
                    <a:pt x="1554" y="993"/>
                    <a:pt x="1546" y="993"/>
                  </a:cubicBezTo>
                  <a:cubicBezTo>
                    <a:pt x="1536" y="994"/>
                    <a:pt x="1525" y="992"/>
                    <a:pt x="1515" y="993"/>
                  </a:cubicBezTo>
                  <a:cubicBezTo>
                    <a:pt x="1490" y="997"/>
                    <a:pt x="1469" y="1010"/>
                    <a:pt x="1462" y="1034"/>
                  </a:cubicBezTo>
                  <a:cubicBezTo>
                    <a:pt x="1455" y="1056"/>
                    <a:pt x="1457" y="1079"/>
                    <a:pt x="1476" y="1096"/>
                  </a:cubicBezTo>
                  <a:cubicBezTo>
                    <a:pt x="1483" y="1103"/>
                    <a:pt x="1483" y="1107"/>
                    <a:pt x="1476" y="1113"/>
                  </a:cubicBezTo>
                  <a:cubicBezTo>
                    <a:pt x="1462" y="1126"/>
                    <a:pt x="1462" y="1142"/>
                    <a:pt x="1473" y="1157"/>
                  </a:cubicBezTo>
                  <a:cubicBezTo>
                    <a:pt x="1476" y="1160"/>
                    <a:pt x="1476" y="1162"/>
                    <a:pt x="1472" y="1164"/>
                  </a:cubicBezTo>
                  <a:cubicBezTo>
                    <a:pt x="1470" y="1166"/>
                    <a:pt x="1468" y="1168"/>
                    <a:pt x="1466" y="1170"/>
                  </a:cubicBezTo>
                  <a:cubicBezTo>
                    <a:pt x="1449" y="1183"/>
                    <a:pt x="1444" y="1201"/>
                    <a:pt x="1454" y="1218"/>
                  </a:cubicBezTo>
                  <a:cubicBezTo>
                    <a:pt x="1464" y="1235"/>
                    <a:pt x="1479" y="1246"/>
                    <a:pt x="1499" y="1249"/>
                  </a:cubicBezTo>
                  <a:cubicBezTo>
                    <a:pt x="1517" y="1252"/>
                    <a:pt x="1535" y="1253"/>
                    <a:pt x="1553" y="1250"/>
                  </a:cubicBezTo>
                  <a:cubicBezTo>
                    <a:pt x="1584" y="1245"/>
                    <a:pt x="1607" y="1232"/>
                    <a:pt x="1619" y="1200"/>
                  </a:cubicBezTo>
                  <a:cubicBezTo>
                    <a:pt x="1627" y="1180"/>
                    <a:pt x="1611" y="1155"/>
                    <a:pt x="1593" y="1148"/>
                  </a:cubicBezTo>
                  <a:cubicBezTo>
                    <a:pt x="1578" y="1142"/>
                    <a:pt x="1563" y="1143"/>
                    <a:pt x="1549" y="1142"/>
                  </a:cubicBezTo>
                  <a:cubicBezTo>
                    <a:pt x="1540" y="1142"/>
                    <a:pt x="1532" y="1142"/>
                    <a:pt x="1525" y="1142"/>
                  </a:cubicBezTo>
                  <a:close/>
                  <a:moveTo>
                    <a:pt x="1556" y="1172"/>
                  </a:moveTo>
                  <a:cubicBezTo>
                    <a:pt x="1566" y="1172"/>
                    <a:pt x="1576" y="1176"/>
                    <a:pt x="1583" y="1183"/>
                  </a:cubicBezTo>
                  <a:cubicBezTo>
                    <a:pt x="1589" y="1190"/>
                    <a:pt x="1589" y="1198"/>
                    <a:pt x="1583" y="1205"/>
                  </a:cubicBezTo>
                  <a:cubicBezTo>
                    <a:pt x="1575" y="1215"/>
                    <a:pt x="1565" y="1220"/>
                    <a:pt x="1553" y="1223"/>
                  </a:cubicBezTo>
                  <a:cubicBezTo>
                    <a:pt x="1534" y="1228"/>
                    <a:pt x="1516" y="1225"/>
                    <a:pt x="1499" y="1219"/>
                  </a:cubicBezTo>
                  <a:cubicBezTo>
                    <a:pt x="1486" y="1214"/>
                    <a:pt x="1479" y="1203"/>
                    <a:pt x="1482" y="1193"/>
                  </a:cubicBezTo>
                  <a:cubicBezTo>
                    <a:pt x="1485" y="1182"/>
                    <a:pt x="1496" y="1168"/>
                    <a:pt x="1514" y="1171"/>
                  </a:cubicBezTo>
                  <a:cubicBezTo>
                    <a:pt x="1526" y="1173"/>
                    <a:pt x="1541" y="1171"/>
                    <a:pt x="1556" y="1172"/>
                  </a:cubicBezTo>
                  <a:close/>
                  <a:moveTo>
                    <a:pt x="1531" y="1019"/>
                  </a:moveTo>
                  <a:cubicBezTo>
                    <a:pt x="1553" y="1017"/>
                    <a:pt x="1570" y="1033"/>
                    <a:pt x="1570" y="1052"/>
                  </a:cubicBezTo>
                  <a:cubicBezTo>
                    <a:pt x="1570" y="1075"/>
                    <a:pt x="1554" y="1093"/>
                    <a:pt x="1532" y="1091"/>
                  </a:cubicBezTo>
                  <a:cubicBezTo>
                    <a:pt x="1508" y="1089"/>
                    <a:pt x="1494" y="1082"/>
                    <a:pt x="1493" y="1053"/>
                  </a:cubicBezTo>
                  <a:cubicBezTo>
                    <a:pt x="1494" y="1029"/>
                    <a:pt x="1508" y="1020"/>
                    <a:pt x="1531" y="1019"/>
                  </a:cubicBezTo>
                  <a:close/>
                  <a:moveTo>
                    <a:pt x="1413" y="934"/>
                  </a:moveTo>
                  <a:cubicBezTo>
                    <a:pt x="1413" y="909"/>
                    <a:pt x="1413" y="909"/>
                    <a:pt x="1389" y="910"/>
                  </a:cubicBezTo>
                  <a:cubicBezTo>
                    <a:pt x="1388" y="910"/>
                    <a:pt x="1387" y="910"/>
                    <a:pt x="1387" y="910"/>
                  </a:cubicBezTo>
                  <a:cubicBezTo>
                    <a:pt x="1379" y="910"/>
                    <a:pt x="1376" y="915"/>
                    <a:pt x="1376" y="921"/>
                  </a:cubicBezTo>
                  <a:cubicBezTo>
                    <a:pt x="1376" y="939"/>
                    <a:pt x="1377" y="956"/>
                    <a:pt x="1377" y="974"/>
                  </a:cubicBezTo>
                  <a:cubicBezTo>
                    <a:pt x="1377" y="983"/>
                    <a:pt x="1377" y="991"/>
                    <a:pt x="1377" y="1000"/>
                  </a:cubicBezTo>
                  <a:cubicBezTo>
                    <a:pt x="1377" y="1005"/>
                    <a:pt x="1374" y="1009"/>
                    <a:pt x="1369" y="1005"/>
                  </a:cubicBezTo>
                  <a:cubicBezTo>
                    <a:pt x="1352" y="990"/>
                    <a:pt x="1332" y="993"/>
                    <a:pt x="1312" y="993"/>
                  </a:cubicBezTo>
                  <a:cubicBezTo>
                    <a:pt x="1303" y="994"/>
                    <a:pt x="1294" y="998"/>
                    <a:pt x="1287" y="1003"/>
                  </a:cubicBezTo>
                  <a:cubicBezTo>
                    <a:pt x="1265" y="1017"/>
                    <a:pt x="1252" y="1039"/>
                    <a:pt x="1248" y="1065"/>
                  </a:cubicBezTo>
                  <a:cubicBezTo>
                    <a:pt x="1244" y="1096"/>
                    <a:pt x="1244" y="1128"/>
                    <a:pt x="1261" y="1157"/>
                  </a:cubicBezTo>
                  <a:cubicBezTo>
                    <a:pt x="1270" y="1170"/>
                    <a:pt x="1281" y="1181"/>
                    <a:pt x="1296" y="1185"/>
                  </a:cubicBezTo>
                  <a:cubicBezTo>
                    <a:pt x="1323" y="1191"/>
                    <a:pt x="1349" y="1188"/>
                    <a:pt x="1370" y="1167"/>
                  </a:cubicBezTo>
                  <a:cubicBezTo>
                    <a:pt x="1372" y="1165"/>
                    <a:pt x="1375" y="1162"/>
                    <a:pt x="1379" y="1163"/>
                  </a:cubicBezTo>
                  <a:cubicBezTo>
                    <a:pt x="1382" y="1165"/>
                    <a:pt x="1381" y="1169"/>
                    <a:pt x="1381" y="1172"/>
                  </a:cubicBezTo>
                  <a:cubicBezTo>
                    <a:pt x="1383" y="1181"/>
                    <a:pt x="1390" y="1186"/>
                    <a:pt x="1403" y="1186"/>
                  </a:cubicBezTo>
                  <a:cubicBezTo>
                    <a:pt x="1413" y="1185"/>
                    <a:pt x="1413" y="1178"/>
                    <a:pt x="1413" y="1172"/>
                  </a:cubicBezTo>
                  <a:cubicBezTo>
                    <a:pt x="1413" y="1131"/>
                    <a:pt x="1413" y="1090"/>
                    <a:pt x="1413" y="1049"/>
                  </a:cubicBezTo>
                  <a:cubicBezTo>
                    <a:pt x="1413" y="1010"/>
                    <a:pt x="1413" y="972"/>
                    <a:pt x="1413" y="934"/>
                  </a:cubicBezTo>
                  <a:close/>
                  <a:moveTo>
                    <a:pt x="1378" y="1113"/>
                  </a:moveTo>
                  <a:cubicBezTo>
                    <a:pt x="1378" y="1136"/>
                    <a:pt x="1360" y="1155"/>
                    <a:pt x="1337" y="1157"/>
                  </a:cubicBezTo>
                  <a:cubicBezTo>
                    <a:pt x="1319" y="1159"/>
                    <a:pt x="1304" y="1154"/>
                    <a:pt x="1294" y="1139"/>
                  </a:cubicBezTo>
                  <a:cubicBezTo>
                    <a:pt x="1286" y="1128"/>
                    <a:pt x="1283" y="1116"/>
                    <a:pt x="1283" y="1102"/>
                  </a:cubicBezTo>
                  <a:cubicBezTo>
                    <a:pt x="1282" y="1085"/>
                    <a:pt x="1282" y="1067"/>
                    <a:pt x="1290" y="1051"/>
                  </a:cubicBezTo>
                  <a:cubicBezTo>
                    <a:pt x="1297" y="1036"/>
                    <a:pt x="1308" y="1024"/>
                    <a:pt x="1325" y="1022"/>
                  </a:cubicBezTo>
                  <a:cubicBezTo>
                    <a:pt x="1342" y="1020"/>
                    <a:pt x="1358" y="1021"/>
                    <a:pt x="1371" y="1035"/>
                  </a:cubicBezTo>
                  <a:cubicBezTo>
                    <a:pt x="1376" y="1041"/>
                    <a:pt x="1378" y="1046"/>
                    <a:pt x="1378" y="1052"/>
                  </a:cubicBezTo>
                  <a:cubicBezTo>
                    <a:pt x="1378" y="1064"/>
                    <a:pt x="1378" y="1075"/>
                    <a:pt x="1378" y="1086"/>
                  </a:cubicBezTo>
                  <a:cubicBezTo>
                    <a:pt x="1378" y="1086"/>
                    <a:pt x="1378" y="1086"/>
                    <a:pt x="1378" y="1086"/>
                  </a:cubicBezTo>
                  <a:cubicBezTo>
                    <a:pt x="1378" y="1095"/>
                    <a:pt x="1378" y="1104"/>
                    <a:pt x="1378" y="1113"/>
                  </a:cubicBezTo>
                  <a:close/>
                  <a:moveTo>
                    <a:pt x="578" y="259"/>
                  </a:moveTo>
                  <a:cubicBezTo>
                    <a:pt x="603" y="241"/>
                    <a:pt x="611" y="213"/>
                    <a:pt x="614" y="183"/>
                  </a:cubicBezTo>
                  <a:cubicBezTo>
                    <a:pt x="615" y="171"/>
                    <a:pt x="610" y="159"/>
                    <a:pt x="609" y="147"/>
                  </a:cubicBezTo>
                  <a:cubicBezTo>
                    <a:pt x="608" y="137"/>
                    <a:pt x="603" y="129"/>
                    <a:pt x="599" y="121"/>
                  </a:cubicBezTo>
                  <a:cubicBezTo>
                    <a:pt x="579" y="87"/>
                    <a:pt x="527" y="70"/>
                    <a:pt x="488" y="85"/>
                  </a:cubicBezTo>
                  <a:cubicBezTo>
                    <a:pt x="453" y="99"/>
                    <a:pt x="436" y="127"/>
                    <a:pt x="431" y="163"/>
                  </a:cubicBezTo>
                  <a:cubicBezTo>
                    <a:pt x="429" y="180"/>
                    <a:pt x="430" y="196"/>
                    <a:pt x="436" y="213"/>
                  </a:cubicBezTo>
                  <a:cubicBezTo>
                    <a:pt x="439" y="222"/>
                    <a:pt x="442" y="232"/>
                    <a:pt x="447" y="239"/>
                  </a:cubicBezTo>
                  <a:cubicBezTo>
                    <a:pt x="465" y="265"/>
                    <a:pt x="491" y="277"/>
                    <a:pt x="525" y="276"/>
                  </a:cubicBezTo>
                  <a:cubicBezTo>
                    <a:pt x="543" y="278"/>
                    <a:pt x="562" y="271"/>
                    <a:pt x="578" y="259"/>
                  </a:cubicBezTo>
                  <a:close/>
                  <a:moveTo>
                    <a:pt x="471" y="205"/>
                  </a:moveTo>
                  <a:cubicBezTo>
                    <a:pt x="466" y="185"/>
                    <a:pt x="468" y="167"/>
                    <a:pt x="472" y="147"/>
                  </a:cubicBezTo>
                  <a:cubicBezTo>
                    <a:pt x="477" y="130"/>
                    <a:pt x="493" y="116"/>
                    <a:pt x="509" y="112"/>
                  </a:cubicBezTo>
                  <a:cubicBezTo>
                    <a:pt x="525" y="108"/>
                    <a:pt x="539" y="110"/>
                    <a:pt x="553" y="119"/>
                  </a:cubicBezTo>
                  <a:cubicBezTo>
                    <a:pt x="563" y="125"/>
                    <a:pt x="568" y="135"/>
                    <a:pt x="571" y="146"/>
                  </a:cubicBezTo>
                  <a:cubicBezTo>
                    <a:pt x="577" y="167"/>
                    <a:pt x="578" y="189"/>
                    <a:pt x="571" y="211"/>
                  </a:cubicBezTo>
                  <a:cubicBezTo>
                    <a:pt x="565" y="231"/>
                    <a:pt x="549" y="249"/>
                    <a:pt x="521" y="247"/>
                  </a:cubicBezTo>
                  <a:cubicBezTo>
                    <a:pt x="496" y="247"/>
                    <a:pt x="478" y="230"/>
                    <a:pt x="471" y="205"/>
                  </a:cubicBezTo>
                  <a:close/>
                  <a:moveTo>
                    <a:pt x="472" y="1122"/>
                  </a:moveTo>
                  <a:cubicBezTo>
                    <a:pt x="475" y="1136"/>
                    <a:pt x="481" y="1148"/>
                    <a:pt x="491" y="1158"/>
                  </a:cubicBezTo>
                  <a:cubicBezTo>
                    <a:pt x="506" y="1176"/>
                    <a:pt x="524" y="1185"/>
                    <a:pt x="548" y="1187"/>
                  </a:cubicBezTo>
                  <a:cubicBezTo>
                    <a:pt x="568" y="1188"/>
                    <a:pt x="587" y="1187"/>
                    <a:pt x="605" y="1177"/>
                  </a:cubicBezTo>
                  <a:cubicBezTo>
                    <a:pt x="632" y="1162"/>
                    <a:pt x="644" y="1136"/>
                    <a:pt x="649" y="1107"/>
                  </a:cubicBezTo>
                  <a:cubicBezTo>
                    <a:pt x="652" y="1089"/>
                    <a:pt x="649" y="1072"/>
                    <a:pt x="644" y="1054"/>
                  </a:cubicBezTo>
                  <a:cubicBezTo>
                    <a:pt x="638" y="1034"/>
                    <a:pt x="627" y="1019"/>
                    <a:pt x="610" y="1007"/>
                  </a:cubicBezTo>
                  <a:cubicBezTo>
                    <a:pt x="589" y="992"/>
                    <a:pt x="566" y="991"/>
                    <a:pt x="541" y="994"/>
                  </a:cubicBezTo>
                  <a:cubicBezTo>
                    <a:pt x="526" y="995"/>
                    <a:pt x="512" y="1002"/>
                    <a:pt x="500" y="1012"/>
                  </a:cubicBezTo>
                  <a:cubicBezTo>
                    <a:pt x="476" y="1032"/>
                    <a:pt x="469" y="1060"/>
                    <a:pt x="466" y="1095"/>
                  </a:cubicBezTo>
                  <a:cubicBezTo>
                    <a:pt x="465" y="1101"/>
                    <a:pt x="470" y="1111"/>
                    <a:pt x="472" y="1122"/>
                  </a:cubicBezTo>
                  <a:close/>
                  <a:moveTo>
                    <a:pt x="508" y="1113"/>
                  </a:moveTo>
                  <a:cubicBezTo>
                    <a:pt x="505" y="1095"/>
                    <a:pt x="506" y="1078"/>
                    <a:pt x="508" y="1061"/>
                  </a:cubicBezTo>
                  <a:cubicBezTo>
                    <a:pt x="511" y="1042"/>
                    <a:pt x="538" y="1021"/>
                    <a:pt x="554" y="1022"/>
                  </a:cubicBezTo>
                  <a:cubicBezTo>
                    <a:pt x="570" y="1022"/>
                    <a:pt x="586" y="1024"/>
                    <a:pt x="596" y="1037"/>
                  </a:cubicBezTo>
                  <a:cubicBezTo>
                    <a:pt x="602" y="1044"/>
                    <a:pt x="607" y="1052"/>
                    <a:pt x="608" y="1061"/>
                  </a:cubicBezTo>
                  <a:cubicBezTo>
                    <a:pt x="608" y="1064"/>
                    <a:pt x="609" y="1067"/>
                    <a:pt x="610" y="1070"/>
                  </a:cubicBezTo>
                  <a:cubicBezTo>
                    <a:pt x="618" y="1089"/>
                    <a:pt x="612" y="1107"/>
                    <a:pt x="607" y="1125"/>
                  </a:cubicBezTo>
                  <a:cubicBezTo>
                    <a:pt x="601" y="1143"/>
                    <a:pt x="588" y="1160"/>
                    <a:pt x="558" y="1157"/>
                  </a:cubicBezTo>
                  <a:cubicBezTo>
                    <a:pt x="530" y="1157"/>
                    <a:pt x="512" y="1141"/>
                    <a:pt x="508" y="1113"/>
                  </a:cubicBezTo>
                  <a:close/>
                  <a:moveTo>
                    <a:pt x="430" y="716"/>
                  </a:moveTo>
                  <a:cubicBezTo>
                    <a:pt x="450" y="703"/>
                    <a:pt x="459" y="683"/>
                    <a:pt x="464" y="661"/>
                  </a:cubicBezTo>
                  <a:cubicBezTo>
                    <a:pt x="468" y="648"/>
                    <a:pt x="467" y="635"/>
                    <a:pt x="466" y="621"/>
                  </a:cubicBezTo>
                  <a:cubicBezTo>
                    <a:pt x="463" y="592"/>
                    <a:pt x="453" y="567"/>
                    <a:pt x="427" y="550"/>
                  </a:cubicBezTo>
                  <a:cubicBezTo>
                    <a:pt x="401" y="534"/>
                    <a:pt x="372" y="532"/>
                    <a:pt x="345" y="541"/>
                  </a:cubicBezTo>
                  <a:cubicBezTo>
                    <a:pt x="310" y="552"/>
                    <a:pt x="291" y="580"/>
                    <a:pt x="287" y="617"/>
                  </a:cubicBezTo>
                  <a:cubicBezTo>
                    <a:pt x="286" y="629"/>
                    <a:pt x="286" y="641"/>
                    <a:pt x="287" y="654"/>
                  </a:cubicBezTo>
                  <a:cubicBezTo>
                    <a:pt x="289" y="671"/>
                    <a:pt x="295" y="686"/>
                    <a:pt x="306" y="700"/>
                  </a:cubicBezTo>
                  <a:cubicBezTo>
                    <a:pt x="324" y="722"/>
                    <a:pt x="348" y="733"/>
                    <a:pt x="378" y="731"/>
                  </a:cubicBezTo>
                  <a:cubicBezTo>
                    <a:pt x="396" y="733"/>
                    <a:pt x="414" y="727"/>
                    <a:pt x="430" y="716"/>
                  </a:cubicBezTo>
                  <a:close/>
                  <a:moveTo>
                    <a:pt x="331" y="592"/>
                  </a:moveTo>
                  <a:cubicBezTo>
                    <a:pt x="339" y="580"/>
                    <a:pt x="349" y="569"/>
                    <a:pt x="365" y="567"/>
                  </a:cubicBezTo>
                  <a:cubicBezTo>
                    <a:pt x="387" y="564"/>
                    <a:pt x="406" y="568"/>
                    <a:pt x="419" y="588"/>
                  </a:cubicBezTo>
                  <a:cubicBezTo>
                    <a:pt x="423" y="595"/>
                    <a:pt x="426" y="603"/>
                    <a:pt x="427" y="610"/>
                  </a:cubicBezTo>
                  <a:cubicBezTo>
                    <a:pt x="433" y="635"/>
                    <a:pt x="431" y="661"/>
                    <a:pt x="416" y="684"/>
                  </a:cubicBezTo>
                  <a:cubicBezTo>
                    <a:pt x="403" y="706"/>
                    <a:pt x="362" y="708"/>
                    <a:pt x="345" y="692"/>
                  </a:cubicBezTo>
                  <a:cubicBezTo>
                    <a:pt x="329" y="678"/>
                    <a:pt x="323" y="661"/>
                    <a:pt x="323" y="631"/>
                  </a:cubicBezTo>
                  <a:cubicBezTo>
                    <a:pt x="323" y="619"/>
                    <a:pt x="323" y="605"/>
                    <a:pt x="331" y="592"/>
                  </a:cubicBezTo>
                  <a:close/>
                  <a:moveTo>
                    <a:pt x="1073" y="259"/>
                  </a:moveTo>
                  <a:cubicBezTo>
                    <a:pt x="1073" y="269"/>
                    <a:pt x="1075" y="272"/>
                    <a:pt x="1086" y="272"/>
                  </a:cubicBezTo>
                  <a:cubicBezTo>
                    <a:pt x="1088" y="272"/>
                    <a:pt x="1090" y="272"/>
                    <a:pt x="1092" y="272"/>
                  </a:cubicBezTo>
                  <a:cubicBezTo>
                    <a:pt x="1105" y="272"/>
                    <a:pt x="1106" y="271"/>
                    <a:pt x="1106" y="258"/>
                  </a:cubicBezTo>
                  <a:cubicBezTo>
                    <a:pt x="1106" y="221"/>
                    <a:pt x="1106" y="184"/>
                    <a:pt x="1106" y="147"/>
                  </a:cubicBezTo>
                  <a:cubicBezTo>
                    <a:pt x="1106" y="143"/>
                    <a:pt x="1106" y="140"/>
                    <a:pt x="1107" y="137"/>
                  </a:cubicBezTo>
                  <a:cubicBezTo>
                    <a:pt x="1117" y="117"/>
                    <a:pt x="1157" y="104"/>
                    <a:pt x="1177" y="114"/>
                  </a:cubicBezTo>
                  <a:cubicBezTo>
                    <a:pt x="1179" y="115"/>
                    <a:pt x="1180" y="117"/>
                    <a:pt x="1182" y="118"/>
                  </a:cubicBezTo>
                  <a:cubicBezTo>
                    <a:pt x="1194" y="131"/>
                    <a:pt x="1196" y="147"/>
                    <a:pt x="1196" y="163"/>
                  </a:cubicBezTo>
                  <a:cubicBezTo>
                    <a:pt x="1197" y="195"/>
                    <a:pt x="1196" y="226"/>
                    <a:pt x="1196" y="258"/>
                  </a:cubicBezTo>
                  <a:cubicBezTo>
                    <a:pt x="1196" y="271"/>
                    <a:pt x="1197" y="272"/>
                    <a:pt x="1210" y="272"/>
                  </a:cubicBezTo>
                  <a:cubicBezTo>
                    <a:pt x="1212" y="272"/>
                    <a:pt x="1213" y="272"/>
                    <a:pt x="1215" y="272"/>
                  </a:cubicBezTo>
                  <a:cubicBezTo>
                    <a:pt x="1227" y="272"/>
                    <a:pt x="1229" y="270"/>
                    <a:pt x="1229" y="258"/>
                  </a:cubicBezTo>
                  <a:cubicBezTo>
                    <a:pt x="1229" y="222"/>
                    <a:pt x="1229" y="187"/>
                    <a:pt x="1229" y="151"/>
                  </a:cubicBezTo>
                  <a:cubicBezTo>
                    <a:pt x="1229" y="142"/>
                    <a:pt x="1228" y="132"/>
                    <a:pt x="1225" y="123"/>
                  </a:cubicBezTo>
                  <a:cubicBezTo>
                    <a:pt x="1219" y="105"/>
                    <a:pt x="1208" y="91"/>
                    <a:pt x="1189" y="85"/>
                  </a:cubicBezTo>
                  <a:cubicBezTo>
                    <a:pt x="1173" y="80"/>
                    <a:pt x="1156" y="84"/>
                    <a:pt x="1139" y="84"/>
                  </a:cubicBezTo>
                  <a:cubicBezTo>
                    <a:pt x="1137" y="84"/>
                    <a:pt x="1136" y="86"/>
                    <a:pt x="1134" y="87"/>
                  </a:cubicBezTo>
                  <a:cubicBezTo>
                    <a:pt x="1128" y="91"/>
                    <a:pt x="1121" y="96"/>
                    <a:pt x="1115" y="100"/>
                  </a:cubicBezTo>
                  <a:cubicBezTo>
                    <a:pt x="1113" y="102"/>
                    <a:pt x="1111" y="105"/>
                    <a:pt x="1108" y="103"/>
                  </a:cubicBezTo>
                  <a:cubicBezTo>
                    <a:pt x="1105" y="102"/>
                    <a:pt x="1106" y="98"/>
                    <a:pt x="1106" y="96"/>
                  </a:cubicBezTo>
                  <a:cubicBezTo>
                    <a:pt x="1106" y="69"/>
                    <a:pt x="1106" y="43"/>
                    <a:pt x="1106" y="17"/>
                  </a:cubicBezTo>
                  <a:cubicBezTo>
                    <a:pt x="1106" y="0"/>
                    <a:pt x="1106" y="0"/>
                    <a:pt x="1089" y="0"/>
                  </a:cubicBezTo>
                  <a:cubicBezTo>
                    <a:pt x="1074" y="0"/>
                    <a:pt x="1073" y="1"/>
                    <a:pt x="1073" y="16"/>
                  </a:cubicBezTo>
                  <a:cubicBezTo>
                    <a:pt x="1073" y="56"/>
                    <a:pt x="1073" y="96"/>
                    <a:pt x="1073" y="136"/>
                  </a:cubicBezTo>
                  <a:cubicBezTo>
                    <a:pt x="1073" y="177"/>
                    <a:pt x="1073" y="218"/>
                    <a:pt x="1073" y="259"/>
                  </a:cubicBezTo>
                  <a:close/>
                  <a:moveTo>
                    <a:pt x="1150" y="1092"/>
                  </a:moveTo>
                  <a:cubicBezTo>
                    <a:pt x="1168" y="1092"/>
                    <a:pt x="1186" y="1092"/>
                    <a:pt x="1204" y="1092"/>
                  </a:cubicBezTo>
                  <a:cubicBezTo>
                    <a:pt x="1215" y="1092"/>
                    <a:pt x="1218" y="1087"/>
                    <a:pt x="1219" y="1077"/>
                  </a:cubicBezTo>
                  <a:cubicBezTo>
                    <a:pt x="1220" y="1062"/>
                    <a:pt x="1216" y="1049"/>
                    <a:pt x="1210" y="1036"/>
                  </a:cubicBezTo>
                  <a:cubicBezTo>
                    <a:pt x="1204" y="1020"/>
                    <a:pt x="1193" y="1008"/>
                    <a:pt x="1177" y="1001"/>
                  </a:cubicBezTo>
                  <a:cubicBezTo>
                    <a:pt x="1155" y="992"/>
                    <a:pt x="1133" y="991"/>
                    <a:pt x="1109" y="999"/>
                  </a:cubicBezTo>
                  <a:cubicBezTo>
                    <a:pt x="1079" y="1010"/>
                    <a:pt x="1062" y="1031"/>
                    <a:pt x="1056" y="1061"/>
                  </a:cubicBezTo>
                  <a:cubicBezTo>
                    <a:pt x="1051" y="1090"/>
                    <a:pt x="1052" y="1120"/>
                    <a:pt x="1069" y="1148"/>
                  </a:cubicBezTo>
                  <a:cubicBezTo>
                    <a:pt x="1081" y="1169"/>
                    <a:pt x="1100" y="1180"/>
                    <a:pt x="1122" y="1185"/>
                  </a:cubicBezTo>
                  <a:cubicBezTo>
                    <a:pt x="1149" y="1190"/>
                    <a:pt x="1176" y="1186"/>
                    <a:pt x="1200" y="1171"/>
                  </a:cubicBezTo>
                  <a:cubicBezTo>
                    <a:pt x="1206" y="1168"/>
                    <a:pt x="1213" y="1165"/>
                    <a:pt x="1214" y="1157"/>
                  </a:cubicBezTo>
                  <a:cubicBezTo>
                    <a:pt x="1215" y="1147"/>
                    <a:pt x="1202" y="1139"/>
                    <a:pt x="1193" y="1144"/>
                  </a:cubicBezTo>
                  <a:cubicBezTo>
                    <a:pt x="1187" y="1147"/>
                    <a:pt x="1180" y="1150"/>
                    <a:pt x="1174" y="1153"/>
                  </a:cubicBezTo>
                  <a:cubicBezTo>
                    <a:pt x="1158" y="1161"/>
                    <a:pt x="1140" y="1161"/>
                    <a:pt x="1124" y="1155"/>
                  </a:cubicBezTo>
                  <a:cubicBezTo>
                    <a:pt x="1112" y="1151"/>
                    <a:pt x="1102" y="1142"/>
                    <a:pt x="1096" y="1129"/>
                  </a:cubicBezTo>
                  <a:cubicBezTo>
                    <a:pt x="1092" y="1121"/>
                    <a:pt x="1091" y="1112"/>
                    <a:pt x="1089" y="1104"/>
                  </a:cubicBezTo>
                  <a:cubicBezTo>
                    <a:pt x="1087" y="1093"/>
                    <a:pt x="1087" y="1092"/>
                    <a:pt x="1099" y="1092"/>
                  </a:cubicBezTo>
                  <a:cubicBezTo>
                    <a:pt x="1116" y="1092"/>
                    <a:pt x="1133" y="1092"/>
                    <a:pt x="1150" y="1092"/>
                  </a:cubicBezTo>
                  <a:cubicBezTo>
                    <a:pt x="1150" y="1092"/>
                    <a:pt x="1150" y="1092"/>
                    <a:pt x="1150" y="1092"/>
                  </a:cubicBezTo>
                  <a:close/>
                  <a:moveTo>
                    <a:pt x="1099" y="1070"/>
                  </a:moveTo>
                  <a:cubicBezTo>
                    <a:pt x="1092" y="1071"/>
                    <a:pt x="1089" y="1067"/>
                    <a:pt x="1091" y="1060"/>
                  </a:cubicBezTo>
                  <a:cubicBezTo>
                    <a:pt x="1094" y="1045"/>
                    <a:pt x="1108" y="1023"/>
                    <a:pt x="1128" y="1022"/>
                  </a:cubicBezTo>
                  <a:cubicBezTo>
                    <a:pt x="1142" y="1021"/>
                    <a:pt x="1156" y="1018"/>
                    <a:pt x="1168" y="1029"/>
                  </a:cubicBezTo>
                  <a:cubicBezTo>
                    <a:pt x="1181" y="1038"/>
                    <a:pt x="1185" y="1051"/>
                    <a:pt x="1187" y="1066"/>
                  </a:cubicBezTo>
                  <a:cubicBezTo>
                    <a:pt x="1188" y="1071"/>
                    <a:pt x="1183" y="1070"/>
                    <a:pt x="1180" y="1070"/>
                  </a:cubicBezTo>
                  <a:cubicBezTo>
                    <a:pt x="1166" y="1070"/>
                    <a:pt x="1153" y="1070"/>
                    <a:pt x="1139" y="1070"/>
                  </a:cubicBezTo>
                  <a:cubicBezTo>
                    <a:pt x="1139" y="1070"/>
                    <a:pt x="1139" y="1070"/>
                    <a:pt x="1139" y="1070"/>
                  </a:cubicBezTo>
                  <a:cubicBezTo>
                    <a:pt x="1126" y="1070"/>
                    <a:pt x="1113" y="1070"/>
                    <a:pt x="1099" y="1070"/>
                  </a:cubicBezTo>
                  <a:close/>
                  <a:moveTo>
                    <a:pt x="1741" y="1092"/>
                  </a:moveTo>
                  <a:cubicBezTo>
                    <a:pt x="1759" y="1092"/>
                    <a:pt x="1776" y="1092"/>
                    <a:pt x="1793" y="1092"/>
                  </a:cubicBezTo>
                  <a:cubicBezTo>
                    <a:pt x="1806" y="1092"/>
                    <a:pt x="1808" y="1089"/>
                    <a:pt x="1808" y="1076"/>
                  </a:cubicBezTo>
                  <a:cubicBezTo>
                    <a:pt x="1809" y="1063"/>
                    <a:pt x="1807" y="1051"/>
                    <a:pt x="1802" y="1038"/>
                  </a:cubicBezTo>
                  <a:cubicBezTo>
                    <a:pt x="1794" y="1021"/>
                    <a:pt x="1782" y="1008"/>
                    <a:pt x="1764" y="1000"/>
                  </a:cubicBezTo>
                  <a:cubicBezTo>
                    <a:pt x="1742" y="991"/>
                    <a:pt x="1720" y="991"/>
                    <a:pt x="1698" y="1000"/>
                  </a:cubicBezTo>
                  <a:cubicBezTo>
                    <a:pt x="1681" y="1006"/>
                    <a:pt x="1668" y="1016"/>
                    <a:pt x="1659" y="1031"/>
                  </a:cubicBezTo>
                  <a:cubicBezTo>
                    <a:pt x="1646" y="1050"/>
                    <a:pt x="1643" y="1071"/>
                    <a:pt x="1644" y="1094"/>
                  </a:cubicBezTo>
                  <a:cubicBezTo>
                    <a:pt x="1644" y="1110"/>
                    <a:pt x="1647" y="1127"/>
                    <a:pt x="1655" y="1141"/>
                  </a:cubicBezTo>
                  <a:cubicBezTo>
                    <a:pt x="1669" y="1168"/>
                    <a:pt x="1691" y="1183"/>
                    <a:pt x="1722" y="1186"/>
                  </a:cubicBezTo>
                  <a:cubicBezTo>
                    <a:pt x="1750" y="1188"/>
                    <a:pt x="1775" y="1183"/>
                    <a:pt x="1798" y="1165"/>
                  </a:cubicBezTo>
                  <a:cubicBezTo>
                    <a:pt x="1803" y="1161"/>
                    <a:pt x="1806" y="1157"/>
                    <a:pt x="1802" y="1151"/>
                  </a:cubicBezTo>
                  <a:cubicBezTo>
                    <a:pt x="1798" y="1144"/>
                    <a:pt x="1791" y="1140"/>
                    <a:pt x="1783" y="1144"/>
                  </a:cubicBezTo>
                  <a:cubicBezTo>
                    <a:pt x="1778" y="1147"/>
                    <a:pt x="1771" y="1149"/>
                    <a:pt x="1766" y="1152"/>
                  </a:cubicBezTo>
                  <a:cubicBezTo>
                    <a:pt x="1749" y="1161"/>
                    <a:pt x="1730" y="1162"/>
                    <a:pt x="1714" y="1155"/>
                  </a:cubicBezTo>
                  <a:cubicBezTo>
                    <a:pt x="1692" y="1145"/>
                    <a:pt x="1680" y="1127"/>
                    <a:pt x="1679" y="1102"/>
                  </a:cubicBezTo>
                  <a:cubicBezTo>
                    <a:pt x="1678" y="1095"/>
                    <a:pt x="1681" y="1092"/>
                    <a:pt x="1689" y="1092"/>
                  </a:cubicBezTo>
                  <a:cubicBezTo>
                    <a:pt x="1706" y="1092"/>
                    <a:pt x="1724" y="1092"/>
                    <a:pt x="1741" y="1092"/>
                  </a:cubicBezTo>
                  <a:cubicBezTo>
                    <a:pt x="1741" y="1092"/>
                    <a:pt x="1741" y="1092"/>
                    <a:pt x="1741" y="1092"/>
                  </a:cubicBezTo>
                  <a:close/>
                  <a:moveTo>
                    <a:pt x="1690" y="1070"/>
                  </a:moveTo>
                  <a:cubicBezTo>
                    <a:pt x="1683" y="1071"/>
                    <a:pt x="1680" y="1068"/>
                    <a:pt x="1681" y="1062"/>
                  </a:cubicBezTo>
                  <a:cubicBezTo>
                    <a:pt x="1683" y="1048"/>
                    <a:pt x="1697" y="1024"/>
                    <a:pt x="1716" y="1022"/>
                  </a:cubicBezTo>
                  <a:cubicBezTo>
                    <a:pt x="1731" y="1020"/>
                    <a:pt x="1747" y="1018"/>
                    <a:pt x="1760" y="1030"/>
                  </a:cubicBezTo>
                  <a:cubicBezTo>
                    <a:pt x="1771" y="1038"/>
                    <a:pt x="1775" y="1050"/>
                    <a:pt x="1778" y="1062"/>
                  </a:cubicBezTo>
                  <a:cubicBezTo>
                    <a:pt x="1780" y="1068"/>
                    <a:pt x="1775" y="1070"/>
                    <a:pt x="1769" y="1070"/>
                  </a:cubicBezTo>
                  <a:cubicBezTo>
                    <a:pt x="1756" y="1070"/>
                    <a:pt x="1742" y="1070"/>
                    <a:pt x="1729" y="1070"/>
                  </a:cubicBezTo>
                  <a:cubicBezTo>
                    <a:pt x="1729" y="1070"/>
                    <a:pt x="1729" y="1070"/>
                    <a:pt x="1729" y="1070"/>
                  </a:cubicBezTo>
                  <a:cubicBezTo>
                    <a:pt x="1716" y="1070"/>
                    <a:pt x="1703" y="1070"/>
                    <a:pt x="1690" y="1070"/>
                  </a:cubicBezTo>
                  <a:close/>
                  <a:moveTo>
                    <a:pt x="68" y="581"/>
                  </a:moveTo>
                  <a:cubicBezTo>
                    <a:pt x="68" y="573"/>
                    <a:pt x="70" y="568"/>
                    <a:pt x="80" y="569"/>
                  </a:cubicBezTo>
                  <a:cubicBezTo>
                    <a:pt x="90" y="570"/>
                    <a:pt x="101" y="570"/>
                    <a:pt x="111" y="569"/>
                  </a:cubicBezTo>
                  <a:cubicBezTo>
                    <a:pt x="120" y="569"/>
                    <a:pt x="120" y="563"/>
                    <a:pt x="120" y="556"/>
                  </a:cubicBezTo>
                  <a:cubicBezTo>
                    <a:pt x="120" y="549"/>
                    <a:pt x="119" y="544"/>
                    <a:pt x="111" y="544"/>
                  </a:cubicBezTo>
                  <a:cubicBezTo>
                    <a:pt x="104" y="544"/>
                    <a:pt x="97" y="544"/>
                    <a:pt x="91" y="544"/>
                  </a:cubicBezTo>
                  <a:cubicBezTo>
                    <a:pt x="66" y="544"/>
                    <a:pt x="65" y="543"/>
                    <a:pt x="68" y="518"/>
                  </a:cubicBezTo>
                  <a:cubicBezTo>
                    <a:pt x="69" y="504"/>
                    <a:pt x="83" y="487"/>
                    <a:pt x="99" y="489"/>
                  </a:cubicBezTo>
                  <a:cubicBezTo>
                    <a:pt x="103" y="489"/>
                    <a:pt x="107" y="489"/>
                    <a:pt x="110" y="488"/>
                  </a:cubicBezTo>
                  <a:cubicBezTo>
                    <a:pt x="118" y="487"/>
                    <a:pt x="123" y="479"/>
                    <a:pt x="123" y="471"/>
                  </a:cubicBezTo>
                  <a:cubicBezTo>
                    <a:pt x="123" y="461"/>
                    <a:pt x="116" y="462"/>
                    <a:pt x="109" y="460"/>
                  </a:cubicBezTo>
                  <a:cubicBezTo>
                    <a:pt x="100" y="458"/>
                    <a:pt x="92" y="460"/>
                    <a:pt x="84" y="460"/>
                  </a:cubicBezTo>
                  <a:cubicBezTo>
                    <a:pt x="68" y="461"/>
                    <a:pt x="56" y="469"/>
                    <a:pt x="47" y="480"/>
                  </a:cubicBezTo>
                  <a:cubicBezTo>
                    <a:pt x="34" y="493"/>
                    <a:pt x="32" y="511"/>
                    <a:pt x="32" y="529"/>
                  </a:cubicBezTo>
                  <a:cubicBezTo>
                    <a:pt x="32" y="544"/>
                    <a:pt x="32" y="544"/>
                    <a:pt x="17" y="544"/>
                  </a:cubicBezTo>
                  <a:cubicBezTo>
                    <a:pt x="4" y="543"/>
                    <a:pt x="0" y="548"/>
                    <a:pt x="4" y="561"/>
                  </a:cubicBezTo>
                  <a:cubicBezTo>
                    <a:pt x="6" y="569"/>
                    <a:pt x="13" y="568"/>
                    <a:pt x="19" y="569"/>
                  </a:cubicBezTo>
                  <a:cubicBezTo>
                    <a:pt x="32" y="571"/>
                    <a:pt x="32" y="571"/>
                    <a:pt x="32" y="584"/>
                  </a:cubicBezTo>
                  <a:cubicBezTo>
                    <a:pt x="32" y="624"/>
                    <a:pt x="32" y="664"/>
                    <a:pt x="32" y="704"/>
                  </a:cubicBezTo>
                  <a:cubicBezTo>
                    <a:pt x="32" y="731"/>
                    <a:pt x="32" y="730"/>
                    <a:pt x="57" y="731"/>
                  </a:cubicBezTo>
                  <a:cubicBezTo>
                    <a:pt x="66" y="731"/>
                    <a:pt x="68" y="727"/>
                    <a:pt x="68" y="720"/>
                  </a:cubicBezTo>
                  <a:cubicBezTo>
                    <a:pt x="68" y="697"/>
                    <a:pt x="68" y="674"/>
                    <a:pt x="68" y="651"/>
                  </a:cubicBezTo>
                  <a:cubicBezTo>
                    <a:pt x="68" y="628"/>
                    <a:pt x="68" y="605"/>
                    <a:pt x="68" y="581"/>
                  </a:cubicBezTo>
                  <a:close/>
                  <a:moveTo>
                    <a:pt x="278" y="1165"/>
                  </a:moveTo>
                  <a:cubicBezTo>
                    <a:pt x="278" y="1183"/>
                    <a:pt x="278" y="1183"/>
                    <a:pt x="296" y="1184"/>
                  </a:cubicBezTo>
                  <a:cubicBezTo>
                    <a:pt x="310" y="1184"/>
                    <a:pt x="310" y="1184"/>
                    <a:pt x="310" y="1169"/>
                  </a:cubicBezTo>
                  <a:cubicBezTo>
                    <a:pt x="310" y="1132"/>
                    <a:pt x="310" y="1095"/>
                    <a:pt x="310" y="1058"/>
                  </a:cubicBezTo>
                  <a:cubicBezTo>
                    <a:pt x="310" y="1052"/>
                    <a:pt x="312" y="1047"/>
                    <a:pt x="316" y="1042"/>
                  </a:cubicBezTo>
                  <a:cubicBezTo>
                    <a:pt x="324" y="1033"/>
                    <a:pt x="334" y="1027"/>
                    <a:pt x="345" y="1024"/>
                  </a:cubicBezTo>
                  <a:cubicBezTo>
                    <a:pt x="357" y="1020"/>
                    <a:pt x="371" y="1018"/>
                    <a:pt x="383" y="1028"/>
                  </a:cubicBezTo>
                  <a:cubicBezTo>
                    <a:pt x="397" y="1039"/>
                    <a:pt x="401" y="1054"/>
                    <a:pt x="401" y="1071"/>
                  </a:cubicBezTo>
                  <a:cubicBezTo>
                    <a:pt x="401" y="1102"/>
                    <a:pt x="401" y="1132"/>
                    <a:pt x="401" y="1163"/>
                  </a:cubicBezTo>
                  <a:cubicBezTo>
                    <a:pt x="401" y="1183"/>
                    <a:pt x="401" y="1182"/>
                    <a:pt x="420" y="1184"/>
                  </a:cubicBezTo>
                  <a:cubicBezTo>
                    <a:pt x="429" y="1185"/>
                    <a:pt x="433" y="1181"/>
                    <a:pt x="433" y="1173"/>
                  </a:cubicBezTo>
                  <a:cubicBezTo>
                    <a:pt x="432" y="1130"/>
                    <a:pt x="435" y="1087"/>
                    <a:pt x="431" y="1044"/>
                  </a:cubicBezTo>
                  <a:cubicBezTo>
                    <a:pt x="427" y="1014"/>
                    <a:pt x="404" y="996"/>
                    <a:pt x="376" y="994"/>
                  </a:cubicBezTo>
                  <a:cubicBezTo>
                    <a:pt x="353" y="992"/>
                    <a:pt x="333" y="1000"/>
                    <a:pt x="317" y="1017"/>
                  </a:cubicBezTo>
                  <a:cubicBezTo>
                    <a:pt x="312" y="1021"/>
                    <a:pt x="311" y="1019"/>
                    <a:pt x="309" y="1015"/>
                  </a:cubicBezTo>
                  <a:cubicBezTo>
                    <a:pt x="309" y="1013"/>
                    <a:pt x="308" y="1011"/>
                    <a:pt x="308" y="1008"/>
                  </a:cubicBezTo>
                  <a:cubicBezTo>
                    <a:pt x="306" y="1001"/>
                    <a:pt x="298" y="997"/>
                    <a:pt x="287" y="998"/>
                  </a:cubicBezTo>
                  <a:cubicBezTo>
                    <a:pt x="279" y="999"/>
                    <a:pt x="278" y="1004"/>
                    <a:pt x="278" y="1011"/>
                  </a:cubicBezTo>
                  <a:cubicBezTo>
                    <a:pt x="278" y="1037"/>
                    <a:pt x="278" y="1064"/>
                    <a:pt x="278" y="1091"/>
                  </a:cubicBezTo>
                  <a:cubicBezTo>
                    <a:pt x="278" y="1115"/>
                    <a:pt x="278" y="1140"/>
                    <a:pt x="278" y="1165"/>
                  </a:cubicBezTo>
                  <a:close/>
                  <a:moveTo>
                    <a:pt x="150" y="705"/>
                  </a:moveTo>
                  <a:cubicBezTo>
                    <a:pt x="150" y="734"/>
                    <a:pt x="145" y="730"/>
                    <a:pt x="176" y="731"/>
                  </a:cubicBezTo>
                  <a:cubicBezTo>
                    <a:pt x="185" y="731"/>
                    <a:pt x="187" y="727"/>
                    <a:pt x="187" y="719"/>
                  </a:cubicBezTo>
                  <a:cubicBezTo>
                    <a:pt x="187" y="685"/>
                    <a:pt x="187" y="651"/>
                    <a:pt x="187" y="618"/>
                  </a:cubicBezTo>
                  <a:cubicBezTo>
                    <a:pt x="187" y="597"/>
                    <a:pt x="204" y="578"/>
                    <a:pt x="225" y="574"/>
                  </a:cubicBezTo>
                  <a:cubicBezTo>
                    <a:pt x="232" y="572"/>
                    <a:pt x="240" y="574"/>
                    <a:pt x="247" y="575"/>
                  </a:cubicBezTo>
                  <a:cubicBezTo>
                    <a:pt x="257" y="576"/>
                    <a:pt x="261" y="572"/>
                    <a:pt x="265" y="564"/>
                  </a:cubicBezTo>
                  <a:cubicBezTo>
                    <a:pt x="269" y="556"/>
                    <a:pt x="267" y="542"/>
                    <a:pt x="261" y="540"/>
                  </a:cubicBezTo>
                  <a:cubicBezTo>
                    <a:pt x="253" y="538"/>
                    <a:pt x="244" y="534"/>
                    <a:pt x="237" y="536"/>
                  </a:cubicBezTo>
                  <a:cubicBezTo>
                    <a:pt x="228" y="537"/>
                    <a:pt x="217" y="537"/>
                    <a:pt x="209" y="544"/>
                  </a:cubicBezTo>
                  <a:cubicBezTo>
                    <a:pt x="204" y="549"/>
                    <a:pt x="198" y="553"/>
                    <a:pt x="194" y="558"/>
                  </a:cubicBezTo>
                  <a:cubicBezTo>
                    <a:pt x="192" y="561"/>
                    <a:pt x="189" y="563"/>
                    <a:pt x="185" y="562"/>
                  </a:cubicBezTo>
                  <a:cubicBezTo>
                    <a:pt x="182" y="561"/>
                    <a:pt x="182" y="558"/>
                    <a:pt x="182" y="556"/>
                  </a:cubicBezTo>
                  <a:cubicBezTo>
                    <a:pt x="180" y="539"/>
                    <a:pt x="179" y="539"/>
                    <a:pt x="162" y="539"/>
                  </a:cubicBezTo>
                  <a:cubicBezTo>
                    <a:pt x="151" y="539"/>
                    <a:pt x="150" y="540"/>
                    <a:pt x="150" y="551"/>
                  </a:cubicBezTo>
                  <a:cubicBezTo>
                    <a:pt x="150" y="579"/>
                    <a:pt x="150" y="607"/>
                    <a:pt x="150" y="635"/>
                  </a:cubicBezTo>
                  <a:cubicBezTo>
                    <a:pt x="150" y="658"/>
                    <a:pt x="149" y="682"/>
                    <a:pt x="150" y="705"/>
                  </a:cubicBezTo>
                  <a:close/>
                  <a:moveTo>
                    <a:pt x="1011" y="1049"/>
                  </a:moveTo>
                  <a:cubicBezTo>
                    <a:pt x="1011" y="1008"/>
                    <a:pt x="1011" y="966"/>
                    <a:pt x="1011" y="924"/>
                  </a:cubicBezTo>
                  <a:cubicBezTo>
                    <a:pt x="1011" y="913"/>
                    <a:pt x="1008" y="910"/>
                    <a:pt x="997" y="910"/>
                  </a:cubicBezTo>
                  <a:cubicBezTo>
                    <a:pt x="995" y="910"/>
                    <a:pt x="992" y="910"/>
                    <a:pt x="990" y="910"/>
                  </a:cubicBezTo>
                  <a:cubicBezTo>
                    <a:pt x="976" y="910"/>
                    <a:pt x="975" y="911"/>
                    <a:pt x="975" y="926"/>
                  </a:cubicBezTo>
                  <a:cubicBezTo>
                    <a:pt x="975" y="1006"/>
                    <a:pt x="975" y="1085"/>
                    <a:pt x="975" y="1165"/>
                  </a:cubicBezTo>
                  <a:cubicBezTo>
                    <a:pt x="975" y="1185"/>
                    <a:pt x="975" y="1185"/>
                    <a:pt x="994" y="1185"/>
                  </a:cubicBezTo>
                  <a:cubicBezTo>
                    <a:pt x="1009" y="1185"/>
                    <a:pt x="1011" y="1184"/>
                    <a:pt x="1011" y="1169"/>
                  </a:cubicBezTo>
                  <a:cubicBezTo>
                    <a:pt x="1011" y="1129"/>
                    <a:pt x="1011" y="1089"/>
                    <a:pt x="1011" y="1049"/>
                  </a:cubicBezTo>
                  <a:cubicBezTo>
                    <a:pt x="1011" y="1049"/>
                    <a:pt x="1011" y="1049"/>
                    <a:pt x="1011" y="1049"/>
                  </a:cubicBezTo>
                  <a:close/>
                  <a:moveTo>
                    <a:pt x="296" y="176"/>
                  </a:moveTo>
                  <a:cubicBezTo>
                    <a:pt x="296" y="201"/>
                    <a:pt x="296" y="226"/>
                    <a:pt x="296" y="251"/>
                  </a:cubicBezTo>
                  <a:cubicBezTo>
                    <a:pt x="295" y="276"/>
                    <a:pt x="296" y="274"/>
                    <a:pt x="318" y="274"/>
                  </a:cubicBezTo>
                  <a:cubicBezTo>
                    <a:pt x="330" y="274"/>
                    <a:pt x="331" y="274"/>
                    <a:pt x="331" y="260"/>
                  </a:cubicBezTo>
                  <a:cubicBezTo>
                    <a:pt x="331" y="232"/>
                    <a:pt x="331" y="204"/>
                    <a:pt x="331" y="176"/>
                  </a:cubicBezTo>
                  <a:cubicBezTo>
                    <a:pt x="331" y="165"/>
                    <a:pt x="331" y="155"/>
                    <a:pt x="337" y="145"/>
                  </a:cubicBezTo>
                  <a:cubicBezTo>
                    <a:pt x="349" y="123"/>
                    <a:pt x="359" y="117"/>
                    <a:pt x="377" y="118"/>
                  </a:cubicBezTo>
                  <a:cubicBezTo>
                    <a:pt x="383" y="118"/>
                    <a:pt x="389" y="119"/>
                    <a:pt x="395" y="120"/>
                  </a:cubicBezTo>
                  <a:cubicBezTo>
                    <a:pt x="401" y="120"/>
                    <a:pt x="407" y="118"/>
                    <a:pt x="408" y="112"/>
                  </a:cubicBezTo>
                  <a:cubicBezTo>
                    <a:pt x="409" y="103"/>
                    <a:pt x="415" y="93"/>
                    <a:pt x="407" y="85"/>
                  </a:cubicBezTo>
                  <a:cubicBezTo>
                    <a:pt x="406" y="84"/>
                    <a:pt x="404" y="84"/>
                    <a:pt x="402" y="84"/>
                  </a:cubicBezTo>
                  <a:cubicBezTo>
                    <a:pt x="376" y="78"/>
                    <a:pt x="353" y="82"/>
                    <a:pt x="337" y="106"/>
                  </a:cubicBezTo>
                  <a:cubicBezTo>
                    <a:pt x="336" y="108"/>
                    <a:pt x="335" y="110"/>
                    <a:pt x="333" y="109"/>
                  </a:cubicBezTo>
                  <a:cubicBezTo>
                    <a:pt x="331" y="109"/>
                    <a:pt x="330" y="107"/>
                    <a:pt x="330" y="105"/>
                  </a:cubicBezTo>
                  <a:cubicBezTo>
                    <a:pt x="329" y="101"/>
                    <a:pt x="329" y="97"/>
                    <a:pt x="328" y="94"/>
                  </a:cubicBezTo>
                  <a:cubicBezTo>
                    <a:pt x="325" y="85"/>
                    <a:pt x="318" y="82"/>
                    <a:pt x="303" y="84"/>
                  </a:cubicBezTo>
                  <a:cubicBezTo>
                    <a:pt x="297" y="84"/>
                    <a:pt x="295" y="86"/>
                    <a:pt x="295" y="92"/>
                  </a:cubicBezTo>
                  <a:cubicBezTo>
                    <a:pt x="296" y="120"/>
                    <a:pt x="295" y="148"/>
                    <a:pt x="295" y="176"/>
                  </a:cubicBezTo>
                  <a:cubicBezTo>
                    <a:pt x="296" y="176"/>
                    <a:pt x="296" y="176"/>
                    <a:pt x="296" y="176"/>
                  </a:cubicBezTo>
                  <a:close/>
                  <a:moveTo>
                    <a:pt x="946" y="179"/>
                  </a:moveTo>
                  <a:cubicBezTo>
                    <a:pt x="946" y="197"/>
                    <a:pt x="946" y="215"/>
                    <a:pt x="946" y="234"/>
                  </a:cubicBezTo>
                  <a:cubicBezTo>
                    <a:pt x="946" y="248"/>
                    <a:pt x="951" y="260"/>
                    <a:pt x="963" y="268"/>
                  </a:cubicBezTo>
                  <a:cubicBezTo>
                    <a:pt x="982" y="280"/>
                    <a:pt x="1011" y="277"/>
                    <a:pt x="1029" y="264"/>
                  </a:cubicBezTo>
                  <a:cubicBezTo>
                    <a:pt x="1036" y="259"/>
                    <a:pt x="1036" y="254"/>
                    <a:pt x="1032" y="248"/>
                  </a:cubicBezTo>
                  <a:cubicBezTo>
                    <a:pt x="1026" y="239"/>
                    <a:pt x="1020" y="238"/>
                    <a:pt x="1013" y="242"/>
                  </a:cubicBezTo>
                  <a:cubicBezTo>
                    <a:pt x="996" y="252"/>
                    <a:pt x="978" y="243"/>
                    <a:pt x="978" y="223"/>
                  </a:cubicBezTo>
                  <a:cubicBezTo>
                    <a:pt x="978" y="190"/>
                    <a:pt x="978" y="157"/>
                    <a:pt x="978" y="123"/>
                  </a:cubicBezTo>
                  <a:cubicBezTo>
                    <a:pt x="978" y="116"/>
                    <a:pt x="981" y="113"/>
                    <a:pt x="988" y="113"/>
                  </a:cubicBezTo>
                  <a:cubicBezTo>
                    <a:pt x="999" y="114"/>
                    <a:pt x="1011" y="113"/>
                    <a:pt x="1022" y="113"/>
                  </a:cubicBezTo>
                  <a:cubicBezTo>
                    <a:pt x="1028" y="113"/>
                    <a:pt x="1033" y="112"/>
                    <a:pt x="1033" y="104"/>
                  </a:cubicBezTo>
                  <a:cubicBezTo>
                    <a:pt x="1033" y="96"/>
                    <a:pt x="1032" y="90"/>
                    <a:pt x="1022" y="90"/>
                  </a:cubicBezTo>
                  <a:cubicBezTo>
                    <a:pt x="1011" y="90"/>
                    <a:pt x="1001" y="90"/>
                    <a:pt x="990" y="90"/>
                  </a:cubicBezTo>
                  <a:cubicBezTo>
                    <a:pt x="981" y="91"/>
                    <a:pt x="977" y="88"/>
                    <a:pt x="978" y="78"/>
                  </a:cubicBezTo>
                  <a:cubicBezTo>
                    <a:pt x="978" y="64"/>
                    <a:pt x="978" y="49"/>
                    <a:pt x="978" y="35"/>
                  </a:cubicBezTo>
                  <a:cubicBezTo>
                    <a:pt x="978" y="30"/>
                    <a:pt x="978" y="25"/>
                    <a:pt x="971" y="24"/>
                  </a:cubicBezTo>
                  <a:cubicBezTo>
                    <a:pt x="964" y="24"/>
                    <a:pt x="956" y="24"/>
                    <a:pt x="955" y="32"/>
                  </a:cubicBezTo>
                  <a:cubicBezTo>
                    <a:pt x="952" y="43"/>
                    <a:pt x="949" y="54"/>
                    <a:pt x="949" y="65"/>
                  </a:cubicBezTo>
                  <a:cubicBezTo>
                    <a:pt x="948" y="88"/>
                    <a:pt x="947" y="88"/>
                    <a:pt x="924" y="91"/>
                  </a:cubicBezTo>
                  <a:cubicBezTo>
                    <a:pt x="919" y="92"/>
                    <a:pt x="914" y="92"/>
                    <a:pt x="914" y="99"/>
                  </a:cubicBezTo>
                  <a:cubicBezTo>
                    <a:pt x="915" y="107"/>
                    <a:pt x="917" y="113"/>
                    <a:pt x="926" y="113"/>
                  </a:cubicBezTo>
                  <a:cubicBezTo>
                    <a:pt x="929" y="114"/>
                    <a:pt x="932" y="113"/>
                    <a:pt x="935" y="113"/>
                  </a:cubicBezTo>
                  <a:cubicBezTo>
                    <a:pt x="943" y="113"/>
                    <a:pt x="946" y="116"/>
                    <a:pt x="946" y="124"/>
                  </a:cubicBezTo>
                  <a:cubicBezTo>
                    <a:pt x="946" y="142"/>
                    <a:pt x="946" y="161"/>
                    <a:pt x="946" y="179"/>
                  </a:cubicBezTo>
                  <a:cubicBezTo>
                    <a:pt x="946" y="179"/>
                    <a:pt x="946" y="179"/>
                    <a:pt x="946" y="179"/>
                  </a:cubicBezTo>
                  <a:close/>
                </a:path>
              </a:pathLst>
            </a:custGeom>
            <a:solidFill>
              <a:srgbClr val="4C505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grpSp>
          <p:nvGrpSpPr>
            <p:cNvPr id="18" name="Group 4">
              <a:extLst>
                <a:ext uri="{FF2B5EF4-FFF2-40B4-BE49-F238E27FC236}">
                  <a16:creationId xmlns:a16="http://schemas.microsoft.com/office/drawing/2014/main" id="{57BD2C4C-DC67-B843-B26C-309622FC75F7}"/>
                </a:ext>
              </a:extLst>
            </p:cNvPr>
            <p:cNvGrpSpPr>
              <a:grpSpLocks noChangeAspect="1"/>
            </p:cNvGrpSpPr>
            <p:nvPr/>
          </p:nvGrpSpPr>
          <p:grpSpPr bwMode="gray">
            <a:xfrm>
              <a:off x="334963" y="296652"/>
              <a:ext cx="538094" cy="540000"/>
              <a:chOff x="2711" y="1027"/>
              <a:chExt cx="2258" cy="2266"/>
            </a:xfrm>
          </p:grpSpPr>
          <p:sp>
            <p:nvSpPr>
              <p:cNvPr id="19" name="AutoShape 3">
                <a:extLst>
                  <a:ext uri="{FF2B5EF4-FFF2-40B4-BE49-F238E27FC236}">
                    <a16:creationId xmlns:a16="http://schemas.microsoft.com/office/drawing/2014/main" id="{FE1DC41B-291E-574C-9F2C-874E70A40758}"/>
                  </a:ext>
                </a:extLst>
              </p:cNvPr>
              <p:cNvSpPr>
                <a:spLocks noChangeAspect="1" noChangeArrowheads="1" noTextEdit="1"/>
              </p:cNvSpPr>
              <p:nvPr/>
            </p:nvSpPr>
            <p:spPr bwMode="gray">
              <a:xfrm>
                <a:off x="2711" y="1027"/>
                <a:ext cx="2258" cy="22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20" name="Freeform 5">
                <a:extLst>
                  <a:ext uri="{FF2B5EF4-FFF2-40B4-BE49-F238E27FC236}">
                    <a16:creationId xmlns:a16="http://schemas.microsoft.com/office/drawing/2014/main" id="{D4B633C8-F761-C54B-9BD2-EB59D49A2DBC}"/>
                  </a:ext>
                </a:extLst>
              </p:cNvPr>
              <p:cNvSpPr>
                <a:spLocks/>
              </p:cNvSpPr>
              <p:nvPr/>
            </p:nvSpPr>
            <p:spPr bwMode="gray">
              <a:xfrm>
                <a:off x="2709" y="1029"/>
                <a:ext cx="2260" cy="2262"/>
              </a:xfrm>
              <a:custGeom>
                <a:avLst/>
                <a:gdLst>
                  <a:gd name="T0" fmla="*/ 2260 w 2260"/>
                  <a:gd name="T1" fmla="*/ 0 h 2262"/>
                  <a:gd name="T2" fmla="*/ 1612 w 2260"/>
                  <a:gd name="T3" fmla="*/ 649 h 2262"/>
                  <a:gd name="T4" fmla="*/ 1612 w 2260"/>
                  <a:gd name="T5" fmla="*/ 649 h 2262"/>
                  <a:gd name="T6" fmla="*/ 2035 w 2260"/>
                  <a:gd name="T7" fmla="*/ 0 h 2262"/>
                  <a:gd name="T8" fmla="*/ 0 w 2260"/>
                  <a:gd name="T9" fmla="*/ 0 h 2262"/>
                  <a:gd name="T10" fmla="*/ 0 w 2260"/>
                  <a:gd name="T11" fmla="*/ 2262 h 2262"/>
                  <a:gd name="T12" fmla="*/ 2260 w 2260"/>
                  <a:gd name="T13" fmla="*/ 2262 h 2262"/>
                  <a:gd name="T14" fmla="*/ 2260 w 2260"/>
                  <a:gd name="T15" fmla="*/ 0 h 2262"/>
                  <a:gd name="T16" fmla="*/ 2260 w 2260"/>
                  <a:gd name="T17" fmla="*/ 0 h 2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0" h="2262">
                    <a:moveTo>
                      <a:pt x="2260" y="0"/>
                    </a:moveTo>
                    <a:lnTo>
                      <a:pt x="1612" y="649"/>
                    </a:lnTo>
                    <a:lnTo>
                      <a:pt x="1612" y="649"/>
                    </a:lnTo>
                    <a:lnTo>
                      <a:pt x="2035" y="0"/>
                    </a:lnTo>
                    <a:lnTo>
                      <a:pt x="0" y="0"/>
                    </a:lnTo>
                    <a:lnTo>
                      <a:pt x="0" y="2262"/>
                    </a:lnTo>
                    <a:lnTo>
                      <a:pt x="2260" y="2262"/>
                    </a:lnTo>
                    <a:lnTo>
                      <a:pt x="2260" y="0"/>
                    </a:lnTo>
                    <a:lnTo>
                      <a:pt x="2260" y="0"/>
                    </a:lnTo>
                    <a:close/>
                  </a:path>
                </a:pathLst>
              </a:custGeom>
              <a:solidFill>
                <a:srgbClr val="E55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21" name="Freeform 6">
                <a:extLst>
                  <a:ext uri="{FF2B5EF4-FFF2-40B4-BE49-F238E27FC236}">
                    <a16:creationId xmlns:a16="http://schemas.microsoft.com/office/drawing/2014/main" id="{B16BAAE4-1A41-C843-9754-490F7A1E1270}"/>
                  </a:ext>
                </a:extLst>
              </p:cNvPr>
              <p:cNvSpPr>
                <a:spLocks noEditPoints="1"/>
              </p:cNvSpPr>
              <p:nvPr/>
            </p:nvSpPr>
            <p:spPr bwMode="gray">
              <a:xfrm>
                <a:off x="3623" y="1696"/>
                <a:ext cx="1167" cy="922"/>
              </a:xfrm>
              <a:custGeom>
                <a:avLst/>
                <a:gdLst>
                  <a:gd name="T0" fmla="*/ 411 w 580"/>
                  <a:gd name="T1" fmla="*/ 213 h 458"/>
                  <a:gd name="T2" fmla="*/ 570 w 580"/>
                  <a:gd name="T3" fmla="*/ 37 h 458"/>
                  <a:gd name="T4" fmla="*/ 580 w 580"/>
                  <a:gd name="T5" fmla="*/ 20 h 458"/>
                  <a:gd name="T6" fmla="*/ 545 w 580"/>
                  <a:gd name="T7" fmla="*/ 0 h 458"/>
                  <a:gd name="T8" fmla="*/ 519 w 580"/>
                  <a:gd name="T9" fmla="*/ 16 h 458"/>
                  <a:gd name="T10" fmla="*/ 344 w 580"/>
                  <a:gd name="T11" fmla="*/ 210 h 458"/>
                  <a:gd name="T12" fmla="*/ 334 w 580"/>
                  <a:gd name="T13" fmla="*/ 229 h 458"/>
                  <a:gd name="T14" fmla="*/ 344 w 580"/>
                  <a:gd name="T15" fmla="*/ 248 h 458"/>
                  <a:gd name="T16" fmla="*/ 519 w 580"/>
                  <a:gd name="T17" fmla="*/ 442 h 458"/>
                  <a:gd name="T18" fmla="*/ 545 w 580"/>
                  <a:gd name="T19" fmla="*/ 458 h 458"/>
                  <a:gd name="T20" fmla="*/ 580 w 580"/>
                  <a:gd name="T21" fmla="*/ 438 h 458"/>
                  <a:gd name="T22" fmla="*/ 570 w 580"/>
                  <a:gd name="T23" fmla="*/ 421 h 458"/>
                  <a:gd name="T24" fmla="*/ 411 w 580"/>
                  <a:gd name="T25" fmla="*/ 245 h 458"/>
                  <a:gd name="T26" fmla="*/ 399 w 580"/>
                  <a:gd name="T27" fmla="*/ 229 h 458"/>
                  <a:gd name="T28" fmla="*/ 411 w 580"/>
                  <a:gd name="T29" fmla="*/ 213 h 458"/>
                  <a:gd name="T30" fmla="*/ 252 w 580"/>
                  <a:gd name="T31" fmla="*/ 439 h 458"/>
                  <a:gd name="T32" fmla="*/ 281 w 580"/>
                  <a:gd name="T33" fmla="*/ 454 h 458"/>
                  <a:gd name="T34" fmla="*/ 309 w 580"/>
                  <a:gd name="T35" fmla="*/ 439 h 458"/>
                  <a:gd name="T36" fmla="*/ 309 w 580"/>
                  <a:gd name="T37" fmla="*/ 19 h 458"/>
                  <a:gd name="T38" fmla="*/ 281 w 580"/>
                  <a:gd name="T39" fmla="*/ 4 h 458"/>
                  <a:gd name="T40" fmla="*/ 252 w 580"/>
                  <a:gd name="T41" fmla="*/ 19 h 458"/>
                  <a:gd name="T42" fmla="*/ 252 w 580"/>
                  <a:gd name="T43" fmla="*/ 439 h 458"/>
                  <a:gd name="T44" fmla="*/ 0 w 580"/>
                  <a:gd name="T45" fmla="*/ 439 h 458"/>
                  <a:gd name="T46" fmla="*/ 28 w 580"/>
                  <a:gd name="T47" fmla="*/ 454 h 458"/>
                  <a:gd name="T48" fmla="*/ 56 w 580"/>
                  <a:gd name="T49" fmla="*/ 439 h 458"/>
                  <a:gd name="T50" fmla="*/ 56 w 580"/>
                  <a:gd name="T51" fmla="*/ 157 h 458"/>
                  <a:gd name="T52" fmla="*/ 165 w 580"/>
                  <a:gd name="T53" fmla="*/ 53 h 458"/>
                  <a:gd name="T54" fmla="*/ 180 w 580"/>
                  <a:gd name="T55" fmla="*/ 53 h 458"/>
                  <a:gd name="T56" fmla="*/ 196 w 580"/>
                  <a:gd name="T57" fmla="*/ 27 h 458"/>
                  <a:gd name="T58" fmla="*/ 154 w 580"/>
                  <a:gd name="T59" fmla="*/ 4 h 458"/>
                  <a:gd name="T60" fmla="*/ 0 w 580"/>
                  <a:gd name="T61" fmla="*/ 152 h 458"/>
                  <a:gd name="T62" fmla="*/ 0 w 580"/>
                  <a:gd name="T63" fmla="*/ 439 h 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80" h="458">
                    <a:moveTo>
                      <a:pt x="411" y="213"/>
                    </a:moveTo>
                    <a:cubicBezTo>
                      <a:pt x="570" y="37"/>
                      <a:pt x="570" y="37"/>
                      <a:pt x="570" y="37"/>
                    </a:cubicBezTo>
                    <a:cubicBezTo>
                      <a:pt x="576" y="30"/>
                      <a:pt x="580" y="25"/>
                      <a:pt x="580" y="20"/>
                    </a:cubicBezTo>
                    <a:cubicBezTo>
                      <a:pt x="580" y="10"/>
                      <a:pt x="559" y="0"/>
                      <a:pt x="545" y="0"/>
                    </a:cubicBezTo>
                    <a:cubicBezTo>
                      <a:pt x="535" y="0"/>
                      <a:pt x="526" y="8"/>
                      <a:pt x="519" y="16"/>
                    </a:cubicBezTo>
                    <a:cubicBezTo>
                      <a:pt x="344" y="210"/>
                      <a:pt x="344" y="210"/>
                      <a:pt x="344" y="210"/>
                    </a:cubicBezTo>
                    <a:cubicBezTo>
                      <a:pt x="336" y="219"/>
                      <a:pt x="334" y="224"/>
                      <a:pt x="334" y="229"/>
                    </a:cubicBezTo>
                    <a:cubicBezTo>
                      <a:pt x="334" y="234"/>
                      <a:pt x="336" y="239"/>
                      <a:pt x="344" y="248"/>
                    </a:cubicBezTo>
                    <a:cubicBezTo>
                      <a:pt x="519" y="442"/>
                      <a:pt x="519" y="442"/>
                      <a:pt x="519" y="442"/>
                    </a:cubicBezTo>
                    <a:cubicBezTo>
                      <a:pt x="526" y="450"/>
                      <a:pt x="535" y="458"/>
                      <a:pt x="545" y="458"/>
                    </a:cubicBezTo>
                    <a:cubicBezTo>
                      <a:pt x="559" y="458"/>
                      <a:pt x="580" y="448"/>
                      <a:pt x="580" y="438"/>
                    </a:cubicBezTo>
                    <a:cubicBezTo>
                      <a:pt x="580" y="433"/>
                      <a:pt x="576" y="428"/>
                      <a:pt x="570" y="421"/>
                    </a:cubicBezTo>
                    <a:cubicBezTo>
                      <a:pt x="411" y="245"/>
                      <a:pt x="411" y="245"/>
                      <a:pt x="411" y="245"/>
                    </a:cubicBezTo>
                    <a:cubicBezTo>
                      <a:pt x="403" y="236"/>
                      <a:pt x="399" y="232"/>
                      <a:pt x="399" y="229"/>
                    </a:cubicBezTo>
                    <a:cubicBezTo>
                      <a:pt x="399" y="226"/>
                      <a:pt x="403" y="222"/>
                      <a:pt x="411" y="213"/>
                    </a:cubicBezTo>
                    <a:moveTo>
                      <a:pt x="252" y="439"/>
                    </a:moveTo>
                    <a:cubicBezTo>
                      <a:pt x="252" y="449"/>
                      <a:pt x="261" y="454"/>
                      <a:pt x="281" y="454"/>
                    </a:cubicBezTo>
                    <a:cubicBezTo>
                      <a:pt x="300" y="454"/>
                      <a:pt x="309" y="449"/>
                      <a:pt x="309" y="439"/>
                    </a:cubicBezTo>
                    <a:cubicBezTo>
                      <a:pt x="309" y="19"/>
                      <a:pt x="309" y="19"/>
                      <a:pt x="309" y="19"/>
                    </a:cubicBezTo>
                    <a:cubicBezTo>
                      <a:pt x="309" y="9"/>
                      <a:pt x="300" y="4"/>
                      <a:pt x="281" y="4"/>
                    </a:cubicBezTo>
                    <a:cubicBezTo>
                      <a:pt x="261" y="4"/>
                      <a:pt x="252" y="9"/>
                      <a:pt x="252" y="19"/>
                    </a:cubicBezTo>
                    <a:lnTo>
                      <a:pt x="252" y="439"/>
                    </a:lnTo>
                    <a:close/>
                    <a:moveTo>
                      <a:pt x="0" y="439"/>
                    </a:moveTo>
                    <a:cubicBezTo>
                      <a:pt x="0" y="449"/>
                      <a:pt x="8" y="454"/>
                      <a:pt x="28" y="454"/>
                    </a:cubicBezTo>
                    <a:cubicBezTo>
                      <a:pt x="48" y="454"/>
                      <a:pt x="56" y="449"/>
                      <a:pt x="56" y="439"/>
                    </a:cubicBezTo>
                    <a:cubicBezTo>
                      <a:pt x="56" y="157"/>
                      <a:pt x="56" y="157"/>
                      <a:pt x="56" y="157"/>
                    </a:cubicBezTo>
                    <a:cubicBezTo>
                      <a:pt x="56" y="83"/>
                      <a:pt x="85" y="53"/>
                      <a:pt x="165" y="53"/>
                    </a:cubicBezTo>
                    <a:cubicBezTo>
                      <a:pt x="180" y="53"/>
                      <a:pt x="180" y="53"/>
                      <a:pt x="180" y="53"/>
                    </a:cubicBezTo>
                    <a:cubicBezTo>
                      <a:pt x="192" y="53"/>
                      <a:pt x="196" y="43"/>
                      <a:pt x="196" y="27"/>
                    </a:cubicBezTo>
                    <a:cubicBezTo>
                      <a:pt x="196" y="8"/>
                      <a:pt x="185" y="4"/>
                      <a:pt x="154" y="4"/>
                    </a:cubicBezTo>
                    <a:cubicBezTo>
                      <a:pt x="64" y="4"/>
                      <a:pt x="0" y="43"/>
                      <a:pt x="0" y="152"/>
                    </a:cubicBezTo>
                    <a:lnTo>
                      <a:pt x="0" y="43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22" name="Freeform 7">
                <a:extLst>
                  <a:ext uri="{FF2B5EF4-FFF2-40B4-BE49-F238E27FC236}">
                    <a16:creationId xmlns:a16="http://schemas.microsoft.com/office/drawing/2014/main" id="{2F32DCBD-8628-F245-85CD-97686A20ECFD}"/>
                  </a:ext>
                </a:extLst>
              </p:cNvPr>
              <p:cNvSpPr>
                <a:spLocks/>
              </p:cNvSpPr>
              <p:nvPr/>
            </p:nvSpPr>
            <p:spPr bwMode="gray">
              <a:xfrm>
                <a:off x="2880" y="1704"/>
                <a:ext cx="618" cy="916"/>
              </a:xfrm>
              <a:custGeom>
                <a:avLst/>
                <a:gdLst>
                  <a:gd name="T0" fmla="*/ 307 w 307"/>
                  <a:gd name="T1" fmla="*/ 405 h 455"/>
                  <a:gd name="T2" fmla="*/ 307 w 307"/>
                  <a:gd name="T3" fmla="*/ 244 h 455"/>
                  <a:gd name="T4" fmla="*/ 279 w 307"/>
                  <a:gd name="T5" fmla="*/ 229 h 455"/>
                  <a:gd name="T6" fmla="*/ 250 w 307"/>
                  <a:gd name="T7" fmla="*/ 244 h 455"/>
                  <a:gd name="T8" fmla="*/ 250 w 307"/>
                  <a:gd name="T9" fmla="*/ 378 h 455"/>
                  <a:gd name="T10" fmla="*/ 199 w 307"/>
                  <a:gd name="T11" fmla="*/ 408 h 455"/>
                  <a:gd name="T12" fmla="*/ 61 w 307"/>
                  <a:gd name="T13" fmla="*/ 231 h 455"/>
                  <a:gd name="T14" fmla="*/ 238 w 307"/>
                  <a:gd name="T15" fmla="*/ 49 h 455"/>
                  <a:gd name="T16" fmla="*/ 270 w 307"/>
                  <a:gd name="T17" fmla="*/ 49 h 455"/>
                  <a:gd name="T18" fmla="*/ 286 w 307"/>
                  <a:gd name="T19" fmla="*/ 23 h 455"/>
                  <a:gd name="T20" fmla="*/ 244 w 307"/>
                  <a:gd name="T21" fmla="*/ 0 h 455"/>
                  <a:gd name="T22" fmla="*/ 231 w 307"/>
                  <a:gd name="T23" fmla="*/ 0 h 455"/>
                  <a:gd name="T24" fmla="*/ 0 w 307"/>
                  <a:gd name="T25" fmla="*/ 232 h 455"/>
                  <a:gd name="T26" fmla="*/ 198 w 307"/>
                  <a:gd name="T27" fmla="*/ 455 h 455"/>
                  <a:gd name="T28" fmla="*/ 307 w 307"/>
                  <a:gd name="T29" fmla="*/ 405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7" h="455">
                    <a:moveTo>
                      <a:pt x="307" y="405"/>
                    </a:moveTo>
                    <a:cubicBezTo>
                      <a:pt x="307" y="244"/>
                      <a:pt x="307" y="244"/>
                      <a:pt x="307" y="244"/>
                    </a:cubicBezTo>
                    <a:cubicBezTo>
                      <a:pt x="307" y="234"/>
                      <a:pt x="298" y="229"/>
                      <a:pt x="279" y="229"/>
                    </a:cubicBezTo>
                    <a:cubicBezTo>
                      <a:pt x="259" y="229"/>
                      <a:pt x="250" y="234"/>
                      <a:pt x="250" y="244"/>
                    </a:cubicBezTo>
                    <a:cubicBezTo>
                      <a:pt x="250" y="378"/>
                      <a:pt x="250" y="378"/>
                      <a:pt x="250" y="378"/>
                    </a:cubicBezTo>
                    <a:cubicBezTo>
                      <a:pt x="250" y="399"/>
                      <a:pt x="241" y="408"/>
                      <a:pt x="199" y="408"/>
                    </a:cubicBezTo>
                    <a:cubicBezTo>
                      <a:pt x="114" y="408"/>
                      <a:pt x="61" y="342"/>
                      <a:pt x="61" y="231"/>
                    </a:cubicBezTo>
                    <a:cubicBezTo>
                      <a:pt x="61" y="115"/>
                      <a:pt x="126" y="49"/>
                      <a:pt x="238" y="49"/>
                    </a:cubicBezTo>
                    <a:cubicBezTo>
                      <a:pt x="270" y="49"/>
                      <a:pt x="270" y="49"/>
                      <a:pt x="270" y="49"/>
                    </a:cubicBezTo>
                    <a:cubicBezTo>
                      <a:pt x="282" y="49"/>
                      <a:pt x="286" y="39"/>
                      <a:pt x="286" y="23"/>
                    </a:cubicBezTo>
                    <a:cubicBezTo>
                      <a:pt x="286" y="4"/>
                      <a:pt x="275" y="0"/>
                      <a:pt x="244" y="0"/>
                    </a:cubicBezTo>
                    <a:cubicBezTo>
                      <a:pt x="231" y="0"/>
                      <a:pt x="231" y="0"/>
                      <a:pt x="231" y="0"/>
                    </a:cubicBezTo>
                    <a:cubicBezTo>
                      <a:pt x="101" y="0"/>
                      <a:pt x="0" y="71"/>
                      <a:pt x="0" y="232"/>
                    </a:cubicBezTo>
                    <a:cubicBezTo>
                      <a:pt x="0" y="386"/>
                      <a:pt x="88" y="455"/>
                      <a:pt x="198" y="455"/>
                    </a:cubicBezTo>
                    <a:cubicBezTo>
                      <a:pt x="286" y="455"/>
                      <a:pt x="307" y="430"/>
                      <a:pt x="307" y="40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23" name="Oval 8">
                <a:extLst>
                  <a:ext uri="{FF2B5EF4-FFF2-40B4-BE49-F238E27FC236}">
                    <a16:creationId xmlns:a16="http://schemas.microsoft.com/office/drawing/2014/main" id="{60D97C11-1A3B-5449-A48D-98A3E79B3810}"/>
                  </a:ext>
                </a:extLst>
              </p:cNvPr>
              <p:cNvSpPr>
                <a:spLocks noChangeArrowheads="1"/>
              </p:cNvSpPr>
              <p:nvPr/>
            </p:nvSpPr>
            <p:spPr bwMode="gray">
              <a:xfrm>
                <a:off x="3778" y="2099"/>
                <a:ext cx="122" cy="12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24" name="Freeform 9">
                <a:extLst>
                  <a:ext uri="{FF2B5EF4-FFF2-40B4-BE49-F238E27FC236}">
                    <a16:creationId xmlns:a16="http://schemas.microsoft.com/office/drawing/2014/main" id="{5856770D-B8F0-244E-A05D-AED190086F10}"/>
                  </a:ext>
                </a:extLst>
              </p:cNvPr>
              <p:cNvSpPr>
                <a:spLocks noEditPoints="1"/>
              </p:cNvSpPr>
              <p:nvPr/>
            </p:nvSpPr>
            <p:spPr bwMode="gray">
              <a:xfrm>
                <a:off x="3623" y="1696"/>
                <a:ext cx="1167" cy="922"/>
              </a:xfrm>
              <a:custGeom>
                <a:avLst/>
                <a:gdLst>
                  <a:gd name="T0" fmla="*/ 411 w 580"/>
                  <a:gd name="T1" fmla="*/ 213 h 458"/>
                  <a:gd name="T2" fmla="*/ 570 w 580"/>
                  <a:gd name="T3" fmla="*/ 37 h 458"/>
                  <a:gd name="T4" fmla="*/ 580 w 580"/>
                  <a:gd name="T5" fmla="*/ 20 h 458"/>
                  <a:gd name="T6" fmla="*/ 545 w 580"/>
                  <a:gd name="T7" fmla="*/ 0 h 458"/>
                  <a:gd name="T8" fmla="*/ 519 w 580"/>
                  <a:gd name="T9" fmla="*/ 16 h 458"/>
                  <a:gd name="T10" fmla="*/ 344 w 580"/>
                  <a:gd name="T11" fmla="*/ 210 h 458"/>
                  <a:gd name="T12" fmla="*/ 334 w 580"/>
                  <a:gd name="T13" fmla="*/ 229 h 458"/>
                  <a:gd name="T14" fmla="*/ 344 w 580"/>
                  <a:gd name="T15" fmla="*/ 248 h 458"/>
                  <a:gd name="T16" fmla="*/ 519 w 580"/>
                  <a:gd name="T17" fmla="*/ 442 h 458"/>
                  <a:gd name="T18" fmla="*/ 545 w 580"/>
                  <a:gd name="T19" fmla="*/ 458 h 458"/>
                  <a:gd name="T20" fmla="*/ 580 w 580"/>
                  <a:gd name="T21" fmla="*/ 438 h 458"/>
                  <a:gd name="T22" fmla="*/ 570 w 580"/>
                  <a:gd name="T23" fmla="*/ 421 h 458"/>
                  <a:gd name="T24" fmla="*/ 411 w 580"/>
                  <a:gd name="T25" fmla="*/ 245 h 458"/>
                  <a:gd name="T26" fmla="*/ 399 w 580"/>
                  <a:gd name="T27" fmla="*/ 229 h 458"/>
                  <a:gd name="T28" fmla="*/ 411 w 580"/>
                  <a:gd name="T29" fmla="*/ 213 h 458"/>
                  <a:gd name="T30" fmla="*/ 252 w 580"/>
                  <a:gd name="T31" fmla="*/ 439 h 458"/>
                  <a:gd name="T32" fmla="*/ 281 w 580"/>
                  <a:gd name="T33" fmla="*/ 454 h 458"/>
                  <a:gd name="T34" fmla="*/ 309 w 580"/>
                  <a:gd name="T35" fmla="*/ 439 h 458"/>
                  <a:gd name="T36" fmla="*/ 309 w 580"/>
                  <a:gd name="T37" fmla="*/ 19 h 458"/>
                  <a:gd name="T38" fmla="*/ 281 w 580"/>
                  <a:gd name="T39" fmla="*/ 4 h 458"/>
                  <a:gd name="T40" fmla="*/ 252 w 580"/>
                  <a:gd name="T41" fmla="*/ 19 h 458"/>
                  <a:gd name="T42" fmla="*/ 252 w 580"/>
                  <a:gd name="T43" fmla="*/ 439 h 458"/>
                  <a:gd name="T44" fmla="*/ 0 w 580"/>
                  <a:gd name="T45" fmla="*/ 439 h 458"/>
                  <a:gd name="T46" fmla="*/ 28 w 580"/>
                  <a:gd name="T47" fmla="*/ 454 h 458"/>
                  <a:gd name="T48" fmla="*/ 56 w 580"/>
                  <a:gd name="T49" fmla="*/ 439 h 458"/>
                  <a:gd name="T50" fmla="*/ 56 w 580"/>
                  <a:gd name="T51" fmla="*/ 157 h 458"/>
                  <a:gd name="T52" fmla="*/ 165 w 580"/>
                  <a:gd name="T53" fmla="*/ 53 h 458"/>
                  <a:gd name="T54" fmla="*/ 180 w 580"/>
                  <a:gd name="T55" fmla="*/ 53 h 458"/>
                  <a:gd name="T56" fmla="*/ 196 w 580"/>
                  <a:gd name="T57" fmla="*/ 27 h 458"/>
                  <a:gd name="T58" fmla="*/ 154 w 580"/>
                  <a:gd name="T59" fmla="*/ 4 h 458"/>
                  <a:gd name="T60" fmla="*/ 0 w 580"/>
                  <a:gd name="T61" fmla="*/ 152 h 458"/>
                  <a:gd name="T62" fmla="*/ 0 w 580"/>
                  <a:gd name="T63" fmla="*/ 439 h 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80" h="458">
                    <a:moveTo>
                      <a:pt x="411" y="213"/>
                    </a:moveTo>
                    <a:cubicBezTo>
                      <a:pt x="570" y="37"/>
                      <a:pt x="570" y="37"/>
                      <a:pt x="570" y="37"/>
                    </a:cubicBezTo>
                    <a:cubicBezTo>
                      <a:pt x="576" y="30"/>
                      <a:pt x="580" y="25"/>
                      <a:pt x="580" y="20"/>
                    </a:cubicBezTo>
                    <a:cubicBezTo>
                      <a:pt x="580" y="10"/>
                      <a:pt x="559" y="0"/>
                      <a:pt x="545" y="0"/>
                    </a:cubicBezTo>
                    <a:cubicBezTo>
                      <a:pt x="535" y="0"/>
                      <a:pt x="526" y="8"/>
                      <a:pt x="519" y="16"/>
                    </a:cubicBezTo>
                    <a:cubicBezTo>
                      <a:pt x="344" y="210"/>
                      <a:pt x="344" y="210"/>
                      <a:pt x="344" y="210"/>
                    </a:cubicBezTo>
                    <a:cubicBezTo>
                      <a:pt x="336" y="219"/>
                      <a:pt x="334" y="224"/>
                      <a:pt x="334" y="229"/>
                    </a:cubicBezTo>
                    <a:cubicBezTo>
                      <a:pt x="334" y="234"/>
                      <a:pt x="336" y="239"/>
                      <a:pt x="344" y="248"/>
                    </a:cubicBezTo>
                    <a:cubicBezTo>
                      <a:pt x="519" y="442"/>
                      <a:pt x="519" y="442"/>
                      <a:pt x="519" y="442"/>
                    </a:cubicBezTo>
                    <a:cubicBezTo>
                      <a:pt x="526" y="450"/>
                      <a:pt x="535" y="458"/>
                      <a:pt x="545" y="458"/>
                    </a:cubicBezTo>
                    <a:cubicBezTo>
                      <a:pt x="559" y="458"/>
                      <a:pt x="580" y="448"/>
                      <a:pt x="580" y="438"/>
                    </a:cubicBezTo>
                    <a:cubicBezTo>
                      <a:pt x="580" y="433"/>
                      <a:pt x="576" y="428"/>
                      <a:pt x="570" y="421"/>
                    </a:cubicBezTo>
                    <a:cubicBezTo>
                      <a:pt x="411" y="245"/>
                      <a:pt x="411" y="245"/>
                      <a:pt x="411" y="245"/>
                    </a:cubicBezTo>
                    <a:cubicBezTo>
                      <a:pt x="403" y="236"/>
                      <a:pt x="399" y="232"/>
                      <a:pt x="399" y="229"/>
                    </a:cubicBezTo>
                    <a:cubicBezTo>
                      <a:pt x="399" y="226"/>
                      <a:pt x="403" y="222"/>
                      <a:pt x="411" y="213"/>
                    </a:cubicBezTo>
                    <a:moveTo>
                      <a:pt x="252" y="439"/>
                    </a:moveTo>
                    <a:cubicBezTo>
                      <a:pt x="252" y="449"/>
                      <a:pt x="261" y="454"/>
                      <a:pt x="281" y="454"/>
                    </a:cubicBezTo>
                    <a:cubicBezTo>
                      <a:pt x="300" y="454"/>
                      <a:pt x="309" y="449"/>
                      <a:pt x="309" y="439"/>
                    </a:cubicBezTo>
                    <a:cubicBezTo>
                      <a:pt x="309" y="19"/>
                      <a:pt x="309" y="19"/>
                      <a:pt x="309" y="19"/>
                    </a:cubicBezTo>
                    <a:cubicBezTo>
                      <a:pt x="309" y="9"/>
                      <a:pt x="300" y="4"/>
                      <a:pt x="281" y="4"/>
                    </a:cubicBezTo>
                    <a:cubicBezTo>
                      <a:pt x="261" y="4"/>
                      <a:pt x="252" y="9"/>
                      <a:pt x="252" y="19"/>
                    </a:cubicBezTo>
                    <a:lnTo>
                      <a:pt x="252" y="439"/>
                    </a:lnTo>
                    <a:close/>
                    <a:moveTo>
                      <a:pt x="0" y="439"/>
                    </a:moveTo>
                    <a:cubicBezTo>
                      <a:pt x="0" y="449"/>
                      <a:pt x="8" y="454"/>
                      <a:pt x="28" y="454"/>
                    </a:cubicBezTo>
                    <a:cubicBezTo>
                      <a:pt x="48" y="454"/>
                      <a:pt x="56" y="449"/>
                      <a:pt x="56" y="439"/>
                    </a:cubicBezTo>
                    <a:cubicBezTo>
                      <a:pt x="56" y="157"/>
                      <a:pt x="56" y="157"/>
                      <a:pt x="56" y="157"/>
                    </a:cubicBezTo>
                    <a:cubicBezTo>
                      <a:pt x="56" y="83"/>
                      <a:pt x="85" y="53"/>
                      <a:pt x="165" y="53"/>
                    </a:cubicBezTo>
                    <a:cubicBezTo>
                      <a:pt x="180" y="53"/>
                      <a:pt x="180" y="53"/>
                      <a:pt x="180" y="53"/>
                    </a:cubicBezTo>
                    <a:cubicBezTo>
                      <a:pt x="192" y="53"/>
                      <a:pt x="196" y="43"/>
                      <a:pt x="196" y="27"/>
                    </a:cubicBezTo>
                    <a:cubicBezTo>
                      <a:pt x="196" y="8"/>
                      <a:pt x="185" y="4"/>
                      <a:pt x="154" y="4"/>
                    </a:cubicBezTo>
                    <a:cubicBezTo>
                      <a:pt x="64" y="4"/>
                      <a:pt x="0" y="43"/>
                      <a:pt x="0" y="152"/>
                    </a:cubicBezTo>
                    <a:lnTo>
                      <a:pt x="0" y="43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25" name="Freeform 10">
                <a:extLst>
                  <a:ext uri="{FF2B5EF4-FFF2-40B4-BE49-F238E27FC236}">
                    <a16:creationId xmlns:a16="http://schemas.microsoft.com/office/drawing/2014/main" id="{2B91B16B-BC11-E547-8FAC-B9B8D18EA449}"/>
                  </a:ext>
                </a:extLst>
              </p:cNvPr>
              <p:cNvSpPr>
                <a:spLocks/>
              </p:cNvSpPr>
              <p:nvPr/>
            </p:nvSpPr>
            <p:spPr bwMode="gray">
              <a:xfrm>
                <a:off x="2880" y="1704"/>
                <a:ext cx="618" cy="916"/>
              </a:xfrm>
              <a:custGeom>
                <a:avLst/>
                <a:gdLst>
                  <a:gd name="T0" fmla="*/ 307 w 307"/>
                  <a:gd name="T1" fmla="*/ 405 h 455"/>
                  <a:gd name="T2" fmla="*/ 307 w 307"/>
                  <a:gd name="T3" fmla="*/ 244 h 455"/>
                  <a:gd name="T4" fmla="*/ 279 w 307"/>
                  <a:gd name="T5" fmla="*/ 229 h 455"/>
                  <a:gd name="T6" fmla="*/ 250 w 307"/>
                  <a:gd name="T7" fmla="*/ 244 h 455"/>
                  <a:gd name="T8" fmla="*/ 250 w 307"/>
                  <a:gd name="T9" fmla="*/ 378 h 455"/>
                  <a:gd name="T10" fmla="*/ 199 w 307"/>
                  <a:gd name="T11" fmla="*/ 408 h 455"/>
                  <a:gd name="T12" fmla="*/ 61 w 307"/>
                  <a:gd name="T13" fmla="*/ 231 h 455"/>
                  <a:gd name="T14" fmla="*/ 238 w 307"/>
                  <a:gd name="T15" fmla="*/ 49 h 455"/>
                  <a:gd name="T16" fmla="*/ 270 w 307"/>
                  <a:gd name="T17" fmla="*/ 49 h 455"/>
                  <a:gd name="T18" fmla="*/ 286 w 307"/>
                  <a:gd name="T19" fmla="*/ 23 h 455"/>
                  <a:gd name="T20" fmla="*/ 244 w 307"/>
                  <a:gd name="T21" fmla="*/ 0 h 455"/>
                  <a:gd name="T22" fmla="*/ 231 w 307"/>
                  <a:gd name="T23" fmla="*/ 0 h 455"/>
                  <a:gd name="T24" fmla="*/ 0 w 307"/>
                  <a:gd name="T25" fmla="*/ 232 h 455"/>
                  <a:gd name="T26" fmla="*/ 198 w 307"/>
                  <a:gd name="T27" fmla="*/ 455 h 455"/>
                  <a:gd name="T28" fmla="*/ 307 w 307"/>
                  <a:gd name="T29" fmla="*/ 405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7" h="455">
                    <a:moveTo>
                      <a:pt x="307" y="405"/>
                    </a:moveTo>
                    <a:cubicBezTo>
                      <a:pt x="307" y="244"/>
                      <a:pt x="307" y="244"/>
                      <a:pt x="307" y="244"/>
                    </a:cubicBezTo>
                    <a:cubicBezTo>
                      <a:pt x="307" y="234"/>
                      <a:pt x="298" y="229"/>
                      <a:pt x="279" y="229"/>
                    </a:cubicBezTo>
                    <a:cubicBezTo>
                      <a:pt x="259" y="229"/>
                      <a:pt x="250" y="234"/>
                      <a:pt x="250" y="244"/>
                    </a:cubicBezTo>
                    <a:cubicBezTo>
                      <a:pt x="250" y="378"/>
                      <a:pt x="250" y="378"/>
                      <a:pt x="250" y="378"/>
                    </a:cubicBezTo>
                    <a:cubicBezTo>
                      <a:pt x="250" y="399"/>
                      <a:pt x="241" y="408"/>
                      <a:pt x="199" y="408"/>
                    </a:cubicBezTo>
                    <a:cubicBezTo>
                      <a:pt x="114" y="408"/>
                      <a:pt x="61" y="342"/>
                      <a:pt x="61" y="231"/>
                    </a:cubicBezTo>
                    <a:cubicBezTo>
                      <a:pt x="61" y="115"/>
                      <a:pt x="126" y="49"/>
                      <a:pt x="238" y="49"/>
                    </a:cubicBezTo>
                    <a:cubicBezTo>
                      <a:pt x="270" y="49"/>
                      <a:pt x="270" y="49"/>
                      <a:pt x="270" y="49"/>
                    </a:cubicBezTo>
                    <a:cubicBezTo>
                      <a:pt x="282" y="49"/>
                      <a:pt x="286" y="39"/>
                      <a:pt x="286" y="23"/>
                    </a:cubicBezTo>
                    <a:cubicBezTo>
                      <a:pt x="286" y="4"/>
                      <a:pt x="275" y="0"/>
                      <a:pt x="244" y="0"/>
                    </a:cubicBezTo>
                    <a:cubicBezTo>
                      <a:pt x="231" y="0"/>
                      <a:pt x="231" y="0"/>
                      <a:pt x="231" y="0"/>
                    </a:cubicBezTo>
                    <a:cubicBezTo>
                      <a:pt x="101" y="0"/>
                      <a:pt x="0" y="71"/>
                      <a:pt x="0" y="232"/>
                    </a:cubicBezTo>
                    <a:cubicBezTo>
                      <a:pt x="0" y="386"/>
                      <a:pt x="88" y="455"/>
                      <a:pt x="198" y="455"/>
                    </a:cubicBezTo>
                    <a:cubicBezTo>
                      <a:pt x="286" y="455"/>
                      <a:pt x="307" y="430"/>
                      <a:pt x="307" y="40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26" name="Oval 11">
                <a:extLst>
                  <a:ext uri="{FF2B5EF4-FFF2-40B4-BE49-F238E27FC236}">
                    <a16:creationId xmlns:a16="http://schemas.microsoft.com/office/drawing/2014/main" id="{14F8C3C8-4888-7646-B9B4-64EB46A1DA23}"/>
                  </a:ext>
                </a:extLst>
              </p:cNvPr>
              <p:cNvSpPr>
                <a:spLocks noChangeArrowheads="1"/>
              </p:cNvSpPr>
              <p:nvPr/>
            </p:nvSpPr>
            <p:spPr bwMode="gray">
              <a:xfrm>
                <a:off x="3778" y="2099"/>
                <a:ext cx="122" cy="12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27" name="Freeform 12">
                <a:extLst>
                  <a:ext uri="{FF2B5EF4-FFF2-40B4-BE49-F238E27FC236}">
                    <a16:creationId xmlns:a16="http://schemas.microsoft.com/office/drawing/2014/main" id="{D79D01D1-4E3E-F34B-97D7-2D387E68746E}"/>
                  </a:ext>
                </a:extLst>
              </p:cNvPr>
              <p:cNvSpPr>
                <a:spLocks/>
              </p:cNvSpPr>
              <p:nvPr/>
            </p:nvSpPr>
            <p:spPr bwMode="gray">
              <a:xfrm>
                <a:off x="4321" y="1029"/>
                <a:ext cx="648" cy="649"/>
              </a:xfrm>
              <a:custGeom>
                <a:avLst/>
                <a:gdLst>
                  <a:gd name="T0" fmla="*/ 0 w 648"/>
                  <a:gd name="T1" fmla="*/ 649 h 649"/>
                  <a:gd name="T2" fmla="*/ 2 w 648"/>
                  <a:gd name="T3" fmla="*/ 649 h 649"/>
                  <a:gd name="T4" fmla="*/ 648 w 648"/>
                  <a:gd name="T5" fmla="*/ 0 h 649"/>
                  <a:gd name="T6" fmla="*/ 423 w 648"/>
                  <a:gd name="T7" fmla="*/ 0 h 649"/>
                  <a:gd name="T8" fmla="*/ 0 w 648"/>
                  <a:gd name="T9" fmla="*/ 649 h 649"/>
                </a:gdLst>
                <a:ahLst/>
                <a:cxnLst>
                  <a:cxn ang="0">
                    <a:pos x="T0" y="T1"/>
                  </a:cxn>
                  <a:cxn ang="0">
                    <a:pos x="T2" y="T3"/>
                  </a:cxn>
                  <a:cxn ang="0">
                    <a:pos x="T4" y="T5"/>
                  </a:cxn>
                  <a:cxn ang="0">
                    <a:pos x="T6" y="T7"/>
                  </a:cxn>
                  <a:cxn ang="0">
                    <a:pos x="T8" y="T9"/>
                  </a:cxn>
                </a:cxnLst>
                <a:rect l="0" t="0" r="r" b="b"/>
                <a:pathLst>
                  <a:path w="648" h="649">
                    <a:moveTo>
                      <a:pt x="0" y="649"/>
                    </a:moveTo>
                    <a:lnTo>
                      <a:pt x="2" y="649"/>
                    </a:lnTo>
                    <a:lnTo>
                      <a:pt x="648" y="0"/>
                    </a:lnTo>
                    <a:lnTo>
                      <a:pt x="423" y="0"/>
                    </a:lnTo>
                    <a:lnTo>
                      <a:pt x="0" y="64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28" name="Freeform 13">
                <a:extLst>
                  <a:ext uri="{FF2B5EF4-FFF2-40B4-BE49-F238E27FC236}">
                    <a16:creationId xmlns:a16="http://schemas.microsoft.com/office/drawing/2014/main" id="{46549898-6C52-B147-A8F6-A73FDBE6163B}"/>
                  </a:ext>
                </a:extLst>
              </p:cNvPr>
              <p:cNvSpPr>
                <a:spLocks/>
              </p:cNvSpPr>
              <p:nvPr/>
            </p:nvSpPr>
            <p:spPr bwMode="gray">
              <a:xfrm>
                <a:off x="4321" y="1029"/>
                <a:ext cx="648" cy="649"/>
              </a:xfrm>
              <a:custGeom>
                <a:avLst/>
                <a:gdLst>
                  <a:gd name="T0" fmla="*/ 0 w 648"/>
                  <a:gd name="T1" fmla="*/ 649 h 649"/>
                  <a:gd name="T2" fmla="*/ 2 w 648"/>
                  <a:gd name="T3" fmla="*/ 649 h 649"/>
                  <a:gd name="T4" fmla="*/ 648 w 648"/>
                  <a:gd name="T5" fmla="*/ 0 h 649"/>
                  <a:gd name="T6" fmla="*/ 423 w 648"/>
                  <a:gd name="T7" fmla="*/ 0 h 649"/>
                  <a:gd name="T8" fmla="*/ 0 w 648"/>
                  <a:gd name="T9" fmla="*/ 649 h 649"/>
                </a:gdLst>
                <a:ahLst/>
                <a:cxnLst>
                  <a:cxn ang="0">
                    <a:pos x="T0" y="T1"/>
                  </a:cxn>
                  <a:cxn ang="0">
                    <a:pos x="T2" y="T3"/>
                  </a:cxn>
                  <a:cxn ang="0">
                    <a:pos x="T4" y="T5"/>
                  </a:cxn>
                  <a:cxn ang="0">
                    <a:pos x="T6" y="T7"/>
                  </a:cxn>
                  <a:cxn ang="0">
                    <a:pos x="T8" y="T9"/>
                  </a:cxn>
                </a:cxnLst>
                <a:rect l="0" t="0" r="r" b="b"/>
                <a:pathLst>
                  <a:path w="648" h="649">
                    <a:moveTo>
                      <a:pt x="0" y="649"/>
                    </a:moveTo>
                    <a:lnTo>
                      <a:pt x="2" y="649"/>
                    </a:lnTo>
                    <a:lnTo>
                      <a:pt x="648" y="0"/>
                    </a:lnTo>
                    <a:lnTo>
                      <a:pt x="423" y="0"/>
                    </a:lnTo>
                    <a:lnTo>
                      <a:pt x="0" y="64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grpSp>
      </p:grpSp>
      <p:sp>
        <p:nvSpPr>
          <p:cNvPr id="7" name="Date Placeholder 6"/>
          <p:cNvSpPr>
            <a:spLocks noGrp="1"/>
          </p:cNvSpPr>
          <p:nvPr>
            <p:ph type="dt" sz="half" idx="10"/>
          </p:nvPr>
        </p:nvSpPr>
        <p:spPr>
          <a:xfrm>
            <a:off x="0" y="0"/>
            <a:ext cx="0" cy="0"/>
          </a:xfrm>
          <a:prstGeom prst="rect">
            <a:avLst/>
          </a:prstGeom>
        </p:spPr>
        <p:txBody>
          <a:bodyPr/>
          <a:lstStyle>
            <a:lvl1pPr>
              <a:defRPr sz="100">
                <a:noFill/>
              </a:defRPr>
            </a:lvl1pPr>
          </a:lstStyle>
          <a:p>
            <a:fld id="{D6D08F88-38D2-4786-82D6-89211B05083D}" type="datetime5">
              <a:rPr lang="en-US" smtClean="0"/>
              <a:t>26-Jun-20</a:t>
            </a:fld>
            <a:endParaRPr lang="en-US"/>
          </a:p>
        </p:txBody>
      </p:sp>
      <p:sp>
        <p:nvSpPr>
          <p:cNvPr id="8" name="Footer Placeholder 7"/>
          <p:cNvSpPr>
            <a:spLocks noGrp="1"/>
          </p:cNvSpPr>
          <p:nvPr>
            <p:ph type="ftr" sz="quarter" idx="11"/>
          </p:nvPr>
        </p:nvSpPr>
        <p:spPr>
          <a:xfrm>
            <a:off x="0" y="0"/>
            <a:ext cx="0" cy="0"/>
          </a:xfrm>
          <a:prstGeom prst="rect">
            <a:avLst/>
          </a:prstGeom>
        </p:spPr>
        <p:txBody>
          <a:bodyPr/>
          <a:lstStyle>
            <a:lvl1pPr marL="0" indent="0">
              <a:buNone/>
              <a:defRPr sz="100">
                <a:noFill/>
              </a:defRPr>
            </a:lvl1pPr>
          </a:lstStyle>
          <a:p>
            <a:r>
              <a:rPr lang="en-US"/>
              <a:t>Title of presentation (Insert / Header &amp; Footer / Apply to All)</a:t>
            </a:r>
          </a:p>
        </p:txBody>
      </p:sp>
      <p:sp>
        <p:nvSpPr>
          <p:cNvPr id="9" name="Slide Number Placeholder 8"/>
          <p:cNvSpPr>
            <a:spLocks noGrp="1"/>
          </p:cNvSpPr>
          <p:nvPr>
            <p:ph type="sldNum" sz="quarter" idx="12"/>
          </p:nvPr>
        </p:nvSpPr>
        <p:spPr>
          <a:xfrm>
            <a:off x="0" y="0"/>
            <a:ext cx="0" cy="0"/>
          </a:xfrm>
          <a:prstGeom prst="rect">
            <a:avLst/>
          </a:prstGeom>
        </p:spPr>
        <p:txBody>
          <a:bodyPr/>
          <a:lstStyle>
            <a:lvl1pPr>
              <a:defRPr sz="100">
                <a:noFill/>
              </a:defRPr>
            </a:lvl1pPr>
          </a:lstStyle>
          <a:p>
            <a:fld id="{8E3B25F7-8D1F-44B5-B485-EE3C438CFD7B}" type="slidenum">
              <a:rPr lang="en-US" smtClean="0"/>
              <a:pPr/>
              <a:t>‹#›</a:t>
            </a:fld>
            <a:endParaRPr lang="en-US"/>
          </a:p>
        </p:txBody>
      </p:sp>
      <p:sp>
        <p:nvSpPr>
          <p:cNvPr id="2" name="Title 1"/>
          <p:cNvSpPr>
            <a:spLocks noGrp="1"/>
          </p:cNvSpPr>
          <p:nvPr>
            <p:ph type="ctrTitle" hasCustomPrompt="1"/>
          </p:nvPr>
        </p:nvSpPr>
        <p:spPr>
          <a:xfrm>
            <a:off x="417600" y="1628775"/>
            <a:ext cx="3816000" cy="2236264"/>
          </a:xfrm>
        </p:spPr>
        <p:txBody>
          <a:bodyPr anchor="b"/>
          <a:lstStyle>
            <a:lvl1pPr algn="l">
              <a:defRPr sz="3600"/>
            </a:lvl1pPr>
          </a:lstStyle>
          <a:p>
            <a:r>
              <a:rPr lang="en-US"/>
              <a:t>Click to add presentation title</a:t>
            </a:r>
          </a:p>
        </p:txBody>
      </p:sp>
      <p:sp>
        <p:nvSpPr>
          <p:cNvPr id="3" name="Subtitle 2"/>
          <p:cNvSpPr>
            <a:spLocks noGrp="1"/>
          </p:cNvSpPr>
          <p:nvPr>
            <p:ph type="subTitle" idx="1" hasCustomPrompt="1"/>
          </p:nvPr>
        </p:nvSpPr>
        <p:spPr>
          <a:xfrm>
            <a:off x="417600" y="4094163"/>
            <a:ext cx="3816000" cy="1080000"/>
          </a:xfrm>
        </p:spPr>
        <p:txBody>
          <a:bodyPr/>
          <a:lstStyle>
            <a:lvl1pPr marL="0" indent="0" algn="l">
              <a:spcBef>
                <a:spcPts val="0"/>
              </a:spcBef>
              <a:buNone/>
              <a:defRPr sz="1800" b="1"/>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sp>
        <p:nvSpPr>
          <p:cNvPr id="31" name="Text Placeholder 30"/>
          <p:cNvSpPr>
            <a:spLocks noGrp="1"/>
          </p:cNvSpPr>
          <p:nvPr>
            <p:ph type="body" sz="quarter" idx="14" hasCustomPrompt="1"/>
          </p:nvPr>
        </p:nvSpPr>
        <p:spPr>
          <a:xfrm>
            <a:off x="417600" y="5393268"/>
            <a:ext cx="3816000" cy="296332"/>
          </a:xfrm>
        </p:spPr>
        <p:txBody>
          <a:bodyPr wrap="none"/>
          <a:lstStyle>
            <a:lvl1pPr marL="0" indent="0">
              <a:spcBef>
                <a:spcPts val="0"/>
              </a:spcBef>
              <a:buNone/>
              <a:defRPr sz="1200"/>
            </a:lvl1pPr>
            <a:lvl2pPr marL="0" indent="0">
              <a:buNone/>
              <a:defRPr sz="1200"/>
            </a:lvl2pPr>
            <a:lvl3pPr marL="0" indent="0">
              <a:buNone/>
              <a:defRPr sz="1200"/>
            </a:lvl3pPr>
            <a:lvl4pPr marL="0">
              <a:buNone/>
              <a:defRPr sz="1200"/>
            </a:lvl4pPr>
            <a:lvl5pPr marL="0" indent="0">
              <a:buNone/>
              <a:defRPr sz="1200"/>
            </a:lvl5pPr>
          </a:lstStyle>
          <a:p>
            <a:pPr lvl="0"/>
            <a:r>
              <a:rPr lang="en-US"/>
              <a:t>Name</a:t>
            </a:r>
          </a:p>
        </p:txBody>
      </p:sp>
      <p:sp>
        <p:nvSpPr>
          <p:cNvPr id="34" name="Text Placeholder 30"/>
          <p:cNvSpPr>
            <a:spLocks noGrp="1"/>
          </p:cNvSpPr>
          <p:nvPr>
            <p:ph type="body" sz="quarter" idx="15" hasCustomPrompt="1"/>
          </p:nvPr>
        </p:nvSpPr>
        <p:spPr>
          <a:xfrm>
            <a:off x="417600" y="5691446"/>
            <a:ext cx="3816000" cy="296332"/>
          </a:xfrm>
        </p:spPr>
        <p:txBody>
          <a:bodyPr wrap="none"/>
          <a:lstStyle>
            <a:lvl1pPr marL="0" indent="0">
              <a:spcBef>
                <a:spcPts val="0"/>
              </a:spcBef>
              <a:buNone/>
              <a:defRPr sz="1200"/>
            </a:lvl1pPr>
            <a:lvl2pPr marL="0" indent="0">
              <a:buNone/>
              <a:defRPr sz="1200"/>
            </a:lvl2pPr>
            <a:lvl3pPr marL="0" indent="0">
              <a:buNone/>
              <a:defRPr sz="1200"/>
            </a:lvl3pPr>
            <a:lvl4pPr marL="0">
              <a:buNone/>
              <a:defRPr sz="1200"/>
            </a:lvl4pPr>
            <a:lvl5pPr marL="0" indent="0">
              <a:buNone/>
              <a:defRPr sz="1200"/>
            </a:lvl5pPr>
          </a:lstStyle>
          <a:p>
            <a:pPr lvl="0"/>
            <a:r>
              <a:rPr lang="en-US"/>
              <a:t>Department</a:t>
            </a:r>
          </a:p>
        </p:txBody>
      </p:sp>
    </p:spTree>
    <p:extLst>
      <p:ext uri="{BB962C8B-B14F-4D97-AF65-F5344CB8AC3E}">
        <p14:creationId xmlns:p14="http://schemas.microsoft.com/office/powerpoint/2010/main" val="2233787431"/>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Divider 1">
    <p:spTree>
      <p:nvGrpSpPr>
        <p:cNvPr id="1" name=""/>
        <p:cNvGrpSpPr/>
        <p:nvPr/>
      </p:nvGrpSpPr>
      <p:grpSpPr>
        <a:xfrm>
          <a:off x="0" y="0"/>
          <a:ext cx="0" cy="0"/>
          <a:chOff x="0" y="0"/>
          <a:chExt cx="0" cy="0"/>
        </a:xfrm>
      </p:grpSpPr>
      <p:sp>
        <p:nvSpPr>
          <p:cNvPr id="12" name="Picture Placeholder 11"/>
          <p:cNvSpPr>
            <a:spLocks noGrp="1"/>
          </p:cNvSpPr>
          <p:nvPr>
            <p:ph type="pic" sz="quarter" idx="17" hasCustomPrompt="1"/>
          </p:nvPr>
        </p:nvSpPr>
        <p:spPr>
          <a:xfrm>
            <a:off x="-1" y="0"/>
            <a:ext cx="8822478" cy="6858000"/>
          </a:xfrm>
          <a:custGeom>
            <a:avLst/>
            <a:gdLst>
              <a:gd name="connsiteX0" fmla="*/ 0 w 8822478"/>
              <a:gd name="connsiteY0" fmla="*/ 0 h 6858000"/>
              <a:gd name="connsiteX1" fmla="*/ 8477306 w 8822478"/>
              <a:gd name="connsiteY1" fmla="*/ 0 h 6858000"/>
              <a:gd name="connsiteX2" fmla="*/ 6998505 w 8822478"/>
              <a:gd name="connsiteY2" fmla="*/ 3834029 h 6858000"/>
              <a:gd name="connsiteX3" fmla="*/ 8822478 w 8822478"/>
              <a:gd name="connsiteY3" fmla="*/ 6858000 h 6858000"/>
              <a:gd name="connsiteX4" fmla="*/ 0 w 8822478"/>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22478" h="6858000">
                <a:moveTo>
                  <a:pt x="0" y="0"/>
                </a:moveTo>
                <a:lnTo>
                  <a:pt x="8477306" y="0"/>
                </a:lnTo>
                <a:lnTo>
                  <a:pt x="6998505" y="3834029"/>
                </a:lnTo>
                <a:lnTo>
                  <a:pt x="8822478" y="6858000"/>
                </a:lnTo>
                <a:lnTo>
                  <a:pt x="0" y="6858000"/>
                </a:lnTo>
                <a:close/>
              </a:path>
            </a:pathLst>
          </a:custGeom>
          <a:solidFill>
            <a:srgbClr val="D9DADB"/>
          </a:solidFill>
        </p:spPr>
        <p:txBody>
          <a:bodyPr wrap="square">
            <a:noAutofit/>
          </a:bodyPr>
          <a:lstStyle>
            <a:lvl1pPr marL="0" indent="0">
              <a:buNone/>
              <a:defRPr/>
            </a:lvl1pPr>
          </a:lstStyle>
          <a:p>
            <a:r>
              <a:rPr lang="en-US"/>
              <a:t>Insert picture</a:t>
            </a:r>
          </a:p>
        </p:txBody>
      </p:sp>
      <p:sp>
        <p:nvSpPr>
          <p:cNvPr id="21" name="Date Placeholder 20"/>
          <p:cNvSpPr>
            <a:spLocks noGrp="1"/>
          </p:cNvSpPr>
          <p:nvPr>
            <p:ph type="dt" sz="half" idx="14"/>
          </p:nvPr>
        </p:nvSpPr>
        <p:spPr/>
        <p:txBody>
          <a:bodyPr/>
          <a:lstStyle>
            <a:lvl1pPr>
              <a:defRPr>
                <a:solidFill>
                  <a:schemeClr val="bg1"/>
                </a:solidFill>
              </a:defRPr>
            </a:lvl1pPr>
          </a:lstStyle>
          <a:p>
            <a:fld id="{4A274CF1-226C-4201-826C-EA56EA2B3C12}" type="datetime5">
              <a:rPr lang="en-US" smtClean="0"/>
              <a:t>26-Jun-20</a:t>
            </a:fld>
            <a:endParaRPr lang="en-US"/>
          </a:p>
        </p:txBody>
      </p:sp>
      <p:sp>
        <p:nvSpPr>
          <p:cNvPr id="22" name="Footer Placeholder 21"/>
          <p:cNvSpPr>
            <a:spLocks noGrp="1"/>
          </p:cNvSpPr>
          <p:nvPr>
            <p:ph type="ftr" sz="quarter" idx="15"/>
          </p:nvPr>
        </p:nvSpPr>
        <p:spPr/>
        <p:txBody>
          <a:bodyPr/>
          <a:lstStyle>
            <a:lvl1pPr>
              <a:defRPr>
                <a:solidFill>
                  <a:schemeClr val="bg1"/>
                </a:solidFill>
              </a:defRPr>
            </a:lvl1pPr>
          </a:lstStyle>
          <a:p>
            <a:r>
              <a:rPr lang="en-US"/>
              <a:t>Title of presentation (Insert / Header &amp; Footer / Apply to All)</a:t>
            </a:r>
          </a:p>
        </p:txBody>
      </p:sp>
      <p:sp>
        <p:nvSpPr>
          <p:cNvPr id="23" name="Slide Number Placeholder 22"/>
          <p:cNvSpPr>
            <a:spLocks noGrp="1"/>
          </p:cNvSpPr>
          <p:nvPr>
            <p:ph type="sldNum" sz="quarter" idx="16"/>
          </p:nvPr>
        </p:nvSpPr>
        <p:spPr/>
        <p:txBody>
          <a:bodyPr/>
          <a:lstStyle>
            <a:lvl1pPr>
              <a:defRPr>
                <a:solidFill>
                  <a:schemeClr val="tx1"/>
                </a:solidFill>
              </a:defRPr>
            </a:lvl1pPr>
          </a:lstStyle>
          <a:p>
            <a:fld id="{5F3E29E4-0979-4FCA-B4C5-5FC6044C982A}" type="slidenum">
              <a:rPr lang="en-US" smtClean="0"/>
              <a:pPr/>
              <a:t>‹#›</a:t>
            </a:fld>
            <a:endParaRPr lang="en-US"/>
          </a:p>
        </p:txBody>
      </p:sp>
      <p:sp>
        <p:nvSpPr>
          <p:cNvPr id="2" name="Title 1"/>
          <p:cNvSpPr>
            <a:spLocks noGrp="1"/>
          </p:cNvSpPr>
          <p:nvPr>
            <p:ph type="title" hasCustomPrompt="1"/>
          </p:nvPr>
        </p:nvSpPr>
        <p:spPr>
          <a:xfrm>
            <a:off x="7737533" y="2908628"/>
            <a:ext cx="4082992" cy="2103640"/>
          </a:xfrm>
        </p:spPr>
        <p:txBody>
          <a:bodyPr/>
          <a:lstStyle>
            <a:lvl1pPr>
              <a:defRPr>
                <a:solidFill>
                  <a:schemeClr val="tx1"/>
                </a:solidFill>
              </a:defRPr>
            </a:lvl1pPr>
          </a:lstStyle>
          <a:p>
            <a:r>
              <a:rPr lang="en-US"/>
              <a:t>Click to add section title</a:t>
            </a:r>
          </a:p>
        </p:txBody>
      </p:sp>
    </p:spTree>
    <p:extLst>
      <p:ext uri="{BB962C8B-B14F-4D97-AF65-F5344CB8AC3E}">
        <p14:creationId xmlns:p14="http://schemas.microsoft.com/office/powerpoint/2010/main" val="2718846379"/>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Divider 2">
    <p:spTree>
      <p:nvGrpSpPr>
        <p:cNvPr id="1" name=""/>
        <p:cNvGrpSpPr/>
        <p:nvPr/>
      </p:nvGrpSpPr>
      <p:grpSpPr>
        <a:xfrm>
          <a:off x="0" y="0"/>
          <a:ext cx="0" cy="0"/>
          <a:chOff x="0" y="0"/>
          <a:chExt cx="0" cy="0"/>
        </a:xfrm>
      </p:grpSpPr>
      <p:sp>
        <p:nvSpPr>
          <p:cNvPr id="4" name="shp2"/>
          <p:cNvSpPr/>
          <p:nvPr/>
        </p:nvSpPr>
        <p:spPr>
          <a:xfrm>
            <a:off x="0" y="0"/>
            <a:ext cx="121932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a:p>
        </p:txBody>
      </p:sp>
      <p:sp>
        <p:nvSpPr>
          <p:cNvPr id="21" name="Date Placeholder 20"/>
          <p:cNvSpPr>
            <a:spLocks noGrp="1"/>
          </p:cNvSpPr>
          <p:nvPr>
            <p:ph type="dt" sz="half" idx="14"/>
          </p:nvPr>
        </p:nvSpPr>
        <p:spPr bwMode="ltGray"/>
        <p:txBody>
          <a:bodyPr/>
          <a:lstStyle>
            <a:lvl1pPr>
              <a:defRPr>
                <a:solidFill>
                  <a:schemeClr val="bg1"/>
                </a:solidFill>
              </a:defRPr>
            </a:lvl1pPr>
          </a:lstStyle>
          <a:p>
            <a:fld id="{3869822F-F9F4-4987-AC88-332F892BB2CC}" type="datetime5">
              <a:rPr lang="en-US" smtClean="0"/>
              <a:t>26-Jun-20</a:t>
            </a:fld>
            <a:endParaRPr lang="en-US"/>
          </a:p>
        </p:txBody>
      </p:sp>
      <p:sp>
        <p:nvSpPr>
          <p:cNvPr id="22" name="Footer Placeholder 21"/>
          <p:cNvSpPr>
            <a:spLocks noGrp="1"/>
          </p:cNvSpPr>
          <p:nvPr>
            <p:ph type="ftr" sz="quarter" idx="15"/>
          </p:nvPr>
        </p:nvSpPr>
        <p:spPr bwMode="ltGray"/>
        <p:txBody>
          <a:bodyPr/>
          <a:lstStyle>
            <a:lvl1pPr>
              <a:defRPr>
                <a:solidFill>
                  <a:schemeClr val="bg1"/>
                </a:solidFill>
              </a:defRPr>
            </a:lvl1pPr>
          </a:lstStyle>
          <a:p>
            <a:r>
              <a:rPr lang="en-US"/>
              <a:t>Title of presentation (Insert / Header &amp; Footer / Apply to All)</a:t>
            </a:r>
          </a:p>
        </p:txBody>
      </p:sp>
      <p:sp>
        <p:nvSpPr>
          <p:cNvPr id="23" name="Slide Number Placeholder 22"/>
          <p:cNvSpPr>
            <a:spLocks noGrp="1"/>
          </p:cNvSpPr>
          <p:nvPr>
            <p:ph type="sldNum" sz="quarter" idx="16"/>
          </p:nvPr>
        </p:nvSpPr>
        <p:spPr bwMode="ltGray"/>
        <p:txBody>
          <a:bodyPr/>
          <a:lstStyle>
            <a:lvl1pPr>
              <a:defRPr>
                <a:solidFill>
                  <a:schemeClr val="bg1"/>
                </a:solidFill>
              </a:defRPr>
            </a:lvl1pPr>
          </a:lstStyle>
          <a:p>
            <a:fld id="{5F3E29E4-0979-4FCA-B4C5-5FC6044C982A}" type="slidenum">
              <a:rPr lang="en-US" smtClean="0"/>
              <a:pPr/>
              <a:t>‹#›</a:t>
            </a:fld>
            <a:endParaRPr lang="en-US"/>
          </a:p>
        </p:txBody>
      </p:sp>
      <p:sp>
        <p:nvSpPr>
          <p:cNvPr id="8" name="copyright"/>
          <p:cNvSpPr txBox="1"/>
          <p:nvPr/>
        </p:nvSpPr>
        <p:spPr>
          <a:xfrm>
            <a:off x="10672209" y="6237288"/>
            <a:ext cx="500617" cy="358173"/>
          </a:xfrm>
          <a:prstGeom prst="rect">
            <a:avLst/>
          </a:prstGeom>
          <a:noFill/>
        </p:spPr>
        <p:txBody>
          <a:bodyPr wrap="none" lIns="0" tIns="0" rIns="0" bIns="0" rtlCol="0" anchor="b" anchorCtr="0">
            <a:noAutofit/>
          </a:bodyPr>
          <a:lstStyle/>
          <a:p>
            <a:pPr marL="0" indent="0" algn="r">
              <a:lnSpc>
                <a:spcPct val="125000"/>
              </a:lnSpc>
              <a:buClr>
                <a:schemeClr val="tx2"/>
              </a:buClr>
              <a:buFont typeface="Wingdings" panose="05000000000000000000" pitchFamily="2" charset="2"/>
              <a:buNone/>
            </a:pPr>
            <a:r>
              <a:rPr lang="en-US" sz="800">
                <a:solidFill>
                  <a:schemeClr val="bg1"/>
                </a:solidFill>
              </a:rPr>
              <a:t>© GfK</a:t>
            </a:r>
          </a:p>
        </p:txBody>
      </p:sp>
      <p:sp>
        <p:nvSpPr>
          <p:cNvPr id="2" name="Title 1"/>
          <p:cNvSpPr>
            <a:spLocks noGrp="1"/>
          </p:cNvSpPr>
          <p:nvPr>
            <p:ph type="title" hasCustomPrompt="1"/>
          </p:nvPr>
        </p:nvSpPr>
        <p:spPr bwMode="ltGray">
          <a:xfrm>
            <a:off x="1075062" y="1519552"/>
            <a:ext cx="10097763" cy="2273171"/>
          </a:xfrm>
        </p:spPr>
        <p:txBody>
          <a:bodyPr/>
          <a:lstStyle>
            <a:lvl1pPr>
              <a:defRPr>
                <a:solidFill>
                  <a:schemeClr val="bg1"/>
                </a:solidFill>
              </a:defRPr>
            </a:lvl1pPr>
          </a:lstStyle>
          <a:p>
            <a:r>
              <a:rPr lang="en-US"/>
              <a:t>Click to add section title</a:t>
            </a:r>
          </a:p>
        </p:txBody>
      </p:sp>
      <p:grpSp>
        <p:nvGrpSpPr>
          <p:cNvPr id="9" name="logo">
            <a:extLst>
              <a:ext uri="{FF2B5EF4-FFF2-40B4-BE49-F238E27FC236}">
                <a16:creationId xmlns:a16="http://schemas.microsoft.com/office/drawing/2014/main" id="{57BD2C4C-DC67-B843-B26C-309622FC75F7}"/>
              </a:ext>
            </a:extLst>
          </p:cNvPr>
          <p:cNvGrpSpPr>
            <a:grpSpLocks noChangeAspect="1"/>
          </p:cNvGrpSpPr>
          <p:nvPr/>
        </p:nvGrpSpPr>
        <p:grpSpPr bwMode="gray">
          <a:xfrm>
            <a:off x="11174018" y="401441"/>
            <a:ext cx="644225" cy="646507"/>
            <a:chOff x="2711" y="1027"/>
            <a:chExt cx="2258" cy="2266"/>
          </a:xfrm>
        </p:grpSpPr>
        <p:sp>
          <p:nvSpPr>
            <p:cNvPr id="11" name="AutoShape 3">
              <a:extLst>
                <a:ext uri="{FF2B5EF4-FFF2-40B4-BE49-F238E27FC236}">
                  <a16:creationId xmlns:a16="http://schemas.microsoft.com/office/drawing/2014/main" id="{FE1DC41B-291E-574C-9F2C-874E70A40758}"/>
                </a:ext>
              </a:extLst>
            </p:cNvPr>
            <p:cNvSpPr>
              <a:spLocks noChangeAspect="1" noChangeArrowheads="1" noTextEdit="1"/>
            </p:cNvSpPr>
            <p:nvPr/>
          </p:nvSpPr>
          <p:spPr bwMode="gray">
            <a:xfrm>
              <a:off x="2711" y="1027"/>
              <a:ext cx="2258" cy="22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12" name="Freeform 5">
              <a:extLst>
                <a:ext uri="{FF2B5EF4-FFF2-40B4-BE49-F238E27FC236}">
                  <a16:creationId xmlns:a16="http://schemas.microsoft.com/office/drawing/2014/main" id="{D4B633C8-F761-C54B-9BD2-EB59D49A2DBC}"/>
                </a:ext>
              </a:extLst>
            </p:cNvPr>
            <p:cNvSpPr>
              <a:spLocks/>
            </p:cNvSpPr>
            <p:nvPr/>
          </p:nvSpPr>
          <p:spPr bwMode="gray">
            <a:xfrm>
              <a:off x="2709" y="1029"/>
              <a:ext cx="2260" cy="2262"/>
            </a:xfrm>
            <a:custGeom>
              <a:avLst/>
              <a:gdLst>
                <a:gd name="T0" fmla="*/ 2260 w 2260"/>
                <a:gd name="T1" fmla="*/ 0 h 2262"/>
                <a:gd name="T2" fmla="*/ 1612 w 2260"/>
                <a:gd name="T3" fmla="*/ 649 h 2262"/>
                <a:gd name="T4" fmla="*/ 1612 w 2260"/>
                <a:gd name="T5" fmla="*/ 649 h 2262"/>
                <a:gd name="T6" fmla="*/ 2035 w 2260"/>
                <a:gd name="T7" fmla="*/ 0 h 2262"/>
                <a:gd name="T8" fmla="*/ 0 w 2260"/>
                <a:gd name="T9" fmla="*/ 0 h 2262"/>
                <a:gd name="T10" fmla="*/ 0 w 2260"/>
                <a:gd name="T11" fmla="*/ 2262 h 2262"/>
                <a:gd name="T12" fmla="*/ 2260 w 2260"/>
                <a:gd name="T13" fmla="*/ 2262 h 2262"/>
                <a:gd name="T14" fmla="*/ 2260 w 2260"/>
                <a:gd name="T15" fmla="*/ 0 h 2262"/>
                <a:gd name="T16" fmla="*/ 2260 w 2260"/>
                <a:gd name="T17" fmla="*/ 0 h 2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0" h="2262">
                  <a:moveTo>
                    <a:pt x="2260" y="0"/>
                  </a:moveTo>
                  <a:lnTo>
                    <a:pt x="1612" y="649"/>
                  </a:lnTo>
                  <a:lnTo>
                    <a:pt x="1612" y="649"/>
                  </a:lnTo>
                  <a:lnTo>
                    <a:pt x="2035" y="0"/>
                  </a:lnTo>
                  <a:lnTo>
                    <a:pt x="0" y="0"/>
                  </a:lnTo>
                  <a:lnTo>
                    <a:pt x="0" y="2262"/>
                  </a:lnTo>
                  <a:lnTo>
                    <a:pt x="2260" y="2262"/>
                  </a:lnTo>
                  <a:lnTo>
                    <a:pt x="2260" y="0"/>
                  </a:lnTo>
                  <a:lnTo>
                    <a:pt x="2260" y="0"/>
                  </a:lnTo>
                  <a:close/>
                </a:path>
              </a:pathLst>
            </a:custGeom>
            <a:solidFill>
              <a:srgbClr val="E55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13" name="Freeform 6">
              <a:extLst>
                <a:ext uri="{FF2B5EF4-FFF2-40B4-BE49-F238E27FC236}">
                  <a16:creationId xmlns:a16="http://schemas.microsoft.com/office/drawing/2014/main" id="{B16BAAE4-1A41-C843-9754-490F7A1E1270}"/>
                </a:ext>
              </a:extLst>
            </p:cNvPr>
            <p:cNvSpPr>
              <a:spLocks noEditPoints="1"/>
            </p:cNvSpPr>
            <p:nvPr/>
          </p:nvSpPr>
          <p:spPr bwMode="gray">
            <a:xfrm>
              <a:off x="3623" y="1696"/>
              <a:ext cx="1167" cy="922"/>
            </a:xfrm>
            <a:custGeom>
              <a:avLst/>
              <a:gdLst>
                <a:gd name="T0" fmla="*/ 411 w 580"/>
                <a:gd name="T1" fmla="*/ 213 h 458"/>
                <a:gd name="T2" fmla="*/ 570 w 580"/>
                <a:gd name="T3" fmla="*/ 37 h 458"/>
                <a:gd name="T4" fmla="*/ 580 w 580"/>
                <a:gd name="T5" fmla="*/ 20 h 458"/>
                <a:gd name="T6" fmla="*/ 545 w 580"/>
                <a:gd name="T7" fmla="*/ 0 h 458"/>
                <a:gd name="T8" fmla="*/ 519 w 580"/>
                <a:gd name="T9" fmla="*/ 16 h 458"/>
                <a:gd name="T10" fmla="*/ 344 w 580"/>
                <a:gd name="T11" fmla="*/ 210 h 458"/>
                <a:gd name="T12" fmla="*/ 334 w 580"/>
                <a:gd name="T13" fmla="*/ 229 h 458"/>
                <a:gd name="T14" fmla="*/ 344 w 580"/>
                <a:gd name="T15" fmla="*/ 248 h 458"/>
                <a:gd name="T16" fmla="*/ 519 w 580"/>
                <a:gd name="T17" fmla="*/ 442 h 458"/>
                <a:gd name="T18" fmla="*/ 545 w 580"/>
                <a:gd name="T19" fmla="*/ 458 h 458"/>
                <a:gd name="T20" fmla="*/ 580 w 580"/>
                <a:gd name="T21" fmla="*/ 438 h 458"/>
                <a:gd name="T22" fmla="*/ 570 w 580"/>
                <a:gd name="T23" fmla="*/ 421 h 458"/>
                <a:gd name="T24" fmla="*/ 411 w 580"/>
                <a:gd name="T25" fmla="*/ 245 h 458"/>
                <a:gd name="T26" fmla="*/ 399 w 580"/>
                <a:gd name="T27" fmla="*/ 229 h 458"/>
                <a:gd name="T28" fmla="*/ 411 w 580"/>
                <a:gd name="T29" fmla="*/ 213 h 458"/>
                <a:gd name="T30" fmla="*/ 252 w 580"/>
                <a:gd name="T31" fmla="*/ 439 h 458"/>
                <a:gd name="T32" fmla="*/ 281 w 580"/>
                <a:gd name="T33" fmla="*/ 454 h 458"/>
                <a:gd name="T34" fmla="*/ 309 w 580"/>
                <a:gd name="T35" fmla="*/ 439 h 458"/>
                <a:gd name="T36" fmla="*/ 309 w 580"/>
                <a:gd name="T37" fmla="*/ 19 h 458"/>
                <a:gd name="T38" fmla="*/ 281 w 580"/>
                <a:gd name="T39" fmla="*/ 4 h 458"/>
                <a:gd name="T40" fmla="*/ 252 w 580"/>
                <a:gd name="T41" fmla="*/ 19 h 458"/>
                <a:gd name="T42" fmla="*/ 252 w 580"/>
                <a:gd name="T43" fmla="*/ 439 h 458"/>
                <a:gd name="T44" fmla="*/ 0 w 580"/>
                <a:gd name="T45" fmla="*/ 439 h 458"/>
                <a:gd name="T46" fmla="*/ 28 w 580"/>
                <a:gd name="T47" fmla="*/ 454 h 458"/>
                <a:gd name="T48" fmla="*/ 56 w 580"/>
                <a:gd name="T49" fmla="*/ 439 h 458"/>
                <a:gd name="T50" fmla="*/ 56 w 580"/>
                <a:gd name="T51" fmla="*/ 157 h 458"/>
                <a:gd name="T52" fmla="*/ 165 w 580"/>
                <a:gd name="T53" fmla="*/ 53 h 458"/>
                <a:gd name="T54" fmla="*/ 180 w 580"/>
                <a:gd name="T55" fmla="*/ 53 h 458"/>
                <a:gd name="T56" fmla="*/ 196 w 580"/>
                <a:gd name="T57" fmla="*/ 27 h 458"/>
                <a:gd name="T58" fmla="*/ 154 w 580"/>
                <a:gd name="T59" fmla="*/ 4 h 458"/>
                <a:gd name="T60" fmla="*/ 0 w 580"/>
                <a:gd name="T61" fmla="*/ 152 h 458"/>
                <a:gd name="T62" fmla="*/ 0 w 580"/>
                <a:gd name="T63" fmla="*/ 439 h 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80" h="458">
                  <a:moveTo>
                    <a:pt x="411" y="213"/>
                  </a:moveTo>
                  <a:cubicBezTo>
                    <a:pt x="570" y="37"/>
                    <a:pt x="570" y="37"/>
                    <a:pt x="570" y="37"/>
                  </a:cubicBezTo>
                  <a:cubicBezTo>
                    <a:pt x="576" y="30"/>
                    <a:pt x="580" y="25"/>
                    <a:pt x="580" y="20"/>
                  </a:cubicBezTo>
                  <a:cubicBezTo>
                    <a:pt x="580" y="10"/>
                    <a:pt x="559" y="0"/>
                    <a:pt x="545" y="0"/>
                  </a:cubicBezTo>
                  <a:cubicBezTo>
                    <a:pt x="535" y="0"/>
                    <a:pt x="526" y="8"/>
                    <a:pt x="519" y="16"/>
                  </a:cubicBezTo>
                  <a:cubicBezTo>
                    <a:pt x="344" y="210"/>
                    <a:pt x="344" y="210"/>
                    <a:pt x="344" y="210"/>
                  </a:cubicBezTo>
                  <a:cubicBezTo>
                    <a:pt x="336" y="219"/>
                    <a:pt x="334" y="224"/>
                    <a:pt x="334" y="229"/>
                  </a:cubicBezTo>
                  <a:cubicBezTo>
                    <a:pt x="334" y="234"/>
                    <a:pt x="336" y="239"/>
                    <a:pt x="344" y="248"/>
                  </a:cubicBezTo>
                  <a:cubicBezTo>
                    <a:pt x="519" y="442"/>
                    <a:pt x="519" y="442"/>
                    <a:pt x="519" y="442"/>
                  </a:cubicBezTo>
                  <a:cubicBezTo>
                    <a:pt x="526" y="450"/>
                    <a:pt x="535" y="458"/>
                    <a:pt x="545" y="458"/>
                  </a:cubicBezTo>
                  <a:cubicBezTo>
                    <a:pt x="559" y="458"/>
                    <a:pt x="580" y="448"/>
                    <a:pt x="580" y="438"/>
                  </a:cubicBezTo>
                  <a:cubicBezTo>
                    <a:pt x="580" y="433"/>
                    <a:pt x="576" y="428"/>
                    <a:pt x="570" y="421"/>
                  </a:cubicBezTo>
                  <a:cubicBezTo>
                    <a:pt x="411" y="245"/>
                    <a:pt x="411" y="245"/>
                    <a:pt x="411" y="245"/>
                  </a:cubicBezTo>
                  <a:cubicBezTo>
                    <a:pt x="403" y="236"/>
                    <a:pt x="399" y="232"/>
                    <a:pt x="399" y="229"/>
                  </a:cubicBezTo>
                  <a:cubicBezTo>
                    <a:pt x="399" y="226"/>
                    <a:pt x="403" y="222"/>
                    <a:pt x="411" y="213"/>
                  </a:cubicBezTo>
                  <a:moveTo>
                    <a:pt x="252" y="439"/>
                  </a:moveTo>
                  <a:cubicBezTo>
                    <a:pt x="252" y="449"/>
                    <a:pt x="261" y="454"/>
                    <a:pt x="281" y="454"/>
                  </a:cubicBezTo>
                  <a:cubicBezTo>
                    <a:pt x="300" y="454"/>
                    <a:pt x="309" y="449"/>
                    <a:pt x="309" y="439"/>
                  </a:cubicBezTo>
                  <a:cubicBezTo>
                    <a:pt x="309" y="19"/>
                    <a:pt x="309" y="19"/>
                    <a:pt x="309" y="19"/>
                  </a:cubicBezTo>
                  <a:cubicBezTo>
                    <a:pt x="309" y="9"/>
                    <a:pt x="300" y="4"/>
                    <a:pt x="281" y="4"/>
                  </a:cubicBezTo>
                  <a:cubicBezTo>
                    <a:pt x="261" y="4"/>
                    <a:pt x="252" y="9"/>
                    <a:pt x="252" y="19"/>
                  </a:cubicBezTo>
                  <a:lnTo>
                    <a:pt x="252" y="439"/>
                  </a:lnTo>
                  <a:close/>
                  <a:moveTo>
                    <a:pt x="0" y="439"/>
                  </a:moveTo>
                  <a:cubicBezTo>
                    <a:pt x="0" y="449"/>
                    <a:pt x="8" y="454"/>
                    <a:pt x="28" y="454"/>
                  </a:cubicBezTo>
                  <a:cubicBezTo>
                    <a:pt x="48" y="454"/>
                    <a:pt x="56" y="449"/>
                    <a:pt x="56" y="439"/>
                  </a:cubicBezTo>
                  <a:cubicBezTo>
                    <a:pt x="56" y="157"/>
                    <a:pt x="56" y="157"/>
                    <a:pt x="56" y="157"/>
                  </a:cubicBezTo>
                  <a:cubicBezTo>
                    <a:pt x="56" y="83"/>
                    <a:pt x="85" y="53"/>
                    <a:pt x="165" y="53"/>
                  </a:cubicBezTo>
                  <a:cubicBezTo>
                    <a:pt x="180" y="53"/>
                    <a:pt x="180" y="53"/>
                    <a:pt x="180" y="53"/>
                  </a:cubicBezTo>
                  <a:cubicBezTo>
                    <a:pt x="192" y="53"/>
                    <a:pt x="196" y="43"/>
                    <a:pt x="196" y="27"/>
                  </a:cubicBezTo>
                  <a:cubicBezTo>
                    <a:pt x="196" y="8"/>
                    <a:pt x="185" y="4"/>
                    <a:pt x="154" y="4"/>
                  </a:cubicBezTo>
                  <a:cubicBezTo>
                    <a:pt x="64" y="4"/>
                    <a:pt x="0" y="43"/>
                    <a:pt x="0" y="152"/>
                  </a:cubicBezTo>
                  <a:lnTo>
                    <a:pt x="0" y="43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14" name="Freeform 7">
              <a:extLst>
                <a:ext uri="{FF2B5EF4-FFF2-40B4-BE49-F238E27FC236}">
                  <a16:creationId xmlns:a16="http://schemas.microsoft.com/office/drawing/2014/main" id="{2F32DCBD-8628-F245-85CD-97686A20ECFD}"/>
                </a:ext>
              </a:extLst>
            </p:cNvPr>
            <p:cNvSpPr>
              <a:spLocks/>
            </p:cNvSpPr>
            <p:nvPr/>
          </p:nvSpPr>
          <p:spPr bwMode="gray">
            <a:xfrm>
              <a:off x="2880" y="1704"/>
              <a:ext cx="618" cy="916"/>
            </a:xfrm>
            <a:custGeom>
              <a:avLst/>
              <a:gdLst>
                <a:gd name="T0" fmla="*/ 307 w 307"/>
                <a:gd name="T1" fmla="*/ 405 h 455"/>
                <a:gd name="T2" fmla="*/ 307 w 307"/>
                <a:gd name="T3" fmla="*/ 244 h 455"/>
                <a:gd name="T4" fmla="*/ 279 w 307"/>
                <a:gd name="T5" fmla="*/ 229 h 455"/>
                <a:gd name="T6" fmla="*/ 250 w 307"/>
                <a:gd name="T7" fmla="*/ 244 h 455"/>
                <a:gd name="T8" fmla="*/ 250 w 307"/>
                <a:gd name="T9" fmla="*/ 378 h 455"/>
                <a:gd name="T10" fmla="*/ 199 w 307"/>
                <a:gd name="T11" fmla="*/ 408 h 455"/>
                <a:gd name="T12" fmla="*/ 61 w 307"/>
                <a:gd name="T13" fmla="*/ 231 h 455"/>
                <a:gd name="T14" fmla="*/ 238 w 307"/>
                <a:gd name="T15" fmla="*/ 49 h 455"/>
                <a:gd name="T16" fmla="*/ 270 w 307"/>
                <a:gd name="T17" fmla="*/ 49 h 455"/>
                <a:gd name="T18" fmla="*/ 286 w 307"/>
                <a:gd name="T19" fmla="*/ 23 h 455"/>
                <a:gd name="T20" fmla="*/ 244 w 307"/>
                <a:gd name="T21" fmla="*/ 0 h 455"/>
                <a:gd name="T22" fmla="*/ 231 w 307"/>
                <a:gd name="T23" fmla="*/ 0 h 455"/>
                <a:gd name="T24" fmla="*/ 0 w 307"/>
                <a:gd name="T25" fmla="*/ 232 h 455"/>
                <a:gd name="T26" fmla="*/ 198 w 307"/>
                <a:gd name="T27" fmla="*/ 455 h 455"/>
                <a:gd name="T28" fmla="*/ 307 w 307"/>
                <a:gd name="T29" fmla="*/ 405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7" h="455">
                  <a:moveTo>
                    <a:pt x="307" y="405"/>
                  </a:moveTo>
                  <a:cubicBezTo>
                    <a:pt x="307" y="244"/>
                    <a:pt x="307" y="244"/>
                    <a:pt x="307" y="244"/>
                  </a:cubicBezTo>
                  <a:cubicBezTo>
                    <a:pt x="307" y="234"/>
                    <a:pt x="298" y="229"/>
                    <a:pt x="279" y="229"/>
                  </a:cubicBezTo>
                  <a:cubicBezTo>
                    <a:pt x="259" y="229"/>
                    <a:pt x="250" y="234"/>
                    <a:pt x="250" y="244"/>
                  </a:cubicBezTo>
                  <a:cubicBezTo>
                    <a:pt x="250" y="378"/>
                    <a:pt x="250" y="378"/>
                    <a:pt x="250" y="378"/>
                  </a:cubicBezTo>
                  <a:cubicBezTo>
                    <a:pt x="250" y="399"/>
                    <a:pt x="241" y="408"/>
                    <a:pt x="199" y="408"/>
                  </a:cubicBezTo>
                  <a:cubicBezTo>
                    <a:pt x="114" y="408"/>
                    <a:pt x="61" y="342"/>
                    <a:pt x="61" y="231"/>
                  </a:cubicBezTo>
                  <a:cubicBezTo>
                    <a:pt x="61" y="115"/>
                    <a:pt x="126" y="49"/>
                    <a:pt x="238" y="49"/>
                  </a:cubicBezTo>
                  <a:cubicBezTo>
                    <a:pt x="270" y="49"/>
                    <a:pt x="270" y="49"/>
                    <a:pt x="270" y="49"/>
                  </a:cubicBezTo>
                  <a:cubicBezTo>
                    <a:pt x="282" y="49"/>
                    <a:pt x="286" y="39"/>
                    <a:pt x="286" y="23"/>
                  </a:cubicBezTo>
                  <a:cubicBezTo>
                    <a:pt x="286" y="4"/>
                    <a:pt x="275" y="0"/>
                    <a:pt x="244" y="0"/>
                  </a:cubicBezTo>
                  <a:cubicBezTo>
                    <a:pt x="231" y="0"/>
                    <a:pt x="231" y="0"/>
                    <a:pt x="231" y="0"/>
                  </a:cubicBezTo>
                  <a:cubicBezTo>
                    <a:pt x="101" y="0"/>
                    <a:pt x="0" y="71"/>
                    <a:pt x="0" y="232"/>
                  </a:cubicBezTo>
                  <a:cubicBezTo>
                    <a:pt x="0" y="386"/>
                    <a:pt x="88" y="455"/>
                    <a:pt x="198" y="455"/>
                  </a:cubicBezTo>
                  <a:cubicBezTo>
                    <a:pt x="286" y="455"/>
                    <a:pt x="307" y="430"/>
                    <a:pt x="307" y="40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15" name="Oval 8">
              <a:extLst>
                <a:ext uri="{FF2B5EF4-FFF2-40B4-BE49-F238E27FC236}">
                  <a16:creationId xmlns:a16="http://schemas.microsoft.com/office/drawing/2014/main" id="{60D97C11-1A3B-5449-A48D-98A3E79B3810}"/>
                </a:ext>
              </a:extLst>
            </p:cNvPr>
            <p:cNvSpPr>
              <a:spLocks noChangeArrowheads="1"/>
            </p:cNvSpPr>
            <p:nvPr/>
          </p:nvSpPr>
          <p:spPr bwMode="gray">
            <a:xfrm>
              <a:off x="3778" y="2099"/>
              <a:ext cx="122" cy="12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16" name="Freeform 9">
              <a:extLst>
                <a:ext uri="{FF2B5EF4-FFF2-40B4-BE49-F238E27FC236}">
                  <a16:creationId xmlns:a16="http://schemas.microsoft.com/office/drawing/2014/main" id="{5856770D-B8F0-244E-A05D-AED190086F10}"/>
                </a:ext>
              </a:extLst>
            </p:cNvPr>
            <p:cNvSpPr>
              <a:spLocks noEditPoints="1"/>
            </p:cNvSpPr>
            <p:nvPr/>
          </p:nvSpPr>
          <p:spPr bwMode="gray">
            <a:xfrm>
              <a:off x="3623" y="1696"/>
              <a:ext cx="1167" cy="922"/>
            </a:xfrm>
            <a:custGeom>
              <a:avLst/>
              <a:gdLst>
                <a:gd name="T0" fmla="*/ 411 w 580"/>
                <a:gd name="T1" fmla="*/ 213 h 458"/>
                <a:gd name="T2" fmla="*/ 570 w 580"/>
                <a:gd name="T3" fmla="*/ 37 h 458"/>
                <a:gd name="T4" fmla="*/ 580 w 580"/>
                <a:gd name="T5" fmla="*/ 20 h 458"/>
                <a:gd name="T6" fmla="*/ 545 w 580"/>
                <a:gd name="T7" fmla="*/ 0 h 458"/>
                <a:gd name="T8" fmla="*/ 519 w 580"/>
                <a:gd name="T9" fmla="*/ 16 h 458"/>
                <a:gd name="T10" fmla="*/ 344 w 580"/>
                <a:gd name="T11" fmla="*/ 210 h 458"/>
                <a:gd name="T12" fmla="*/ 334 w 580"/>
                <a:gd name="T13" fmla="*/ 229 h 458"/>
                <a:gd name="T14" fmla="*/ 344 w 580"/>
                <a:gd name="T15" fmla="*/ 248 h 458"/>
                <a:gd name="T16" fmla="*/ 519 w 580"/>
                <a:gd name="T17" fmla="*/ 442 h 458"/>
                <a:gd name="T18" fmla="*/ 545 w 580"/>
                <a:gd name="T19" fmla="*/ 458 h 458"/>
                <a:gd name="T20" fmla="*/ 580 w 580"/>
                <a:gd name="T21" fmla="*/ 438 h 458"/>
                <a:gd name="T22" fmla="*/ 570 w 580"/>
                <a:gd name="T23" fmla="*/ 421 h 458"/>
                <a:gd name="T24" fmla="*/ 411 w 580"/>
                <a:gd name="T25" fmla="*/ 245 h 458"/>
                <a:gd name="T26" fmla="*/ 399 w 580"/>
                <a:gd name="T27" fmla="*/ 229 h 458"/>
                <a:gd name="T28" fmla="*/ 411 w 580"/>
                <a:gd name="T29" fmla="*/ 213 h 458"/>
                <a:gd name="T30" fmla="*/ 252 w 580"/>
                <a:gd name="T31" fmla="*/ 439 h 458"/>
                <a:gd name="T32" fmla="*/ 281 w 580"/>
                <a:gd name="T33" fmla="*/ 454 h 458"/>
                <a:gd name="T34" fmla="*/ 309 w 580"/>
                <a:gd name="T35" fmla="*/ 439 h 458"/>
                <a:gd name="T36" fmla="*/ 309 w 580"/>
                <a:gd name="T37" fmla="*/ 19 h 458"/>
                <a:gd name="T38" fmla="*/ 281 w 580"/>
                <a:gd name="T39" fmla="*/ 4 h 458"/>
                <a:gd name="T40" fmla="*/ 252 w 580"/>
                <a:gd name="T41" fmla="*/ 19 h 458"/>
                <a:gd name="T42" fmla="*/ 252 w 580"/>
                <a:gd name="T43" fmla="*/ 439 h 458"/>
                <a:gd name="T44" fmla="*/ 0 w 580"/>
                <a:gd name="T45" fmla="*/ 439 h 458"/>
                <a:gd name="T46" fmla="*/ 28 w 580"/>
                <a:gd name="T47" fmla="*/ 454 h 458"/>
                <a:gd name="T48" fmla="*/ 56 w 580"/>
                <a:gd name="T49" fmla="*/ 439 h 458"/>
                <a:gd name="T50" fmla="*/ 56 w 580"/>
                <a:gd name="T51" fmla="*/ 157 h 458"/>
                <a:gd name="T52" fmla="*/ 165 w 580"/>
                <a:gd name="T53" fmla="*/ 53 h 458"/>
                <a:gd name="T54" fmla="*/ 180 w 580"/>
                <a:gd name="T55" fmla="*/ 53 h 458"/>
                <a:gd name="T56" fmla="*/ 196 w 580"/>
                <a:gd name="T57" fmla="*/ 27 h 458"/>
                <a:gd name="T58" fmla="*/ 154 w 580"/>
                <a:gd name="T59" fmla="*/ 4 h 458"/>
                <a:gd name="T60" fmla="*/ 0 w 580"/>
                <a:gd name="T61" fmla="*/ 152 h 458"/>
                <a:gd name="T62" fmla="*/ 0 w 580"/>
                <a:gd name="T63" fmla="*/ 439 h 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80" h="458">
                  <a:moveTo>
                    <a:pt x="411" y="213"/>
                  </a:moveTo>
                  <a:cubicBezTo>
                    <a:pt x="570" y="37"/>
                    <a:pt x="570" y="37"/>
                    <a:pt x="570" y="37"/>
                  </a:cubicBezTo>
                  <a:cubicBezTo>
                    <a:pt x="576" y="30"/>
                    <a:pt x="580" y="25"/>
                    <a:pt x="580" y="20"/>
                  </a:cubicBezTo>
                  <a:cubicBezTo>
                    <a:pt x="580" y="10"/>
                    <a:pt x="559" y="0"/>
                    <a:pt x="545" y="0"/>
                  </a:cubicBezTo>
                  <a:cubicBezTo>
                    <a:pt x="535" y="0"/>
                    <a:pt x="526" y="8"/>
                    <a:pt x="519" y="16"/>
                  </a:cubicBezTo>
                  <a:cubicBezTo>
                    <a:pt x="344" y="210"/>
                    <a:pt x="344" y="210"/>
                    <a:pt x="344" y="210"/>
                  </a:cubicBezTo>
                  <a:cubicBezTo>
                    <a:pt x="336" y="219"/>
                    <a:pt x="334" y="224"/>
                    <a:pt x="334" y="229"/>
                  </a:cubicBezTo>
                  <a:cubicBezTo>
                    <a:pt x="334" y="234"/>
                    <a:pt x="336" y="239"/>
                    <a:pt x="344" y="248"/>
                  </a:cubicBezTo>
                  <a:cubicBezTo>
                    <a:pt x="519" y="442"/>
                    <a:pt x="519" y="442"/>
                    <a:pt x="519" y="442"/>
                  </a:cubicBezTo>
                  <a:cubicBezTo>
                    <a:pt x="526" y="450"/>
                    <a:pt x="535" y="458"/>
                    <a:pt x="545" y="458"/>
                  </a:cubicBezTo>
                  <a:cubicBezTo>
                    <a:pt x="559" y="458"/>
                    <a:pt x="580" y="448"/>
                    <a:pt x="580" y="438"/>
                  </a:cubicBezTo>
                  <a:cubicBezTo>
                    <a:pt x="580" y="433"/>
                    <a:pt x="576" y="428"/>
                    <a:pt x="570" y="421"/>
                  </a:cubicBezTo>
                  <a:cubicBezTo>
                    <a:pt x="411" y="245"/>
                    <a:pt x="411" y="245"/>
                    <a:pt x="411" y="245"/>
                  </a:cubicBezTo>
                  <a:cubicBezTo>
                    <a:pt x="403" y="236"/>
                    <a:pt x="399" y="232"/>
                    <a:pt x="399" y="229"/>
                  </a:cubicBezTo>
                  <a:cubicBezTo>
                    <a:pt x="399" y="226"/>
                    <a:pt x="403" y="222"/>
                    <a:pt x="411" y="213"/>
                  </a:cubicBezTo>
                  <a:moveTo>
                    <a:pt x="252" y="439"/>
                  </a:moveTo>
                  <a:cubicBezTo>
                    <a:pt x="252" y="449"/>
                    <a:pt x="261" y="454"/>
                    <a:pt x="281" y="454"/>
                  </a:cubicBezTo>
                  <a:cubicBezTo>
                    <a:pt x="300" y="454"/>
                    <a:pt x="309" y="449"/>
                    <a:pt x="309" y="439"/>
                  </a:cubicBezTo>
                  <a:cubicBezTo>
                    <a:pt x="309" y="19"/>
                    <a:pt x="309" y="19"/>
                    <a:pt x="309" y="19"/>
                  </a:cubicBezTo>
                  <a:cubicBezTo>
                    <a:pt x="309" y="9"/>
                    <a:pt x="300" y="4"/>
                    <a:pt x="281" y="4"/>
                  </a:cubicBezTo>
                  <a:cubicBezTo>
                    <a:pt x="261" y="4"/>
                    <a:pt x="252" y="9"/>
                    <a:pt x="252" y="19"/>
                  </a:cubicBezTo>
                  <a:lnTo>
                    <a:pt x="252" y="439"/>
                  </a:lnTo>
                  <a:close/>
                  <a:moveTo>
                    <a:pt x="0" y="439"/>
                  </a:moveTo>
                  <a:cubicBezTo>
                    <a:pt x="0" y="449"/>
                    <a:pt x="8" y="454"/>
                    <a:pt x="28" y="454"/>
                  </a:cubicBezTo>
                  <a:cubicBezTo>
                    <a:pt x="48" y="454"/>
                    <a:pt x="56" y="449"/>
                    <a:pt x="56" y="439"/>
                  </a:cubicBezTo>
                  <a:cubicBezTo>
                    <a:pt x="56" y="157"/>
                    <a:pt x="56" y="157"/>
                    <a:pt x="56" y="157"/>
                  </a:cubicBezTo>
                  <a:cubicBezTo>
                    <a:pt x="56" y="83"/>
                    <a:pt x="85" y="53"/>
                    <a:pt x="165" y="53"/>
                  </a:cubicBezTo>
                  <a:cubicBezTo>
                    <a:pt x="180" y="53"/>
                    <a:pt x="180" y="53"/>
                    <a:pt x="180" y="53"/>
                  </a:cubicBezTo>
                  <a:cubicBezTo>
                    <a:pt x="192" y="53"/>
                    <a:pt x="196" y="43"/>
                    <a:pt x="196" y="27"/>
                  </a:cubicBezTo>
                  <a:cubicBezTo>
                    <a:pt x="196" y="8"/>
                    <a:pt x="185" y="4"/>
                    <a:pt x="154" y="4"/>
                  </a:cubicBezTo>
                  <a:cubicBezTo>
                    <a:pt x="64" y="4"/>
                    <a:pt x="0" y="43"/>
                    <a:pt x="0" y="152"/>
                  </a:cubicBezTo>
                  <a:lnTo>
                    <a:pt x="0" y="43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17" name="Freeform 10">
              <a:extLst>
                <a:ext uri="{FF2B5EF4-FFF2-40B4-BE49-F238E27FC236}">
                  <a16:creationId xmlns:a16="http://schemas.microsoft.com/office/drawing/2014/main" id="{2B91B16B-BC11-E547-8FAC-B9B8D18EA449}"/>
                </a:ext>
              </a:extLst>
            </p:cNvPr>
            <p:cNvSpPr>
              <a:spLocks/>
            </p:cNvSpPr>
            <p:nvPr/>
          </p:nvSpPr>
          <p:spPr bwMode="gray">
            <a:xfrm>
              <a:off x="2880" y="1704"/>
              <a:ext cx="618" cy="916"/>
            </a:xfrm>
            <a:custGeom>
              <a:avLst/>
              <a:gdLst>
                <a:gd name="T0" fmla="*/ 307 w 307"/>
                <a:gd name="T1" fmla="*/ 405 h 455"/>
                <a:gd name="T2" fmla="*/ 307 w 307"/>
                <a:gd name="T3" fmla="*/ 244 h 455"/>
                <a:gd name="T4" fmla="*/ 279 w 307"/>
                <a:gd name="T5" fmla="*/ 229 h 455"/>
                <a:gd name="T6" fmla="*/ 250 w 307"/>
                <a:gd name="T7" fmla="*/ 244 h 455"/>
                <a:gd name="T8" fmla="*/ 250 w 307"/>
                <a:gd name="T9" fmla="*/ 378 h 455"/>
                <a:gd name="T10" fmla="*/ 199 w 307"/>
                <a:gd name="T11" fmla="*/ 408 h 455"/>
                <a:gd name="T12" fmla="*/ 61 w 307"/>
                <a:gd name="T13" fmla="*/ 231 h 455"/>
                <a:gd name="T14" fmla="*/ 238 w 307"/>
                <a:gd name="T15" fmla="*/ 49 h 455"/>
                <a:gd name="T16" fmla="*/ 270 w 307"/>
                <a:gd name="T17" fmla="*/ 49 h 455"/>
                <a:gd name="T18" fmla="*/ 286 w 307"/>
                <a:gd name="T19" fmla="*/ 23 h 455"/>
                <a:gd name="T20" fmla="*/ 244 w 307"/>
                <a:gd name="T21" fmla="*/ 0 h 455"/>
                <a:gd name="T22" fmla="*/ 231 w 307"/>
                <a:gd name="T23" fmla="*/ 0 h 455"/>
                <a:gd name="T24" fmla="*/ 0 w 307"/>
                <a:gd name="T25" fmla="*/ 232 h 455"/>
                <a:gd name="T26" fmla="*/ 198 w 307"/>
                <a:gd name="T27" fmla="*/ 455 h 455"/>
                <a:gd name="T28" fmla="*/ 307 w 307"/>
                <a:gd name="T29" fmla="*/ 405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7" h="455">
                  <a:moveTo>
                    <a:pt x="307" y="405"/>
                  </a:moveTo>
                  <a:cubicBezTo>
                    <a:pt x="307" y="244"/>
                    <a:pt x="307" y="244"/>
                    <a:pt x="307" y="244"/>
                  </a:cubicBezTo>
                  <a:cubicBezTo>
                    <a:pt x="307" y="234"/>
                    <a:pt x="298" y="229"/>
                    <a:pt x="279" y="229"/>
                  </a:cubicBezTo>
                  <a:cubicBezTo>
                    <a:pt x="259" y="229"/>
                    <a:pt x="250" y="234"/>
                    <a:pt x="250" y="244"/>
                  </a:cubicBezTo>
                  <a:cubicBezTo>
                    <a:pt x="250" y="378"/>
                    <a:pt x="250" y="378"/>
                    <a:pt x="250" y="378"/>
                  </a:cubicBezTo>
                  <a:cubicBezTo>
                    <a:pt x="250" y="399"/>
                    <a:pt x="241" y="408"/>
                    <a:pt x="199" y="408"/>
                  </a:cubicBezTo>
                  <a:cubicBezTo>
                    <a:pt x="114" y="408"/>
                    <a:pt x="61" y="342"/>
                    <a:pt x="61" y="231"/>
                  </a:cubicBezTo>
                  <a:cubicBezTo>
                    <a:pt x="61" y="115"/>
                    <a:pt x="126" y="49"/>
                    <a:pt x="238" y="49"/>
                  </a:cubicBezTo>
                  <a:cubicBezTo>
                    <a:pt x="270" y="49"/>
                    <a:pt x="270" y="49"/>
                    <a:pt x="270" y="49"/>
                  </a:cubicBezTo>
                  <a:cubicBezTo>
                    <a:pt x="282" y="49"/>
                    <a:pt x="286" y="39"/>
                    <a:pt x="286" y="23"/>
                  </a:cubicBezTo>
                  <a:cubicBezTo>
                    <a:pt x="286" y="4"/>
                    <a:pt x="275" y="0"/>
                    <a:pt x="244" y="0"/>
                  </a:cubicBezTo>
                  <a:cubicBezTo>
                    <a:pt x="231" y="0"/>
                    <a:pt x="231" y="0"/>
                    <a:pt x="231" y="0"/>
                  </a:cubicBezTo>
                  <a:cubicBezTo>
                    <a:pt x="101" y="0"/>
                    <a:pt x="0" y="71"/>
                    <a:pt x="0" y="232"/>
                  </a:cubicBezTo>
                  <a:cubicBezTo>
                    <a:pt x="0" y="386"/>
                    <a:pt x="88" y="455"/>
                    <a:pt x="198" y="455"/>
                  </a:cubicBezTo>
                  <a:cubicBezTo>
                    <a:pt x="286" y="455"/>
                    <a:pt x="307" y="430"/>
                    <a:pt x="307" y="40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18" name="Oval 11">
              <a:extLst>
                <a:ext uri="{FF2B5EF4-FFF2-40B4-BE49-F238E27FC236}">
                  <a16:creationId xmlns:a16="http://schemas.microsoft.com/office/drawing/2014/main" id="{14F8C3C8-4888-7646-B9B4-64EB46A1DA23}"/>
                </a:ext>
              </a:extLst>
            </p:cNvPr>
            <p:cNvSpPr>
              <a:spLocks noChangeArrowheads="1"/>
            </p:cNvSpPr>
            <p:nvPr/>
          </p:nvSpPr>
          <p:spPr bwMode="gray">
            <a:xfrm>
              <a:off x="3778" y="2099"/>
              <a:ext cx="122" cy="12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19" name="Freeform 12">
              <a:extLst>
                <a:ext uri="{FF2B5EF4-FFF2-40B4-BE49-F238E27FC236}">
                  <a16:creationId xmlns:a16="http://schemas.microsoft.com/office/drawing/2014/main" id="{D79D01D1-4E3E-F34B-97D7-2D387E68746E}"/>
                </a:ext>
              </a:extLst>
            </p:cNvPr>
            <p:cNvSpPr>
              <a:spLocks/>
            </p:cNvSpPr>
            <p:nvPr/>
          </p:nvSpPr>
          <p:spPr bwMode="gray">
            <a:xfrm>
              <a:off x="4321" y="1029"/>
              <a:ext cx="648" cy="649"/>
            </a:xfrm>
            <a:custGeom>
              <a:avLst/>
              <a:gdLst>
                <a:gd name="T0" fmla="*/ 0 w 648"/>
                <a:gd name="T1" fmla="*/ 649 h 649"/>
                <a:gd name="T2" fmla="*/ 2 w 648"/>
                <a:gd name="T3" fmla="*/ 649 h 649"/>
                <a:gd name="T4" fmla="*/ 648 w 648"/>
                <a:gd name="T5" fmla="*/ 0 h 649"/>
                <a:gd name="T6" fmla="*/ 423 w 648"/>
                <a:gd name="T7" fmla="*/ 0 h 649"/>
                <a:gd name="T8" fmla="*/ 0 w 648"/>
                <a:gd name="T9" fmla="*/ 649 h 649"/>
              </a:gdLst>
              <a:ahLst/>
              <a:cxnLst>
                <a:cxn ang="0">
                  <a:pos x="T0" y="T1"/>
                </a:cxn>
                <a:cxn ang="0">
                  <a:pos x="T2" y="T3"/>
                </a:cxn>
                <a:cxn ang="0">
                  <a:pos x="T4" y="T5"/>
                </a:cxn>
                <a:cxn ang="0">
                  <a:pos x="T6" y="T7"/>
                </a:cxn>
                <a:cxn ang="0">
                  <a:pos x="T8" y="T9"/>
                </a:cxn>
              </a:cxnLst>
              <a:rect l="0" t="0" r="r" b="b"/>
              <a:pathLst>
                <a:path w="648" h="649">
                  <a:moveTo>
                    <a:pt x="0" y="649"/>
                  </a:moveTo>
                  <a:lnTo>
                    <a:pt x="2" y="649"/>
                  </a:lnTo>
                  <a:lnTo>
                    <a:pt x="648" y="0"/>
                  </a:lnTo>
                  <a:lnTo>
                    <a:pt x="423" y="0"/>
                  </a:lnTo>
                  <a:lnTo>
                    <a:pt x="0" y="64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20" name="Freeform 13">
              <a:extLst>
                <a:ext uri="{FF2B5EF4-FFF2-40B4-BE49-F238E27FC236}">
                  <a16:creationId xmlns:a16="http://schemas.microsoft.com/office/drawing/2014/main" id="{46549898-6C52-B147-A8F6-A73FDBE6163B}"/>
                </a:ext>
              </a:extLst>
            </p:cNvPr>
            <p:cNvSpPr>
              <a:spLocks/>
            </p:cNvSpPr>
            <p:nvPr/>
          </p:nvSpPr>
          <p:spPr bwMode="gray">
            <a:xfrm>
              <a:off x="4321" y="1029"/>
              <a:ext cx="648" cy="649"/>
            </a:xfrm>
            <a:custGeom>
              <a:avLst/>
              <a:gdLst>
                <a:gd name="T0" fmla="*/ 0 w 648"/>
                <a:gd name="T1" fmla="*/ 649 h 649"/>
                <a:gd name="T2" fmla="*/ 2 w 648"/>
                <a:gd name="T3" fmla="*/ 649 h 649"/>
                <a:gd name="T4" fmla="*/ 648 w 648"/>
                <a:gd name="T5" fmla="*/ 0 h 649"/>
                <a:gd name="T6" fmla="*/ 423 w 648"/>
                <a:gd name="T7" fmla="*/ 0 h 649"/>
                <a:gd name="T8" fmla="*/ 0 w 648"/>
                <a:gd name="T9" fmla="*/ 649 h 649"/>
              </a:gdLst>
              <a:ahLst/>
              <a:cxnLst>
                <a:cxn ang="0">
                  <a:pos x="T0" y="T1"/>
                </a:cxn>
                <a:cxn ang="0">
                  <a:pos x="T2" y="T3"/>
                </a:cxn>
                <a:cxn ang="0">
                  <a:pos x="T4" y="T5"/>
                </a:cxn>
                <a:cxn ang="0">
                  <a:pos x="T6" y="T7"/>
                </a:cxn>
                <a:cxn ang="0">
                  <a:pos x="T8" y="T9"/>
                </a:cxn>
              </a:cxnLst>
              <a:rect l="0" t="0" r="r" b="b"/>
              <a:pathLst>
                <a:path w="648" h="649">
                  <a:moveTo>
                    <a:pt x="0" y="649"/>
                  </a:moveTo>
                  <a:lnTo>
                    <a:pt x="2" y="649"/>
                  </a:lnTo>
                  <a:lnTo>
                    <a:pt x="648" y="0"/>
                  </a:lnTo>
                  <a:lnTo>
                    <a:pt x="423" y="0"/>
                  </a:lnTo>
                  <a:lnTo>
                    <a:pt x="0" y="64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grpSp>
    </p:spTree>
    <p:extLst>
      <p:ext uri="{BB962C8B-B14F-4D97-AF65-F5344CB8AC3E}">
        <p14:creationId xmlns:p14="http://schemas.microsoft.com/office/powerpoint/2010/main" val="217945803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Headline only">
    <p:spTree>
      <p:nvGrpSpPr>
        <p:cNvPr id="1" name=""/>
        <p:cNvGrpSpPr/>
        <p:nvPr/>
      </p:nvGrpSpPr>
      <p:grpSpPr>
        <a:xfrm>
          <a:off x="0" y="0"/>
          <a:ext cx="0" cy="0"/>
          <a:chOff x="0" y="0"/>
          <a:chExt cx="0" cy="0"/>
        </a:xfrm>
      </p:grpSpPr>
      <p:sp>
        <p:nvSpPr>
          <p:cNvPr id="3" name="Textplatzhalter 2"/>
          <p:cNvSpPr>
            <a:spLocks noGrp="1"/>
          </p:cNvSpPr>
          <p:nvPr>
            <p:ph type="body" sz="quarter" idx="10" hasCustomPrompt="1"/>
          </p:nvPr>
        </p:nvSpPr>
        <p:spPr bwMode="gray">
          <a:xfrm>
            <a:off x="431213" y="1220755"/>
            <a:ext cx="11328987" cy="384340"/>
          </a:xfrm>
        </p:spPr>
        <p:txBody>
          <a:bodyPr>
            <a:noAutofit/>
          </a:bodyPr>
          <a:lstStyle>
            <a:lvl1pPr marL="0" indent="0">
              <a:lnSpc>
                <a:spcPct val="100000"/>
              </a:lnSpc>
              <a:spcBef>
                <a:spcPts val="800"/>
              </a:spcBef>
              <a:buFont typeface="Arial" panose="020B0604020202020204" pitchFamily="34" charset="0"/>
              <a:buNone/>
              <a:defRPr lang="en-GB" sz="2398" kern="1200" noProof="0" smtClean="0">
                <a:solidFill>
                  <a:schemeClr val="tx2"/>
                </a:solidFill>
                <a:latin typeface="Arial" pitchFamily="34" charset="0"/>
                <a:ea typeface="+mn-ea"/>
                <a:cs typeface="Arial" pitchFamily="34" charset="0"/>
              </a:defRPr>
            </a:lvl1pPr>
            <a:lvl2pPr marL="0" indent="0">
              <a:lnSpc>
                <a:spcPct val="100000"/>
              </a:lnSpc>
              <a:spcBef>
                <a:spcPts val="800"/>
              </a:spcBef>
              <a:buFont typeface="Arial" panose="020B0604020202020204" pitchFamily="34" charset="0"/>
              <a:buNone/>
              <a:defRPr lang="en-GB" sz="2398" kern="1200" noProof="0" smtClean="0">
                <a:solidFill>
                  <a:schemeClr val="tx2"/>
                </a:solidFill>
                <a:latin typeface="Arial" pitchFamily="34" charset="0"/>
                <a:ea typeface="+mn-ea"/>
                <a:cs typeface="Arial" pitchFamily="34" charset="0"/>
              </a:defRPr>
            </a:lvl2pPr>
            <a:lvl3pPr marL="0" indent="0">
              <a:lnSpc>
                <a:spcPct val="100000"/>
              </a:lnSpc>
              <a:spcBef>
                <a:spcPts val="800"/>
              </a:spcBef>
              <a:buFont typeface="Arial" panose="020B0604020202020204" pitchFamily="34" charset="0"/>
              <a:buNone/>
              <a:defRPr lang="en-GB" sz="2398" kern="1200" noProof="0" smtClean="0">
                <a:solidFill>
                  <a:schemeClr val="tx2"/>
                </a:solidFill>
                <a:latin typeface="Arial" pitchFamily="34" charset="0"/>
                <a:ea typeface="+mn-ea"/>
                <a:cs typeface="Arial" pitchFamily="34" charset="0"/>
              </a:defRPr>
            </a:lvl3pPr>
            <a:lvl4pPr marL="0" indent="0">
              <a:lnSpc>
                <a:spcPct val="100000"/>
              </a:lnSpc>
              <a:spcBef>
                <a:spcPts val="800"/>
              </a:spcBef>
              <a:buFont typeface="Arial" panose="020B0604020202020204" pitchFamily="34" charset="0"/>
              <a:buNone/>
              <a:defRPr lang="en-GB" sz="2398" kern="1200" noProof="0" smtClean="0">
                <a:solidFill>
                  <a:schemeClr val="tx2"/>
                </a:solidFill>
                <a:latin typeface="Arial" pitchFamily="34" charset="0"/>
                <a:ea typeface="+mn-ea"/>
                <a:cs typeface="Arial" pitchFamily="34" charset="0"/>
              </a:defRPr>
            </a:lvl4pPr>
            <a:lvl5pPr marL="0" indent="0">
              <a:lnSpc>
                <a:spcPct val="100000"/>
              </a:lnSpc>
              <a:spcBef>
                <a:spcPts val="800"/>
              </a:spcBef>
              <a:buFont typeface="Arial" panose="020B0604020202020204" pitchFamily="34" charset="0"/>
              <a:buNone/>
              <a:defRPr lang="en-GB" sz="2398" kern="1200" noProof="0" smtClean="0">
                <a:solidFill>
                  <a:schemeClr val="tx2"/>
                </a:solidFill>
                <a:latin typeface="Arial" pitchFamily="34" charset="0"/>
                <a:ea typeface="+mn-ea"/>
                <a:cs typeface="Arial" pitchFamily="34" charset="0"/>
              </a:defRPr>
            </a:lvl5pPr>
            <a:lvl6pPr marL="0" indent="0">
              <a:lnSpc>
                <a:spcPct val="100000"/>
              </a:lnSpc>
              <a:spcBef>
                <a:spcPts val="800"/>
              </a:spcBef>
              <a:buNone/>
              <a:defRPr lang="en-GB" sz="2398" kern="1200" noProof="0" smtClean="0">
                <a:solidFill>
                  <a:schemeClr val="tx2"/>
                </a:solidFill>
                <a:latin typeface="Arial" pitchFamily="34" charset="0"/>
                <a:ea typeface="+mn-ea"/>
                <a:cs typeface="Arial" pitchFamily="34" charset="0"/>
              </a:defRPr>
            </a:lvl6pPr>
            <a:lvl7pPr marL="0" indent="0">
              <a:lnSpc>
                <a:spcPct val="100000"/>
              </a:lnSpc>
              <a:spcBef>
                <a:spcPts val="800"/>
              </a:spcBef>
              <a:buNone/>
              <a:defRPr lang="en-GB" sz="2398" kern="1200" noProof="0" smtClean="0">
                <a:solidFill>
                  <a:schemeClr val="tx2"/>
                </a:solidFill>
                <a:latin typeface="Arial" pitchFamily="34" charset="0"/>
                <a:ea typeface="+mn-ea"/>
                <a:cs typeface="Arial" pitchFamily="34" charset="0"/>
              </a:defRPr>
            </a:lvl7pPr>
            <a:lvl8pPr marL="0" indent="0">
              <a:lnSpc>
                <a:spcPct val="100000"/>
              </a:lnSpc>
              <a:spcBef>
                <a:spcPts val="800"/>
              </a:spcBef>
              <a:buNone/>
              <a:defRPr lang="en-GB" sz="2398" kern="1200" noProof="0" smtClean="0">
                <a:solidFill>
                  <a:schemeClr val="tx2"/>
                </a:solidFill>
                <a:latin typeface="Arial" pitchFamily="34" charset="0"/>
                <a:ea typeface="+mn-ea"/>
                <a:cs typeface="Arial" pitchFamily="34" charset="0"/>
              </a:defRPr>
            </a:lvl8pPr>
            <a:lvl9pPr marL="0" indent="0">
              <a:lnSpc>
                <a:spcPct val="100000"/>
              </a:lnSpc>
              <a:spcBef>
                <a:spcPts val="800"/>
              </a:spcBef>
              <a:buNone/>
              <a:defRPr lang="de-DE" sz="2398" kern="1200" noProof="0" smtClean="0">
                <a:solidFill>
                  <a:schemeClr val="tx2"/>
                </a:solidFill>
                <a:latin typeface="Arial" pitchFamily="34" charset="0"/>
                <a:ea typeface="+mn-ea"/>
                <a:cs typeface="Arial" pitchFamily="34" charset="0"/>
              </a:defRPr>
            </a:lvl9pPr>
          </a:lstStyle>
          <a:p>
            <a:pPr lvl="0"/>
            <a:r>
              <a:rPr lang="en-US"/>
              <a:t>Click to add </a:t>
            </a:r>
            <a:r>
              <a:rPr lang="en-US" err="1"/>
              <a:t>subheadline</a:t>
            </a:r>
            <a:endParaRPr lang="en-US"/>
          </a:p>
        </p:txBody>
      </p:sp>
      <p:sp>
        <p:nvSpPr>
          <p:cNvPr id="4" name="Textplatzhalter 3"/>
          <p:cNvSpPr>
            <a:spLocks noGrp="1"/>
          </p:cNvSpPr>
          <p:nvPr>
            <p:ph type="body" sz="quarter" idx="11" hasCustomPrompt="1"/>
          </p:nvPr>
        </p:nvSpPr>
        <p:spPr bwMode="gray">
          <a:xfrm>
            <a:off x="431371" y="6404740"/>
            <a:ext cx="11328400" cy="192617"/>
          </a:xfrm>
        </p:spPr>
        <p:txBody>
          <a:bodyPr tIns="0" bIns="36000" anchor="b" anchorCtr="0">
            <a:noAutofit/>
          </a:bodyPr>
          <a:lstStyle>
            <a:lvl1pPr marL="0" marR="0" indent="0" algn="l" defTabSz="1218043" rtl="0" eaLnBrk="1" fontAlgn="auto" latinLnBrk="0" hangingPunct="1">
              <a:lnSpc>
                <a:spcPct val="100000"/>
              </a:lnSpc>
              <a:spcBef>
                <a:spcPts val="0"/>
              </a:spcBef>
              <a:spcAft>
                <a:spcPts val="0"/>
              </a:spcAft>
              <a:buClrTx/>
              <a:buSzTx/>
              <a:buFont typeface="Arial" pitchFamily="34" charset="0"/>
              <a:buNone/>
              <a:tabLst/>
              <a:defRPr lang="de-DE" sz="1066" kern="1200" baseline="0" noProof="0" smtClean="0">
                <a:solidFill>
                  <a:schemeClr val="bg2"/>
                </a:solidFill>
                <a:latin typeface="Arial" pitchFamily="34" charset="0"/>
                <a:ea typeface="+mn-ea"/>
                <a:cs typeface="Arial" pitchFamily="34" charset="0"/>
              </a:defRPr>
            </a:lvl1pPr>
            <a:lvl2pPr marL="0" indent="0">
              <a:lnSpc>
                <a:spcPct val="100000"/>
              </a:lnSpc>
              <a:spcBef>
                <a:spcPts val="0"/>
              </a:spcBef>
              <a:buFont typeface="Arial" panose="020B0604020202020204" pitchFamily="34" charset="0"/>
              <a:buNone/>
              <a:defRPr lang="de-DE" sz="1066" kern="1200" baseline="0" noProof="0" smtClean="0">
                <a:solidFill>
                  <a:schemeClr val="bg2"/>
                </a:solidFill>
                <a:latin typeface="Arial" pitchFamily="34" charset="0"/>
                <a:ea typeface="+mn-ea"/>
                <a:cs typeface="Arial" pitchFamily="34" charset="0"/>
              </a:defRPr>
            </a:lvl2pPr>
            <a:lvl3pPr marL="0" indent="0">
              <a:lnSpc>
                <a:spcPct val="100000"/>
              </a:lnSpc>
              <a:spcBef>
                <a:spcPts val="0"/>
              </a:spcBef>
              <a:buNone/>
              <a:defRPr lang="de-DE" sz="1066" kern="1200" baseline="0" noProof="0" smtClean="0">
                <a:solidFill>
                  <a:schemeClr val="bg2"/>
                </a:solidFill>
                <a:latin typeface="Arial" pitchFamily="34" charset="0"/>
                <a:ea typeface="+mn-ea"/>
                <a:cs typeface="Arial" pitchFamily="34" charset="0"/>
              </a:defRPr>
            </a:lvl3pPr>
            <a:lvl4pPr marL="0" indent="0">
              <a:lnSpc>
                <a:spcPct val="100000"/>
              </a:lnSpc>
              <a:spcBef>
                <a:spcPts val="0"/>
              </a:spcBef>
              <a:buNone/>
              <a:defRPr lang="de-DE" sz="1066" kern="1200" baseline="0" noProof="0" smtClean="0">
                <a:solidFill>
                  <a:schemeClr val="bg2"/>
                </a:solidFill>
                <a:latin typeface="Arial" pitchFamily="34" charset="0"/>
                <a:ea typeface="+mn-ea"/>
                <a:cs typeface="Arial" pitchFamily="34" charset="0"/>
              </a:defRPr>
            </a:lvl4pPr>
            <a:lvl5pPr marL="0" indent="0">
              <a:lnSpc>
                <a:spcPct val="100000"/>
              </a:lnSpc>
              <a:spcBef>
                <a:spcPts val="0"/>
              </a:spcBef>
              <a:buNone/>
              <a:defRPr lang="de-DE" sz="1066" kern="1200" baseline="0" noProof="0" smtClean="0">
                <a:solidFill>
                  <a:schemeClr val="bg2"/>
                </a:solidFill>
                <a:latin typeface="Arial" pitchFamily="34" charset="0"/>
                <a:ea typeface="+mn-ea"/>
                <a:cs typeface="Arial" pitchFamily="34" charset="0"/>
              </a:defRPr>
            </a:lvl5pPr>
            <a:lvl6pPr marL="0" indent="0">
              <a:lnSpc>
                <a:spcPct val="100000"/>
              </a:lnSpc>
              <a:spcBef>
                <a:spcPts val="0"/>
              </a:spcBef>
              <a:buNone/>
              <a:defRPr lang="de-DE" sz="1066" kern="1200" baseline="0" noProof="0" smtClean="0">
                <a:solidFill>
                  <a:schemeClr val="bg2"/>
                </a:solidFill>
                <a:latin typeface="Arial" pitchFamily="34" charset="0"/>
                <a:ea typeface="+mn-ea"/>
                <a:cs typeface="Arial" pitchFamily="34" charset="0"/>
              </a:defRPr>
            </a:lvl6pPr>
            <a:lvl7pPr marL="0" indent="0">
              <a:lnSpc>
                <a:spcPct val="100000"/>
              </a:lnSpc>
              <a:spcBef>
                <a:spcPts val="0"/>
              </a:spcBef>
              <a:buNone/>
              <a:defRPr lang="de-DE" sz="1066" kern="1200" baseline="0" noProof="0" dirty="0" smtClean="0">
                <a:solidFill>
                  <a:schemeClr val="bg2"/>
                </a:solidFill>
                <a:latin typeface="Arial" pitchFamily="34" charset="0"/>
                <a:ea typeface="+mn-ea"/>
                <a:cs typeface="Arial" pitchFamily="34" charset="0"/>
              </a:defRPr>
            </a:lvl7pPr>
            <a:lvl8pPr marL="0" indent="0">
              <a:lnSpc>
                <a:spcPct val="100000"/>
              </a:lnSpc>
              <a:spcBef>
                <a:spcPts val="0"/>
              </a:spcBef>
              <a:buNone/>
              <a:defRPr lang="de-DE" sz="1066" kern="1200" baseline="0" noProof="0" smtClean="0">
                <a:solidFill>
                  <a:schemeClr val="bg2"/>
                </a:solidFill>
                <a:latin typeface="Arial" pitchFamily="34" charset="0"/>
                <a:ea typeface="+mn-ea"/>
                <a:cs typeface="Arial" pitchFamily="34" charset="0"/>
              </a:defRPr>
            </a:lvl8pPr>
            <a:lvl9pPr marL="0" indent="0">
              <a:lnSpc>
                <a:spcPct val="100000"/>
              </a:lnSpc>
              <a:spcBef>
                <a:spcPts val="0"/>
              </a:spcBef>
              <a:buNone/>
              <a:defRPr lang="de-DE" sz="1066" kern="1200" baseline="0" noProof="0" smtClean="0">
                <a:solidFill>
                  <a:schemeClr val="bg2"/>
                </a:solidFill>
                <a:latin typeface="Arial" pitchFamily="34" charset="0"/>
                <a:ea typeface="+mn-ea"/>
                <a:cs typeface="Arial" pitchFamily="34" charset="0"/>
              </a:defRPr>
            </a:lvl9pPr>
          </a:lstStyle>
          <a:p>
            <a:pPr lvl="0"/>
            <a:r>
              <a:rPr lang="en-US"/>
              <a:t>Click to add source information</a:t>
            </a:r>
          </a:p>
        </p:txBody>
      </p:sp>
      <p:sp>
        <p:nvSpPr>
          <p:cNvPr id="5" name="Title 4"/>
          <p:cNvSpPr>
            <a:spLocks noGrp="1"/>
          </p:cNvSpPr>
          <p:nvPr>
            <p:ph type="title" hasCustomPrompt="1"/>
          </p:nvPr>
        </p:nvSpPr>
        <p:spPr/>
        <p:txBody>
          <a:bodyPr/>
          <a:lstStyle/>
          <a:p>
            <a:r>
              <a:rPr lang="en-US"/>
              <a:t>Click to add headline</a:t>
            </a:r>
          </a:p>
        </p:txBody>
      </p:sp>
    </p:spTree>
    <p:extLst>
      <p:ext uri="{BB962C8B-B14F-4D97-AF65-F5344CB8AC3E}">
        <p14:creationId xmlns:p14="http://schemas.microsoft.com/office/powerpoint/2010/main" val="1240735263"/>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Headline only">
    <p:spTree>
      <p:nvGrpSpPr>
        <p:cNvPr id="1" name=""/>
        <p:cNvGrpSpPr/>
        <p:nvPr/>
      </p:nvGrpSpPr>
      <p:grpSpPr>
        <a:xfrm>
          <a:off x="0" y="0"/>
          <a:ext cx="0" cy="0"/>
          <a:chOff x="0" y="0"/>
          <a:chExt cx="0" cy="0"/>
        </a:xfrm>
      </p:grpSpPr>
      <p:sp>
        <p:nvSpPr>
          <p:cNvPr id="21" name="Date Placeholder 20"/>
          <p:cNvSpPr>
            <a:spLocks noGrp="1"/>
          </p:cNvSpPr>
          <p:nvPr>
            <p:ph type="dt" sz="half" idx="14"/>
          </p:nvPr>
        </p:nvSpPr>
        <p:spPr/>
        <p:txBody>
          <a:bodyPr/>
          <a:lstStyle/>
          <a:p>
            <a:fld id="{7DCAAD07-09FD-49C1-9253-3DC58F499B21}" type="datetime5">
              <a:rPr lang="en-US" smtClean="0"/>
              <a:t>26-Jun-20</a:t>
            </a:fld>
            <a:endParaRPr lang="en-US"/>
          </a:p>
        </p:txBody>
      </p:sp>
      <p:sp>
        <p:nvSpPr>
          <p:cNvPr id="22" name="Footer Placeholder 21"/>
          <p:cNvSpPr>
            <a:spLocks noGrp="1"/>
          </p:cNvSpPr>
          <p:nvPr>
            <p:ph type="ftr" sz="quarter" idx="15"/>
          </p:nvPr>
        </p:nvSpPr>
        <p:spPr/>
        <p:txBody>
          <a:bodyPr/>
          <a:lstStyle/>
          <a:p>
            <a:r>
              <a:rPr lang="en-US"/>
              <a:t>Title of presentation (Insert / Header &amp; Footer / Apply to All)</a:t>
            </a:r>
          </a:p>
        </p:txBody>
      </p:sp>
      <p:sp>
        <p:nvSpPr>
          <p:cNvPr id="23" name="Slide Number Placeholder 22"/>
          <p:cNvSpPr>
            <a:spLocks noGrp="1"/>
          </p:cNvSpPr>
          <p:nvPr>
            <p:ph type="sldNum" sz="quarter" idx="16"/>
          </p:nvPr>
        </p:nvSpPr>
        <p:spPr/>
        <p:txBody>
          <a:bodyPr/>
          <a:lstStyle/>
          <a:p>
            <a:fld id="{5F3E29E4-0979-4FCA-B4C5-5FC6044C982A}" type="slidenum">
              <a:rPr lang="en-US" smtClean="0"/>
              <a:t>‹#›</a:t>
            </a:fld>
            <a:endParaRPr lang="en-US"/>
          </a:p>
        </p:txBody>
      </p:sp>
      <p:sp>
        <p:nvSpPr>
          <p:cNvPr id="2" name="Title 1"/>
          <p:cNvSpPr>
            <a:spLocks noGrp="1"/>
          </p:cNvSpPr>
          <p:nvPr>
            <p:ph type="title" hasCustomPrompt="1"/>
          </p:nvPr>
        </p:nvSpPr>
        <p:spPr/>
        <p:txBody>
          <a:bodyPr/>
          <a:lstStyle>
            <a:lvl1pPr>
              <a:defRPr/>
            </a:lvl1pPr>
          </a:lstStyle>
          <a:p>
            <a:r>
              <a:rPr lang="en-US"/>
              <a:t>Click to add slide title</a:t>
            </a:r>
          </a:p>
        </p:txBody>
      </p:sp>
      <p:sp>
        <p:nvSpPr>
          <p:cNvPr id="7" name="Subtitle 2"/>
          <p:cNvSpPr>
            <a:spLocks noGrp="1"/>
          </p:cNvSpPr>
          <p:nvPr>
            <p:ph type="subTitle" idx="13" hasCustomPrompt="1"/>
          </p:nvPr>
        </p:nvSpPr>
        <p:spPr>
          <a:xfrm>
            <a:off x="1075061" y="964671"/>
            <a:ext cx="7910158" cy="490042"/>
          </a:xfrm>
        </p:spPr>
        <p:txBody>
          <a:bodyPr wrap="none"/>
          <a:lstStyle>
            <a:lvl1pPr marL="0" indent="0" algn="l">
              <a:spcBef>
                <a:spcPts val="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sp>
        <p:nvSpPr>
          <p:cNvPr id="9" name="Text Placeholder 4"/>
          <p:cNvSpPr>
            <a:spLocks noGrp="1"/>
          </p:cNvSpPr>
          <p:nvPr>
            <p:ph type="body" sz="quarter" idx="17" hasCustomPrompt="1"/>
          </p:nvPr>
        </p:nvSpPr>
        <p:spPr>
          <a:xfrm>
            <a:off x="1075063" y="6307665"/>
            <a:ext cx="8162717" cy="133200"/>
          </a:xfrm>
        </p:spPr>
        <p:txBody>
          <a:bodyPr lIns="0" tIns="0" rIns="0" bIns="0" anchor="b" anchorCtr="0"/>
          <a:lstStyle>
            <a:lvl1pPr marL="0" indent="0" algn="l">
              <a:lnSpc>
                <a:spcPct val="100000"/>
              </a:lnSpc>
              <a:spcBef>
                <a:spcPts val="0"/>
              </a:spcBef>
              <a:buNone/>
              <a:defRPr sz="800" baseline="0"/>
            </a:lvl1pPr>
            <a:lvl2pPr marL="0" indent="0" algn="l">
              <a:lnSpc>
                <a:spcPct val="100000"/>
              </a:lnSpc>
              <a:spcBef>
                <a:spcPts val="0"/>
              </a:spcBef>
              <a:buNone/>
              <a:defRPr sz="800"/>
            </a:lvl2pPr>
            <a:lvl3pPr marL="0" indent="0" algn="l">
              <a:lnSpc>
                <a:spcPct val="100000"/>
              </a:lnSpc>
              <a:spcBef>
                <a:spcPts val="0"/>
              </a:spcBef>
              <a:buNone/>
              <a:defRPr sz="800"/>
            </a:lvl3pPr>
            <a:lvl4pPr marL="0" algn="l">
              <a:lnSpc>
                <a:spcPct val="100000"/>
              </a:lnSpc>
              <a:spcBef>
                <a:spcPts val="0"/>
              </a:spcBef>
              <a:buNone/>
              <a:defRPr sz="800"/>
            </a:lvl4pPr>
            <a:lvl5pPr marL="0" indent="0" algn="l">
              <a:lnSpc>
                <a:spcPct val="100000"/>
              </a:lnSpc>
              <a:spcBef>
                <a:spcPts val="0"/>
              </a:spcBef>
              <a:buNone/>
              <a:defRPr sz="800"/>
            </a:lvl5pPr>
          </a:lstStyle>
          <a:p>
            <a:pPr lvl="0"/>
            <a:r>
              <a:rPr lang="en-US"/>
              <a:t>Source line</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60436101"/>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One content">
    <p:spTree>
      <p:nvGrpSpPr>
        <p:cNvPr id="1" name=""/>
        <p:cNvGrpSpPr/>
        <p:nvPr/>
      </p:nvGrpSpPr>
      <p:grpSpPr>
        <a:xfrm>
          <a:off x="0" y="0"/>
          <a:ext cx="0" cy="0"/>
          <a:chOff x="0" y="0"/>
          <a:chExt cx="0" cy="0"/>
        </a:xfrm>
      </p:grpSpPr>
      <p:sp>
        <p:nvSpPr>
          <p:cNvPr id="21" name="Date Placeholder 20"/>
          <p:cNvSpPr>
            <a:spLocks noGrp="1"/>
          </p:cNvSpPr>
          <p:nvPr>
            <p:ph type="dt" sz="half" idx="14"/>
          </p:nvPr>
        </p:nvSpPr>
        <p:spPr/>
        <p:txBody>
          <a:bodyPr/>
          <a:lstStyle/>
          <a:p>
            <a:fld id="{4CC19292-71B2-4BF0-8023-C669B9188137}" type="datetime5">
              <a:rPr lang="en-US" smtClean="0"/>
              <a:t>26-Jun-20</a:t>
            </a:fld>
            <a:endParaRPr lang="en-US"/>
          </a:p>
        </p:txBody>
      </p:sp>
      <p:sp>
        <p:nvSpPr>
          <p:cNvPr id="22" name="Footer Placeholder 21"/>
          <p:cNvSpPr>
            <a:spLocks noGrp="1"/>
          </p:cNvSpPr>
          <p:nvPr>
            <p:ph type="ftr" sz="quarter" idx="15"/>
          </p:nvPr>
        </p:nvSpPr>
        <p:spPr/>
        <p:txBody>
          <a:bodyPr/>
          <a:lstStyle/>
          <a:p>
            <a:r>
              <a:rPr lang="en-US"/>
              <a:t>Title of presentation (Insert / Header &amp; Footer / Apply to All)</a:t>
            </a:r>
          </a:p>
        </p:txBody>
      </p:sp>
      <p:sp>
        <p:nvSpPr>
          <p:cNvPr id="23" name="Slide Number Placeholder 22"/>
          <p:cNvSpPr>
            <a:spLocks noGrp="1"/>
          </p:cNvSpPr>
          <p:nvPr>
            <p:ph type="sldNum" sz="quarter" idx="16"/>
          </p:nvPr>
        </p:nvSpPr>
        <p:spPr/>
        <p:txBody>
          <a:bodyPr/>
          <a:lstStyle/>
          <a:p>
            <a:fld id="{5F3E29E4-0979-4FCA-B4C5-5FC6044C982A}" type="slidenum">
              <a:rPr lang="en-US" smtClean="0"/>
              <a:t>‹#›</a:t>
            </a:fld>
            <a:endParaRPr lang="en-US"/>
          </a:p>
        </p:txBody>
      </p:sp>
      <p:sp>
        <p:nvSpPr>
          <p:cNvPr id="2" name="Title 1"/>
          <p:cNvSpPr>
            <a:spLocks noGrp="1"/>
          </p:cNvSpPr>
          <p:nvPr>
            <p:ph type="title" hasCustomPrompt="1"/>
          </p:nvPr>
        </p:nvSpPr>
        <p:spPr/>
        <p:txBody>
          <a:bodyPr/>
          <a:lstStyle>
            <a:lvl1pPr>
              <a:defRPr/>
            </a:lvl1pPr>
          </a:lstStyle>
          <a:p>
            <a:r>
              <a:rPr lang="en-US"/>
              <a:t>Click to add slide title</a:t>
            </a:r>
          </a:p>
        </p:txBody>
      </p:sp>
      <p:sp>
        <p:nvSpPr>
          <p:cNvPr id="7" name="Subtitle 2"/>
          <p:cNvSpPr>
            <a:spLocks noGrp="1"/>
          </p:cNvSpPr>
          <p:nvPr>
            <p:ph type="subTitle" idx="13" hasCustomPrompt="1"/>
          </p:nvPr>
        </p:nvSpPr>
        <p:spPr>
          <a:xfrm>
            <a:off x="1075061" y="964671"/>
            <a:ext cx="7910158" cy="490042"/>
          </a:xfrm>
        </p:spPr>
        <p:txBody>
          <a:bodyPr wrap="none"/>
          <a:lstStyle>
            <a:lvl1pPr marL="0" indent="0" algn="l">
              <a:spcBef>
                <a:spcPts val="0"/>
              </a:spcBef>
              <a:buNone/>
              <a:defRPr sz="2400" baseline="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sp>
        <p:nvSpPr>
          <p:cNvPr id="3" name="Content Placeholder 2"/>
          <p:cNvSpPr>
            <a:spLocks noGrp="1"/>
          </p:cNvSpPr>
          <p:nvPr>
            <p:ph idx="1" hasCustomPrompt="1"/>
          </p:nvPr>
        </p:nvSpPr>
        <p:spPr/>
        <p:txBody>
          <a:bodyPr/>
          <a:lstStyle>
            <a:lvl1pPr>
              <a:defRPr baseline="0"/>
            </a:lvl1pPr>
          </a:lstStyle>
          <a:p>
            <a:pPr lvl="0"/>
            <a:r>
              <a:rPr lang="en-US"/>
              <a:t>Click to add text or content</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17" hasCustomPrompt="1"/>
          </p:nvPr>
        </p:nvSpPr>
        <p:spPr>
          <a:xfrm>
            <a:off x="1075063" y="6307665"/>
            <a:ext cx="8162717" cy="133200"/>
          </a:xfrm>
        </p:spPr>
        <p:txBody>
          <a:bodyPr lIns="0" tIns="0" rIns="0" bIns="0" anchor="b" anchorCtr="0"/>
          <a:lstStyle>
            <a:lvl1pPr marL="0" indent="0" algn="l">
              <a:lnSpc>
                <a:spcPct val="100000"/>
              </a:lnSpc>
              <a:spcBef>
                <a:spcPts val="0"/>
              </a:spcBef>
              <a:buNone/>
              <a:defRPr sz="800" baseline="0"/>
            </a:lvl1pPr>
            <a:lvl2pPr marL="0" indent="0" algn="l">
              <a:lnSpc>
                <a:spcPct val="100000"/>
              </a:lnSpc>
              <a:spcBef>
                <a:spcPts val="0"/>
              </a:spcBef>
              <a:buNone/>
              <a:defRPr sz="800"/>
            </a:lvl2pPr>
            <a:lvl3pPr marL="0" indent="0" algn="l">
              <a:lnSpc>
                <a:spcPct val="100000"/>
              </a:lnSpc>
              <a:spcBef>
                <a:spcPts val="0"/>
              </a:spcBef>
              <a:buNone/>
              <a:defRPr sz="800"/>
            </a:lvl3pPr>
            <a:lvl4pPr marL="0" algn="l">
              <a:lnSpc>
                <a:spcPct val="100000"/>
              </a:lnSpc>
              <a:spcBef>
                <a:spcPts val="0"/>
              </a:spcBef>
              <a:buNone/>
              <a:defRPr sz="800"/>
            </a:lvl4pPr>
            <a:lvl5pPr marL="0" indent="0" algn="l">
              <a:lnSpc>
                <a:spcPct val="100000"/>
              </a:lnSpc>
              <a:spcBef>
                <a:spcPts val="0"/>
              </a:spcBef>
              <a:buNone/>
              <a:defRPr sz="800"/>
            </a:lvl5pPr>
          </a:lstStyle>
          <a:p>
            <a:pPr lvl="0"/>
            <a:r>
              <a:rPr lang="en-US"/>
              <a:t>Source line</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57021786"/>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Content and picture">
    <p:spTree>
      <p:nvGrpSpPr>
        <p:cNvPr id="1" name=""/>
        <p:cNvGrpSpPr/>
        <p:nvPr/>
      </p:nvGrpSpPr>
      <p:grpSpPr>
        <a:xfrm>
          <a:off x="0" y="0"/>
          <a:ext cx="0" cy="0"/>
          <a:chOff x="0" y="0"/>
          <a:chExt cx="0" cy="0"/>
        </a:xfrm>
      </p:grpSpPr>
      <p:sp>
        <p:nvSpPr>
          <p:cNvPr id="21" name="Date Placeholder 20"/>
          <p:cNvSpPr>
            <a:spLocks noGrp="1"/>
          </p:cNvSpPr>
          <p:nvPr>
            <p:ph type="dt" sz="half" idx="14"/>
          </p:nvPr>
        </p:nvSpPr>
        <p:spPr/>
        <p:txBody>
          <a:bodyPr/>
          <a:lstStyle/>
          <a:p>
            <a:fld id="{97AF90B7-6970-4C8C-AA59-7302F717A183}" type="datetime5">
              <a:rPr lang="en-US" smtClean="0"/>
              <a:t>26-Jun-20</a:t>
            </a:fld>
            <a:endParaRPr lang="en-US"/>
          </a:p>
        </p:txBody>
      </p:sp>
      <p:sp>
        <p:nvSpPr>
          <p:cNvPr id="22" name="Footer Placeholder 21"/>
          <p:cNvSpPr>
            <a:spLocks noGrp="1"/>
          </p:cNvSpPr>
          <p:nvPr>
            <p:ph type="ftr" sz="quarter" idx="15"/>
          </p:nvPr>
        </p:nvSpPr>
        <p:spPr/>
        <p:txBody>
          <a:bodyPr/>
          <a:lstStyle/>
          <a:p>
            <a:r>
              <a:rPr lang="en-US"/>
              <a:t>Title of presentation (Insert / Header &amp; Footer / Apply to All)</a:t>
            </a:r>
          </a:p>
        </p:txBody>
      </p:sp>
      <p:sp>
        <p:nvSpPr>
          <p:cNvPr id="23" name="Slide Number Placeholder 22"/>
          <p:cNvSpPr>
            <a:spLocks noGrp="1"/>
          </p:cNvSpPr>
          <p:nvPr>
            <p:ph type="sldNum" sz="quarter" idx="16"/>
          </p:nvPr>
        </p:nvSpPr>
        <p:spPr/>
        <p:txBody>
          <a:bodyPr/>
          <a:lstStyle/>
          <a:p>
            <a:fld id="{5F3E29E4-0979-4FCA-B4C5-5FC6044C982A}" type="slidenum">
              <a:rPr lang="en-US" smtClean="0"/>
              <a:t>‹#›</a:t>
            </a:fld>
            <a:endParaRPr lang="en-US"/>
          </a:p>
        </p:txBody>
      </p:sp>
      <p:sp>
        <p:nvSpPr>
          <p:cNvPr id="2" name="Title 1"/>
          <p:cNvSpPr>
            <a:spLocks noGrp="1"/>
          </p:cNvSpPr>
          <p:nvPr>
            <p:ph type="title" hasCustomPrompt="1"/>
          </p:nvPr>
        </p:nvSpPr>
        <p:spPr/>
        <p:txBody>
          <a:bodyPr/>
          <a:lstStyle>
            <a:lvl1pPr>
              <a:defRPr/>
            </a:lvl1pPr>
          </a:lstStyle>
          <a:p>
            <a:r>
              <a:rPr lang="en-US"/>
              <a:t>Click to add slide title</a:t>
            </a:r>
          </a:p>
        </p:txBody>
      </p:sp>
      <p:sp>
        <p:nvSpPr>
          <p:cNvPr id="7" name="Subtitle 2"/>
          <p:cNvSpPr>
            <a:spLocks noGrp="1"/>
          </p:cNvSpPr>
          <p:nvPr>
            <p:ph type="subTitle" idx="13" hasCustomPrompt="1"/>
          </p:nvPr>
        </p:nvSpPr>
        <p:spPr>
          <a:xfrm>
            <a:off x="1075061" y="964671"/>
            <a:ext cx="7910158" cy="490042"/>
          </a:xfrm>
        </p:spPr>
        <p:txBody>
          <a:bodyPr wrap="none"/>
          <a:lstStyle>
            <a:lvl1pPr marL="0" indent="0" algn="l">
              <a:spcBef>
                <a:spcPts val="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sp>
        <p:nvSpPr>
          <p:cNvPr id="3" name="Content Placeholder 2"/>
          <p:cNvSpPr>
            <a:spLocks noGrp="1"/>
          </p:cNvSpPr>
          <p:nvPr>
            <p:ph idx="1" hasCustomPrompt="1"/>
          </p:nvPr>
        </p:nvSpPr>
        <p:spPr>
          <a:xfrm>
            <a:off x="1075062" y="1629618"/>
            <a:ext cx="5220000" cy="4139357"/>
          </a:xfrm>
        </p:spPr>
        <p:txBody>
          <a:bodyPr/>
          <a:lstStyle>
            <a:lvl1pPr>
              <a:defRPr/>
            </a:lvl1pPr>
          </a:lstStyle>
          <a:p>
            <a:pPr lvl="0"/>
            <a:r>
              <a:rPr lang="en-US"/>
              <a:t>Click to add text or content</a:t>
            </a:r>
          </a:p>
          <a:p>
            <a:pPr lvl="1"/>
            <a:r>
              <a:rPr lang="en-US"/>
              <a:t>Second level</a:t>
            </a:r>
          </a:p>
          <a:p>
            <a:pPr lvl="2"/>
            <a:r>
              <a:rPr lang="en-US"/>
              <a:t>Third level</a:t>
            </a:r>
          </a:p>
          <a:p>
            <a:pPr lvl="3"/>
            <a:r>
              <a:rPr lang="en-US"/>
              <a:t>Fourth level</a:t>
            </a:r>
          </a:p>
          <a:p>
            <a:pPr lvl="4"/>
            <a:r>
              <a:rPr lang="en-US"/>
              <a:t>Fifth level</a:t>
            </a:r>
          </a:p>
        </p:txBody>
      </p:sp>
      <p:sp>
        <p:nvSpPr>
          <p:cNvPr id="5" name="Picture Placeholder 4"/>
          <p:cNvSpPr>
            <a:spLocks noGrp="1"/>
          </p:cNvSpPr>
          <p:nvPr>
            <p:ph type="pic" sz="quarter" idx="17" hasCustomPrompt="1"/>
          </p:nvPr>
        </p:nvSpPr>
        <p:spPr>
          <a:xfrm>
            <a:off x="6600525" y="1637783"/>
            <a:ext cx="5220000" cy="4599506"/>
          </a:xfrm>
          <a:solidFill>
            <a:srgbClr val="D9DADB"/>
          </a:solidFill>
        </p:spPr>
        <p:txBody>
          <a:bodyPr/>
          <a:lstStyle>
            <a:lvl1pPr marL="0" indent="0">
              <a:buNone/>
              <a:defRPr/>
            </a:lvl1pPr>
          </a:lstStyle>
          <a:p>
            <a:r>
              <a:rPr lang="en-US"/>
              <a:t>Insert picture</a:t>
            </a:r>
          </a:p>
        </p:txBody>
      </p:sp>
      <p:sp>
        <p:nvSpPr>
          <p:cNvPr id="10" name="Text Placeholder 4"/>
          <p:cNvSpPr>
            <a:spLocks noGrp="1"/>
          </p:cNvSpPr>
          <p:nvPr>
            <p:ph type="body" sz="quarter" idx="18" hasCustomPrompt="1"/>
          </p:nvPr>
        </p:nvSpPr>
        <p:spPr>
          <a:xfrm>
            <a:off x="1075063" y="6307665"/>
            <a:ext cx="8162717" cy="133200"/>
          </a:xfrm>
        </p:spPr>
        <p:txBody>
          <a:bodyPr lIns="0" tIns="0" rIns="0" bIns="0" anchor="b" anchorCtr="0"/>
          <a:lstStyle>
            <a:lvl1pPr marL="0" indent="0" algn="l">
              <a:lnSpc>
                <a:spcPct val="100000"/>
              </a:lnSpc>
              <a:spcBef>
                <a:spcPts val="0"/>
              </a:spcBef>
              <a:buNone/>
              <a:defRPr sz="800" baseline="0"/>
            </a:lvl1pPr>
            <a:lvl2pPr marL="0" indent="0" algn="l">
              <a:lnSpc>
                <a:spcPct val="100000"/>
              </a:lnSpc>
              <a:spcBef>
                <a:spcPts val="0"/>
              </a:spcBef>
              <a:buNone/>
              <a:defRPr sz="800"/>
            </a:lvl2pPr>
            <a:lvl3pPr marL="0" indent="0" algn="l">
              <a:lnSpc>
                <a:spcPct val="100000"/>
              </a:lnSpc>
              <a:spcBef>
                <a:spcPts val="0"/>
              </a:spcBef>
              <a:buNone/>
              <a:defRPr sz="800"/>
            </a:lvl3pPr>
            <a:lvl4pPr marL="0" algn="l">
              <a:lnSpc>
                <a:spcPct val="100000"/>
              </a:lnSpc>
              <a:spcBef>
                <a:spcPts val="0"/>
              </a:spcBef>
              <a:buNone/>
              <a:defRPr sz="800"/>
            </a:lvl4pPr>
            <a:lvl5pPr marL="0" indent="0" algn="l">
              <a:lnSpc>
                <a:spcPct val="100000"/>
              </a:lnSpc>
              <a:spcBef>
                <a:spcPts val="0"/>
              </a:spcBef>
              <a:buNone/>
              <a:defRPr sz="800"/>
            </a:lvl5pPr>
          </a:lstStyle>
          <a:p>
            <a:pPr lvl="0"/>
            <a:r>
              <a:rPr lang="en-US"/>
              <a:t>Source line</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36021860"/>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Content with full picture">
    <p:spTree>
      <p:nvGrpSpPr>
        <p:cNvPr id="1" name=""/>
        <p:cNvGrpSpPr/>
        <p:nvPr/>
      </p:nvGrpSpPr>
      <p:grpSpPr>
        <a:xfrm>
          <a:off x="0" y="0"/>
          <a:ext cx="0" cy="0"/>
          <a:chOff x="0" y="0"/>
          <a:chExt cx="0" cy="0"/>
        </a:xfrm>
      </p:grpSpPr>
      <p:sp>
        <p:nvSpPr>
          <p:cNvPr id="12" name="Picture Placeholder 11"/>
          <p:cNvSpPr>
            <a:spLocks noGrp="1"/>
          </p:cNvSpPr>
          <p:nvPr>
            <p:ph type="pic" sz="quarter" idx="17" hasCustomPrompt="1"/>
          </p:nvPr>
        </p:nvSpPr>
        <p:spPr>
          <a:xfrm>
            <a:off x="0" y="0"/>
            <a:ext cx="12193200" cy="6858000"/>
          </a:xfrm>
          <a:prstGeom prst="rect">
            <a:avLst/>
          </a:prstGeom>
          <a:solidFill>
            <a:srgbClr val="D9DADB"/>
          </a:solidFill>
        </p:spPr>
        <p:txBody>
          <a:bodyPr wrap="square">
            <a:noAutofit/>
          </a:bodyPr>
          <a:lstStyle>
            <a:lvl1pPr marL="0" indent="0">
              <a:buNone/>
              <a:defRPr/>
            </a:lvl1pPr>
          </a:lstStyle>
          <a:p>
            <a:r>
              <a:rPr lang="en-US"/>
              <a:t>Insert picture</a:t>
            </a:r>
          </a:p>
        </p:txBody>
      </p:sp>
      <p:sp>
        <p:nvSpPr>
          <p:cNvPr id="9" name="copyright"/>
          <p:cNvSpPr txBox="1"/>
          <p:nvPr/>
        </p:nvSpPr>
        <p:spPr>
          <a:xfrm>
            <a:off x="10672209" y="6237288"/>
            <a:ext cx="500617" cy="358173"/>
          </a:xfrm>
          <a:prstGeom prst="rect">
            <a:avLst/>
          </a:prstGeom>
          <a:noFill/>
        </p:spPr>
        <p:txBody>
          <a:bodyPr wrap="none" lIns="0" tIns="0" rIns="0" bIns="0" rtlCol="0" anchor="b" anchorCtr="0">
            <a:noAutofit/>
          </a:bodyPr>
          <a:lstStyle/>
          <a:p>
            <a:pPr marL="0" indent="0" algn="r">
              <a:lnSpc>
                <a:spcPct val="125000"/>
              </a:lnSpc>
              <a:buClr>
                <a:schemeClr val="tx2"/>
              </a:buClr>
              <a:buFont typeface="Wingdings" panose="05000000000000000000" pitchFamily="2" charset="2"/>
              <a:buNone/>
            </a:pPr>
            <a:r>
              <a:rPr lang="en-US" sz="800">
                <a:solidFill>
                  <a:schemeClr val="bg1"/>
                </a:solidFill>
              </a:rPr>
              <a:t>© GfK</a:t>
            </a:r>
          </a:p>
        </p:txBody>
      </p:sp>
      <p:sp>
        <p:nvSpPr>
          <p:cNvPr id="21" name="Date Placeholder 20"/>
          <p:cNvSpPr>
            <a:spLocks noGrp="1"/>
          </p:cNvSpPr>
          <p:nvPr>
            <p:ph type="dt" sz="half" idx="14"/>
          </p:nvPr>
        </p:nvSpPr>
        <p:spPr/>
        <p:txBody>
          <a:bodyPr/>
          <a:lstStyle>
            <a:lvl1pPr>
              <a:defRPr>
                <a:solidFill>
                  <a:schemeClr val="bg1"/>
                </a:solidFill>
              </a:defRPr>
            </a:lvl1pPr>
          </a:lstStyle>
          <a:p>
            <a:fld id="{50FDD96B-8754-4910-8CA2-9F882EDC331D}" type="datetime5">
              <a:rPr lang="en-US" smtClean="0"/>
              <a:t>26-Jun-20</a:t>
            </a:fld>
            <a:endParaRPr lang="en-US"/>
          </a:p>
        </p:txBody>
      </p:sp>
      <p:sp>
        <p:nvSpPr>
          <p:cNvPr id="22" name="Footer Placeholder 21"/>
          <p:cNvSpPr>
            <a:spLocks noGrp="1"/>
          </p:cNvSpPr>
          <p:nvPr>
            <p:ph type="ftr" sz="quarter" idx="15"/>
          </p:nvPr>
        </p:nvSpPr>
        <p:spPr/>
        <p:txBody>
          <a:bodyPr/>
          <a:lstStyle>
            <a:lvl1pPr>
              <a:defRPr>
                <a:solidFill>
                  <a:schemeClr val="bg1"/>
                </a:solidFill>
              </a:defRPr>
            </a:lvl1pPr>
          </a:lstStyle>
          <a:p>
            <a:r>
              <a:rPr lang="en-US"/>
              <a:t>Title of presentation (Insert / Header &amp; Footer / Apply to All)</a:t>
            </a:r>
          </a:p>
        </p:txBody>
      </p:sp>
      <p:sp>
        <p:nvSpPr>
          <p:cNvPr id="23" name="Slide Number Placeholder 22"/>
          <p:cNvSpPr>
            <a:spLocks noGrp="1"/>
          </p:cNvSpPr>
          <p:nvPr>
            <p:ph type="sldNum" sz="quarter" idx="16"/>
          </p:nvPr>
        </p:nvSpPr>
        <p:spPr/>
        <p:txBody>
          <a:bodyPr/>
          <a:lstStyle>
            <a:lvl1pPr>
              <a:defRPr>
                <a:solidFill>
                  <a:schemeClr val="bg1"/>
                </a:solidFill>
              </a:defRPr>
            </a:lvl1pPr>
          </a:lstStyle>
          <a:p>
            <a:fld id="{5F3E29E4-0979-4FCA-B4C5-5FC6044C982A}" type="slidenum">
              <a:rPr lang="en-US" smtClean="0"/>
              <a:pPr/>
              <a:t>‹#›</a:t>
            </a:fld>
            <a:endParaRPr lang="en-US"/>
          </a:p>
        </p:txBody>
      </p:sp>
      <p:sp>
        <p:nvSpPr>
          <p:cNvPr id="2" name="Title 1"/>
          <p:cNvSpPr>
            <a:spLocks noGrp="1"/>
          </p:cNvSpPr>
          <p:nvPr>
            <p:ph type="title" hasCustomPrompt="1"/>
          </p:nvPr>
        </p:nvSpPr>
        <p:spPr>
          <a:xfrm>
            <a:off x="6543675" y="1519552"/>
            <a:ext cx="4629150" cy="4249423"/>
          </a:xfrm>
        </p:spPr>
        <p:txBody>
          <a:bodyPr/>
          <a:lstStyle>
            <a:lvl1pPr>
              <a:defRPr>
                <a:solidFill>
                  <a:schemeClr val="bg1"/>
                </a:solidFill>
              </a:defRPr>
            </a:lvl1pPr>
          </a:lstStyle>
          <a:p>
            <a:r>
              <a:rPr lang="en-US"/>
              <a:t>Click to add text</a:t>
            </a:r>
          </a:p>
        </p:txBody>
      </p:sp>
      <p:sp>
        <p:nvSpPr>
          <p:cNvPr id="8" name="Text Placeholder 4"/>
          <p:cNvSpPr>
            <a:spLocks noGrp="1"/>
          </p:cNvSpPr>
          <p:nvPr>
            <p:ph type="body" sz="quarter" idx="18" hasCustomPrompt="1"/>
          </p:nvPr>
        </p:nvSpPr>
        <p:spPr>
          <a:xfrm>
            <a:off x="1075063" y="6307665"/>
            <a:ext cx="8162717" cy="133200"/>
          </a:xfrm>
        </p:spPr>
        <p:txBody>
          <a:bodyPr lIns="0" tIns="0" rIns="0" bIns="0" anchor="b" anchorCtr="0"/>
          <a:lstStyle>
            <a:lvl1pPr marL="0" indent="0" algn="l">
              <a:lnSpc>
                <a:spcPct val="100000"/>
              </a:lnSpc>
              <a:spcBef>
                <a:spcPts val="0"/>
              </a:spcBef>
              <a:buNone/>
              <a:defRPr sz="800" baseline="0">
                <a:solidFill>
                  <a:schemeClr val="bg1"/>
                </a:solidFill>
              </a:defRPr>
            </a:lvl1pPr>
            <a:lvl2pPr marL="0" indent="0" algn="l">
              <a:lnSpc>
                <a:spcPct val="100000"/>
              </a:lnSpc>
              <a:spcBef>
                <a:spcPts val="0"/>
              </a:spcBef>
              <a:buNone/>
              <a:defRPr sz="800">
                <a:solidFill>
                  <a:schemeClr val="bg1"/>
                </a:solidFill>
              </a:defRPr>
            </a:lvl2pPr>
            <a:lvl3pPr marL="0" indent="0" algn="l">
              <a:lnSpc>
                <a:spcPct val="100000"/>
              </a:lnSpc>
              <a:spcBef>
                <a:spcPts val="0"/>
              </a:spcBef>
              <a:buNone/>
              <a:defRPr sz="800">
                <a:solidFill>
                  <a:schemeClr val="bg1"/>
                </a:solidFill>
              </a:defRPr>
            </a:lvl3pPr>
            <a:lvl4pPr marL="0" algn="l">
              <a:lnSpc>
                <a:spcPct val="100000"/>
              </a:lnSpc>
              <a:spcBef>
                <a:spcPts val="0"/>
              </a:spcBef>
              <a:buNone/>
              <a:defRPr sz="800">
                <a:solidFill>
                  <a:schemeClr val="bg1"/>
                </a:solidFill>
              </a:defRPr>
            </a:lvl4pPr>
            <a:lvl5pPr marL="0" indent="0" algn="l">
              <a:lnSpc>
                <a:spcPct val="100000"/>
              </a:lnSpc>
              <a:spcBef>
                <a:spcPts val="0"/>
              </a:spcBef>
              <a:buNone/>
              <a:defRPr sz="800">
                <a:solidFill>
                  <a:schemeClr val="bg1"/>
                </a:solidFill>
              </a:defRPr>
            </a:lvl5pPr>
          </a:lstStyle>
          <a:p>
            <a:pPr lvl="0"/>
            <a:r>
              <a:rPr lang="en-US"/>
              <a:t>Source line</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59200181"/>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Two pictures">
    <p:spTree>
      <p:nvGrpSpPr>
        <p:cNvPr id="1" name=""/>
        <p:cNvGrpSpPr/>
        <p:nvPr/>
      </p:nvGrpSpPr>
      <p:grpSpPr>
        <a:xfrm>
          <a:off x="0" y="0"/>
          <a:ext cx="0" cy="0"/>
          <a:chOff x="0" y="0"/>
          <a:chExt cx="0" cy="0"/>
        </a:xfrm>
      </p:grpSpPr>
      <p:sp>
        <p:nvSpPr>
          <p:cNvPr id="21" name="Date Placeholder 20"/>
          <p:cNvSpPr>
            <a:spLocks noGrp="1"/>
          </p:cNvSpPr>
          <p:nvPr>
            <p:ph type="dt" sz="half" idx="14"/>
          </p:nvPr>
        </p:nvSpPr>
        <p:spPr/>
        <p:txBody>
          <a:bodyPr/>
          <a:lstStyle/>
          <a:p>
            <a:fld id="{0C2FFEBC-2BB8-4026-95F3-22D358B37101}" type="datetime5">
              <a:rPr lang="en-US" smtClean="0"/>
              <a:t>26-Jun-20</a:t>
            </a:fld>
            <a:endParaRPr lang="en-US"/>
          </a:p>
        </p:txBody>
      </p:sp>
      <p:sp>
        <p:nvSpPr>
          <p:cNvPr id="22" name="Footer Placeholder 21"/>
          <p:cNvSpPr>
            <a:spLocks noGrp="1"/>
          </p:cNvSpPr>
          <p:nvPr>
            <p:ph type="ftr" sz="quarter" idx="15"/>
          </p:nvPr>
        </p:nvSpPr>
        <p:spPr/>
        <p:txBody>
          <a:bodyPr/>
          <a:lstStyle/>
          <a:p>
            <a:r>
              <a:rPr lang="en-US"/>
              <a:t>Title of presentation (Insert / Header &amp; Footer / Apply to All)</a:t>
            </a:r>
          </a:p>
        </p:txBody>
      </p:sp>
      <p:sp>
        <p:nvSpPr>
          <p:cNvPr id="23" name="Slide Number Placeholder 22"/>
          <p:cNvSpPr>
            <a:spLocks noGrp="1"/>
          </p:cNvSpPr>
          <p:nvPr>
            <p:ph type="sldNum" sz="quarter" idx="16"/>
          </p:nvPr>
        </p:nvSpPr>
        <p:spPr/>
        <p:txBody>
          <a:bodyPr/>
          <a:lstStyle/>
          <a:p>
            <a:fld id="{5F3E29E4-0979-4FCA-B4C5-5FC6044C982A}" type="slidenum">
              <a:rPr lang="en-US" smtClean="0"/>
              <a:t>‹#›</a:t>
            </a:fld>
            <a:endParaRPr lang="en-US"/>
          </a:p>
        </p:txBody>
      </p:sp>
      <p:sp>
        <p:nvSpPr>
          <p:cNvPr id="2" name="Title 1"/>
          <p:cNvSpPr>
            <a:spLocks noGrp="1"/>
          </p:cNvSpPr>
          <p:nvPr>
            <p:ph type="title" hasCustomPrompt="1"/>
          </p:nvPr>
        </p:nvSpPr>
        <p:spPr/>
        <p:txBody>
          <a:bodyPr/>
          <a:lstStyle>
            <a:lvl1pPr>
              <a:defRPr/>
            </a:lvl1pPr>
          </a:lstStyle>
          <a:p>
            <a:r>
              <a:rPr lang="en-US"/>
              <a:t>Click to add slide title</a:t>
            </a:r>
          </a:p>
        </p:txBody>
      </p:sp>
      <p:sp>
        <p:nvSpPr>
          <p:cNvPr id="7" name="Subtitle 2"/>
          <p:cNvSpPr>
            <a:spLocks noGrp="1"/>
          </p:cNvSpPr>
          <p:nvPr>
            <p:ph type="subTitle" idx="13" hasCustomPrompt="1"/>
          </p:nvPr>
        </p:nvSpPr>
        <p:spPr>
          <a:xfrm>
            <a:off x="1075061" y="964671"/>
            <a:ext cx="7910158" cy="490042"/>
          </a:xfrm>
        </p:spPr>
        <p:txBody>
          <a:bodyPr wrap="none"/>
          <a:lstStyle>
            <a:lvl1pPr marL="0" indent="0" algn="l">
              <a:spcBef>
                <a:spcPts val="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sp>
        <p:nvSpPr>
          <p:cNvPr id="5" name="Picture Placeholder 4"/>
          <p:cNvSpPr>
            <a:spLocks noGrp="1"/>
          </p:cNvSpPr>
          <p:nvPr>
            <p:ph type="pic" sz="quarter" idx="17" hasCustomPrompt="1"/>
          </p:nvPr>
        </p:nvSpPr>
        <p:spPr>
          <a:xfrm>
            <a:off x="1075062" y="1637783"/>
            <a:ext cx="5220000" cy="4599506"/>
          </a:xfrm>
          <a:solidFill>
            <a:srgbClr val="D9DADB"/>
          </a:solidFill>
        </p:spPr>
        <p:txBody>
          <a:bodyPr/>
          <a:lstStyle>
            <a:lvl1pPr marL="0" indent="0">
              <a:buNone/>
              <a:defRPr/>
            </a:lvl1pPr>
          </a:lstStyle>
          <a:p>
            <a:r>
              <a:rPr lang="en-US"/>
              <a:t>Insert picture</a:t>
            </a:r>
          </a:p>
        </p:txBody>
      </p:sp>
      <p:sp>
        <p:nvSpPr>
          <p:cNvPr id="9" name="Picture Placeholder 4"/>
          <p:cNvSpPr>
            <a:spLocks noGrp="1"/>
          </p:cNvSpPr>
          <p:nvPr>
            <p:ph type="pic" sz="quarter" idx="18" hasCustomPrompt="1"/>
          </p:nvPr>
        </p:nvSpPr>
        <p:spPr>
          <a:xfrm>
            <a:off x="6600525" y="1637783"/>
            <a:ext cx="5220000" cy="4599506"/>
          </a:xfrm>
          <a:solidFill>
            <a:srgbClr val="D9DADB"/>
          </a:solidFill>
        </p:spPr>
        <p:txBody>
          <a:bodyPr/>
          <a:lstStyle>
            <a:lvl1pPr marL="0" indent="0">
              <a:buNone/>
              <a:defRPr/>
            </a:lvl1pPr>
          </a:lstStyle>
          <a:p>
            <a:r>
              <a:rPr lang="en-US"/>
              <a:t>Insert picture</a:t>
            </a:r>
          </a:p>
        </p:txBody>
      </p:sp>
      <p:sp>
        <p:nvSpPr>
          <p:cNvPr id="11" name="Text Placeholder 4"/>
          <p:cNvSpPr>
            <a:spLocks noGrp="1"/>
          </p:cNvSpPr>
          <p:nvPr>
            <p:ph type="body" sz="quarter" idx="19" hasCustomPrompt="1"/>
          </p:nvPr>
        </p:nvSpPr>
        <p:spPr>
          <a:xfrm>
            <a:off x="1075063" y="6307665"/>
            <a:ext cx="8162717" cy="133200"/>
          </a:xfrm>
        </p:spPr>
        <p:txBody>
          <a:bodyPr lIns="0" tIns="0" rIns="0" bIns="0" anchor="b" anchorCtr="0"/>
          <a:lstStyle>
            <a:lvl1pPr marL="0" indent="0" algn="l">
              <a:lnSpc>
                <a:spcPct val="100000"/>
              </a:lnSpc>
              <a:spcBef>
                <a:spcPts val="0"/>
              </a:spcBef>
              <a:buNone/>
              <a:defRPr sz="800" baseline="0"/>
            </a:lvl1pPr>
            <a:lvl2pPr marL="0" indent="0" algn="l">
              <a:lnSpc>
                <a:spcPct val="100000"/>
              </a:lnSpc>
              <a:spcBef>
                <a:spcPts val="0"/>
              </a:spcBef>
              <a:buNone/>
              <a:defRPr sz="800"/>
            </a:lvl2pPr>
            <a:lvl3pPr marL="0" indent="0" algn="l">
              <a:lnSpc>
                <a:spcPct val="100000"/>
              </a:lnSpc>
              <a:spcBef>
                <a:spcPts val="0"/>
              </a:spcBef>
              <a:buNone/>
              <a:defRPr sz="800"/>
            </a:lvl3pPr>
            <a:lvl4pPr marL="0" algn="l">
              <a:lnSpc>
                <a:spcPct val="100000"/>
              </a:lnSpc>
              <a:spcBef>
                <a:spcPts val="0"/>
              </a:spcBef>
              <a:buNone/>
              <a:defRPr sz="800"/>
            </a:lvl4pPr>
            <a:lvl5pPr marL="0" indent="0" algn="l">
              <a:lnSpc>
                <a:spcPct val="100000"/>
              </a:lnSpc>
              <a:spcBef>
                <a:spcPts val="0"/>
              </a:spcBef>
              <a:buNone/>
              <a:defRPr sz="800"/>
            </a:lvl5pPr>
          </a:lstStyle>
          <a:p>
            <a:pPr lvl="0"/>
            <a:r>
              <a:rPr lang="en-US"/>
              <a:t>Source line</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11458165"/>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Two contents">
    <p:spTree>
      <p:nvGrpSpPr>
        <p:cNvPr id="1" name=""/>
        <p:cNvGrpSpPr/>
        <p:nvPr/>
      </p:nvGrpSpPr>
      <p:grpSpPr>
        <a:xfrm>
          <a:off x="0" y="0"/>
          <a:ext cx="0" cy="0"/>
          <a:chOff x="0" y="0"/>
          <a:chExt cx="0" cy="0"/>
        </a:xfrm>
      </p:grpSpPr>
      <p:sp>
        <p:nvSpPr>
          <p:cNvPr id="21" name="Date Placeholder 20"/>
          <p:cNvSpPr>
            <a:spLocks noGrp="1"/>
          </p:cNvSpPr>
          <p:nvPr>
            <p:ph type="dt" sz="half" idx="14"/>
          </p:nvPr>
        </p:nvSpPr>
        <p:spPr/>
        <p:txBody>
          <a:bodyPr/>
          <a:lstStyle/>
          <a:p>
            <a:fld id="{9D45F382-CD09-4611-8552-1549F9F12240}" type="datetime5">
              <a:rPr lang="en-US" smtClean="0"/>
              <a:t>26-Jun-20</a:t>
            </a:fld>
            <a:endParaRPr lang="en-US"/>
          </a:p>
        </p:txBody>
      </p:sp>
      <p:sp>
        <p:nvSpPr>
          <p:cNvPr id="22" name="Footer Placeholder 21"/>
          <p:cNvSpPr>
            <a:spLocks noGrp="1"/>
          </p:cNvSpPr>
          <p:nvPr>
            <p:ph type="ftr" sz="quarter" idx="15"/>
          </p:nvPr>
        </p:nvSpPr>
        <p:spPr/>
        <p:txBody>
          <a:bodyPr/>
          <a:lstStyle/>
          <a:p>
            <a:r>
              <a:rPr lang="en-US"/>
              <a:t>Title of presentation (Insert / Header &amp; Footer / Apply to All)</a:t>
            </a:r>
          </a:p>
        </p:txBody>
      </p:sp>
      <p:sp>
        <p:nvSpPr>
          <p:cNvPr id="23" name="Slide Number Placeholder 22"/>
          <p:cNvSpPr>
            <a:spLocks noGrp="1"/>
          </p:cNvSpPr>
          <p:nvPr>
            <p:ph type="sldNum" sz="quarter" idx="16"/>
          </p:nvPr>
        </p:nvSpPr>
        <p:spPr/>
        <p:txBody>
          <a:bodyPr/>
          <a:lstStyle/>
          <a:p>
            <a:fld id="{5F3E29E4-0979-4FCA-B4C5-5FC6044C982A}" type="slidenum">
              <a:rPr lang="en-US" smtClean="0"/>
              <a:t>‹#›</a:t>
            </a:fld>
            <a:endParaRPr lang="en-US"/>
          </a:p>
        </p:txBody>
      </p:sp>
      <p:sp>
        <p:nvSpPr>
          <p:cNvPr id="2" name="Title 1"/>
          <p:cNvSpPr>
            <a:spLocks noGrp="1"/>
          </p:cNvSpPr>
          <p:nvPr>
            <p:ph type="title" hasCustomPrompt="1"/>
          </p:nvPr>
        </p:nvSpPr>
        <p:spPr/>
        <p:txBody>
          <a:bodyPr/>
          <a:lstStyle>
            <a:lvl1pPr>
              <a:defRPr/>
            </a:lvl1pPr>
          </a:lstStyle>
          <a:p>
            <a:r>
              <a:rPr lang="en-US"/>
              <a:t>Click to add slide title</a:t>
            </a:r>
          </a:p>
        </p:txBody>
      </p:sp>
      <p:sp>
        <p:nvSpPr>
          <p:cNvPr id="7" name="Subtitle 2"/>
          <p:cNvSpPr>
            <a:spLocks noGrp="1"/>
          </p:cNvSpPr>
          <p:nvPr>
            <p:ph type="subTitle" idx="13" hasCustomPrompt="1"/>
          </p:nvPr>
        </p:nvSpPr>
        <p:spPr>
          <a:xfrm>
            <a:off x="1075061" y="964671"/>
            <a:ext cx="7910158" cy="490042"/>
          </a:xfrm>
        </p:spPr>
        <p:txBody>
          <a:bodyPr wrap="none"/>
          <a:lstStyle>
            <a:lvl1pPr marL="0" indent="0" algn="l">
              <a:spcBef>
                <a:spcPts val="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sp>
        <p:nvSpPr>
          <p:cNvPr id="3" name="Content Placeholder 2"/>
          <p:cNvSpPr>
            <a:spLocks noGrp="1"/>
          </p:cNvSpPr>
          <p:nvPr>
            <p:ph idx="1" hasCustomPrompt="1"/>
          </p:nvPr>
        </p:nvSpPr>
        <p:spPr>
          <a:xfrm>
            <a:off x="1075062" y="1629618"/>
            <a:ext cx="5220000" cy="4139357"/>
          </a:xfrm>
        </p:spPr>
        <p:txBody>
          <a:bodyPr/>
          <a:lstStyle>
            <a:lvl1pPr>
              <a:defRPr/>
            </a:lvl1pPr>
          </a:lstStyle>
          <a:p>
            <a:pPr lvl="0"/>
            <a:r>
              <a:rPr lang="en-US"/>
              <a:t>Click to add text or content</a:t>
            </a:r>
          </a:p>
          <a:p>
            <a:pPr lvl="1"/>
            <a:r>
              <a:rPr lang="en-US"/>
              <a:t>Second level</a:t>
            </a:r>
          </a:p>
          <a:p>
            <a:pPr lvl="2"/>
            <a:r>
              <a:rPr lang="en-US"/>
              <a:t>Third level</a:t>
            </a:r>
          </a:p>
          <a:p>
            <a:pPr lvl="3"/>
            <a:r>
              <a:rPr lang="en-US"/>
              <a:t>Fourth level</a:t>
            </a:r>
          </a:p>
          <a:p>
            <a:pPr lvl="4"/>
            <a:r>
              <a:rPr lang="en-US"/>
              <a:t>Fifth level</a:t>
            </a:r>
          </a:p>
        </p:txBody>
      </p:sp>
      <p:sp>
        <p:nvSpPr>
          <p:cNvPr id="9" name="Content Placeholder 2"/>
          <p:cNvSpPr>
            <a:spLocks noGrp="1"/>
          </p:cNvSpPr>
          <p:nvPr>
            <p:ph idx="17" hasCustomPrompt="1"/>
          </p:nvPr>
        </p:nvSpPr>
        <p:spPr>
          <a:xfrm>
            <a:off x="6600525" y="1629618"/>
            <a:ext cx="5220000" cy="4139357"/>
          </a:xfrm>
        </p:spPr>
        <p:txBody>
          <a:bodyPr/>
          <a:lstStyle>
            <a:lvl1pPr>
              <a:defRPr/>
            </a:lvl1pPr>
          </a:lstStyle>
          <a:p>
            <a:pPr lvl="0"/>
            <a:r>
              <a:rPr lang="en-US"/>
              <a:t>Click to add text or content</a:t>
            </a:r>
          </a:p>
          <a:p>
            <a:pPr lvl="1"/>
            <a:r>
              <a:rPr lang="en-US"/>
              <a:t>Second level</a:t>
            </a:r>
          </a:p>
          <a:p>
            <a:pPr lvl="2"/>
            <a:r>
              <a:rPr lang="en-US"/>
              <a:t>Third level</a:t>
            </a:r>
          </a:p>
          <a:p>
            <a:pPr lvl="3"/>
            <a:r>
              <a:rPr lang="en-US"/>
              <a:t>Fourth level</a:t>
            </a:r>
          </a:p>
          <a:p>
            <a:pPr lvl="4"/>
            <a:r>
              <a:rPr lang="en-US"/>
              <a:t>Fifth level</a:t>
            </a:r>
          </a:p>
        </p:txBody>
      </p:sp>
      <p:sp>
        <p:nvSpPr>
          <p:cNvPr id="11" name="Text Placeholder 4"/>
          <p:cNvSpPr>
            <a:spLocks noGrp="1"/>
          </p:cNvSpPr>
          <p:nvPr>
            <p:ph type="body" sz="quarter" idx="18" hasCustomPrompt="1"/>
          </p:nvPr>
        </p:nvSpPr>
        <p:spPr>
          <a:xfrm>
            <a:off x="1075063" y="6307665"/>
            <a:ext cx="8162717" cy="133200"/>
          </a:xfrm>
        </p:spPr>
        <p:txBody>
          <a:bodyPr lIns="0" tIns="0" rIns="0" bIns="0" anchor="b" anchorCtr="0"/>
          <a:lstStyle>
            <a:lvl1pPr marL="0" indent="0" algn="l">
              <a:lnSpc>
                <a:spcPct val="100000"/>
              </a:lnSpc>
              <a:spcBef>
                <a:spcPts val="0"/>
              </a:spcBef>
              <a:buNone/>
              <a:defRPr sz="800" baseline="0"/>
            </a:lvl1pPr>
            <a:lvl2pPr marL="0" indent="0" algn="l">
              <a:lnSpc>
                <a:spcPct val="100000"/>
              </a:lnSpc>
              <a:spcBef>
                <a:spcPts val="0"/>
              </a:spcBef>
              <a:buNone/>
              <a:defRPr sz="800"/>
            </a:lvl2pPr>
            <a:lvl3pPr marL="0" indent="0" algn="l">
              <a:lnSpc>
                <a:spcPct val="100000"/>
              </a:lnSpc>
              <a:spcBef>
                <a:spcPts val="0"/>
              </a:spcBef>
              <a:buNone/>
              <a:defRPr sz="800"/>
            </a:lvl3pPr>
            <a:lvl4pPr marL="0" algn="l">
              <a:lnSpc>
                <a:spcPct val="100000"/>
              </a:lnSpc>
              <a:spcBef>
                <a:spcPts val="0"/>
              </a:spcBef>
              <a:buNone/>
              <a:defRPr sz="800"/>
            </a:lvl4pPr>
            <a:lvl5pPr marL="0" indent="0" algn="l">
              <a:lnSpc>
                <a:spcPct val="100000"/>
              </a:lnSpc>
              <a:spcBef>
                <a:spcPts val="0"/>
              </a:spcBef>
              <a:buNone/>
              <a:defRPr sz="800"/>
            </a:lvl5pPr>
          </a:lstStyle>
          <a:p>
            <a:pPr lvl="0"/>
            <a:r>
              <a:rPr lang="en-US"/>
              <a:t>Source line</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33567962"/>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Three contents">
    <p:spTree>
      <p:nvGrpSpPr>
        <p:cNvPr id="1" name=""/>
        <p:cNvGrpSpPr/>
        <p:nvPr/>
      </p:nvGrpSpPr>
      <p:grpSpPr>
        <a:xfrm>
          <a:off x="0" y="0"/>
          <a:ext cx="0" cy="0"/>
          <a:chOff x="0" y="0"/>
          <a:chExt cx="0" cy="0"/>
        </a:xfrm>
      </p:grpSpPr>
      <p:sp>
        <p:nvSpPr>
          <p:cNvPr id="21" name="Date Placeholder 20"/>
          <p:cNvSpPr>
            <a:spLocks noGrp="1"/>
          </p:cNvSpPr>
          <p:nvPr>
            <p:ph type="dt" sz="half" idx="14"/>
          </p:nvPr>
        </p:nvSpPr>
        <p:spPr/>
        <p:txBody>
          <a:bodyPr/>
          <a:lstStyle/>
          <a:p>
            <a:fld id="{E67FA33E-39D1-4C68-AC07-495881E0A93B}" type="datetime5">
              <a:rPr lang="en-US" smtClean="0"/>
              <a:t>26-Jun-20</a:t>
            </a:fld>
            <a:endParaRPr lang="en-US"/>
          </a:p>
        </p:txBody>
      </p:sp>
      <p:sp>
        <p:nvSpPr>
          <p:cNvPr id="22" name="Footer Placeholder 21"/>
          <p:cNvSpPr>
            <a:spLocks noGrp="1"/>
          </p:cNvSpPr>
          <p:nvPr>
            <p:ph type="ftr" sz="quarter" idx="15"/>
          </p:nvPr>
        </p:nvSpPr>
        <p:spPr/>
        <p:txBody>
          <a:bodyPr/>
          <a:lstStyle/>
          <a:p>
            <a:r>
              <a:rPr lang="en-US"/>
              <a:t>Title of presentation (Insert / Header &amp; Footer / Apply to All)</a:t>
            </a:r>
          </a:p>
        </p:txBody>
      </p:sp>
      <p:sp>
        <p:nvSpPr>
          <p:cNvPr id="23" name="Slide Number Placeholder 22"/>
          <p:cNvSpPr>
            <a:spLocks noGrp="1"/>
          </p:cNvSpPr>
          <p:nvPr>
            <p:ph type="sldNum" sz="quarter" idx="16"/>
          </p:nvPr>
        </p:nvSpPr>
        <p:spPr/>
        <p:txBody>
          <a:bodyPr/>
          <a:lstStyle/>
          <a:p>
            <a:fld id="{5F3E29E4-0979-4FCA-B4C5-5FC6044C982A}" type="slidenum">
              <a:rPr lang="en-US" smtClean="0"/>
              <a:t>‹#›</a:t>
            </a:fld>
            <a:endParaRPr lang="en-US"/>
          </a:p>
        </p:txBody>
      </p:sp>
      <p:sp>
        <p:nvSpPr>
          <p:cNvPr id="2" name="Title 1"/>
          <p:cNvSpPr>
            <a:spLocks noGrp="1"/>
          </p:cNvSpPr>
          <p:nvPr>
            <p:ph type="title" hasCustomPrompt="1"/>
          </p:nvPr>
        </p:nvSpPr>
        <p:spPr/>
        <p:txBody>
          <a:bodyPr/>
          <a:lstStyle>
            <a:lvl1pPr>
              <a:defRPr/>
            </a:lvl1pPr>
          </a:lstStyle>
          <a:p>
            <a:r>
              <a:rPr lang="en-US"/>
              <a:t>Click to add slide title</a:t>
            </a:r>
          </a:p>
        </p:txBody>
      </p:sp>
      <p:sp>
        <p:nvSpPr>
          <p:cNvPr id="7" name="Subtitle 2"/>
          <p:cNvSpPr>
            <a:spLocks noGrp="1"/>
          </p:cNvSpPr>
          <p:nvPr>
            <p:ph type="subTitle" idx="13" hasCustomPrompt="1"/>
          </p:nvPr>
        </p:nvSpPr>
        <p:spPr>
          <a:xfrm>
            <a:off x="1075061" y="964671"/>
            <a:ext cx="7910158" cy="490042"/>
          </a:xfrm>
        </p:spPr>
        <p:txBody>
          <a:bodyPr wrap="none"/>
          <a:lstStyle>
            <a:lvl1pPr marL="0" indent="0" algn="l">
              <a:spcBef>
                <a:spcPts val="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sp>
        <p:nvSpPr>
          <p:cNvPr id="3" name="Content Placeholder 2"/>
          <p:cNvSpPr>
            <a:spLocks noGrp="1"/>
          </p:cNvSpPr>
          <p:nvPr>
            <p:ph idx="1" hasCustomPrompt="1"/>
          </p:nvPr>
        </p:nvSpPr>
        <p:spPr>
          <a:xfrm>
            <a:off x="1075061" y="1629618"/>
            <a:ext cx="3384000" cy="4139357"/>
          </a:xfrm>
        </p:spPr>
        <p:txBody>
          <a:bodyPr/>
          <a:lstStyle>
            <a:lvl1pPr>
              <a:defRPr/>
            </a:lvl1pPr>
          </a:lstStyle>
          <a:p>
            <a:pPr lvl="0"/>
            <a:r>
              <a:rPr lang="en-US"/>
              <a:t>Click to add text or content</a:t>
            </a:r>
          </a:p>
          <a:p>
            <a:pPr lvl="1"/>
            <a:r>
              <a:rPr lang="en-US"/>
              <a:t>Second level</a:t>
            </a:r>
          </a:p>
          <a:p>
            <a:pPr lvl="2"/>
            <a:r>
              <a:rPr lang="en-US"/>
              <a:t>Third level</a:t>
            </a:r>
          </a:p>
          <a:p>
            <a:pPr lvl="3"/>
            <a:r>
              <a:rPr lang="en-US"/>
              <a:t>Fourth level</a:t>
            </a:r>
          </a:p>
          <a:p>
            <a:pPr lvl="4"/>
            <a:r>
              <a:rPr lang="en-US"/>
              <a:t>Fifth level</a:t>
            </a:r>
          </a:p>
        </p:txBody>
      </p:sp>
      <p:sp>
        <p:nvSpPr>
          <p:cNvPr id="9" name="Content Placeholder 2"/>
          <p:cNvSpPr>
            <a:spLocks noGrp="1"/>
          </p:cNvSpPr>
          <p:nvPr>
            <p:ph idx="17" hasCustomPrompt="1"/>
          </p:nvPr>
        </p:nvSpPr>
        <p:spPr>
          <a:xfrm>
            <a:off x="4755793" y="1629618"/>
            <a:ext cx="3384000" cy="4139357"/>
          </a:xfrm>
        </p:spPr>
        <p:txBody>
          <a:bodyPr/>
          <a:lstStyle>
            <a:lvl1pPr>
              <a:defRPr/>
            </a:lvl1pPr>
          </a:lstStyle>
          <a:p>
            <a:pPr lvl="0"/>
            <a:r>
              <a:rPr lang="en-US"/>
              <a:t>Click to add text or content</a:t>
            </a:r>
          </a:p>
          <a:p>
            <a:pPr lvl="1"/>
            <a:r>
              <a:rPr lang="en-US"/>
              <a:t>Second level</a:t>
            </a:r>
          </a:p>
          <a:p>
            <a:pPr lvl="2"/>
            <a:r>
              <a:rPr lang="en-US"/>
              <a:t>Third level</a:t>
            </a:r>
          </a:p>
          <a:p>
            <a:pPr lvl="3"/>
            <a:r>
              <a:rPr lang="en-US"/>
              <a:t>Fourth level</a:t>
            </a:r>
          </a:p>
          <a:p>
            <a:pPr lvl="4"/>
            <a:r>
              <a:rPr lang="en-US"/>
              <a:t>Fifth level</a:t>
            </a:r>
          </a:p>
        </p:txBody>
      </p:sp>
      <p:sp>
        <p:nvSpPr>
          <p:cNvPr id="10" name="Content Placeholder 2"/>
          <p:cNvSpPr>
            <a:spLocks noGrp="1"/>
          </p:cNvSpPr>
          <p:nvPr>
            <p:ph idx="18" hasCustomPrompt="1"/>
          </p:nvPr>
        </p:nvSpPr>
        <p:spPr>
          <a:xfrm>
            <a:off x="8436525" y="1629618"/>
            <a:ext cx="3384000" cy="4139357"/>
          </a:xfrm>
        </p:spPr>
        <p:txBody>
          <a:bodyPr/>
          <a:lstStyle>
            <a:lvl1pPr>
              <a:defRPr/>
            </a:lvl1pPr>
          </a:lstStyle>
          <a:p>
            <a:pPr lvl="0"/>
            <a:r>
              <a:rPr lang="en-US"/>
              <a:t>Click to add text or content</a:t>
            </a:r>
          </a:p>
          <a:p>
            <a:pPr lvl="1"/>
            <a:r>
              <a:rPr lang="en-US"/>
              <a:t>Second level</a:t>
            </a:r>
          </a:p>
          <a:p>
            <a:pPr lvl="2"/>
            <a:r>
              <a:rPr lang="en-US"/>
              <a:t>Third level</a:t>
            </a:r>
          </a:p>
          <a:p>
            <a:pPr lvl="3"/>
            <a:r>
              <a:rPr lang="en-US"/>
              <a:t>Fourth level</a:t>
            </a:r>
          </a:p>
          <a:p>
            <a:pPr lvl="4"/>
            <a:r>
              <a:rPr lang="en-US"/>
              <a:t>Fifth level</a:t>
            </a:r>
          </a:p>
        </p:txBody>
      </p:sp>
      <p:sp>
        <p:nvSpPr>
          <p:cNvPr id="12" name="Text Placeholder 4"/>
          <p:cNvSpPr>
            <a:spLocks noGrp="1"/>
          </p:cNvSpPr>
          <p:nvPr>
            <p:ph type="body" sz="quarter" idx="19" hasCustomPrompt="1"/>
          </p:nvPr>
        </p:nvSpPr>
        <p:spPr>
          <a:xfrm>
            <a:off x="1075063" y="6307665"/>
            <a:ext cx="8162717" cy="133200"/>
          </a:xfrm>
        </p:spPr>
        <p:txBody>
          <a:bodyPr lIns="0" tIns="0" rIns="0" bIns="0" anchor="b" anchorCtr="0"/>
          <a:lstStyle>
            <a:lvl1pPr marL="0" indent="0" algn="l">
              <a:lnSpc>
                <a:spcPct val="100000"/>
              </a:lnSpc>
              <a:spcBef>
                <a:spcPts val="0"/>
              </a:spcBef>
              <a:buNone/>
              <a:defRPr sz="800" baseline="0"/>
            </a:lvl1pPr>
            <a:lvl2pPr marL="0" indent="0" algn="l">
              <a:lnSpc>
                <a:spcPct val="100000"/>
              </a:lnSpc>
              <a:spcBef>
                <a:spcPts val="0"/>
              </a:spcBef>
              <a:buNone/>
              <a:defRPr sz="800"/>
            </a:lvl2pPr>
            <a:lvl3pPr marL="0" indent="0" algn="l">
              <a:lnSpc>
                <a:spcPct val="100000"/>
              </a:lnSpc>
              <a:spcBef>
                <a:spcPts val="0"/>
              </a:spcBef>
              <a:buNone/>
              <a:defRPr sz="800"/>
            </a:lvl3pPr>
            <a:lvl4pPr marL="0" algn="l">
              <a:lnSpc>
                <a:spcPct val="100000"/>
              </a:lnSpc>
              <a:spcBef>
                <a:spcPts val="0"/>
              </a:spcBef>
              <a:buNone/>
              <a:defRPr sz="800"/>
            </a:lvl4pPr>
            <a:lvl5pPr marL="0" indent="0" algn="l">
              <a:lnSpc>
                <a:spcPct val="100000"/>
              </a:lnSpc>
              <a:spcBef>
                <a:spcPts val="0"/>
              </a:spcBef>
              <a:buNone/>
              <a:defRPr sz="800"/>
            </a:lvl5pPr>
          </a:lstStyle>
          <a:p>
            <a:pPr lvl="0"/>
            <a:r>
              <a:rPr lang="en-US"/>
              <a:t>Source line</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17625956"/>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Four contents 1">
    <p:spTree>
      <p:nvGrpSpPr>
        <p:cNvPr id="1" name=""/>
        <p:cNvGrpSpPr/>
        <p:nvPr/>
      </p:nvGrpSpPr>
      <p:grpSpPr>
        <a:xfrm>
          <a:off x="0" y="0"/>
          <a:ext cx="0" cy="0"/>
          <a:chOff x="0" y="0"/>
          <a:chExt cx="0" cy="0"/>
        </a:xfrm>
      </p:grpSpPr>
      <p:sp>
        <p:nvSpPr>
          <p:cNvPr id="21" name="Date Placeholder 20"/>
          <p:cNvSpPr>
            <a:spLocks noGrp="1"/>
          </p:cNvSpPr>
          <p:nvPr>
            <p:ph type="dt" sz="half" idx="14"/>
          </p:nvPr>
        </p:nvSpPr>
        <p:spPr/>
        <p:txBody>
          <a:bodyPr/>
          <a:lstStyle/>
          <a:p>
            <a:fld id="{C2672A55-7139-4AA9-8041-42818C956C2C}" type="datetime5">
              <a:rPr lang="en-US" smtClean="0"/>
              <a:t>26-Jun-20</a:t>
            </a:fld>
            <a:endParaRPr lang="en-US"/>
          </a:p>
        </p:txBody>
      </p:sp>
      <p:sp>
        <p:nvSpPr>
          <p:cNvPr id="22" name="Footer Placeholder 21"/>
          <p:cNvSpPr>
            <a:spLocks noGrp="1"/>
          </p:cNvSpPr>
          <p:nvPr>
            <p:ph type="ftr" sz="quarter" idx="15"/>
          </p:nvPr>
        </p:nvSpPr>
        <p:spPr/>
        <p:txBody>
          <a:bodyPr/>
          <a:lstStyle/>
          <a:p>
            <a:r>
              <a:rPr lang="en-US"/>
              <a:t>Title of presentation (Insert / Header &amp; Footer / Apply to All)</a:t>
            </a:r>
          </a:p>
        </p:txBody>
      </p:sp>
      <p:sp>
        <p:nvSpPr>
          <p:cNvPr id="23" name="Slide Number Placeholder 22"/>
          <p:cNvSpPr>
            <a:spLocks noGrp="1"/>
          </p:cNvSpPr>
          <p:nvPr>
            <p:ph type="sldNum" sz="quarter" idx="16"/>
          </p:nvPr>
        </p:nvSpPr>
        <p:spPr/>
        <p:txBody>
          <a:bodyPr/>
          <a:lstStyle/>
          <a:p>
            <a:fld id="{5F3E29E4-0979-4FCA-B4C5-5FC6044C982A}" type="slidenum">
              <a:rPr lang="en-US" smtClean="0"/>
              <a:t>‹#›</a:t>
            </a:fld>
            <a:endParaRPr lang="en-US"/>
          </a:p>
        </p:txBody>
      </p:sp>
      <p:sp>
        <p:nvSpPr>
          <p:cNvPr id="2" name="Title 1"/>
          <p:cNvSpPr>
            <a:spLocks noGrp="1"/>
          </p:cNvSpPr>
          <p:nvPr>
            <p:ph type="title" hasCustomPrompt="1"/>
          </p:nvPr>
        </p:nvSpPr>
        <p:spPr/>
        <p:txBody>
          <a:bodyPr/>
          <a:lstStyle>
            <a:lvl1pPr>
              <a:defRPr/>
            </a:lvl1pPr>
          </a:lstStyle>
          <a:p>
            <a:r>
              <a:rPr lang="en-US"/>
              <a:t>Click to add slide title</a:t>
            </a:r>
          </a:p>
        </p:txBody>
      </p:sp>
      <p:sp>
        <p:nvSpPr>
          <p:cNvPr id="7" name="Subtitle 2"/>
          <p:cNvSpPr>
            <a:spLocks noGrp="1"/>
          </p:cNvSpPr>
          <p:nvPr>
            <p:ph type="subTitle" idx="13" hasCustomPrompt="1"/>
          </p:nvPr>
        </p:nvSpPr>
        <p:spPr>
          <a:xfrm>
            <a:off x="1075061" y="964671"/>
            <a:ext cx="7910158" cy="490042"/>
          </a:xfrm>
        </p:spPr>
        <p:txBody>
          <a:bodyPr wrap="none"/>
          <a:lstStyle>
            <a:lvl1pPr marL="0" indent="0" algn="l">
              <a:spcBef>
                <a:spcPts val="0"/>
              </a:spcBef>
              <a:buNone/>
              <a:defRPr sz="2400" baseline="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sp>
        <p:nvSpPr>
          <p:cNvPr id="3" name="Content Placeholder 2"/>
          <p:cNvSpPr>
            <a:spLocks noGrp="1"/>
          </p:cNvSpPr>
          <p:nvPr>
            <p:ph idx="1" hasCustomPrompt="1"/>
          </p:nvPr>
        </p:nvSpPr>
        <p:spPr>
          <a:xfrm>
            <a:off x="192088" y="1629618"/>
            <a:ext cx="2682000" cy="4139357"/>
          </a:xfrm>
        </p:spPr>
        <p:txBody>
          <a:bodyPr/>
          <a:lstStyle>
            <a:lvl1pPr>
              <a:defRPr/>
            </a:lvl1pPr>
          </a:lstStyle>
          <a:p>
            <a:pPr lvl="0"/>
            <a:r>
              <a:rPr lang="en-US"/>
              <a:t>Click to add text or content</a:t>
            </a:r>
          </a:p>
          <a:p>
            <a:pPr lvl="1"/>
            <a:r>
              <a:rPr lang="en-US"/>
              <a:t>Second level</a:t>
            </a:r>
          </a:p>
          <a:p>
            <a:pPr lvl="2"/>
            <a:r>
              <a:rPr lang="en-US"/>
              <a:t>Third level</a:t>
            </a:r>
          </a:p>
          <a:p>
            <a:pPr lvl="3"/>
            <a:r>
              <a:rPr lang="en-US"/>
              <a:t>Fourth level</a:t>
            </a:r>
          </a:p>
          <a:p>
            <a:pPr lvl="4"/>
            <a:r>
              <a:rPr lang="en-US"/>
              <a:t>Fifth level</a:t>
            </a:r>
          </a:p>
        </p:txBody>
      </p:sp>
      <p:sp>
        <p:nvSpPr>
          <p:cNvPr id="9" name="Content Placeholder 2"/>
          <p:cNvSpPr>
            <a:spLocks noGrp="1"/>
          </p:cNvSpPr>
          <p:nvPr>
            <p:ph idx="17" hasCustomPrompt="1"/>
          </p:nvPr>
        </p:nvSpPr>
        <p:spPr>
          <a:xfrm>
            <a:off x="3174234" y="1629618"/>
            <a:ext cx="2682000" cy="4139357"/>
          </a:xfrm>
        </p:spPr>
        <p:txBody>
          <a:bodyPr/>
          <a:lstStyle>
            <a:lvl1pPr>
              <a:defRPr/>
            </a:lvl1pPr>
          </a:lstStyle>
          <a:p>
            <a:pPr lvl="0"/>
            <a:r>
              <a:rPr lang="en-US"/>
              <a:t>Click to add text or content</a:t>
            </a:r>
          </a:p>
          <a:p>
            <a:pPr lvl="1"/>
            <a:r>
              <a:rPr lang="en-US"/>
              <a:t>Second level</a:t>
            </a:r>
          </a:p>
          <a:p>
            <a:pPr lvl="2"/>
            <a:r>
              <a:rPr lang="en-US"/>
              <a:t>Third level</a:t>
            </a:r>
          </a:p>
          <a:p>
            <a:pPr lvl="3"/>
            <a:r>
              <a:rPr lang="en-US"/>
              <a:t>Fourth level</a:t>
            </a:r>
          </a:p>
          <a:p>
            <a:pPr lvl="4"/>
            <a:r>
              <a:rPr lang="en-US"/>
              <a:t>Fifth level</a:t>
            </a:r>
          </a:p>
        </p:txBody>
      </p:sp>
      <p:sp>
        <p:nvSpPr>
          <p:cNvPr id="10" name="Content Placeholder 2"/>
          <p:cNvSpPr>
            <a:spLocks noGrp="1"/>
          </p:cNvSpPr>
          <p:nvPr>
            <p:ph idx="18" hasCustomPrompt="1"/>
          </p:nvPr>
        </p:nvSpPr>
        <p:spPr>
          <a:xfrm>
            <a:off x="6156380" y="1629618"/>
            <a:ext cx="2682000" cy="4139357"/>
          </a:xfrm>
        </p:spPr>
        <p:txBody>
          <a:bodyPr/>
          <a:lstStyle>
            <a:lvl1pPr>
              <a:defRPr/>
            </a:lvl1pPr>
          </a:lstStyle>
          <a:p>
            <a:pPr lvl="0"/>
            <a:r>
              <a:rPr lang="en-US"/>
              <a:t>Click to add text or content</a:t>
            </a:r>
          </a:p>
          <a:p>
            <a:pPr lvl="1"/>
            <a:r>
              <a:rPr lang="en-US"/>
              <a:t>Second level</a:t>
            </a:r>
          </a:p>
          <a:p>
            <a:pPr lvl="2"/>
            <a:r>
              <a:rPr lang="en-US"/>
              <a:t>Third level</a:t>
            </a:r>
          </a:p>
          <a:p>
            <a:pPr lvl="3"/>
            <a:r>
              <a:rPr lang="en-US"/>
              <a:t>Fourth level</a:t>
            </a:r>
          </a:p>
          <a:p>
            <a:pPr lvl="4"/>
            <a:r>
              <a:rPr lang="en-US"/>
              <a:t>Fifth level</a:t>
            </a:r>
          </a:p>
        </p:txBody>
      </p:sp>
      <p:sp>
        <p:nvSpPr>
          <p:cNvPr id="13" name="Content Placeholder 2"/>
          <p:cNvSpPr>
            <a:spLocks noGrp="1"/>
          </p:cNvSpPr>
          <p:nvPr>
            <p:ph idx="19" hasCustomPrompt="1"/>
          </p:nvPr>
        </p:nvSpPr>
        <p:spPr>
          <a:xfrm>
            <a:off x="9138525" y="1629618"/>
            <a:ext cx="2682000" cy="4139357"/>
          </a:xfrm>
        </p:spPr>
        <p:txBody>
          <a:bodyPr/>
          <a:lstStyle>
            <a:lvl1pPr>
              <a:defRPr/>
            </a:lvl1pPr>
          </a:lstStyle>
          <a:p>
            <a:pPr lvl="0"/>
            <a:r>
              <a:rPr lang="en-US"/>
              <a:t>Click to add text or content</a:t>
            </a:r>
          </a:p>
          <a:p>
            <a:pPr lvl="1"/>
            <a:r>
              <a:rPr lang="en-US"/>
              <a:t>Second level</a:t>
            </a:r>
          </a:p>
          <a:p>
            <a:pPr lvl="2"/>
            <a:r>
              <a:rPr lang="en-US"/>
              <a:t>Third level</a:t>
            </a:r>
          </a:p>
          <a:p>
            <a:pPr lvl="3"/>
            <a:r>
              <a:rPr lang="en-US"/>
              <a:t>Fourth level</a:t>
            </a:r>
          </a:p>
          <a:p>
            <a:pPr lvl="4"/>
            <a:r>
              <a:rPr lang="en-US"/>
              <a:t>Fifth level</a:t>
            </a:r>
          </a:p>
        </p:txBody>
      </p:sp>
      <p:sp>
        <p:nvSpPr>
          <p:cNvPr id="12" name="Text Placeholder 4"/>
          <p:cNvSpPr>
            <a:spLocks noGrp="1"/>
          </p:cNvSpPr>
          <p:nvPr>
            <p:ph type="body" sz="quarter" idx="20" hasCustomPrompt="1"/>
          </p:nvPr>
        </p:nvSpPr>
        <p:spPr>
          <a:xfrm>
            <a:off x="1075063" y="6307665"/>
            <a:ext cx="8162717" cy="133200"/>
          </a:xfrm>
        </p:spPr>
        <p:txBody>
          <a:bodyPr lIns="0" tIns="0" rIns="0" bIns="0" anchor="b" anchorCtr="0"/>
          <a:lstStyle>
            <a:lvl1pPr marL="0" indent="0" algn="l">
              <a:lnSpc>
                <a:spcPct val="100000"/>
              </a:lnSpc>
              <a:spcBef>
                <a:spcPts val="0"/>
              </a:spcBef>
              <a:buNone/>
              <a:defRPr sz="800" baseline="0"/>
            </a:lvl1pPr>
            <a:lvl2pPr marL="0" indent="0" algn="l">
              <a:lnSpc>
                <a:spcPct val="100000"/>
              </a:lnSpc>
              <a:spcBef>
                <a:spcPts val="0"/>
              </a:spcBef>
              <a:buNone/>
              <a:defRPr sz="800"/>
            </a:lvl2pPr>
            <a:lvl3pPr marL="0" indent="0" algn="l">
              <a:lnSpc>
                <a:spcPct val="100000"/>
              </a:lnSpc>
              <a:spcBef>
                <a:spcPts val="0"/>
              </a:spcBef>
              <a:buNone/>
              <a:defRPr sz="800"/>
            </a:lvl3pPr>
            <a:lvl4pPr marL="0" algn="l">
              <a:lnSpc>
                <a:spcPct val="100000"/>
              </a:lnSpc>
              <a:spcBef>
                <a:spcPts val="0"/>
              </a:spcBef>
              <a:buNone/>
              <a:defRPr sz="800"/>
            </a:lvl4pPr>
            <a:lvl5pPr marL="0" indent="0" algn="l">
              <a:lnSpc>
                <a:spcPct val="100000"/>
              </a:lnSpc>
              <a:spcBef>
                <a:spcPts val="0"/>
              </a:spcBef>
              <a:buNone/>
              <a:defRPr sz="800"/>
            </a:lvl5pPr>
          </a:lstStyle>
          <a:p>
            <a:pPr lvl="0"/>
            <a:r>
              <a:rPr lang="en-US"/>
              <a:t>Source line</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69222749"/>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Four contents 2">
    <p:spTree>
      <p:nvGrpSpPr>
        <p:cNvPr id="1" name=""/>
        <p:cNvGrpSpPr/>
        <p:nvPr/>
      </p:nvGrpSpPr>
      <p:grpSpPr>
        <a:xfrm>
          <a:off x="0" y="0"/>
          <a:ext cx="0" cy="0"/>
          <a:chOff x="0" y="0"/>
          <a:chExt cx="0" cy="0"/>
        </a:xfrm>
      </p:grpSpPr>
      <p:sp>
        <p:nvSpPr>
          <p:cNvPr id="21" name="Date Placeholder 20"/>
          <p:cNvSpPr>
            <a:spLocks noGrp="1"/>
          </p:cNvSpPr>
          <p:nvPr>
            <p:ph type="dt" sz="half" idx="14"/>
          </p:nvPr>
        </p:nvSpPr>
        <p:spPr/>
        <p:txBody>
          <a:bodyPr/>
          <a:lstStyle/>
          <a:p>
            <a:fld id="{C1A94770-6330-463A-BD32-DB4363F98C83}" type="datetime5">
              <a:rPr lang="en-US" smtClean="0"/>
              <a:t>26-Jun-20</a:t>
            </a:fld>
            <a:endParaRPr lang="en-US"/>
          </a:p>
        </p:txBody>
      </p:sp>
      <p:sp>
        <p:nvSpPr>
          <p:cNvPr id="22" name="Footer Placeholder 21"/>
          <p:cNvSpPr>
            <a:spLocks noGrp="1"/>
          </p:cNvSpPr>
          <p:nvPr>
            <p:ph type="ftr" sz="quarter" idx="15"/>
          </p:nvPr>
        </p:nvSpPr>
        <p:spPr/>
        <p:txBody>
          <a:bodyPr/>
          <a:lstStyle/>
          <a:p>
            <a:r>
              <a:rPr lang="en-US"/>
              <a:t>Title of presentation (Insert / Header &amp; Footer / Apply to All)</a:t>
            </a:r>
          </a:p>
        </p:txBody>
      </p:sp>
      <p:sp>
        <p:nvSpPr>
          <p:cNvPr id="23" name="Slide Number Placeholder 22"/>
          <p:cNvSpPr>
            <a:spLocks noGrp="1"/>
          </p:cNvSpPr>
          <p:nvPr>
            <p:ph type="sldNum" sz="quarter" idx="16"/>
          </p:nvPr>
        </p:nvSpPr>
        <p:spPr/>
        <p:txBody>
          <a:bodyPr/>
          <a:lstStyle/>
          <a:p>
            <a:fld id="{5F3E29E4-0979-4FCA-B4C5-5FC6044C982A}" type="slidenum">
              <a:rPr lang="en-US" smtClean="0"/>
              <a:t>‹#›</a:t>
            </a:fld>
            <a:endParaRPr lang="en-US"/>
          </a:p>
        </p:txBody>
      </p:sp>
      <p:sp>
        <p:nvSpPr>
          <p:cNvPr id="2" name="Title 1"/>
          <p:cNvSpPr>
            <a:spLocks noGrp="1"/>
          </p:cNvSpPr>
          <p:nvPr>
            <p:ph type="title" hasCustomPrompt="1"/>
          </p:nvPr>
        </p:nvSpPr>
        <p:spPr/>
        <p:txBody>
          <a:bodyPr/>
          <a:lstStyle>
            <a:lvl1pPr>
              <a:defRPr/>
            </a:lvl1pPr>
          </a:lstStyle>
          <a:p>
            <a:r>
              <a:rPr lang="en-US"/>
              <a:t>Click to add slide title</a:t>
            </a:r>
          </a:p>
        </p:txBody>
      </p:sp>
      <p:sp>
        <p:nvSpPr>
          <p:cNvPr id="7" name="Subtitle 2"/>
          <p:cNvSpPr>
            <a:spLocks noGrp="1"/>
          </p:cNvSpPr>
          <p:nvPr>
            <p:ph type="subTitle" idx="13" hasCustomPrompt="1"/>
          </p:nvPr>
        </p:nvSpPr>
        <p:spPr>
          <a:xfrm>
            <a:off x="1075061" y="964671"/>
            <a:ext cx="7910158" cy="490042"/>
          </a:xfrm>
        </p:spPr>
        <p:txBody>
          <a:bodyPr wrap="none"/>
          <a:lstStyle>
            <a:lvl1pPr marL="0" indent="0" algn="l">
              <a:spcBef>
                <a:spcPts val="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sp>
        <p:nvSpPr>
          <p:cNvPr id="3" name="Content Placeholder 2"/>
          <p:cNvSpPr>
            <a:spLocks noGrp="1"/>
          </p:cNvSpPr>
          <p:nvPr>
            <p:ph idx="1" hasCustomPrompt="1"/>
          </p:nvPr>
        </p:nvSpPr>
        <p:spPr>
          <a:xfrm>
            <a:off x="192088" y="1629617"/>
            <a:ext cx="6102974" cy="2160000"/>
          </a:xfrm>
        </p:spPr>
        <p:txBody>
          <a:bodyPr/>
          <a:lstStyle>
            <a:lvl1pPr>
              <a:defRPr/>
            </a:lvl1pPr>
          </a:lstStyle>
          <a:p>
            <a:pPr lvl="0"/>
            <a:r>
              <a:rPr lang="en-US"/>
              <a:t>Click to add text or content</a:t>
            </a:r>
          </a:p>
          <a:p>
            <a:pPr lvl="1"/>
            <a:r>
              <a:rPr lang="en-US"/>
              <a:t>Second level</a:t>
            </a:r>
          </a:p>
          <a:p>
            <a:pPr lvl="2"/>
            <a:r>
              <a:rPr lang="en-US"/>
              <a:t>Third level</a:t>
            </a:r>
          </a:p>
          <a:p>
            <a:pPr lvl="3"/>
            <a:r>
              <a:rPr lang="en-US"/>
              <a:t>Fourth level</a:t>
            </a:r>
          </a:p>
          <a:p>
            <a:pPr lvl="4"/>
            <a:r>
              <a:rPr lang="en-US"/>
              <a:t>Fifth level</a:t>
            </a:r>
          </a:p>
        </p:txBody>
      </p:sp>
      <p:sp>
        <p:nvSpPr>
          <p:cNvPr id="9" name="Content Placeholder 2"/>
          <p:cNvSpPr>
            <a:spLocks noGrp="1"/>
          </p:cNvSpPr>
          <p:nvPr>
            <p:ph idx="17" hasCustomPrompt="1"/>
          </p:nvPr>
        </p:nvSpPr>
        <p:spPr>
          <a:xfrm>
            <a:off x="6600525" y="1629617"/>
            <a:ext cx="5234144" cy="2160000"/>
          </a:xfrm>
        </p:spPr>
        <p:txBody>
          <a:bodyPr/>
          <a:lstStyle>
            <a:lvl1pPr>
              <a:defRPr/>
            </a:lvl1pPr>
          </a:lstStyle>
          <a:p>
            <a:pPr lvl="0"/>
            <a:r>
              <a:rPr lang="en-US"/>
              <a:t>Click to add text or content</a:t>
            </a:r>
          </a:p>
          <a:p>
            <a:pPr lvl="1"/>
            <a:r>
              <a:rPr lang="en-US"/>
              <a:t>Second level</a:t>
            </a:r>
          </a:p>
          <a:p>
            <a:pPr lvl="2"/>
            <a:r>
              <a:rPr lang="en-US"/>
              <a:t>Third level</a:t>
            </a:r>
          </a:p>
          <a:p>
            <a:pPr lvl="3"/>
            <a:r>
              <a:rPr lang="en-US"/>
              <a:t>Fourth level</a:t>
            </a:r>
          </a:p>
          <a:p>
            <a:pPr lvl="4"/>
            <a:r>
              <a:rPr lang="en-US"/>
              <a:t>Fifth level</a:t>
            </a:r>
          </a:p>
        </p:txBody>
      </p:sp>
      <p:sp>
        <p:nvSpPr>
          <p:cNvPr id="10" name="Content Placeholder 2"/>
          <p:cNvSpPr>
            <a:spLocks noGrp="1"/>
          </p:cNvSpPr>
          <p:nvPr>
            <p:ph idx="18" hasCustomPrompt="1"/>
          </p:nvPr>
        </p:nvSpPr>
        <p:spPr>
          <a:xfrm>
            <a:off x="192088" y="4077289"/>
            <a:ext cx="6102974" cy="2160000"/>
          </a:xfrm>
        </p:spPr>
        <p:txBody>
          <a:bodyPr/>
          <a:lstStyle>
            <a:lvl1pPr>
              <a:defRPr/>
            </a:lvl1pPr>
          </a:lstStyle>
          <a:p>
            <a:pPr lvl="0"/>
            <a:r>
              <a:rPr lang="en-US"/>
              <a:t>Click to add text or content</a:t>
            </a:r>
          </a:p>
          <a:p>
            <a:pPr lvl="1"/>
            <a:r>
              <a:rPr lang="en-US"/>
              <a:t>Second level</a:t>
            </a:r>
          </a:p>
          <a:p>
            <a:pPr lvl="2"/>
            <a:r>
              <a:rPr lang="en-US"/>
              <a:t>Third level</a:t>
            </a:r>
          </a:p>
          <a:p>
            <a:pPr lvl="3"/>
            <a:r>
              <a:rPr lang="en-US"/>
              <a:t>Fourth level</a:t>
            </a:r>
          </a:p>
          <a:p>
            <a:pPr lvl="4"/>
            <a:r>
              <a:rPr lang="en-US"/>
              <a:t>Fifth level</a:t>
            </a:r>
          </a:p>
        </p:txBody>
      </p:sp>
      <p:sp>
        <p:nvSpPr>
          <p:cNvPr id="13" name="Content Placeholder 2"/>
          <p:cNvSpPr>
            <a:spLocks noGrp="1"/>
          </p:cNvSpPr>
          <p:nvPr>
            <p:ph idx="19" hasCustomPrompt="1"/>
          </p:nvPr>
        </p:nvSpPr>
        <p:spPr>
          <a:xfrm>
            <a:off x="6600525" y="4077289"/>
            <a:ext cx="5234144" cy="2160000"/>
          </a:xfrm>
        </p:spPr>
        <p:txBody>
          <a:bodyPr/>
          <a:lstStyle>
            <a:lvl1pPr>
              <a:defRPr/>
            </a:lvl1pPr>
          </a:lstStyle>
          <a:p>
            <a:pPr lvl="0"/>
            <a:r>
              <a:rPr lang="en-US"/>
              <a:t>Click to add text or content</a:t>
            </a:r>
          </a:p>
          <a:p>
            <a:pPr lvl="1"/>
            <a:r>
              <a:rPr lang="en-US"/>
              <a:t>Second level</a:t>
            </a:r>
          </a:p>
          <a:p>
            <a:pPr lvl="2"/>
            <a:r>
              <a:rPr lang="en-US"/>
              <a:t>Third level</a:t>
            </a:r>
          </a:p>
          <a:p>
            <a:pPr lvl="3"/>
            <a:r>
              <a:rPr lang="en-US"/>
              <a:t>Fourth level</a:t>
            </a:r>
          </a:p>
          <a:p>
            <a:pPr lvl="4"/>
            <a:r>
              <a:rPr lang="en-US"/>
              <a:t>Fifth level</a:t>
            </a:r>
          </a:p>
        </p:txBody>
      </p:sp>
      <p:sp>
        <p:nvSpPr>
          <p:cNvPr id="12" name="Text Placeholder 4"/>
          <p:cNvSpPr>
            <a:spLocks noGrp="1"/>
          </p:cNvSpPr>
          <p:nvPr>
            <p:ph type="body" sz="quarter" idx="20" hasCustomPrompt="1"/>
          </p:nvPr>
        </p:nvSpPr>
        <p:spPr>
          <a:xfrm>
            <a:off x="1075063" y="6307665"/>
            <a:ext cx="8162717" cy="133200"/>
          </a:xfrm>
        </p:spPr>
        <p:txBody>
          <a:bodyPr lIns="0" tIns="0" rIns="0" bIns="0" anchor="b" anchorCtr="0"/>
          <a:lstStyle>
            <a:lvl1pPr marL="0" indent="0" algn="l">
              <a:lnSpc>
                <a:spcPct val="100000"/>
              </a:lnSpc>
              <a:spcBef>
                <a:spcPts val="0"/>
              </a:spcBef>
              <a:buNone/>
              <a:defRPr sz="800" baseline="0"/>
            </a:lvl1pPr>
            <a:lvl2pPr marL="0" indent="0" algn="l">
              <a:lnSpc>
                <a:spcPct val="100000"/>
              </a:lnSpc>
              <a:spcBef>
                <a:spcPts val="0"/>
              </a:spcBef>
              <a:buNone/>
              <a:defRPr sz="800"/>
            </a:lvl2pPr>
            <a:lvl3pPr marL="0" indent="0" algn="l">
              <a:lnSpc>
                <a:spcPct val="100000"/>
              </a:lnSpc>
              <a:spcBef>
                <a:spcPts val="0"/>
              </a:spcBef>
              <a:buNone/>
              <a:defRPr sz="800"/>
            </a:lvl3pPr>
            <a:lvl4pPr marL="0" algn="l">
              <a:lnSpc>
                <a:spcPct val="100000"/>
              </a:lnSpc>
              <a:spcBef>
                <a:spcPts val="0"/>
              </a:spcBef>
              <a:buNone/>
              <a:defRPr sz="800"/>
            </a:lvl4pPr>
            <a:lvl5pPr marL="0" indent="0" algn="l">
              <a:lnSpc>
                <a:spcPct val="100000"/>
              </a:lnSpc>
              <a:spcBef>
                <a:spcPts val="0"/>
              </a:spcBef>
              <a:buNone/>
              <a:defRPr sz="800"/>
            </a:lvl5pPr>
          </a:lstStyle>
          <a:p>
            <a:pPr lvl="0"/>
            <a:r>
              <a:rPr lang="en-US"/>
              <a:t>Source line</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07941154"/>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p:cSld name="Large charts and tables">
    <p:spTree>
      <p:nvGrpSpPr>
        <p:cNvPr id="1" name=""/>
        <p:cNvGrpSpPr/>
        <p:nvPr/>
      </p:nvGrpSpPr>
      <p:grpSpPr>
        <a:xfrm>
          <a:off x="0" y="0"/>
          <a:ext cx="0" cy="0"/>
          <a:chOff x="0" y="0"/>
          <a:chExt cx="0" cy="0"/>
        </a:xfrm>
      </p:grpSpPr>
      <p:sp>
        <p:nvSpPr>
          <p:cNvPr id="21" name="Date Placeholder 20"/>
          <p:cNvSpPr>
            <a:spLocks noGrp="1"/>
          </p:cNvSpPr>
          <p:nvPr>
            <p:ph type="dt" sz="half" idx="14"/>
          </p:nvPr>
        </p:nvSpPr>
        <p:spPr/>
        <p:txBody>
          <a:bodyPr/>
          <a:lstStyle/>
          <a:p>
            <a:fld id="{C8265AAA-10E5-49CF-B48E-DC443F79F14E}" type="datetime5">
              <a:rPr lang="en-US" smtClean="0"/>
              <a:t>26-Jun-20</a:t>
            </a:fld>
            <a:endParaRPr lang="en-US"/>
          </a:p>
        </p:txBody>
      </p:sp>
      <p:sp>
        <p:nvSpPr>
          <p:cNvPr id="22" name="Footer Placeholder 21"/>
          <p:cNvSpPr>
            <a:spLocks noGrp="1"/>
          </p:cNvSpPr>
          <p:nvPr>
            <p:ph type="ftr" sz="quarter" idx="15"/>
          </p:nvPr>
        </p:nvSpPr>
        <p:spPr/>
        <p:txBody>
          <a:bodyPr/>
          <a:lstStyle/>
          <a:p>
            <a:r>
              <a:rPr lang="en-US"/>
              <a:t>Title of presentation (Insert / Header &amp; Footer / Apply to All)</a:t>
            </a:r>
          </a:p>
        </p:txBody>
      </p:sp>
      <p:sp>
        <p:nvSpPr>
          <p:cNvPr id="23" name="Slide Number Placeholder 22"/>
          <p:cNvSpPr>
            <a:spLocks noGrp="1"/>
          </p:cNvSpPr>
          <p:nvPr>
            <p:ph type="sldNum" sz="quarter" idx="16"/>
          </p:nvPr>
        </p:nvSpPr>
        <p:spPr/>
        <p:txBody>
          <a:bodyPr/>
          <a:lstStyle/>
          <a:p>
            <a:fld id="{5F3E29E4-0979-4FCA-B4C5-5FC6044C982A}" type="slidenum">
              <a:rPr lang="en-US" smtClean="0"/>
              <a:t>‹#›</a:t>
            </a:fld>
            <a:endParaRPr lang="en-US"/>
          </a:p>
        </p:txBody>
      </p:sp>
      <p:sp>
        <p:nvSpPr>
          <p:cNvPr id="2" name="Title 1"/>
          <p:cNvSpPr>
            <a:spLocks noGrp="1"/>
          </p:cNvSpPr>
          <p:nvPr>
            <p:ph type="title" hasCustomPrompt="1"/>
          </p:nvPr>
        </p:nvSpPr>
        <p:spPr/>
        <p:txBody>
          <a:bodyPr/>
          <a:lstStyle>
            <a:lvl1pPr>
              <a:defRPr/>
            </a:lvl1pPr>
          </a:lstStyle>
          <a:p>
            <a:r>
              <a:rPr lang="en-US"/>
              <a:t>Click to add slide title</a:t>
            </a:r>
          </a:p>
        </p:txBody>
      </p:sp>
      <p:sp>
        <p:nvSpPr>
          <p:cNvPr id="7" name="Subtitle 2"/>
          <p:cNvSpPr>
            <a:spLocks noGrp="1"/>
          </p:cNvSpPr>
          <p:nvPr>
            <p:ph type="subTitle" idx="13" hasCustomPrompt="1"/>
          </p:nvPr>
        </p:nvSpPr>
        <p:spPr>
          <a:xfrm>
            <a:off x="1075061" y="964671"/>
            <a:ext cx="7910158" cy="490042"/>
          </a:xfrm>
        </p:spPr>
        <p:txBody>
          <a:bodyPr wrap="none"/>
          <a:lstStyle>
            <a:lvl1pPr marL="0" indent="0" algn="l">
              <a:spcBef>
                <a:spcPts val="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sp>
        <p:nvSpPr>
          <p:cNvPr id="3" name="Content Placeholder 2"/>
          <p:cNvSpPr>
            <a:spLocks noGrp="1"/>
          </p:cNvSpPr>
          <p:nvPr>
            <p:ph idx="1" hasCustomPrompt="1"/>
          </p:nvPr>
        </p:nvSpPr>
        <p:spPr>
          <a:xfrm>
            <a:off x="192088" y="1629617"/>
            <a:ext cx="11642581" cy="4599506"/>
          </a:xfrm>
        </p:spPr>
        <p:txBody>
          <a:bodyPr anchor="t"/>
          <a:lstStyle>
            <a:lvl1pPr marL="0" indent="0" algn="ctr">
              <a:spcBef>
                <a:spcPts val="1000"/>
              </a:spcBef>
              <a:buNone/>
              <a:defRPr sz="2800" baseline="0"/>
            </a:lvl1pPr>
            <a:lvl2pPr marL="0" indent="0">
              <a:spcBef>
                <a:spcPts val="1000"/>
              </a:spcBef>
              <a:buNone/>
              <a:defRPr sz="2800"/>
            </a:lvl2pPr>
            <a:lvl3pPr marL="0" indent="0">
              <a:spcBef>
                <a:spcPts val="1000"/>
              </a:spcBef>
              <a:buNone/>
              <a:defRPr sz="2800"/>
            </a:lvl3pPr>
            <a:lvl4pPr>
              <a:spcBef>
                <a:spcPts val="1000"/>
              </a:spcBef>
              <a:buNone/>
              <a:defRPr sz="2800"/>
            </a:lvl4pPr>
            <a:lvl5pPr marL="0" indent="0">
              <a:spcBef>
                <a:spcPts val="1000"/>
              </a:spcBef>
              <a:buNone/>
              <a:defRPr sz="2800"/>
            </a:lvl5pPr>
          </a:lstStyle>
          <a:p>
            <a:pPr lvl="0"/>
            <a:r>
              <a:rPr lang="en-US"/>
              <a:t>Use this layout for large charts and tables only. Please, do not use with text.</a:t>
            </a:r>
          </a:p>
          <a:p>
            <a:pPr lvl="1"/>
            <a:r>
              <a:rPr lang="en-US"/>
              <a:t>Second level</a:t>
            </a:r>
          </a:p>
          <a:p>
            <a:pPr lvl="2"/>
            <a:r>
              <a:rPr lang="en-US"/>
              <a:t>Third level</a:t>
            </a:r>
          </a:p>
          <a:p>
            <a:pPr lvl="3"/>
            <a:r>
              <a:rPr lang="en-US"/>
              <a:t>Fourth level</a:t>
            </a:r>
          </a:p>
          <a:p>
            <a:pPr lvl="4"/>
            <a:r>
              <a:rPr lang="en-US"/>
              <a:t>Fifth level</a:t>
            </a:r>
          </a:p>
        </p:txBody>
      </p:sp>
      <p:sp>
        <p:nvSpPr>
          <p:cNvPr id="9" name="Text Placeholder 4"/>
          <p:cNvSpPr>
            <a:spLocks noGrp="1"/>
          </p:cNvSpPr>
          <p:nvPr>
            <p:ph type="body" sz="quarter" idx="17" hasCustomPrompt="1"/>
          </p:nvPr>
        </p:nvSpPr>
        <p:spPr>
          <a:xfrm>
            <a:off x="1075063" y="6307665"/>
            <a:ext cx="8162717" cy="133200"/>
          </a:xfrm>
        </p:spPr>
        <p:txBody>
          <a:bodyPr lIns="0" tIns="0" rIns="0" bIns="0" anchor="b" anchorCtr="0"/>
          <a:lstStyle>
            <a:lvl1pPr marL="0" indent="0" algn="l">
              <a:lnSpc>
                <a:spcPct val="100000"/>
              </a:lnSpc>
              <a:spcBef>
                <a:spcPts val="0"/>
              </a:spcBef>
              <a:buNone/>
              <a:defRPr sz="800" baseline="0"/>
            </a:lvl1pPr>
            <a:lvl2pPr marL="0" indent="0" algn="l">
              <a:lnSpc>
                <a:spcPct val="100000"/>
              </a:lnSpc>
              <a:spcBef>
                <a:spcPts val="0"/>
              </a:spcBef>
              <a:buNone/>
              <a:defRPr sz="800"/>
            </a:lvl2pPr>
            <a:lvl3pPr marL="0" indent="0" algn="l">
              <a:lnSpc>
                <a:spcPct val="100000"/>
              </a:lnSpc>
              <a:spcBef>
                <a:spcPts val="0"/>
              </a:spcBef>
              <a:buNone/>
              <a:defRPr sz="800"/>
            </a:lvl3pPr>
            <a:lvl4pPr marL="0" algn="l">
              <a:lnSpc>
                <a:spcPct val="100000"/>
              </a:lnSpc>
              <a:spcBef>
                <a:spcPts val="0"/>
              </a:spcBef>
              <a:buNone/>
              <a:defRPr sz="800"/>
            </a:lvl4pPr>
            <a:lvl5pPr marL="0" indent="0" algn="l">
              <a:lnSpc>
                <a:spcPct val="100000"/>
              </a:lnSpc>
              <a:spcBef>
                <a:spcPts val="0"/>
              </a:spcBef>
              <a:buNone/>
              <a:defRPr sz="800"/>
            </a:lvl5pPr>
          </a:lstStyle>
          <a:p>
            <a:pPr lvl="0"/>
            <a:r>
              <a:rPr lang="en-US"/>
              <a:t>Source line</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4372754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One content">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
            </p:custDataLst>
          </p:nvPr>
        </p:nvGraphicFramePr>
        <p:xfrm>
          <a:off x="2122" y="2123"/>
          <a:ext cx="2116" cy="2115"/>
        </p:xfrm>
        <a:graphic>
          <a:graphicData uri="http://schemas.openxmlformats.org/presentationml/2006/ole">
            <mc:AlternateContent xmlns:mc="http://schemas.openxmlformats.org/markup-compatibility/2006">
              <mc:Choice xmlns:v="urn:schemas-microsoft-com:vml" Requires="v">
                <p:oleObj spid="_x0000_s43078" name="think-cell Slide" r:id="rId4" imgW="353" imgH="353" progId="TCLayout.ActiveDocument.1">
                  <p:embed/>
                </p:oleObj>
              </mc:Choice>
              <mc:Fallback>
                <p:oleObj name="think-cell Slide" r:id="rId4" imgW="353" imgH="353" progId="TCLayout.ActiveDocument.1">
                  <p:embed/>
                  <p:pic>
                    <p:nvPicPr>
                      <p:cNvPr id="10" name="Object 9" hidden="1"/>
                      <p:cNvPicPr/>
                      <p:nvPr/>
                    </p:nvPicPr>
                    <p:blipFill>
                      <a:blip r:embed="rId5"/>
                      <a:stretch>
                        <a:fillRect/>
                      </a:stretch>
                    </p:blipFill>
                    <p:spPr>
                      <a:xfrm>
                        <a:off x="2122" y="2123"/>
                        <a:ext cx="2116" cy="2115"/>
                      </a:xfrm>
                      <a:prstGeom prst="rect">
                        <a:avLst/>
                      </a:prstGeom>
                    </p:spPr>
                  </p:pic>
                </p:oleObj>
              </mc:Fallback>
            </mc:AlternateContent>
          </a:graphicData>
        </a:graphic>
      </p:graphicFrame>
      <p:sp>
        <p:nvSpPr>
          <p:cNvPr id="9" name="Content Placeholder 8"/>
          <p:cNvSpPr>
            <a:spLocks noGrp="1"/>
          </p:cNvSpPr>
          <p:nvPr>
            <p:ph sz="quarter" idx="12" hasCustomPrompt="1"/>
          </p:nvPr>
        </p:nvSpPr>
        <p:spPr>
          <a:xfrm>
            <a:off x="431213" y="1700763"/>
            <a:ext cx="11328987" cy="4609024"/>
          </a:xfrm>
        </p:spPr>
        <p:txBody>
          <a:bodyPr/>
          <a:lstStyle/>
          <a:p>
            <a:pPr lvl="0"/>
            <a:r>
              <a:rPr lang="en-US" noProof="0"/>
              <a:t>Click to add tex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 name="Title 1"/>
          <p:cNvSpPr>
            <a:spLocks noGrp="1"/>
          </p:cNvSpPr>
          <p:nvPr>
            <p:ph type="title" hasCustomPrompt="1"/>
          </p:nvPr>
        </p:nvSpPr>
        <p:spPr bwMode="gray"/>
        <p:txBody>
          <a:bodyPr/>
          <a:lstStyle/>
          <a:p>
            <a:r>
              <a:rPr lang="en-US"/>
              <a:t>Click to add headline</a:t>
            </a:r>
          </a:p>
        </p:txBody>
      </p:sp>
      <p:sp>
        <p:nvSpPr>
          <p:cNvPr id="4" name="Textplatzhalter 2"/>
          <p:cNvSpPr>
            <a:spLocks noGrp="1"/>
          </p:cNvSpPr>
          <p:nvPr>
            <p:ph type="body" sz="quarter" idx="10" hasCustomPrompt="1"/>
          </p:nvPr>
        </p:nvSpPr>
        <p:spPr bwMode="gray">
          <a:xfrm>
            <a:off x="431215" y="1220700"/>
            <a:ext cx="11329573" cy="384053"/>
          </a:xfrm>
        </p:spPr>
        <p:txBody>
          <a:bodyPr>
            <a:noAutofit/>
          </a:bodyPr>
          <a:lstStyle>
            <a:lvl1pPr marL="0" indent="0">
              <a:lnSpc>
                <a:spcPct val="100000"/>
              </a:lnSpc>
              <a:spcBef>
                <a:spcPts val="800"/>
              </a:spcBef>
              <a:buFont typeface="Arial" panose="020B0604020202020204" pitchFamily="34" charset="0"/>
              <a:buNone/>
              <a:defRPr lang="en-GB" sz="2398" kern="1200" noProof="0" smtClean="0">
                <a:solidFill>
                  <a:schemeClr val="tx2"/>
                </a:solidFill>
                <a:latin typeface="Arial" pitchFamily="34" charset="0"/>
                <a:ea typeface="+mn-ea"/>
                <a:cs typeface="Arial" pitchFamily="34" charset="0"/>
              </a:defRPr>
            </a:lvl1pPr>
            <a:lvl2pPr marL="0" indent="0">
              <a:lnSpc>
                <a:spcPct val="100000"/>
              </a:lnSpc>
              <a:spcBef>
                <a:spcPts val="800"/>
              </a:spcBef>
              <a:buFont typeface="Arial" panose="020B0604020202020204" pitchFamily="34" charset="0"/>
              <a:buNone/>
              <a:defRPr lang="en-GB" sz="2398" kern="1200" noProof="0" smtClean="0">
                <a:solidFill>
                  <a:schemeClr val="tx2"/>
                </a:solidFill>
                <a:latin typeface="Arial" pitchFamily="34" charset="0"/>
                <a:ea typeface="+mn-ea"/>
                <a:cs typeface="Arial" pitchFamily="34" charset="0"/>
              </a:defRPr>
            </a:lvl2pPr>
            <a:lvl3pPr marL="0" indent="0">
              <a:lnSpc>
                <a:spcPct val="100000"/>
              </a:lnSpc>
              <a:spcBef>
                <a:spcPts val="800"/>
              </a:spcBef>
              <a:buFont typeface="Arial" panose="020B0604020202020204" pitchFamily="34" charset="0"/>
              <a:buNone/>
              <a:defRPr lang="en-GB" sz="2398" kern="1200" noProof="0" smtClean="0">
                <a:solidFill>
                  <a:schemeClr val="tx2"/>
                </a:solidFill>
                <a:latin typeface="Arial" pitchFamily="34" charset="0"/>
                <a:ea typeface="+mn-ea"/>
                <a:cs typeface="Arial" pitchFamily="34" charset="0"/>
              </a:defRPr>
            </a:lvl3pPr>
            <a:lvl4pPr marL="0" indent="0">
              <a:lnSpc>
                <a:spcPct val="100000"/>
              </a:lnSpc>
              <a:spcBef>
                <a:spcPts val="800"/>
              </a:spcBef>
              <a:buFont typeface="Arial" panose="020B0604020202020204" pitchFamily="34" charset="0"/>
              <a:buNone/>
              <a:defRPr lang="en-GB" sz="2398" kern="1200" noProof="0" smtClean="0">
                <a:solidFill>
                  <a:schemeClr val="tx2"/>
                </a:solidFill>
                <a:latin typeface="Arial" pitchFamily="34" charset="0"/>
                <a:ea typeface="+mn-ea"/>
                <a:cs typeface="Arial" pitchFamily="34" charset="0"/>
              </a:defRPr>
            </a:lvl4pPr>
            <a:lvl5pPr marL="0" indent="0">
              <a:lnSpc>
                <a:spcPct val="100000"/>
              </a:lnSpc>
              <a:spcBef>
                <a:spcPts val="800"/>
              </a:spcBef>
              <a:buFont typeface="Arial" panose="020B0604020202020204" pitchFamily="34" charset="0"/>
              <a:buNone/>
              <a:defRPr lang="en-GB" sz="2398" kern="1200" noProof="0" smtClean="0">
                <a:solidFill>
                  <a:schemeClr val="tx2"/>
                </a:solidFill>
                <a:latin typeface="Arial" pitchFamily="34" charset="0"/>
                <a:ea typeface="+mn-ea"/>
                <a:cs typeface="Arial" pitchFamily="34" charset="0"/>
              </a:defRPr>
            </a:lvl5pPr>
            <a:lvl6pPr marL="0" indent="0">
              <a:lnSpc>
                <a:spcPct val="100000"/>
              </a:lnSpc>
              <a:spcBef>
                <a:spcPts val="800"/>
              </a:spcBef>
              <a:buNone/>
              <a:defRPr lang="en-GB" sz="2398" kern="1200" noProof="0" smtClean="0">
                <a:solidFill>
                  <a:schemeClr val="tx2"/>
                </a:solidFill>
                <a:latin typeface="Arial" pitchFamily="34" charset="0"/>
                <a:ea typeface="+mn-ea"/>
                <a:cs typeface="Arial" pitchFamily="34" charset="0"/>
              </a:defRPr>
            </a:lvl6pPr>
            <a:lvl7pPr marL="0" indent="0">
              <a:lnSpc>
                <a:spcPct val="100000"/>
              </a:lnSpc>
              <a:spcBef>
                <a:spcPts val="800"/>
              </a:spcBef>
              <a:buNone/>
              <a:defRPr lang="en-GB" sz="2398" kern="1200" noProof="0" smtClean="0">
                <a:solidFill>
                  <a:schemeClr val="tx2"/>
                </a:solidFill>
                <a:latin typeface="Arial" pitchFamily="34" charset="0"/>
                <a:ea typeface="+mn-ea"/>
                <a:cs typeface="Arial" pitchFamily="34" charset="0"/>
              </a:defRPr>
            </a:lvl7pPr>
            <a:lvl8pPr marL="0" indent="0">
              <a:lnSpc>
                <a:spcPct val="100000"/>
              </a:lnSpc>
              <a:spcBef>
                <a:spcPts val="800"/>
              </a:spcBef>
              <a:buNone/>
              <a:defRPr lang="en-GB" sz="2398" kern="1200" noProof="0" smtClean="0">
                <a:solidFill>
                  <a:schemeClr val="tx2"/>
                </a:solidFill>
                <a:latin typeface="Arial" pitchFamily="34" charset="0"/>
                <a:ea typeface="+mn-ea"/>
                <a:cs typeface="Arial" pitchFamily="34" charset="0"/>
              </a:defRPr>
            </a:lvl8pPr>
            <a:lvl9pPr marL="0" indent="0">
              <a:lnSpc>
                <a:spcPct val="100000"/>
              </a:lnSpc>
              <a:spcBef>
                <a:spcPts val="800"/>
              </a:spcBef>
              <a:buNone/>
              <a:defRPr lang="de-DE" sz="2398" kern="1200" noProof="0" smtClean="0">
                <a:solidFill>
                  <a:schemeClr val="tx2"/>
                </a:solidFill>
                <a:latin typeface="Arial" pitchFamily="34" charset="0"/>
                <a:ea typeface="+mn-ea"/>
                <a:cs typeface="Arial" pitchFamily="34" charset="0"/>
              </a:defRPr>
            </a:lvl9pPr>
          </a:lstStyle>
          <a:p>
            <a:pPr lvl="0"/>
            <a:r>
              <a:rPr lang="en-US"/>
              <a:t>Click to add </a:t>
            </a:r>
            <a:r>
              <a:rPr lang="en-US" err="1"/>
              <a:t>subheadline</a:t>
            </a:r>
            <a:endParaRPr lang="en-US"/>
          </a:p>
        </p:txBody>
      </p:sp>
      <p:sp>
        <p:nvSpPr>
          <p:cNvPr id="5" name="Textplatzhalter 3"/>
          <p:cNvSpPr>
            <a:spLocks noGrp="1"/>
          </p:cNvSpPr>
          <p:nvPr>
            <p:ph type="body" sz="quarter" idx="11" hasCustomPrompt="1"/>
          </p:nvPr>
        </p:nvSpPr>
        <p:spPr bwMode="gray">
          <a:xfrm>
            <a:off x="431215" y="6404740"/>
            <a:ext cx="11328557" cy="192617"/>
          </a:xfrm>
        </p:spPr>
        <p:txBody>
          <a:bodyPr tIns="0" bIns="36000" anchor="b" anchorCtr="0">
            <a:noAutofit/>
          </a:bodyPr>
          <a:lstStyle>
            <a:lvl1pPr marL="0" marR="0" indent="0" algn="l" defTabSz="1218043" rtl="0" eaLnBrk="1" fontAlgn="auto" latinLnBrk="0" hangingPunct="1">
              <a:lnSpc>
                <a:spcPct val="100000"/>
              </a:lnSpc>
              <a:spcBef>
                <a:spcPts val="0"/>
              </a:spcBef>
              <a:spcAft>
                <a:spcPts val="0"/>
              </a:spcAft>
              <a:buClrTx/>
              <a:buSzTx/>
              <a:buFont typeface="Arial" pitchFamily="34" charset="0"/>
              <a:buNone/>
              <a:tabLst/>
              <a:defRPr lang="de-DE" sz="1066" kern="1200" baseline="0" noProof="0" smtClean="0">
                <a:solidFill>
                  <a:schemeClr val="bg2"/>
                </a:solidFill>
                <a:latin typeface="Arial" pitchFamily="34" charset="0"/>
                <a:ea typeface="+mn-ea"/>
                <a:cs typeface="Arial" pitchFamily="34" charset="0"/>
              </a:defRPr>
            </a:lvl1pPr>
            <a:lvl2pPr marL="0" indent="0">
              <a:lnSpc>
                <a:spcPct val="100000"/>
              </a:lnSpc>
              <a:spcBef>
                <a:spcPts val="0"/>
              </a:spcBef>
              <a:buFont typeface="Arial" panose="020B0604020202020204" pitchFamily="34" charset="0"/>
              <a:buNone/>
              <a:defRPr lang="de-DE" sz="1066" kern="1200" baseline="0" noProof="0" smtClean="0">
                <a:solidFill>
                  <a:schemeClr val="bg2"/>
                </a:solidFill>
                <a:latin typeface="Arial" pitchFamily="34" charset="0"/>
                <a:ea typeface="+mn-ea"/>
                <a:cs typeface="Arial" pitchFamily="34" charset="0"/>
              </a:defRPr>
            </a:lvl2pPr>
            <a:lvl3pPr marL="0" indent="0">
              <a:lnSpc>
                <a:spcPct val="100000"/>
              </a:lnSpc>
              <a:spcBef>
                <a:spcPts val="0"/>
              </a:spcBef>
              <a:buNone/>
              <a:defRPr lang="de-DE" sz="1066" kern="1200" baseline="0" noProof="0" smtClean="0">
                <a:solidFill>
                  <a:schemeClr val="bg2"/>
                </a:solidFill>
                <a:latin typeface="Arial" pitchFamily="34" charset="0"/>
                <a:ea typeface="+mn-ea"/>
                <a:cs typeface="Arial" pitchFamily="34" charset="0"/>
              </a:defRPr>
            </a:lvl3pPr>
            <a:lvl4pPr marL="0" indent="0">
              <a:lnSpc>
                <a:spcPct val="100000"/>
              </a:lnSpc>
              <a:spcBef>
                <a:spcPts val="0"/>
              </a:spcBef>
              <a:buNone/>
              <a:defRPr lang="de-DE" sz="1066" kern="1200" baseline="0" noProof="0" smtClean="0">
                <a:solidFill>
                  <a:schemeClr val="bg2"/>
                </a:solidFill>
                <a:latin typeface="Arial" pitchFamily="34" charset="0"/>
                <a:ea typeface="+mn-ea"/>
                <a:cs typeface="Arial" pitchFamily="34" charset="0"/>
              </a:defRPr>
            </a:lvl4pPr>
            <a:lvl5pPr marL="0" indent="0">
              <a:lnSpc>
                <a:spcPct val="100000"/>
              </a:lnSpc>
              <a:spcBef>
                <a:spcPts val="0"/>
              </a:spcBef>
              <a:buNone/>
              <a:defRPr lang="de-DE" sz="1066" kern="1200" baseline="0" noProof="0" smtClean="0">
                <a:solidFill>
                  <a:schemeClr val="bg2"/>
                </a:solidFill>
                <a:latin typeface="Arial" pitchFamily="34" charset="0"/>
                <a:ea typeface="+mn-ea"/>
                <a:cs typeface="Arial" pitchFamily="34" charset="0"/>
              </a:defRPr>
            </a:lvl5pPr>
            <a:lvl6pPr marL="0" indent="0">
              <a:lnSpc>
                <a:spcPct val="100000"/>
              </a:lnSpc>
              <a:spcBef>
                <a:spcPts val="0"/>
              </a:spcBef>
              <a:buNone/>
              <a:defRPr lang="de-DE" sz="1066" kern="1200" baseline="0" noProof="0" smtClean="0">
                <a:solidFill>
                  <a:schemeClr val="bg2"/>
                </a:solidFill>
                <a:latin typeface="Arial" pitchFamily="34" charset="0"/>
                <a:ea typeface="+mn-ea"/>
                <a:cs typeface="Arial" pitchFamily="34" charset="0"/>
              </a:defRPr>
            </a:lvl6pPr>
            <a:lvl7pPr marL="0" indent="0">
              <a:lnSpc>
                <a:spcPct val="100000"/>
              </a:lnSpc>
              <a:spcBef>
                <a:spcPts val="0"/>
              </a:spcBef>
              <a:buNone/>
              <a:defRPr lang="de-DE" sz="1066" kern="1200" baseline="0" noProof="0" dirty="0" smtClean="0">
                <a:solidFill>
                  <a:schemeClr val="bg2"/>
                </a:solidFill>
                <a:latin typeface="Arial" pitchFamily="34" charset="0"/>
                <a:ea typeface="+mn-ea"/>
                <a:cs typeface="Arial" pitchFamily="34" charset="0"/>
              </a:defRPr>
            </a:lvl7pPr>
            <a:lvl8pPr marL="0" indent="0">
              <a:lnSpc>
                <a:spcPct val="100000"/>
              </a:lnSpc>
              <a:spcBef>
                <a:spcPts val="0"/>
              </a:spcBef>
              <a:buNone/>
              <a:defRPr lang="de-DE" sz="1066" kern="1200" baseline="0" noProof="0" smtClean="0">
                <a:solidFill>
                  <a:schemeClr val="bg2"/>
                </a:solidFill>
                <a:latin typeface="Arial" pitchFamily="34" charset="0"/>
                <a:ea typeface="+mn-ea"/>
                <a:cs typeface="Arial" pitchFamily="34" charset="0"/>
              </a:defRPr>
            </a:lvl8pPr>
            <a:lvl9pPr marL="0" indent="0">
              <a:lnSpc>
                <a:spcPct val="100000"/>
              </a:lnSpc>
              <a:spcBef>
                <a:spcPts val="0"/>
              </a:spcBef>
              <a:buNone/>
              <a:defRPr lang="de-DE" sz="1066" kern="1200" baseline="0" noProof="0" smtClean="0">
                <a:solidFill>
                  <a:schemeClr val="bg2"/>
                </a:solidFill>
                <a:latin typeface="Arial" pitchFamily="34" charset="0"/>
                <a:ea typeface="+mn-ea"/>
                <a:cs typeface="Arial" pitchFamily="34" charset="0"/>
              </a:defRPr>
            </a:lvl9pPr>
          </a:lstStyle>
          <a:p>
            <a:pPr lvl="0"/>
            <a:r>
              <a:rPr lang="en-US"/>
              <a:t>Click to add source information</a:t>
            </a:r>
          </a:p>
        </p:txBody>
      </p:sp>
    </p:spTree>
    <p:extLst>
      <p:ext uri="{BB962C8B-B14F-4D97-AF65-F5344CB8AC3E}">
        <p14:creationId xmlns:p14="http://schemas.microsoft.com/office/powerpoint/2010/main" val="980996411"/>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p:cSld name="Chart with description">
    <p:spTree>
      <p:nvGrpSpPr>
        <p:cNvPr id="1" name=""/>
        <p:cNvGrpSpPr/>
        <p:nvPr/>
      </p:nvGrpSpPr>
      <p:grpSpPr>
        <a:xfrm>
          <a:off x="0" y="0"/>
          <a:ext cx="0" cy="0"/>
          <a:chOff x="0" y="0"/>
          <a:chExt cx="0" cy="0"/>
        </a:xfrm>
      </p:grpSpPr>
      <p:sp>
        <p:nvSpPr>
          <p:cNvPr id="21" name="Date Placeholder 20"/>
          <p:cNvSpPr>
            <a:spLocks noGrp="1"/>
          </p:cNvSpPr>
          <p:nvPr>
            <p:ph type="dt" sz="half" idx="14"/>
          </p:nvPr>
        </p:nvSpPr>
        <p:spPr/>
        <p:txBody>
          <a:bodyPr/>
          <a:lstStyle/>
          <a:p>
            <a:fld id="{7E0CC7EF-9DF0-4DDD-B873-4143C4455B77}" type="datetime5">
              <a:rPr lang="en-US" smtClean="0"/>
              <a:t>26-Jun-20</a:t>
            </a:fld>
            <a:endParaRPr lang="en-US"/>
          </a:p>
        </p:txBody>
      </p:sp>
      <p:sp>
        <p:nvSpPr>
          <p:cNvPr id="22" name="Footer Placeholder 21"/>
          <p:cNvSpPr>
            <a:spLocks noGrp="1"/>
          </p:cNvSpPr>
          <p:nvPr>
            <p:ph type="ftr" sz="quarter" idx="15"/>
          </p:nvPr>
        </p:nvSpPr>
        <p:spPr/>
        <p:txBody>
          <a:bodyPr/>
          <a:lstStyle/>
          <a:p>
            <a:r>
              <a:rPr lang="en-US"/>
              <a:t>Title of presentation (Insert / Header &amp; Footer / Apply to All)</a:t>
            </a:r>
          </a:p>
        </p:txBody>
      </p:sp>
      <p:sp>
        <p:nvSpPr>
          <p:cNvPr id="23" name="Slide Number Placeholder 22"/>
          <p:cNvSpPr>
            <a:spLocks noGrp="1"/>
          </p:cNvSpPr>
          <p:nvPr>
            <p:ph type="sldNum" sz="quarter" idx="16"/>
          </p:nvPr>
        </p:nvSpPr>
        <p:spPr/>
        <p:txBody>
          <a:bodyPr/>
          <a:lstStyle/>
          <a:p>
            <a:fld id="{5F3E29E4-0979-4FCA-B4C5-5FC6044C982A}" type="slidenum">
              <a:rPr lang="en-US" smtClean="0"/>
              <a:t>‹#›</a:t>
            </a:fld>
            <a:endParaRPr lang="en-US"/>
          </a:p>
        </p:txBody>
      </p:sp>
      <p:sp>
        <p:nvSpPr>
          <p:cNvPr id="2" name="Title 1"/>
          <p:cNvSpPr>
            <a:spLocks noGrp="1"/>
          </p:cNvSpPr>
          <p:nvPr>
            <p:ph type="title" hasCustomPrompt="1"/>
          </p:nvPr>
        </p:nvSpPr>
        <p:spPr/>
        <p:txBody>
          <a:bodyPr/>
          <a:lstStyle>
            <a:lvl1pPr>
              <a:defRPr/>
            </a:lvl1pPr>
          </a:lstStyle>
          <a:p>
            <a:r>
              <a:rPr lang="en-US"/>
              <a:t>Click to add slide title</a:t>
            </a:r>
          </a:p>
        </p:txBody>
      </p:sp>
      <p:sp>
        <p:nvSpPr>
          <p:cNvPr id="7" name="Subtitle 2"/>
          <p:cNvSpPr>
            <a:spLocks noGrp="1"/>
          </p:cNvSpPr>
          <p:nvPr>
            <p:ph type="subTitle" idx="13" hasCustomPrompt="1"/>
          </p:nvPr>
        </p:nvSpPr>
        <p:spPr>
          <a:xfrm>
            <a:off x="1075061" y="964671"/>
            <a:ext cx="7910158" cy="490042"/>
          </a:xfrm>
        </p:spPr>
        <p:txBody>
          <a:bodyPr wrap="none"/>
          <a:lstStyle>
            <a:lvl1pPr marL="0" indent="0" algn="l">
              <a:spcBef>
                <a:spcPts val="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sp>
        <p:nvSpPr>
          <p:cNvPr id="4" name="Chart Placeholder 3"/>
          <p:cNvSpPr>
            <a:spLocks noGrp="1"/>
          </p:cNvSpPr>
          <p:nvPr>
            <p:ph type="chart" sz="quarter" idx="17" hasCustomPrompt="1"/>
          </p:nvPr>
        </p:nvSpPr>
        <p:spPr>
          <a:xfrm>
            <a:off x="192088" y="1629617"/>
            <a:ext cx="5903913" cy="4599506"/>
          </a:xfrm>
        </p:spPr>
        <p:txBody>
          <a:bodyPr/>
          <a:lstStyle>
            <a:lvl1pPr>
              <a:defRPr/>
            </a:lvl1pPr>
          </a:lstStyle>
          <a:p>
            <a:r>
              <a:rPr lang="en-US"/>
              <a:t>Click to add chart</a:t>
            </a:r>
          </a:p>
        </p:txBody>
      </p:sp>
      <p:sp>
        <p:nvSpPr>
          <p:cNvPr id="6" name="Text Placeholder 5"/>
          <p:cNvSpPr>
            <a:spLocks noGrp="1"/>
          </p:cNvSpPr>
          <p:nvPr>
            <p:ph type="body" sz="quarter" idx="18" hasCustomPrompt="1"/>
          </p:nvPr>
        </p:nvSpPr>
        <p:spPr>
          <a:xfrm>
            <a:off x="6206067" y="3393019"/>
            <a:ext cx="5628602" cy="2023841"/>
          </a:xfrm>
          <a:solidFill>
            <a:srgbClr val="D9DADB"/>
          </a:solidFill>
        </p:spPr>
        <p:txBody>
          <a:bodyPr lIns="108000" tIns="108000" rIns="108000" bIns="108000"/>
          <a:lstStyle>
            <a:lvl1pPr>
              <a:defRPr sz="1600"/>
            </a:lvl1pPr>
            <a:lvl2pPr>
              <a:defRPr sz="1600"/>
            </a:lvl2pPr>
            <a:lvl3pPr>
              <a:defRPr sz="1600"/>
            </a:lvl3pPr>
            <a:lvl4pPr>
              <a:defRPr sz="1600"/>
            </a:lvl4pPr>
            <a:lvl5pPr>
              <a:defRPr sz="1600"/>
            </a:lvl5pPr>
          </a:lstStyle>
          <a:p>
            <a:pPr lvl="0"/>
            <a:r>
              <a:rPr lang="en-US"/>
              <a:t>Click to add text</a:t>
            </a:r>
          </a:p>
          <a:p>
            <a:pPr lvl="1"/>
            <a:r>
              <a:rPr lang="en-US"/>
              <a:t>Second level</a:t>
            </a:r>
          </a:p>
          <a:p>
            <a:pPr lvl="2"/>
            <a:r>
              <a:rPr lang="en-US"/>
              <a:t>Third level</a:t>
            </a:r>
          </a:p>
          <a:p>
            <a:pPr lvl="3"/>
            <a:r>
              <a:rPr lang="en-US"/>
              <a:t>Fourth level</a:t>
            </a:r>
          </a:p>
          <a:p>
            <a:pPr lvl="4"/>
            <a:r>
              <a:rPr lang="en-US"/>
              <a:t>Fifth level</a:t>
            </a:r>
          </a:p>
        </p:txBody>
      </p:sp>
      <p:sp>
        <p:nvSpPr>
          <p:cNvPr id="10" name="Text Placeholder 4"/>
          <p:cNvSpPr>
            <a:spLocks noGrp="1"/>
          </p:cNvSpPr>
          <p:nvPr>
            <p:ph type="body" sz="quarter" idx="19" hasCustomPrompt="1"/>
          </p:nvPr>
        </p:nvSpPr>
        <p:spPr>
          <a:xfrm>
            <a:off x="1075063" y="6307665"/>
            <a:ext cx="8162717" cy="133200"/>
          </a:xfrm>
        </p:spPr>
        <p:txBody>
          <a:bodyPr lIns="0" tIns="0" rIns="0" bIns="0" anchor="b" anchorCtr="0"/>
          <a:lstStyle>
            <a:lvl1pPr marL="0" indent="0" algn="l">
              <a:lnSpc>
                <a:spcPct val="100000"/>
              </a:lnSpc>
              <a:spcBef>
                <a:spcPts val="0"/>
              </a:spcBef>
              <a:buNone/>
              <a:defRPr sz="800" baseline="0"/>
            </a:lvl1pPr>
            <a:lvl2pPr marL="0" indent="0" algn="l">
              <a:lnSpc>
                <a:spcPct val="100000"/>
              </a:lnSpc>
              <a:spcBef>
                <a:spcPts val="0"/>
              </a:spcBef>
              <a:buNone/>
              <a:defRPr sz="800"/>
            </a:lvl2pPr>
            <a:lvl3pPr marL="0" indent="0" algn="l">
              <a:lnSpc>
                <a:spcPct val="100000"/>
              </a:lnSpc>
              <a:spcBef>
                <a:spcPts val="0"/>
              </a:spcBef>
              <a:buNone/>
              <a:defRPr sz="800"/>
            </a:lvl3pPr>
            <a:lvl4pPr marL="0" algn="l">
              <a:lnSpc>
                <a:spcPct val="100000"/>
              </a:lnSpc>
              <a:spcBef>
                <a:spcPts val="0"/>
              </a:spcBef>
              <a:buNone/>
              <a:defRPr sz="800"/>
            </a:lvl4pPr>
            <a:lvl5pPr marL="0" indent="0" algn="l">
              <a:lnSpc>
                <a:spcPct val="100000"/>
              </a:lnSpc>
              <a:spcBef>
                <a:spcPts val="0"/>
              </a:spcBef>
              <a:buNone/>
              <a:defRPr sz="800"/>
            </a:lvl5pPr>
          </a:lstStyle>
          <a:p>
            <a:pPr lvl="0"/>
            <a:r>
              <a:rPr lang="en-US"/>
              <a:t>Source line</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52200493"/>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p:cSld name="Notebook">
    <p:spTree>
      <p:nvGrpSpPr>
        <p:cNvPr id="1" name=""/>
        <p:cNvGrpSpPr/>
        <p:nvPr/>
      </p:nvGrpSpPr>
      <p:grpSpPr>
        <a:xfrm>
          <a:off x="0" y="0"/>
          <a:ext cx="0" cy="0"/>
          <a:chOff x="0" y="0"/>
          <a:chExt cx="0" cy="0"/>
        </a:xfrm>
      </p:grpSpPr>
      <p:pic>
        <p:nvPicPr>
          <p:cNvPr id="13" name="Notebook">
            <a:extLst>
              <a:ext uri="{FF2B5EF4-FFF2-40B4-BE49-F238E27FC236}">
                <a16:creationId xmlns:a16="http://schemas.microsoft.com/office/drawing/2014/main" id="{6DEE1461-64EC-7246-8FA6-71C6BF497627}"/>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3651351" y="1267197"/>
            <a:ext cx="8528460" cy="5161713"/>
          </a:xfrm>
          <a:prstGeom prst="rect">
            <a:avLst/>
          </a:prstGeom>
        </p:spPr>
      </p:pic>
      <p:sp>
        <p:nvSpPr>
          <p:cNvPr id="21" name="Date Placeholder 20"/>
          <p:cNvSpPr>
            <a:spLocks noGrp="1"/>
          </p:cNvSpPr>
          <p:nvPr>
            <p:ph type="dt" sz="half" idx="14"/>
          </p:nvPr>
        </p:nvSpPr>
        <p:spPr/>
        <p:txBody>
          <a:bodyPr/>
          <a:lstStyle/>
          <a:p>
            <a:fld id="{DC5CC4D7-5797-439F-A8BE-F20DB0B4B50C}" type="datetime5">
              <a:rPr lang="en-US" smtClean="0"/>
              <a:t>26-Jun-20</a:t>
            </a:fld>
            <a:endParaRPr lang="en-US"/>
          </a:p>
        </p:txBody>
      </p:sp>
      <p:sp>
        <p:nvSpPr>
          <p:cNvPr id="22" name="Footer Placeholder 21"/>
          <p:cNvSpPr>
            <a:spLocks noGrp="1"/>
          </p:cNvSpPr>
          <p:nvPr>
            <p:ph type="ftr" sz="quarter" idx="15"/>
          </p:nvPr>
        </p:nvSpPr>
        <p:spPr/>
        <p:txBody>
          <a:bodyPr/>
          <a:lstStyle/>
          <a:p>
            <a:r>
              <a:rPr lang="en-US"/>
              <a:t>Title of presentation (Insert / Header &amp; Footer / Apply to All)</a:t>
            </a:r>
          </a:p>
        </p:txBody>
      </p:sp>
      <p:sp>
        <p:nvSpPr>
          <p:cNvPr id="23" name="Slide Number Placeholder 22"/>
          <p:cNvSpPr>
            <a:spLocks noGrp="1"/>
          </p:cNvSpPr>
          <p:nvPr>
            <p:ph type="sldNum" sz="quarter" idx="16"/>
          </p:nvPr>
        </p:nvSpPr>
        <p:spPr/>
        <p:txBody>
          <a:bodyPr/>
          <a:lstStyle/>
          <a:p>
            <a:fld id="{5F3E29E4-0979-4FCA-B4C5-5FC6044C982A}" type="slidenum">
              <a:rPr lang="en-US" smtClean="0"/>
              <a:t>‹#›</a:t>
            </a:fld>
            <a:endParaRPr lang="en-US"/>
          </a:p>
        </p:txBody>
      </p:sp>
      <p:sp>
        <p:nvSpPr>
          <p:cNvPr id="2" name="Title 1"/>
          <p:cNvSpPr>
            <a:spLocks noGrp="1"/>
          </p:cNvSpPr>
          <p:nvPr>
            <p:ph type="title" hasCustomPrompt="1"/>
          </p:nvPr>
        </p:nvSpPr>
        <p:spPr/>
        <p:txBody>
          <a:bodyPr/>
          <a:lstStyle>
            <a:lvl1pPr>
              <a:defRPr/>
            </a:lvl1pPr>
          </a:lstStyle>
          <a:p>
            <a:r>
              <a:rPr lang="en-US"/>
              <a:t>Click to add slide title</a:t>
            </a:r>
          </a:p>
        </p:txBody>
      </p:sp>
      <p:sp>
        <p:nvSpPr>
          <p:cNvPr id="7" name="Subtitle 2"/>
          <p:cNvSpPr>
            <a:spLocks noGrp="1"/>
          </p:cNvSpPr>
          <p:nvPr>
            <p:ph type="subTitle" idx="13" hasCustomPrompt="1"/>
          </p:nvPr>
        </p:nvSpPr>
        <p:spPr>
          <a:xfrm>
            <a:off x="1075061" y="964671"/>
            <a:ext cx="7910158" cy="490042"/>
          </a:xfrm>
        </p:spPr>
        <p:txBody>
          <a:bodyPr wrap="none"/>
          <a:lstStyle>
            <a:lvl1pPr marL="0" indent="0" algn="l">
              <a:spcBef>
                <a:spcPts val="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sp>
        <p:nvSpPr>
          <p:cNvPr id="3" name="Content Placeholder 2"/>
          <p:cNvSpPr>
            <a:spLocks noGrp="1"/>
          </p:cNvSpPr>
          <p:nvPr>
            <p:ph idx="1" hasCustomPrompt="1"/>
          </p:nvPr>
        </p:nvSpPr>
        <p:spPr>
          <a:xfrm>
            <a:off x="1075062" y="1852623"/>
            <a:ext cx="3287388" cy="3658714"/>
          </a:xfrm>
        </p:spPr>
        <p:txBody>
          <a:bodyPr anchor="ctr"/>
          <a:lstStyle>
            <a:lvl1pPr>
              <a:defRPr sz="1600"/>
            </a:lvl1pPr>
            <a:lvl2pPr>
              <a:defRPr sz="1600"/>
            </a:lvl2pPr>
            <a:lvl3pPr>
              <a:defRPr sz="1600"/>
            </a:lvl3pPr>
            <a:lvl4pPr>
              <a:defRPr sz="1600"/>
            </a:lvl4pPr>
            <a:lvl5pPr>
              <a:defRPr sz="1600"/>
            </a:lvl5pPr>
          </a:lstStyle>
          <a:p>
            <a:pPr lvl="0"/>
            <a:r>
              <a:rPr lang="en-US"/>
              <a:t>Click to add text</a:t>
            </a:r>
          </a:p>
          <a:p>
            <a:pPr lvl="1"/>
            <a:r>
              <a:rPr lang="en-US"/>
              <a:t>Second level</a:t>
            </a:r>
          </a:p>
          <a:p>
            <a:pPr lvl="2"/>
            <a:r>
              <a:rPr lang="en-US"/>
              <a:t>Third level</a:t>
            </a:r>
          </a:p>
          <a:p>
            <a:pPr lvl="3"/>
            <a:r>
              <a:rPr lang="en-US"/>
              <a:t>Fourth level</a:t>
            </a:r>
          </a:p>
          <a:p>
            <a:pPr lvl="4"/>
            <a:r>
              <a:rPr lang="en-US"/>
              <a:t>Fifth level</a:t>
            </a:r>
          </a:p>
        </p:txBody>
      </p:sp>
      <p:sp>
        <p:nvSpPr>
          <p:cNvPr id="5" name="Picture Placeholder 4"/>
          <p:cNvSpPr>
            <a:spLocks noGrp="1"/>
          </p:cNvSpPr>
          <p:nvPr>
            <p:ph type="pic" sz="quarter" idx="17" hasCustomPrompt="1"/>
          </p:nvPr>
        </p:nvSpPr>
        <p:spPr>
          <a:xfrm>
            <a:off x="4904507" y="1821610"/>
            <a:ext cx="6001200" cy="3664800"/>
          </a:xfrm>
          <a:solidFill>
            <a:srgbClr val="D9DADB"/>
          </a:solidFill>
        </p:spPr>
        <p:txBody>
          <a:bodyPr/>
          <a:lstStyle>
            <a:lvl1pPr marL="0" indent="0">
              <a:buNone/>
              <a:defRPr/>
            </a:lvl1pPr>
          </a:lstStyle>
          <a:p>
            <a:r>
              <a:rPr lang="en-US"/>
              <a:t>Insert picture</a:t>
            </a:r>
          </a:p>
        </p:txBody>
      </p:sp>
      <p:sp>
        <p:nvSpPr>
          <p:cNvPr id="11" name="Text Placeholder 4"/>
          <p:cNvSpPr>
            <a:spLocks noGrp="1"/>
          </p:cNvSpPr>
          <p:nvPr>
            <p:ph type="body" sz="quarter" idx="18" hasCustomPrompt="1"/>
          </p:nvPr>
        </p:nvSpPr>
        <p:spPr>
          <a:xfrm>
            <a:off x="1075063" y="6307665"/>
            <a:ext cx="8162717" cy="133200"/>
          </a:xfrm>
        </p:spPr>
        <p:txBody>
          <a:bodyPr lIns="0" tIns="0" rIns="0" bIns="0" anchor="b" anchorCtr="0"/>
          <a:lstStyle>
            <a:lvl1pPr marL="0" indent="0" algn="l">
              <a:lnSpc>
                <a:spcPct val="100000"/>
              </a:lnSpc>
              <a:spcBef>
                <a:spcPts val="0"/>
              </a:spcBef>
              <a:buNone/>
              <a:defRPr sz="800" baseline="0"/>
            </a:lvl1pPr>
            <a:lvl2pPr marL="0" indent="0" algn="l">
              <a:lnSpc>
                <a:spcPct val="100000"/>
              </a:lnSpc>
              <a:spcBef>
                <a:spcPts val="0"/>
              </a:spcBef>
              <a:buNone/>
              <a:defRPr sz="800"/>
            </a:lvl2pPr>
            <a:lvl3pPr marL="0" indent="0" algn="l">
              <a:lnSpc>
                <a:spcPct val="100000"/>
              </a:lnSpc>
              <a:spcBef>
                <a:spcPts val="0"/>
              </a:spcBef>
              <a:buNone/>
              <a:defRPr sz="800"/>
            </a:lvl3pPr>
            <a:lvl4pPr marL="0" algn="l">
              <a:lnSpc>
                <a:spcPct val="100000"/>
              </a:lnSpc>
              <a:spcBef>
                <a:spcPts val="0"/>
              </a:spcBef>
              <a:buNone/>
              <a:defRPr sz="800"/>
            </a:lvl4pPr>
            <a:lvl5pPr marL="0" indent="0" algn="l">
              <a:lnSpc>
                <a:spcPct val="100000"/>
              </a:lnSpc>
              <a:spcBef>
                <a:spcPts val="0"/>
              </a:spcBef>
              <a:buNone/>
              <a:defRPr sz="800"/>
            </a:lvl5pPr>
          </a:lstStyle>
          <a:p>
            <a:pPr lvl="0"/>
            <a:r>
              <a:rPr lang="en-US"/>
              <a:t>Source line</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04386170"/>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p:cSld name="Tablet">
    <p:spTree>
      <p:nvGrpSpPr>
        <p:cNvPr id="1" name=""/>
        <p:cNvGrpSpPr/>
        <p:nvPr/>
      </p:nvGrpSpPr>
      <p:grpSpPr>
        <a:xfrm>
          <a:off x="0" y="0"/>
          <a:ext cx="0" cy="0"/>
          <a:chOff x="0" y="0"/>
          <a:chExt cx="0" cy="0"/>
        </a:xfrm>
      </p:grpSpPr>
      <p:pic>
        <p:nvPicPr>
          <p:cNvPr id="12" name="Grafik 3">
            <a:extLst>
              <a:ext uri="{FF2B5EF4-FFF2-40B4-BE49-F238E27FC236}">
                <a16:creationId xmlns:a16="http://schemas.microsoft.com/office/drawing/2014/main" id="{1D97A272-8DE5-144D-9076-0F435EC79171}"/>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4422451" y="1441279"/>
            <a:ext cx="6858000" cy="5323585"/>
          </a:xfrm>
          <a:prstGeom prst="rect">
            <a:avLst/>
          </a:prstGeom>
        </p:spPr>
      </p:pic>
      <p:sp>
        <p:nvSpPr>
          <p:cNvPr id="21" name="Date Placeholder 20"/>
          <p:cNvSpPr>
            <a:spLocks noGrp="1"/>
          </p:cNvSpPr>
          <p:nvPr>
            <p:ph type="dt" sz="half" idx="14"/>
          </p:nvPr>
        </p:nvSpPr>
        <p:spPr/>
        <p:txBody>
          <a:bodyPr/>
          <a:lstStyle/>
          <a:p>
            <a:fld id="{22BF40EB-4E4B-4735-9535-C7494D4B38E6}" type="datetime5">
              <a:rPr lang="en-US" smtClean="0"/>
              <a:t>26-Jun-20</a:t>
            </a:fld>
            <a:endParaRPr lang="en-US"/>
          </a:p>
        </p:txBody>
      </p:sp>
      <p:sp>
        <p:nvSpPr>
          <p:cNvPr id="22" name="Footer Placeholder 21"/>
          <p:cNvSpPr>
            <a:spLocks noGrp="1"/>
          </p:cNvSpPr>
          <p:nvPr>
            <p:ph type="ftr" sz="quarter" idx="15"/>
          </p:nvPr>
        </p:nvSpPr>
        <p:spPr/>
        <p:txBody>
          <a:bodyPr/>
          <a:lstStyle/>
          <a:p>
            <a:r>
              <a:rPr lang="en-US"/>
              <a:t>Title of presentation (Insert / Header &amp; Footer / Apply to All)</a:t>
            </a:r>
          </a:p>
        </p:txBody>
      </p:sp>
      <p:sp>
        <p:nvSpPr>
          <p:cNvPr id="23" name="Slide Number Placeholder 22"/>
          <p:cNvSpPr>
            <a:spLocks noGrp="1"/>
          </p:cNvSpPr>
          <p:nvPr>
            <p:ph type="sldNum" sz="quarter" idx="16"/>
          </p:nvPr>
        </p:nvSpPr>
        <p:spPr/>
        <p:txBody>
          <a:bodyPr/>
          <a:lstStyle/>
          <a:p>
            <a:fld id="{5F3E29E4-0979-4FCA-B4C5-5FC6044C982A}" type="slidenum">
              <a:rPr lang="en-US" smtClean="0"/>
              <a:t>‹#›</a:t>
            </a:fld>
            <a:endParaRPr lang="en-US"/>
          </a:p>
        </p:txBody>
      </p:sp>
      <p:sp>
        <p:nvSpPr>
          <p:cNvPr id="2" name="Title 1"/>
          <p:cNvSpPr>
            <a:spLocks noGrp="1"/>
          </p:cNvSpPr>
          <p:nvPr>
            <p:ph type="title" hasCustomPrompt="1"/>
          </p:nvPr>
        </p:nvSpPr>
        <p:spPr/>
        <p:txBody>
          <a:bodyPr/>
          <a:lstStyle>
            <a:lvl1pPr>
              <a:defRPr/>
            </a:lvl1pPr>
          </a:lstStyle>
          <a:p>
            <a:r>
              <a:rPr lang="en-US"/>
              <a:t>Click to add slide title</a:t>
            </a:r>
          </a:p>
        </p:txBody>
      </p:sp>
      <p:sp>
        <p:nvSpPr>
          <p:cNvPr id="7" name="Subtitle 2"/>
          <p:cNvSpPr>
            <a:spLocks noGrp="1"/>
          </p:cNvSpPr>
          <p:nvPr>
            <p:ph type="subTitle" idx="13" hasCustomPrompt="1"/>
          </p:nvPr>
        </p:nvSpPr>
        <p:spPr>
          <a:xfrm>
            <a:off x="1075061" y="964671"/>
            <a:ext cx="7910158" cy="490042"/>
          </a:xfrm>
        </p:spPr>
        <p:txBody>
          <a:bodyPr wrap="none"/>
          <a:lstStyle>
            <a:lvl1pPr marL="0" indent="0" algn="l">
              <a:spcBef>
                <a:spcPts val="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sp>
        <p:nvSpPr>
          <p:cNvPr id="3" name="Content Placeholder 2"/>
          <p:cNvSpPr>
            <a:spLocks noGrp="1"/>
          </p:cNvSpPr>
          <p:nvPr>
            <p:ph idx="1" hasCustomPrompt="1"/>
          </p:nvPr>
        </p:nvSpPr>
        <p:spPr>
          <a:xfrm>
            <a:off x="1075062" y="1852623"/>
            <a:ext cx="3287388" cy="3658714"/>
          </a:xfrm>
        </p:spPr>
        <p:txBody>
          <a:bodyPr anchor="ctr"/>
          <a:lstStyle>
            <a:lvl1pPr>
              <a:defRPr sz="1600"/>
            </a:lvl1pPr>
            <a:lvl2pPr>
              <a:defRPr sz="1600"/>
            </a:lvl2pPr>
            <a:lvl3pPr>
              <a:defRPr sz="1600"/>
            </a:lvl3pPr>
            <a:lvl4pPr>
              <a:defRPr sz="1600"/>
            </a:lvl4pPr>
            <a:lvl5pPr>
              <a:defRPr sz="1600"/>
            </a:lvl5pPr>
          </a:lstStyle>
          <a:p>
            <a:pPr lvl="0"/>
            <a:r>
              <a:rPr lang="en-US"/>
              <a:t>Click to add text</a:t>
            </a:r>
          </a:p>
          <a:p>
            <a:pPr lvl="1"/>
            <a:r>
              <a:rPr lang="en-US"/>
              <a:t>Second level</a:t>
            </a:r>
          </a:p>
          <a:p>
            <a:pPr lvl="2"/>
            <a:r>
              <a:rPr lang="en-US"/>
              <a:t>Third level</a:t>
            </a:r>
          </a:p>
          <a:p>
            <a:pPr lvl="3"/>
            <a:r>
              <a:rPr lang="en-US"/>
              <a:t>Fourth level</a:t>
            </a:r>
          </a:p>
          <a:p>
            <a:pPr lvl="4"/>
            <a:r>
              <a:rPr lang="en-US"/>
              <a:t>Fifth level</a:t>
            </a:r>
          </a:p>
        </p:txBody>
      </p:sp>
      <p:sp>
        <p:nvSpPr>
          <p:cNvPr id="5" name="Picture Placeholder 4"/>
          <p:cNvSpPr>
            <a:spLocks noGrp="1"/>
          </p:cNvSpPr>
          <p:nvPr>
            <p:ph type="pic" sz="quarter" idx="17" hasCustomPrompt="1"/>
          </p:nvPr>
        </p:nvSpPr>
        <p:spPr>
          <a:xfrm>
            <a:off x="5135561" y="2010934"/>
            <a:ext cx="5491064" cy="3428280"/>
          </a:xfrm>
          <a:solidFill>
            <a:srgbClr val="D9DADB"/>
          </a:solidFill>
        </p:spPr>
        <p:txBody>
          <a:bodyPr/>
          <a:lstStyle>
            <a:lvl1pPr marL="0" indent="0">
              <a:buNone/>
              <a:defRPr/>
            </a:lvl1pPr>
          </a:lstStyle>
          <a:p>
            <a:r>
              <a:rPr lang="en-US"/>
              <a:t>Insert picture</a:t>
            </a:r>
          </a:p>
        </p:txBody>
      </p:sp>
      <p:sp>
        <p:nvSpPr>
          <p:cNvPr id="11" name="Text Placeholder 4"/>
          <p:cNvSpPr>
            <a:spLocks noGrp="1"/>
          </p:cNvSpPr>
          <p:nvPr>
            <p:ph type="body" sz="quarter" idx="18" hasCustomPrompt="1"/>
          </p:nvPr>
        </p:nvSpPr>
        <p:spPr>
          <a:xfrm>
            <a:off x="1075063" y="6307665"/>
            <a:ext cx="8162717" cy="133200"/>
          </a:xfrm>
        </p:spPr>
        <p:txBody>
          <a:bodyPr lIns="0" tIns="0" rIns="0" bIns="0" anchor="b" anchorCtr="0"/>
          <a:lstStyle>
            <a:lvl1pPr marL="0" indent="0" algn="l">
              <a:lnSpc>
                <a:spcPct val="100000"/>
              </a:lnSpc>
              <a:spcBef>
                <a:spcPts val="0"/>
              </a:spcBef>
              <a:buNone/>
              <a:defRPr sz="800" baseline="0"/>
            </a:lvl1pPr>
            <a:lvl2pPr marL="0" indent="0" algn="l">
              <a:lnSpc>
                <a:spcPct val="100000"/>
              </a:lnSpc>
              <a:spcBef>
                <a:spcPts val="0"/>
              </a:spcBef>
              <a:buNone/>
              <a:defRPr sz="800"/>
            </a:lvl2pPr>
            <a:lvl3pPr marL="0" indent="0" algn="l">
              <a:lnSpc>
                <a:spcPct val="100000"/>
              </a:lnSpc>
              <a:spcBef>
                <a:spcPts val="0"/>
              </a:spcBef>
              <a:buNone/>
              <a:defRPr sz="800"/>
            </a:lvl3pPr>
            <a:lvl4pPr marL="0" algn="l">
              <a:lnSpc>
                <a:spcPct val="100000"/>
              </a:lnSpc>
              <a:spcBef>
                <a:spcPts val="0"/>
              </a:spcBef>
              <a:buNone/>
              <a:defRPr sz="800"/>
            </a:lvl4pPr>
            <a:lvl5pPr marL="0" indent="0" algn="l">
              <a:lnSpc>
                <a:spcPct val="100000"/>
              </a:lnSpc>
              <a:spcBef>
                <a:spcPts val="0"/>
              </a:spcBef>
              <a:buNone/>
              <a:defRPr sz="800"/>
            </a:lvl5pPr>
          </a:lstStyle>
          <a:p>
            <a:pPr lvl="0"/>
            <a:r>
              <a:rPr lang="en-US"/>
              <a:t>Source line</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38850138"/>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p:cSld name="Smartphone">
    <p:spTree>
      <p:nvGrpSpPr>
        <p:cNvPr id="1" name=""/>
        <p:cNvGrpSpPr/>
        <p:nvPr/>
      </p:nvGrpSpPr>
      <p:grpSpPr>
        <a:xfrm>
          <a:off x="0" y="0"/>
          <a:ext cx="0" cy="0"/>
          <a:chOff x="0" y="0"/>
          <a:chExt cx="0" cy="0"/>
        </a:xfrm>
      </p:grpSpPr>
      <p:pic>
        <p:nvPicPr>
          <p:cNvPr id="10" name="Grafik 2">
            <a:extLst>
              <a:ext uri="{FF2B5EF4-FFF2-40B4-BE49-F238E27FC236}">
                <a16:creationId xmlns:a16="http://schemas.microsoft.com/office/drawing/2014/main" id="{6421FD8A-F5D4-E041-A727-98ABA693B1A7}"/>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5472449" y="1362516"/>
            <a:ext cx="4953000" cy="4865134"/>
          </a:xfrm>
          <a:prstGeom prst="rect">
            <a:avLst/>
          </a:prstGeom>
          <a:effectLst>
            <a:reflection blurRad="6350" stA="48000" endPos="6000" dir="5400000" sy="-100000" algn="bl" rotWithShape="0"/>
          </a:effectLst>
        </p:spPr>
      </p:pic>
      <p:sp>
        <p:nvSpPr>
          <p:cNvPr id="21" name="Date Placeholder 20"/>
          <p:cNvSpPr>
            <a:spLocks noGrp="1"/>
          </p:cNvSpPr>
          <p:nvPr>
            <p:ph type="dt" sz="half" idx="14"/>
          </p:nvPr>
        </p:nvSpPr>
        <p:spPr/>
        <p:txBody>
          <a:bodyPr/>
          <a:lstStyle/>
          <a:p>
            <a:fld id="{3A57DC1E-3194-45CD-A5C4-CC4893251E0F}" type="datetime5">
              <a:rPr lang="en-US" smtClean="0"/>
              <a:t>26-Jun-20</a:t>
            </a:fld>
            <a:endParaRPr lang="en-US"/>
          </a:p>
        </p:txBody>
      </p:sp>
      <p:sp>
        <p:nvSpPr>
          <p:cNvPr id="22" name="Footer Placeholder 21"/>
          <p:cNvSpPr>
            <a:spLocks noGrp="1"/>
          </p:cNvSpPr>
          <p:nvPr>
            <p:ph type="ftr" sz="quarter" idx="15"/>
          </p:nvPr>
        </p:nvSpPr>
        <p:spPr/>
        <p:txBody>
          <a:bodyPr/>
          <a:lstStyle/>
          <a:p>
            <a:r>
              <a:rPr lang="en-US"/>
              <a:t>Title of presentation (Insert / Header &amp; Footer / Apply to All)</a:t>
            </a:r>
          </a:p>
        </p:txBody>
      </p:sp>
      <p:sp>
        <p:nvSpPr>
          <p:cNvPr id="23" name="Slide Number Placeholder 22"/>
          <p:cNvSpPr>
            <a:spLocks noGrp="1"/>
          </p:cNvSpPr>
          <p:nvPr>
            <p:ph type="sldNum" sz="quarter" idx="16"/>
          </p:nvPr>
        </p:nvSpPr>
        <p:spPr/>
        <p:txBody>
          <a:bodyPr/>
          <a:lstStyle/>
          <a:p>
            <a:fld id="{5F3E29E4-0979-4FCA-B4C5-5FC6044C982A}" type="slidenum">
              <a:rPr lang="en-US" smtClean="0"/>
              <a:t>‹#›</a:t>
            </a:fld>
            <a:endParaRPr lang="en-US"/>
          </a:p>
        </p:txBody>
      </p:sp>
      <p:sp>
        <p:nvSpPr>
          <p:cNvPr id="2" name="Title 1"/>
          <p:cNvSpPr>
            <a:spLocks noGrp="1"/>
          </p:cNvSpPr>
          <p:nvPr>
            <p:ph type="title" hasCustomPrompt="1"/>
          </p:nvPr>
        </p:nvSpPr>
        <p:spPr/>
        <p:txBody>
          <a:bodyPr/>
          <a:lstStyle>
            <a:lvl1pPr>
              <a:defRPr/>
            </a:lvl1pPr>
          </a:lstStyle>
          <a:p>
            <a:r>
              <a:rPr lang="en-US"/>
              <a:t>Click to add slide title</a:t>
            </a:r>
          </a:p>
        </p:txBody>
      </p:sp>
      <p:sp>
        <p:nvSpPr>
          <p:cNvPr id="7" name="Subtitle 2"/>
          <p:cNvSpPr>
            <a:spLocks noGrp="1"/>
          </p:cNvSpPr>
          <p:nvPr>
            <p:ph type="subTitle" idx="13" hasCustomPrompt="1"/>
          </p:nvPr>
        </p:nvSpPr>
        <p:spPr>
          <a:xfrm>
            <a:off x="1075061" y="964671"/>
            <a:ext cx="7910158" cy="490042"/>
          </a:xfrm>
        </p:spPr>
        <p:txBody>
          <a:bodyPr wrap="none"/>
          <a:lstStyle>
            <a:lvl1pPr marL="0" indent="0" algn="l">
              <a:spcBef>
                <a:spcPts val="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sp>
        <p:nvSpPr>
          <p:cNvPr id="3" name="Content Placeholder 2"/>
          <p:cNvSpPr>
            <a:spLocks noGrp="1"/>
          </p:cNvSpPr>
          <p:nvPr>
            <p:ph idx="1" hasCustomPrompt="1"/>
          </p:nvPr>
        </p:nvSpPr>
        <p:spPr>
          <a:xfrm>
            <a:off x="1075061" y="1852623"/>
            <a:ext cx="5241071" cy="3658714"/>
          </a:xfrm>
        </p:spPr>
        <p:txBody>
          <a:bodyPr anchor="ctr"/>
          <a:lstStyle>
            <a:lvl1pPr>
              <a:defRPr sz="1600"/>
            </a:lvl1pPr>
            <a:lvl2pPr>
              <a:defRPr sz="1600"/>
            </a:lvl2pPr>
            <a:lvl3pPr>
              <a:defRPr sz="1600"/>
            </a:lvl3pPr>
            <a:lvl4pPr>
              <a:defRPr sz="1600"/>
            </a:lvl4pPr>
            <a:lvl5pPr>
              <a:defRPr sz="1600"/>
            </a:lvl5pPr>
          </a:lstStyle>
          <a:p>
            <a:pPr lvl="0"/>
            <a:r>
              <a:rPr lang="en-US"/>
              <a:t>Click to add text</a:t>
            </a:r>
          </a:p>
          <a:p>
            <a:pPr lvl="1"/>
            <a:r>
              <a:rPr lang="en-US"/>
              <a:t>Second level</a:t>
            </a:r>
          </a:p>
          <a:p>
            <a:pPr lvl="2"/>
            <a:r>
              <a:rPr lang="en-US"/>
              <a:t>Third level</a:t>
            </a:r>
          </a:p>
          <a:p>
            <a:pPr lvl="3"/>
            <a:r>
              <a:rPr lang="en-US"/>
              <a:t>Fourth level</a:t>
            </a:r>
          </a:p>
          <a:p>
            <a:pPr lvl="4"/>
            <a:r>
              <a:rPr lang="en-US"/>
              <a:t>Fifth level</a:t>
            </a:r>
          </a:p>
        </p:txBody>
      </p:sp>
      <p:sp>
        <p:nvSpPr>
          <p:cNvPr id="5" name="Picture Placeholder 4"/>
          <p:cNvSpPr>
            <a:spLocks noGrp="1"/>
          </p:cNvSpPr>
          <p:nvPr>
            <p:ph type="pic" sz="quarter" idx="17" hasCustomPrompt="1"/>
          </p:nvPr>
        </p:nvSpPr>
        <p:spPr>
          <a:xfrm>
            <a:off x="6923531" y="1784822"/>
            <a:ext cx="2006654" cy="4104000"/>
          </a:xfrm>
          <a:solidFill>
            <a:srgbClr val="D9DADB"/>
          </a:solidFill>
        </p:spPr>
        <p:txBody>
          <a:bodyPr/>
          <a:lstStyle>
            <a:lvl1pPr marL="0" indent="0">
              <a:buNone/>
              <a:defRPr/>
            </a:lvl1pPr>
          </a:lstStyle>
          <a:p>
            <a:r>
              <a:rPr lang="en-US"/>
              <a:t>Insert picture</a:t>
            </a:r>
          </a:p>
        </p:txBody>
      </p:sp>
      <p:sp>
        <p:nvSpPr>
          <p:cNvPr id="12" name="Text Placeholder 4"/>
          <p:cNvSpPr>
            <a:spLocks noGrp="1"/>
          </p:cNvSpPr>
          <p:nvPr>
            <p:ph type="body" sz="quarter" idx="18" hasCustomPrompt="1"/>
          </p:nvPr>
        </p:nvSpPr>
        <p:spPr>
          <a:xfrm>
            <a:off x="1075063" y="6307665"/>
            <a:ext cx="8162717" cy="133200"/>
          </a:xfrm>
        </p:spPr>
        <p:txBody>
          <a:bodyPr lIns="0" tIns="0" rIns="0" bIns="0" anchor="b" anchorCtr="0"/>
          <a:lstStyle>
            <a:lvl1pPr marL="0" indent="0" algn="l">
              <a:lnSpc>
                <a:spcPct val="100000"/>
              </a:lnSpc>
              <a:spcBef>
                <a:spcPts val="0"/>
              </a:spcBef>
              <a:buNone/>
              <a:defRPr sz="800" baseline="0"/>
            </a:lvl1pPr>
            <a:lvl2pPr marL="0" indent="0" algn="l">
              <a:lnSpc>
                <a:spcPct val="100000"/>
              </a:lnSpc>
              <a:spcBef>
                <a:spcPts val="0"/>
              </a:spcBef>
              <a:buNone/>
              <a:defRPr sz="800"/>
            </a:lvl2pPr>
            <a:lvl3pPr marL="0" indent="0" algn="l">
              <a:lnSpc>
                <a:spcPct val="100000"/>
              </a:lnSpc>
              <a:spcBef>
                <a:spcPts val="0"/>
              </a:spcBef>
              <a:buNone/>
              <a:defRPr sz="800"/>
            </a:lvl3pPr>
            <a:lvl4pPr marL="0" algn="l">
              <a:lnSpc>
                <a:spcPct val="100000"/>
              </a:lnSpc>
              <a:spcBef>
                <a:spcPts val="0"/>
              </a:spcBef>
              <a:buNone/>
              <a:defRPr sz="800"/>
            </a:lvl4pPr>
            <a:lvl5pPr marL="0" indent="0" algn="l">
              <a:lnSpc>
                <a:spcPct val="100000"/>
              </a:lnSpc>
              <a:spcBef>
                <a:spcPts val="0"/>
              </a:spcBef>
              <a:buNone/>
              <a:defRPr sz="800"/>
            </a:lvl5pPr>
          </a:lstStyle>
          <a:p>
            <a:pPr lvl="0"/>
            <a:r>
              <a:rPr lang="en-US"/>
              <a:t>Source line</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84980494"/>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p:cSld name="One contact">
    <p:spTree>
      <p:nvGrpSpPr>
        <p:cNvPr id="1" name=""/>
        <p:cNvGrpSpPr/>
        <p:nvPr/>
      </p:nvGrpSpPr>
      <p:grpSpPr>
        <a:xfrm>
          <a:off x="0" y="0"/>
          <a:ext cx="0" cy="0"/>
          <a:chOff x="0" y="0"/>
          <a:chExt cx="0" cy="0"/>
        </a:xfrm>
      </p:grpSpPr>
      <p:sp>
        <p:nvSpPr>
          <p:cNvPr id="4" name="Picture Placeholder 3"/>
          <p:cNvSpPr>
            <a:spLocks noGrp="1"/>
          </p:cNvSpPr>
          <p:nvPr>
            <p:ph type="pic" sz="quarter" idx="17" hasCustomPrompt="1"/>
          </p:nvPr>
        </p:nvSpPr>
        <p:spPr>
          <a:xfrm>
            <a:off x="1056217" y="1833656"/>
            <a:ext cx="3203503" cy="3935319"/>
          </a:xfrm>
          <a:solidFill>
            <a:srgbClr val="D9DADB"/>
          </a:solidFill>
        </p:spPr>
        <p:txBody>
          <a:bodyPr/>
          <a:lstStyle>
            <a:lvl1pPr marL="0" indent="0">
              <a:buNone/>
              <a:defRPr sz="1400"/>
            </a:lvl1pPr>
          </a:lstStyle>
          <a:p>
            <a:r>
              <a:rPr lang="en-US"/>
              <a:t>Insert picture</a:t>
            </a:r>
          </a:p>
        </p:txBody>
      </p:sp>
      <p:sp>
        <p:nvSpPr>
          <p:cNvPr id="21" name="Date Placeholder 20"/>
          <p:cNvSpPr>
            <a:spLocks noGrp="1"/>
          </p:cNvSpPr>
          <p:nvPr>
            <p:ph type="dt" sz="half" idx="14"/>
          </p:nvPr>
        </p:nvSpPr>
        <p:spPr/>
        <p:txBody>
          <a:bodyPr/>
          <a:lstStyle/>
          <a:p>
            <a:fld id="{59171ED9-6851-4525-A763-2524710A57F8}" type="datetime5">
              <a:rPr lang="en-US" smtClean="0"/>
              <a:t>26-Jun-20</a:t>
            </a:fld>
            <a:endParaRPr lang="en-US"/>
          </a:p>
        </p:txBody>
      </p:sp>
      <p:sp>
        <p:nvSpPr>
          <p:cNvPr id="22" name="Footer Placeholder 21"/>
          <p:cNvSpPr>
            <a:spLocks noGrp="1"/>
          </p:cNvSpPr>
          <p:nvPr>
            <p:ph type="ftr" sz="quarter" idx="15"/>
          </p:nvPr>
        </p:nvSpPr>
        <p:spPr/>
        <p:txBody>
          <a:bodyPr/>
          <a:lstStyle/>
          <a:p>
            <a:r>
              <a:rPr lang="en-US"/>
              <a:t>Title of presentation (Insert / Header &amp; Footer / Apply to All)</a:t>
            </a:r>
          </a:p>
        </p:txBody>
      </p:sp>
      <p:sp>
        <p:nvSpPr>
          <p:cNvPr id="23" name="Slide Number Placeholder 22"/>
          <p:cNvSpPr>
            <a:spLocks noGrp="1"/>
          </p:cNvSpPr>
          <p:nvPr>
            <p:ph type="sldNum" sz="quarter" idx="16"/>
          </p:nvPr>
        </p:nvSpPr>
        <p:spPr/>
        <p:txBody>
          <a:bodyPr/>
          <a:lstStyle/>
          <a:p>
            <a:fld id="{5F3E29E4-0979-4FCA-B4C5-5FC6044C982A}" type="slidenum">
              <a:rPr lang="en-US" smtClean="0"/>
              <a:t>‹#›</a:t>
            </a:fld>
            <a:endParaRPr lang="en-US"/>
          </a:p>
        </p:txBody>
      </p:sp>
      <p:sp>
        <p:nvSpPr>
          <p:cNvPr id="2" name="Title 1"/>
          <p:cNvSpPr>
            <a:spLocks noGrp="1"/>
          </p:cNvSpPr>
          <p:nvPr>
            <p:ph type="title" hasCustomPrompt="1"/>
          </p:nvPr>
        </p:nvSpPr>
        <p:spPr/>
        <p:txBody>
          <a:bodyPr/>
          <a:lstStyle>
            <a:lvl1pPr>
              <a:defRPr/>
            </a:lvl1pPr>
          </a:lstStyle>
          <a:p>
            <a:r>
              <a:rPr lang="en-US"/>
              <a:t>Click to add contact title</a:t>
            </a:r>
          </a:p>
        </p:txBody>
      </p:sp>
      <p:sp>
        <p:nvSpPr>
          <p:cNvPr id="7" name="Subtitle 2"/>
          <p:cNvSpPr>
            <a:spLocks noGrp="1"/>
          </p:cNvSpPr>
          <p:nvPr>
            <p:ph type="subTitle" idx="13" hasCustomPrompt="1"/>
          </p:nvPr>
        </p:nvSpPr>
        <p:spPr>
          <a:xfrm>
            <a:off x="1075061" y="964671"/>
            <a:ext cx="7910158" cy="490042"/>
          </a:xfrm>
        </p:spPr>
        <p:txBody>
          <a:bodyPr wrap="none"/>
          <a:lstStyle>
            <a:lvl1pPr marL="0" indent="0" algn="l">
              <a:spcBef>
                <a:spcPts val="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grpSp>
        <p:nvGrpSpPr>
          <p:cNvPr id="8" name="Gruppieren 80">
            <a:extLst>
              <a:ext uri="{FF2B5EF4-FFF2-40B4-BE49-F238E27FC236}">
                <a16:creationId xmlns:a16="http://schemas.microsoft.com/office/drawing/2014/main" id="{6B969E7B-9C39-4443-9B02-74C1E7C5CCAC}"/>
              </a:ext>
            </a:extLst>
          </p:cNvPr>
          <p:cNvGrpSpPr/>
          <p:nvPr/>
        </p:nvGrpSpPr>
        <p:grpSpPr>
          <a:xfrm>
            <a:off x="4451001" y="2884199"/>
            <a:ext cx="171180" cy="171180"/>
            <a:chOff x="3392092" y="1841122"/>
            <a:chExt cx="646508" cy="646508"/>
          </a:xfrm>
        </p:grpSpPr>
        <p:sp>
          <p:nvSpPr>
            <p:cNvPr id="9" name="Rechteck 14">
              <a:extLst>
                <a:ext uri="{FF2B5EF4-FFF2-40B4-BE49-F238E27FC236}">
                  <a16:creationId xmlns:a16="http://schemas.microsoft.com/office/drawing/2014/main" id="{D78F58EA-5525-8D43-8295-FEA52ECF6BFA}"/>
                </a:ext>
              </a:extLst>
            </p:cNvPr>
            <p:cNvSpPr>
              <a:spLocks noChangeAspect="1"/>
            </p:cNvSpPr>
            <p:nvPr/>
          </p:nvSpPr>
          <p:spPr bwMode="gray">
            <a:xfrm>
              <a:off x="3392092" y="1841122"/>
              <a:ext cx="646508" cy="646508"/>
            </a:xfrm>
            <a:prstGeom prst="rect">
              <a:avLst/>
            </a:prstGeom>
            <a:solidFill>
              <a:srgbClr val="E55A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pPr>
              <a:endParaRPr lang="en-US" sz="1000">
                <a:solidFill>
                  <a:schemeClr val="tx1"/>
                </a:solidFill>
                <a:latin typeface="Arial" pitchFamily="34" charset="0"/>
                <a:cs typeface="Arial" pitchFamily="34" charset="0"/>
              </a:endParaRPr>
            </a:p>
          </p:txBody>
        </p:sp>
        <p:sp>
          <p:nvSpPr>
            <p:cNvPr id="10" name="Freeform 67">
              <a:extLst>
                <a:ext uri="{FF2B5EF4-FFF2-40B4-BE49-F238E27FC236}">
                  <a16:creationId xmlns:a16="http://schemas.microsoft.com/office/drawing/2014/main" id="{D01A6292-2776-4945-B828-483D79DC4908}"/>
                </a:ext>
              </a:extLst>
            </p:cNvPr>
            <p:cNvSpPr>
              <a:spLocks noChangeAspect="1"/>
            </p:cNvSpPr>
            <p:nvPr/>
          </p:nvSpPr>
          <p:spPr bwMode="auto">
            <a:xfrm>
              <a:off x="3546638" y="1970424"/>
              <a:ext cx="337415" cy="387905"/>
            </a:xfrm>
            <a:custGeom>
              <a:avLst/>
              <a:gdLst>
                <a:gd name="T0" fmla="*/ 573 w 1624"/>
                <a:gd name="T1" fmla="*/ 1257 h 1867"/>
                <a:gd name="T2" fmla="*/ 662 w 1624"/>
                <a:gd name="T3" fmla="*/ 1288 h 1867"/>
                <a:gd name="T4" fmla="*/ 938 w 1624"/>
                <a:gd name="T5" fmla="*/ 1051 h 1867"/>
                <a:gd name="T6" fmla="*/ 1106 w 1624"/>
                <a:gd name="T7" fmla="*/ 731 h 1867"/>
                <a:gd name="T8" fmla="*/ 1059 w 1624"/>
                <a:gd name="T9" fmla="*/ 645 h 1867"/>
                <a:gd name="T10" fmla="*/ 1001 w 1624"/>
                <a:gd name="T11" fmla="*/ 613 h 1867"/>
                <a:gd name="T12" fmla="*/ 924 w 1624"/>
                <a:gd name="T13" fmla="*/ 432 h 1867"/>
                <a:gd name="T14" fmla="*/ 1114 w 1624"/>
                <a:gd name="T15" fmla="*/ 81 h 1867"/>
                <a:gd name="T16" fmla="*/ 1287 w 1624"/>
                <a:gd name="T17" fmla="*/ 35 h 1867"/>
                <a:gd name="T18" fmla="*/ 1350 w 1624"/>
                <a:gd name="T19" fmla="*/ 69 h 1867"/>
                <a:gd name="T20" fmla="*/ 1527 w 1624"/>
                <a:gd name="T21" fmla="*/ 235 h 1867"/>
                <a:gd name="T22" fmla="*/ 1583 w 1624"/>
                <a:gd name="T23" fmla="*/ 555 h 1867"/>
                <a:gd name="T24" fmla="*/ 1172 w 1624"/>
                <a:gd name="T25" fmla="*/ 1253 h 1867"/>
                <a:gd name="T26" fmla="*/ 586 w 1624"/>
                <a:gd name="T27" fmla="*/ 1803 h 1867"/>
                <a:gd name="T28" fmla="*/ 269 w 1624"/>
                <a:gd name="T29" fmla="*/ 1807 h 1867"/>
                <a:gd name="T30" fmla="*/ 33 w 1624"/>
                <a:gd name="T31" fmla="*/ 1602 h 1867"/>
                <a:gd name="T32" fmla="*/ 2 w 1624"/>
                <a:gd name="T33" fmla="*/ 1508 h 1867"/>
                <a:gd name="T34" fmla="*/ 45 w 1624"/>
                <a:gd name="T35" fmla="*/ 1421 h 1867"/>
                <a:gd name="T36" fmla="*/ 346 w 1624"/>
                <a:gd name="T37" fmla="*/ 1158 h 1867"/>
                <a:gd name="T38" fmla="*/ 448 w 1624"/>
                <a:gd name="T39" fmla="*/ 1145 h 1867"/>
                <a:gd name="T40" fmla="*/ 573 w 1624"/>
                <a:gd name="T41" fmla="*/ 1257 h 18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24" h="1867">
                  <a:moveTo>
                    <a:pt x="573" y="1257"/>
                  </a:moveTo>
                  <a:cubicBezTo>
                    <a:pt x="592" y="1282"/>
                    <a:pt x="630" y="1303"/>
                    <a:pt x="662" y="1288"/>
                  </a:cubicBezTo>
                  <a:cubicBezTo>
                    <a:pt x="753" y="1245"/>
                    <a:pt x="854" y="1156"/>
                    <a:pt x="938" y="1051"/>
                  </a:cubicBezTo>
                  <a:cubicBezTo>
                    <a:pt x="1020" y="948"/>
                    <a:pt x="1084" y="831"/>
                    <a:pt x="1106" y="731"/>
                  </a:cubicBezTo>
                  <a:cubicBezTo>
                    <a:pt x="1113" y="696"/>
                    <a:pt x="1089" y="661"/>
                    <a:pt x="1059" y="645"/>
                  </a:cubicBezTo>
                  <a:cubicBezTo>
                    <a:pt x="1001" y="613"/>
                    <a:pt x="1001" y="613"/>
                    <a:pt x="1001" y="613"/>
                  </a:cubicBezTo>
                  <a:cubicBezTo>
                    <a:pt x="942" y="580"/>
                    <a:pt x="888" y="499"/>
                    <a:pt x="924" y="432"/>
                  </a:cubicBezTo>
                  <a:cubicBezTo>
                    <a:pt x="1114" y="81"/>
                    <a:pt x="1114" y="81"/>
                    <a:pt x="1114" y="81"/>
                  </a:cubicBezTo>
                  <a:cubicBezTo>
                    <a:pt x="1150" y="16"/>
                    <a:pt x="1224" y="0"/>
                    <a:pt x="1287" y="35"/>
                  </a:cubicBezTo>
                  <a:cubicBezTo>
                    <a:pt x="1350" y="69"/>
                    <a:pt x="1350" y="69"/>
                    <a:pt x="1350" y="69"/>
                  </a:cubicBezTo>
                  <a:cubicBezTo>
                    <a:pt x="1415" y="105"/>
                    <a:pt x="1479" y="165"/>
                    <a:pt x="1527" y="235"/>
                  </a:cubicBezTo>
                  <a:cubicBezTo>
                    <a:pt x="1593" y="332"/>
                    <a:pt x="1624" y="442"/>
                    <a:pt x="1583" y="555"/>
                  </a:cubicBezTo>
                  <a:cubicBezTo>
                    <a:pt x="1500" y="781"/>
                    <a:pt x="1351" y="1030"/>
                    <a:pt x="1172" y="1253"/>
                  </a:cubicBezTo>
                  <a:cubicBezTo>
                    <a:pt x="994" y="1477"/>
                    <a:pt x="786" y="1676"/>
                    <a:pt x="586" y="1803"/>
                  </a:cubicBezTo>
                  <a:cubicBezTo>
                    <a:pt x="486" y="1867"/>
                    <a:pt x="375" y="1856"/>
                    <a:pt x="269" y="1807"/>
                  </a:cubicBezTo>
                  <a:cubicBezTo>
                    <a:pt x="157" y="1755"/>
                    <a:pt x="106" y="1695"/>
                    <a:pt x="33" y="1602"/>
                  </a:cubicBezTo>
                  <a:cubicBezTo>
                    <a:pt x="11" y="1573"/>
                    <a:pt x="0" y="1540"/>
                    <a:pt x="2" y="1508"/>
                  </a:cubicBezTo>
                  <a:cubicBezTo>
                    <a:pt x="4" y="1475"/>
                    <a:pt x="18" y="1444"/>
                    <a:pt x="45" y="1421"/>
                  </a:cubicBezTo>
                  <a:cubicBezTo>
                    <a:pt x="70" y="1399"/>
                    <a:pt x="346" y="1158"/>
                    <a:pt x="346" y="1158"/>
                  </a:cubicBezTo>
                  <a:cubicBezTo>
                    <a:pt x="376" y="1134"/>
                    <a:pt x="413" y="1133"/>
                    <a:pt x="448" y="1145"/>
                  </a:cubicBezTo>
                  <a:cubicBezTo>
                    <a:pt x="510" y="1166"/>
                    <a:pt x="536" y="1210"/>
                    <a:pt x="573" y="1257"/>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351"/>
            </a:p>
          </p:txBody>
        </p:sp>
      </p:grpSp>
      <p:grpSp>
        <p:nvGrpSpPr>
          <p:cNvPr id="11" name="Group 3">
            <a:extLst>
              <a:ext uri="{FF2B5EF4-FFF2-40B4-BE49-F238E27FC236}">
                <a16:creationId xmlns:a16="http://schemas.microsoft.com/office/drawing/2014/main" id="{DED6A25A-5DE2-1441-8BA2-C68D3B4F9209}"/>
              </a:ext>
            </a:extLst>
          </p:cNvPr>
          <p:cNvGrpSpPr>
            <a:grpSpLocks noChangeAspect="1"/>
          </p:cNvGrpSpPr>
          <p:nvPr>
            <p:custDataLst>
              <p:tags r:id="rId1"/>
            </p:custDataLst>
          </p:nvPr>
        </p:nvGrpSpPr>
        <p:grpSpPr>
          <a:xfrm>
            <a:off x="4451002" y="3169087"/>
            <a:ext cx="171180" cy="171180"/>
            <a:chOff x="328396" y="5313940"/>
            <a:chExt cx="720000" cy="720000"/>
          </a:xfrm>
        </p:grpSpPr>
        <p:sp>
          <p:nvSpPr>
            <p:cNvPr id="12" name="Rectangle 4">
              <a:extLst>
                <a:ext uri="{FF2B5EF4-FFF2-40B4-BE49-F238E27FC236}">
                  <a16:creationId xmlns:a16="http://schemas.microsoft.com/office/drawing/2014/main" id="{5F49E67F-D4FA-9D48-96BC-59AE946ECD15}"/>
                </a:ext>
              </a:extLst>
            </p:cNvPr>
            <p:cNvSpPr/>
            <p:nvPr/>
          </p:nvSpPr>
          <p:spPr bwMode="gray">
            <a:xfrm>
              <a:off x="328396" y="5313940"/>
              <a:ext cx="720000" cy="720000"/>
            </a:xfrm>
            <a:prstGeom prst="rect">
              <a:avLst/>
            </a:prstGeom>
            <a:solidFill>
              <a:srgbClr val="E55A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pPr>
              <a:endParaRPr lang="en-US" sz="1000">
                <a:solidFill>
                  <a:schemeClr val="tx1"/>
                </a:solidFill>
                <a:latin typeface="Arial" pitchFamily="34" charset="0"/>
                <a:cs typeface="Arial" pitchFamily="34" charset="0"/>
              </a:endParaRPr>
            </a:p>
          </p:txBody>
        </p:sp>
        <p:sp>
          <p:nvSpPr>
            <p:cNvPr id="13" name="Freeform 76">
              <a:extLst>
                <a:ext uri="{FF2B5EF4-FFF2-40B4-BE49-F238E27FC236}">
                  <a16:creationId xmlns:a16="http://schemas.microsoft.com/office/drawing/2014/main" id="{187E70E6-AF3F-2549-908E-DF4BA61040AA}"/>
                </a:ext>
              </a:extLst>
            </p:cNvPr>
            <p:cNvSpPr>
              <a:spLocks noChangeAspect="1" noEditPoints="1"/>
            </p:cNvSpPr>
            <p:nvPr/>
          </p:nvSpPr>
          <p:spPr bwMode="auto">
            <a:xfrm>
              <a:off x="456202" y="5509222"/>
              <a:ext cx="504000" cy="329436"/>
            </a:xfrm>
            <a:custGeom>
              <a:avLst/>
              <a:gdLst>
                <a:gd name="T0" fmla="*/ 0 w 2080"/>
                <a:gd name="T1" fmla="*/ 65 h 1360"/>
                <a:gd name="T2" fmla="*/ 0 w 2080"/>
                <a:gd name="T3" fmla="*/ 0 h 1360"/>
                <a:gd name="T4" fmla="*/ 2080 w 2080"/>
                <a:gd name="T5" fmla="*/ 0 h 1360"/>
                <a:gd name="T6" fmla="*/ 2080 w 2080"/>
                <a:gd name="T7" fmla="*/ 65 h 1360"/>
                <a:gd name="T8" fmla="*/ 1089 w 2080"/>
                <a:gd name="T9" fmla="*/ 862 h 1360"/>
                <a:gd name="T10" fmla="*/ 991 w 2080"/>
                <a:gd name="T11" fmla="*/ 862 h 1360"/>
                <a:gd name="T12" fmla="*/ 0 w 2080"/>
                <a:gd name="T13" fmla="*/ 65 h 1360"/>
                <a:gd name="T14" fmla="*/ 1139 w 2080"/>
                <a:gd name="T15" fmla="*/ 924 h 1360"/>
                <a:gd name="T16" fmla="*/ 1282 w 2080"/>
                <a:gd name="T17" fmla="*/ 810 h 1360"/>
                <a:gd name="T18" fmla="*/ 2076 w 2080"/>
                <a:gd name="T19" fmla="*/ 1360 h 1360"/>
                <a:gd name="T20" fmla="*/ 4 w 2080"/>
                <a:gd name="T21" fmla="*/ 1360 h 1360"/>
                <a:gd name="T22" fmla="*/ 798 w 2080"/>
                <a:gd name="T23" fmla="*/ 810 h 1360"/>
                <a:gd name="T24" fmla="*/ 941 w 2080"/>
                <a:gd name="T25" fmla="*/ 924 h 1360"/>
                <a:gd name="T26" fmla="*/ 1139 w 2080"/>
                <a:gd name="T27" fmla="*/ 924 h 1360"/>
                <a:gd name="T28" fmla="*/ 2 w 2080"/>
                <a:gd name="T29" fmla="*/ 137 h 1360"/>
                <a:gd name="T30" fmla="*/ 42 w 2080"/>
                <a:gd name="T31" fmla="*/ 201 h 1360"/>
                <a:gd name="T32" fmla="*/ 734 w 2080"/>
                <a:gd name="T33" fmla="*/ 758 h 1360"/>
                <a:gd name="T34" fmla="*/ 0 w 2080"/>
                <a:gd name="T35" fmla="*/ 1266 h 1360"/>
                <a:gd name="T36" fmla="*/ 0 w 2080"/>
                <a:gd name="T37" fmla="*/ 135 h 1360"/>
                <a:gd name="T38" fmla="*/ 2 w 2080"/>
                <a:gd name="T39" fmla="*/ 137 h 1360"/>
                <a:gd name="T40" fmla="*/ 2080 w 2080"/>
                <a:gd name="T41" fmla="*/ 136 h 1360"/>
                <a:gd name="T42" fmla="*/ 2080 w 2080"/>
                <a:gd name="T43" fmla="*/ 1265 h 1360"/>
                <a:gd name="T44" fmla="*/ 1346 w 2080"/>
                <a:gd name="T45" fmla="*/ 758 h 1360"/>
                <a:gd name="T46" fmla="*/ 2038 w 2080"/>
                <a:gd name="T47" fmla="*/ 201 h 1360"/>
                <a:gd name="T48" fmla="*/ 2080 w 2080"/>
                <a:gd name="T49" fmla="*/ 136 h 1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080" h="1360">
                  <a:moveTo>
                    <a:pt x="0" y="65"/>
                  </a:moveTo>
                  <a:cubicBezTo>
                    <a:pt x="0" y="0"/>
                    <a:pt x="0" y="0"/>
                    <a:pt x="0" y="0"/>
                  </a:cubicBezTo>
                  <a:cubicBezTo>
                    <a:pt x="2080" y="0"/>
                    <a:pt x="2080" y="0"/>
                    <a:pt x="2080" y="0"/>
                  </a:cubicBezTo>
                  <a:cubicBezTo>
                    <a:pt x="2080" y="65"/>
                    <a:pt x="2080" y="65"/>
                    <a:pt x="2080" y="65"/>
                  </a:cubicBezTo>
                  <a:cubicBezTo>
                    <a:pt x="1089" y="862"/>
                    <a:pt x="1089" y="862"/>
                    <a:pt x="1089" y="862"/>
                  </a:cubicBezTo>
                  <a:cubicBezTo>
                    <a:pt x="1060" y="886"/>
                    <a:pt x="1020" y="886"/>
                    <a:pt x="991" y="862"/>
                  </a:cubicBezTo>
                  <a:lnTo>
                    <a:pt x="0" y="65"/>
                  </a:lnTo>
                  <a:close/>
                  <a:moveTo>
                    <a:pt x="1139" y="924"/>
                  </a:moveTo>
                  <a:cubicBezTo>
                    <a:pt x="1282" y="810"/>
                    <a:pt x="1282" y="810"/>
                    <a:pt x="1282" y="810"/>
                  </a:cubicBezTo>
                  <a:cubicBezTo>
                    <a:pt x="2076" y="1360"/>
                    <a:pt x="2076" y="1360"/>
                    <a:pt x="2076" y="1360"/>
                  </a:cubicBezTo>
                  <a:cubicBezTo>
                    <a:pt x="4" y="1360"/>
                    <a:pt x="4" y="1360"/>
                    <a:pt x="4" y="1360"/>
                  </a:cubicBezTo>
                  <a:cubicBezTo>
                    <a:pt x="798" y="810"/>
                    <a:pt x="798" y="810"/>
                    <a:pt x="798" y="810"/>
                  </a:cubicBezTo>
                  <a:cubicBezTo>
                    <a:pt x="941" y="924"/>
                    <a:pt x="941" y="924"/>
                    <a:pt x="941" y="924"/>
                  </a:cubicBezTo>
                  <a:cubicBezTo>
                    <a:pt x="1000" y="972"/>
                    <a:pt x="1080" y="972"/>
                    <a:pt x="1139" y="924"/>
                  </a:cubicBezTo>
                  <a:close/>
                  <a:moveTo>
                    <a:pt x="2" y="137"/>
                  </a:moveTo>
                  <a:cubicBezTo>
                    <a:pt x="8" y="163"/>
                    <a:pt x="22" y="185"/>
                    <a:pt x="42" y="201"/>
                  </a:cubicBezTo>
                  <a:cubicBezTo>
                    <a:pt x="734" y="758"/>
                    <a:pt x="734" y="758"/>
                    <a:pt x="734" y="758"/>
                  </a:cubicBezTo>
                  <a:cubicBezTo>
                    <a:pt x="0" y="1266"/>
                    <a:pt x="0" y="1266"/>
                    <a:pt x="0" y="1266"/>
                  </a:cubicBezTo>
                  <a:cubicBezTo>
                    <a:pt x="0" y="135"/>
                    <a:pt x="0" y="135"/>
                    <a:pt x="0" y="135"/>
                  </a:cubicBezTo>
                  <a:lnTo>
                    <a:pt x="2" y="137"/>
                  </a:lnTo>
                  <a:close/>
                  <a:moveTo>
                    <a:pt x="2080" y="136"/>
                  </a:moveTo>
                  <a:cubicBezTo>
                    <a:pt x="2080" y="1265"/>
                    <a:pt x="2080" y="1265"/>
                    <a:pt x="2080" y="1265"/>
                  </a:cubicBezTo>
                  <a:cubicBezTo>
                    <a:pt x="1346" y="758"/>
                    <a:pt x="1346" y="758"/>
                    <a:pt x="1346" y="758"/>
                  </a:cubicBezTo>
                  <a:cubicBezTo>
                    <a:pt x="2038" y="201"/>
                    <a:pt x="2038" y="201"/>
                    <a:pt x="2038" y="201"/>
                  </a:cubicBezTo>
                  <a:cubicBezTo>
                    <a:pt x="2060" y="182"/>
                    <a:pt x="2072" y="162"/>
                    <a:pt x="2080" y="13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000"/>
            </a:p>
          </p:txBody>
        </p:sp>
      </p:grpSp>
      <p:cxnSp>
        <p:nvCxnSpPr>
          <p:cNvPr id="20" name="Straight Connector 19"/>
          <p:cNvCxnSpPr/>
          <p:nvPr/>
        </p:nvCxnSpPr>
        <p:spPr>
          <a:xfrm>
            <a:off x="4451001" y="3494093"/>
            <a:ext cx="2463190" cy="0"/>
          </a:xfrm>
          <a:prstGeom prst="line">
            <a:avLst/>
          </a:prstGeom>
          <a:ln w="6350">
            <a:solidFill>
              <a:schemeClr val="tx2"/>
            </a:solidFill>
            <a:prstDash val="dash"/>
          </a:ln>
        </p:spPr>
        <p:style>
          <a:lnRef idx="1">
            <a:schemeClr val="accent1"/>
          </a:lnRef>
          <a:fillRef idx="0">
            <a:schemeClr val="accent1"/>
          </a:fillRef>
          <a:effectRef idx="0">
            <a:schemeClr val="accent1"/>
          </a:effectRef>
          <a:fontRef idx="minor">
            <a:schemeClr val="tx1"/>
          </a:fontRef>
        </p:style>
      </p:cxnSp>
      <p:sp>
        <p:nvSpPr>
          <p:cNvPr id="6" name="Text Placeholder 5"/>
          <p:cNvSpPr>
            <a:spLocks noGrp="1"/>
          </p:cNvSpPr>
          <p:nvPr>
            <p:ph type="body" sz="quarter" idx="19" hasCustomPrompt="1"/>
          </p:nvPr>
        </p:nvSpPr>
        <p:spPr>
          <a:xfrm>
            <a:off x="4451001" y="1824401"/>
            <a:ext cx="2463190" cy="192360"/>
          </a:xfrm>
        </p:spPr>
        <p:txBody>
          <a:bodyPr lIns="0" tIns="0" rIns="0" bIns="0" anchor="ctr" anchorCtr="0"/>
          <a:lstStyle>
            <a:lvl1pPr marL="0" indent="0" algn="l">
              <a:lnSpc>
                <a:spcPct val="100000"/>
              </a:lnSpc>
              <a:buNone/>
              <a:defRPr sz="100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Country</a:t>
            </a:r>
          </a:p>
        </p:txBody>
      </p:sp>
      <p:sp>
        <p:nvSpPr>
          <p:cNvPr id="26" name="Text Placeholder 5"/>
          <p:cNvSpPr>
            <a:spLocks noGrp="1"/>
          </p:cNvSpPr>
          <p:nvPr>
            <p:ph type="body" sz="quarter" idx="20" hasCustomPrompt="1"/>
          </p:nvPr>
        </p:nvSpPr>
        <p:spPr>
          <a:xfrm>
            <a:off x="4451001" y="2036217"/>
            <a:ext cx="2463190" cy="266182"/>
          </a:xfrm>
        </p:spPr>
        <p:txBody>
          <a:bodyPr lIns="0" tIns="0" rIns="0" bIns="0" anchor="b" anchorCtr="0"/>
          <a:lstStyle>
            <a:lvl1pPr marL="0" indent="0" algn="l">
              <a:lnSpc>
                <a:spcPct val="100000"/>
              </a:lnSpc>
              <a:buNone/>
              <a:defRPr sz="1400" b="1" baseline="0">
                <a:solidFill>
                  <a:schemeClr val="tx2"/>
                </a:solidFill>
              </a:defRPr>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Name, Surname</a:t>
            </a:r>
          </a:p>
        </p:txBody>
      </p:sp>
      <p:sp>
        <p:nvSpPr>
          <p:cNvPr id="27" name="Text Placeholder 5"/>
          <p:cNvSpPr>
            <a:spLocks noGrp="1"/>
          </p:cNvSpPr>
          <p:nvPr>
            <p:ph type="body" sz="quarter" idx="21" hasCustomPrompt="1"/>
          </p:nvPr>
        </p:nvSpPr>
        <p:spPr>
          <a:xfrm>
            <a:off x="4451001" y="2332792"/>
            <a:ext cx="2463190"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Job Position</a:t>
            </a:r>
          </a:p>
        </p:txBody>
      </p:sp>
      <p:sp>
        <p:nvSpPr>
          <p:cNvPr id="28" name="Text Placeholder 5"/>
          <p:cNvSpPr>
            <a:spLocks noGrp="1"/>
          </p:cNvSpPr>
          <p:nvPr>
            <p:ph type="body" sz="quarter" idx="22" hasCustomPrompt="1"/>
          </p:nvPr>
        </p:nvSpPr>
        <p:spPr>
          <a:xfrm>
            <a:off x="4695884" y="2861468"/>
            <a:ext cx="2218307"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Phone number</a:t>
            </a:r>
          </a:p>
        </p:txBody>
      </p:sp>
      <p:sp>
        <p:nvSpPr>
          <p:cNvPr id="29" name="Text Placeholder 5"/>
          <p:cNvSpPr>
            <a:spLocks noGrp="1"/>
          </p:cNvSpPr>
          <p:nvPr>
            <p:ph type="body" sz="quarter" idx="23" hasCustomPrompt="1"/>
          </p:nvPr>
        </p:nvSpPr>
        <p:spPr>
          <a:xfrm>
            <a:off x="4695884" y="3144275"/>
            <a:ext cx="2218307"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Email address</a:t>
            </a:r>
          </a:p>
        </p:txBody>
      </p:sp>
      <p:sp>
        <p:nvSpPr>
          <p:cNvPr id="35" name="Text Placeholder 34"/>
          <p:cNvSpPr>
            <a:spLocks noGrp="1"/>
          </p:cNvSpPr>
          <p:nvPr>
            <p:ph type="body" sz="quarter" idx="24" hasCustomPrompt="1"/>
          </p:nvPr>
        </p:nvSpPr>
        <p:spPr>
          <a:xfrm>
            <a:off x="4492626" y="3681413"/>
            <a:ext cx="4492594" cy="2087562"/>
          </a:xfrm>
        </p:spPr>
        <p:txBody>
          <a:bodyPr/>
          <a:lstStyle>
            <a:lvl1pPr>
              <a:defRPr sz="1400" baseline="0"/>
            </a:lvl1pPr>
            <a:lvl2pPr>
              <a:defRPr sz="1400"/>
            </a:lvl2pPr>
            <a:lvl3pPr>
              <a:defRPr sz="1400"/>
            </a:lvl3pPr>
            <a:lvl4pPr>
              <a:defRPr sz="1400"/>
            </a:lvl4pPr>
            <a:lvl5pPr>
              <a:defRPr sz="1400"/>
            </a:lvl5pPr>
          </a:lstStyle>
          <a:p>
            <a:pPr lvl="0"/>
            <a:r>
              <a:rPr lang="en-US"/>
              <a:t>Additional information (if needed)</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69382951"/>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p:cSld name="Two contacts">
    <p:spTree>
      <p:nvGrpSpPr>
        <p:cNvPr id="1" name=""/>
        <p:cNvGrpSpPr/>
        <p:nvPr/>
      </p:nvGrpSpPr>
      <p:grpSpPr>
        <a:xfrm>
          <a:off x="0" y="0"/>
          <a:ext cx="0" cy="0"/>
          <a:chOff x="0" y="0"/>
          <a:chExt cx="0" cy="0"/>
        </a:xfrm>
      </p:grpSpPr>
      <p:sp>
        <p:nvSpPr>
          <p:cNvPr id="21" name="Date Placeholder 20"/>
          <p:cNvSpPr>
            <a:spLocks noGrp="1"/>
          </p:cNvSpPr>
          <p:nvPr>
            <p:ph type="dt" sz="half" idx="14"/>
          </p:nvPr>
        </p:nvSpPr>
        <p:spPr/>
        <p:txBody>
          <a:bodyPr/>
          <a:lstStyle/>
          <a:p>
            <a:fld id="{3F4603FF-FCF6-4AE0-9349-4AF38C1FF5B2}" type="datetime5">
              <a:rPr lang="en-US" smtClean="0"/>
              <a:t>26-Jun-20</a:t>
            </a:fld>
            <a:endParaRPr lang="en-US"/>
          </a:p>
        </p:txBody>
      </p:sp>
      <p:sp>
        <p:nvSpPr>
          <p:cNvPr id="22" name="Footer Placeholder 21"/>
          <p:cNvSpPr>
            <a:spLocks noGrp="1"/>
          </p:cNvSpPr>
          <p:nvPr>
            <p:ph type="ftr" sz="quarter" idx="15"/>
          </p:nvPr>
        </p:nvSpPr>
        <p:spPr/>
        <p:txBody>
          <a:bodyPr/>
          <a:lstStyle/>
          <a:p>
            <a:r>
              <a:rPr lang="en-US"/>
              <a:t>Title of presentation (Insert / Header &amp; Footer / Apply to All)</a:t>
            </a:r>
          </a:p>
        </p:txBody>
      </p:sp>
      <p:sp>
        <p:nvSpPr>
          <p:cNvPr id="23" name="Slide Number Placeholder 22"/>
          <p:cNvSpPr>
            <a:spLocks noGrp="1"/>
          </p:cNvSpPr>
          <p:nvPr>
            <p:ph type="sldNum" sz="quarter" idx="16"/>
          </p:nvPr>
        </p:nvSpPr>
        <p:spPr/>
        <p:txBody>
          <a:bodyPr/>
          <a:lstStyle/>
          <a:p>
            <a:fld id="{5F3E29E4-0979-4FCA-B4C5-5FC6044C982A}" type="slidenum">
              <a:rPr lang="en-US" smtClean="0"/>
              <a:t>‹#›</a:t>
            </a:fld>
            <a:endParaRPr lang="en-US"/>
          </a:p>
        </p:txBody>
      </p:sp>
      <p:sp>
        <p:nvSpPr>
          <p:cNvPr id="2" name="Title 1"/>
          <p:cNvSpPr>
            <a:spLocks noGrp="1"/>
          </p:cNvSpPr>
          <p:nvPr>
            <p:ph type="title" hasCustomPrompt="1"/>
          </p:nvPr>
        </p:nvSpPr>
        <p:spPr/>
        <p:txBody>
          <a:bodyPr/>
          <a:lstStyle>
            <a:lvl1pPr>
              <a:defRPr/>
            </a:lvl1pPr>
          </a:lstStyle>
          <a:p>
            <a:r>
              <a:rPr lang="en-US"/>
              <a:t>Click to add contact title</a:t>
            </a:r>
          </a:p>
        </p:txBody>
      </p:sp>
      <p:sp>
        <p:nvSpPr>
          <p:cNvPr id="7" name="Subtitle 2"/>
          <p:cNvSpPr>
            <a:spLocks noGrp="1"/>
          </p:cNvSpPr>
          <p:nvPr>
            <p:ph type="subTitle" idx="13" hasCustomPrompt="1"/>
          </p:nvPr>
        </p:nvSpPr>
        <p:spPr>
          <a:xfrm>
            <a:off x="1075061" y="964671"/>
            <a:ext cx="7910158" cy="490042"/>
          </a:xfrm>
        </p:spPr>
        <p:txBody>
          <a:bodyPr wrap="none"/>
          <a:lstStyle>
            <a:lvl1pPr marL="0" indent="0" algn="l">
              <a:spcBef>
                <a:spcPts val="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grpSp>
        <p:nvGrpSpPr>
          <p:cNvPr id="8" name="Gruppieren 80">
            <a:extLst>
              <a:ext uri="{FF2B5EF4-FFF2-40B4-BE49-F238E27FC236}">
                <a16:creationId xmlns:a16="http://schemas.microsoft.com/office/drawing/2014/main" id="{6B969E7B-9C39-4443-9B02-74C1E7C5CCAC}"/>
              </a:ext>
            </a:extLst>
          </p:cNvPr>
          <p:cNvGrpSpPr/>
          <p:nvPr/>
        </p:nvGrpSpPr>
        <p:grpSpPr>
          <a:xfrm>
            <a:off x="3770065" y="2868319"/>
            <a:ext cx="171180" cy="171180"/>
            <a:chOff x="3392092" y="1841122"/>
            <a:chExt cx="646508" cy="646508"/>
          </a:xfrm>
        </p:grpSpPr>
        <p:sp>
          <p:nvSpPr>
            <p:cNvPr id="9" name="Rechteck 14">
              <a:extLst>
                <a:ext uri="{FF2B5EF4-FFF2-40B4-BE49-F238E27FC236}">
                  <a16:creationId xmlns:a16="http://schemas.microsoft.com/office/drawing/2014/main" id="{D78F58EA-5525-8D43-8295-FEA52ECF6BFA}"/>
                </a:ext>
              </a:extLst>
            </p:cNvPr>
            <p:cNvSpPr>
              <a:spLocks noChangeAspect="1"/>
            </p:cNvSpPr>
            <p:nvPr/>
          </p:nvSpPr>
          <p:spPr bwMode="gray">
            <a:xfrm>
              <a:off x="3392092" y="1841122"/>
              <a:ext cx="646508" cy="646508"/>
            </a:xfrm>
            <a:prstGeom prst="rect">
              <a:avLst/>
            </a:prstGeom>
            <a:solidFill>
              <a:srgbClr val="E55A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pPr>
              <a:endParaRPr lang="en-US" sz="1000">
                <a:solidFill>
                  <a:schemeClr val="tx1"/>
                </a:solidFill>
                <a:latin typeface="Arial" pitchFamily="34" charset="0"/>
                <a:cs typeface="Arial" pitchFamily="34" charset="0"/>
              </a:endParaRPr>
            </a:p>
          </p:txBody>
        </p:sp>
        <p:sp>
          <p:nvSpPr>
            <p:cNvPr id="10" name="Freeform 67">
              <a:extLst>
                <a:ext uri="{FF2B5EF4-FFF2-40B4-BE49-F238E27FC236}">
                  <a16:creationId xmlns:a16="http://schemas.microsoft.com/office/drawing/2014/main" id="{D01A6292-2776-4945-B828-483D79DC4908}"/>
                </a:ext>
              </a:extLst>
            </p:cNvPr>
            <p:cNvSpPr>
              <a:spLocks noChangeAspect="1"/>
            </p:cNvSpPr>
            <p:nvPr/>
          </p:nvSpPr>
          <p:spPr bwMode="auto">
            <a:xfrm>
              <a:off x="3546638" y="1970424"/>
              <a:ext cx="337415" cy="387905"/>
            </a:xfrm>
            <a:custGeom>
              <a:avLst/>
              <a:gdLst>
                <a:gd name="T0" fmla="*/ 573 w 1624"/>
                <a:gd name="T1" fmla="*/ 1257 h 1867"/>
                <a:gd name="T2" fmla="*/ 662 w 1624"/>
                <a:gd name="T3" fmla="*/ 1288 h 1867"/>
                <a:gd name="T4" fmla="*/ 938 w 1624"/>
                <a:gd name="T5" fmla="*/ 1051 h 1867"/>
                <a:gd name="T6" fmla="*/ 1106 w 1624"/>
                <a:gd name="T7" fmla="*/ 731 h 1867"/>
                <a:gd name="T8" fmla="*/ 1059 w 1624"/>
                <a:gd name="T9" fmla="*/ 645 h 1867"/>
                <a:gd name="T10" fmla="*/ 1001 w 1624"/>
                <a:gd name="T11" fmla="*/ 613 h 1867"/>
                <a:gd name="T12" fmla="*/ 924 w 1624"/>
                <a:gd name="T13" fmla="*/ 432 h 1867"/>
                <a:gd name="T14" fmla="*/ 1114 w 1624"/>
                <a:gd name="T15" fmla="*/ 81 h 1867"/>
                <a:gd name="T16" fmla="*/ 1287 w 1624"/>
                <a:gd name="T17" fmla="*/ 35 h 1867"/>
                <a:gd name="T18" fmla="*/ 1350 w 1624"/>
                <a:gd name="T19" fmla="*/ 69 h 1867"/>
                <a:gd name="T20" fmla="*/ 1527 w 1624"/>
                <a:gd name="T21" fmla="*/ 235 h 1867"/>
                <a:gd name="T22" fmla="*/ 1583 w 1624"/>
                <a:gd name="T23" fmla="*/ 555 h 1867"/>
                <a:gd name="T24" fmla="*/ 1172 w 1624"/>
                <a:gd name="T25" fmla="*/ 1253 h 1867"/>
                <a:gd name="T26" fmla="*/ 586 w 1624"/>
                <a:gd name="T27" fmla="*/ 1803 h 1867"/>
                <a:gd name="T28" fmla="*/ 269 w 1624"/>
                <a:gd name="T29" fmla="*/ 1807 h 1867"/>
                <a:gd name="T30" fmla="*/ 33 w 1624"/>
                <a:gd name="T31" fmla="*/ 1602 h 1867"/>
                <a:gd name="T32" fmla="*/ 2 w 1624"/>
                <a:gd name="T33" fmla="*/ 1508 h 1867"/>
                <a:gd name="T34" fmla="*/ 45 w 1624"/>
                <a:gd name="T35" fmla="*/ 1421 h 1867"/>
                <a:gd name="T36" fmla="*/ 346 w 1624"/>
                <a:gd name="T37" fmla="*/ 1158 h 1867"/>
                <a:gd name="T38" fmla="*/ 448 w 1624"/>
                <a:gd name="T39" fmla="*/ 1145 h 1867"/>
                <a:gd name="T40" fmla="*/ 573 w 1624"/>
                <a:gd name="T41" fmla="*/ 1257 h 18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24" h="1867">
                  <a:moveTo>
                    <a:pt x="573" y="1257"/>
                  </a:moveTo>
                  <a:cubicBezTo>
                    <a:pt x="592" y="1282"/>
                    <a:pt x="630" y="1303"/>
                    <a:pt x="662" y="1288"/>
                  </a:cubicBezTo>
                  <a:cubicBezTo>
                    <a:pt x="753" y="1245"/>
                    <a:pt x="854" y="1156"/>
                    <a:pt x="938" y="1051"/>
                  </a:cubicBezTo>
                  <a:cubicBezTo>
                    <a:pt x="1020" y="948"/>
                    <a:pt x="1084" y="831"/>
                    <a:pt x="1106" y="731"/>
                  </a:cubicBezTo>
                  <a:cubicBezTo>
                    <a:pt x="1113" y="696"/>
                    <a:pt x="1089" y="661"/>
                    <a:pt x="1059" y="645"/>
                  </a:cubicBezTo>
                  <a:cubicBezTo>
                    <a:pt x="1001" y="613"/>
                    <a:pt x="1001" y="613"/>
                    <a:pt x="1001" y="613"/>
                  </a:cubicBezTo>
                  <a:cubicBezTo>
                    <a:pt x="942" y="580"/>
                    <a:pt x="888" y="499"/>
                    <a:pt x="924" y="432"/>
                  </a:cubicBezTo>
                  <a:cubicBezTo>
                    <a:pt x="1114" y="81"/>
                    <a:pt x="1114" y="81"/>
                    <a:pt x="1114" y="81"/>
                  </a:cubicBezTo>
                  <a:cubicBezTo>
                    <a:pt x="1150" y="16"/>
                    <a:pt x="1224" y="0"/>
                    <a:pt x="1287" y="35"/>
                  </a:cubicBezTo>
                  <a:cubicBezTo>
                    <a:pt x="1350" y="69"/>
                    <a:pt x="1350" y="69"/>
                    <a:pt x="1350" y="69"/>
                  </a:cubicBezTo>
                  <a:cubicBezTo>
                    <a:pt x="1415" y="105"/>
                    <a:pt x="1479" y="165"/>
                    <a:pt x="1527" y="235"/>
                  </a:cubicBezTo>
                  <a:cubicBezTo>
                    <a:pt x="1593" y="332"/>
                    <a:pt x="1624" y="442"/>
                    <a:pt x="1583" y="555"/>
                  </a:cubicBezTo>
                  <a:cubicBezTo>
                    <a:pt x="1500" y="781"/>
                    <a:pt x="1351" y="1030"/>
                    <a:pt x="1172" y="1253"/>
                  </a:cubicBezTo>
                  <a:cubicBezTo>
                    <a:pt x="994" y="1477"/>
                    <a:pt x="786" y="1676"/>
                    <a:pt x="586" y="1803"/>
                  </a:cubicBezTo>
                  <a:cubicBezTo>
                    <a:pt x="486" y="1867"/>
                    <a:pt x="375" y="1856"/>
                    <a:pt x="269" y="1807"/>
                  </a:cubicBezTo>
                  <a:cubicBezTo>
                    <a:pt x="157" y="1755"/>
                    <a:pt x="106" y="1695"/>
                    <a:pt x="33" y="1602"/>
                  </a:cubicBezTo>
                  <a:cubicBezTo>
                    <a:pt x="11" y="1573"/>
                    <a:pt x="0" y="1540"/>
                    <a:pt x="2" y="1508"/>
                  </a:cubicBezTo>
                  <a:cubicBezTo>
                    <a:pt x="4" y="1475"/>
                    <a:pt x="18" y="1444"/>
                    <a:pt x="45" y="1421"/>
                  </a:cubicBezTo>
                  <a:cubicBezTo>
                    <a:pt x="70" y="1399"/>
                    <a:pt x="346" y="1158"/>
                    <a:pt x="346" y="1158"/>
                  </a:cubicBezTo>
                  <a:cubicBezTo>
                    <a:pt x="376" y="1134"/>
                    <a:pt x="413" y="1133"/>
                    <a:pt x="448" y="1145"/>
                  </a:cubicBezTo>
                  <a:cubicBezTo>
                    <a:pt x="510" y="1166"/>
                    <a:pt x="536" y="1210"/>
                    <a:pt x="573" y="1257"/>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351"/>
            </a:p>
          </p:txBody>
        </p:sp>
      </p:grpSp>
      <p:grpSp>
        <p:nvGrpSpPr>
          <p:cNvPr id="11" name="Group 3">
            <a:extLst>
              <a:ext uri="{FF2B5EF4-FFF2-40B4-BE49-F238E27FC236}">
                <a16:creationId xmlns:a16="http://schemas.microsoft.com/office/drawing/2014/main" id="{DED6A25A-5DE2-1441-8BA2-C68D3B4F9209}"/>
              </a:ext>
            </a:extLst>
          </p:cNvPr>
          <p:cNvGrpSpPr>
            <a:grpSpLocks noChangeAspect="1"/>
          </p:cNvGrpSpPr>
          <p:nvPr>
            <p:custDataLst>
              <p:tags r:id="rId1"/>
            </p:custDataLst>
          </p:nvPr>
        </p:nvGrpSpPr>
        <p:grpSpPr>
          <a:xfrm>
            <a:off x="3770066" y="3153207"/>
            <a:ext cx="171180" cy="171180"/>
            <a:chOff x="328396" y="5313940"/>
            <a:chExt cx="720000" cy="720000"/>
          </a:xfrm>
        </p:grpSpPr>
        <p:sp>
          <p:nvSpPr>
            <p:cNvPr id="12" name="Rectangle 4">
              <a:extLst>
                <a:ext uri="{FF2B5EF4-FFF2-40B4-BE49-F238E27FC236}">
                  <a16:creationId xmlns:a16="http://schemas.microsoft.com/office/drawing/2014/main" id="{5F49E67F-D4FA-9D48-96BC-59AE946ECD15}"/>
                </a:ext>
              </a:extLst>
            </p:cNvPr>
            <p:cNvSpPr/>
            <p:nvPr/>
          </p:nvSpPr>
          <p:spPr bwMode="gray">
            <a:xfrm>
              <a:off x="328396" y="5313940"/>
              <a:ext cx="720000" cy="720000"/>
            </a:xfrm>
            <a:prstGeom prst="rect">
              <a:avLst/>
            </a:prstGeom>
            <a:solidFill>
              <a:srgbClr val="E55A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pPr>
              <a:endParaRPr lang="en-US" sz="1000">
                <a:solidFill>
                  <a:schemeClr val="tx1"/>
                </a:solidFill>
                <a:latin typeface="Arial" pitchFamily="34" charset="0"/>
                <a:cs typeface="Arial" pitchFamily="34" charset="0"/>
              </a:endParaRPr>
            </a:p>
          </p:txBody>
        </p:sp>
        <p:sp>
          <p:nvSpPr>
            <p:cNvPr id="13" name="Freeform 76">
              <a:extLst>
                <a:ext uri="{FF2B5EF4-FFF2-40B4-BE49-F238E27FC236}">
                  <a16:creationId xmlns:a16="http://schemas.microsoft.com/office/drawing/2014/main" id="{187E70E6-AF3F-2549-908E-DF4BA61040AA}"/>
                </a:ext>
              </a:extLst>
            </p:cNvPr>
            <p:cNvSpPr>
              <a:spLocks noChangeAspect="1" noEditPoints="1"/>
            </p:cNvSpPr>
            <p:nvPr/>
          </p:nvSpPr>
          <p:spPr bwMode="auto">
            <a:xfrm>
              <a:off x="456202" y="5509222"/>
              <a:ext cx="504000" cy="329436"/>
            </a:xfrm>
            <a:custGeom>
              <a:avLst/>
              <a:gdLst>
                <a:gd name="T0" fmla="*/ 0 w 2080"/>
                <a:gd name="T1" fmla="*/ 65 h 1360"/>
                <a:gd name="T2" fmla="*/ 0 w 2080"/>
                <a:gd name="T3" fmla="*/ 0 h 1360"/>
                <a:gd name="T4" fmla="*/ 2080 w 2080"/>
                <a:gd name="T5" fmla="*/ 0 h 1360"/>
                <a:gd name="T6" fmla="*/ 2080 w 2080"/>
                <a:gd name="T7" fmla="*/ 65 h 1360"/>
                <a:gd name="T8" fmla="*/ 1089 w 2080"/>
                <a:gd name="T9" fmla="*/ 862 h 1360"/>
                <a:gd name="T10" fmla="*/ 991 w 2080"/>
                <a:gd name="T11" fmla="*/ 862 h 1360"/>
                <a:gd name="T12" fmla="*/ 0 w 2080"/>
                <a:gd name="T13" fmla="*/ 65 h 1360"/>
                <a:gd name="T14" fmla="*/ 1139 w 2080"/>
                <a:gd name="T15" fmla="*/ 924 h 1360"/>
                <a:gd name="T16" fmla="*/ 1282 w 2080"/>
                <a:gd name="T17" fmla="*/ 810 h 1360"/>
                <a:gd name="T18" fmla="*/ 2076 w 2080"/>
                <a:gd name="T19" fmla="*/ 1360 h 1360"/>
                <a:gd name="T20" fmla="*/ 4 w 2080"/>
                <a:gd name="T21" fmla="*/ 1360 h 1360"/>
                <a:gd name="T22" fmla="*/ 798 w 2080"/>
                <a:gd name="T23" fmla="*/ 810 h 1360"/>
                <a:gd name="T24" fmla="*/ 941 w 2080"/>
                <a:gd name="T25" fmla="*/ 924 h 1360"/>
                <a:gd name="T26" fmla="*/ 1139 w 2080"/>
                <a:gd name="T27" fmla="*/ 924 h 1360"/>
                <a:gd name="T28" fmla="*/ 2 w 2080"/>
                <a:gd name="T29" fmla="*/ 137 h 1360"/>
                <a:gd name="T30" fmla="*/ 42 w 2080"/>
                <a:gd name="T31" fmla="*/ 201 h 1360"/>
                <a:gd name="T32" fmla="*/ 734 w 2080"/>
                <a:gd name="T33" fmla="*/ 758 h 1360"/>
                <a:gd name="T34" fmla="*/ 0 w 2080"/>
                <a:gd name="T35" fmla="*/ 1266 h 1360"/>
                <a:gd name="T36" fmla="*/ 0 w 2080"/>
                <a:gd name="T37" fmla="*/ 135 h 1360"/>
                <a:gd name="T38" fmla="*/ 2 w 2080"/>
                <a:gd name="T39" fmla="*/ 137 h 1360"/>
                <a:gd name="T40" fmla="*/ 2080 w 2080"/>
                <a:gd name="T41" fmla="*/ 136 h 1360"/>
                <a:gd name="T42" fmla="*/ 2080 w 2080"/>
                <a:gd name="T43" fmla="*/ 1265 h 1360"/>
                <a:gd name="T44" fmla="*/ 1346 w 2080"/>
                <a:gd name="T45" fmla="*/ 758 h 1360"/>
                <a:gd name="T46" fmla="*/ 2038 w 2080"/>
                <a:gd name="T47" fmla="*/ 201 h 1360"/>
                <a:gd name="T48" fmla="*/ 2080 w 2080"/>
                <a:gd name="T49" fmla="*/ 136 h 1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080" h="1360">
                  <a:moveTo>
                    <a:pt x="0" y="65"/>
                  </a:moveTo>
                  <a:cubicBezTo>
                    <a:pt x="0" y="0"/>
                    <a:pt x="0" y="0"/>
                    <a:pt x="0" y="0"/>
                  </a:cubicBezTo>
                  <a:cubicBezTo>
                    <a:pt x="2080" y="0"/>
                    <a:pt x="2080" y="0"/>
                    <a:pt x="2080" y="0"/>
                  </a:cubicBezTo>
                  <a:cubicBezTo>
                    <a:pt x="2080" y="65"/>
                    <a:pt x="2080" y="65"/>
                    <a:pt x="2080" y="65"/>
                  </a:cubicBezTo>
                  <a:cubicBezTo>
                    <a:pt x="1089" y="862"/>
                    <a:pt x="1089" y="862"/>
                    <a:pt x="1089" y="862"/>
                  </a:cubicBezTo>
                  <a:cubicBezTo>
                    <a:pt x="1060" y="886"/>
                    <a:pt x="1020" y="886"/>
                    <a:pt x="991" y="862"/>
                  </a:cubicBezTo>
                  <a:lnTo>
                    <a:pt x="0" y="65"/>
                  </a:lnTo>
                  <a:close/>
                  <a:moveTo>
                    <a:pt x="1139" y="924"/>
                  </a:moveTo>
                  <a:cubicBezTo>
                    <a:pt x="1282" y="810"/>
                    <a:pt x="1282" y="810"/>
                    <a:pt x="1282" y="810"/>
                  </a:cubicBezTo>
                  <a:cubicBezTo>
                    <a:pt x="2076" y="1360"/>
                    <a:pt x="2076" y="1360"/>
                    <a:pt x="2076" y="1360"/>
                  </a:cubicBezTo>
                  <a:cubicBezTo>
                    <a:pt x="4" y="1360"/>
                    <a:pt x="4" y="1360"/>
                    <a:pt x="4" y="1360"/>
                  </a:cubicBezTo>
                  <a:cubicBezTo>
                    <a:pt x="798" y="810"/>
                    <a:pt x="798" y="810"/>
                    <a:pt x="798" y="810"/>
                  </a:cubicBezTo>
                  <a:cubicBezTo>
                    <a:pt x="941" y="924"/>
                    <a:pt x="941" y="924"/>
                    <a:pt x="941" y="924"/>
                  </a:cubicBezTo>
                  <a:cubicBezTo>
                    <a:pt x="1000" y="972"/>
                    <a:pt x="1080" y="972"/>
                    <a:pt x="1139" y="924"/>
                  </a:cubicBezTo>
                  <a:close/>
                  <a:moveTo>
                    <a:pt x="2" y="137"/>
                  </a:moveTo>
                  <a:cubicBezTo>
                    <a:pt x="8" y="163"/>
                    <a:pt x="22" y="185"/>
                    <a:pt x="42" y="201"/>
                  </a:cubicBezTo>
                  <a:cubicBezTo>
                    <a:pt x="734" y="758"/>
                    <a:pt x="734" y="758"/>
                    <a:pt x="734" y="758"/>
                  </a:cubicBezTo>
                  <a:cubicBezTo>
                    <a:pt x="0" y="1266"/>
                    <a:pt x="0" y="1266"/>
                    <a:pt x="0" y="1266"/>
                  </a:cubicBezTo>
                  <a:cubicBezTo>
                    <a:pt x="0" y="135"/>
                    <a:pt x="0" y="135"/>
                    <a:pt x="0" y="135"/>
                  </a:cubicBezTo>
                  <a:lnTo>
                    <a:pt x="2" y="137"/>
                  </a:lnTo>
                  <a:close/>
                  <a:moveTo>
                    <a:pt x="2080" y="136"/>
                  </a:moveTo>
                  <a:cubicBezTo>
                    <a:pt x="2080" y="1265"/>
                    <a:pt x="2080" y="1265"/>
                    <a:pt x="2080" y="1265"/>
                  </a:cubicBezTo>
                  <a:cubicBezTo>
                    <a:pt x="1346" y="758"/>
                    <a:pt x="1346" y="758"/>
                    <a:pt x="1346" y="758"/>
                  </a:cubicBezTo>
                  <a:cubicBezTo>
                    <a:pt x="2038" y="201"/>
                    <a:pt x="2038" y="201"/>
                    <a:pt x="2038" y="201"/>
                  </a:cubicBezTo>
                  <a:cubicBezTo>
                    <a:pt x="2060" y="182"/>
                    <a:pt x="2072" y="162"/>
                    <a:pt x="2080" y="13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000"/>
            </a:p>
          </p:txBody>
        </p:sp>
      </p:grpSp>
      <p:grpSp>
        <p:nvGrpSpPr>
          <p:cNvPr id="14" name="Gruppieren 2">
            <a:extLst>
              <a:ext uri="{FF2B5EF4-FFF2-40B4-BE49-F238E27FC236}">
                <a16:creationId xmlns:a16="http://schemas.microsoft.com/office/drawing/2014/main" id="{BE697CE9-EBDE-6B4A-BE70-582D92A8A831}"/>
              </a:ext>
            </a:extLst>
          </p:cNvPr>
          <p:cNvGrpSpPr/>
          <p:nvPr/>
        </p:nvGrpSpPr>
        <p:grpSpPr>
          <a:xfrm>
            <a:off x="8701917" y="2868319"/>
            <a:ext cx="171180" cy="171180"/>
            <a:chOff x="3392092" y="1841122"/>
            <a:chExt cx="646508" cy="646508"/>
          </a:xfrm>
        </p:grpSpPr>
        <p:sp>
          <p:nvSpPr>
            <p:cNvPr id="15" name="Rechteck 14">
              <a:extLst>
                <a:ext uri="{FF2B5EF4-FFF2-40B4-BE49-F238E27FC236}">
                  <a16:creationId xmlns:a16="http://schemas.microsoft.com/office/drawing/2014/main" id="{E142A731-19B7-C34D-9534-9E05108F895F}"/>
                </a:ext>
              </a:extLst>
            </p:cNvPr>
            <p:cNvSpPr>
              <a:spLocks noChangeAspect="1"/>
            </p:cNvSpPr>
            <p:nvPr/>
          </p:nvSpPr>
          <p:spPr bwMode="gray">
            <a:xfrm>
              <a:off x="3392092" y="1841122"/>
              <a:ext cx="646508" cy="646508"/>
            </a:xfrm>
            <a:prstGeom prst="rect">
              <a:avLst/>
            </a:prstGeom>
            <a:solidFill>
              <a:srgbClr val="E55A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pPr>
              <a:endParaRPr lang="en-US" sz="1000">
                <a:solidFill>
                  <a:schemeClr val="tx1"/>
                </a:solidFill>
                <a:latin typeface="Arial" pitchFamily="34" charset="0"/>
                <a:cs typeface="Arial" pitchFamily="34" charset="0"/>
              </a:endParaRPr>
            </a:p>
          </p:txBody>
        </p:sp>
        <p:sp>
          <p:nvSpPr>
            <p:cNvPr id="16" name="Freeform 15">
              <a:extLst>
                <a:ext uri="{FF2B5EF4-FFF2-40B4-BE49-F238E27FC236}">
                  <a16:creationId xmlns:a16="http://schemas.microsoft.com/office/drawing/2014/main" id="{F97E84AE-4AD9-4B44-9AA1-F797FC373809}"/>
                </a:ext>
              </a:extLst>
            </p:cNvPr>
            <p:cNvSpPr>
              <a:spLocks noChangeAspect="1"/>
            </p:cNvSpPr>
            <p:nvPr/>
          </p:nvSpPr>
          <p:spPr bwMode="auto">
            <a:xfrm>
              <a:off x="3546638" y="1970424"/>
              <a:ext cx="337415" cy="387905"/>
            </a:xfrm>
            <a:custGeom>
              <a:avLst/>
              <a:gdLst>
                <a:gd name="T0" fmla="*/ 573 w 1624"/>
                <a:gd name="T1" fmla="*/ 1257 h 1867"/>
                <a:gd name="T2" fmla="*/ 662 w 1624"/>
                <a:gd name="T3" fmla="*/ 1288 h 1867"/>
                <a:gd name="T4" fmla="*/ 938 w 1624"/>
                <a:gd name="T5" fmla="*/ 1051 h 1867"/>
                <a:gd name="T6" fmla="*/ 1106 w 1624"/>
                <a:gd name="T7" fmla="*/ 731 h 1867"/>
                <a:gd name="T8" fmla="*/ 1059 w 1624"/>
                <a:gd name="T9" fmla="*/ 645 h 1867"/>
                <a:gd name="T10" fmla="*/ 1001 w 1624"/>
                <a:gd name="T11" fmla="*/ 613 h 1867"/>
                <a:gd name="T12" fmla="*/ 924 w 1624"/>
                <a:gd name="T13" fmla="*/ 432 h 1867"/>
                <a:gd name="T14" fmla="*/ 1114 w 1624"/>
                <a:gd name="T15" fmla="*/ 81 h 1867"/>
                <a:gd name="T16" fmla="*/ 1287 w 1624"/>
                <a:gd name="T17" fmla="*/ 35 h 1867"/>
                <a:gd name="T18" fmla="*/ 1350 w 1624"/>
                <a:gd name="T19" fmla="*/ 69 h 1867"/>
                <a:gd name="T20" fmla="*/ 1527 w 1624"/>
                <a:gd name="T21" fmla="*/ 235 h 1867"/>
                <a:gd name="T22" fmla="*/ 1583 w 1624"/>
                <a:gd name="T23" fmla="*/ 555 h 1867"/>
                <a:gd name="T24" fmla="*/ 1172 w 1624"/>
                <a:gd name="T25" fmla="*/ 1253 h 1867"/>
                <a:gd name="T26" fmla="*/ 586 w 1624"/>
                <a:gd name="T27" fmla="*/ 1803 h 1867"/>
                <a:gd name="T28" fmla="*/ 269 w 1624"/>
                <a:gd name="T29" fmla="*/ 1807 h 1867"/>
                <a:gd name="T30" fmla="*/ 33 w 1624"/>
                <a:gd name="T31" fmla="*/ 1602 h 1867"/>
                <a:gd name="T32" fmla="*/ 2 w 1624"/>
                <a:gd name="T33" fmla="*/ 1508 h 1867"/>
                <a:gd name="T34" fmla="*/ 45 w 1624"/>
                <a:gd name="T35" fmla="*/ 1421 h 1867"/>
                <a:gd name="T36" fmla="*/ 346 w 1624"/>
                <a:gd name="T37" fmla="*/ 1158 h 1867"/>
                <a:gd name="T38" fmla="*/ 448 w 1624"/>
                <a:gd name="T39" fmla="*/ 1145 h 1867"/>
                <a:gd name="T40" fmla="*/ 573 w 1624"/>
                <a:gd name="T41" fmla="*/ 1257 h 18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24" h="1867">
                  <a:moveTo>
                    <a:pt x="573" y="1257"/>
                  </a:moveTo>
                  <a:cubicBezTo>
                    <a:pt x="592" y="1282"/>
                    <a:pt x="630" y="1303"/>
                    <a:pt x="662" y="1288"/>
                  </a:cubicBezTo>
                  <a:cubicBezTo>
                    <a:pt x="753" y="1245"/>
                    <a:pt x="854" y="1156"/>
                    <a:pt x="938" y="1051"/>
                  </a:cubicBezTo>
                  <a:cubicBezTo>
                    <a:pt x="1020" y="948"/>
                    <a:pt x="1084" y="831"/>
                    <a:pt x="1106" y="731"/>
                  </a:cubicBezTo>
                  <a:cubicBezTo>
                    <a:pt x="1113" y="696"/>
                    <a:pt x="1089" y="661"/>
                    <a:pt x="1059" y="645"/>
                  </a:cubicBezTo>
                  <a:cubicBezTo>
                    <a:pt x="1001" y="613"/>
                    <a:pt x="1001" y="613"/>
                    <a:pt x="1001" y="613"/>
                  </a:cubicBezTo>
                  <a:cubicBezTo>
                    <a:pt x="942" y="580"/>
                    <a:pt x="888" y="499"/>
                    <a:pt x="924" y="432"/>
                  </a:cubicBezTo>
                  <a:cubicBezTo>
                    <a:pt x="1114" y="81"/>
                    <a:pt x="1114" y="81"/>
                    <a:pt x="1114" y="81"/>
                  </a:cubicBezTo>
                  <a:cubicBezTo>
                    <a:pt x="1150" y="16"/>
                    <a:pt x="1224" y="0"/>
                    <a:pt x="1287" y="35"/>
                  </a:cubicBezTo>
                  <a:cubicBezTo>
                    <a:pt x="1350" y="69"/>
                    <a:pt x="1350" y="69"/>
                    <a:pt x="1350" y="69"/>
                  </a:cubicBezTo>
                  <a:cubicBezTo>
                    <a:pt x="1415" y="105"/>
                    <a:pt x="1479" y="165"/>
                    <a:pt x="1527" y="235"/>
                  </a:cubicBezTo>
                  <a:cubicBezTo>
                    <a:pt x="1593" y="332"/>
                    <a:pt x="1624" y="442"/>
                    <a:pt x="1583" y="555"/>
                  </a:cubicBezTo>
                  <a:cubicBezTo>
                    <a:pt x="1500" y="781"/>
                    <a:pt x="1351" y="1030"/>
                    <a:pt x="1172" y="1253"/>
                  </a:cubicBezTo>
                  <a:cubicBezTo>
                    <a:pt x="994" y="1477"/>
                    <a:pt x="786" y="1676"/>
                    <a:pt x="586" y="1803"/>
                  </a:cubicBezTo>
                  <a:cubicBezTo>
                    <a:pt x="486" y="1867"/>
                    <a:pt x="375" y="1856"/>
                    <a:pt x="269" y="1807"/>
                  </a:cubicBezTo>
                  <a:cubicBezTo>
                    <a:pt x="157" y="1755"/>
                    <a:pt x="106" y="1695"/>
                    <a:pt x="33" y="1602"/>
                  </a:cubicBezTo>
                  <a:cubicBezTo>
                    <a:pt x="11" y="1573"/>
                    <a:pt x="0" y="1540"/>
                    <a:pt x="2" y="1508"/>
                  </a:cubicBezTo>
                  <a:cubicBezTo>
                    <a:pt x="4" y="1475"/>
                    <a:pt x="18" y="1444"/>
                    <a:pt x="45" y="1421"/>
                  </a:cubicBezTo>
                  <a:cubicBezTo>
                    <a:pt x="70" y="1399"/>
                    <a:pt x="346" y="1158"/>
                    <a:pt x="346" y="1158"/>
                  </a:cubicBezTo>
                  <a:cubicBezTo>
                    <a:pt x="376" y="1134"/>
                    <a:pt x="413" y="1133"/>
                    <a:pt x="448" y="1145"/>
                  </a:cubicBezTo>
                  <a:cubicBezTo>
                    <a:pt x="510" y="1166"/>
                    <a:pt x="536" y="1210"/>
                    <a:pt x="573" y="1257"/>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351"/>
            </a:p>
          </p:txBody>
        </p:sp>
      </p:grpSp>
      <p:grpSp>
        <p:nvGrpSpPr>
          <p:cNvPr id="17" name="Group 3">
            <a:extLst>
              <a:ext uri="{FF2B5EF4-FFF2-40B4-BE49-F238E27FC236}">
                <a16:creationId xmlns:a16="http://schemas.microsoft.com/office/drawing/2014/main" id="{7104BADD-8CD1-6F4A-B894-869C3BDB3EEB}"/>
              </a:ext>
            </a:extLst>
          </p:cNvPr>
          <p:cNvGrpSpPr>
            <a:grpSpLocks noChangeAspect="1"/>
          </p:cNvGrpSpPr>
          <p:nvPr>
            <p:custDataLst>
              <p:tags r:id="rId2"/>
            </p:custDataLst>
          </p:nvPr>
        </p:nvGrpSpPr>
        <p:grpSpPr>
          <a:xfrm>
            <a:off x="8701918" y="3153207"/>
            <a:ext cx="171180" cy="171180"/>
            <a:chOff x="328396" y="5313940"/>
            <a:chExt cx="720000" cy="720000"/>
          </a:xfrm>
        </p:grpSpPr>
        <p:sp>
          <p:nvSpPr>
            <p:cNvPr id="18" name="Rectangle 4">
              <a:extLst>
                <a:ext uri="{FF2B5EF4-FFF2-40B4-BE49-F238E27FC236}">
                  <a16:creationId xmlns:a16="http://schemas.microsoft.com/office/drawing/2014/main" id="{74BE3D5F-1445-6E40-8B49-72E15568383B}"/>
                </a:ext>
              </a:extLst>
            </p:cNvPr>
            <p:cNvSpPr/>
            <p:nvPr/>
          </p:nvSpPr>
          <p:spPr bwMode="gray">
            <a:xfrm>
              <a:off x="328396" y="5313940"/>
              <a:ext cx="720000" cy="720000"/>
            </a:xfrm>
            <a:prstGeom prst="rect">
              <a:avLst/>
            </a:prstGeom>
            <a:solidFill>
              <a:srgbClr val="E55A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pPr>
              <a:endParaRPr lang="en-US" sz="1000">
                <a:solidFill>
                  <a:schemeClr val="tx1"/>
                </a:solidFill>
                <a:latin typeface="Arial" pitchFamily="34" charset="0"/>
                <a:cs typeface="Arial" pitchFamily="34" charset="0"/>
              </a:endParaRPr>
            </a:p>
          </p:txBody>
        </p:sp>
        <p:sp>
          <p:nvSpPr>
            <p:cNvPr id="19" name="Freeform 76">
              <a:extLst>
                <a:ext uri="{FF2B5EF4-FFF2-40B4-BE49-F238E27FC236}">
                  <a16:creationId xmlns:a16="http://schemas.microsoft.com/office/drawing/2014/main" id="{55DB3C95-7D0C-D141-901E-96D692794D2B}"/>
                </a:ext>
              </a:extLst>
            </p:cNvPr>
            <p:cNvSpPr>
              <a:spLocks noChangeAspect="1" noEditPoints="1"/>
            </p:cNvSpPr>
            <p:nvPr/>
          </p:nvSpPr>
          <p:spPr bwMode="auto">
            <a:xfrm>
              <a:off x="456202" y="5509222"/>
              <a:ext cx="504000" cy="329436"/>
            </a:xfrm>
            <a:custGeom>
              <a:avLst/>
              <a:gdLst>
                <a:gd name="T0" fmla="*/ 0 w 2080"/>
                <a:gd name="T1" fmla="*/ 65 h 1360"/>
                <a:gd name="T2" fmla="*/ 0 w 2080"/>
                <a:gd name="T3" fmla="*/ 0 h 1360"/>
                <a:gd name="T4" fmla="*/ 2080 w 2080"/>
                <a:gd name="T5" fmla="*/ 0 h 1360"/>
                <a:gd name="T6" fmla="*/ 2080 w 2080"/>
                <a:gd name="T7" fmla="*/ 65 h 1360"/>
                <a:gd name="T8" fmla="*/ 1089 w 2080"/>
                <a:gd name="T9" fmla="*/ 862 h 1360"/>
                <a:gd name="T10" fmla="*/ 991 w 2080"/>
                <a:gd name="T11" fmla="*/ 862 h 1360"/>
                <a:gd name="T12" fmla="*/ 0 w 2080"/>
                <a:gd name="T13" fmla="*/ 65 h 1360"/>
                <a:gd name="T14" fmla="*/ 1139 w 2080"/>
                <a:gd name="T15" fmla="*/ 924 h 1360"/>
                <a:gd name="T16" fmla="*/ 1282 w 2080"/>
                <a:gd name="T17" fmla="*/ 810 h 1360"/>
                <a:gd name="T18" fmla="*/ 2076 w 2080"/>
                <a:gd name="T19" fmla="*/ 1360 h 1360"/>
                <a:gd name="T20" fmla="*/ 4 w 2080"/>
                <a:gd name="T21" fmla="*/ 1360 h 1360"/>
                <a:gd name="T22" fmla="*/ 798 w 2080"/>
                <a:gd name="T23" fmla="*/ 810 h 1360"/>
                <a:gd name="T24" fmla="*/ 941 w 2080"/>
                <a:gd name="T25" fmla="*/ 924 h 1360"/>
                <a:gd name="T26" fmla="*/ 1139 w 2080"/>
                <a:gd name="T27" fmla="*/ 924 h 1360"/>
                <a:gd name="T28" fmla="*/ 2 w 2080"/>
                <a:gd name="T29" fmla="*/ 137 h 1360"/>
                <a:gd name="T30" fmla="*/ 42 w 2080"/>
                <a:gd name="T31" fmla="*/ 201 h 1360"/>
                <a:gd name="T32" fmla="*/ 734 w 2080"/>
                <a:gd name="T33" fmla="*/ 758 h 1360"/>
                <a:gd name="T34" fmla="*/ 0 w 2080"/>
                <a:gd name="T35" fmla="*/ 1266 h 1360"/>
                <a:gd name="T36" fmla="*/ 0 w 2080"/>
                <a:gd name="T37" fmla="*/ 135 h 1360"/>
                <a:gd name="T38" fmla="*/ 2 w 2080"/>
                <a:gd name="T39" fmla="*/ 137 h 1360"/>
                <a:gd name="T40" fmla="*/ 2080 w 2080"/>
                <a:gd name="T41" fmla="*/ 136 h 1360"/>
                <a:gd name="T42" fmla="*/ 2080 w 2080"/>
                <a:gd name="T43" fmla="*/ 1265 h 1360"/>
                <a:gd name="T44" fmla="*/ 1346 w 2080"/>
                <a:gd name="T45" fmla="*/ 758 h 1360"/>
                <a:gd name="T46" fmla="*/ 2038 w 2080"/>
                <a:gd name="T47" fmla="*/ 201 h 1360"/>
                <a:gd name="T48" fmla="*/ 2080 w 2080"/>
                <a:gd name="T49" fmla="*/ 136 h 1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080" h="1360">
                  <a:moveTo>
                    <a:pt x="0" y="65"/>
                  </a:moveTo>
                  <a:cubicBezTo>
                    <a:pt x="0" y="0"/>
                    <a:pt x="0" y="0"/>
                    <a:pt x="0" y="0"/>
                  </a:cubicBezTo>
                  <a:cubicBezTo>
                    <a:pt x="2080" y="0"/>
                    <a:pt x="2080" y="0"/>
                    <a:pt x="2080" y="0"/>
                  </a:cubicBezTo>
                  <a:cubicBezTo>
                    <a:pt x="2080" y="65"/>
                    <a:pt x="2080" y="65"/>
                    <a:pt x="2080" y="65"/>
                  </a:cubicBezTo>
                  <a:cubicBezTo>
                    <a:pt x="1089" y="862"/>
                    <a:pt x="1089" y="862"/>
                    <a:pt x="1089" y="862"/>
                  </a:cubicBezTo>
                  <a:cubicBezTo>
                    <a:pt x="1060" y="886"/>
                    <a:pt x="1020" y="886"/>
                    <a:pt x="991" y="862"/>
                  </a:cubicBezTo>
                  <a:lnTo>
                    <a:pt x="0" y="65"/>
                  </a:lnTo>
                  <a:close/>
                  <a:moveTo>
                    <a:pt x="1139" y="924"/>
                  </a:moveTo>
                  <a:cubicBezTo>
                    <a:pt x="1282" y="810"/>
                    <a:pt x="1282" y="810"/>
                    <a:pt x="1282" y="810"/>
                  </a:cubicBezTo>
                  <a:cubicBezTo>
                    <a:pt x="2076" y="1360"/>
                    <a:pt x="2076" y="1360"/>
                    <a:pt x="2076" y="1360"/>
                  </a:cubicBezTo>
                  <a:cubicBezTo>
                    <a:pt x="4" y="1360"/>
                    <a:pt x="4" y="1360"/>
                    <a:pt x="4" y="1360"/>
                  </a:cubicBezTo>
                  <a:cubicBezTo>
                    <a:pt x="798" y="810"/>
                    <a:pt x="798" y="810"/>
                    <a:pt x="798" y="810"/>
                  </a:cubicBezTo>
                  <a:cubicBezTo>
                    <a:pt x="941" y="924"/>
                    <a:pt x="941" y="924"/>
                    <a:pt x="941" y="924"/>
                  </a:cubicBezTo>
                  <a:cubicBezTo>
                    <a:pt x="1000" y="972"/>
                    <a:pt x="1080" y="972"/>
                    <a:pt x="1139" y="924"/>
                  </a:cubicBezTo>
                  <a:close/>
                  <a:moveTo>
                    <a:pt x="2" y="137"/>
                  </a:moveTo>
                  <a:cubicBezTo>
                    <a:pt x="8" y="163"/>
                    <a:pt x="22" y="185"/>
                    <a:pt x="42" y="201"/>
                  </a:cubicBezTo>
                  <a:cubicBezTo>
                    <a:pt x="734" y="758"/>
                    <a:pt x="734" y="758"/>
                    <a:pt x="734" y="758"/>
                  </a:cubicBezTo>
                  <a:cubicBezTo>
                    <a:pt x="0" y="1266"/>
                    <a:pt x="0" y="1266"/>
                    <a:pt x="0" y="1266"/>
                  </a:cubicBezTo>
                  <a:cubicBezTo>
                    <a:pt x="0" y="135"/>
                    <a:pt x="0" y="135"/>
                    <a:pt x="0" y="135"/>
                  </a:cubicBezTo>
                  <a:lnTo>
                    <a:pt x="2" y="137"/>
                  </a:lnTo>
                  <a:close/>
                  <a:moveTo>
                    <a:pt x="2080" y="136"/>
                  </a:moveTo>
                  <a:cubicBezTo>
                    <a:pt x="2080" y="1265"/>
                    <a:pt x="2080" y="1265"/>
                    <a:pt x="2080" y="1265"/>
                  </a:cubicBezTo>
                  <a:cubicBezTo>
                    <a:pt x="1346" y="758"/>
                    <a:pt x="1346" y="758"/>
                    <a:pt x="1346" y="758"/>
                  </a:cubicBezTo>
                  <a:cubicBezTo>
                    <a:pt x="2038" y="201"/>
                    <a:pt x="2038" y="201"/>
                    <a:pt x="2038" y="201"/>
                  </a:cubicBezTo>
                  <a:cubicBezTo>
                    <a:pt x="2060" y="182"/>
                    <a:pt x="2072" y="162"/>
                    <a:pt x="2080" y="13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000"/>
            </a:p>
          </p:txBody>
        </p:sp>
      </p:grpSp>
      <p:cxnSp>
        <p:nvCxnSpPr>
          <p:cNvPr id="20" name="Straight Connector 19"/>
          <p:cNvCxnSpPr/>
          <p:nvPr/>
        </p:nvCxnSpPr>
        <p:spPr>
          <a:xfrm>
            <a:off x="2371725" y="3478213"/>
            <a:ext cx="3888000" cy="0"/>
          </a:xfrm>
          <a:prstGeom prst="line">
            <a:avLst/>
          </a:prstGeom>
          <a:ln w="6350">
            <a:solidFill>
              <a:schemeClr val="tx2"/>
            </a:solidFill>
            <a:prstDash val="dash"/>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p:nvCxnSpPr>
        <p:spPr>
          <a:xfrm>
            <a:off x="7287766" y="3478213"/>
            <a:ext cx="3888000" cy="0"/>
          </a:xfrm>
          <a:prstGeom prst="line">
            <a:avLst/>
          </a:prstGeom>
          <a:ln w="6350">
            <a:solidFill>
              <a:schemeClr val="tx2"/>
            </a:solidFill>
            <a:prstDash val="dash"/>
          </a:ln>
        </p:spPr>
        <p:style>
          <a:lnRef idx="1">
            <a:schemeClr val="accent1"/>
          </a:lnRef>
          <a:fillRef idx="0">
            <a:schemeClr val="accent1"/>
          </a:fillRef>
          <a:effectRef idx="0">
            <a:schemeClr val="accent1"/>
          </a:effectRef>
          <a:fontRef idx="minor">
            <a:schemeClr val="tx1"/>
          </a:fontRef>
        </p:style>
      </p:cxnSp>
      <p:sp>
        <p:nvSpPr>
          <p:cNvPr id="4" name="Picture Placeholder 3"/>
          <p:cNvSpPr>
            <a:spLocks noGrp="1"/>
          </p:cNvSpPr>
          <p:nvPr>
            <p:ph type="pic" sz="quarter" idx="17" hasCustomPrompt="1"/>
          </p:nvPr>
        </p:nvSpPr>
        <p:spPr>
          <a:xfrm>
            <a:off x="2355914" y="1808984"/>
            <a:ext cx="1188677" cy="1547840"/>
          </a:xfrm>
          <a:solidFill>
            <a:srgbClr val="D9DADB"/>
          </a:solidFill>
        </p:spPr>
        <p:txBody>
          <a:bodyPr/>
          <a:lstStyle>
            <a:lvl1pPr marL="0" indent="0">
              <a:buNone/>
              <a:defRPr sz="1400"/>
            </a:lvl1pPr>
          </a:lstStyle>
          <a:p>
            <a:r>
              <a:rPr lang="en-US"/>
              <a:t>Insert picture</a:t>
            </a:r>
          </a:p>
        </p:txBody>
      </p:sp>
      <p:sp>
        <p:nvSpPr>
          <p:cNvPr id="25" name="Picture Placeholder 3"/>
          <p:cNvSpPr>
            <a:spLocks noGrp="1"/>
          </p:cNvSpPr>
          <p:nvPr>
            <p:ph type="pic" sz="quarter" idx="18" hasCustomPrompt="1"/>
          </p:nvPr>
        </p:nvSpPr>
        <p:spPr>
          <a:xfrm>
            <a:off x="7287766" y="1808984"/>
            <a:ext cx="1188677" cy="1547840"/>
          </a:xfrm>
          <a:solidFill>
            <a:srgbClr val="D9DADB"/>
          </a:solidFill>
        </p:spPr>
        <p:txBody>
          <a:bodyPr/>
          <a:lstStyle>
            <a:lvl1pPr marL="0" indent="0">
              <a:buNone/>
              <a:defRPr sz="1400"/>
            </a:lvl1pPr>
          </a:lstStyle>
          <a:p>
            <a:r>
              <a:rPr lang="en-US"/>
              <a:t>Insert picture</a:t>
            </a:r>
          </a:p>
        </p:txBody>
      </p:sp>
      <p:sp>
        <p:nvSpPr>
          <p:cNvPr id="6" name="Text Placeholder 5"/>
          <p:cNvSpPr>
            <a:spLocks noGrp="1"/>
          </p:cNvSpPr>
          <p:nvPr>
            <p:ph type="body" sz="quarter" idx="19" hasCustomPrompt="1"/>
          </p:nvPr>
        </p:nvSpPr>
        <p:spPr>
          <a:xfrm>
            <a:off x="3770065" y="1808521"/>
            <a:ext cx="2463190" cy="192360"/>
          </a:xfrm>
        </p:spPr>
        <p:txBody>
          <a:bodyPr lIns="0" tIns="0" rIns="0" bIns="0" anchor="ctr" anchorCtr="0"/>
          <a:lstStyle>
            <a:lvl1pPr marL="0" indent="0" algn="l">
              <a:lnSpc>
                <a:spcPct val="100000"/>
              </a:lnSpc>
              <a:buNone/>
              <a:defRPr sz="100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Country</a:t>
            </a:r>
          </a:p>
        </p:txBody>
      </p:sp>
      <p:sp>
        <p:nvSpPr>
          <p:cNvPr id="26" name="Text Placeholder 5"/>
          <p:cNvSpPr>
            <a:spLocks noGrp="1"/>
          </p:cNvSpPr>
          <p:nvPr>
            <p:ph type="body" sz="quarter" idx="20" hasCustomPrompt="1"/>
          </p:nvPr>
        </p:nvSpPr>
        <p:spPr>
          <a:xfrm>
            <a:off x="3770065" y="2020337"/>
            <a:ext cx="2463190" cy="266182"/>
          </a:xfrm>
        </p:spPr>
        <p:txBody>
          <a:bodyPr lIns="0" tIns="0" rIns="0" bIns="0" anchor="b" anchorCtr="0"/>
          <a:lstStyle>
            <a:lvl1pPr marL="0" indent="0" algn="l">
              <a:lnSpc>
                <a:spcPct val="100000"/>
              </a:lnSpc>
              <a:buNone/>
              <a:defRPr sz="1400" b="1" baseline="0">
                <a:solidFill>
                  <a:schemeClr val="tx2"/>
                </a:solidFill>
              </a:defRPr>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Name, Surname</a:t>
            </a:r>
          </a:p>
        </p:txBody>
      </p:sp>
      <p:sp>
        <p:nvSpPr>
          <p:cNvPr id="27" name="Text Placeholder 5"/>
          <p:cNvSpPr>
            <a:spLocks noGrp="1"/>
          </p:cNvSpPr>
          <p:nvPr>
            <p:ph type="body" sz="quarter" idx="21" hasCustomPrompt="1"/>
          </p:nvPr>
        </p:nvSpPr>
        <p:spPr>
          <a:xfrm>
            <a:off x="3770065" y="2316912"/>
            <a:ext cx="2463190"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Job Position</a:t>
            </a:r>
          </a:p>
        </p:txBody>
      </p:sp>
      <p:sp>
        <p:nvSpPr>
          <p:cNvPr id="28" name="Text Placeholder 5"/>
          <p:cNvSpPr>
            <a:spLocks noGrp="1"/>
          </p:cNvSpPr>
          <p:nvPr>
            <p:ph type="body" sz="quarter" idx="22" hasCustomPrompt="1"/>
          </p:nvPr>
        </p:nvSpPr>
        <p:spPr>
          <a:xfrm>
            <a:off x="4014948" y="2845588"/>
            <a:ext cx="2218307"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Phone number</a:t>
            </a:r>
          </a:p>
        </p:txBody>
      </p:sp>
      <p:sp>
        <p:nvSpPr>
          <p:cNvPr id="29" name="Text Placeholder 5"/>
          <p:cNvSpPr>
            <a:spLocks noGrp="1"/>
          </p:cNvSpPr>
          <p:nvPr>
            <p:ph type="body" sz="quarter" idx="23" hasCustomPrompt="1"/>
          </p:nvPr>
        </p:nvSpPr>
        <p:spPr>
          <a:xfrm>
            <a:off x="4014948" y="3128395"/>
            <a:ext cx="2218307"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Email address</a:t>
            </a:r>
          </a:p>
        </p:txBody>
      </p:sp>
      <p:sp>
        <p:nvSpPr>
          <p:cNvPr id="30" name="Text Placeholder 5"/>
          <p:cNvSpPr>
            <a:spLocks noGrp="1"/>
          </p:cNvSpPr>
          <p:nvPr>
            <p:ph type="body" sz="quarter" idx="24" hasCustomPrompt="1"/>
          </p:nvPr>
        </p:nvSpPr>
        <p:spPr>
          <a:xfrm>
            <a:off x="8701917" y="1808521"/>
            <a:ext cx="2463190" cy="192360"/>
          </a:xfrm>
        </p:spPr>
        <p:txBody>
          <a:bodyPr lIns="0" tIns="0" rIns="0" bIns="0" anchor="ctr" anchorCtr="0"/>
          <a:lstStyle>
            <a:lvl1pPr marL="0" indent="0" algn="l">
              <a:lnSpc>
                <a:spcPct val="100000"/>
              </a:lnSpc>
              <a:buNone/>
              <a:defRPr sz="100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Country</a:t>
            </a:r>
          </a:p>
        </p:txBody>
      </p:sp>
      <p:sp>
        <p:nvSpPr>
          <p:cNvPr id="31" name="Text Placeholder 5"/>
          <p:cNvSpPr>
            <a:spLocks noGrp="1"/>
          </p:cNvSpPr>
          <p:nvPr>
            <p:ph type="body" sz="quarter" idx="25" hasCustomPrompt="1"/>
          </p:nvPr>
        </p:nvSpPr>
        <p:spPr>
          <a:xfrm>
            <a:off x="8701917" y="2020337"/>
            <a:ext cx="2463190" cy="266182"/>
          </a:xfrm>
        </p:spPr>
        <p:txBody>
          <a:bodyPr lIns="0" tIns="0" rIns="0" bIns="0" anchor="b" anchorCtr="0"/>
          <a:lstStyle>
            <a:lvl1pPr marL="0" indent="0" algn="l">
              <a:lnSpc>
                <a:spcPct val="100000"/>
              </a:lnSpc>
              <a:buNone/>
              <a:defRPr sz="1400" b="1" baseline="0">
                <a:solidFill>
                  <a:schemeClr val="tx2"/>
                </a:solidFill>
              </a:defRPr>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Name, Surname</a:t>
            </a:r>
          </a:p>
        </p:txBody>
      </p:sp>
      <p:sp>
        <p:nvSpPr>
          <p:cNvPr id="32" name="Text Placeholder 5"/>
          <p:cNvSpPr>
            <a:spLocks noGrp="1"/>
          </p:cNvSpPr>
          <p:nvPr>
            <p:ph type="body" sz="quarter" idx="26" hasCustomPrompt="1"/>
          </p:nvPr>
        </p:nvSpPr>
        <p:spPr>
          <a:xfrm>
            <a:off x="8701917" y="2316912"/>
            <a:ext cx="2463190"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Job Position</a:t>
            </a:r>
          </a:p>
        </p:txBody>
      </p:sp>
      <p:sp>
        <p:nvSpPr>
          <p:cNvPr id="33" name="Text Placeholder 5"/>
          <p:cNvSpPr>
            <a:spLocks noGrp="1"/>
          </p:cNvSpPr>
          <p:nvPr>
            <p:ph type="body" sz="quarter" idx="27" hasCustomPrompt="1"/>
          </p:nvPr>
        </p:nvSpPr>
        <p:spPr>
          <a:xfrm>
            <a:off x="8946800" y="2845588"/>
            <a:ext cx="2218307"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Phone number</a:t>
            </a:r>
          </a:p>
        </p:txBody>
      </p:sp>
      <p:sp>
        <p:nvSpPr>
          <p:cNvPr id="34" name="Text Placeholder 5"/>
          <p:cNvSpPr>
            <a:spLocks noGrp="1"/>
          </p:cNvSpPr>
          <p:nvPr>
            <p:ph type="body" sz="quarter" idx="28" hasCustomPrompt="1"/>
          </p:nvPr>
        </p:nvSpPr>
        <p:spPr>
          <a:xfrm>
            <a:off x="8946800" y="3128395"/>
            <a:ext cx="2218307"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Email address</a:t>
            </a:r>
          </a:p>
        </p:txBody>
      </p:sp>
    </p:spTree>
    <p:extLst>
      <p:ext uri="{BB962C8B-B14F-4D97-AF65-F5344CB8AC3E}">
        <p14:creationId xmlns:p14="http://schemas.microsoft.com/office/powerpoint/2010/main" val="390433483"/>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p:cSld name="Three contacts">
    <p:spTree>
      <p:nvGrpSpPr>
        <p:cNvPr id="1" name=""/>
        <p:cNvGrpSpPr/>
        <p:nvPr/>
      </p:nvGrpSpPr>
      <p:grpSpPr>
        <a:xfrm>
          <a:off x="0" y="0"/>
          <a:ext cx="0" cy="0"/>
          <a:chOff x="0" y="0"/>
          <a:chExt cx="0" cy="0"/>
        </a:xfrm>
      </p:grpSpPr>
      <p:sp>
        <p:nvSpPr>
          <p:cNvPr id="21" name="Date Placeholder 20"/>
          <p:cNvSpPr>
            <a:spLocks noGrp="1"/>
          </p:cNvSpPr>
          <p:nvPr>
            <p:ph type="dt" sz="half" idx="14"/>
          </p:nvPr>
        </p:nvSpPr>
        <p:spPr/>
        <p:txBody>
          <a:bodyPr/>
          <a:lstStyle/>
          <a:p>
            <a:fld id="{6580B400-49DF-489E-B82C-8D138BFCC234}" type="datetime5">
              <a:rPr lang="en-US" smtClean="0"/>
              <a:t>26-Jun-20</a:t>
            </a:fld>
            <a:endParaRPr lang="en-US"/>
          </a:p>
        </p:txBody>
      </p:sp>
      <p:sp>
        <p:nvSpPr>
          <p:cNvPr id="22" name="Footer Placeholder 21"/>
          <p:cNvSpPr>
            <a:spLocks noGrp="1"/>
          </p:cNvSpPr>
          <p:nvPr>
            <p:ph type="ftr" sz="quarter" idx="15"/>
          </p:nvPr>
        </p:nvSpPr>
        <p:spPr/>
        <p:txBody>
          <a:bodyPr/>
          <a:lstStyle/>
          <a:p>
            <a:r>
              <a:rPr lang="en-US"/>
              <a:t>Title of presentation (Insert / Header &amp; Footer / Apply to All)</a:t>
            </a:r>
          </a:p>
        </p:txBody>
      </p:sp>
      <p:sp>
        <p:nvSpPr>
          <p:cNvPr id="23" name="Slide Number Placeholder 22"/>
          <p:cNvSpPr>
            <a:spLocks noGrp="1"/>
          </p:cNvSpPr>
          <p:nvPr>
            <p:ph type="sldNum" sz="quarter" idx="16"/>
          </p:nvPr>
        </p:nvSpPr>
        <p:spPr/>
        <p:txBody>
          <a:bodyPr/>
          <a:lstStyle/>
          <a:p>
            <a:fld id="{5F3E29E4-0979-4FCA-B4C5-5FC6044C982A}" type="slidenum">
              <a:rPr lang="en-US" smtClean="0"/>
              <a:t>‹#›</a:t>
            </a:fld>
            <a:endParaRPr lang="en-US"/>
          </a:p>
        </p:txBody>
      </p:sp>
      <p:sp>
        <p:nvSpPr>
          <p:cNvPr id="2" name="Title 1"/>
          <p:cNvSpPr>
            <a:spLocks noGrp="1"/>
          </p:cNvSpPr>
          <p:nvPr>
            <p:ph type="title" hasCustomPrompt="1"/>
          </p:nvPr>
        </p:nvSpPr>
        <p:spPr/>
        <p:txBody>
          <a:bodyPr/>
          <a:lstStyle>
            <a:lvl1pPr>
              <a:defRPr/>
            </a:lvl1pPr>
          </a:lstStyle>
          <a:p>
            <a:r>
              <a:rPr lang="en-US"/>
              <a:t>Click to add contact title</a:t>
            </a:r>
          </a:p>
        </p:txBody>
      </p:sp>
      <p:sp>
        <p:nvSpPr>
          <p:cNvPr id="7" name="Subtitle 2"/>
          <p:cNvSpPr>
            <a:spLocks noGrp="1"/>
          </p:cNvSpPr>
          <p:nvPr>
            <p:ph type="subTitle" idx="13" hasCustomPrompt="1"/>
          </p:nvPr>
        </p:nvSpPr>
        <p:spPr>
          <a:xfrm>
            <a:off x="1075061" y="964671"/>
            <a:ext cx="7910158" cy="490042"/>
          </a:xfrm>
        </p:spPr>
        <p:txBody>
          <a:bodyPr wrap="none"/>
          <a:lstStyle>
            <a:lvl1pPr marL="0" indent="0" algn="l">
              <a:spcBef>
                <a:spcPts val="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grpSp>
        <p:nvGrpSpPr>
          <p:cNvPr id="8" name="Gruppieren 80">
            <a:extLst>
              <a:ext uri="{FF2B5EF4-FFF2-40B4-BE49-F238E27FC236}">
                <a16:creationId xmlns:a16="http://schemas.microsoft.com/office/drawing/2014/main" id="{6B969E7B-9C39-4443-9B02-74C1E7C5CCAC}"/>
              </a:ext>
            </a:extLst>
          </p:cNvPr>
          <p:cNvGrpSpPr/>
          <p:nvPr/>
        </p:nvGrpSpPr>
        <p:grpSpPr>
          <a:xfrm>
            <a:off x="3770065" y="2868319"/>
            <a:ext cx="171180" cy="171180"/>
            <a:chOff x="3392092" y="1841122"/>
            <a:chExt cx="646508" cy="646508"/>
          </a:xfrm>
        </p:grpSpPr>
        <p:sp>
          <p:nvSpPr>
            <p:cNvPr id="9" name="Rechteck 14">
              <a:extLst>
                <a:ext uri="{FF2B5EF4-FFF2-40B4-BE49-F238E27FC236}">
                  <a16:creationId xmlns:a16="http://schemas.microsoft.com/office/drawing/2014/main" id="{D78F58EA-5525-8D43-8295-FEA52ECF6BFA}"/>
                </a:ext>
              </a:extLst>
            </p:cNvPr>
            <p:cNvSpPr>
              <a:spLocks noChangeAspect="1"/>
            </p:cNvSpPr>
            <p:nvPr/>
          </p:nvSpPr>
          <p:spPr bwMode="gray">
            <a:xfrm>
              <a:off x="3392092" y="1841122"/>
              <a:ext cx="646508" cy="646508"/>
            </a:xfrm>
            <a:prstGeom prst="rect">
              <a:avLst/>
            </a:prstGeom>
            <a:solidFill>
              <a:srgbClr val="E55A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pPr>
              <a:endParaRPr lang="en-US" sz="1000">
                <a:solidFill>
                  <a:schemeClr val="tx1"/>
                </a:solidFill>
                <a:latin typeface="Arial" pitchFamily="34" charset="0"/>
                <a:cs typeface="Arial" pitchFamily="34" charset="0"/>
              </a:endParaRPr>
            </a:p>
          </p:txBody>
        </p:sp>
        <p:sp>
          <p:nvSpPr>
            <p:cNvPr id="10" name="Freeform 67">
              <a:extLst>
                <a:ext uri="{FF2B5EF4-FFF2-40B4-BE49-F238E27FC236}">
                  <a16:creationId xmlns:a16="http://schemas.microsoft.com/office/drawing/2014/main" id="{D01A6292-2776-4945-B828-483D79DC4908}"/>
                </a:ext>
              </a:extLst>
            </p:cNvPr>
            <p:cNvSpPr>
              <a:spLocks noChangeAspect="1"/>
            </p:cNvSpPr>
            <p:nvPr/>
          </p:nvSpPr>
          <p:spPr bwMode="auto">
            <a:xfrm>
              <a:off x="3546638" y="1970424"/>
              <a:ext cx="337415" cy="387905"/>
            </a:xfrm>
            <a:custGeom>
              <a:avLst/>
              <a:gdLst>
                <a:gd name="T0" fmla="*/ 573 w 1624"/>
                <a:gd name="T1" fmla="*/ 1257 h 1867"/>
                <a:gd name="T2" fmla="*/ 662 w 1624"/>
                <a:gd name="T3" fmla="*/ 1288 h 1867"/>
                <a:gd name="T4" fmla="*/ 938 w 1624"/>
                <a:gd name="T5" fmla="*/ 1051 h 1867"/>
                <a:gd name="T6" fmla="*/ 1106 w 1624"/>
                <a:gd name="T7" fmla="*/ 731 h 1867"/>
                <a:gd name="T8" fmla="*/ 1059 w 1624"/>
                <a:gd name="T9" fmla="*/ 645 h 1867"/>
                <a:gd name="T10" fmla="*/ 1001 w 1624"/>
                <a:gd name="T11" fmla="*/ 613 h 1867"/>
                <a:gd name="T12" fmla="*/ 924 w 1624"/>
                <a:gd name="T13" fmla="*/ 432 h 1867"/>
                <a:gd name="T14" fmla="*/ 1114 w 1624"/>
                <a:gd name="T15" fmla="*/ 81 h 1867"/>
                <a:gd name="T16" fmla="*/ 1287 w 1624"/>
                <a:gd name="T17" fmla="*/ 35 h 1867"/>
                <a:gd name="T18" fmla="*/ 1350 w 1624"/>
                <a:gd name="T19" fmla="*/ 69 h 1867"/>
                <a:gd name="T20" fmla="*/ 1527 w 1624"/>
                <a:gd name="T21" fmla="*/ 235 h 1867"/>
                <a:gd name="T22" fmla="*/ 1583 w 1624"/>
                <a:gd name="T23" fmla="*/ 555 h 1867"/>
                <a:gd name="T24" fmla="*/ 1172 w 1624"/>
                <a:gd name="T25" fmla="*/ 1253 h 1867"/>
                <a:gd name="T26" fmla="*/ 586 w 1624"/>
                <a:gd name="T27" fmla="*/ 1803 h 1867"/>
                <a:gd name="T28" fmla="*/ 269 w 1624"/>
                <a:gd name="T29" fmla="*/ 1807 h 1867"/>
                <a:gd name="T30" fmla="*/ 33 w 1624"/>
                <a:gd name="T31" fmla="*/ 1602 h 1867"/>
                <a:gd name="T32" fmla="*/ 2 w 1624"/>
                <a:gd name="T33" fmla="*/ 1508 h 1867"/>
                <a:gd name="T34" fmla="*/ 45 w 1624"/>
                <a:gd name="T35" fmla="*/ 1421 h 1867"/>
                <a:gd name="T36" fmla="*/ 346 w 1624"/>
                <a:gd name="T37" fmla="*/ 1158 h 1867"/>
                <a:gd name="T38" fmla="*/ 448 w 1624"/>
                <a:gd name="T39" fmla="*/ 1145 h 1867"/>
                <a:gd name="T40" fmla="*/ 573 w 1624"/>
                <a:gd name="T41" fmla="*/ 1257 h 18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24" h="1867">
                  <a:moveTo>
                    <a:pt x="573" y="1257"/>
                  </a:moveTo>
                  <a:cubicBezTo>
                    <a:pt x="592" y="1282"/>
                    <a:pt x="630" y="1303"/>
                    <a:pt x="662" y="1288"/>
                  </a:cubicBezTo>
                  <a:cubicBezTo>
                    <a:pt x="753" y="1245"/>
                    <a:pt x="854" y="1156"/>
                    <a:pt x="938" y="1051"/>
                  </a:cubicBezTo>
                  <a:cubicBezTo>
                    <a:pt x="1020" y="948"/>
                    <a:pt x="1084" y="831"/>
                    <a:pt x="1106" y="731"/>
                  </a:cubicBezTo>
                  <a:cubicBezTo>
                    <a:pt x="1113" y="696"/>
                    <a:pt x="1089" y="661"/>
                    <a:pt x="1059" y="645"/>
                  </a:cubicBezTo>
                  <a:cubicBezTo>
                    <a:pt x="1001" y="613"/>
                    <a:pt x="1001" y="613"/>
                    <a:pt x="1001" y="613"/>
                  </a:cubicBezTo>
                  <a:cubicBezTo>
                    <a:pt x="942" y="580"/>
                    <a:pt x="888" y="499"/>
                    <a:pt x="924" y="432"/>
                  </a:cubicBezTo>
                  <a:cubicBezTo>
                    <a:pt x="1114" y="81"/>
                    <a:pt x="1114" y="81"/>
                    <a:pt x="1114" y="81"/>
                  </a:cubicBezTo>
                  <a:cubicBezTo>
                    <a:pt x="1150" y="16"/>
                    <a:pt x="1224" y="0"/>
                    <a:pt x="1287" y="35"/>
                  </a:cubicBezTo>
                  <a:cubicBezTo>
                    <a:pt x="1350" y="69"/>
                    <a:pt x="1350" y="69"/>
                    <a:pt x="1350" y="69"/>
                  </a:cubicBezTo>
                  <a:cubicBezTo>
                    <a:pt x="1415" y="105"/>
                    <a:pt x="1479" y="165"/>
                    <a:pt x="1527" y="235"/>
                  </a:cubicBezTo>
                  <a:cubicBezTo>
                    <a:pt x="1593" y="332"/>
                    <a:pt x="1624" y="442"/>
                    <a:pt x="1583" y="555"/>
                  </a:cubicBezTo>
                  <a:cubicBezTo>
                    <a:pt x="1500" y="781"/>
                    <a:pt x="1351" y="1030"/>
                    <a:pt x="1172" y="1253"/>
                  </a:cubicBezTo>
                  <a:cubicBezTo>
                    <a:pt x="994" y="1477"/>
                    <a:pt x="786" y="1676"/>
                    <a:pt x="586" y="1803"/>
                  </a:cubicBezTo>
                  <a:cubicBezTo>
                    <a:pt x="486" y="1867"/>
                    <a:pt x="375" y="1856"/>
                    <a:pt x="269" y="1807"/>
                  </a:cubicBezTo>
                  <a:cubicBezTo>
                    <a:pt x="157" y="1755"/>
                    <a:pt x="106" y="1695"/>
                    <a:pt x="33" y="1602"/>
                  </a:cubicBezTo>
                  <a:cubicBezTo>
                    <a:pt x="11" y="1573"/>
                    <a:pt x="0" y="1540"/>
                    <a:pt x="2" y="1508"/>
                  </a:cubicBezTo>
                  <a:cubicBezTo>
                    <a:pt x="4" y="1475"/>
                    <a:pt x="18" y="1444"/>
                    <a:pt x="45" y="1421"/>
                  </a:cubicBezTo>
                  <a:cubicBezTo>
                    <a:pt x="70" y="1399"/>
                    <a:pt x="346" y="1158"/>
                    <a:pt x="346" y="1158"/>
                  </a:cubicBezTo>
                  <a:cubicBezTo>
                    <a:pt x="376" y="1134"/>
                    <a:pt x="413" y="1133"/>
                    <a:pt x="448" y="1145"/>
                  </a:cubicBezTo>
                  <a:cubicBezTo>
                    <a:pt x="510" y="1166"/>
                    <a:pt x="536" y="1210"/>
                    <a:pt x="573" y="1257"/>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351"/>
            </a:p>
          </p:txBody>
        </p:sp>
      </p:grpSp>
      <p:grpSp>
        <p:nvGrpSpPr>
          <p:cNvPr id="11" name="Group 3">
            <a:extLst>
              <a:ext uri="{FF2B5EF4-FFF2-40B4-BE49-F238E27FC236}">
                <a16:creationId xmlns:a16="http://schemas.microsoft.com/office/drawing/2014/main" id="{DED6A25A-5DE2-1441-8BA2-C68D3B4F9209}"/>
              </a:ext>
            </a:extLst>
          </p:cNvPr>
          <p:cNvGrpSpPr>
            <a:grpSpLocks noChangeAspect="1"/>
          </p:cNvGrpSpPr>
          <p:nvPr>
            <p:custDataLst>
              <p:tags r:id="rId1"/>
            </p:custDataLst>
          </p:nvPr>
        </p:nvGrpSpPr>
        <p:grpSpPr>
          <a:xfrm>
            <a:off x="3770066" y="3153207"/>
            <a:ext cx="171180" cy="171180"/>
            <a:chOff x="328396" y="5313940"/>
            <a:chExt cx="720000" cy="720000"/>
          </a:xfrm>
        </p:grpSpPr>
        <p:sp>
          <p:nvSpPr>
            <p:cNvPr id="12" name="Rectangle 4">
              <a:extLst>
                <a:ext uri="{FF2B5EF4-FFF2-40B4-BE49-F238E27FC236}">
                  <a16:creationId xmlns:a16="http://schemas.microsoft.com/office/drawing/2014/main" id="{5F49E67F-D4FA-9D48-96BC-59AE946ECD15}"/>
                </a:ext>
              </a:extLst>
            </p:cNvPr>
            <p:cNvSpPr/>
            <p:nvPr/>
          </p:nvSpPr>
          <p:spPr bwMode="gray">
            <a:xfrm>
              <a:off x="328396" y="5313940"/>
              <a:ext cx="720000" cy="720000"/>
            </a:xfrm>
            <a:prstGeom prst="rect">
              <a:avLst/>
            </a:prstGeom>
            <a:solidFill>
              <a:srgbClr val="E55A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pPr>
              <a:endParaRPr lang="en-US" sz="1000">
                <a:solidFill>
                  <a:schemeClr val="tx1"/>
                </a:solidFill>
                <a:latin typeface="Arial" pitchFamily="34" charset="0"/>
                <a:cs typeface="Arial" pitchFamily="34" charset="0"/>
              </a:endParaRPr>
            </a:p>
          </p:txBody>
        </p:sp>
        <p:sp>
          <p:nvSpPr>
            <p:cNvPr id="13" name="Freeform 76">
              <a:extLst>
                <a:ext uri="{FF2B5EF4-FFF2-40B4-BE49-F238E27FC236}">
                  <a16:creationId xmlns:a16="http://schemas.microsoft.com/office/drawing/2014/main" id="{187E70E6-AF3F-2549-908E-DF4BA61040AA}"/>
                </a:ext>
              </a:extLst>
            </p:cNvPr>
            <p:cNvSpPr>
              <a:spLocks noChangeAspect="1" noEditPoints="1"/>
            </p:cNvSpPr>
            <p:nvPr/>
          </p:nvSpPr>
          <p:spPr bwMode="auto">
            <a:xfrm>
              <a:off x="456202" y="5509222"/>
              <a:ext cx="504000" cy="329436"/>
            </a:xfrm>
            <a:custGeom>
              <a:avLst/>
              <a:gdLst>
                <a:gd name="T0" fmla="*/ 0 w 2080"/>
                <a:gd name="T1" fmla="*/ 65 h 1360"/>
                <a:gd name="T2" fmla="*/ 0 w 2080"/>
                <a:gd name="T3" fmla="*/ 0 h 1360"/>
                <a:gd name="T4" fmla="*/ 2080 w 2080"/>
                <a:gd name="T5" fmla="*/ 0 h 1360"/>
                <a:gd name="T6" fmla="*/ 2080 w 2080"/>
                <a:gd name="T7" fmla="*/ 65 h 1360"/>
                <a:gd name="T8" fmla="*/ 1089 w 2080"/>
                <a:gd name="T9" fmla="*/ 862 h 1360"/>
                <a:gd name="T10" fmla="*/ 991 w 2080"/>
                <a:gd name="T11" fmla="*/ 862 h 1360"/>
                <a:gd name="T12" fmla="*/ 0 w 2080"/>
                <a:gd name="T13" fmla="*/ 65 h 1360"/>
                <a:gd name="T14" fmla="*/ 1139 w 2080"/>
                <a:gd name="T15" fmla="*/ 924 h 1360"/>
                <a:gd name="T16" fmla="*/ 1282 w 2080"/>
                <a:gd name="T17" fmla="*/ 810 h 1360"/>
                <a:gd name="T18" fmla="*/ 2076 w 2080"/>
                <a:gd name="T19" fmla="*/ 1360 h 1360"/>
                <a:gd name="T20" fmla="*/ 4 w 2080"/>
                <a:gd name="T21" fmla="*/ 1360 h 1360"/>
                <a:gd name="T22" fmla="*/ 798 w 2080"/>
                <a:gd name="T23" fmla="*/ 810 h 1360"/>
                <a:gd name="T24" fmla="*/ 941 w 2080"/>
                <a:gd name="T25" fmla="*/ 924 h 1360"/>
                <a:gd name="T26" fmla="*/ 1139 w 2080"/>
                <a:gd name="T27" fmla="*/ 924 h 1360"/>
                <a:gd name="T28" fmla="*/ 2 w 2080"/>
                <a:gd name="T29" fmla="*/ 137 h 1360"/>
                <a:gd name="T30" fmla="*/ 42 w 2080"/>
                <a:gd name="T31" fmla="*/ 201 h 1360"/>
                <a:gd name="T32" fmla="*/ 734 w 2080"/>
                <a:gd name="T33" fmla="*/ 758 h 1360"/>
                <a:gd name="T34" fmla="*/ 0 w 2080"/>
                <a:gd name="T35" fmla="*/ 1266 h 1360"/>
                <a:gd name="T36" fmla="*/ 0 w 2080"/>
                <a:gd name="T37" fmla="*/ 135 h 1360"/>
                <a:gd name="T38" fmla="*/ 2 w 2080"/>
                <a:gd name="T39" fmla="*/ 137 h 1360"/>
                <a:gd name="T40" fmla="*/ 2080 w 2080"/>
                <a:gd name="T41" fmla="*/ 136 h 1360"/>
                <a:gd name="T42" fmla="*/ 2080 w 2080"/>
                <a:gd name="T43" fmla="*/ 1265 h 1360"/>
                <a:gd name="T44" fmla="*/ 1346 w 2080"/>
                <a:gd name="T45" fmla="*/ 758 h 1360"/>
                <a:gd name="T46" fmla="*/ 2038 w 2080"/>
                <a:gd name="T47" fmla="*/ 201 h 1360"/>
                <a:gd name="T48" fmla="*/ 2080 w 2080"/>
                <a:gd name="T49" fmla="*/ 136 h 1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080" h="1360">
                  <a:moveTo>
                    <a:pt x="0" y="65"/>
                  </a:moveTo>
                  <a:cubicBezTo>
                    <a:pt x="0" y="0"/>
                    <a:pt x="0" y="0"/>
                    <a:pt x="0" y="0"/>
                  </a:cubicBezTo>
                  <a:cubicBezTo>
                    <a:pt x="2080" y="0"/>
                    <a:pt x="2080" y="0"/>
                    <a:pt x="2080" y="0"/>
                  </a:cubicBezTo>
                  <a:cubicBezTo>
                    <a:pt x="2080" y="65"/>
                    <a:pt x="2080" y="65"/>
                    <a:pt x="2080" y="65"/>
                  </a:cubicBezTo>
                  <a:cubicBezTo>
                    <a:pt x="1089" y="862"/>
                    <a:pt x="1089" y="862"/>
                    <a:pt x="1089" y="862"/>
                  </a:cubicBezTo>
                  <a:cubicBezTo>
                    <a:pt x="1060" y="886"/>
                    <a:pt x="1020" y="886"/>
                    <a:pt x="991" y="862"/>
                  </a:cubicBezTo>
                  <a:lnTo>
                    <a:pt x="0" y="65"/>
                  </a:lnTo>
                  <a:close/>
                  <a:moveTo>
                    <a:pt x="1139" y="924"/>
                  </a:moveTo>
                  <a:cubicBezTo>
                    <a:pt x="1282" y="810"/>
                    <a:pt x="1282" y="810"/>
                    <a:pt x="1282" y="810"/>
                  </a:cubicBezTo>
                  <a:cubicBezTo>
                    <a:pt x="2076" y="1360"/>
                    <a:pt x="2076" y="1360"/>
                    <a:pt x="2076" y="1360"/>
                  </a:cubicBezTo>
                  <a:cubicBezTo>
                    <a:pt x="4" y="1360"/>
                    <a:pt x="4" y="1360"/>
                    <a:pt x="4" y="1360"/>
                  </a:cubicBezTo>
                  <a:cubicBezTo>
                    <a:pt x="798" y="810"/>
                    <a:pt x="798" y="810"/>
                    <a:pt x="798" y="810"/>
                  </a:cubicBezTo>
                  <a:cubicBezTo>
                    <a:pt x="941" y="924"/>
                    <a:pt x="941" y="924"/>
                    <a:pt x="941" y="924"/>
                  </a:cubicBezTo>
                  <a:cubicBezTo>
                    <a:pt x="1000" y="972"/>
                    <a:pt x="1080" y="972"/>
                    <a:pt x="1139" y="924"/>
                  </a:cubicBezTo>
                  <a:close/>
                  <a:moveTo>
                    <a:pt x="2" y="137"/>
                  </a:moveTo>
                  <a:cubicBezTo>
                    <a:pt x="8" y="163"/>
                    <a:pt x="22" y="185"/>
                    <a:pt x="42" y="201"/>
                  </a:cubicBezTo>
                  <a:cubicBezTo>
                    <a:pt x="734" y="758"/>
                    <a:pt x="734" y="758"/>
                    <a:pt x="734" y="758"/>
                  </a:cubicBezTo>
                  <a:cubicBezTo>
                    <a:pt x="0" y="1266"/>
                    <a:pt x="0" y="1266"/>
                    <a:pt x="0" y="1266"/>
                  </a:cubicBezTo>
                  <a:cubicBezTo>
                    <a:pt x="0" y="135"/>
                    <a:pt x="0" y="135"/>
                    <a:pt x="0" y="135"/>
                  </a:cubicBezTo>
                  <a:lnTo>
                    <a:pt x="2" y="137"/>
                  </a:lnTo>
                  <a:close/>
                  <a:moveTo>
                    <a:pt x="2080" y="136"/>
                  </a:moveTo>
                  <a:cubicBezTo>
                    <a:pt x="2080" y="1265"/>
                    <a:pt x="2080" y="1265"/>
                    <a:pt x="2080" y="1265"/>
                  </a:cubicBezTo>
                  <a:cubicBezTo>
                    <a:pt x="1346" y="758"/>
                    <a:pt x="1346" y="758"/>
                    <a:pt x="1346" y="758"/>
                  </a:cubicBezTo>
                  <a:cubicBezTo>
                    <a:pt x="2038" y="201"/>
                    <a:pt x="2038" y="201"/>
                    <a:pt x="2038" y="201"/>
                  </a:cubicBezTo>
                  <a:cubicBezTo>
                    <a:pt x="2060" y="182"/>
                    <a:pt x="2072" y="162"/>
                    <a:pt x="2080" y="13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000"/>
            </a:p>
          </p:txBody>
        </p:sp>
      </p:grpSp>
      <p:grpSp>
        <p:nvGrpSpPr>
          <p:cNvPr id="14" name="Gruppieren 2">
            <a:extLst>
              <a:ext uri="{FF2B5EF4-FFF2-40B4-BE49-F238E27FC236}">
                <a16:creationId xmlns:a16="http://schemas.microsoft.com/office/drawing/2014/main" id="{BE697CE9-EBDE-6B4A-BE70-582D92A8A831}"/>
              </a:ext>
            </a:extLst>
          </p:cNvPr>
          <p:cNvGrpSpPr/>
          <p:nvPr/>
        </p:nvGrpSpPr>
        <p:grpSpPr>
          <a:xfrm>
            <a:off x="8701917" y="2868319"/>
            <a:ext cx="171180" cy="171180"/>
            <a:chOff x="3392092" y="1841122"/>
            <a:chExt cx="646508" cy="646508"/>
          </a:xfrm>
        </p:grpSpPr>
        <p:sp>
          <p:nvSpPr>
            <p:cNvPr id="15" name="Rechteck 14">
              <a:extLst>
                <a:ext uri="{FF2B5EF4-FFF2-40B4-BE49-F238E27FC236}">
                  <a16:creationId xmlns:a16="http://schemas.microsoft.com/office/drawing/2014/main" id="{E142A731-19B7-C34D-9534-9E05108F895F}"/>
                </a:ext>
              </a:extLst>
            </p:cNvPr>
            <p:cNvSpPr>
              <a:spLocks noChangeAspect="1"/>
            </p:cNvSpPr>
            <p:nvPr/>
          </p:nvSpPr>
          <p:spPr bwMode="gray">
            <a:xfrm>
              <a:off x="3392092" y="1841122"/>
              <a:ext cx="646508" cy="646508"/>
            </a:xfrm>
            <a:prstGeom prst="rect">
              <a:avLst/>
            </a:prstGeom>
            <a:solidFill>
              <a:srgbClr val="E55A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pPr>
              <a:endParaRPr lang="en-US" sz="1000">
                <a:solidFill>
                  <a:schemeClr val="tx1"/>
                </a:solidFill>
                <a:latin typeface="Arial" pitchFamily="34" charset="0"/>
                <a:cs typeface="Arial" pitchFamily="34" charset="0"/>
              </a:endParaRPr>
            </a:p>
          </p:txBody>
        </p:sp>
        <p:sp>
          <p:nvSpPr>
            <p:cNvPr id="16" name="Freeform 15">
              <a:extLst>
                <a:ext uri="{FF2B5EF4-FFF2-40B4-BE49-F238E27FC236}">
                  <a16:creationId xmlns:a16="http://schemas.microsoft.com/office/drawing/2014/main" id="{F97E84AE-4AD9-4B44-9AA1-F797FC373809}"/>
                </a:ext>
              </a:extLst>
            </p:cNvPr>
            <p:cNvSpPr>
              <a:spLocks noChangeAspect="1"/>
            </p:cNvSpPr>
            <p:nvPr/>
          </p:nvSpPr>
          <p:spPr bwMode="auto">
            <a:xfrm>
              <a:off x="3546638" y="1970424"/>
              <a:ext cx="337415" cy="387905"/>
            </a:xfrm>
            <a:custGeom>
              <a:avLst/>
              <a:gdLst>
                <a:gd name="T0" fmla="*/ 573 w 1624"/>
                <a:gd name="T1" fmla="*/ 1257 h 1867"/>
                <a:gd name="T2" fmla="*/ 662 w 1624"/>
                <a:gd name="T3" fmla="*/ 1288 h 1867"/>
                <a:gd name="T4" fmla="*/ 938 w 1624"/>
                <a:gd name="T5" fmla="*/ 1051 h 1867"/>
                <a:gd name="T6" fmla="*/ 1106 w 1624"/>
                <a:gd name="T7" fmla="*/ 731 h 1867"/>
                <a:gd name="T8" fmla="*/ 1059 w 1624"/>
                <a:gd name="T9" fmla="*/ 645 h 1867"/>
                <a:gd name="T10" fmla="*/ 1001 w 1624"/>
                <a:gd name="T11" fmla="*/ 613 h 1867"/>
                <a:gd name="T12" fmla="*/ 924 w 1624"/>
                <a:gd name="T13" fmla="*/ 432 h 1867"/>
                <a:gd name="T14" fmla="*/ 1114 w 1624"/>
                <a:gd name="T15" fmla="*/ 81 h 1867"/>
                <a:gd name="T16" fmla="*/ 1287 w 1624"/>
                <a:gd name="T17" fmla="*/ 35 h 1867"/>
                <a:gd name="T18" fmla="*/ 1350 w 1624"/>
                <a:gd name="T19" fmla="*/ 69 h 1867"/>
                <a:gd name="T20" fmla="*/ 1527 w 1624"/>
                <a:gd name="T21" fmla="*/ 235 h 1867"/>
                <a:gd name="T22" fmla="*/ 1583 w 1624"/>
                <a:gd name="T23" fmla="*/ 555 h 1867"/>
                <a:gd name="T24" fmla="*/ 1172 w 1624"/>
                <a:gd name="T25" fmla="*/ 1253 h 1867"/>
                <a:gd name="T26" fmla="*/ 586 w 1624"/>
                <a:gd name="T27" fmla="*/ 1803 h 1867"/>
                <a:gd name="T28" fmla="*/ 269 w 1624"/>
                <a:gd name="T29" fmla="*/ 1807 h 1867"/>
                <a:gd name="T30" fmla="*/ 33 w 1624"/>
                <a:gd name="T31" fmla="*/ 1602 h 1867"/>
                <a:gd name="T32" fmla="*/ 2 w 1624"/>
                <a:gd name="T33" fmla="*/ 1508 h 1867"/>
                <a:gd name="T34" fmla="*/ 45 w 1624"/>
                <a:gd name="T35" fmla="*/ 1421 h 1867"/>
                <a:gd name="T36" fmla="*/ 346 w 1624"/>
                <a:gd name="T37" fmla="*/ 1158 h 1867"/>
                <a:gd name="T38" fmla="*/ 448 w 1624"/>
                <a:gd name="T39" fmla="*/ 1145 h 1867"/>
                <a:gd name="T40" fmla="*/ 573 w 1624"/>
                <a:gd name="T41" fmla="*/ 1257 h 18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24" h="1867">
                  <a:moveTo>
                    <a:pt x="573" y="1257"/>
                  </a:moveTo>
                  <a:cubicBezTo>
                    <a:pt x="592" y="1282"/>
                    <a:pt x="630" y="1303"/>
                    <a:pt x="662" y="1288"/>
                  </a:cubicBezTo>
                  <a:cubicBezTo>
                    <a:pt x="753" y="1245"/>
                    <a:pt x="854" y="1156"/>
                    <a:pt x="938" y="1051"/>
                  </a:cubicBezTo>
                  <a:cubicBezTo>
                    <a:pt x="1020" y="948"/>
                    <a:pt x="1084" y="831"/>
                    <a:pt x="1106" y="731"/>
                  </a:cubicBezTo>
                  <a:cubicBezTo>
                    <a:pt x="1113" y="696"/>
                    <a:pt x="1089" y="661"/>
                    <a:pt x="1059" y="645"/>
                  </a:cubicBezTo>
                  <a:cubicBezTo>
                    <a:pt x="1001" y="613"/>
                    <a:pt x="1001" y="613"/>
                    <a:pt x="1001" y="613"/>
                  </a:cubicBezTo>
                  <a:cubicBezTo>
                    <a:pt x="942" y="580"/>
                    <a:pt x="888" y="499"/>
                    <a:pt x="924" y="432"/>
                  </a:cubicBezTo>
                  <a:cubicBezTo>
                    <a:pt x="1114" y="81"/>
                    <a:pt x="1114" y="81"/>
                    <a:pt x="1114" y="81"/>
                  </a:cubicBezTo>
                  <a:cubicBezTo>
                    <a:pt x="1150" y="16"/>
                    <a:pt x="1224" y="0"/>
                    <a:pt x="1287" y="35"/>
                  </a:cubicBezTo>
                  <a:cubicBezTo>
                    <a:pt x="1350" y="69"/>
                    <a:pt x="1350" y="69"/>
                    <a:pt x="1350" y="69"/>
                  </a:cubicBezTo>
                  <a:cubicBezTo>
                    <a:pt x="1415" y="105"/>
                    <a:pt x="1479" y="165"/>
                    <a:pt x="1527" y="235"/>
                  </a:cubicBezTo>
                  <a:cubicBezTo>
                    <a:pt x="1593" y="332"/>
                    <a:pt x="1624" y="442"/>
                    <a:pt x="1583" y="555"/>
                  </a:cubicBezTo>
                  <a:cubicBezTo>
                    <a:pt x="1500" y="781"/>
                    <a:pt x="1351" y="1030"/>
                    <a:pt x="1172" y="1253"/>
                  </a:cubicBezTo>
                  <a:cubicBezTo>
                    <a:pt x="994" y="1477"/>
                    <a:pt x="786" y="1676"/>
                    <a:pt x="586" y="1803"/>
                  </a:cubicBezTo>
                  <a:cubicBezTo>
                    <a:pt x="486" y="1867"/>
                    <a:pt x="375" y="1856"/>
                    <a:pt x="269" y="1807"/>
                  </a:cubicBezTo>
                  <a:cubicBezTo>
                    <a:pt x="157" y="1755"/>
                    <a:pt x="106" y="1695"/>
                    <a:pt x="33" y="1602"/>
                  </a:cubicBezTo>
                  <a:cubicBezTo>
                    <a:pt x="11" y="1573"/>
                    <a:pt x="0" y="1540"/>
                    <a:pt x="2" y="1508"/>
                  </a:cubicBezTo>
                  <a:cubicBezTo>
                    <a:pt x="4" y="1475"/>
                    <a:pt x="18" y="1444"/>
                    <a:pt x="45" y="1421"/>
                  </a:cubicBezTo>
                  <a:cubicBezTo>
                    <a:pt x="70" y="1399"/>
                    <a:pt x="346" y="1158"/>
                    <a:pt x="346" y="1158"/>
                  </a:cubicBezTo>
                  <a:cubicBezTo>
                    <a:pt x="376" y="1134"/>
                    <a:pt x="413" y="1133"/>
                    <a:pt x="448" y="1145"/>
                  </a:cubicBezTo>
                  <a:cubicBezTo>
                    <a:pt x="510" y="1166"/>
                    <a:pt x="536" y="1210"/>
                    <a:pt x="573" y="1257"/>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351"/>
            </a:p>
          </p:txBody>
        </p:sp>
      </p:grpSp>
      <p:grpSp>
        <p:nvGrpSpPr>
          <p:cNvPr id="17" name="Group 3">
            <a:extLst>
              <a:ext uri="{FF2B5EF4-FFF2-40B4-BE49-F238E27FC236}">
                <a16:creationId xmlns:a16="http://schemas.microsoft.com/office/drawing/2014/main" id="{7104BADD-8CD1-6F4A-B894-869C3BDB3EEB}"/>
              </a:ext>
            </a:extLst>
          </p:cNvPr>
          <p:cNvGrpSpPr>
            <a:grpSpLocks noChangeAspect="1"/>
          </p:cNvGrpSpPr>
          <p:nvPr>
            <p:custDataLst>
              <p:tags r:id="rId2"/>
            </p:custDataLst>
          </p:nvPr>
        </p:nvGrpSpPr>
        <p:grpSpPr>
          <a:xfrm>
            <a:off x="8701918" y="3153207"/>
            <a:ext cx="171180" cy="171180"/>
            <a:chOff x="328396" y="5313940"/>
            <a:chExt cx="720000" cy="720000"/>
          </a:xfrm>
        </p:grpSpPr>
        <p:sp>
          <p:nvSpPr>
            <p:cNvPr id="18" name="Rectangle 4">
              <a:extLst>
                <a:ext uri="{FF2B5EF4-FFF2-40B4-BE49-F238E27FC236}">
                  <a16:creationId xmlns:a16="http://schemas.microsoft.com/office/drawing/2014/main" id="{74BE3D5F-1445-6E40-8B49-72E15568383B}"/>
                </a:ext>
              </a:extLst>
            </p:cNvPr>
            <p:cNvSpPr/>
            <p:nvPr/>
          </p:nvSpPr>
          <p:spPr bwMode="gray">
            <a:xfrm>
              <a:off x="328396" y="5313940"/>
              <a:ext cx="720000" cy="720000"/>
            </a:xfrm>
            <a:prstGeom prst="rect">
              <a:avLst/>
            </a:prstGeom>
            <a:solidFill>
              <a:srgbClr val="E55A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pPr>
              <a:endParaRPr lang="en-US" sz="1000">
                <a:solidFill>
                  <a:schemeClr val="tx1"/>
                </a:solidFill>
                <a:latin typeface="Arial" pitchFamily="34" charset="0"/>
                <a:cs typeface="Arial" pitchFamily="34" charset="0"/>
              </a:endParaRPr>
            </a:p>
          </p:txBody>
        </p:sp>
        <p:sp>
          <p:nvSpPr>
            <p:cNvPr id="19" name="Freeform 76">
              <a:extLst>
                <a:ext uri="{FF2B5EF4-FFF2-40B4-BE49-F238E27FC236}">
                  <a16:creationId xmlns:a16="http://schemas.microsoft.com/office/drawing/2014/main" id="{55DB3C95-7D0C-D141-901E-96D692794D2B}"/>
                </a:ext>
              </a:extLst>
            </p:cNvPr>
            <p:cNvSpPr>
              <a:spLocks noChangeAspect="1" noEditPoints="1"/>
            </p:cNvSpPr>
            <p:nvPr/>
          </p:nvSpPr>
          <p:spPr bwMode="auto">
            <a:xfrm>
              <a:off x="456202" y="5509222"/>
              <a:ext cx="504000" cy="329436"/>
            </a:xfrm>
            <a:custGeom>
              <a:avLst/>
              <a:gdLst>
                <a:gd name="T0" fmla="*/ 0 w 2080"/>
                <a:gd name="T1" fmla="*/ 65 h 1360"/>
                <a:gd name="T2" fmla="*/ 0 w 2080"/>
                <a:gd name="T3" fmla="*/ 0 h 1360"/>
                <a:gd name="T4" fmla="*/ 2080 w 2080"/>
                <a:gd name="T5" fmla="*/ 0 h 1360"/>
                <a:gd name="T6" fmla="*/ 2080 w 2080"/>
                <a:gd name="T7" fmla="*/ 65 h 1360"/>
                <a:gd name="T8" fmla="*/ 1089 w 2080"/>
                <a:gd name="T9" fmla="*/ 862 h 1360"/>
                <a:gd name="T10" fmla="*/ 991 w 2080"/>
                <a:gd name="T11" fmla="*/ 862 h 1360"/>
                <a:gd name="T12" fmla="*/ 0 w 2080"/>
                <a:gd name="T13" fmla="*/ 65 h 1360"/>
                <a:gd name="T14" fmla="*/ 1139 w 2080"/>
                <a:gd name="T15" fmla="*/ 924 h 1360"/>
                <a:gd name="T16" fmla="*/ 1282 w 2080"/>
                <a:gd name="T17" fmla="*/ 810 h 1360"/>
                <a:gd name="T18" fmla="*/ 2076 w 2080"/>
                <a:gd name="T19" fmla="*/ 1360 h 1360"/>
                <a:gd name="T20" fmla="*/ 4 w 2080"/>
                <a:gd name="T21" fmla="*/ 1360 h 1360"/>
                <a:gd name="T22" fmla="*/ 798 w 2080"/>
                <a:gd name="T23" fmla="*/ 810 h 1360"/>
                <a:gd name="T24" fmla="*/ 941 w 2080"/>
                <a:gd name="T25" fmla="*/ 924 h 1360"/>
                <a:gd name="T26" fmla="*/ 1139 w 2080"/>
                <a:gd name="T27" fmla="*/ 924 h 1360"/>
                <a:gd name="T28" fmla="*/ 2 w 2080"/>
                <a:gd name="T29" fmla="*/ 137 h 1360"/>
                <a:gd name="T30" fmla="*/ 42 w 2080"/>
                <a:gd name="T31" fmla="*/ 201 h 1360"/>
                <a:gd name="T32" fmla="*/ 734 w 2080"/>
                <a:gd name="T33" fmla="*/ 758 h 1360"/>
                <a:gd name="T34" fmla="*/ 0 w 2080"/>
                <a:gd name="T35" fmla="*/ 1266 h 1360"/>
                <a:gd name="T36" fmla="*/ 0 w 2080"/>
                <a:gd name="T37" fmla="*/ 135 h 1360"/>
                <a:gd name="T38" fmla="*/ 2 w 2080"/>
                <a:gd name="T39" fmla="*/ 137 h 1360"/>
                <a:gd name="T40" fmla="*/ 2080 w 2080"/>
                <a:gd name="T41" fmla="*/ 136 h 1360"/>
                <a:gd name="T42" fmla="*/ 2080 w 2080"/>
                <a:gd name="T43" fmla="*/ 1265 h 1360"/>
                <a:gd name="T44" fmla="*/ 1346 w 2080"/>
                <a:gd name="T45" fmla="*/ 758 h 1360"/>
                <a:gd name="T46" fmla="*/ 2038 w 2080"/>
                <a:gd name="T47" fmla="*/ 201 h 1360"/>
                <a:gd name="T48" fmla="*/ 2080 w 2080"/>
                <a:gd name="T49" fmla="*/ 136 h 1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080" h="1360">
                  <a:moveTo>
                    <a:pt x="0" y="65"/>
                  </a:moveTo>
                  <a:cubicBezTo>
                    <a:pt x="0" y="0"/>
                    <a:pt x="0" y="0"/>
                    <a:pt x="0" y="0"/>
                  </a:cubicBezTo>
                  <a:cubicBezTo>
                    <a:pt x="2080" y="0"/>
                    <a:pt x="2080" y="0"/>
                    <a:pt x="2080" y="0"/>
                  </a:cubicBezTo>
                  <a:cubicBezTo>
                    <a:pt x="2080" y="65"/>
                    <a:pt x="2080" y="65"/>
                    <a:pt x="2080" y="65"/>
                  </a:cubicBezTo>
                  <a:cubicBezTo>
                    <a:pt x="1089" y="862"/>
                    <a:pt x="1089" y="862"/>
                    <a:pt x="1089" y="862"/>
                  </a:cubicBezTo>
                  <a:cubicBezTo>
                    <a:pt x="1060" y="886"/>
                    <a:pt x="1020" y="886"/>
                    <a:pt x="991" y="862"/>
                  </a:cubicBezTo>
                  <a:lnTo>
                    <a:pt x="0" y="65"/>
                  </a:lnTo>
                  <a:close/>
                  <a:moveTo>
                    <a:pt x="1139" y="924"/>
                  </a:moveTo>
                  <a:cubicBezTo>
                    <a:pt x="1282" y="810"/>
                    <a:pt x="1282" y="810"/>
                    <a:pt x="1282" y="810"/>
                  </a:cubicBezTo>
                  <a:cubicBezTo>
                    <a:pt x="2076" y="1360"/>
                    <a:pt x="2076" y="1360"/>
                    <a:pt x="2076" y="1360"/>
                  </a:cubicBezTo>
                  <a:cubicBezTo>
                    <a:pt x="4" y="1360"/>
                    <a:pt x="4" y="1360"/>
                    <a:pt x="4" y="1360"/>
                  </a:cubicBezTo>
                  <a:cubicBezTo>
                    <a:pt x="798" y="810"/>
                    <a:pt x="798" y="810"/>
                    <a:pt x="798" y="810"/>
                  </a:cubicBezTo>
                  <a:cubicBezTo>
                    <a:pt x="941" y="924"/>
                    <a:pt x="941" y="924"/>
                    <a:pt x="941" y="924"/>
                  </a:cubicBezTo>
                  <a:cubicBezTo>
                    <a:pt x="1000" y="972"/>
                    <a:pt x="1080" y="972"/>
                    <a:pt x="1139" y="924"/>
                  </a:cubicBezTo>
                  <a:close/>
                  <a:moveTo>
                    <a:pt x="2" y="137"/>
                  </a:moveTo>
                  <a:cubicBezTo>
                    <a:pt x="8" y="163"/>
                    <a:pt x="22" y="185"/>
                    <a:pt x="42" y="201"/>
                  </a:cubicBezTo>
                  <a:cubicBezTo>
                    <a:pt x="734" y="758"/>
                    <a:pt x="734" y="758"/>
                    <a:pt x="734" y="758"/>
                  </a:cubicBezTo>
                  <a:cubicBezTo>
                    <a:pt x="0" y="1266"/>
                    <a:pt x="0" y="1266"/>
                    <a:pt x="0" y="1266"/>
                  </a:cubicBezTo>
                  <a:cubicBezTo>
                    <a:pt x="0" y="135"/>
                    <a:pt x="0" y="135"/>
                    <a:pt x="0" y="135"/>
                  </a:cubicBezTo>
                  <a:lnTo>
                    <a:pt x="2" y="137"/>
                  </a:lnTo>
                  <a:close/>
                  <a:moveTo>
                    <a:pt x="2080" y="136"/>
                  </a:moveTo>
                  <a:cubicBezTo>
                    <a:pt x="2080" y="1265"/>
                    <a:pt x="2080" y="1265"/>
                    <a:pt x="2080" y="1265"/>
                  </a:cubicBezTo>
                  <a:cubicBezTo>
                    <a:pt x="1346" y="758"/>
                    <a:pt x="1346" y="758"/>
                    <a:pt x="1346" y="758"/>
                  </a:cubicBezTo>
                  <a:cubicBezTo>
                    <a:pt x="2038" y="201"/>
                    <a:pt x="2038" y="201"/>
                    <a:pt x="2038" y="201"/>
                  </a:cubicBezTo>
                  <a:cubicBezTo>
                    <a:pt x="2060" y="182"/>
                    <a:pt x="2072" y="162"/>
                    <a:pt x="2080" y="13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000"/>
            </a:p>
          </p:txBody>
        </p:sp>
      </p:grpSp>
      <p:cxnSp>
        <p:nvCxnSpPr>
          <p:cNvPr id="20" name="Straight Connector 19"/>
          <p:cNvCxnSpPr/>
          <p:nvPr/>
        </p:nvCxnSpPr>
        <p:spPr>
          <a:xfrm>
            <a:off x="2371725" y="3478213"/>
            <a:ext cx="3888000" cy="0"/>
          </a:xfrm>
          <a:prstGeom prst="line">
            <a:avLst/>
          </a:prstGeom>
          <a:ln w="6350">
            <a:solidFill>
              <a:schemeClr val="tx2"/>
            </a:solidFill>
            <a:prstDash val="dash"/>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p:nvCxnSpPr>
        <p:spPr>
          <a:xfrm>
            <a:off x="7287766" y="3478213"/>
            <a:ext cx="3888000" cy="0"/>
          </a:xfrm>
          <a:prstGeom prst="line">
            <a:avLst/>
          </a:prstGeom>
          <a:ln w="6350">
            <a:solidFill>
              <a:schemeClr val="tx2"/>
            </a:solidFill>
            <a:prstDash val="dash"/>
          </a:ln>
        </p:spPr>
        <p:style>
          <a:lnRef idx="1">
            <a:schemeClr val="accent1"/>
          </a:lnRef>
          <a:fillRef idx="0">
            <a:schemeClr val="accent1"/>
          </a:fillRef>
          <a:effectRef idx="0">
            <a:schemeClr val="accent1"/>
          </a:effectRef>
          <a:fontRef idx="minor">
            <a:schemeClr val="tx1"/>
          </a:fontRef>
        </p:style>
      </p:cxnSp>
      <p:sp>
        <p:nvSpPr>
          <p:cNvPr id="4" name="Picture Placeholder 3"/>
          <p:cNvSpPr>
            <a:spLocks noGrp="1"/>
          </p:cNvSpPr>
          <p:nvPr>
            <p:ph type="pic" sz="quarter" idx="17" hasCustomPrompt="1"/>
          </p:nvPr>
        </p:nvSpPr>
        <p:spPr>
          <a:xfrm>
            <a:off x="2355914" y="1808984"/>
            <a:ext cx="1188677" cy="1547840"/>
          </a:xfrm>
          <a:solidFill>
            <a:srgbClr val="D9DADB"/>
          </a:solidFill>
        </p:spPr>
        <p:txBody>
          <a:bodyPr/>
          <a:lstStyle>
            <a:lvl1pPr marL="0" indent="0">
              <a:buNone/>
              <a:defRPr sz="1400"/>
            </a:lvl1pPr>
          </a:lstStyle>
          <a:p>
            <a:r>
              <a:rPr lang="en-US"/>
              <a:t>Insert picture</a:t>
            </a:r>
          </a:p>
        </p:txBody>
      </p:sp>
      <p:sp>
        <p:nvSpPr>
          <p:cNvPr id="25" name="Picture Placeholder 3"/>
          <p:cNvSpPr>
            <a:spLocks noGrp="1"/>
          </p:cNvSpPr>
          <p:nvPr>
            <p:ph type="pic" sz="quarter" idx="18" hasCustomPrompt="1"/>
          </p:nvPr>
        </p:nvSpPr>
        <p:spPr>
          <a:xfrm>
            <a:off x="7287766" y="1808984"/>
            <a:ext cx="1188677" cy="1547840"/>
          </a:xfrm>
          <a:solidFill>
            <a:srgbClr val="D9DADB"/>
          </a:solidFill>
        </p:spPr>
        <p:txBody>
          <a:bodyPr/>
          <a:lstStyle>
            <a:lvl1pPr marL="0" indent="0">
              <a:buNone/>
              <a:defRPr sz="1400"/>
            </a:lvl1pPr>
          </a:lstStyle>
          <a:p>
            <a:r>
              <a:rPr lang="en-US"/>
              <a:t>Insert picture</a:t>
            </a:r>
          </a:p>
        </p:txBody>
      </p:sp>
      <p:sp>
        <p:nvSpPr>
          <p:cNvPr id="6" name="Text Placeholder 5"/>
          <p:cNvSpPr>
            <a:spLocks noGrp="1"/>
          </p:cNvSpPr>
          <p:nvPr>
            <p:ph type="body" sz="quarter" idx="19" hasCustomPrompt="1"/>
          </p:nvPr>
        </p:nvSpPr>
        <p:spPr>
          <a:xfrm>
            <a:off x="3770065" y="1808521"/>
            <a:ext cx="2463190" cy="192360"/>
          </a:xfrm>
        </p:spPr>
        <p:txBody>
          <a:bodyPr lIns="0" tIns="0" rIns="0" bIns="0" anchor="ctr" anchorCtr="0"/>
          <a:lstStyle>
            <a:lvl1pPr marL="0" indent="0" algn="l">
              <a:lnSpc>
                <a:spcPct val="100000"/>
              </a:lnSpc>
              <a:buNone/>
              <a:defRPr sz="100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Country</a:t>
            </a:r>
          </a:p>
        </p:txBody>
      </p:sp>
      <p:sp>
        <p:nvSpPr>
          <p:cNvPr id="26" name="Text Placeholder 5"/>
          <p:cNvSpPr>
            <a:spLocks noGrp="1"/>
          </p:cNvSpPr>
          <p:nvPr>
            <p:ph type="body" sz="quarter" idx="20" hasCustomPrompt="1"/>
          </p:nvPr>
        </p:nvSpPr>
        <p:spPr>
          <a:xfrm>
            <a:off x="3770065" y="2020337"/>
            <a:ext cx="2463190" cy="266182"/>
          </a:xfrm>
        </p:spPr>
        <p:txBody>
          <a:bodyPr lIns="0" tIns="0" rIns="0" bIns="0" anchor="b" anchorCtr="0"/>
          <a:lstStyle>
            <a:lvl1pPr marL="0" indent="0" algn="l">
              <a:lnSpc>
                <a:spcPct val="100000"/>
              </a:lnSpc>
              <a:buNone/>
              <a:defRPr sz="1400" b="1" baseline="0">
                <a:solidFill>
                  <a:schemeClr val="tx2"/>
                </a:solidFill>
              </a:defRPr>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Name, Surname</a:t>
            </a:r>
          </a:p>
        </p:txBody>
      </p:sp>
      <p:sp>
        <p:nvSpPr>
          <p:cNvPr id="27" name="Text Placeholder 5"/>
          <p:cNvSpPr>
            <a:spLocks noGrp="1"/>
          </p:cNvSpPr>
          <p:nvPr>
            <p:ph type="body" sz="quarter" idx="21" hasCustomPrompt="1"/>
          </p:nvPr>
        </p:nvSpPr>
        <p:spPr>
          <a:xfrm>
            <a:off x="3770065" y="2316912"/>
            <a:ext cx="2463190"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Job Position</a:t>
            </a:r>
          </a:p>
        </p:txBody>
      </p:sp>
      <p:sp>
        <p:nvSpPr>
          <p:cNvPr id="28" name="Text Placeholder 5"/>
          <p:cNvSpPr>
            <a:spLocks noGrp="1"/>
          </p:cNvSpPr>
          <p:nvPr>
            <p:ph type="body" sz="quarter" idx="22" hasCustomPrompt="1"/>
          </p:nvPr>
        </p:nvSpPr>
        <p:spPr>
          <a:xfrm>
            <a:off x="4014948" y="2845588"/>
            <a:ext cx="2218307"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Phone number</a:t>
            </a:r>
          </a:p>
        </p:txBody>
      </p:sp>
      <p:sp>
        <p:nvSpPr>
          <p:cNvPr id="29" name="Text Placeholder 5"/>
          <p:cNvSpPr>
            <a:spLocks noGrp="1"/>
          </p:cNvSpPr>
          <p:nvPr>
            <p:ph type="body" sz="quarter" idx="23" hasCustomPrompt="1"/>
          </p:nvPr>
        </p:nvSpPr>
        <p:spPr>
          <a:xfrm>
            <a:off x="4014948" y="3128395"/>
            <a:ext cx="2218307"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Email address</a:t>
            </a:r>
          </a:p>
        </p:txBody>
      </p:sp>
      <p:sp>
        <p:nvSpPr>
          <p:cNvPr id="30" name="Text Placeholder 5"/>
          <p:cNvSpPr>
            <a:spLocks noGrp="1"/>
          </p:cNvSpPr>
          <p:nvPr>
            <p:ph type="body" sz="quarter" idx="24" hasCustomPrompt="1"/>
          </p:nvPr>
        </p:nvSpPr>
        <p:spPr>
          <a:xfrm>
            <a:off x="8701917" y="1808521"/>
            <a:ext cx="2463190" cy="192360"/>
          </a:xfrm>
        </p:spPr>
        <p:txBody>
          <a:bodyPr lIns="0" tIns="0" rIns="0" bIns="0" anchor="ctr" anchorCtr="0"/>
          <a:lstStyle>
            <a:lvl1pPr marL="0" indent="0" algn="l">
              <a:lnSpc>
                <a:spcPct val="100000"/>
              </a:lnSpc>
              <a:buNone/>
              <a:defRPr sz="100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Country</a:t>
            </a:r>
          </a:p>
        </p:txBody>
      </p:sp>
      <p:sp>
        <p:nvSpPr>
          <p:cNvPr id="31" name="Text Placeholder 5"/>
          <p:cNvSpPr>
            <a:spLocks noGrp="1"/>
          </p:cNvSpPr>
          <p:nvPr>
            <p:ph type="body" sz="quarter" idx="25" hasCustomPrompt="1"/>
          </p:nvPr>
        </p:nvSpPr>
        <p:spPr>
          <a:xfrm>
            <a:off x="8701917" y="2020337"/>
            <a:ext cx="2463190" cy="266182"/>
          </a:xfrm>
        </p:spPr>
        <p:txBody>
          <a:bodyPr lIns="0" tIns="0" rIns="0" bIns="0" anchor="b" anchorCtr="0"/>
          <a:lstStyle>
            <a:lvl1pPr marL="0" indent="0" algn="l">
              <a:lnSpc>
                <a:spcPct val="100000"/>
              </a:lnSpc>
              <a:buNone/>
              <a:defRPr sz="1400" b="1" baseline="0">
                <a:solidFill>
                  <a:schemeClr val="tx2"/>
                </a:solidFill>
              </a:defRPr>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Name, Surname</a:t>
            </a:r>
          </a:p>
        </p:txBody>
      </p:sp>
      <p:sp>
        <p:nvSpPr>
          <p:cNvPr id="32" name="Text Placeholder 5"/>
          <p:cNvSpPr>
            <a:spLocks noGrp="1"/>
          </p:cNvSpPr>
          <p:nvPr>
            <p:ph type="body" sz="quarter" idx="26" hasCustomPrompt="1"/>
          </p:nvPr>
        </p:nvSpPr>
        <p:spPr>
          <a:xfrm>
            <a:off x="8701917" y="2316912"/>
            <a:ext cx="2463190"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Job Position</a:t>
            </a:r>
          </a:p>
        </p:txBody>
      </p:sp>
      <p:sp>
        <p:nvSpPr>
          <p:cNvPr id="33" name="Text Placeholder 5"/>
          <p:cNvSpPr>
            <a:spLocks noGrp="1"/>
          </p:cNvSpPr>
          <p:nvPr>
            <p:ph type="body" sz="quarter" idx="27" hasCustomPrompt="1"/>
          </p:nvPr>
        </p:nvSpPr>
        <p:spPr>
          <a:xfrm>
            <a:off x="8946800" y="2845588"/>
            <a:ext cx="2218307"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Phone number</a:t>
            </a:r>
          </a:p>
        </p:txBody>
      </p:sp>
      <p:sp>
        <p:nvSpPr>
          <p:cNvPr id="34" name="Text Placeholder 5"/>
          <p:cNvSpPr>
            <a:spLocks noGrp="1"/>
          </p:cNvSpPr>
          <p:nvPr>
            <p:ph type="body" sz="quarter" idx="28" hasCustomPrompt="1"/>
          </p:nvPr>
        </p:nvSpPr>
        <p:spPr>
          <a:xfrm>
            <a:off x="8946800" y="3128395"/>
            <a:ext cx="2218307"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Email address</a:t>
            </a:r>
          </a:p>
        </p:txBody>
      </p:sp>
      <p:grpSp>
        <p:nvGrpSpPr>
          <p:cNvPr id="35" name="Gruppieren 2">
            <a:extLst>
              <a:ext uri="{FF2B5EF4-FFF2-40B4-BE49-F238E27FC236}">
                <a16:creationId xmlns:a16="http://schemas.microsoft.com/office/drawing/2014/main" id="{BE697CE9-EBDE-6B4A-BE70-582D92A8A831}"/>
              </a:ext>
            </a:extLst>
          </p:cNvPr>
          <p:cNvGrpSpPr/>
          <p:nvPr/>
        </p:nvGrpSpPr>
        <p:grpSpPr>
          <a:xfrm>
            <a:off x="3770065" y="5045939"/>
            <a:ext cx="171180" cy="171180"/>
            <a:chOff x="3392092" y="1841122"/>
            <a:chExt cx="646508" cy="646508"/>
          </a:xfrm>
        </p:grpSpPr>
        <p:sp>
          <p:nvSpPr>
            <p:cNvPr id="36" name="Rechteck 14">
              <a:extLst>
                <a:ext uri="{FF2B5EF4-FFF2-40B4-BE49-F238E27FC236}">
                  <a16:creationId xmlns:a16="http://schemas.microsoft.com/office/drawing/2014/main" id="{E142A731-19B7-C34D-9534-9E05108F895F}"/>
                </a:ext>
              </a:extLst>
            </p:cNvPr>
            <p:cNvSpPr>
              <a:spLocks noChangeAspect="1"/>
            </p:cNvSpPr>
            <p:nvPr/>
          </p:nvSpPr>
          <p:spPr bwMode="gray">
            <a:xfrm>
              <a:off x="3392092" y="1841122"/>
              <a:ext cx="646508" cy="646508"/>
            </a:xfrm>
            <a:prstGeom prst="rect">
              <a:avLst/>
            </a:prstGeom>
            <a:solidFill>
              <a:srgbClr val="E55A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pPr>
              <a:endParaRPr lang="en-US" sz="1000">
                <a:solidFill>
                  <a:schemeClr val="tx1"/>
                </a:solidFill>
                <a:latin typeface="Arial" pitchFamily="34" charset="0"/>
                <a:cs typeface="Arial" pitchFamily="34" charset="0"/>
              </a:endParaRPr>
            </a:p>
          </p:txBody>
        </p:sp>
        <p:sp>
          <p:nvSpPr>
            <p:cNvPr id="37" name="Freeform 36">
              <a:extLst>
                <a:ext uri="{FF2B5EF4-FFF2-40B4-BE49-F238E27FC236}">
                  <a16:creationId xmlns:a16="http://schemas.microsoft.com/office/drawing/2014/main" id="{F97E84AE-4AD9-4B44-9AA1-F797FC373809}"/>
                </a:ext>
              </a:extLst>
            </p:cNvPr>
            <p:cNvSpPr>
              <a:spLocks noChangeAspect="1"/>
            </p:cNvSpPr>
            <p:nvPr/>
          </p:nvSpPr>
          <p:spPr bwMode="auto">
            <a:xfrm>
              <a:off x="3546638" y="1970424"/>
              <a:ext cx="337415" cy="387905"/>
            </a:xfrm>
            <a:custGeom>
              <a:avLst/>
              <a:gdLst>
                <a:gd name="T0" fmla="*/ 573 w 1624"/>
                <a:gd name="T1" fmla="*/ 1257 h 1867"/>
                <a:gd name="T2" fmla="*/ 662 w 1624"/>
                <a:gd name="T3" fmla="*/ 1288 h 1867"/>
                <a:gd name="T4" fmla="*/ 938 w 1624"/>
                <a:gd name="T5" fmla="*/ 1051 h 1867"/>
                <a:gd name="T6" fmla="*/ 1106 w 1624"/>
                <a:gd name="T7" fmla="*/ 731 h 1867"/>
                <a:gd name="T8" fmla="*/ 1059 w 1624"/>
                <a:gd name="T9" fmla="*/ 645 h 1867"/>
                <a:gd name="T10" fmla="*/ 1001 w 1624"/>
                <a:gd name="T11" fmla="*/ 613 h 1867"/>
                <a:gd name="T12" fmla="*/ 924 w 1624"/>
                <a:gd name="T13" fmla="*/ 432 h 1867"/>
                <a:gd name="T14" fmla="*/ 1114 w 1624"/>
                <a:gd name="T15" fmla="*/ 81 h 1867"/>
                <a:gd name="T16" fmla="*/ 1287 w 1624"/>
                <a:gd name="T17" fmla="*/ 35 h 1867"/>
                <a:gd name="T18" fmla="*/ 1350 w 1624"/>
                <a:gd name="T19" fmla="*/ 69 h 1867"/>
                <a:gd name="T20" fmla="*/ 1527 w 1624"/>
                <a:gd name="T21" fmla="*/ 235 h 1867"/>
                <a:gd name="T22" fmla="*/ 1583 w 1624"/>
                <a:gd name="T23" fmla="*/ 555 h 1867"/>
                <a:gd name="T24" fmla="*/ 1172 w 1624"/>
                <a:gd name="T25" fmla="*/ 1253 h 1867"/>
                <a:gd name="T26" fmla="*/ 586 w 1624"/>
                <a:gd name="T27" fmla="*/ 1803 h 1867"/>
                <a:gd name="T28" fmla="*/ 269 w 1624"/>
                <a:gd name="T29" fmla="*/ 1807 h 1867"/>
                <a:gd name="T30" fmla="*/ 33 w 1624"/>
                <a:gd name="T31" fmla="*/ 1602 h 1867"/>
                <a:gd name="T32" fmla="*/ 2 w 1624"/>
                <a:gd name="T33" fmla="*/ 1508 h 1867"/>
                <a:gd name="T34" fmla="*/ 45 w 1624"/>
                <a:gd name="T35" fmla="*/ 1421 h 1867"/>
                <a:gd name="T36" fmla="*/ 346 w 1624"/>
                <a:gd name="T37" fmla="*/ 1158 h 1867"/>
                <a:gd name="T38" fmla="*/ 448 w 1624"/>
                <a:gd name="T39" fmla="*/ 1145 h 1867"/>
                <a:gd name="T40" fmla="*/ 573 w 1624"/>
                <a:gd name="T41" fmla="*/ 1257 h 18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24" h="1867">
                  <a:moveTo>
                    <a:pt x="573" y="1257"/>
                  </a:moveTo>
                  <a:cubicBezTo>
                    <a:pt x="592" y="1282"/>
                    <a:pt x="630" y="1303"/>
                    <a:pt x="662" y="1288"/>
                  </a:cubicBezTo>
                  <a:cubicBezTo>
                    <a:pt x="753" y="1245"/>
                    <a:pt x="854" y="1156"/>
                    <a:pt x="938" y="1051"/>
                  </a:cubicBezTo>
                  <a:cubicBezTo>
                    <a:pt x="1020" y="948"/>
                    <a:pt x="1084" y="831"/>
                    <a:pt x="1106" y="731"/>
                  </a:cubicBezTo>
                  <a:cubicBezTo>
                    <a:pt x="1113" y="696"/>
                    <a:pt x="1089" y="661"/>
                    <a:pt x="1059" y="645"/>
                  </a:cubicBezTo>
                  <a:cubicBezTo>
                    <a:pt x="1001" y="613"/>
                    <a:pt x="1001" y="613"/>
                    <a:pt x="1001" y="613"/>
                  </a:cubicBezTo>
                  <a:cubicBezTo>
                    <a:pt x="942" y="580"/>
                    <a:pt x="888" y="499"/>
                    <a:pt x="924" y="432"/>
                  </a:cubicBezTo>
                  <a:cubicBezTo>
                    <a:pt x="1114" y="81"/>
                    <a:pt x="1114" y="81"/>
                    <a:pt x="1114" y="81"/>
                  </a:cubicBezTo>
                  <a:cubicBezTo>
                    <a:pt x="1150" y="16"/>
                    <a:pt x="1224" y="0"/>
                    <a:pt x="1287" y="35"/>
                  </a:cubicBezTo>
                  <a:cubicBezTo>
                    <a:pt x="1350" y="69"/>
                    <a:pt x="1350" y="69"/>
                    <a:pt x="1350" y="69"/>
                  </a:cubicBezTo>
                  <a:cubicBezTo>
                    <a:pt x="1415" y="105"/>
                    <a:pt x="1479" y="165"/>
                    <a:pt x="1527" y="235"/>
                  </a:cubicBezTo>
                  <a:cubicBezTo>
                    <a:pt x="1593" y="332"/>
                    <a:pt x="1624" y="442"/>
                    <a:pt x="1583" y="555"/>
                  </a:cubicBezTo>
                  <a:cubicBezTo>
                    <a:pt x="1500" y="781"/>
                    <a:pt x="1351" y="1030"/>
                    <a:pt x="1172" y="1253"/>
                  </a:cubicBezTo>
                  <a:cubicBezTo>
                    <a:pt x="994" y="1477"/>
                    <a:pt x="786" y="1676"/>
                    <a:pt x="586" y="1803"/>
                  </a:cubicBezTo>
                  <a:cubicBezTo>
                    <a:pt x="486" y="1867"/>
                    <a:pt x="375" y="1856"/>
                    <a:pt x="269" y="1807"/>
                  </a:cubicBezTo>
                  <a:cubicBezTo>
                    <a:pt x="157" y="1755"/>
                    <a:pt x="106" y="1695"/>
                    <a:pt x="33" y="1602"/>
                  </a:cubicBezTo>
                  <a:cubicBezTo>
                    <a:pt x="11" y="1573"/>
                    <a:pt x="0" y="1540"/>
                    <a:pt x="2" y="1508"/>
                  </a:cubicBezTo>
                  <a:cubicBezTo>
                    <a:pt x="4" y="1475"/>
                    <a:pt x="18" y="1444"/>
                    <a:pt x="45" y="1421"/>
                  </a:cubicBezTo>
                  <a:cubicBezTo>
                    <a:pt x="70" y="1399"/>
                    <a:pt x="346" y="1158"/>
                    <a:pt x="346" y="1158"/>
                  </a:cubicBezTo>
                  <a:cubicBezTo>
                    <a:pt x="376" y="1134"/>
                    <a:pt x="413" y="1133"/>
                    <a:pt x="448" y="1145"/>
                  </a:cubicBezTo>
                  <a:cubicBezTo>
                    <a:pt x="510" y="1166"/>
                    <a:pt x="536" y="1210"/>
                    <a:pt x="573" y="1257"/>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351"/>
            </a:p>
          </p:txBody>
        </p:sp>
      </p:grpSp>
      <p:grpSp>
        <p:nvGrpSpPr>
          <p:cNvPr id="38" name="Group 3">
            <a:extLst>
              <a:ext uri="{FF2B5EF4-FFF2-40B4-BE49-F238E27FC236}">
                <a16:creationId xmlns:a16="http://schemas.microsoft.com/office/drawing/2014/main" id="{7104BADD-8CD1-6F4A-B894-869C3BDB3EEB}"/>
              </a:ext>
            </a:extLst>
          </p:cNvPr>
          <p:cNvGrpSpPr>
            <a:grpSpLocks noChangeAspect="1"/>
          </p:cNvGrpSpPr>
          <p:nvPr>
            <p:custDataLst>
              <p:tags r:id="rId3"/>
            </p:custDataLst>
          </p:nvPr>
        </p:nvGrpSpPr>
        <p:grpSpPr>
          <a:xfrm>
            <a:off x="3770066" y="5330827"/>
            <a:ext cx="171180" cy="171180"/>
            <a:chOff x="328396" y="5313940"/>
            <a:chExt cx="720000" cy="720000"/>
          </a:xfrm>
        </p:grpSpPr>
        <p:sp>
          <p:nvSpPr>
            <p:cNvPr id="39" name="Rectangle 4">
              <a:extLst>
                <a:ext uri="{FF2B5EF4-FFF2-40B4-BE49-F238E27FC236}">
                  <a16:creationId xmlns:a16="http://schemas.microsoft.com/office/drawing/2014/main" id="{74BE3D5F-1445-6E40-8B49-72E15568383B}"/>
                </a:ext>
              </a:extLst>
            </p:cNvPr>
            <p:cNvSpPr/>
            <p:nvPr/>
          </p:nvSpPr>
          <p:spPr bwMode="gray">
            <a:xfrm>
              <a:off x="328396" y="5313940"/>
              <a:ext cx="720000" cy="720000"/>
            </a:xfrm>
            <a:prstGeom prst="rect">
              <a:avLst/>
            </a:prstGeom>
            <a:solidFill>
              <a:srgbClr val="E55A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pPr>
              <a:endParaRPr lang="en-US" sz="1000">
                <a:solidFill>
                  <a:schemeClr val="tx1"/>
                </a:solidFill>
                <a:latin typeface="Arial" pitchFamily="34" charset="0"/>
                <a:cs typeface="Arial" pitchFamily="34" charset="0"/>
              </a:endParaRPr>
            </a:p>
          </p:txBody>
        </p:sp>
        <p:sp>
          <p:nvSpPr>
            <p:cNvPr id="40" name="Freeform 76">
              <a:extLst>
                <a:ext uri="{FF2B5EF4-FFF2-40B4-BE49-F238E27FC236}">
                  <a16:creationId xmlns:a16="http://schemas.microsoft.com/office/drawing/2014/main" id="{55DB3C95-7D0C-D141-901E-96D692794D2B}"/>
                </a:ext>
              </a:extLst>
            </p:cNvPr>
            <p:cNvSpPr>
              <a:spLocks noChangeAspect="1" noEditPoints="1"/>
            </p:cNvSpPr>
            <p:nvPr/>
          </p:nvSpPr>
          <p:spPr bwMode="auto">
            <a:xfrm>
              <a:off x="456202" y="5509222"/>
              <a:ext cx="504000" cy="329436"/>
            </a:xfrm>
            <a:custGeom>
              <a:avLst/>
              <a:gdLst>
                <a:gd name="T0" fmla="*/ 0 w 2080"/>
                <a:gd name="T1" fmla="*/ 65 h 1360"/>
                <a:gd name="T2" fmla="*/ 0 w 2080"/>
                <a:gd name="T3" fmla="*/ 0 h 1360"/>
                <a:gd name="T4" fmla="*/ 2080 w 2080"/>
                <a:gd name="T5" fmla="*/ 0 h 1360"/>
                <a:gd name="T6" fmla="*/ 2080 w 2080"/>
                <a:gd name="T7" fmla="*/ 65 h 1360"/>
                <a:gd name="T8" fmla="*/ 1089 w 2080"/>
                <a:gd name="T9" fmla="*/ 862 h 1360"/>
                <a:gd name="T10" fmla="*/ 991 w 2080"/>
                <a:gd name="T11" fmla="*/ 862 h 1360"/>
                <a:gd name="T12" fmla="*/ 0 w 2080"/>
                <a:gd name="T13" fmla="*/ 65 h 1360"/>
                <a:gd name="T14" fmla="*/ 1139 w 2080"/>
                <a:gd name="T15" fmla="*/ 924 h 1360"/>
                <a:gd name="T16" fmla="*/ 1282 w 2080"/>
                <a:gd name="T17" fmla="*/ 810 h 1360"/>
                <a:gd name="T18" fmla="*/ 2076 w 2080"/>
                <a:gd name="T19" fmla="*/ 1360 h 1360"/>
                <a:gd name="T20" fmla="*/ 4 w 2080"/>
                <a:gd name="T21" fmla="*/ 1360 h 1360"/>
                <a:gd name="T22" fmla="*/ 798 w 2080"/>
                <a:gd name="T23" fmla="*/ 810 h 1360"/>
                <a:gd name="T24" fmla="*/ 941 w 2080"/>
                <a:gd name="T25" fmla="*/ 924 h 1360"/>
                <a:gd name="T26" fmla="*/ 1139 w 2080"/>
                <a:gd name="T27" fmla="*/ 924 h 1360"/>
                <a:gd name="T28" fmla="*/ 2 w 2080"/>
                <a:gd name="T29" fmla="*/ 137 h 1360"/>
                <a:gd name="T30" fmla="*/ 42 w 2080"/>
                <a:gd name="T31" fmla="*/ 201 h 1360"/>
                <a:gd name="T32" fmla="*/ 734 w 2080"/>
                <a:gd name="T33" fmla="*/ 758 h 1360"/>
                <a:gd name="T34" fmla="*/ 0 w 2080"/>
                <a:gd name="T35" fmla="*/ 1266 h 1360"/>
                <a:gd name="T36" fmla="*/ 0 w 2080"/>
                <a:gd name="T37" fmla="*/ 135 h 1360"/>
                <a:gd name="T38" fmla="*/ 2 w 2080"/>
                <a:gd name="T39" fmla="*/ 137 h 1360"/>
                <a:gd name="T40" fmla="*/ 2080 w 2080"/>
                <a:gd name="T41" fmla="*/ 136 h 1360"/>
                <a:gd name="T42" fmla="*/ 2080 w 2080"/>
                <a:gd name="T43" fmla="*/ 1265 h 1360"/>
                <a:gd name="T44" fmla="*/ 1346 w 2080"/>
                <a:gd name="T45" fmla="*/ 758 h 1360"/>
                <a:gd name="T46" fmla="*/ 2038 w 2080"/>
                <a:gd name="T47" fmla="*/ 201 h 1360"/>
                <a:gd name="T48" fmla="*/ 2080 w 2080"/>
                <a:gd name="T49" fmla="*/ 136 h 1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080" h="1360">
                  <a:moveTo>
                    <a:pt x="0" y="65"/>
                  </a:moveTo>
                  <a:cubicBezTo>
                    <a:pt x="0" y="0"/>
                    <a:pt x="0" y="0"/>
                    <a:pt x="0" y="0"/>
                  </a:cubicBezTo>
                  <a:cubicBezTo>
                    <a:pt x="2080" y="0"/>
                    <a:pt x="2080" y="0"/>
                    <a:pt x="2080" y="0"/>
                  </a:cubicBezTo>
                  <a:cubicBezTo>
                    <a:pt x="2080" y="65"/>
                    <a:pt x="2080" y="65"/>
                    <a:pt x="2080" y="65"/>
                  </a:cubicBezTo>
                  <a:cubicBezTo>
                    <a:pt x="1089" y="862"/>
                    <a:pt x="1089" y="862"/>
                    <a:pt x="1089" y="862"/>
                  </a:cubicBezTo>
                  <a:cubicBezTo>
                    <a:pt x="1060" y="886"/>
                    <a:pt x="1020" y="886"/>
                    <a:pt x="991" y="862"/>
                  </a:cubicBezTo>
                  <a:lnTo>
                    <a:pt x="0" y="65"/>
                  </a:lnTo>
                  <a:close/>
                  <a:moveTo>
                    <a:pt x="1139" y="924"/>
                  </a:moveTo>
                  <a:cubicBezTo>
                    <a:pt x="1282" y="810"/>
                    <a:pt x="1282" y="810"/>
                    <a:pt x="1282" y="810"/>
                  </a:cubicBezTo>
                  <a:cubicBezTo>
                    <a:pt x="2076" y="1360"/>
                    <a:pt x="2076" y="1360"/>
                    <a:pt x="2076" y="1360"/>
                  </a:cubicBezTo>
                  <a:cubicBezTo>
                    <a:pt x="4" y="1360"/>
                    <a:pt x="4" y="1360"/>
                    <a:pt x="4" y="1360"/>
                  </a:cubicBezTo>
                  <a:cubicBezTo>
                    <a:pt x="798" y="810"/>
                    <a:pt x="798" y="810"/>
                    <a:pt x="798" y="810"/>
                  </a:cubicBezTo>
                  <a:cubicBezTo>
                    <a:pt x="941" y="924"/>
                    <a:pt x="941" y="924"/>
                    <a:pt x="941" y="924"/>
                  </a:cubicBezTo>
                  <a:cubicBezTo>
                    <a:pt x="1000" y="972"/>
                    <a:pt x="1080" y="972"/>
                    <a:pt x="1139" y="924"/>
                  </a:cubicBezTo>
                  <a:close/>
                  <a:moveTo>
                    <a:pt x="2" y="137"/>
                  </a:moveTo>
                  <a:cubicBezTo>
                    <a:pt x="8" y="163"/>
                    <a:pt x="22" y="185"/>
                    <a:pt x="42" y="201"/>
                  </a:cubicBezTo>
                  <a:cubicBezTo>
                    <a:pt x="734" y="758"/>
                    <a:pt x="734" y="758"/>
                    <a:pt x="734" y="758"/>
                  </a:cubicBezTo>
                  <a:cubicBezTo>
                    <a:pt x="0" y="1266"/>
                    <a:pt x="0" y="1266"/>
                    <a:pt x="0" y="1266"/>
                  </a:cubicBezTo>
                  <a:cubicBezTo>
                    <a:pt x="0" y="135"/>
                    <a:pt x="0" y="135"/>
                    <a:pt x="0" y="135"/>
                  </a:cubicBezTo>
                  <a:lnTo>
                    <a:pt x="2" y="137"/>
                  </a:lnTo>
                  <a:close/>
                  <a:moveTo>
                    <a:pt x="2080" y="136"/>
                  </a:moveTo>
                  <a:cubicBezTo>
                    <a:pt x="2080" y="1265"/>
                    <a:pt x="2080" y="1265"/>
                    <a:pt x="2080" y="1265"/>
                  </a:cubicBezTo>
                  <a:cubicBezTo>
                    <a:pt x="1346" y="758"/>
                    <a:pt x="1346" y="758"/>
                    <a:pt x="1346" y="758"/>
                  </a:cubicBezTo>
                  <a:cubicBezTo>
                    <a:pt x="2038" y="201"/>
                    <a:pt x="2038" y="201"/>
                    <a:pt x="2038" y="201"/>
                  </a:cubicBezTo>
                  <a:cubicBezTo>
                    <a:pt x="2060" y="182"/>
                    <a:pt x="2072" y="162"/>
                    <a:pt x="2080" y="13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000"/>
            </a:p>
          </p:txBody>
        </p:sp>
      </p:grpSp>
      <p:cxnSp>
        <p:nvCxnSpPr>
          <p:cNvPr id="41" name="Straight Connector 40"/>
          <p:cNvCxnSpPr/>
          <p:nvPr/>
        </p:nvCxnSpPr>
        <p:spPr>
          <a:xfrm>
            <a:off x="2355914" y="5655833"/>
            <a:ext cx="3888000" cy="0"/>
          </a:xfrm>
          <a:prstGeom prst="line">
            <a:avLst/>
          </a:prstGeom>
          <a:ln w="6350">
            <a:solidFill>
              <a:schemeClr val="tx2"/>
            </a:solidFill>
            <a:prstDash val="dash"/>
          </a:ln>
        </p:spPr>
        <p:style>
          <a:lnRef idx="1">
            <a:schemeClr val="accent1"/>
          </a:lnRef>
          <a:fillRef idx="0">
            <a:schemeClr val="accent1"/>
          </a:fillRef>
          <a:effectRef idx="0">
            <a:schemeClr val="accent1"/>
          </a:effectRef>
          <a:fontRef idx="minor">
            <a:schemeClr val="tx1"/>
          </a:fontRef>
        </p:style>
      </p:cxnSp>
      <p:sp>
        <p:nvSpPr>
          <p:cNvPr id="42" name="Picture Placeholder 3"/>
          <p:cNvSpPr>
            <a:spLocks noGrp="1"/>
          </p:cNvSpPr>
          <p:nvPr>
            <p:ph type="pic" sz="quarter" idx="29" hasCustomPrompt="1"/>
          </p:nvPr>
        </p:nvSpPr>
        <p:spPr>
          <a:xfrm>
            <a:off x="2355914" y="3986604"/>
            <a:ext cx="1188677" cy="1547840"/>
          </a:xfrm>
          <a:solidFill>
            <a:srgbClr val="D9DADB"/>
          </a:solidFill>
        </p:spPr>
        <p:txBody>
          <a:bodyPr/>
          <a:lstStyle>
            <a:lvl1pPr marL="0" indent="0">
              <a:buNone/>
              <a:defRPr sz="1400"/>
            </a:lvl1pPr>
          </a:lstStyle>
          <a:p>
            <a:r>
              <a:rPr lang="en-US"/>
              <a:t>Insert picture</a:t>
            </a:r>
          </a:p>
        </p:txBody>
      </p:sp>
      <p:sp>
        <p:nvSpPr>
          <p:cNvPr id="43" name="Text Placeholder 5"/>
          <p:cNvSpPr>
            <a:spLocks noGrp="1"/>
          </p:cNvSpPr>
          <p:nvPr>
            <p:ph type="body" sz="quarter" idx="30" hasCustomPrompt="1"/>
          </p:nvPr>
        </p:nvSpPr>
        <p:spPr>
          <a:xfrm>
            <a:off x="3770065" y="3986141"/>
            <a:ext cx="2463190" cy="192360"/>
          </a:xfrm>
        </p:spPr>
        <p:txBody>
          <a:bodyPr lIns="0" tIns="0" rIns="0" bIns="0" anchor="ctr" anchorCtr="0"/>
          <a:lstStyle>
            <a:lvl1pPr marL="0" indent="0" algn="l">
              <a:lnSpc>
                <a:spcPct val="100000"/>
              </a:lnSpc>
              <a:buNone/>
              <a:defRPr sz="100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Country</a:t>
            </a:r>
          </a:p>
        </p:txBody>
      </p:sp>
      <p:sp>
        <p:nvSpPr>
          <p:cNvPr id="44" name="Text Placeholder 5"/>
          <p:cNvSpPr>
            <a:spLocks noGrp="1"/>
          </p:cNvSpPr>
          <p:nvPr>
            <p:ph type="body" sz="quarter" idx="31" hasCustomPrompt="1"/>
          </p:nvPr>
        </p:nvSpPr>
        <p:spPr>
          <a:xfrm>
            <a:off x="3770065" y="4197957"/>
            <a:ext cx="2463190" cy="266182"/>
          </a:xfrm>
        </p:spPr>
        <p:txBody>
          <a:bodyPr lIns="0" tIns="0" rIns="0" bIns="0" anchor="b" anchorCtr="0"/>
          <a:lstStyle>
            <a:lvl1pPr marL="0" indent="0" algn="l">
              <a:lnSpc>
                <a:spcPct val="100000"/>
              </a:lnSpc>
              <a:buNone/>
              <a:defRPr sz="1400" b="1" baseline="0">
                <a:solidFill>
                  <a:schemeClr val="tx2"/>
                </a:solidFill>
              </a:defRPr>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Name, Surname</a:t>
            </a:r>
          </a:p>
        </p:txBody>
      </p:sp>
      <p:sp>
        <p:nvSpPr>
          <p:cNvPr id="45" name="Text Placeholder 5"/>
          <p:cNvSpPr>
            <a:spLocks noGrp="1"/>
          </p:cNvSpPr>
          <p:nvPr>
            <p:ph type="body" sz="quarter" idx="32" hasCustomPrompt="1"/>
          </p:nvPr>
        </p:nvSpPr>
        <p:spPr>
          <a:xfrm>
            <a:off x="3770065" y="4494532"/>
            <a:ext cx="2463190"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Job Position</a:t>
            </a:r>
          </a:p>
        </p:txBody>
      </p:sp>
      <p:sp>
        <p:nvSpPr>
          <p:cNvPr id="46" name="Text Placeholder 5"/>
          <p:cNvSpPr>
            <a:spLocks noGrp="1"/>
          </p:cNvSpPr>
          <p:nvPr>
            <p:ph type="body" sz="quarter" idx="33" hasCustomPrompt="1"/>
          </p:nvPr>
        </p:nvSpPr>
        <p:spPr>
          <a:xfrm>
            <a:off x="4014948" y="5023208"/>
            <a:ext cx="2218307"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Phone number</a:t>
            </a:r>
          </a:p>
        </p:txBody>
      </p:sp>
      <p:sp>
        <p:nvSpPr>
          <p:cNvPr id="47" name="Text Placeholder 5"/>
          <p:cNvSpPr>
            <a:spLocks noGrp="1"/>
          </p:cNvSpPr>
          <p:nvPr>
            <p:ph type="body" sz="quarter" idx="34" hasCustomPrompt="1"/>
          </p:nvPr>
        </p:nvSpPr>
        <p:spPr>
          <a:xfrm>
            <a:off x="4014948" y="5306015"/>
            <a:ext cx="2218307"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Email address</a:t>
            </a:r>
          </a:p>
        </p:txBody>
      </p:sp>
    </p:spTree>
    <p:extLst>
      <p:ext uri="{BB962C8B-B14F-4D97-AF65-F5344CB8AC3E}">
        <p14:creationId xmlns:p14="http://schemas.microsoft.com/office/powerpoint/2010/main" val="1040524829"/>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p:cSld name="Four contacts">
    <p:spTree>
      <p:nvGrpSpPr>
        <p:cNvPr id="1" name=""/>
        <p:cNvGrpSpPr/>
        <p:nvPr/>
      </p:nvGrpSpPr>
      <p:grpSpPr>
        <a:xfrm>
          <a:off x="0" y="0"/>
          <a:ext cx="0" cy="0"/>
          <a:chOff x="0" y="0"/>
          <a:chExt cx="0" cy="0"/>
        </a:xfrm>
      </p:grpSpPr>
      <p:sp>
        <p:nvSpPr>
          <p:cNvPr id="21" name="Date Placeholder 20"/>
          <p:cNvSpPr>
            <a:spLocks noGrp="1"/>
          </p:cNvSpPr>
          <p:nvPr>
            <p:ph type="dt" sz="half" idx="14"/>
          </p:nvPr>
        </p:nvSpPr>
        <p:spPr/>
        <p:txBody>
          <a:bodyPr/>
          <a:lstStyle/>
          <a:p>
            <a:fld id="{279C7CF9-AE45-4637-9DF5-AFC713D6D2FE}" type="datetime5">
              <a:rPr lang="en-US" smtClean="0"/>
              <a:t>26-Jun-20</a:t>
            </a:fld>
            <a:endParaRPr lang="en-US"/>
          </a:p>
        </p:txBody>
      </p:sp>
      <p:sp>
        <p:nvSpPr>
          <p:cNvPr id="22" name="Footer Placeholder 21"/>
          <p:cNvSpPr>
            <a:spLocks noGrp="1"/>
          </p:cNvSpPr>
          <p:nvPr>
            <p:ph type="ftr" sz="quarter" idx="15"/>
          </p:nvPr>
        </p:nvSpPr>
        <p:spPr/>
        <p:txBody>
          <a:bodyPr/>
          <a:lstStyle/>
          <a:p>
            <a:r>
              <a:rPr lang="en-US"/>
              <a:t>Title of presentation (Insert / Header &amp; Footer / Apply to All)</a:t>
            </a:r>
          </a:p>
        </p:txBody>
      </p:sp>
      <p:sp>
        <p:nvSpPr>
          <p:cNvPr id="23" name="Slide Number Placeholder 22"/>
          <p:cNvSpPr>
            <a:spLocks noGrp="1"/>
          </p:cNvSpPr>
          <p:nvPr>
            <p:ph type="sldNum" sz="quarter" idx="16"/>
          </p:nvPr>
        </p:nvSpPr>
        <p:spPr/>
        <p:txBody>
          <a:bodyPr/>
          <a:lstStyle/>
          <a:p>
            <a:fld id="{5F3E29E4-0979-4FCA-B4C5-5FC6044C982A}" type="slidenum">
              <a:rPr lang="en-US" smtClean="0"/>
              <a:t>‹#›</a:t>
            </a:fld>
            <a:endParaRPr lang="en-US"/>
          </a:p>
        </p:txBody>
      </p:sp>
      <p:sp>
        <p:nvSpPr>
          <p:cNvPr id="2" name="Title 1"/>
          <p:cNvSpPr>
            <a:spLocks noGrp="1"/>
          </p:cNvSpPr>
          <p:nvPr>
            <p:ph type="title" hasCustomPrompt="1"/>
          </p:nvPr>
        </p:nvSpPr>
        <p:spPr/>
        <p:txBody>
          <a:bodyPr/>
          <a:lstStyle>
            <a:lvl1pPr>
              <a:defRPr/>
            </a:lvl1pPr>
          </a:lstStyle>
          <a:p>
            <a:r>
              <a:rPr lang="en-US"/>
              <a:t>Click to add contact title</a:t>
            </a:r>
          </a:p>
        </p:txBody>
      </p:sp>
      <p:sp>
        <p:nvSpPr>
          <p:cNvPr id="7" name="Subtitle 2"/>
          <p:cNvSpPr>
            <a:spLocks noGrp="1"/>
          </p:cNvSpPr>
          <p:nvPr>
            <p:ph type="subTitle" idx="13" hasCustomPrompt="1"/>
          </p:nvPr>
        </p:nvSpPr>
        <p:spPr>
          <a:xfrm>
            <a:off x="1075061" y="964671"/>
            <a:ext cx="7910158" cy="490042"/>
          </a:xfrm>
        </p:spPr>
        <p:txBody>
          <a:bodyPr wrap="none"/>
          <a:lstStyle>
            <a:lvl1pPr marL="0" indent="0" algn="l">
              <a:spcBef>
                <a:spcPts val="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grpSp>
        <p:nvGrpSpPr>
          <p:cNvPr id="8" name="Gruppieren 80">
            <a:extLst>
              <a:ext uri="{FF2B5EF4-FFF2-40B4-BE49-F238E27FC236}">
                <a16:creationId xmlns:a16="http://schemas.microsoft.com/office/drawing/2014/main" id="{6B969E7B-9C39-4443-9B02-74C1E7C5CCAC}"/>
              </a:ext>
            </a:extLst>
          </p:cNvPr>
          <p:cNvGrpSpPr/>
          <p:nvPr/>
        </p:nvGrpSpPr>
        <p:grpSpPr>
          <a:xfrm>
            <a:off x="3770065" y="2868319"/>
            <a:ext cx="171180" cy="171180"/>
            <a:chOff x="3392092" y="1841122"/>
            <a:chExt cx="646508" cy="646508"/>
          </a:xfrm>
        </p:grpSpPr>
        <p:sp>
          <p:nvSpPr>
            <p:cNvPr id="9" name="Rechteck 14">
              <a:extLst>
                <a:ext uri="{FF2B5EF4-FFF2-40B4-BE49-F238E27FC236}">
                  <a16:creationId xmlns:a16="http://schemas.microsoft.com/office/drawing/2014/main" id="{D78F58EA-5525-8D43-8295-FEA52ECF6BFA}"/>
                </a:ext>
              </a:extLst>
            </p:cNvPr>
            <p:cNvSpPr>
              <a:spLocks noChangeAspect="1"/>
            </p:cNvSpPr>
            <p:nvPr/>
          </p:nvSpPr>
          <p:spPr bwMode="gray">
            <a:xfrm>
              <a:off x="3392092" y="1841122"/>
              <a:ext cx="646508" cy="646508"/>
            </a:xfrm>
            <a:prstGeom prst="rect">
              <a:avLst/>
            </a:prstGeom>
            <a:solidFill>
              <a:srgbClr val="E55A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pPr>
              <a:endParaRPr lang="en-US" sz="1000">
                <a:solidFill>
                  <a:schemeClr val="tx1"/>
                </a:solidFill>
                <a:latin typeface="Arial" pitchFamily="34" charset="0"/>
                <a:cs typeface="Arial" pitchFamily="34" charset="0"/>
              </a:endParaRPr>
            </a:p>
          </p:txBody>
        </p:sp>
        <p:sp>
          <p:nvSpPr>
            <p:cNvPr id="10" name="Freeform 67">
              <a:extLst>
                <a:ext uri="{FF2B5EF4-FFF2-40B4-BE49-F238E27FC236}">
                  <a16:creationId xmlns:a16="http://schemas.microsoft.com/office/drawing/2014/main" id="{D01A6292-2776-4945-B828-483D79DC4908}"/>
                </a:ext>
              </a:extLst>
            </p:cNvPr>
            <p:cNvSpPr>
              <a:spLocks noChangeAspect="1"/>
            </p:cNvSpPr>
            <p:nvPr/>
          </p:nvSpPr>
          <p:spPr bwMode="auto">
            <a:xfrm>
              <a:off x="3546638" y="1970424"/>
              <a:ext cx="337415" cy="387905"/>
            </a:xfrm>
            <a:custGeom>
              <a:avLst/>
              <a:gdLst>
                <a:gd name="T0" fmla="*/ 573 w 1624"/>
                <a:gd name="T1" fmla="*/ 1257 h 1867"/>
                <a:gd name="T2" fmla="*/ 662 w 1624"/>
                <a:gd name="T3" fmla="*/ 1288 h 1867"/>
                <a:gd name="T4" fmla="*/ 938 w 1624"/>
                <a:gd name="T5" fmla="*/ 1051 h 1867"/>
                <a:gd name="T6" fmla="*/ 1106 w 1624"/>
                <a:gd name="T7" fmla="*/ 731 h 1867"/>
                <a:gd name="T8" fmla="*/ 1059 w 1624"/>
                <a:gd name="T9" fmla="*/ 645 h 1867"/>
                <a:gd name="T10" fmla="*/ 1001 w 1624"/>
                <a:gd name="T11" fmla="*/ 613 h 1867"/>
                <a:gd name="T12" fmla="*/ 924 w 1624"/>
                <a:gd name="T13" fmla="*/ 432 h 1867"/>
                <a:gd name="T14" fmla="*/ 1114 w 1624"/>
                <a:gd name="T15" fmla="*/ 81 h 1867"/>
                <a:gd name="T16" fmla="*/ 1287 w 1624"/>
                <a:gd name="T17" fmla="*/ 35 h 1867"/>
                <a:gd name="T18" fmla="*/ 1350 w 1624"/>
                <a:gd name="T19" fmla="*/ 69 h 1867"/>
                <a:gd name="T20" fmla="*/ 1527 w 1624"/>
                <a:gd name="T21" fmla="*/ 235 h 1867"/>
                <a:gd name="T22" fmla="*/ 1583 w 1624"/>
                <a:gd name="T23" fmla="*/ 555 h 1867"/>
                <a:gd name="T24" fmla="*/ 1172 w 1624"/>
                <a:gd name="T25" fmla="*/ 1253 h 1867"/>
                <a:gd name="T26" fmla="*/ 586 w 1624"/>
                <a:gd name="T27" fmla="*/ 1803 h 1867"/>
                <a:gd name="T28" fmla="*/ 269 w 1624"/>
                <a:gd name="T29" fmla="*/ 1807 h 1867"/>
                <a:gd name="T30" fmla="*/ 33 w 1624"/>
                <a:gd name="T31" fmla="*/ 1602 h 1867"/>
                <a:gd name="T32" fmla="*/ 2 w 1624"/>
                <a:gd name="T33" fmla="*/ 1508 h 1867"/>
                <a:gd name="T34" fmla="*/ 45 w 1624"/>
                <a:gd name="T35" fmla="*/ 1421 h 1867"/>
                <a:gd name="T36" fmla="*/ 346 w 1624"/>
                <a:gd name="T37" fmla="*/ 1158 h 1867"/>
                <a:gd name="T38" fmla="*/ 448 w 1624"/>
                <a:gd name="T39" fmla="*/ 1145 h 1867"/>
                <a:gd name="T40" fmla="*/ 573 w 1624"/>
                <a:gd name="T41" fmla="*/ 1257 h 18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24" h="1867">
                  <a:moveTo>
                    <a:pt x="573" y="1257"/>
                  </a:moveTo>
                  <a:cubicBezTo>
                    <a:pt x="592" y="1282"/>
                    <a:pt x="630" y="1303"/>
                    <a:pt x="662" y="1288"/>
                  </a:cubicBezTo>
                  <a:cubicBezTo>
                    <a:pt x="753" y="1245"/>
                    <a:pt x="854" y="1156"/>
                    <a:pt x="938" y="1051"/>
                  </a:cubicBezTo>
                  <a:cubicBezTo>
                    <a:pt x="1020" y="948"/>
                    <a:pt x="1084" y="831"/>
                    <a:pt x="1106" y="731"/>
                  </a:cubicBezTo>
                  <a:cubicBezTo>
                    <a:pt x="1113" y="696"/>
                    <a:pt x="1089" y="661"/>
                    <a:pt x="1059" y="645"/>
                  </a:cubicBezTo>
                  <a:cubicBezTo>
                    <a:pt x="1001" y="613"/>
                    <a:pt x="1001" y="613"/>
                    <a:pt x="1001" y="613"/>
                  </a:cubicBezTo>
                  <a:cubicBezTo>
                    <a:pt x="942" y="580"/>
                    <a:pt x="888" y="499"/>
                    <a:pt x="924" y="432"/>
                  </a:cubicBezTo>
                  <a:cubicBezTo>
                    <a:pt x="1114" y="81"/>
                    <a:pt x="1114" y="81"/>
                    <a:pt x="1114" y="81"/>
                  </a:cubicBezTo>
                  <a:cubicBezTo>
                    <a:pt x="1150" y="16"/>
                    <a:pt x="1224" y="0"/>
                    <a:pt x="1287" y="35"/>
                  </a:cubicBezTo>
                  <a:cubicBezTo>
                    <a:pt x="1350" y="69"/>
                    <a:pt x="1350" y="69"/>
                    <a:pt x="1350" y="69"/>
                  </a:cubicBezTo>
                  <a:cubicBezTo>
                    <a:pt x="1415" y="105"/>
                    <a:pt x="1479" y="165"/>
                    <a:pt x="1527" y="235"/>
                  </a:cubicBezTo>
                  <a:cubicBezTo>
                    <a:pt x="1593" y="332"/>
                    <a:pt x="1624" y="442"/>
                    <a:pt x="1583" y="555"/>
                  </a:cubicBezTo>
                  <a:cubicBezTo>
                    <a:pt x="1500" y="781"/>
                    <a:pt x="1351" y="1030"/>
                    <a:pt x="1172" y="1253"/>
                  </a:cubicBezTo>
                  <a:cubicBezTo>
                    <a:pt x="994" y="1477"/>
                    <a:pt x="786" y="1676"/>
                    <a:pt x="586" y="1803"/>
                  </a:cubicBezTo>
                  <a:cubicBezTo>
                    <a:pt x="486" y="1867"/>
                    <a:pt x="375" y="1856"/>
                    <a:pt x="269" y="1807"/>
                  </a:cubicBezTo>
                  <a:cubicBezTo>
                    <a:pt x="157" y="1755"/>
                    <a:pt x="106" y="1695"/>
                    <a:pt x="33" y="1602"/>
                  </a:cubicBezTo>
                  <a:cubicBezTo>
                    <a:pt x="11" y="1573"/>
                    <a:pt x="0" y="1540"/>
                    <a:pt x="2" y="1508"/>
                  </a:cubicBezTo>
                  <a:cubicBezTo>
                    <a:pt x="4" y="1475"/>
                    <a:pt x="18" y="1444"/>
                    <a:pt x="45" y="1421"/>
                  </a:cubicBezTo>
                  <a:cubicBezTo>
                    <a:pt x="70" y="1399"/>
                    <a:pt x="346" y="1158"/>
                    <a:pt x="346" y="1158"/>
                  </a:cubicBezTo>
                  <a:cubicBezTo>
                    <a:pt x="376" y="1134"/>
                    <a:pt x="413" y="1133"/>
                    <a:pt x="448" y="1145"/>
                  </a:cubicBezTo>
                  <a:cubicBezTo>
                    <a:pt x="510" y="1166"/>
                    <a:pt x="536" y="1210"/>
                    <a:pt x="573" y="1257"/>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351"/>
            </a:p>
          </p:txBody>
        </p:sp>
      </p:grpSp>
      <p:grpSp>
        <p:nvGrpSpPr>
          <p:cNvPr id="11" name="Group 3">
            <a:extLst>
              <a:ext uri="{FF2B5EF4-FFF2-40B4-BE49-F238E27FC236}">
                <a16:creationId xmlns:a16="http://schemas.microsoft.com/office/drawing/2014/main" id="{DED6A25A-5DE2-1441-8BA2-C68D3B4F9209}"/>
              </a:ext>
            </a:extLst>
          </p:cNvPr>
          <p:cNvGrpSpPr>
            <a:grpSpLocks noChangeAspect="1"/>
          </p:cNvGrpSpPr>
          <p:nvPr>
            <p:custDataLst>
              <p:tags r:id="rId1"/>
            </p:custDataLst>
          </p:nvPr>
        </p:nvGrpSpPr>
        <p:grpSpPr>
          <a:xfrm>
            <a:off x="3770066" y="3153207"/>
            <a:ext cx="171180" cy="171180"/>
            <a:chOff x="328396" y="5313940"/>
            <a:chExt cx="720000" cy="720000"/>
          </a:xfrm>
        </p:grpSpPr>
        <p:sp>
          <p:nvSpPr>
            <p:cNvPr id="12" name="Rectangle 4">
              <a:extLst>
                <a:ext uri="{FF2B5EF4-FFF2-40B4-BE49-F238E27FC236}">
                  <a16:creationId xmlns:a16="http://schemas.microsoft.com/office/drawing/2014/main" id="{5F49E67F-D4FA-9D48-96BC-59AE946ECD15}"/>
                </a:ext>
              </a:extLst>
            </p:cNvPr>
            <p:cNvSpPr/>
            <p:nvPr/>
          </p:nvSpPr>
          <p:spPr bwMode="gray">
            <a:xfrm>
              <a:off x="328396" y="5313940"/>
              <a:ext cx="720000" cy="720000"/>
            </a:xfrm>
            <a:prstGeom prst="rect">
              <a:avLst/>
            </a:prstGeom>
            <a:solidFill>
              <a:srgbClr val="E55A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pPr>
              <a:endParaRPr lang="en-US" sz="1000">
                <a:solidFill>
                  <a:schemeClr val="tx1"/>
                </a:solidFill>
                <a:latin typeface="Arial" pitchFamily="34" charset="0"/>
                <a:cs typeface="Arial" pitchFamily="34" charset="0"/>
              </a:endParaRPr>
            </a:p>
          </p:txBody>
        </p:sp>
        <p:sp>
          <p:nvSpPr>
            <p:cNvPr id="13" name="Freeform 76">
              <a:extLst>
                <a:ext uri="{FF2B5EF4-FFF2-40B4-BE49-F238E27FC236}">
                  <a16:creationId xmlns:a16="http://schemas.microsoft.com/office/drawing/2014/main" id="{187E70E6-AF3F-2549-908E-DF4BA61040AA}"/>
                </a:ext>
              </a:extLst>
            </p:cNvPr>
            <p:cNvSpPr>
              <a:spLocks noChangeAspect="1" noEditPoints="1"/>
            </p:cNvSpPr>
            <p:nvPr/>
          </p:nvSpPr>
          <p:spPr bwMode="auto">
            <a:xfrm>
              <a:off x="456202" y="5509222"/>
              <a:ext cx="504000" cy="329436"/>
            </a:xfrm>
            <a:custGeom>
              <a:avLst/>
              <a:gdLst>
                <a:gd name="T0" fmla="*/ 0 w 2080"/>
                <a:gd name="T1" fmla="*/ 65 h 1360"/>
                <a:gd name="T2" fmla="*/ 0 w 2080"/>
                <a:gd name="T3" fmla="*/ 0 h 1360"/>
                <a:gd name="T4" fmla="*/ 2080 w 2080"/>
                <a:gd name="T5" fmla="*/ 0 h 1360"/>
                <a:gd name="T6" fmla="*/ 2080 w 2080"/>
                <a:gd name="T7" fmla="*/ 65 h 1360"/>
                <a:gd name="T8" fmla="*/ 1089 w 2080"/>
                <a:gd name="T9" fmla="*/ 862 h 1360"/>
                <a:gd name="T10" fmla="*/ 991 w 2080"/>
                <a:gd name="T11" fmla="*/ 862 h 1360"/>
                <a:gd name="T12" fmla="*/ 0 w 2080"/>
                <a:gd name="T13" fmla="*/ 65 h 1360"/>
                <a:gd name="T14" fmla="*/ 1139 w 2080"/>
                <a:gd name="T15" fmla="*/ 924 h 1360"/>
                <a:gd name="T16" fmla="*/ 1282 w 2080"/>
                <a:gd name="T17" fmla="*/ 810 h 1360"/>
                <a:gd name="T18" fmla="*/ 2076 w 2080"/>
                <a:gd name="T19" fmla="*/ 1360 h 1360"/>
                <a:gd name="T20" fmla="*/ 4 w 2080"/>
                <a:gd name="T21" fmla="*/ 1360 h 1360"/>
                <a:gd name="T22" fmla="*/ 798 w 2080"/>
                <a:gd name="T23" fmla="*/ 810 h 1360"/>
                <a:gd name="T24" fmla="*/ 941 w 2080"/>
                <a:gd name="T25" fmla="*/ 924 h 1360"/>
                <a:gd name="T26" fmla="*/ 1139 w 2080"/>
                <a:gd name="T27" fmla="*/ 924 h 1360"/>
                <a:gd name="T28" fmla="*/ 2 w 2080"/>
                <a:gd name="T29" fmla="*/ 137 h 1360"/>
                <a:gd name="T30" fmla="*/ 42 w 2080"/>
                <a:gd name="T31" fmla="*/ 201 h 1360"/>
                <a:gd name="T32" fmla="*/ 734 w 2080"/>
                <a:gd name="T33" fmla="*/ 758 h 1360"/>
                <a:gd name="T34" fmla="*/ 0 w 2080"/>
                <a:gd name="T35" fmla="*/ 1266 h 1360"/>
                <a:gd name="T36" fmla="*/ 0 w 2080"/>
                <a:gd name="T37" fmla="*/ 135 h 1360"/>
                <a:gd name="T38" fmla="*/ 2 w 2080"/>
                <a:gd name="T39" fmla="*/ 137 h 1360"/>
                <a:gd name="T40" fmla="*/ 2080 w 2080"/>
                <a:gd name="T41" fmla="*/ 136 h 1360"/>
                <a:gd name="T42" fmla="*/ 2080 w 2080"/>
                <a:gd name="T43" fmla="*/ 1265 h 1360"/>
                <a:gd name="T44" fmla="*/ 1346 w 2080"/>
                <a:gd name="T45" fmla="*/ 758 h 1360"/>
                <a:gd name="T46" fmla="*/ 2038 w 2080"/>
                <a:gd name="T47" fmla="*/ 201 h 1360"/>
                <a:gd name="T48" fmla="*/ 2080 w 2080"/>
                <a:gd name="T49" fmla="*/ 136 h 1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080" h="1360">
                  <a:moveTo>
                    <a:pt x="0" y="65"/>
                  </a:moveTo>
                  <a:cubicBezTo>
                    <a:pt x="0" y="0"/>
                    <a:pt x="0" y="0"/>
                    <a:pt x="0" y="0"/>
                  </a:cubicBezTo>
                  <a:cubicBezTo>
                    <a:pt x="2080" y="0"/>
                    <a:pt x="2080" y="0"/>
                    <a:pt x="2080" y="0"/>
                  </a:cubicBezTo>
                  <a:cubicBezTo>
                    <a:pt x="2080" y="65"/>
                    <a:pt x="2080" y="65"/>
                    <a:pt x="2080" y="65"/>
                  </a:cubicBezTo>
                  <a:cubicBezTo>
                    <a:pt x="1089" y="862"/>
                    <a:pt x="1089" y="862"/>
                    <a:pt x="1089" y="862"/>
                  </a:cubicBezTo>
                  <a:cubicBezTo>
                    <a:pt x="1060" y="886"/>
                    <a:pt x="1020" y="886"/>
                    <a:pt x="991" y="862"/>
                  </a:cubicBezTo>
                  <a:lnTo>
                    <a:pt x="0" y="65"/>
                  </a:lnTo>
                  <a:close/>
                  <a:moveTo>
                    <a:pt x="1139" y="924"/>
                  </a:moveTo>
                  <a:cubicBezTo>
                    <a:pt x="1282" y="810"/>
                    <a:pt x="1282" y="810"/>
                    <a:pt x="1282" y="810"/>
                  </a:cubicBezTo>
                  <a:cubicBezTo>
                    <a:pt x="2076" y="1360"/>
                    <a:pt x="2076" y="1360"/>
                    <a:pt x="2076" y="1360"/>
                  </a:cubicBezTo>
                  <a:cubicBezTo>
                    <a:pt x="4" y="1360"/>
                    <a:pt x="4" y="1360"/>
                    <a:pt x="4" y="1360"/>
                  </a:cubicBezTo>
                  <a:cubicBezTo>
                    <a:pt x="798" y="810"/>
                    <a:pt x="798" y="810"/>
                    <a:pt x="798" y="810"/>
                  </a:cubicBezTo>
                  <a:cubicBezTo>
                    <a:pt x="941" y="924"/>
                    <a:pt x="941" y="924"/>
                    <a:pt x="941" y="924"/>
                  </a:cubicBezTo>
                  <a:cubicBezTo>
                    <a:pt x="1000" y="972"/>
                    <a:pt x="1080" y="972"/>
                    <a:pt x="1139" y="924"/>
                  </a:cubicBezTo>
                  <a:close/>
                  <a:moveTo>
                    <a:pt x="2" y="137"/>
                  </a:moveTo>
                  <a:cubicBezTo>
                    <a:pt x="8" y="163"/>
                    <a:pt x="22" y="185"/>
                    <a:pt x="42" y="201"/>
                  </a:cubicBezTo>
                  <a:cubicBezTo>
                    <a:pt x="734" y="758"/>
                    <a:pt x="734" y="758"/>
                    <a:pt x="734" y="758"/>
                  </a:cubicBezTo>
                  <a:cubicBezTo>
                    <a:pt x="0" y="1266"/>
                    <a:pt x="0" y="1266"/>
                    <a:pt x="0" y="1266"/>
                  </a:cubicBezTo>
                  <a:cubicBezTo>
                    <a:pt x="0" y="135"/>
                    <a:pt x="0" y="135"/>
                    <a:pt x="0" y="135"/>
                  </a:cubicBezTo>
                  <a:lnTo>
                    <a:pt x="2" y="137"/>
                  </a:lnTo>
                  <a:close/>
                  <a:moveTo>
                    <a:pt x="2080" y="136"/>
                  </a:moveTo>
                  <a:cubicBezTo>
                    <a:pt x="2080" y="1265"/>
                    <a:pt x="2080" y="1265"/>
                    <a:pt x="2080" y="1265"/>
                  </a:cubicBezTo>
                  <a:cubicBezTo>
                    <a:pt x="1346" y="758"/>
                    <a:pt x="1346" y="758"/>
                    <a:pt x="1346" y="758"/>
                  </a:cubicBezTo>
                  <a:cubicBezTo>
                    <a:pt x="2038" y="201"/>
                    <a:pt x="2038" y="201"/>
                    <a:pt x="2038" y="201"/>
                  </a:cubicBezTo>
                  <a:cubicBezTo>
                    <a:pt x="2060" y="182"/>
                    <a:pt x="2072" y="162"/>
                    <a:pt x="2080" y="13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000"/>
            </a:p>
          </p:txBody>
        </p:sp>
      </p:grpSp>
      <p:grpSp>
        <p:nvGrpSpPr>
          <p:cNvPr id="14" name="Gruppieren 2">
            <a:extLst>
              <a:ext uri="{FF2B5EF4-FFF2-40B4-BE49-F238E27FC236}">
                <a16:creationId xmlns:a16="http://schemas.microsoft.com/office/drawing/2014/main" id="{BE697CE9-EBDE-6B4A-BE70-582D92A8A831}"/>
              </a:ext>
            </a:extLst>
          </p:cNvPr>
          <p:cNvGrpSpPr/>
          <p:nvPr/>
        </p:nvGrpSpPr>
        <p:grpSpPr>
          <a:xfrm>
            <a:off x="8701917" y="2868319"/>
            <a:ext cx="171180" cy="171180"/>
            <a:chOff x="3392092" y="1841122"/>
            <a:chExt cx="646508" cy="646508"/>
          </a:xfrm>
        </p:grpSpPr>
        <p:sp>
          <p:nvSpPr>
            <p:cNvPr id="15" name="Rechteck 14">
              <a:extLst>
                <a:ext uri="{FF2B5EF4-FFF2-40B4-BE49-F238E27FC236}">
                  <a16:creationId xmlns:a16="http://schemas.microsoft.com/office/drawing/2014/main" id="{E142A731-19B7-C34D-9534-9E05108F895F}"/>
                </a:ext>
              </a:extLst>
            </p:cNvPr>
            <p:cNvSpPr>
              <a:spLocks noChangeAspect="1"/>
            </p:cNvSpPr>
            <p:nvPr/>
          </p:nvSpPr>
          <p:spPr bwMode="gray">
            <a:xfrm>
              <a:off x="3392092" y="1841122"/>
              <a:ext cx="646508" cy="646508"/>
            </a:xfrm>
            <a:prstGeom prst="rect">
              <a:avLst/>
            </a:prstGeom>
            <a:solidFill>
              <a:srgbClr val="E55A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pPr>
              <a:endParaRPr lang="en-US" sz="1000">
                <a:solidFill>
                  <a:schemeClr val="tx1"/>
                </a:solidFill>
                <a:latin typeface="Arial" pitchFamily="34" charset="0"/>
                <a:cs typeface="Arial" pitchFamily="34" charset="0"/>
              </a:endParaRPr>
            </a:p>
          </p:txBody>
        </p:sp>
        <p:sp>
          <p:nvSpPr>
            <p:cNvPr id="16" name="Freeform 15">
              <a:extLst>
                <a:ext uri="{FF2B5EF4-FFF2-40B4-BE49-F238E27FC236}">
                  <a16:creationId xmlns:a16="http://schemas.microsoft.com/office/drawing/2014/main" id="{F97E84AE-4AD9-4B44-9AA1-F797FC373809}"/>
                </a:ext>
              </a:extLst>
            </p:cNvPr>
            <p:cNvSpPr>
              <a:spLocks noChangeAspect="1"/>
            </p:cNvSpPr>
            <p:nvPr/>
          </p:nvSpPr>
          <p:spPr bwMode="auto">
            <a:xfrm>
              <a:off x="3546638" y="1970424"/>
              <a:ext cx="337415" cy="387905"/>
            </a:xfrm>
            <a:custGeom>
              <a:avLst/>
              <a:gdLst>
                <a:gd name="T0" fmla="*/ 573 w 1624"/>
                <a:gd name="T1" fmla="*/ 1257 h 1867"/>
                <a:gd name="T2" fmla="*/ 662 w 1624"/>
                <a:gd name="T3" fmla="*/ 1288 h 1867"/>
                <a:gd name="T4" fmla="*/ 938 w 1624"/>
                <a:gd name="T5" fmla="*/ 1051 h 1867"/>
                <a:gd name="T6" fmla="*/ 1106 w 1624"/>
                <a:gd name="T7" fmla="*/ 731 h 1867"/>
                <a:gd name="T8" fmla="*/ 1059 w 1624"/>
                <a:gd name="T9" fmla="*/ 645 h 1867"/>
                <a:gd name="T10" fmla="*/ 1001 w 1624"/>
                <a:gd name="T11" fmla="*/ 613 h 1867"/>
                <a:gd name="T12" fmla="*/ 924 w 1624"/>
                <a:gd name="T13" fmla="*/ 432 h 1867"/>
                <a:gd name="T14" fmla="*/ 1114 w 1624"/>
                <a:gd name="T15" fmla="*/ 81 h 1867"/>
                <a:gd name="T16" fmla="*/ 1287 w 1624"/>
                <a:gd name="T17" fmla="*/ 35 h 1867"/>
                <a:gd name="T18" fmla="*/ 1350 w 1624"/>
                <a:gd name="T19" fmla="*/ 69 h 1867"/>
                <a:gd name="T20" fmla="*/ 1527 w 1624"/>
                <a:gd name="T21" fmla="*/ 235 h 1867"/>
                <a:gd name="T22" fmla="*/ 1583 w 1624"/>
                <a:gd name="T23" fmla="*/ 555 h 1867"/>
                <a:gd name="T24" fmla="*/ 1172 w 1624"/>
                <a:gd name="T25" fmla="*/ 1253 h 1867"/>
                <a:gd name="T26" fmla="*/ 586 w 1624"/>
                <a:gd name="T27" fmla="*/ 1803 h 1867"/>
                <a:gd name="T28" fmla="*/ 269 w 1624"/>
                <a:gd name="T29" fmla="*/ 1807 h 1867"/>
                <a:gd name="T30" fmla="*/ 33 w 1624"/>
                <a:gd name="T31" fmla="*/ 1602 h 1867"/>
                <a:gd name="T32" fmla="*/ 2 w 1624"/>
                <a:gd name="T33" fmla="*/ 1508 h 1867"/>
                <a:gd name="T34" fmla="*/ 45 w 1624"/>
                <a:gd name="T35" fmla="*/ 1421 h 1867"/>
                <a:gd name="T36" fmla="*/ 346 w 1624"/>
                <a:gd name="T37" fmla="*/ 1158 h 1867"/>
                <a:gd name="T38" fmla="*/ 448 w 1624"/>
                <a:gd name="T39" fmla="*/ 1145 h 1867"/>
                <a:gd name="T40" fmla="*/ 573 w 1624"/>
                <a:gd name="T41" fmla="*/ 1257 h 18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24" h="1867">
                  <a:moveTo>
                    <a:pt x="573" y="1257"/>
                  </a:moveTo>
                  <a:cubicBezTo>
                    <a:pt x="592" y="1282"/>
                    <a:pt x="630" y="1303"/>
                    <a:pt x="662" y="1288"/>
                  </a:cubicBezTo>
                  <a:cubicBezTo>
                    <a:pt x="753" y="1245"/>
                    <a:pt x="854" y="1156"/>
                    <a:pt x="938" y="1051"/>
                  </a:cubicBezTo>
                  <a:cubicBezTo>
                    <a:pt x="1020" y="948"/>
                    <a:pt x="1084" y="831"/>
                    <a:pt x="1106" y="731"/>
                  </a:cubicBezTo>
                  <a:cubicBezTo>
                    <a:pt x="1113" y="696"/>
                    <a:pt x="1089" y="661"/>
                    <a:pt x="1059" y="645"/>
                  </a:cubicBezTo>
                  <a:cubicBezTo>
                    <a:pt x="1001" y="613"/>
                    <a:pt x="1001" y="613"/>
                    <a:pt x="1001" y="613"/>
                  </a:cubicBezTo>
                  <a:cubicBezTo>
                    <a:pt x="942" y="580"/>
                    <a:pt x="888" y="499"/>
                    <a:pt x="924" y="432"/>
                  </a:cubicBezTo>
                  <a:cubicBezTo>
                    <a:pt x="1114" y="81"/>
                    <a:pt x="1114" y="81"/>
                    <a:pt x="1114" y="81"/>
                  </a:cubicBezTo>
                  <a:cubicBezTo>
                    <a:pt x="1150" y="16"/>
                    <a:pt x="1224" y="0"/>
                    <a:pt x="1287" y="35"/>
                  </a:cubicBezTo>
                  <a:cubicBezTo>
                    <a:pt x="1350" y="69"/>
                    <a:pt x="1350" y="69"/>
                    <a:pt x="1350" y="69"/>
                  </a:cubicBezTo>
                  <a:cubicBezTo>
                    <a:pt x="1415" y="105"/>
                    <a:pt x="1479" y="165"/>
                    <a:pt x="1527" y="235"/>
                  </a:cubicBezTo>
                  <a:cubicBezTo>
                    <a:pt x="1593" y="332"/>
                    <a:pt x="1624" y="442"/>
                    <a:pt x="1583" y="555"/>
                  </a:cubicBezTo>
                  <a:cubicBezTo>
                    <a:pt x="1500" y="781"/>
                    <a:pt x="1351" y="1030"/>
                    <a:pt x="1172" y="1253"/>
                  </a:cubicBezTo>
                  <a:cubicBezTo>
                    <a:pt x="994" y="1477"/>
                    <a:pt x="786" y="1676"/>
                    <a:pt x="586" y="1803"/>
                  </a:cubicBezTo>
                  <a:cubicBezTo>
                    <a:pt x="486" y="1867"/>
                    <a:pt x="375" y="1856"/>
                    <a:pt x="269" y="1807"/>
                  </a:cubicBezTo>
                  <a:cubicBezTo>
                    <a:pt x="157" y="1755"/>
                    <a:pt x="106" y="1695"/>
                    <a:pt x="33" y="1602"/>
                  </a:cubicBezTo>
                  <a:cubicBezTo>
                    <a:pt x="11" y="1573"/>
                    <a:pt x="0" y="1540"/>
                    <a:pt x="2" y="1508"/>
                  </a:cubicBezTo>
                  <a:cubicBezTo>
                    <a:pt x="4" y="1475"/>
                    <a:pt x="18" y="1444"/>
                    <a:pt x="45" y="1421"/>
                  </a:cubicBezTo>
                  <a:cubicBezTo>
                    <a:pt x="70" y="1399"/>
                    <a:pt x="346" y="1158"/>
                    <a:pt x="346" y="1158"/>
                  </a:cubicBezTo>
                  <a:cubicBezTo>
                    <a:pt x="376" y="1134"/>
                    <a:pt x="413" y="1133"/>
                    <a:pt x="448" y="1145"/>
                  </a:cubicBezTo>
                  <a:cubicBezTo>
                    <a:pt x="510" y="1166"/>
                    <a:pt x="536" y="1210"/>
                    <a:pt x="573" y="1257"/>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351"/>
            </a:p>
          </p:txBody>
        </p:sp>
      </p:grpSp>
      <p:grpSp>
        <p:nvGrpSpPr>
          <p:cNvPr id="17" name="Group 3">
            <a:extLst>
              <a:ext uri="{FF2B5EF4-FFF2-40B4-BE49-F238E27FC236}">
                <a16:creationId xmlns:a16="http://schemas.microsoft.com/office/drawing/2014/main" id="{7104BADD-8CD1-6F4A-B894-869C3BDB3EEB}"/>
              </a:ext>
            </a:extLst>
          </p:cNvPr>
          <p:cNvGrpSpPr>
            <a:grpSpLocks noChangeAspect="1"/>
          </p:cNvGrpSpPr>
          <p:nvPr>
            <p:custDataLst>
              <p:tags r:id="rId2"/>
            </p:custDataLst>
          </p:nvPr>
        </p:nvGrpSpPr>
        <p:grpSpPr>
          <a:xfrm>
            <a:off x="8701918" y="3153207"/>
            <a:ext cx="171180" cy="171180"/>
            <a:chOff x="328396" y="5313940"/>
            <a:chExt cx="720000" cy="720000"/>
          </a:xfrm>
        </p:grpSpPr>
        <p:sp>
          <p:nvSpPr>
            <p:cNvPr id="18" name="Rectangle 4">
              <a:extLst>
                <a:ext uri="{FF2B5EF4-FFF2-40B4-BE49-F238E27FC236}">
                  <a16:creationId xmlns:a16="http://schemas.microsoft.com/office/drawing/2014/main" id="{74BE3D5F-1445-6E40-8B49-72E15568383B}"/>
                </a:ext>
              </a:extLst>
            </p:cNvPr>
            <p:cNvSpPr/>
            <p:nvPr/>
          </p:nvSpPr>
          <p:spPr bwMode="gray">
            <a:xfrm>
              <a:off x="328396" y="5313940"/>
              <a:ext cx="720000" cy="720000"/>
            </a:xfrm>
            <a:prstGeom prst="rect">
              <a:avLst/>
            </a:prstGeom>
            <a:solidFill>
              <a:srgbClr val="E55A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pPr>
              <a:endParaRPr lang="en-US" sz="1000">
                <a:solidFill>
                  <a:schemeClr val="tx1"/>
                </a:solidFill>
                <a:latin typeface="Arial" pitchFamily="34" charset="0"/>
                <a:cs typeface="Arial" pitchFamily="34" charset="0"/>
              </a:endParaRPr>
            </a:p>
          </p:txBody>
        </p:sp>
        <p:sp>
          <p:nvSpPr>
            <p:cNvPr id="19" name="Freeform 76">
              <a:extLst>
                <a:ext uri="{FF2B5EF4-FFF2-40B4-BE49-F238E27FC236}">
                  <a16:creationId xmlns:a16="http://schemas.microsoft.com/office/drawing/2014/main" id="{55DB3C95-7D0C-D141-901E-96D692794D2B}"/>
                </a:ext>
              </a:extLst>
            </p:cNvPr>
            <p:cNvSpPr>
              <a:spLocks noChangeAspect="1" noEditPoints="1"/>
            </p:cNvSpPr>
            <p:nvPr/>
          </p:nvSpPr>
          <p:spPr bwMode="auto">
            <a:xfrm>
              <a:off x="456202" y="5509222"/>
              <a:ext cx="504000" cy="329436"/>
            </a:xfrm>
            <a:custGeom>
              <a:avLst/>
              <a:gdLst>
                <a:gd name="T0" fmla="*/ 0 w 2080"/>
                <a:gd name="T1" fmla="*/ 65 h 1360"/>
                <a:gd name="T2" fmla="*/ 0 w 2080"/>
                <a:gd name="T3" fmla="*/ 0 h 1360"/>
                <a:gd name="T4" fmla="*/ 2080 w 2080"/>
                <a:gd name="T5" fmla="*/ 0 h 1360"/>
                <a:gd name="T6" fmla="*/ 2080 w 2080"/>
                <a:gd name="T7" fmla="*/ 65 h 1360"/>
                <a:gd name="T8" fmla="*/ 1089 w 2080"/>
                <a:gd name="T9" fmla="*/ 862 h 1360"/>
                <a:gd name="T10" fmla="*/ 991 w 2080"/>
                <a:gd name="T11" fmla="*/ 862 h 1360"/>
                <a:gd name="T12" fmla="*/ 0 w 2080"/>
                <a:gd name="T13" fmla="*/ 65 h 1360"/>
                <a:gd name="T14" fmla="*/ 1139 w 2080"/>
                <a:gd name="T15" fmla="*/ 924 h 1360"/>
                <a:gd name="T16" fmla="*/ 1282 w 2080"/>
                <a:gd name="T17" fmla="*/ 810 h 1360"/>
                <a:gd name="T18" fmla="*/ 2076 w 2080"/>
                <a:gd name="T19" fmla="*/ 1360 h 1360"/>
                <a:gd name="T20" fmla="*/ 4 w 2080"/>
                <a:gd name="T21" fmla="*/ 1360 h 1360"/>
                <a:gd name="T22" fmla="*/ 798 w 2080"/>
                <a:gd name="T23" fmla="*/ 810 h 1360"/>
                <a:gd name="T24" fmla="*/ 941 w 2080"/>
                <a:gd name="T25" fmla="*/ 924 h 1360"/>
                <a:gd name="T26" fmla="*/ 1139 w 2080"/>
                <a:gd name="T27" fmla="*/ 924 h 1360"/>
                <a:gd name="T28" fmla="*/ 2 w 2080"/>
                <a:gd name="T29" fmla="*/ 137 h 1360"/>
                <a:gd name="T30" fmla="*/ 42 w 2080"/>
                <a:gd name="T31" fmla="*/ 201 h 1360"/>
                <a:gd name="T32" fmla="*/ 734 w 2080"/>
                <a:gd name="T33" fmla="*/ 758 h 1360"/>
                <a:gd name="T34" fmla="*/ 0 w 2080"/>
                <a:gd name="T35" fmla="*/ 1266 h 1360"/>
                <a:gd name="T36" fmla="*/ 0 w 2080"/>
                <a:gd name="T37" fmla="*/ 135 h 1360"/>
                <a:gd name="T38" fmla="*/ 2 w 2080"/>
                <a:gd name="T39" fmla="*/ 137 h 1360"/>
                <a:gd name="T40" fmla="*/ 2080 w 2080"/>
                <a:gd name="T41" fmla="*/ 136 h 1360"/>
                <a:gd name="T42" fmla="*/ 2080 w 2080"/>
                <a:gd name="T43" fmla="*/ 1265 h 1360"/>
                <a:gd name="T44" fmla="*/ 1346 w 2080"/>
                <a:gd name="T45" fmla="*/ 758 h 1360"/>
                <a:gd name="T46" fmla="*/ 2038 w 2080"/>
                <a:gd name="T47" fmla="*/ 201 h 1360"/>
                <a:gd name="T48" fmla="*/ 2080 w 2080"/>
                <a:gd name="T49" fmla="*/ 136 h 1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080" h="1360">
                  <a:moveTo>
                    <a:pt x="0" y="65"/>
                  </a:moveTo>
                  <a:cubicBezTo>
                    <a:pt x="0" y="0"/>
                    <a:pt x="0" y="0"/>
                    <a:pt x="0" y="0"/>
                  </a:cubicBezTo>
                  <a:cubicBezTo>
                    <a:pt x="2080" y="0"/>
                    <a:pt x="2080" y="0"/>
                    <a:pt x="2080" y="0"/>
                  </a:cubicBezTo>
                  <a:cubicBezTo>
                    <a:pt x="2080" y="65"/>
                    <a:pt x="2080" y="65"/>
                    <a:pt x="2080" y="65"/>
                  </a:cubicBezTo>
                  <a:cubicBezTo>
                    <a:pt x="1089" y="862"/>
                    <a:pt x="1089" y="862"/>
                    <a:pt x="1089" y="862"/>
                  </a:cubicBezTo>
                  <a:cubicBezTo>
                    <a:pt x="1060" y="886"/>
                    <a:pt x="1020" y="886"/>
                    <a:pt x="991" y="862"/>
                  </a:cubicBezTo>
                  <a:lnTo>
                    <a:pt x="0" y="65"/>
                  </a:lnTo>
                  <a:close/>
                  <a:moveTo>
                    <a:pt x="1139" y="924"/>
                  </a:moveTo>
                  <a:cubicBezTo>
                    <a:pt x="1282" y="810"/>
                    <a:pt x="1282" y="810"/>
                    <a:pt x="1282" y="810"/>
                  </a:cubicBezTo>
                  <a:cubicBezTo>
                    <a:pt x="2076" y="1360"/>
                    <a:pt x="2076" y="1360"/>
                    <a:pt x="2076" y="1360"/>
                  </a:cubicBezTo>
                  <a:cubicBezTo>
                    <a:pt x="4" y="1360"/>
                    <a:pt x="4" y="1360"/>
                    <a:pt x="4" y="1360"/>
                  </a:cubicBezTo>
                  <a:cubicBezTo>
                    <a:pt x="798" y="810"/>
                    <a:pt x="798" y="810"/>
                    <a:pt x="798" y="810"/>
                  </a:cubicBezTo>
                  <a:cubicBezTo>
                    <a:pt x="941" y="924"/>
                    <a:pt x="941" y="924"/>
                    <a:pt x="941" y="924"/>
                  </a:cubicBezTo>
                  <a:cubicBezTo>
                    <a:pt x="1000" y="972"/>
                    <a:pt x="1080" y="972"/>
                    <a:pt x="1139" y="924"/>
                  </a:cubicBezTo>
                  <a:close/>
                  <a:moveTo>
                    <a:pt x="2" y="137"/>
                  </a:moveTo>
                  <a:cubicBezTo>
                    <a:pt x="8" y="163"/>
                    <a:pt x="22" y="185"/>
                    <a:pt x="42" y="201"/>
                  </a:cubicBezTo>
                  <a:cubicBezTo>
                    <a:pt x="734" y="758"/>
                    <a:pt x="734" y="758"/>
                    <a:pt x="734" y="758"/>
                  </a:cubicBezTo>
                  <a:cubicBezTo>
                    <a:pt x="0" y="1266"/>
                    <a:pt x="0" y="1266"/>
                    <a:pt x="0" y="1266"/>
                  </a:cubicBezTo>
                  <a:cubicBezTo>
                    <a:pt x="0" y="135"/>
                    <a:pt x="0" y="135"/>
                    <a:pt x="0" y="135"/>
                  </a:cubicBezTo>
                  <a:lnTo>
                    <a:pt x="2" y="137"/>
                  </a:lnTo>
                  <a:close/>
                  <a:moveTo>
                    <a:pt x="2080" y="136"/>
                  </a:moveTo>
                  <a:cubicBezTo>
                    <a:pt x="2080" y="1265"/>
                    <a:pt x="2080" y="1265"/>
                    <a:pt x="2080" y="1265"/>
                  </a:cubicBezTo>
                  <a:cubicBezTo>
                    <a:pt x="1346" y="758"/>
                    <a:pt x="1346" y="758"/>
                    <a:pt x="1346" y="758"/>
                  </a:cubicBezTo>
                  <a:cubicBezTo>
                    <a:pt x="2038" y="201"/>
                    <a:pt x="2038" y="201"/>
                    <a:pt x="2038" y="201"/>
                  </a:cubicBezTo>
                  <a:cubicBezTo>
                    <a:pt x="2060" y="182"/>
                    <a:pt x="2072" y="162"/>
                    <a:pt x="2080" y="13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000"/>
            </a:p>
          </p:txBody>
        </p:sp>
      </p:grpSp>
      <p:cxnSp>
        <p:nvCxnSpPr>
          <p:cNvPr id="20" name="Straight Connector 19"/>
          <p:cNvCxnSpPr/>
          <p:nvPr/>
        </p:nvCxnSpPr>
        <p:spPr>
          <a:xfrm>
            <a:off x="2371725" y="3478213"/>
            <a:ext cx="3888000" cy="0"/>
          </a:xfrm>
          <a:prstGeom prst="line">
            <a:avLst/>
          </a:prstGeom>
          <a:ln w="6350">
            <a:solidFill>
              <a:schemeClr val="tx2"/>
            </a:solidFill>
            <a:prstDash val="dash"/>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p:nvCxnSpPr>
        <p:spPr>
          <a:xfrm>
            <a:off x="7287766" y="3478213"/>
            <a:ext cx="3888000" cy="0"/>
          </a:xfrm>
          <a:prstGeom prst="line">
            <a:avLst/>
          </a:prstGeom>
          <a:ln w="6350">
            <a:solidFill>
              <a:schemeClr val="tx2"/>
            </a:solidFill>
            <a:prstDash val="dash"/>
          </a:ln>
        </p:spPr>
        <p:style>
          <a:lnRef idx="1">
            <a:schemeClr val="accent1"/>
          </a:lnRef>
          <a:fillRef idx="0">
            <a:schemeClr val="accent1"/>
          </a:fillRef>
          <a:effectRef idx="0">
            <a:schemeClr val="accent1"/>
          </a:effectRef>
          <a:fontRef idx="minor">
            <a:schemeClr val="tx1"/>
          </a:fontRef>
        </p:style>
      </p:cxnSp>
      <p:sp>
        <p:nvSpPr>
          <p:cNvPr id="4" name="Picture Placeholder 3"/>
          <p:cNvSpPr>
            <a:spLocks noGrp="1"/>
          </p:cNvSpPr>
          <p:nvPr>
            <p:ph type="pic" sz="quarter" idx="17" hasCustomPrompt="1"/>
          </p:nvPr>
        </p:nvSpPr>
        <p:spPr>
          <a:xfrm>
            <a:off x="2355914" y="1808984"/>
            <a:ext cx="1188677" cy="1547840"/>
          </a:xfrm>
          <a:solidFill>
            <a:srgbClr val="D9DADB"/>
          </a:solidFill>
        </p:spPr>
        <p:txBody>
          <a:bodyPr/>
          <a:lstStyle>
            <a:lvl1pPr marL="0" indent="0">
              <a:buNone/>
              <a:defRPr sz="1400"/>
            </a:lvl1pPr>
          </a:lstStyle>
          <a:p>
            <a:r>
              <a:rPr lang="en-US"/>
              <a:t>Insert picture</a:t>
            </a:r>
          </a:p>
        </p:txBody>
      </p:sp>
      <p:sp>
        <p:nvSpPr>
          <p:cNvPr id="25" name="Picture Placeholder 3"/>
          <p:cNvSpPr>
            <a:spLocks noGrp="1"/>
          </p:cNvSpPr>
          <p:nvPr>
            <p:ph type="pic" sz="quarter" idx="18" hasCustomPrompt="1"/>
          </p:nvPr>
        </p:nvSpPr>
        <p:spPr>
          <a:xfrm>
            <a:off x="7287766" y="1808984"/>
            <a:ext cx="1188677" cy="1547840"/>
          </a:xfrm>
          <a:solidFill>
            <a:srgbClr val="D9DADB"/>
          </a:solidFill>
        </p:spPr>
        <p:txBody>
          <a:bodyPr/>
          <a:lstStyle>
            <a:lvl1pPr marL="0" indent="0">
              <a:buNone/>
              <a:defRPr sz="1400"/>
            </a:lvl1pPr>
          </a:lstStyle>
          <a:p>
            <a:r>
              <a:rPr lang="en-US"/>
              <a:t>Insert picture</a:t>
            </a:r>
          </a:p>
        </p:txBody>
      </p:sp>
      <p:sp>
        <p:nvSpPr>
          <p:cNvPr id="6" name="Text Placeholder 5"/>
          <p:cNvSpPr>
            <a:spLocks noGrp="1"/>
          </p:cNvSpPr>
          <p:nvPr>
            <p:ph type="body" sz="quarter" idx="19" hasCustomPrompt="1"/>
          </p:nvPr>
        </p:nvSpPr>
        <p:spPr>
          <a:xfrm>
            <a:off x="3770065" y="1808521"/>
            <a:ext cx="2463190" cy="192360"/>
          </a:xfrm>
        </p:spPr>
        <p:txBody>
          <a:bodyPr lIns="0" tIns="0" rIns="0" bIns="0" anchor="ctr" anchorCtr="0"/>
          <a:lstStyle>
            <a:lvl1pPr marL="0" indent="0" algn="l">
              <a:lnSpc>
                <a:spcPct val="100000"/>
              </a:lnSpc>
              <a:buNone/>
              <a:defRPr sz="100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Country</a:t>
            </a:r>
          </a:p>
        </p:txBody>
      </p:sp>
      <p:sp>
        <p:nvSpPr>
          <p:cNvPr id="26" name="Text Placeholder 5"/>
          <p:cNvSpPr>
            <a:spLocks noGrp="1"/>
          </p:cNvSpPr>
          <p:nvPr>
            <p:ph type="body" sz="quarter" idx="20" hasCustomPrompt="1"/>
          </p:nvPr>
        </p:nvSpPr>
        <p:spPr>
          <a:xfrm>
            <a:off x="3770065" y="2020337"/>
            <a:ext cx="2463190" cy="266182"/>
          </a:xfrm>
        </p:spPr>
        <p:txBody>
          <a:bodyPr lIns="0" tIns="0" rIns="0" bIns="0" anchor="b" anchorCtr="0"/>
          <a:lstStyle>
            <a:lvl1pPr marL="0" indent="0" algn="l">
              <a:lnSpc>
                <a:spcPct val="100000"/>
              </a:lnSpc>
              <a:buNone/>
              <a:defRPr sz="1400" b="1" baseline="0">
                <a:solidFill>
                  <a:schemeClr val="tx2"/>
                </a:solidFill>
              </a:defRPr>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Name, Surname</a:t>
            </a:r>
          </a:p>
        </p:txBody>
      </p:sp>
      <p:sp>
        <p:nvSpPr>
          <p:cNvPr id="27" name="Text Placeholder 5"/>
          <p:cNvSpPr>
            <a:spLocks noGrp="1"/>
          </p:cNvSpPr>
          <p:nvPr>
            <p:ph type="body" sz="quarter" idx="21" hasCustomPrompt="1"/>
          </p:nvPr>
        </p:nvSpPr>
        <p:spPr>
          <a:xfrm>
            <a:off x="3770065" y="2316912"/>
            <a:ext cx="2463190"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Job Position</a:t>
            </a:r>
          </a:p>
        </p:txBody>
      </p:sp>
      <p:sp>
        <p:nvSpPr>
          <p:cNvPr id="28" name="Text Placeholder 5"/>
          <p:cNvSpPr>
            <a:spLocks noGrp="1"/>
          </p:cNvSpPr>
          <p:nvPr>
            <p:ph type="body" sz="quarter" idx="22" hasCustomPrompt="1"/>
          </p:nvPr>
        </p:nvSpPr>
        <p:spPr>
          <a:xfrm>
            <a:off x="4014948" y="2845588"/>
            <a:ext cx="2218307"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Phone number</a:t>
            </a:r>
          </a:p>
        </p:txBody>
      </p:sp>
      <p:sp>
        <p:nvSpPr>
          <p:cNvPr id="29" name="Text Placeholder 5"/>
          <p:cNvSpPr>
            <a:spLocks noGrp="1"/>
          </p:cNvSpPr>
          <p:nvPr>
            <p:ph type="body" sz="quarter" idx="23" hasCustomPrompt="1"/>
          </p:nvPr>
        </p:nvSpPr>
        <p:spPr>
          <a:xfrm>
            <a:off x="4014948" y="3128395"/>
            <a:ext cx="2218307"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Email address</a:t>
            </a:r>
          </a:p>
        </p:txBody>
      </p:sp>
      <p:sp>
        <p:nvSpPr>
          <p:cNvPr id="30" name="Text Placeholder 5"/>
          <p:cNvSpPr>
            <a:spLocks noGrp="1"/>
          </p:cNvSpPr>
          <p:nvPr>
            <p:ph type="body" sz="quarter" idx="24" hasCustomPrompt="1"/>
          </p:nvPr>
        </p:nvSpPr>
        <p:spPr>
          <a:xfrm>
            <a:off x="8701917" y="1808521"/>
            <a:ext cx="2463190" cy="192360"/>
          </a:xfrm>
        </p:spPr>
        <p:txBody>
          <a:bodyPr lIns="0" tIns="0" rIns="0" bIns="0" anchor="ctr" anchorCtr="0"/>
          <a:lstStyle>
            <a:lvl1pPr marL="0" indent="0" algn="l">
              <a:lnSpc>
                <a:spcPct val="100000"/>
              </a:lnSpc>
              <a:buNone/>
              <a:defRPr sz="100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Country</a:t>
            </a:r>
          </a:p>
        </p:txBody>
      </p:sp>
      <p:sp>
        <p:nvSpPr>
          <p:cNvPr id="31" name="Text Placeholder 5"/>
          <p:cNvSpPr>
            <a:spLocks noGrp="1"/>
          </p:cNvSpPr>
          <p:nvPr>
            <p:ph type="body" sz="quarter" idx="25" hasCustomPrompt="1"/>
          </p:nvPr>
        </p:nvSpPr>
        <p:spPr>
          <a:xfrm>
            <a:off x="8701917" y="2020337"/>
            <a:ext cx="2463190" cy="266182"/>
          </a:xfrm>
        </p:spPr>
        <p:txBody>
          <a:bodyPr lIns="0" tIns="0" rIns="0" bIns="0" anchor="b" anchorCtr="0"/>
          <a:lstStyle>
            <a:lvl1pPr marL="0" indent="0" algn="l">
              <a:lnSpc>
                <a:spcPct val="100000"/>
              </a:lnSpc>
              <a:buNone/>
              <a:defRPr sz="1400" b="1" baseline="0">
                <a:solidFill>
                  <a:schemeClr val="tx2"/>
                </a:solidFill>
              </a:defRPr>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Name, Surname</a:t>
            </a:r>
          </a:p>
        </p:txBody>
      </p:sp>
      <p:sp>
        <p:nvSpPr>
          <p:cNvPr id="32" name="Text Placeholder 5"/>
          <p:cNvSpPr>
            <a:spLocks noGrp="1"/>
          </p:cNvSpPr>
          <p:nvPr>
            <p:ph type="body" sz="quarter" idx="26" hasCustomPrompt="1"/>
          </p:nvPr>
        </p:nvSpPr>
        <p:spPr>
          <a:xfrm>
            <a:off x="8701917" y="2316912"/>
            <a:ext cx="2463190"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Job Position</a:t>
            </a:r>
          </a:p>
        </p:txBody>
      </p:sp>
      <p:sp>
        <p:nvSpPr>
          <p:cNvPr id="33" name="Text Placeholder 5"/>
          <p:cNvSpPr>
            <a:spLocks noGrp="1"/>
          </p:cNvSpPr>
          <p:nvPr>
            <p:ph type="body" sz="quarter" idx="27" hasCustomPrompt="1"/>
          </p:nvPr>
        </p:nvSpPr>
        <p:spPr>
          <a:xfrm>
            <a:off x="8946800" y="2845588"/>
            <a:ext cx="2218307"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Phone number</a:t>
            </a:r>
          </a:p>
        </p:txBody>
      </p:sp>
      <p:sp>
        <p:nvSpPr>
          <p:cNvPr id="34" name="Text Placeholder 5"/>
          <p:cNvSpPr>
            <a:spLocks noGrp="1"/>
          </p:cNvSpPr>
          <p:nvPr>
            <p:ph type="body" sz="quarter" idx="28" hasCustomPrompt="1"/>
          </p:nvPr>
        </p:nvSpPr>
        <p:spPr>
          <a:xfrm>
            <a:off x="8946800" y="3128395"/>
            <a:ext cx="2218307"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Email address</a:t>
            </a:r>
          </a:p>
        </p:txBody>
      </p:sp>
      <p:grpSp>
        <p:nvGrpSpPr>
          <p:cNvPr id="35" name="Gruppieren 2">
            <a:extLst>
              <a:ext uri="{FF2B5EF4-FFF2-40B4-BE49-F238E27FC236}">
                <a16:creationId xmlns:a16="http://schemas.microsoft.com/office/drawing/2014/main" id="{BE697CE9-EBDE-6B4A-BE70-582D92A8A831}"/>
              </a:ext>
            </a:extLst>
          </p:cNvPr>
          <p:cNvGrpSpPr/>
          <p:nvPr/>
        </p:nvGrpSpPr>
        <p:grpSpPr>
          <a:xfrm>
            <a:off x="3770065" y="5045939"/>
            <a:ext cx="171180" cy="171180"/>
            <a:chOff x="3392092" y="1841122"/>
            <a:chExt cx="646508" cy="646508"/>
          </a:xfrm>
        </p:grpSpPr>
        <p:sp>
          <p:nvSpPr>
            <p:cNvPr id="36" name="Rechteck 14">
              <a:extLst>
                <a:ext uri="{FF2B5EF4-FFF2-40B4-BE49-F238E27FC236}">
                  <a16:creationId xmlns:a16="http://schemas.microsoft.com/office/drawing/2014/main" id="{E142A731-19B7-C34D-9534-9E05108F895F}"/>
                </a:ext>
              </a:extLst>
            </p:cNvPr>
            <p:cNvSpPr>
              <a:spLocks noChangeAspect="1"/>
            </p:cNvSpPr>
            <p:nvPr/>
          </p:nvSpPr>
          <p:spPr bwMode="gray">
            <a:xfrm>
              <a:off x="3392092" y="1841122"/>
              <a:ext cx="646508" cy="646508"/>
            </a:xfrm>
            <a:prstGeom prst="rect">
              <a:avLst/>
            </a:prstGeom>
            <a:solidFill>
              <a:srgbClr val="E55A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pPr>
              <a:endParaRPr lang="en-US" sz="1000">
                <a:solidFill>
                  <a:schemeClr val="tx1"/>
                </a:solidFill>
                <a:latin typeface="Arial" pitchFamily="34" charset="0"/>
                <a:cs typeface="Arial" pitchFamily="34" charset="0"/>
              </a:endParaRPr>
            </a:p>
          </p:txBody>
        </p:sp>
        <p:sp>
          <p:nvSpPr>
            <p:cNvPr id="37" name="Freeform 36">
              <a:extLst>
                <a:ext uri="{FF2B5EF4-FFF2-40B4-BE49-F238E27FC236}">
                  <a16:creationId xmlns:a16="http://schemas.microsoft.com/office/drawing/2014/main" id="{F97E84AE-4AD9-4B44-9AA1-F797FC373809}"/>
                </a:ext>
              </a:extLst>
            </p:cNvPr>
            <p:cNvSpPr>
              <a:spLocks noChangeAspect="1"/>
            </p:cNvSpPr>
            <p:nvPr/>
          </p:nvSpPr>
          <p:spPr bwMode="auto">
            <a:xfrm>
              <a:off x="3546638" y="1970424"/>
              <a:ext cx="337415" cy="387905"/>
            </a:xfrm>
            <a:custGeom>
              <a:avLst/>
              <a:gdLst>
                <a:gd name="T0" fmla="*/ 573 w 1624"/>
                <a:gd name="T1" fmla="*/ 1257 h 1867"/>
                <a:gd name="T2" fmla="*/ 662 w 1624"/>
                <a:gd name="T3" fmla="*/ 1288 h 1867"/>
                <a:gd name="T4" fmla="*/ 938 w 1624"/>
                <a:gd name="T5" fmla="*/ 1051 h 1867"/>
                <a:gd name="T6" fmla="*/ 1106 w 1624"/>
                <a:gd name="T7" fmla="*/ 731 h 1867"/>
                <a:gd name="T8" fmla="*/ 1059 w 1624"/>
                <a:gd name="T9" fmla="*/ 645 h 1867"/>
                <a:gd name="T10" fmla="*/ 1001 w 1624"/>
                <a:gd name="T11" fmla="*/ 613 h 1867"/>
                <a:gd name="T12" fmla="*/ 924 w 1624"/>
                <a:gd name="T13" fmla="*/ 432 h 1867"/>
                <a:gd name="T14" fmla="*/ 1114 w 1624"/>
                <a:gd name="T15" fmla="*/ 81 h 1867"/>
                <a:gd name="T16" fmla="*/ 1287 w 1624"/>
                <a:gd name="T17" fmla="*/ 35 h 1867"/>
                <a:gd name="T18" fmla="*/ 1350 w 1624"/>
                <a:gd name="T19" fmla="*/ 69 h 1867"/>
                <a:gd name="T20" fmla="*/ 1527 w 1624"/>
                <a:gd name="T21" fmla="*/ 235 h 1867"/>
                <a:gd name="T22" fmla="*/ 1583 w 1624"/>
                <a:gd name="T23" fmla="*/ 555 h 1867"/>
                <a:gd name="T24" fmla="*/ 1172 w 1624"/>
                <a:gd name="T25" fmla="*/ 1253 h 1867"/>
                <a:gd name="T26" fmla="*/ 586 w 1624"/>
                <a:gd name="T27" fmla="*/ 1803 h 1867"/>
                <a:gd name="T28" fmla="*/ 269 w 1624"/>
                <a:gd name="T29" fmla="*/ 1807 h 1867"/>
                <a:gd name="T30" fmla="*/ 33 w 1624"/>
                <a:gd name="T31" fmla="*/ 1602 h 1867"/>
                <a:gd name="T32" fmla="*/ 2 w 1624"/>
                <a:gd name="T33" fmla="*/ 1508 h 1867"/>
                <a:gd name="T34" fmla="*/ 45 w 1624"/>
                <a:gd name="T35" fmla="*/ 1421 h 1867"/>
                <a:gd name="T36" fmla="*/ 346 w 1624"/>
                <a:gd name="T37" fmla="*/ 1158 h 1867"/>
                <a:gd name="T38" fmla="*/ 448 w 1624"/>
                <a:gd name="T39" fmla="*/ 1145 h 1867"/>
                <a:gd name="T40" fmla="*/ 573 w 1624"/>
                <a:gd name="T41" fmla="*/ 1257 h 18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24" h="1867">
                  <a:moveTo>
                    <a:pt x="573" y="1257"/>
                  </a:moveTo>
                  <a:cubicBezTo>
                    <a:pt x="592" y="1282"/>
                    <a:pt x="630" y="1303"/>
                    <a:pt x="662" y="1288"/>
                  </a:cubicBezTo>
                  <a:cubicBezTo>
                    <a:pt x="753" y="1245"/>
                    <a:pt x="854" y="1156"/>
                    <a:pt x="938" y="1051"/>
                  </a:cubicBezTo>
                  <a:cubicBezTo>
                    <a:pt x="1020" y="948"/>
                    <a:pt x="1084" y="831"/>
                    <a:pt x="1106" y="731"/>
                  </a:cubicBezTo>
                  <a:cubicBezTo>
                    <a:pt x="1113" y="696"/>
                    <a:pt x="1089" y="661"/>
                    <a:pt x="1059" y="645"/>
                  </a:cubicBezTo>
                  <a:cubicBezTo>
                    <a:pt x="1001" y="613"/>
                    <a:pt x="1001" y="613"/>
                    <a:pt x="1001" y="613"/>
                  </a:cubicBezTo>
                  <a:cubicBezTo>
                    <a:pt x="942" y="580"/>
                    <a:pt x="888" y="499"/>
                    <a:pt x="924" y="432"/>
                  </a:cubicBezTo>
                  <a:cubicBezTo>
                    <a:pt x="1114" y="81"/>
                    <a:pt x="1114" y="81"/>
                    <a:pt x="1114" y="81"/>
                  </a:cubicBezTo>
                  <a:cubicBezTo>
                    <a:pt x="1150" y="16"/>
                    <a:pt x="1224" y="0"/>
                    <a:pt x="1287" y="35"/>
                  </a:cubicBezTo>
                  <a:cubicBezTo>
                    <a:pt x="1350" y="69"/>
                    <a:pt x="1350" y="69"/>
                    <a:pt x="1350" y="69"/>
                  </a:cubicBezTo>
                  <a:cubicBezTo>
                    <a:pt x="1415" y="105"/>
                    <a:pt x="1479" y="165"/>
                    <a:pt x="1527" y="235"/>
                  </a:cubicBezTo>
                  <a:cubicBezTo>
                    <a:pt x="1593" y="332"/>
                    <a:pt x="1624" y="442"/>
                    <a:pt x="1583" y="555"/>
                  </a:cubicBezTo>
                  <a:cubicBezTo>
                    <a:pt x="1500" y="781"/>
                    <a:pt x="1351" y="1030"/>
                    <a:pt x="1172" y="1253"/>
                  </a:cubicBezTo>
                  <a:cubicBezTo>
                    <a:pt x="994" y="1477"/>
                    <a:pt x="786" y="1676"/>
                    <a:pt x="586" y="1803"/>
                  </a:cubicBezTo>
                  <a:cubicBezTo>
                    <a:pt x="486" y="1867"/>
                    <a:pt x="375" y="1856"/>
                    <a:pt x="269" y="1807"/>
                  </a:cubicBezTo>
                  <a:cubicBezTo>
                    <a:pt x="157" y="1755"/>
                    <a:pt x="106" y="1695"/>
                    <a:pt x="33" y="1602"/>
                  </a:cubicBezTo>
                  <a:cubicBezTo>
                    <a:pt x="11" y="1573"/>
                    <a:pt x="0" y="1540"/>
                    <a:pt x="2" y="1508"/>
                  </a:cubicBezTo>
                  <a:cubicBezTo>
                    <a:pt x="4" y="1475"/>
                    <a:pt x="18" y="1444"/>
                    <a:pt x="45" y="1421"/>
                  </a:cubicBezTo>
                  <a:cubicBezTo>
                    <a:pt x="70" y="1399"/>
                    <a:pt x="346" y="1158"/>
                    <a:pt x="346" y="1158"/>
                  </a:cubicBezTo>
                  <a:cubicBezTo>
                    <a:pt x="376" y="1134"/>
                    <a:pt x="413" y="1133"/>
                    <a:pt x="448" y="1145"/>
                  </a:cubicBezTo>
                  <a:cubicBezTo>
                    <a:pt x="510" y="1166"/>
                    <a:pt x="536" y="1210"/>
                    <a:pt x="573" y="1257"/>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351"/>
            </a:p>
          </p:txBody>
        </p:sp>
      </p:grpSp>
      <p:grpSp>
        <p:nvGrpSpPr>
          <p:cNvPr id="38" name="Group 3">
            <a:extLst>
              <a:ext uri="{FF2B5EF4-FFF2-40B4-BE49-F238E27FC236}">
                <a16:creationId xmlns:a16="http://schemas.microsoft.com/office/drawing/2014/main" id="{7104BADD-8CD1-6F4A-B894-869C3BDB3EEB}"/>
              </a:ext>
            </a:extLst>
          </p:cNvPr>
          <p:cNvGrpSpPr>
            <a:grpSpLocks noChangeAspect="1"/>
          </p:cNvGrpSpPr>
          <p:nvPr>
            <p:custDataLst>
              <p:tags r:id="rId3"/>
            </p:custDataLst>
          </p:nvPr>
        </p:nvGrpSpPr>
        <p:grpSpPr>
          <a:xfrm>
            <a:off x="3770066" y="5330827"/>
            <a:ext cx="171180" cy="171180"/>
            <a:chOff x="328396" y="5313940"/>
            <a:chExt cx="720000" cy="720000"/>
          </a:xfrm>
        </p:grpSpPr>
        <p:sp>
          <p:nvSpPr>
            <p:cNvPr id="39" name="Rectangle 4">
              <a:extLst>
                <a:ext uri="{FF2B5EF4-FFF2-40B4-BE49-F238E27FC236}">
                  <a16:creationId xmlns:a16="http://schemas.microsoft.com/office/drawing/2014/main" id="{74BE3D5F-1445-6E40-8B49-72E15568383B}"/>
                </a:ext>
              </a:extLst>
            </p:cNvPr>
            <p:cNvSpPr/>
            <p:nvPr/>
          </p:nvSpPr>
          <p:spPr bwMode="gray">
            <a:xfrm>
              <a:off x="328396" y="5313940"/>
              <a:ext cx="720000" cy="720000"/>
            </a:xfrm>
            <a:prstGeom prst="rect">
              <a:avLst/>
            </a:prstGeom>
            <a:solidFill>
              <a:srgbClr val="E55A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pPr>
              <a:endParaRPr lang="en-US" sz="1000">
                <a:solidFill>
                  <a:schemeClr val="tx1"/>
                </a:solidFill>
                <a:latin typeface="Arial" pitchFamily="34" charset="0"/>
                <a:cs typeface="Arial" pitchFamily="34" charset="0"/>
              </a:endParaRPr>
            </a:p>
          </p:txBody>
        </p:sp>
        <p:sp>
          <p:nvSpPr>
            <p:cNvPr id="40" name="Freeform 76">
              <a:extLst>
                <a:ext uri="{FF2B5EF4-FFF2-40B4-BE49-F238E27FC236}">
                  <a16:creationId xmlns:a16="http://schemas.microsoft.com/office/drawing/2014/main" id="{55DB3C95-7D0C-D141-901E-96D692794D2B}"/>
                </a:ext>
              </a:extLst>
            </p:cNvPr>
            <p:cNvSpPr>
              <a:spLocks noChangeAspect="1" noEditPoints="1"/>
            </p:cNvSpPr>
            <p:nvPr/>
          </p:nvSpPr>
          <p:spPr bwMode="auto">
            <a:xfrm>
              <a:off x="456202" y="5509222"/>
              <a:ext cx="504000" cy="329436"/>
            </a:xfrm>
            <a:custGeom>
              <a:avLst/>
              <a:gdLst>
                <a:gd name="T0" fmla="*/ 0 w 2080"/>
                <a:gd name="T1" fmla="*/ 65 h 1360"/>
                <a:gd name="T2" fmla="*/ 0 w 2080"/>
                <a:gd name="T3" fmla="*/ 0 h 1360"/>
                <a:gd name="T4" fmla="*/ 2080 w 2080"/>
                <a:gd name="T5" fmla="*/ 0 h 1360"/>
                <a:gd name="T6" fmla="*/ 2080 w 2080"/>
                <a:gd name="T7" fmla="*/ 65 h 1360"/>
                <a:gd name="T8" fmla="*/ 1089 w 2080"/>
                <a:gd name="T9" fmla="*/ 862 h 1360"/>
                <a:gd name="T10" fmla="*/ 991 w 2080"/>
                <a:gd name="T11" fmla="*/ 862 h 1360"/>
                <a:gd name="T12" fmla="*/ 0 w 2080"/>
                <a:gd name="T13" fmla="*/ 65 h 1360"/>
                <a:gd name="T14" fmla="*/ 1139 w 2080"/>
                <a:gd name="T15" fmla="*/ 924 h 1360"/>
                <a:gd name="T16" fmla="*/ 1282 w 2080"/>
                <a:gd name="T17" fmla="*/ 810 h 1360"/>
                <a:gd name="T18" fmla="*/ 2076 w 2080"/>
                <a:gd name="T19" fmla="*/ 1360 h 1360"/>
                <a:gd name="T20" fmla="*/ 4 w 2080"/>
                <a:gd name="T21" fmla="*/ 1360 h 1360"/>
                <a:gd name="T22" fmla="*/ 798 w 2080"/>
                <a:gd name="T23" fmla="*/ 810 h 1360"/>
                <a:gd name="T24" fmla="*/ 941 w 2080"/>
                <a:gd name="T25" fmla="*/ 924 h 1360"/>
                <a:gd name="T26" fmla="*/ 1139 w 2080"/>
                <a:gd name="T27" fmla="*/ 924 h 1360"/>
                <a:gd name="T28" fmla="*/ 2 w 2080"/>
                <a:gd name="T29" fmla="*/ 137 h 1360"/>
                <a:gd name="T30" fmla="*/ 42 w 2080"/>
                <a:gd name="T31" fmla="*/ 201 h 1360"/>
                <a:gd name="T32" fmla="*/ 734 w 2080"/>
                <a:gd name="T33" fmla="*/ 758 h 1360"/>
                <a:gd name="T34" fmla="*/ 0 w 2080"/>
                <a:gd name="T35" fmla="*/ 1266 h 1360"/>
                <a:gd name="T36" fmla="*/ 0 w 2080"/>
                <a:gd name="T37" fmla="*/ 135 h 1360"/>
                <a:gd name="T38" fmla="*/ 2 w 2080"/>
                <a:gd name="T39" fmla="*/ 137 h 1360"/>
                <a:gd name="T40" fmla="*/ 2080 w 2080"/>
                <a:gd name="T41" fmla="*/ 136 h 1360"/>
                <a:gd name="T42" fmla="*/ 2080 w 2080"/>
                <a:gd name="T43" fmla="*/ 1265 h 1360"/>
                <a:gd name="T44" fmla="*/ 1346 w 2080"/>
                <a:gd name="T45" fmla="*/ 758 h 1360"/>
                <a:gd name="T46" fmla="*/ 2038 w 2080"/>
                <a:gd name="T47" fmla="*/ 201 h 1360"/>
                <a:gd name="T48" fmla="*/ 2080 w 2080"/>
                <a:gd name="T49" fmla="*/ 136 h 1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080" h="1360">
                  <a:moveTo>
                    <a:pt x="0" y="65"/>
                  </a:moveTo>
                  <a:cubicBezTo>
                    <a:pt x="0" y="0"/>
                    <a:pt x="0" y="0"/>
                    <a:pt x="0" y="0"/>
                  </a:cubicBezTo>
                  <a:cubicBezTo>
                    <a:pt x="2080" y="0"/>
                    <a:pt x="2080" y="0"/>
                    <a:pt x="2080" y="0"/>
                  </a:cubicBezTo>
                  <a:cubicBezTo>
                    <a:pt x="2080" y="65"/>
                    <a:pt x="2080" y="65"/>
                    <a:pt x="2080" y="65"/>
                  </a:cubicBezTo>
                  <a:cubicBezTo>
                    <a:pt x="1089" y="862"/>
                    <a:pt x="1089" y="862"/>
                    <a:pt x="1089" y="862"/>
                  </a:cubicBezTo>
                  <a:cubicBezTo>
                    <a:pt x="1060" y="886"/>
                    <a:pt x="1020" y="886"/>
                    <a:pt x="991" y="862"/>
                  </a:cubicBezTo>
                  <a:lnTo>
                    <a:pt x="0" y="65"/>
                  </a:lnTo>
                  <a:close/>
                  <a:moveTo>
                    <a:pt x="1139" y="924"/>
                  </a:moveTo>
                  <a:cubicBezTo>
                    <a:pt x="1282" y="810"/>
                    <a:pt x="1282" y="810"/>
                    <a:pt x="1282" y="810"/>
                  </a:cubicBezTo>
                  <a:cubicBezTo>
                    <a:pt x="2076" y="1360"/>
                    <a:pt x="2076" y="1360"/>
                    <a:pt x="2076" y="1360"/>
                  </a:cubicBezTo>
                  <a:cubicBezTo>
                    <a:pt x="4" y="1360"/>
                    <a:pt x="4" y="1360"/>
                    <a:pt x="4" y="1360"/>
                  </a:cubicBezTo>
                  <a:cubicBezTo>
                    <a:pt x="798" y="810"/>
                    <a:pt x="798" y="810"/>
                    <a:pt x="798" y="810"/>
                  </a:cubicBezTo>
                  <a:cubicBezTo>
                    <a:pt x="941" y="924"/>
                    <a:pt x="941" y="924"/>
                    <a:pt x="941" y="924"/>
                  </a:cubicBezTo>
                  <a:cubicBezTo>
                    <a:pt x="1000" y="972"/>
                    <a:pt x="1080" y="972"/>
                    <a:pt x="1139" y="924"/>
                  </a:cubicBezTo>
                  <a:close/>
                  <a:moveTo>
                    <a:pt x="2" y="137"/>
                  </a:moveTo>
                  <a:cubicBezTo>
                    <a:pt x="8" y="163"/>
                    <a:pt x="22" y="185"/>
                    <a:pt x="42" y="201"/>
                  </a:cubicBezTo>
                  <a:cubicBezTo>
                    <a:pt x="734" y="758"/>
                    <a:pt x="734" y="758"/>
                    <a:pt x="734" y="758"/>
                  </a:cubicBezTo>
                  <a:cubicBezTo>
                    <a:pt x="0" y="1266"/>
                    <a:pt x="0" y="1266"/>
                    <a:pt x="0" y="1266"/>
                  </a:cubicBezTo>
                  <a:cubicBezTo>
                    <a:pt x="0" y="135"/>
                    <a:pt x="0" y="135"/>
                    <a:pt x="0" y="135"/>
                  </a:cubicBezTo>
                  <a:lnTo>
                    <a:pt x="2" y="137"/>
                  </a:lnTo>
                  <a:close/>
                  <a:moveTo>
                    <a:pt x="2080" y="136"/>
                  </a:moveTo>
                  <a:cubicBezTo>
                    <a:pt x="2080" y="1265"/>
                    <a:pt x="2080" y="1265"/>
                    <a:pt x="2080" y="1265"/>
                  </a:cubicBezTo>
                  <a:cubicBezTo>
                    <a:pt x="1346" y="758"/>
                    <a:pt x="1346" y="758"/>
                    <a:pt x="1346" y="758"/>
                  </a:cubicBezTo>
                  <a:cubicBezTo>
                    <a:pt x="2038" y="201"/>
                    <a:pt x="2038" y="201"/>
                    <a:pt x="2038" y="201"/>
                  </a:cubicBezTo>
                  <a:cubicBezTo>
                    <a:pt x="2060" y="182"/>
                    <a:pt x="2072" y="162"/>
                    <a:pt x="2080" y="13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000"/>
            </a:p>
          </p:txBody>
        </p:sp>
      </p:grpSp>
      <p:cxnSp>
        <p:nvCxnSpPr>
          <p:cNvPr id="41" name="Straight Connector 40"/>
          <p:cNvCxnSpPr/>
          <p:nvPr/>
        </p:nvCxnSpPr>
        <p:spPr>
          <a:xfrm>
            <a:off x="2355914" y="5655833"/>
            <a:ext cx="3888000" cy="0"/>
          </a:xfrm>
          <a:prstGeom prst="line">
            <a:avLst/>
          </a:prstGeom>
          <a:ln w="6350">
            <a:solidFill>
              <a:schemeClr val="tx2"/>
            </a:solidFill>
            <a:prstDash val="dash"/>
          </a:ln>
        </p:spPr>
        <p:style>
          <a:lnRef idx="1">
            <a:schemeClr val="accent1"/>
          </a:lnRef>
          <a:fillRef idx="0">
            <a:schemeClr val="accent1"/>
          </a:fillRef>
          <a:effectRef idx="0">
            <a:schemeClr val="accent1"/>
          </a:effectRef>
          <a:fontRef idx="minor">
            <a:schemeClr val="tx1"/>
          </a:fontRef>
        </p:style>
      </p:cxnSp>
      <p:sp>
        <p:nvSpPr>
          <p:cNvPr id="42" name="Picture Placeholder 3"/>
          <p:cNvSpPr>
            <a:spLocks noGrp="1"/>
          </p:cNvSpPr>
          <p:nvPr>
            <p:ph type="pic" sz="quarter" idx="29" hasCustomPrompt="1"/>
          </p:nvPr>
        </p:nvSpPr>
        <p:spPr>
          <a:xfrm>
            <a:off x="2355914" y="3986604"/>
            <a:ext cx="1188677" cy="1547840"/>
          </a:xfrm>
          <a:solidFill>
            <a:srgbClr val="D9DADB"/>
          </a:solidFill>
        </p:spPr>
        <p:txBody>
          <a:bodyPr/>
          <a:lstStyle>
            <a:lvl1pPr marL="0" indent="0">
              <a:buNone/>
              <a:defRPr sz="1400"/>
            </a:lvl1pPr>
          </a:lstStyle>
          <a:p>
            <a:r>
              <a:rPr lang="en-US"/>
              <a:t>Insert picture</a:t>
            </a:r>
          </a:p>
        </p:txBody>
      </p:sp>
      <p:sp>
        <p:nvSpPr>
          <p:cNvPr id="43" name="Text Placeholder 5"/>
          <p:cNvSpPr>
            <a:spLocks noGrp="1"/>
          </p:cNvSpPr>
          <p:nvPr>
            <p:ph type="body" sz="quarter" idx="30" hasCustomPrompt="1"/>
          </p:nvPr>
        </p:nvSpPr>
        <p:spPr>
          <a:xfrm>
            <a:off x="3770065" y="3986141"/>
            <a:ext cx="2463190" cy="192360"/>
          </a:xfrm>
        </p:spPr>
        <p:txBody>
          <a:bodyPr lIns="0" tIns="0" rIns="0" bIns="0" anchor="ctr" anchorCtr="0"/>
          <a:lstStyle>
            <a:lvl1pPr marL="0" indent="0" algn="l">
              <a:lnSpc>
                <a:spcPct val="100000"/>
              </a:lnSpc>
              <a:buNone/>
              <a:defRPr sz="100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Country</a:t>
            </a:r>
          </a:p>
        </p:txBody>
      </p:sp>
      <p:sp>
        <p:nvSpPr>
          <p:cNvPr id="44" name="Text Placeholder 5"/>
          <p:cNvSpPr>
            <a:spLocks noGrp="1"/>
          </p:cNvSpPr>
          <p:nvPr>
            <p:ph type="body" sz="quarter" idx="31" hasCustomPrompt="1"/>
          </p:nvPr>
        </p:nvSpPr>
        <p:spPr>
          <a:xfrm>
            <a:off x="3770065" y="4197957"/>
            <a:ext cx="2463190" cy="266182"/>
          </a:xfrm>
        </p:spPr>
        <p:txBody>
          <a:bodyPr lIns="0" tIns="0" rIns="0" bIns="0" anchor="b" anchorCtr="0"/>
          <a:lstStyle>
            <a:lvl1pPr marL="0" indent="0" algn="l">
              <a:lnSpc>
                <a:spcPct val="100000"/>
              </a:lnSpc>
              <a:buNone/>
              <a:defRPr sz="1400" b="1" baseline="0">
                <a:solidFill>
                  <a:schemeClr val="tx2"/>
                </a:solidFill>
              </a:defRPr>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Name, Surname</a:t>
            </a:r>
          </a:p>
        </p:txBody>
      </p:sp>
      <p:sp>
        <p:nvSpPr>
          <p:cNvPr id="45" name="Text Placeholder 5"/>
          <p:cNvSpPr>
            <a:spLocks noGrp="1"/>
          </p:cNvSpPr>
          <p:nvPr>
            <p:ph type="body" sz="quarter" idx="32" hasCustomPrompt="1"/>
          </p:nvPr>
        </p:nvSpPr>
        <p:spPr>
          <a:xfrm>
            <a:off x="3770065" y="4494532"/>
            <a:ext cx="2463190"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Job Position</a:t>
            </a:r>
          </a:p>
        </p:txBody>
      </p:sp>
      <p:sp>
        <p:nvSpPr>
          <p:cNvPr id="46" name="Text Placeholder 5"/>
          <p:cNvSpPr>
            <a:spLocks noGrp="1"/>
          </p:cNvSpPr>
          <p:nvPr>
            <p:ph type="body" sz="quarter" idx="33" hasCustomPrompt="1"/>
          </p:nvPr>
        </p:nvSpPr>
        <p:spPr>
          <a:xfrm>
            <a:off x="4014948" y="5023208"/>
            <a:ext cx="2218307"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Phone number</a:t>
            </a:r>
          </a:p>
        </p:txBody>
      </p:sp>
      <p:sp>
        <p:nvSpPr>
          <p:cNvPr id="47" name="Text Placeholder 5"/>
          <p:cNvSpPr>
            <a:spLocks noGrp="1"/>
          </p:cNvSpPr>
          <p:nvPr>
            <p:ph type="body" sz="quarter" idx="34" hasCustomPrompt="1"/>
          </p:nvPr>
        </p:nvSpPr>
        <p:spPr>
          <a:xfrm>
            <a:off x="4014948" y="5306015"/>
            <a:ext cx="2218307"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Email address</a:t>
            </a:r>
          </a:p>
        </p:txBody>
      </p:sp>
      <p:grpSp>
        <p:nvGrpSpPr>
          <p:cNvPr id="48" name="Gruppieren 2">
            <a:extLst>
              <a:ext uri="{FF2B5EF4-FFF2-40B4-BE49-F238E27FC236}">
                <a16:creationId xmlns:a16="http://schemas.microsoft.com/office/drawing/2014/main" id="{BE697CE9-EBDE-6B4A-BE70-582D92A8A831}"/>
              </a:ext>
            </a:extLst>
          </p:cNvPr>
          <p:cNvGrpSpPr/>
          <p:nvPr/>
        </p:nvGrpSpPr>
        <p:grpSpPr>
          <a:xfrm>
            <a:off x="8701917" y="5043528"/>
            <a:ext cx="171180" cy="171180"/>
            <a:chOff x="3392092" y="1841122"/>
            <a:chExt cx="646508" cy="646508"/>
          </a:xfrm>
        </p:grpSpPr>
        <p:sp>
          <p:nvSpPr>
            <p:cNvPr id="49" name="Rechteck 14">
              <a:extLst>
                <a:ext uri="{FF2B5EF4-FFF2-40B4-BE49-F238E27FC236}">
                  <a16:creationId xmlns:a16="http://schemas.microsoft.com/office/drawing/2014/main" id="{E142A731-19B7-C34D-9534-9E05108F895F}"/>
                </a:ext>
              </a:extLst>
            </p:cNvPr>
            <p:cNvSpPr>
              <a:spLocks noChangeAspect="1"/>
            </p:cNvSpPr>
            <p:nvPr/>
          </p:nvSpPr>
          <p:spPr bwMode="gray">
            <a:xfrm>
              <a:off x="3392092" y="1841122"/>
              <a:ext cx="646508" cy="646508"/>
            </a:xfrm>
            <a:prstGeom prst="rect">
              <a:avLst/>
            </a:prstGeom>
            <a:solidFill>
              <a:srgbClr val="E55A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pPr>
              <a:endParaRPr lang="en-US" sz="1000">
                <a:solidFill>
                  <a:schemeClr val="tx1"/>
                </a:solidFill>
                <a:latin typeface="Arial" pitchFamily="34" charset="0"/>
                <a:cs typeface="Arial" pitchFamily="34" charset="0"/>
              </a:endParaRPr>
            </a:p>
          </p:txBody>
        </p:sp>
        <p:sp>
          <p:nvSpPr>
            <p:cNvPr id="50" name="Freeform 49">
              <a:extLst>
                <a:ext uri="{FF2B5EF4-FFF2-40B4-BE49-F238E27FC236}">
                  <a16:creationId xmlns:a16="http://schemas.microsoft.com/office/drawing/2014/main" id="{F97E84AE-4AD9-4B44-9AA1-F797FC373809}"/>
                </a:ext>
              </a:extLst>
            </p:cNvPr>
            <p:cNvSpPr>
              <a:spLocks noChangeAspect="1"/>
            </p:cNvSpPr>
            <p:nvPr/>
          </p:nvSpPr>
          <p:spPr bwMode="auto">
            <a:xfrm>
              <a:off x="3546638" y="1970424"/>
              <a:ext cx="337415" cy="387905"/>
            </a:xfrm>
            <a:custGeom>
              <a:avLst/>
              <a:gdLst>
                <a:gd name="T0" fmla="*/ 573 w 1624"/>
                <a:gd name="T1" fmla="*/ 1257 h 1867"/>
                <a:gd name="T2" fmla="*/ 662 w 1624"/>
                <a:gd name="T3" fmla="*/ 1288 h 1867"/>
                <a:gd name="T4" fmla="*/ 938 w 1624"/>
                <a:gd name="T5" fmla="*/ 1051 h 1867"/>
                <a:gd name="T6" fmla="*/ 1106 w 1624"/>
                <a:gd name="T7" fmla="*/ 731 h 1867"/>
                <a:gd name="T8" fmla="*/ 1059 w 1624"/>
                <a:gd name="T9" fmla="*/ 645 h 1867"/>
                <a:gd name="T10" fmla="*/ 1001 w 1624"/>
                <a:gd name="T11" fmla="*/ 613 h 1867"/>
                <a:gd name="T12" fmla="*/ 924 w 1624"/>
                <a:gd name="T13" fmla="*/ 432 h 1867"/>
                <a:gd name="T14" fmla="*/ 1114 w 1624"/>
                <a:gd name="T15" fmla="*/ 81 h 1867"/>
                <a:gd name="T16" fmla="*/ 1287 w 1624"/>
                <a:gd name="T17" fmla="*/ 35 h 1867"/>
                <a:gd name="T18" fmla="*/ 1350 w 1624"/>
                <a:gd name="T19" fmla="*/ 69 h 1867"/>
                <a:gd name="T20" fmla="*/ 1527 w 1624"/>
                <a:gd name="T21" fmla="*/ 235 h 1867"/>
                <a:gd name="T22" fmla="*/ 1583 w 1624"/>
                <a:gd name="T23" fmla="*/ 555 h 1867"/>
                <a:gd name="T24" fmla="*/ 1172 w 1624"/>
                <a:gd name="T25" fmla="*/ 1253 h 1867"/>
                <a:gd name="T26" fmla="*/ 586 w 1624"/>
                <a:gd name="T27" fmla="*/ 1803 h 1867"/>
                <a:gd name="T28" fmla="*/ 269 w 1624"/>
                <a:gd name="T29" fmla="*/ 1807 h 1867"/>
                <a:gd name="T30" fmla="*/ 33 w 1624"/>
                <a:gd name="T31" fmla="*/ 1602 h 1867"/>
                <a:gd name="T32" fmla="*/ 2 w 1624"/>
                <a:gd name="T33" fmla="*/ 1508 h 1867"/>
                <a:gd name="T34" fmla="*/ 45 w 1624"/>
                <a:gd name="T35" fmla="*/ 1421 h 1867"/>
                <a:gd name="T36" fmla="*/ 346 w 1624"/>
                <a:gd name="T37" fmla="*/ 1158 h 1867"/>
                <a:gd name="T38" fmla="*/ 448 w 1624"/>
                <a:gd name="T39" fmla="*/ 1145 h 1867"/>
                <a:gd name="T40" fmla="*/ 573 w 1624"/>
                <a:gd name="T41" fmla="*/ 1257 h 18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24" h="1867">
                  <a:moveTo>
                    <a:pt x="573" y="1257"/>
                  </a:moveTo>
                  <a:cubicBezTo>
                    <a:pt x="592" y="1282"/>
                    <a:pt x="630" y="1303"/>
                    <a:pt x="662" y="1288"/>
                  </a:cubicBezTo>
                  <a:cubicBezTo>
                    <a:pt x="753" y="1245"/>
                    <a:pt x="854" y="1156"/>
                    <a:pt x="938" y="1051"/>
                  </a:cubicBezTo>
                  <a:cubicBezTo>
                    <a:pt x="1020" y="948"/>
                    <a:pt x="1084" y="831"/>
                    <a:pt x="1106" y="731"/>
                  </a:cubicBezTo>
                  <a:cubicBezTo>
                    <a:pt x="1113" y="696"/>
                    <a:pt x="1089" y="661"/>
                    <a:pt x="1059" y="645"/>
                  </a:cubicBezTo>
                  <a:cubicBezTo>
                    <a:pt x="1001" y="613"/>
                    <a:pt x="1001" y="613"/>
                    <a:pt x="1001" y="613"/>
                  </a:cubicBezTo>
                  <a:cubicBezTo>
                    <a:pt x="942" y="580"/>
                    <a:pt x="888" y="499"/>
                    <a:pt x="924" y="432"/>
                  </a:cubicBezTo>
                  <a:cubicBezTo>
                    <a:pt x="1114" y="81"/>
                    <a:pt x="1114" y="81"/>
                    <a:pt x="1114" y="81"/>
                  </a:cubicBezTo>
                  <a:cubicBezTo>
                    <a:pt x="1150" y="16"/>
                    <a:pt x="1224" y="0"/>
                    <a:pt x="1287" y="35"/>
                  </a:cubicBezTo>
                  <a:cubicBezTo>
                    <a:pt x="1350" y="69"/>
                    <a:pt x="1350" y="69"/>
                    <a:pt x="1350" y="69"/>
                  </a:cubicBezTo>
                  <a:cubicBezTo>
                    <a:pt x="1415" y="105"/>
                    <a:pt x="1479" y="165"/>
                    <a:pt x="1527" y="235"/>
                  </a:cubicBezTo>
                  <a:cubicBezTo>
                    <a:pt x="1593" y="332"/>
                    <a:pt x="1624" y="442"/>
                    <a:pt x="1583" y="555"/>
                  </a:cubicBezTo>
                  <a:cubicBezTo>
                    <a:pt x="1500" y="781"/>
                    <a:pt x="1351" y="1030"/>
                    <a:pt x="1172" y="1253"/>
                  </a:cubicBezTo>
                  <a:cubicBezTo>
                    <a:pt x="994" y="1477"/>
                    <a:pt x="786" y="1676"/>
                    <a:pt x="586" y="1803"/>
                  </a:cubicBezTo>
                  <a:cubicBezTo>
                    <a:pt x="486" y="1867"/>
                    <a:pt x="375" y="1856"/>
                    <a:pt x="269" y="1807"/>
                  </a:cubicBezTo>
                  <a:cubicBezTo>
                    <a:pt x="157" y="1755"/>
                    <a:pt x="106" y="1695"/>
                    <a:pt x="33" y="1602"/>
                  </a:cubicBezTo>
                  <a:cubicBezTo>
                    <a:pt x="11" y="1573"/>
                    <a:pt x="0" y="1540"/>
                    <a:pt x="2" y="1508"/>
                  </a:cubicBezTo>
                  <a:cubicBezTo>
                    <a:pt x="4" y="1475"/>
                    <a:pt x="18" y="1444"/>
                    <a:pt x="45" y="1421"/>
                  </a:cubicBezTo>
                  <a:cubicBezTo>
                    <a:pt x="70" y="1399"/>
                    <a:pt x="346" y="1158"/>
                    <a:pt x="346" y="1158"/>
                  </a:cubicBezTo>
                  <a:cubicBezTo>
                    <a:pt x="376" y="1134"/>
                    <a:pt x="413" y="1133"/>
                    <a:pt x="448" y="1145"/>
                  </a:cubicBezTo>
                  <a:cubicBezTo>
                    <a:pt x="510" y="1166"/>
                    <a:pt x="536" y="1210"/>
                    <a:pt x="573" y="1257"/>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351"/>
            </a:p>
          </p:txBody>
        </p:sp>
      </p:grpSp>
      <p:grpSp>
        <p:nvGrpSpPr>
          <p:cNvPr id="51" name="Group 3">
            <a:extLst>
              <a:ext uri="{FF2B5EF4-FFF2-40B4-BE49-F238E27FC236}">
                <a16:creationId xmlns:a16="http://schemas.microsoft.com/office/drawing/2014/main" id="{7104BADD-8CD1-6F4A-B894-869C3BDB3EEB}"/>
              </a:ext>
            </a:extLst>
          </p:cNvPr>
          <p:cNvGrpSpPr>
            <a:grpSpLocks noChangeAspect="1"/>
          </p:cNvGrpSpPr>
          <p:nvPr>
            <p:custDataLst>
              <p:tags r:id="rId4"/>
            </p:custDataLst>
          </p:nvPr>
        </p:nvGrpSpPr>
        <p:grpSpPr>
          <a:xfrm>
            <a:off x="8701918" y="5328416"/>
            <a:ext cx="171180" cy="171180"/>
            <a:chOff x="328396" y="5313940"/>
            <a:chExt cx="720000" cy="720000"/>
          </a:xfrm>
        </p:grpSpPr>
        <p:sp>
          <p:nvSpPr>
            <p:cNvPr id="52" name="Rectangle 4">
              <a:extLst>
                <a:ext uri="{FF2B5EF4-FFF2-40B4-BE49-F238E27FC236}">
                  <a16:creationId xmlns:a16="http://schemas.microsoft.com/office/drawing/2014/main" id="{74BE3D5F-1445-6E40-8B49-72E15568383B}"/>
                </a:ext>
              </a:extLst>
            </p:cNvPr>
            <p:cNvSpPr/>
            <p:nvPr/>
          </p:nvSpPr>
          <p:spPr bwMode="gray">
            <a:xfrm>
              <a:off x="328396" y="5313940"/>
              <a:ext cx="720000" cy="720000"/>
            </a:xfrm>
            <a:prstGeom prst="rect">
              <a:avLst/>
            </a:prstGeom>
            <a:solidFill>
              <a:srgbClr val="E55A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pPr>
              <a:endParaRPr lang="en-US" sz="1000">
                <a:solidFill>
                  <a:schemeClr val="tx1"/>
                </a:solidFill>
                <a:latin typeface="Arial" pitchFamily="34" charset="0"/>
                <a:cs typeface="Arial" pitchFamily="34" charset="0"/>
              </a:endParaRPr>
            </a:p>
          </p:txBody>
        </p:sp>
        <p:sp>
          <p:nvSpPr>
            <p:cNvPr id="53" name="Freeform 76">
              <a:extLst>
                <a:ext uri="{FF2B5EF4-FFF2-40B4-BE49-F238E27FC236}">
                  <a16:creationId xmlns:a16="http://schemas.microsoft.com/office/drawing/2014/main" id="{55DB3C95-7D0C-D141-901E-96D692794D2B}"/>
                </a:ext>
              </a:extLst>
            </p:cNvPr>
            <p:cNvSpPr>
              <a:spLocks noChangeAspect="1" noEditPoints="1"/>
            </p:cNvSpPr>
            <p:nvPr/>
          </p:nvSpPr>
          <p:spPr bwMode="auto">
            <a:xfrm>
              <a:off x="456202" y="5509222"/>
              <a:ext cx="504000" cy="329436"/>
            </a:xfrm>
            <a:custGeom>
              <a:avLst/>
              <a:gdLst>
                <a:gd name="T0" fmla="*/ 0 w 2080"/>
                <a:gd name="T1" fmla="*/ 65 h 1360"/>
                <a:gd name="T2" fmla="*/ 0 w 2080"/>
                <a:gd name="T3" fmla="*/ 0 h 1360"/>
                <a:gd name="T4" fmla="*/ 2080 w 2080"/>
                <a:gd name="T5" fmla="*/ 0 h 1360"/>
                <a:gd name="T6" fmla="*/ 2080 w 2080"/>
                <a:gd name="T7" fmla="*/ 65 h 1360"/>
                <a:gd name="T8" fmla="*/ 1089 w 2080"/>
                <a:gd name="T9" fmla="*/ 862 h 1360"/>
                <a:gd name="T10" fmla="*/ 991 w 2080"/>
                <a:gd name="T11" fmla="*/ 862 h 1360"/>
                <a:gd name="T12" fmla="*/ 0 w 2080"/>
                <a:gd name="T13" fmla="*/ 65 h 1360"/>
                <a:gd name="T14" fmla="*/ 1139 w 2080"/>
                <a:gd name="T15" fmla="*/ 924 h 1360"/>
                <a:gd name="T16" fmla="*/ 1282 w 2080"/>
                <a:gd name="T17" fmla="*/ 810 h 1360"/>
                <a:gd name="T18" fmla="*/ 2076 w 2080"/>
                <a:gd name="T19" fmla="*/ 1360 h 1360"/>
                <a:gd name="T20" fmla="*/ 4 w 2080"/>
                <a:gd name="T21" fmla="*/ 1360 h 1360"/>
                <a:gd name="T22" fmla="*/ 798 w 2080"/>
                <a:gd name="T23" fmla="*/ 810 h 1360"/>
                <a:gd name="T24" fmla="*/ 941 w 2080"/>
                <a:gd name="T25" fmla="*/ 924 h 1360"/>
                <a:gd name="T26" fmla="*/ 1139 w 2080"/>
                <a:gd name="T27" fmla="*/ 924 h 1360"/>
                <a:gd name="T28" fmla="*/ 2 w 2080"/>
                <a:gd name="T29" fmla="*/ 137 h 1360"/>
                <a:gd name="T30" fmla="*/ 42 w 2080"/>
                <a:gd name="T31" fmla="*/ 201 h 1360"/>
                <a:gd name="T32" fmla="*/ 734 w 2080"/>
                <a:gd name="T33" fmla="*/ 758 h 1360"/>
                <a:gd name="T34" fmla="*/ 0 w 2080"/>
                <a:gd name="T35" fmla="*/ 1266 h 1360"/>
                <a:gd name="T36" fmla="*/ 0 w 2080"/>
                <a:gd name="T37" fmla="*/ 135 h 1360"/>
                <a:gd name="T38" fmla="*/ 2 w 2080"/>
                <a:gd name="T39" fmla="*/ 137 h 1360"/>
                <a:gd name="T40" fmla="*/ 2080 w 2080"/>
                <a:gd name="T41" fmla="*/ 136 h 1360"/>
                <a:gd name="T42" fmla="*/ 2080 w 2080"/>
                <a:gd name="T43" fmla="*/ 1265 h 1360"/>
                <a:gd name="T44" fmla="*/ 1346 w 2080"/>
                <a:gd name="T45" fmla="*/ 758 h 1360"/>
                <a:gd name="T46" fmla="*/ 2038 w 2080"/>
                <a:gd name="T47" fmla="*/ 201 h 1360"/>
                <a:gd name="T48" fmla="*/ 2080 w 2080"/>
                <a:gd name="T49" fmla="*/ 136 h 1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080" h="1360">
                  <a:moveTo>
                    <a:pt x="0" y="65"/>
                  </a:moveTo>
                  <a:cubicBezTo>
                    <a:pt x="0" y="0"/>
                    <a:pt x="0" y="0"/>
                    <a:pt x="0" y="0"/>
                  </a:cubicBezTo>
                  <a:cubicBezTo>
                    <a:pt x="2080" y="0"/>
                    <a:pt x="2080" y="0"/>
                    <a:pt x="2080" y="0"/>
                  </a:cubicBezTo>
                  <a:cubicBezTo>
                    <a:pt x="2080" y="65"/>
                    <a:pt x="2080" y="65"/>
                    <a:pt x="2080" y="65"/>
                  </a:cubicBezTo>
                  <a:cubicBezTo>
                    <a:pt x="1089" y="862"/>
                    <a:pt x="1089" y="862"/>
                    <a:pt x="1089" y="862"/>
                  </a:cubicBezTo>
                  <a:cubicBezTo>
                    <a:pt x="1060" y="886"/>
                    <a:pt x="1020" y="886"/>
                    <a:pt x="991" y="862"/>
                  </a:cubicBezTo>
                  <a:lnTo>
                    <a:pt x="0" y="65"/>
                  </a:lnTo>
                  <a:close/>
                  <a:moveTo>
                    <a:pt x="1139" y="924"/>
                  </a:moveTo>
                  <a:cubicBezTo>
                    <a:pt x="1282" y="810"/>
                    <a:pt x="1282" y="810"/>
                    <a:pt x="1282" y="810"/>
                  </a:cubicBezTo>
                  <a:cubicBezTo>
                    <a:pt x="2076" y="1360"/>
                    <a:pt x="2076" y="1360"/>
                    <a:pt x="2076" y="1360"/>
                  </a:cubicBezTo>
                  <a:cubicBezTo>
                    <a:pt x="4" y="1360"/>
                    <a:pt x="4" y="1360"/>
                    <a:pt x="4" y="1360"/>
                  </a:cubicBezTo>
                  <a:cubicBezTo>
                    <a:pt x="798" y="810"/>
                    <a:pt x="798" y="810"/>
                    <a:pt x="798" y="810"/>
                  </a:cubicBezTo>
                  <a:cubicBezTo>
                    <a:pt x="941" y="924"/>
                    <a:pt x="941" y="924"/>
                    <a:pt x="941" y="924"/>
                  </a:cubicBezTo>
                  <a:cubicBezTo>
                    <a:pt x="1000" y="972"/>
                    <a:pt x="1080" y="972"/>
                    <a:pt x="1139" y="924"/>
                  </a:cubicBezTo>
                  <a:close/>
                  <a:moveTo>
                    <a:pt x="2" y="137"/>
                  </a:moveTo>
                  <a:cubicBezTo>
                    <a:pt x="8" y="163"/>
                    <a:pt x="22" y="185"/>
                    <a:pt x="42" y="201"/>
                  </a:cubicBezTo>
                  <a:cubicBezTo>
                    <a:pt x="734" y="758"/>
                    <a:pt x="734" y="758"/>
                    <a:pt x="734" y="758"/>
                  </a:cubicBezTo>
                  <a:cubicBezTo>
                    <a:pt x="0" y="1266"/>
                    <a:pt x="0" y="1266"/>
                    <a:pt x="0" y="1266"/>
                  </a:cubicBezTo>
                  <a:cubicBezTo>
                    <a:pt x="0" y="135"/>
                    <a:pt x="0" y="135"/>
                    <a:pt x="0" y="135"/>
                  </a:cubicBezTo>
                  <a:lnTo>
                    <a:pt x="2" y="137"/>
                  </a:lnTo>
                  <a:close/>
                  <a:moveTo>
                    <a:pt x="2080" y="136"/>
                  </a:moveTo>
                  <a:cubicBezTo>
                    <a:pt x="2080" y="1265"/>
                    <a:pt x="2080" y="1265"/>
                    <a:pt x="2080" y="1265"/>
                  </a:cubicBezTo>
                  <a:cubicBezTo>
                    <a:pt x="1346" y="758"/>
                    <a:pt x="1346" y="758"/>
                    <a:pt x="1346" y="758"/>
                  </a:cubicBezTo>
                  <a:cubicBezTo>
                    <a:pt x="2038" y="201"/>
                    <a:pt x="2038" y="201"/>
                    <a:pt x="2038" y="201"/>
                  </a:cubicBezTo>
                  <a:cubicBezTo>
                    <a:pt x="2060" y="182"/>
                    <a:pt x="2072" y="162"/>
                    <a:pt x="2080" y="13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000"/>
            </a:p>
          </p:txBody>
        </p:sp>
      </p:grpSp>
      <p:cxnSp>
        <p:nvCxnSpPr>
          <p:cNvPr id="54" name="Straight Connector 53"/>
          <p:cNvCxnSpPr/>
          <p:nvPr/>
        </p:nvCxnSpPr>
        <p:spPr>
          <a:xfrm>
            <a:off x="7287766" y="5653422"/>
            <a:ext cx="3888000" cy="0"/>
          </a:xfrm>
          <a:prstGeom prst="line">
            <a:avLst/>
          </a:prstGeom>
          <a:ln w="6350">
            <a:solidFill>
              <a:schemeClr val="tx2"/>
            </a:solidFill>
            <a:prstDash val="dash"/>
          </a:ln>
        </p:spPr>
        <p:style>
          <a:lnRef idx="1">
            <a:schemeClr val="accent1"/>
          </a:lnRef>
          <a:fillRef idx="0">
            <a:schemeClr val="accent1"/>
          </a:fillRef>
          <a:effectRef idx="0">
            <a:schemeClr val="accent1"/>
          </a:effectRef>
          <a:fontRef idx="minor">
            <a:schemeClr val="tx1"/>
          </a:fontRef>
        </p:style>
      </p:cxnSp>
      <p:sp>
        <p:nvSpPr>
          <p:cNvPr id="55" name="Picture Placeholder 3"/>
          <p:cNvSpPr>
            <a:spLocks noGrp="1"/>
          </p:cNvSpPr>
          <p:nvPr>
            <p:ph type="pic" sz="quarter" idx="35" hasCustomPrompt="1"/>
          </p:nvPr>
        </p:nvSpPr>
        <p:spPr>
          <a:xfrm>
            <a:off x="7287766" y="3984193"/>
            <a:ext cx="1188677" cy="1547840"/>
          </a:xfrm>
          <a:solidFill>
            <a:srgbClr val="D9DADB"/>
          </a:solidFill>
        </p:spPr>
        <p:txBody>
          <a:bodyPr/>
          <a:lstStyle>
            <a:lvl1pPr marL="0" indent="0">
              <a:buNone/>
              <a:defRPr sz="1400"/>
            </a:lvl1pPr>
          </a:lstStyle>
          <a:p>
            <a:r>
              <a:rPr lang="en-US"/>
              <a:t>Insert picture</a:t>
            </a:r>
          </a:p>
        </p:txBody>
      </p:sp>
      <p:sp>
        <p:nvSpPr>
          <p:cNvPr id="56" name="Text Placeholder 5"/>
          <p:cNvSpPr>
            <a:spLocks noGrp="1"/>
          </p:cNvSpPr>
          <p:nvPr>
            <p:ph type="body" sz="quarter" idx="36" hasCustomPrompt="1"/>
          </p:nvPr>
        </p:nvSpPr>
        <p:spPr>
          <a:xfrm>
            <a:off x="8701917" y="3983730"/>
            <a:ext cx="2463190" cy="192360"/>
          </a:xfrm>
        </p:spPr>
        <p:txBody>
          <a:bodyPr lIns="0" tIns="0" rIns="0" bIns="0" anchor="ctr" anchorCtr="0"/>
          <a:lstStyle>
            <a:lvl1pPr marL="0" indent="0" algn="l">
              <a:lnSpc>
                <a:spcPct val="100000"/>
              </a:lnSpc>
              <a:buNone/>
              <a:defRPr sz="100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Country</a:t>
            </a:r>
          </a:p>
        </p:txBody>
      </p:sp>
      <p:sp>
        <p:nvSpPr>
          <p:cNvPr id="57" name="Text Placeholder 5"/>
          <p:cNvSpPr>
            <a:spLocks noGrp="1"/>
          </p:cNvSpPr>
          <p:nvPr>
            <p:ph type="body" sz="quarter" idx="37" hasCustomPrompt="1"/>
          </p:nvPr>
        </p:nvSpPr>
        <p:spPr>
          <a:xfrm>
            <a:off x="8701917" y="4195546"/>
            <a:ext cx="2463190" cy="266182"/>
          </a:xfrm>
        </p:spPr>
        <p:txBody>
          <a:bodyPr lIns="0" tIns="0" rIns="0" bIns="0" anchor="b" anchorCtr="0"/>
          <a:lstStyle>
            <a:lvl1pPr marL="0" indent="0" algn="l">
              <a:lnSpc>
                <a:spcPct val="100000"/>
              </a:lnSpc>
              <a:buNone/>
              <a:defRPr sz="1400" b="1" baseline="0">
                <a:solidFill>
                  <a:schemeClr val="tx2"/>
                </a:solidFill>
              </a:defRPr>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Name, Surname</a:t>
            </a:r>
          </a:p>
        </p:txBody>
      </p:sp>
      <p:sp>
        <p:nvSpPr>
          <p:cNvPr id="58" name="Text Placeholder 5"/>
          <p:cNvSpPr>
            <a:spLocks noGrp="1"/>
          </p:cNvSpPr>
          <p:nvPr>
            <p:ph type="body" sz="quarter" idx="38" hasCustomPrompt="1"/>
          </p:nvPr>
        </p:nvSpPr>
        <p:spPr>
          <a:xfrm>
            <a:off x="8701917" y="4492121"/>
            <a:ext cx="2463190"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Job Position</a:t>
            </a:r>
          </a:p>
        </p:txBody>
      </p:sp>
      <p:sp>
        <p:nvSpPr>
          <p:cNvPr id="59" name="Text Placeholder 5"/>
          <p:cNvSpPr>
            <a:spLocks noGrp="1"/>
          </p:cNvSpPr>
          <p:nvPr>
            <p:ph type="body" sz="quarter" idx="39" hasCustomPrompt="1"/>
          </p:nvPr>
        </p:nvSpPr>
        <p:spPr>
          <a:xfrm>
            <a:off x="8946800" y="5020797"/>
            <a:ext cx="2218307"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Phone number</a:t>
            </a:r>
          </a:p>
        </p:txBody>
      </p:sp>
      <p:sp>
        <p:nvSpPr>
          <p:cNvPr id="60" name="Text Placeholder 5"/>
          <p:cNvSpPr>
            <a:spLocks noGrp="1"/>
          </p:cNvSpPr>
          <p:nvPr>
            <p:ph type="body" sz="quarter" idx="40" hasCustomPrompt="1"/>
          </p:nvPr>
        </p:nvSpPr>
        <p:spPr>
          <a:xfrm>
            <a:off x="8946800" y="5303604"/>
            <a:ext cx="2218307"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a:t>Email address</a:t>
            </a:r>
          </a:p>
        </p:txBody>
      </p:sp>
    </p:spTree>
    <p:extLst>
      <p:ext uri="{BB962C8B-B14F-4D97-AF65-F5344CB8AC3E}">
        <p14:creationId xmlns:p14="http://schemas.microsoft.com/office/powerpoint/2010/main" val="2200247740"/>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p:cSld name="End slide">
    <p:spTree>
      <p:nvGrpSpPr>
        <p:cNvPr id="1" name=""/>
        <p:cNvGrpSpPr/>
        <p:nvPr/>
      </p:nvGrpSpPr>
      <p:grpSpPr>
        <a:xfrm>
          <a:off x="0" y="0"/>
          <a:ext cx="0" cy="0"/>
          <a:chOff x="0" y="0"/>
          <a:chExt cx="0" cy="0"/>
        </a:xfrm>
      </p:grpSpPr>
      <p:pic>
        <p:nvPicPr>
          <p:cNvPr id="30" name="picture">
            <a:extLst>
              <a:ext uri="{FF2B5EF4-FFF2-40B4-BE49-F238E27FC236}">
                <a16:creationId xmlns:a16="http://schemas.microsoft.com/office/drawing/2014/main" id="{8BF907F5-A9CD-2740-AF54-6BACB62334AE}"/>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2620212" y="-8808"/>
            <a:ext cx="9697299" cy="6866807"/>
          </a:xfrm>
          <a:prstGeom prst="rect">
            <a:avLst/>
          </a:prstGeom>
        </p:spPr>
      </p:pic>
      <p:sp>
        <p:nvSpPr>
          <p:cNvPr id="29" name="shpPicture"/>
          <p:cNvSpPr/>
          <p:nvPr/>
        </p:nvSpPr>
        <p:spPr>
          <a:xfrm>
            <a:off x="0" y="0"/>
            <a:ext cx="4347306" cy="6858000"/>
          </a:xfrm>
          <a:custGeom>
            <a:avLst/>
            <a:gdLst>
              <a:gd name="connsiteX0" fmla="*/ 0 w 4347306"/>
              <a:gd name="connsiteY0" fmla="*/ 0 h 6858000"/>
              <a:gd name="connsiteX1" fmla="*/ 3252806 w 4347306"/>
              <a:gd name="connsiteY1" fmla="*/ 0 h 6858000"/>
              <a:gd name="connsiteX2" fmla="*/ 4347306 w 4347306"/>
              <a:gd name="connsiteY2" fmla="*/ 4140909 h 6858000"/>
              <a:gd name="connsiteX3" fmla="*/ 2943442 w 4347306"/>
              <a:gd name="connsiteY3" fmla="*/ 6858000 h 6858000"/>
              <a:gd name="connsiteX4" fmla="*/ 0 w 4347306"/>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47306" h="6858000">
                <a:moveTo>
                  <a:pt x="0" y="0"/>
                </a:moveTo>
                <a:lnTo>
                  <a:pt x="3252806" y="0"/>
                </a:lnTo>
                <a:lnTo>
                  <a:pt x="4347306" y="4140909"/>
                </a:lnTo>
                <a:lnTo>
                  <a:pt x="2943442"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US" sz="1600"/>
          </a:p>
        </p:txBody>
      </p:sp>
      <p:grpSp>
        <p:nvGrpSpPr>
          <p:cNvPr id="14" name="logo">
            <a:extLst>
              <a:ext uri="{FF2B5EF4-FFF2-40B4-BE49-F238E27FC236}">
                <a16:creationId xmlns:a16="http://schemas.microsoft.com/office/drawing/2014/main" id="{18C26D95-70F8-8A4D-9F18-DCCB92522AF8}"/>
              </a:ext>
            </a:extLst>
          </p:cNvPr>
          <p:cNvGrpSpPr/>
          <p:nvPr/>
        </p:nvGrpSpPr>
        <p:grpSpPr bwMode="gray">
          <a:xfrm>
            <a:off x="417363" y="407485"/>
            <a:ext cx="1518585" cy="646507"/>
            <a:chOff x="334963" y="296652"/>
            <a:chExt cx="1268411" cy="540000"/>
          </a:xfrm>
        </p:grpSpPr>
        <p:sp>
          <p:nvSpPr>
            <p:cNvPr id="17" name="Freeform 6">
              <a:extLst>
                <a:ext uri="{FF2B5EF4-FFF2-40B4-BE49-F238E27FC236}">
                  <a16:creationId xmlns:a16="http://schemas.microsoft.com/office/drawing/2014/main" id="{08737AD0-E375-E445-97E6-CD2E2DF60620}"/>
                </a:ext>
              </a:extLst>
            </p:cNvPr>
            <p:cNvSpPr>
              <a:spLocks noEditPoints="1"/>
            </p:cNvSpPr>
            <p:nvPr/>
          </p:nvSpPr>
          <p:spPr bwMode="gray">
            <a:xfrm>
              <a:off x="982662" y="360462"/>
              <a:ext cx="620712" cy="431800"/>
            </a:xfrm>
            <a:custGeom>
              <a:avLst/>
              <a:gdLst>
                <a:gd name="T0" fmla="*/ 19 w 1809"/>
                <a:gd name="T1" fmla="*/ 97 h 1253"/>
                <a:gd name="T2" fmla="*/ 165 w 1809"/>
                <a:gd name="T3" fmla="*/ 41 h 1253"/>
                <a:gd name="T4" fmla="*/ 211 w 1809"/>
                <a:gd name="T5" fmla="*/ 224 h 1253"/>
                <a:gd name="T6" fmla="*/ 248 w 1809"/>
                <a:gd name="T7" fmla="*/ 155 h 1253"/>
                <a:gd name="T8" fmla="*/ 931 w 1809"/>
                <a:gd name="T9" fmla="*/ 995 h 1253"/>
                <a:gd name="T10" fmla="*/ 858 w 1809"/>
                <a:gd name="T11" fmla="*/ 1115 h 1253"/>
                <a:gd name="T12" fmla="*/ 749 w 1809"/>
                <a:gd name="T13" fmla="*/ 1117 h 1253"/>
                <a:gd name="T14" fmla="*/ 681 w 1809"/>
                <a:gd name="T15" fmla="*/ 1055 h 1253"/>
                <a:gd name="T16" fmla="*/ 800 w 1809"/>
                <a:gd name="T17" fmla="*/ 1054 h 1253"/>
                <a:gd name="T18" fmla="*/ 884 w 1809"/>
                <a:gd name="T19" fmla="*/ 1181 h 1253"/>
                <a:gd name="T20" fmla="*/ 118 w 1809"/>
                <a:gd name="T21" fmla="*/ 1086 h 1253"/>
                <a:gd name="T22" fmla="*/ 147 w 1809"/>
                <a:gd name="T23" fmla="*/ 1026 h 1253"/>
                <a:gd name="T24" fmla="*/ 102 w 1809"/>
                <a:gd name="T25" fmla="*/ 1026 h 1253"/>
                <a:gd name="T26" fmla="*/ 639 w 1809"/>
                <a:gd name="T27" fmla="*/ 84 h 1253"/>
                <a:gd name="T28" fmla="*/ 763 w 1809"/>
                <a:gd name="T29" fmla="*/ 145 h 1253"/>
                <a:gd name="T30" fmla="*/ 863 w 1809"/>
                <a:gd name="T31" fmla="*/ 221 h 1253"/>
                <a:gd name="T32" fmla="*/ 834 w 1809"/>
                <a:gd name="T33" fmla="*/ 208 h 1253"/>
                <a:gd name="T34" fmla="*/ 719 w 1809"/>
                <a:gd name="T35" fmla="*/ 182 h 1253"/>
                <a:gd name="T36" fmla="*/ 507 w 1809"/>
                <a:gd name="T37" fmla="*/ 711 h 1253"/>
                <a:gd name="T38" fmla="*/ 614 w 1809"/>
                <a:gd name="T39" fmla="*/ 706 h 1253"/>
                <a:gd name="T40" fmla="*/ 736 w 1809"/>
                <a:gd name="T41" fmla="*/ 730 h 1253"/>
                <a:gd name="T42" fmla="*/ 607 w 1809"/>
                <a:gd name="T43" fmla="*/ 539 h 1253"/>
                <a:gd name="T44" fmla="*/ 1505 w 1809"/>
                <a:gd name="T45" fmla="*/ 1136 h 1253"/>
                <a:gd name="T46" fmla="*/ 1613 w 1809"/>
                <a:gd name="T47" fmla="*/ 1002 h 1253"/>
                <a:gd name="T48" fmla="*/ 1472 w 1809"/>
                <a:gd name="T49" fmla="*/ 1164 h 1253"/>
                <a:gd name="T50" fmla="*/ 1525 w 1809"/>
                <a:gd name="T51" fmla="*/ 1142 h 1253"/>
                <a:gd name="T52" fmla="*/ 1556 w 1809"/>
                <a:gd name="T53" fmla="*/ 1172 h 1253"/>
                <a:gd name="T54" fmla="*/ 1387 w 1809"/>
                <a:gd name="T55" fmla="*/ 910 h 1253"/>
                <a:gd name="T56" fmla="*/ 1261 w 1809"/>
                <a:gd name="T57" fmla="*/ 1157 h 1253"/>
                <a:gd name="T58" fmla="*/ 1413 w 1809"/>
                <a:gd name="T59" fmla="*/ 934 h 1253"/>
                <a:gd name="T60" fmla="*/ 1378 w 1809"/>
                <a:gd name="T61" fmla="*/ 1052 h 1253"/>
                <a:gd name="T62" fmla="*/ 488 w 1809"/>
                <a:gd name="T63" fmla="*/ 85 h 1253"/>
                <a:gd name="T64" fmla="*/ 509 w 1809"/>
                <a:gd name="T65" fmla="*/ 112 h 1253"/>
                <a:gd name="T66" fmla="*/ 548 w 1809"/>
                <a:gd name="T67" fmla="*/ 1187 h 1253"/>
                <a:gd name="T68" fmla="*/ 472 w 1809"/>
                <a:gd name="T69" fmla="*/ 1122 h 1253"/>
                <a:gd name="T70" fmla="*/ 558 w 1809"/>
                <a:gd name="T71" fmla="*/ 1157 h 1253"/>
                <a:gd name="T72" fmla="*/ 287 w 1809"/>
                <a:gd name="T73" fmla="*/ 654 h 1253"/>
                <a:gd name="T74" fmla="*/ 416 w 1809"/>
                <a:gd name="T75" fmla="*/ 684 h 1253"/>
                <a:gd name="T76" fmla="*/ 1106 w 1809"/>
                <a:gd name="T77" fmla="*/ 147 h 1253"/>
                <a:gd name="T78" fmla="*/ 1229 w 1809"/>
                <a:gd name="T79" fmla="*/ 258 h 1253"/>
                <a:gd name="T80" fmla="*/ 1106 w 1809"/>
                <a:gd name="T81" fmla="*/ 96 h 1253"/>
                <a:gd name="T82" fmla="*/ 1219 w 1809"/>
                <a:gd name="T83" fmla="*/ 1077 h 1253"/>
                <a:gd name="T84" fmla="*/ 1214 w 1809"/>
                <a:gd name="T85" fmla="*/ 1157 h 1253"/>
                <a:gd name="T86" fmla="*/ 1150 w 1809"/>
                <a:gd name="T87" fmla="*/ 1092 h 1253"/>
                <a:gd name="T88" fmla="*/ 1139 w 1809"/>
                <a:gd name="T89" fmla="*/ 1070 h 1253"/>
                <a:gd name="T90" fmla="*/ 1659 w 1809"/>
                <a:gd name="T91" fmla="*/ 1031 h 1253"/>
                <a:gd name="T92" fmla="*/ 1714 w 1809"/>
                <a:gd name="T93" fmla="*/ 1155 h 1253"/>
                <a:gd name="T94" fmla="*/ 1760 w 1809"/>
                <a:gd name="T95" fmla="*/ 1030 h 1253"/>
                <a:gd name="T96" fmla="*/ 111 w 1809"/>
                <a:gd name="T97" fmla="*/ 569 h 1253"/>
                <a:gd name="T98" fmla="*/ 109 w 1809"/>
                <a:gd name="T99" fmla="*/ 460 h 1253"/>
                <a:gd name="T100" fmla="*/ 32 w 1809"/>
                <a:gd name="T101" fmla="*/ 704 h 1253"/>
                <a:gd name="T102" fmla="*/ 310 w 1809"/>
                <a:gd name="T103" fmla="*/ 1058 h 1253"/>
                <a:gd name="T104" fmla="*/ 431 w 1809"/>
                <a:gd name="T105" fmla="*/ 1044 h 1253"/>
                <a:gd name="T106" fmla="*/ 278 w 1809"/>
                <a:gd name="T107" fmla="*/ 1165 h 1253"/>
                <a:gd name="T108" fmla="*/ 261 w 1809"/>
                <a:gd name="T109" fmla="*/ 540 h 1253"/>
                <a:gd name="T110" fmla="*/ 150 w 1809"/>
                <a:gd name="T111" fmla="*/ 635 h 1253"/>
                <a:gd name="T112" fmla="*/ 994 w 1809"/>
                <a:gd name="T113" fmla="*/ 1185 h 1253"/>
                <a:gd name="T114" fmla="*/ 331 w 1809"/>
                <a:gd name="T115" fmla="*/ 176 h 1253"/>
                <a:gd name="T116" fmla="*/ 333 w 1809"/>
                <a:gd name="T117" fmla="*/ 109 h 1253"/>
                <a:gd name="T118" fmla="*/ 946 w 1809"/>
                <a:gd name="T119" fmla="*/ 234 h 1253"/>
                <a:gd name="T120" fmla="*/ 1022 w 1809"/>
                <a:gd name="T121" fmla="*/ 113 h 1253"/>
                <a:gd name="T122" fmla="*/ 949 w 1809"/>
                <a:gd name="T123" fmla="*/ 65 h 1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09" h="1253">
                  <a:moveTo>
                    <a:pt x="248" y="198"/>
                  </a:moveTo>
                  <a:cubicBezTo>
                    <a:pt x="248" y="211"/>
                    <a:pt x="248" y="224"/>
                    <a:pt x="249" y="237"/>
                  </a:cubicBezTo>
                  <a:cubicBezTo>
                    <a:pt x="249" y="245"/>
                    <a:pt x="246" y="249"/>
                    <a:pt x="240" y="253"/>
                  </a:cubicBezTo>
                  <a:cubicBezTo>
                    <a:pt x="231" y="260"/>
                    <a:pt x="220" y="264"/>
                    <a:pt x="209" y="268"/>
                  </a:cubicBezTo>
                  <a:cubicBezTo>
                    <a:pt x="179" y="279"/>
                    <a:pt x="148" y="280"/>
                    <a:pt x="118" y="275"/>
                  </a:cubicBezTo>
                  <a:cubicBezTo>
                    <a:pt x="86" y="269"/>
                    <a:pt x="58" y="252"/>
                    <a:pt x="39" y="224"/>
                  </a:cubicBezTo>
                  <a:cubicBezTo>
                    <a:pt x="24" y="203"/>
                    <a:pt x="18" y="180"/>
                    <a:pt x="15" y="155"/>
                  </a:cubicBezTo>
                  <a:cubicBezTo>
                    <a:pt x="11" y="135"/>
                    <a:pt x="15" y="115"/>
                    <a:pt x="19" y="97"/>
                  </a:cubicBezTo>
                  <a:cubicBezTo>
                    <a:pt x="26" y="68"/>
                    <a:pt x="42" y="44"/>
                    <a:pt x="68" y="27"/>
                  </a:cubicBezTo>
                  <a:cubicBezTo>
                    <a:pt x="87" y="14"/>
                    <a:pt x="109" y="6"/>
                    <a:pt x="133" y="5"/>
                  </a:cubicBezTo>
                  <a:cubicBezTo>
                    <a:pt x="149" y="4"/>
                    <a:pt x="165" y="5"/>
                    <a:pt x="181" y="6"/>
                  </a:cubicBezTo>
                  <a:cubicBezTo>
                    <a:pt x="204" y="8"/>
                    <a:pt x="225" y="20"/>
                    <a:pt x="243" y="35"/>
                  </a:cubicBezTo>
                  <a:cubicBezTo>
                    <a:pt x="246" y="37"/>
                    <a:pt x="246" y="40"/>
                    <a:pt x="244" y="43"/>
                  </a:cubicBezTo>
                  <a:cubicBezTo>
                    <a:pt x="242" y="47"/>
                    <a:pt x="239" y="52"/>
                    <a:pt x="236" y="55"/>
                  </a:cubicBezTo>
                  <a:cubicBezTo>
                    <a:pt x="226" y="65"/>
                    <a:pt x="224" y="65"/>
                    <a:pt x="206" y="54"/>
                  </a:cubicBezTo>
                  <a:cubicBezTo>
                    <a:pt x="193" y="46"/>
                    <a:pt x="180" y="40"/>
                    <a:pt x="165" y="41"/>
                  </a:cubicBezTo>
                  <a:cubicBezTo>
                    <a:pt x="151" y="41"/>
                    <a:pt x="137" y="39"/>
                    <a:pt x="124" y="42"/>
                  </a:cubicBezTo>
                  <a:cubicBezTo>
                    <a:pt x="104" y="46"/>
                    <a:pt x="87" y="57"/>
                    <a:pt x="75" y="74"/>
                  </a:cubicBezTo>
                  <a:cubicBezTo>
                    <a:pt x="56" y="99"/>
                    <a:pt x="51" y="129"/>
                    <a:pt x="55" y="159"/>
                  </a:cubicBezTo>
                  <a:cubicBezTo>
                    <a:pt x="60" y="189"/>
                    <a:pt x="73" y="214"/>
                    <a:pt x="98" y="230"/>
                  </a:cubicBezTo>
                  <a:cubicBezTo>
                    <a:pt x="109" y="237"/>
                    <a:pt x="121" y="242"/>
                    <a:pt x="135" y="241"/>
                  </a:cubicBezTo>
                  <a:cubicBezTo>
                    <a:pt x="146" y="241"/>
                    <a:pt x="158" y="241"/>
                    <a:pt x="169" y="241"/>
                  </a:cubicBezTo>
                  <a:cubicBezTo>
                    <a:pt x="182" y="242"/>
                    <a:pt x="193" y="235"/>
                    <a:pt x="205" y="232"/>
                  </a:cubicBezTo>
                  <a:cubicBezTo>
                    <a:pt x="210" y="231"/>
                    <a:pt x="211" y="227"/>
                    <a:pt x="211" y="224"/>
                  </a:cubicBezTo>
                  <a:cubicBezTo>
                    <a:pt x="211" y="210"/>
                    <a:pt x="211" y="196"/>
                    <a:pt x="211" y="183"/>
                  </a:cubicBezTo>
                  <a:cubicBezTo>
                    <a:pt x="211" y="177"/>
                    <a:pt x="207" y="175"/>
                    <a:pt x="202" y="175"/>
                  </a:cubicBezTo>
                  <a:cubicBezTo>
                    <a:pt x="193" y="175"/>
                    <a:pt x="184" y="175"/>
                    <a:pt x="175" y="175"/>
                  </a:cubicBezTo>
                  <a:cubicBezTo>
                    <a:pt x="171" y="175"/>
                    <a:pt x="168" y="174"/>
                    <a:pt x="166" y="171"/>
                  </a:cubicBezTo>
                  <a:cubicBezTo>
                    <a:pt x="163" y="163"/>
                    <a:pt x="164" y="154"/>
                    <a:pt x="166" y="146"/>
                  </a:cubicBezTo>
                  <a:cubicBezTo>
                    <a:pt x="167" y="142"/>
                    <a:pt x="171" y="142"/>
                    <a:pt x="175" y="142"/>
                  </a:cubicBezTo>
                  <a:cubicBezTo>
                    <a:pt x="196" y="142"/>
                    <a:pt x="217" y="142"/>
                    <a:pt x="238" y="142"/>
                  </a:cubicBezTo>
                  <a:cubicBezTo>
                    <a:pt x="247" y="142"/>
                    <a:pt x="248" y="148"/>
                    <a:pt x="248" y="155"/>
                  </a:cubicBezTo>
                  <a:cubicBezTo>
                    <a:pt x="249" y="169"/>
                    <a:pt x="248" y="183"/>
                    <a:pt x="248" y="198"/>
                  </a:cubicBezTo>
                  <a:close/>
                  <a:moveTo>
                    <a:pt x="884" y="1181"/>
                  </a:moveTo>
                  <a:cubicBezTo>
                    <a:pt x="889" y="1167"/>
                    <a:pt x="894" y="1152"/>
                    <a:pt x="898" y="1137"/>
                  </a:cubicBezTo>
                  <a:cubicBezTo>
                    <a:pt x="901" y="1127"/>
                    <a:pt x="905" y="1116"/>
                    <a:pt x="908" y="1106"/>
                  </a:cubicBezTo>
                  <a:cubicBezTo>
                    <a:pt x="911" y="1098"/>
                    <a:pt x="912" y="1089"/>
                    <a:pt x="916" y="1081"/>
                  </a:cubicBezTo>
                  <a:cubicBezTo>
                    <a:pt x="921" y="1072"/>
                    <a:pt x="923" y="1060"/>
                    <a:pt x="927" y="1050"/>
                  </a:cubicBezTo>
                  <a:cubicBezTo>
                    <a:pt x="932" y="1037"/>
                    <a:pt x="934" y="1023"/>
                    <a:pt x="940" y="1010"/>
                  </a:cubicBezTo>
                  <a:cubicBezTo>
                    <a:pt x="945" y="1001"/>
                    <a:pt x="941" y="995"/>
                    <a:pt x="931" y="995"/>
                  </a:cubicBezTo>
                  <a:cubicBezTo>
                    <a:pt x="927" y="995"/>
                    <a:pt x="922" y="995"/>
                    <a:pt x="918" y="995"/>
                  </a:cubicBezTo>
                  <a:cubicBezTo>
                    <a:pt x="913" y="995"/>
                    <a:pt x="908" y="997"/>
                    <a:pt x="907" y="1001"/>
                  </a:cubicBezTo>
                  <a:cubicBezTo>
                    <a:pt x="904" y="1008"/>
                    <a:pt x="900" y="1015"/>
                    <a:pt x="899" y="1023"/>
                  </a:cubicBezTo>
                  <a:cubicBezTo>
                    <a:pt x="897" y="1034"/>
                    <a:pt x="893" y="1045"/>
                    <a:pt x="889" y="1055"/>
                  </a:cubicBezTo>
                  <a:cubicBezTo>
                    <a:pt x="887" y="1064"/>
                    <a:pt x="885" y="1072"/>
                    <a:pt x="882" y="1080"/>
                  </a:cubicBezTo>
                  <a:cubicBezTo>
                    <a:pt x="878" y="1091"/>
                    <a:pt x="874" y="1103"/>
                    <a:pt x="871" y="1115"/>
                  </a:cubicBezTo>
                  <a:cubicBezTo>
                    <a:pt x="870" y="1118"/>
                    <a:pt x="871" y="1124"/>
                    <a:pt x="866" y="1124"/>
                  </a:cubicBezTo>
                  <a:cubicBezTo>
                    <a:pt x="861" y="1125"/>
                    <a:pt x="859" y="1120"/>
                    <a:pt x="858" y="1115"/>
                  </a:cubicBezTo>
                  <a:cubicBezTo>
                    <a:pt x="856" y="1110"/>
                    <a:pt x="856" y="1104"/>
                    <a:pt x="854" y="1099"/>
                  </a:cubicBezTo>
                  <a:cubicBezTo>
                    <a:pt x="848" y="1080"/>
                    <a:pt x="841" y="1062"/>
                    <a:pt x="835" y="1044"/>
                  </a:cubicBezTo>
                  <a:cubicBezTo>
                    <a:pt x="831" y="1030"/>
                    <a:pt x="828" y="1016"/>
                    <a:pt x="822" y="1003"/>
                  </a:cubicBezTo>
                  <a:cubicBezTo>
                    <a:pt x="819" y="997"/>
                    <a:pt x="814" y="994"/>
                    <a:pt x="808" y="994"/>
                  </a:cubicBezTo>
                  <a:cubicBezTo>
                    <a:pt x="799" y="993"/>
                    <a:pt x="791" y="993"/>
                    <a:pt x="787" y="1001"/>
                  </a:cubicBezTo>
                  <a:cubicBezTo>
                    <a:pt x="783" y="1008"/>
                    <a:pt x="780" y="1015"/>
                    <a:pt x="779" y="1022"/>
                  </a:cubicBezTo>
                  <a:cubicBezTo>
                    <a:pt x="778" y="1034"/>
                    <a:pt x="772" y="1044"/>
                    <a:pt x="769" y="1055"/>
                  </a:cubicBezTo>
                  <a:cubicBezTo>
                    <a:pt x="762" y="1076"/>
                    <a:pt x="754" y="1096"/>
                    <a:pt x="749" y="1117"/>
                  </a:cubicBezTo>
                  <a:cubicBezTo>
                    <a:pt x="748" y="1120"/>
                    <a:pt x="747" y="1124"/>
                    <a:pt x="742" y="1124"/>
                  </a:cubicBezTo>
                  <a:cubicBezTo>
                    <a:pt x="737" y="1124"/>
                    <a:pt x="737" y="1120"/>
                    <a:pt x="736" y="1116"/>
                  </a:cubicBezTo>
                  <a:cubicBezTo>
                    <a:pt x="734" y="1104"/>
                    <a:pt x="730" y="1092"/>
                    <a:pt x="726" y="1080"/>
                  </a:cubicBezTo>
                  <a:cubicBezTo>
                    <a:pt x="720" y="1061"/>
                    <a:pt x="714" y="1040"/>
                    <a:pt x="708" y="1020"/>
                  </a:cubicBezTo>
                  <a:cubicBezTo>
                    <a:pt x="703" y="1000"/>
                    <a:pt x="698" y="994"/>
                    <a:pt x="676" y="995"/>
                  </a:cubicBezTo>
                  <a:cubicBezTo>
                    <a:pt x="665" y="996"/>
                    <a:pt x="661" y="1001"/>
                    <a:pt x="667" y="1011"/>
                  </a:cubicBezTo>
                  <a:cubicBezTo>
                    <a:pt x="669" y="1016"/>
                    <a:pt x="670" y="1021"/>
                    <a:pt x="672" y="1025"/>
                  </a:cubicBezTo>
                  <a:cubicBezTo>
                    <a:pt x="675" y="1035"/>
                    <a:pt x="678" y="1046"/>
                    <a:pt x="681" y="1055"/>
                  </a:cubicBezTo>
                  <a:cubicBezTo>
                    <a:pt x="685" y="1068"/>
                    <a:pt x="689" y="1080"/>
                    <a:pt x="693" y="1092"/>
                  </a:cubicBezTo>
                  <a:cubicBezTo>
                    <a:pt x="697" y="1103"/>
                    <a:pt x="699" y="1113"/>
                    <a:pt x="703" y="1124"/>
                  </a:cubicBezTo>
                  <a:cubicBezTo>
                    <a:pt x="707" y="1136"/>
                    <a:pt x="711" y="1147"/>
                    <a:pt x="715" y="1160"/>
                  </a:cubicBezTo>
                  <a:cubicBezTo>
                    <a:pt x="717" y="1168"/>
                    <a:pt x="720" y="1176"/>
                    <a:pt x="724" y="1183"/>
                  </a:cubicBezTo>
                  <a:cubicBezTo>
                    <a:pt x="728" y="1189"/>
                    <a:pt x="752" y="1185"/>
                    <a:pt x="757" y="1180"/>
                  </a:cubicBezTo>
                  <a:cubicBezTo>
                    <a:pt x="764" y="1173"/>
                    <a:pt x="762" y="1163"/>
                    <a:pt x="766" y="1156"/>
                  </a:cubicBezTo>
                  <a:cubicBezTo>
                    <a:pt x="774" y="1140"/>
                    <a:pt x="778" y="1122"/>
                    <a:pt x="784" y="1105"/>
                  </a:cubicBezTo>
                  <a:cubicBezTo>
                    <a:pt x="789" y="1088"/>
                    <a:pt x="796" y="1072"/>
                    <a:pt x="800" y="1054"/>
                  </a:cubicBezTo>
                  <a:cubicBezTo>
                    <a:pt x="800" y="1053"/>
                    <a:pt x="801" y="1050"/>
                    <a:pt x="803" y="1050"/>
                  </a:cubicBezTo>
                  <a:cubicBezTo>
                    <a:pt x="806" y="1050"/>
                    <a:pt x="806" y="1052"/>
                    <a:pt x="807" y="1055"/>
                  </a:cubicBezTo>
                  <a:cubicBezTo>
                    <a:pt x="807" y="1060"/>
                    <a:pt x="810" y="1066"/>
                    <a:pt x="811" y="1071"/>
                  </a:cubicBezTo>
                  <a:cubicBezTo>
                    <a:pt x="814" y="1081"/>
                    <a:pt x="818" y="1090"/>
                    <a:pt x="821" y="1099"/>
                  </a:cubicBezTo>
                  <a:cubicBezTo>
                    <a:pt x="824" y="1110"/>
                    <a:pt x="827" y="1120"/>
                    <a:pt x="831" y="1131"/>
                  </a:cubicBezTo>
                  <a:cubicBezTo>
                    <a:pt x="834" y="1142"/>
                    <a:pt x="839" y="1153"/>
                    <a:pt x="842" y="1164"/>
                  </a:cubicBezTo>
                  <a:cubicBezTo>
                    <a:pt x="846" y="1179"/>
                    <a:pt x="850" y="1188"/>
                    <a:pt x="869" y="1185"/>
                  </a:cubicBezTo>
                  <a:cubicBezTo>
                    <a:pt x="873" y="1184"/>
                    <a:pt x="881" y="1189"/>
                    <a:pt x="884" y="1181"/>
                  </a:cubicBezTo>
                  <a:close/>
                  <a:moveTo>
                    <a:pt x="33" y="1051"/>
                  </a:moveTo>
                  <a:cubicBezTo>
                    <a:pt x="33" y="1087"/>
                    <a:pt x="33" y="1124"/>
                    <a:pt x="33" y="1160"/>
                  </a:cubicBezTo>
                  <a:cubicBezTo>
                    <a:pt x="33" y="1188"/>
                    <a:pt x="29" y="1184"/>
                    <a:pt x="58" y="1185"/>
                  </a:cubicBezTo>
                  <a:cubicBezTo>
                    <a:pt x="72" y="1185"/>
                    <a:pt x="73" y="1184"/>
                    <a:pt x="73" y="1170"/>
                  </a:cubicBezTo>
                  <a:cubicBezTo>
                    <a:pt x="73" y="1138"/>
                    <a:pt x="73" y="1107"/>
                    <a:pt x="73" y="1076"/>
                  </a:cubicBezTo>
                  <a:cubicBezTo>
                    <a:pt x="73" y="1071"/>
                    <a:pt x="72" y="1067"/>
                    <a:pt x="78" y="1065"/>
                  </a:cubicBezTo>
                  <a:cubicBezTo>
                    <a:pt x="91" y="1062"/>
                    <a:pt x="102" y="1067"/>
                    <a:pt x="110" y="1076"/>
                  </a:cubicBezTo>
                  <a:cubicBezTo>
                    <a:pt x="112" y="1080"/>
                    <a:pt x="115" y="1083"/>
                    <a:pt x="118" y="1086"/>
                  </a:cubicBezTo>
                  <a:cubicBezTo>
                    <a:pt x="132" y="1103"/>
                    <a:pt x="146" y="1119"/>
                    <a:pt x="161" y="1136"/>
                  </a:cubicBezTo>
                  <a:cubicBezTo>
                    <a:pt x="173" y="1150"/>
                    <a:pt x="186" y="1165"/>
                    <a:pt x="198" y="1179"/>
                  </a:cubicBezTo>
                  <a:cubicBezTo>
                    <a:pt x="207" y="1188"/>
                    <a:pt x="218" y="1184"/>
                    <a:pt x="228" y="1185"/>
                  </a:cubicBezTo>
                  <a:cubicBezTo>
                    <a:pt x="233" y="1185"/>
                    <a:pt x="241" y="1188"/>
                    <a:pt x="244" y="1182"/>
                  </a:cubicBezTo>
                  <a:cubicBezTo>
                    <a:pt x="246" y="1178"/>
                    <a:pt x="239" y="1173"/>
                    <a:pt x="235" y="1169"/>
                  </a:cubicBezTo>
                  <a:cubicBezTo>
                    <a:pt x="206" y="1133"/>
                    <a:pt x="176" y="1098"/>
                    <a:pt x="146" y="1062"/>
                  </a:cubicBezTo>
                  <a:cubicBezTo>
                    <a:pt x="141" y="1056"/>
                    <a:pt x="131" y="1052"/>
                    <a:pt x="132" y="1044"/>
                  </a:cubicBezTo>
                  <a:cubicBezTo>
                    <a:pt x="132" y="1036"/>
                    <a:pt x="142" y="1032"/>
                    <a:pt x="147" y="1026"/>
                  </a:cubicBezTo>
                  <a:cubicBezTo>
                    <a:pt x="164" y="1006"/>
                    <a:pt x="182" y="988"/>
                    <a:pt x="198" y="968"/>
                  </a:cubicBezTo>
                  <a:cubicBezTo>
                    <a:pt x="209" y="954"/>
                    <a:pt x="221" y="942"/>
                    <a:pt x="234" y="929"/>
                  </a:cubicBezTo>
                  <a:cubicBezTo>
                    <a:pt x="236" y="926"/>
                    <a:pt x="238" y="923"/>
                    <a:pt x="237" y="920"/>
                  </a:cubicBezTo>
                  <a:cubicBezTo>
                    <a:pt x="235" y="915"/>
                    <a:pt x="231" y="917"/>
                    <a:pt x="228" y="917"/>
                  </a:cubicBezTo>
                  <a:cubicBezTo>
                    <a:pt x="224" y="918"/>
                    <a:pt x="221" y="918"/>
                    <a:pt x="217" y="918"/>
                  </a:cubicBezTo>
                  <a:cubicBezTo>
                    <a:pt x="204" y="917"/>
                    <a:pt x="193" y="922"/>
                    <a:pt x="185" y="931"/>
                  </a:cubicBezTo>
                  <a:cubicBezTo>
                    <a:pt x="172" y="946"/>
                    <a:pt x="158" y="961"/>
                    <a:pt x="145" y="977"/>
                  </a:cubicBezTo>
                  <a:cubicBezTo>
                    <a:pt x="131" y="993"/>
                    <a:pt x="117" y="1010"/>
                    <a:pt x="102" y="1026"/>
                  </a:cubicBezTo>
                  <a:cubicBezTo>
                    <a:pt x="96" y="1032"/>
                    <a:pt x="87" y="1037"/>
                    <a:pt x="78" y="1034"/>
                  </a:cubicBezTo>
                  <a:cubicBezTo>
                    <a:pt x="70" y="1030"/>
                    <a:pt x="73" y="1021"/>
                    <a:pt x="73" y="1015"/>
                  </a:cubicBezTo>
                  <a:cubicBezTo>
                    <a:pt x="73" y="991"/>
                    <a:pt x="73" y="967"/>
                    <a:pt x="73" y="944"/>
                  </a:cubicBezTo>
                  <a:cubicBezTo>
                    <a:pt x="73" y="916"/>
                    <a:pt x="75" y="917"/>
                    <a:pt x="46" y="918"/>
                  </a:cubicBezTo>
                  <a:cubicBezTo>
                    <a:pt x="33" y="918"/>
                    <a:pt x="33" y="918"/>
                    <a:pt x="33" y="931"/>
                  </a:cubicBezTo>
                  <a:cubicBezTo>
                    <a:pt x="33" y="971"/>
                    <a:pt x="33" y="1011"/>
                    <a:pt x="33" y="1051"/>
                  </a:cubicBezTo>
                  <a:cubicBezTo>
                    <a:pt x="33" y="1051"/>
                    <a:pt x="33" y="1051"/>
                    <a:pt x="33" y="1051"/>
                  </a:cubicBezTo>
                  <a:close/>
                  <a:moveTo>
                    <a:pt x="639" y="84"/>
                  </a:moveTo>
                  <a:cubicBezTo>
                    <a:pt x="627" y="84"/>
                    <a:pt x="626" y="84"/>
                    <a:pt x="629" y="95"/>
                  </a:cubicBezTo>
                  <a:cubicBezTo>
                    <a:pt x="634" y="113"/>
                    <a:pt x="640" y="131"/>
                    <a:pt x="646" y="148"/>
                  </a:cubicBezTo>
                  <a:cubicBezTo>
                    <a:pt x="652" y="166"/>
                    <a:pt x="658" y="185"/>
                    <a:pt x="664" y="203"/>
                  </a:cubicBezTo>
                  <a:cubicBezTo>
                    <a:pt x="671" y="223"/>
                    <a:pt x="676" y="244"/>
                    <a:pt x="684" y="264"/>
                  </a:cubicBezTo>
                  <a:cubicBezTo>
                    <a:pt x="688" y="274"/>
                    <a:pt x="694" y="274"/>
                    <a:pt x="702" y="274"/>
                  </a:cubicBezTo>
                  <a:cubicBezTo>
                    <a:pt x="711" y="274"/>
                    <a:pt x="719" y="272"/>
                    <a:pt x="723" y="263"/>
                  </a:cubicBezTo>
                  <a:cubicBezTo>
                    <a:pt x="733" y="236"/>
                    <a:pt x="741" y="208"/>
                    <a:pt x="750" y="181"/>
                  </a:cubicBezTo>
                  <a:cubicBezTo>
                    <a:pt x="754" y="169"/>
                    <a:pt x="757" y="156"/>
                    <a:pt x="763" y="145"/>
                  </a:cubicBezTo>
                  <a:cubicBezTo>
                    <a:pt x="764" y="143"/>
                    <a:pt x="764" y="140"/>
                    <a:pt x="767" y="140"/>
                  </a:cubicBezTo>
                  <a:cubicBezTo>
                    <a:pt x="770" y="140"/>
                    <a:pt x="770" y="143"/>
                    <a:pt x="771" y="145"/>
                  </a:cubicBezTo>
                  <a:cubicBezTo>
                    <a:pt x="771" y="156"/>
                    <a:pt x="777" y="165"/>
                    <a:pt x="780" y="175"/>
                  </a:cubicBezTo>
                  <a:cubicBezTo>
                    <a:pt x="782" y="184"/>
                    <a:pt x="785" y="193"/>
                    <a:pt x="788" y="201"/>
                  </a:cubicBezTo>
                  <a:cubicBezTo>
                    <a:pt x="794" y="219"/>
                    <a:pt x="801" y="237"/>
                    <a:pt x="806" y="255"/>
                  </a:cubicBezTo>
                  <a:cubicBezTo>
                    <a:pt x="811" y="272"/>
                    <a:pt x="825" y="280"/>
                    <a:pt x="842" y="273"/>
                  </a:cubicBezTo>
                  <a:cubicBezTo>
                    <a:pt x="845" y="271"/>
                    <a:pt x="847" y="269"/>
                    <a:pt x="848" y="266"/>
                  </a:cubicBezTo>
                  <a:cubicBezTo>
                    <a:pt x="853" y="251"/>
                    <a:pt x="859" y="236"/>
                    <a:pt x="863" y="221"/>
                  </a:cubicBezTo>
                  <a:cubicBezTo>
                    <a:pt x="867" y="202"/>
                    <a:pt x="875" y="185"/>
                    <a:pt x="880" y="166"/>
                  </a:cubicBezTo>
                  <a:cubicBezTo>
                    <a:pt x="886" y="144"/>
                    <a:pt x="895" y="123"/>
                    <a:pt x="900" y="101"/>
                  </a:cubicBezTo>
                  <a:cubicBezTo>
                    <a:pt x="901" y="96"/>
                    <a:pt x="909" y="91"/>
                    <a:pt x="904" y="86"/>
                  </a:cubicBezTo>
                  <a:cubicBezTo>
                    <a:pt x="900" y="81"/>
                    <a:pt x="892" y="84"/>
                    <a:pt x="886" y="84"/>
                  </a:cubicBezTo>
                  <a:cubicBezTo>
                    <a:pt x="885" y="84"/>
                    <a:pt x="883" y="84"/>
                    <a:pt x="881" y="84"/>
                  </a:cubicBezTo>
                  <a:cubicBezTo>
                    <a:pt x="875" y="84"/>
                    <a:pt x="872" y="86"/>
                    <a:pt x="869" y="91"/>
                  </a:cubicBezTo>
                  <a:cubicBezTo>
                    <a:pt x="860" y="110"/>
                    <a:pt x="856" y="131"/>
                    <a:pt x="850" y="151"/>
                  </a:cubicBezTo>
                  <a:cubicBezTo>
                    <a:pt x="844" y="170"/>
                    <a:pt x="836" y="188"/>
                    <a:pt x="834" y="208"/>
                  </a:cubicBezTo>
                  <a:cubicBezTo>
                    <a:pt x="833" y="211"/>
                    <a:pt x="831" y="214"/>
                    <a:pt x="827" y="214"/>
                  </a:cubicBezTo>
                  <a:cubicBezTo>
                    <a:pt x="823" y="214"/>
                    <a:pt x="822" y="210"/>
                    <a:pt x="822" y="207"/>
                  </a:cubicBezTo>
                  <a:cubicBezTo>
                    <a:pt x="817" y="188"/>
                    <a:pt x="811" y="170"/>
                    <a:pt x="805" y="152"/>
                  </a:cubicBezTo>
                  <a:cubicBezTo>
                    <a:pt x="799" y="133"/>
                    <a:pt x="794" y="114"/>
                    <a:pt x="786" y="96"/>
                  </a:cubicBezTo>
                  <a:cubicBezTo>
                    <a:pt x="783" y="87"/>
                    <a:pt x="779" y="84"/>
                    <a:pt x="770" y="84"/>
                  </a:cubicBezTo>
                  <a:cubicBezTo>
                    <a:pt x="761" y="84"/>
                    <a:pt x="752" y="82"/>
                    <a:pt x="748" y="94"/>
                  </a:cubicBezTo>
                  <a:cubicBezTo>
                    <a:pt x="744" y="109"/>
                    <a:pt x="738" y="123"/>
                    <a:pt x="734" y="138"/>
                  </a:cubicBezTo>
                  <a:cubicBezTo>
                    <a:pt x="729" y="153"/>
                    <a:pt x="724" y="167"/>
                    <a:pt x="719" y="182"/>
                  </a:cubicBezTo>
                  <a:cubicBezTo>
                    <a:pt x="716" y="192"/>
                    <a:pt x="715" y="203"/>
                    <a:pt x="708" y="212"/>
                  </a:cubicBezTo>
                  <a:cubicBezTo>
                    <a:pt x="707" y="214"/>
                    <a:pt x="707" y="217"/>
                    <a:pt x="704" y="217"/>
                  </a:cubicBezTo>
                  <a:cubicBezTo>
                    <a:pt x="701" y="217"/>
                    <a:pt x="701" y="213"/>
                    <a:pt x="700" y="211"/>
                  </a:cubicBezTo>
                  <a:cubicBezTo>
                    <a:pt x="699" y="198"/>
                    <a:pt x="694" y="186"/>
                    <a:pt x="690" y="174"/>
                  </a:cubicBezTo>
                  <a:cubicBezTo>
                    <a:pt x="684" y="153"/>
                    <a:pt x="677" y="131"/>
                    <a:pt x="672" y="110"/>
                  </a:cubicBezTo>
                  <a:cubicBezTo>
                    <a:pt x="667" y="88"/>
                    <a:pt x="663" y="84"/>
                    <a:pt x="645" y="84"/>
                  </a:cubicBezTo>
                  <a:cubicBezTo>
                    <a:pt x="643" y="84"/>
                    <a:pt x="641" y="84"/>
                    <a:pt x="639" y="84"/>
                  </a:cubicBezTo>
                  <a:close/>
                  <a:moveTo>
                    <a:pt x="507" y="711"/>
                  </a:moveTo>
                  <a:cubicBezTo>
                    <a:pt x="507" y="730"/>
                    <a:pt x="507" y="730"/>
                    <a:pt x="526" y="730"/>
                  </a:cubicBezTo>
                  <a:cubicBezTo>
                    <a:pt x="539" y="730"/>
                    <a:pt x="541" y="729"/>
                    <a:pt x="541" y="715"/>
                  </a:cubicBezTo>
                  <a:cubicBezTo>
                    <a:pt x="541" y="677"/>
                    <a:pt x="541" y="638"/>
                    <a:pt x="540" y="600"/>
                  </a:cubicBezTo>
                  <a:cubicBezTo>
                    <a:pt x="540" y="593"/>
                    <a:pt x="543" y="587"/>
                    <a:pt x="548" y="582"/>
                  </a:cubicBezTo>
                  <a:cubicBezTo>
                    <a:pt x="553" y="576"/>
                    <a:pt x="559" y="573"/>
                    <a:pt x="564" y="569"/>
                  </a:cubicBezTo>
                  <a:cubicBezTo>
                    <a:pt x="574" y="564"/>
                    <a:pt x="594" y="566"/>
                    <a:pt x="602" y="574"/>
                  </a:cubicBezTo>
                  <a:cubicBezTo>
                    <a:pt x="611" y="582"/>
                    <a:pt x="614" y="592"/>
                    <a:pt x="614" y="604"/>
                  </a:cubicBezTo>
                  <a:cubicBezTo>
                    <a:pt x="614" y="638"/>
                    <a:pt x="614" y="672"/>
                    <a:pt x="614" y="706"/>
                  </a:cubicBezTo>
                  <a:cubicBezTo>
                    <a:pt x="614" y="730"/>
                    <a:pt x="614" y="730"/>
                    <a:pt x="638" y="730"/>
                  </a:cubicBezTo>
                  <a:cubicBezTo>
                    <a:pt x="650" y="730"/>
                    <a:pt x="650" y="730"/>
                    <a:pt x="650" y="717"/>
                  </a:cubicBezTo>
                  <a:cubicBezTo>
                    <a:pt x="650" y="684"/>
                    <a:pt x="650" y="650"/>
                    <a:pt x="650" y="617"/>
                  </a:cubicBezTo>
                  <a:cubicBezTo>
                    <a:pt x="650" y="606"/>
                    <a:pt x="651" y="597"/>
                    <a:pt x="657" y="586"/>
                  </a:cubicBezTo>
                  <a:cubicBezTo>
                    <a:pt x="667" y="565"/>
                    <a:pt x="703" y="560"/>
                    <a:pt x="716" y="579"/>
                  </a:cubicBezTo>
                  <a:cubicBezTo>
                    <a:pt x="723" y="588"/>
                    <a:pt x="724" y="598"/>
                    <a:pt x="724" y="609"/>
                  </a:cubicBezTo>
                  <a:cubicBezTo>
                    <a:pt x="724" y="645"/>
                    <a:pt x="724" y="682"/>
                    <a:pt x="724" y="718"/>
                  </a:cubicBezTo>
                  <a:cubicBezTo>
                    <a:pt x="724" y="727"/>
                    <a:pt x="727" y="731"/>
                    <a:pt x="736" y="730"/>
                  </a:cubicBezTo>
                  <a:cubicBezTo>
                    <a:pt x="738" y="730"/>
                    <a:pt x="741" y="730"/>
                    <a:pt x="743" y="730"/>
                  </a:cubicBezTo>
                  <a:cubicBezTo>
                    <a:pt x="758" y="730"/>
                    <a:pt x="759" y="729"/>
                    <a:pt x="759" y="715"/>
                  </a:cubicBezTo>
                  <a:cubicBezTo>
                    <a:pt x="759" y="677"/>
                    <a:pt x="758" y="639"/>
                    <a:pt x="759" y="601"/>
                  </a:cubicBezTo>
                  <a:cubicBezTo>
                    <a:pt x="759" y="571"/>
                    <a:pt x="742" y="540"/>
                    <a:pt x="704" y="538"/>
                  </a:cubicBezTo>
                  <a:cubicBezTo>
                    <a:pt x="681" y="536"/>
                    <a:pt x="661" y="542"/>
                    <a:pt x="646" y="560"/>
                  </a:cubicBezTo>
                  <a:cubicBezTo>
                    <a:pt x="638" y="569"/>
                    <a:pt x="638" y="569"/>
                    <a:pt x="631" y="559"/>
                  </a:cubicBezTo>
                  <a:cubicBezTo>
                    <a:pt x="630" y="558"/>
                    <a:pt x="630" y="557"/>
                    <a:pt x="629" y="556"/>
                  </a:cubicBezTo>
                  <a:cubicBezTo>
                    <a:pt x="623" y="548"/>
                    <a:pt x="616" y="541"/>
                    <a:pt x="607" y="539"/>
                  </a:cubicBezTo>
                  <a:cubicBezTo>
                    <a:pt x="584" y="534"/>
                    <a:pt x="563" y="539"/>
                    <a:pt x="545" y="555"/>
                  </a:cubicBezTo>
                  <a:cubicBezTo>
                    <a:pt x="540" y="559"/>
                    <a:pt x="537" y="561"/>
                    <a:pt x="537" y="552"/>
                  </a:cubicBezTo>
                  <a:cubicBezTo>
                    <a:pt x="536" y="543"/>
                    <a:pt x="526" y="538"/>
                    <a:pt x="515" y="539"/>
                  </a:cubicBezTo>
                  <a:cubicBezTo>
                    <a:pt x="506" y="540"/>
                    <a:pt x="507" y="546"/>
                    <a:pt x="507" y="552"/>
                  </a:cubicBezTo>
                  <a:cubicBezTo>
                    <a:pt x="507" y="580"/>
                    <a:pt x="507" y="607"/>
                    <a:pt x="507" y="634"/>
                  </a:cubicBezTo>
                  <a:cubicBezTo>
                    <a:pt x="507" y="660"/>
                    <a:pt x="507" y="685"/>
                    <a:pt x="507" y="711"/>
                  </a:cubicBezTo>
                  <a:close/>
                  <a:moveTo>
                    <a:pt x="1525" y="1142"/>
                  </a:moveTo>
                  <a:cubicBezTo>
                    <a:pt x="1517" y="1143"/>
                    <a:pt x="1511" y="1141"/>
                    <a:pt x="1505" y="1136"/>
                  </a:cubicBezTo>
                  <a:cubicBezTo>
                    <a:pt x="1501" y="1133"/>
                    <a:pt x="1495" y="1130"/>
                    <a:pt x="1498" y="1124"/>
                  </a:cubicBezTo>
                  <a:cubicBezTo>
                    <a:pt x="1500" y="1118"/>
                    <a:pt x="1504" y="1114"/>
                    <a:pt x="1512" y="1114"/>
                  </a:cubicBezTo>
                  <a:cubicBezTo>
                    <a:pt x="1521" y="1115"/>
                    <a:pt x="1530" y="1114"/>
                    <a:pt x="1538" y="1115"/>
                  </a:cubicBezTo>
                  <a:cubicBezTo>
                    <a:pt x="1573" y="1117"/>
                    <a:pt x="1610" y="1084"/>
                    <a:pt x="1602" y="1044"/>
                  </a:cubicBezTo>
                  <a:cubicBezTo>
                    <a:pt x="1600" y="1035"/>
                    <a:pt x="1599" y="1028"/>
                    <a:pt x="1611" y="1027"/>
                  </a:cubicBezTo>
                  <a:cubicBezTo>
                    <a:pt x="1614" y="1027"/>
                    <a:pt x="1617" y="1024"/>
                    <a:pt x="1619" y="1023"/>
                  </a:cubicBezTo>
                  <a:cubicBezTo>
                    <a:pt x="1626" y="1019"/>
                    <a:pt x="1624" y="1013"/>
                    <a:pt x="1623" y="1008"/>
                  </a:cubicBezTo>
                  <a:cubicBezTo>
                    <a:pt x="1623" y="1002"/>
                    <a:pt x="1618" y="1003"/>
                    <a:pt x="1613" y="1002"/>
                  </a:cubicBezTo>
                  <a:cubicBezTo>
                    <a:pt x="1598" y="1002"/>
                    <a:pt x="1582" y="1004"/>
                    <a:pt x="1567" y="1000"/>
                  </a:cubicBezTo>
                  <a:cubicBezTo>
                    <a:pt x="1560" y="999"/>
                    <a:pt x="1554" y="993"/>
                    <a:pt x="1546" y="993"/>
                  </a:cubicBezTo>
                  <a:cubicBezTo>
                    <a:pt x="1536" y="994"/>
                    <a:pt x="1525" y="992"/>
                    <a:pt x="1515" y="993"/>
                  </a:cubicBezTo>
                  <a:cubicBezTo>
                    <a:pt x="1490" y="997"/>
                    <a:pt x="1469" y="1010"/>
                    <a:pt x="1462" y="1034"/>
                  </a:cubicBezTo>
                  <a:cubicBezTo>
                    <a:pt x="1455" y="1056"/>
                    <a:pt x="1457" y="1079"/>
                    <a:pt x="1476" y="1096"/>
                  </a:cubicBezTo>
                  <a:cubicBezTo>
                    <a:pt x="1483" y="1103"/>
                    <a:pt x="1483" y="1107"/>
                    <a:pt x="1476" y="1113"/>
                  </a:cubicBezTo>
                  <a:cubicBezTo>
                    <a:pt x="1462" y="1126"/>
                    <a:pt x="1462" y="1142"/>
                    <a:pt x="1473" y="1157"/>
                  </a:cubicBezTo>
                  <a:cubicBezTo>
                    <a:pt x="1476" y="1160"/>
                    <a:pt x="1476" y="1162"/>
                    <a:pt x="1472" y="1164"/>
                  </a:cubicBezTo>
                  <a:cubicBezTo>
                    <a:pt x="1470" y="1166"/>
                    <a:pt x="1468" y="1168"/>
                    <a:pt x="1466" y="1170"/>
                  </a:cubicBezTo>
                  <a:cubicBezTo>
                    <a:pt x="1449" y="1183"/>
                    <a:pt x="1444" y="1201"/>
                    <a:pt x="1454" y="1218"/>
                  </a:cubicBezTo>
                  <a:cubicBezTo>
                    <a:pt x="1464" y="1235"/>
                    <a:pt x="1479" y="1246"/>
                    <a:pt x="1499" y="1249"/>
                  </a:cubicBezTo>
                  <a:cubicBezTo>
                    <a:pt x="1517" y="1252"/>
                    <a:pt x="1535" y="1253"/>
                    <a:pt x="1553" y="1250"/>
                  </a:cubicBezTo>
                  <a:cubicBezTo>
                    <a:pt x="1584" y="1245"/>
                    <a:pt x="1607" y="1232"/>
                    <a:pt x="1619" y="1200"/>
                  </a:cubicBezTo>
                  <a:cubicBezTo>
                    <a:pt x="1627" y="1180"/>
                    <a:pt x="1611" y="1155"/>
                    <a:pt x="1593" y="1148"/>
                  </a:cubicBezTo>
                  <a:cubicBezTo>
                    <a:pt x="1578" y="1142"/>
                    <a:pt x="1563" y="1143"/>
                    <a:pt x="1549" y="1142"/>
                  </a:cubicBezTo>
                  <a:cubicBezTo>
                    <a:pt x="1540" y="1142"/>
                    <a:pt x="1532" y="1142"/>
                    <a:pt x="1525" y="1142"/>
                  </a:cubicBezTo>
                  <a:close/>
                  <a:moveTo>
                    <a:pt x="1556" y="1172"/>
                  </a:moveTo>
                  <a:cubicBezTo>
                    <a:pt x="1566" y="1172"/>
                    <a:pt x="1576" y="1176"/>
                    <a:pt x="1583" y="1183"/>
                  </a:cubicBezTo>
                  <a:cubicBezTo>
                    <a:pt x="1589" y="1190"/>
                    <a:pt x="1589" y="1198"/>
                    <a:pt x="1583" y="1205"/>
                  </a:cubicBezTo>
                  <a:cubicBezTo>
                    <a:pt x="1575" y="1215"/>
                    <a:pt x="1565" y="1220"/>
                    <a:pt x="1553" y="1223"/>
                  </a:cubicBezTo>
                  <a:cubicBezTo>
                    <a:pt x="1534" y="1228"/>
                    <a:pt x="1516" y="1225"/>
                    <a:pt x="1499" y="1219"/>
                  </a:cubicBezTo>
                  <a:cubicBezTo>
                    <a:pt x="1486" y="1214"/>
                    <a:pt x="1479" y="1203"/>
                    <a:pt x="1482" y="1193"/>
                  </a:cubicBezTo>
                  <a:cubicBezTo>
                    <a:pt x="1485" y="1182"/>
                    <a:pt x="1496" y="1168"/>
                    <a:pt x="1514" y="1171"/>
                  </a:cubicBezTo>
                  <a:cubicBezTo>
                    <a:pt x="1526" y="1173"/>
                    <a:pt x="1541" y="1171"/>
                    <a:pt x="1556" y="1172"/>
                  </a:cubicBezTo>
                  <a:close/>
                  <a:moveTo>
                    <a:pt x="1531" y="1019"/>
                  </a:moveTo>
                  <a:cubicBezTo>
                    <a:pt x="1553" y="1017"/>
                    <a:pt x="1570" y="1033"/>
                    <a:pt x="1570" y="1052"/>
                  </a:cubicBezTo>
                  <a:cubicBezTo>
                    <a:pt x="1570" y="1075"/>
                    <a:pt x="1554" y="1093"/>
                    <a:pt x="1532" y="1091"/>
                  </a:cubicBezTo>
                  <a:cubicBezTo>
                    <a:pt x="1508" y="1089"/>
                    <a:pt x="1494" y="1082"/>
                    <a:pt x="1493" y="1053"/>
                  </a:cubicBezTo>
                  <a:cubicBezTo>
                    <a:pt x="1494" y="1029"/>
                    <a:pt x="1508" y="1020"/>
                    <a:pt x="1531" y="1019"/>
                  </a:cubicBezTo>
                  <a:close/>
                  <a:moveTo>
                    <a:pt x="1413" y="934"/>
                  </a:moveTo>
                  <a:cubicBezTo>
                    <a:pt x="1413" y="909"/>
                    <a:pt x="1413" y="909"/>
                    <a:pt x="1389" y="910"/>
                  </a:cubicBezTo>
                  <a:cubicBezTo>
                    <a:pt x="1388" y="910"/>
                    <a:pt x="1387" y="910"/>
                    <a:pt x="1387" y="910"/>
                  </a:cubicBezTo>
                  <a:cubicBezTo>
                    <a:pt x="1379" y="910"/>
                    <a:pt x="1376" y="915"/>
                    <a:pt x="1376" y="921"/>
                  </a:cubicBezTo>
                  <a:cubicBezTo>
                    <a:pt x="1376" y="939"/>
                    <a:pt x="1377" y="956"/>
                    <a:pt x="1377" y="974"/>
                  </a:cubicBezTo>
                  <a:cubicBezTo>
                    <a:pt x="1377" y="983"/>
                    <a:pt x="1377" y="991"/>
                    <a:pt x="1377" y="1000"/>
                  </a:cubicBezTo>
                  <a:cubicBezTo>
                    <a:pt x="1377" y="1005"/>
                    <a:pt x="1374" y="1009"/>
                    <a:pt x="1369" y="1005"/>
                  </a:cubicBezTo>
                  <a:cubicBezTo>
                    <a:pt x="1352" y="990"/>
                    <a:pt x="1332" y="993"/>
                    <a:pt x="1312" y="993"/>
                  </a:cubicBezTo>
                  <a:cubicBezTo>
                    <a:pt x="1303" y="994"/>
                    <a:pt x="1294" y="998"/>
                    <a:pt x="1287" y="1003"/>
                  </a:cubicBezTo>
                  <a:cubicBezTo>
                    <a:pt x="1265" y="1017"/>
                    <a:pt x="1252" y="1039"/>
                    <a:pt x="1248" y="1065"/>
                  </a:cubicBezTo>
                  <a:cubicBezTo>
                    <a:pt x="1244" y="1096"/>
                    <a:pt x="1244" y="1128"/>
                    <a:pt x="1261" y="1157"/>
                  </a:cubicBezTo>
                  <a:cubicBezTo>
                    <a:pt x="1270" y="1170"/>
                    <a:pt x="1281" y="1181"/>
                    <a:pt x="1296" y="1185"/>
                  </a:cubicBezTo>
                  <a:cubicBezTo>
                    <a:pt x="1323" y="1191"/>
                    <a:pt x="1349" y="1188"/>
                    <a:pt x="1370" y="1167"/>
                  </a:cubicBezTo>
                  <a:cubicBezTo>
                    <a:pt x="1372" y="1165"/>
                    <a:pt x="1375" y="1162"/>
                    <a:pt x="1379" y="1163"/>
                  </a:cubicBezTo>
                  <a:cubicBezTo>
                    <a:pt x="1382" y="1165"/>
                    <a:pt x="1381" y="1169"/>
                    <a:pt x="1381" y="1172"/>
                  </a:cubicBezTo>
                  <a:cubicBezTo>
                    <a:pt x="1383" y="1181"/>
                    <a:pt x="1390" y="1186"/>
                    <a:pt x="1403" y="1186"/>
                  </a:cubicBezTo>
                  <a:cubicBezTo>
                    <a:pt x="1413" y="1185"/>
                    <a:pt x="1413" y="1178"/>
                    <a:pt x="1413" y="1172"/>
                  </a:cubicBezTo>
                  <a:cubicBezTo>
                    <a:pt x="1413" y="1131"/>
                    <a:pt x="1413" y="1090"/>
                    <a:pt x="1413" y="1049"/>
                  </a:cubicBezTo>
                  <a:cubicBezTo>
                    <a:pt x="1413" y="1010"/>
                    <a:pt x="1413" y="972"/>
                    <a:pt x="1413" y="934"/>
                  </a:cubicBezTo>
                  <a:close/>
                  <a:moveTo>
                    <a:pt x="1378" y="1113"/>
                  </a:moveTo>
                  <a:cubicBezTo>
                    <a:pt x="1378" y="1136"/>
                    <a:pt x="1360" y="1155"/>
                    <a:pt x="1337" y="1157"/>
                  </a:cubicBezTo>
                  <a:cubicBezTo>
                    <a:pt x="1319" y="1159"/>
                    <a:pt x="1304" y="1154"/>
                    <a:pt x="1294" y="1139"/>
                  </a:cubicBezTo>
                  <a:cubicBezTo>
                    <a:pt x="1286" y="1128"/>
                    <a:pt x="1283" y="1116"/>
                    <a:pt x="1283" y="1102"/>
                  </a:cubicBezTo>
                  <a:cubicBezTo>
                    <a:pt x="1282" y="1085"/>
                    <a:pt x="1282" y="1067"/>
                    <a:pt x="1290" y="1051"/>
                  </a:cubicBezTo>
                  <a:cubicBezTo>
                    <a:pt x="1297" y="1036"/>
                    <a:pt x="1308" y="1024"/>
                    <a:pt x="1325" y="1022"/>
                  </a:cubicBezTo>
                  <a:cubicBezTo>
                    <a:pt x="1342" y="1020"/>
                    <a:pt x="1358" y="1021"/>
                    <a:pt x="1371" y="1035"/>
                  </a:cubicBezTo>
                  <a:cubicBezTo>
                    <a:pt x="1376" y="1041"/>
                    <a:pt x="1378" y="1046"/>
                    <a:pt x="1378" y="1052"/>
                  </a:cubicBezTo>
                  <a:cubicBezTo>
                    <a:pt x="1378" y="1064"/>
                    <a:pt x="1378" y="1075"/>
                    <a:pt x="1378" y="1086"/>
                  </a:cubicBezTo>
                  <a:cubicBezTo>
                    <a:pt x="1378" y="1086"/>
                    <a:pt x="1378" y="1086"/>
                    <a:pt x="1378" y="1086"/>
                  </a:cubicBezTo>
                  <a:cubicBezTo>
                    <a:pt x="1378" y="1095"/>
                    <a:pt x="1378" y="1104"/>
                    <a:pt x="1378" y="1113"/>
                  </a:cubicBezTo>
                  <a:close/>
                  <a:moveTo>
                    <a:pt x="578" y="259"/>
                  </a:moveTo>
                  <a:cubicBezTo>
                    <a:pt x="603" y="241"/>
                    <a:pt x="611" y="213"/>
                    <a:pt x="614" y="183"/>
                  </a:cubicBezTo>
                  <a:cubicBezTo>
                    <a:pt x="615" y="171"/>
                    <a:pt x="610" y="159"/>
                    <a:pt x="609" y="147"/>
                  </a:cubicBezTo>
                  <a:cubicBezTo>
                    <a:pt x="608" y="137"/>
                    <a:pt x="603" y="129"/>
                    <a:pt x="599" y="121"/>
                  </a:cubicBezTo>
                  <a:cubicBezTo>
                    <a:pt x="579" y="87"/>
                    <a:pt x="527" y="70"/>
                    <a:pt x="488" y="85"/>
                  </a:cubicBezTo>
                  <a:cubicBezTo>
                    <a:pt x="453" y="99"/>
                    <a:pt x="436" y="127"/>
                    <a:pt x="431" y="163"/>
                  </a:cubicBezTo>
                  <a:cubicBezTo>
                    <a:pt x="429" y="180"/>
                    <a:pt x="430" y="196"/>
                    <a:pt x="436" y="213"/>
                  </a:cubicBezTo>
                  <a:cubicBezTo>
                    <a:pt x="439" y="222"/>
                    <a:pt x="442" y="232"/>
                    <a:pt x="447" y="239"/>
                  </a:cubicBezTo>
                  <a:cubicBezTo>
                    <a:pt x="465" y="265"/>
                    <a:pt x="491" y="277"/>
                    <a:pt x="525" y="276"/>
                  </a:cubicBezTo>
                  <a:cubicBezTo>
                    <a:pt x="543" y="278"/>
                    <a:pt x="562" y="271"/>
                    <a:pt x="578" y="259"/>
                  </a:cubicBezTo>
                  <a:close/>
                  <a:moveTo>
                    <a:pt x="471" y="205"/>
                  </a:moveTo>
                  <a:cubicBezTo>
                    <a:pt x="466" y="185"/>
                    <a:pt x="468" y="167"/>
                    <a:pt x="472" y="147"/>
                  </a:cubicBezTo>
                  <a:cubicBezTo>
                    <a:pt x="477" y="130"/>
                    <a:pt x="493" y="116"/>
                    <a:pt x="509" y="112"/>
                  </a:cubicBezTo>
                  <a:cubicBezTo>
                    <a:pt x="525" y="108"/>
                    <a:pt x="539" y="110"/>
                    <a:pt x="553" y="119"/>
                  </a:cubicBezTo>
                  <a:cubicBezTo>
                    <a:pt x="563" y="125"/>
                    <a:pt x="568" y="135"/>
                    <a:pt x="571" y="146"/>
                  </a:cubicBezTo>
                  <a:cubicBezTo>
                    <a:pt x="577" y="167"/>
                    <a:pt x="578" y="189"/>
                    <a:pt x="571" y="211"/>
                  </a:cubicBezTo>
                  <a:cubicBezTo>
                    <a:pt x="565" y="231"/>
                    <a:pt x="549" y="249"/>
                    <a:pt x="521" y="247"/>
                  </a:cubicBezTo>
                  <a:cubicBezTo>
                    <a:pt x="496" y="247"/>
                    <a:pt x="478" y="230"/>
                    <a:pt x="471" y="205"/>
                  </a:cubicBezTo>
                  <a:close/>
                  <a:moveTo>
                    <a:pt x="472" y="1122"/>
                  </a:moveTo>
                  <a:cubicBezTo>
                    <a:pt x="475" y="1136"/>
                    <a:pt x="481" y="1148"/>
                    <a:pt x="491" y="1158"/>
                  </a:cubicBezTo>
                  <a:cubicBezTo>
                    <a:pt x="506" y="1176"/>
                    <a:pt x="524" y="1185"/>
                    <a:pt x="548" y="1187"/>
                  </a:cubicBezTo>
                  <a:cubicBezTo>
                    <a:pt x="568" y="1188"/>
                    <a:pt x="587" y="1187"/>
                    <a:pt x="605" y="1177"/>
                  </a:cubicBezTo>
                  <a:cubicBezTo>
                    <a:pt x="632" y="1162"/>
                    <a:pt x="644" y="1136"/>
                    <a:pt x="649" y="1107"/>
                  </a:cubicBezTo>
                  <a:cubicBezTo>
                    <a:pt x="652" y="1089"/>
                    <a:pt x="649" y="1072"/>
                    <a:pt x="644" y="1054"/>
                  </a:cubicBezTo>
                  <a:cubicBezTo>
                    <a:pt x="638" y="1034"/>
                    <a:pt x="627" y="1019"/>
                    <a:pt x="610" y="1007"/>
                  </a:cubicBezTo>
                  <a:cubicBezTo>
                    <a:pt x="589" y="992"/>
                    <a:pt x="566" y="991"/>
                    <a:pt x="541" y="994"/>
                  </a:cubicBezTo>
                  <a:cubicBezTo>
                    <a:pt x="526" y="995"/>
                    <a:pt x="512" y="1002"/>
                    <a:pt x="500" y="1012"/>
                  </a:cubicBezTo>
                  <a:cubicBezTo>
                    <a:pt x="476" y="1032"/>
                    <a:pt x="469" y="1060"/>
                    <a:pt x="466" y="1095"/>
                  </a:cubicBezTo>
                  <a:cubicBezTo>
                    <a:pt x="465" y="1101"/>
                    <a:pt x="470" y="1111"/>
                    <a:pt x="472" y="1122"/>
                  </a:cubicBezTo>
                  <a:close/>
                  <a:moveTo>
                    <a:pt x="508" y="1113"/>
                  </a:moveTo>
                  <a:cubicBezTo>
                    <a:pt x="505" y="1095"/>
                    <a:pt x="506" y="1078"/>
                    <a:pt x="508" y="1061"/>
                  </a:cubicBezTo>
                  <a:cubicBezTo>
                    <a:pt x="511" y="1042"/>
                    <a:pt x="538" y="1021"/>
                    <a:pt x="554" y="1022"/>
                  </a:cubicBezTo>
                  <a:cubicBezTo>
                    <a:pt x="570" y="1022"/>
                    <a:pt x="586" y="1024"/>
                    <a:pt x="596" y="1037"/>
                  </a:cubicBezTo>
                  <a:cubicBezTo>
                    <a:pt x="602" y="1044"/>
                    <a:pt x="607" y="1052"/>
                    <a:pt x="608" y="1061"/>
                  </a:cubicBezTo>
                  <a:cubicBezTo>
                    <a:pt x="608" y="1064"/>
                    <a:pt x="609" y="1067"/>
                    <a:pt x="610" y="1070"/>
                  </a:cubicBezTo>
                  <a:cubicBezTo>
                    <a:pt x="618" y="1089"/>
                    <a:pt x="612" y="1107"/>
                    <a:pt x="607" y="1125"/>
                  </a:cubicBezTo>
                  <a:cubicBezTo>
                    <a:pt x="601" y="1143"/>
                    <a:pt x="588" y="1160"/>
                    <a:pt x="558" y="1157"/>
                  </a:cubicBezTo>
                  <a:cubicBezTo>
                    <a:pt x="530" y="1157"/>
                    <a:pt x="512" y="1141"/>
                    <a:pt x="508" y="1113"/>
                  </a:cubicBezTo>
                  <a:close/>
                  <a:moveTo>
                    <a:pt x="430" y="716"/>
                  </a:moveTo>
                  <a:cubicBezTo>
                    <a:pt x="450" y="703"/>
                    <a:pt x="459" y="683"/>
                    <a:pt x="464" y="661"/>
                  </a:cubicBezTo>
                  <a:cubicBezTo>
                    <a:pt x="468" y="648"/>
                    <a:pt x="467" y="635"/>
                    <a:pt x="466" y="621"/>
                  </a:cubicBezTo>
                  <a:cubicBezTo>
                    <a:pt x="463" y="592"/>
                    <a:pt x="453" y="567"/>
                    <a:pt x="427" y="550"/>
                  </a:cubicBezTo>
                  <a:cubicBezTo>
                    <a:pt x="401" y="534"/>
                    <a:pt x="372" y="532"/>
                    <a:pt x="345" y="541"/>
                  </a:cubicBezTo>
                  <a:cubicBezTo>
                    <a:pt x="310" y="552"/>
                    <a:pt x="291" y="580"/>
                    <a:pt x="287" y="617"/>
                  </a:cubicBezTo>
                  <a:cubicBezTo>
                    <a:pt x="286" y="629"/>
                    <a:pt x="286" y="641"/>
                    <a:pt x="287" y="654"/>
                  </a:cubicBezTo>
                  <a:cubicBezTo>
                    <a:pt x="289" y="671"/>
                    <a:pt x="295" y="686"/>
                    <a:pt x="306" y="700"/>
                  </a:cubicBezTo>
                  <a:cubicBezTo>
                    <a:pt x="324" y="722"/>
                    <a:pt x="348" y="733"/>
                    <a:pt x="378" y="731"/>
                  </a:cubicBezTo>
                  <a:cubicBezTo>
                    <a:pt x="396" y="733"/>
                    <a:pt x="414" y="727"/>
                    <a:pt x="430" y="716"/>
                  </a:cubicBezTo>
                  <a:close/>
                  <a:moveTo>
                    <a:pt x="331" y="592"/>
                  </a:moveTo>
                  <a:cubicBezTo>
                    <a:pt x="339" y="580"/>
                    <a:pt x="349" y="569"/>
                    <a:pt x="365" y="567"/>
                  </a:cubicBezTo>
                  <a:cubicBezTo>
                    <a:pt x="387" y="564"/>
                    <a:pt x="406" y="568"/>
                    <a:pt x="419" y="588"/>
                  </a:cubicBezTo>
                  <a:cubicBezTo>
                    <a:pt x="423" y="595"/>
                    <a:pt x="426" y="603"/>
                    <a:pt x="427" y="610"/>
                  </a:cubicBezTo>
                  <a:cubicBezTo>
                    <a:pt x="433" y="635"/>
                    <a:pt x="431" y="661"/>
                    <a:pt x="416" y="684"/>
                  </a:cubicBezTo>
                  <a:cubicBezTo>
                    <a:pt x="403" y="706"/>
                    <a:pt x="362" y="708"/>
                    <a:pt x="345" y="692"/>
                  </a:cubicBezTo>
                  <a:cubicBezTo>
                    <a:pt x="329" y="678"/>
                    <a:pt x="323" y="661"/>
                    <a:pt x="323" y="631"/>
                  </a:cubicBezTo>
                  <a:cubicBezTo>
                    <a:pt x="323" y="619"/>
                    <a:pt x="323" y="605"/>
                    <a:pt x="331" y="592"/>
                  </a:cubicBezTo>
                  <a:close/>
                  <a:moveTo>
                    <a:pt x="1073" y="259"/>
                  </a:moveTo>
                  <a:cubicBezTo>
                    <a:pt x="1073" y="269"/>
                    <a:pt x="1075" y="272"/>
                    <a:pt x="1086" y="272"/>
                  </a:cubicBezTo>
                  <a:cubicBezTo>
                    <a:pt x="1088" y="272"/>
                    <a:pt x="1090" y="272"/>
                    <a:pt x="1092" y="272"/>
                  </a:cubicBezTo>
                  <a:cubicBezTo>
                    <a:pt x="1105" y="272"/>
                    <a:pt x="1106" y="271"/>
                    <a:pt x="1106" y="258"/>
                  </a:cubicBezTo>
                  <a:cubicBezTo>
                    <a:pt x="1106" y="221"/>
                    <a:pt x="1106" y="184"/>
                    <a:pt x="1106" y="147"/>
                  </a:cubicBezTo>
                  <a:cubicBezTo>
                    <a:pt x="1106" y="143"/>
                    <a:pt x="1106" y="140"/>
                    <a:pt x="1107" y="137"/>
                  </a:cubicBezTo>
                  <a:cubicBezTo>
                    <a:pt x="1117" y="117"/>
                    <a:pt x="1157" y="104"/>
                    <a:pt x="1177" y="114"/>
                  </a:cubicBezTo>
                  <a:cubicBezTo>
                    <a:pt x="1179" y="115"/>
                    <a:pt x="1180" y="117"/>
                    <a:pt x="1182" y="118"/>
                  </a:cubicBezTo>
                  <a:cubicBezTo>
                    <a:pt x="1194" y="131"/>
                    <a:pt x="1196" y="147"/>
                    <a:pt x="1196" y="163"/>
                  </a:cubicBezTo>
                  <a:cubicBezTo>
                    <a:pt x="1197" y="195"/>
                    <a:pt x="1196" y="226"/>
                    <a:pt x="1196" y="258"/>
                  </a:cubicBezTo>
                  <a:cubicBezTo>
                    <a:pt x="1196" y="271"/>
                    <a:pt x="1197" y="272"/>
                    <a:pt x="1210" y="272"/>
                  </a:cubicBezTo>
                  <a:cubicBezTo>
                    <a:pt x="1212" y="272"/>
                    <a:pt x="1213" y="272"/>
                    <a:pt x="1215" y="272"/>
                  </a:cubicBezTo>
                  <a:cubicBezTo>
                    <a:pt x="1227" y="272"/>
                    <a:pt x="1229" y="270"/>
                    <a:pt x="1229" y="258"/>
                  </a:cubicBezTo>
                  <a:cubicBezTo>
                    <a:pt x="1229" y="222"/>
                    <a:pt x="1229" y="187"/>
                    <a:pt x="1229" y="151"/>
                  </a:cubicBezTo>
                  <a:cubicBezTo>
                    <a:pt x="1229" y="142"/>
                    <a:pt x="1228" y="132"/>
                    <a:pt x="1225" y="123"/>
                  </a:cubicBezTo>
                  <a:cubicBezTo>
                    <a:pt x="1219" y="105"/>
                    <a:pt x="1208" y="91"/>
                    <a:pt x="1189" y="85"/>
                  </a:cubicBezTo>
                  <a:cubicBezTo>
                    <a:pt x="1173" y="80"/>
                    <a:pt x="1156" y="84"/>
                    <a:pt x="1139" y="84"/>
                  </a:cubicBezTo>
                  <a:cubicBezTo>
                    <a:pt x="1137" y="84"/>
                    <a:pt x="1136" y="86"/>
                    <a:pt x="1134" y="87"/>
                  </a:cubicBezTo>
                  <a:cubicBezTo>
                    <a:pt x="1128" y="91"/>
                    <a:pt x="1121" y="96"/>
                    <a:pt x="1115" y="100"/>
                  </a:cubicBezTo>
                  <a:cubicBezTo>
                    <a:pt x="1113" y="102"/>
                    <a:pt x="1111" y="105"/>
                    <a:pt x="1108" y="103"/>
                  </a:cubicBezTo>
                  <a:cubicBezTo>
                    <a:pt x="1105" y="102"/>
                    <a:pt x="1106" y="98"/>
                    <a:pt x="1106" y="96"/>
                  </a:cubicBezTo>
                  <a:cubicBezTo>
                    <a:pt x="1106" y="69"/>
                    <a:pt x="1106" y="43"/>
                    <a:pt x="1106" y="17"/>
                  </a:cubicBezTo>
                  <a:cubicBezTo>
                    <a:pt x="1106" y="0"/>
                    <a:pt x="1106" y="0"/>
                    <a:pt x="1089" y="0"/>
                  </a:cubicBezTo>
                  <a:cubicBezTo>
                    <a:pt x="1074" y="0"/>
                    <a:pt x="1073" y="1"/>
                    <a:pt x="1073" y="16"/>
                  </a:cubicBezTo>
                  <a:cubicBezTo>
                    <a:pt x="1073" y="56"/>
                    <a:pt x="1073" y="96"/>
                    <a:pt x="1073" y="136"/>
                  </a:cubicBezTo>
                  <a:cubicBezTo>
                    <a:pt x="1073" y="177"/>
                    <a:pt x="1073" y="218"/>
                    <a:pt x="1073" y="259"/>
                  </a:cubicBezTo>
                  <a:close/>
                  <a:moveTo>
                    <a:pt x="1150" y="1092"/>
                  </a:moveTo>
                  <a:cubicBezTo>
                    <a:pt x="1168" y="1092"/>
                    <a:pt x="1186" y="1092"/>
                    <a:pt x="1204" y="1092"/>
                  </a:cubicBezTo>
                  <a:cubicBezTo>
                    <a:pt x="1215" y="1092"/>
                    <a:pt x="1218" y="1087"/>
                    <a:pt x="1219" y="1077"/>
                  </a:cubicBezTo>
                  <a:cubicBezTo>
                    <a:pt x="1220" y="1062"/>
                    <a:pt x="1216" y="1049"/>
                    <a:pt x="1210" y="1036"/>
                  </a:cubicBezTo>
                  <a:cubicBezTo>
                    <a:pt x="1204" y="1020"/>
                    <a:pt x="1193" y="1008"/>
                    <a:pt x="1177" y="1001"/>
                  </a:cubicBezTo>
                  <a:cubicBezTo>
                    <a:pt x="1155" y="992"/>
                    <a:pt x="1133" y="991"/>
                    <a:pt x="1109" y="999"/>
                  </a:cubicBezTo>
                  <a:cubicBezTo>
                    <a:pt x="1079" y="1010"/>
                    <a:pt x="1062" y="1031"/>
                    <a:pt x="1056" y="1061"/>
                  </a:cubicBezTo>
                  <a:cubicBezTo>
                    <a:pt x="1051" y="1090"/>
                    <a:pt x="1052" y="1120"/>
                    <a:pt x="1069" y="1148"/>
                  </a:cubicBezTo>
                  <a:cubicBezTo>
                    <a:pt x="1081" y="1169"/>
                    <a:pt x="1100" y="1180"/>
                    <a:pt x="1122" y="1185"/>
                  </a:cubicBezTo>
                  <a:cubicBezTo>
                    <a:pt x="1149" y="1190"/>
                    <a:pt x="1176" y="1186"/>
                    <a:pt x="1200" y="1171"/>
                  </a:cubicBezTo>
                  <a:cubicBezTo>
                    <a:pt x="1206" y="1168"/>
                    <a:pt x="1213" y="1165"/>
                    <a:pt x="1214" y="1157"/>
                  </a:cubicBezTo>
                  <a:cubicBezTo>
                    <a:pt x="1215" y="1147"/>
                    <a:pt x="1202" y="1139"/>
                    <a:pt x="1193" y="1144"/>
                  </a:cubicBezTo>
                  <a:cubicBezTo>
                    <a:pt x="1187" y="1147"/>
                    <a:pt x="1180" y="1150"/>
                    <a:pt x="1174" y="1153"/>
                  </a:cubicBezTo>
                  <a:cubicBezTo>
                    <a:pt x="1158" y="1161"/>
                    <a:pt x="1140" y="1161"/>
                    <a:pt x="1124" y="1155"/>
                  </a:cubicBezTo>
                  <a:cubicBezTo>
                    <a:pt x="1112" y="1151"/>
                    <a:pt x="1102" y="1142"/>
                    <a:pt x="1096" y="1129"/>
                  </a:cubicBezTo>
                  <a:cubicBezTo>
                    <a:pt x="1092" y="1121"/>
                    <a:pt x="1091" y="1112"/>
                    <a:pt x="1089" y="1104"/>
                  </a:cubicBezTo>
                  <a:cubicBezTo>
                    <a:pt x="1087" y="1093"/>
                    <a:pt x="1087" y="1092"/>
                    <a:pt x="1099" y="1092"/>
                  </a:cubicBezTo>
                  <a:cubicBezTo>
                    <a:pt x="1116" y="1092"/>
                    <a:pt x="1133" y="1092"/>
                    <a:pt x="1150" y="1092"/>
                  </a:cubicBezTo>
                  <a:cubicBezTo>
                    <a:pt x="1150" y="1092"/>
                    <a:pt x="1150" y="1092"/>
                    <a:pt x="1150" y="1092"/>
                  </a:cubicBezTo>
                  <a:close/>
                  <a:moveTo>
                    <a:pt x="1099" y="1070"/>
                  </a:moveTo>
                  <a:cubicBezTo>
                    <a:pt x="1092" y="1071"/>
                    <a:pt x="1089" y="1067"/>
                    <a:pt x="1091" y="1060"/>
                  </a:cubicBezTo>
                  <a:cubicBezTo>
                    <a:pt x="1094" y="1045"/>
                    <a:pt x="1108" y="1023"/>
                    <a:pt x="1128" y="1022"/>
                  </a:cubicBezTo>
                  <a:cubicBezTo>
                    <a:pt x="1142" y="1021"/>
                    <a:pt x="1156" y="1018"/>
                    <a:pt x="1168" y="1029"/>
                  </a:cubicBezTo>
                  <a:cubicBezTo>
                    <a:pt x="1181" y="1038"/>
                    <a:pt x="1185" y="1051"/>
                    <a:pt x="1187" y="1066"/>
                  </a:cubicBezTo>
                  <a:cubicBezTo>
                    <a:pt x="1188" y="1071"/>
                    <a:pt x="1183" y="1070"/>
                    <a:pt x="1180" y="1070"/>
                  </a:cubicBezTo>
                  <a:cubicBezTo>
                    <a:pt x="1166" y="1070"/>
                    <a:pt x="1153" y="1070"/>
                    <a:pt x="1139" y="1070"/>
                  </a:cubicBezTo>
                  <a:cubicBezTo>
                    <a:pt x="1139" y="1070"/>
                    <a:pt x="1139" y="1070"/>
                    <a:pt x="1139" y="1070"/>
                  </a:cubicBezTo>
                  <a:cubicBezTo>
                    <a:pt x="1126" y="1070"/>
                    <a:pt x="1113" y="1070"/>
                    <a:pt x="1099" y="1070"/>
                  </a:cubicBezTo>
                  <a:close/>
                  <a:moveTo>
                    <a:pt x="1741" y="1092"/>
                  </a:moveTo>
                  <a:cubicBezTo>
                    <a:pt x="1759" y="1092"/>
                    <a:pt x="1776" y="1092"/>
                    <a:pt x="1793" y="1092"/>
                  </a:cubicBezTo>
                  <a:cubicBezTo>
                    <a:pt x="1806" y="1092"/>
                    <a:pt x="1808" y="1089"/>
                    <a:pt x="1808" y="1076"/>
                  </a:cubicBezTo>
                  <a:cubicBezTo>
                    <a:pt x="1809" y="1063"/>
                    <a:pt x="1807" y="1051"/>
                    <a:pt x="1802" y="1038"/>
                  </a:cubicBezTo>
                  <a:cubicBezTo>
                    <a:pt x="1794" y="1021"/>
                    <a:pt x="1782" y="1008"/>
                    <a:pt x="1764" y="1000"/>
                  </a:cubicBezTo>
                  <a:cubicBezTo>
                    <a:pt x="1742" y="991"/>
                    <a:pt x="1720" y="991"/>
                    <a:pt x="1698" y="1000"/>
                  </a:cubicBezTo>
                  <a:cubicBezTo>
                    <a:pt x="1681" y="1006"/>
                    <a:pt x="1668" y="1016"/>
                    <a:pt x="1659" y="1031"/>
                  </a:cubicBezTo>
                  <a:cubicBezTo>
                    <a:pt x="1646" y="1050"/>
                    <a:pt x="1643" y="1071"/>
                    <a:pt x="1644" y="1094"/>
                  </a:cubicBezTo>
                  <a:cubicBezTo>
                    <a:pt x="1644" y="1110"/>
                    <a:pt x="1647" y="1127"/>
                    <a:pt x="1655" y="1141"/>
                  </a:cubicBezTo>
                  <a:cubicBezTo>
                    <a:pt x="1669" y="1168"/>
                    <a:pt x="1691" y="1183"/>
                    <a:pt x="1722" y="1186"/>
                  </a:cubicBezTo>
                  <a:cubicBezTo>
                    <a:pt x="1750" y="1188"/>
                    <a:pt x="1775" y="1183"/>
                    <a:pt x="1798" y="1165"/>
                  </a:cubicBezTo>
                  <a:cubicBezTo>
                    <a:pt x="1803" y="1161"/>
                    <a:pt x="1806" y="1157"/>
                    <a:pt x="1802" y="1151"/>
                  </a:cubicBezTo>
                  <a:cubicBezTo>
                    <a:pt x="1798" y="1144"/>
                    <a:pt x="1791" y="1140"/>
                    <a:pt x="1783" y="1144"/>
                  </a:cubicBezTo>
                  <a:cubicBezTo>
                    <a:pt x="1778" y="1147"/>
                    <a:pt x="1771" y="1149"/>
                    <a:pt x="1766" y="1152"/>
                  </a:cubicBezTo>
                  <a:cubicBezTo>
                    <a:pt x="1749" y="1161"/>
                    <a:pt x="1730" y="1162"/>
                    <a:pt x="1714" y="1155"/>
                  </a:cubicBezTo>
                  <a:cubicBezTo>
                    <a:pt x="1692" y="1145"/>
                    <a:pt x="1680" y="1127"/>
                    <a:pt x="1679" y="1102"/>
                  </a:cubicBezTo>
                  <a:cubicBezTo>
                    <a:pt x="1678" y="1095"/>
                    <a:pt x="1681" y="1092"/>
                    <a:pt x="1689" y="1092"/>
                  </a:cubicBezTo>
                  <a:cubicBezTo>
                    <a:pt x="1706" y="1092"/>
                    <a:pt x="1724" y="1092"/>
                    <a:pt x="1741" y="1092"/>
                  </a:cubicBezTo>
                  <a:cubicBezTo>
                    <a:pt x="1741" y="1092"/>
                    <a:pt x="1741" y="1092"/>
                    <a:pt x="1741" y="1092"/>
                  </a:cubicBezTo>
                  <a:close/>
                  <a:moveTo>
                    <a:pt x="1690" y="1070"/>
                  </a:moveTo>
                  <a:cubicBezTo>
                    <a:pt x="1683" y="1071"/>
                    <a:pt x="1680" y="1068"/>
                    <a:pt x="1681" y="1062"/>
                  </a:cubicBezTo>
                  <a:cubicBezTo>
                    <a:pt x="1683" y="1048"/>
                    <a:pt x="1697" y="1024"/>
                    <a:pt x="1716" y="1022"/>
                  </a:cubicBezTo>
                  <a:cubicBezTo>
                    <a:pt x="1731" y="1020"/>
                    <a:pt x="1747" y="1018"/>
                    <a:pt x="1760" y="1030"/>
                  </a:cubicBezTo>
                  <a:cubicBezTo>
                    <a:pt x="1771" y="1038"/>
                    <a:pt x="1775" y="1050"/>
                    <a:pt x="1778" y="1062"/>
                  </a:cubicBezTo>
                  <a:cubicBezTo>
                    <a:pt x="1780" y="1068"/>
                    <a:pt x="1775" y="1070"/>
                    <a:pt x="1769" y="1070"/>
                  </a:cubicBezTo>
                  <a:cubicBezTo>
                    <a:pt x="1756" y="1070"/>
                    <a:pt x="1742" y="1070"/>
                    <a:pt x="1729" y="1070"/>
                  </a:cubicBezTo>
                  <a:cubicBezTo>
                    <a:pt x="1729" y="1070"/>
                    <a:pt x="1729" y="1070"/>
                    <a:pt x="1729" y="1070"/>
                  </a:cubicBezTo>
                  <a:cubicBezTo>
                    <a:pt x="1716" y="1070"/>
                    <a:pt x="1703" y="1070"/>
                    <a:pt x="1690" y="1070"/>
                  </a:cubicBezTo>
                  <a:close/>
                  <a:moveTo>
                    <a:pt x="68" y="581"/>
                  </a:moveTo>
                  <a:cubicBezTo>
                    <a:pt x="68" y="573"/>
                    <a:pt x="70" y="568"/>
                    <a:pt x="80" y="569"/>
                  </a:cubicBezTo>
                  <a:cubicBezTo>
                    <a:pt x="90" y="570"/>
                    <a:pt x="101" y="570"/>
                    <a:pt x="111" y="569"/>
                  </a:cubicBezTo>
                  <a:cubicBezTo>
                    <a:pt x="120" y="569"/>
                    <a:pt x="120" y="563"/>
                    <a:pt x="120" y="556"/>
                  </a:cubicBezTo>
                  <a:cubicBezTo>
                    <a:pt x="120" y="549"/>
                    <a:pt x="119" y="544"/>
                    <a:pt x="111" y="544"/>
                  </a:cubicBezTo>
                  <a:cubicBezTo>
                    <a:pt x="104" y="544"/>
                    <a:pt x="97" y="544"/>
                    <a:pt x="91" y="544"/>
                  </a:cubicBezTo>
                  <a:cubicBezTo>
                    <a:pt x="66" y="544"/>
                    <a:pt x="65" y="543"/>
                    <a:pt x="68" y="518"/>
                  </a:cubicBezTo>
                  <a:cubicBezTo>
                    <a:pt x="69" y="504"/>
                    <a:pt x="83" y="487"/>
                    <a:pt x="99" y="489"/>
                  </a:cubicBezTo>
                  <a:cubicBezTo>
                    <a:pt x="103" y="489"/>
                    <a:pt x="107" y="489"/>
                    <a:pt x="110" y="488"/>
                  </a:cubicBezTo>
                  <a:cubicBezTo>
                    <a:pt x="118" y="487"/>
                    <a:pt x="123" y="479"/>
                    <a:pt x="123" y="471"/>
                  </a:cubicBezTo>
                  <a:cubicBezTo>
                    <a:pt x="123" y="461"/>
                    <a:pt x="116" y="462"/>
                    <a:pt x="109" y="460"/>
                  </a:cubicBezTo>
                  <a:cubicBezTo>
                    <a:pt x="100" y="458"/>
                    <a:pt x="92" y="460"/>
                    <a:pt x="84" y="460"/>
                  </a:cubicBezTo>
                  <a:cubicBezTo>
                    <a:pt x="68" y="461"/>
                    <a:pt x="56" y="469"/>
                    <a:pt x="47" y="480"/>
                  </a:cubicBezTo>
                  <a:cubicBezTo>
                    <a:pt x="34" y="493"/>
                    <a:pt x="32" y="511"/>
                    <a:pt x="32" y="529"/>
                  </a:cubicBezTo>
                  <a:cubicBezTo>
                    <a:pt x="32" y="544"/>
                    <a:pt x="32" y="544"/>
                    <a:pt x="17" y="544"/>
                  </a:cubicBezTo>
                  <a:cubicBezTo>
                    <a:pt x="4" y="543"/>
                    <a:pt x="0" y="548"/>
                    <a:pt x="4" y="561"/>
                  </a:cubicBezTo>
                  <a:cubicBezTo>
                    <a:pt x="6" y="569"/>
                    <a:pt x="13" y="568"/>
                    <a:pt x="19" y="569"/>
                  </a:cubicBezTo>
                  <a:cubicBezTo>
                    <a:pt x="32" y="571"/>
                    <a:pt x="32" y="571"/>
                    <a:pt x="32" y="584"/>
                  </a:cubicBezTo>
                  <a:cubicBezTo>
                    <a:pt x="32" y="624"/>
                    <a:pt x="32" y="664"/>
                    <a:pt x="32" y="704"/>
                  </a:cubicBezTo>
                  <a:cubicBezTo>
                    <a:pt x="32" y="731"/>
                    <a:pt x="32" y="730"/>
                    <a:pt x="57" y="731"/>
                  </a:cubicBezTo>
                  <a:cubicBezTo>
                    <a:pt x="66" y="731"/>
                    <a:pt x="68" y="727"/>
                    <a:pt x="68" y="720"/>
                  </a:cubicBezTo>
                  <a:cubicBezTo>
                    <a:pt x="68" y="697"/>
                    <a:pt x="68" y="674"/>
                    <a:pt x="68" y="651"/>
                  </a:cubicBezTo>
                  <a:cubicBezTo>
                    <a:pt x="68" y="628"/>
                    <a:pt x="68" y="605"/>
                    <a:pt x="68" y="581"/>
                  </a:cubicBezTo>
                  <a:close/>
                  <a:moveTo>
                    <a:pt x="278" y="1165"/>
                  </a:moveTo>
                  <a:cubicBezTo>
                    <a:pt x="278" y="1183"/>
                    <a:pt x="278" y="1183"/>
                    <a:pt x="296" y="1184"/>
                  </a:cubicBezTo>
                  <a:cubicBezTo>
                    <a:pt x="310" y="1184"/>
                    <a:pt x="310" y="1184"/>
                    <a:pt x="310" y="1169"/>
                  </a:cubicBezTo>
                  <a:cubicBezTo>
                    <a:pt x="310" y="1132"/>
                    <a:pt x="310" y="1095"/>
                    <a:pt x="310" y="1058"/>
                  </a:cubicBezTo>
                  <a:cubicBezTo>
                    <a:pt x="310" y="1052"/>
                    <a:pt x="312" y="1047"/>
                    <a:pt x="316" y="1042"/>
                  </a:cubicBezTo>
                  <a:cubicBezTo>
                    <a:pt x="324" y="1033"/>
                    <a:pt x="334" y="1027"/>
                    <a:pt x="345" y="1024"/>
                  </a:cubicBezTo>
                  <a:cubicBezTo>
                    <a:pt x="357" y="1020"/>
                    <a:pt x="371" y="1018"/>
                    <a:pt x="383" y="1028"/>
                  </a:cubicBezTo>
                  <a:cubicBezTo>
                    <a:pt x="397" y="1039"/>
                    <a:pt x="401" y="1054"/>
                    <a:pt x="401" y="1071"/>
                  </a:cubicBezTo>
                  <a:cubicBezTo>
                    <a:pt x="401" y="1102"/>
                    <a:pt x="401" y="1132"/>
                    <a:pt x="401" y="1163"/>
                  </a:cubicBezTo>
                  <a:cubicBezTo>
                    <a:pt x="401" y="1183"/>
                    <a:pt x="401" y="1182"/>
                    <a:pt x="420" y="1184"/>
                  </a:cubicBezTo>
                  <a:cubicBezTo>
                    <a:pt x="429" y="1185"/>
                    <a:pt x="433" y="1181"/>
                    <a:pt x="433" y="1173"/>
                  </a:cubicBezTo>
                  <a:cubicBezTo>
                    <a:pt x="432" y="1130"/>
                    <a:pt x="435" y="1087"/>
                    <a:pt x="431" y="1044"/>
                  </a:cubicBezTo>
                  <a:cubicBezTo>
                    <a:pt x="427" y="1014"/>
                    <a:pt x="404" y="996"/>
                    <a:pt x="376" y="994"/>
                  </a:cubicBezTo>
                  <a:cubicBezTo>
                    <a:pt x="353" y="992"/>
                    <a:pt x="333" y="1000"/>
                    <a:pt x="317" y="1017"/>
                  </a:cubicBezTo>
                  <a:cubicBezTo>
                    <a:pt x="312" y="1021"/>
                    <a:pt x="311" y="1019"/>
                    <a:pt x="309" y="1015"/>
                  </a:cubicBezTo>
                  <a:cubicBezTo>
                    <a:pt x="309" y="1013"/>
                    <a:pt x="308" y="1011"/>
                    <a:pt x="308" y="1008"/>
                  </a:cubicBezTo>
                  <a:cubicBezTo>
                    <a:pt x="306" y="1001"/>
                    <a:pt x="298" y="997"/>
                    <a:pt x="287" y="998"/>
                  </a:cubicBezTo>
                  <a:cubicBezTo>
                    <a:pt x="279" y="999"/>
                    <a:pt x="278" y="1004"/>
                    <a:pt x="278" y="1011"/>
                  </a:cubicBezTo>
                  <a:cubicBezTo>
                    <a:pt x="278" y="1037"/>
                    <a:pt x="278" y="1064"/>
                    <a:pt x="278" y="1091"/>
                  </a:cubicBezTo>
                  <a:cubicBezTo>
                    <a:pt x="278" y="1115"/>
                    <a:pt x="278" y="1140"/>
                    <a:pt x="278" y="1165"/>
                  </a:cubicBezTo>
                  <a:close/>
                  <a:moveTo>
                    <a:pt x="150" y="705"/>
                  </a:moveTo>
                  <a:cubicBezTo>
                    <a:pt x="150" y="734"/>
                    <a:pt x="145" y="730"/>
                    <a:pt x="176" y="731"/>
                  </a:cubicBezTo>
                  <a:cubicBezTo>
                    <a:pt x="185" y="731"/>
                    <a:pt x="187" y="727"/>
                    <a:pt x="187" y="719"/>
                  </a:cubicBezTo>
                  <a:cubicBezTo>
                    <a:pt x="187" y="685"/>
                    <a:pt x="187" y="651"/>
                    <a:pt x="187" y="618"/>
                  </a:cubicBezTo>
                  <a:cubicBezTo>
                    <a:pt x="187" y="597"/>
                    <a:pt x="204" y="578"/>
                    <a:pt x="225" y="574"/>
                  </a:cubicBezTo>
                  <a:cubicBezTo>
                    <a:pt x="232" y="572"/>
                    <a:pt x="240" y="574"/>
                    <a:pt x="247" y="575"/>
                  </a:cubicBezTo>
                  <a:cubicBezTo>
                    <a:pt x="257" y="576"/>
                    <a:pt x="261" y="572"/>
                    <a:pt x="265" y="564"/>
                  </a:cubicBezTo>
                  <a:cubicBezTo>
                    <a:pt x="269" y="556"/>
                    <a:pt x="267" y="542"/>
                    <a:pt x="261" y="540"/>
                  </a:cubicBezTo>
                  <a:cubicBezTo>
                    <a:pt x="253" y="538"/>
                    <a:pt x="244" y="534"/>
                    <a:pt x="237" y="536"/>
                  </a:cubicBezTo>
                  <a:cubicBezTo>
                    <a:pt x="228" y="537"/>
                    <a:pt x="217" y="537"/>
                    <a:pt x="209" y="544"/>
                  </a:cubicBezTo>
                  <a:cubicBezTo>
                    <a:pt x="204" y="549"/>
                    <a:pt x="198" y="553"/>
                    <a:pt x="194" y="558"/>
                  </a:cubicBezTo>
                  <a:cubicBezTo>
                    <a:pt x="192" y="561"/>
                    <a:pt x="189" y="563"/>
                    <a:pt x="185" y="562"/>
                  </a:cubicBezTo>
                  <a:cubicBezTo>
                    <a:pt x="182" y="561"/>
                    <a:pt x="182" y="558"/>
                    <a:pt x="182" y="556"/>
                  </a:cubicBezTo>
                  <a:cubicBezTo>
                    <a:pt x="180" y="539"/>
                    <a:pt x="179" y="539"/>
                    <a:pt x="162" y="539"/>
                  </a:cubicBezTo>
                  <a:cubicBezTo>
                    <a:pt x="151" y="539"/>
                    <a:pt x="150" y="540"/>
                    <a:pt x="150" y="551"/>
                  </a:cubicBezTo>
                  <a:cubicBezTo>
                    <a:pt x="150" y="579"/>
                    <a:pt x="150" y="607"/>
                    <a:pt x="150" y="635"/>
                  </a:cubicBezTo>
                  <a:cubicBezTo>
                    <a:pt x="150" y="658"/>
                    <a:pt x="149" y="682"/>
                    <a:pt x="150" y="705"/>
                  </a:cubicBezTo>
                  <a:close/>
                  <a:moveTo>
                    <a:pt x="1011" y="1049"/>
                  </a:moveTo>
                  <a:cubicBezTo>
                    <a:pt x="1011" y="1008"/>
                    <a:pt x="1011" y="966"/>
                    <a:pt x="1011" y="924"/>
                  </a:cubicBezTo>
                  <a:cubicBezTo>
                    <a:pt x="1011" y="913"/>
                    <a:pt x="1008" y="910"/>
                    <a:pt x="997" y="910"/>
                  </a:cubicBezTo>
                  <a:cubicBezTo>
                    <a:pt x="995" y="910"/>
                    <a:pt x="992" y="910"/>
                    <a:pt x="990" y="910"/>
                  </a:cubicBezTo>
                  <a:cubicBezTo>
                    <a:pt x="976" y="910"/>
                    <a:pt x="975" y="911"/>
                    <a:pt x="975" y="926"/>
                  </a:cubicBezTo>
                  <a:cubicBezTo>
                    <a:pt x="975" y="1006"/>
                    <a:pt x="975" y="1085"/>
                    <a:pt x="975" y="1165"/>
                  </a:cubicBezTo>
                  <a:cubicBezTo>
                    <a:pt x="975" y="1185"/>
                    <a:pt x="975" y="1185"/>
                    <a:pt x="994" y="1185"/>
                  </a:cubicBezTo>
                  <a:cubicBezTo>
                    <a:pt x="1009" y="1185"/>
                    <a:pt x="1011" y="1184"/>
                    <a:pt x="1011" y="1169"/>
                  </a:cubicBezTo>
                  <a:cubicBezTo>
                    <a:pt x="1011" y="1129"/>
                    <a:pt x="1011" y="1089"/>
                    <a:pt x="1011" y="1049"/>
                  </a:cubicBezTo>
                  <a:cubicBezTo>
                    <a:pt x="1011" y="1049"/>
                    <a:pt x="1011" y="1049"/>
                    <a:pt x="1011" y="1049"/>
                  </a:cubicBezTo>
                  <a:close/>
                  <a:moveTo>
                    <a:pt x="296" y="176"/>
                  </a:moveTo>
                  <a:cubicBezTo>
                    <a:pt x="296" y="201"/>
                    <a:pt x="296" y="226"/>
                    <a:pt x="296" y="251"/>
                  </a:cubicBezTo>
                  <a:cubicBezTo>
                    <a:pt x="295" y="276"/>
                    <a:pt x="296" y="274"/>
                    <a:pt x="318" y="274"/>
                  </a:cubicBezTo>
                  <a:cubicBezTo>
                    <a:pt x="330" y="274"/>
                    <a:pt x="331" y="274"/>
                    <a:pt x="331" y="260"/>
                  </a:cubicBezTo>
                  <a:cubicBezTo>
                    <a:pt x="331" y="232"/>
                    <a:pt x="331" y="204"/>
                    <a:pt x="331" y="176"/>
                  </a:cubicBezTo>
                  <a:cubicBezTo>
                    <a:pt x="331" y="165"/>
                    <a:pt x="331" y="155"/>
                    <a:pt x="337" y="145"/>
                  </a:cubicBezTo>
                  <a:cubicBezTo>
                    <a:pt x="349" y="123"/>
                    <a:pt x="359" y="117"/>
                    <a:pt x="377" y="118"/>
                  </a:cubicBezTo>
                  <a:cubicBezTo>
                    <a:pt x="383" y="118"/>
                    <a:pt x="389" y="119"/>
                    <a:pt x="395" y="120"/>
                  </a:cubicBezTo>
                  <a:cubicBezTo>
                    <a:pt x="401" y="120"/>
                    <a:pt x="407" y="118"/>
                    <a:pt x="408" y="112"/>
                  </a:cubicBezTo>
                  <a:cubicBezTo>
                    <a:pt x="409" y="103"/>
                    <a:pt x="415" y="93"/>
                    <a:pt x="407" y="85"/>
                  </a:cubicBezTo>
                  <a:cubicBezTo>
                    <a:pt x="406" y="84"/>
                    <a:pt x="404" y="84"/>
                    <a:pt x="402" y="84"/>
                  </a:cubicBezTo>
                  <a:cubicBezTo>
                    <a:pt x="376" y="78"/>
                    <a:pt x="353" y="82"/>
                    <a:pt x="337" y="106"/>
                  </a:cubicBezTo>
                  <a:cubicBezTo>
                    <a:pt x="336" y="108"/>
                    <a:pt x="335" y="110"/>
                    <a:pt x="333" y="109"/>
                  </a:cubicBezTo>
                  <a:cubicBezTo>
                    <a:pt x="331" y="109"/>
                    <a:pt x="330" y="107"/>
                    <a:pt x="330" y="105"/>
                  </a:cubicBezTo>
                  <a:cubicBezTo>
                    <a:pt x="329" y="101"/>
                    <a:pt x="329" y="97"/>
                    <a:pt x="328" y="94"/>
                  </a:cubicBezTo>
                  <a:cubicBezTo>
                    <a:pt x="325" y="85"/>
                    <a:pt x="318" y="82"/>
                    <a:pt x="303" y="84"/>
                  </a:cubicBezTo>
                  <a:cubicBezTo>
                    <a:pt x="297" y="84"/>
                    <a:pt x="295" y="86"/>
                    <a:pt x="295" y="92"/>
                  </a:cubicBezTo>
                  <a:cubicBezTo>
                    <a:pt x="296" y="120"/>
                    <a:pt x="295" y="148"/>
                    <a:pt x="295" y="176"/>
                  </a:cubicBezTo>
                  <a:cubicBezTo>
                    <a:pt x="296" y="176"/>
                    <a:pt x="296" y="176"/>
                    <a:pt x="296" y="176"/>
                  </a:cubicBezTo>
                  <a:close/>
                  <a:moveTo>
                    <a:pt x="946" y="179"/>
                  </a:moveTo>
                  <a:cubicBezTo>
                    <a:pt x="946" y="197"/>
                    <a:pt x="946" y="215"/>
                    <a:pt x="946" y="234"/>
                  </a:cubicBezTo>
                  <a:cubicBezTo>
                    <a:pt x="946" y="248"/>
                    <a:pt x="951" y="260"/>
                    <a:pt x="963" y="268"/>
                  </a:cubicBezTo>
                  <a:cubicBezTo>
                    <a:pt x="982" y="280"/>
                    <a:pt x="1011" y="277"/>
                    <a:pt x="1029" y="264"/>
                  </a:cubicBezTo>
                  <a:cubicBezTo>
                    <a:pt x="1036" y="259"/>
                    <a:pt x="1036" y="254"/>
                    <a:pt x="1032" y="248"/>
                  </a:cubicBezTo>
                  <a:cubicBezTo>
                    <a:pt x="1026" y="239"/>
                    <a:pt x="1020" y="238"/>
                    <a:pt x="1013" y="242"/>
                  </a:cubicBezTo>
                  <a:cubicBezTo>
                    <a:pt x="996" y="252"/>
                    <a:pt x="978" y="243"/>
                    <a:pt x="978" y="223"/>
                  </a:cubicBezTo>
                  <a:cubicBezTo>
                    <a:pt x="978" y="190"/>
                    <a:pt x="978" y="157"/>
                    <a:pt x="978" y="123"/>
                  </a:cubicBezTo>
                  <a:cubicBezTo>
                    <a:pt x="978" y="116"/>
                    <a:pt x="981" y="113"/>
                    <a:pt x="988" y="113"/>
                  </a:cubicBezTo>
                  <a:cubicBezTo>
                    <a:pt x="999" y="114"/>
                    <a:pt x="1011" y="113"/>
                    <a:pt x="1022" y="113"/>
                  </a:cubicBezTo>
                  <a:cubicBezTo>
                    <a:pt x="1028" y="113"/>
                    <a:pt x="1033" y="112"/>
                    <a:pt x="1033" y="104"/>
                  </a:cubicBezTo>
                  <a:cubicBezTo>
                    <a:pt x="1033" y="96"/>
                    <a:pt x="1032" y="90"/>
                    <a:pt x="1022" y="90"/>
                  </a:cubicBezTo>
                  <a:cubicBezTo>
                    <a:pt x="1011" y="90"/>
                    <a:pt x="1001" y="90"/>
                    <a:pt x="990" y="90"/>
                  </a:cubicBezTo>
                  <a:cubicBezTo>
                    <a:pt x="981" y="91"/>
                    <a:pt x="977" y="88"/>
                    <a:pt x="978" y="78"/>
                  </a:cubicBezTo>
                  <a:cubicBezTo>
                    <a:pt x="978" y="64"/>
                    <a:pt x="978" y="49"/>
                    <a:pt x="978" y="35"/>
                  </a:cubicBezTo>
                  <a:cubicBezTo>
                    <a:pt x="978" y="30"/>
                    <a:pt x="978" y="25"/>
                    <a:pt x="971" y="24"/>
                  </a:cubicBezTo>
                  <a:cubicBezTo>
                    <a:pt x="964" y="24"/>
                    <a:pt x="956" y="24"/>
                    <a:pt x="955" y="32"/>
                  </a:cubicBezTo>
                  <a:cubicBezTo>
                    <a:pt x="952" y="43"/>
                    <a:pt x="949" y="54"/>
                    <a:pt x="949" y="65"/>
                  </a:cubicBezTo>
                  <a:cubicBezTo>
                    <a:pt x="948" y="88"/>
                    <a:pt x="947" y="88"/>
                    <a:pt x="924" y="91"/>
                  </a:cubicBezTo>
                  <a:cubicBezTo>
                    <a:pt x="919" y="92"/>
                    <a:pt x="914" y="92"/>
                    <a:pt x="914" y="99"/>
                  </a:cubicBezTo>
                  <a:cubicBezTo>
                    <a:pt x="915" y="107"/>
                    <a:pt x="917" y="113"/>
                    <a:pt x="926" y="113"/>
                  </a:cubicBezTo>
                  <a:cubicBezTo>
                    <a:pt x="929" y="114"/>
                    <a:pt x="932" y="113"/>
                    <a:pt x="935" y="113"/>
                  </a:cubicBezTo>
                  <a:cubicBezTo>
                    <a:pt x="943" y="113"/>
                    <a:pt x="946" y="116"/>
                    <a:pt x="946" y="124"/>
                  </a:cubicBezTo>
                  <a:cubicBezTo>
                    <a:pt x="946" y="142"/>
                    <a:pt x="946" y="161"/>
                    <a:pt x="946" y="179"/>
                  </a:cubicBezTo>
                  <a:cubicBezTo>
                    <a:pt x="946" y="179"/>
                    <a:pt x="946" y="179"/>
                    <a:pt x="946" y="179"/>
                  </a:cubicBezTo>
                  <a:close/>
                </a:path>
              </a:pathLst>
            </a:custGeom>
            <a:solidFill>
              <a:srgbClr val="4C505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grpSp>
          <p:nvGrpSpPr>
            <p:cNvPr id="18" name="Group 4">
              <a:extLst>
                <a:ext uri="{FF2B5EF4-FFF2-40B4-BE49-F238E27FC236}">
                  <a16:creationId xmlns:a16="http://schemas.microsoft.com/office/drawing/2014/main" id="{57BD2C4C-DC67-B843-B26C-309622FC75F7}"/>
                </a:ext>
              </a:extLst>
            </p:cNvPr>
            <p:cNvGrpSpPr>
              <a:grpSpLocks noChangeAspect="1"/>
            </p:cNvGrpSpPr>
            <p:nvPr/>
          </p:nvGrpSpPr>
          <p:grpSpPr bwMode="gray">
            <a:xfrm>
              <a:off x="334963" y="296652"/>
              <a:ext cx="538094" cy="540000"/>
              <a:chOff x="2711" y="1027"/>
              <a:chExt cx="2258" cy="2266"/>
            </a:xfrm>
          </p:grpSpPr>
          <p:sp>
            <p:nvSpPr>
              <p:cNvPr id="19" name="AutoShape 3">
                <a:extLst>
                  <a:ext uri="{FF2B5EF4-FFF2-40B4-BE49-F238E27FC236}">
                    <a16:creationId xmlns:a16="http://schemas.microsoft.com/office/drawing/2014/main" id="{FE1DC41B-291E-574C-9F2C-874E70A40758}"/>
                  </a:ext>
                </a:extLst>
              </p:cNvPr>
              <p:cNvSpPr>
                <a:spLocks noChangeAspect="1" noChangeArrowheads="1" noTextEdit="1"/>
              </p:cNvSpPr>
              <p:nvPr/>
            </p:nvSpPr>
            <p:spPr bwMode="gray">
              <a:xfrm>
                <a:off x="2711" y="1027"/>
                <a:ext cx="2258" cy="22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20" name="Freeform 5">
                <a:extLst>
                  <a:ext uri="{FF2B5EF4-FFF2-40B4-BE49-F238E27FC236}">
                    <a16:creationId xmlns:a16="http://schemas.microsoft.com/office/drawing/2014/main" id="{D4B633C8-F761-C54B-9BD2-EB59D49A2DBC}"/>
                  </a:ext>
                </a:extLst>
              </p:cNvPr>
              <p:cNvSpPr>
                <a:spLocks/>
              </p:cNvSpPr>
              <p:nvPr/>
            </p:nvSpPr>
            <p:spPr bwMode="gray">
              <a:xfrm>
                <a:off x="2709" y="1029"/>
                <a:ext cx="2260" cy="2262"/>
              </a:xfrm>
              <a:custGeom>
                <a:avLst/>
                <a:gdLst>
                  <a:gd name="T0" fmla="*/ 2260 w 2260"/>
                  <a:gd name="T1" fmla="*/ 0 h 2262"/>
                  <a:gd name="T2" fmla="*/ 1612 w 2260"/>
                  <a:gd name="T3" fmla="*/ 649 h 2262"/>
                  <a:gd name="T4" fmla="*/ 1612 w 2260"/>
                  <a:gd name="T5" fmla="*/ 649 h 2262"/>
                  <a:gd name="T6" fmla="*/ 2035 w 2260"/>
                  <a:gd name="T7" fmla="*/ 0 h 2262"/>
                  <a:gd name="T8" fmla="*/ 0 w 2260"/>
                  <a:gd name="T9" fmla="*/ 0 h 2262"/>
                  <a:gd name="T10" fmla="*/ 0 w 2260"/>
                  <a:gd name="T11" fmla="*/ 2262 h 2262"/>
                  <a:gd name="T12" fmla="*/ 2260 w 2260"/>
                  <a:gd name="T13" fmla="*/ 2262 h 2262"/>
                  <a:gd name="T14" fmla="*/ 2260 w 2260"/>
                  <a:gd name="T15" fmla="*/ 0 h 2262"/>
                  <a:gd name="T16" fmla="*/ 2260 w 2260"/>
                  <a:gd name="T17" fmla="*/ 0 h 2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0" h="2262">
                    <a:moveTo>
                      <a:pt x="2260" y="0"/>
                    </a:moveTo>
                    <a:lnTo>
                      <a:pt x="1612" y="649"/>
                    </a:lnTo>
                    <a:lnTo>
                      <a:pt x="1612" y="649"/>
                    </a:lnTo>
                    <a:lnTo>
                      <a:pt x="2035" y="0"/>
                    </a:lnTo>
                    <a:lnTo>
                      <a:pt x="0" y="0"/>
                    </a:lnTo>
                    <a:lnTo>
                      <a:pt x="0" y="2262"/>
                    </a:lnTo>
                    <a:lnTo>
                      <a:pt x="2260" y="2262"/>
                    </a:lnTo>
                    <a:lnTo>
                      <a:pt x="2260" y="0"/>
                    </a:lnTo>
                    <a:lnTo>
                      <a:pt x="2260" y="0"/>
                    </a:lnTo>
                    <a:close/>
                  </a:path>
                </a:pathLst>
              </a:custGeom>
              <a:solidFill>
                <a:srgbClr val="E55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21" name="Freeform 6">
                <a:extLst>
                  <a:ext uri="{FF2B5EF4-FFF2-40B4-BE49-F238E27FC236}">
                    <a16:creationId xmlns:a16="http://schemas.microsoft.com/office/drawing/2014/main" id="{B16BAAE4-1A41-C843-9754-490F7A1E1270}"/>
                  </a:ext>
                </a:extLst>
              </p:cNvPr>
              <p:cNvSpPr>
                <a:spLocks noEditPoints="1"/>
              </p:cNvSpPr>
              <p:nvPr/>
            </p:nvSpPr>
            <p:spPr bwMode="gray">
              <a:xfrm>
                <a:off x="3623" y="1696"/>
                <a:ext cx="1167" cy="922"/>
              </a:xfrm>
              <a:custGeom>
                <a:avLst/>
                <a:gdLst>
                  <a:gd name="T0" fmla="*/ 411 w 580"/>
                  <a:gd name="T1" fmla="*/ 213 h 458"/>
                  <a:gd name="T2" fmla="*/ 570 w 580"/>
                  <a:gd name="T3" fmla="*/ 37 h 458"/>
                  <a:gd name="T4" fmla="*/ 580 w 580"/>
                  <a:gd name="T5" fmla="*/ 20 h 458"/>
                  <a:gd name="T6" fmla="*/ 545 w 580"/>
                  <a:gd name="T7" fmla="*/ 0 h 458"/>
                  <a:gd name="T8" fmla="*/ 519 w 580"/>
                  <a:gd name="T9" fmla="*/ 16 h 458"/>
                  <a:gd name="T10" fmla="*/ 344 w 580"/>
                  <a:gd name="T11" fmla="*/ 210 h 458"/>
                  <a:gd name="T12" fmla="*/ 334 w 580"/>
                  <a:gd name="T13" fmla="*/ 229 h 458"/>
                  <a:gd name="T14" fmla="*/ 344 w 580"/>
                  <a:gd name="T15" fmla="*/ 248 h 458"/>
                  <a:gd name="T16" fmla="*/ 519 w 580"/>
                  <a:gd name="T17" fmla="*/ 442 h 458"/>
                  <a:gd name="T18" fmla="*/ 545 w 580"/>
                  <a:gd name="T19" fmla="*/ 458 h 458"/>
                  <a:gd name="T20" fmla="*/ 580 w 580"/>
                  <a:gd name="T21" fmla="*/ 438 h 458"/>
                  <a:gd name="T22" fmla="*/ 570 w 580"/>
                  <a:gd name="T23" fmla="*/ 421 h 458"/>
                  <a:gd name="T24" fmla="*/ 411 w 580"/>
                  <a:gd name="T25" fmla="*/ 245 h 458"/>
                  <a:gd name="T26" fmla="*/ 399 w 580"/>
                  <a:gd name="T27" fmla="*/ 229 h 458"/>
                  <a:gd name="T28" fmla="*/ 411 w 580"/>
                  <a:gd name="T29" fmla="*/ 213 h 458"/>
                  <a:gd name="T30" fmla="*/ 252 w 580"/>
                  <a:gd name="T31" fmla="*/ 439 h 458"/>
                  <a:gd name="T32" fmla="*/ 281 w 580"/>
                  <a:gd name="T33" fmla="*/ 454 h 458"/>
                  <a:gd name="T34" fmla="*/ 309 w 580"/>
                  <a:gd name="T35" fmla="*/ 439 h 458"/>
                  <a:gd name="T36" fmla="*/ 309 w 580"/>
                  <a:gd name="T37" fmla="*/ 19 h 458"/>
                  <a:gd name="T38" fmla="*/ 281 w 580"/>
                  <a:gd name="T39" fmla="*/ 4 h 458"/>
                  <a:gd name="T40" fmla="*/ 252 w 580"/>
                  <a:gd name="T41" fmla="*/ 19 h 458"/>
                  <a:gd name="T42" fmla="*/ 252 w 580"/>
                  <a:gd name="T43" fmla="*/ 439 h 458"/>
                  <a:gd name="T44" fmla="*/ 0 w 580"/>
                  <a:gd name="T45" fmla="*/ 439 h 458"/>
                  <a:gd name="T46" fmla="*/ 28 w 580"/>
                  <a:gd name="T47" fmla="*/ 454 h 458"/>
                  <a:gd name="T48" fmla="*/ 56 w 580"/>
                  <a:gd name="T49" fmla="*/ 439 h 458"/>
                  <a:gd name="T50" fmla="*/ 56 w 580"/>
                  <a:gd name="T51" fmla="*/ 157 h 458"/>
                  <a:gd name="T52" fmla="*/ 165 w 580"/>
                  <a:gd name="T53" fmla="*/ 53 h 458"/>
                  <a:gd name="T54" fmla="*/ 180 w 580"/>
                  <a:gd name="T55" fmla="*/ 53 h 458"/>
                  <a:gd name="T56" fmla="*/ 196 w 580"/>
                  <a:gd name="T57" fmla="*/ 27 h 458"/>
                  <a:gd name="T58" fmla="*/ 154 w 580"/>
                  <a:gd name="T59" fmla="*/ 4 h 458"/>
                  <a:gd name="T60" fmla="*/ 0 w 580"/>
                  <a:gd name="T61" fmla="*/ 152 h 458"/>
                  <a:gd name="T62" fmla="*/ 0 w 580"/>
                  <a:gd name="T63" fmla="*/ 439 h 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80" h="458">
                    <a:moveTo>
                      <a:pt x="411" y="213"/>
                    </a:moveTo>
                    <a:cubicBezTo>
                      <a:pt x="570" y="37"/>
                      <a:pt x="570" y="37"/>
                      <a:pt x="570" y="37"/>
                    </a:cubicBezTo>
                    <a:cubicBezTo>
                      <a:pt x="576" y="30"/>
                      <a:pt x="580" y="25"/>
                      <a:pt x="580" y="20"/>
                    </a:cubicBezTo>
                    <a:cubicBezTo>
                      <a:pt x="580" y="10"/>
                      <a:pt x="559" y="0"/>
                      <a:pt x="545" y="0"/>
                    </a:cubicBezTo>
                    <a:cubicBezTo>
                      <a:pt x="535" y="0"/>
                      <a:pt x="526" y="8"/>
                      <a:pt x="519" y="16"/>
                    </a:cubicBezTo>
                    <a:cubicBezTo>
                      <a:pt x="344" y="210"/>
                      <a:pt x="344" y="210"/>
                      <a:pt x="344" y="210"/>
                    </a:cubicBezTo>
                    <a:cubicBezTo>
                      <a:pt x="336" y="219"/>
                      <a:pt x="334" y="224"/>
                      <a:pt x="334" y="229"/>
                    </a:cubicBezTo>
                    <a:cubicBezTo>
                      <a:pt x="334" y="234"/>
                      <a:pt x="336" y="239"/>
                      <a:pt x="344" y="248"/>
                    </a:cubicBezTo>
                    <a:cubicBezTo>
                      <a:pt x="519" y="442"/>
                      <a:pt x="519" y="442"/>
                      <a:pt x="519" y="442"/>
                    </a:cubicBezTo>
                    <a:cubicBezTo>
                      <a:pt x="526" y="450"/>
                      <a:pt x="535" y="458"/>
                      <a:pt x="545" y="458"/>
                    </a:cubicBezTo>
                    <a:cubicBezTo>
                      <a:pt x="559" y="458"/>
                      <a:pt x="580" y="448"/>
                      <a:pt x="580" y="438"/>
                    </a:cubicBezTo>
                    <a:cubicBezTo>
                      <a:pt x="580" y="433"/>
                      <a:pt x="576" y="428"/>
                      <a:pt x="570" y="421"/>
                    </a:cubicBezTo>
                    <a:cubicBezTo>
                      <a:pt x="411" y="245"/>
                      <a:pt x="411" y="245"/>
                      <a:pt x="411" y="245"/>
                    </a:cubicBezTo>
                    <a:cubicBezTo>
                      <a:pt x="403" y="236"/>
                      <a:pt x="399" y="232"/>
                      <a:pt x="399" y="229"/>
                    </a:cubicBezTo>
                    <a:cubicBezTo>
                      <a:pt x="399" y="226"/>
                      <a:pt x="403" y="222"/>
                      <a:pt x="411" y="213"/>
                    </a:cubicBezTo>
                    <a:moveTo>
                      <a:pt x="252" y="439"/>
                    </a:moveTo>
                    <a:cubicBezTo>
                      <a:pt x="252" y="449"/>
                      <a:pt x="261" y="454"/>
                      <a:pt x="281" y="454"/>
                    </a:cubicBezTo>
                    <a:cubicBezTo>
                      <a:pt x="300" y="454"/>
                      <a:pt x="309" y="449"/>
                      <a:pt x="309" y="439"/>
                    </a:cubicBezTo>
                    <a:cubicBezTo>
                      <a:pt x="309" y="19"/>
                      <a:pt x="309" y="19"/>
                      <a:pt x="309" y="19"/>
                    </a:cubicBezTo>
                    <a:cubicBezTo>
                      <a:pt x="309" y="9"/>
                      <a:pt x="300" y="4"/>
                      <a:pt x="281" y="4"/>
                    </a:cubicBezTo>
                    <a:cubicBezTo>
                      <a:pt x="261" y="4"/>
                      <a:pt x="252" y="9"/>
                      <a:pt x="252" y="19"/>
                    </a:cubicBezTo>
                    <a:lnTo>
                      <a:pt x="252" y="439"/>
                    </a:lnTo>
                    <a:close/>
                    <a:moveTo>
                      <a:pt x="0" y="439"/>
                    </a:moveTo>
                    <a:cubicBezTo>
                      <a:pt x="0" y="449"/>
                      <a:pt x="8" y="454"/>
                      <a:pt x="28" y="454"/>
                    </a:cubicBezTo>
                    <a:cubicBezTo>
                      <a:pt x="48" y="454"/>
                      <a:pt x="56" y="449"/>
                      <a:pt x="56" y="439"/>
                    </a:cubicBezTo>
                    <a:cubicBezTo>
                      <a:pt x="56" y="157"/>
                      <a:pt x="56" y="157"/>
                      <a:pt x="56" y="157"/>
                    </a:cubicBezTo>
                    <a:cubicBezTo>
                      <a:pt x="56" y="83"/>
                      <a:pt x="85" y="53"/>
                      <a:pt x="165" y="53"/>
                    </a:cubicBezTo>
                    <a:cubicBezTo>
                      <a:pt x="180" y="53"/>
                      <a:pt x="180" y="53"/>
                      <a:pt x="180" y="53"/>
                    </a:cubicBezTo>
                    <a:cubicBezTo>
                      <a:pt x="192" y="53"/>
                      <a:pt x="196" y="43"/>
                      <a:pt x="196" y="27"/>
                    </a:cubicBezTo>
                    <a:cubicBezTo>
                      <a:pt x="196" y="8"/>
                      <a:pt x="185" y="4"/>
                      <a:pt x="154" y="4"/>
                    </a:cubicBezTo>
                    <a:cubicBezTo>
                      <a:pt x="64" y="4"/>
                      <a:pt x="0" y="43"/>
                      <a:pt x="0" y="152"/>
                    </a:cubicBezTo>
                    <a:lnTo>
                      <a:pt x="0" y="43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22" name="Freeform 7">
                <a:extLst>
                  <a:ext uri="{FF2B5EF4-FFF2-40B4-BE49-F238E27FC236}">
                    <a16:creationId xmlns:a16="http://schemas.microsoft.com/office/drawing/2014/main" id="{2F32DCBD-8628-F245-85CD-97686A20ECFD}"/>
                  </a:ext>
                </a:extLst>
              </p:cNvPr>
              <p:cNvSpPr>
                <a:spLocks/>
              </p:cNvSpPr>
              <p:nvPr/>
            </p:nvSpPr>
            <p:spPr bwMode="gray">
              <a:xfrm>
                <a:off x="2880" y="1704"/>
                <a:ext cx="618" cy="916"/>
              </a:xfrm>
              <a:custGeom>
                <a:avLst/>
                <a:gdLst>
                  <a:gd name="T0" fmla="*/ 307 w 307"/>
                  <a:gd name="T1" fmla="*/ 405 h 455"/>
                  <a:gd name="T2" fmla="*/ 307 w 307"/>
                  <a:gd name="T3" fmla="*/ 244 h 455"/>
                  <a:gd name="T4" fmla="*/ 279 w 307"/>
                  <a:gd name="T5" fmla="*/ 229 h 455"/>
                  <a:gd name="T6" fmla="*/ 250 w 307"/>
                  <a:gd name="T7" fmla="*/ 244 h 455"/>
                  <a:gd name="T8" fmla="*/ 250 w 307"/>
                  <a:gd name="T9" fmla="*/ 378 h 455"/>
                  <a:gd name="T10" fmla="*/ 199 w 307"/>
                  <a:gd name="T11" fmla="*/ 408 h 455"/>
                  <a:gd name="T12" fmla="*/ 61 w 307"/>
                  <a:gd name="T13" fmla="*/ 231 h 455"/>
                  <a:gd name="T14" fmla="*/ 238 w 307"/>
                  <a:gd name="T15" fmla="*/ 49 h 455"/>
                  <a:gd name="T16" fmla="*/ 270 w 307"/>
                  <a:gd name="T17" fmla="*/ 49 h 455"/>
                  <a:gd name="T18" fmla="*/ 286 w 307"/>
                  <a:gd name="T19" fmla="*/ 23 h 455"/>
                  <a:gd name="T20" fmla="*/ 244 w 307"/>
                  <a:gd name="T21" fmla="*/ 0 h 455"/>
                  <a:gd name="T22" fmla="*/ 231 w 307"/>
                  <a:gd name="T23" fmla="*/ 0 h 455"/>
                  <a:gd name="T24" fmla="*/ 0 w 307"/>
                  <a:gd name="T25" fmla="*/ 232 h 455"/>
                  <a:gd name="T26" fmla="*/ 198 w 307"/>
                  <a:gd name="T27" fmla="*/ 455 h 455"/>
                  <a:gd name="T28" fmla="*/ 307 w 307"/>
                  <a:gd name="T29" fmla="*/ 405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7" h="455">
                    <a:moveTo>
                      <a:pt x="307" y="405"/>
                    </a:moveTo>
                    <a:cubicBezTo>
                      <a:pt x="307" y="244"/>
                      <a:pt x="307" y="244"/>
                      <a:pt x="307" y="244"/>
                    </a:cubicBezTo>
                    <a:cubicBezTo>
                      <a:pt x="307" y="234"/>
                      <a:pt x="298" y="229"/>
                      <a:pt x="279" y="229"/>
                    </a:cubicBezTo>
                    <a:cubicBezTo>
                      <a:pt x="259" y="229"/>
                      <a:pt x="250" y="234"/>
                      <a:pt x="250" y="244"/>
                    </a:cubicBezTo>
                    <a:cubicBezTo>
                      <a:pt x="250" y="378"/>
                      <a:pt x="250" y="378"/>
                      <a:pt x="250" y="378"/>
                    </a:cubicBezTo>
                    <a:cubicBezTo>
                      <a:pt x="250" y="399"/>
                      <a:pt x="241" y="408"/>
                      <a:pt x="199" y="408"/>
                    </a:cubicBezTo>
                    <a:cubicBezTo>
                      <a:pt x="114" y="408"/>
                      <a:pt x="61" y="342"/>
                      <a:pt x="61" y="231"/>
                    </a:cubicBezTo>
                    <a:cubicBezTo>
                      <a:pt x="61" y="115"/>
                      <a:pt x="126" y="49"/>
                      <a:pt x="238" y="49"/>
                    </a:cubicBezTo>
                    <a:cubicBezTo>
                      <a:pt x="270" y="49"/>
                      <a:pt x="270" y="49"/>
                      <a:pt x="270" y="49"/>
                    </a:cubicBezTo>
                    <a:cubicBezTo>
                      <a:pt x="282" y="49"/>
                      <a:pt x="286" y="39"/>
                      <a:pt x="286" y="23"/>
                    </a:cubicBezTo>
                    <a:cubicBezTo>
                      <a:pt x="286" y="4"/>
                      <a:pt x="275" y="0"/>
                      <a:pt x="244" y="0"/>
                    </a:cubicBezTo>
                    <a:cubicBezTo>
                      <a:pt x="231" y="0"/>
                      <a:pt x="231" y="0"/>
                      <a:pt x="231" y="0"/>
                    </a:cubicBezTo>
                    <a:cubicBezTo>
                      <a:pt x="101" y="0"/>
                      <a:pt x="0" y="71"/>
                      <a:pt x="0" y="232"/>
                    </a:cubicBezTo>
                    <a:cubicBezTo>
                      <a:pt x="0" y="386"/>
                      <a:pt x="88" y="455"/>
                      <a:pt x="198" y="455"/>
                    </a:cubicBezTo>
                    <a:cubicBezTo>
                      <a:pt x="286" y="455"/>
                      <a:pt x="307" y="430"/>
                      <a:pt x="307" y="40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23" name="Oval 8">
                <a:extLst>
                  <a:ext uri="{FF2B5EF4-FFF2-40B4-BE49-F238E27FC236}">
                    <a16:creationId xmlns:a16="http://schemas.microsoft.com/office/drawing/2014/main" id="{60D97C11-1A3B-5449-A48D-98A3E79B3810}"/>
                  </a:ext>
                </a:extLst>
              </p:cNvPr>
              <p:cNvSpPr>
                <a:spLocks noChangeArrowheads="1"/>
              </p:cNvSpPr>
              <p:nvPr/>
            </p:nvSpPr>
            <p:spPr bwMode="gray">
              <a:xfrm>
                <a:off x="3778" y="2099"/>
                <a:ext cx="122" cy="12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24" name="Freeform 9">
                <a:extLst>
                  <a:ext uri="{FF2B5EF4-FFF2-40B4-BE49-F238E27FC236}">
                    <a16:creationId xmlns:a16="http://schemas.microsoft.com/office/drawing/2014/main" id="{5856770D-B8F0-244E-A05D-AED190086F10}"/>
                  </a:ext>
                </a:extLst>
              </p:cNvPr>
              <p:cNvSpPr>
                <a:spLocks noEditPoints="1"/>
              </p:cNvSpPr>
              <p:nvPr/>
            </p:nvSpPr>
            <p:spPr bwMode="gray">
              <a:xfrm>
                <a:off x="3623" y="1696"/>
                <a:ext cx="1167" cy="922"/>
              </a:xfrm>
              <a:custGeom>
                <a:avLst/>
                <a:gdLst>
                  <a:gd name="T0" fmla="*/ 411 w 580"/>
                  <a:gd name="T1" fmla="*/ 213 h 458"/>
                  <a:gd name="T2" fmla="*/ 570 w 580"/>
                  <a:gd name="T3" fmla="*/ 37 h 458"/>
                  <a:gd name="T4" fmla="*/ 580 w 580"/>
                  <a:gd name="T5" fmla="*/ 20 h 458"/>
                  <a:gd name="T6" fmla="*/ 545 w 580"/>
                  <a:gd name="T7" fmla="*/ 0 h 458"/>
                  <a:gd name="T8" fmla="*/ 519 w 580"/>
                  <a:gd name="T9" fmla="*/ 16 h 458"/>
                  <a:gd name="T10" fmla="*/ 344 w 580"/>
                  <a:gd name="T11" fmla="*/ 210 h 458"/>
                  <a:gd name="T12" fmla="*/ 334 w 580"/>
                  <a:gd name="T13" fmla="*/ 229 h 458"/>
                  <a:gd name="T14" fmla="*/ 344 w 580"/>
                  <a:gd name="T15" fmla="*/ 248 h 458"/>
                  <a:gd name="T16" fmla="*/ 519 w 580"/>
                  <a:gd name="T17" fmla="*/ 442 h 458"/>
                  <a:gd name="T18" fmla="*/ 545 w 580"/>
                  <a:gd name="T19" fmla="*/ 458 h 458"/>
                  <a:gd name="T20" fmla="*/ 580 w 580"/>
                  <a:gd name="T21" fmla="*/ 438 h 458"/>
                  <a:gd name="T22" fmla="*/ 570 w 580"/>
                  <a:gd name="T23" fmla="*/ 421 h 458"/>
                  <a:gd name="T24" fmla="*/ 411 w 580"/>
                  <a:gd name="T25" fmla="*/ 245 h 458"/>
                  <a:gd name="T26" fmla="*/ 399 w 580"/>
                  <a:gd name="T27" fmla="*/ 229 h 458"/>
                  <a:gd name="T28" fmla="*/ 411 w 580"/>
                  <a:gd name="T29" fmla="*/ 213 h 458"/>
                  <a:gd name="T30" fmla="*/ 252 w 580"/>
                  <a:gd name="T31" fmla="*/ 439 h 458"/>
                  <a:gd name="T32" fmla="*/ 281 w 580"/>
                  <a:gd name="T33" fmla="*/ 454 h 458"/>
                  <a:gd name="T34" fmla="*/ 309 w 580"/>
                  <a:gd name="T35" fmla="*/ 439 h 458"/>
                  <a:gd name="T36" fmla="*/ 309 w 580"/>
                  <a:gd name="T37" fmla="*/ 19 h 458"/>
                  <a:gd name="T38" fmla="*/ 281 w 580"/>
                  <a:gd name="T39" fmla="*/ 4 h 458"/>
                  <a:gd name="T40" fmla="*/ 252 w 580"/>
                  <a:gd name="T41" fmla="*/ 19 h 458"/>
                  <a:gd name="T42" fmla="*/ 252 w 580"/>
                  <a:gd name="T43" fmla="*/ 439 h 458"/>
                  <a:gd name="T44" fmla="*/ 0 w 580"/>
                  <a:gd name="T45" fmla="*/ 439 h 458"/>
                  <a:gd name="T46" fmla="*/ 28 w 580"/>
                  <a:gd name="T47" fmla="*/ 454 h 458"/>
                  <a:gd name="T48" fmla="*/ 56 w 580"/>
                  <a:gd name="T49" fmla="*/ 439 h 458"/>
                  <a:gd name="T50" fmla="*/ 56 w 580"/>
                  <a:gd name="T51" fmla="*/ 157 h 458"/>
                  <a:gd name="T52" fmla="*/ 165 w 580"/>
                  <a:gd name="T53" fmla="*/ 53 h 458"/>
                  <a:gd name="T54" fmla="*/ 180 w 580"/>
                  <a:gd name="T55" fmla="*/ 53 h 458"/>
                  <a:gd name="T56" fmla="*/ 196 w 580"/>
                  <a:gd name="T57" fmla="*/ 27 h 458"/>
                  <a:gd name="T58" fmla="*/ 154 w 580"/>
                  <a:gd name="T59" fmla="*/ 4 h 458"/>
                  <a:gd name="T60" fmla="*/ 0 w 580"/>
                  <a:gd name="T61" fmla="*/ 152 h 458"/>
                  <a:gd name="T62" fmla="*/ 0 w 580"/>
                  <a:gd name="T63" fmla="*/ 439 h 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80" h="458">
                    <a:moveTo>
                      <a:pt x="411" y="213"/>
                    </a:moveTo>
                    <a:cubicBezTo>
                      <a:pt x="570" y="37"/>
                      <a:pt x="570" y="37"/>
                      <a:pt x="570" y="37"/>
                    </a:cubicBezTo>
                    <a:cubicBezTo>
                      <a:pt x="576" y="30"/>
                      <a:pt x="580" y="25"/>
                      <a:pt x="580" y="20"/>
                    </a:cubicBezTo>
                    <a:cubicBezTo>
                      <a:pt x="580" y="10"/>
                      <a:pt x="559" y="0"/>
                      <a:pt x="545" y="0"/>
                    </a:cubicBezTo>
                    <a:cubicBezTo>
                      <a:pt x="535" y="0"/>
                      <a:pt x="526" y="8"/>
                      <a:pt x="519" y="16"/>
                    </a:cubicBezTo>
                    <a:cubicBezTo>
                      <a:pt x="344" y="210"/>
                      <a:pt x="344" y="210"/>
                      <a:pt x="344" y="210"/>
                    </a:cubicBezTo>
                    <a:cubicBezTo>
                      <a:pt x="336" y="219"/>
                      <a:pt x="334" y="224"/>
                      <a:pt x="334" y="229"/>
                    </a:cubicBezTo>
                    <a:cubicBezTo>
                      <a:pt x="334" y="234"/>
                      <a:pt x="336" y="239"/>
                      <a:pt x="344" y="248"/>
                    </a:cubicBezTo>
                    <a:cubicBezTo>
                      <a:pt x="519" y="442"/>
                      <a:pt x="519" y="442"/>
                      <a:pt x="519" y="442"/>
                    </a:cubicBezTo>
                    <a:cubicBezTo>
                      <a:pt x="526" y="450"/>
                      <a:pt x="535" y="458"/>
                      <a:pt x="545" y="458"/>
                    </a:cubicBezTo>
                    <a:cubicBezTo>
                      <a:pt x="559" y="458"/>
                      <a:pt x="580" y="448"/>
                      <a:pt x="580" y="438"/>
                    </a:cubicBezTo>
                    <a:cubicBezTo>
                      <a:pt x="580" y="433"/>
                      <a:pt x="576" y="428"/>
                      <a:pt x="570" y="421"/>
                    </a:cubicBezTo>
                    <a:cubicBezTo>
                      <a:pt x="411" y="245"/>
                      <a:pt x="411" y="245"/>
                      <a:pt x="411" y="245"/>
                    </a:cubicBezTo>
                    <a:cubicBezTo>
                      <a:pt x="403" y="236"/>
                      <a:pt x="399" y="232"/>
                      <a:pt x="399" y="229"/>
                    </a:cubicBezTo>
                    <a:cubicBezTo>
                      <a:pt x="399" y="226"/>
                      <a:pt x="403" y="222"/>
                      <a:pt x="411" y="213"/>
                    </a:cubicBezTo>
                    <a:moveTo>
                      <a:pt x="252" y="439"/>
                    </a:moveTo>
                    <a:cubicBezTo>
                      <a:pt x="252" y="449"/>
                      <a:pt x="261" y="454"/>
                      <a:pt x="281" y="454"/>
                    </a:cubicBezTo>
                    <a:cubicBezTo>
                      <a:pt x="300" y="454"/>
                      <a:pt x="309" y="449"/>
                      <a:pt x="309" y="439"/>
                    </a:cubicBezTo>
                    <a:cubicBezTo>
                      <a:pt x="309" y="19"/>
                      <a:pt x="309" y="19"/>
                      <a:pt x="309" y="19"/>
                    </a:cubicBezTo>
                    <a:cubicBezTo>
                      <a:pt x="309" y="9"/>
                      <a:pt x="300" y="4"/>
                      <a:pt x="281" y="4"/>
                    </a:cubicBezTo>
                    <a:cubicBezTo>
                      <a:pt x="261" y="4"/>
                      <a:pt x="252" y="9"/>
                      <a:pt x="252" y="19"/>
                    </a:cubicBezTo>
                    <a:lnTo>
                      <a:pt x="252" y="439"/>
                    </a:lnTo>
                    <a:close/>
                    <a:moveTo>
                      <a:pt x="0" y="439"/>
                    </a:moveTo>
                    <a:cubicBezTo>
                      <a:pt x="0" y="449"/>
                      <a:pt x="8" y="454"/>
                      <a:pt x="28" y="454"/>
                    </a:cubicBezTo>
                    <a:cubicBezTo>
                      <a:pt x="48" y="454"/>
                      <a:pt x="56" y="449"/>
                      <a:pt x="56" y="439"/>
                    </a:cubicBezTo>
                    <a:cubicBezTo>
                      <a:pt x="56" y="157"/>
                      <a:pt x="56" y="157"/>
                      <a:pt x="56" y="157"/>
                    </a:cubicBezTo>
                    <a:cubicBezTo>
                      <a:pt x="56" y="83"/>
                      <a:pt x="85" y="53"/>
                      <a:pt x="165" y="53"/>
                    </a:cubicBezTo>
                    <a:cubicBezTo>
                      <a:pt x="180" y="53"/>
                      <a:pt x="180" y="53"/>
                      <a:pt x="180" y="53"/>
                    </a:cubicBezTo>
                    <a:cubicBezTo>
                      <a:pt x="192" y="53"/>
                      <a:pt x="196" y="43"/>
                      <a:pt x="196" y="27"/>
                    </a:cubicBezTo>
                    <a:cubicBezTo>
                      <a:pt x="196" y="8"/>
                      <a:pt x="185" y="4"/>
                      <a:pt x="154" y="4"/>
                    </a:cubicBezTo>
                    <a:cubicBezTo>
                      <a:pt x="64" y="4"/>
                      <a:pt x="0" y="43"/>
                      <a:pt x="0" y="152"/>
                    </a:cubicBezTo>
                    <a:lnTo>
                      <a:pt x="0" y="43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25" name="Freeform 10">
                <a:extLst>
                  <a:ext uri="{FF2B5EF4-FFF2-40B4-BE49-F238E27FC236}">
                    <a16:creationId xmlns:a16="http://schemas.microsoft.com/office/drawing/2014/main" id="{2B91B16B-BC11-E547-8FAC-B9B8D18EA449}"/>
                  </a:ext>
                </a:extLst>
              </p:cNvPr>
              <p:cNvSpPr>
                <a:spLocks/>
              </p:cNvSpPr>
              <p:nvPr/>
            </p:nvSpPr>
            <p:spPr bwMode="gray">
              <a:xfrm>
                <a:off x="2880" y="1704"/>
                <a:ext cx="618" cy="916"/>
              </a:xfrm>
              <a:custGeom>
                <a:avLst/>
                <a:gdLst>
                  <a:gd name="T0" fmla="*/ 307 w 307"/>
                  <a:gd name="T1" fmla="*/ 405 h 455"/>
                  <a:gd name="T2" fmla="*/ 307 w 307"/>
                  <a:gd name="T3" fmla="*/ 244 h 455"/>
                  <a:gd name="T4" fmla="*/ 279 w 307"/>
                  <a:gd name="T5" fmla="*/ 229 h 455"/>
                  <a:gd name="T6" fmla="*/ 250 w 307"/>
                  <a:gd name="T7" fmla="*/ 244 h 455"/>
                  <a:gd name="T8" fmla="*/ 250 w 307"/>
                  <a:gd name="T9" fmla="*/ 378 h 455"/>
                  <a:gd name="T10" fmla="*/ 199 w 307"/>
                  <a:gd name="T11" fmla="*/ 408 h 455"/>
                  <a:gd name="T12" fmla="*/ 61 w 307"/>
                  <a:gd name="T13" fmla="*/ 231 h 455"/>
                  <a:gd name="T14" fmla="*/ 238 w 307"/>
                  <a:gd name="T15" fmla="*/ 49 h 455"/>
                  <a:gd name="T16" fmla="*/ 270 w 307"/>
                  <a:gd name="T17" fmla="*/ 49 h 455"/>
                  <a:gd name="T18" fmla="*/ 286 w 307"/>
                  <a:gd name="T19" fmla="*/ 23 h 455"/>
                  <a:gd name="T20" fmla="*/ 244 w 307"/>
                  <a:gd name="T21" fmla="*/ 0 h 455"/>
                  <a:gd name="T22" fmla="*/ 231 w 307"/>
                  <a:gd name="T23" fmla="*/ 0 h 455"/>
                  <a:gd name="T24" fmla="*/ 0 w 307"/>
                  <a:gd name="T25" fmla="*/ 232 h 455"/>
                  <a:gd name="T26" fmla="*/ 198 w 307"/>
                  <a:gd name="T27" fmla="*/ 455 h 455"/>
                  <a:gd name="T28" fmla="*/ 307 w 307"/>
                  <a:gd name="T29" fmla="*/ 405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7" h="455">
                    <a:moveTo>
                      <a:pt x="307" y="405"/>
                    </a:moveTo>
                    <a:cubicBezTo>
                      <a:pt x="307" y="244"/>
                      <a:pt x="307" y="244"/>
                      <a:pt x="307" y="244"/>
                    </a:cubicBezTo>
                    <a:cubicBezTo>
                      <a:pt x="307" y="234"/>
                      <a:pt x="298" y="229"/>
                      <a:pt x="279" y="229"/>
                    </a:cubicBezTo>
                    <a:cubicBezTo>
                      <a:pt x="259" y="229"/>
                      <a:pt x="250" y="234"/>
                      <a:pt x="250" y="244"/>
                    </a:cubicBezTo>
                    <a:cubicBezTo>
                      <a:pt x="250" y="378"/>
                      <a:pt x="250" y="378"/>
                      <a:pt x="250" y="378"/>
                    </a:cubicBezTo>
                    <a:cubicBezTo>
                      <a:pt x="250" y="399"/>
                      <a:pt x="241" y="408"/>
                      <a:pt x="199" y="408"/>
                    </a:cubicBezTo>
                    <a:cubicBezTo>
                      <a:pt x="114" y="408"/>
                      <a:pt x="61" y="342"/>
                      <a:pt x="61" y="231"/>
                    </a:cubicBezTo>
                    <a:cubicBezTo>
                      <a:pt x="61" y="115"/>
                      <a:pt x="126" y="49"/>
                      <a:pt x="238" y="49"/>
                    </a:cubicBezTo>
                    <a:cubicBezTo>
                      <a:pt x="270" y="49"/>
                      <a:pt x="270" y="49"/>
                      <a:pt x="270" y="49"/>
                    </a:cubicBezTo>
                    <a:cubicBezTo>
                      <a:pt x="282" y="49"/>
                      <a:pt x="286" y="39"/>
                      <a:pt x="286" y="23"/>
                    </a:cubicBezTo>
                    <a:cubicBezTo>
                      <a:pt x="286" y="4"/>
                      <a:pt x="275" y="0"/>
                      <a:pt x="244" y="0"/>
                    </a:cubicBezTo>
                    <a:cubicBezTo>
                      <a:pt x="231" y="0"/>
                      <a:pt x="231" y="0"/>
                      <a:pt x="231" y="0"/>
                    </a:cubicBezTo>
                    <a:cubicBezTo>
                      <a:pt x="101" y="0"/>
                      <a:pt x="0" y="71"/>
                      <a:pt x="0" y="232"/>
                    </a:cubicBezTo>
                    <a:cubicBezTo>
                      <a:pt x="0" y="386"/>
                      <a:pt x="88" y="455"/>
                      <a:pt x="198" y="455"/>
                    </a:cubicBezTo>
                    <a:cubicBezTo>
                      <a:pt x="286" y="455"/>
                      <a:pt x="307" y="430"/>
                      <a:pt x="307" y="40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26" name="Oval 11">
                <a:extLst>
                  <a:ext uri="{FF2B5EF4-FFF2-40B4-BE49-F238E27FC236}">
                    <a16:creationId xmlns:a16="http://schemas.microsoft.com/office/drawing/2014/main" id="{14F8C3C8-4888-7646-B9B4-64EB46A1DA23}"/>
                  </a:ext>
                </a:extLst>
              </p:cNvPr>
              <p:cNvSpPr>
                <a:spLocks noChangeArrowheads="1"/>
              </p:cNvSpPr>
              <p:nvPr/>
            </p:nvSpPr>
            <p:spPr bwMode="gray">
              <a:xfrm>
                <a:off x="3778" y="2099"/>
                <a:ext cx="122" cy="12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27" name="Freeform 12">
                <a:extLst>
                  <a:ext uri="{FF2B5EF4-FFF2-40B4-BE49-F238E27FC236}">
                    <a16:creationId xmlns:a16="http://schemas.microsoft.com/office/drawing/2014/main" id="{D79D01D1-4E3E-F34B-97D7-2D387E68746E}"/>
                  </a:ext>
                </a:extLst>
              </p:cNvPr>
              <p:cNvSpPr>
                <a:spLocks/>
              </p:cNvSpPr>
              <p:nvPr/>
            </p:nvSpPr>
            <p:spPr bwMode="gray">
              <a:xfrm>
                <a:off x="4321" y="1029"/>
                <a:ext cx="648" cy="649"/>
              </a:xfrm>
              <a:custGeom>
                <a:avLst/>
                <a:gdLst>
                  <a:gd name="T0" fmla="*/ 0 w 648"/>
                  <a:gd name="T1" fmla="*/ 649 h 649"/>
                  <a:gd name="T2" fmla="*/ 2 w 648"/>
                  <a:gd name="T3" fmla="*/ 649 h 649"/>
                  <a:gd name="T4" fmla="*/ 648 w 648"/>
                  <a:gd name="T5" fmla="*/ 0 h 649"/>
                  <a:gd name="T6" fmla="*/ 423 w 648"/>
                  <a:gd name="T7" fmla="*/ 0 h 649"/>
                  <a:gd name="T8" fmla="*/ 0 w 648"/>
                  <a:gd name="T9" fmla="*/ 649 h 649"/>
                </a:gdLst>
                <a:ahLst/>
                <a:cxnLst>
                  <a:cxn ang="0">
                    <a:pos x="T0" y="T1"/>
                  </a:cxn>
                  <a:cxn ang="0">
                    <a:pos x="T2" y="T3"/>
                  </a:cxn>
                  <a:cxn ang="0">
                    <a:pos x="T4" y="T5"/>
                  </a:cxn>
                  <a:cxn ang="0">
                    <a:pos x="T6" y="T7"/>
                  </a:cxn>
                  <a:cxn ang="0">
                    <a:pos x="T8" y="T9"/>
                  </a:cxn>
                </a:cxnLst>
                <a:rect l="0" t="0" r="r" b="b"/>
                <a:pathLst>
                  <a:path w="648" h="649">
                    <a:moveTo>
                      <a:pt x="0" y="649"/>
                    </a:moveTo>
                    <a:lnTo>
                      <a:pt x="2" y="649"/>
                    </a:lnTo>
                    <a:lnTo>
                      <a:pt x="648" y="0"/>
                    </a:lnTo>
                    <a:lnTo>
                      <a:pt x="423" y="0"/>
                    </a:lnTo>
                    <a:lnTo>
                      <a:pt x="0" y="64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28" name="Freeform 13">
                <a:extLst>
                  <a:ext uri="{FF2B5EF4-FFF2-40B4-BE49-F238E27FC236}">
                    <a16:creationId xmlns:a16="http://schemas.microsoft.com/office/drawing/2014/main" id="{46549898-6C52-B147-A8F6-A73FDBE6163B}"/>
                  </a:ext>
                </a:extLst>
              </p:cNvPr>
              <p:cNvSpPr>
                <a:spLocks/>
              </p:cNvSpPr>
              <p:nvPr/>
            </p:nvSpPr>
            <p:spPr bwMode="gray">
              <a:xfrm>
                <a:off x="4321" y="1029"/>
                <a:ext cx="648" cy="649"/>
              </a:xfrm>
              <a:custGeom>
                <a:avLst/>
                <a:gdLst>
                  <a:gd name="T0" fmla="*/ 0 w 648"/>
                  <a:gd name="T1" fmla="*/ 649 h 649"/>
                  <a:gd name="T2" fmla="*/ 2 w 648"/>
                  <a:gd name="T3" fmla="*/ 649 h 649"/>
                  <a:gd name="T4" fmla="*/ 648 w 648"/>
                  <a:gd name="T5" fmla="*/ 0 h 649"/>
                  <a:gd name="T6" fmla="*/ 423 w 648"/>
                  <a:gd name="T7" fmla="*/ 0 h 649"/>
                  <a:gd name="T8" fmla="*/ 0 w 648"/>
                  <a:gd name="T9" fmla="*/ 649 h 649"/>
                </a:gdLst>
                <a:ahLst/>
                <a:cxnLst>
                  <a:cxn ang="0">
                    <a:pos x="T0" y="T1"/>
                  </a:cxn>
                  <a:cxn ang="0">
                    <a:pos x="T2" y="T3"/>
                  </a:cxn>
                  <a:cxn ang="0">
                    <a:pos x="T4" y="T5"/>
                  </a:cxn>
                  <a:cxn ang="0">
                    <a:pos x="T6" y="T7"/>
                  </a:cxn>
                  <a:cxn ang="0">
                    <a:pos x="T8" y="T9"/>
                  </a:cxn>
                </a:cxnLst>
                <a:rect l="0" t="0" r="r" b="b"/>
                <a:pathLst>
                  <a:path w="648" h="649">
                    <a:moveTo>
                      <a:pt x="0" y="649"/>
                    </a:moveTo>
                    <a:lnTo>
                      <a:pt x="2" y="649"/>
                    </a:lnTo>
                    <a:lnTo>
                      <a:pt x="648" y="0"/>
                    </a:lnTo>
                    <a:lnTo>
                      <a:pt x="423" y="0"/>
                    </a:lnTo>
                    <a:lnTo>
                      <a:pt x="0" y="64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grpSp>
      </p:grpSp>
      <p:sp>
        <p:nvSpPr>
          <p:cNvPr id="7" name="Date Placeholder 6"/>
          <p:cNvSpPr>
            <a:spLocks noGrp="1"/>
          </p:cNvSpPr>
          <p:nvPr>
            <p:ph type="dt" sz="half" idx="10"/>
          </p:nvPr>
        </p:nvSpPr>
        <p:spPr>
          <a:xfrm>
            <a:off x="0" y="0"/>
            <a:ext cx="0" cy="0"/>
          </a:xfrm>
          <a:prstGeom prst="rect">
            <a:avLst/>
          </a:prstGeom>
        </p:spPr>
        <p:txBody>
          <a:bodyPr/>
          <a:lstStyle>
            <a:lvl1pPr>
              <a:defRPr sz="100">
                <a:noFill/>
              </a:defRPr>
            </a:lvl1pPr>
          </a:lstStyle>
          <a:p>
            <a:fld id="{D76217CC-534C-41BF-930C-27B1184E95F2}" type="datetime5">
              <a:rPr lang="en-US" smtClean="0"/>
              <a:t>26-Jun-20</a:t>
            </a:fld>
            <a:endParaRPr lang="en-US"/>
          </a:p>
        </p:txBody>
      </p:sp>
      <p:sp>
        <p:nvSpPr>
          <p:cNvPr id="8" name="Footer Placeholder 7"/>
          <p:cNvSpPr>
            <a:spLocks noGrp="1"/>
          </p:cNvSpPr>
          <p:nvPr>
            <p:ph type="ftr" sz="quarter" idx="11"/>
          </p:nvPr>
        </p:nvSpPr>
        <p:spPr>
          <a:xfrm>
            <a:off x="0" y="0"/>
            <a:ext cx="0" cy="0"/>
          </a:xfrm>
          <a:prstGeom prst="rect">
            <a:avLst/>
          </a:prstGeom>
        </p:spPr>
        <p:txBody>
          <a:bodyPr/>
          <a:lstStyle>
            <a:lvl1pPr marL="0" indent="0">
              <a:buNone/>
              <a:defRPr sz="100">
                <a:noFill/>
              </a:defRPr>
            </a:lvl1pPr>
          </a:lstStyle>
          <a:p>
            <a:r>
              <a:rPr lang="en-US"/>
              <a:t>Title of presentation (Insert / Header &amp; Footer / Apply to All)</a:t>
            </a:r>
          </a:p>
        </p:txBody>
      </p:sp>
      <p:sp>
        <p:nvSpPr>
          <p:cNvPr id="9" name="Slide Number Placeholder 8"/>
          <p:cNvSpPr>
            <a:spLocks noGrp="1"/>
          </p:cNvSpPr>
          <p:nvPr>
            <p:ph type="sldNum" sz="quarter" idx="12"/>
          </p:nvPr>
        </p:nvSpPr>
        <p:spPr>
          <a:xfrm>
            <a:off x="0" y="0"/>
            <a:ext cx="0" cy="0"/>
          </a:xfrm>
          <a:prstGeom prst="rect">
            <a:avLst/>
          </a:prstGeom>
        </p:spPr>
        <p:txBody>
          <a:bodyPr/>
          <a:lstStyle>
            <a:lvl1pPr>
              <a:defRPr sz="100">
                <a:noFill/>
              </a:defRPr>
            </a:lvl1pPr>
          </a:lstStyle>
          <a:p>
            <a:fld id="{8E3B25F7-8D1F-44B5-B485-EE3C438CFD7B}" type="slidenum">
              <a:rPr lang="en-US" smtClean="0"/>
              <a:pPr/>
              <a:t>‹#›</a:t>
            </a:fld>
            <a:endParaRPr lang="en-US"/>
          </a:p>
        </p:txBody>
      </p:sp>
      <p:sp>
        <p:nvSpPr>
          <p:cNvPr id="2" name="Title 1"/>
          <p:cNvSpPr>
            <a:spLocks noGrp="1"/>
          </p:cNvSpPr>
          <p:nvPr>
            <p:ph type="ctrTitle" hasCustomPrompt="1"/>
          </p:nvPr>
        </p:nvSpPr>
        <p:spPr>
          <a:xfrm>
            <a:off x="4777671" y="2019727"/>
            <a:ext cx="3816000" cy="2236264"/>
          </a:xfrm>
        </p:spPr>
        <p:txBody>
          <a:bodyPr anchor="b"/>
          <a:lstStyle>
            <a:lvl1pPr algn="l">
              <a:defRPr sz="3600"/>
            </a:lvl1pPr>
          </a:lstStyle>
          <a:p>
            <a:r>
              <a:rPr lang="en-US"/>
              <a:t>Click to add thank you</a:t>
            </a:r>
          </a:p>
        </p:txBody>
      </p:sp>
    </p:spTree>
    <p:extLst>
      <p:ext uri="{BB962C8B-B14F-4D97-AF65-F5344CB8AC3E}">
        <p14:creationId xmlns:p14="http://schemas.microsoft.com/office/powerpoint/2010/main" val="1912170511"/>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p:cSld name="Empty">
    <p:spTree>
      <p:nvGrpSpPr>
        <p:cNvPr id="1" name=""/>
        <p:cNvGrpSpPr/>
        <p:nvPr/>
      </p:nvGrpSpPr>
      <p:grpSpPr>
        <a:xfrm>
          <a:off x="0" y="0"/>
          <a:ext cx="0" cy="0"/>
          <a:chOff x="0" y="0"/>
          <a:chExt cx="0" cy="0"/>
        </a:xfrm>
      </p:grpSpPr>
      <p:sp>
        <p:nvSpPr>
          <p:cNvPr id="5" name="Rectangle 4"/>
          <p:cNvSpPr/>
          <p:nvPr/>
        </p:nvSpPr>
        <p:spPr bwMode="white">
          <a:xfrm>
            <a:off x="0" y="0"/>
            <a:ext cx="514350" cy="16287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Date Placeholder 5"/>
          <p:cNvSpPr>
            <a:spLocks noGrp="1"/>
          </p:cNvSpPr>
          <p:nvPr>
            <p:ph type="dt" sz="half" idx="10"/>
          </p:nvPr>
        </p:nvSpPr>
        <p:spPr/>
        <p:txBody>
          <a:bodyPr/>
          <a:lstStyle/>
          <a:p>
            <a:fld id="{2DD22AFC-145E-4433-8756-926F8A0E61FA}" type="datetime5">
              <a:rPr lang="en-US" smtClean="0"/>
              <a:t>26-Jun-20</a:t>
            </a:fld>
            <a:endParaRPr lang="en-US"/>
          </a:p>
        </p:txBody>
      </p:sp>
      <p:sp>
        <p:nvSpPr>
          <p:cNvPr id="7" name="Footer Placeholder 6"/>
          <p:cNvSpPr>
            <a:spLocks noGrp="1"/>
          </p:cNvSpPr>
          <p:nvPr>
            <p:ph type="ftr" sz="quarter" idx="11"/>
          </p:nvPr>
        </p:nvSpPr>
        <p:spPr/>
        <p:txBody>
          <a:bodyPr/>
          <a:lstStyle/>
          <a:p>
            <a:r>
              <a:rPr lang="en-US"/>
              <a:t>Title of presentation (Insert / Header &amp; Footer / Apply to All)</a:t>
            </a:r>
          </a:p>
        </p:txBody>
      </p:sp>
      <p:sp>
        <p:nvSpPr>
          <p:cNvPr id="8" name="Slide Number Placeholder 7"/>
          <p:cNvSpPr>
            <a:spLocks noGrp="1"/>
          </p:cNvSpPr>
          <p:nvPr>
            <p:ph type="sldNum" sz="quarter" idx="12"/>
          </p:nvPr>
        </p:nvSpPr>
        <p:spPr/>
        <p:txBody>
          <a:bodyPr/>
          <a:lstStyle/>
          <a:p>
            <a:fld id="{5F3E29E4-0979-4FCA-B4C5-5FC6044C982A}" type="slidenum">
              <a:rPr lang="en-US" smtClean="0"/>
              <a:pPr/>
              <a:t>‹#›</a:t>
            </a:fld>
            <a:endParaRPr lang="en-US"/>
          </a:p>
        </p:txBody>
      </p:sp>
      <p:sp>
        <p:nvSpPr>
          <p:cNvPr id="10" name="Text Placeholder 4"/>
          <p:cNvSpPr>
            <a:spLocks noGrp="1"/>
          </p:cNvSpPr>
          <p:nvPr>
            <p:ph type="body" sz="quarter" idx="17" hasCustomPrompt="1"/>
          </p:nvPr>
        </p:nvSpPr>
        <p:spPr>
          <a:xfrm>
            <a:off x="1075063" y="6307665"/>
            <a:ext cx="8162717" cy="133200"/>
          </a:xfrm>
        </p:spPr>
        <p:txBody>
          <a:bodyPr lIns="0" tIns="0" rIns="0" bIns="0" anchor="b" anchorCtr="0"/>
          <a:lstStyle>
            <a:lvl1pPr marL="0" indent="0" algn="l">
              <a:lnSpc>
                <a:spcPct val="100000"/>
              </a:lnSpc>
              <a:spcBef>
                <a:spcPts val="0"/>
              </a:spcBef>
              <a:buNone/>
              <a:defRPr sz="800" baseline="0"/>
            </a:lvl1pPr>
            <a:lvl2pPr marL="0" indent="0" algn="l">
              <a:lnSpc>
                <a:spcPct val="100000"/>
              </a:lnSpc>
              <a:spcBef>
                <a:spcPts val="0"/>
              </a:spcBef>
              <a:buNone/>
              <a:defRPr sz="800"/>
            </a:lvl2pPr>
            <a:lvl3pPr marL="0" indent="0" algn="l">
              <a:lnSpc>
                <a:spcPct val="100000"/>
              </a:lnSpc>
              <a:spcBef>
                <a:spcPts val="0"/>
              </a:spcBef>
              <a:buNone/>
              <a:defRPr sz="800"/>
            </a:lvl3pPr>
            <a:lvl4pPr marL="0" algn="l">
              <a:lnSpc>
                <a:spcPct val="100000"/>
              </a:lnSpc>
              <a:spcBef>
                <a:spcPts val="0"/>
              </a:spcBef>
              <a:buNone/>
              <a:defRPr sz="800"/>
            </a:lvl4pPr>
            <a:lvl5pPr marL="0" indent="0" algn="l">
              <a:lnSpc>
                <a:spcPct val="100000"/>
              </a:lnSpc>
              <a:spcBef>
                <a:spcPts val="0"/>
              </a:spcBef>
              <a:buNone/>
              <a:defRPr sz="800"/>
            </a:lvl5pPr>
          </a:lstStyle>
          <a:p>
            <a:pPr lvl="0"/>
            <a:r>
              <a:rPr lang="en-US"/>
              <a:t>Source line</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5855868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wo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p>
            <a:r>
              <a:rPr lang="en-US"/>
              <a:t>Click to add headline</a:t>
            </a:r>
          </a:p>
        </p:txBody>
      </p:sp>
      <p:sp>
        <p:nvSpPr>
          <p:cNvPr id="7" name="Textplatzhalter 2"/>
          <p:cNvSpPr>
            <a:spLocks noGrp="1"/>
          </p:cNvSpPr>
          <p:nvPr>
            <p:ph type="body" sz="quarter" idx="11" hasCustomPrompt="1"/>
          </p:nvPr>
        </p:nvSpPr>
        <p:spPr bwMode="gray">
          <a:xfrm>
            <a:off x="431213" y="1220755"/>
            <a:ext cx="11328987" cy="384340"/>
          </a:xfrm>
        </p:spPr>
        <p:txBody>
          <a:bodyPr>
            <a:noAutofit/>
          </a:bodyPr>
          <a:lstStyle>
            <a:lvl1pPr marL="0" indent="0">
              <a:lnSpc>
                <a:spcPct val="100000"/>
              </a:lnSpc>
              <a:spcBef>
                <a:spcPts val="800"/>
              </a:spcBef>
              <a:buFont typeface="Arial" panose="020B0604020202020204" pitchFamily="34" charset="0"/>
              <a:buNone/>
              <a:defRPr lang="en-GB" sz="2398" kern="1200" noProof="0" smtClean="0">
                <a:solidFill>
                  <a:schemeClr val="tx2"/>
                </a:solidFill>
                <a:latin typeface="Arial" pitchFamily="34" charset="0"/>
                <a:ea typeface="+mn-ea"/>
                <a:cs typeface="Arial" pitchFamily="34" charset="0"/>
              </a:defRPr>
            </a:lvl1pPr>
            <a:lvl2pPr marL="0" indent="0">
              <a:lnSpc>
                <a:spcPct val="100000"/>
              </a:lnSpc>
              <a:spcBef>
                <a:spcPts val="800"/>
              </a:spcBef>
              <a:buFont typeface="Arial" panose="020B0604020202020204" pitchFamily="34" charset="0"/>
              <a:buNone/>
              <a:defRPr lang="en-GB" sz="2398" kern="1200" noProof="0" smtClean="0">
                <a:solidFill>
                  <a:schemeClr val="tx2"/>
                </a:solidFill>
                <a:latin typeface="Arial" pitchFamily="34" charset="0"/>
                <a:ea typeface="+mn-ea"/>
                <a:cs typeface="Arial" pitchFamily="34" charset="0"/>
              </a:defRPr>
            </a:lvl2pPr>
            <a:lvl3pPr marL="0" indent="0">
              <a:lnSpc>
                <a:spcPct val="100000"/>
              </a:lnSpc>
              <a:spcBef>
                <a:spcPts val="800"/>
              </a:spcBef>
              <a:buFont typeface="Arial" panose="020B0604020202020204" pitchFamily="34" charset="0"/>
              <a:buNone/>
              <a:defRPr lang="en-GB" sz="2398" kern="1200" noProof="0" smtClean="0">
                <a:solidFill>
                  <a:schemeClr val="tx2"/>
                </a:solidFill>
                <a:latin typeface="Arial" pitchFamily="34" charset="0"/>
                <a:ea typeface="+mn-ea"/>
                <a:cs typeface="Arial" pitchFamily="34" charset="0"/>
              </a:defRPr>
            </a:lvl3pPr>
            <a:lvl4pPr marL="0" indent="0">
              <a:lnSpc>
                <a:spcPct val="100000"/>
              </a:lnSpc>
              <a:spcBef>
                <a:spcPts val="800"/>
              </a:spcBef>
              <a:buFont typeface="Arial" panose="020B0604020202020204" pitchFamily="34" charset="0"/>
              <a:buNone/>
              <a:defRPr lang="en-GB" sz="2398" kern="1200" noProof="0" smtClean="0">
                <a:solidFill>
                  <a:schemeClr val="tx2"/>
                </a:solidFill>
                <a:latin typeface="Arial" pitchFamily="34" charset="0"/>
                <a:ea typeface="+mn-ea"/>
                <a:cs typeface="Arial" pitchFamily="34" charset="0"/>
              </a:defRPr>
            </a:lvl4pPr>
            <a:lvl5pPr marL="0" indent="0">
              <a:lnSpc>
                <a:spcPct val="100000"/>
              </a:lnSpc>
              <a:spcBef>
                <a:spcPts val="800"/>
              </a:spcBef>
              <a:buFont typeface="Arial" panose="020B0604020202020204" pitchFamily="34" charset="0"/>
              <a:buNone/>
              <a:defRPr lang="en-GB" sz="2398" kern="1200" noProof="0" smtClean="0">
                <a:solidFill>
                  <a:schemeClr val="tx2"/>
                </a:solidFill>
                <a:latin typeface="Arial" pitchFamily="34" charset="0"/>
                <a:ea typeface="+mn-ea"/>
                <a:cs typeface="Arial" pitchFamily="34" charset="0"/>
              </a:defRPr>
            </a:lvl5pPr>
            <a:lvl6pPr marL="0" indent="0">
              <a:lnSpc>
                <a:spcPct val="100000"/>
              </a:lnSpc>
              <a:spcBef>
                <a:spcPts val="800"/>
              </a:spcBef>
              <a:buNone/>
              <a:defRPr lang="en-GB" sz="2398" kern="1200" noProof="0" smtClean="0">
                <a:solidFill>
                  <a:schemeClr val="tx2"/>
                </a:solidFill>
                <a:latin typeface="Arial" pitchFamily="34" charset="0"/>
                <a:ea typeface="+mn-ea"/>
                <a:cs typeface="Arial" pitchFamily="34" charset="0"/>
              </a:defRPr>
            </a:lvl6pPr>
            <a:lvl7pPr marL="0" indent="0">
              <a:lnSpc>
                <a:spcPct val="100000"/>
              </a:lnSpc>
              <a:spcBef>
                <a:spcPts val="800"/>
              </a:spcBef>
              <a:buNone/>
              <a:defRPr lang="en-GB" sz="2398" kern="1200" noProof="0" smtClean="0">
                <a:solidFill>
                  <a:schemeClr val="tx2"/>
                </a:solidFill>
                <a:latin typeface="Arial" pitchFamily="34" charset="0"/>
                <a:ea typeface="+mn-ea"/>
                <a:cs typeface="Arial" pitchFamily="34" charset="0"/>
              </a:defRPr>
            </a:lvl7pPr>
            <a:lvl8pPr marL="0" indent="0">
              <a:lnSpc>
                <a:spcPct val="100000"/>
              </a:lnSpc>
              <a:spcBef>
                <a:spcPts val="800"/>
              </a:spcBef>
              <a:buNone/>
              <a:defRPr lang="en-GB" sz="2398" kern="1200" noProof="0" smtClean="0">
                <a:solidFill>
                  <a:schemeClr val="tx2"/>
                </a:solidFill>
                <a:latin typeface="Arial" pitchFamily="34" charset="0"/>
                <a:ea typeface="+mn-ea"/>
                <a:cs typeface="Arial" pitchFamily="34" charset="0"/>
              </a:defRPr>
            </a:lvl8pPr>
            <a:lvl9pPr marL="0" indent="0">
              <a:lnSpc>
                <a:spcPct val="100000"/>
              </a:lnSpc>
              <a:spcBef>
                <a:spcPts val="800"/>
              </a:spcBef>
              <a:buNone/>
              <a:defRPr lang="de-DE" sz="2398" kern="1200" noProof="0" smtClean="0">
                <a:solidFill>
                  <a:schemeClr val="tx2"/>
                </a:solidFill>
                <a:latin typeface="Arial" pitchFamily="34" charset="0"/>
                <a:ea typeface="+mn-ea"/>
                <a:cs typeface="Arial" pitchFamily="34" charset="0"/>
              </a:defRPr>
            </a:lvl9pPr>
          </a:lstStyle>
          <a:p>
            <a:pPr lvl="0"/>
            <a:r>
              <a:rPr lang="en-US"/>
              <a:t>Click to add </a:t>
            </a:r>
            <a:r>
              <a:rPr lang="en-US" err="1"/>
              <a:t>subheadline</a:t>
            </a:r>
            <a:endParaRPr lang="en-US"/>
          </a:p>
        </p:txBody>
      </p:sp>
      <p:sp>
        <p:nvSpPr>
          <p:cNvPr id="9" name="Textplatzhalter 3"/>
          <p:cNvSpPr>
            <a:spLocks noGrp="1"/>
          </p:cNvSpPr>
          <p:nvPr>
            <p:ph type="body" sz="quarter" idx="12" hasCustomPrompt="1"/>
          </p:nvPr>
        </p:nvSpPr>
        <p:spPr bwMode="gray">
          <a:xfrm>
            <a:off x="431371" y="6404740"/>
            <a:ext cx="11328400" cy="192617"/>
          </a:xfrm>
        </p:spPr>
        <p:txBody>
          <a:bodyPr tIns="0" bIns="36000" anchor="b" anchorCtr="0">
            <a:noAutofit/>
          </a:bodyPr>
          <a:lstStyle>
            <a:lvl1pPr marL="0" marR="0" indent="0" algn="l" defTabSz="1218043" rtl="0" eaLnBrk="1" fontAlgn="auto" latinLnBrk="0" hangingPunct="1">
              <a:lnSpc>
                <a:spcPct val="100000"/>
              </a:lnSpc>
              <a:spcBef>
                <a:spcPts val="0"/>
              </a:spcBef>
              <a:spcAft>
                <a:spcPts val="0"/>
              </a:spcAft>
              <a:buClrTx/>
              <a:buSzTx/>
              <a:buFont typeface="Arial" pitchFamily="34" charset="0"/>
              <a:buNone/>
              <a:tabLst/>
              <a:defRPr lang="de-DE" sz="1066" kern="1200" baseline="0" noProof="0" smtClean="0">
                <a:solidFill>
                  <a:schemeClr val="bg2"/>
                </a:solidFill>
                <a:latin typeface="Arial" pitchFamily="34" charset="0"/>
                <a:ea typeface="+mn-ea"/>
                <a:cs typeface="Arial" pitchFamily="34" charset="0"/>
              </a:defRPr>
            </a:lvl1pPr>
            <a:lvl2pPr marL="0" indent="0">
              <a:lnSpc>
                <a:spcPct val="100000"/>
              </a:lnSpc>
              <a:spcBef>
                <a:spcPts val="0"/>
              </a:spcBef>
              <a:buFont typeface="Arial" panose="020B0604020202020204" pitchFamily="34" charset="0"/>
              <a:buNone/>
              <a:defRPr lang="de-DE" sz="1066" kern="1200" baseline="0" noProof="0" smtClean="0">
                <a:solidFill>
                  <a:schemeClr val="bg2"/>
                </a:solidFill>
                <a:latin typeface="Arial" pitchFamily="34" charset="0"/>
                <a:ea typeface="+mn-ea"/>
                <a:cs typeface="Arial" pitchFamily="34" charset="0"/>
              </a:defRPr>
            </a:lvl2pPr>
            <a:lvl3pPr marL="0" indent="0">
              <a:lnSpc>
                <a:spcPct val="100000"/>
              </a:lnSpc>
              <a:spcBef>
                <a:spcPts val="0"/>
              </a:spcBef>
              <a:buNone/>
              <a:defRPr lang="de-DE" sz="1066" kern="1200" baseline="0" noProof="0" smtClean="0">
                <a:solidFill>
                  <a:schemeClr val="bg2"/>
                </a:solidFill>
                <a:latin typeface="Arial" pitchFamily="34" charset="0"/>
                <a:ea typeface="+mn-ea"/>
                <a:cs typeface="Arial" pitchFamily="34" charset="0"/>
              </a:defRPr>
            </a:lvl3pPr>
            <a:lvl4pPr marL="0" indent="0">
              <a:lnSpc>
                <a:spcPct val="100000"/>
              </a:lnSpc>
              <a:spcBef>
                <a:spcPts val="0"/>
              </a:spcBef>
              <a:buNone/>
              <a:defRPr lang="de-DE" sz="1066" kern="1200" baseline="0" noProof="0" smtClean="0">
                <a:solidFill>
                  <a:schemeClr val="bg2"/>
                </a:solidFill>
                <a:latin typeface="Arial" pitchFamily="34" charset="0"/>
                <a:ea typeface="+mn-ea"/>
                <a:cs typeface="Arial" pitchFamily="34" charset="0"/>
              </a:defRPr>
            </a:lvl4pPr>
            <a:lvl5pPr marL="0" indent="0">
              <a:lnSpc>
                <a:spcPct val="100000"/>
              </a:lnSpc>
              <a:spcBef>
                <a:spcPts val="0"/>
              </a:spcBef>
              <a:buNone/>
              <a:defRPr lang="de-DE" sz="1066" kern="1200" baseline="0" noProof="0" smtClean="0">
                <a:solidFill>
                  <a:schemeClr val="bg2"/>
                </a:solidFill>
                <a:latin typeface="Arial" pitchFamily="34" charset="0"/>
                <a:ea typeface="+mn-ea"/>
                <a:cs typeface="Arial" pitchFamily="34" charset="0"/>
              </a:defRPr>
            </a:lvl5pPr>
            <a:lvl6pPr marL="0" indent="0">
              <a:lnSpc>
                <a:spcPct val="100000"/>
              </a:lnSpc>
              <a:spcBef>
                <a:spcPts val="0"/>
              </a:spcBef>
              <a:buNone/>
              <a:defRPr lang="de-DE" sz="1066" kern="1200" baseline="0" noProof="0" smtClean="0">
                <a:solidFill>
                  <a:schemeClr val="bg2"/>
                </a:solidFill>
                <a:latin typeface="Arial" pitchFamily="34" charset="0"/>
                <a:ea typeface="+mn-ea"/>
                <a:cs typeface="Arial" pitchFamily="34" charset="0"/>
              </a:defRPr>
            </a:lvl6pPr>
            <a:lvl7pPr marL="0" indent="0">
              <a:lnSpc>
                <a:spcPct val="100000"/>
              </a:lnSpc>
              <a:spcBef>
                <a:spcPts val="0"/>
              </a:spcBef>
              <a:buNone/>
              <a:defRPr lang="de-DE" sz="1066" kern="1200" baseline="0" noProof="0" dirty="0" smtClean="0">
                <a:solidFill>
                  <a:schemeClr val="bg2"/>
                </a:solidFill>
                <a:latin typeface="Arial" pitchFamily="34" charset="0"/>
                <a:ea typeface="+mn-ea"/>
                <a:cs typeface="Arial" pitchFamily="34" charset="0"/>
              </a:defRPr>
            </a:lvl7pPr>
            <a:lvl8pPr marL="0" indent="0">
              <a:lnSpc>
                <a:spcPct val="100000"/>
              </a:lnSpc>
              <a:spcBef>
                <a:spcPts val="0"/>
              </a:spcBef>
              <a:buNone/>
              <a:defRPr lang="de-DE" sz="1066" kern="1200" baseline="0" noProof="0" smtClean="0">
                <a:solidFill>
                  <a:schemeClr val="bg2"/>
                </a:solidFill>
                <a:latin typeface="Arial" pitchFamily="34" charset="0"/>
                <a:ea typeface="+mn-ea"/>
                <a:cs typeface="Arial" pitchFamily="34" charset="0"/>
              </a:defRPr>
            </a:lvl8pPr>
            <a:lvl9pPr marL="0" indent="0">
              <a:lnSpc>
                <a:spcPct val="100000"/>
              </a:lnSpc>
              <a:spcBef>
                <a:spcPts val="0"/>
              </a:spcBef>
              <a:buNone/>
              <a:defRPr lang="de-DE" sz="1066" kern="1200" baseline="0" noProof="0" smtClean="0">
                <a:solidFill>
                  <a:schemeClr val="bg2"/>
                </a:solidFill>
                <a:latin typeface="Arial" pitchFamily="34" charset="0"/>
                <a:ea typeface="+mn-ea"/>
                <a:cs typeface="Arial" pitchFamily="34" charset="0"/>
              </a:defRPr>
            </a:lvl9pPr>
          </a:lstStyle>
          <a:p>
            <a:pPr lvl="0"/>
            <a:r>
              <a:rPr lang="en-US"/>
              <a:t>Click to add source information</a:t>
            </a:r>
          </a:p>
        </p:txBody>
      </p:sp>
      <p:sp>
        <p:nvSpPr>
          <p:cNvPr id="4" name="Content Placeholder 3"/>
          <p:cNvSpPr>
            <a:spLocks noGrp="1"/>
          </p:cNvSpPr>
          <p:nvPr>
            <p:ph sz="quarter" idx="13" hasCustomPrompt="1"/>
          </p:nvPr>
        </p:nvSpPr>
        <p:spPr>
          <a:xfrm>
            <a:off x="431216" y="1700763"/>
            <a:ext cx="5568773" cy="4609024"/>
          </a:xfrm>
        </p:spPr>
        <p:txBody>
          <a:bodyPr/>
          <a:lstStyle/>
          <a:p>
            <a:pPr lvl="0"/>
            <a:r>
              <a:rPr lang="en-US" noProof="0"/>
              <a:t>Click to add tex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Content Placeholder 9"/>
          <p:cNvSpPr>
            <a:spLocks noGrp="1"/>
          </p:cNvSpPr>
          <p:nvPr>
            <p:ph sz="quarter" idx="14" hasCustomPrompt="1"/>
          </p:nvPr>
        </p:nvSpPr>
        <p:spPr>
          <a:xfrm>
            <a:off x="6192015" y="1700763"/>
            <a:ext cx="5568773" cy="4609024"/>
          </a:xfrm>
        </p:spPr>
        <p:txBody>
          <a:bodyPr/>
          <a:lstStyle/>
          <a:p>
            <a:pPr lvl="0"/>
            <a:r>
              <a:rPr lang="en-US" noProof="0"/>
              <a:t>Click to add text</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3714966874"/>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type="vertTx" preserve="1">
  <p:cSld name="Заголовок и вертикальный текст">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ru-RU"/>
              <a:t>Образец заголовка</a:t>
            </a:r>
            <a:endParaRPr lang="en-US"/>
          </a:p>
        </p:txBody>
      </p:sp>
      <p:sp>
        <p:nvSpPr>
          <p:cNvPr id="3" name="Vertical Text Placeholder 2"/>
          <p:cNvSpPr>
            <a:spLocks noGrp="1"/>
          </p:cNvSpPr>
          <p:nvPr>
            <p:ph type="body" orient="vert" idx="1"/>
          </p:nvPr>
        </p:nvSpPr>
        <p:spPr/>
        <p:txBody>
          <a:bodyPr vert="eaVert"/>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endParaRPr lang="en-US"/>
          </a:p>
        </p:txBody>
      </p:sp>
      <p:sp>
        <p:nvSpPr>
          <p:cNvPr id="7" name="Date Placeholder 6"/>
          <p:cNvSpPr>
            <a:spLocks noGrp="1"/>
          </p:cNvSpPr>
          <p:nvPr>
            <p:ph type="dt" sz="half" idx="10"/>
          </p:nvPr>
        </p:nvSpPr>
        <p:spPr/>
        <p:txBody>
          <a:bodyPr/>
          <a:lstStyle/>
          <a:p>
            <a:fld id="{AF5B2FD7-A1C3-4F99-9996-6254468DC4CB}" type="datetime5">
              <a:rPr lang="en-US" smtClean="0"/>
              <a:t>26-Jun-20</a:t>
            </a:fld>
            <a:endParaRPr lang="en-US"/>
          </a:p>
        </p:txBody>
      </p:sp>
      <p:sp>
        <p:nvSpPr>
          <p:cNvPr id="8" name="Footer Placeholder 7"/>
          <p:cNvSpPr>
            <a:spLocks noGrp="1"/>
          </p:cNvSpPr>
          <p:nvPr>
            <p:ph type="ftr" sz="quarter" idx="11"/>
          </p:nvPr>
        </p:nvSpPr>
        <p:spPr/>
        <p:txBody>
          <a:bodyPr/>
          <a:lstStyle/>
          <a:p>
            <a:r>
              <a:rPr lang="en-US"/>
              <a:t>Title of presentation (Insert / Header &amp; Footer / Apply to All)</a:t>
            </a:r>
          </a:p>
        </p:txBody>
      </p:sp>
      <p:sp>
        <p:nvSpPr>
          <p:cNvPr id="9" name="Slide Number Placeholder 8"/>
          <p:cNvSpPr>
            <a:spLocks noGrp="1"/>
          </p:cNvSpPr>
          <p:nvPr>
            <p:ph type="sldNum" sz="quarter" idx="12"/>
          </p:nvPr>
        </p:nvSpPr>
        <p:spPr/>
        <p:txBody>
          <a:bodyPr/>
          <a:lstStyle/>
          <a:p>
            <a:fld id="{5F3E29E4-0979-4FCA-B4C5-5FC6044C982A}" type="slidenum">
              <a:rPr lang="en-US" smtClean="0"/>
              <a:pPr/>
              <a:t>‹#›</a:t>
            </a:fld>
            <a:endParaRPr lang="en-US"/>
          </a:p>
        </p:txBody>
      </p:sp>
    </p:spTree>
    <p:extLst>
      <p:ext uri="{BB962C8B-B14F-4D97-AF65-F5344CB8AC3E}">
        <p14:creationId xmlns:p14="http://schemas.microsoft.com/office/powerpoint/2010/main" val="3031114695"/>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type="vertTitleAndTx" preserve="1">
  <p:cSld name="Вертикальный заголовок и текст">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196278" y="404813"/>
            <a:ext cx="1400175" cy="5832474"/>
          </a:xfrm>
        </p:spPr>
        <p:txBody>
          <a:bodyPr vert="eaVert"/>
          <a:lstStyle/>
          <a:p>
            <a:r>
              <a:rPr lang="ru-RU"/>
              <a:t>Образец заголовка</a:t>
            </a:r>
            <a:endParaRPr lang="en-US"/>
          </a:p>
        </p:txBody>
      </p:sp>
      <p:sp>
        <p:nvSpPr>
          <p:cNvPr id="3" name="Vertical Text Placeholder 2"/>
          <p:cNvSpPr>
            <a:spLocks noGrp="1"/>
          </p:cNvSpPr>
          <p:nvPr>
            <p:ph type="body" orient="vert" idx="1"/>
          </p:nvPr>
        </p:nvSpPr>
        <p:spPr>
          <a:xfrm>
            <a:off x="1076400" y="404813"/>
            <a:ext cx="5943525" cy="5832474"/>
          </a:xfrm>
        </p:spPr>
        <p:txBody>
          <a:bodyPr vert="eaVert"/>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endParaRPr lang="en-US"/>
          </a:p>
        </p:txBody>
      </p:sp>
      <p:sp>
        <p:nvSpPr>
          <p:cNvPr id="7" name="Date Placeholder 6"/>
          <p:cNvSpPr>
            <a:spLocks noGrp="1"/>
          </p:cNvSpPr>
          <p:nvPr>
            <p:ph type="dt" sz="half" idx="10"/>
          </p:nvPr>
        </p:nvSpPr>
        <p:spPr/>
        <p:txBody>
          <a:bodyPr/>
          <a:lstStyle/>
          <a:p>
            <a:fld id="{A1079567-0E61-4D85-B570-3273C3AD246A}" type="datetime5">
              <a:rPr lang="en-US" smtClean="0"/>
              <a:t>26-Jun-20</a:t>
            </a:fld>
            <a:endParaRPr lang="en-US"/>
          </a:p>
        </p:txBody>
      </p:sp>
      <p:sp>
        <p:nvSpPr>
          <p:cNvPr id="8" name="Footer Placeholder 7"/>
          <p:cNvSpPr>
            <a:spLocks noGrp="1"/>
          </p:cNvSpPr>
          <p:nvPr>
            <p:ph type="ftr" sz="quarter" idx="11"/>
          </p:nvPr>
        </p:nvSpPr>
        <p:spPr/>
        <p:txBody>
          <a:bodyPr/>
          <a:lstStyle/>
          <a:p>
            <a:r>
              <a:rPr lang="en-US"/>
              <a:t>Title of presentation (Insert / Header &amp; Footer / Apply to All)</a:t>
            </a:r>
          </a:p>
        </p:txBody>
      </p:sp>
      <p:sp>
        <p:nvSpPr>
          <p:cNvPr id="9" name="Slide Number Placeholder 8"/>
          <p:cNvSpPr>
            <a:spLocks noGrp="1"/>
          </p:cNvSpPr>
          <p:nvPr>
            <p:ph type="sldNum" sz="quarter" idx="12"/>
          </p:nvPr>
        </p:nvSpPr>
        <p:spPr/>
        <p:txBody>
          <a:bodyPr/>
          <a:lstStyle/>
          <a:p>
            <a:fld id="{5F3E29E4-0979-4FCA-B4C5-5FC6044C982A}" type="slidenum">
              <a:rPr lang="en-US" smtClean="0"/>
              <a:pPr/>
              <a:t>‹#›</a:t>
            </a:fld>
            <a:endParaRPr lang="en-US"/>
          </a:p>
        </p:txBody>
      </p:sp>
    </p:spTree>
    <p:extLst>
      <p:ext uri="{BB962C8B-B14F-4D97-AF65-F5344CB8AC3E}">
        <p14:creationId xmlns:p14="http://schemas.microsoft.com/office/powerpoint/2010/main" val="3909130032"/>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preserve="1">
  <p:cSld name="Title 1">
    <p:spTree>
      <p:nvGrpSpPr>
        <p:cNvPr id="1" name=""/>
        <p:cNvGrpSpPr/>
        <p:nvPr/>
      </p:nvGrpSpPr>
      <p:grpSpPr>
        <a:xfrm>
          <a:off x="0" y="0"/>
          <a:ext cx="0" cy="0"/>
          <a:chOff x="0" y="0"/>
          <a:chExt cx="0" cy="0"/>
        </a:xfrm>
      </p:grpSpPr>
      <p:pic>
        <p:nvPicPr>
          <p:cNvPr id="32" name="picture">
            <a:extLst>
              <a:ext uri="{FF2B5EF4-FFF2-40B4-BE49-F238E27FC236}">
                <a16:creationId xmlns:a16="http://schemas.microsoft.com/office/drawing/2014/main" id="{4F153214-AFE7-D540-937D-96E89FDAD54B}"/>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2620212" y="-8808"/>
            <a:ext cx="9697299" cy="6866807"/>
          </a:xfrm>
          <a:prstGeom prst="rect">
            <a:avLst/>
          </a:prstGeom>
        </p:spPr>
      </p:pic>
      <p:sp>
        <p:nvSpPr>
          <p:cNvPr id="29" name="shpPicture"/>
          <p:cNvSpPr/>
          <p:nvPr/>
        </p:nvSpPr>
        <p:spPr>
          <a:xfrm>
            <a:off x="0" y="0"/>
            <a:ext cx="4956718" cy="6858000"/>
          </a:xfrm>
          <a:custGeom>
            <a:avLst/>
            <a:gdLst>
              <a:gd name="connsiteX0" fmla="*/ 0 w 4956718"/>
              <a:gd name="connsiteY0" fmla="*/ 0 h 6858000"/>
              <a:gd name="connsiteX1" fmla="*/ 3707268 w 4956718"/>
              <a:gd name="connsiteY1" fmla="*/ 0 h 6858000"/>
              <a:gd name="connsiteX2" fmla="*/ 4956718 w 4956718"/>
              <a:gd name="connsiteY2" fmla="*/ 4163677 h 6858000"/>
              <a:gd name="connsiteX3" fmla="*/ 3376226 w 4956718"/>
              <a:gd name="connsiteY3" fmla="*/ 6858000 h 6858000"/>
              <a:gd name="connsiteX4" fmla="*/ 0 w 4956718"/>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56718" h="6858000">
                <a:moveTo>
                  <a:pt x="0" y="0"/>
                </a:moveTo>
                <a:lnTo>
                  <a:pt x="3707268" y="0"/>
                </a:lnTo>
                <a:lnTo>
                  <a:pt x="4956718" y="4163677"/>
                </a:lnTo>
                <a:lnTo>
                  <a:pt x="3376226"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125000"/>
              </a:lnSpc>
            </a:pPr>
            <a:endParaRPr lang="en-US" sz="1600"/>
          </a:p>
        </p:txBody>
      </p:sp>
      <p:grpSp>
        <p:nvGrpSpPr>
          <p:cNvPr id="14" name="logo">
            <a:extLst>
              <a:ext uri="{FF2B5EF4-FFF2-40B4-BE49-F238E27FC236}">
                <a16:creationId xmlns:a16="http://schemas.microsoft.com/office/drawing/2014/main" id="{18C26D95-70F8-8A4D-9F18-DCCB92522AF8}"/>
              </a:ext>
            </a:extLst>
          </p:cNvPr>
          <p:cNvGrpSpPr/>
          <p:nvPr/>
        </p:nvGrpSpPr>
        <p:grpSpPr bwMode="gray">
          <a:xfrm>
            <a:off x="417363" y="407485"/>
            <a:ext cx="1518585" cy="646507"/>
            <a:chOff x="334963" y="296652"/>
            <a:chExt cx="1268411" cy="540000"/>
          </a:xfrm>
        </p:grpSpPr>
        <p:sp>
          <p:nvSpPr>
            <p:cNvPr id="17" name="Freeform 6">
              <a:extLst>
                <a:ext uri="{FF2B5EF4-FFF2-40B4-BE49-F238E27FC236}">
                  <a16:creationId xmlns:a16="http://schemas.microsoft.com/office/drawing/2014/main" id="{08737AD0-E375-E445-97E6-CD2E2DF60620}"/>
                </a:ext>
              </a:extLst>
            </p:cNvPr>
            <p:cNvSpPr>
              <a:spLocks noEditPoints="1"/>
            </p:cNvSpPr>
            <p:nvPr/>
          </p:nvSpPr>
          <p:spPr bwMode="gray">
            <a:xfrm>
              <a:off x="982662" y="360462"/>
              <a:ext cx="620712" cy="431800"/>
            </a:xfrm>
            <a:custGeom>
              <a:avLst/>
              <a:gdLst>
                <a:gd name="T0" fmla="*/ 19 w 1809"/>
                <a:gd name="T1" fmla="*/ 97 h 1253"/>
                <a:gd name="T2" fmla="*/ 165 w 1809"/>
                <a:gd name="T3" fmla="*/ 41 h 1253"/>
                <a:gd name="T4" fmla="*/ 211 w 1809"/>
                <a:gd name="T5" fmla="*/ 224 h 1253"/>
                <a:gd name="T6" fmla="*/ 248 w 1809"/>
                <a:gd name="T7" fmla="*/ 155 h 1253"/>
                <a:gd name="T8" fmla="*/ 931 w 1809"/>
                <a:gd name="T9" fmla="*/ 995 h 1253"/>
                <a:gd name="T10" fmla="*/ 858 w 1809"/>
                <a:gd name="T11" fmla="*/ 1115 h 1253"/>
                <a:gd name="T12" fmla="*/ 749 w 1809"/>
                <a:gd name="T13" fmla="*/ 1117 h 1253"/>
                <a:gd name="T14" fmla="*/ 681 w 1809"/>
                <a:gd name="T15" fmla="*/ 1055 h 1253"/>
                <a:gd name="T16" fmla="*/ 800 w 1809"/>
                <a:gd name="T17" fmla="*/ 1054 h 1253"/>
                <a:gd name="T18" fmla="*/ 884 w 1809"/>
                <a:gd name="T19" fmla="*/ 1181 h 1253"/>
                <a:gd name="T20" fmla="*/ 118 w 1809"/>
                <a:gd name="T21" fmla="*/ 1086 h 1253"/>
                <a:gd name="T22" fmla="*/ 147 w 1809"/>
                <a:gd name="T23" fmla="*/ 1026 h 1253"/>
                <a:gd name="T24" fmla="*/ 102 w 1809"/>
                <a:gd name="T25" fmla="*/ 1026 h 1253"/>
                <a:gd name="T26" fmla="*/ 639 w 1809"/>
                <a:gd name="T27" fmla="*/ 84 h 1253"/>
                <a:gd name="T28" fmla="*/ 763 w 1809"/>
                <a:gd name="T29" fmla="*/ 145 h 1253"/>
                <a:gd name="T30" fmla="*/ 863 w 1809"/>
                <a:gd name="T31" fmla="*/ 221 h 1253"/>
                <a:gd name="T32" fmla="*/ 834 w 1809"/>
                <a:gd name="T33" fmla="*/ 208 h 1253"/>
                <a:gd name="T34" fmla="*/ 719 w 1809"/>
                <a:gd name="T35" fmla="*/ 182 h 1253"/>
                <a:gd name="T36" fmla="*/ 507 w 1809"/>
                <a:gd name="T37" fmla="*/ 711 h 1253"/>
                <a:gd name="T38" fmla="*/ 614 w 1809"/>
                <a:gd name="T39" fmla="*/ 706 h 1253"/>
                <a:gd name="T40" fmla="*/ 736 w 1809"/>
                <a:gd name="T41" fmla="*/ 730 h 1253"/>
                <a:gd name="T42" fmla="*/ 607 w 1809"/>
                <a:gd name="T43" fmla="*/ 539 h 1253"/>
                <a:gd name="T44" fmla="*/ 1505 w 1809"/>
                <a:gd name="T45" fmla="*/ 1136 h 1253"/>
                <a:gd name="T46" fmla="*/ 1613 w 1809"/>
                <a:gd name="T47" fmla="*/ 1002 h 1253"/>
                <a:gd name="T48" fmla="*/ 1472 w 1809"/>
                <a:gd name="T49" fmla="*/ 1164 h 1253"/>
                <a:gd name="T50" fmla="*/ 1525 w 1809"/>
                <a:gd name="T51" fmla="*/ 1142 h 1253"/>
                <a:gd name="T52" fmla="*/ 1556 w 1809"/>
                <a:gd name="T53" fmla="*/ 1172 h 1253"/>
                <a:gd name="T54" fmla="*/ 1387 w 1809"/>
                <a:gd name="T55" fmla="*/ 910 h 1253"/>
                <a:gd name="T56" fmla="*/ 1261 w 1809"/>
                <a:gd name="T57" fmla="*/ 1157 h 1253"/>
                <a:gd name="T58" fmla="*/ 1413 w 1809"/>
                <a:gd name="T59" fmla="*/ 934 h 1253"/>
                <a:gd name="T60" fmla="*/ 1378 w 1809"/>
                <a:gd name="T61" fmla="*/ 1052 h 1253"/>
                <a:gd name="T62" fmla="*/ 488 w 1809"/>
                <a:gd name="T63" fmla="*/ 85 h 1253"/>
                <a:gd name="T64" fmla="*/ 509 w 1809"/>
                <a:gd name="T65" fmla="*/ 112 h 1253"/>
                <a:gd name="T66" fmla="*/ 548 w 1809"/>
                <a:gd name="T67" fmla="*/ 1187 h 1253"/>
                <a:gd name="T68" fmla="*/ 472 w 1809"/>
                <a:gd name="T69" fmla="*/ 1122 h 1253"/>
                <a:gd name="T70" fmla="*/ 558 w 1809"/>
                <a:gd name="T71" fmla="*/ 1157 h 1253"/>
                <a:gd name="T72" fmla="*/ 287 w 1809"/>
                <a:gd name="T73" fmla="*/ 654 h 1253"/>
                <a:gd name="T74" fmla="*/ 416 w 1809"/>
                <a:gd name="T75" fmla="*/ 684 h 1253"/>
                <a:gd name="T76" fmla="*/ 1106 w 1809"/>
                <a:gd name="T77" fmla="*/ 147 h 1253"/>
                <a:gd name="T78" fmla="*/ 1229 w 1809"/>
                <a:gd name="T79" fmla="*/ 258 h 1253"/>
                <a:gd name="T80" fmla="*/ 1106 w 1809"/>
                <a:gd name="T81" fmla="*/ 96 h 1253"/>
                <a:gd name="T82" fmla="*/ 1219 w 1809"/>
                <a:gd name="T83" fmla="*/ 1077 h 1253"/>
                <a:gd name="T84" fmla="*/ 1214 w 1809"/>
                <a:gd name="T85" fmla="*/ 1157 h 1253"/>
                <a:gd name="T86" fmla="*/ 1150 w 1809"/>
                <a:gd name="T87" fmla="*/ 1092 h 1253"/>
                <a:gd name="T88" fmla="*/ 1139 w 1809"/>
                <a:gd name="T89" fmla="*/ 1070 h 1253"/>
                <a:gd name="T90" fmla="*/ 1659 w 1809"/>
                <a:gd name="T91" fmla="*/ 1031 h 1253"/>
                <a:gd name="T92" fmla="*/ 1714 w 1809"/>
                <a:gd name="T93" fmla="*/ 1155 h 1253"/>
                <a:gd name="T94" fmla="*/ 1760 w 1809"/>
                <a:gd name="T95" fmla="*/ 1030 h 1253"/>
                <a:gd name="T96" fmla="*/ 111 w 1809"/>
                <a:gd name="T97" fmla="*/ 569 h 1253"/>
                <a:gd name="T98" fmla="*/ 109 w 1809"/>
                <a:gd name="T99" fmla="*/ 460 h 1253"/>
                <a:gd name="T100" fmla="*/ 32 w 1809"/>
                <a:gd name="T101" fmla="*/ 704 h 1253"/>
                <a:gd name="T102" fmla="*/ 310 w 1809"/>
                <a:gd name="T103" fmla="*/ 1058 h 1253"/>
                <a:gd name="T104" fmla="*/ 431 w 1809"/>
                <a:gd name="T105" fmla="*/ 1044 h 1253"/>
                <a:gd name="T106" fmla="*/ 278 w 1809"/>
                <a:gd name="T107" fmla="*/ 1165 h 1253"/>
                <a:gd name="T108" fmla="*/ 261 w 1809"/>
                <a:gd name="T109" fmla="*/ 540 h 1253"/>
                <a:gd name="T110" fmla="*/ 150 w 1809"/>
                <a:gd name="T111" fmla="*/ 635 h 1253"/>
                <a:gd name="T112" fmla="*/ 994 w 1809"/>
                <a:gd name="T113" fmla="*/ 1185 h 1253"/>
                <a:gd name="T114" fmla="*/ 331 w 1809"/>
                <a:gd name="T115" fmla="*/ 176 h 1253"/>
                <a:gd name="T116" fmla="*/ 333 w 1809"/>
                <a:gd name="T117" fmla="*/ 109 h 1253"/>
                <a:gd name="T118" fmla="*/ 946 w 1809"/>
                <a:gd name="T119" fmla="*/ 234 h 1253"/>
                <a:gd name="T120" fmla="*/ 1022 w 1809"/>
                <a:gd name="T121" fmla="*/ 113 h 1253"/>
                <a:gd name="T122" fmla="*/ 949 w 1809"/>
                <a:gd name="T123" fmla="*/ 65 h 1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09" h="1253">
                  <a:moveTo>
                    <a:pt x="248" y="198"/>
                  </a:moveTo>
                  <a:cubicBezTo>
                    <a:pt x="248" y="211"/>
                    <a:pt x="248" y="224"/>
                    <a:pt x="249" y="237"/>
                  </a:cubicBezTo>
                  <a:cubicBezTo>
                    <a:pt x="249" y="245"/>
                    <a:pt x="246" y="249"/>
                    <a:pt x="240" y="253"/>
                  </a:cubicBezTo>
                  <a:cubicBezTo>
                    <a:pt x="231" y="260"/>
                    <a:pt x="220" y="264"/>
                    <a:pt x="209" y="268"/>
                  </a:cubicBezTo>
                  <a:cubicBezTo>
                    <a:pt x="179" y="279"/>
                    <a:pt x="148" y="280"/>
                    <a:pt x="118" y="275"/>
                  </a:cubicBezTo>
                  <a:cubicBezTo>
                    <a:pt x="86" y="269"/>
                    <a:pt x="58" y="252"/>
                    <a:pt x="39" y="224"/>
                  </a:cubicBezTo>
                  <a:cubicBezTo>
                    <a:pt x="24" y="203"/>
                    <a:pt x="18" y="180"/>
                    <a:pt x="15" y="155"/>
                  </a:cubicBezTo>
                  <a:cubicBezTo>
                    <a:pt x="11" y="135"/>
                    <a:pt x="15" y="115"/>
                    <a:pt x="19" y="97"/>
                  </a:cubicBezTo>
                  <a:cubicBezTo>
                    <a:pt x="26" y="68"/>
                    <a:pt x="42" y="44"/>
                    <a:pt x="68" y="27"/>
                  </a:cubicBezTo>
                  <a:cubicBezTo>
                    <a:pt x="87" y="14"/>
                    <a:pt x="109" y="6"/>
                    <a:pt x="133" y="5"/>
                  </a:cubicBezTo>
                  <a:cubicBezTo>
                    <a:pt x="149" y="4"/>
                    <a:pt x="165" y="5"/>
                    <a:pt x="181" y="6"/>
                  </a:cubicBezTo>
                  <a:cubicBezTo>
                    <a:pt x="204" y="8"/>
                    <a:pt x="225" y="20"/>
                    <a:pt x="243" y="35"/>
                  </a:cubicBezTo>
                  <a:cubicBezTo>
                    <a:pt x="246" y="37"/>
                    <a:pt x="246" y="40"/>
                    <a:pt x="244" y="43"/>
                  </a:cubicBezTo>
                  <a:cubicBezTo>
                    <a:pt x="242" y="47"/>
                    <a:pt x="239" y="52"/>
                    <a:pt x="236" y="55"/>
                  </a:cubicBezTo>
                  <a:cubicBezTo>
                    <a:pt x="226" y="65"/>
                    <a:pt x="224" y="65"/>
                    <a:pt x="206" y="54"/>
                  </a:cubicBezTo>
                  <a:cubicBezTo>
                    <a:pt x="193" y="46"/>
                    <a:pt x="180" y="40"/>
                    <a:pt x="165" y="41"/>
                  </a:cubicBezTo>
                  <a:cubicBezTo>
                    <a:pt x="151" y="41"/>
                    <a:pt x="137" y="39"/>
                    <a:pt x="124" y="42"/>
                  </a:cubicBezTo>
                  <a:cubicBezTo>
                    <a:pt x="104" y="46"/>
                    <a:pt x="87" y="57"/>
                    <a:pt x="75" y="74"/>
                  </a:cubicBezTo>
                  <a:cubicBezTo>
                    <a:pt x="56" y="99"/>
                    <a:pt x="51" y="129"/>
                    <a:pt x="55" y="159"/>
                  </a:cubicBezTo>
                  <a:cubicBezTo>
                    <a:pt x="60" y="189"/>
                    <a:pt x="73" y="214"/>
                    <a:pt x="98" y="230"/>
                  </a:cubicBezTo>
                  <a:cubicBezTo>
                    <a:pt x="109" y="237"/>
                    <a:pt x="121" y="242"/>
                    <a:pt x="135" y="241"/>
                  </a:cubicBezTo>
                  <a:cubicBezTo>
                    <a:pt x="146" y="241"/>
                    <a:pt x="158" y="241"/>
                    <a:pt x="169" y="241"/>
                  </a:cubicBezTo>
                  <a:cubicBezTo>
                    <a:pt x="182" y="242"/>
                    <a:pt x="193" y="235"/>
                    <a:pt x="205" y="232"/>
                  </a:cubicBezTo>
                  <a:cubicBezTo>
                    <a:pt x="210" y="231"/>
                    <a:pt x="211" y="227"/>
                    <a:pt x="211" y="224"/>
                  </a:cubicBezTo>
                  <a:cubicBezTo>
                    <a:pt x="211" y="210"/>
                    <a:pt x="211" y="196"/>
                    <a:pt x="211" y="183"/>
                  </a:cubicBezTo>
                  <a:cubicBezTo>
                    <a:pt x="211" y="177"/>
                    <a:pt x="207" y="175"/>
                    <a:pt x="202" y="175"/>
                  </a:cubicBezTo>
                  <a:cubicBezTo>
                    <a:pt x="193" y="175"/>
                    <a:pt x="184" y="175"/>
                    <a:pt x="175" y="175"/>
                  </a:cubicBezTo>
                  <a:cubicBezTo>
                    <a:pt x="171" y="175"/>
                    <a:pt x="168" y="174"/>
                    <a:pt x="166" y="171"/>
                  </a:cubicBezTo>
                  <a:cubicBezTo>
                    <a:pt x="163" y="163"/>
                    <a:pt x="164" y="154"/>
                    <a:pt x="166" y="146"/>
                  </a:cubicBezTo>
                  <a:cubicBezTo>
                    <a:pt x="167" y="142"/>
                    <a:pt x="171" y="142"/>
                    <a:pt x="175" y="142"/>
                  </a:cubicBezTo>
                  <a:cubicBezTo>
                    <a:pt x="196" y="142"/>
                    <a:pt x="217" y="142"/>
                    <a:pt x="238" y="142"/>
                  </a:cubicBezTo>
                  <a:cubicBezTo>
                    <a:pt x="247" y="142"/>
                    <a:pt x="248" y="148"/>
                    <a:pt x="248" y="155"/>
                  </a:cubicBezTo>
                  <a:cubicBezTo>
                    <a:pt x="249" y="169"/>
                    <a:pt x="248" y="183"/>
                    <a:pt x="248" y="198"/>
                  </a:cubicBezTo>
                  <a:close/>
                  <a:moveTo>
                    <a:pt x="884" y="1181"/>
                  </a:moveTo>
                  <a:cubicBezTo>
                    <a:pt x="889" y="1167"/>
                    <a:pt x="894" y="1152"/>
                    <a:pt x="898" y="1137"/>
                  </a:cubicBezTo>
                  <a:cubicBezTo>
                    <a:pt x="901" y="1127"/>
                    <a:pt x="905" y="1116"/>
                    <a:pt x="908" y="1106"/>
                  </a:cubicBezTo>
                  <a:cubicBezTo>
                    <a:pt x="911" y="1098"/>
                    <a:pt x="912" y="1089"/>
                    <a:pt x="916" y="1081"/>
                  </a:cubicBezTo>
                  <a:cubicBezTo>
                    <a:pt x="921" y="1072"/>
                    <a:pt x="923" y="1060"/>
                    <a:pt x="927" y="1050"/>
                  </a:cubicBezTo>
                  <a:cubicBezTo>
                    <a:pt x="932" y="1037"/>
                    <a:pt x="934" y="1023"/>
                    <a:pt x="940" y="1010"/>
                  </a:cubicBezTo>
                  <a:cubicBezTo>
                    <a:pt x="945" y="1001"/>
                    <a:pt x="941" y="995"/>
                    <a:pt x="931" y="995"/>
                  </a:cubicBezTo>
                  <a:cubicBezTo>
                    <a:pt x="927" y="995"/>
                    <a:pt x="922" y="995"/>
                    <a:pt x="918" y="995"/>
                  </a:cubicBezTo>
                  <a:cubicBezTo>
                    <a:pt x="913" y="995"/>
                    <a:pt x="908" y="997"/>
                    <a:pt x="907" y="1001"/>
                  </a:cubicBezTo>
                  <a:cubicBezTo>
                    <a:pt x="904" y="1008"/>
                    <a:pt x="900" y="1015"/>
                    <a:pt x="899" y="1023"/>
                  </a:cubicBezTo>
                  <a:cubicBezTo>
                    <a:pt x="897" y="1034"/>
                    <a:pt x="893" y="1045"/>
                    <a:pt x="889" y="1055"/>
                  </a:cubicBezTo>
                  <a:cubicBezTo>
                    <a:pt x="887" y="1064"/>
                    <a:pt x="885" y="1072"/>
                    <a:pt x="882" y="1080"/>
                  </a:cubicBezTo>
                  <a:cubicBezTo>
                    <a:pt x="878" y="1091"/>
                    <a:pt x="874" y="1103"/>
                    <a:pt x="871" y="1115"/>
                  </a:cubicBezTo>
                  <a:cubicBezTo>
                    <a:pt x="870" y="1118"/>
                    <a:pt x="871" y="1124"/>
                    <a:pt x="866" y="1124"/>
                  </a:cubicBezTo>
                  <a:cubicBezTo>
                    <a:pt x="861" y="1125"/>
                    <a:pt x="859" y="1120"/>
                    <a:pt x="858" y="1115"/>
                  </a:cubicBezTo>
                  <a:cubicBezTo>
                    <a:pt x="856" y="1110"/>
                    <a:pt x="856" y="1104"/>
                    <a:pt x="854" y="1099"/>
                  </a:cubicBezTo>
                  <a:cubicBezTo>
                    <a:pt x="848" y="1080"/>
                    <a:pt x="841" y="1062"/>
                    <a:pt x="835" y="1044"/>
                  </a:cubicBezTo>
                  <a:cubicBezTo>
                    <a:pt x="831" y="1030"/>
                    <a:pt x="828" y="1016"/>
                    <a:pt x="822" y="1003"/>
                  </a:cubicBezTo>
                  <a:cubicBezTo>
                    <a:pt x="819" y="997"/>
                    <a:pt x="814" y="994"/>
                    <a:pt x="808" y="994"/>
                  </a:cubicBezTo>
                  <a:cubicBezTo>
                    <a:pt x="799" y="993"/>
                    <a:pt x="791" y="993"/>
                    <a:pt x="787" y="1001"/>
                  </a:cubicBezTo>
                  <a:cubicBezTo>
                    <a:pt x="783" y="1008"/>
                    <a:pt x="780" y="1015"/>
                    <a:pt x="779" y="1022"/>
                  </a:cubicBezTo>
                  <a:cubicBezTo>
                    <a:pt x="778" y="1034"/>
                    <a:pt x="772" y="1044"/>
                    <a:pt x="769" y="1055"/>
                  </a:cubicBezTo>
                  <a:cubicBezTo>
                    <a:pt x="762" y="1076"/>
                    <a:pt x="754" y="1096"/>
                    <a:pt x="749" y="1117"/>
                  </a:cubicBezTo>
                  <a:cubicBezTo>
                    <a:pt x="748" y="1120"/>
                    <a:pt x="747" y="1124"/>
                    <a:pt x="742" y="1124"/>
                  </a:cubicBezTo>
                  <a:cubicBezTo>
                    <a:pt x="737" y="1124"/>
                    <a:pt x="737" y="1120"/>
                    <a:pt x="736" y="1116"/>
                  </a:cubicBezTo>
                  <a:cubicBezTo>
                    <a:pt x="734" y="1104"/>
                    <a:pt x="730" y="1092"/>
                    <a:pt x="726" y="1080"/>
                  </a:cubicBezTo>
                  <a:cubicBezTo>
                    <a:pt x="720" y="1061"/>
                    <a:pt x="714" y="1040"/>
                    <a:pt x="708" y="1020"/>
                  </a:cubicBezTo>
                  <a:cubicBezTo>
                    <a:pt x="703" y="1000"/>
                    <a:pt x="698" y="994"/>
                    <a:pt x="676" y="995"/>
                  </a:cubicBezTo>
                  <a:cubicBezTo>
                    <a:pt x="665" y="996"/>
                    <a:pt x="661" y="1001"/>
                    <a:pt x="667" y="1011"/>
                  </a:cubicBezTo>
                  <a:cubicBezTo>
                    <a:pt x="669" y="1016"/>
                    <a:pt x="670" y="1021"/>
                    <a:pt x="672" y="1025"/>
                  </a:cubicBezTo>
                  <a:cubicBezTo>
                    <a:pt x="675" y="1035"/>
                    <a:pt x="678" y="1046"/>
                    <a:pt x="681" y="1055"/>
                  </a:cubicBezTo>
                  <a:cubicBezTo>
                    <a:pt x="685" y="1068"/>
                    <a:pt x="689" y="1080"/>
                    <a:pt x="693" y="1092"/>
                  </a:cubicBezTo>
                  <a:cubicBezTo>
                    <a:pt x="697" y="1103"/>
                    <a:pt x="699" y="1113"/>
                    <a:pt x="703" y="1124"/>
                  </a:cubicBezTo>
                  <a:cubicBezTo>
                    <a:pt x="707" y="1136"/>
                    <a:pt x="711" y="1147"/>
                    <a:pt x="715" y="1160"/>
                  </a:cubicBezTo>
                  <a:cubicBezTo>
                    <a:pt x="717" y="1168"/>
                    <a:pt x="720" y="1176"/>
                    <a:pt x="724" y="1183"/>
                  </a:cubicBezTo>
                  <a:cubicBezTo>
                    <a:pt x="728" y="1189"/>
                    <a:pt x="752" y="1185"/>
                    <a:pt x="757" y="1180"/>
                  </a:cubicBezTo>
                  <a:cubicBezTo>
                    <a:pt x="764" y="1173"/>
                    <a:pt x="762" y="1163"/>
                    <a:pt x="766" y="1156"/>
                  </a:cubicBezTo>
                  <a:cubicBezTo>
                    <a:pt x="774" y="1140"/>
                    <a:pt x="778" y="1122"/>
                    <a:pt x="784" y="1105"/>
                  </a:cubicBezTo>
                  <a:cubicBezTo>
                    <a:pt x="789" y="1088"/>
                    <a:pt x="796" y="1072"/>
                    <a:pt x="800" y="1054"/>
                  </a:cubicBezTo>
                  <a:cubicBezTo>
                    <a:pt x="800" y="1053"/>
                    <a:pt x="801" y="1050"/>
                    <a:pt x="803" y="1050"/>
                  </a:cubicBezTo>
                  <a:cubicBezTo>
                    <a:pt x="806" y="1050"/>
                    <a:pt x="806" y="1052"/>
                    <a:pt x="807" y="1055"/>
                  </a:cubicBezTo>
                  <a:cubicBezTo>
                    <a:pt x="807" y="1060"/>
                    <a:pt x="810" y="1066"/>
                    <a:pt x="811" y="1071"/>
                  </a:cubicBezTo>
                  <a:cubicBezTo>
                    <a:pt x="814" y="1081"/>
                    <a:pt x="818" y="1090"/>
                    <a:pt x="821" y="1099"/>
                  </a:cubicBezTo>
                  <a:cubicBezTo>
                    <a:pt x="824" y="1110"/>
                    <a:pt x="827" y="1120"/>
                    <a:pt x="831" y="1131"/>
                  </a:cubicBezTo>
                  <a:cubicBezTo>
                    <a:pt x="834" y="1142"/>
                    <a:pt x="839" y="1153"/>
                    <a:pt x="842" y="1164"/>
                  </a:cubicBezTo>
                  <a:cubicBezTo>
                    <a:pt x="846" y="1179"/>
                    <a:pt x="850" y="1188"/>
                    <a:pt x="869" y="1185"/>
                  </a:cubicBezTo>
                  <a:cubicBezTo>
                    <a:pt x="873" y="1184"/>
                    <a:pt x="881" y="1189"/>
                    <a:pt x="884" y="1181"/>
                  </a:cubicBezTo>
                  <a:close/>
                  <a:moveTo>
                    <a:pt x="33" y="1051"/>
                  </a:moveTo>
                  <a:cubicBezTo>
                    <a:pt x="33" y="1087"/>
                    <a:pt x="33" y="1124"/>
                    <a:pt x="33" y="1160"/>
                  </a:cubicBezTo>
                  <a:cubicBezTo>
                    <a:pt x="33" y="1188"/>
                    <a:pt x="29" y="1184"/>
                    <a:pt x="58" y="1185"/>
                  </a:cubicBezTo>
                  <a:cubicBezTo>
                    <a:pt x="72" y="1185"/>
                    <a:pt x="73" y="1184"/>
                    <a:pt x="73" y="1170"/>
                  </a:cubicBezTo>
                  <a:cubicBezTo>
                    <a:pt x="73" y="1138"/>
                    <a:pt x="73" y="1107"/>
                    <a:pt x="73" y="1076"/>
                  </a:cubicBezTo>
                  <a:cubicBezTo>
                    <a:pt x="73" y="1071"/>
                    <a:pt x="72" y="1067"/>
                    <a:pt x="78" y="1065"/>
                  </a:cubicBezTo>
                  <a:cubicBezTo>
                    <a:pt x="91" y="1062"/>
                    <a:pt x="102" y="1067"/>
                    <a:pt x="110" y="1076"/>
                  </a:cubicBezTo>
                  <a:cubicBezTo>
                    <a:pt x="112" y="1080"/>
                    <a:pt x="115" y="1083"/>
                    <a:pt x="118" y="1086"/>
                  </a:cubicBezTo>
                  <a:cubicBezTo>
                    <a:pt x="132" y="1103"/>
                    <a:pt x="146" y="1119"/>
                    <a:pt x="161" y="1136"/>
                  </a:cubicBezTo>
                  <a:cubicBezTo>
                    <a:pt x="173" y="1150"/>
                    <a:pt x="186" y="1165"/>
                    <a:pt x="198" y="1179"/>
                  </a:cubicBezTo>
                  <a:cubicBezTo>
                    <a:pt x="207" y="1188"/>
                    <a:pt x="218" y="1184"/>
                    <a:pt x="228" y="1185"/>
                  </a:cubicBezTo>
                  <a:cubicBezTo>
                    <a:pt x="233" y="1185"/>
                    <a:pt x="241" y="1188"/>
                    <a:pt x="244" y="1182"/>
                  </a:cubicBezTo>
                  <a:cubicBezTo>
                    <a:pt x="246" y="1178"/>
                    <a:pt x="239" y="1173"/>
                    <a:pt x="235" y="1169"/>
                  </a:cubicBezTo>
                  <a:cubicBezTo>
                    <a:pt x="206" y="1133"/>
                    <a:pt x="176" y="1098"/>
                    <a:pt x="146" y="1062"/>
                  </a:cubicBezTo>
                  <a:cubicBezTo>
                    <a:pt x="141" y="1056"/>
                    <a:pt x="131" y="1052"/>
                    <a:pt x="132" y="1044"/>
                  </a:cubicBezTo>
                  <a:cubicBezTo>
                    <a:pt x="132" y="1036"/>
                    <a:pt x="142" y="1032"/>
                    <a:pt x="147" y="1026"/>
                  </a:cubicBezTo>
                  <a:cubicBezTo>
                    <a:pt x="164" y="1006"/>
                    <a:pt x="182" y="988"/>
                    <a:pt x="198" y="968"/>
                  </a:cubicBezTo>
                  <a:cubicBezTo>
                    <a:pt x="209" y="954"/>
                    <a:pt x="221" y="942"/>
                    <a:pt x="234" y="929"/>
                  </a:cubicBezTo>
                  <a:cubicBezTo>
                    <a:pt x="236" y="926"/>
                    <a:pt x="238" y="923"/>
                    <a:pt x="237" y="920"/>
                  </a:cubicBezTo>
                  <a:cubicBezTo>
                    <a:pt x="235" y="915"/>
                    <a:pt x="231" y="917"/>
                    <a:pt x="228" y="917"/>
                  </a:cubicBezTo>
                  <a:cubicBezTo>
                    <a:pt x="224" y="918"/>
                    <a:pt x="221" y="918"/>
                    <a:pt x="217" y="918"/>
                  </a:cubicBezTo>
                  <a:cubicBezTo>
                    <a:pt x="204" y="917"/>
                    <a:pt x="193" y="922"/>
                    <a:pt x="185" y="931"/>
                  </a:cubicBezTo>
                  <a:cubicBezTo>
                    <a:pt x="172" y="946"/>
                    <a:pt x="158" y="961"/>
                    <a:pt x="145" y="977"/>
                  </a:cubicBezTo>
                  <a:cubicBezTo>
                    <a:pt x="131" y="993"/>
                    <a:pt x="117" y="1010"/>
                    <a:pt x="102" y="1026"/>
                  </a:cubicBezTo>
                  <a:cubicBezTo>
                    <a:pt x="96" y="1032"/>
                    <a:pt x="87" y="1037"/>
                    <a:pt x="78" y="1034"/>
                  </a:cubicBezTo>
                  <a:cubicBezTo>
                    <a:pt x="70" y="1030"/>
                    <a:pt x="73" y="1021"/>
                    <a:pt x="73" y="1015"/>
                  </a:cubicBezTo>
                  <a:cubicBezTo>
                    <a:pt x="73" y="991"/>
                    <a:pt x="73" y="967"/>
                    <a:pt x="73" y="944"/>
                  </a:cubicBezTo>
                  <a:cubicBezTo>
                    <a:pt x="73" y="916"/>
                    <a:pt x="75" y="917"/>
                    <a:pt x="46" y="918"/>
                  </a:cubicBezTo>
                  <a:cubicBezTo>
                    <a:pt x="33" y="918"/>
                    <a:pt x="33" y="918"/>
                    <a:pt x="33" y="931"/>
                  </a:cubicBezTo>
                  <a:cubicBezTo>
                    <a:pt x="33" y="971"/>
                    <a:pt x="33" y="1011"/>
                    <a:pt x="33" y="1051"/>
                  </a:cubicBezTo>
                  <a:cubicBezTo>
                    <a:pt x="33" y="1051"/>
                    <a:pt x="33" y="1051"/>
                    <a:pt x="33" y="1051"/>
                  </a:cubicBezTo>
                  <a:close/>
                  <a:moveTo>
                    <a:pt x="639" y="84"/>
                  </a:moveTo>
                  <a:cubicBezTo>
                    <a:pt x="627" y="84"/>
                    <a:pt x="626" y="84"/>
                    <a:pt x="629" y="95"/>
                  </a:cubicBezTo>
                  <a:cubicBezTo>
                    <a:pt x="634" y="113"/>
                    <a:pt x="640" y="131"/>
                    <a:pt x="646" y="148"/>
                  </a:cubicBezTo>
                  <a:cubicBezTo>
                    <a:pt x="652" y="166"/>
                    <a:pt x="658" y="185"/>
                    <a:pt x="664" y="203"/>
                  </a:cubicBezTo>
                  <a:cubicBezTo>
                    <a:pt x="671" y="223"/>
                    <a:pt x="676" y="244"/>
                    <a:pt x="684" y="264"/>
                  </a:cubicBezTo>
                  <a:cubicBezTo>
                    <a:pt x="688" y="274"/>
                    <a:pt x="694" y="274"/>
                    <a:pt x="702" y="274"/>
                  </a:cubicBezTo>
                  <a:cubicBezTo>
                    <a:pt x="711" y="274"/>
                    <a:pt x="719" y="272"/>
                    <a:pt x="723" y="263"/>
                  </a:cubicBezTo>
                  <a:cubicBezTo>
                    <a:pt x="733" y="236"/>
                    <a:pt x="741" y="208"/>
                    <a:pt x="750" y="181"/>
                  </a:cubicBezTo>
                  <a:cubicBezTo>
                    <a:pt x="754" y="169"/>
                    <a:pt x="757" y="156"/>
                    <a:pt x="763" y="145"/>
                  </a:cubicBezTo>
                  <a:cubicBezTo>
                    <a:pt x="764" y="143"/>
                    <a:pt x="764" y="140"/>
                    <a:pt x="767" y="140"/>
                  </a:cubicBezTo>
                  <a:cubicBezTo>
                    <a:pt x="770" y="140"/>
                    <a:pt x="770" y="143"/>
                    <a:pt x="771" y="145"/>
                  </a:cubicBezTo>
                  <a:cubicBezTo>
                    <a:pt x="771" y="156"/>
                    <a:pt x="777" y="165"/>
                    <a:pt x="780" y="175"/>
                  </a:cubicBezTo>
                  <a:cubicBezTo>
                    <a:pt x="782" y="184"/>
                    <a:pt x="785" y="193"/>
                    <a:pt x="788" y="201"/>
                  </a:cubicBezTo>
                  <a:cubicBezTo>
                    <a:pt x="794" y="219"/>
                    <a:pt x="801" y="237"/>
                    <a:pt x="806" y="255"/>
                  </a:cubicBezTo>
                  <a:cubicBezTo>
                    <a:pt x="811" y="272"/>
                    <a:pt x="825" y="280"/>
                    <a:pt x="842" y="273"/>
                  </a:cubicBezTo>
                  <a:cubicBezTo>
                    <a:pt x="845" y="271"/>
                    <a:pt x="847" y="269"/>
                    <a:pt x="848" y="266"/>
                  </a:cubicBezTo>
                  <a:cubicBezTo>
                    <a:pt x="853" y="251"/>
                    <a:pt x="859" y="236"/>
                    <a:pt x="863" y="221"/>
                  </a:cubicBezTo>
                  <a:cubicBezTo>
                    <a:pt x="867" y="202"/>
                    <a:pt x="875" y="185"/>
                    <a:pt x="880" y="166"/>
                  </a:cubicBezTo>
                  <a:cubicBezTo>
                    <a:pt x="886" y="144"/>
                    <a:pt x="895" y="123"/>
                    <a:pt x="900" y="101"/>
                  </a:cubicBezTo>
                  <a:cubicBezTo>
                    <a:pt x="901" y="96"/>
                    <a:pt x="909" y="91"/>
                    <a:pt x="904" y="86"/>
                  </a:cubicBezTo>
                  <a:cubicBezTo>
                    <a:pt x="900" y="81"/>
                    <a:pt x="892" y="84"/>
                    <a:pt x="886" y="84"/>
                  </a:cubicBezTo>
                  <a:cubicBezTo>
                    <a:pt x="885" y="84"/>
                    <a:pt x="883" y="84"/>
                    <a:pt x="881" y="84"/>
                  </a:cubicBezTo>
                  <a:cubicBezTo>
                    <a:pt x="875" y="84"/>
                    <a:pt x="872" y="86"/>
                    <a:pt x="869" y="91"/>
                  </a:cubicBezTo>
                  <a:cubicBezTo>
                    <a:pt x="860" y="110"/>
                    <a:pt x="856" y="131"/>
                    <a:pt x="850" y="151"/>
                  </a:cubicBezTo>
                  <a:cubicBezTo>
                    <a:pt x="844" y="170"/>
                    <a:pt x="836" y="188"/>
                    <a:pt x="834" y="208"/>
                  </a:cubicBezTo>
                  <a:cubicBezTo>
                    <a:pt x="833" y="211"/>
                    <a:pt x="831" y="214"/>
                    <a:pt x="827" y="214"/>
                  </a:cubicBezTo>
                  <a:cubicBezTo>
                    <a:pt x="823" y="214"/>
                    <a:pt x="822" y="210"/>
                    <a:pt x="822" y="207"/>
                  </a:cubicBezTo>
                  <a:cubicBezTo>
                    <a:pt x="817" y="188"/>
                    <a:pt x="811" y="170"/>
                    <a:pt x="805" y="152"/>
                  </a:cubicBezTo>
                  <a:cubicBezTo>
                    <a:pt x="799" y="133"/>
                    <a:pt x="794" y="114"/>
                    <a:pt x="786" y="96"/>
                  </a:cubicBezTo>
                  <a:cubicBezTo>
                    <a:pt x="783" y="87"/>
                    <a:pt x="779" y="84"/>
                    <a:pt x="770" y="84"/>
                  </a:cubicBezTo>
                  <a:cubicBezTo>
                    <a:pt x="761" y="84"/>
                    <a:pt x="752" y="82"/>
                    <a:pt x="748" y="94"/>
                  </a:cubicBezTo>
                  <a:cubicBezTo>
                    <a:pt x="744" y="109"/>
                    <a:pt x="738" y="123"/>
                    <a:pt x="734" y="138"/>
                  </a:cubicBezTo>
                  <a:cubicBezTo>
                    <a:pt x="729" y="153"/>
                    <a:pt x="724" y="167"/>
                    <a:pt x="719" y="182"/>
                  </a:cubicBezTo>
                  <a:cubicBezTo>
                    <a:pt x="716" y="192"/>
                    <a:pt x="715" y="203"/>
                    <a:pt x="708" y="212"/>
                  </a:cubicBezTo>
                  <a:cubicBezTo>
                    <a:pt x="707" y="214"/>
                    <a:pt x="707" y="217"/>
                    <a:pt x="704" y="217"/>
                  </a:cubicBezTo>
                  <a:cubicBezTo>
                    <a:pt x="701" y="217"/>
                    <a:pt x="701" y="213"/>
                    <a:pt x="700" y="211"/>
                  </a:cubicBezTo>
                  <a:cubicBezTo>
                    <a:pt x="699" y="198"/>
                    <a:pt x="694" y="186"/>
                    <a:pt x="690" y="174"/>
                  </a:cubicBezTo>
                  <a:cubicBezTo>
                    <a:pt x="684" y="153"/>
                    <a:pt x="677" y="131"/>
                    <a:pt x="672" y="110"/>
                  </a:cubicBezTo>
                  <a:cubicBezTo>
                    <a:pt x="667" y="88"/>
                    <a:pt x="663" y="84"/>
                    <a:pt x="645" y="84"/>
                  </a:cubicBezTo>
                  <a:cubicBezTo>
                    <a:pt x="643" y="84"/>
                    <a:pt x="641" y="84"/>
                    <a:pt x="639" y="84"/>
                  </a:cubicBezTo>
                  <a:close/>
                  <a:moveTo>
                    <a:pt x="507" y="711"/>
                  </a:moveTo>
                  <a:cubicBezTo>
                    <a:pt x="507" y="730"/>
                    <a:pt x="507" y="730"/>
                    <a:pt x="526" y="730"/>
                  </a:cubicBezTo>
                  <a:cubicBezTo>
                    <a:pt x="539" y="730"/>
                    <a:pt x="541" y="729"/>
                    <a:pt x="541" y="715"/>
                  </a:cubicBezTo>
                  <a:cubicBezTo>
                    <a:pt x="541" y="677"/>
                    <a:pt x="541" y="638"/>
                    <a:pt x="540" y="600"/>
                  </a:cubicBezTo>
                  <a:cubicBezTo>
                    <a:pt x="540" y="593"/>
                    <a:pt x="543" y="587"/>
                    <a:pt x="548" y="582"/>
                  </a:cubicBezTo>
                  <a:cubicBezTo>
                    <a:pt x="553" y="576"/>
                    <a:pt x="559" y="573"/>
                    <a:pt x="564" y="569"/>
                  </a:cubicBezTo>
                  <a:cubicBezTo>
                    <a:pt x="574" y="564"/>
                    <a:pt x="594" y="566"/>
                    <a:pt x="602" y="574"/>
                  </a:cubicBezTo>
                  <a:cubicBezTo>
                    <a:pt x="611" y="582"/>
                    <a:pt x="614" y="592"/>
                    <a:pt x="614" y="604"/>
                  </a:cubicBezTo>
                  <a:cubicBezTo>
                    <a:pt x="614" y="638"/>
                    <a:pt x="614" y="672"/>
                    <a:pt x="614" y="706"/>
                  </a:cubicBezTo>
                  <a:cubicBezTo>
                    <a:pt x="614" y="730"/>
                    <a:pt x="614" y="730"/>
                    <a:pt x="638" y="730"/>
                  </a:cubicBezTo>
                  <a:cubicBezTo>
                    <a:pt x="650" y="730"/>
                    <a:pt x="650" y="730"/>
                    <a:pt x="650" y="717"/>
                  </a:cubicBezTo>
                  <a:cubicBezTo>
                    <a:pt x="650" y="684"/>
                    <a:pt x="650" y="650"/>
                    <a:pt x="650" y="617"/>
                  </a:cubicBezTo>
                  <a:cubicBezTo>
                    <a:pt x="650" y="606"/>
                    <a:pt x="651" y="597"/>
                    <a:pt x="657" y="586"/>
                  </a:cubicBezTo>
                  <a:cubicBezTo>
                    <a:pt x="667" y="565"/>
                    <a:pt x="703" y="560"/>
                    <a:pt x="716" y="579"/>
                  </a:cubicBezTo>
                  <a:cubicBezTo>
                    <a:pt x="723" y="588"/>
                    <a:pt x="724" y="598"/>
                    <a:pt x="724" y="609"/>
                  </a:cubicBezTo>
                  <a:cubicBezTo>
                    <a:pt x="724" y="645"/>
                    <a:pt x="724" y="682"/>
                    <a:pt x="724" y="718"/>
                  </a:cubicBezTo>
                  <a:cubicBezTo>
                    <a:pt x="724" y="727"/>
                    <a:pt x="727" y="731"/>
                    <a:pt x="736" y="730"/>
                  </a:cubicBezTo>
                  <a:cubicBezTo>
                    <a:pt x="738" y="730"/>
                    <a:pt x="741" y="730"/>
                    <a:pt x="743" y="730"/>
                  </a:cubicBezTo>
                  <a:cubicBezTo>
                    <a:pt x="758" y="730"/>
                    <a:pt x="759" y="729"/>
                    <a:pt x="759" y="715"/>
                  </a:cubicBezTo>
                  <a:cubicBezTo>
                    <a:pt x="759" y="677"/>
                    <a:pt x="758" y="639"/>
                    <a:pt x="759" y="601"/>
                  </a:cubicBezTo>
                  <a:cubicBezTo>
                    <a:pt x="759" y="571"/>
                    <a:pt x="742" y="540"/>
                    <a:pt x="704" y="538"/>
                  </a:cubicBezTo>
                  <a:cubicBezTo>
                    <a:pt x="681" y="536"/>
                    <a:pt x="661" y="542"/>
                    <a:pt x="646" y="560"/>
                  </a:cubicBezTo>
                  <a:cubicBezTo>
                    <a:pt x="638" y="569"/>
                    <a:pt x="638" y="569"/>
                    <a:pt x="631" y="559"/>
                  </a:cubicBezTo>
                  <a:cubicBezTo>
                    <a:pt x="630" y="558"/>
                    <a:pt x="630" y="557"/>
                    <a:pt x="629" y="556"/>
                  </a:cubicBezTo>
                  <a:cubicBezTo>
                    <a:pt x="623" y="548"/>
                    <a:pt x="616" y="541"/>
                    <a:pt x="607" y="539"/>
                  </a:cubicBezTo>
                  <a:cubicBezTo>
                    <a:pt x="584" y="534"/>
                    <a:pt x="563" y="539"/>
                    <a:pt x="545" y="555"/>
                  </a:cubicBezTo>
                  <a:cubicBezTo>
                    <a:pt x="540" y="559"/>
                    <a:pt x="537" y="561"/>
                    <a:pt x="537" y="552"/>
                  </a:cubicBezTo>
                  <a:cubicBezTo>
                    <a:pt x="536" y="543"/>
                    <a:pt x="526" y="538"/>
                    <a:pt x="515" y="539"/>
                  </a:cubicBezTo>
                  <a:cubicBezTo>
                    <a:pt x="506" y="540"/>
                    <a:pt x="507" y="546"/>
                    <a:pt x="507" y="552"/>
                  </a:cubicBezTo>
                  <a:cubicBezTo>
                    <a:pt x="507" y="580"/>
                    <a:pt x="507" y="607"/>
                    <a:pt x="507" y="634"/>
                  </a:cubicBezTo>
                  <a:cubicBezTo>
                    <a:pt x="507" y="660"/>
                    <a:pt x="507" y="685"/>
                    <a:pt x="507" y="711"/>
                  </a:cubicBezTo>
                  <a:close/>
                  <a:moveTo>
                    <a:pt x="1525" y="1142"/>
                  </a:moveTo>
                  <a:cubicBezTo>
                    <a:pt x="1517" y="1143"/>
                    <a:pt x="1511" y="1141"/>
                    <a:pt x="1505" y="1136"/>
                  </a:cubicBezTo>
                  <a:cubicBezTo>
                    <a:pt x="1501" y="1133"/>
                    <a:pt x="1495" y="1130"/>
                    <a:pt x="1498" y="1124"/>
                  </a:cubicBezTo>
                  <a:cubicBezTo>
                    <a:pt x="1500" y="1118"/>
                    <a:pt x="1504" y="1114"/>
                    <a:pt x="1512" y="1114"/>
                  </a:cubicBezTo>
                  <a:cubicBezTo>
                    <a:pt x="1521" y="1115"/>
                    <a:pt x="1530" y="1114"/>
                    <a:pt x="1538" y="1115"/>
                  </a:cubicBezTo>
                  <a:cubicBezTo>
                    <a:pt x="1573" y="1117"/>
                    <a:pt x="1610" y="1084"/>
                    <a:pt x="1602" y="1044"/>
                  </a:cubicBezTo>
                  <a:cubicBezTo>
                    <a:pt x="1600" y="1035"/>
                    <a:pt x="1599" y="1028"/>
                    <a:pt x="1611" y="1027"/>
                  </a:cubicBezTo>
                  <a:cubicBezTo>
                    <a:pt x="1614" y="1027"/>
                    <a:pt x="1617" y="1024"/>
                    <a:pt x="1619" y="1023"/>
                  </a:cubicBezTo>
                  <a:cubicBezTo>
                    <a:pt x="1626" y="1019"/>
                    <a:pt x="1624" y="1013"/>
                    <a:pt x="1623" y="1008"/>
                  </a:cubicBezTo>
                  <a:cubicBezTo>
                    <a:pt x="1623" y="1002"/>
                    <a:pt x="1618" y="1003"/>
                    <a:pt x="1613" y="1002"/>
                  </a:cubicBezTo>
                  <a:cubicBezTo>
                    <a:pt x="1598" y="1002"/>
                    <a:pt x="1582" y="1004"/>
                    <a:pt x="1567" y="1000"/>
                  </a:cubicBezTo>
                  <a:cubicBezTo>
                    <a:pt x="1560" y="999"/>
                    <a:pt x="1554" y="993"/>
                    <a:pt x="1546" y="993"/>
                  </a:cubicBezTo>
                  <a:cubicBezTo>
                    <a:pt x="1536" y="994"/>
                    <a:pt x="1525" y="992"/>
                    <a:pt x="1515" y="993"/>
                  </a:cubicBezTo>
                  <a:cubicBezTo>
                    <a:pt x="1490" y="997"/>
                    <a:pt x="1469" y="1010"/>
                    <a:pt x="1462" y="1034"/>
                  </a:cubicBezTo>
                  <a:cubicBezTo>
                    <a:pt x="1455" y="1056"/>
                    <a:pt x="1457" y="1079"/>
                    <a:pt x="1476" y="1096"/>
                  </a:cubicBezTo>
                  <a:cubicBezTo>
                    <a:pt x="1483" y="1103"/>
                    <a:pt x="1483" y="1107"/>
                    <a:pt x="1476" y="1113"/>
                  </a:cubicBezTo>
                  <a:cubicBezTo>
                    <a:pt x="1462" y="1126"/>
                    <a:pt x="1462" y="1142"/>
                    <a:pt x="1473" y="1157"/>
                  </a:cubicBezTo>
                  <a:cubicBezTo>
                    <a:pt x="1476" y="1160"/>
                    <a:pt x="1476" y="1162"/>
                    <a:pt x="1472" y="1164"/>
                  </a:cubicBezTo>
                  <a:cubicBezTo>
                    <a:pt x="1470" y="1166"/>
                    <a:pt x="1468" y="1168"/>
                    <a:pt x="1466" y="1170"/>
                  </a:cubicBezTo>
                  <a:cubicBezTo>
                    <a:pt x="1449" y="1183"/>
                    <a:pt x="1444" y="1201"/>
                    <a:pt x="1454" y="1218"/>
                  </a:cubicBezTo>
                  <a:cubicBezTo>
                    <a:pt x="1464" y="1235"/>
                    <a:pt x="1479" y="1246"/>
                    <a:pt x="1499" y="1249"/>
                  </a:cubicBezTo>
                  <a:cubicBezTo>
                    <a:pt x="1517" y="1252"/>
                    <a:pt x="1535" y="1253"/>
                    <a:pt x="1553" y="1250"/>
                  </a:cubicBezTo>
                  <a:cubicBezTo>
                    <a:pt x="1584" y="1245"/>
                    <a:pt x="1607" y="1232"/>
                    <a:pt x="1619" y="1200"/>
                  </a:cubicBezTo>
                  <a:cubicBezTo>
                    <a:pt x="1627" y="1180"/>
                    <a:pt x="1611" y="1155"/>
                    <a:pt x="1593" y="1148"/>
                  </a:cubicBezTo>
                  <a:cubicBezTo>
                    <a:pt x="1578" y="1142"/>
                    <a:pt x="1563" y="1143"/>
                    <a:pt x="1549" y="1142"/>
                  </a:cubicBezTo>
                  <a:cubicBezTo>
                    <a:pt x="1540" y="1142"/>
                    <a:pt x="1532" y="1142"/>
                    <a:pt x="1525" y="1142"/>
                  </a:cubicBezTo>
                  <a:close/>
                  <a:moveTo>
                    <a:pt x="1556" y="1172"/>
                  </a:moveTo>
                  <a:cubicBezTo>
                    <a:pt x="1566" y="1172"/>
                    <a:pt x="1576" y="1176"/>
                    <a:pt x="1583" y="1183"/>
                  </a:cubicBezTo>
                  <a:cubicBezTo>
                    <a:pt x="1589" y="1190"/>
                    <a:pt x="1589" y="1198"/>
                    <a:pt x="1583" y="1205"/>
                  </a:cubicBezTo>
                  <a:cubicBezTo>
                    <a:pt x="1575" y="1215"/>
                    <a:pt x="1565" y="1220"/>
                    <a:pt x="1553" y="1223"/>
                  </a:cubicBezTo>
                  <a:cubicBezTo>
                    <a:pt x="1534" y="1228"/>
                    <a:pt x="1516" y="1225"/>
                    <a:pt x="1499" y="1219"/>
                  </a:cubicBezTo>
                  <a:cubicBezTo>
                    <a:pt x="1486" y="1214"/>
                    <a:pt x="1479" y="1203"/>
                    <a:pt x="1482" y="1193"/>
                  </a:cubicBezTo>
                  <a:cubicBezTo>
                    <a:pt x="1485" y="1182"/>
                    <a:pt x="1496" y="1168"/>
                    <a:pt x="1514" y="1171"/>
                  </a:cubicBezTo>
                  <a:cubicBezTo>
                    <a:pt x="1526" y="1173"/>
                    <a:pt x="1541" y="1171"/>
                    <a:pt x="1556" y="1172"/>
                  </a:cubicBezTo>
                  <a:close/>
                  <a:moveTo>
                    <a:pt x="1531" y="1019"/>
                  </a:moveTo>
                  <a:cubicBezTo>
                    <a:pt x="1553" y="1017"/>
                    <a:pt x="1570" y="1033"/>
                    <a:pt x="1570" y="1052"/>
                  </a:cubicBezTo>
                  <a:cubicBezTo>
                    <a:pt x="1570" y="1075"/>
                    <a:pt x="1554" y="1093"/>
                    <a:pt x="1532" y="1091"/>
                  </a:cubicBezTo>
                  <a:cubicBezTo>
                    <a:pt x="1508" y="1089"/>
                    <a:pt x="1494" y="1082"/>
                    <a:pt x="1493" y="1053"/>
                  </a:cubicBezTo>
                  <a:cubicBezTo>
                    <a:pt x="1494" y="1029"/>
                    <a:pt x="1508" y="1020"/>
                    <a:pt x="1531" y="1019"/>
                  </a:cubicBezTo>
                  <a:close/>
                  <a:moveTo>
                    <a:pt x="1413" y="934"/>
                  </a:moveTo>
                  <a:cubicBezTo>
                    <a:pt x="1413" y="909"/>
                    <a:pt x="1413" y="909"/>
                    <a:pt x="1389" y="910"/>
                  </a:cubicBezTo>
                  <a:cubicBezTo>
                    <a:pt x="1388" y="910"/>
                    <a:pt x="1387" y="910"/>
                    <a:pt x="1387" y="910"/>
                  </a:cubicBezTo>
                  <a:cubicBezTo>
                    <a:pt x="1379" y="910"/>
                    <a:pt x="1376" y="915"/>
                    <a:pt x="1376" y="921"/>
                  </a:cubicBezTo>
                  <a:cubicBezTo>
                    <a:pt x="1376" y="939"/>
                    <a:pt x="1377" y="956"/>
                    <a:pt x="1377" y="974"/>
                  </a:cubicBezTo>
                  <a:cubicBezTo>
                    <a:pt x="1377" y="983"/>
                    <a:pt x="1377" y="991"/>
                    <a:pt x="1377" y="1000"/>
                  </a:cubicBezTo>
                  <a:cubicBezTo>
                    <a:pt x="1377" y="1005"/>
                    <a:pt x="1374" y="1009"/>
                    <a:pt x="1369" y="1005"/>
                  </a:cubicBezTo>
                  <a:cubicBezTo>
                    <a:pt x="1352" y="990"/>
                    <a:pt x="1332" y="993"/>
                    <a:pt x="1312" y="993"/>
                  </a:cubicBezTo>
                  <a:cubicBezTo>
                    <a:pt x="1303" y="994"/>
                    <a:pt x="1294" y="998"/>
                    <a:pt x="1287" y="1003"/>
                  </a:cubicBezTo>
                  <a:cubicBezTo>
                    <a:pt x="1265" y="1017"/>
                    <a:pt x="1252" y="1039"/>
                    <a:pt x="1248" y="1065"/>
                  </a:cubicBezTo>
                  <a:cubicBezTo>
                    <a:pt x="1244" y="1096"/>
                    <a:pt x="1244" y="1128"/>
                    <a:pt x="1261" y="1157"/>
                  </a:cubicBezTo>
                  <a:cubicBezTo>
                    <a:pt x="1270" y="1170"/>
                    <a:pt x="1281" y="1181"/>
                    <a:pt x="1296" y="1185"/>
                  </a:cubicBezTo>
                  <a:cubicBezTo>
                    <a:pt x="1323" y="1191"/>
                    <a:pt x="1349" y="1188"/>
                    <a:pt x="1370" y="1167"/>
                  </a:cubicBezTo>
                  <a:cubicBezTo>
                    <a:pt x="1372" y="1165"/>
                    <a:pt x="1375" y="1162"/>
                    <a:pt x="1379" y="1163"/>
                  </a:cubicBezTo>
                  <a:cubicBezTo>
                    <a:pt x="1382" y="1165"/>
                    <a:pt x="1381" y="1169"/>
                    <a:pt x="1381" y="1172"/>
                  </a:cubicBezTo>
                  <a:cubicBezTo>
                    <a:pt x="1383" y="1181"/>
                    <a:pt x="1390" y="1186"/>
                    <a:pt x="1403" y="1186"/>
                  </a:cubicBezTo>
                  <a:cubicBezTo>
                    <a:pt x="1413" y="1185"/>
                    <a:pt x="1413" y="1178"/>
                    <a:pt x="1413" y="1172"/>
                  </a:cubicBezTo>
                  <a:cubicBezTo>
                    <a:pt x="1413" y="1131"/>
                    <a:pt x="1413" y="1090"/>
                    <a:pt x="1413" y="1049"/>
                  </a:cubicBezTo>
                  <a:cubicBezTo>
                    <a:pt x="1413" y="1010"/>
                    <a:pt x="1413" y="972"/>
                    <a:pt x="1413" y="934"/>
                  </a:cubicBezTo>
                  <a:close/>
                  <a:moveTo>
                    <a:pt x="1378" y="1113"/>
                  </a:moveTo>
                  <a:cubicBezTo>
                    <a:pt x="1378" y="1136"/>
                    <a:pt x="1360" y="1155"/>
                    <a:pt x="1337" y="1157"/>
                  </a:cubicBezTo>
                  <a:cubicBezTo>
                    <a:pt x="1319" y="1159"/>
                    <a:pt x="1304" y="1154"/>
                    <a:pt x="1294" y="1139"/>
                  </a:cubicBezTo>
                  <a:cubicBezTo>
                    <a:pt x="1286" y="1128"/>
                    <a:pt x="1283" y="1116"/>
                    <a:pt x="1283" y="1102"/>
                  </a:cubicBezTo>
                  <a:cubicBezTo>
                    <a:pt x="1282" y="1085"/>
                    <a:pt x="1282" y="1067"/>
                    <a:pt x="1290" y="1051"/>
                  </a:cubicBezTo>
                  <a:cubicBezTo>
                    <a:pt x="1297" y="1036"/>
                    <a:pt x="1308" y="1024"/>
                    <a:pt x="1325" y="1022"/>
                  </a:cubicBezTo>
                  <a:cubicBezTo>
                    <a:pt x="1342" y="1020"/>
                    <a:pt x="1358" y="1021"/>
                    <a:pt x="1371" y="1035"/>
                  </a:cubicBezTo>
                  <a:cubicBezTo>
                    <a:pt x="1376" y="1041"/>
                    <a:pt x="1378" y="1046"/>
                    <a:pt x="1378" y="1052"/>
                  </a:cubicBezTo>
                  <a:cubicBezTo>
                    <a:pt x="1378" y="1064"/>
                    <a:pt x="1378" y="1075"/>
                    <a:pt x="1378" y="1086"/>
                  </a:cubicBezTo>
                  <a:cubicBezTo>
                    <a:pt x="1378" y="1086"/>
                    <a:pt x="1378" y="1086"/>
                    <a:pt x="1378" y="1086"/>
                  </a:cubicBezTo>
                  <a:cubicBezTo>
                    <a:pt x="1378" y="1095"/>
                    <a:pt x="1378" y="1104"/>
                    <a:pt x="1378" y="1113"/>
                  </a:cubicBezTo>
                  <a:close/>
                  <a:moveTo>
                    <a:pt x="578" y="259"/>
                  </a:moveTo>
                  <a:cubicBezTo>
                    <a:pt x="603" y="241"/>
                    <a:pt x="611" y="213"/>
                    <a:pt x="614" y="183"/>
                  </a:cubicBezTo>
                  <a:cubicBezTo>
                    <a:pt x="615" y="171"/>
                    <a:pt x="610" y="159"/>
                    <a:pt x="609" y="147"/>
                  </a:cubicBezTo>
                  <a:cubicBezTo>
                    <a:pt x="608" y="137"/>
                    <a:pt x="603" y="129"/>
                    <a:pt x="599" y="121"/>
                  </a:cubicBezTo>
                  <a:cubicBezTo>
                    <a:pt x="579" y="87"/>
                    <a:pt x="527" y="70"/>
                    <a:pt x="488" y="85"/>
                  </a:cubicBezTo>
                  <a:cubicBezTo>
                    <a:pt x="453" y="99"/>
                    <a:pt x="436" y="127"/>
                    <a:pt x="431" y="163"/>
                  </a:cubicBezTo>
                  <a:cubicBezTo>
                    <a:pt x="429" y="180"/>
                    <a:pt x="430" y="196"/>
                    <a:pt x="436" y="213"/>
                  </a:cubicBezTo>
                  <a:cubicBezTo>
                    <a:pt x="439" y="222"/>
                    <a:pt x="442" y="232"/>
                    <a:pt x="447" y="239"/>
                  </a:cubicBezTo>
                  <a:cubicBezTo>
                    <a:pt x="465" y="265"/>
                    <a:pt x="491" y="277"/>
                    <a:pt x="525" y="276"/>
                  </a:cubicBezTo>
                  <a:cubicBezTo>
                    <a:pt x="543" y="278"/>
                    <a:pt x="562" y="271"/>
                    <a:pt x="578" y="259"/>
                  </a:cubicBezTo>
                  <a:close/>
                  <a:moveTo>
                    <a:pt x="471" y="205"/>
                  </a:moveTo>
                  <a:cubicBezTo>
                    <a:pt x="466" y="185"/>
                    <a:pt x="468" y="167"/>
                    <a:pt x="472" y="147"/>
                  </a:cubicBezTo>
                  <a:cubicBezTo>
                    <a:pt x="477" y="130"/>
                    <a:pt x="493" y="116"/>
                    <a:pt x="509" y="112"/>
                  </a:cubicBezTo>
                  <a:cubicBezTo>
                    <a:pt x="525" y="108"/>
                    <a:pt x="539" y="110"/>
                    <a:pt x="553" y="119"/>
                  </a:cubicBezTo>
                  <a:cubicBezTo>
                    <a:pt x="563" y="125"/>
                    <a:pt x="568" y="135"/>
                    <a:pt x="571" y="146"/>
                  </a:cubicBezTo>
                  <a:cubicBezTo>
                    <a:pt x="577" y="167"/>
                    <a:pt x="578" y="189"/>
                    <a:pt x="571" y="211"/>
                  </a:cubicBezTo>
                  <a:cubicBezTo>
                    <a:pt x="565" y="231"/>
                    <a:pt x="549" y="249"/>
                    <a:pt x="521" y="247"/>
                  </a:cubicBezTo>
                  <a:cubicBezTo>
                    <a:pt x="496" y="247"/>
                    <a:pt x="478" y="230"/>
                    <a:pt x="471" y="205"/>
                  </a:cubicBezTo>
                  <a:close/>
                  <a:moveTo>
                    <a:pt x="472" y="1122"/>
                  </a:moveTo>
                  <a:cubicBezTo>
                    <a:pt x="475" y="1136"/>
                    <a:pt x="481" y="1148"/>
                    <a:pt x="491" y="1158"/>
                  </a:cubicBezTo>
                  <a:cubicBezTo>
                    <a:pt x="506" y="1176"/>
                    <a:pt x="524" y="1185"/>
                    <a:pt x="548" y="1187"/>
                  </a:cubicBezTo>
                  <a:cubicBezTo>
                    <a:pt x="568" y="1188"/>
                    <a:pt x="587" y="1187"/>
                    <a:pt x="605" y="1177"/>
                  </a:cubicBezTo>
                  <a:cubicBezTo>
                    <a:pt x="632" y="1162"/>
                    <a:pt x="644" y="1136"/>
                    <a:pt x="649" y="1107"/>
                  </a:cubicBezTo>
                  <a:cubicBezTo>
                    <a:pt x="652" y="1089"/>
                    <a:pt x="649" y="1072"/>
                    <a:pt x="644" y="1054"/>
                  </a:cubicBezTo>
                  <a:cubicBezTo>
                    <a:pt x="638" y="1034"/>
                    <a:pt x="627" y="1019"/>
                    <a:pt x="610" y="1007"/>
                  </a:cubicBezTo>
                  <a:cubicBezTo>
                    <a:pt x="589" y="992"/>
                    <a:pt x="566" y="991"/>
                    <a:pt x="541" y="994"/>
                  </a:cubicBezTo>
                  <a:cubicBezTo>
                    <a:pt x="526" y="995"/>
                    <a:pt x="512" y="1002"/>
                    <a:pt x="500" y="1012"/>
                  </a:cubicBezTo>
                  <a:cubicBezTo>
                    <a:pt x="476" y="1032"/>
                    <a:pt x="469" y="1060"/>
                    <a:pt x="466" y="1095"/>
                  </a:cubicBezTo>
                  <a:cubicBezTo>
                    <a:pt x="465" y="1101"/>
                    <a:pt x="470" y="1111"/>
                    <a:pt x="472" y="1122"/>
                  </a:cubicBezTo>
                  <a:close/>
                  <a:moveTo>
                    <a:pt x="508" y="1113"/>
                  </a:moveTo>
                  <a:cubicBezTo>
                    <a:pt x="505" y="1095"/>
                    <a:pt x="506" y="1078"/>
                    <a:pt x="508" y="1061"/>
                  </a:cubicBezTo>
                  <a:cubicBezTo>
                    <a:pt x="511" y="1042"/>
                    <a:pt x="538" y="1021"/>
                    <a:pt x="554" y="1022"/>
                  </a:cubicBezTo>
                  <a:cubicBezTo>
                    <a:pt x="570" y="1022"/>
                    <a:pt x="586" y="1024"/>
                    <a:pt x="596" y="1037"/>
                  </a:cubicBezTo>
                  <a:cubicBezTo>
                    <a:pt x="602" y="1044"/>
                    <a:pt x="607" y="1052"/>
                    <a:pt x="608" y="1061"/>
                  </a:cubicBezTo>
                  <a:cubicBezTo>
                    <a:pt x="608" y="1064"/>
                    <a:pt x="609" y="1067"/>
                    <a:pt x="610" y="1070"/>
                  </a:cubicBezTo>
                  <a:cubicBezTo>
                    <a:pt x="618" y="1089"/>
                    <a:pt x="612" y="1107"/>
                    <a:pt x="607" y="1125"/>
                  </a:cubicBezTo>
                  <a:cubicBezTo>
                    <a:pt x="601" y="1143"/>
                    <a:pt x="588" y="1160"/>
                    <a:pt x="558" y="1157"/>
                  </a:cubicBezTo>
                  <a:cubicBezTo>
                    <a:pt x="530" y="1157"/>
                    <a:pt x="512" y="1141"/>
                    <a:pt x="508" y="1113"/>
                  </a:cubicBezTo>
                  <a:close/>
                  <a:moveTo>
                    <a:pt x="430" y="716"/>
                  </a:moveTo>
                  <a:cubicBezTo>
                    <a:pt x="450" y="703"/>
                    <a:pt x="459" y="683"/>
                    <a:pt x="464" y="661"/>
                  </a:cubicBezTo>
                  <a:cubicBezTo>
                    <a:pt x="468" y="648"/>
                    <a:pt x="467" y="635"/>
                    <a:pt x="466" y="621"/>
                  </a:cubicBezTo>
                  <a:cubicBezTo>
                    <a:pt x="463" y="592"/>
                    <a:pt x="453" y="567"/>
                    <a:pt x="427" y="550"/>
                  </a:cubicBezTo>
                  <a:cubicBezTo>
                    <a:pt x="401" y="534"/>
                    <a:pt x="372" y="532"/>
                    <a:pt x="345" y="541"/>
                  </a:cubicBezTo>
                  <a:cubicBezTo>
                    <a:pt x="310" y="552"/>
                    <a:pt x="291" y="580"/>
                    <a:pt x="287" y="617"/>
                  </a:cubicBezTo>
                  <a:cubicBezTo>
                    <a:pt x="286" y="629"/>
                    <a:pt x="286" y="641"/>
                    <a:pt x="287" y="654"/>
                  </a:cubicBezTo>
                  <a:cubicBezTo>
                    <a:pt x="289" y="671"/>
                    <a:pt x="295" y="686"/>
                    <a:pt x="306" y="700"/>
                  </a:cubicBezTo>
                  <a:cubicBezTo>
                    <a:pt x="324" y="722"/>
                    <a:pt x="348" y="733"/>
                    <a:pt x="378" y="731"/>
                  </a:cubicBezTo>
                  <a:cubicBezTo>
                    <a:pt x="396" y="733"/>
                    <a:pt x="414" y="727"/>
                    <a:pt x="430" y="716"/>
                  </a:cubicBezTo>
                  <a:close/>
                  <a:moveTo>
                    <a:pt x="331" y="592"/>
                  </a:moveTo>
                  <a:cubicBezTo>
                    <a:pt x="339" y="580"/>
                    <a:pt x="349" y="569"/>
                    <a:pt x="365" y="567"/>
                  </a:cubicBezTo>
                  <a:cubicBezTo>
                    <a:pt x="387" y="564"/>
                    <a:pt x="406" y="568"/>
                    <a:pt x="419" y="588"/>
                  </a:cubicBezTo>
                  <a:cubicBezTo>
                    <a:pt x="423" y="595"/>
                    <a:pt x="426" y="603"/>
                    <a:pt x="427" y="610"/>
                  </a:cubicBezTo>
                  <a:cubicBezTo>
                    <a:pt x="433" y="635"/>
                    <a:pt x="431" y="661"/>
                    <a:pt x="416" y="684"/>
                  </a:cubicBezTo>
                  <a:cubicBezTo>
                    <a:pt x="403" y="706"/>
                    <a:pt x="362" y="708"/>
                    <a:pt x="345" y="692"/>
                  </a:cubicBezTo>
                  <a:cubicBezTo>
                    <a:pt x="329" y="678"/>
                    <a:pt x="323" y="661"/>
                    <a:pt x="323" y="631"/>
                  </a:cubicBezTo>
                  <a:cubicBezTo>
                    <a:pt x="323" y="619"/>
                    <a:pt x="323" y="605"/>
                    <a:pt x="331" y="592"/>
                  </a:cubicBezTo>
                  <a:close/>
                  <a:moveTo>
                    <a:pt x="1073" y="259"/>
                  </a:moveTo>
                  <a:cubicBezTo>
                    <a:pt x="1073" y="269"/>
                    <a:pt x="1075" y="272"/>
                    <a:pt x="1086" y="272"/>
                  </a:cubicBezTo>
                  <a:cubicBezTo>
                    <a:pt x="1088" y="272"/>
                    <a:pt x="1090" y="272"/>
                    <a:pt x="1092" y="272"/>
                  </a:cubicBezTo>
                  <a:cubicBezTo>
                    <a:pt x="1105" y="272"/>
                    <a:pt x="1106" y="271"/>
                    <a:pt x="1106" y="258"/>
                  </a:cubicBezTo>
                  <a:cubicBezTo>
                    <a:pt x="1106" y="221"/>
                    <a:pt x="1106" y="184"/>
                    <a:pt x="1106" y="147"/>
                  </a:cubicBezTo>
                  <a:cubicBezTo>
                    <a:pt x="1106" y="143"/>
                    <a:pt x="1106" y="140"/>
                    <a:pt x="1107" y="137"/>
                  </a:cubicBezTo>
                  <a:cubicBezTo>
                    <a:pt x="1117" y="117"/>
                    <a:pt x="1157" y="104"/>
                    <a:pt x="1177" y="114"/>
                  </a:cubicBezTo>
                  <a:cubicBezTo>
                    <a:pt x="1179" y="115"/>
                    <a:pt x="1180" y="117"/>
                    <a:pt x="1182" y="118"/>
                  </a:cubicBezTo>
                  <a:cubicBezTo>
                    <a:pt x="1194" y="131"/>
                    <a:pt x="1196" y="147"/>
                    <a:pt x="1196" y="163"/>
                  </a:cubicBezTo>
                  <a:cubicBezTo>
                    <a:pt x="1197" y="195"/>
                    <a:pt x="1196" y="226"/>
                    <a:pt x="1196" y="258"/>
                  </a:cubicBezTo>
                  <a:cubicBezTo>
                    <a:pt x="1196" y="271"/>
                    <a:pt x="1197" y="272"/>
                    <a:pt x="1210" y="272"/>
                  </a:cubicBezTo>
                  <a:cubicBezTo>
                    <a:pt x="1212" y="272"/>
                    <a:pt x="1213" y="272"/>
                    <a:pt x="1215" y="272"/>
                  </a:cubicBezTo>
                  <a:cubicBezTo>
                    <a:pt x="1227" y="272"/>
                    <a:pt x="1229" y="270"/>
                    <a:pt x="1229" y="258"/>
                  </a:cubicBezTo>
                  <a:cubicBezTo>
                    <a:pt x="1229" y="222"/>
                    <a:pt x="1229" y="187"/>
                    <a:pt x="1229" y="151"/>
                  </a:cubicBezTo>
                  <a:cubicBezTo>
                    <a:pt x="1229" y="142"/>
                    <a:pt x="1228" y="132"/>
                    <a:pt x="1225" y="123"/>
                  </a:cubicBezTo>
                  <a:cubicBezTo>
                    <a:pt x="1219" y="105"/>
                    <a:pt x="1208" y="91"/>
                    <a:pt x="1189" y="85"/>
                  </a:cubicBezTo>
                  <a:cubicBezTo>
                    <a:pt x="1173" y="80"/>
                    <a:pt x="1156" y="84"/>
                    <a:pt x="1139" y="84"/>
                  </a:cubicBezTo>
                  <a:cubicBezTo>
                    <a:pt x="1137" y="84"/>
                    <a:pt x="1136" y="86"/>
                    <a:pt x="1134" y="87"/>
                  </a:cubicBezTo>
                  <a:cubicBezTo>
                    <a:pt x="1128" y="91"/>
                    <a:pt x="1121" y="96"/>
                    <a:pt x="1115" y="100"/>
                  </a:cubicBezTo>
                  <a:cubicBezTo>
                    <a:pt x="1113" y="102"/>
                    <a:pt x="1111" y="105"/>
                    <a:pt x="1108" y="103"/>
                  </a:cubicBezTo>
                  <a:cubicBezTo>
                    <a:pt x="1105" y="102"/>
                    <a:pt x="1106" y="98"/>
                    <a:pt x="1106" y="96"/>
                  </a:cubicBezTo>
                  <a:cubicBezTo>
                    <a:pt x="1106" y="69"/>
                    <a:pt x="1106" y="43"/>
                    <a:pt x="1106" y="17"/>
                  </a:cubicBezTo>
                  <a:cubicBezTo>
                    <a:pt x="1106" y="0"/>
                    <a:pt x="1106" y="0"/>
                    <a:pt x="1089" y="0"/>
                  </a:cubicBezTo>
                  <a:cubicBezTo>
                    <a:pt x="1074" y="0"/>
                    <a:pt x="1073" y="1"/>
                    <a:pt x="1073" y="16"/>
                  </a:cubicBezTo>
                  <a:cubicBezTo>
                    <a:pt x="1073" y="56"/>
                    <a:pt x="1073" y="96"/>
                    <a:pt x="1073" y="136"/>
                  </a:cubicBezTo>
                  <a:cubicBezTo>
                    <a:pt x="1073" y="177"/>
                    <a:pt x="1073" y="218"/>
                    <a:pt x="1073" y="259"/>
                  </a:cubicBezTo>
                  <a:close/>
                  <a:moveTo>
                    <a:pt x="1150" y="1092"/>
                  </a:moveTo>
                  <a:cubicBezTo>
                    <a:pt x="1168" y="1092"/>
                    <a:pt x="1186" y="1092"/>
                    <a:pt x="1204" y="1092"/>
                  </a:cubicBezTo>
                  <a:cubicBezTo>
                    <a:pt x="1215" y="1092"/>
                    <a:pt x="1218" y="1087"/>
                    <a:pt x="1219" y="1077"/>
                  </a:cubicBezTo>
                  <a:cubicBezTo>
                    <a:pt x="1220" y="1062"/>
                    <a:pt x="1216" y="1049"/>
                    <a:pt x="1210" y="1036"/>
                  </a:cubicBezTo>
                  <a:cubicBezTo>
                    <a:pt x="1204" y="1020"/>
                    <a:pt x="1193" y="1008"/>
                    <a:pt x="1177" y="1001"/>
                  </a:cubicBezTo>
                  <a:cubicBezTo>
                    <a:pt x="1155" y="992"/>
                    <a:pt x="1133" y="991"/>
                    <a:pt x="1109" y="999"/>
                  </a:cubicBezTo>
                  <a:cubicBezTo>
                    <a:pt x="1079" y="1010"/>
                    <a:pt x="1062" y="1031"/>
                    <a:pt x="1056" y="1061"/>
                  </a:cubicBezTo>
                  <a:cubicBezTo>
                    <a:pt x="1051" y="1090"/>
                    <a:pt x="1052" y="1120"/>
                    <a:pt x="1069" y="1148"/>
                  </a:cubicBezTo>
                  <a:cubicBezTo>
                    <a:pt x="1081" y="1169"/>
                    <a:pt x="1100" y="1180"/>
                    <a:pt x="1122" y="1185"/>
                  </a:cubicBezTo>
                  <a:cubicBezTo>
                    <a:pt x="1149" y="1190"/>
                    <a:pt x="1176" y="1186"/>
                    <a:pt x="1200" y="1171"/>
                  </a:cubicBezTo>
                  <a:cubicBezTo>
                    <a:pt x="1206" y="1168"/>
                    <a:pt x="1213" y="1165"/>
                    <a:pt x="1214" y="1157"/>
                  </a:cubicBezTo>
                  <a:cubicBezTo>
                    <a:pt x="1215" y="1147"/>
                    <a:pt x="1202" y="1139"/>
                    <a:pt x="1193" y="1144"/>
                  </a:cubicBezTo>
                  <a:cubicBezTo>
                    <a:pt x="1187" y="1147"/>
                    <a:pt x="1180" y="1150"/>
                    <a:pt x="1174" y="1153"/>
                  </a:cubicBezTo>
                  <a:cubicBezTo>
                    <a:pt x="1158" y="1161"/>
                    <a:pt x="1140" y="1161"/>
                    <a:pt x="1124" y="1155"/>
                  </a:cubicBezTo>
                  <a:cubicBezTo>
                    <a:pt x="1112" y="1151"/>
                    <a:pt x="1102" y="1142"/>
                    <a:pt x="1096" y="1129"/>
                  </a:cubicBezTo>
                  <a:cubicBezTo>
                    <a:pt x="1092" y="1121"/>
                    <a:pt x="1091" y="1112"/>
                    <a:pt x="1089" y="1104"/>
                  </a:cubicBezTo>
                  <a:cubicBezTo>
                    <a:pt x="1087" y="1093"/>
                    <a:pt x="1087" y="1092"/>
                    <a:pt x="1099" y="1092"/>
                  </a:cubicBezTo>
                  <a:cubicBezTo>
                    <a:pt x="1116" y="1092"/>
                    <a:pt x="1133" y="1092"/>
                    <a:pt x="1150" y="1092"/>
                  </a:cubicBezTo>
                  <a:cubicBezTo>
                    <a:pt x="1150" y="1092"/>
                    <a:pt x="1150" y="1092"/>
                    <a:pt x="1150" y="1092"/>
                  </a:cubicBezTo>
                  <a:close/>
                  <a:moveTo>
                    <a:pt x="1099" y="1070"/>
                  </a:moveTo>
                  <a:cubicBezTo>
                    <a:pt x="1092" y="1071"/>
                    <a:pt x="1089" y="1067"/>
                    <a:pt x="1091" y="1060"/>
                  </a:cubicBezTo>
                  <a:cubicBezTo>
                    <a:pt x="1094" y="1045"/>
                    <a:pt x="1108" y="1023"/>
                    <a:pt x="1128" y="1022"/>
                  </a:cubicBezTo>
                  <a:cubicBezTo>
                    <a:pt x="1142" y="1021"/>
                    <a:pt x="1156" y="1018"/>
                    <a:pt x="1168" y="1029"/>
                  </a:cubicBezTo>
                  <a:cubicBezTo>
                    <a:pt x="1181" y="1038"/>
                    <a:pt x="1185" y="1051"/>
                    <a:pt x="1187" y="1066"/>
                  </a:cubicBezTo>
                  <a:cubicBezTo>
                    <a:pt x="1188" y="1071"/>
                    <a:pt x="1183" y="1070"/>
                    <a:pt x="1180" y="1070"/>
                  </a:cubicBezTo>
                  <a:cubicBezTo>
                    <a:pt x="1166" y="1070"/>
                    <a:pt x="1153" y="1070"/>
                    <a:pt x="1139" y="1070"/>
                  </a:cubicBezTo>
                  <a:cubicBezTo>
                    <a:pt x="1139" y="1070"/>
                    <a:pt x="1139" y="1070"/>
                    <a:pt x="1139" y="1070"/>
                  </a:cubicBezTo>
                  <a:cubicBezTo>
                    <a:pt x="1126" y="1070"/>
                    <a:pt x="1113" y="1070"/>
                    <a:pt x="1099" y="1070"/>
                  </a:cubicBezTo>
                  <a:close/>
                  <a:moveTo>
                    <a:pt x="1741" y="1092"/>
                  </a:moveTo>
                  <a:cubicBezTo>
                    <a:pt x="1759" y="1092"/>
                    <a:pt x="1776" y="1092"/>
                    <a:pt x="1793" y="1092"/>
                  </a:cubicBezTo>
                  <a:cubicBezTo>
                    <a:pt x="1806" y="1092"/>
                    <a:pt x="1808" y="1089"/>
                    <a:pt x="1808" y="1076"/>
                  </a:cubicBezTo>
                  <a:cubicBezTo>
                    <a:pt x="1809" y="1063"/>
                    <a:pt x="1807" y="1051"/>
                    <a:pt x="1802" y="1038"/>
                  </a:cubicBezTo>
                  <a:cubicBezTo>
                    <a:pt x="1794" y="1021"/>
                    <a:pt x="1782" y="1008"/>
                    <a:pt x="1764" y="1000"/>
                  </a:cubicBezTo>
                  <a:cubicBezTo>
                    <a:pt x="1742" y="991"/>
                    <a:pt x="1720" y="991"/>
                    <a:pt x="1698" y="1000"/>
                  </a:cubicBezTo>
                  <a:cubicBezTo>
                    <a:pt x="1681" y="1006"/>
                    <a:pt x="1668" y="1016"/>
                    <a:pt x="1659" y="1031"/>
                  </a:cubicBezTo>
                  <a:cubicBezTo>
                    <a:pt x="1646" y="1050"/>
                    <a:pt x="1643" y="1071"/>
                    <a:pt x="1644" y="1094"/>
                  </a:cubicBezTo>
                  <a:cubicBezTo>
                    <a:pt x="1644" y="1110"/>
                    <a:pt x="1647" y="1127"/>
                    <a:pt x="1655" y="1141"/>
                  </a:cubicBezTo>
                  <a:cubicBezTo>
                    <a:pt x="1669" y="1168"/>
                    <a:pt x="1691" y="1183"/>
                    <a:pt x="1722" y="1186"/>
                  </a:cubicBezTo>
                  <a:cubicBezTo>
                    <a:pt x="1750" y="1188"/>
                    <a:pt x="1775" y="1183"/>
                    <a:pt x="1798" y="1165"/>
                  </a:cubicBezTo>
                  <a:cubicBezTo>
                    <a:pt x="1803" y="1161"/>
                    <a:pt x="1806" y="1157"/>
                    <a:pt x="1802" y="1151"/>
                  </a:cubicBezTo>
                  <a:cubicBezTo>
                    <a:pt x="1798" y="1144"/>
                    <a:pt x="1791" y="1140"/>
                    <a:pt x="1783" y="1144"/>
                  </a:cubicBezTo>
                  <a:cubicBezTo>
                    <a:pt x="1778" y="1147"/>
                    <a:pt x="1771" y="1149"/>
                    <a:pt x="1766" y="1152"/>
                  </a:cubicBezTo>
                  <a:cubicBezTo>
                    <a:pt x="1749" y="1161"/>
                    <a:pt x="1730" y="1162"/>
                    <a:pt x="1714" y="1155"/>
                  </a:cubicBezTo>
                  <a:cubicBezTo>
                    <a:pt x="1692" y="1145"/>
                    <a:pt x="1680" y="1127"/>
                    <a:pt x="1679" y="1102"/>
                  </a:cubicBezTo>
                  <a:cubicBezTo>
                    <a:pt x="1678" y="1095"/>
                    <a:pt x="1681" y="1092"/>
                    <a:pt x="1689" y="1092"/>
                  </a:cubicBezTo>
                  <a:cubicBezTo>
                    <a:pt x="1706" y="1092"/>
                    <a:pt x="1724" y="1092"/>
                    <a:pt x="1741" y="1092"/>
                  </a:cubicBezTo>
                  <a:cubicBezTo>
                    <a:pt x="1741" y="1092"/>
                    <a:pt x="1741" y="1092"/>
                    <a:pt x="1741" y="1092"/>
                  </a:cubicBezTo>
                  <a:close/>
                  <a:moveTo>
                    <a:pt x="1690" y="1070"/>
                  </a:moveTo>
                  <a:cubicBezTo>
                    <a:pt x="1683" y="1071"/>
                    <a:pt x="1680" y="1068"/>
                    <a:pt x="1681" y="1062"/>
                  </a:cubicBezTo>
                  <a:cubicBezTo>
                    <a:pt x="1683" y="1048"/>
                    <a:pt x="1697" y="1024"/>
                    <a:pt x="1716" y="1022"/>
                  </a:cubicBezTo>
                  <a:cubicBezTo>
                    <a:pt x="1731" y="1020"/>
                    <a:pt x="1747" y="1018"/>
                    <a:pt x="1760" y="1030"/>
                  </a:cubicBezTo>
                  <a:cubicBezTo>
                    <a:pt x="1771" y="1038"/>
                    <a:pt x="1775" y="1050"/>
                    <a:pt x="1778" y="1062"/>
                  </a:cubicBezTo>
                  <a:cubicBezTo>
                    <a:pt x="1780" y="1068"/>
                    <a:pt x="1775" y="1070"/>
                    <a:pt x="1769" y="1070"/>
                  </a:cubicBezTo>
                  <a:cubicBezTo>
                    <a:pt x="1756" y="1070"/>
                    <a:pt x="1742" y="1070"/>
                    <a:pt x="1729" y="1070"/>
                  </a:cubicBezTo>
                  <a:cubicBezTo>
                    <a:pt x="1729" y="1070"/>
                    <a:pt x="1729" y="1070"/>
                    <a:pt x="1729" y="1070"/>
                  </a:cubicBezTo>
                  <a:cubicBezTo>
                    <a:pt x="1716" y="1070"/>
                    <a:pt x="1703" y="1070"/>
                    <a:pt x="1690" y="1070"/>
                  </a:cubicBezTo>
                  <a:close/>
                  <a:moveTo>
                    <a:pt x="68" y="581"/>
                  </a:moveTo>
                  <a:cubicBezTo>
                    <a:pt x="68" y="573"/>
                    <a:pt x="70" y="568"/>
                    <a:pt x="80" y="569"/>
                  </a:cubicBezTo>
                  <a:cubicBezTo>
                    <a:pt x="90" y="570"/>
                    <a:pt x="101" y="570"/>
                    <a:pt x="111" y="569"/>
                  </a:cubicBezTo>
                  <a:cubicBezTo>
                    <a:pt x="120" y="569"/>
                    <a:pt x="120" y="563"/>
                    <a:pt x="120" y="556"/>
                  </a:cubicBezTo>
                  <a:cubicBezTo>
                    <a:pt x="120" y="549"/>
                    <a:pt x="119" y="544"/>
                    <a:pt x="111" y="544"/>
                  </a:cubicBezTo>
                  <a:cubicBezTo>
                    <a:pt x="104" y="544"/>
                    <a:pt x="97" y="544"/>
                    <a:pt x="91" y="544"/>
                  </a:cubicBezTo>
                  <a:cubicBezTo>
                    <a:pt x="66" y="544"/>
                    <a:pt x="65" y="543"/>
                    <a:pt x="68" y="518"/>
                  </a:cubicBezTo>
                  <a:cubicBezTo>
                    <a:pt x="69" y="504"/>
                    <a:pt x="83" y="487"/>
                    <a:pt x="99" y="489"/>
                  </a:cubicBezTo>
                  <a:cubicBezTo>
                    <a:pt x="103" y="489"/>
                    <a:pt x="107" y="489"/>
                    <a:pt x="110" y="488"/>
                  </a:cubicBezTo>
                  <a:cubicBezTo>
                    <a:pt x="118" y="487"/>
                    <a:pt x="123" y="479"/>
                    <a:pt x="123" y="471"/>
                  </a:cubicBezTo>
                  <a:cubicBezTo>
                    <a:pt x="123" y="461"/>
                    <a:pt x="116" y="462"/>
                    <a:pt x="109" y="460"/>
                  </a:cubicBezTo>
                  <a:cubicBezTo>
                    <a:pt x="100" y="458"/>
                    <a:pt x="92" y="460"/>
                    <a:pt x="84" y="460"/>
                  </a:cubicBezTo>
                  <a:cubicBezTo>
                    <a:pt x="68" y="461"/>
                    <a:pt x="56" y="469"/>
                    <a:pt x="47" y="480"/>
                  </a:cubicBezTo>
                  <a:cubicBezTo>
                    <a:pt x="34" y="493"/>
                    <a:pt x="32" y="511"/>
                    <a:pt x="32" y="529"/>
                  </a:cubicBezTo>
                  <a:cubicBezTo>
                    <a:pt x="32" y="544"/>
                    <a:pt x="32" y="544"/>
                    <a:pt x="17" y="544"/>
                  </a:cubicBezTo>
                  <a:cubicBezTo>
                    <a:pt x="4" y="543"/>
                    <a:pt x="0" y="548"/>
                    <a:pt x="4" y="561"/>
                  </a:cubicBezTo>
                  <a:cubicBezTo>
                    <a:pt x="6" y="569"/>
                    <a:pt x="13" y="568"/>
                    <a:pt x="19" y="569"/>
                  </a:cubicBezTo>
                  <a:cubicBezTo>
                    <a:pt x="32" y="571"/>
                    <a:pt x="32" y="571"/>
                    <a:pt x="32" y="584"/>
                  </a:cubicBezTo>
                  <a:cubicBezTo>
                    <a:pt x="32" y="624"/>
                    <a:pt x="32" y="664"/>
                    <a:pt x="32" y="704"/>
                  </a:cubicBezTo>
                  <a:cubicBezTo>
                    <a:pt x="32" y="731"/>
                    <a:pt x="32" y="730"/>
                    <a:pt x="57" y="731"/>
                  </a:cubicBezTo>
                  <a:cubicBezTo>
                    <a:pt x="66" y="731"/>
                    <a:pt x="68" y="727"/>
                    <a:pt x="68" y="720"/>
                  </a:cubicBezTo>
                  <a:cubicBezTo>
                    <a:pt x="68" y="697"/>
                    <a:pt x="68" y="674"/>
                    <a:pt x="68" y="651"/>
                  </a:cubicBezTo>
                  <a:cubicBezTo>
                    <a:pt x="68" y="628"/>
                    <a:pt x="68" y="605"/>
                    <a:pt x="68" y="581"/>
                  </a:cubicBezTo>
                  <a:close/>
                  <a:moveTo>
                    <a:pt x="278" y="1165"/>
                  </a:moveTo>
                  <a:cubicBezTo>
                    <a:pt x="278" y="1183"/>
                    <a:pt x="278" y="1183"/>
                    <a:pt x="296" y="1184"/>
                  </a:cubicBezTo>
                  <a:cubicBezTo>
                    <a:pt x="310" y="1184"/>
                    <a:pt x="310" y="1184"/>
                    <a:pt x="310" y="1169"/>
                  </a:cubicBezTo>
                  <a:cubicBezTo>
                    <a:pt x="310" y="1132"/>
                    <a:pt x="310" y="1095"/>
                    <a:pt x="310" y="1058"/>
                  </a:cubicBezTo>
                  <a:cubicBezTo>
                    <a:pt x="310" y="1052"/>
                    <a:pt x="312" y="1047"/>
                    <a:pt x="316" y="1042"/>
                  </a:cubicBezTo>
                  <a:cubicBezTo>
                    <a:pt x="324" y="1033"/>
                    <a:pt x="334" y="1027"/>
                    <a:pt x="345" y="1024"/>
                  </a:cubicBezTo>
                  <a:cubicBezTo>
                    <a:pt x="357" y="1020"/>
                    <a:pt x="371" y="1018"/>
                    <a:pt x="383" y="1028"/>
                  </a:cubicBezTo>
                  <a:cubicBezTo>
                    <a:pt x="397" y="1039"/>
                    <a:pt x="401" y="1054"/>
                    <a:pt x="401" y="1071"/>
                  </a:cubicBezTo>
                  <a:cubicBezTo>
                    <a:pt x="401" y="1102"/>
                    <a:pt x="401" y="1132"/>
                    <a:pt x="401" y="1163"/>
                  </a:cubicBezTo>
                  <a:cubicBezTo>
                    <a:pt x="401" y="1183"/>
                    <a:pt x="401" y="1182"/>
                    <a:pt x="420" y="1184"/>
                  </a:cubicBezTo>
                  <a:cubicBezTo>
                    <a:pt x="429" y="1185"/>
                    <a:pt x="433" y="1181"/>
                    <a:pt x="433" y="1173"/>
                  </a:cubicBezTo>
                  <a:cubicBezTo>
                    <a:pt x="432" y="1130"/>
                    <a:pt x="435" y="1087"/>
                    <a:pt x="431" y="1044"/>
                  </a:cubicBezTo>
                  <a:cubicBezTo>
                    <a:pt x="427" y="1014"/>
                    <a:pt x="404" y="996"/>
                    <a:pt x="376" y="994"/>
                  </a:cubicBezTo>
                  <a:cubicBezTo>
                    <a:pt x="353" y="992"/>
                    <a:pt x="333" y="1000"/>
                    <a:pt x="317" y="1017"/>
                  </a:cubicBezTo>
                  <a:cubicBezTo>
                    <a:pt x="312" y="1021"/>
                    <a:pt x="311" y="1019"/>
                    <a:pt x="309" y="1015"/>
                  </a:cubicBezTo>
                  <a:cubicBezTo>
                    <a:pt x="309" y="1013"/>
                    <a:pt x="308" y="1011"/>
                    <a:pt x="308" y="1008"/>
                  </a:cubicBezTo>
                  <a:cubicBezTo>
                    <a:pt x="306" y="1001"/>
                    <a:pt x="298" y="997"/>
                    <a:pt x="287" y="998"/>
                  </a:cubicBezTo>
                  <a:cubicBezTo>
                    <a:pt x="279" y="999"/>
                    <a:pt x="278" y="1004"/>
                    <a:pt x="278" y="1011"/>
                  </a:cubicBezTo>
                  <a:cubicBezTo>
                    <a:pt x="278" y="1037"/>
                    <a:pt x="278" y="1064"/>
                    <a:pt x="278" y="1091"/>
                  </a:cubicBezTo>
                  <a:cubicBezTo>
                    <a:pt x="278" y="1115"/>
                    <a:pt x="278" y="1140"/>
                    <a:pt x="278" y="1165"/>
                  </a:cubicBezTo>
                  <a:close/>
                  <a:moveTo>
                    <a:pt x="150" y="705"/>
                  </a:moveTo>
                  <a:cubicBezTo>
                    <a:pt x="150" y="734"/>
                    <a:pt x="145" y="730"/>
                    <a:pt x="176" y="731"/>
                  </a:cubicBezTo>
                  <a:cubicBezTo>
                    <a:pt x="185" y="731"/>
                    <a:pt x="187" y="727"/>
                    <a:pt x="187" y="719"/>
                  </a:cubicBezTo>
                  <a:cubicBezTo>
                    <a:pt x="187" y="685"/>
                    <a:pt x="187" y="651"/>
                    <a:pt x="187" y="618"/>
                  </a:cubicBezTo>
                  <a:cubicBezTo>
                    <a:pt x="187" y="597"/>
                    <a:pt x="204" y="578"/>
                    <a:pt x="225" y="574"/>
                  </a:cubicBezTo>
                  <a:cubicBezTo>
                    <a:pt x="232" y="572"/>
                    <a:pt x="240" y="574"/>
                    <a:pt x="247" y="575"/>
                  </a:cubicBezTo>
                  <a:cubicBezTo>
                    <a:pt x="257" y="576"/>
                    <a:pt x="261" y="572"/>
                    <a:pt x="265" y="564"/>
                  </a:cubicBezTo>
                  <a:cubicBezTo>
                    <a:pt x="269" y="556"/>
                    <a:pt x="267" y="542"/>
                    <a:pt x="261" y="540"/>
                  </a:cubicBezTo>
                  <a:cubicBezTo>
                    <a:pt x="253" y="538"/>
                    <a:pt x="244" y="534"/>
                    <a:pt x="237" y="536"/>
                  </a:cubicBezTo>
                  <a:cubicBezTo>
                    <a:pt x="228" y="537"/>
                    <a:pt x="217" y="537"/>
                    <a:pt x="209" y="544"/>
                  </a:cubicBezTo>
                  <a:cubicBezTo>
                    <a:pt x="204" y="549"/>
                    <a:pt x="198" y="553"/>
                    <a:pt x="194" y="558"/>
                  </a:cubicBezTo>
                  <a:cubicBezTo>
                    <a:pt x="192" y="561"/>
                    <a:pt x="189" y="563"/>
                    <a:pt x="185" y="562"/>
                  </a:cubicBezTo>
                  <a:cubicBezTo>
                    <a:pt x="182" y="561"/>
                    <a:pt x="182" y="558"/>
                    <a:pt x="182" y="556"/>
                  </a:cubicBezTo>
                  <a:cubicBezTo>
                    <a:pt x="180" y="539"/>
                    <a:pt x="179" y="539"/>
                    <a:pt x="162" y="539"/>
                  </a:cubicBezTo>
                  <a:cubicBezTo>
                    <a:pt x="151" y="539"/>
                    <a:pt x="150" y="540"/>
                    <a:pt x="150" y="551"/>
                  </a:cubicBezTo>
                  <a:cubicBezTo>
                    <a:pt x="150" y="579"/>
                    <a:pt x="150" y="607"/>
                    <a:pt x="150" y="635"/>
                  </a:cubicBezTo>
                  <a:cubicBezTo>
                    <a:pt x="150" y="658"/>
                    <a:pt x="149" y="682"/>
                    <a:pt x="150" y="705"/>
                  </a:cubicBezTo>
                  <a:close/>
                  <a:moveTo>
                    <a:pt x="1011" y="1049"/>
                  </a:moveTo>
                  <a:cubicBezTo>
                    <a:pt x="1011" y="1008"/>
                    <a:pt x="1011" y="966"/>
                    <a:pt x="1011" y="924"/>
                  </a:cubicBezTo>
                  <a:cubicBezTo>
                    <a:pt x="1011" y="913"/>
                    <a:pt x="1008" y="910"/>
                    <a:pt x="997" y="910"/>
                  </a:cubicBezTo>
                  <a:cubicBezTo>
                    <a:pt x="995" y="910"/>
                    <a:pt x="992" y="910"/>
                    <a:pt x="990" y="910"/>
                  </a:cubicBezTo>
                  <a:cubicBezTo>
                    <a:pt x="976" y="910"/>
                    <a:pt x="975" y="911"/>
                    <a:pt x="975" y="926"/>
                  </a:cubicBezTo>
                  <a:cubicBezTo>
                    <a:pt x="975" y="1006"/>
                    <a:pt x="975" y="1085"/>
                    <a:pt x="975" y="1165"/>
                  </a:cubicBezTo>
                  <a:cubicBezTo>
                    <a:pt x="975" y="1185"/>
                    <a:pt x="975" y="1185"/>
                    <a:pt x="994" y="1185"/>
                  </a:cubicBezTo>
                  <a:cubicBezTo>
                    <a:pt x="1009" y="1185"/>
                    <a:pt x="1011" y="1184"/>
                    <a:pt x="1011" y="1169"/>
                  </a:cubicBezTo>
                  <a:cubicBezTo>
                    <a:pt x="1011" y="1129"/>
                    <a:pt x="1011" y="1089"/>
                    <a:pt x="1011" y="1049"/>
                  </a:cubicBezTo>
                  <a:cubicBezTo>
                    <a:pt x="1011" y="1049"/>
                    <a:pt x="1011" y="1049"/>
                    <a:pt x="1011" y="1049"/>
                  </a:cubicBezTo>
                  <a:close/>
                  <a:moveTo>
                    <a:pt x="296" y="176"/>
                  </a:moveTo>
                  <a:cubicBezTo>
                    <a:pt x="296" y="201"/>
                    <a:pt x="296" y="226"/>
                    <a:pt x="296" y="251"/>
                  </a:cubicBezTo>
                  <a:cubicBezTo>
                    <a:pt x="295" y="276"/>
                    <a:pt x="296" y="274"/>
                    <a:pt x="318" y="274"/>
                  </a:cubicBezTo>
                  <a:cubicBezTo>
                    <a:pt x="330" y="274"/>
                    <a:pt x="331" y="274"/>
                    <a:pt x="331" y="260"/>
                  </a:cubicBezTo>
                  <a:cubicBezTo>
                    <a:pt x="331" y="232"/>
                    <a:pt x="331" y="204"/>
                    <a:pt x="331" y="176"/>
                  </a:cubicBezTo>
                  <a:cubicBezTo>
                    <a:pt x="331" y="165"/>
                    <a:pt x="331" y="155"/>
                    <a:pt x="337" y="145"/>
                  </a:cubicBezTo>
                  <a:cubicBezTo>
                    <a:pt x="349" y="123"/>
                    <a:pt x="359" y="117"/>
                    <a:pt x="377" y="118"/>
                  </a:cubicBezTo>
                  <a:cubicBezTo>
                    <a:pt x="383" y="118"/>
                    <a:pt x="389" y="119"/>
                    <a:pt x="395" y="120"/>
                  </a:cubicBezTo>
                  <a:cubicBezTo>
                    <a:pt x="401" y="120"/>
                    <a:pt x="407" y="118"/>
                    <a:pt x="408" y="112"/>
                  </a:cubicBezTo>
                  <a:cubicBezTo>
                    <a:pt x="409" y="103"/>
                    <a:pt x="415" y="93"/>
                    <a:pt x="407" y="85"/>
                  </a:cubicBezTo>
                  <a:cubicBezTo>
                    <a:pt x="406" y="84"/>
                    <a:pt x="404" y="84"/>
                    <a:pt x="402" y="84"/>
                  </a:cubicBezTo>
                  <a:cubicBezTo>
                    <a:pt x="376" y="78"/>
                    <a:pt x="353" y="82"/>
                    <a:pt x="337" y="106"/>
                  </a:cubicBezTo>
                  <a:cubicBezTo>
                    <a:pt x="336" y="108"/>
                    <a:pt x="335" y="110"/>
                    <a:pt x="333" y="109"/>
                  </a:cubicBezTo>
                  <a:cubicBezTo>
                    <a:pt x="331" y="109"/>
                    <a:pt x="330" y="107"/>
                    <a:pt x="330" y="105"/>
                  </a:cubicBezTo>
                  <a:cubicBezTo>
                    <a:pt x="329" y="101"/>
                    <a:pt x="329" y="97"/>
                    <a:pt x="328" y="94"/>
                  </a:cubicBezTo>
                  <a:cubicBezTo>
                    <a:pt x="325" y="85"/>
                    <a:pt x="318" y="82"/>
                    <a:pt x="303" y="84"/>
                  </a:cubicBezTo>
                  <a:cubicBezTo>
                    <a:pt x="297" y="84"/>
                    <a:pt x="295" y="86"/>
                    <a:pt x="295" y="92"/>
                  </a:cubicBezTo>
                  <a:cubicBezTo>
                    <a:pt x="296" y="120"/>
                    <a:pt x="295" y="148"/>
                    <a:pt x="295" y="176"/>
                  </a:cubicBezTo>
                  <a:cubicBezTo>
                    <a:pt x="296" y="176"/>
                    <a:pt x="296" y="176"/>
                    <a:pt x="296" y="176"/>
                  </a:cubicBezTo>
                  <a:close/>
                  <a:moveTo>
                    <a:pt x="946" y="179"/>
                  </a:moveTo>
                  <a:cubicBezTo>
                    <a:pt x="946" y="197"/>
                    <a:pt x="946" y="215"/>
                    <a:pt x="946" y="234"/>
                  </a:cubicBezTo>
                  <a:cubicBezTo>
                    <a:pt x="946" y="248"/>
                    <a:pt x="951" y="260"/>
                    <a:pt x="963" y="268"/>
                  </a:cubicBezTo>
                  <a:cubicBezTo>
                    <a:pt x="982" y="280"/>
                    <a:pt x="1011" y="277"/>
                    <a:pt x="1029" y="264"/>
                  </a:cubicBezTo>
                  <a:cubicBezTo>
                    <a:pt x="1036" y="259"/>
                    <a:pt x="1036" y="254"/>
                    <a:pt x="1032" y="248"/>
                  </a:cubicBezTo>
                  <a:cubicBezTo>
                    <a:pt x="1026" y="239"/>
                    <a:pt x="1020" y="238"/>
                    <a:pt x="1013" y="242"/>
                  </a:cubicBezTo>
                  <a:cubicBezTo>
                    <a:pt x="996" y="252"/>
                    <a:pt x="978" y="243"/>
                    <a:pt x="978" y="223"/>
                  </a:cubicBezTo>
                  <a:cubicBezTo>
                    <a:pt x="978" y="190"/>
                    <a:pt x="978" y="157"/>
                    <a:pt x="978" y="123"/>
                  </a:cubicBezTo>
                  <a:cubicBezTo>
                    <a:pt x="978" y="116"/>
                    <a:pt x="981" y="113"/>
                    <a:pt x="988" y="113"/>
                  </a:cubicBezTo>
                  <a:cubicBezTo>
                    <a:pt x="999" y="114"/>
                    <a:pt x="1011" y="113"/>
                    <a:pt x="1022" y="113"/>
                  </a:cubicBezTo>
                  <a:cubicBezTo>
                    <a:pt x="1028" y="113"/>
                    <a:pt x="1033" y="112"/>
                    <a:pt x="1033" y="104"/>
                  </a:cubicBezTo>
                  <a:cubicBezTo>
                    <a:pt x="1033" y="96"/>
                    <a:pt x="1032" y="90"/>
                    <a:pt x="1022" y="90"/>
                  </a:cubicBezTo>
                  <a:cubicBezTo>
                    <a:pt x="1011" y="90"/>
                    <a:pt x="1001" y="90"/>
                    <a:pt x="990" y="90"/>
                  </a:cubicBezTo>
                  <a:cubicBezTo>
                    <a:pt x="981" y="91"/>
                    <a:pt x="977" y="88"/>
                    <a:pt x="978" y="78"/>
                  </a:cubicBezTo>
                  <a:cubicBezTo>
                    <a:pt x="978" y="64"/>
                    <a:pt x="978" y="49"/>
                    <a:pt x="978" y="35"/>
                  </a:cubicBezTo>
                  <a:cubicBezTo>
                    <a:pt x="978" y="30"/>
                    <a:pt x="978" y="25"/>
                    <a:pt x="971" y="24"/>
                  </a:cubicBezTo>
                  <a:cubicBezTo>
                    <a:pt x="964" y="24"/>
                    <a:pt x="956" y="24"/>
                    <a:pt x="955" y="32"/>
                  </a:cubicBezTo>
                  <a:cubicBezTo>
                    <a:pt x="952" y="43"/>
                    <a:pt x="949" y="54"/>
                    <a:pt x="949" y="65"/>
                  </a:cubicBezTo>
                  <a:cubicBezTo>
                    <a:pt x="948" y="88"/>
                    <a:pt x="947" y="88"/>
                    <a:pt x="924" y="91"/>
                  </a:cubicBezTo>
                  <a:cubicBezTo>
                    <a:pt x="919" y="92"/>
                    <a:pt x="914" y="92"/>
                    <a:pt x="914" y="99"/>
                  </a:cubicBezTo>
                  <a:cubicBezTo>
                    <a:pt x="915" y="107"/>
                    <a:pt x="917" y="113"/>
                    <a:pt x="926" y="113"/>
                  </a:cubicBezTo>
                  <a:cubicBezTo>
                    <a:pt x="929" y="114"/>
                    <a:pt x="932" y="113"/>
                    <a:pt x="935" y="113"/>
                  </a:cubicBezTo>
                  <a:cubicBezTo>
                    <a:pt x="943" y="113"/>
                    <a:pt x="946" y="116"/>
                    <a:pt x="946" y="124"/>
                  </a:cubicBezTo>
                  <a:cubicBezTo>
                    <a:pt x="946" y="142"/>
                    <a:pt x="946" y="161"/>
                    <a:pt x="946" y="179"/>
                  </a:cubicBezTo>
                  <a:cubicBezTo>
                    <a:pt x="946" y="179"/>
                    <a:pt x="946" y="179"/>
                    <a:pt x="946" y="179"/>
                  </a:cubicBezTo>
                  <a:close/>
                </a:path>
              </a:pathLst>
            </a:custGeom>
            <a:solidFill>
              <a:srgbClr val="4C505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grpSp>
          <p:nvGrpSpPr>
            <p:cNvPr id="18" name="Group 4">
              <a:extLst>
                <a:ext uri="{FF2B5EF4-FFF2-40B4-BE49-F238E27FC236}">
                  <a16:creationId xmlns:a16="http://schemas.microsoft.com/office/drawing/2014/main" id="{57BD2C4C-DC67-B843-B26C-309622FC75F7}"/>
                </a:ext>
              </a:extLst>
            </p:cNvPr>
            <p:cNvGrpSpPr>
              <a:grpSpLocks noChangeAspect="1"/>
            </p:cNvGrpSpPr>
            <p:nvPr/>
          </p:nvGrpSpPr>
          <p:grpSpPr bwMode="gray">
            <a:xfrm>
              <a:off x="334963" y="296652"/>
              <a:ext cx="538094" cy="540000"/>
              <a:chOff x="2711" y="1027"/>
              <a:chExt cx="2258" cy="2266"/>
            </a:xfrm>
          </p:grpSpPr>
          <p:sp>
            <p:nvSpPr>
              <p:cNvPr id="19" name="AutoShape 3">
                <a:extLst>
                  <a:ext uri="{FF2B5EF4-FFF2-40B4-BE49-F238E27FC236}">
                    <a16:creationId xmlns:a16="http://schemas.microsoft.com/office/drawing/2014/main" id="{FE1DC41B-291E-574C-9F2C-874E70A40758}"/>
                  </a:ext>
                </a:extLst>
              </p:cNvPr>
              <p:cNvSpPr>
                <a:spLocks noChangeAspect="1" noChangeArrowheads="1" noTextEdit="1"/>
              </p:cNvSpPr>
              <p:nvPr/>
            </p:nvSpPr>
            <p:spPr bwMode="gray">
              <a:xfrm>
                <a:off x="2711" y="1027"/>
                <a:ext cx="2258" cy="22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20" name="Freeform 5">
                <a:extLst>
                  <a:ext uri="{FF2B5EF4-FFF2-40B4-BE49-F238E27FC236}">
                    <a16:creationId xmlns:a16="http://schemas.microsoft.com/office/drawing/2014/main" id="{D4B633C8-F761-C54B-9BD2-EB59D49A2DBC}"/>
                  </a:ext>
                </a:extLst>
              </p:cNvPr>
              <p:cNvSpPr>
                <a:spLocks/>
              </p:cNvSpPr>
              <p:nvPr/>
            </p:nvSpPr>
            <p:spPr bwMode="gray">
              <a:xfrm>
                <a:off x="2709" y="1029"/>
                <a:ext cx="2260" cy="2262"/>
              </a:xfrm>
              <a:custGeom>
                <a:avLst/>
                <a:gdLst>
                  <a:gd name="T0" fmla="*/ 2260 w 2260"/>
                  <a:gd name="T1" fmla="*/ 0 h 2262"/>
                  <a:gd name="T2" fmla="*/ 1612 w 2260"/>
                  <a:gd name="T3" fmla="*/ 649 h 2262"/>
                  <a:gd name="T4" fmla="*/ 1612 w 2260"/>
                  <a:gd name="T5" fmla="*/ 649 h 2262"/>
                  <a:gd name="T6" fmla="*/ 2035 w 2260"/>
                  <a:gd name="T7" fmla="*/ 0 h 2262"/>
                  <a:gd name="T8" fmla="*/ 0 w 2260"/>
                  <a:gd name="T9" fmla="*/ 0 h 2262"/>
                  <a:gd name="T10" fmla="*/ 0 w 2260"/>
                  <a:gd name="T11" fmla="*/ 2262 h 2262"/>
                  <a:gd name="T12" fmla="*/ 2260 w 2260"/>
                  <a:gd name="T13" fmla="*/ 2262 h 2262"/>
                  <a:gd name="T14" fmla="*/ 2260 w 2260"/>
                  <a:gd name="T15" fmla="*/ 0 h 2262"/>
                  <a:gd name="T16" fmla="*/ 2260 w 2260"/>
                  <a:gd name="T17" fmla="*/ 0 h 2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0" h="2262">
                    <a:moveTo>
                      <a:pt x="2260" y="0"/>
                    </a:moveTo>
                    <a:lnTo>
                      <a:pt x="1612" y="649"/>
                    </a:lnTo>
                    <a:lnTo>
                      <a:pt x="1612" y="649"/>
                    </a:lnTo>
                    <a:lnTo>
                      <a:pt x="2035" y="0"/>
                    </a:lnTo>
                    <a:lnTo>
                      <a:pt x="0" y="0"/>
                    </a:lnTo>
                    <a:lnTo>
                      <a:pt x="0" y="2262"/>
                    </a:lnTo>
                    <a:lnTo>
                      <a:pt x="2260" y="2262"/>
                    </a:lnTo>
                    <a:lnTo>
                      <a:pt x="2260" y="0"/>
                    </a:lnTo>
                    <a:lnTo>
                      <a:pt x="2260" y="0"/>
                    </a:lnTo>
                    <a:close/>
                  </a:path>
                </a:pathLst>
              </a:custGeom>
              <a:solidFill>
                <a:srgbClr val="E55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21" name="Freeform 6">
                <a:extLst>
                  <a:ext uri="{FF2B5EF4-FFF2-40B4-BE49-F238E27FC236}">
                    <a16:creationId xmlns:a16="http://schemas.microsoft.com/office/drawing/2014/main" id="{B16BAAE4-1A41-C843-9754-490F7A1E1270}"/>
                  </a:ext>
                </a:extLst>
              </p:cNvPr>
              <p:cNvSpPr>
                <a:spLocks noEditPoints="1"/>
              </p:cNvSpPr>
              <p:nvPr/>
            </p:nvSpPr>
            <p:spPr bwMode="gray">
              <a:xfrm>
                <a:off x="3623" y="1696"/>
                <a:ext cx="1167" cy="922"/>
              </a:xfrm>
              <a:custGeom>
                <a:avLst/>
                <a:gdLst>
                  <a:gd name="T0" fmla="*/ 411 w 580"/>
                  <a:gd name="T1" fmla="*/ 213 h 458"/>
                  <a:gd name="T2" fmla="*/ 570 w 580"/>
                  <a:gd name="T3" fmla="*/ 37 h 458"/>
                  <a:gd name="T4" fmla="*/ 580 w 580"/>
                  <a:gd name="T5" fmla="*/ 20 h 458"/>
                  <a:gd name="T6" fmla="*/ 545 w 580"/>
                  <a:gd name="T7" fmla="*/ 0 h 458"/>
                  <a:gd name="T8" fmla="*/ 519 w 580"/>
                  <a:gd name="T9" fmla="*/ 16 h 458"/>
                  <a:gd name="T10" fmla="*/ 344 w 580"/>
                  <a:gd name="T11" fmla="*/ 210 h 458"/>
                  <a:gd name="T12" fmla="*/ 334 w 580"/>
                  <a:gd name="T13" fmla="*/ 229 h 458"/>
                  <a:gd name="T14" fmla="*/ 344 w 580"/>
                  <a:gd name="T15" fmla="*/ 248 h 458"/>
                  <a:gd name="T16" fmla="*/ 519 w 580"/>
                  <a:gd name="T17" fmla="*/ 442 h 458"/>
                  <a:gd name="T18" fmla="*/ 545 w 580"/>
                  <a:gd name="T19" fmla="*/ 458 h 458"/>
                  <a:gd name="T20" fmla="*/ 580 w 580"/>
                  <a:gd name="T21" fmla="*/ 438 h 458"/>
                  <a:gd name="T22" fmla="*/ 570 w 580"/>
                  <a:gd name="T23" fmla="*/ 421 h 458"/>
                  <a:gd name="T24" fmla="*/ 411 w 580"/>
                  <a:gd name="T25" fmla="*/ 245 h 458"/>
                  <a:gd name="T26" fmla="*/ 399 w 580"/>
                  <a:gd name="T27" fmla="*/ 229 h 458"/>
                  <a:gd name="T28" fmla="*/ 411 w 580"/>
                  <a:gd name="T29" fmla="*/ 213 h 458"/>
                  <a:gd name="T30" fmla="*/ 252 w 580"/>
                  <a:gd name="T31" fmla="*/ 439 h 458"/>
                  <a:gd name="T32" fmla="*/ 281 w 580"/>
                  <a:gd name="T33" fmla="*/ 454 h 458"/>
                  <a:gd name="T34" fmla="*/ 309 w 580"/>
                  <a:gd name="T35" fmla="*/ 439 h 458"/>
                  <a:gd name="T36" fmla="*/ 309 w 580"/>
                  <a:gd name="T37" fmla="*/ 19 h 458"/>
                  <a:gd name="T38" fmla="*/ 281 w 580"/>
                  <a:gd name="T39" fmla="*/ 4 h 458"/>
                  <a:gd name="T40" fmla="*/ 252 w 580"/>
                  <a:gd name="T41" fmla="*/ 19 h 458"/>
                  <a:gd name="T42" fmla="*/ 252 w 580"/>
                  <a:gd name="T43" fmla="*/ 439 h 458"/>
                  <a:gd name="T44" fmla="*/ 0 w 580"/>
                  <a:gd name="T45" fmla="*/ 439 h 458"/>
                  <a:gd name="T46" fmla="*/ 28 w 580"/>
                  <a:gd name="T47" fmla="*/ 454 h 458"/>
                  <a:gd name="T48" fmla="*/ 56 w 580"/>
                  <a:gd name="T49" fmla="*/ 439 h 458"/>
                  <a:gd name="T50" fmla="*/ 56 w 580"/>
                  <a:gd name="T51" fmla="*/ 157 h 458"/>
                  <a:gd name="T52" fmla="*/ 165 w 580"/>
                  <a:gd name="T53" fmla="*/ 53 h 458"/>
                  <a:gd name="T54" fmla="*/ 180 w 580"/>
                  <a:gd name="T55" fmla="*/ 53 h 458"/>
                  <a:gd name="T56" fmla="*/ 196 w 580"/>
                  <a:gd name="T57" fmla="*/ 27 h 458"/>
                  <a:gd name="T58" fmla="*/ 154 w 580"/>
                  <a:gd name="T59" fmla="*/ 4 h 458"/>
                  <a:gd name="T60" fmla="*/ 0 w 580"/>
                  <a:gd name="T61" fmla="*/ 152 h 458"/>
                  <a:gd name="T62" fmla="*/ 0 w 580"/>
                  <a:gd name="T63" fmla="*/ 439 h 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80" h="458">
                    <a:moveTo>
                      <a:pt x="411" y="213"/>
                    </a:moveTo>
                    <a:cubicBezTo>
                      <a:pt x="570" y="37"/>
                      <a:pt x="570" y="37"/>
                      <a:pt x="570" y="37"/>
                    </a:cubicBezTo>
                    <a:cubicBezTo>
                      <a:pt x="576" y="30"/>
                      <a:pt x="580" y="25"/>
                      <a:pt x="580" y="20"/>
                    </a:cubicBezTo>
                    <a:cubicBezTo>
                      <a:pt x="580" y="10"/>
                      <a:pt x="559" y="0"/>
                      <a:pt x="545" y="0"/>
                    </a:cubicBezTo>
                    <a:cubicBezTo>
                      <a:pt x="535" y="0"/>
                      <a:pt x="526" y="8"/>
                      <a:pt x="519" y="16"/>
                    </a:cubicBezTo>
                    <a:cubicBezTo>
                      <a:pt x="344" y="210"/>
                      <a:pt x="344" y="210"/>
                      <a:pt x="344" y="210"/>
                    </a:cubicBezTo>
                    <a:cubicBezTo>
                      <a:pt x="336" y="219"/>
                      <a:pt x="334" y="224"/>
                      <a:pt x="334" y="229"/>
                    </a:cubicBezTo>
                    <a:cubicBezTo>
                      <a:pt x="334" y="234"/>
                      <a:pt x="336" y="239"/>
                      <a:pt x="344" y="248"/>
                    </a:cubicBezTo>
                    <a:cubicBezTo>
                      <a:pt x="519" y="442"/>
                      <a:pt x="519" y="442"/>
                      <a:pt x="519" y="442"/>
                    </a:cubicBezTo>
                    <a:cubicBezTo>
                      <a:pt x="526" y="450"/>
                      <a:pt x="535" y="458"/>
                      <a:pt x="545" y="458"/>
                    </a:cubicBezTo>
                    <a:cubicBezTo>
                      <a:pt x="559" y="458"/>
                      <a:pt x="580" y="448"/>
                      <a:pt x="580" y="438"/>
                    </a:cubicBezTo>
                    <a:cubicBezTo>
                      <a:pt x="580" y="433"/>
                      <a:pt x="576" y="428"/>
                      <a:pt x="570" y="421"/>
                    </a:cubicBezTo>
                    <a:cubicBezTo>
                      <a:pt x="411" y="245"/>
                      <a:pt x="411" y="245"/>
                      <a:pt x="411" y="245"/>
                    </a:cubicBezTo>
                    <a:cubicBezTo>
                      <a:pt x="403" y="236"/>
                      <a:pt x="399" y="232"/>
                      <a:pt x="399" y="229"/>
                    </a:cubicBezTo>
                    <a:cubicBezTo>
                      <a:pt x="399" y="226"/>
                      <a:pt x="403" y="222"/>
                      <a:pt x="411" y="213"/>
                    </a:cubicBezTo>
                    <a:moveTo>
                      <a:pt x="252" y="439"/>
                    </a:moveTo>
                    <a:cubicBezTo>
                      <a:pt x="252" y="449"/>
                      <a:pt x="261" y="454"/>
                      <a:pt x="281" y="454"/>
                    </a:cubicBezTo>
                    <a:cubicBezTo>
                      <a:pt x="300" y="454"/>
                      <a:pt x="309" y="449"/>
                      <a:pt x="309" y="439"/>
                    </a:cubicBezTo>
                    <a:cubicBezTo>
                      <a:pt x="309" y="19"/>
                      <a:pt x="309" y="19"/>
                      <a:pt x="309" y="19"/>
                    </a:cubicBezTo>
                    <a:cubicBezTo>
                      <a:pt x="309" y="9"/>
                      <a:pt x="300" y="4"/>
                      <a:pt x="281" y="4"/>
                    </a:cubicBezTo>
                    <a:cubicBezTo>
                      <a:pt x="261" y="4"/>
                      <a:pt x="252" y="9"/>
                      <a:pt x="252" y="19"/>
                    </a:cubicBezTo>
                    <a:lnTo>
                      <a:pt x="252" y="439"/>
                    </a:lnTo>
                    <a:close/>
                    <a:moveTo>
                      <a:pt x="0" y="439"/>
                    </a:moveTo>
                    <a:cubicBezTo>
                      <a:pt x="0" y="449"/>
                      <a:pt x="8" y="454"/>
                      <a:pt x="28" y="454"/>
                    </a:cubicBezTo>
                    <a:cubicBezTo>
                      <a:pt x="48" y="454"/>
                      <a:pt x="56" y="449"/>
                      <a:pt x="56" y="439"/>
                    </a:cubicBezTo>
                    <a:cubicBezTo>
                      <a:pt x="56" y="157"/>
                      <a:pt x="56" y="157"/>
                      <a:pt x="56" y="157"/>
                    </a:cubicBezTo>
                    <a:cubicBezTo>
                      <a:pt x="56" y="83"/>
                      <a:pt x="85" y="53"/>
                      <a:pt x="165" y="53"/>
                    </a:cubicBezTo>
                    <a:cubicBezTo>
                      <a:pt x="180" y="53"/>
                      <a:pt x="180" y="53"/>
                      <a:pt x="180" y="53"/>
                    </a:cubicBezTo>
                    <a:cubicBezTo>
                      <a:pt x="192" y="53"/>
                      <a:pt x="196" y="43"/>
                      <a:pt x="196" y="27"/>
                    </a:cubicBezTo>
                    <a:cubicBezTo>
                      <a:pt x="196" y="8"/>
                      <a:pt x="185" y="4"/>
                      <a:pt x="154" y="4"/>
                    </a:cubicBezTo>
                    <a:cubicBezTo>
                      <a:pt x="64" y="4"/>
                      <a:pt x="0" y="43"/>
                      <a:pt x="0" y="152"/>
                    </a:cubicBezTo>
                    <a:lnTo>
                      <a:pt x="0" y="43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22" name="Freeform 7">
                <a:extLst>
                  <a:ext uri="{FF2B5EF4-FFF2-40B4-BE49-F238E27FC236}">
                    <a16:creationId xmlns:a16="http://schemas.microsoft.com/office/drawing/2014/main" id="{2F32DCBD-8628-F245-85CD-97686A20ECFD}"/>
                  </a:ext>
                </a:extLst>
              </p:cNvPr>
              <p:cNvSpPr>
                <a:spLocks/>
              </p:cNvSpPr>
              <p:nvPr/>
            </p:nvSpPr>
            <p:spPr bwMode="gray">
              <a:xfrm>
                <a:off x="2880" y="1704"/>
                <a:ext cx="618" cy="916"/>
              </a:xfrm>
              <a:custGeom>
                <a:avLst/>
                <a:gdLst>
                  <a:gd name="T0" fmla="*/ 307 w 307"/>
                  <a:gd name="T1" fmla="*/ 405 h 455"/>
                  <a:gd name="T2" fmla="*/ 307 w 307"/>
                  <a:gd name="T3" fmla="*/ 244 h 455"/>
                  <a:gd name="T4" fmla="*/ 279 w 307"/>
                  <a:gd name="T5" fmla="*/ 229 h 455"/>
                  <a:gd name="T6" fmla="*/ 250 w 307"/>
                  <a:gd name="T7" fmla="*/ 244 h 455"/>
                  <a:gd name="T8" fmla="*/ 250 w 307"/>
                  <a:gd name="T9" fmla="*/ 378 h 455"/>
                  <a:gd name="T10" fmla="*/ 199 w 307"/>
                  <a:gd name="T11" fmla="*/ 408 h 455"/>
                  <a:gd name="T12" fmla="*/ 61 w 307"/>
                  <a:gd name="T13" fmla="*/ 231 h 455"/>
                  <a:gd name="T14" fmla="*/ 238 w 307"/>
                  <a:gd name="T15" fmla="*/ 49 h 455"/>
                  <a:gd name="T16" fmla="*/ 270 w 307"/>
                  <a:gd name="T17" fmla="*/ 49 h 455"/>
                  <a:gd name="T18" fmla="*/ 286 w 307"/>
                  <a:gd name="T19" fmla="*/ 23 h 455"/>
                  <a:gd name="T20" fmla="*/ 244 w 307"/>
                  <a:gd name="T21" fmla="*/ 0 h 455"/>
                  <a:gd name="T22" fmla="*/ 231 w 307"/>
                  <a:gd name="T23" fmla="*/ 0 h 455"/>
                  <a:gd name="T24" fmla="*/ 0 w 307"/>
                  <a:gd name="T25" fmla="*/ 232 h 455"/>
                  <a:gd name="T26" fmla="*/ 198 w 307"/>
                  <a:gd name="T27" fmla="*/ 455 h 455"/>
                  <a:gd name="T28" fmla="*/ 307 w 307"/>
                  <a:gd name="T29" fmla="*/ 405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7" h="455">
                    <a:moveTo>
                      <a:pt x="307" y="405"/>
                    </a:moveTo>
                    <a:cubicBezTo>
                      <a:pt x="307" y="244"/>
                      <a:pt x="307" y="244"/>
                      <a:pt x="307" y="244"/>
                    </a:cubicBezTo>
                    <a:cubicBezTo>
                      <a:pt x="307" y="234"/>
                      <a:pt x="298" y="229"/>
                      <a:pt x="279" y="229"/>
                    </a:cubicBezTo>
                    <a:cubicBezTo>
                      <a:pt x="259" y="229"/>
                      <a:pt x="250" y="234"/>
                      <a:pt x="250" y="244"/>
                    </a:cubicBezTo>
                    <a:cubicBezTo>
                      <a:pt x="250" y="378"/>
                      <a:pt x="250" y="378"/>
                      <a:pt x="250" y="378"/>
                    </a:cubicBezTo>
                    <a:cubicBezTo>
                      <a:pt x="250" y="399"/>
                      <a:pt x="241" y="408"/>
                      <a:pt x="199" y="408"/>
                    </a:cubicBezTo>
                    <a:cubicBezTo>
                      <a:pt x="114" y="408"/>
                      <a:pt x="61" y="342"/>
                      <a:pt x="61" y="231"/>
                    </a:cubicBezTo>
                    <a:cubicBezTo>
                      <a:pt x="61" y="115"/>
                      <a:pt x="126" y="49"/>
                      <a:pt x="238" y="49"/>
                    </a:cubicBezTo>
                    <a:cubicBezTo>
                      <a:pt x="270" y="49"/>
                      <a:pt x="270" y="49"/>
                      <a:pt x="270" y="49"/>
                    </a:cubicBezTo>
                    <a:cubicBezTo>
                      <a:pt x="282" y="49"/>
                      <a:pt x="286" y="39"/>
                      <a:pt x="286" y="23"/>
                    </a:cubicBezTo>
                    <a:cubicBezTo>
                      <a:pt x="286" y="4"/>
                      <a:pt x="275" y="0"/>
                      <a:pt x="244" y="0"/>
                    </a:cubicBezTo>
                    <a:cubicBezTo>
                      <a:pt x="231" y="0"/>
                      <a:pt x="231" y="0"/>
                      <a:pt x="231" y="0"/>
                    </a:cubicBezTo>
                    <a:cubicBezTo>
                      <a:pt x="101" y="0"/>
                      <a:pt x="0" y="71"/>
                      <a:pt x="0" y="232"/>
                    </a:cubicBezTo>
                    <a:cubicBezTo>
                      <a:pt x="0" y="386"/>
                      <a:pt x="88" y="455"/>
                      <a:pt x="198" y="455"/>
                    </a:cubicBezTo>
                    <a:cubicBezTo>
                      <a:pt x="286" y="455"/>
                      <a:pt x="307" y="430"/>
                      <a:pt x="307" y="40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23" name="Oval 8">
                <a:extLst>
                  <a:ext uri="{FF2B5EF4-FFF2-40B4-BE49-F238E27FC236}">
                    <a16:creationId xmlns:a16="http://schemas.microsoft.com/office/drawing/2014/main" id="{60D97C11-1A3B-5449-A48D-98A3E79B3810}"/>
                  </a:ext>
                </a:extLst>
              </p:cNvPr>
              <p:cNvSpPr>
                <a:spLocks noChangeArrowheads="1"/>
              </p:cNvSpPr>
              <p:nvPr/>
            </p:nvSpPr>
            <p:spPr bwMode="gray">
              <a:xfrm>
                <a:off x="3778" y="2099"/>
                <a:ext cx="122" cy="12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24" name="Freeform 9">
                <a:extLst>
                  <a:ext uri="{FF2B5EF4-FFF2-40B4-BE49-F238E27FC236}">
                    <a16:creationId xmlns:a16="http://schemas.microsoft.com/office/drawing/2014/main" id="{5856770D-B8F0-244E-A05D-AED190086F10}"/>
                  </a:ext>
                </a:extLst>
              </p:cNvPr>
              <p:cNvSpPr>
                <a:spLocks noEditPoints="1"/>
              </p:cNvSpPr>
              <p:nvPr/>
            </p:nvSpPr>
            <p:spPr bwMode="gray">
              <a:xfrm>
                <a:off x="3623" y="1696"/>
                <a:ext cx="1167" cy="922"/>
              </a:xfrm>
              <a:custGeom>
                <a:avLst/>
                <a:gdLst>
                  <a:gd name="T0" fmla="*/ 411 w 580"/>
                  <a:gd name="T1" fmla="*/ 213 h 458"/>
                  <a:gd name="T2" fmla="*/ 570 w 580"/>
                  <a:gd name="T3" fmla="*/ 37 h 458"/>
                  <a:gd name="T4" fmla="*/ 580 w 580"/>
                  <a:gd name="T5" fmla="*/ 20 h 458"/>
                  <a:gd name="T6" fmla="*/ 545 w 580"/>
                  <a:gd name="T7" fmla="*/ 0 h 458"/>
                  <a:gd name="T8" fmla="*/ 519 w 580"/>
                  <a:gd name="T9" fmla="*/ 16 h 458"/>
                  <a:gd name="T10" fmla="*/ 344 w 580"/>
                  <a:gd name="T11" fmla="*/ 210 h 458"/>
                  <a:gd name="T12" fmla="*/ 334 w 580"/>
                  <a:gd name="T13" fmla="*/ 229 h 458"/>
                  <a:gd name="T14" fmla="*/ 344 w 580"/>
                  <a:gd name="T15" fmla="*/ 248 h 458"/>
                  <a:gd name="T16" fmla="*/ 519 w 580"/>
                  <a:gd name="T17" fmla="*/ 442 h 458"/>
                  <a:gd name="T18" fmla="*/ 545 w 580"/>
                  <a:gd name="T19" fmla="*/ 458 h 458"/>
                  <a:gd name="T20" fmla="*/ 580 w 580"/>
                  <a:gd name="T21" fmla="*/ 438 h 458"/>
                  <a:gd name="T22" fmla="*/ 570 w 580"/>
                  <a:gd name="T23" fmla="*/ 421 h 458"/>
                  <a:gd name="T24" fmla="*/ 411 w 580"/>
                  <a:gd name="T25" fmla="*/ 245 h 458"/>
                  <a:gd name="T26" fmla="*/ 399 w 580"/>
                  <a:gd name="T27" fmla="*/ 229 h 458"/>
                  <a:gd name="T28" fmla="*/ 411 w 580"/>
                  <a:gd name="T29" fmla="*/ 213 h 458"/>
                  <a:gd name="T30" fmla="*/ 252 w 580"/>
                  <a:gd name="T31" fmla="*/ 439 h 458"/>
                  <a:gd name="T32" fmla="*/ 281 w 580"/>
                  <a:gd name="T33" fmla="*/ 454 h 458"/>
                  <a:gd name="T34" fmla="*/ 309 w 580"/>
                  <a:gd name="T35" fmla="*/ 439 h 458"/>
                  <a:gd name="T36" fmla="*/ 309 w 580"/>
                  <a:gd name="T37" fmla="*/ 19 h 458"/>
                  <a:gd name="T38" fmla="*/ 281 w 580"/>
                  <a:gd name="T39" fmla="*/ 4 h 458"/>
                  <a:gd name="T40" fmla="*/ 252 w 580"/>
                  <a:gd name="T41" fmla="*/ 19 h 458"/>
                  <a:gd name="T42" fmla="*/ 252 w 580"/>
                  <a:gd name="T43" fmla="*/ 439 h 458"/>
                  <a:gd name="T44" fmla="*/ 0 w 580"/>
                  <a:gd name="T45" fmla="*/ 439 h 458"/>
                  <a:gd name="T46" fmla="*/ 28 w 580"/>
                  <a:gd name="T47" fmla="*/ 454 h 458"/>
                  <a:gd name="T48" fmla="*/ 56 w 580"/>
                  <a:gd name="T49" fmla="*/ 439 h 458"/>
                  <a:gd name="T50" fmla="*/ 56 w 580"/>
                  <a:gd name="T51" fmla="*/ 157 h 458"/>
                  <a:gd name="T52" fmla="*/ 165 w 580"/>
                  <a:gd name="T53" fmla="*/ 53 h 458"/>
                  <a:gd name="T54" fmla="*/ 180 w 580"/>
                  <a:gd name="T55" fmla="*/ 53 h 458"/>
                  <a:gd name="T56" fmla="*/ 196 w 580"/>
                  <a:gd name="T57" fmla="*/ 27 h 458"/>
                  <a:gd name="T58" fmla="*/ 154 w 580"/>
                  <a:gd name="T59" fmla="*/ 4 h 458"/>
                  <a:gd name="T60" fmla="*/ 0 w 580"/>
                  <a:gd name="T61" fmla="*/ 152 h 458"/>
                  <a:gd name="T62" fmla="*/ 0 w 580"/>
                  <a:gd name="T63" fmla="*/ 439 h 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80" h="458">
                    <a:moveTo>
                      <a:pt x="411" y="213"/>
                    </a:moveTo>
                    <a:cubicBezTo>
                      <a:pt x="570" y="37"/>
                      <a:pt x="570" y="37"/>
                      <a:pt x="570" y="37"/>
                    </a:cubicBezTo>
                    <a:cubicBezTo>
                      <a:pt x="576" y="30"/>
                      <a:pt x="580" y="25"/>
                      <a:pt x="580" y="20"/>
                    </a:cubicBezTo>
                    <a:cubicBezTo>
                      <a:pt x="580" y="10"/>
                      <a:pt x="559" y="0"/>
                      <a:pt x="545" y="0"/>
                    </a:cubicBezTo>
                    <a:cubicBezTo>
                      <a:pt x="535" y="0"/>
                      <a:pt x="526" y="8"/>
                      <a:pt x="519" y="16"/>
                    </a:cubicBezTo>
                    <a:cubicBezTo>
                      <a:pt x="344" y="210"/>
                      <a:pt x="344" y="210"/>
                      <a:pt x="344" y="210"/>
                    </a:cubicBezTo>
                    <a:cubicBezTo>
                      <a:pt x="336" y="219"/>
                      <a:pt x="334" y="224"/>
                      <a:pt x="334" y="229"/>
                    </a:cubicBezTo>
                    <a:cubicBezTo>
                      <a:pt x="334" y="234"/>
                      <a:pt x="336" y="239"/>
                      <a:pt x="344" y="248"/>
                    </a:cubicBezTo>
                    <a:cubicBezTo>
                      <a:pt x="519" y="442"/>
                      <a:pt x="519" y="442"/>
                      <a:pt x="519" y="442"/>
                    </a:cubicBezTo>
                    <a:cubicBezTo>
                      <a:pt x="526" y="450"/>
                      <a:pt x="535" y="458"/>
                      <a:pt x="545" y="458"/>
                    </a:cubicBezTo>
                    <a:cubicBezTo>
                      <a:pt x="559" y="458"/>
                      <a:pt x="580" y="448"/>
                      <a:pt x="580" y="438"/>
                    </a:cubicBezTo>
                    <a:cubicBezTo>
                      <a:pt x="580" y="433"/>
                      <a:pt x="576" y="428"/>
                      <a:pt x="570" y="421"/>
                    </a:cubicBezTo>
                    <a:cubicBezTo>
                      <a:pt x="411" y="245"/>
                      <a:pt x="411" y="245"/>
                      <a:pt x="411" y="245"/>
                    </a:cubicBezTo>
                    <a:cubicBezTo>
                      <a:pt x="403" y="236"/>
                      <a:pt x="399" y="232"/>
                      <a:pt x="399" y="229"/>
                    </a:cubicBezTo>
                    <a:cubicBezTo>
                      <a:pt x="399" y="226"/>
                      <a:pt x="403" y="222"/>
                      <a:pt x="411" y="213"/>
                    </a:cubicBezTo>
                    <a:moveTo>
                      <a:pt x="252" y="439"/>
                    </a:moveTo>
                    <a:cubicBezTo>
                      <a:pt x="252" y="449"/>
                      <a:pt x="261" y="454"/>
                      <a:pt x="281" y="454"/>
                    </a:cubicBezTo>
                    <a:cubicBezTo>
                      <a:pt x="300" y="454"/>
                      <a:pt x="309" y="449"/>
                      <a:pt x="309" y="439"/>
                    </a:cubicBezTo>
                    <a:cubicBezTo>
                      <a:pt x="309" y="19"/>
                      <a:pt x="309" y="19"/>
                      <a:pt x="309" y="19"/>
                    </a:cubicBezTo>
                    <a:cubicBezTo>
                      <a:pt x="309" y="9"/>
                      <a:pt x="300" y="4"/>
                      <a:pt x="281" y="4"/>
                    </a:cubicBezTo>
                    <a:cubicBezTo>
                      <a:pt x="261" y="4"/>
                      <a:pt x="252" y="9"/>
                      <a:pt x="252" y="19"/>
                    </a:cubicBezTo>
                    <a:lnTo>
                      <a:pt x="252" y="439"/>
                    </a:lnTo>
                    <a:close/>
                    <a:moveTo>
                      <a:pt x="0" y="439"/>
                    </a:moveTo>
                    <a:cubicBezTo>
                      <a:pt x="0" y="449"/>
                      <a:pt x="8" y="454"/>
                      <a:pt x="28" y="454"/>
                    </a:cubicBezTo>
                    <a:cubicBezTo>
                      <a:pt x="48" y="454"/>
                      <a:pt x="56" y="449"/>
                      <a:pt x="56" y="439"/>
                    </a:cubicBezTo>
                    <a:cubicBezTo>
                      <a:pt x="56" y="157"/>
                      <a:pt x="56" y="157"/>
                      <a:pt x="56" y="157"/>
                    </a:cubicBezTo>
                    <a:cubicBezTo>
                      <a:pt x="56" y="83"/>
                      <a:pt x="85" y="53"/>
                      <a:pt x="165" y="53"/>
                    </a:cubicBezTo>
                    <a:cubicBezTo>
                      <a:pt x="180" y="53"/>
                      <a:pt x="180" y="53"/>
                      <a:pt x="180" y="53"/>
                    </a:cubicBezTo>
                    <a:cubicBezTo>
                      <a:pt x="192" y="53"/>
                      <a:pt x="196" y="43"/>
                      <a:pt x="196" y="27"/>
                    </a:cubicBezTo>
                    <a:cubicBezTo>
                      <a:pt x="196" y="8"/>
                      <a:pt x="185" y="4"/>
                      <a:pt x="154" y="4"/>
                    </a:cubicBezTo>
                    <a:cubicBezTo>
                      <a:pt x="64" y="4"/>
                      <a:pt x="0" y="43"/>
                      <a:pt x="0" y="152"/>
                    </a:cubicBezTo>
                    <a:lnTo>
                      <a:pt x="0" y="43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25" name="Freeform 10">
                <a:extLst>
                  <a:ext uri="{FF2B5EF4-FFF2-40B4-BE49-F238E27FC236}">
                    <a16:creationId xmlns:a16="http://schemas.microsoft.com/office/drawing/2014/main" id="{2B91B16B-BC11-E547-8FAC-B9B8D18EA449}"/>
                  </a:ext>
                </a:extLst>
              </p:cNvPr>
              <p:cNvSpPr>
                <a:spLocks/>
              </p:cNvSpPr>
              <p:nvPr/>
            </p:nvSpPr>
            <p:spPr bwMode="gray">
              <a:xfrm>
                <a:off x="2880" y="1704"/>
                <a:ext cx="618" cy="916"/>
              </a:xfrm>
              <a:custGeom>
                <a:avLst/>
                <a:gdLst>
                  <a:gd name="T0" fmla="*/ 307 w 307"/>
                  <a:gd name="T1" fmla="*/ 405 h 455"/>
                  <a:gd name="T2" fmla="*/ 307 w 307"/>
                  <a:gd name="T3" fmla="*/ 244 h 455"/>
                  <a:gd name="T4" fmla="*/ 279 w 307"/>
                  <a:gd name="T5" fmla="*/ 229 h 455"/>
                  <a:gd name="T6" fmla="*/ 250 w 307"/>
                  <a:gd name="T7" fmla="*/ 244 h 455"/>
                  <a:gd name="T8" fmla="*/ 250 w 307"/>
                  <a:gd name="T9" fmla="*/ 378 h 455"/>
                  <a:gd name="T10" fmla="*/ 199 w 307"/>
                  <a:gd name="T11" fmla="*/ 408 h 455"/>
                  <a:gd name="T12" fmla="*/ 61 w 307"/>
                  <a:gd name="T13" fmla="*/ 231 h 455"/>
                  <a:gd name="T14" fmla="*/ 238 w 307"/>
                  <a:gd name="T15" fmla="*/ 49 h 455"/>
                  <a:gd name="T16" fmla="*/ 270 w 307"/>
                  <a:gd name="T17" fmla="*/ 49 h 455"/>
                  <a:gd name="T18" fmla="*/ 286 w 307"/>
                  <a:gd name="T19" fmla="*/ 23 h 455"/>
                  <a:gd name="T20" fmla="*/ 244 w 307"/>
                  <a:gd name="T21" fmla="*/ 0 h 455"/>
                  <a:gd name="T22" fmla="*/ 231 w 307"/>
                  <a:gd name="T23" fmla="*/ 0 h 455"/>
                  <a:gd name="T24" fmla="*/ 0 w 307"/>
                  <a:gd name="T25" fmla="*/ 232 h 455"/>
                  <a:gd name="T26" fmla="*/ 198 w 307"/>
                  <a:gd name="T27" fmla="*/ 455 h 455"/>
                  <a:gd name="T28" fmla="*/ 307 w 307"/>
                  <a:gd name="T29" fmla="*/ 405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7" h="455">
                    <a:moveTo>
                      <a:pt x="307" y="405"/>
                    </a:moveTo>
                    <a:cubicBezTo>
                      <a:pt x="307" y="244"/>
                      <a:pt x="307" y="244"/>
                      <a:pt x="307" y="244"/>
                    </a:cubicBezTo>
                    <a:cubicBezTo>
                      <a:pt x="307" y="234"/>
                      <a:pt x="298" y="229"/>
                      <a:pt x="279" y="229"/>
                    </a:cubicBezTo>
                    <a:cubicBezTo>
                      <a:pt x="259" y="229"/>
                      <a:pt x="250" y="234"/>
                      <a:pt x="250" y="244"/>
                    </a:cubicBezTo>
                    <a:cubicBezTo>
                      <a:pt x="250" y="378"/>
                      <a:pt x="250" y="378"/>
                      <a:pt x="250" y="378"/>
                    </a:cubicBezTo>
                    <a:cubicBezTo>
                      <a:pt x="250" y="399"/>
                      <a:pt x="241" y="408"/>
                      <a:pt x="199" y="408"/>
                    </a:cubicBezTo>
                    <a:cubicBezTo>
                      <a:pt x="114" y="408"/>
                      <a:pt x="61" y="342"/>
                      <a:pt x="61" y="231"/>
                    </a:cubicBezTo>
                    <a:cubicBezTo>
                      <a:pt x="61" y="115"/>
                      <a:pt x="126" y="49"/>
                      <a:pt x="238" y="49"/>
                    </a:cubicBezTo>
                    <a:cubicBezTo>
                      <a:pt x="270" y="49"/>
                      <a:pt x="270" y="49"/>
                      <a:pt x="270" y="49"/>
                    </a:cubicBezTo>
                    <a:cubicBezTo>
                      <a:pt x="282" y="49"/>
                      <a:pt x="286" y="39"/>
                      <a:pt x="286" y="23"/>
                    </a:cubicBezTo>
                    <a:cubicBezTo>
                      <a:pt x="286" y="4"/>
                      <a:pt x="275" y="0"/>
                      <a:pt x="244" y="0"/>
                    </a:cubicBezTo>
                    <a:cubicBezTo>
                      <a:pt x="231" y="0"/>
                      <a:pt x="231" y="0"/>
                      <a:pt x="231" y="0"/>
                    </a:cubicBezTo>
                    <a:cubicBezTo>
                      <a:pt x="101" y="0"/>
                      <a:pt x="0" y="71"/>
                      <a:pt x="0" y="232"/>
                    </a:cubicBezTo>
                    <a:cubicBezTo>
                      <a:pt x="0" y="386"/>
                      <a:pt x="88" y="455"/>
                      <a:pt x="198" y="455"/>
                    </a:cubicBezTo>
                    <a:cubicBezTo>
                      <a:pt x="286" y="455"/>
                      <a:pt x="307" y="430"/>
                      <a:pt x="307" y="40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26" name="Oval 11">
                <a:extLst>
                  <a:ext uri="{FF2B5EF4-FFF2-40B4-BE49-F238E27FC236}">
                    <a16:creationId xmlns:a16="http://schemas.microsoft.com/office/drawing/2014/main" id="{14F8C3C8-4888-7646-B9B4-64EB46A1DA23}"/>
                  </a:ext>
                </a:extLst>
              </p:cNvPr>
              <p:cNvSpPr>
                <a:spLocks noChangeArrowheads="1"/>
              </p:cNvSpPr>
              <p:nvPr/>
            </p:nvSpPr>
            <p:spPr bwMode="gray">
              <a:xfrm>
                <a:off x="3778" y="2099"/>
                <a:ext cx="122" cy="12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27" name="Freeform 12">
                <a:extLst>
                  <a:ext uri="{FF2B5EF4-FFF2-40B4-BE49-F238E27FC236}">
                    <a16:creationId xmlns:a16="http://schemas.microsoft.com/office/drawing/2014/main" id="{D79D01D1-4E3E-F34B-97D7-2D387E68746E}"/>
                  </a:ext>
                </a:extLst>
              </p:cNvPr>
              <p:cNvSpPr>
                <a:spLocks/>
              </p:cNvSpPr>
              <p:nvPr/>
            </p:nvSpPr>
            <p:spPr bwMode="gray">
              <a:xfrm>
                <a:off x="4321" y="1029"/>
                <a:ext cx="648" cy="649"/>
              </a:xfrm>
              <a:custGeom>
                <a:avLst/>
                <a:gdLst>
                  <a:gd name="T0" fmla="*/ 0 w 648"/>
                  <a:gd name="T1" fmla="*/ 649 h 649"/>
                  <a:gd name="T2" fmla="*/ 2 w 648"/>
                  <a:gd name="T3" fmla="*/ 649 h 649"/>
                  <a:gd name="T4" fmla="*/ 648 w 648"/>
                  <a:gd name="T5" fmla="*/ 0 h 649"/>
                  <a:gd name="T6" fmla="*/ 423 w 648"/>
                  <a:gd name="T7" fmla="*/ 0 h 649"/>
                  <a:gd name="T8" fmla="*/ 0 w 648"/>
                  <a:gd name="T9" fmla="*/ 649 h 649"/>
                </a:gdLst>
                <a:ahLst/>
                <a:cxnLst>
                  <a:cxn ang="0">
                    <a:pos x="T0" y="T1"/>
                  </a:cxn>
                  <a:cxn ang="0">
                    <a:pos x="T2" y="T3"/>
                  </a:cxn>
                  <a:cxn ang="0">
                    <a:pos x="T4" y="T5"/>
                  </a:cxn>
                  <a:cxn ang="0">
                    <a:pos x="T6" y="T7"/>
                  </a:cxn>
                  <a:cxn ang="0">
                    <a:pos x="T8" y="T9"/>
                  </a:cxn>
                </a:cxnLst>
                <a:rect l="0" t="0" r="r" b="b"/>
                <a:pathLst>
                  <a:path w="648" h="649">
                    <a:moveTo>
                      <a:pt x="0" y="649"/>
                    </a:moveTo>
                    <a:lnTo>
                      <a:pt x="2" y="649"/>
                    </a:lnTo>
                    <a:lnTo>
                      <a:pt x="648" y="0"/>
                    </a:lnTo>
                    <a:lnTo>
                      <a:pt x="423" y="0"/>
                    </a:lnTo>
                    <a:lnTo>
                      <a:pt x="0" y="64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28" name="Freeform 13">
                <a:extLst>
                  <a:ext uri="{FF2B5EF4-FFF2-40B4-BE49-F238E27FC236}">
                    <a16:creationId xmlns:a16="http://schemas.microsoft.com/office/drawing/2014/main" id="{46549898-6C52-B147-A8F6-A73FDBE6163B}"/>
                  </a:ext>
                </a:extLst>
              </p:cNvPr>
              <p:cNvSpPr>
                <a:spLocks/>
              </p:cNvSpPr>
              <p:nvPr/>
            </p:nvSpPr>
            <p:spPr bwMode="gray">
              <a:xfrm>
                <a:off x="4321" y="1029"/>
                <a:ext cx="648" cy="649"/>
              </a:xfrm>
              <a:custGeom>
                <a:avLst/>
                <a:gdLst>
                  <a:gd name="T0" fmla="*/ 0 w 648"/>
                  <a:gd name="T1" fmla="*/ 649 h 649"/>
                  <a:gd name="T2" fmla="*/ 2 w 648"/>
                  <a:gd name="T3" fmla="*/ 649 h 649"/>
                  <a:gd name="T4" fmla="*/ 648 w 648"/>
                  <a:gd name="T5" fmla="*/ 0 h 649"/>
                  <a:gd name="T6" fmla="*/ 423 w 648"/>
                  <a:gd name="T7" fmla="*/ 0 h 649"/>
                  <a:gd name="T8" fmla="*/ 0 w 648"/>
                  <a:gd name="T9" fmla="*/ 649 h 649"/>
                </a:gdLst>
                <a:ahLst/>
                <a:cxnLst>
                  <a:cxn ang="0">
                    <a:pos x="T0" y="T1"/>
                  </a:cxn>
                  <a:cxn ang="0">
                    <a:pos x="T2" y="T3"/>
                  </a:cxn>
                  <a:cxn ang="0">
                    <a:pos x="T4" y="T5"/>
                  </a:cxn>
                  <a:cxn ang="0">
                    <a:pos x="T6" y="T7"/>
                  </a:cxn>
                  <a:cxn ang="0">
                    <a:pos x="T8" y="T9"/>
                  </a:cxn>
                </a:cxnLst>
                <a:rect l="0" t="0" r="r" b="b"/>
                <a:pathLst>
                  <a:path w="648" h="649">
                    <a:moveTo>
                      <a:pt x="0" y="649"/>
                    </a:moveTo>
                    <a:lnTo>
                      <a:pt x="2" y="649"/>
                    </a:lnTo>
                    <a:lnTo>
                      <a:pt x="648" y="0"/>
                    </a:lnTo>
                    <a:lnTo>
                      <a:pt x="423" y="0"/>
                    </a:lnTo>
                    <a:lnTo>
                      <a:pt x="0" y="64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grpSp>
      </p:grpSp>
      <p:sp>
        <p:nvSpPr>
          <p:cNvPr id="7" name="Date Placeholder 6"/>
          <p:cNvSpPr>
            <a:spLocks noGrp="1"/>
          </p:cNvSpPr>
          <p:nvPr>
            <p:ph type="dt" sz="half" idx="10"/>
          </p:nvPr>
        </p:nvSpPr>
        <p:spPr>
          <a:xfrm>
            <a:off x="0" y="0"/>
            <a:ext cx="0" cy="0"/>
          </a:xfrm>
          <a:prstGeom prst="rect">
            <a:avLst/>
          </a:prstGeom>
        </p:spPr>
        <p:txBody>
          <a:bodyPr/>
          <a:lstStyle>
            <a:lvl1pPr>
              <a:defRPr sz="100">
                <a:noFill/>
              </a:defRPr>
            </a:lvl1pPr>
          </a:lstStyle>
          <a:p>
            <a:endParaRPr lang="en-US"/>
          </a:p>
        </p:txBody>
      </p:sp>
      <p:sp>
        <p:nvSpPr>
          <p:cNvPr id="8" name="Footer Placeholder 7"/>
          <p:cNvSpPr>
            <a:spLocks noGrp="1"/>
          </p:cNvSpPr>
          <p:nvPr>
            <p:ph type="ftr" sz="quarter" idx="11"/>
          </p:nvPr>
        </p:nvSpPr>
        <p:spPr>
          <a:xfrm>
            <a:off x="0" y="0"/>
            <a:ext cx="0" cy="0"/>
          </a:xfrm>
          <a:prstGeom prst="rect">
            <a:avLst/>
          </a:prstGeom>
        </p:spPr>
        <p:txBody>
          <a:bodyPr/>
          <a:lstStyle>
            <a:lvl1pPr marL="0" indent="0">
              <a:buNone/>
              <a:defRPr sz="100">
                <a:noFill/>
              </a:defRPr>
            </a:lvl1pPr>
          </a:lstStyle>
          <a:p>
            <a:endParaRPr lang="en-US"/>
          </a:p>
        </p:txBody>
      </p:sp>
      <p:sp>
        <p:nvSpPr>
          <p:cNvPr id="9" name="Slide Number Placeholder 8"/>
          <p:cNvSpPr>
            <a:spLocks noGrp="1"/>
          </p:cNvSpPr>
          <p:nvPr>
            <p:ph type="sldNum" sz="quarter" idx="12"/>
          </p:nvPr>
        </p:nvSpPr>
        <p:spPr>
          <a:xfrm>
            <a:off x="0" y="0"/>
            <a:ext cx="0" cy="0"/>
          </a:xfrm>
          <a:prstGeom prst="rect">
            <a:avLst/>
          </a:prstGeom>
        </p:spPr>
        <p:txBody>
          <a:bodyPr/>
          <a:lstStyle>
            <a:lvl1pPr>
              <a:defRPr sz="100">
                <a:noFill/>
              </a:defRPr>
            </a:lvl1pPr>
          </a:lstStyle>
          <a:p>
            <a:fld id="{8E3B25F7-8D1F-44B5-B485-EE3C438CFD7B}" type="slidenum">
              <a:rPr lang="en-US" smtClean="0"/>
              <a:pPr/>
              <a:t>‹#›</a:t>
            </a:fld>
            <a:endParaRPr lang="en-US"/>
          </a:p>
        </p:txBody>
      </p:sp>
      <p:sp>
        <p:nvSpPr>
          <p:cNvPr id="2" name="Title 1"/>
          <p:cNvSpPr>
            <a:spLocks noGrp="1"/>
          </p:cNvSpPr>
          <p:nvPr>
            <p:ph type="ctrTitle" hasCustomPrompt="1"/>
          </p:nvPr>
        </p:nvSpPr>
        <p:spPr>
          <a:xfrm>
            <a:off x="417600" y="1628775"/>
            <a:ext cx="3816000" cy="2236264"/>
          </a:xfrm>
        </p:spPr>
        <p:txBody>
          <a:bodyPr anchor="b"/>
          <a:lstStyle>
            <a:lvl1pPr algn="l">
              <a:defRPr sz="3600" baseline="0"/>
            </a:lvl1pPr>
          </a:lstStyle>
          <a:p>
            <a:r>
              <a:rPr lang="en-US"/>
              <a:t>Click to add presentation title</a:t>
            </a:r>
          </a:p>
        </p:txBody>
      </p:sp>
      <p:sp>
        <p:nvSpPr>
          <p:cNvPr id="3" name="Subtitle 2"/>
          <p:cNvSpPr>
            <a:spLocks noGrp="1"/>
          </p:cNvSpPr>
          <p:nvPr>
            <p:ph type="subTitle" idx="1" hasCustomPrompt="1"/>
          </p:nvPr>
        </p:nvSpPr>
        <p:spPr>
          <a:xfrm>
            <a:off x="417600" y="4094163"/>
            <a:ext cx="3816000" cy="1080000"/>
          </a:xfrm>
        </p:spPr>
        <p:txBody>
          <a:bodyPr/>
          <a:lstStyle>
            <a:lvl1pPr marL="0" indent="0" algn="l">
              <a:spcBef>
                <a:spcPts val="0"/>
              </a:spcBef>
              <a:buNone/>
              <a:defRPr sz="1800" b="1"/>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sp>
        <p:nvSpPr>
          <p:cNvPr id="31" name="Text Placeholder 30"/>
          <p:cNvSpPr>
            <a:spLocks noGrp="1"/>
          </p:cNvSpPr>
          <p:nvPr>
            <p:ph type="body" sz="quarter" idx="14" hasCustomPrompt="1"/>
          </p:nvPr>
        </p:nvSpPr>
        <p:spPr>
          <a:xfrm>
            <a:off x="417600" y="5393268"/>
            <a:ext cx="3816000" cy="296332"/>
          </a:xfrm>
        </p:spPr>
        <p:txBody>
          <a:bodyPr wrap="none"/>
          <a:lstStyle>
            <a:lvl1pPr marL="0" indent="0">
              <a:spcBef>
                <a:spcPts val="0"/>
              </a:spcBef>
              <a:buNone/>
              <a:defRPr sz="1200"/>
            </a:lvl1pPr>
            <a:lvl2pPr marL="0" indent="0">
              <a:buNone/>
              <a:defRPr sz="1200"/>
            </a:lvl2pPr>
            <a:lvl3pPr marL="0" indent="0">
              <a:buNone/>
              <a:defRPr sz="1200"/>
            </a:lvl3pPr>
            <a:lvl4pPr marL="0">
              <a:buNone/>
              <a:defRPr sz="1200"/>
            </a:lvl4pPr>
            <a:lvl5pPr marL="0" indent="0">
              <a:buNone/>
              <a:defRPr sz="1200"/>
            </a:lvl5pPr>
          </a:lstStyle>
          <a:p>
            <a:pPr lvl="0"/>
            <a:r>
              <a:rPr lang="en-US"/>
              <a:t>Name</a:t>
            </a:r>
          </a:p>
        </p:txBody>
      </p:sp>
      <p:sp>
        <p:nvSpPr>
          <p:cNvPr id="34" name="Text Placeholder 30"/>
          <p:cNvSpPr>
            <a:spLocks noGrp="1"/>
          </p:cNvSpPr>
          <p:nvPr>
            <p:ph type="body" sz="quarter" idx="15" hasCustomPrompt="1"/>
          </p:nvPr>
        </p:nvSpPr>
        <p:spPr>
          <a:xfrm>
            <a:off x="417600" y="5691446"/>
            <a:ext cx="3816000" cy="296332"/>
          </a:xfrm>
        </p:spPr>
        <p:txBody>
          <a:bodyPr wrap="none"/>
          <a:lstStyle>
            <a:lvl1pPr marL="0" indent="0">
              <a:spcBef>
                <a:spcPts val="0"/>
              </a:spcBef>
              <a:buNone/>
              <a:defRPr sz="1200"/>
            </a:lvl1pPr>
            <a:lvl2pPr marL="0" indent="0">
              <a:buNone/>
              <a:defRPr sz="1200"/>
            </a:lvl2pPr>
            <a:lvl3pPr marL="0" indent="0">
              <a:buNone/>
              <a:defRPr sz="1200"/>
            </a:lvl3pPr>
            <a:lvl4pPr marL="0">
              <a:buNone/>
              <a:defRPr sz="1200"/>
            </a:lvl4pPr>
            <a:lvl5pPr marL="0" indent="0">
              <a:buNone/>
              <a:defRPr sz="1200"/>
            </a:lvl5pPr>
          </a:lstStyle>
          <a:p>
            <a:pPr lvl="0"/>
            <a:r>
              <a:rPr lang="en-US"/>
              <a:t>Department</a:t>
            </a:r>
          </a:p>
        </p:txBody>
      </p:sp>
    </p:spTree>
    <p:extLst>
      <p:ext uri="{BB962C8B-B14F-4D97-AF65-F5344CB8AC3E}">
        <p14:creationId xmlns:p14="http://schemas.microsoft.com/office/powerpoint/2010/main" val="1032027045"/>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p:cSld name="Title 2">
    <p:spTree>
      <p:nvGrpSpPr>
        <p:cNvPr id="1" name=""/>
        <p:cNvGrpSpPr/>
        <p:nvPr/>
      </p:nvGrpSpPr>
      <p:grpSpPr>
        <a:xfrm>
          <a:off x="0" y="0"/>
          <a:ext cx="0" cy="0"/>
          <a:chOff x="0" y="0"/>
          <a:chExt cx="0" cy="0"/>
        </a:xfrm>
      </p:grpSpPr>
      <p:pic>
        <p:nvPicPr>
          <p:cNvPr id="29" name="picture">
            <a:extLst>
              <a:ext uri="{FF2B5EF4-FFF2-40B4-BE49-F238E27FC236}">
                <a16:creationId xmlns:a16="http://schemas.microsoft.com/office/drawing/2014/main" id="{8BF907F5-A9CD-2740-AF54-6BACB62334AE}"/>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2620212" y="-8808"/>
            <a:ext cx="9697299" cy="6866807"/>
          </a:xfrm>
          <a:prstGeom prst="rect">
            <a:avLst/>
          </a:prstGeom>
        </p:spPr>
      </p:pic>
      <p:sp>
        <p:nvSpPr>
          <p:cNvPr id="32" name="shpPicture"/>
          <p:cNvSpPr/>
          <p:nvPr/>
        </p:nvSpPr>
        <p:spPr>
          <a:xfrm>
            <a:off x="1" y="0"/>
            <a:ext cx="4112145" cy="6858000"/>
          </a:xfrm>
          <a:custGeom>
            <a:avLst/>
            <a:gdLst>
              <a:gd name="connsiteX0" fmla="*/ 0 w 4112145"/>
              <a:gd name="connsiteY0" fmla="*/ 0 h 6858000"/>
              <a:gd name="connsiteX1" fmla="*/ 2588964 w 4112145"/>
              <a:gd name="connsiteY1" fmla="*/ 0 h 6858000"/>
              <a:gd name="connsiteX2" fmla="*/ 4112145 w 4112145"/>
              <a:gd name="connsiteY2" fmla="*/ 3083531 h 6858000"/>
              <a:gd name="connsiteX3" fmla="*/ 2697661 w 4112145"/>
              <a:gd name="connsiteY3" fmla="*/ 6858000 h 6858000"/>
              <a:gd name="connsiteX4" fmla="*/ 0 w 4112145"/>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12145" h="6858000">
                <a:moveTo>
                  <a:pt x="0" y="0"/>
                </a:moveTo>
                <a:lnTo>
                  <a:pt x="2588964" y="0"/>
                </a:lnTo>
                <a:lnTo>
                  <a:pt x="4112145" y="3083531"/>
                </a:lnTo>
                <a:lnTo>
                  <a:pt x="2697661"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US" sz="1600"/>
          </a:p>
        </p:txBody>
      </p:sp>
      <p:grpSp>
        <p:nvGrpSpPr>
          <p:cNvPr id="14" name="logo">
            <a:extLst>
              <a:ext uri="{FF2B5EF4-FFF2-40B4-BE49-F238E27FC236}">
                <a16:creationId xmlns:a16="http://schemas.microsoft.com/office/drawing/2014/main" id="{18C26D95-70F8-8A4D-9F18-DCCB92522AF8}"/>
              </a:ext>
            </a:extLst>
          </p:cNvPr>
          <p:cNvGrpSpPr/>
          <p:nvPr/>
        </p:nvGrpSpPr>
        <p:grpSpPr bwMode="gray">
          <a:xfrm>
            <a:off x="417363" y="407485"/>
            <a:ext cx="1518585" cy="646507"/>
            <a:chOff x="334963" y="296652"/>
            <a:chExt cx="1268411" cy="540000"/>
          </a:xfrm>
        </p:grpSpPr>
        <p:sp>
          <p:nvSpPr>
            <p:cNvPr id="17" name="Freeform 6">
              <a:extLst>
                <a:ext uri="{FF2B5EF4-FFF2-40B4-BE49-F238E27FC236}">
                  <a16:creationId xmlns:a16="http://schemas.microsoft.com/office/drawing/2014/main" id="{08737AD0-E375-E445-97E6-CD2E2DF60620}"/>
                </a:ext>
              </a:extLst>
            </p:cNvPr>
            <p:cNvSpPr>
              <a:spLocks noEditPoints="1"/>
            </p:cNvSpPr>
            <p:nvPr/>
          </p:nvSpPr>
          <p:spPr bwMode="gray">
            <a:xfrm>
              <a:off x="982662" y="360462"/>
              <a:ext cx="620712" cy="431800"/>
            </a:xfrm>
            <a:custGeom>
              <a:avLst/>
              <a:gdLst>
                <a:gd name="T0" fmla="*/ 19 w 1809"/>
                <a:gd name="T1" fmla="*/ 97 h 1253"/>
                <a:gd name="T2" fmla="*/ 165 w 1809"/>
                <a:gd name="T3" fmla="*/ 41 h 1253"/>
                <a:gd name="T4" fmla="*/ 211 w 1809"/>
                <a:gd name="T5" fmla="*/ 224 h 1253"/>
                <a:gd name="T6" fmla="*/ 248 w 1809"/>
                <a:gd name="T7" fmla="*/ 155 h 1253"/>
                <a:gd name="T8" fmla="*/ 931 w 1809"/>
                <a:gd name="T9" fmla="*/ 995 h 1253"/>
                <a:gd name="T10" fmla="*/ 858 w 1809"/>
                <a:gd name="T11" fmla="*/ 1115 h 1253"/>
                <a:gd name="T12" fmla="*/ 749 w 1809"/>
                <a:gd name="T13" fmla="*/ 1117 h 1253"/>
                <a:gd name="T14" fmla="*/ 681 w 1809"/>
                <a:gd name="T15" fmla="*/ 1055 h 1253"/>
                <a:gd name="T16" fmla="*/ 800 w 1809"/>
                <a:gd name="T17" fmla="*/ 1054 h 1253"/>
                <a:gd name="T18" fmla="*/ 884 w 1809"/>
                <a:gd name="T19" fmla="*/ 1181 h 1253"/>
                <a:gd name="T20" fmla="*/ 118 w 1809"/>
                <a:gd name="T21" fmla="*/ 1086 h 1253"/>
                <a:gd name="T22" fmla="*/ 147 w 1809"/>
                <a:gd name="T23" fmla="*/ 1026 h 1253"/>
                <a:gd name="T24" fmla="*/ 102 w 1809"/>
                <a:gd name="T25" fmla="*/ 1026 h 1253"/>
                <a:gd name="T26" fmla="*/ 639 w 1809"/>
                <a:gd name="T27" fmla="*/ 84 h 1253"/>
                <a:gd name="T28" fmla="*/ 763 w 1809"/>
                <a:gd name="T29" fmla="*/ 145 h 1253"/>
                <a:gd name="T30" fmla="*/ 863 w 1809"/>
                <a:gd name="T31" fmla="*/ 221 h 1253"/>
                <a:gd name="T32" fmla="*/ 834 w 1809"/>
                <a:gd name="T33" fmla="*/ 208 h 1253"/>
                <a:gd name="T34" fmla="*/ 719 w 1809"/>
                <a:gd name="T35" fmla="*/ 182 h 1253"/>
                <a:gd name="T36" fmla="*/ 507 w 1809"/>
                <a:gd name="T37" fmla="*/ 711 h 1253"/>
                <a:gd name="T38" fmla="*/ 614 w 1809"/>
                <a:gd name="T39" fmla="*/ 706 h 1253"/>
                <a:gd name="T40" fmla="*/ 736 w 1809"/>
                <a:gd name="T41" fmla="*/ 730 h 1253"/>
                <a:gd name="T42" fmla="*/ 607 w 1809"/>
                <a:gd name="T43" fmla="*/ 539 h 1253"/>
                <a:gd name="T44" fmla="*/ 1505 w 1809"/>
                <a:gd name="T45" fmla="*/ 1136 h 1253"/>
                <a:gd name="T46" fmla="*/ 1613 w 1809"/>
                <a:gd name="T47" fmla="*/ 1002 h 1253"/>
                <a:gd name="T48" fmla="*/ 1472 w 1809"/>
                <a:gd name="T49" fmla="*/ 1164 h 1253"/>
                <a:gd name="T50" fmla="*/ 1525 w 1809"/>
                <a:gd name="T51" fmla="*/ 1142 h 1253"/>
                <a:gd name="T52" fmla="*/ 1556 w 1809"/>
                <a:gd name="T53" fmla="*/ 1172 h 1253"/>
                <a:gd name="T54" fmla="*/ 1387 w 1809"/>
                <a:gd name="T55" fmla="*/ 910 h 1253"/>
                <a:gd name="T56" fmla="*/ 1261 w 1809"/>
                <a:gd name="T57" fmla="*/ 1157 h 1253"/>
                <a:gd name="T58" fmla="*/ 1413 w 1809"/>
                <a:gd name="T59" fmla="*/ 934 h 1253"/>
                <a:gd name="T60" fmla="*/ 1378 w 1809"/>
                <a:gd name="T61" fmla="*/ 1052 h 1253"/>
                <a:gd name="T62" fmla="*/ 488 w 1809"/>
                <a:gd name="T63" fmla="*/ 85 h 1253"/>
                <a:gd name="T64" fmla="*/ 509 w 1809"/>
                <a:gd name="T65" fmla="*/ 112 h 1253"/>
                <a:gd name="T66" fmla="*/ 548 w 1809"/>
                <a:gd name="T67" fmla="*/ 1187 h 1253"/>
                <a:gd name="T68" fmla="*/ 472 w 1809"/>
                <a:gd name="T69" fmla="*/ 1122 h 1253"/>
                <a:gd name="T70" fmla="*/ 558 w 1809"/>
                <a:gd name="T71" fmla="*/ 1157 h 1253"/>
                <a:gd name="T72" fmla="*/ 287 w 1809"/>
                <a:gd name="T73" fmla="*/ 654 h 1253"/>
                <a:gd name="T74" fmla="*/ 416 w 1809"/>
                <a:gd name="T75" fmla="*/ 684 h 1253"/>
                <a:gd name="T76" fmla="*/ 1106 w 1809"/>
                <a:gd name="T77" fmla="*/ 147 h 1253"/>
                <a:gd name="T78" fmla="*/ 1229 w 1809"/>
                <a:gd name="T79" fmla="*/ 258 h 1253"/>
                <a:gd name="T80" fmla="*/ 1106 w 1809"/>
                <a:gd name="T81" fmla="*/ 96 h 1253"/>
                <a:gd name="T82" fmla="*/ 1219 w 1809"/>
                <a:gd name="T83" fmla="*/ 1077 h 1253"/>
                <a:gd name="T84" fmla="*/ 1214 w 1809"/>
                <a:gd name="T85" fmla="*/ 1157 h 1253"/>
                <a:gd name="T86" fmla="*/ 1150 w 1809"/>
                <a:gd name="T87" fmla="*/ 1092 h 1253"/>
                <a:gd name="T88" fmla="*/ 1139 w 1809"/>
                <a:gd name="T89" fmla="*/ 1070 h 1253"/>
                <a:gd name="T90" fmla="*/ 1659 w 1809"/>
                <a:gd name="T91" fmla="*/ 1031 h 1253"/>
                <a:gd name="T92" fmla="*/ 1714 w 1809"/>
                <a:gd name="T93" fmla="*/ 1155 h 1253"/>
                <a:gd name="T94" fmla="*/ 1760 w 1809"/>
                <a:gd name="T95" fmla="*/ 1030 h 1253"/>
                <a:gd name="T96" fmla="*/ 111 w 1809"/>
                <a:gd name="T97" fmla="*/ 569 h 1253"/>
                <a:gd name="T98" fmla="*/ 109 w 1809"/>
                <a:gd name="T99" fmla="*/ 460 h 1253"/>
                <a:gd name="T100" fmla="*/ 32 w 1809"/>
                <a:gd name="T101" fmla="*/ 704 h 1253"/>
                <a:gd name="T102" fmla="*/ 310 w 1809"/>
                <a:gd name="T103" fmla="*/ 1058 h 1253"/>
                <a:gd name="T104" fmla="*/ 431 w 1809"/>
                <a:gd name="T105" fmla="*/ 1044 h 1253"/>
                <a:gd name="T106" fmla="*/ 278 w 1809"/>
                <a:gd name="T107" fmla="*/ 1165 h 1253"/>
                <a:gd name="T108" fmla="*/ 261 w 1809"/>
                <a:gd name="T109" fmla="*/ 540 h 1253"/>
                <a:gd name="T110" fmla="*/ 150 w 1809"/>
                <a:gd name="T111" fmla="*/ 635 h 1253"/>
                <a:gd name="T112" fmla="*/ 994 w 1809"/>
                <a:gd name="T113" fmla="*/ 1185 h 1253"/>
                <a:gd name="T114" fmla="*/ 331 w 1809"/>
                <a:gd name="T115" fmla="*/ 176 h 1253"/>
                <a:gd name="T116" fmla="*/ 333 w 1809"/>
                <a:gd name="T117" fmla="*/ 109 h 1253"/>
                <a:gd name="T118" fmla="*/ 946 w 1809"/>
                <a:gd name="T119" fmla="*/ 234 h 1253"/>
                <a:gd name="T120" fmla="*/ 1022 w 1809"/>
                <a:gd name="T121" fmla="*/ 113 h 1253"/>
                <a:gd name="T122" fmla="*/ 949 w 1809"/>
                <a:gd name="T123" fmla="*/ 65 h 1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09" h="1253">
                  <a:moveTo>
                    <a:pt x="248" y="198"/>
                  </a:moveTo>
                  <a:cubicBezTo>
                    <a:pt x="248" y="211"/>
                    <a:pt x="248" y="224"/>
                    <a:pt x="249" y="237"/>
                  </a:cubicBezTo>
                  <a:cubicBezTo>
                    <a:pt x="249" y="245"/>
                    <a:pt x="246" y="249"/>
                    <a:pt x="240" y="253"/>
                  </a:cubicBezTo>
                  <a:cubicBezTo>
                    <a:pt x="231" y="260"/>
                    <a:pt x="220" y="264"/>
                    <a:pt x="209" y="268"/>
                  </a:cubicBezTo>
                  <a:cubicBezTo>
                    <a:pt x="179" y="279"/>
                    <a:pt x="148" y="280"/>
                    <a:pt x="118" y="275"/>
                  </a:cubicBezTo>
                  <a:cubicBezTo>
                    <a:pt x="86" y="269"/>
                    <a:pt x="58" y="252"/>
                    <a:pt x="39" y="224"/>
                  </a:cubicBezTo>
                  <a:cubicBezTo>
                    <a:pt x="24" y="203"/>
                    <a:pt x="18" y="180"/>
                    <a:pt x="15" y="155"/>
                  </a:cubicBezTo>
                  <a:cubicBezTo>
                    <a:pt x="11" y="135"/>
                    <a:pt x="15" y="115"/>
                    <a:pt x="19" y="97"/>
                  </a:cubicBezTo>
                  <a:cubicBezTo>
                    <a:pt x="26" y="68"/>
                    <a:pt x="42" y="44"/>
                    <a:pt x="68" y="27"/>
                  </a:cubicBezTo>
                  <a:cubicBezTo>
                    <a:pt x="87" y="14"/>
                    <a:pt x="109" y="6"/>
                    <a:pt x="133" y="5"/>
                  </a:cubicBezTo>
                  <a:cubicBezTo>
                    <a:pt x="149" y="4"/>
                    <a:pt x="165" y="5"/>
                    <a:pt x="181" y="6"/>
                  </a:cubicBezTo>
                  <a:cubicBezTo>
                    <a:pt x="204" y="8"/>
                    <a:pt x="225" y="20"/>
                    <a:pt x="243" y="35"/>
                  </a:cubicBezTo>
                  <a:cubicBezTo>
                    <a:pt x="246" y="37"/>
                    <a:pt x="246" y="40"/>
                    <a:pt x="244" y="43"/>
                  </a:cubicBezTo>
                  <a:cubicBezTo>
                    <a:pt x="242" y="47"/>
                    <a:pt x="239" y="52"/>
                    <a:pt x="236" y="55"/>
                  </a:cubicBezTo>
                  <a:cubicBezTo>
                    <a:pt x="226" y="65"/>
                    <a:pt x="224" y="65"/>
                    <a:pt x="206" y="54"/>
                  </a:cubicBezTo>
                  <a:cubicBezTo>
                    <a:pt x="193" y="46"/>
                    <a:pt x="180" y="40"/>
                    <a:pt x="165" y="41"/>
                  </a:cubicBezTo>
                  <a:cubicBezTo>
                    <a:pt x="151" y="41"/>
                    <a:pt x="137" y="39"/>
                    <a:pt x="124" y="42"/>
                  </a:cubicBezTo>
                  <a:cubicBezTo>
                    <a:pt x="104" y="46"/>
                    <a:pt x="87" y="57"/>
                    <a:pt x="75" y="74"/>
                  </a:cubicBezTo>
                  <a:cubicBezTo>
                    <a:pt x="56" y="99"/>
                    <a:pt x="51" y="129"/>
                    <a:pt x="55" y="159"/>
                  </a:cubicBezTo>
                  <a:cubicBezTo>
                    <a:pt x="60" y="189"/>
                    <a:pt x="73" y="214"/>
                    <a:pt x="98" y="230"/>
                  </a:cubicBezTo>
                  <a:cubicBezTo>
                    <a:pt x="109" y="237"/>
                    <a:pt x="121" y="242"/>
                    <a:pt x="135" y="241"/>
                  </a:cubicBezTo>
                  <a:cubicBezTo>
                    <a:pt x="146" y="241"/>
                    <a:pt x="158" y="241"/>
                    <a:pt x="169" y="241"/>
                  </a:cubicBezTo>
                  <a:cubicBezTo>
                    <a:pt x="182" y="242"/>
                    <a:pt x="193" y="235"/>
                    <a:pt x="205" y="232"/>
                  </a:cubicBezTo>
                  <a:cubicBezTo>
                    <a:pt x="210" y="231"/>
                    <a:pt x="211" y="227"/>
                    <a:pt x="211" y="224"/>
                  </a:cubicBezTo>
                  <a:cubicBezTo>
                    <a:pt x="211" y="210"/>
                    <a:pt x="211" y="196"/>
                    <a:pt x="211" y="183"/>
                  </a:cubicBezTo>
                  <a:cubicBezTo>
                    <a:pt x="211" y="177"/>
                    <a:pt x="207" y="175"/>
                    <a:pt x="202" y="175"/>
                  </a:cubicBezTo>
                  <a:cubicBezTo>
                    <a:pt x="193" y="175"/>
                    <a:pt x="184" y="175"/>
                    <a:pt x="175" y="175"/>
                  </a:cubicBezTo>
                  <a:cubicBezTo>
                    <a:pt x="171" y="175"/>
                    <a:pt x="168" y="174"/>
                    <a:pt x="166" y="171"/>
                  </a:cubicBezTo>
                  <a:cubicBezTo>
                    <a:pt x="163" y="163"/>
                    <a:pt x="164" y="154"/>
                    <a:pt x="166" y="146"/>
                  </a:cubicBezTo>
                  <a:cubicBezTo>
                    <a:pt x="167" y="142"/>
                    <a:pt x="171" y="142"/>
                    <a:pt x="175" y="142"/>
                  </a:cubicBezTo>
                  <a:cubicBezTo>
                    <a:pt x="196" y="142"/>
                    <a:pt x="217" y="142"/>
                    <a:pt x="238" y="142"/>
                  </a:cubicBezTo>
                  <a:cubicBezTo>
                    <a:pt x="247" y="142"/>
                    <a:pt x="248" y="148"/>
                    <a:pt x="248" y="155"/>
                  </a:cubicBezTo>
                  <a:cubicBezTo>
                    <a:pt x="249" y="169"/>
                    <a:pt x="248" y="183"/>
                    <a:pt x="248" y="198"/>
                  </a:cubicBezTo>
                  <a:close/>
                  <a:moveTo>
                    <a:pt x="884" y="1181"/>
                  </a:moveTo>
                  <a:cubicBezTo>
                    <a:pt x="889" y="1167"/>
                    <a:pt x="894" y="1152"/>
                    <a:pt x="898" y="1137"/>
                  </a:cubicBezTo>
                  <a:cubicBezTo>
                    <a:pt x="901" y="1127"/>
                    <a:pt x="905" y="1116"/>
                    <a:pt x="908" y="1106"/>
                  </a:cubicBezTo>
                  <a:cubicBezTo>
                    <a:pt x="911" y="1098"/>
                    <a:pt x="912" y="1089"/>
                    <a:pt x="916" y="1081"/>
                  </a:cubicBezTo>
                  <a:cubicBezTo>
                    <a:pt x="921" y="1072"/>
                    <a:pt x="923" y="1060"/>
                    <a:pt x="927" y="1050"/>
                  </a:cubicBezTo>
                  <a:cubicBezTo>
                    <a:pt x="932" y="1037"/>
                    <a:pt x="934" y="1023"/>
                    <a:pt x="940" y="1010"/>
                  </a:cubicBezTo>
                  <a:cubicBezTo>
                    <a:pt x="945" y="1001"/>
                    <a:pt x="941" y="995"/>
                    <a:pt x="931" y="995"/>
                  </a:cubicBezTo>
                  <a:cubicBezTo>
                    <a:pt x="927" y="995"/>
                    <a:pt x="922" y="995"/>
                    <a:pt x="918" y="995"/>
                  </a:cubicBezTo>
                  <a:cubicBezTo>
                    <a:pt x="913" y="995"/>
                    <a:pt x="908" y="997"/>
                    <a:pt x="907" y="1001"/>
                  </a:cubicBezTo>
                  <a:cubicBezTo>
                    <a:pt x="904" y="1008"/>
                    <a:pt x="900" y="1015"/>
                    <a:pt x="899" y="1023"/>
                  </a:cubicBezTo>
                  <a:cubicBezTo>
                    <a:pt x="897" y="1034"/>
                    <a:pt x="893" y="1045"/>
                    <a:pt x="889" y="1055"/>
                  </a:cubicBezTo>
                  <a:cubicBezTo>
                    <a:pt x="887" y="1064"/>
                    <a:pt x="885" y="1072"/>
                    <a:pt x="882" y="1080"/>
                  </a:cubicBezTo>
                  <a:cubicBezTo>
                    <a:pt x="878" y="1091"/>
                    <a:pt x="874" y="1103"/>
                    <a:pt x="871" y="1115"/>
                  </a:cubicBezTo>
                  <a:cubicBezTo>
                    <a:pt x="870" y="1118"/>
                    <a:pt x="871" y="1124"/>
                    <a:pt x="866" y="1124"/>
                  </a:cubicBezTo>
                  <a:cubicBezTo>
                    <a:pt x="861" y="1125"/>
                    <a:pt x="859" y="1120"/>
                    <a:pt x="858" y="1115"/>
                  </a:cubicBezTo>
                  <a:cubicBezTo>
                    <a:pt x="856" y="1110"/>
                    <a:pt x="856" y="1104"/>
                    <a:pt x="854" y="1099"/>
                  </a:cubicBezTo>
                  <a:cubicBezTo>
                    <a:pt x="848" y="1080"/>
                    <a:pt x="841" y="1062"/>
                    <a:pt x="835" y="1044"/>
                  </a:cubicBezTo>
                  <a:cubicBezTo>
                    <a:pt x="831" y="1030"/>
                    <a:pt x="828" y="1016"/>
                    <a:pt x="822" y="1003"/>
                  </a:cubicBezTo>
                  <a:cubicBezTo>
                    <a:pt x="819" y="997"/>
                    <a:pt x="814" y="994"/>
                    <a:pt x="808" y="994"/>
                  </a:cubicBezTo>
                  <a:cubicBezTo>
                    <a:pt x="799" y="993"/>
                    <a:pt x="791" y="993"/>
                    <a:pt x="787" y="1001"/>
                  </a:cubicBezTo>
                  <a:cubicBezTo>
                    <a:pt x="783" y="1008"/>
                    <a:pt x="780" y="1015"/>
                    <a:pt x="779" y="1022"/>
                  </a:cubicBezTo>
                  <a:cubicBezTo>
                    <a:pt x="778" y="1034"/>
                    <a:pt x="772" y="1044"/>
                    <a:pt x="769" y="1055"/>
                  </a:cubicBezTo>
                  <a:cubicBezTo>
                    <a:pt x="762" y="1076"/>
                    <a:pt x="754" y="1096"/>
                    <a:pt x="749" y="1117"/>
                  </a:cubicBezTo>
                  <a:cubicBezTo>
                    <a:pt x="748" y="1120"/>
                    <a:pt x="747" y="1124"/>
                    <a:pt x="742" y="1124"/>
                  </a:cubicBezTo>
                  <a:cubicBezTo>
                    <a:pt x="737" y="1124"/>
                    <a:pt x="737" y="1120"/>
                    <a:pt x="736" y="1116"/>
                  </a:cubicBezTo>
                  <a:cubicBezTo>
                    <a:pt x="734" y="1104"/>
                    <a:pt x="730" y="1092"/>
                    <a:pt x="726" y="1080"/>
                  </a:cubicBezTo>
                  <a:cubicBezTo>
                    <a:pt x="720" y="1061"/>
                    <a:pt x="714" y="1040"/>
                    <a:pt x="708" y="1020"/>
                  </a:cubicBezTo>
                  <a:cubicBezTo>
                    <a:pt x="703" y="1000"/>
                    <a:pt x="698" y="994"/>
                    <a:pt x="676" y="995"/>
                  </a:cubicBezTo>
                  <a:cubicBezTo>
                    <a:pt x="665" y="996"/>
                    <a:pt x="661" y="1001"/>
                    <a:pt x="667" y="1011"/>
                  </a:cubicBezTo>
                  <a:cubicBezTo>
                    <a:pt x="669" y="1016"/>
                    <a:pt x="670" y="1021"/>
                    <a:pt x="672" y="1025"/>
                  </a:cubicBezTo>
                  <a:cubicBezTo>
                    <a:pt x="675" y="1035"/>
                    <a:pt x="678" y="1046"/>
                    <a:pt x="681" y="1055"/>
                  </a:cubicBezTo>
                  <a:cubicBezTo>
                    <a:pt x="685" y="1068"/>
                    <a:pt x="689" y="1080"/>
                    <a:pt x="693" y="1092"/>
                  </a:cubicBezTo>
                  <a:cubicBezTo>
                    <a:pt x="697" y="1103"/>
                    <a:pt x="699" y="1113"/>
                    <a:pt x="703" y="1124"/>
                  </a:cubicBezTo>
                  <a:cubicBezTo>
                    <a:pt x="707" y="1136"/>
                    <a:pt x="711" y="1147"/>
                    <a:pt x="715" y="1160"/>
                  </a:cubicBezTo>
                  <a:cubicBezTo>
                    <a:pt x="717" y="1168"/>
                    <a:pt x="720" y="1176"/>
                    <a:pt x="724" y="1183"/>
                  </a:cubicBezTo>
                  <a:cubicBezTo>
                    <a:pt x="728" y="1189"/>
                    <a:pt x="752" y="1185"/>
                    <a:pt x="757" y="1180"/>
                  </a:cubicBezTo>
                  <a:cubicBezTo>
                    <a:pt x="764" y="1173"/>
                    <a:pt x="762" y="1163"/>
                    <a:pt x="766" y="1156"/>
                  </a:cubicBezTo>
                  <a:cubicBezTo>
                    <a:pt x="774" y="1140"/>
                    <a:pt x="778" y="1122"/>
                    <a:pt x="784" y="1105"/>
                  </a:cubicBezTo>
                  <a:cubicBezTo>
                    <a:pt x="789" y="1088"/>
                    <a:pt x="796" y="1072"/>
                    <a:pt x="800" y="1054"/>
                  </a:cubicBezTo>
                  <a:cubicBezTo>
                    <a:pt x="800" y="1053"/>
                    <a:pt x="801" y="1050"/>
                    <a:pt x="803" y="1050"/>
                  </a:cubicBezTo>
                  <a:cubicBezTo>
                    <a:pt x="806" y="1050"/>
                    <a:pt x="806" y="1052"/>
                    <a:pt x="807" y="1055"/>
                  </a:cubicBezTo>
                  <a:cubicBezTo>
                    <a:pt x="807" y="1060"/>
                    <a:pt x="810" y="1066"/>
                    <a:pt x="811" y="1071"/>
                  </a:cubicBezTo>
                  <a:cubicBezTo>
                    <a:pt x="814" y="1081"/>
                    <a:pt x="818" y="1090"/>
                    <a:pt x="821" y="1099"/>
                  </a:cubicBezTo>
                  <a:cubicBezTo>
                    <a:pt x="824" y="1110"/>
                    <a:pt x="827" y="1120"/>
                    <a:pt x="831" y="1131"/>
                  </a:cubicBezTo>
                  <a:cubicBezTo>
                    <a:pt x="834" y="1142"/>
                    <a:pt x="839" y="1153"/>
                    <a:pt x="842" y="1164"/>
                  </a:cubicBezTo>
                  <a:cubicBezTo>
                    <a:pt x="846" y="1179"/>
                    <a:pt x="850" y="1188"/>
                    <a:pt x="869" y="1185"/>
                  </a:cubicBezTo>
                  <a:cubicBezTo>
                    <a:pt x="873" y="1184"/>
                    <a:pt x="881" y="1189"/>
                    <a:pt x="884" y="1181"/>
                  </a:cubicBezTo>
                  <a:close/>
                  <a:moveTo>
                    <a:pt x="33" y="1051"/>
                  </a:moveTo>
                  <a:cubicBezTo>
                    <a:pt x="33" y="1087"/>
                    <a:pt x="33" y="1124"/>
                    <a:pt x="33" y="1160"/>
                  </a:cubicBezTo>
                  <a:cubicBezTo>
                    <a:pt x="33" y="1188"/>
                    <a:pt x="29" y="1184"/>
                    <a:pt x="58" y="1185"/>
                  </a:cubicBezTo>
                  <a:cubicBezTo>
                    <a:pt x="72" y="1185"/>
                    <a:pt x="73" y="1184"/>
                    <a:pt x="73" y="1170"/>
                  </a:cubicBezTo>
                  <a:cubicBezTo>
                    <a:pt x="73" y="1138"/>
                    <a:pt x="73" y="1107"/>
                    <a:pt x="73" y="1076"/>
                  </a:cubicBezTo>
                  <a:cubicBezTo>
                    <a:pt x="73" y="1071"/>
                    <a:pt x="72" y="1067"/>
                    <a:pt x="78" y="1065"/>
                  </a:cubicBezTo>
                  <a:cubicBezTo>
                    <a:pt x="91" y="1062"/>
                    <a:pt x="102" y="1067"/>
                    <a:pt x="110" y="1076"/>
                  </a:cubicBezTo>
                  <a:cubicBezTo>
                    <a:pt x="112" y="1080"/>
                    <a:pt x="115" y="1083"/>
                    <a:pt x="118" y="1086"/>
                  </a:cubicBezTo>
                  <a:cubicBezTo>
                    <a:pt x="132" y="1103"/>
                    <a:pt x="146" y="1119"/>
                    <a:pt x="161" y="1136"/>
                  </a:cubicBezTo>
                  <a:cubicBezTo>
                    <a:pt x="173" y="1150"/>
                    <a:pt x="186" y="1165"/>
                    <a:pt x="198" y="1179"/>
                  </a:cubicBezTo>
                  <a:cubicBezTo>
                    <a:pt x="207" y="1188"/>
                    <a:pt x="218" y="1184"/>
                    <a:pt x="228" y="1185"/>
                  </a:cubicBezTo>
                  <a:cubicBezTo>
                    <a:pt x="233" y="1185"/>
                    <a:pt x="241" y="1188"/>
                    <a:pt x="244" y="1182"/>
                  </a:cubicBezTo>
                  <a:cubicBezTo>
                    <a:pt x="246" y="1178"/>
                    <a:pt x="239" y="1173"/>
                    <a:pt x="235" y="1169"/>
                  </a:cubicBezTo>
                  <a:cubicBezTo>
                    <a:pt x="206" y="1133"/>
                    <a:pt x="176" y="1098"/>
                    <a:pt x="146" y="1062"/>
                  </a:cubicBezTo>
                  <a:cubicBezTo>
                    <a:pt x="141" y="1056"/>
                    <a:pt x="131" y="1052"/>
                    <a:pt x="132" y="1044"/>
                  </a:cubicBezTo>
                  <a:cubicBezTo>
                    <a:pt x="132" y="1036"/>
                    <a:pt x="142" y="1032"/>
                    <a:pt x="147" y="1026"/>
                  </a:cubicBezTo>
                  <a:cubicBezTo>
                    <a:pt x="164" y="1006"/>
                    <a:pt x="182" y="988"/>
                    <a:pt x="198" y="968"/>
                  </a:cubicBezTo>
                  <a:cubicBezTo>
                    <a:pt x="209" y="954"/>
                    <a:pt x="221" y="942"/>
                    <a:pt x="234" y="929"/>
                  </a:cubicBezTo>
                  <a:cubicBezTo>
                    <a:pt x="236" y="926"/>
                    <a:pt x="238" y="923"/>
                    <a:pt x="237" y="920"/>
                  </a:cubicBezTo>
                  <a:cubicBezTo>
                    <a:pt x="235" y="915"/>
                    <a:pt x="231" y="917"/>
                    <a:pt x="228" y="917"/>
                  </a:cubicBezTo>
                  <a:cubicBezTo>
                    <a:pt x="224" y="918"/>
                    <a:pt x="221" y="918"/>
                    <a:pt x="217" y="918"/>
                  </a:cubicBezTo>
                  <a:cubicBezTo>
                    <a:pt x="204" y="917"/>
                    <a:pt x="193" y="922"/>
                    <a:pt x="185" y="931"/>
                  </a:cubicBezTo>
                  <a:cubicBezTo>
                    <a:pt x="172" y="946"/>
                    <a:pt x="158" y="961"/>
                    <a:pt x="145" y="977"/>
                  </a:cubicBezTo>
                  <a:cubicBezTo>
                    <a:pt x="131" y="993"/>
                    <a:pt x="117" y="1010"/>
                    <a:pt x="102" y="1026"/>
                  </a:cubicBezTo>
                  <a:cubicBezTo>
                    <a:pt x="96" y="1032"/>
                    <a:pt x="87" y="1037"/>
                    <a:pt x="78" y="1034"/>
                  </a:cubicBezTo>
                  <a:cubicBezTo>
                    <a:pt x="70" y="1030"/>
                    <a:pt x="73" y="1021"/>
                    <a:pt x="73" y="1015"/>
                  </a:cubicBezTo>
                  <a:cubicBezTo>
                    <a:pt x="73" y="991"/>
                    <a:pt x="73" y="967"/>
                    <a:pt x="73" y="944"/>
                  </a:cubicBezTo>
                  <a:cubicBezTo>
                    <a:pt x="73" y="916"/>
                    <a:pt x="75" y="917"/>
                    <a:pt x="46" y="918"/>
                  </a:cubicBezTo>
                  <a:cubicBezTo>
                    <a:pt x="33" y="918"/>
                    <a:pt x="33" y="918"/>
                    <a:pt x="33" y="931"/>
                  </a:cubicBezTo>
                  <a:cubicBezTo>
                    <a:pt x="33" y="971"/>
                    <a:pt x="33" y="1011"/>
                    <a:pt x="33" y="1051"/>
                  </a:cubicBezTo>
                  <a:cubicBezTo>
                    <a:pt x="33" y="1051"/>
                    <a:pt x="33" y="1051"/>
                    <a:pt x="33" y="1051"/>
                  </a:cubicBezTo>
                  <a:close/>
                  <a:moveTo>
                    <a:pt x="639" y="84"/>
                  </a:moveTo>
                  <a:cubicBezTo>
                    <a:pt x="627" y="84"/>
                    <a:pt x="626" y="84"/>
                    <a:pt x="629" y="95"/>
                  </a:cubicBezTo>
                  <a:cubicBezTo>
                    <a:pt x="634" y="113"/>
                    <a:pt x="640" y="131"/>
                    <a:pt x="646" y="148"/>
                  </a:cubicBezTo>
                  <a:cubicBezTo>
                    <a:pt x="652" y="166"/>
                    <a:pt x="658" y="185"/>
                    <a:pt x="664" y="203"/>
                  </a:cubicBezTo>
                  <a:cubicBezTo>
                    <a:pt x="671" y="223"/>
                    <a:pt x="676" y="244"/>
                    <a:pt x="684" y="264"/>
                  </a:cubicBezTo>
                  <a:cubicBezTo>
                    <a:pt x="688" y="274"/>
                    <a:pt x="694" y="274"/>
                    <a:pt x="702" y="274"/>
                  </a:cubicBezTo>
                  <a:cubicBezTo>
                    <a:pt x="711" y="274"/>
                    <a:pt x="719" y="272"/>
                    <a:pt x="723" y="263"/>
                  </a:cubicBezTo>
                  <a:cubicBezTo>
                    <a:pt x="733" y="236"/>
                    <a:pt x="741" y="208"/>
                    <a:pt x="750" y="181"/>
                  </a:cubicBezTo>
                  <a:cubicBezTo>
                    <a:pt x="754" y="169"/>
                    <a:pt x="757" y="156"/>
                    <a:pt x="763" y="145"/>
                  </a:cubicBezTo>
                  <a:cubicBezTo>
                    <a:pt x="764" y="143"/>
                    <a:pt x="764" y="140"/>
                    <a:pt x="767" y="140"/>
                  </a:cubicBezTo>
                  <a:cubicBezTo>
                    <a:pt x="770" y="140"/>
                    <a:pt x="770" y="143"/>
                    <a:pt x="771" y="145"/>
                  </a:cubicBezTo>
                  <a:cubicBezTo>
                    <a:pt x="771" y="156"/>
                    <a:pt x="777" y="165"/>
                    <a:pt x="780" y="175"/>
                  </a:cubicBezTo>
                  <a:cubicBezTo>
                    <a:pt x="782" y="184"/>
                    <a:pt x="785" y="193"/>
                    <a:pt x="788" y="201"/>
                  </a:cubicBezTo>
                  <a:cubicBezTo>
                    <a:pt x="794" y="219"/>
                    <a:pt x="801" y="237"/>
                    <a:pt x="806" y="255"/>
                  </a:cubicBezTo>
                  <a:cubicBezTo>
                    <a:pt x="811" y="272"/>
                    <a:pt x="825" y="280"/>
                    <a:pt x="842" y="273"/>
                  </a:cubicBezTo>
                  <a:cubicBezTo>
                    <a:pt x="845" y="271"/>
                    <a:pt x="847" y="269"/>
                    <a:pt x="848" y="266"/>
                  </a:cubicBezTo>
                  <a:cubicBezTo>
                    <a:pt x="853" y="251"/>
                    <a:pt x="859" y="236"/>
                    <a:pt x="863" y="221"/>
                  </a:cubicBezTo>
                  <a:cubicBezTo>
                    <a:pt x="867" y="202"/>
                    <a:pt x="875" y="185"/>
                    <a:pt x="880" y="166"/>
                  </a:cubicBezTo>
                  <a:cubicBezTo>
                    <a:pt x="886" y="144"/>
                    <a:pt x="895" y="123"/>
                    <a:pt x="900" y="101"/>
                  </a:cubicBezTo>
                  <a:cubicBezTo>
                    <a:pt x="901" y="96"/>
                    <a:pt x="909" y="91"/>
                    <a:pt x="904" y="86"/>
                  </a:cubicBezTo>
                  <a:cubicBezTo>
                    <a:pt x="900" y="81"/>
                    <a:pt x="892" y="84"/>
                    <a:pt x="886" y="84"/>
                  </a:cubicBezTo>
                  <a:cubicBezTo>
                    <a:pt x="885" y="84"/>
                    <a:pt x="883" y="84"/>
                    <a:pt x="881" y="84"/>
                  </a:cubicBezTo>
                  <a:cubicBezTo>
                    <a:pt x="875" y="84"/>
                    <a:pt x="872" y="86"/>
                    <a:pt x="869" y="91"/>
                  </a:cubicBezTo>
                  <a:cubicBezTo>
                    <a:pt x="860" y="110"/>
                    <a:pt x="856" y="131"/>
                    <a:pt x="850" y="151"/>
                  </a:cubicBezTo>
                  <a:cubicBezTo>
                    <a:pt x="844" y="170"/>
                    <a:pt x="836" y="188"/>
                    <a:pt x="834" y="208"/>
                  </a:cubicBezTo>
                  <a:cubicBezTo>
                    <a:pt x="833" y="211"/>
                    <a:pt x="831" y="214"/>
                    <a:pt x="827" y="214"/>
                  </a:cubicBezTo>
                  <a:cubicBezTo>
                    <a:pt x="823" y="214"/>
                    <a:pt x="822" y="210"/>
                    <a:pt x="822" y="207"/>
                  </a:cubicBezTo>
                  <a:cubicBezTo>
                    <a:pt x="817" y="188"/>
                    <a:pt x="811" y="170"/>
                    <a:pt x="805" y="152"/>
                  </a:cubicBezTo>
                  <a:cubicBezTo>
                    <a:pt x="799" y="133"/>
                    <a:pt x="794" y="114"/>
                    <a:pt x="786" y="96"/>
                  </a:cubicBezTo>
                  <a:cubicBezTo>
                    <a:pt x="783" y="87"/>
                    <a:pt x="779" y="84"/>
                    <a:pt x="770" y="84"/>
                  </a:cubicBezTo>
                  <a:cubicBezTo>
                    <a:pt x="761" y="84"/>
                    <a:pt x="752" y="82"/>
                    <a:pt x="748" y="94"/>
                  </a:cubicBezTo>
                  <a:cubicBezTo>
                    <a:pt x="744" y="109"/>
                    <a:pt x="738" y="123"/>
                    <a:pt x="734" y="138"/>
                  </a:cubicBezTo>
                  <a:cubicBezTo>
                    <a:pt x="729" y="153"/>
                    <a:pt x="724" y="167"/>
                    <a:pt x="719" y="182"/>
                  </a:cubicBezTo>
                  <a:cubicBezTo>
                    <a:pt x="716" y="192"/>
                    <a:pt x="715" y="203"/>
                    <a:pt x="708" y="212"/>
                  </a:cubicBezTo>
                  <a:cubicBezTo>
                    <a:pt x="707" y="214"/>
                    <a:pt x="707" y="217"/>
                    <a:pt x="704" y="217"/>
                  </a:cubicBezTo>
                  <a:cubicBezTo>
                    <a:pt x="701" y="217"/>
                    <a:pt x="701" y="213"/>
                    <a:pt x="700" y="211"/>
                  </a:cubicBezTo>
                  <a:cubicBezTo>
                    <a:pt x="699" y="198"/>
                    <a:pt x="694" y="186"/>
                    <a:pt x="690" y="174"/>
                  </a:cubicBezTo>
                  <a:cubicBezTo>
                    <a:pt x="684" y="153"/>
                    <a:pt x="677" y="131"/>
                    <a:pt x="672" y="110"/>
                  </a:cubicBezTo>
                  <a:cubicBezTo>
                    <a:pt x="667" y="88"/>
                    <a:pt x="663" y="84"/>
                    <a:pt x="645" y="84"/>
                  </a:cubicBezTo>
                  <a:cubicBezTo>
                    <a:pt x="643" y="84"/>
                    <a:pt x="641" y="84"/>
                    <a:pt x="639" y="84"/>
                  </a:cubicBezTo>
                  <a:close/>
                  <a:moveTo>
                    <a:pt x="507" y="711"/>
                  </a:moveTo>
                  <a:cubicBezTo>
                    <a:pt x="507" y="730"/>
                    <a:pt x="507" y="730"/>
                    <a:pt x="526" y="730"/>
                  </a:cubicBezTo>
                  <a:cubicBezTo>
                    <a:pt x="539" y="730"/>
                    <a:pt x="541" y="729"/>
                    <a:pt x="541" y="715"/>
                  </a:cubicBezTo>
                  <a:cubicBezTo>
                    <a:pt x="541" y="677"/>
                    <a:pt x="541" y="638"/>
                    <a:pt x="540" y="600"/>
                  </a:cubicBezTo>
                  <a:cubicBezTo>
                    <a:pt x="540" y="593"/>
                    <a:pt x="543" y="587"/>
                    <a:pt x="548" y="582"/>
                  </a:cubicBezTo>
                  <a:cubicBezTo>
                    <a:pt x="553" y="576"/>
                    <a:pt x="559" y="573"/>
                    <a:pt x="564" y="569"/>
                  </a:cubicBezTo>
                  <a:cubicBezTo>
                    <a:pt x="574" y="564"/>
                    <a:pt x="594" y="566"/>
                    <a:pt x="602" y="574"/>
                  </a:cubicBezTo>
                  <a:cubicBezTo>
                    <a:pt x="611" y="582"/>
                    <a:pt x="614" y="592"/>
                    <a:pt x="614" y="604"/>
                  </a:cubicBezTo>
                  <a:cubicBezTo>
                    <a:pt x="614" y="638"/>
                    <a:pt x="614" y="672"/>
                    <a:pt x="614" y="706"/>
                  </a:cubicBezTo>
                  <a:cubicBezTo>
                    <a:pt x="614" y="730"/>
                    <a:pt x="614" y="730"/>
                    <a:pt x="638" y="730"/>
                  </a:cubicBezTo>
                  <a:cubicBezTo>
                    <a:pt x="650" y="730"/>
                    <a:pt x="650" y="730"/>
                    <a:pt x="650" y="717"/>
                  </a:cubicBezTo>
                  <a:cubicBezTo>
                    <a:pt x="650" y="684"/>
                    <a:pt x="650" y="650"/>
                    <a:pt x="650" y="617"/>
                  </a:cubicBezTo>
                  <a:cubicBezTo>
                    <a:pt x="650" y="606"/>
                    <a:pt x="651" y="597"/>
                    <a:pt x="657" y="586"/>
                  </a:cubicBezTo>
                  <a:cubicBezTo>
                    <a:pt x="667" y="565"/>
                    <a:pt x="703" y="560"/>
                    <a:pt x="716" y="579"/>
                  </a:cubicBezTo>
                  <a:cubicBezTo>
                    <a:pt x="723" y="588"/>
                    <a:pt x="724" y="598"/>
                    <a:pt x="724" y="609"/>
                  </a:cubicBezTo>
                  <a:cubicBezTo>
                    <a:pt x="724" y="645"/>
                    <a:pt x="724" y="682"/>
                    <a:pt x="724" y="718"/>
                  </a:cubicBezTo>
                  <a:cubicBezTo>
                    <a:pt x="724" y="727"/>
                    <a:pt x="727" y="731"/>
                    <a:pt x="736" y="730"/>
                  </a:cubicBezTo>
                  <a:cubicBezTo>
                    <a:pt x="738" y="730"/>
                    <a:pt x="741" y="730"/>
                    <a:pt x="743" y="730"/>
                  </a:cubicBezTo>
                  <a:cubicBezTo>
                    <a:pt x="758" y="730"/>
                    <a:pt x="759" y="729"/>
                    <a:pt x="759" y="715"/>
                  </a:cubicBezTo>
                  <a:cubicBezTo>
                    <a:pt x="759" y="677"/>
                    <a:pt x="758" y="639"/>
                    <a:pt x="759" y="601"/>
                  </a:cubicBezTo>
                  <a:cubicBezTo>
                    <a:pt x="759" y="571"/>
                    <a:pt x="742" y="540"/>
                    <a:pt x="704" y="538"/>
                  </a:cubicBezTo>
                  <a:cubicBezTo>
                    <a:pt x="681" y="536"/>
                    <a:pt x="661" y="542"/>
                    <a:pt x="646" y="560"/>
                  </a:cubicBezTo>
                  <a:cubicBezTo>
                    <a:pt x="638" y="569"/>
                    <a:pt x="638" y="569"/>
                    <a:pt x="631" y="559"/>
                  </a:cubicBezTo>
                  <a:cubicBezTo>
                    <a:pt x="630" y="558"/>
                    <a:pt x="630" y="557"/>
                    <a:pt x="629" y="556"/>
                  </a:cubicBezTo>
                  <a:cubicBezTo>
                    <a:pt x="623" y="548"/>
                    <a:pt x="616" y="541"/>
                    <a:pt x="607" y="539"/>
                  </a:cubicBezTo>
                  <a:cubicBezTo>
                    <a:pt x="584" y="534"/>
                    <a:pt x="563" y="539"/>
                    <a:pt x="545" y="555"/>
                  </a:cubicBezTo>
                  <a:cubicBezTo>
                    <a:pt x="540" y="559"/>
                    <a:pt x="537" y="561"/>
                    <a:pt x="537" y="552"/>
                  </a:cubicBezTo>
                  <a:cubicBezTo>
                    <a:pt x="536" y="543"/>
                    <a:pt x="526" y="538"/>
                    <a:pt x="515" y="539"/>
                  </a:cubicBezTo>
                  <a:cubicBezTo>
                    <a:pt x="506" y="540"/>
                    <a:pt x="507" y="546"/>
                    <a:pt x="507" y="552"/>
                  </a:cubicBezTo>
                  <a:cubicBezTo>
                    <a:pt x="507" y="580"/>
                    <a:pt x="507" y="607"/>
                    <a:pt x="507" y="634"/>
                  </a:cubicBezTo>
                  <a:cubicBezTo>
                    <a:pt x="507" y="660"/>
                    <a:pt x="507" y="685"/>
                    <a:pt x="507" y="711"/>
                  </a:cubicBezTo>
                  <a:close/>
                  <a:moveTo>
                    <a:pt x="1525" y="1142"/>
                  </a:moveTo>
                  <a:cubicBezTo>
                    <a:pt x="1517" y="1143"/>
                    <a:pt x="1511" y="1141"/>
                    <a:pt x="1505" y="1136"/>
                  </a:cubicBezTo>
                  <a:cubicBezTo>
                    <a:pt x="1501" y="1133"/>
                    <a:pt x="1495" y="1130"/>
                    <a:pt x="1498" y="1124"/>
                  </a:cubicBezTo>
                  <a:cubicBezTo>
                    <a:pt x="1500" y="1118"/>
                    <a:pt x="1504" y="1114"/>
                    <a:pt x="1512" y="1114"/>
                  </a:cubicBezTo>
                  <a:cubicBezTo>
                    <a:pt x="1521" y="1115"/>
                    <a:pt x="1530" y="1114"/>
                    <a:pt x="1538" y="1115"/>
                  </a:cubicBezTo>
                  <a:cubicBezTo>
                    <a:pt x="1573" y="1117"/>
                    <a:pt x="1610" y="1084"/>
                    <a:pt x="1602" y="1044"/>
                  </a:cubicBezTo>
                  <a:cubicBezTo>
                    <a:pt x="1600" y="1035"/>
                    <a:pt x="1599" y="1028"/>
                    <a:pt x="1611" y="1027"/>
                  </a:cubicBezTo>
                  <a:cubicBezTo>
                    <a:pt x="1614" y="1027"/>
                    <a:pt x="1617" y="1024"/>
                    <a:pt x="1619" y="1023"/>
                  </a:cubicBezTo>
                  <a:cubicBezTo>
                    <a:pt x="1626" y="1019"/>
                    <a:pt x="1624" y="1013"/>
                    <a:pt x="1623" y="1008"/>
                  </a:cubicBezTo>
                  <a:cubicBezTo>
                    <a:pt x="1623" y="1002"/>
                    <a:pt x="1618" y="1003"/>
                    <a:pt x="1613" y="1002"/>
                  </a:cubicBezTo>
                  <a:cubicBezTo>
                    <a:pt x="1598" y="1002"/>
                    <a:pt x="1582" y="1004"/>
                    <a:pt x="1567" y="1000"/>
                  </a:cubicBezTo>
                  <a:cubicBezTo>
                    <a:pt x="1560" y="999"/>
                    <a:pt x="1554" y="993"/>
                    <a:pt x="1546" y="993"/>
                  </a:cubicBezTo>
                  <a:cubicBezTo>
                    <a:pt x="1536" y="994"/>
                    <a:pt x="1525" y="992"/>
                    <a:pt x="1515" y="993"/>
                  </a:cubicBezTo>
                  <a:cubicBezTo>
                    <a:pt x="1490" y="997"/>
                    <a:pt x="1469" y="1010"/>
                    <a:pt x="1462" y="1034"/>
                  </a:cubicBezTo>
                  <a:cubicBezTo>
                    <a:pt x="1455" y="1056"/>
                    <a:pt x="1457" y="1079"/>
                    <a:pt x="1476" y="1096"/>
                  </a:cubicBezTo>
                  <a:cubicBezTo>
                    <a:pt x="1483" y="1103"/>
                    <a:pt x="1483" y="1107"/>
                    <a:pt x="1476" y="1113"/>
                  </a:cubicBezTo>
                  <a:cubicBezTo>
                    <a:pt x="1462" y="1126"/>
                    <a:pt x="1462" y="1142"/>
                    <a:pt x="1473" y="1157"/>
                  </a:cubicBezTo>
                  <a:cubicBezTo>
                    <a:pt x="1476" y="1160"/>
                    <a:pt x="1476" y="1162"/>
                    <a:pt x="1472" y="1164"/>
                  </a:cubicBezTo>
                  <a:cubicBezTo>
                    <a:pt x="1470" y="1166"/>
                    <a:pt x="1468" y="1168"/>
                    <a:pt x="1466" y="1170"/>
                  </a:cubicBezTo>
                  <a:cubicBezTo>
                    <a:pt x="1449" y="1183"/>
                    <a:pt x="1444" y="1201"/>
                    <a:pt x="1454" y="1218"/>
                  </a:cubicBezTo>
                  <a:cubicBezTo>
                    <a:pt x="1464" y="1235"/>
                    <a:pt x="1479" y="1246"/>
                    <a:pt x="1499" y="1249"/>
                  </a:cubicBezTo>
                  <a:cubicBezTo>
                    <a:pt x="1517" y="1252"/>
                    <a:pt x="1535" y="1253"/>
                    <a:pt x="1553" y="1250"/>
                  </a:cubicBezTo>
                  <a:cubicBezTo>
                    <a:pt x="1584" y="1245"/>
                    <a:pt x="1607" y="1232"/>
                    <a:pt x="1619" y="1200"/>
                  </a:cubicBezTo>
                  <a:cubicBezTo>
                    <a:pt x="1627" y="1180"/>
                    <a:pt x="1611" y="1155"/>
                    <a:pt x="1593" y="1148"/>
                  </a:cubicBezTo>
                  <a:cubicBezTo>
                    <a:pt x="1578" y="1142"/>
                    <a:pt x="1563" y="1143"/>
                    <a:pt x="1549" y="1142"/>
                  </a:cubicBezTo>
                  <a:cubicBezTo>
                    <a:pt x="1540" y="1142"/>
                    <a:pt x="1532" y="1142"/>
                    <a:pt x="1525" y="1142"/>
                  </a:cubicBezTo>
                  <a:close/>
                  <a:moveTo>
                    <a:pt x="1556" y="1172"/>
                  </a:moveTo>
                  <a:cubicBezTo>
                    <a:pt x="1566" y="1172"/>
                    <a:pt x="1576" y="1176"/>
                    <a:pt x="1583" y="1183"/>
                  </a:cubicBezTo>
                  <a:cubicBezTo>
                    <a:pt x="1589" y="1190"/>
                    <a:pt x="1589" y="1198"/>
                    <a:pt x="1583" y="1205"/>
                  </a:cubicBezTo>
                  <a:cubicBezTo>
                    <a:pt x="1575" y="1215"/>
                    <a:pt x="1565" y="1220"/>
                    <a:pt x="1553" y="1223"/>
                  </a:cubicBezTo>
                  <a:cubicBezTo>
                    <a:pt x="1534" y="1228"/>
                    <a:pt x="1516" y="1225"/>
                    <a:pt x="1499" y="1219"/>
                  </a:cubicBezTo>
                  <a:cubicBezTo>
                    <a:pt x="1486" y="1214"/>
                    <a:pt x="1479" y="1203"/>
                    <a:pt x="1482" y="1193"/>
                  </a:cubicBezTo>
                  <a:cubicBezTo>
                    <a:pt x="1485" y="1182"/>
                    <a:pt x="1496" y="1168"/>
                    <a:pt x="1514" y="1171"/>
                  </a:cubicBezTo>
                  <a:cubicBezTo>
                    <a:pt x="1526" y="1173"/>
                    <a:pt x="1541" y="1171"/>
                    <a:pt x="1556" y="1172"/>
                  </a:cubicBezTo>
                  <a:close/>
                  <a:moveTo>
                    <a:pt x="1531" y="1019"/>
                  </a:moveTo>
                  <a:cubicBezTo>
                    <a:pt x="1553" y="1017"/>
                    <a:pt x="1570" y="1033"/>
                    <a:pt x="1570" y="1052"/>
                  </a:cubicBezTo>
                  <a:cubicBezTo>
                    <a:pt x="1570" y="1075"/>
                    <a:pt x="1554" y="1093"/>
                    <a:pt x="1532" y="1091"/>
                  </a:cubicBezTo>
                  <a:cubicBezTo>
                    <a:pt x="1508" y="1089"/>
                    <a:pt x="1494" y="1082"/>
                    <a:pt x="1493" y="1053"/>
                  </a:cubicBezTo>
                  <a:cubicBezTo>
                    <a:pt x="1494" y="1029"/>
                    <a:pt x="1508" y="1020"/>
                    <a:pt x="1531" y="1019"/>
                  </a:cubicBezTo>
                  <a:close/>
                  <a:moveTo>
                    <a:pt x="1413" y="934"/>
                  </a:moveTo>
                  <a:cubicBezTo>
                    <a:pt x="1413" y="909"/>
                    <a:pt x="1413" y="909"/>
                    <a:pt x="1389" y="910"/>
                  </a:cubicBezTo>
                  <a:cubicBezTo>
                    <a:pt x="1388" y="910"/>
                    <a:pt x="1387" y="910"/>
                    <a:pt x="1387" y="910"/>
                  </a:cubicBezTo>
                  <a:cubicBezTo>
                    <a:pt x="1379" y="910"/>
                    <a:pt x="1376" y="915"/>
                    <a:pt x="1376" y="921"/>
                  </a:cubicBezTo>
                  <a:cubicBezTo>
                    <a:pt x="1376" y="939"/>
                    <a:pt x="1377" y="956"/>
                    <a:pt x="1377" y="974"/>
                  </a:cubicBezTo>
                  <a:cubicBezTo>
                    <a:pt x="1377" y="983"/>
                    <a:pt x="1377" y="991"/>
                    <a:pt x="1377" y="1000"/>
                  </a:cubicBezTo>
                  <a:cubicBezTo>
                    <a:pt x="1377" y="1005"/>
                    <a:pt x="1374" y="1009"/>
                    <a:pt x="1369" y="1005"/>
                  </a:cubicBezTo>
                  <a:cubicBezTo>
                    <a:pt x="1352" y="990"/>
                    <a:pt x="1332" y="993"/>
                    <a:pt x="1312" y="993"/>
                  </a:cubicBezTo>
                  <a:cubicBezTo>
                    <a:pt x="1303" y="994"/>
                    <a:pt x="1294" y="998"/>
                    <a:pt x="1287" y="1003"/>
                  </a:cubicBezTo>
                  <a:cubicBezTo>
                    <a:pt x="1265" y="1017"/>
                    <a:pt x="1252" y="1039"/>
                    <a:pt x="1248" y="1065"/>
                  </a:cubicBezTo>
                  <a:cubicBezTo>
                    <a:pt x="1244" y="1096"/>
                    <a:pt x="1244" y="1128"/>
                    <a:pt x="1261" y="1157"/>
                  </a:cubicBezTo>
                  <a:cubicBezTo>
                    <a:pt x="1270" y="1170"/>
                    <a:pt x="1281" y="1181"/>
                    <a:pt x="1296" y="1185"/>
                  </a:cubicBezTo>
                  <a:cubicBezTo>
                    <a:pt x="1323" y="1191"/>
                    <a:pt x="1349" y="1188"/>
                    <a:pt x="1370" y="1167"/>
                  </a:cubicBezTo>
                  <a:cubicBezTo>
                    <a:pt x="1372" y="1165"/>
                    <a:pt x="1375" y="1162"/>
                    <a:pt x="1379" y="1163"/>
                  </a:cubicBezTo>
                  <a:cubicBezTo>
                    <a:pt x="1382" y="1165"/>
                    <a:pt x="1381" y="1169"/>
                    <a:pt x="1381" y="1172"/>
                  </a:cubicBezTo>
                  <a:cubicBezTo>
                    <a:pt x="1383" y="1181"/>
                    <a:pt x="1390" y="1186"/>
                    <a:pt x="1403" y="1186"/>
                  </a:cubicBezTo>
                  <a:cubicBezTo>
                    <a:pt x="1413" y="1185"/>
                    <a:pt x="1413" y="1178"/>
                    <a:pt x="1413" y="1172"/>
                  </a:cubicBezTo>
                  <a:cubicBezTo>
                    <a:pt x="1413" y="1131"/>
                    <a:pt x="1413" y="1090"/>
                    <a:pt x="1413" y="1049"/>
                  </a:cubicBezTo>
                  <a:cubicBezTo>
                    <a:pt x="1413" y="1010"/>
                    <a:pt x="1413" y="972"/>
                    <a:pt x="1413" y="934"/>
                  </a:cubicBezTo>
                  <a:close/>
                  <a:moveTo>
                    <a:pt x="1378" y="1113"/>
                  </a:moveTo>
                  <a:cubicBezTo>
                    <a:pt x="1378" y="1136"/>
                    <a:pt x="1360" y="1155"/>
                    <a:pt x="1337" y="1157"/>
                  </a:cubicBezTo>
                  <a:cubicBezTo>
                    <a:pt x="1319" y="1159"/>
                    <a:pt x="1304" y="1154"/>
                    <a:pt x="1294" y="1139"/>
                  </a:cubicBezTo>
                  <a:cubicBezTo>
                    <a:pt x="1286" y="1128"/>
                    <a:pt x="1283" y="1116"/>
                    <a:pt x="1283" y="1102"/>
                  </a:cubicBezTo>
                  <a:cubicBezTo>
                    <a:pt x="1282" y="1085"/>
                    <a:pt x="1282" y="1067"/>
                    <a:pt x="1290" y="1051"/>
                  </a:cubicBezTo>
                  <a:cubicBezTo>
                    <a:pt x="1297" y="1036"/>
                    <a:pt x="1308" y="1024"/>
                    <a:pt x="1325" y="1022"/>
                  </a:cubicBezTo>
                  <a:cubicBezTo>
                    <a:pt x="1342" y="1020"/>
                    <a:pt x="1358" y="1021"/>
                    <a:pt x="1371" y="1035"/>
                  </a:cubicBezTo>
                  <a:cubicBezTo>
                    <a:pt x="1376" y="1041"/>
                    <a:pt x="1378" y="1046"/>
                    <a:pt x="1378" y="1052"/>
                  </a:cubicBezTo>
                  <a:cubicBezTo>
                    <a:pt x="1378" y="1064"/>
                    <a:pt x="1378" y="1075"/>
                    <a:pt x="1378" y="1086"/>
                  </a:cubicBezTo>
                  <a:cubicBezTo>
                    <a:pt x="1378" y="1086"/>
                    <a:pt x="1378" y="1086"/>
                    <a:pt x="1378" y="1086"/>
                  </a:cubicBezTo>
                  <a:cubicBezTo>
                    <a:pt x="1378" y="1095"/>
                    <a:pt x="1378" y="1104"/>
                    <a:pt x="1378" y="1113"/>
                  </a:cubicBezTo>
                  <a:close/>
                  <a:moveTo>
                    <a:pt x="578" y="259"/>
                  </a:moveTo>
                  <a:cubicBezTo>
                    <a:pt x="603" y="241"/>
                    <a:pt x="611" y="213"/>
                    <a:pt x="614" y="183"/>
                  </a:cubicBezTo>
                  <a:cubicBezTo>
                    <a:pt x="615" y="171"/>
                    <a:pt x="610" y="159"/>
                    <a:pt x="609" y="147"/>
                  </a:cubicBezTo>
                  <a:cubicBezTo>
                    <a:pt x="608" y="137"/>
                    <a:pt x="603" y="129"/>
                    <a:pt x="599" y="121"/>
                  </a:cubicBezTo>
                  <a:cubicBezTo>
                    <a:pt x="579" y="87"/>
                    <a:pt x="527" y="70"/>
                    <a:pt x="488" y="85"/>
                  </a:cubicBezTo>
                  <a:cubicBezTo>
                    <a:pt x="453" y="99"/>
                    <a:pt x="436" y="127"/>
                    <a:pt x="431" y="163"/>
                  </a:cubicBezTo>
                  <a:cubicBezTo>
                    <a:pt x="429" y="180"/>
                    <a:pt x="430" y="196"/>
                    <a:pt x="436" y="213"/>
                  </a:cubicBezTo>
                  <a:cubicBezTo>
                    <a:pt x="439" y="222"/>
                    <a:pt x="442" y="232"/>
                    <a:pt x="447" y="239"/>
                  </a:cubicBezTo>
                  <a:cubicBezTo>
                    <a:pt x="465" y="265"/>
                    <a:pt x="491" y="277"/>
                    <a:pt x="525" y="276"/>
                  </a:cubicBezTo>
                  <a:cubicBezTo>
                    <a:pt x="543" y="278"/>
                    <a:pt x="562" y="271"/>
                    <a:pt x="578" y="259"/>
                  </a:cubicBezTo>
                  <a:close/>
                  <a:moveTo>
                    <a:pt x="471" y="205"/>
                  </a:moveTo>
                  <a:cubicBezTo>
                    <a:pt x="466" y="185"/>
                    <a:pt x="468" y="167"/>
                    <a:pt x="472" y="147"/>
                  </a:cubicBezTo>
                  <a:cubicBezTo>
                    <a:pt x="477" y="130"/>
                    <a:pt x="493" y="116"/>
                    <a:pt x="509" y="112"/>
                  </a:cubicBezTo>
                  <a:cubicBezTo>
                    <a:pt x="525" y="108"/>
                    <a:pt x="539" y="110"/>
                    <a:pt x="553" y="119"/>
                  </a:cubicBezTo>
                  <a:cubicBezTo>
                    <a:pt x="563" y="125"/>
                    <a:pt x="568" y="135"/>
                    <a:pt x="571" y="146"/>
                  </a:cubicBezTo>
                  <a:cubicBezTo>
                    <a:pt x="577" y="167"/>
                    <a:pt x="578" y="189"/>
                    <a:pt x="571" y="211"/>
                  </a:cubicBezTo>
                  <a:cubicBezTo>
                    <a:pt x="565" y="231"/>
                    <a:pt x="549" y="249"/>
                    <a:pt x="521" y="247"/>
                  </a:cubicBezTo>
                  <a:cubicBezTo>
                    <a:pt x="496" y="247"/>
                    <a:pt x="478" y="230"/>
                    <a:pt x="471" y="205"/>
                  </a:cubicBezTo>
                  <a:close/>
                  <a:moveTo>
                    <a:pt x="472" y="1122"/>
                  </a:moveTo>
                  <a:cubicBezTo>
                    <a:pt x="475" y="1136"/>
                    <a:pt x="481" y="1148"/>
                    <a:pt x="491" y="1158"/>
                  </a:cubicBezTo>
                  <a:cubicBezTo>
                    <a:pt x="506" y="1176"/>
                    <a:pt x="524" y="1185"/>
                    <a:pt x="548" y="1187"/>
                  </a:cubicBezTo>
                  <a:cubicBezTo>
                    <a:pt x="568" y="1188"/>
                    <a:pt x="587" y="1187"/>
                    <a:pt x="605" y="1177"/>
                  </a:cubicBezTo>
                  <a:cubicBezTo>
                    <a:pt x="632" y="1162"/>
                    <a:pt x="644" y="1136"/>
                    <a:pt x="649" y="1107"/>
                  </a:cubicBezTo>
                  <a:cubicBezTo>
                    <a:pt x="652" y="1089"/>
                    <a:pt x="649" y="1072"/>
                    <a:pt x="644" y="1054"/>
                  </a:cubicBezTo>
                  <a:cubicBezTo>
                    <a:pt x="638" y="1034"/>
                    <a:pt x="627" y="1019"/>
                    <a:pt x="610" y="1007"/>
                  </a:cubicBezTo>
                  <a:cubicBezTo>
                    <a:pt x="589" y="992"/>
                    <a:pt x="566" y="991"/>
                    <a:pt x="541" y="994"/>
                  </a:cubicBezTo>
                  <a:cubicBezTo>
                    <a:pt x="526" y="995"/>
                    <a:pt x="512" y="1002"/>
                    <a:pt x="500" y="1012"/>
                  </a:cubicBezTo>
                  <a:cubicBezTo>
                    <a:pt x="476" y="1032"/>
                    <a:pt x="469" y="1060"/>
                    <a:pt x="466" y="1095"/>
                  </a:cubicBezTo>
                  <a:cubicBezTo>
                    <a:pt x="465" y="1101"/>
                    <a:pt x="470" y="1111"/>
                    <a:pt x="472" y="1122"/>
                  </a:cubicBezTo>
                  <a:close/>
                  <a:moveTo>
                    <a:pt x="508" y="1113"/>
                  </a:moveTo>
                  <a:cubicBezTo>
                    <a:pt x="505" y="1095"/>
                    <a:pt x="506" y="1078"/>
                    <a:pt x="508" y="1061"/>
                  </a:cubicBezTo>
                  <a:cubicBezTo>
                    <a:pt x="511" y="1042"/>
                    <a:pt x="538" y="1021"/>
                    <a:pt x="554" y="1022"/>
                  </a:cubicBezTo>
                  <a:cubicBezTo>
                    <a:pt x="570" y="1022"/>
                    <a:pt x="586" y="1024"/>
                    <a:pt x="596" y="1037"/>
                  </a:cubicBezTo>
                  <a:cubicBezTo>
                    <a:pt x="602" y="1044"/>
                    <a:pt x="607" y="1052"/>
                    <a:pt x="608" y="1061"/>
                  </a:cubicBezTo>
                  <a:cubicBezTo>
                    <a:pt x="608" y="1064"/>
                    <a:pt x="609" y="1067"/>
                    <a:pt x="610" y="1070"/>
                  </a:cubicBezTo>
                  <a:cubicBezTo>
                    <a:pt x="618" y="1089"/>
                    <a:pt x="612" y="1107"/>
                    <a:pt x="607" y="1125"/>
                  </a:cubicBezTo>
                  <a:cubicBezTo>
                    <a:pt x="601" y="1143"/>
                    <a:pt x="588" y="1160"/>
                    <a:pt x="558" y="1157"/>
                  </a:cubicBezTo>
                  <a:cubicBezTo>
                    <a:pt x="530" y="1157"/>
                    <a:pt x="512" y="1141"/>
                    <a:pt x="508" y="1113"/>
                  </a:cubicBezTo>
                  <a:close/>
                  <a:moveTo>
                    <a:pt x="430" y="716"/>
                  </a:moveTo>
                  <a:cubicBezTo>
                    <a:pt x="450" y="703"/>
                    <a:pt x="459" y="683"/>
                    <a:pt x="464" y="661"/>
                  </a:cubicBezTo>
                  <a:cubicBezTo>
                    <a:pt x="468" y="648"/>
                    <a:pt x="467" y="635"/>
                    <a:pt x="466" y="621"/>
                  </a:cubicBezTo>
                  <a:cubicBezTo>
                    <a:pt x="463" y="592"/>
                    <a:pt x="453" y="567"/>
                    <a:pt x="427" y="550"/>
                  </a:cubicBezTo>
                  <a:cubicBezTo>
                    <a:pt x="401" y="534"/>
                    <a:pt x="372" y="532"/>
                    <a:pt x="345" y="541"/>
                  </a:cubicBezTo>
                  <a:cubicBezTo>
                    <a:pt x="310" y="552"/>
                    <a:pt x="291" y="580"/>
                    <a:pt x="287" y="617"/>
                  </a:cubicBezTo>
                  <a:cubicBezTo>
                    <a:pt x="286" y="629"/>
                    <a:pt x="286" y="641"/>
                    <a:pt x="287" y="654"/>
                  </a:cubicBezTo>
                  <a:cubicBezTo>
                    <a:pt x="289" y="671"/>
                    <a:pt x="295" y="686"/>
                    <a:pt x="306" y="700"/>
                  </a:cubicBezTo>
                  <a:cubicBezTo>
                    <a:pt x="324" y="722"/>
                    <a:pt x="348" y="733"/>
                    <a:pt x="378" y="731"/>
                  </a:cubicBezTo>
                  <a:cubicBezTo>
                    <a:pt x="396" y="733"/>
                    <a:pt x="414" y="727"/>
                    <a:pt x="430" y="716"/>
                  </a:cubicBezTo>
                  <a:close/>
                  <a:moveTo>
                    <a:pt x="331" y="592"/>
                  </a:moveTo>
                  <a:cubicBezTo>
                    <a:pt x="339" y="580"/>
                    <a:pt x="349" y="569"/>
                    <a:pt x="365" y="567"/>
                  </a:cubicBezTo>
                  <a:cubicBezTo>
                    <a:pt x="387" y="564"/>
                    <a:pt x="406" y="568"/>
                    <a:pt x="419" y="588"/>
                  </a:cubicBezTo>
                  <a:cubicBezTo>
                    <a:pt x="423" y="595"/>
                    <a:pt x="426" y="603"/>
                    <a:pt x="427" y="610"/>
                  </a:cubicBezTo>
                  <a:cubicBezTo>
                    <a:pt x="433" y="635"/>
                    <a:pt x="431" y="661"/>
                    <a:pt x="416" y="684"/>
                  </a:cubicBezTo>
                  <a:cubicBezTo>
                    <a:pt x="403" y="706"/>
                    <a:pt x="362" y="708"/>
                    <a:pt x="345" y="692"/>
                  </a:cubicBezTo>
                  <a:cubicBezTo>
                    <a:pt x="329" y="678"/>
                    <a:pt x="323" y="661"/>
                    <a:pt x="323" y="631"/>
                  </a:cubicBezTo>
                  <a:cubicBezTo>
                    <a:pt x="323" y="619"/>
                    <a:pt x="323" y="605"/>
                    <a:pt x="331" y="592"/>
                  </a:cubicBezTo>
                  <a:close/>
                  <a:moveTo>
                    <a:pt x="1073" y="259"/>
                  </a:moveTo>
                  <a:cubicBezTo>
                    <a:pt x="1073" y="269"/>
                    <a:pt x="1075" y="272"/>
                    <a:pt x="1086" y="272"/>
                  </a:cubicBezTo>
                  <a:cubicBezTo>
                    <a:pt x="1088" y="272"/>
                    <a:pt x="1090" y="272"/>
                    <a:pt x="1092" y="272"/>
                  </a:cubicBezTo>
                  <a:cubicBezTo>
                    <a:pt x="1105" y="272"/>
                    <a:pt x="1106" y="271"/>
                    <a:pt x="1106" y="258"/>
                  </a:cubicBezTo>
                  <a:cubicBezTo>
                    <a:pt x="1106" y="221"/>
                    <a:pt x="1106" y="184"/>
                    <a:pt x="1106" y="147"/>
                  </a:cubicBezTo>
                  <a:cubicBezTo>
                    <a:pt x="1106" y="143"/>
                    <a:pt x="1106" y="140"/>
                    <a:pt x="1107" y="137"/>
                  </a:cubicBezTo>
                  <a:cubicBezTo>
                    <a:pt x="1117" y="117"/>
                    <a:pt x="1157" y="104"/>
                    <a:pt x="1177" y="114"/>
                  </a:cubicBezTo>
                  <a:cubicBezTo>
                    <a:pt x="1179" y="115"/>
                    <a:pt x="1180" y="117"/>
                    <a:pt x="1182" y="118"/>
                  </a:cubicBezTo>
                  <a:cubicBezTo>
                    <a:pt x="1194" y="131"/>
                    <a:pt x="1196" y="147"/>
                    <a:pt x="1196" y="163"/>
                  </a:cubicBezTo>
                  <a:cubicBezTo>
                    <a:pt x="1197" y="195"/>
                    <a:pt x="1196" y="226"/>
                    <a:pt x="1196" y="258"/>
                  </a:cubicBezTo>
                  <a:cubicBezTo>
                    <a:pt x="1196" y="271"/>
                    <a:pt x="1197" y="272"/>
                    <a:pt x="1210" y="272"/>
                  </a:cubicBezTo>
                  <a:cubicBezTo>
                    <a:pt x="1212" y="272"/>
                    <a:pt x="1213" y="272"/>
                    <a:pt x="1215" y="272"/>
                  </a:cubicBezTo>
                  <a:cubicBezTo>
                    <a:pt x="1227" y="272"/>
                    <a:pt x="1229" y="270"/>
                    <a:pt x="1229" y="258"/>
                  </a:cubicBezTo>
                  <a:cubicBezTo>
                    <a:pt x="1229" y="222"/>
                    <a:pt x="1229" y="187"/>
                    <a:pt x="1229" y="151"/>
                  </a:cubicBezTo>
                  <a:cubicBezTo>
                    <a:pt x="1229" y="142"/>
                    <a:pt x="1228" y="132"/>
                    <a:pt x="1225" y="123"/>
                  </a:cubicBezTo>
                  <a:cubicBezTo>
                    <a:pt x="1219" y="105"/>
                    <a:pt x="1208" y="91"/>
                    <a:pt x="1189" y="85"/>
                  </a:cubicBezTo>
                  <a:cubicBezTo>
                    <a:pt x="1173" y="80"/>
                    <a:pt x="1156" y="84"/>
                    <a:pt x="1139" y="84"/>
                  </a:cubicBezTo>
                  <a:cubicBezTo>
                    <a:pt x="1137" y="84"/>
                    <a:pt x="1136" y="86"/>
                    <a:pt x="1134" y="87"/>
                  </a:cubicBezTo>
                  <a:cubicBezTo>
                    <a:pt x="1128" y="91"/>
                    <a:pt x="1121" y="96"/>
                    <a:pt x="1115" y="100"/>
                  </a:cubicBezTo>
                  <a:cubicBezTo>
                    <a:pt x="1113" y="102"/>
                    <a:pt x="1111" y="105"/>
                    <a:pt x="1108" y="103"/>
                  </a:cubicBezTo>
                  <a:cubicBezTo>
                    <a:pt x="1105" y="102"/>
                    <a:pt x="1106" y="98"/>
                    <a:pt x="1106" y="96"/>
                  </a:cubicBezTo>
                  <a:cubicBezTo>
                    <a:pt x="1106" y="69"/>
                    <a:pt x="1106" y="43"/>
                    <a:pt x="1106" y="17"/>
                  </a:cubicBezTo>
                  <a:cubicBezTo>
                    <a:pt x="1106" y="0"/>
                    <a:pt x="1106" y="0"/>
                    <a:pt x="1089" y="0"/>
                  </a:cubicBezTo>
                  <a:cubicBezTo>
                    <a:pt x="1074" y="0"/>
                    <a:pt x="1073" y="1"/>
                    <a:pt x="1073" y="16"/>
                  </a:cubicBezTo>
                  <a:cubicBezTo>
                    <a:pt x="1073" y="56"/>
                    <a:pt x="1073" y="96"/>
                    <a:pt x="1073" y="136"/>
                  </a:cubicBezTo>
                  <a:cubicBezTo>
                    <a:pt x="1073" y="177"/>
                    <a:pt x="1073" y="218"/>
                    <a:pt x="1073" y="259"/>
                  </a:cubicBezTo>
                  <a:close/>
                  <a:moveTo>
                    <a:pt x="1150" y="1092"/>
                  </a:moveTo>
                  <a:cubicBezTo>
                    <a:pt x="1168" y="1092"/>
                    <a:pt x="1186" y="1092"/>
                    <a:pt x="1204" y="1092"/>
                  </a:cubicBezTo>
                  <a:cubicBezTo>
                    <a:pt x="1215" y="1092"/>
                    <a:pt x="1218" y="1087"/>
                    <a:pt x="1219" y="1077"/>
                  </a:cubicBezTo>
                  <a:cubicBezTo>
                    <a:pt x="1220" y="1062"/>
                    <a:pt x="1216" y="1049"/>
                    <a:pt x="1210" y="1036"/>
                  </a:cubicBezTo>
                  <a:cubicBezTo>
                    <a:pt x="1204" y="1020"/>
                    <a:pt x="1193" y="1008"/>
                    <a:pt x="1177" y="1001"/>
                  </a:cubicBezTo>
                  <a:cubicBezTo>
                    <a:pt x="1155" y="992"/>
                    <a:pt x="1133" y="991"/>
                    <a:pt x="1109" y="999"/>
                  </a:cubicBezTo>
                  <a:cubicBezTo>
                    <a:pt x="1079" y="1010"/>
                    <a:pt x="1062" y="1031"/>
                    <a:pt x="1056" y="1061"/>
                  </a:cubicBezTo>
                  <a:cubicBezTo>
                    <a:pt x="1051" y="1090"/>
                    <a:pt x="1052" y="1120"/>
                    <a:pt x="1069" y="1148"/>
                  </a:cubicBezTo>
                  <a:cubicBezTo>
                    <a:pt x="1081" y="1169"/>
                    <a:pt x="1100" y="1180"/>
                    <a:pt x="1122" y="1185"/>
                  </a:cubicBezTo>
                  <a:cubicBezTo>
                    <a:pt x="1149" y="1190"/>
                    <a:pt x="1176" y="1186"/>
                    <a:pt x="1200" y="1171"/>
                  </a:cubicBezTo>
                  <a:cubicBezTo>
                    <a:pt x="1206" y="1168"/>
                    <a:pt x="1213" y="1165"/>
                    <a:pt x="1214" y="1157"/>
                  </a:cubicBezTo>
                  <a:cubicBezTo>
                    <a:pt x="1215" y="1147"/>
                    <a:pt x="1202" y="1139"/>
                    <a:pt x="1193" y="1144"/>
                  </a:cubicBezTo>
                  <a:cubicBezTo>
                    <a:pt x="1187" y="1147"/>
                    <a:pt x="1180" y="1150"/>
                    <a:pt x="1174" y="1153"/>
                  </a:cubicBezTo>
                  <a:cubicBezTo>
                    <a:pt x="1158" y="1161"/>
                    <a:pt x="1140" y="1161"/>
                    <a:pt x="1124" y="1155"/>
                  </a:cubicBezTo>
                  <a:cubicBezTo>
                    <a:pt x="1112" y="1151"/>
                    <a:pt x="1102" y="1142"/>
                    <a:pt x="1096" y="1129"/>
                  </a:cubicBezTo>
                  <a:cubicBezTo>
                    <a:pt x="1092" y="1121"/>
                    <a:pt x="1091" y="1112"/>
                    <a:pt x="1089" y="1104"/>
                  </a:cubicBezTo>
                  <a:cubicBezTo>
                    <a:pt x="1087" y="1093"/>
                    <a:pt x="1087" y="1092"/>
                    <a:pt x="1099" y="1092"/>
                  </a:cubicBezTo>
                  <a:cubicBezTo>
                    <a:pt x="1116" y="1092"/>
                    <a:pt x="1133" y="1092"/>
                    <a:pt x="1150" y="1092"/>
                  </a:cubicBezTo>
                  <a:cubicBezTo>
                    <a:pt x="1150" y="1092"/>
                    <a:pt x="1150" y="1092"/>
                    <a:pt x="1150" y="1092"/>
                  </a:cubicBezTo>
                  <a:close/>
                  <a:moveTo>
                    <a:pt x="1099" y="1070"/>
                  </a:moveTo>
                  <a:cubicBezTo>
                    <a:pt x="1092" y="1071"/>
                    <a:pt x="1089" y="1067"/>
                    <a:pt x="1091" y="1060"/>
                  </a:cubicBezTo>
                  <a:cubicBezTo>
                    <a:pt x="1094" y="1045"/>
                    <a:pt x="1108" y="1023"/>
                    <a:pt x="1128" y="1022"/>
                  </a:cubicBezTo>
                  <a:cubicBezTo>
                    <a:pt x="1142" y="1021"/>
                    <a:pt x="1156" y="1018"/>
                    <a:pt x="1168" y="1029"/>
                  </a:cubicBezTo>
                  <a:cubicBezTo>
                    <a:pt x="1181" y="1038"/>
                    <a:pt x="1185" y="1051"/>
                    <a:pt x="1187" y="1066"/>
                  </a:cubicBezTo>
                  <a:cubicBezTo>
                    <a:pt x="1188" y="1071"/>
                    <a:pt x="1183" y="1070"/>
                    <a:pt x="1180" y="1070"/>
                  </a:cubicBezTo>
                  <a:cubicBezTo>
                    <a:pt x="1166" y="1070"/>
                    <a:pt x="1153" y="1070"/>
                    <a:pt x="1139" y="1070"/>
                  </a:cubicBezTo>
                  <a:cubicBezTo>
                    <a:pt x="1139" y="1070"/>
                    <a:pt x="1139" y="1070"/>
                    <a:pt x="1139" y="1070"/>
                  </a:cubicBezTo>
                  <a:cubicBezTo>
                    <a:pt x="1126" y="1070"/>
                    <a:pt x="1113" y="1070"/>
                    <a:pt x="1099" y="1070"/>
                  </a:cubicBezTo>
                  <a:close/>
                  <a:moveTo>
                    <a:pt x="1741" y="1092"/>
                  </a:moveTo>
                  <a:cubicBezTo>
                    <a:pt x="1759" y="1092"/>
                    <a:pt x="1776" y="1092"/>
                    <a:pt x="1793" y="1092"/>
                  </a:cubicBezTo>
                  <a:cubicBezTo>
                    <a:pt x="1806" y="1092"/>
                    <a:pt x="1808" y="1089"/>
                    <a:pt x="1808" y="1076"/>
                  </a:cubicBezTo>
                  <a:cubicBezTo>
                    <a:pt x="1809" y="1063"/>
                    <a:pt x="1807" y="1051"/>
                    <a:pt x="1802" y="1038"/>
                  </a:cubicBezTo>
                  <a:cubicBezTo>
                    <a:pt x="1794" y="1021"/>
                    <a:pt x="1782" y="1008"/>
                    <a:pt x="1764" y="1000"/>
                  </a:cubicBezTo>
                  <a:cubicBezTo>
                    <a:pt x="1742" y="991"/>
                    <a:pt x="1720" y="991"/>
                    <a:pt x="1698" y="1000"/>
                  </a:cubicBezTo>
                  <a:cubicBezTo>
                    <a:pt x="1681" y="1006"/>
                    <a:pt x="1668" y="1016"/>
                    <a:pt x="1659" y="1031"/>
                  </a:cubicBezTo>
                  <a:cubicBezTo>
                    <a:pt x="1646" y="1050"/>
                    <a:pt x="1643" y="1071"/>
                    <a:pt x="1644" y="1094"/>
                  </a:cubicBezTo>
                  <a:cubicBezTo>
                    <a:pt x="1644" y="1110"/>
                    <a:pt x="1647" y="1127"/>
                    <a:pt x="1655" y="1141"/>
                  </a:cubicBezTo>
                  <a:cubicBezTo>
                    <a:pt x="1669" y="1168"/>
                    <a:pt x="1691" y="1183"/>
                    <a:pt x="1722" y="1186"/>
                  </a:cubicBezTo>
                  <a:cubicBezTo>
                    <a:pt x="1750" y="1188"/>
                    <a:pt x="1775" y="1183"/>
                    <a:pt x="1798" y="1165"/>
                  </a:cubicBezTo>
                  <a:cubicBezTo>
                    <a:pt x="1803" y="1161"/>
                    <a:pt x="1806" y="1157"/>
                    <a:pt x="1802" y="1151"/>
                  </a:cubicBezTo>
                  <a:cubicBezTo>
                    <a:pt x="1798" y="1144"/>
                    <a:pt x="1791" y="1140"/>
                    <a:pt x="1783" y="1144"/>
                  </a:cubicBezTo>
                  <a:cubicBezTo>
                    <a:pt x="1778" y="1147"/>
                    <a:pt x="1771" y="1149"/>
                    <a:pt x="1766" y="1152"/>
                  </a:cubicBezTo>
                  <a:cubicBezTo>
                    <a:pt x="1749" y="1161"/>
                    <a:pt x="1730" y="1162"/>
                    <a:pt x="1714" y="1155"/>
                  </a:cubicBezTo>
                  <a:cubicBezTo>
                    <a:pt x="1692" y="1145"/>
                    <a:pt x="1680" y="1127"/>
                    <a:pt x="1679" y="1102"/>
                  </a:cubicBezTo>
                  <a:cubicBezTo>
                    <a:pt x="1678" y="1095"/>
                    <a:pt x="1681" y="1092"/>
                    <a:pt x="1689" y="1092"/>
                  </a:cubicBezTo>
                  <a:cubicBezTo>
                    <a:pt x="1706" y="1092"/>
                    <a:pt x="1724" y="1092"/>
                    <a:pt x="1741" y="1092"/>
                  </a:cubicBezTo>
                  <a:cubicBezTo>
                    <a:pt x="1741" y="1092"/>
                    <a:pt x="1741" y="1092"/>
                    <a:pt x="1741" y="1092"/>
                  </a:cubicBezTo>
                  <a:close/>
                  <a:moveTo>
                    <a:pt x="1690" y="1070"/>
                  </a:moveTo>
                  <a:cubicBezTo>
                    <a:pt x="1683" y="1071"/>
                    <a:pt x="1680" y="1068"/>
                    <a:pt x="1681" y="1062"/>
                  </a:cubicBezTo>
                  <a:cubicBezTo>
                    <a:pt x="1683" y="1048"/>
                    <a:pt x="1697" y="1024"/>
                    <a:pt x="1716" y="1022"/>
                  </a:cubicBezTo>
                  <a:cubicBezTo>
                    <a:pt x="1731" y="1020"/>
                    <a:pt x="1747" y="1018"/>
                    <a:pt x="1760" y="1030"/>
                  </a:cubicBezTo>
                  <a:cubicBezTo>
                    <a:pt x="1771" y="1038"/>
                    <a:pt x="1775" y="1050"/>
                    <a:pt x="1778" y="1062"/>
                  </a:cubicBezTo>
                  <a:cubicBezTo>
                    <a:pt x="1780" y="1068"/>
                    <a:pt x="1775" y="1070"/>
                    <a:pt x="1769" y="1070"/>
                  </a:cubicBezTo>
                  <a:cubicBezTo>
                    <a:pt x="1756" y="1070"/>
                    <a:pt x="1742" y="1070"/>
                    <a:pt x="1729" y="1070"/>
                  </a:cubicBezTo>
                  <a:cubicBezTo>
                    <a:pt x="1729" y="1070"/>
                    <a:pt x="1729" y="1070"/>
                    <a:pt x="1729" y="1070"/>
                  </a:cubicBezTo>
                  <a:cubicBezTo>
                    <a:pt x="1716" y="1070"/>
                    <a:pt x="1703" y="1070"/>
                    <a:pt x="1690" y="1070"/>
                  </a:cubicBezTo>
                  <a:close/>
                  <a:moveTo>
                    <a:pt x="68" y="581"/>
                  </a:moveTo>
                  <a:cubicBezTo>
                    <a:pt x="68" y="573"/>
                    <a:pt x="70" y="568"/>
                    <a:pt x="80" y="569"/>
                  </a:cubicBezTo>
                  <a:cubicBezTo>
                    <a:pt x="90" y="570"/>
                    <a:pt x="101" y="570"/>
                    <a:pt x="111" y="569"/>
                  </a:cubicBezTo>
                  <a:cubicBezTo>
                    <a:pt x="120" y="569"/>
                    <a:pt x="120" y="563"/>
                    <a:pt x="120" y="556"/>
                  </a:cubicBezTo>
                  <a:cubicBezTo>
                    <a:pt x="120" y="549"/>
                    <a:pt x="119" y="544"/>
                    <a:pt x="111" y="544"/>
                  </a:cubicBezTo>
                  <a:cubicBezTo>
                    <a:pt x="104" y="544"/>
                    <a:pt x="97" y="544"/>
                    <a:pt x="91" y="544"/>
                  </a:cubicBezTo>
                  <a:cubicBezTo>
                    <a:pt x="66" y="544"/>
                    <a:pt x="65" y="543"/>
                    <a:pt x="68" y="518"/>
                  </a:cubicBezTo>
                  <a:cubicBezTo>
                    <a:pt x="69" y="504"/>
                    <a:pt x="83" y="487"/>
                    <a:pt x="99" y="489"/>
                  </a:cubicBezTo>
                  <a:cubicBezTo>
                    <a:pt x="103" y="489"/>
                    <a:pt x="107" y="489"/>
                    <a:pt x="110" y="488"/>
                  </a:cubicBezTo>
                  <a:cubicBezTo>
                    <a:pt x="118" y="487"/>
                    <a:pt x="123" y="479"/>
                    <a:pt x="123" y="471"/>
                  </a:cubicBezTo>
                  <a:cubicBezTo>
                    <a:pt x="123" y="461"/>
                    <a:pt x="116" y="462"/>
                    <a:pt x="109" y="460"/>
                  </a:cubicBezTo>
                  <a:cubicBezTo>
                    <a:pt x="100" y="458"/>
                    <a:pt x="92" y="460"/>
                    <a:pt x="84" y="460"/>
                  </a:cubicBezTo>
                  <a:cubicBezTo>
                    <a:pt x="68" y="461"/>
                    <a:pt x="56" y="469"/>
                    <a:pt x="47" y="480"/>
                  </a:cubicBezTo>
                  <a:cubicBezTo>
                    <a:pt x="34" y="493"/>
                    <a:pt x="32" y="511"/>
                    <a:pt x="32" y="529"/>
                  </a:cubicBezTo>
                  <a:cubicBezTo>
                    <a:pt x="32" y="544"/>
                    <a:pt x="32" y="544"/>
                    <a:pt x="17" y="544"/>
                  </a:cubicBezTo>
                  <a:cubicBezTo>
                    <a:pt x="4" y="543"/>
                    <a:pt x="0" y="548"/>
                    <a:pt x="4" y="561"/>
                  </a:cubicBezTo>
                  <a:cubicBezTo>
                    <a:pt x="6" y="569"/>
                    <a:pt x="13" y="568"/>
                    <a:pt x="19" y="569"/>
                  </a:cubicBezTo>
                  <a:cubicBezTo>
                    <a:pt x="32" y="571"/>
                    <a:pt x="32" y="571"/>
                    <a:pt x="32" y="584"/>
                  </a:cubicBezTo>
                  <a:cubicBezTo>
                    <a:pt x="32" y="624"/>
                    <a:pt x="32" y="664"/>
                    <a:pt x="32" y="704"/>
                  </a:cubicBezTo>
                  <a:cubicBezTo>
                    <a:pt x="32" y="731"/>
                    <a:pt x="32" y="730"/>
                    <a:pt x="57" y="731"/>
                  </a:cubicBezTo>
                  <a:cubicBezTo>
                    <a:pt x="66" y="731"/>
                    <a:pt x="68" y="727"/>
                    <a:pt x="68" y="720"/>
                  </a:cubicBezTo>
                  <a:cubicBezTo>
                    <a:pt x="68" y="697"/>
                    <a:pt x="68" y="674"/>
                    <a:pt x="68" y="651"/>
                  </a:cubicBezTo>
                  <a:cubicBezTo>
                    <a:pt x="68" y="628"/>
                    <a:pt x="68" y="605"/>
                    <a:pt x="68" y="581"/>
                  </a:cubicBezTo>
                  <a:close/>
                  <a:moveTo>
                    <a:pt x="278" y="1165"/>
                  </a:moveTo>
                  <a:cubicBezTo>
                    <a:pt x="278" y="1183"/>
                    <a:pt x="278" y="1183"/>
                    <a:pt x="296" y="1184"/>
                  </a:cubicBezTo>
                  <a:cubicBezTo>
                    <a:pt x="310" y="1184"/>
                    <a:pt x="310" y="1184"/>
                    <a:pt x="310" y="1169"/>
                  </a:cubicBezTo>
                  <a:cubicBezTo>
                    <a:pt x="310" y="1132"/>
                    <a:pt x="310" y="1095"/>
                    <a:pt x="310" y="1058"/>
                  </a:cubicBezTo>
                  <a:cubicBezTo>
                    <a:pt x="310" y="1052"/>
                    <a:pt x="312" y="1047"/>
                    <a:pt x="316" y="1042"/>
                  </a:cubicBezTo>
                  <a:cubicBezTo>
                    <a:pt x="324" y="1033"/>
                    <a:pt x="334" y="1027"/>
                    <a:pt x="345" y="1024"/>
                  </a:cubicBezTo>
                  <a:cubicBezTo>
                    <a:pt x="357" y="1020"/>
                    <a:pt x="371" y="1018"/>
                    <a:pt x="383" y="1028"/>
                  </a:cubicBezTo>
                  <a:cubicBezTo>
                    <a:pt x="397" y="1039"/>
                    <a:pt x="401" y="1054"/>
                    <a:pt x="401" y="1071"/>
                  </a:cubicBezTo>
                  <a:cubicBezTo>
                    <a:pt x="401" y="1102"/>
                    <a:pt x="401" y="1132"/>
                    <a:pt x="401" y="1163"/>
                  </a:cubicBezTo>
                  <a:cubicBezTo>
                    <a:pt x="401" y="1183"/>
                    <a:pt x="401" y="1182"/>
                    <a:pt x="420" y="1184"/>
                  </a:cubicBezTo>
                  <a:cubicBezTo>
                    <a:pt x="429" y="1185"/>
                    <a:pt x="433" y="1181"/>
                    <a:pt x="433" y="1173"/>
                  </a:cubicBezTo>
                  <a:cubicBezTo>
                    <a:pt x="432" y="1130"/>
                    <a:pt x="435" y="1087"/>
                    <a:pt x="431" y="1044"/>
                  </a:cubicBezTo>
                  <a:cubicBezTo>
                    <a:pt x="427" y="1014"/>
                    <a:pt x="404" y="996"/>
                    <a:pt x="376" y="994"/>
                  </a:cubicBezTo>
                  <a:cubicBezTo>
                    <a:pt x="353" y="992"/>
                    <a:pt x="333" y="1000"/>
                    <a:pt x="317" y="1017"/>
                  </a:cubicBezTo>
                  <a:cubicBezTo>
                    <a:pt x="312" y="1021"/>
                    <a:pt x="311" y="1019"/>
                    <a:pt x="309" y="1015"/>
                  </a:cubicBezTo>
                  <a:cubicBezTo>
                    <a:pt x="309" y="1013"/>
                    <a:pt x="308" y="1011"/>
                    <a:pt x="308" y="1008"/>
                  </a:cubicBezTo>
                  <a:cubicBezTo>
                    <a:pt x="306" y="1001"/>
                    <a:pt x="298" y="997"/>
                    <a:pt x="287" y="998"/>
                  </a:cubicBezTo>
                  <a:cubicBezTo>
                    <a:pt x="279" y="999"/>
                    <a:pt x="278" y="1004"/>
                    <a:pt x="278" y="1011"/>
                  </a:cubicBezTo>
                  <a:cubicBezTo>
                    <a:pt x="278" y="1037"/>
                    <a:pt x="278" y="1064"/>
                    <a:pt x="278" y="1091"/>
                  </a:cubicBezTo>
                  <a:cubicBezTo>
                    <a:pt x="278" y="1115"/>
                    <a:pt x="278" y="1140"/>
                    <a:pt x="278" y="1165"/>
                  </a:cubicBezTo>
                  <a:close/>
                  <a:moveTo>
                    <a:pt x="150" y="705"/>
                  </a:moveTo>
                  <a:cubicBezTo>
                    <a:pt x="150" y="734"/>
                    <a:pt x="145" y="730"/>
                    <a:pt x="176" y="731"/>
                  </a:cubicBezTo>
                  <a:cubicBezTo>
                    <a:pt x="185" y="731"/>
                    <a:pt x="187" y="727"/>
                    <a:pt x="187" y="719"/>
                  </a:cubicBezTo>
                  <a:cubicBezTo>
                    <a:pt x="187" y="685"/>
                    <a:pt x="187" y="651"/>
                    <a:pt x="187" y="618"/>
                  </a:cubicBezTo>
                  <a:cubicBezTo>
                    <a:pt x="187" y="597"/>
                    <a:pt x="204" y="578"/>
                    <a:pt x="225" y="574"/>
                  </a:cubicBezTo>
                  <a:cubicBezTo>
                    <a:pt x="232" y="572"/>
                    <a:pt x="240" y="574"/>
                    <a:pt x="247" y="575"/>
                  </a:cubicBezTo>
                  <a:cubicBezTo>
                    <a:pt x="257" y="576"/>
                    <a:pt x="261" y="572"/>
                    <a:pt x="265" y="564"/>
                  </a:cubicBezTo>
                  <a:cubicBezTo>
                    <a:pt x="269" y="556"/>
                    <a:pt x="267" y="542"/>
                    <a:pt x="261" y="540"/>
                  </a:cubicBezTo>
                  <a:cubicBezTo>
                    <a:pt x="253" y="538"/>
                    <a:pt x="244" y="534"/>
                    <a:pt x="237" y="536"/>
                  </a:cubicBezTo>
                  <a:cubicBezTo>
                    <a:pt x="228" y="537"/>
                    <a:pt x="217" y="537"/>
                    <a:pt x="209" y="544"/>
                  </a:cubicBezTo>
                  <a:cubicBezTo>
                    <a:pt x="204" y="549"/>
                    <a:pt x="198" y="553"/>
                    <a:pt x="194" y="558"/>
                  </a:cubicBezTo>
                  <a:cubicBezTo>
                    <a:pt x="192" y="561"/>
                    <a:pt x="189" y="563"/>
                    <a:pt x="185" y="562"/>
                  </a:cubicBezTo>
                  <a:cubicBezTo>
                    <a:pt x="182" y="561"/>
                    <a:pt x="182" y="558"/>
                    <a:pt x="182" y="556"/>
                  </a:cubicBezTo>
                  <a:cubicBezTo>
                    <a:pt x="180" y="539"/>
                    <a:pt x="179" y="539"/>
                    <a:pt x="162" y="539"/>
                  </a:cubicBezTo>
                  <a:cubicBezTo>
                    <a:pt x="151" y="539"/>
                    <a:pt x="150" y="540"/>
                    <a:pt x="150" y="551"/>
                  </a:cubicBezTo>
                  <a:cubicBezTo>
                    <a:pt x="150" y="579"/>
                    <a:pt x="150" y="607"/>
                    <a:pt x="150" y="635"/>
                  </a:cubicBezTo>
                  <a:cubicBezTo>
                    <a:pt x="150" y="658"/>
                    <a:pt x="149" y="682"/>
                    <a:pt x="150" y="705"/>
                  </a:cubicBezTo>
                  <a:close/>
                  <a:moveTo>
                    <a:pt x="1011" y="1049"/>
                  </a:moveTo>
                  <a:cubicBezTo>
                    <a:pt x="1011" y="1008"/>
                    <a:pt x="1011" y="966"/>
                    <a:pt x="1011" y="924"/>
                  </a:cubicBezTo>
                  <a:cubicBezTo>
                    <a:pt x="1011" y="913"/>
                    <a:pt x="1008" y="910"/>
                    <a:pt x="997" y="910"/>
                  </a:cubicBezTo>
                  <a:cubicBezTo>
                    <a:pt x="995" y="910"/>
                    <a:pt x="992" y="910"/>
                    <a:pt x="990" y="910"/>
                  </a:cubicBezTo>
                  <a:cubicBezTo>
                    <a:pt x="976" y="910"/>
                    <a:pt x="975" y="911"/>
                    <a:pt x="975" y="926"/>
                  </a:cubicBezTo>
                  <a:cubicBezTo>
                    <a:pt x="975" y="1006"/>
                    <a:pt x="975" y="1085"/>
                    <a:pt x="975" y="1165"/>
                  </a:cubicBezTo>
                  <a:cubicBezTo>
                    <a:pt x="975" y="1185"/>
                    <a:pt x="975" y="1185"/>
                    <a:pt x="994" y="1185"/>
                  </a:cubicBezTo>
                  <a:cubicBezTo>
                    <a:pt x="1009" y="1185"/>
                    <a:pt x="1011" y="1184"/>
                    <a:pt x="1011" y="1169"/>
                  </a:cubicBezTo>
                  <a:cubicBezTo>
                    <a:pt x="1011" y="1129"/>
                    <a:pt x="1011" y="1089"/>
                    <a:pt x="1011" y="1049"/>
                  </a:cubicBezTo>
                  <a:cubicBezTo>
                    <a:pt x="1011" y="1049"/>
                    <a:pt x="1011" y="1049"/>
                    <a:pt x="1011" y="1049"/>
                  </a:cubicBezTo>
                  <a:close/>
                  <a:moveTo>
                    <a:pt x="296" y="176"/>
                  </a:moveTo>
                  <a:cubicBezTo>
                    <a:pt x="296" y="201"/>
                    <a:pt x="296" y="226"/>
                    <a:pt x="296" y="251"/>
                  </a:cubicBezTo>
                  <a:cubicBezTo>
                    <a:pt x="295" y="276"/>
                    <a:pt x="296" y="274"/>
                    <a:pt x="318" y="274"/>
                  </a:cubicBezTo>
                  <a:cubicBezTo>
                    <a:pt x="330" y="274"/>
                    <a:pt x="331" y="274"/>
                    <a:pt x="331" y="260"/>
                  </a:cubicBezTo>
                  <a:cubicBezTo>
                    <a:pt x="331" y="232"/>
                    <a:pt x="331" y="204"/>
                    <a:pt x="331" y="176"/>
                  </a:cubicBezTo>
                  <a:cubicBezTo>
                    <a:pt x="331" y="165"/>
                    <a:pt x="331" y="155"/>
                    <a:pt x="337" y="145"/>
                  </a:cubicBezTo>
                  <a:cubicBezTo>
                    <a:pt x="349" y="123"/>
                    <a:pt x="359" y="117"/>
                    <a:pt x="377" y="118"/>
                  </a:cubicBezTo>
                  <a:cubicBezTo>
                    <a:pt x="383" y="118"/>
                    <a:pt x="389" y="119"/>
                    <a:pt x="395" y="120"/>
                  </a:cubicBezTo>
                  <a:cubicBezTo>
                    <a:pt x="401" y="120"/>
                    <a:pt x="407" y="118"/>
                    <a:pt x="408" y="112"/>
                  </a:cubicBezTo>
                  <a:cubicBezTo>
                    <a:pt x="409" y="103"/>
                    <a:pt x="415" y="93"/>
                    <a:pt x="407" y="85"/>
                  </a:cubicBezTo>
                  <a:cubicBezTo>
                    <a:pt x="406" y="84"/>
                    <a:pt x="404" y="84"/>
                    <a:pt x="402" y="84"/>
                  </a:cubicBezTo>
                  <a:cubicBezTo>
                    <a:pt x="376" y="78"/>
                    <a:pt x="353" y="82"/>
                    <a:pt x="337" y="106"/>
                  </a:cubicBezTo>
                  <a:cubicBezTo>
                    <a:pt x="336" y="108"/>
                    <a:pt x="335" y="110"/>
                    <a:pt x="333" y="109"/>
                  </a:cubicBezTo>
                  <a:cubicBezTo>
                    <a:pt x="331" y="109"/>
                    <a:pt x="330" y="107"/>
                    <a:pt x="330" y="105"/>
                  </a:cubicBezTo>
                  <a:cubicBezTo>
                    <a:pt x="329" y="101"/>
                    <a:pt x="329" y="97"/>
                    <a:pt x="328" y="94"/>
                  </a:cubicBezTo>
                  <a:cubicBezTo>
                    <a:pt x="325" y="85"/>
                    <a:pt x="318" y="82"/>
                    <a:pt x="303" y="84"/>
                  </a:cubicBezTo>
                  <a:cubicBezTo>
                    <a:pt x="297" y="84"/>
                    <a:pt x="295" y="86"/>
                    <a:pt x="295" y="92"/>
                  </a:cubicBezTo>
                  <a:cubicBezTo>
                    <a:pt x="296" y="120"/>
                    <a:pt x="295" y="148"/>
                    <a:pt x="295" y="176"/>
                  </a:cubicBezTo>
                  <a:cubicBezTo>
                    <a:pt x="296" y="176"/>
                    <a:pt x="296" y="176"/>
                    <a:pt x="296" y="176"/>
                  </a:cubicBezTo>
                  <a:close/>
                  <a:moveTo>
                    <a:pt x="946" y="179"/>
                  </a:moveTo>
                  <a:cubicBezTo>
                    <a:pt x="946" y="197"/>
                    <a:pt x="946" y="215"/>
                    <a:pt x="946" y="234"/>
                  </a:cubicBezTo>
                  <a:cubicBezTo>
                    <a:pt x="946" y="248"/>
                    <a:pt x="951" y="260"/>
                    <a:pt x="963" y="268"/>
                  </a:cubicBezTo>
                  <a:cubicBezTo>
                    <a:pt x="982" y="280"/>
                    <a:pt x="1011" y="277"/>
                    <a:pt x="1029" y="264"/>
                  </a:cubicBezTo>
                  <a:cubicBezTo>
                    <a:pt x="1036" y="259"/>
                    <a:pt x="1036" y="254"/>
                    <a:pt x="1032" y="248"/>
                  </a:cubicBezTo>
                  <a:cubicBezTo>
                    <a:pt x="1026" y="239"/>
                    <a:pt x="1020" y="238"/>
                    <a:pt x="1013" y="242"/>
                  </a:cubicBezTo>
                  <a:cubicBezTo>
                    <a:pt x="996" y="252"/>
                    <a:pt x="978" y="243"/>
                    <a:pt x="978" y="223"/>
                  </a:cubicBezTo>
                  <a:cubicBezTo>
                    <a:pt x="978" y="190"/>
                    <a:pt x="978" y="157"/>
                    <a:pt x="978" y="123"/>
                  </a:cubicBezTo>
                  <a:cubicBezTo>
                    <a:pt x="978" y="116"/>
                    <a:pt x="981" y="113"/>
                    <a:pt x="988" y="113"/>
                  </a:cubicBezTo>
                  <a:cubicBezTo>
                    <a:pt x="999" y="114"/>
                    <a:pt x="1011" y="113"/>
                    <a:pt x="1022" y="113"/>
                  </a:cubicBezTo>
                  <a:cubicBezTo>
                    <a:pt x="1028" y="113"/>
                    <a:pt x="1033" y="112"/>
                    <a:pt x="1033" y="104"/>
                  </a:cubicBezTo>
                  <a:cubicBezTo>
                    <a:pt x="1033" y="96"/>
                    <a:pt x="1032" y="90"/>
                    <a:pt x="1022" y="90"/>
                  </a:cubicBezTo>
                  <a:cubicBezTo>
                    <a:pt x="1011" y="90"/>
                    <a:pt x="1001" y="90"/>
                    <a:pt x="990" y="90"/>
                  </a:cubicBezTo>
                  <a:cubicBezTo>
                    <a:pt x="981" y="91"/>
                    <a:pt x="977" y="88"/>
                    <a:pt x="978" y="78"/>
                  </a:cubicBezTo>
                  <a:cubicBezTo>
                    <a:pt x="978" y="64"/>
                    <a:pt x="978" y="49"/>
                    <a:pt x="978" y="35"/>
                  </a:cubicBezTo>
                  <a:cubicBezTo>
                    <a:pt x="978" y="30"/>
                    <a:pt x="978" y="25"/>
                    <a:pt x="971" y="24"/>
                  </a:cubicBezTo>
                  <a:cubicBezTo>
                    <a:pt x="964" y="24"/>
                    <a:pt x="956" y="24"/>
                    <a:pt x="955" y="32"/>
                  </a:cubicBezTo>
                  <a:cubicBezTo>
                    <a:pt x="952" y="43"/>
                    <a:pt x="949" y="54"/>
                    <a:pt x="949" y="65"/>
                  </a:cubicBezTo>
                  <a:cubicBezTo>
                    <a:pt x="948" y="88"/>
                    <a:pt x="947" y="88"/>
                    <a:pt x="924" y="91"/>
                  </a:cubicBezTo>
                  <a:cubicBezTo>
                    <a:pt x="919" y="92"/>
                    <a:pt x="914" y="92"/>
                    <a:pt x="914" y="99"/>
                  </a:cubicBezTo>
                  <a:cubicBezTo>
                    <a:pt x="915" y="107"/>
                    <a:pt x="917" y="113"/>
                    <a:pt x="926" y="113"/>
                  </a:cubicBezTo>
                  <a:cubicBezTo>
                    <a:pt x="929" y="114"/>
                    <a:pt x="932" y="113"/>
                    <a:pt x="935" y="113"/>
                  </a:cubicBezTo>
                  <a:cubicBezTo>
                    <a:pt x="943" y="113"/>
                    <a:pt x="946" y="116"/>
                    <a:pt x="946" y="124"/>
                  </a:cubicBezTo>
                  <a:cubicBezTo>
                    <a:pt x="946" y="142"/>
                    <a:pt x="946" y="161"/>
                    <a:pt x="946" y="179"/>
                  </a:cubicBezTo>
                  <a:cubicBezTo>
                    <a:pt x="946" y="179"/>
                    <a:pt x="946" y="179"/>
                    <a:pt x="946" y="179"/>
                  </a:cubicBezTo>
                  <a:close/>
                </a:path>
              </a:pathLst>
            </a:custGeom>
            <a:solidFill>
              <a:srgbClr val="4C505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grpSp>
          <p:nvGrpSpPr>
            <p:cNvPr id="18" name="Group 4">
              <a:extLst>
                <a:ext uri="{FF2B5EF4-FFF2-40B4-BE49-F238E27FC236}">
                  <a16:creationId xmlns:a16="http://schemas.microsoft.com/office/drawing/2014/main" id="{57BD2C4C-DC67-B843-B26C-309622FC75F7}"/>
                </a:ext>
              </a:extLst>
            </p:cNvPr>
            <p:cNvGrpSpPr>
              <a:grpSpLocks noChangeAspect="1"/>
            </p:cNvGrpSpPr>
            <p:nvPr/>
          </p:nvGrpSpPr>
          <p:grpSpPr bwMode="gray">
            <a:xfrm>
              <a:off x="334963" y="296652"/>
              <a:ext cx="538094" cy="540000"/>
              <a:chOff x="2711" y="1027"/>
              <a:chExt cx="2258" cy="2266"/>
            </a:xfrm>
          </p:grpSpPr>
          <p:sp>
            <p:nvSpPr>
              <p:cNvPr id="19" name="AutoShape 3">
                <a:extLst>
                  <a:ext uri="{FF2B5EF4-FFF2-40B4-BE49-F238E27FC236}">
                    <a16:creationId xmlns:a16="http://schemas.microsoft.com/office/drawing/2014/main" id="{FE1DC41B-291E-574C-9F2C-874E70A40758}"/>
                  </a:ext>
                </a:extLst>
              </p:cNvPr>
              <p:cNvSpPr>
                <a:spLocks noChangeAspect="1" noChangeArrowheads="1" noTextEdit="1"/>
              </p:cNvSpPr>
              <p:nvPr/>
            </p:nvSpPr>
            <p:spPr bwMode="gray">
              <a:xfrm>
                <a:off x="2711" y="1027"/>
                <a:ext cx="2258" cy="22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20" name="Freeform 5">
                <a:extLst>
                  <a:ext uri="{FF2B5EF4-FFF2-40B4-BE49-F238E27FC236}">
                    <a16:creationId xmlns:a16="http://schemas.microsoft.com/office/drawing/2014/main" id="{D4B633C8-F761-C54B-9BD2-EB59D49A2DBC}"/>
                  </a:ext>
                </a:extLst>
              </p:cNvPr>
              <p:cNvSpPr>
                <a:spLocks/>
              </p:cNvSpPr>
              <p:nvPr/>
            </p:nvSpPr>
            <p:spPr bwMode="gray">
              <a:xfrm>
                <a:off x="2709" y="1029"/>
                <a:ext cx="2260" cy="2262"/>
              </a:xfrm>
              <a:custGeom>
                <a:avLst/>
                <a:gdLst>
                  <a:gd name="T0" fmla="*/ 2260 w 2260"/>
                  <a:gd name="T1" fmla="*/ 0 h 2262"/>
                  <a:gd name="T2" fmla="*/ 1612 w 2260"/>
                  <a:gd name="T3" fmla="*/ 649 h 2262"/>
                  <a:gd name="T4" fmla="*/ 1612 w 2260"/>
                  <a:gd name="T5" fmla="*/ 649 h 2262"/>
                  <a:gd name="T6" fmla="*/ 2035 w 2260"/>
                  <a:gd name="T7" fmla="*/ 0 h 2262"/>
                  <a:gd name="T8" fmla="*/ 0 w 2260"/>
                  <a:gd name="T9" fmla="*/ 0 h 2262"/>
                  <a:gd name="T10" fmla="*/ 0 w 2260"/>
                  <a:gd name="T11" fmla="*/ 2262 h 2262"/>
                  <a:gd name="T12" fmla="*/ 2260 w 2260"/>
                  <a:gd name="T13" fmla="*/ 2262 h 2262"/>
                  <a:gd name="T14" fmla="*/ 2260 w 2260"/>
                  <a:gd name="T15" fmla="*/ 0 h 2262"/>
                  <a:gd name="T16" fmla="*/ 2260 w 2260"/>
                  <a:gd name="T17" fmla="*/ 0 h 2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0" h="2262">
                    <a:moveTo>
                      <a:pt x="2260" y="0"/>
                    </a:moveTo>
                    <a:lnTo>
                      <a:pt x="1612" y="649"/>
                    </a:lnTo>
                    <a:lnTo>
                      <a:pt x="1612" y="649"/>
                    </a:lnTo>
                    <a:lnTo>
                      <a:pt x="2035" y="0"/>
                    </a:lnTo>
                    <a:lnTo>
                      <a:pt x="0" y="0"/>
                    </a:lnTo>
                    <a:lnTo>
                      <a:pt x="0" y="2262"/>
                    </a:lnTo>
                    <a:lnTo>
                      <a:pt x="2260" y="2262"/>
                    </a:lnTo>
                    <a:lnTo>
                      <a:pt x="2260" y="0"/>
                    </a:lnTo>
                    <a:lnTo>
                      <a:pt x="2260" y="0"/>
                    </a:lnTo>
                    <a:close/>
                  </a:path>
                </a:pathLst>
              </a:custGeom>
              <a:solidFill>
                <a:srgbClr val="E55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21" name="Freeform 6">
                <a:extLst>
                  <a:ext uri="{FF2B5EF4-FFF2-40B4-BE49-F238E27FC236}">
                    <a16:creationId xmlns:a16="http://schemas.microsoft.com/office/drawing/2014/main" id="{B16BAAE4-1A41-C843-9754-490F7A1E1270}"/>
                  </a:ext>
                </a:extLst>
              </p:cNvPr>
              <p:cNvSpPr>
                <a:spLocks noEditPoints="1"/>
              </p:cNvSpPr>
              <p:nvPr/>
            </p:nvSpPr>
            <p:spPr bwMode="gray">
              <a:xfrm>
                <a:off x="3623" y="1696"/>
                <a:ext cx="1167" cy="922"/>
              </a:xfrm>
              <a:custGeom>
                <a:avLst/>
                <a:gdLst>
                  <a:gd name="T0" fmla="*/ 411 w 580"/>
                  <a:gd name="T1" fmla="*/ 213 h 458"/>
                  <a:gd name="T2" fmla="*/ 570 w 580"/>
                  <a:gd name="T3" fmla="*/ 37 h 458"/>
                  <a:gd name="T4" fmla="*/ 580 w 580"/>
                  <a:gd name="T5" fmla="*/ 20 h 458"/>
                  <a:gd name="T6" fmla="*/ 545 w 580"/>
                  <a:gd name="T7" fmla="*/ 0 h 458"/>
                  <a:gd name="T8" fmla="*/ 519 w 580"/>
                  <a:gd name="T9" fmla="*/ 16 h 458"/>
                  <a:gd name="T10" fmla="*/ 344 w 580"/>
                  <a:gd name="T11" fmla="*/ 210 h 458"/>
                  <a:gd name="T12" fmla="*/ 334 w 580"/>
                  <a:gd name="T13" fmla="*/ 229 h 458"/>
                  <a:gd name="T14" fmla="*/ 344 w 580"/>
                  <a:gd name="T15" fmla="*/ 248 h 458"/>
                  <a:gd name="T16" fmla="*/ 519 w 580"/>
                  <a:gd name="T17" fmla="*/ 442 h 458"/>
                  <a:gd name="T18" fmla="*/ 545 w 580"/>
                  <a:gd name="T19" fmla="*/ 458 h 458"/>
                  <a:gd name="T20" fmla="*/ 580 w 580"/>
                  <a:gd name="T21" fmla="*/ 438 h 458"/>
                  <a:gd name="T22" fmla="*/ 570 w 580"/>
                  <a:gd name="T23" fmla="*/ 421 h 458"/>
                  <a:gd name="T24" fmla="*/ 411 w 580"/>
                  <a:gd name="T25" fmla="*/ 245 h 458"/>
                  <a:gd name="T26" fmla="*/ 399 w 580"/>
                  <a:gd name="T27" fmla="*/ 229 h 458"/>
                  <a:gd name="T28" fmla="*/ 411 w 580"/>
                  <a:gd name="T29" fmla="*/ 213 h 458"/>
                  <a:gd name="T30" fmla="*/ 252 w 580"/>
                  <a:gd name="T31" fmla="*/ 439 h 458"/>
                  <a:gd name="T32" fmla="*/ 281 w 580"/>
                  <a:gd name="T33" fmla="*/ 454 h 458"/>
                  <a:gd name="T34" fmla="*/ 309 w 580"/>
                  <a:gd name="T35" fmla="*/ 439 h 458"/>
                  <a:gd name="T36" fmla="*/ 309 w 580"/>
                  <a:gd name="T37" fmla="*/ 19 h 458"/>
                  <a:gd name="T38" fmla="*/ 281 w 580"/>
                  <a:gd name="T39" fmla="*/ 4 h 458"/>
                  <a:gd name="T40" fmla="*/ 252 w 580"/>
                  <a:gd name="T41" fmla="*/ 19 h 458"/>
                  <a:gd name="T42" fmla="*/ 252 w 580"/>
                  <a:gd name="T43" fmla="*/ 439 h 458"/>
                  <a:gd name="T44" fmla="*/ 0 w 580"/>
                  <a:gd name="T45" fmla="*/ 439 h 458"/>
                  <a:gd name="T46" fmla="*/ 28 w 580"/>
                  <a:gd name="T47" fmla="*/ 454 h 458"/>
                  <a:gd name="T48" fmla="*/ 56 w 580"/>
                  <a:gd name="T49" fmla="*/ 439 h 458"/>
                  <a:gd name="T50" fmla="*/ 56 w 580"/>
                  <a:gd name="T51" fmla="*/ 157 h 458"/>
                  <a:gd name="T52" fmla="*/ 165 w 580"/>
                  <a:gd name="T53" fmla="*/ 53 h 458"/>
                  <a:gd name="T54" fmla="*/ 180 w 580"/>
                  <a:gd name="T55" fmla="*/ 53 h 458"/>
                  <a:gd name="T56" fmla="*/ 196 w 580"/>
                  <a:gd name="T57" fmla="*/ 27 h 458"/>
                  <a:gd name="T58" fmla="*/ 154 w 580"/>
                  <a:gd name="T59" fmla="*/ 4 h 458"/>
                  <a:gd name="T60" fmla="*/ 0 w 580"/>
                  <a:gd name="T61" fmla="*/ 152 h 458"/>
                  <a:gd name="T62" fmla="*/ 0 w 580"/>
                  <a:gd name="T63" fmla="*/ 439 h 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80" h="458">
                    <a:moveTo>
                      <a:pt x="411" y="213"/>
                    </a:moveTo>
                    <a:cubicBezTo>
                      <a:pt x="570" y="37"/>
                      <a:pt x="570" y="37"/>
                      <a:pt x="570" y="37"/>
                    </a:cubicBezTo>
                    <a:cubicBezTo>
                      <a:pt x="576" y="30"/>
                      <a:pt x="580" y="25"/>
                      <a:pt x="580" y="20"/>
                    </a:cubicBezTo>
                    <a:cubicBezTo>
                      <a:pt x="580" y="10"/>
                      <a:pt x="559" y="0"/>
                      <a:pt x="545" y="0"/>
                    </a:cubicBezTo>
                    <a:cubicBezTo>
                      <a:pt x="535" y="0"/>
                      <a:pt x="526" y="8"/>
                      <a:pt x="519" y="16"/>
                    </a:cubicBezTo>
                    <a:cubicBezTo>
                      <a:pt x="344" y="210"/>
                      <a:pt x="344" y="210"/>
                      <a:pt x="344" y="210"/>
                    </a:cubicBezTo>
                    <a:cubicBezTo>
                      <a:pt x="336" y="219"/>
                      <a:pt x="334" y="224"/>
                      <a:pt x="334" y="229"/>
                    </a:cubicBezTo>
                    <a:cubicBezTo>
                      <a:pt x="334" y="234"/>
                      <a:pt x="336" y="239"/>
                      <a:pt x="344" y="248"/>
                    </a:cubicBezTo>
                    <a:cubicBezTo>
                      <a:pt x="519" y="442"/>
                      <a:pt x="519" y="442"/>
                      <a:pt x="519" y="442"/>
                    </a:cubicBezTo>
                    <a:cubicBezTo>
                      <a:pt x="526" y="450"/>
                      <a:pt x="535" y="458"/>
                      <a:pt x="545" y="458"/>
                    </a:cubicBezTo>
                    <a:cubicBezTo>
                      <a:pt x="559" y="458"/>
                      <a:pt x="580" y="448"/>
                      <a:pt x="580" y="438"/>
                    </a:cubicBezTo>
                    <a:cubicBezTo>
                      <a:pt x="580" y="433"/>
                      <a:pt x="576" y="428"/>
                      <a:pt x="570" y="421"/>
                    </a:cubicBezTo>
                    <a:cubicBezTo>
                      <a:pt x="411" y="245"/>
                      <a:pt x="411" y="245"/>
                      <a:pt x="411" y="245"/>
                    </a:cubicBezTo>
                    <a:cubicBezTo>
                      <a:pt x="403" y="236"/>
                      <a:pt x="399" y="232"/>
                      <a:pt x="399" y="229"/>
                    </a:cubicBezTo>
                    <a:cubicBezTo>
                      <a:pt x="399" y="226"/>
                      <a:pt x="403" y="222"/>
                      <a:pt x="411" y="213"/>
                    </a:cubicBezTo>
                    <a:moveTo>
                      <a:pt x="252" y="439"/>
                    </a:moveTo>
                    <a:cubicBezTo>
                      <a:pt x="252" y="449"/>
                      <a:pt x="261" y="454"/>
                      <a:pt x="281" y="454"/>
                    </a:cubicBezTo>
                    <a:cubicBezTo>
                      <a:pt x="300" y="454"/>
                      <a:pt x="309" y="449"/>
                      <a:pt x="309" y="439"/>
                    </a:cubicBezTo>
                    <a:cubicBezTo>
                      <a:pt x="309" y="19"/>
                      <a:pt x="309" y="19"/>
                      <a:pt x="309" y="19"/>
                    </a:cubicBezTo>
                    <a:cubicBezTo>
                      <a:pt x="309" y="9"/>
                      <a:pt x="300" y="4"/>
                      <a:pt x="281" y="4"/>
                    </a:cubicBezTo>
                    <a:cubicBezTo>
                      <a:pt x="261" y="4"/>
                      <a:pt x="252" y="9"/>
                      <a:pt x="252" y="19"/>
                    </a:cubicBezTo>
                    <a:lnTo>
                      <a:pt x="252" y="439"/>
                    </a:lnTo>
                    <a:close/>
                    <a:moveTo>
                      <a:pt x="0" y="439"/>
                    </a:moveTo>
                    <a:cubicBezTo>
                      <a:pt x="0" y="449"/>
                      <a:pt x="8" y="454"/>
                      <a:pt x="28" y="454"/>
                    </a:cubicBezTo>
                    <a:cubicBezTo>
                      <a:pt x="48" y="454"/>
                      <a:pt x="56" y="449"/>
                      <a:pt x="56" y="439"/>
                    </a:cubicBezTo>
                    <a:cubicBezTo>
                      <a:pt x="56" y="157"/>
                      <a:pt x="56" y="157"/>
                      <a:pt x="56" y="157"/>
                    </a:cubicBezTo>
                    <a:cubicBezTo>
                      <a:pt x="56" y="83"/>
                      <a:pt x="85" y="53"/>
                      <a:pt x="165" y="53"/>
                    </a:cubicBezTo>
                    <a:cubicBezTo>
                      <a:pt x="180" y="53"/>
                      <a:pt x="180" y="53"/>
                      <a:pt x="180" y="53"/>
                    </a:cubicBezTo>
                    <a:cubicBezTo>
                      <a:pt x="192" y="53"/>
                      <a:pt x="196" y="43"/>
                      <a:pt x="196" y="27"/>
                    </a:cubicBezTo>
                    <a:cubicBezTo>
                      <a:pt x="196" y="8"/>
                      <a:pt x="185" y="4"/>
                      <a:pt x="154" y="4"/>
                    </a:cubicBezTo>
                    <a:cubicBezTo>
                      <a:pt x="64" y="4"/>
                      <a:pt x="0" y="43"/>
                      <a:pt x="0" y="152"/>
                    </a:cubicBezTo>
                    <a:lnTo>
                      <a:pt x="0" y="43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22" name="Freeform 7">
                <a:extLst>
                  <a:ext uri="{FF2B5EF4-FFF2-40B4-BE49-F238E27FC236}">
                    <a16:creationId xmlns:a16="http://schemas.microsoft.com/office/drawing/2014/main" id="{2F32DCBD-8628-F245-85CD-97686A20ECFD}"/>
                  </a:ext>
                </a:extLst>
              </p:cNvPr>
              <p:cNvSpPr>
                <a:spLocks/>
              </p:cNvSpPr>
              <p:nvPr/>
            </p:nvSpPr>
            <p:spPr bwMode="gray">
              <a:xfrm>
                <a:off x="2880" y="1704"/>
                <a:ext cx="618" cy="916"/>
              </a:xfrm>
              <a:custGeom>
                <a:avLst/>
                <a:gdLst>
                  <a:gd name="T0" fmla="*/ 307 w 307"/>
                  <a:gd name="T1" fmla="*/ 405 h 455"/>
                  <a:gd name="T2" fmla="*/ 307 w 307"/>
                  <a:gd name="T3" fmla="*/ 244 h 455"/>
                  <a:gd name="T4" fmla="*/ 279 w 307"/>
                  <a:gd name="T5" fmla="*/ 229 h 455"/>
                  <a:gd name="T6" fmla="*/ 250 w 307"/>
                  <a:gd name="T7" fmla="*/ 244 h 455"/>
                  <a:gd name="T8" fmla="*/ 250 w 307"/>
                  <a:gd name="T9" fmla="*/ 378 h 455"/>
                  <a:gd name="T10" fmla="*/ 199 w 307"/>
                  <a:gd name="T11" fmla="*/ 408 h 455"/>
                  <a:gd name="T12" fmla="*/ 61 w 307"/>
                  <a:gd name="T13" fmla="*/ 231 h 455"/>
                  <a:gd name="T14" fmla="*/ 238 w 307"/>
                  <a:gd name="T15" fmla="*/ 49 h 455"/>
                  <a:gd name="T16" fmla="*/ 270 w 307"/>
                  <a:gd name="T17" fmla="*/ 49 h 455"/>
                  <a:gd name="T18" fmla="*/ 286 w 307"/>
                  <a:gd name="T19" fmla="*/ 23 h 455"/>
                  <a:gd name="T20" fmla="*/ 244 w 307"/>
                  <a:gd name="T21" fmla="*/ 0 h 455"/>
                  <a:gd name="T22" fmla="*/ 231 w 307"/>
                  <a:gd name="T23" fmla="*/ 0 h 455"/>
                  <a:gd name="T24" fmla="*/ 0 w 307"/>
                  <a:gd name="T25" fmla="*/ 232 h 455"/>
                  <a:gd name="T26" fmla="*/ 198 w 307"/>
                  <a:gd name="T27" fmla="*/ 455 h 455"/>
                  <a:gd name="T28" fmla="*/ 307 w 307"/>
                  <a:gd name="T29" fmla="*/ 405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7" h="455">
                    <a:moveTo>
                      <a:pt x="307" y="405"/>
                    </a:moveTo>
                    <a:cubicBezTo>
                      <a:pt x="307" y="244"/>
                      <a:pt x="307" y="244"/>
                      <a:pt x="307" y="244"/>
                    </a:cubicBezTo>
                    <a:cubicBezTo>
                      <a:pt x="307" y="234"/>
                      <a:pt x="298" y="229"/>
                      <a:pt x="279" y="229"/>
                    </a:cubicBezTo>
                    <a:cubicBezTo>
                      <a:pt x="259" y="229"/>
                      <a:pt x="250" y="234"/>
                      <a:pt x="250" y="244"/>
                    </a:cubicBezTo>
                    <a:cubicBezTo>
                      <a:pt x="250" y="378"/>
                      <a:pt x="250" y="378"/>
                      <a:pt x="250" y="378"/>
                    </a:cubicBezTo>
                    <a:cubicBezTo>
                      <a:pt x="250" y="399"/>
                      <a:pt x="241" y="408"/>
                      <a:pt x="199" y="408"/>
                    </a:cubicBezTo>
                    <a:cubicBezTo>
                      <a:pt x="114" y="408"/>
                      <a:pt x="61" y="342"/>
                      <a:pt x="61" y="231"/>
                    </a:cubicBezTo>
                    <a:cubicBezTo>
                      <a:pt x="61" y="115"/>
                      <a:pt x="126" y="49"/>
                      <a:pt x="238" y="49"/>
                    </a:cubicBezTo>
                    <a:cubicBezTo>
                      <a:pt x="270" y="49"/>
                      <a:pt x="270" y="49"/>
                      <a:pt x="270" y="49"/>
                    </a:cubicBezTo>
                    <a:cubicBezTo>
                      <a:pt x="282" y="49"/>
                      <a:pt x="286" y="39"/>
                      <a:pt x="286" y="23"/>
                    </a:cubicBezTo>
                    <a:cubicBezTo>
                      <a:pt x="286" y="4"/>
                      <a:pt x="275" y="0"/>
                      <a:pt x="244" y="0"/>
                    </a:cubicBezTo>
                    <a:cubicBezTo>
                      <a:pt x="231" y="0"/>
                      <a:pt x="231" y="0"/>
                      <a:pt x="231" y="0"/>
                    </a:cubicBezTo>
                    <a:cubicBezTo>
                      <a:pt x="101" y="0"/>
                      <a:pt x="0" y="71"/>
                      <a:pt x="0" y="232"/>
                    </a:cubicBezTo>
                    <a:cubicBezTo>
                      <a:pt x="0" y="386"/>
                      <a:pt x="88" y="455"/>
                      <a:pt x="198" y="455"/>
                    </a:cubicBezTo>
                    <a:cubicBezTo>
                      <a:pt x="286" y="455"/>
                      <a:pt x="307" y="430"/>
                      <a:pt x="307" y="40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23" name="Oval 8">
                <a:extLst>
                  <a:ext uri="{FF2B5EF4-FFF2-40B4-BE49-F238E27FC236}">
                    <a16:creationId xmlns:a16="http://schemas.microsoft.com/office/drawing/2014/main" id="{60D97C11-1A3B-5449-A48D-98A3E79B3810}"/>
                  </a:ext>
                </a:extLst>
              </p:cNvPr>
              <p:cNvSpPr>
                <a:spLocks noChangeArrowheads="1"/>
              </p:cNvSpPr>
              <p:nvPr/>
            </p:nvSpPr>
            <p:spPr bwMode="gray">
              <a:xfrm>
                <a:off x="3778" y="2099"/>
                <a:ext cx="122" cy="12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24" name="Freeform 9">
                <a:extLst>
                  <a:ext uri="{FF2B5EF4-FFF2-40B4-BE49-F238E27FC236}">
                    <a16:creationId xmlns:a16="http://schemas.microsoft.com/office/drawing/2014/main" id="{5856770D-B8F0-244E-A05D-AED190086F10}"/>
                  </a:ext>
                </a:extLst>
              </p:cNvPr>
              <p:cNvSpPr>
                <a:spLocks noEditPoints="1"/>
              </p:cNvSpPr>
              <p:nvPr/>
            </p:nvSpPr>
            <p:spPr bwMode="gray">
              <a:xfrm>
                <a:off x="3623" y="1696"/>
                <a:ext cx="1167" cy="922"/>
              </a:xfrm>
              <a:custGeom>
                <a:avLst/>
                <a:gdLst>
                  <a:gd name="T0" fmla="*/ 411 w 580"/>
                  <a:gd name="T1" fmla="*/ 213 h 458"/>
                  <a:gd name="T2" fmla="*/ 570 w 580"/>
                  <a:gd name="T3" fmla="*/ 37 h 458"/>
                  <a:gd name="T4" fmla="*/ 580 w 580"/>
                  <a:gd name="T5" fmla="*/ 20 h 458"/>
                  <a:gd name="T6" fmla="*/ 545 w 580"/>
                  <a:gd name="T7" fmla="*/ 0 h 458"/>
                  <a:gd name="T8" fmla="*/ 519 w 580"/>
                  <a:gd name="T9" fmla="*/ 16 h 458"/>
                  <a:gd name="T10" fmla="*/ 344 w 580"/>
                  <a:gd name="T11" fmla="*/ 210 h 458"/>
                  <a:gd name="T12" fmla="*/ 334 w 580"/>
                  <a:gd name="T13" fmla="*/ 229 h 458"/>
                  <a:gd name="T14" fmla="*/ 344 w 580"/>
                  <a:gd name="T15" fmla="*/ 248 h 458"/>
                  <a:gd name="T16" fmla="*/ 519 w 580"/>
                  <a:gd name="T17" fmla="*/ 442 h 458"/>
                  <a:gd name="T18" fmla="*/ 545 w 580"/>
                  <a:gd name="T19" fmla="*/ 458 h 458"/>
                  <a:gd name="T20" fmla="*/ 580 w 580"/>
                  <a:gd name="T21" fmla="*/ 438 h 458"/>
                  <a:gd name="T22" fmla="*/ 570 w 580"/>
                  <a:gd name="T23" fmla="*/ 421 h 458"/>
                  <a:gd name="T24" fmla="*/ 411 w 580"/>
                  <a:gd name="T25" fmla="*/ 245 h 458"/>
                  <a:gd name="T26" fmla="*/ 399 w 580"/>
                  <a:gd name="T27" fmla="*/ 229 h 458"/>
                  <a:gd name="T28" fmla="*/ 411 w 580"/>
                  <a:gd name="T29" fmla="*/ 213 h 458"/>
                  <a:gd name="T30" fmla="*/ 252 w 580"/>
                  <a:gd name="T31" fmla="*/ 439 h 458"/>
                  <a:gd name="T32" fmla="*/ 281 w 580"/>
                  <a:gd name="T33" fmla="*/ 454 h 458"/>
                  <a:gd name="T34" fmla="*/ 309 w 580"/>
                  <a:gd name="T35" fmla="*/ 439 h 458"/>
                  <a:gd name="T36" fmla="*/ 309 w 580"/>
                  <a:gd name="T37" fmla="*/ 19 h 458"/>
                  <a:gd name="T38" fmla="*/ 281 w 580"/>
                  <a:gd name="T39" fmla="*/ 4 h 458"/>
                  <a:gd name="T40" fmla="*/ 252 w 580"/>
                  <a:gd name="T41" fmla="*/ 19 h 458"/>
                  <a:gd name="T42" fmla="*/ 252 w 580"/>
                  <a:gd name="T43" fmla="*/ 439 h 458"/>
                  <a:gd name="T44" fmla="*/ 0 w 580"/>
                  <a:gd name="T45" fmla="*/ 439 h 458"/>
                  <a:gd name="T46" fmla="*/ 28 w 580"/>
                  <a:gd name="T47" fmla="*/ 454 h 458"/>
                  <a:gd name="T48" fmla="*/ 56 w 580"/>
                  <a:gd name="T49" fmla="*/ 439 h 458"/>
                  <a:gd name="T50" fmla="*/ 56 w 580"/>
                  <a:gd name="T51" fmla="*/ 157 h 458"/>
                  <a:gd name="T52" fmla="*/ 165 w 580"/>
                  <a:gd name="T53" fmla="*/ 53 h 458"/>
                  <a:gd name="T54" fmla="*/ 180 w 580"/>
                  <a:gd name="T55" fmla="*/ 53 h 458"/>
                  <a:gd name="T56" fmla="*/ 196 w 580"/>
                  <a:gd name="T57" fmla="*/ 27 h 458"/>
                  <a:gd name="T58" fmla="*/ 154 w 580"/>
                  <a:gd name="T59" fmla="*/ 4 h 458"/>
                  <a:gd name="T60" fmla="*/ 0 w 580"/>
                  <a:gd name="T61" fmla="*/ 152 h 458"/>
                  <a:gd name="T62" fmla="*/ 0 w 580"/>
                  <a:gd name="T63" fmla="*/ 439 h 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80" h="458">
                    <a:moveTo>
                      <a:pt x="411" y="213"/>
                    </a:moveTo>
                    <a:cubicBezTo>
                      <a:pt x="570" y="37"/>
                      <a:pt x="570" y="37"/>
                      <a:pt x="570" y="37"/>
                    </a:cubicBezTo>
                    <a:cubicBezTo>
                      <a:pt x="576" y="30"/>
                      <a:pt x="580" y="25"/>
                      <a:pt x="580" y="20"/>
                    </a:cubicBezTo>
                    <a:cubicBezTo>
                      <a:pt x="580" y="10"/>
                      <a:pt x="559" y="0"/>
                      <a:pt x="545" y="0"/>
                    </a:cubicBezTo>
                    <a:cubicBezTo>
                      <a:pt x="535" y="0"/>
                      <a:pt x="526" y="8"/>
                      <a:pt x="519" y="16"/>
                    </a:cubicBezTo>
                    <a:cubicBezTo>
                      <a:pt x="344" y="210"/>
                      <a:pt x="344" y="210"/>
                      <a:pt x="344" y="210"/>
                    </a:cubicBezTo>
                    <a:cubicBezTo>
                      <a:pt x="336" y="219"/>
                      <a:pt x="334" y="224"/>
                      <a:pt x="334" y="229"/>
                    </a:cubicBezTo>
                    <a:cubicBezTo>
                      <a:pt x="334" y="234"/>
                      <a:pt x="336" y="239"/>
                      <a:pt x="344" y="248"/>
                    </a:cubicBezTo>
                    <a:cubicBezTo>
                      <a:pt x="519" y="442"/>
                      <a:pt x="519" y="442"/>
                      <a:pt x="519" y="442"/>
                    </a:cubicBezTo>
                    <a:cubicBezTo>
                      <a:pt x="526" y="450"/>
                      <a:pt x="535" y="458"/>
                      <a:pt x="545" y="458"/>
                    </a:cubicBezTo>
                    <a:cubicBezTo>
                      <a:pt x="559" y="458"/>
                      <a:pt x="580" y="448"/>
                      <a:pt x="580" y="438"/>
                    </a:cubicBezTo>
                    <a:cubicBezTo>
                      <a:pt x="580" y="433"/>
                      <a:pt x="576" y="428"/>
                      <a:pt x="570" y="421"/>
                    </a:cubicBezTo>
                    <a:cubicBezTo>
                      <a:pt x="411" y="245"/>
                      <a:pt x="411" y="245"/>
                      <a:pt x="411" y="245"/>
                    </a:cubicBezTo>
                    <a:cubicBezTo>
                      <a:pt x="403" y="236"/>
                      <a:pt x="399" y="232"/>
                      <a:pt x="399" y="229"/>
                    </a:cubicBezTo>
                    <a:cubicBezTo>
                      <a:pt x="399" y="226"/>
                      <a:pt x="403" y="222"/>
                      <a:pt x="411" y="213"/>
                    </a:cubicBezTo>
                    <a:moveTo>
                      <a:pt x="252" y="439"/>
                    </a:moveTo>
                    <a:cubicBezTo>
                      <a:pt x="252" y="449"/>
                      <a:pt x="261" y="454"/>
                      <a:pt x="281" y="454"/>
                    </a:cubicBezTo>
                    <a:cubicBezTo>
                      <a:pt x="300" y="454"/>
                      <a:pt x="309" y="449"/>
                      <a:pt x="309" y="439"/>
                    </a:cubicBezTo>
                    <a:cubicBezTo>
                      <a:pt x="309" y="19"/>
                      <a:pt x="309" y="19"/>
                      <a:pt x="309" y="19"/>
                    </a:cubicBezTo>
                    <a:cubicBezTo>
                      <a:pt x="309" y="9"/>
                      <a:pt x="300" y="4"/>
                      <a:pt x="281" y="4"/>
                    </a:cubicBezTo>
                    <a:cubicBezTo>
                      <a:pt x="261" y="4"/>
                      <a:pt x="252" y="9"/>
                      <a:pt x="252" y="19"/>
                    </a:cubicBezTo>
                    <a:lnTo>
                      <a:pt x="252" y="439"/>
                    </a:lnTo>
                    <a:close/>
                    <a:moveTo>
                      <a:pt x="0" y="439"/>
                    </a:moveTo>
                    <a:cubicBezTo>
                      <a:pt x="0" y="449"/>
                      <a:pt x="8" y="454"/>
                      <a:pt x="28" y="454"/>
                    </a:cubicBezTo>
                    <a:cubicBezTo>
                      <a:pt x="48" y="454"/>
                      <a:pt x="56" y="449"/>
                      <a:pt x="56" y="439"/>
                    </a:cubicBezTo>
                    <a:cubicBezTo>
                      <a:pt x="56" y="157"/>
                      <a:pt x="56" y="157"/>
                      <a:pt x="56" y="157"/>
                    </a:cubicBezTo>
                    <a:cubicBezTo>
                      <a:pt x="56" y="83"/>
                      <a:pt x="85" y="53"/>
                      <a:pt x="165" y="53"/>
                    </a:cubicBezTo>
                    <a:cubicBezTo>
                      <a:pt x="180" y="53"/>
                      <a:pt x="180" y="53"/>
                      <a:pt x="180" y="53"/>
                    </a:cubicBezTo>
                    <a:cubicBezTo>
                      <a:pt x="192" y="53"/>
                      <a:pt x="196" y="43"/>
                      <a:pt x="196" y="27"/>
                    </a:cubicBezTo>
                    <a:cubicBezTo>
                      <a:pt x="196" y="8"/>
                      <a:pt x="185" y="4"/>
                      <a:pt x="154" y="4"/>
                    </a:cubicBezTo>
                    <a:cubicBezTo>
                      <a:pt x="64" y="4"/>
                      <a:pt x="0" y="43"/>
                      <a:pt x="0" y="152"/>
                    </a:cubicBezTo>
                    <a:lnTo>
                      <a:pt x="0" y="43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25" name="Freeform 10">
                <a:extLst>
                  <a:ext uri="{FF2B5EF4-FFF2-40B4-BE49-F238E27FC236}">
                    <a16:creationId xmlns:a16="http://schemas.microsoft.com/office/drawing/2014/main" id="{2B91B16B-BC11-E547-8FAC-B9B8D18EA449}"/>
                  </a:ext>
                </a:extLst>
              </p:cNvPr>
              <p:cNvSpPr>
                <a:spLocks/>
              </p:cNvSpPr>
              <p:nvPr/>
            </p:nvSpPr>
            <p:spPr bwMode="gray">
              <a:xfrm>
                <a:off x="2880" y="1704"/>
                <a:ext cx="618" cy="916"/>
              </a:xfrm>
              <a:custGeom>
                <a:avLst/>
                <a:gdLst>
                  <a:gd name="T0" fmla="*/ 307 w 307"/>
                  <a:gd name="T1" fmla="*/ 405 h 455"/>
                  <a:gd name="T2" fmla="*/ 307 w 307"/>
                  <a:gd name="T3" fmla="*/ 244 h 455"/>
                  <a:gd name="T4" fmla="*/ 279 w 307"/>
                  <a:gd name="T5" fmla="*/ 229 h 455"/>
                  <a:gd name="T6" fmla="*/ 250 w 307"/>
                  <a:gd name="T7" fmla="*/ 244 h 455"/>
                  <a:gd name="T8" fmla="*/ 250 w 307"/>
                  <a:gd name="T9" fmla="*/ 378 h 455"/>
                  <a:gd name="T10" fmla="*/ 199 w 307"/>
                  <a:gd name="T11" fmla="*/ 408 h 455"/>
                  <a:gd name="T12" fmla="*/ 61 w 307"/>
                  <a:gd name="T13" fmla="*/ 231 h 455"/>
                  <a:gd name="T14" fmla="*/ 238 w 307"/>
                  <a:gd name="T15" fmla="*/ 49 h 455"/>
                  <a:gd name="T16" fmla="*/ 270 w 307"/>
                  <a:gd name="T17" fmla="*/ 49 h 455"/>
                  <a:gd name="T18" fmla="*/ 286 w 307"/>
                  <a:gd name="T19" fmla="*/ 23 h 455"/>
                  <a:gd name="T20" fmla="*/ 244 w 307"/>
                  <a:gd name="T21" fmla="*/ 0 h 455"/>
                  <a:gd name="T22" fmla="*/ 231 w 307"/>
                  <a:gd name="T23" fmla="*/ 0 h 455"/>
                  <a:gd name="T24" fmla="*/ 0 w 307"/>
                  <a:gd name="T25" fmla="*/ 232 h 455"/>
                  <a:gd name="T26" fmla="*/ 198 w 307"/>
                  <a:gd name="T27" fmla="*/ 455 h 455"/>
                  <a:gd name="T28" fmla="*/ 307 w 307"/>
                  <a:gd name="T29" fmla="*/ 405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7" h="455">
                    <a:moveTo>
                      <a:pt x="307" y="405"/>
                    </a:moveTo>
                    <a:cubicBezTo>
                      <a:pt x="307" y="244"/>
                      <a:pt x="307" y="244"/>
                      <a:pt x="307" y="244"/>
                    </a:cubicBezTo>
                    <a:cubicBezTo>
                      <a:pt x="307" y="234"/>
                      <a:pt x="298" y="229"/>
                      <a:pt x="279" y="229"/>
                    </a:cubicBezTo>
                    <a:cubicBezTo>
                      <a:pt x="259" y="229"/>
                      <a:pt x="250" y="234"/>
                      <a:pt x="250" y="244"/>
                    </a:cubicBezTo>
                    <a:cubicBezTo>
                      <a:pt x="250" y="378"/>
                      <a:pt x="250" y="378"/>
                      <a:pt x="250" y="378"/>
                    </a:cubicBezTo>
                    <a:cubicBezTo>
                      <a:pt x="250" y="399"/>
                      <a:pt x="241" y="408"/>
                      <a:pt x="199" y="408"/>
                    </a:cubicBezTo>
                    <a:cubicBezTo>
                      <a:pt x="114" y="408"/>
                      <a:pt x="61" y="342"/>
                      <a:pt x="61" y="231"/>
                    </a:cubicBezTo>
                    <a:cubicBezTo>
                      <a:pt x="61" y="115"/>
                      <a:pt x="126" y="49"/>
                      <a:pt x="238" y="49"/>
                    </a:cubicBezTo>
                    <a:cubicBezTo>
                      <a:pt x="270" y="49"/>
                      <a:pt x="270" y="49"/>
                      <a:pt x="270" y="49"/>
                    </a:cubicBezTo>
                    <a:cubicBezTo>
                      <a:pt x="282" y="49"/>
                      <a:pt x="286" y="39"/>
                      <a:pt x="286" y="23"/>
                    </a:cubicBezTo>
                    <a:cubicBezTo>
                      <a:pt x="286" y="4"/>
                      <a:pt x="275" y="0"/>
                      <a:pt x="244" y="0"/>
                    </a:cubicBezTo>
                    <a:cubicBezTo>
                      <a:pt x="231" y="0"/>
                      <a:pt x="231" y="0"/>
                      <a:pt x="231" y="0"/>
                    </a:cubicBezTo>
                    <a:cubicBezTo>
                      <a:pt x="101" y="0"/>
                      <a:pt x="0" y="71"/>
                      <a:pt x="0" y="232"/>
                    </a:cubicBezTo>
                    <a:cubicBezTo>
                      <a:pt x="0" y="386"/>
                      <a:pt x="88" y="455"/>
                      <a:pt x="198" y="455"/>
                    </a:cubicBezTo>
                    <a:cubicBezTo>
                      <a:pt x="286" y="455"/>
                      <a:pt x="307" y="430"/>
                      <a:pt x="307" y="40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26" name="Oval 11">
                <a:extLst>
                  <a:ext uri="{FF2B5EF4-FFF2-40B4-BE49-F238E27FC236}">
                    <a16:creationId xmlns:a16="http://schemas.microsoft.com/office/drawing/2014/main" id="{14F8C3C8-4888-7646-B9B4-64EB46A1DA23}"/>
                  </a:ext>
                </a:extLst>
              </p:cNvPr>
              <p:cNvSpPr>
                <a:spLocks noChangeArrowheads="1"/>
              </p:cNvSpPr>
              <p:nvPr/>
            </p:nvSpPr>
            <p:spPr bwMode="gray">
              <a:xfrm>
                <a:off x="3778" y="2099"/>
                <a:ext cx="122" cy="12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27" name="Freeform 12">
                <a:extLst>
                  <a:ext uri="{FF2B5EF4-FFF2-40B4-BE49-F238E27FC236}">
                    <a16:creationId xmlns:a16="http://schemas.microsoft.com/office/drawing/2014/main" id="{D79D01D1-4E3E-F34B-97D7-2D387E68746E}"/>
                  </a:ext>
                </a:extLst>
              </p:cNvPr>
              <p:cNvSpPr>
                <a:spLocks/>
              </p:cNvSpPr>
              <p:nvPr/>
            </p:nvSpPr>
            <p:spPr bwMode="gray">
              <a:xfrm>
                <a:off x="4321" y="1029"/>
                <a:ext cx="648" cy="649"/>
              </a:xfrm>
              <a:custGeom>
                <a:avLst/>
                <a:gdLst>
                  <a:gd name="T0" fmla="*/ 0 w 648"/>
                  <a:gd name="T1" fmla="*/ 649 h 649"/>
                  <a:gd name="T2" fmla="*/ 2 w 648"/>
                  <a:gd name="T3" fmla="*/ 649 h 649"/>
                  <a:gd name="T4" fmla="*/ 648 w 648"/>
                  <a:gd name="T5" fmla="*/ 0 h 649"/>
                  <a:gd name="T6" fmla="*/ 423 w 648"/>
                  <a:gd name="T7" fmla="*/ 0 h 649"/>
                  <a:gd name="T8" fmla="*/ 0 w 648"/>
                  <a:gd name="T9" fmla="*/ 649 h 649"/>
                </a:gdLst>
                <a:ahLst/>
                <a:cxnLst>
                  <a:cxn ang="0">
                    <a:pos x="T0" y="T1"/>
                  </a:cxn>
                  <a:cxn ang="0">
                    <a:pos x="T2" y="T3"/>
                  </a:cxn>
                  <a:cxn ang="0">
                    <a:pos x="T4" y="T5"/>
                  </a:cxn>
                  <a:cxn ang="0">
                    <a:pos x="T6" y="T7"/>
                  </a:cxn>
                  <a:cxn ang="0">
                    <a:pos x="T8" y="T9"/>
                  </a:cxn>
                </a:cxnLst>
                <a:rect l="0" t="0" r="r" b="b"/>
                <a:pathLst>
                  <a:path w="648" h="649">
                    <a:moveTo>
                      <a:pt x="0" y="649"/>
                    </a:moveTo>
                    <a:lnTo>
                      <a:pt x="2" y="649"/>
                    </a:lnTo>
                    <a:lnTo>
                      <a:pt x="648" y="0"/>
                    </a:lnTo>
                    <a:lnTo>
                      <a:pt x="423" y="0"/>
                    </a:lnTo>
                    <a:lnTo>
                      <a:pt x="0" y="64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28" name="Freeform 13">
                <a:extLst>
                  <a:ext uri="{FF2B5EF4-FFF2-40B4-BE49-F238E27FC236}">
                    <a16:creationId xmlns:a16="http://schemas.microsoft.com/office/drawing/2014/main" id="{46549898-6C52-B147-A8F6-A73FDBE6163B}"/>
                  </a:ext>
                </a:extLst>
              </p:cNvPr>
              <p:cNvSpPr>
                <a:spLocks/>
              </p:cNvSpPr>
              <p:nvPr/>
            </p:nvSpPr>
            <p:spPr bwMode="gray">
              <a:xfrm>
                <a:off x="4321" y="1029"/>
                <a:ext cx="648" cy="649"/>
              </a:xfrm>
              <a:custGeom>
                <a:avLst/>
                <a:gdLst>
                  <a:gd name="T0" fmla="*/ 0 w 648"/>
                  <a:gd name="T1" fmla="*/ 649 h 649"/>
                  <a:gd name="T2" fmla="*/ 2 w 648"/>
                  <a:gd name="T3" fmla="*/ 649 h 649"/>
                  <a:gd name="T4" fmla="*/ 648 w 648"/>
                  <a:gd name="T5" fmla="*/ 0 h 649"/>
                  <a:gd name="T6" fmla="*/ 423 w 648"/>
                  <a:gd name="T7" fmla="*/ 0 h 649"/>
                  <a:gd name="T8" fmla="*/ 0 w 648"/>
                  <a:gd name="T9" fmla="*/ 649 h 649"/>
                </a:gdLst>
                <a:ahLst/>
                <a:cxnLst>
                  <a:cxn ang="0">
                    <a:pos x="T0" y="T1"/>
                  </a:cxn>
                  <a:cxn ang="0">
                    <a:pos x="T2" y="T3"/>
                  </a:cxn>
                  <a:cxn ang="0">
                    <a:pos x="T4" y="T5"/>
                  </a:cxn>
                  <a:cxn ang="0">
                    <a:pos x="T6" y="T7"/>
                  </a:cxn>
                  <a:cxn ang="0">
                    <a:pos x="T8" y="T9"/>
                  </a:cxn>
                </a:cxnLst>
                <a:rect l="0" t="0" r="r" b="b"/>
                <a:pathLst>
                  <a:path w="648" h="649">
                    <a:moveTo>
                      <a:pt x="0" y="649"/>
                    </a:moveTo>
                    <a:lnTo>
                      <a:pt x="2" y="649"/>
                    </a:lnTo>
                    <a:lnTo>
                      <a:pt x="648" y="0"/>
                    </a:lnTo>
                    <a:lnTo>
                      <a:pt x="423" y="0"/>
                    </a:lnTo>
                    <a:lnTo>
                      <a:pt x="0" y="64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grpSp>
      </p:grpSp>
      <p:sp>
        <p:nvSpPr>
          <p:cNvPr id="7" name="Date Placeholder 6"/>
          <p:cNvSpPr>
            <a:spLocks noGrp="1"/>
          </p:cNvSpPr>
          <p:nvPr>
            <p:ph type="dt" sz="half" idx="10"/>
          </p:nvPr>
        </p:nvSpPr>
        <p:spPr>
          <a:xfrm>
            <a:off x="0" y="0"/>
            <a:ext cx="0" cy="0"/>
          </a:xfrm>
          <a:prstGeom prst="rect">
            <a:avLst/>
          </a:prstGeom>
        </p:spPr>
        <p:txBody>
          <a:bodyPr/>
          <a:lstStyle>
            <a:lvl1pPr>
              <a:defRPr sz="100">
                <a:noFill/>
              </a:defRPr>
            </a:lvl1pPr>
          </a:lstStyle>
          <a:p>
            <a:endParaRPr lang="en-US"/>
          </a:p>
        </p:txBody>
      </p:sp>
      <p:sp>
        <p:nvSpPr>
          <p:cNvPr id="8" name="Footer Placeholder 7"/>
          <p:cNvSpPr>
            <a:spLocks noGrp="1"/>
          </p:cNvSpPr>
          <p:nvPr>
            <p:ph type="ftr" sz="quarter" idx="11"/>
          </p:nvPr>
        </p:nvSpPr>
        <p:spPr>
          <a:xfrm>
            <a:off x="0" y="0"/>
            <a:ext cx="0" cy="0"/>
          </a:xfrm>
          <a:prstGeom prst="rect">
            <a:avLst/>
          </a:prstGeom>
        </p:spPr>
        <p:txBody>
          <a:bodyPr/>
          <a:lstStyle>
            <a:lvl1pPr marL="0" indent="0">
              <a:buNone/>
              <a:defRPr sz="100">
                <a:noFill/>
              </a:defRPr>
            </a:lvl1pPr>
          </a:lstStyle>
          <a:p>
            <a:endParaRPr lang="en-US"/>
          </a:p>
        </p:txBody>
      </p:sp>
      <p:sp>
        <p:nvSpPr>
          <p:cNvPr id="9" name="Slide Number Placeholder 8"/>
          <p:cNvSpPr>
            <a:spLocks noGrp="1"/>
          </p:cNvSpPr>
          <p:nvPr>
            <p:ph type="sldNum" sz="quarter" idx="12"/>
          </p:nvPr>
        </p:nvSpPr>
        <p:spPr>
          <a:xfrm>
            <a:off x="0" y="0"/>
            <a:ext cx="0" cy="0"/>
          </a:xfrm>
          <a:prstGeom prst="rect">
            <a:avLst/>
          </a:prstGeom>
        </p:spPr>
        <p:txBody>
          <a:bodyPr/>
          <a:lstStyle>
            <a:lvl1pPr>
              <a:defRPr sz="100">
                <a:noFill/>
              </a:defRPr>
            </a:lvl1pPr>
          </a:lstStyle>
          <a:p>
            <a:fld id="{8E3B25F7-8D1F-44B5-B485-EE3C438CFD7B}" type="slidenum">
              <a:rPr lang="en-US" smtClean="0"/>
              <a:pPr/>
              <a:t>‹#›</a:t>
            </a:fld>
            <a:endParaRPr lang="en-US"/>
          </a:p>
        </p:txBody>
      </p:sp>
      <p:sp>
        <p:nvSpPr>
          <p:cNvPr id="2" name="Title 1"/>
          <p:cNvSpPr>
            <a:spLocks noGrp="1"/>
          </p:cNvSpPr>
          <p:nvPr>
            <p:ph type="ctrTitle" hasCustomPrompt="1"/>
          </p:nvPr>
        </p:nvSpPr>
        <p:spPr>
          <a:xfrm>
            <a:off x="4524589" y="1628775"/>
            <a:ext cx="5707662" cy="2236264"/>
          </a:xfrm>
        </p:spPr>
        <p:txBody>
          <a:bodyPr anchor="b"/>
          <a:lstStyle>
            <a:lvl1pPr algn="l">
              <a:defRPr sz="3600" baseline="0"/>
            </a:lvl1pPr>
          </a:lstStyle>
          <a:p>
            <a:r>
              <a:rPr lang="en-US"/>
              <a:t>Click to add a longer presentation title</a:t>
            </a:r>
          </a:p>
        </p:txBody>
      </p:sp>
      <p:sp>
        <p:nvSpPr>
          <p:cNvPr id="3" name="Subtitle 2"/>
          <p:cNvSpPr>
            <a:spLocks noGrp="1"/>
          </p:cNvSpPr>
          <p:nvPr>
            <p:ph type="subTitle" idx="1" hasCustomPrompt="1"/>
          </p:nvPr>
        </p:nvSpPr>
        <p:spPr>
          <a:xfrm>
            <a:off x="4524589" y="4094163"/>
            <a:ext cx="5707662" cy="1080000"/>
          </a:xfrm>
        </p:spPr>
        <p:txBody>
          <a:bodyPr/>
          <a:lstStyle>
            <a:lvl1pPr marL="0" indent="0" algn="l">
              <a:spcBef>
                <a:spcPts val="0"/>
              </a:spcBef>
              <a:buNone/>
              <a:defRPr sz="1800" b="1"/>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sp>
        <p:nvSpPr>
          <p:cNvPr id="31" name="Text Placeholder 30"/>
          <p:cNvSpPr>
            <a:spLocks noGrp="1"/>
          </p:cNvSpPr>
          <p:nvPr>
            <p:ph type="body" sz="quarter" idx="14" hasCustomPrompt="1"/>
          </p:nvPr>
        </p:nvSpPr>
        <p:spPr>
          <a:xfrm>
            <a:off x="417600" y="5393268"/>
            <a:ext cx="2494933" cy="296332"/>
          </a:xfrm>
        </p:spPr>
        <p:txBody>
          <a:bodyPr wrap="none"/>
          <a:lstStyle>
            <a:lvl1pPr marL="0" indent="0">
              <a:spcBef>
                <a:spcPts val="0"/>
              </a:spcBef>
              <a:buNone/>
              <a:defRPr sz="1200"/>
            </a:lvl1pPr>
            <a:lvl2pPr marL="0" indent="0">
              <a:buNone/>
              <a:defRPr sz="1200"/>
            </a:lvl2pPr>
            <a:lvl3pPr marL="0" indent="0">
              <a:buNone/>
              <a:defRPr sz="1200"/>
            </a:lvl3pPr>
            <a:lvl4pPr marL="0">
              <a:buNone/>
              <a:defRPr sz="1200"/>
            </a:lvl4pPr>
            <a:lvl5pPr marL="0" indent="0">
              <a:buNone/>
              <a:defRPr sz="1200"/>
            </a:lvl5pPr>
          </a:lstStyle>
          <a:p>
            <a:pPr lvl="0"/>
            <a:r>
              <a:rPr lang="en-US"/>
              <a:t>Name</a:t>
            </a:r>
          </a:p>
        </p:txBody>
      </p:sp>
      <p:sp>
        <p:nvSpPr>
          <p:cNvPr id="34" name="Text Placeholder 30"/>
          <p:cNvSpPr>
            <a:spLocks noGrp="1"/>
          </p:cNvSpPr>
          <p:nvPr>
            <p:ph type="body" sz="quarter" idx="15" hasCustomPrompt="1"/>
          </p:nvPr>
        </p:nvSpPr>
        <p:spPr>
          <a:xfrm>
            <a:off x="417600" y="5691446"/>
            <a:ext cx="2494933" cy="296332"/>
          </a:xfrm>
        </p:spPr>
        <p:txBody>
          <a:bodyPr wrap="none"/>
          <a:lstStyle>
            <a:lvl1pPr marL="0" indent="0">
              <a:spcBef>
                <a:spcPts val="0"/>
              </a:spcBef>
              <a:buNone/>
              <a:defRPr sz="1200"/>
            </a:lvl1pPr>
            <a:lvl2pPr marL="0" indent="0">
              <a:buNone/>
              <a:defRPr sz="1200"/>
            </a:lvl2pPr>
            <a:lvl3pPr marL="0" indent="0">
              <a:buNone/>
              <a:defRPr sz="1200"/>
            </a:lvl3pPr>
            <a:lvl4pPr marL="0">
              <a:buNone/>
              <a:defRPr sz="1200"/>
            </a:lvl4pPr>
            <a:lvl5pPr marL="0" indent="0">
              <a:buNone/>
              <a:defRPr sz="1200"/>
            </a:lvl5pPr>
          </a:lstStyle>
          <a:p>
            <a:pPr lvl="0"/>
            <a:r>
              <a:rPr lang="en-US"/>
              <a:t>Department</a:t>
            </a:r>
          </a:p>
        </p:txBody>
      </p:sp>
    </p:spTree>
    <p:extLst>
      <p:ext uri="{BB962C8B-B14F-4D97-AF65-F5344CB8AC3E}">
        <p14:creationId xmlns:p14="http://schemas.microsoft.com/office/powerpoint/2010/main" val="1201827637"/>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p:cSld name="Title with picture">
    <p:spTree>
      <p:nvGrpSpPr>
        <p:cNvPr id="1" name=""/>
        <p:cNvGrpSpPr/>
        <p:nvPr/>
      </p:nvGrpSpPr>
      <p:grpSpPr>
        <a:xfrm>
          <a:off x="0" y="0"/>
          <a:ext cx="0" cy="0"/>
          <a:chOff x="0" y="0"/>
          <a:chExt cx="0" cy="0"/>
        </a:xfrm>
      </p:grpSpPr>
      <p:sp>
        <p:nvSpPr>
          <p:cNvPr id="12" name="Picture Placeholder 11"/>
          <p:cNvSpPr>
            <a:spLocks noGrp="1"/>
          </p:cNvSpPr>
          <p:nvPr>
            <p:ph type="pic" sz="quarter" idx="13" hasCustomPrompt="1"/>
          </p:nvPr>
        </p:nvSpPr>
        <p:spPr>
          <a:xfrm>
            <a:off x="3376226" y="0"/>
            <a:ext cx="8815774" cy="6858000"/>
          </a:xfrm>
          <a:custGeom>
            <a:avLst/>
            <a:gdLst>
              <a:gd name="connsiteX0" fmla="*/ 331042 w 8815774"/>
              <a:gd name="connsiteY0" fmla="*/ 0 h 6858000"/>
              <a:gd name="connsiteX1" fmla="*/ 8815774 w 8815774"/>
              <a:gd name="connsiteY1" fmla="*/ 0 h 6858000"/>
              <a:gd name="connsiteX2" fmla="*/ 8815774 w 8815774"/>
              <a:gd name="connsiteY2" fmla="*/ 6858000 h 6858000"/>
              <a:gd name="connsiteX3" fmla="*/ 0 w 8815774"/>
              <a:gd name="connsiteY3" fmla="*/ 6858000 h 6858000"/>
              <a:gd name="connsiteX4" fmla="*/ 1580491 w 8815774"/>
              <a:gd name="connsiteY4" fmla="*/ 4163677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15774" h="6858000">
                <a:moveTo>
                  <a:pt x="331042" y="0"/>
                </a:moveTo>
                <a:lnTo>
                  <a:pt x="8815774" y="0"/>
                </a:lnTo>
                <a:lnTo>
                  <a:pt x="8815774" y="6858000"/>
                </a:lnTo>
                <a:lnTo>
                  <a:pt x="0" y="6858000"/>
                </a:lnTo>
                <a:lnTo>
                  <a:pt x="1580491" y="4163677"/>
                </a:lnTo>
                <a:close/>
              </a:path>
            </a:pathLst>
          </a:custGeom>
          <a:solidFill>
            <a:srgbClr val="D9DADB"/>
          </a:solidFill>
        </p:spPr>
        <p:txBody>
          <a:bodyPr wrap="square">
            <a:noAutofit/>
          </a:bodyPr>
          <a:lstStyle>
            <a:lvl1pPr marL="0" indent="0" algn="ctr">
              <a:buNone/>
              <a:defRPr/>
            </a:lvl1pPr>
          </a:lstStyle>
          <a:p>
            <a:r>
              <a:rPr lang="en-US"/>
              <a:t>Insert picture</a:t>
            </a:r>
          </a:p>
        </p:txBody>
      </p:sp>
      <p:grpSp>
        <p:nvGrpSpPr>
          <p:cNvPr id="14" name="logo">
            <a:extLst>
              <a:ext uri="{FF2B5EF4-FFF2-40B4-BE49-F238E27FC236}">
                <a16:creationId xmlns:a16="http://schemas.microsoft.com/office/drawing/2014/main" id="{18C26D95-70F8-8A4D-9F18-DCCB92522AF8}"/>
              </a:ext>
            </a:extLst>
          </p:cNvPr>
          <p:cNvGrpSpPr/>
          <p:nvPr/>
        </p:nvGrpSpPr>
        <p:grpSpPr bwMode="gray">
          <a:xfrm>
            <a:off x="417363" y="407485"/>
            <a:ext cx="1518585" cy="646507"/>
            <a:chOff x="334963" y="296652"/>
            <a:chExt cx="1268411" cy="540000"/>
          </a:xfrm>
        </p:grpSpPr>
        <p:sp>
          <p:nvSpPr>
            <p:cNvPr id="17" name="Freeform 6">
              <a:extLst>
                <a:ext uri="{FF2B5EF4-FFF2-40B4-BE49-F238E27FC236}">
                  <a16:creationId xmlns:a16="http://schemas.microsoft.com/office/drawing/2014/main" id="{08737AD0-E375-E445-97E6-CD2E2DF60620}"/>
                </a:ext>
              </a:extLst>
            </p:cNvPr>
            <p:cNvSpPr>
              <a:spLocks noEditPoints="1"/>
            </p:cNvSpPr>
            <p:nvPr/>
          </p:nvSpPr>
          <p:spPr bwMode="gray">
            <a:xfrm>
              <a:off x="982662" y="360462"/>
              <a:ext cx="620712" cy="431800"/>
            </a:xfrm>
            <a:custGeom>
              <a:avLst/>
              <a:gdLst>
                <a:gd name="T0" fmla="*/ 19 w 1809"/>
                <a:gd name="T1" fmla="*/ 97 h 1253"/>
                <a:gd name="T2" fmla="*/ 165 w 1809"/>
                <a:gd name="T3" fmla="*/ 41 h 1253"/>
                <a:gd name="T4" fmla="*/ 211 w 1809"/>
                <a:gd name="T5" fmla="*/ 224 h 1253"/>
                <a:gd name="T6" fmla="*/ 248 w 1809"/>
                <a:gd name="T7" fmla="*/ 155 h 1253"/>
                <a:gd name="T8" fmla="*/ 931 w 1809"/>
                <a:gd name="T9" fmla="*/ 995 h 1253"/>
                <a:gd name="T10" fmla="*/ 858 w 1809"/>
                <a:gd name="T11" fmla="*/ 1115 h 1253"/>
                <a:gd name="T12" fmla="*/ 749 w 1809"/>
                <a:gd name="T13" fmla="*/ 1117 h 1253"/>
                <a:gd name="T14" fmla="*/ 681 w 1809"/>
                <a:gd name="T15" fmla="*/ 1055 h 1253"/>
                <a:gd name="T16" fmla="*/ 800 w 1809"/>
                <a:gd name="T17" fmla="*/ 1054 h 1253"/>
                <a:gd name="T18" fmla="*/ 884 w 1809"/>
                <a:gd name="T19" fmla="*/ 1181 h 1253"/>
                <a:gd name="T20" fmla="*/ 118 w 1809"/>
                <a:gd name="T21" fmla="*/ 1086 h 1253"/>
                <a:gd name="T22" fmla="*/ 147 w 1809"/>
                <a:gd name="T23" fmla="*/ 1026 h 1253"/>
                <a:gd name="T24" fmla="*/ 102 w 1809"/>
                <a:gd name="T25" fmla="*/ 1026 h 1253"/>
                <a:gd name="T26" fmla="*/ 639 w 1809"/>
                <a:gd name="T27" fmla="*/ 84 h 1253"/>
                <a:gd name="T28" fmla="*/ 763 w 1809"/>
                <a:gd name="T29" fmla="*/ 145 h 1253"/>
                <a:gd name="T30" fmla="*/ 863 w 1809"/>
                <a:gd name="T31" fmla="*/ 221 h 1253"/>
                <a:gd name="T32" fmla="*/ 834 w 1809"/>
                <a:gd name="T33" fmla="*/ 208 h 1253"/>
                <a:gd name="T34" fmla="*/ 719 w 1809"/>
                <a:gd name="T35" fmla="*/ 182 h 1253"/>
                <a:gd name="T36" fmla="*/ 507 w 1809"/>
                <a:gd name="T37" fmla="*/ 711 h 1253"/>
                <a:gd name="T38" fmla="*/ 614 w 1809"/>
                <a:gd name="T39" fmla="*/ 706 h 1253"/>
                <a:gd name="T40" fmla="*/ 736 w 1809"/>
                <a:gd name="T41" fmla="*/ 730 h 1253"/>
                <a:gd name="T42" fmla="*/ 607 w 1809"/>
                <a:gd name="T43" fmla="*/ 539 h 1253"/>
                <a:gd name="T44" fmla="*/ 1505 w 1809"/>
                <a:gd name="T45" fmla="*/ 1136 h 1253"/>
                <a:gd name="T46" fmla="*/ 1613 w 1809"/>
                <a:gd name="T47" fmla="*/ 1002 h 1253"/>
                <a:gd name="T48" fmla="*/ 1472 w 1809"/>
                <a:gd name="T49" fmla="*/ 1164 h 1253"/>
                <a:gd name="T50" fmla="*/ 1525 w 1809"/>
                <a:gd name="T51" fmla="*/ 1142 h 1253"/>
                <a:gd name="T52" fmla="*/ 1556 w 1809"/>
                <a:gd name="T53" fmla="*/ 1172 h 1253"/>
                <a:gd name="T54" fmla="*/ 1387 w 1809"/>
                <a:gd name="T55" fmla="*/ 910 h 1253"/>
                <a:gd name="T56" fmla="*/ 1261 w 1809"/>
                <a:gd name="T57" fmla="*/ 1157 h 1253"/>
                <a:gd name="T58" fmla="*/ 1413 w 1809"/>
                <a:gd name="T59" fmla="*/ 934 h 1253"/>
                <a:gd name="T60" fmla="*/ 1378 w 1809"/>
                <a:gd name="T61" fmla="*/ 1052 h 1253"/>
                <a:gd name="T62" fmla="*/ 488 w 1809"/>
                <a:gd name="T63" fmla="*/ 85 h 1253"/>
                <a:gd name="T64" fmla="*/ 509 w 1809"/>
                <a:gd name="T65" fmla="*/ 112 h 1253"/>
                <a:gd name="T66" fmla="*/ 548 w 1809"/>
                <a:gd name="T67" fmla="*/ 1187 h 1253"/>
                <a:gd name="T68" fmla="*/ 472 w 1809"/>
                <a:gd name="T69" fmla="*/ 1122 h 1253"/>
                <a:gd name="T70" fmla="*/ 558 w 1809"/>
                <a:gd name="T71" fmla="*/ 1157 h 1253"/>
                <a:gd name="T72" fmla="*/ 287 w 1809"/>
                <a:gd name="T73" fmla="*/ 654 h 1253"/>
                <a:gd name="T74" fmla="*/ 416 w 1809"/>
                <a:gd name="T75" fmla="*/ 684 h 1253"/>
                <a:gd name="T76" fmla="*/ 1106 w 1809"/>
                <a:gd name="T77" fmla="*/ 147 h 1253"/>
                <a:gd name="T78" fmla="*/ 1229 w 1809"/>
                <a:gd name="T79" fmla="*/ 258 h 1253"/>
                <a:gd name="T80" fmla="*/ 1106 w 1809"/>
                <a:gd name="T81" fmla="*/ 96 h 1253"/>
                <a:gd name="T82" fmla="*/ 1219 w 1809"/>
                <a:gd name="T83" fmla="*/ 1077 h 1253"/>
                <a:gd name="T84" fmla="*/ 1214 w 1809"/>
                <a:gd name="T85" fmla="*/ 1157 h 1253"/>
                <a:gd name="T86" fmla="*/ 1150 w 1809"/>
                <a:gd name="T87" fmla="*/ 1092 h 1253"/>
                <a:gd name="T88" fmla="*/ 1139 w 1809"/>
                <a:gd name="T89" fmla="*/ 1070 h 1253"/>
                <a:gd name="T90" fmla="*/ 1659 w 1809"/>
                <a:gd name="T91" fmla="*/ 1031 h 1253"/>
                <a:gd name="T92" fmla="*/ 1714 w 1809"/>
                <a:gd name="T93" fmla="*/ 1155 h 1253"/>
                <a:gd name="T94" fmla="*/ 1760 w 1809"/>
                <a:gd name="T95" fmla="*/ 1030 h 1253"/>
                <a:gd name="T96" fmla="*/ 111 w 1809"/>
                <a:gd name="T97" fmla="*/ 569 h 1253"/>
                <a:gd name="T98" fmla="*/ 109 w 1809"/>
                <a:gd name="T99" fmla="*/ 460 h 1253"/>
                <a:gd name="T100" fmla="*/ 32 w 1809"/>
                <a:gd name="T101" fmla="*/ 704 h 1253"/>
                <a:gd name="T102" fmla="*/ 310 w 1809"/>
                <a:gd name="T103" fmla="*/ 1058 h 1253"/>
                <a:gd name="T104" fmla="*/ 431 w 1809"/>
                <a:gd name="T105" fmla="*/ 1044 h 1253"/>
                <a:gd name="T106" fmla="*/ 278 w 1809"/>
                <a:gd name="T107" fmla="*/ 1165 h 1253"/>
                <a:gd name="T108" fmla="*/ 261 w 1809"/>
                <a:gd name="T109" fmla="*/ 540 h 1253"/>
                <a:gd name="T110" fmla="*/ 150 w 1809"/>
                <a:gd name="T111" fmla="*/ 635 h 1253"/>
                <a:gd name="T112" fmla="*/ 994 w 1809"/>
                <a:gd name="T113" fmla="*/ 1185 h 1253"/>
                <a:gd name="T114" fmla="*/ 331 w 1809"/>
                <a:gd name="T115" fmla="*/ 176 h 1253"/>
                <a:gd name="T116" fmla="*/ 333 w 1809"/>
                <a:gd name="T117" fmla="*/ 109 h 1253"/>
                <a:gd name="T118" fmla="*/ 946 w 1809"/>
                <a:gd name="T119" fmla="*/ 234 h 1253"/>
                <a:gd name="T120" fmla="*/ 1022 w 1809"/>
                <a:gd name="T121" fmla="*/ 113 h 1253"/>
                <a:gd name="T122" fmla="*/ 949 w 1809"/>
                <a:gd name="T123" fmla="*/ 65 h 1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09" h="1253">
                  <a:moveTo>
                    <a:pt x="248" y="198"/>
                  </a:moveTo>
                  <a:cubicBezTo>
                    <a:pt x="248" y="211"/>
                    <a:pt x="248" y="224"/>
                    <a:pt x="249" y="237"/>
                  </a:cubicBezTo>
                  <a:cubicBezTo>
                    <a:pt x="249" y="245"/>
                    <a:pt x="246" y="249"/>
                    <a:pt x="240" y="253"/>
                  </a:cubicBezTo>
                  <a:cubicBezTo>
                    <a:pt x="231" y="260"/>
                    <a:pt x="220" y="264"/>
                    <a:pt x="209" y="268"/>
                  </a:cubicBezTo>
                  <a:cubicBezTo>
                    <a:pt x="179" y="279"/>
                    <a:pt x="148" y="280"/>
                    <a:pt x="118" y="275"/>
                  </a:cubicBezTo>
                  <a:cubicBezTo>
                    <a:pt x="86" y="269"/>
                    <a:pt x="58" y="252"/>
                    <a:pt x="39" y="224"/>
                  </a:cubicBezTo>
                  <a:cubicBezTo>
                    <a:pt x="24" y="203"/>
                    <a:pt x="18" y="180"/>
                    <a:pt x="15" y="155"/>
                  </a:cubicBezTo>
                  <a:cubicBezTo>
                    <a:pt x="11" y="135"/>
                    <a:pt x="15" y="115"/>
                    <a:pt x="19" y="97"/>
                  </a:cubicBezTo>
                  <a:cubicBezTo>
                    <a:pt x="26" y="68"/>
                    <a:pt x="42" y="44"/>
                    <a:pt x="68" y="27"/>
                  </a:cubicBezTo>
                  <a:cubicBezTo>
                    <a:pt x="87" y="14"/>
                    <a:pt x="109" y="6"/>
                    <a:pt x="133" y="5"/>
                  </a:cubicBezTo>
                  <a:cubicBezTo>
                    <a:pt x="149" y="4"/>
                    <a:pt x="165" y="5"/>
                    <a:pt x="181" y="6"/>
                  </a:cubicBezTo>
                  <a:cubicBezTo>
                    <a:pt x="204" y="8"/>
                    <a:pt x="225" y="20"/>
                    <a:pt x="243" y="35"/>
                  </a:cubicBezTo>
                  <a:cubicBezTo>
                    <a:pt x="246" y="37"/>
                    <a:pt x="246" y="40"/>
                    <a:pt x="244" y="43"/>
                  </a:cubicBezTo>
                  <a:cubicBezTo>
                    <a:pt x="242" y="47"/>
                    <a:pt x="239" y="52"/>
                    <a:pt x="236" y="55"/>
                  </a:cubicBezTo>
                  <a:cubicBezTo>
                    <a:pt x="226" y="65"/>
                    <a:pt x="224" y="65"/>
                    <a:pt x="206" y="54"/>
                  </a:cubicBezTo>
                  <a:cubicBezTo>
                    <a:pt x="193" y="46"/>
                    <a:pt x="180" y="40"/>
                    <a:pt x="165" y="41"/>
                  </a:cubicBezTo>
                  <a:cubicBezTo>
                    <a:pt x="151" y="41"/>
                    <a:pt x="137" y="39"/>
                    <a:pt x="124" y="42"/>
                  </a:cubicBezTo>
                  <a:cubicBezTo>
                    <a:pt x="104" y="46"/>
                    <a:pt x="87" y="57"/>
                    <a:pt x="75" y="74"/>
                  </a:cubicBezTo>
                  <a:cubicBezTo>
                    <a:pt x="56" y="99"/>
                    <a:pt x="51" y="129"/>
                    <a:pt x="55" y="159"/>
                  </a:cubicBezTo>
                  <a:cubicBezTo>
                    <a:pt x="60" y="189"/>
                    <a:pt x="73" y="214"/>
                    <a:pt x="98" y="230"/>
                  </a:cubicBezTo>
                  <a:cubicBezTo>
                    <a:pt x="109" y="237"/>
                    <a:pt x="121" y="242"/>
                    <a:pt x="135" y="241"/>
                  </a:cubicBezTo>
                  <a:cubicBezTo>
                    <a:pt x="146" y="241"/>
                    <a:pt x="158" y="241"/>
                    <a:pt x="169" y="241"/>
                  </a:cubicBezTo>
                  <a:cubicBezTo>
                    <a:pt x="182" y="242"/>
                    <a:pt x="193" y="235"/>
                    <a:pt x="205" y="232"/>
                  </a:cubicBezTo>
                  <a:cubicBezTo>
                    <a:pt x="210" y="231"/>
                    <a:pt x="211" y="227"/>
                    <a:pt x="211" y="224"/>
                  </a:cubicBezTo>
                  <a:cubicBezTo>
                    <a:pt x="211" y="210"/>
                    <a:pt x="211" y="196"/>
                    <a:pt x="211" y="183"/>
                  </a:cubicBezTo>
                  <a:cubicBezTo>
                    <a:pt x="211" y="177"/>
                    <a:pt x="207" y="175"/>
                    <a:pt x="202" y="175"/>
                  </a:cubicBezTo>
                  <a:cubicBezTo>
                    <a:pt x="193" y="175"/>
                    <a:pt x="184" y="175"/>
                    <a:pt x="175" y="175"/>
                  </a:cubicBezTo>
                  <a:cubicBezTo>
                    <a:pt x="171" y="175"/>
                    <a:pt x="168" y="174"/>
                    <a:pt x="166" y="171"/>
                  </a:cubicBezTo>
                  <a:cubicBezTo>
                    <a:pt x="163" y="163"/>
                    <a:pt x="164" y="154"/>
                    <a:pt x="166" y="146"/>
                  </a:cubicBezTo>
                  <a:cubicBezTo>
                    <a:pt x="167" y="142"/>
                    <a:pt x="171" y="142"/>
                    <a:pt x="175" y="142"/>
                  </a:cubicBezTo>
                  <a:cubicBezTo>
                    <a:pt x="196" y="142"/>
                    <a:pt x="217" y="142"/>
                    <a:pt x="238" y="142"/>
                  </a:cubicBezTo>
                  <a:cubicBezTo>
                    <a:pt x="247" y="142"/>
                    <a:pt x="248" y="148"/>
                    <a:pt x="248" y="155"/>
                  </a:cubicBezTo>
                  <a:cubicBezTo>
                    <a:pt x="249" y="169"/>
                    <a:pt x="248" y="183"/>
                    <a:pt x="248" y="198"/>
                  </a:cubicBezTo>
                  <a:close/>
                  <a:moveTo>
                    <a:pt x="884" y="1181"/>
                  </a:moveTo>
                  <a:cubicBezTo>
                    <a:pt x="889" y="1167"/>
                    <a:pt x="894" y="1152"/>
                    <a:pt x="898" y="1137"/>
                  </a:cubicBezTo>
                  <a:cubicBezTo>
                    <a:pt x="901" y="1127"/>
                    <a:pt x="905" y="1116"/>
                    <a:pt x="908" y="1106"/>
                  </a:cubicBezTo>
                  <a:cubicBezTo>
                    <a:pt x="911" y="1098"/>
                    <a:pt x="912" y="1089"/>
                    <a:pt x="916" y="1081"/>
                  </a:cubicBezTo>
                  <a:cubicBezTo>
                    <a:pt x="921" y="1072"/>
                    <a:pt x="923" y="1060"/>
                    <a:pt x="927" y="1050"/>
                  </a:cubicBezTo>
                  <a:cubicBezTo>
                    <a:pt x="932" y="1037"/>
                    <a:pt x="934" y="1023"/>
                    <a:pt x="940" y="1010"/>
                  </a:cubicBezTo>
                  <a:cubicBezTo>
                    <a:pt x="945" y="1001"/>
                    <a:pt x="941" y="995"/>
                    <a:pt x="931" y="995"/>
                  </a:cubicBezTo>
                  <a:cubicBezTo>
                    <a:pt x="927" y="995"/>
                    <a:pt x="922" y="995"/>
                    <a:pt x="918" y="995"/>
                  </a:cubicBezTo>
                  <a:cubicBezTo>
                    <a:pt x="913" y="995"/>
                    <a:pt x="908" y="997"/>
                    <a:pt x="907" y="1001"/>
                  </a:cubicBezTo>
                  <a:cubicBezTo>
                    <a:pt x="904" y="1008"/>
                    <a:pt x="900" y="1015"/>
                    <a:pt x="899" y="1023"/>
                  </a:cubicBezTo>
                  <a:cubicBezTo>
                    <a:pt x="897" y="1034"/>
                    <a:pt x="893" y="1045"/>
                    <a:pt x="889" y="1055"/>
                  </a:cubicBezTo>
                  <a:cubicBezTo>
                    <a:pt x="887" y="1064"/>
                    <a:pt x="885" y="1072"/>
                    <a:pt x="882" y="1080"/>
                  </a:cubicBezTo>
                  <a:cubicBezTo>
                    <a:pt x="878" y="1091"/>
                    <a:pt x="874" y="1103"/>
                    <a:pt x="871" y="1115"/>
                  </a:cubicBezTo>
                  <a:cubicBezTo>
                    <a:pt x="870" y="1118"/>
                    <a:pt x="871" y="1124"/>
                    <a:pt x="866" y="1124"/>
                  </a:cubicBezTo>
                  <a:cubicBezTo>
                    <a:pt x="861" y="1125"/>
                    <a:pt x="859" y="1120"/>
                    <a:pt x="858" y="1115"/>
                  </a:cubicBezTo>
                  <a:cubicBezTo>
                    <a:pt x="856" y="1110"/>
                    <a:pt x="856" y="1104"/>
                    <a:pt x="854" y="1099"/>
                  </a:cubicBezTo>
                  <a:cubicBezTo>
                    <a:pt x="848" y="1080"/>
                    <a:pt x="841" y="1062"/>
                    <a:pt x="835" y="1044"/>
                  </a:cubicBezTo>
                  <a:cubicBezTo>
                    <a:pt x="831" y="1030"/>
                    <a:pt x="828" y="1016"/>
                    <a:pt x="822" y="1003"/>
                  </a:cubicBezTo>
                  <a:cubicBezTo>
                    <a:pt x="819" y="997"/>
                    <a:pt x="814" y="994"/>
                    <a:pt x="808" y="994"/>
                  </a:cubicBezTo>
                  <a:cubicBezTo>
                    <a:pt x="799" y="993"/>
                    <a:pt x="791" y="993"/>
                    <a:pt x="787" y="1001"/>
                  </a:cubicBezTo>
                  <a:cubicBezTo>
                    <a:pt x="783" y="1008"/>
                    <a:pt x="780" y="1015"/>
                    <a:pt x="779" y="1022"/>
                  </a:cubicBezTo>
                  <a:cubicBezTo>
                    <a:pt x="778" y="1034"/>
                    <a:pt x="772" y="1044"/>
                    <a:pt x="769" y="1055"/>
                  </a:cubicBezTo>
                  <a:cubicBezTo>
                    <a:pt x="762" y="1076"/>
                    <a:pt x="754" y="1096"/>
                    <a:pt x="749" y="1117"/>
                  </a:cubicBezTo>
                  <a:cubicBezTo>
                    <a:pt x="748" y="1120"/>
                    <a:pt x="747" y="1124"/>
                    <a:pt x="742" y="1124"/>
                  </a:cubicBezTo>
                  <a:cubicBezTo>
                    <a:pt x="737" y="1124"/>
                    <a:pt x="737" y="1120"/>
                    <a:pt x="736" y="1116"/>
                  </a:cubicBezTo>
                  <a:cubicBezTo>
                    <a:pt x="734" y="1104"/>
                    <a:pt x="730" y="1092"/>
                    <a:pt x="726" y="1080"/>
                  </a:cubicBezTo>
                  <a:cubicBezTo>
                    <a:pt x="720" y="1061"/>
                    <a:pt x="714" y="1040"/>
                    <a:pt x="708" y="1020"/>
                  </a:cubicBezTo>
                  <a:cubicBezTo>
                    <a:pt x="703" y="1000"/>
                    <a:pt x="698" y="994"/>
                    <a:pt x="676" y="995"/>
                  </a:cubicBezTo>
                  <a:cubicBezTo>
                    <a:pt x="665" y="996"/>
                    <a:pt x="661" y="1001"/>
                    <a:pt x="667" y="1011"/>
                  </a:cubicBezTo>
                  <a:cubicBezTo>
                    <a:pt x="669" y="1016"/>
                    <a:pt x="670" y="1021"/>
                    <a:pt x="672" y="1025"/>
                  </a:cubicBezTo>
                  <a:cubicBezTo>
                    <a:pt x="675" y="1035"/>
                    <a:pt x="678" y="1046"/>
                    <a:pt x="681" y="1055"/>
                  </a:cubicBezTo>
                  <a:cubicBezTo>
                    <a:pt x="685" y="1068"/>
                    <a:pt x="689" y="1080"/>
                    <a:pt x="693" y="1092"/>
                  </a:cubicBezTo>
                  <a:cubicBezTo>
                    <a:pt x="697" y="1103"/>
                    <a:pt x="699" y="1113"/>
                    <a:pt x="703" y="1124"/>
                  </a:cubicBezTo>
                  <a:cubicBezTo>
                    <a:pt x="707" y="1136"/>
                    <a:pt x="711" y="1147"/>
                    <a:pt x="715" y="1160"/>
                  </a:cubicBezTo>
                  <a:cubicBezTo>
                    <a:pt x="717" y="1168"/>
                    <a:pt x="720" y="1176"/>
                    <a:pt x="724" y="1183"/>
                  </a:cubicBezTo>
                  <a:cubicBezTo>
                    <a:pt x="728" y="1189"/>
                    <a:pt x="752" y="1185"/>
                    <a:pt x="757" y="1180"/>
                  </a:cubicBezTo>
                  <a:cubicBezTo>
                    <a:pt x="764" y="1173"/>
                    <a:pt x="762" y="1163"/>
                    <a:pt x="766" y="1156"/>
                  </a:cubicBezTo>
                  <a:cubicBezTo>
                    <a:pt x="774" y="1140"/>
                    <a:pt x="778" y="1122"/>
                    <a:pt x="784" y="1105"/>
                  </a:cubicBezTo>
                  <a:cubicBezTo>
                    <a:pt x="789" y="1088"/>
                    <a:pt x="796" y="1072"/>
                    <a:pt x="800" y="1054"/>
                  </a:cubicBezTo>
                  <a:cubicBezTo>
                    <a:pt x="800" y="1053"/>
                    <a:pt x="801" y="1050"/>
                    <a:pt x="803" y="1050"/>
                  </a:cubicBezTo>
                  <a:cubicBezTo>
                    <a:pt x="806" y="1050"/>
                    <a:pt x="806" y="1052"/>
                    <a:pt x="807" y="1055"/>
                  </a:cubicBezTo>
                  <a:cubicBezTo>
                    <a:pt x="807" y="1060"/>
                    <a:pt x="810" y="1066"/>
                    <a:pt x="811" y="1071"/>
                  </a:cubicBezTo>
                  <a:cubicBezTo>
                    <a:pt x="814" y="1081"/>
                    <a:pt x="818" y="1090"/>
                    <a:pt x="821" y="1099"/>
                  </a:cubicBezTo>
                  <a:cubicBezTo>
                    <a:pt x="824" y="1110"/>
                    <a:pt x="827" y="1120"/>
                    <a:pt x="831" y="1131"/>
                  </a:cubicBezTo>
                  <a:cubicBezTo>
                    <a:pt x="834" y="1142"/>
                    <a:pt x="839" y="1153"/>
                    <a:pt x="842" y="1164"/>
                  </a:cubicBezTo>
                  <a:cubicBezTo>
                    <a:pt x="846" y="1179"/>
                    <a:pt x="850" y="1188"/>
                    <a:pt x="869" y="1185"/>
                  </a:cubicBezTo>
                  <a:cubicBezTo>
                    <a:pt x="873" y="1184"/>
                    <a:pt x="881" y="1189"/>
                    <a:pt x="884" y="1181"/>
                  </a:cubicBezTo>
                  <a:close/>
                  <a:moveTo>
                    <a:pt x="33" y="1051"/>
                  </a:moveTo>
                  <a:cubicBezTo>
                    <a:pt x="33" y="1087"/>
                    <a:pt x="33" y="1124"/>
                    <a:pt x="33" y="1160"/>
                  </a:cubicBezTo>
                  <a:cubicBezTo>
                    <a:pt x="33" y="1188"/>
                    <a:pt x="29" y="1184"/>
                    <a:pt x="58" y="1185"/>
                  </a:cubicBezTo>
                  <a:cubicBezTo>
                    <a:pt x="72" y="1185"/>
                    <a:pt x="73" y="1184"/>
                    <a:pt x="73" y="1170"/>
                  </a:cubicBezTo>
                  <a:cubicBezTo>
                    <a:pt x="73" y="1138"/>
                    <a:pt x="73" y="1107"/>
                    <a:pt x="73" y="1076"/>
                  </a:cubicBezTo>
                  <a:cubicBezTo>
                    <a:pt x="73" y="1071"/>
                    <a:pt x="72" y="1067"/>
                    <a:pt x="78" y="1065"/>
                  </a:cubicBezTo>
                  <a:cubicBezTo>
                    <a:pt x="91" y="1062"/>
                    <a:pt x="102" y="1067"/>
                    <a:pt x="110" y="1076"/>
                  </a:cubicBezTo>
                  <a:cubicBezTo>
                    <a:pt x="112" y="1080"/>
                    <a:pt x="115" y="1083"/>
                    <a:pt x="118" y="1086"/>
                  </a:cubicBezTo>
                  <a:cubicBezTo>
                    <a:pt x="132" y="1103"/>
                    <a:pt x="146" y="1119"/>
                    <a:pt x="161" y="1136"/>
                  </a:cubicBezTo>
                  <a:cubicBezTo>
                    <a:pt x="173" y="1150"/>
                    <a:pt x="186" y="1165"/>
                    <a:pt x="198" y="1179"/>
                  </a:cubicBezTo>
                  <a:cubicBezTo>
                    <a:pt x="207" y="1188"/>
                    <a:pt x="218" y="1184"/>
                    <a:pt x="228" y="1185"/>
                  </a:cubicBezTo>
                  <a:cubicBezTo>
                    <a:pt x="233" y="1185"/>
                    <a:pt x="241" y="1188"/>
                    <a:pt x="244" y="1182"/>
                  </a:cubicBezTo>
                  <a:cubicBezTo>
                    <a:pt x="246" y="1178"/>
                    <a:pt x="239" y="1173"/>
                    <a:pt x="235" y="1169"/>
                  </a:cubicBezTo>
                  <a:cubicBezTo>
                    <a:pt x="206" y="1133"/>
                    <a:pt x="176" y="1098"/>
                    <a:pt x="146" y="1062"/>
                  </a:cubicBezTo>
                  <a:cubicBezTo>
                    <a:pt x="141" y="1056"/>
                    <a:pt x="131" y="1052"/>
                    <a:pt x="132" y="1044"/>
                  </a:cubicBezTo>
                  <a:cubicBezTo>
                    <a:pt x="132" y="1036"/>
                    <a:pt x="142" y="1032"/>
                    <a:pt x="147" y="1026"/>
                  </a:cubicBezTo>
                  <a:cubicBezTo>
                    <a:pt x="164" y="1006"/>
                    <a:pt x="182" y="988"/>
                    <a:pt x="198" y="968"/>
                  </a:cubicBezTo>
                  <a:cubicBezTo>
                    <a:pt x="209" y="954"/>
                    <a:pt x="221" y="942"/>
                    <a:pt x="234" y="929"/>
                  </a:cubicBezTo>
                  <a:cubicBezTo>
                    <a:pt x="236" y="926"/>
                    <a:pt x="238" y="923"/>
                    <a:pt x="237" y="920"/>
                  </a:cubicBezTo>
                  <a:cubicBezTo>
                    <a:pt x="235" y="915"/>
                    <a:pt x="231" y="917"/>
                    <a:pt x="228" y="917"/>
                  </a:cubicBezTo>
                  <a:cubicBezTo>
                    <a:pt x="224" y="918"/>
                    <a:pt x="221" y="918"/>
                    <a:pt x="217" y="918"/>
                  </a:cubicBezTo>
                  <a:cubicBezTo>
                    <a:pt x="204" y="917"/>
                    <a:pt x="193" y="922"/>
                    <a:pt x="185" y="931"/>
                  </a:cubicBezTo>
                  <a:cubicBezTo>
                    <a:pt x="172" y="946"/>
                    <a:pt x="158" y="961"/>
                    <a:pt x="145" y="977"/>
                  </a:cubicBezTo>
                  <a:cubicBezTo>
                    <a:pt x="131" y="993"/>
                    <a:pt x="117" y="1010"/>
                    <a:pt x="102" y="1026"/>
                  </a:cubicBezTo>
                  <a:cubicBezTo>
                    <a:pt x="96" y="1032"/>
                    <a:pt x="87" y="1037"/>
                    <a:pt x="78" y="1034"/>
                  </a:cubicBezTo>
                  <a:cubicBezTo>
                    <a:pt x="70" y="1030"/>
                    <a:pt x="73" y="1021"/>
                    <a:pt x="73" y="1015"/>
                  </a:cubicBezTo>
                  <a:cubicBezTo>
                    <a:pt x="73" y="991"/>
                    <a:pt x="73" y="967"/>
                    <a:pt x="73" y="944"/>
                  </a:cubicBezTo>
                  <a:cubicBezTo>
                    <a:pt x="73" y="916"/>
                    <a:pt x="75" y="917"/>
                    <a:pt x="46" y="918"/>
                  </a:cubicBezTo>
                  <a:cubicBezTo>
                    <a:pt x="33" y="918"/>
                    <a:pt x="33" y="918"/>
                    <a:pt x="33" y="931"/>
                  </a:cubicBezTo>
                  <a:cubicBezTo>
                    <a:pt x="33" y="971"/>
                    <a:pt x="33" y="1011"/>
                    <a:pt x="33" y="1051"/>
                  </a:cubicBezTo>
                  <a:cubicBezTo>
                    <a:pt x="33" y="1051"/>
                    <a:pt x="33" y="1051"/>
                    <a:pt x="33" y="1051"/>
                  </a:cubicBezTo>
                  <a:close/>
                  <a:moveTo>
                    <a:pt x="639" y="84"/>
                  </a:moveTo>
                  <a:cubicBezTo>
                    <a:pt x="627" y="84"/>
                    <a:pt x="626" y="84"/>
                    <a:pt x="629" y="95"/>
                  </a:cubicBezTo>
                  <a:cubicBezTo>
                    <a:pt x="634" y="113"/>
                    <a:pt x="640" y="131"/>
                    <a:pt x="646" y="148"/>
                  </a:cubicBezTo>
                  <a:cubicBezTo>
                    <a:pt x="652" y="166"/>
                    <a:pt x="658" y="185"/>
                    <a:pt x="664" y="203"/>
                  </a:cubicBezTo>
                  <a:cubicBezTo>
                    <a:pt x="671" y="223"/>
                    <a:pt x="676" y="244"/>
                    <a:pt x="684" y="264"/>
                  </a:cubicBezTo>
                  <a:cubicBezTo>
                    <a:pt x="688" y="274"/>
                    <a:pt x="694" y="274"/>
                    <a:pt x="702" y="274"/>
                  </a:cubicBezTo>
                  <a:cubicBezTo>
                    <a:pt x="711" y="274"/>
                    <a:pt x="719" y="272"/>
                    <a:pt x="723" y="263"/>
                  </a:cubicBezTo>
                  <a:cubicBezTo>
                    <a:pt x="733" y="236"/>
                    <a:pt x="741" y="208"/>
                    <a:pt x="750" y="181"/>
                  </a:cubicBezTo>
                  <a:cubicBezTo>
                    <a:pt x="754" y="169"/>
                    <a:pt x="757" y="156"/>
                    <a:pt x="763" y="145"/>
                  </a:cubicBezTo>
                  <a:cubicBezTo>
                    <a:pt x="764" y="143"/>
                    <a:pt x="764" y="140"/>
                    <a:pt x="767" y="140"/>
                  </a:cubicBezTo>
                  <a:cubicBezTo>
                    <a:pt x="770" y="140"/>
                    <a:pt x="770" y="143"/>
                    <a:pt x="771" y="145"/>
                  </a:cubicBezTo>
                  <a:cubicBezTo>
                    <a:pt x="771" y="156"/>
                    <a:pt x="777" y="165"/>
                    <a:pt x="780" y="175"/>
                  </a:cubicBezTo>
                  <a:cubicBezTo>
                    <a:pt x="782" y="184"/>
                    <a:pt x="785" y="193"/>
                    <a:pt x="788" y="201"/>
                  </a:cubicBezTo>
                  <a:cubicBezTo>
                    <a:pt x="794" y="219"/>
                    <a:pt x="801" y="237"/>
                    <a:pt x="806" y="255"/>
                  </a:cubicBezTo>
                  <a:cubicBezTo>
                    <a:pt x="811" y="272"/>
                    <a:pt x="825" y="280"/>
                    <a:pt x="842" y="273"/>
                  </a:cubicBezTo>
                  <a:cubicBezTo>
                    <a:pt x="845" y="271"/>
                    <a:pt x="847" y="269"/>
                    <a:pt x="848" y="266"/>
                  </a:cubicBezTo>
                  <a:cubicBezTo>
                    <a:pt x="853" y="251"/>
                    <a:pt x="859" y="236"/>
                    <a:pt x="863" y="221"/>
                  </a:cubicBezTo>
                  <a:cubicBezTo>
                    <a:pt x="867" y="202"/>
                    <a:pt x="875" y="185"/>
                    <a:pt x="880" y="166"/>
                  </a:cubicBezTo>
                  <a:cubicBezTo>
                    <a:pt x="886" y="144"/>
                    <a:pt x="895" y="123"/>
                    <a:pt x="900" y="101"/>
                  </a:cubicBezTo>
                  <a:cubicBezTo>
                    <a:pt x="901" y="96"/>
                    <a:pt x="909" y="91"/>
                    <a:pt x="904" y="86"/>
                  </a:cubicBezTo>
                  <a:cubicBezTo>
                    <a:pt x="900" y="81"/>
                    <a:pt x="892" y="84"/>
                    <a:pt x="886" y="84"/>
                  </a:cubicBezTo>
                  <a:cubicBezTo>
                    <a:pt x="885" y="84"/>
                    <a:pt x="883" y="84"/>
                    <a:pt x="881" y="84"/>
                  </a:cubicBezTo>
                  <a:cubicBezTo>
                    <a:pt x="875" y="84"/>
                    <a:pt x="872" y="86"/>
                    <a:pt x="869" y="91"/>
                  </a:cubicBezTo>
                  <a:cubicBezTo>
                    <a:pt x="860" y="110"/>
                    <a:pt x="856" y="131"/>
                    <a:pt x="850" y="151"/>
                  </a:cubicBezTo>
                  <a:cubicBezTo>
                    <a:pt x="844" y="170"/>
                    <a:pt x="836" y="188"/>
                    <a:pt x="834" y="208"/>
                  </a:cubicBezTo>
                  <a:cubicBezTo>
                    <a:pt x="833" y="211"/>
                    <a:pt x="831" y="214"/>
                    <a:pt x="827" y="214"/>
                  </a:cubicBezTo>
                  <a:cubicBezTo>
                    <a:pt x="823" y="214"/>
                    <a:pt x="822" y="210"/>
                    <a:pt x="822" y="207"/>
                  </a:cubicBezTo>
                  <a:cubicBezTo>
                    <a:pt x="817" y="188"/>
                    <a:pt x="811" y="170"/>
                    <a:pt x="805" y="152"/>
                  </a:cubicBezTo>
                  <a:cubicBezTo>
                    <a:pt x="799" y="133"/>
                    <a:pt x="794" y="114"/>
                    <a:pt x="786" y="96"/>
                  </a:cubicBezTo>
                  <a:cubicBezTo>
                    <a:pt x="783" y="87"/>
                    <a:pt x="779" y="84"/>
                    <a:pt x="770" y="84"/>
                  </a:cubicBezTo>
                  <a:cubicBezTo>
                    <a:pt x="761" y="84"/>
                    <a:pt x="752" y="82"/>
                    <a:pt x="748" y="94"/>
                  </a:cubicBezTo>
                  <a:cubicBezTo>
                    <a:pt x="744" y="109"/>
                    <a:pt x="738" y="123"/>
                    <a:pt x="734" y="138"/>
                  </a:cubicBezTo>
                  <a:cubicBezTo>
                    <a:pt x="729" y="153"/>
                    <a:pt x="724" y="167"/>
                    <a:pt x="719" y="182"/>
                  </a:cubicBezTo>
                  <a:cubicBezTo>
                    <a:pt x="716" y="192"/>
                    <a:pt x="715" y="203"/>
                    <a:pt x="708" y="212"/>
                  </a:cubicBezTo>
                  <a:cubicBezTo>
                    <a:pt x="707" y="214"/>
                    <a:pt x="707" y="217"/>
                    <a:pt x="704" y="217"/>
                  </a:cubicBezTo>
                  <a:cubicBezTo>
                    <a:pt x="701" y="217"/>
                    <a:pt x="701" y="213"/>
                    <a:pt x="700" y="211"/>
                  </a:cubicBezTo>
                  <a:cubicBezTo>
                    <a:pt x="699" y="198"/>
                    <a:pt x="694" y="186"/>
                    <a:pt x="690" y="174"/>
                  </a:cubicBezTo>
                  <a:cubicBezTo>
                    <a:pt x="684" y="153"/>
                    <a:pt x="677" y="131"/>
                    <a:pt x="672" y="110"/>
                  </a:cubicBezTo>
                  <a:cubicBezTo>
                    <a:pt x="667" y="88"/>
                    <a:pt x="663" y="84"/>
                    <a:pt x="645" y="84"/>
                  </a:cubicBezTo>
                  <a:cubicBezTo>
                    <a:pt x="643" y="84"/>
                    <a:pt x="641" y="84"/>
                    <a:pt x="639" y="84"/>
                  </a:cubicBezTo>
                  <a:close/>
                  <a:moveTo>
                    <a:pt x="507" y="711"/>
                  </a:moveTo>
                  <a:cubicBezTo>
                    <a:pt x="507" y="730"/>
                    <a:pt x="507" y="730"/>
                    <a:pt x="526" y="730"/>
                  </a:cubicBezTo>
                  <a:cubicBezTo>
                    <a:pt x="539" y="730"/>
                    <a:pt x="541" y="729"/>
                    <a:pt x="541" y="715"/>
                  </a:cubicBezTo>
                  <a:cubicBezTo>
                    <a:pt x="541" y="677"/>
                    <a:pt x="541" y="638"/>
                    <a:pt x="540" y="600"/>
                  </a:cubicBezTo>
                  <a:cubicBezTo>
                    <a:pt x="540" y="593"/>
                    <a:pt x="543" y="587"/>
                    <a:pt x="548" y="582"/>
                  </a:cubicBezTo>
                  <a:cubicBezTo>
                    <a:pt x="553" y="576"/>
                    <a:pt x="559" y="573"/>
                    <a:pt x="564" y="569"/>
                  </a:cubicBezTo>
                  <a:cubicBezTo>
                    <a:pt x="574" y="564"/>
                    <a:pt x="594" y="566"/>
                    <a:pt x="602" y="574"/>
                  </a:cubicBezTo>
                  <a:cubicBezTo>
                    <a:pt x="611" y="582"/>
                    <a:pt x="614" y="592"/>
                    <a:pt x="614" y="604"/>
                  </a:cubicBezTo>
                  <a:cubicBezTo>
                    <a:pt x="614" y="638"/>
                    <a:pt x="614" y="672"/>
                    <a:pt x="614" y="706"/>
                  </a:cubicBezTo>
                  <a:cubicBezTo>
                    <a:pt x="614" y="730"/>
                    <a:pt x="614" y="730"/>
                    <a:pt x="638" y="730"/>
                  </a:cubicBezTo>
                  <a:cubicBezTo>
                    <a:pt x="650" y="730"/>
                    <a:pt x="650" y="730"/>
                    <a:pt x="650" y="717"/>
                  </a:cubicBezTo>
                  <a:cubicBezTo>
                    <a:pt x="650" y="684"/>
                    <a:pt x="650" y="650"/>
                    <a:pt x="650" y="617"/>
                  </a:cubicBezTo>
                  <a:cubicBezTo>
                    <a:pt x="650" y="606"/>
                    <a:pt x="651" y="597"/>
                    <a:pt x="657" y="586"/>
                  </a:cubicBezTo>
                  <a:cubicBezTo>
                    <a:pt x="667" y="565"/>
                    <a:pt x="703" y="560"/>
                    <a:pt x="716" y="579"/>
                  </a:cubicBezTo>
                  <a:cubicBezTo>
                    <a:pt x="723" y="588"/>
                    <a:pt x="724" y="598"/>
                    <a:pt x="724" y="609"/>
                  </a:cubicBezTo>
                  <a:cubicBezTo>
                    <a:pt x="724" y="645"/>
                    <a:pt x="724" y="682"/>
                    <a:pt x="724" y="718"/>
                  </a:cubicBezTo>
                  <a:cubicBezTo>
                    <a:pt x="724" y="727"/>
                    <a:pt x="727" y="731"/>
                    <a:pt x="736" y="730"/>
                  </a:cubicBezTo>
                  <a:cubicBezTo>
                    <a:pt x="738" y="730"/>
                    <a:pt x="741" y="730"/>
                    <a:pt x="743" y="730"/>
                  </a:cubicBezTo>
                  <a:cubicBezTo>
                    <a:pt x="758" y="730"/>
                    <a:pt x="759" y="729"/>
                    <a:pt x="759" y="715"/>
                  </a:cubicBezTo>
                  <a:cubicBezTo>
                    <a:pt x="759" y="677"/>
                    <a:pt x="758" y="639"/>
                    <a:pt x="759" y="601"/>
                  </a:cubicBezTo>
                  <a:cubicBezTo>
                    <a:pt x="759" y="571"/>
                    <a:pt x="742" y="540"/>
                    <a:pt x="704" y="538"/>
                  </a:cubicBezTo>
                  <a:cubicBezTo>
                    <a:pt x="681" y="536"/>
                    <a:pt x="661" y="542"/>
                    <a:pt x="646" y="560"/>
                  </a:cubicBezTo>
                  <a:cubicBezTo>
                    <a:pt x="638" y="569"/>
                    <a:pt x="638" y="569"/>
                    <a:pt x="631" y="559"/>
                  </a:cubicBezTo>
                  <a:cubicBezTo>
                    <a:pt x="630" y="558"/>
                    <a:pt x="630" y="557"/>
                    <a:pt x="629" y="556"/>
                  </a:cubicBezTo>
                  <a:cubicBezTo>
                    <a:pt x="623" y="548"/>
                    <a:pt x="616" y="541"/>
                    <a:pt x="607" y="539"/>
                  </a:cubicBezTo>
                  <a:cubicBezTo>
                    <a:pt x="584" y="534"/>
                    <a:pt x="563" y="539"/>
                    <a:pt x="545" y="555"/>
                  </a:cubicBezTo>
                  <a:cubicBezTo>
                    <a:pt x="540" y="559"/>
                    <a:pt x="537" y="561"/>
                    <a:pt x="537" y="552"/>
                  </a:cubicBezTo>
                  <a:cubicBezTo>
                    <a:pt x="536" y="543"/>
                    <a:pt x="526" y="538"/>
                    <a:pt x="515" y="539"/>
                  </a:cubicBezTo>
                  <a:cubicBezTo>
                    <a:pt x="506" y="540"/>
                    <a:pt x="507" y="546"/>
                    <a:pt x="507" y="552"/>
                  </a:cubicBezTo>
                  <a:cubicBezTo>
                    <a:pt x="507" y="580"/>
                    <a:pt x="507" y="607"/>
                    <a:pt x="507" y="634"/>
                  </a:cubicBezTo>
                  <a:cubicBezTo>
                    <a:pt x="507" y="660"/>
                    <a:pt x="507" y="685"/>
                    <a:pt x="507" y="711"/>
                  </a:cubicBezTo>
                  <a:close/>
                  <a:moveTo>
                    <a:pt x="1525" y="1142"/>
                  </a:moveTo>
                  <a:cubicBezTo>
                    <a:pt x="1517" y="1143"/>
                    <a:pt x="1511" y="1141"/>
                    <a:pt x="1505" y="1136"/>
                  </a:cubicBezTo>
                  <a:cubicBezTo>
                    <a:pt x="1501" y="1133"/>
                    <a:pt x="1495" y="1130"/>
                    <a:pt x="1498" y="1124"/>
                  </a:cubicBezTo>
                  <a:cubicBezTo>
                    <a:pt x="1500" y="1118"/>
                    <a:pt x="1504" y="1114"/>
                    <a:pt x="1512" y="1114"/>
                  </a:cubicBezTo>
                  <a:cubicBezTo>
                    <a:pt x="1521" y="1115"/>
                    <a:pt x="1530" y="1114"/>
                    <a:pt x="1538" y="1115"/>
                  </a:cubicBezTo>
                  <a:cubicBezTo>
                    <a:pt x="1573" y="1117"/>
                    <a:pt x="1610" y="1084"/>
                    <a:pt x="1602" y="1044"/>
                  </a:cubicBezTo>
                  <a:cubicBezTo>
                    <a:pt x="1600" y="1035"/>
                    <a:pt x="1599" y="1028"/>
                    <a:pt x="1611" y="1027"/>
                  </a:cubicBezTo>
                  <a:cubicBezTo>
                    <a:pt x="1614" y="1027"/>
                    <a:pt x="1617" y="1024"/>
                    <a:pt x="1619" y="1023"/>
                  </a:cubicBezTo>
                  <a:cubicBezTo>
                    <a:pt x="1626" y="1019"/>
                    <a:pt x="1624" y="1013"/>
                    <a:pt x="1623" y="1008"/>
                  </a:cubicBezTo>
                  <a:cubicBezTo>
                    <a:pt x="1623" y="1002"/>
                    <a:pt x="1618" y="1003"/>
                    <a:pt x="1613" y="1002"/>
                  </a:cubicBezTo>
                  <a:cubicBezTo>
                    <a:pt x="1598" y="1002"/>
                    <a:pt x="1582" y="1004"/>
                    <a:pt x="1567" y="1000"/>
                  </a:cubicBezTo>
                  <a:cubicBezTo>
                    <a:pt x="1560" y="999"/>
                    <a:pt x="1554" y="993"/>
                    <a:pt x="1546" y="993"/>
                  </a:cubicBezTo>
                  <a:cubicBezTo>
                    <a:pt x="1536" y="994"/>
                    <a:pt x="1525" y="992"/>
                    <a:pt x="1515" y="993"/>
                  </a:cubicBezTo>
                  <a:cubicBezTo>
                    <a:pt x="1490" y="997"/>
                    <a:pt x="1469" y="1010"/>
                    <a:pt x="1462" y="1034"/>
                  </a:cubicBezTo>
                  <a:cubicBezTo>
                    <a:pt x="1455" y="1056"/>
                    <a:pt x="1457" y="1079"/>
                    <a:pt x="1476" y="1096"/>
                  </a:cubicBezTo>
                  <a:cubicBezTo>
                    <a:pt x="1483" y="1103"/>
                    <a:pt x="1483" y="1107"/>
                    <a:pt x="1476" y="1113"/>
                  </a:cubicBezTo>
                  <a:cubicBezTo>
                    <a:pt x="1462" y="1126"/>
                    <a:pt x="1462" y="1142"/>
                    <a:pt x="1473" y="1157"/>
                  </a:cubicBezTo>
                  <a:cubicBezTo>
                    <a:pt x="1476" y="1160"/>
                    <a:pt x="1476" y="1162"/>
                    <a:pt x="1472" y="1164"/>
                  </a:cubicBezTo>
                  <a:cubicBezTo>
                    <a:pt x="1470" y="1166"/>
                    <a:pt x="1468" y="1168"/>
                    <a:pt x="1466" y="1170"/>
                  </a:cubicBezTo>
                  <a:cubicBezTo>
                    <a:pt x="1449" y="1183"/>
                    <a:pt x="1444" y="1201"/>
                    <a:pt x="1454" y="1218"/>
                  </a:cubicBezTo>
                  <a:cubicBezTo>
                    <a:pt x="1464" y="1235"/>
                    <a:pt x="1479" y="1246"/>
                    <a:pt x="1499" y="1249"/>
                  </a:cubicBezTo>
                  <a:cubicBezTo>
                    <a:pt x="1517" y="1252"/>
                    <a:pt x="1535" y="1253"/>
                    <a:pt x="1553" y="1250"/>
                  </a:cubicBezTo>
                  <a:cubicBezTo>
                    <a:pt x="1584" y="1245"/>
                    <a:pt x="1607" y="1232"/>
                    <a:pt x="1619" y="1200"/>
                  </a:cubicBezTo>
                  <a:cubicBezTo>
                    <a:pt x="1627" y="1180"/>
                    <a:pt x="1611" y="1155"/>
                    <a:pt x="1593" y="1148"/>
                  </a:cubicBezTo>
                  <a:cubicBezTo>
                    <a:pt x="1578" y="1142"/>
                    <a:pt x="1563" y="1143"/>
                    <a:pt x="1549" y="1142"/>
                  </a:cubicBezTo>
                  <a:cubicBezTo>
                    <a:pt x="1540" y="1142"/>
                    <a:pt x="1532" y="1142"/>
                    <a:pt x="1525" y="1142"/>
                  </a:cubicBezTo>
                  <a:close/>
                  <a:moveTo>
                    <a:pt x="1556" y="1172"/>
                  </a:moveTo>
                  <a:cubicBezTo>
                    <a:pt x="1566" y="1172"/>
                    <a:pt x="1576" y="1176"/>
                    <a:pt x="1583" y="1183"/>
                  </a:cubicBezTo>
                  <a:cubicBezTo>
                    <a:pt x="1589" y="1190"/>
                    <a:pt x="1589" y="1198"/>
                    <a:pt x="1583" y="1205"/>
                  </a:cubicBezTo>
                  <a:cubicBezTo>
                    <a:pt x="1575" y="1215"/>
                    <a:pt x="1565" y="1220"/>
                    <a:pt x="1553" y="1223"/>
                  </a:cubicBezTo>
                  <a:cubicBezTo>
                    <a:pt x="1534" y="1228"/>
                    <a:pt x="1516" y="1225"/>
                    <a:pt x="1499" y="1219"/>
                  </a:cubicBezTo>
                  <a:cubicBezTo>
                    <a:pt x="1486" y="1214"/>
                    <a:pt x="1479" y="1203"/>
                    <a:pt x="1482" y="1193"/>
                  </a:cubicBezTo>
                  <a:cubicBezTo>
                    <a:pt x="1485" y="1182"/>
                    <a:pt x="1496" y="1168"/>
                    <a:pt x="1514" y="1171"/>
                  </a:cubicBezTo>
                  <a:cubicBezTo>
                    <a:pt x="1526" y="1173"/>
                    <a:pt x="1541" y="1171"/>
                    <a:pt x="1556" y="1172"/>
                  </a:cubicBezTo>
                  <a:close/>
                  <a:moveTo>
                    <a:pt x="1531" y="1019"/>
                  </a:moveTo>
                  <a:cubicBezTo>
                    <a:pt x="1553" y="1017"/>
                    <a:pt x="1570" y="1033"/>
                    <a:pt x="1570" y="1052"/>
                  </a:cubicBezTo>
                  <a:cubicBezTo>
                    <a:pt x="1570" y="1075"/>
                    <a:pt x="1554" y="1093"/>
                    <a:pt x="1532" y="1091"/>
                  </a:cubicBezTo>
                  <a:cubicBezTo>
                    <a:pt x="1508" y="1089"/>
                    <a:pt x="1494" y="1082"/>
                    <a:pt x="1493" y="1053"/>
                  </a:cubicBezTo>
                  <a:cubicBezTo>
                    <a:pt x="1494" y="1029"/>
                    <a:pt x="1508" y="1020"/>
                    <a:pt x="1531" y="1019"/>
                  </a:cubicBezTo>
                  <a:close/>
                  <a:moveTo>
                    <a:pt x="1413" y="934"/>
                  </a:moveTo>
                  <a:cubicBezTo>
                    <a:pt x="1413" y="909"/>
                    <a:pt x="1413" y="909"/>
                    <a:pt x="1389" y="910"/>
                  </a:cubicBezTo>
                  <a:cubicBezTo>
                    <a:pt x="1388" y="910"/>
                    <a:pt x="1387" y="910"/>
                    <a:pt x="1387" y="910"/>
                  </a:cubicBezTo>
                  <a:cubicBezTo>
                    <a:pt x="1379" y="910"/>
                    <a:pt x="1376" y="915"/>
                    <a:pt x="1376" y="921"/>
                  </a:cubicBezTo>
                  <a:cubicBezTo>
                    <a:pt x="1376" y="939"/>
                    <a:pt x="1377" y="956"/>
                    <a:pt x="1377" y="974"/>
                  </a:cubicBezTo>
                  <a:cubicBezTo>
                    <a:pt x="1377" y="983"/>
                    <a:pt x="1377" y="991"/>
                    <a:pt x="1377" y="1000"/>
                  </a:cubicBezTo>
                  <a:cubicBezTo>
                    <a:pt x="1377" y="1005"/>
                    <a:pt x="1374" y="1009"/>
                    <a:pt x="1369" y="1005"/>
                  </a:cubicBezTo>
                  <a:cubicBezTo>
                    <a:pt x="1352" y="990"/>
                    <a:pt x="1332" y="993"/>
                    <a:pt x="1312" y="993"/>
                  </a:cubicBezTo>
                  <a:cubicBezTo>
                    <a:pt x="1303" y="994"/>
                    <a:pt x="1294" y="998"/>
                    <a:pt x="1287" y="1003"/>
                  </a:cubicBezTo>
                  <a:cubicBezTo>
                    <a:pt x="1265" y="1017"/>
                    <a:pt x="1252" y="1039"/>
                    <a:pt x="1248" y="1065"/>
                  </a:cubicBezTo>
                  <a:cubicBezTo>
                    <a:pt x="1244" y="1096"/>
                    <a:pt x="1244" y="1128"/>
                    <a:pt x="1261" y="1157"/>
                  </a:cubicBezTo>
                  <a:cubicBezTo>
                    <a:pt x="1270" y="1170"/>
                    <a:pt x="1281" y="1181"/>
                    <a:pt x="1296" y="1185"/>
                  </a:cubicBezTo>
                  <a:cubicBezTo>
                    <a:pt x="1323" y="1191"/>
                    <a:pt x="1349" y="1188"/>
                    <a:pt x="1370" y="1167"/>
                  </a:cubicBezTo>
                  <a:cubicBezTo>
                    <a:pt x="1372" y="1165"/>
                    <a:pt x="1375" y="1162"/>
                    <a:pt x="1379" y="1163"/>
                  </a:cubicBezTo>
                  <a:cubicBezTo>
                    <a:pt x="1382" y="1165"/>
                    <a:pt x="1381" y="1169"/>
                    <a:pt x="1381" y="1172"/>
                  </a:cubicBezTo>
                  <a:cubicBezTo>
                    <a:pt x="1383" y="1181"/>
                    <a:pt x="1390" y="1186"/>
                    <a:pt x="1403" y="1186"/>
                  </a:cubicBezTo>
                  <a:cubicBezTo>
                    <a:pt x="1413" y="1185"/>
                    <a:pt x="1413" y="1178"/>
                    <a:pt x="1413" y="1172"/>
                  </a:cubicBezTo>
                  <a:cubicBezTo>
                    <a:pt x="1413" y="1131"/>
                    <a:pt x="1413" y="1090"/>
                    <a:pt x="1413" y="1049"/>
                  </a:cubicBezTo>
                  <a:cubicBezTo>
                    <a:pt x="1413" y="1010"/>
                    <a:pt x="1413" y="972"/>
                    <a:pt x="1413" y="934"/>
                  </a:cubicBezTo>
                  <a:close/>
                  <a:moveTo>
                    <a:pt x="1378" y="1113"/>
                  </a:moveTo>
                  <a:cubicBezTo>
                    <a:pt x="1378" y="1136"/>
                    <a:pt x="1360" y="1155"/>
                    <a:pt x="1337" y="1157"/>
                  </a:cubicBezTo>
                  <a:cubicBezTo>
                    <a:pt x="1319" y="1159"/>
                    <a:pt x="1304" y="1154"/>
                    <a:pt x="1294" y="1139"/>
                  </a:cubicBezTo>
                  <a:cubicBezTo>
                    <a:pt x="1286" y="1128"/>
                    <a:pt x="1283" y="1116"/>
                    <a:pt x="1283" y="1102"/>
                  </a:cubicBezTo>
                  <a:cubicBezTo>
                    <a:pt x="1282" y="1085"/>
                    <a:pt x="1282" y="1067"/>
                    <a:pt x="1290" y="1051"/>
                  </a:cubicBezTo>
                  <a:cubicBezTo>
                    <a:pt x="1297" y="1036"/>
                    <a:pt x="1308" y="1024"/>
                    <a:pt x="1325" y="1022"/>
                  </a:cubicBezTo>
                  <a:cubicBezTo>
                    <a:pt x="1342" y="1020"/>
                    <a:pt x="1358" y="1021"/>
                    <a:pt x="1371" y="1035"/>
                  </a:cubicBezTo>
                  <a:cubicBezTo>
                    <a:pt x="1376" y="1041"/>
                    <a:pt x="1378" y="1046"/>
                    <a:pt x="1378" y="1052"/>
                  </a:cubicBezTo>
                  <a:cubicBezTo>
                    <a:pt x="1378" y="1064"/>
                    <a:pt x="1378" y="1075"/>
                    <a:pt x="1378" y="1086"/>
                  </a:cubicBezTo>
                  <a:cubicBezTo>
                    <a:pt x="1378" y="1086"/>
                    <a:pt x="1378" y="1086"/>
                    <a:pt x="1378" y="1086"/>
                  </a:cubicBezTo>
                  <a:cubicBezTo>
                    <a:pt x="1378" y="1095"/>
                    <a:pt x="1378" y="1104"/>
                    <a:pt x="1378" y="1113"/>
                  </a:cubicBezTo>
                  <a:close/>
                  <a:moveTo>
                    <a:pt x="578" y="259"/>
                  </a:moveTo>
                  <a:cubicBezTo>
                    <a:pt x="603" y="241"/>
                    <a:pt x="611" y="213"/>
                    <a:pt x="614" y="183"/>
                  </a:cubicBezTo>
                  <a:cubicBezTo>
                    <a:pt x="615" y="171"/>
                    <a:pt x="610" y="159"/>
                    <a:pt x="609" y="147"/>
                  </a:cubicBezTo>
                  <a:cubicBezTo>
                    <a:pt x="608" y="137"/>
                    <a:pt x="603" y="129"/>
                    <a:pt x="599" y="121"/>
                  </a:cubicBezTo>
                  <a:cubicBezTo>
                    <a:pt x="579" y="87"/>
                    <a:pt x="527" y="70"/>
                    <a:pt x="488" y="85"/>
                  </a:cubicBezTo>
                  <a:cubicBezTo>
                    <a:pt x="453" y="99"/>
                    <a:pt x="436" y="127"/>
                    <a:pt x="431" y="163"/>
                  </a:cubicBezTo>
                  <a:cubicBezTo>
                    <a:pt x="429" y="180"/>
                    <a:pt x="430" y="196"/>
                    <a:pt x="436" y="213"/>
                  </a:cubicBezTo>
                  <a:cubicBezTo>
                    <a:pt x="439" y="222"/>
                    <a:pt x="442" y="232"/>
                    <a:pt x="447" y="239"/>
                  </a:cubicBezTo>
                  <a:cubicBezTo>
                    <a:pt x="465" y="265"/>
                    <a:pt x="491" y="277"/>
                    <a:pt x="525" y="276"/>
                  </a:cubicBezTo>
                  <a:cubicBezTo>
                    <a:pt x="543" y="278"/>
                    <a:pt x="562" y="271"/>
                    <a:pt x="578" y="259"/>
                  </a:cubicBezTo>
                  <a:close/>
                  <a:moveTo>
                    <a:pt x="471" y="205"/>
                  </a:moveTo>
                  <a:cubicBezTo>
                    <a:pt x="466" y="185"/>
                    <a:pt x="468" y="167"/>
                    <a:pt x="472" y="147"/>
                  </a:cubicBezTo>
                  <a:cubicBezTo>
                    <a:pt x="477" y="130"/>
                    <a:pt x="493" y="116"/>
                    <a:pt x="509" y="112"/>
                  </a:cubicBezTo>
                  <a:cubicBezTo>
                    <a:pt x="525" y="108"/>
                    <a:pt x="539" y="110"/>
                    <a:pt x="553" y="119"/>
                  </a:cubicBezTo>
                  <a:cubicBezTo>
                    <a:pt x="563" y="125"/>
                    <a:pt x="568" y="135"/>
                    <a:pt x="571" y="146"/>
                  </a:cubicBezTo>
                  <a:cubicBezTo>
                    <a:pt x="577" y="167"/>
                    <a:pt x="578" y="189"/>
                    <a:pt x="571" y="211"/>
                  </a:cubicBezTo>
                  <a:cubicBezTo>
                    <a:pt x="565" y="231"/>
                    <a:pt x="549" y="249"/>
                    <a:pt x="521" y="247"/>
                  </a:cubicBezTo>
                  <a:cubicBezTo>
                    <a:pt x="496" y="247"/>
                    <a:pt x="478" y="230"/>
                    <a:pt x="471" y="205"/>
                  </a:cubicBezTo>
                  <a:close/>
                  <a:moveTo>
                    <a:pt x="472" y="1122"/>
                  </a:moveTo>
                  <a:cubicBezTo>
                    <a:pt x="475" y="1136"/>
                    <a:pt x="481" y="1148"/>
                    <a:pt x="491" y="1158"/>
                  </a:cubicBezTo>
                  <a:cubicBezTo>
                    <a:pt x="506" y="1176"/>
                    <a:pt x="524" y="1185"/>
                    <a:pt x="548" y="1187"/>
                  </a:cubicBezTo>
                  <a:cubicBezTo>
                    <a:pt x="568" y="1188"/>
                    <a:pt x="587" y="1187"/>
                    <a:pt x="605" y="1177"/>
                  </a:cubicBezTo>
                  <a:cubicBezTo>
                    <a:pt x="632" y="1162"/>
                    <a:pt x="644" y="1136"/>
                    <a:pt x="649" y="1107"/>
                  </a:cubicBezTo>
                  <a:cubicBezTo>
                    <a:pt x="652" y="1089"/>
                    <a:pt x="649" y="1072"/>
                    <a:pt x="644" y="1054"/>
                  </a:cubicBezTo>
                  <a:cubicBezTo>
                    <a:pt x="638" y="1034"/>
                    <a:pt x="627" y="1019"/>
                    <a:pt x="610" y="1007"/>
                  </a:cubicBezTo>
                  <a:cubicBezTo>
                    <a:pt x="589" y="992"/>
                    <a:pt x="566" y="991"/>
                    <a:pt x="541" y="994"/>
                  </a:cubicBezTo>
                  <a:cubicBezTo>
                    <a:pt x="526" y="995"/>
                    <a:pt x="512" y="1002"/>
                    <a:pt x="500" y="1012"/>
                  </a:cubicBezTo>
                  <a:cubicBezTo>
                    <a:pt x="476" y="1032"/>
                    <a:pt x="469" y="1060"/>
                    <a:pt x="466" y="1095"/>
                  </a:cubicBezTo>
                  <a:cubicBezTo>
                    <a:pt x="465" y="1101"/>
                    <a:pt x="470" y="1111"/>
                    <a:pt x="472" y="1122"/>
                  </a:cubicBezTo>
                  <a:close/>
                  <a:moveTo>
                    <a:pt x="508" y="1113"/>
                  </a:moveTo>
                  <a:cubicBezTo>
                    <a:pt x="505" y="1095"/>
                    <a:pt x="506" y="1078"/>
                    <a:pt x="508" y="1061"/>
                  </a:cubicBezTo>
                  <a:cubicBezTo>
                    <a:pt x="511" y="1042"/>
                    <a:pt x="538" y="1021"/>
                    <a:pt x="554" y="1022"/>
                  </a:cubicBezTo>
                  <a:cubicBezTo>
                    <a:pt x="570" y="1022"/>
                    <a:pt x="586" y="1024"/>
                    <a:pt x="596" y="1037"/>
                  </a:cubicBezTo>
                  <a:cubicBezTo>
                    <a:pt x="602" y="1044"/>
                    <a:pt x="607" y="1052"/>
                    <a:pt x="608" y="1061"/>
                  </a:cubicBezTo>
                  <a:cubicBezTo>
                    <a:pt x="608" y="1064"/>
                    <a:pt x="609" y="1067"/>
                    <a:pt x="610" y="1070"/>
                  </a:cubicBezTo>
                  <a:cubicBezTo>
                    <a:pt x="618" y="1089"/>
                    <a:pt x="612" y="1107"/>
                    <a:pt x="607" y="1125"/>
                  </a:cubicBezTo>
                  <a:cubicBezTo>
                    <a:pt x="601" y="1143"/>
                    <a:pt x="588" y="1160"/>
                    <a:pt x="558" y="1157"/>
                  </a:cubicBezTo>
                  <a:cubicBezTo>
                    <a:pt x="530" y="1157"/>
                    <a:pt x="512" y="1141"/>
                    <a:pt x="508" y="1113"/>
                  </a:cubicBezTo>
                  <a:close/>
                  <a:moveTo>
                    <a:pt x="430" y="716"/>
                  </a:moveTo>
                  <a:cubicBezTo>
                    <a:pt x="450" y="703"/>
                    <a:pt x="459" y="683"/>
                    <a:pt x="464" y="661"/>
                  </a:cubicBezTo>
                  <a:cubicBezTo>
                    <a:pt x="468" y="648"/>
                    <a:pt x="467" y="635"/>
                    <a:pt x="466" y="621"/>
                  </a:cubicBezTo>
                  <a:cubicBezTo>
                    <a:pt x="463" y="592"/>
                    <a:pt x="453" y="567"/>
                    <a:pt x="427" y="550"/>
                  </a:cubicBezTo>
                  <a:cubicBezTo>
                    <a:pt x="401" y="534"/>
                    <a:pt x="372" y="532"/>
                    <a:pt x="345" y="541"/>
                  </a:cubicBezTo>
                  <a:cubicBezTo>
                    <a:pt x="310" y="552"/>
                    <a:pt x="291" y="580"/>
                    <a:pt x="287" y="617"/>
                  </a:cubicBezTo>
                  <a:cubicBezTo>
                    <a:pt x="286" y="629"/>
                    <a:pt x="286" y="641"/>
                    <a:pt x="287" y="654"/>
                  </a:cubicBezTo>
                  <a:cubicBezTo>
                    <a:pt x="289" y="671"/>
                    <a:pt x="295" y="686"/>
                    <a:pt x="306" y="700"/>
                  </a:cubicBezTo>
                  <a:cubicBezTo>
                    <a:pt x="324" y="722"/>
                    <a:pt x="348" y="733"/>
                    <a:pt x="378" y="731"/>
                  </a:cubicBezTo>
                  <a:cubicBezTo>
                    <a:pt x="396" y="733"/>
                    <a:pt x="414" y="727"/>
                    <a:pt x="430" y="716"/>
                  </a:cubicBezTo>
                  <a:close/>
                  <a:moveTo>
                    <a:pt x="331" y="592"/>
                  </a:moveTo>
                  <a:cubicBezTo>
                    <a:pt x="339" y="580"/>
                    <a:pt x="349" y="569"/>
                    <a:pt x="365" y="567"/>
                  </a:cubicBezTo>
                  <a:cubicBezTo>
                    <a:pt x="387" y="564"/>
                    <a:pt x="406" y="568"/>
                    <a:pt x="419" y="588"/>
                  </a:cubicBezTo>
                  <a:cubicBezTo>
                    <a:pt x="423" y="595"/>
                    <a:pt x="426" y="603"/>
                    <a:pt x="427" y="610"/>
                  </a:cubicBezTo>
                  <a:cubicBezTo>
                    <a:pt x="433" y="635"/>
                    <a:pt x="431" y="661"/>
                    <a:pt x="416" y="684"/>
                  </a:cubicBezTo>
                  <a:cubicBezTo>
                    <a:pt x="403" y="706"/>
                    <a:pt x="362" y="708"/>
                    <a:pt x="345" y="692"/>
                  </a:cubicBezTo>
                  <a:cubicBezTo>
                    <a:pt x="329" y="678"/>
                    <a:pt x="323" y="661"/>
                    <a:pt x="323" y="631"/>
                  </a:cubicBezTo>
                  <a:cubicBezTo>
                    <a:pt x="323" y="619"/>
                    <a:pt x="323" y="605"/>
                    <a:pt x="331" y="592"/>
                  </a:cubicBezTo>
                  <a:close/>
                  <a:moveTo>
                    <a:pt x="1073" y="259"/>
                  </a:moveTo>
                  <a:cubicBezTo>
                    <a:pt x="1073" y="269"/>
                    <a:pt x="1075" y="272"/>
                    <a:pt x="1086" y="272"/>
                  </a:cubicBezTo>
                  <a:cubicBezTo>
                    <a:pt x="1088" y="272"/>
                    <a:pt x="1090" y="272"/>
                    <a:pt x="1092" y="272"/>
                  </a:cubicBezTo>
                  <a:cubicBezTo>
                    <a:pt x="1105" y="272"/>
                    <a:pt x="1106" y="271"/>
                    <a:pt x="1106" y="258"/>
                  </a:cubicBezTo>
                  <a:cubicBezTo>
                    <a:pt x="1106" y="221"/>
                    <a:pt x="1106" y="184"/>
                    <a:pt x="1106" y="147"/>
                  </a:cubicBezTo>
                  <a:cubicBezTo>
                    <a:pt x="1106" y="143"/>
                    <a:pt x="1106" y="140"/>
                    <a:pt x="1107" y="137"/>
                  </a:cubicBezTo>
                  <a:cubicBezTo>
                    <a:pt x="1117" y="117"/>
                    <a:pt x="1157" y="104"/>
                    <a:pt x="1177" y="114"/>
                  </a:cubicBezTo>
                  <a:cubicBezTo>
                    <a:pt x="1179" y="115"/>
                    <a:pt x="1180" y="117"/>
                    <a:pt x="1182" y="118"/>
                  </a:cubicBezTo>
                  <a:cubicBezTo>
                    <a:pt x="1194" y="131"/>
                    <a:pt x="1196" y="147"/>
                    <a:pt x="1196" y="163"/>
                  </a:cubicBezTo>
                  <a:cubicBezTo>
                    <a:pt x="1197" y="195"/>
                    <a:pt x="1196" y="226"/>
                    <a:pt x="1196" y="258"/>
                  </a:cubicBezTo>
                  <a:cubicBezTo>
                    <a:pt x="1196" y="271"/>
                    <a:pt x="1197" y="272"/>
                    <a:pt x="1210" y="272"/>
                  </a:cubicBezTo>
                  <a:cubicBezTo>
                    <a:pt x="1212" y="272"/>
                    <a:pt x="1213" y="272"/>
                    <a:pt x="1215" y="272"/>
                  </a:cubicBezTo>
                  <a:cubicBezTo>
                    <a:pt x="1227" y="272"/>
                    <a:pt x="1229" y="270"/>
                    <a:pt x="1229" y="258"/>
                  </a:cubicBezTo>
                  <a:cubicBezTo>
                    <a:pt x="1229" y="222"/>
                    <a:pt x="1229" y="187"/>
                    <a:pt x="1229" y="151"/>
                  </a:cubicBezTo>
                  <a:cubicBezTo>
                    <a:pt x="1229" y="142"/>
                    <a:pt x="1228" y="132"/>
                    <a:pt x="1225" y="123"/>
                  </a:cubicBezTo>
                  <a:cubicBezTo>
                    <a:pt x="1219" y="105"/>
                    <a:pt x="1208" y="91"/>
                    <a:pt x="1189" y="85"/>
                  </a:cubicBezTo>
                  <a:cubicBezTo>
                    <a:pt x="1173" y="80"/>
                    <a:pt x="1156" y="84"/>
                    <a:pt x="1139" y="84"/>
                  </a:cubicBezTo>
                  <a:cubicBezTo>
                    <a:pt x="1137" y="84"/>
                    <a:pt x="1136" y="86"/>
                    <a:pt x="1134" y="87"/>
                  </a:cubicBezTo>
                  <a:cubicBezTo>
                    <a:pt x="1128" y="91"/>
                    <a:pt x="1121" y="96"/>
                    <a:pt x="1115" y="100"/>
                  </a:cubicBezTo>
                  <a:cubicBezTo>
                    <a:pt x="1113" y="102"/>
                    <a:pt x="1111" y="105"/>
                    <a:pt x="1108" y="103"/>
                  </a:cubicBezTo>
                  <a:cubicBezTo>
                    <a:pt x="1105" y="102"/>
                    <a:pt x="1106" y="98"/>
                    <a:pt x="1106" y="96"/>
                  </a:cubicBezTo>
                  <a:cubicBezTo>
                    <a:pt x="1106" y="69"/>
                    <a:pt x="1106" y="43"/>
                    <a:pt x="1106" y="17"/>
                  </a:cubicBezTo>
                  <a:cubicBezTo>
                    <a:pt x="1106" y="0"/>
                    <a:pt x="1106" y="0"/>
                    <a:pt x="1089" y="0"/>
                  </a:cubicBezTo>
                  <a:cubicBezTo>
                    <a:pt x="1074" y="0"/>
                    <a:pt x="1073" y="1"/>
                    <a:pt x="1073" y="16"/>
                  </a:cubicBezTo>
                  <a:cubicBezTo>
                    <a:pt x="1073" y="56"/>
                    <a:pt x="1073" y="96"/>
                    <a:pt x="1073" y="136"/>
                  </a:cubicBezTo>
                  <a:cubicBezTo>
                    <a:pt x="1073" y="177"/>
                    <a:pt x="1073" y="218"/>
                    <a:pt x="1073" y="259"/>
                  </a:cubicBezTo>
                  <a:close/>
                  <a:moveTo>
                    <a:pt x="1150" y="1092"/>
                  </a:moveTo>
                  <a:cubicBezTo>
                    <a:pt x="1168" y="1092"/>
                    <a:pt x="1186" y="1092"/>
                    <a:pt x="1204" y="1092"/>
                  </a:cubicBezTo>
                  <a:cubicBezTo>
                    <a:pt x="1215" y="1092"/>
                    <a:pt x="1218" y="1087"/>
                    <a:pt x="1219" y="1077"/>
                  </a:cubicBezTo>
                  <a:cubicBezTo>
                    <a:pt x="1220" y="1062"/>
                    <a:pt x="1216" y="1049"/>
                    <a:pt x="1210" y="1036"/>
                  </a:cubicBezTo>
                  <a:cubicBezTo>
                    <a:pt x="1204" y="1020"/>
                    <a:pt x="1193" y="1008"/>
                    <a:pt x="1177" y="1001"/>
                  </a:cubicBezTo>
                  <a:cubicBezTo>
                    <a:pt x="1155" y="992"/>
                    <a:pt x="1133" y="991"/>
                    <a:pt x="1109" y="999"/>
                  </a:cubicBezTo>
                  <a:cubicBezTo>
                    <a:pt x="1079" y="1010"/>
                    <a:pt x="1062" y="1031"/>
                    <a:pt x="1056" y="1061"/>
                  </a:cubicBezTo>
                  <a:cubicBezTo>
                    <a:pt x="1051" y="1090"/>
                    <a:pt x="1052" y="1120"/>
                    <a:pt x="1069" y="1148"/>
                  </a:cubicBezTo>
                  <a:cubicBezTo>
                    <a:pt x="1081" y="1169"/>
                    <a:pt x="1100" y="1180"/>
                    <a:pt x="1122" y="1185"/>
                  </a:cubicBezTo>
                  <a:cubicBezTo>
                    <a:pt x="1149" y="1190"/>
                    <a:pt x="1176" y="1186"/>
                    <a:pt x="1200" y="1171"/>
                  </a:cubicBezTo>
                  <a:cubicBezTo>
                    <a:pt x="1206" y="1168"/>
                    <a:pt x="1213" y="1165"/>
                    <a:pt x="1214" y="1157"/>
                  </a:cubicBezTo>
                  <a:cubicBezTo>
                    <a:pt x="1215" y="1147"/>
                    <a:pt x="1202" y="1139"/>
                    <a:pt x="1193" y="1144"/>
                  </a:cubicBezTo>
                  <a:cubicBezTo>
                    <a:pt x="1187" y="1147"/>
                    <a:pt x="1180" y="1150"/>
                    <a:pt x="1174" y="1153"/>
                  </a:cubicBezTo>
                  <a:cubicBezTo>
                    <a:pt x="1158" y="1161"/>
                    <a:pt x="1140" y="1161"/>
                    <a:pt x="1124" y="1155"/>
                  </a:cubicBezTo>
                  <a:cubicBezTo>
                    <a:pt x="1112" y="1151"/>
                    <a:pt x="1102" y="1142"/>
                    <a:pt x="1096" y="1129"/>
                  </a:cubicBezTo>
                  <a:cubicBezTo>
                    <a:pt x="1092" y="1121"/>
                    <a:pt x="1091" y="1112"/>
                    <a:pt x="1089" y="1104"/>
                  </a:cubicBezTo>
                  <a:cubicBezTo>
                    <a:pt x="1087" y="1093"/>
                    <a:pt x="1087" y="1092"/>
                    <a:pt x="1099" y="1092"/>
                  </a:cubicBezTo>
                  <a:cubicBezTo>
                    <a:pt x="1116" y="1092"/>
                    <a:pt x="1133" y="1092"/>
                    <a:pt x="1150" y="1092"/>
                  </a:cubicBezTo>
                  <a:cubicBezTo>
                    <a:pt x="1150" y="1092"/>
                    <a:pt x="1150" y="1092"/>
                    <a:pt x="1150" y="1092"/>
                  </a:cubicBezTo>
                  <a:close/>
                  <a:moveTo>
                    <a:pt x="1099" y="1070"/>
                  </a:moveTo>
                  <a:cubicBezTo>
                    <a:pt x="1092" y="1071"/>
                    <a:pt x="1089" y="1067"/>
                    <a:pt x="1091" y="1060"/>
                  </a:cubicBezTo>
                  <a:cubicBezTo>
                    <a:pt x="1094" y="1045"/>
                    <a:pt x="1108" y="1023"/>
                    <a:pt x="1128" y="1022"/>
                  </a:cubicBezTo>
                  <a:cubicBezTo>
                    <a:pt x="1142" y="1021"/>
                    <a:pt x="1156" y="1018"/>
                    <a:pt x="1168" y="1029"/>
                  </a:cubicBezTo>
                  <a:cubicBezTo>
                    <a:pt x="1181" y="1038"/>
                    <a:pt x="1185" y="1051"/>
                    <a:pt x="1187" y="1066"/>
                  </a:cubicBezTo>
                  <a:cubicBezTo>
                    <a:pt x="1188" y="1071"/>
                    <a:pt x="1183" y="1070"/>
                    <a:pt x="1180" y="1070"/>
                  </a:cubicBezTo>
                  <a:cubicBezTo>
                    <a:pt x="1166" y="1070"/>
                    <a:pt x="1153" y="1070"/>
                    <a:pt x="1139" y="1070"/>
                  </a:cubicBezTo>
                  <a:cubicBezTo>
                    <a:pt x="1139" y="1070"/>
                    <a:pt x="1139" y="1070"/>
                    <a:pt x="1139" y="1070"/>
                  </a:cubicBezTo>
                  <a:cubicBezTo>
                    <a:pt x="1126" y="1070"/>
                    <a:pt x="1113" y="1070"/>
                    <a:pt x="1099" y="1070"/>
                  </a:cubicBezTo>
                  <a:close/>
                  <a:moveTo>
                    <a:pt x="1741" y="1092"/>
                  </a:moveTo>
                  <a:cubicBezTo>
                    <a:pt x="1759" y="1092"/>
                    <a:pt x="1776" y="1092"/>
                    <a:pt x="1793" y="1092"/>
                  </a:cubicBezTo>
                  <a:cubicBezTo>
                    <a:pt x="1806" y="1092"/>
                    <a:pt x="1808" y="1089"/>
                    <a:pt x="1808" y="1076"/>
                  </a:cubicBezTo>
                  <a:cubicBezTo>
                    <a:pt x="1809" y="1063"/>
                    <a:pt x="1807" y="1051"/>
                    <a:pt x="1802" y="1038"/>
                  </a:cubicBezTo>
                  <a:cubicBezTo>
                    <a:pt x="1794" y="1021"/>
                    <a:pt x="1782" y="1008"/>
                    <a:pt x="1764" y="1000"/>
                  </a:cubicBezTo>
                  <a:cubicBezTo>
                    <a:pt x="1742" y="991"/>
                    <a:pt x="1720" y="991"/>
                    <a:pt x="1698" y="1000"/>
                  </a:cubicBezTo>
                  <a:cubicBezTo>
                    <a:pt x="1681" y="1006"/>
                    <a:pt x="1668" y="1016"/>
                    <a:pt x="1659" y="1031"/>
                  </a:cubicBezTo>
                  <a:cubicBezTo>
                    <a:pt x="1646" y="1050"/>
                    <a:pt x="1643" y="1071"/>
                    <a:pt x="1644" y="1094"/>
                  </a:cubicBezTo>
                  <a:cubicBezTo>
                    <a:pt x="1644" y="1110"/>
                    <a:pt x="1647" y="1127"/>
                    <a:pt x="1655" y="1141"/>
                  </a:cubicBezTo>
                  <a:cubicBezTo>
                    <a:pt x="1669" y="1168"/>
                    <a:pt x="1691" y="1183"/>
                    <a:pt x="1722" y="1186"/>
                  </a:cubicBezTo>
                  <a:cubicBezTo>
                    <a:pt x="1750" y="1188"/>
                    <a:pt x="1775" y="1183"/>
                    <a:pt x="1798" y="1165"/>
                  </a:cubicBezTo>
                  <a:cubicBezTo>
                    <a:pt x="1803" y="1161"/>
                    <a:pt x="1806" y="1157"/>
                    <a:pt x="1802" y="1151"/>
                  </a:cubicBezTo>
                  <a:cubicBezTo>
                    <a:pt x="1798" y="1144"/>
                    <a:pt x="1791" y="1140"/>
                    <a:pt x="1783" y="1144"/>
                  </a:cubicBezTo>
                  <a:cubicBezTo>
                    <a:pt x="1778" y="1147"/>
                    <a:pt x="1771" y="1149"/>
                    <a:pt x="1766" y="1152"/>
                  </a:cubicBezTo>
                  <a:cubicBezTo>
                    <a:pt x="1749" y="1161"/>
                    <a:pt x="1730" y="1162"/>
                    <a:pt x="1714" y="1155"/>
                  </a:cubicBezTo>
                  <a:cubicBezTo>
                    <a:pt x="1692" y="1145"/>
                    <a:pt x="1680" y="1127"/>
                    <a:pt x="1679" y="1102"/>
                  </a:cubicBezTo>
                  <a:cubicBezTo>
                    <a:pt x="1678" y="1095"/>
                    <a:pt x="1681" y="1092"/>
                    <a:pt x="1689" y="1092"/>
                  </a:cubicBezTo>
                  <a:cubicBezTo>
                    <a:pt x="1706" y="1092"/>
                    <a:pt x="1724" y="1092"/>
                    <a:pt x="1741" y="1092"/>
                  </a:cubicBezTo>
                  <a:cubicBezTo>
                    <a:pt x="1741" y="1092"/>
                    <a:pt x="1741" y="1092"/>
                    <a:pt x="1741" y="1092"/>
                  </a:cubicBezTo>
                  <a:close/>
                  <a:moveTo>
                    <a:pt x="1690" y="1070"/>
                  </a:moveTo>
                  <a:cubicBezTo>
                    <a:pt x="1683" y="1071"/>
                    <a:pt x="1680" y="1068"/>
                    <a:pt x="1681" y="1062"/>
                  </a:cubicBezTo>
                  <a:cubicBezTo>
                    <a:pt x="1683" y="1048"/>
                    <a:pt x="1697" y="1024"/>
                    <a:pt x="1716" y="1022"/>
                  </a:cubicBezTo>
                  <a:cubicBezTo>
                    <a:pt x="1731" y="1020"/>
                    <a:pt x="1747" y="1018"/>
                    <a:pt x="1760" y="1030"/>
                  </a:cubicBezTo>
                  <a:cubicBezTo>
                    <a:pt x="1771" y="1038"/>
                    <a:pt x="1775" y="1050"/>
                    <a:pt x="1778" y="1062"/>
                  </a:cubicBezTo>
                  <a:cubicBezTo>
                    <a:pt x="1780" y="1068"/>
                    <a:pt x="1775" y="1070"/>
                    <a:pt x="1769" y="1070"/>
                  </a:cubicBezTo>
                  <a:cubicBezTo>
                    <a:pt x="1756" y="1070"/>
                    <a:pt x="1742" y="1070"/>
                    <a:pt x="1729" y="1070"/>
                  </a:cubicBezTo>
                  <a:cubicBezTo>
                    <a:pt x="1729" y="1070"/>
                    <a:pt x="1729" y="1070"/>
                    <a:pt x="1729" y="1070"/>
                  </a:cubicBezTo>
                  <a:cubicBezTo>
                    <a:pt x="1716" y="1070"/>
                    <a:pt x="1703" y="1070"/>
                    <a:pt x="1690" y="1070"/>
                  </a:cubicBezTo>
                  <a:close/>
                  <a:moveTo>
                    <a:pt x="68" y="581"/>
                  </a:moveTo>
                  <a:cubicBezTo>
                    <a:pt x="68" y="573"/>
                    <a:pt x="70" y="568"/>
                    <a:pt x="80" y="569"/>
                  </a:cubicBezTo>
                  <a:cubicBezTo>
                    <a:pt x="90" y="570"/>
                    <a:pt x="101" y="570"/>
                    <a:pt x="111" y="569"/>
                  </a:cubicBezTo>
                  <a:cubicBezTo>
                    <a:pt x="120" y="569"/>
                    <a:pt x="120" y="563"/>
                    <a:pt x="120" y="556"/>
                  </a:cubicBezTo>
                  <a:cubicBezTo>
                    <a:pt x="120" y="549"/>
                    <a:pt x="119" y="544"/>
                    <a:pt x="111" y="544"/>
                  </a:cubicBezTo>
                  <a:cubicBezTo>
                    <a:pt x="104" y="544"/>
                    <a:pt x="97" y="544"/>
                    <a:pt x="91" y="544"/>
                  </a:cubicBezTo>
                  <a:cubicBezTo>
                    <a:pt x="66" y="544"/>
                    <a:pt x="65" y="543"/>
                    <a:pt x="68" y="518"/>
                  </a:cubicBezTo>
                  <a:cubicBezTo>
                    <a:pt x="69" y="504"/>
                    <a:pt x="83" y="487"/>
                    <a:pt x="99" y="489"/>
                  </a:cubicBezTo>
                  <a:cubicBezTo>
                    <a:pt x="103" y="489"/>
                    <a:pt x="107" y="489"/>
                    <a:pt x="110" y="488"/>
                  </a:cubicBezTo>
                  <a:cubicBezTo>
                    <a:pt x="118" y="487"/>
                    <a:pt x="123" y="479"/>
                    <a:pt x="123" y="471"/>
                  </a:cubicBezTo>
                  <a:cubicBezTo>
                    <a:pt x="123" y="461"/>
                    <a:pt x="116" y="462"/>
                    <a:pt x="109" y="460"/>
                  </a:cubicBezTo>
                  <a:cubicBezTo>
                    <a:pt x="100" y="458"/>
                    <a:pt x="92" y="460"/>
                    <a:pt x="84" y="460"/>
                  </a:cubicBezTo>
                  <a:cubicBezTo>
                    <a:pt x="68" y="461"/>
                    <a:pt x="56" y="469"/>
                    <a:pt x="47" y="480"/>
                  </a:cubicBezTo>
                  <a:cubicBezTo>
                    <a:pt x="34" y="493"/>
                    <a:pt x="32" y="511"/>
                    <a:pt x="32" y="529"/>
                  </a:cubicBezTo>
                  <a:cubicBezTo>
                    <a:pt x="32" y="544"/>
                    <a:pt x="32" y="544"/>
                    <a:pt x="17" y="544"/>
                  </a:cubicBezTo>
                  <a:cubicBezTo>
                    <a:pt x="4" y="543"/>
                    <a:pt x="0" y="548"/>
                    <a:pt x="4" y="561"/>
                  </a:cubicBezTo>
                  <a:cubicBezTo>
                    <a:pt x="6" y="569"/>
                    <a:pt x="13" y="568"/>
                    <a:pt x="19" y="569"/>
                  </a:cubicBezTo>
                  <a:cubicBezTo>
                    <a:pt x="32" y="571"/>
                    <a:pt x="32" y="571"/>
                    <a:pt x="32" y="584"/>
                  </a:cubicBezTo>
                  <a:cubicBezTo>
                    <a:pt x="32" y="624"/>
                    <a:pt x="32" y="664"/>
                    <a:pt x="32" y="704"/>
                  </a:cubicBezTo>
                  <a:cubicBezTo>
                    <a:pt x="32" y="731"/>
                    <a:pt x="32" y="730"/>
                    <a:pt x="57" y="731"/>
                  </a:cubicBezTo>
                  <a:cubicBezTo>
                    <a:pt x="66" y="731"/>
                    <a:pt x="68" y="727"/>
                    <a:pt x="68" y="720"/>
                  </a:cubicBezTo>
                  <a:cubicBezTo>
                    <a:pt x="68" y="697"/>
                    <a:pt x="68" y="674"/>
                    <a:pt x="68" y="651"/>
                  </a:cubicBezTo>
                  <a:cubicBezTo>
                    <a:pt x="68" y="628"/>
                    <a:pt x="68" y="605"/>
                    <a:pt x="68" y="581"/>
                  </a:cubicBezTo>
                  <a:close/>
                  <a:moveTo>
                    <a:pt x="278" y="1165"/>
                  </a:moveTo>
                  <a:cubicBezTo>
                    <a:pt x="278" y="1183"/>
                    <a:pt x="278" y="1183"/>
                    <a:pt x="296" y="1184"/>
                  </a:cubicBezTo>
                  <a:cubicBezTo>
                    <a:pt x="310" y="1184"/>
                    <a:pt x="310" y="1184"/>
                    <a:pt x="310" y="1169"/>
                  </a:cubicBezTo>
                  <a:cubicBezTo>
                    <a:pt x="310" y="1132"/>
                    <a:pt x="310" y="1095"/>
                    <a:pt x="310" y="1058"/>
                  </a:cubicBezTo>
                  <a:cubicBezTo>
                    <a:pt x="310" y="1052"/>
                    <a:pt x="312" y="1047"/>
                    <a:pt x="316" y="1042"/>
                  </a:cubicBezTo>
                  <a:cubicBezTo>
                    <a:pt x="324" y="1033"/>
                    <a:pt x="334" y="1027"/>
                    <a:pt x="345" y="1024"/>
                  </a:cubicBezTo>
                  <a:cubicBezTo>
                    <a:pt x="357" y="1020"/>
                    <a:pt x="371" y="1018"/>
                    <a:pt x="383" y="1028"/>
                  </a:cubicBezTo>
                  <a:cubicBezTo>
                    <a:pt x="397" y="1039"/>
                    <a:pt x="401" y="1054"/>
                    <a:pt x="401" y="1071"/>
                  </a:cubicBezTo>
                  <a:cubicBezTo>
                    <a:pt x="401" y="1102"/>
                    <a:pt x="401" y="1132"/>
                    <a:pt x="401" y="1163"/>
                  </a:cubicBezTo>
                  <a:cubicBezTo>
                    <a:pt x="401" y="1183"/>
                    <a:pt x="401" y="1182"/>
                    <a:pt x="420" y="1184"/>
                  </a:cubicBezTo>
                  <a:cubicBezTo>
                    <a:pt x="429" y="1185"/>
                    <a:pt x="433" y="1181"/>
                    <a:pt x="433" y="1173"/>
                  </a:cubicBezTo>
                  <a:cubicBezTo>
                    <a:pt x="432" y="1130"/>
                    <a:pt x="435" y="1087"/>
                    <a:pt x="431" y="1044"/>
                  </a:cubicBezTo>
                  <a:cubicBezTo>
                    <a:pt x="427" y="1014"/>
                    <a:pt x="404" y="996"/>
                    <a:pt x="376" y="994"/>
                  </a:cubicBezTo>
                  <a:cubicBezTo>
                    <a:pt x="353" y="992"/>
                    <a:pt x="333" y="1000"/>
                    <a:pt x="317" y="1017"/>
                  </a:cubicBezTo>
                  <a:cubicBezTo>
                    <a:pt x="312" y="1021"/>
                    <a:pt x="311" y="1019"/>
                    <a:pt x="309" y="1015"/>
                  </a:cubicBezTo>
                  <a:cubicBezTo>
                    <a:pt x="309" y="1013"/>
                    <a:pt x="308" y="1011"/>
                    <a:pt x="308" y="1008"/>
                  </a:cubicBezTo>
                  <a:cubicBezTo>
                    <a:pt x="306" y="1001"/>
                    <a:pt x="298" y="997"/>
                    <a:pt x="287" y="998"/>
                  </a:cubicBezTo>
                  <a:cubicBezTo>
                    <a:pt x="279" y="999"/>
                    <a:pt x="278" y="1004"/>
                    <a:pt x="278" y="1011"/>
                  </a:cubicBezTo>
                  <a:cubicBezTo>
                    <a:pt x="278" y="1037"/>
                    <a:pt x="278" y="1064"/>
                    <a:pt x="278" y="1091"/>
                  </a:cubicBezTo>
                  <a:cubicBezTo>
                    <a:pt x="278" y="1115"/>
                    <a:pt x="278" y="1140"/>
                    <a:pt x="278" y="1165"/>
                  </a:cubicBezTo>
                  <a:close/>
                  <a:moveTo>
                    <a:pt x="150" y="705"/>
                  </a:moveTo>
                  <a:cubicBezTo>
                    <a:pt x="150" y="734"/>
                    <a:pt x="145" y="730"/>
                    <a:pt x="176" y="731"/>
                  </a:cubicBezTo>
                  <a:cubicBezTo>
                    <a:pt x="185" y="731"/>
                    <a:pt x="187" y="727"/>
                    <a:pt x="187" y="719"/>
                  </a:cubicBezTo>
                  <a:cubicBezTo>
                    <a:pt x="187" y="685"/>
                    <a:pt x="187" y="651"/>
                    <a:pt x="187" y="618"/>
                  </a:cubicBezTo>
                  <a:cubicBezTo>
                    <a:pt x="187" y="597"/>
                    <a:pt x="204" y="578"/>
                    <a:pt x="225" y="574"/>
                  </a:cubicBezTo>
                  <a:cubicBezTo>
                    <a:pt x="232" y="572"/>
                    <a:pt x="240" y="574"/>
                    <a:pt x="247" y="575"/>
                  </a:cubicBezTo>
                  <a:cubicBezTo>
                    <a:pt x="257" y="576"/>
                    <a:pt x="261" y="572"/>
                    <a:pt x="265" y="564"/>
                  </a:cubicBezTo>
                  <a:cubicBezTo>
                    <a:pt x="269" y="556"/>
                    <a:pt x="267" y="542"/>
                    <a:pt x="261" y="540"/>
                  </a:cubicBezTo>
                  <a:cubicBezTo>
                    <a:pt x="253" y="538"/>
                    <a:pt x="244" y="534"/>
                    <a:pt x="237" y="536"/>
                  </a:cubicBezTo>
                  <a:cubicBezTo>
                    <a:pt x="228" y="537"/>
                    <a:pt x="217" y="537"/>
                    <a:pt x="209" y="544"/>
                  </a:cubicBezTo>
                  <a:cubicBezTo>
                    <a:pt x="204" y="549"/>
                    <a:pt x="198" y="553"/>
                    <a:pt x="194" y="558"/>
                  </a:cubicBezTo>
                  <a:cubicBezTo>
                    <a:pt x="192" y="561"/>
                    <a:pt x="189" y="563"/>
                    <a:pt x="185" y="562"/>
                  </a:cubicBezTo>
                  <a:cubicBezTo>
                    <a:pt x="182" y="561"/>
                    <a:pt x="182" y="558"/>
                    <a:pt x="182" y="556"/>
                  </a:cubicBezTo>
                  <a:cubicBezTo>
                    <a:pt x="180" y="539"/>
                    <a:pt x="179" y="539"/>
                    <a:pt x="162" y="539"/>
                  </a:cubicBezTo>
                  <a:cubicBezTo>
                    <a:pt x="151" y="539"/>
                    <a:pt x="150" y="540"/>
                    <a:pt x="150" y="551"/>
                  </a:cubicBezTo>
                  <a:cubicBezTo>
                    <a:pt x="150" y="579"/>
                    <a:pt x="150" y="607"/>
                    <a:pt x="150" y="635"/>
                  </a:cubicBezTo>
                  <a:cubicBezTo>
                    <a:pt x="150" y="658"/>
                    <a:pt x="149" y="682"/>
                    <a:pt x="150" y="705"/>
                  </a:cubicBezTo>
                  <a:close/>
                  <a:moveTo>
                    <a:pt x="1011" y="1049"/>
                  </a:moveTo>
                  <a:cubicBezTo>
                    <a:pt x="1011" y="1008"/>
                    <a:pt x="1011" y="966"/>
                    <a:pt x="1011" y="924"/>
                  </a:cubicBezTo>
                  <a:cubicBezTo>
                    <a:pt x="1011" y="913"/>
                    <a:pt x="1008" y="910"/>
                    <a:pt x="997" y="910"/>
                  </a:cubicBezTo>
                  <a:cubicBezTo>
                    <a:pt x="995" y="910"/>
                    <a:pt x="992" y="910"/>
                    <a:pt x="990" y="910"/>
                  </a:cubicBezTo>
                  <a:cubicBezTo>
                    <a:pt x="976" y="910"/>
                    <a:pt x="975" y="911"/>
                    <a:pt x="975" y="926"/>
                  </a:cubicBezTo>
                  <a:cubicBezTo>
                    <a:pt x="975" y="1006"/>
                    <a:pt x="975" y="1085"/>
                    <a:pt x="975" y="1165"/>
                  </a:cubicBezTo>
                  <a:cubicBezTo>
                    <a:pt x="975" y="1185"/>
                    <a:pt x="975" y="1185"/>
                    <a:pt x="994" y="1185"/>
                  </a:cubicBezTo>
                  <a:cubicBezTo>
                    <a:pt x="1009" y="1185"/>
                    <a:pt x="1011" y="1184"/>
                    <a:pt x="1011" y="1169"/>
                  </a:cubicBezTo>
                  <a:cubicBezTo>
                    <a:pt x="1011" y="1129"/>
                    <a:pt x="1011" y="1089"/>
                    <a:pt x="1011" y="1049"/>
                  </a:cubicBezTo>
                  <a:cubicBezTo>
                    <a:pt x="1011" y="1049"/>
                    <a:pt x="1011" y="1049"/>
                    <a:pt x="1011" y="1049"/>
                  </a:cubicBezTo>
                  <a:close/>
                  <a:moveTo>
                    <a:pt x="296" y="176"/>
                  </a:moveTo>
                  <a:cubicBezTo>
                    <a:pt x="296" y="201"/>
                    <a:pt x="296" y="226"/>
                    <a:pt x="296" y="251"/>
                  </a:cubicBezTo>
                  <a:cubicBezTo>
                    <a:pt x="295" y="276"/>
                    <a:pt x="296" y="274"/>
                    <a:pt x="318" y="274"/>
                  </a:cubicBezTo>
                  <a:cubicBezTo>
                    <a:pt x="330" y="274"/>
                    <a:pt x="331" y="274"/>
                    <a:pt x="331" y="260"/>
                  </a:cubicBezTo>
                  <a:cubicBezTo>
                    <a:pt x="331" y="232"/>
                    <a:pt x="331" y="204"/>
                    <a:pt x="331" y="176"/>
                  </a:cubicBezTo>
                  <a:cubicBezTo>
                    <a:pt x="331" y="165"/>
                    <a:pt x="331" y="155"/>
                    <a:pt x="337" y="145"/>
                  </a:cubicBezTo>
                  <a:cubicBezTo>
                    <a:pt x="349" y="123"/>
                    <a:pt x="359" y="117"/>
                    <a:pt x="377" y="118"/>
                  </a:cubicBezTo>
                  <a:cubicBezTo>
                    <a:pt x="383" y="118"/>
                    <a:pt x="389" y="119"/>
                    <a:pt x="395" y="120"/>
                  </a:cubicBezTo>
                  <a:cubicBezTo>
                    <a:pt x="401" y="120"/>
                    <a:pt x="407" y="118"/>
                    <a:pt x="408" y="112"/>
                  </a:cubicBezTo>
                  <a:cubicBezTo>
                    <a:pt x="409" y="103"/>
                    <a:pt x="415" y="93"/>
                    <a:pt x="407" y="85"/>
                  </a:cubicBezTo>
                  <a:cubicBezTo>
                    <a:pt x="406" y="84"/>
                    <a:pt x="404" y="84"/>
                    <a:pt x="402" y="84"/>
                  </a:cubicBezTo>
                  <a:cubicBezTo>
                    <a:pt x="376" y="78"/>
                    <a:pt x="353" y="82"/>
                    <a:pt x="337" y="106"/>
                  </a:cubicBezTo>
                  <a:cubicBezTo>
                    <a:pt x="336" y="108"/>
                    <a:pt x="335" y="110"/>
                    <a:pt x="333" y="109"/>
                  </a:cubicBezTo>
                  <a:cubicBezTo>
                    <a:pt x="331" y="109"/>
                    <a:pt x="330" y="107"/>
                    <a:pt x="330" y="105"/>
                  </a:cubicBezTo>
                  <a:cubicBezTo>
                    <a:pt x="329" y="101"/>
                    <a:pt x="329" y="97"/>
                    <a:pt x="328" y="94"/>
                  </a:cubicBezTo>
                  <a:cubicBezTo>
                    <a:pt x="325" y="85"/>
                    <a:pt x="318" y="82"/>
                    <a:pt x="303" y="84"/>
                  </a:cubicBezTo>
                  <a:cubicBezTo>
                    <a:pt x="297" y="84"/>
                    <a:pt x="295" y="86"/>
                    <a:pt x="295" y="92"/>
                  </a:cubicBezTo>
                  <a:cubicBezTo>
                    <a:pt x="296" y="120"/>
                    <a:pt x="295" y="148"/>
                    <a:pt x="295" y="176"/>
                  </a:cubicBezTo>
                  <a:cubicBezTo>
                    <a:pt x="296" y="176"/>
                    <a:pt x="296" y="176"/>
                    <a:pt x="296" y="176"/>
                  </a:cubicBezTo>
                  <a:close/>
                  <a:moveTo>
                    <a:pt x="946" y="179"/>
                  </a:moveTo>
                  <a:cubicBezTo>
                    <a:pt x="946" y="197"/>
                    <a:pt x="946" y="215"/>
                    <a:pt x="946" y="234"/>
                  </a:cubicBezTo>
                  <a:cubicBezTo>
                    <a:pt x="946" y="248"/>
                    <a:pt x="951" y="260"/>
                    <a:pt x="963" y="268"/>
                  </a:cubicBezTo>
                  <a:cubicBezTo>
                    <a:pt x="982" y="280"/>
                    <a:pt x="1011" y="277"/>
                    <a:pt x="1029" y="264"/>
                  </a:cubicBezTo>
                  <a:cubicBezTo>
                    <a:pt x="1036" y="259"/>
                    <a:pt x="1036" y="254"/>
                    <a:pt x="1032" y="248"/>
                  </a:cubicBezTo>
                  <a:cubicBezTo>
                    <a:pt x="1026" y="239"/>
                    <a:pt x="1020" y="238"/>
                    <a:pt x="1013" y="242"/>
                  </a:cubicBezTo>
                  <a:cubicBezTo>
                    <a:pt x="996" y="252"/>
                    <a:pt x="978" y="243"/>
                    <a:pt x="978" y="223"/>
                  </a:cubicBezTo>
                  <a:cubicBezTo>
                    <a:pt x="978" y="190"/>
                    <a:pt x="978" y="157"/>
                    <a:pt x="978" y="123"/>
                  </a:cubicBezTo>
                  <a:cubicBezTo>
                    <a:pt x="978" y="116"/>
                    <a:pt x="981" y="113"/>
                    <a:pt x="988" y="113"/>
                  </a:cubicBezTo>
                  <a:cubicBezTo>
                    <a:pt x="999" y="114"/>
                    <a:pt x="1011" y="113"/>
                    <a:pt x="1022" y="113"/>
                  </a:cubicBezTo>
                  <a:cubicBezTo>
                    <a:pt x="1028" y="113"/>
                    <a:pt x="1033" y="112"/>
                    <a:pt x="1033" y="104"/>
                  </a:cubicBezTo>
                  <a:cubicBezTo>
                    <a:pt x="1033" y="96"/>
                    <a:pt x="1032" y="90"/>
                    <a:pt x="1022" y="90"/>
                  </a:cubicBezTo>
                  <a:cubicBezTo>
                    <a:pt x="1011" y="90"/>
                    <a:pt x="1001" y="90"/>
                    <a:pt x="990" y="90"/>
                  </a:cubicBezTo>
                  <a:cubicBezTo>
                    <a:pt x="981" y="91"/>
                    <a:pt x="977" y="88"/>
                    <a:pt x="978" y="78"/>
                  </a:cubicBezTo>
                  <a:cubicBezTo>
                    <a:pt x="978" y="64"/>
                    <a:pt x="978" y="49"/>
                    <a:pt x="978" y="35"/>
                  </a:cubicBezTo>
                  <a:cubicBezTo>
                    <a:pt x="978" y="30"/>
                    <a:pt x="978" y="25"/>
                    <a:pt x="971" y="24"/>
                  </a:cubicBezTo>
                  <a:cubicBezTo>
                    <a:pt x="964" y="24"/>
                    <a:pt x="956" y="24"/>
                    <a:pt x="955" y="32"/>
                  </a:cubicBezTo>
                  <a:cubicBezTo>
                    <a:pt x="952" y="43"/>
                    <a:pt x="949" y="54"/>
                    <a:pt x="949" y="65"/>
                  </a:cubicBezTo>
                  <a:cubicBezTo>
                    <a:pt x="948" y="88"/>
                    <a:pt x="947" y="88"/>
                    <a:pt x="924" y="91"/>
                  </a:cubicBezTo>
                  <a:cubicBezTo>
                    <a:pt x="919" y="92"/>
                    <a:pt x="914" y="92"/>
                    <a:pt x="914" y="99"/>
                  </a:cubicBezTo>
                  <a:cubicBezTo>
                    <a:pt x="915" y="107"/>
                    <a:pt x="917" y="113"/>
                    <a:pt x="926" y="113"/>
                  </a:cubicBezTo>
                  <a:cubicBezTo>
                    <a:pt x="929" y="114"/>
                    <a:pt x="932" y="113"/>
                    <a:pt x="935" y="113"/>
                  </a:cubicBezTo>
                  <a:cubicBezTo>
                    <a:pt x="943" y="113"/>
                    <a:pt x="946" y="116"/>
                    <a:pt x="946" y="124"/>
                  </a:cubicBezTo>
                  <a:cubicBezTo>
                    <a:pt x="946" y="142"/>
                    <a:pt x="946" y="161"/>
                    <a:pt x="946" y="179"/>
                  </a:cubicBezTo>
                  <a:cubicBezTo>
                    <a:pt x="946" y="179"/>
                    <a:pt x="946" y="179"/>
                    <a:pt x="946" y="179"/>
                  </a:cubicBezTo>
                  <a:close/>
                </a:path>
              </a:pathLst>
            </a:custGeom>
            <a:solidFill>
              <a:srgbClr val="4C505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grpSp>
          <p:nvGrpSpPr>
            <p:cNvPr id="18" name="Group 4">
              <a:extLst>
                <a:ext uri="{FF2B5EF4-FFF2-40B4-BE49-F238E27FC236}">
                  <a16:creationId xmlns:a16="http://schemas.microsoft.com/office/drawing/2014/main" id="{57BD2C4C-DC67-B843-B26C-309622FC75F7}"/>
                </a:ext>
              </a:extLst>
            </p:cNvPr>
            <p:cNvGrpSpPr>
              <a:grpSpLocks noChangeAspect="1"/>
            </p:cNvGrpSpPr>
            <p:nvPr/>
          </p:nvGrpSpPr>
          <p:grpSpPr bwMode="gray">
            <a:xfrm>
              <a:off x="334963" y="296652"/>
              <a:ext cx="538094" cy="540000"/>
              <a:chOff x="2711" y="1027"/>
              <a:chExt cx="2258" cy="2266"/>
            </a:xfrm>
          </p:grpSpPr>
          <p:sp>
            <p:nvSpPr>
              <p:cNvPr id="19" name="AutoShape 3">
                <a:extLst>
                  <a:ext uri="{FF2B5EF4-FFF2-40B4-BE49-F238E27FC236}">
                    <a16:creationId xmlns:a16="http://schemas.microsoft.com/office/drawing/2014/main" id="{FE1DC41B-291E-574C-9F2C-874E70A40758}"/>
                  </a:ext>
                </a:extLst>
              </p:cNvPr>
              <p:cNvSpPr>
                <a:spLocks noChangeAspect="1" noChangeArrowheads="1" noTextEdit="1"/>
              </p:cNvSpPr>
              <p:nvPr/>
            </p:nvSpPr>
            <p:spPr bwMode="gray">
              <a:xfrm>
                <a:off x="2711" y="1027"/>
                <a:ext cx="2258" cy="22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20" name="Freeform 5">
                <a:extLst>
                  <a:ext uri="{FF2B5EF4-FFF2-40B4-BE49-F238E27FC236}">
                    <a16:creationId xmlns:a16="http://schemas.microsoft.com/office/drawing/2014/main" id="{D4B633C8-F761-C54B-9BD2-EB59D49A2DBC}"/>
                  </a:ext>
                </a:extLst>
              </p:cNvPr>
              <p:cNvSpPr>
                <a:spLocks/>
              </p:cNvSpPr>
              <p:nvPr/>
            </p:nvSpPr>
            <p:spPr bwMode="gray">
              <a:xfrm>
                <a:off x="2709" y="1029"/>
                <a:ext cx="2260" cy="2262"/>
              </a:xfrm>
              <a:custGeom>
                <a:avLst/>
                <a:gdLst>
                  <a:gd name="T0" fmla="*/ 2260 w 2260"/>
                  <a:gd name="T1" fmla="*/ 0 h 2262"/>
                  <a:gd name="T2" fmla="*/ 1612 w 2260"/>
                  <a:gd name="T3" fmla="*/ 649 h 2262"/>
                  <a:gd name="T4" fmla="*/ 1612 w 2260"/>
                  <a:gd name="T5" fmla="*/ 649 h 2262"/>
                  <a:gd name="T6" fmla="*/ 2035 w 2260"/>
                  <a:gd name="T7" fmla="*/ 0 h 2262"/>
                  <a:gd name="T8" fmla="*/ 0 w 2260"/>
                  <a:gd name="T9" fmla="*/ 0 h 2262"/>
                  <a:gd name="T10" fmla="*/ 0 w 2260"/>
                  <a:gd name="T11" fmla="*/ 2262 h 2262"/>
                  <a:gd name="T12" fmla="*/ 2260 w 2260"/>
                  <a:gd name="T13" fmla="*/ 2262 h 2262"/>
                  <a:gd name="T14" fmla="*/ 2260 w 2260"/>
                  <a:gd name="T15" fmla="*/ 0 h 2262"/>
                  <a:gd name="T16" fmla="*/ 2260 w 2260"/>
                  <a:gd name="T17" fmla="*/ 0 h 2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0" h="2262">
                    <a:moveTo>
                      <a:pt x="2260" y="0"/>
                    </a:moveTo>
                    <a:lnTo>
                      <a:pt x="1612" y="649"/>
                    </a:lnTo>
                    <a:lnTo>
                      <a:pt x="1612" y="649"/>
                    </a:lnTo>
                    <a:lnTo>
                      <a:pt x="2035" y="0"/>
                    </a:lnTo>
                    <a:lnTo>
                      <a:pt x="0" y="0"/>
                    </a:lnTo>
                    <a:lnTo>
                      <a:pt x="0" y="2262"/>
                    </a:lnTo>
                    <a:lnTo>
                      <a:pt x="2260" y="2262"/>
                    </a:lnTo>
                    <a:lnTo>
                      <a:pt x="2260" y="0"/>
                    </a:lnTo>
                    <a:lnTo>
                      <a:pt x="2260" y="0"/>
                    </a:lnTo>
                    <a:close/>
                  </a:path>
                </a:pathLst>
              </a:custGeom>
              <a:solidFill>
                <a:srgbClr val="E55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21" name="Freeform 6">
                <a:extLst>
                  <a:ext uri="{FF2B5EF4-FFF2-40B4-BE49-F238E27FC236}">
                    <a16:creationId xmlns:a16="http://schemas.microsoft.com/office/drawing/2014/main" id="{B16BAAE4-1A41-C843-9754-490F7A1E1270}"/>
                  </a:ext>
                </a:extLst>
              </p:cNvPr>
              <p:cNvSpPr>
                <a:spLocks noEditPoints="1"/>
              </p:cNvSpPr>
              <p:nvPr/>
            </p:nvSpPr>
            <p:spPr bwMode="gray">
              <a:xfrm>
                <a:off x="3623" y="1696"/>
                <a:ext cx="1167" cy="922"/>
              </a:xfrm>
              <a:custGeom>
                <a:avLst/>
                <a:gdLst>
                  <a:gd name="T0" fmla="*/ 411 w 580"/>
                  <a:gd name="T1" fmla="*/ 213 h 458"/>
                  <a:gd name="T2" fmla="*/ 570 w 580"/>
                  <a:gd name="T3" fmla="*/ 37 h 458"/>
                  <a:gd name="T4" fmla="*/ 580 w 580"/>
                  <a:gd name="T5" fmla="*/ 20 h 458"/>
                  <a:gd name="T6" fmla="*/ 545 w 580"/>
                  <a:gd name="T7" fmla="*/ 0 h 458"/>
                  <a:gd name="T8" fmla="*/ 519 w 580"/>
                  <a:gd name="T9" fmla="*/ 16 h 458"/>
                  <a:gd name="T10" fmla="*/ 344 w 580"/>
                  <a:gd name="T11" fmla="*/ 210 h 458"/>
                  <a:gd name="T12" fmla="*/ 334 w 580"/>
                  <a:gd name="T13" fmla="*/ 229 h 458"/>
                  <a:gd name="T14" fmla="*/ 344 w 580"/>
                  <a:gd name="T15" fmla="*/ 248 h 458"/>
                  <a:gd name="T16" fmla="*/ 519 w 580"/>
                  <a:gd name="T17" fmla="*/ 442 h 458"/>
                  <a:gd name="T18" fmla="*/ 545 w 580"/>
                  <a:gd name="T19" fmla="*/ 458 h 458"/>
                  <a:gd name="T20" fmla="*/ 580 w 580"/>
                  <a:gd name="T21" fmla="*/ 438 h 458"/>
                  <a:gd name="T22" fmla="*/ 570 w 580"/>
                  <a:gd name="T23" fmla="*/ 421 h 458"/>
                  <a:gd name="T24" fmla="*/ 411 w 580"/>
                  <a:gd name="T25" fmla="*/ 245 h 458"/>
                  <a:gd name="T26" fmla="*/ 399 w 580"/>
                  <a:gd name="T27" fmla="*/ 229 h 458"/>
                  <a:gd name="T28" fmla="*/ 411 w 580"/>
                  <a:gd name="T29" fmla="*/ 213 h 458"/>
                  <a:gd name="T30" fmla="*/ 252 w 580"/>
                  <a:gd name="T31" fmla="*/ 439 h 458"/>
                  <a:gd name="T32" fmla="*/ 281 w 580"/>
                  <a:gd name="T33" fmla="*/ 454 h 458"/>
                  <a:gd name="T34" fmla="*/ 309 w 580"/>
                  <a:gd name="T35" fmla="*/ 439 h 458"/>
                  <a:gd name="T36" fmla="*/ 309 w 580"/>
                  <a:gd name="T37" fmla="*/ 19 h 458"/>
                  <a:gd name="T38" fmla="*/ 281 w 580"/>
                  <a:gd name="T39" fmla="*/ 4 h 458"/>
                  <a:gd name="T40" fmla="*/ 252 w 580"/>
                  <a:gd name="T41" fmla="*/ 19 h 458"/>
                  <a:gd name="T42" fmla="*/ 252 w 580"/>
                  <a:gd name="T43" fmla="*/ 439 h 458"/>
                  <a:gd name="T44" fmla="*/ 0 w 580"/>
                  <a:gd name="T45" fmla="*/ 439 h 458"/>
                  <a:gd name="T46" fmla="*/ 28 w 580"/>
                  <a:gd name="T47" fmla="*/ 454 h 458"/>
                  <a:gd name="T48" fmla="*/ 56 w 580"/>
                  <a:gd name="T49" fmla="*/ 439 h 458"/>
                  <a:gd name="T50" fmla="*/ 56 w 580"/>
                  <a:gd name="T51" fmla="*/ 157 h 458"/>
                  <a:gd name="T52" fmla="*/ 165 w 580"/>
                  <a:gd name="T53" fmla="*/ 53 h 458"/>
                  <a:gd name="T54" fmla="*/ 180 w 580"/>
                  <a:gd name="T55" fmla="*/ 53 h 458"/>
                  <a:gd name="T56" fmla="*/ 196 w 580"/>
                  <a:gd name="T57" fmla="*/ 27 h 458"/>
                  <a:gd name="T58" fmla="*/ 154 w 580"/>
                  <a:gd name="T59" fmla="*/ 4 h 458"/>
                  <a:gd name="T60" fmla="*/ 0 w 580"/>
                  <a:gd name="T61" fmla="*/ 152 h 458"/>
                  <a:gd name="T62" fmla="*/ 0 w 580"/>
                  <a:gd name="T63" fmla="*/ 439 h 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80" h="458">
                    <a:moveTo>
                      <a:pt x="411" y="213"/>
                    </a:moveTo>
                    <a:cubicBezTo>
                      <a:pt x="570" y="37"/>
                      <a:pt x="570" y="37"/>
                      <a:pt x="570" y="37"/>
                    </a:cubicBezTo>
                    <a:cubicBezTo>
                      <a:pt x="576" y="30"/>
                      <a:pt x="580" y="25"/>
                      <a:pt x="580" y="20"/>
                    </a:cubicBezTo>
                    <a:cubicBezTo>
                      <a:pt x="580" y="10"/>
                      <a:pt x="559" y="0"/>
                      <a:pt x="545" y="0"/>
                    </a:cubicBezTo>
                    <a:cubicBezTo>
                      <a:pt x="535" y="0"/>
                      <a:pt x="526" y="8"/>
                      <a:pt x="519" y="16"/>
                    </a:cubicBezTo>
                    <a:cubicBezTo>
                      <a:pt x="344" y="210"/>
                      <a:pt x="344" y="210"/>
                      <a:pt x="344" y="210"/>
                    </a:cubicBezTo>
                    <a:cubicBezTo>
                      <a:pt x="336" y="219"/>
                      <a:pt x="334" y="224"/>
                      <a:pt x="334" y="229"/>
                    </a:cubicBezTo>
                    <a:cubicBezTo>
                      <a:pt x="334" y="234"/>
                      <a:pt x="336" y="239"/>
                      <a:pt x="344" y="248"/>
                    </a:cubicBezTo>
                    <a:cubicBezTo>
                      <a:pt x="519" y="442"/>
                      <a:pt x="519" y="442"/>
                      <a:pt x="519" y="442"/>
                    </a:cubicBezTo>
                    <a:cubicBezTo>
                      <a:pt x="526" y="450"/>
                      <a:pt x="535" y="458"/>
                      <a:pt x="545" y="458"/>
                    </a:cubicBezTo>
                    <a:cubicBezTo>
                      <a:pt x="559" y="458"/>
                      <a:pt x="580" y="448"/>
                      <a:pt x="580" y="438"/>
                    </a:cubicBezTo>
                    <a:cubicBezTo>
                      <a:pt x="580" y="433"/>
                      <a:pt x="576" y="428"/>
                      <a:pt x="570" y="421"/>
                    </a:cubicBezTo>
                    <a:cubicBezTo>
                      <a:pt x="411" y="245"/>
                      <a:pt x="411" y="245"/>
                      <a:pt x="411" y="245"/>
                    </a:cubicBezTo>
                    <a:cubicBezTo>
                      <a:pt x="403" y="236"/>
                      <a:pt x="399" y="232"/>
                      <a:pt x="399" y="229"/>
                    </a:cubicBezTo>
                    <a:cubicBezTo>
                      <a:pt x="399" y="226"/>
                      <a:pt x="403" y="222"/>
                      <a:pt x="411" y="213"/>
                    </a:cubicBezTo>
                    <a:moveTo>
                      <a:pt x="252" y="439"/>
                    </a:moveTo>
                    <a:cubicBezTo>
                      <a:pt x="252" y="449"/>
                      <a:pt x="261" y="454"/>
                      <a:pt x="281" y="454"/>
                    </a:cubicBezTo>
                    <a:cubicBezTo>
                      <a:pt x="300" y="454"/>
                      <a:pt x="309" y="449"/>
                      <a:pt x="309" y="439"/>
                    </a:cubicBezTo>
                    <a:cubicBezTo>
                      <a:pt x="309" y="19"/>
                      <a:pt x="309" y="19"/>
                      <a:pt x="309" y="19"/>
                    </a:cubicBezTo>
                    <a:cubicBezTo>
                      <a:pt x="309" y="9"/>
                      <a:pt x="300" y="4"/>
                      <a:pt x="281" y="4"/>
                    </a:cubicBezTo>
                    <a:cubicBezTo>
                      <a:pt x="261" y="4"/>
                      <a:pt x="252" y="9"/>
                      <a:pt x="252" y="19"/>
                    </a:cubicBezTo>
                    <a:lnTo>
                      <a:pt x="252" y="439"/>
                    </a:lnTo>
                    <a:close/>
                    <a:moveTo>
                      <a:pt x="0" y="439"/>
                    </a:moveTo>
                    <a:cubicBezTo>
                      <a:pt x="0" y="449"/>
                      <a:pt x="8" y="454"/>
                      <a:pt x="28" y="454"/>
                    </a:cubicBezTo>
                    <a:cubicBezTo>
                      <a:pt x="48" y="454"/>
                      <a:pt x="56" y="449"/>
                      <a:pt x="56" y="439"/>
                    </a:cubicBezTo>
                    <a:cubicBezTo>
                      <a:pt x="56" y="157"/>
                      <a:pt x="56" y="157"/>
                      <a:pt x="56" y="157"/>
                    </a:cubicBezTo>
                    <a:cubicBezTo>
                      <a:pt x="56" y="83"/>
                      <a:pt x="85" y="53"/>
                      <a:pt x="165" y="53"/>
                    </a:cubicBezTo>
                    <a:cubicBezTo>
                      <a:pt x="180" y="53"/>
                      <a:pt x="180" y="53"/>
                      <a:pt x="180" y="53"/>
                    </a:cubicBezTo>
                    <a:cubicBezTo>
                      <a:pt x="192" y="53"/>
                      <a:pt x="196" y="43"/>
                      <a:pt x="196" y="27"/>
                    </a:cubicBezTo>
                    <a:cubicBezTo>
                      <a:pt x="196" y="8"/>
                      <a:pt x="185" y="4"/>
                      <a:pt x="154" y="4"/>
                    </a:cubicBezTo>
                    <a:cubicBezTo>
                      <a:pt x="64" y="4"/>
                      <a:pt x="0" y="43"/>
                      <a:pt x="0" y="152"/>
                    </a:cubicBezTo>
                    <a:lnTo>
                      <a:pt x="0" y="43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22" name="Freeform 7">
                <a:extLst>
                  <a:ext uri="{FF2B5EF4-FFF2-40B4-BE49-F238E27FC236}">
                    <a16:creationId xmlns:a16="http://schemas.microsoft.com/office/drawing/2014/main" id="{2F32DCBD-8628-F245-85CD-97686A20ECFD}"/>
                  </a:ext>
                </a:extLst>
              </p:cNvPr>
              <p:cNvSpPr>
                <a:spLocks/>
              </p:cNvSpPr>
              <p:nvPr/>
            </p:nvSpPr>
            <p:spPr bwMode="gray">
              <a:xfrm>
                <a:off x="2880" y="1704"/>
                <a:ext cx="618" cy="916"/>
              </a:xfrm>
              <a:custGeom>
                <a:avLst/>
                <a:gdLst>
                  <a:gd name="T0" fmla="*/ 307 w 307"/>
                  <a:gd name="T1" fmla="*/ 405 h 455"/>
                  <a:gd name="T2" fmla="*/ 307 w 307"/>
                  <a:gd name="T3" fmla="*/ 244 h 455"/>
                  <a:gd name="T4" fmla="*/ 279 w 307"/>
                  <a:gd name="T5" fmla="*/ 229 h 455"/>
                  <a:gd name="T6" fmla="*/ 250 w 307"/>
                  <a:gd name="T7" fmla="*/ 244 h 455"/>
                  <a:gd name="T8" fmla="*/ 250 w 307"/>
                  <a:gd name="T9" fmla="*/ 378 h 455"/>
                  <a:gd name="T10" fmla="*/ 199 w 307"/>
                  <a:gd name="T11" fmla="*/ 408 h 455"/>
                  <a:gd name="T12" fmla="*/ 61 w 307"/>
                  <a:gd name="T13" fmla="*/ 231 h 455"/>
                  <a:gd name="T14" fmla="*/ 238 w 307"/>
                  <a:gd name="T15" fmla="*/ 49 h 455"/>
                  <a:gd name="T16" fmla="*/ 270 w 307"/>
                  <a:gd name="T17" fmla="*/ 49 h 455"/>
                  <a:gd name="T18" fmla="*/ 286 w 307"/>
                  <a:gd name="T19" fmla="*/ 23 h 455"/>
                  <a:gd name="T20" fmla="*/ 244 w 307"/>
                  <a:gd name="T21" fmla="*/ 0 h 455"/>
                  <a:gd name="T22" fmla="*/ 231 w 307"/>
                  <a:gd name="T23" fmla="*/ 0 h 455"/>
                  <a:gd name="T24" fmla="*/ 0 w 307"/>
                  <a:gd name="T25" fmla="*/ 232 h 455"/>
                  <a:gd name="T26" fmla="*/ 198 w 307"/>
                  <a:gd name="T27" fmla="*/ 455 h 455"/>
                  <a:gd name="T28" fmla="*/ 307 w 307"/>
                  <a:gd name="T29" fmla="*/ 405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7" h="455">
                    <a:moveTo>
                      <a:pt x="307" y="405"/>
                    </a:moveTo>
                    <a:cubicBezTo>
                      <a:pt x="307" y="244"/>
                      <a:pt x="307" y="244"/>
                      <a:pt x="307" y="244"/>
                    </a:cubicBezTo>
                    <a:cubicBezTo>
                      <a:pt x="307" y="234"/>
                      <a:pt x="298" y="229"/>
                      <a:pt x="279" y="229"/>
                    </a:cubicBezTo>
                    <a:cubicBezTo>
                      <a:pt x="259" y="229"/>
                      <a:pt x="250" y="234"/>
                      <a:pt x="250" y="244"/>
                    </a:cubicBezTo>
                    <a:cubicBezTo>
                      <a:pt x="250" y="378"/>
                      <a:pt x="250" y="378"/>
                      <a:pt x="250" y="378"/>
                    </a:cubicBezTo>
                    <a:cubicBezTo>
                      <a:pt x="250" y="399"/>
                      <a:pt x="241" y="408"/>
                      <a:pt x="199" y="408"/>
                    </a:cubicBezTo>
                    <a:cubicBezTo>
                      <a:pt x="114" y="408"/>
                      <a:pt x="61" y="342"/>
                      <a:pt x="61" y="231"/>
                    </a:cubicBezTo>
                    <a:cubicBezTo>
                      <a:pt x="61" y="115"/>
                      <a:pt x="126" y="49"/>
                      <a:pt x="238" y="49"/>
                    </a:cubicBezTo>
                    <a:cubicBezTo>
                      <a:pt x="270" y="49"/>
                      <a:pt x="270" y="49"/>
                      <a:pt x="270" y="49"/>
                    </a:cubicBezTo>
                    <a:cubicBezTo>
                      <a:pt x="282" y="49"/>
                      <a:pt x="286" y="39"/>
                      <a:pt x="286" y="23"/>
                    </a:cubicBezTo>
                    <a:cubicBezTo>
                      <a:pt x="286" y="4"/>
                      <a:pt x="275" y="0"/>
                      <a:pt x="244" y="0"/>
                    </a:cubicBezTo>
                    <a:cubicBezTo>
                      <a:pt x="231" y="0"/>
                      <a:pt x="231" y="0"/>
                      <a:pt x="231" y="0"/>
                    </a:cubicBezTo>
                    <a:cubicBezTo>
                      <a:pt x="101" y="0"/>
                      <a:pt x="0" y="71"/>
                      <a:pt x="0" y="232"/>
                    </a:cubicBezTo>
                    <a:cubicBezTo>
                      <a:pt x="0" y="386"/>
                      <a:pt x="88" y="455"/>
                      <a:pt x="198" y="455"/>
                    </a:cubicBezTo>
                    <a:cubicBezTo>
                      <a:pt x="286" y="455"/>
                      <a:pt x="307" y="430"/>
                      <a:pt x="307" y="40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23" name="Oval 8">
                <a:extLst>
                  <a:ext uri="{FF2B5EF4-FFF2-40B4-BE49-F238E27FC236}">
                    <a16:creationId xmlns:a16="http://schemas.microsoft.com/office/drawing/2014/main" id="{60D97C11-1A3B-5449-A48D-98A3E79B3810}"/>
                  </a:ext>
                </a:extLst>
              </p:cNvPr>
              <p:cNvSpPr>
                <a:spLocks noChangeArrowheads="1"/>
              </p:cNvSpPr>
              <p:nvPr/>
            </p:nvSpPr>
            <p:spPr bwMode="gray">
              <a:xfrm>
                <a:off x="3778" y="2099"/>
                <a:ext cx="122" cy="12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24" name="Freeform 9">
                <a:extLst>
                  <a:ext uri="{FF2B5EF4-FFF2-40B4-BE49-F238E27FC236}">
                    <a16:creationId xmlns:a16="http://schemas.microsoft.com/office/drawing/2014/main" id="{5856770D-B8F0-244E-A05D-AED190086F10}"/>
                  </a:ext>
                </a:extLst>
              </p:cNvPr>
              <p:cNvSpPr>
                <a:spLocks noEditPoints="1"/>
              </p:cNvSpPr>
              <p:nvPr/>
            </p:nvSpPr>
            <p:spPr bwMode="gray">
              <a:xfrm>
                <a:off x="3623" y="1696"/>
                <a:ext cx="1167" cy="922"/>
              </a:xfrm>
              <a:custGeom>
                <a:avLst/>
                <a:gdLst>
                  <a:gd name="T0" fmla="*/ 411 w 580"/>
                  <a:gd name="T1" fmla="*/ 213 h 458"/>
                  <a:gd name="T2" fmla="*/ 570 w 580"/>
                  <a:gd name="T3" fmla="*/ 37 h 458"/>
                  <a:gd name="T4" fmla="*/ 580 w 580"/>
                  <a:gd name="T5" fmla="*/ 20 h 458"/>
                  <a:gd name="T6" fmla="*/ 545 w 580"/>
                  <a:gd name="T7" fmla="*/ 0 h 458"/>
                  <a:gd name="T8" fmla="*/ 519 w 580"/>
                  <a:gd name="T9" fmla="*/ 16 h 458"/>
                  <a:gd name="T10" fmla="*/ 344 w 580"/>
                  <a:gd name="T11" fmla="*/ 210 h 458"/>
                  <a:gd name="T12" fmla="*/ 334 w 580"/>
                  <a:gd name="T13" fmla="*/ 229 h 458"/>
                  <a:gd name="T14" fmla="*/ 344 w 580"/>
                  <a:gd name="T15" fmla="*/ 248 h 458"/>
                  <a:gd name="T16" fmla="*/ 519 w 580"/>
                  <a:gd name="T17" fmla="*/ 442 h 458"/>
                  <a:gd name="T18" fmla="*/ 545 w 580"/>
                  <a:gd name="T19" fmla="*/ 458 h 458"/>
                  <a:gd name="T20" fmla="*/ 580 w 580"/>
                  <a:gd name="T21" fmla="*/ 438 h 458"/>
                  <a:gd name="T22" fmla="*/ 570 w 580"/>
                  <a:gd name="T23" fmla="*/ 421 h 458"/>
                  <a:gd name="T24" fmla="*/ 411 w 580"/>
                  <a:gd name="T25" fmla="*/ 245 h 458"/>
                  <a:gd name="T26" fmla="*/ 399 w 580"/>
                  <a:gd name="T27" fmla="*/ 229 h 458"/>
                  <a:gd name="T28" fmla="*/ 411 w 580"/>
                  <a:gd name="T29" fmla="*/ 213 h 458"/>
                  <a:gd name="T30" fmla="*/ 252 w 580"/>
                  <a:gd name="T31" fmla="*/ 439 h 458"/>
                  <a:gd name="T32" fmla="*/ 281 w 580"/>
                  <a:gd name="T33" fmla="*/ 454 h 458"/>
                  <a:gd name="T34" fmla="*/ 309 w 580"/>
                  <a:gd name="T35" fmla="*/ 439 h 458"/>
                  <a:gd name="T36" fmla="*/ 309 w 580"/>
                  <a:gd name="T37" fmla="*/ 19 h 458"/>
                  <a:gd name="T38" fmla="*/ 281 w 580"/>
                  <a:gd name="T39" fmla="*/ 4 h 458"/>
                  <a:gd name="T40" fmla="*/ 252 w 580"/>
                  <a:gd name="T41" fmla="*/ 19 h 458"/>
                  <a:gd name="T42" fmla="*/ 252 w 580"/>
                  <a:gd name="T43" fmla="*/ 439 h 458"/>
                  <a:gd name="T44" fmla="*/ 0 w 580"/>
                  <a:gd name="T45" fmla="*/ 439 h 458"/>
                  <a:gd name="T46" fmla="*/ 28 w 580"/>
                  <a:gd name="T47" fmla="*/ 454 h 458"/>
                  <a:gd name="T48" fmla="*/ 56 w 580"/>
                  <a:gd name="T49" fmla="*/ 439 h 458"/>
                  <a:gd name="T50" fmla="*/ 56 w 580"/>
                  <a:gd name="T51" fmla="*/ 157 h 458"/>
                  <a:gd name="T52" fmla="*/ 165 w 580"/>
                  <a:gd name="T53" fmla="*/ 53 h 458"/>
                  <a:gd name="T54" fmla="*/ 180 w 580"/>
                  <a:gd name="T55" fmla="*/ 53 h 458"/>
                  <a:gd name="T56" fmla="*/ 196 w 580"/>
                  <a:gd name="T57" fmla="*/ 27 h 458"/>
                  <a:gd name="T58" fmla="*/ 154 w 580"/>
                  <a:gd name="T59" fmla="*/ 4 h 458"/>
                  <a:gd name="T60" fmla="*/ 0 w 580"/>
                  <a:gd name="T61" fmla="*/ 152 h 458"/>
                  <a:gd name="T62" fmla="*/ 0 w 580"/>
                  <a:gd name="T63" fmla="*/ 439 h 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80" h="458">
                    <a:moveTo>
                      <a:pt x="411" y="213"/>
                    </a:moveTo>
                    <a:cubicBezTo>
                      <a:pt x="570" y="37"/>
                      <a:pt x="570" y="37"/>
                      <a:pt x="570" y="37"/>
                    </a:cubicBezTo>
                    <a:cubicBezTo>
                      <a:pt x="576" y="30"/>
                      <a:pt x="580" y="25"/>
                      <a:pt x="580" y="20"/>
                    </a:cubicBezTo>
                    <a:cubicBezTo>
                      <a:pt x="580" y="10"/>
                      <a:pt x="559" y="0"/>
                      <a:pt x="545" y="0"/>
                    </a:cubicBezTo>
                    <a:cubicBezTo>
                      <a:pt x="535" y="0"/>
                      <a:pt x="526" y="8"/>
                      <a:pt x="519" y="16"/>
                    </a:cubicBezTo>
                    <a:cubicBezTo>
                      <a:pt x="344" y="210"/>
                      <a:pt x="344" y="210"/>
                      <a:pt x="344" y="210"/>
                    </a:cubicBezTo>
                    <a:cubicBezTo>
                      <a:pt x="336" y="219"/>
                      <a:pt x="334" y="224"/>
                      <a:pt x="334" y="229"/>
                    </a:cubicBezTo>
                    <a:cubicBezTo>
                      <a:pt x="334" y="234"/>
                      <a:pt x="336" y="239"/>
                      <a:pt x="344" y="248"/>
                    </a:cubicBezTo>
                    <a:cubicBezTo>
                      <a:pt x="519" y="442"/>
                      <a:pt x="519" y="442"/>
                      <a:pt x="519" y="442"/>
                    </a:cubicBezTo>
                    <a:cubicBezTo>
                      <a:pt x="526" y="450"/>
                      <a:pt x="535" y="458"/>
                      <a:pt x="545" y="458"/>
                    </a:cubicBezTo>
                    <a:cubicBezTo>
                      <a:pt x="559" y="458"/>
                      <a:pt x="580" y="448"/>
                      <a:pt x="580" y="438"/>
                    </a:cubicBezTo>
                    <a:cubicBezTo>
                      <a:pt x="580" y="433"/>
                      <a:pt x="576" y="428"/>
                      <a:pt x="570" y="421"/>
                    </a:cubicBezTo>
                    <a:cubicBezTo>
                      <a:pt x="411" y="245"/>
                      <a:pt x="411" y="245"/>
                      <a:pt x="411" y="245"/>
                    </a:cubicBezTo>
                    <a:cubicBezTo>
                      <a:pt x="403" y="236"/>
                      <a:pt x="399" y="232"/>
                      <a:pt x="399" y="229"/>
                    </a:cubicBezTo>
                    <a:cubicBezTo>
                      <a:pt x="399" y="226"/>
                      <a:pt x="403" y="222"/>
                      <a:pt x="411" y="213"/>
                    </a:cubicBezTo>
                    <a:moveTo>
                      <a:pt x="252" y="439"/>
                    </a:moveTo>
                    <a:cubicBezTo>
                      <a:pt x="252" y="449"/>
                      <a:pt x="261" y="454"/>
                      <a:pt x="281" y="454"/>
                    </a:cubicBezTo>
                    <a:cubicBezTo>
                      <a:pt x="300" y="454"/>
                      <a:pt x="309" y="449"/>
                      <a:pt x="309" y="439"/>
                    </a:cubicBezTo>
                    <a:cubicBezTo>
                      <a:pt x="309" y="19"/>
                      <a:pt x="309" y="19"/>
                      <a:pt x="309" y="19"/>
                    </a:cubicBezTo>
                    <a:cubicBezTo>
                      <a:pt x="309" y="9"/>
                      <a:pt x="300" y="4"/>
                      <a:pt x="281" y="4"/>
                    </a:cubicBezTo>
                    <a:cubicBezTo>
                      <a:pt x="261" y="4"/>
                      <a:pt x="252" y="9"/>
                      <a:pt x="252" y="19"/>
                    </a:cubicBezTo>
                    <a:lnTo>
                      <a:pt x="252" y="439"/>
                    </a:lnTo>
                    <a:close/>
                    <a:moveTo>
                      <a:pt x="0" y="439"/>
                    </a:moveTo>
                    <a:cubicBezTo>
                      <a:pt x="0" y="449"/>
                      <a:pt x="8" y="454"/>
                      <a:pt x="28" y="454"/>
                    </a:cubicBezTo>
                    <a:cubicBezTo>
                      <a:pt x="48" y="454"/>
                      <a:pt x="56" y="449"/>
                      <a:pt x="56" y="439"/>
                    </a:cubicBezTo>
                    <a:cubicBezTo>
                      <a:pt x="56" y="157"/>
                      <a:pt x="56" y="157"/>
                      <a:pt x="56" y="157"/>
                    </a:cubicBezTo>
                    <a:cubicBezTo>
                      <a:pt x="56" y="83"/>
                      <a:pt x="85" y="53"/>
                      <a:pt x="165" y="53"/>
                    </a:cubicBezTo>
                    <a:cubicBezTo>
                      <a:pt x="180" y="53"/>
                      <a:pt x="180" y="53"/>
                      <a:pt x="180" y="53"/>
                    </a:cubicBezTo>
                    <a:cubicBezTo>
                      <a:pt x="192" y="53"/>
                      <a:pt x="196" y="43"/>
                      <a:pt x="196" y="27"/>
                    </a:cubicBezTo>
                    <a:cubicBezTo>
                      <a:pt x="196" y="8"/>
                      <a:pt x="185" y="4"/>
                      <a:pt x="154" y="4"/>
                    </a:cubicBezTo>
                    <a:cubicBezTo>
                      <a:pt x="64" y="4"/>
                      <a:pt x="0" y="43"/>
                      <a:pt x="0" y="152"/>
                    </a:cubicBezTo>
                    <a:lnTo>
                      <a:pt x="0" y="43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25" name="Freeform 10">
                <a:extLst>
                  <a:ext uri="{FF2B5EF4-FFF2-40B4-BE49-F238E27FC236}">
                    <a16:creationId xmlns:a16="http://schemas.microsoft.com/office/drawing/2014/main" id="{2B91B16B-BC11-E547-8FAC-B9B8D18EA449}"/>
                  </a:ext>
                </a:extLst>
              </p:cNvPr>
              <p:cNvSpPr>
                <a:spLocks/>
              </p:cNvSpPr>
              <p:nvPr/>
            </p:nvSpPr>
            <p:spPr bwMode="gray">
              <a:xfrm>
                <a:off x="2880" y="1704"/>
                <a:ext cx="618" cy="916"/>
              </a:xfrm>
              <a:custGeom>
                <a:avLst/>
                <a:gdLst>
                  <a:gd name="T0" fmla="*/ 307 w 307"/>
                  <a:gd name="T1" fmla="*/ 405 h 455"/>
                  <a:gd name="T2" fmla="*/ 307 w 307"/>
                  <a:gd name="T3" fmla="*/ 244 h 455"/>
                  <a:gd name="T4" fmla="*/ 279 w 307"/>
                  <a:gd name="T5" fmla="*/ 229 h 455"/>
                  <a:gd name="T6" fmla="*/ 250 w 307"/>
                  <a:gd name="T7" fmla="*/ 244 h 455"/>
                  <a:gd name="T8" fmla="*/ 250 w 307"/>
                  <a:gd name="T9" fmla="*/ 378 h 455"/>
                  <a:gd name="T10" fmla="*/ 199 w 307"/>
                  <a:gd name="T11" fmla="*/ 408 h 455"/>
                  <a:gd name="T12" fmla="*/ 61 w 307"/>
                  <a:gd name="T13" fmla="*/ 231 h 455"/>
                  <a:gd name="T14" fmla="*/ 238 w 307"/>
                  <a:gd name="T15" fmla="*/ 49 h 455"/>
                  <a:gd name="T16" fmla="*/ 270 w 307"/>
                  <a:gd name="T17" fmla="*/ 49 h 455"/>
                  <a:gd name="T18" fmla="*/ 286 w 307"/>
                  <a:gd name="T19" fmla="*/ 23 h 455"/>
                  <a:gd name="T20" fmla="*/ 244 w 307"/>
                  <a:gd name="T21" fmla="*/ 0 h 455"/>
                  <a:gd name="T22" fmla="*/ 231 w 307"/>
                  <a:gd name="T23" fmla="*/ 0 h 455"/>
                  <a:gd name="T24" fmla="*/ 0 w 307"/>
                  <a:gd name="T25" fmla="*/ 232 h 455"/>
                  <a:gd name="T26" fmla="*/ 198 w 307"/>
                  <a:gd name="T27" fmla="*/ 455 h 455"/>
                  <a:gd name="T28" fmla="*/ 307 w 307"/>
                  <a:gd name="T29" fmla="*/ 405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7" h="455">
                    <a:moveTo>
                      <a:pt x="307" y="405"/>
                    </a:moveTo>
                    <a:cubicBezTo>
                      <a:pt x="307" y="244"/>
                      <a:pt x="307" y="244"/>
                      <a:pt x="307" y="244"/>
                    </a:cubicBezTo>
                    <a:cubicBezTo>
                      <a:pt x="307" y="234"/>
                      <a:pt x="298" y="229"/>
                      <a:pt x="279" y="229"/>
                    </a:cubicBezTo>
                    <a:cubicBezTo>
                      <a:pt x="259" y="229"/>
                      <a:pt x="250" y="234"/>
                      <a:pt x="250" y="244"/>
                    </a:cubicBezTo>
                    <a:cubicBezTo>
                      <a:pt x="250" y="378"/>
                      <a:pt x="250" y="378"/>
                      <a:pt x="250" y="378"/>
                    </a:cubicBezTo>
                    <a:cubicBezTo>
                      <a:pt x="250" y="399"/>
                      <a:pt x="241" y="408"/>
                      <a:pt x="199" y="408"/>
                    </a:cubicBezTo>
                    <a:cubicBezTo>
                      <a:pt x="114" y="408"/>
                      <a:pt x="61" y="342"/>
                      <a:pt x="61" y="231"/>
                    </a:cubicBezTo>
                    <a:cubicBezTo>
                      <a:pt x="61" y="115"/>
                      <a:pt x="126" y="49"/>
                      <a:pt x="238" y="49"/>
                    </a:cubicBezTo>
                    <a:cubicBezTo>
                      <a:pt x="270" y="49"/>
                      <a:pt x="270" y="49"/>
                      <a:pt x="270" y="49"/>
                    </a:cubicBezTo>
                    <a:cubicBezTo>
                      <a:pt x="282" y="49"/>
                      <a:pt x="286" y="39"/>
                      <a:pt x="286" y="23"/>
                    </a:cubicBezTo>
                    <a:cubicBezTo>
                      <a:pt x="286" y="4"/>
                      <a:pt x="275" y="0"/>
                      <a:pt x="244" y="0"/>
                    </a:cubicBezTo>
                    <a:cubicBezTo>
                      <a:pt x="231" y="0"/>
                      <a:pt x="231" y="0"/>
                      <a:pt x="231" y="0"/>
                    </a:cubicBezTo>
                    <a:cubicBezTo>
                      <a:pt x="101" y="0"/>
                      <a:pt x="0" y="71"/>
                      <a:pt x="0" y="232"/>
                    </a:cubicBezTo>
                    <a:cubicBezTo>
                      <a:pt x="0" y="386"/>
                      <a:pt x="88" y="455"/>
                      <a:pt x="198" y="455"/>
                    </a:cubicBezTo>
                    <a:cubicBezTo>
                      <a:pt x="286" y="455"/>
                      <a:pt x="307" y="430"/>
                      <a:pt x="307" y="40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26" name="Oval 11">
                <a:extLst>
                  <a:ext uri="{FF2B5EF4-FFF2-40B4-BE49-F238E27FC236}">
                    <a16:creationId xmlns:a16="http://schemas.microsoft.com/office/drawing/2014/main" id="{14F8C3C8-4888-7646-B9B4-64EB46A1DA23}"/>
                  </a:ext>
                </a:extLst>
              </p:cNvPr>
              <p:cNvSpPr>
                <a:spLocks noChangeArrowheads="1"/>
              </p:cNvSpPr>
              <p:nvPr/>
            </p:nvSpPr>
            <p:spPr bwMode="gray">
              <a:xfrm>
                <a:off x="3778" y="2099"/>
                <a:ext cx="122" cy="12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27" name="Freeform 12">
                <a:extLst>
                  <a:ext uri="{FF2B5EF4-FFF2-40B4-BE49-F238E27FC236}">
                    <a16:creationId xmlns:a16="http://schemas.microsoft.com/office/drawing/2014/main" id="{D79D01D1-4E3E-F34B-97D7-2D387E68746E}"/>
                  </a:ext>
                </a:extLst>
              </p:cNvPr>
              <p:cNvSpPr>
                <a:spLocks/>
              </p:cNvSpPr>
              <p:nvPr/>
            </p:nvSpPr>
            <p:spPr bwMode="gray">
              <a:xfrm>
                <a:off x="4321" y="1029"/>
                <a:ext cx="648" cy="649"/>
              </a:xfrm>
              <a:custGeom>
                <a:avLst/>
                <a:gdLst>
                  <a:gd name="T0" fmla="*/ 0 w 648"/>
                  <a:gd name="T1" fmla="*/ 649 h 649"/>
                  <a:gd name="T2" fmla="*/ 2 w 648"/>
                  <a:gd name="T3" fmla="*/ 649 h 649"/>
                  <a:gd name="T4" fmla="*/ 648 w 648"/>
                  <a:gd name="T5" fmla="*/ 0 h 649"/>
                  <a:gd name="T6" fmla="*/ 423 w 648"/>
                  <a:gd name="T7" fmla="*/ 0 h 649"/>
                  <a:gd name="T8" fmla="*/ 0 w 648"/>
                  <a:gd name="T9" fmla="*/ 649 h 649"/>
                </a:gdLst>
                <a:ahLst/>
                <a:cxnLst>
                  <a:cxn ang="0">
                    <a:pos x="T0" y="T1"/>
                  </a:cxn>
                  <a:cxn ang="0">
                    <a:pos x="T2" y="T3"/>
                  </a:cxn>
                  <a:cxn ang="0">
                    <a:pos x="T4" y="T5"/>
                  </a:cxn>
                  <a:cxn ang="0">
                    <a:pos x="T6" y="T7"/>
                  </a:cxn>
                  <a:cxn ang="0">
                    <a:pos x="T8" y="T9"/>
                  </a:cxn>
                </a:cxnLst>
                <a:rect l="0" t="0" r="r" b="b"/>
                <a:pathLst>
                  <a:path w="648" h="649">
                    <a:moveTo>
                      <a:pt x="0" y="649"/>
                    </a:moveTo>
                    <a:lnTo>
                      <a:pt x="2" y="649"/>
                    </a:lnTo>
                    <a:lnTo>
                      <a:pt x="648" y="0"/>
                    </a:lnTo>
                    <a:lnTo>
                      <a:pt x="423" y="0"/>
                    </a:lnTo>
                    <a:lnTo>
                      <a:pt x="0" y="64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28" name="Freeform 13">
                <a:extLst>
                  <a:ext uri="{FF2B5EF4-FFF2-40B4-BE49-F238E27FC236}">
                    <a16:creationId xmlns:a16="http://schemas.microsoft.com/office/drawing/2014/main" id="{46549898-6C52-B147-A8F6-A73FDBE6163B}"/>
                  </a:ext>
                </a:extLst>
              </p:cNvPr>
              <p:cNvSpPr>
                <a:spLocks/>
              </p:cNvSpPr>
              <p:nvPr/>
            </p:nvSpPr>
            <p:spPr bwMode="gray">
              <a:xfrm>
                <a:off x="4321" y="1029"/>
                <a:ext cx="648" cy="649"/>
              </a:xfrm>
              <a:custGeom>
                <a:avLst/>
                <a:gdLst>
                  <a:gd name="T0" fmla="*/ 0 w 648"/>
                  <a:gd name="T1" fmla="*/ 649 h 649"/>
                  <a:gd name="T2" fmla="*/ 2 w 648"/>
                  <a:gd name="T3" fmla="*/ 649 h 649"/>
                  <a:gd name="T4" fmla="*/ 648 w 648"/>
                  <a:gd name="T5" fmla="*/ 0 h 649"/>
                  <a:gd name="T6" fmla="*/ 423 w 648"/>
                  <a:gd name="T7" fmla="*/ 0 h 649"/>
                  <a:gd name="T8" fmla="*/ 0 w 648"/>
                  <a:gd name="T9" fmla="*/ 649 h 649"/>
                </a:gdLst>
                <a:ahLst/>
                <a:cxnLst>
                  <a:cxn ang="0">
                    <a:pos x="T0" y="T1"/>
                  </a:cxn>
                  <a:cxn ang="0">
                    <a:pos x="T2" y="T3"/>
                  </a:cxn>
                  <a:cxn ang="0">
                    <a:pos x="T4" y="T5"/>
                  </a:cxn>
                  <a:cxn ang="0">
                    <a:pos x="T6" y="T7"/>
                  </a:cxn>
                  <a:cxn ang="0">
                    <a:pos x="T8" y="T9"/>
                  </a:cxn>
                </a:cxnLst>
                <a:rect l="0" t="0" r="r" b="b"/>
                <a:pathLst>
                  <a:path w="648" h="649">
                    <a:moveTo>
                      <a:pt x="0" y="649"/>
                    </a:moveTo>
                    <a:lnTo>
                      <a:pt x="2" y="649"/>
                    </a:lnTo>
                    <a:lnTo>
                      <a:pt x="648" y="0"/>
                    </a:lnTo>
                    <a:lnTo>
                      <a:pt x="423" y="0"/>
                    </a:lnTo>
                    <a:lnTo>
                      <a:pt x="0" y="64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grpSp>
      </p:grpSp>
      <p:sp>
        <p:nvSpPr>
          <p:cNvPr id="7" name="Date Placeholder 6"/>
          <p:cNvSpPr>
            <a:spLocks noGrp="1"/>
          </p:cNvSpPr>
          <p:nvPr>
            <p:ph type="dt" sz="half" idx="10"/>
          </p:nvPr>
        </p:nvSpPr>
        <p:spPr>
          <a:xfrm>
            <a:off x="0" y="0"/>
            <a:ext cx="0" cy="0"/>
          </a:xfrm>
          <a:prstGeom prst="rect">
            <a:avLst/>
          </a:prstGeom>
        </p:spPr>
        <p:txBody>
          <a:bodyPr/>
          <a:lstStyle>
            <a:lvl1pPr>
              <a:defRPr sz="100">
                <a:noFill/>
              </a:defRPr>
            </a:lvl1pPr>
          </a:lstStyle>
          <a:p>
            <a:endParaRPr lang="en-US"/>
          </a:p>
        </p:txBody>
      </p:sp>
      <p:sp>
        <p:nvSpPr>
          <p:cNvPr id="8" name="Footer Placeholder 7"/>
          <p:cNvSpPr>
            <a:spLocks noGrp="1"/>
          </p:cNvSpPr>
          <p:nvPr>
            <p:ph type="ftr" sz="quarter" idx="11"/>
          </p:nvPr>
        </p:nvSpPr>
        <p:spPr>
          <a:xfrm>
            <a:off x="0" y="0"/>
            <a:ext cx="0" cy="0"/>
          </a:xfrm>
          <a:prstGeom prst="rect">
            <a:avLst/>
          </a:prstGeom>
        </p:spPr>
        <p:txBody>
          <a:bodyPr/>
          <a:lstStyle>
            <a:lvl1pPr marL="0" indent="0">
              <a:buNone/>
              <a:defRPr sz="100">
                <a:noFill/>
              </a:defRPr>
            </a:lvl1pPr>
          </a:lstStyle>
          <a:p>
            <a:endParaRPr lang="en-US"/>
          </a:p>
        </p:txBody>
      </p:sp>
      <p:sp>
        <p:nvSpPr>
          <p:cNvPr id="9" name="Slide Number Placeholder 8"/>
          <p:cNvSpPr>
            <a:spLocks noGrp="1"/>
          </p:cNvSpPr>
          <p:nvPr>
            <p:ph type="sldNum" sz="quarter" idx="12"/>
          </p:nvPr>
        </p:nvSpPr>
        <p:spPr>
          <a:xfrm>
            <a:off x="0" y="0"/>
            <a:ext cx="0" cy="0"/>
          </a:xfrm>
          <a:prstGeom prst="rect">
            <a:avLst/>
          </a:prstGeom>
        </p:spPr>
        <p:txBody>
          <a:bodyPr/>
          <a:lstStyle>
            <a:lvl1pPr>
              <a:defRPr sz="100">
                <a:noFill/>
              </a:defRPr>
            </a:lvl1pPr>
          </a:lstStyle>
          <a:p>
            <a:fld id="{8E3B25F7-8D1F-44B5-B485-EE3C438CFD7B}" type="slidenum">
              <a:rPr lang="en-US" smtClean="0"/>
              <a:pPr/>
              <a:t>‹#›</a:t>
            </a:fld>
            <a:endParaRPr lang="en-US"/>
          </a:p>
        </p:txBody>
      </p:sp>
      <p:sp>
        <p:nvSpPr>
          <p:cNvPr id="2" name="Title 1"/>
          <p:cNvSpPr>
            <a:spLocks noGrp="1"/>
          </p:cNvSpPr>
          <p:nvPr>
            <p:ph type="ctrTitle" hasCustomPrompt="1"/>
          </p:nvPr>
        </p:nvSpPr>
        <p:spPr>
          <a:xfrm>
            <a:off x="417600" y="1628775"/>
            <a:ext cx="3816000" cy="2236264"/>
          </a:xfrm>
        </p:spPr>
        <p:txBody>
          <a:bodyPr anchor="b"/>
          <a:lstStyle>
            <a:lvl1pPr algn="l">
              <a:defRPr sz="3600"/>
            </a:lvl1pPr>
          </a:lstStyle>
          <a:p>
            <a:r>
              <a:rPr lang="en-US"/>
              <a:t>Click to add presentation title</a:t>
            </a:r>
          </a:p>
        </p:txBody>
      </p:sp>
      <p:sp>
        <p:nvSpPr>
          <p:cNvPr id="3" name="Subtitle 2"/>
          <p:cNvSpPr>
            <a:spLocks noGrp="1"/>
          </p:cNvSpPr>
          <p:nvPr>
            <p:ph type="subTitle" idx="1" hasCustomPrompt="1"/>
          </p:nvPr>
        </p:nvSpPr>
        <p:spPr>
          <a:xfrm>
            <a:off x="417600" y="4094163"/>
            <a:ext cx="3816000" cy="1080000"/>
          </a:xfrm>
        </p:spPr>
        <p:txBody>
          <a:bodyPr/>
          <a:lstStyle>
            <a:lvl1pPr marL="0" indent="0" algn="l">
              <a:spcBef>
                <a:spcPts val="0"/>
              </a:spcBef>
              <a:buNone/>
              <a:defRPr sz="1800" b="1"/>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sp>
        <p:nvSpPr>
          <p:cNvPr id="31" name="Text Placeholder 30"/>
          <p:cNvSpPr>
            <a:spLocks noGrp="1"/>
          </p:cNvSpPr>
          <p:nvPr>
            <p:ph type="body" sz="quarter" idx="14" hasCustomPrompt="1"/>
          </p:nvPr>
        </p:nvSpPr>
        <p:spPr>
          <a:xfrm>
            <a:off x="417600" y="5393268"/>
            <a:ext cx="3816000" cy="296332"/>
          </a:xfrm>
        </p:spPr>
        <p:txBody>
          <a:bodyPr wrap="none"/>
          <a:lstStyle>
            <a:lvl1pPr marL="0" indent="0">
              <a:spcBef>
                <a:spcPts val="0"/>
              </a:spcBef>
              <a:buNone/>
              <a:defRPr sz="1200"/>
            </a:lvl1pPr>
            <a:lvl2pPr marL="0" indent="0">
              <a:buNone/>
              <a:defRPr sz="1200"/>
            </a:lvl2pPr>
            <a:lvl3pPr marL="0" indent="0">
              <a:buNone/>
              <a:defRPr sz="1200"/>
            </a:lvl3pPr>
            <a:lvl4pPr marL="0">
              <a:buNone/>
              <a:defRPr sz="1200"/>
            </a:lvl4pPr>
            <a:lvl5pPr marL="0" indent="0">
              <a:buNone/>
              <a:defRPr sz="1200"/>
            </a:lvl5pPr>
          </a:lstStyle>
          <a:p>
            <a:pPr lvl="0"/>
            <a:r>
              <a:rPr lang="en-US"/>
              <a:t>Name</a:t>
            </a:r>
          </a:p>
        </p:txBody>
      </p:sp>
      <p:sp>
        <p:nvSpPr>
          <p:cNvPr id="34" name="Text Placeholder 30"/>
          <p:cNvSpPr>
            <a:spLocks noGrp="1"/>
          </p:cNvSpPr>
          <p:nvPr>
            <p:ph type="body" sz="quarter" idx="15" hasCustomPrompt="1"/>
          </p:nvPr>
        </p:nvSpPr>
        <p:spPr>
          <a:xfrm>
            <a:off x="417600" y="5691446"/>
            <a:ext cx="3816000" cy="296332"/>
          </a:xfrm>
        </p:spPr>
        <p:txBody>
          <a:bodyPr wrap="none"/>
          <a:lstStyle>
            <a:lvl1pPr marL="0" indent="0">
              <a:spcBef>
                <a:spcPts val="0"/>
              </a:spcBef>
              <a:buNone/>
              <a:defRPr sz="1200"/>
            </a:lvl1pPr>
            <a:lvl2pPr marL="0" indent="0">
              <a:buNone/>
              <a:defRPr sz="1200"/>
            </a:lvl2pPr>
            <a:lvl3pPr marL="0" indent="0">
              <a:buNone/>
              <a:defRPr sz="1200"/>
            </a:lvl3pPr>
            <a:lvl4pPr marL="0">
              <a:buNone/>
              <a:defRPr sz="1200"/>
            </a:lvl4pPr>
            <a:lvl5pPr marL="0" indent="0">
              <a:buNone/>
              <a:defRPr sz="1200"/>
            </a:lvl5pPr>
          </a:lstStyle>
          <a:p>
            <a:pPr lvl="0"/>
            <a:r>
              <a:rPr lang="en-US"/>
              <a:t>Department</a:t>
            </a:r>
          </a:p>
        </p:txBody>
      </p:sp>
    </p:spTree>
    <p:extLst>
      <p:ext uri="{BB962C8B-B14F-4D97-AF65-F5344CB8AC3E}">
        <p14:creationId xmlns:p14="http://schemas.microsoft.com/office/powerpoint/2010/main" val="679706089"/>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p:cSld name="Divider 1">
    <p:spTree>
      <p:nvGrpSpPr>
        <p:cNvPr id="1" name=""/>
        <p:cNvGrpSpPr/>
        <p:nvPr/>
      </p:nvGrpSpPr>
      <p:grpSpPr>
        <a:xfrm>
          <a:off x="0" y="0"/>
          <a:ext cx="0" cy="0"/>
          <a:chOff x="0" y="0"/>
          <a:chExt cx="0" cy="0"/>
        </a:xfrm>
      </p:grpSpPr>
      <p:sp>
        <p:nvSpPr>
          <p:cNvPr id="12" name="Picture Placeholder 11"/>
          <p:cNvSpPr>
            <a:spLocks noGrp="1"/>
          </p:cNvSpPr>
          <p:nvPr>
            <p:ph type="pic" sz="quarter" idx="17" hasCustomPrompt="1"/>
          </p:nvPr>
        </p:nvSpPr>
        <p:spPr>
          <a:xfrm>
            <a:off x="-1" y="0"/>
            <a:ext cx="8822478" cy="6858000"/>
          </a:xfrm>
          <a:custGeom>
            <a:avLst/>
            <a:gdLst>
              <a:gd name="connsiteX0" fmla="*/ 0 w 8822478"/>
              <a:gd name="connsiteY0" fmla="*/ 0 h 6858000"/>
              <a:gd name="connsiteX1" fmla="*/ 8477306 w 8822478"/>
              <a:gd name="connsiteY1" fmla="*/ 0 h 6858000"/>
              <a:gd name="connsiteX2" fmla="*/ 6998505 w 8822478"/>
              <a:gd name="connsiteY2" fmla="*/ 3834029 h 6858000"/>
              <a:gd name="connsiteX3" fmla="*/ 8822478 w 8822478"/>
              <a:gd name="connsiteY3" fmla="*/ 6858000 h 6858000"/>
              <a:gd name="connsiteX4" fmla="*/ 0 w 8822478"/>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22478" h="6858000">
                <a:moveTo>
                  <a:pt x="0" y="0"/>
                </a:moveTo>
                <a:lnTo>
                  <a:pt x="8477306" y="0"/>
                </a:lnTo>
                <a:lnTo>
                  <a:pt x="6998505" y="3834029"/>
                </a:lnTo>
                <a:lnTo>
                  <a:pt x="8822478" y="6858000"/>
                </a:lnTo>
                <a:lnTo>
                  <a:pt x="0" y="6858000"/>
                </a:lnTo>
                <a:close/>
              </a:path>
            </a:pathLst>
          </a:custGeom>
          <a:solidFill>
            <a:srgbClr val="D9DADB"/>
          </a:solidFill>
        </p:spPr>
        <p:txBody>
          <a:bodyPr wrap="square">
            <a:noAutofit/>
          </a:bodyPr>
          <a:lstStyle>
            <a:lvl1pPr marL="0" indent="0">
              <a:buNone/>
              <a:defRPr/>
            </a:lvl1pPr>
          </a:lstStyle>
          <a:p>
            <a:r>
              <a:rPr lang="en-US"/>
              <a:t>Insert picture</a:t>
            </a:r>
          </a:p>
        </p:txBody>
      </p:sp>
      <p:sp>
        <p:nvSpPr>
          <p:cNvPr id="21" name="Date Placeholder 20"/>
          <p:cNvSpPr>
            <a:spLocks noGrp="1"/>
          </p:cNvSpPr>
          <p:nvPr>
            <p:ph type="dt" sz="half" idx="14"/>
          </p:nvPr>
        </p:nvSpPr>
        <p:spPr/>
        <p:txBody>
          <a:bodyPr/>
          <a:lstStyle>
            <a:lvl1pPr>
              <a:defRPr>
                <a:solidFill>
                  <a:schemeClr val="bg1"/>
                </a:solidFill>
              </a:defRPr>
            </a:lvl1pPr>
          </a:lstStyle>
          <a:p>
            <a:endParaRPr lang="en-US"/>
          </a:p>
        </p:txBody>
      </p:sp>
      <p:sp>
        <p:nvSpPr>
          <p:cNvPr id="22" name="Footer Placeholder 21"/>
          <p:cNvSpPr>
            <a:spLocks noGrp="1"/>
          </p:cNvSpPr>
          <p:nvPr>
            <p:ph type="ftr" sz="quarter" idx="15"/>
          </p:nvPr>
        </p:nvSpPr>
        <p:spPr/>
        <p:txBody>
          <a:bodyPr/>
          <a:lstStyle>
            <a:lvl1pPr>
              <a:defRPr>
                <a:solidFill>
                  <a:schemeClr val="bg1"/>
                </a:solidFill>
              </a:defRPr>
            </a:lvl1pPr>
          </a:lstStyle>
          <a:p>
            <a:endParaRPr lang="en-US"/>
          </a:p>
        </p:txBody>
      </p:sp>
      <p:sp>
        <p:nvSpPr>
          <p:cNvPr id="23" name="Slide Number Placeholder 22"/>
          <p:cNvSpPr>
            <a:spLocks noGrp="1"/>
          </p:cNvSpPr>
          <p:nvPr>
            <p:ph type="sldNum" sz="quarter" idx="16"/>
          </p:nvPr>
        </p:nvSpPr>
        <p:spPr/>
        <p:txBody>
          <a:bodyPr/>
          <a:lstStyle>
            <a:lvl1pPr>
              <a:defRPr>
                <a:solidFill>
                  <a:schemeClr val="tx1"/>
                </a:solidFill>
              </a:defRPr>
            </a:lvl1pPr>
          </a:lstStyle>
          <a:p>
            <a:fld id="{5F3E29E4-0979-4FCA-B4C5-5FC6044C982A}" type="slidenum">
              <a:rPr lang="en-US" smtClean="0"/>
              <a:pPr/>
              <a:t>‹#›</a:t>
            </a:fld>
            <a:endParaRPr lang="en-US"/>
          </a:p>
        </p:txBody>
      </p:sp>
      <p:sp>
        <p:nvSpPr>
          <p:cNvPr id="2" name="Title 1"/>
          <p:cNvSpPr>
            <a:spLocks noGrp="1"/>
          </p:cNvSpPr>
          <p:nvPr>
            <p:ph type="title" hasCustomPrompt="1"/>
          </p:nvPr>
        </p:nvSpPr>
        <p:spPr>
          <a:xfrm>
            <a:off x="7737533" y="2908628"/>
            <a:ext cx="4082992" cy="2103640"/>
          </a:xfrm>
        </p:spPr>
        <p:txBody>
          <a:bodyPr/>
          <a:lstStyle>
            <a:lvl1pPr>
              <a:defRPr>
                <a:solidFill>
                  <a:schemeClr val="tx1"/>
                </a:solidFill>
              </a:defRPr>
            </a:lvl1pPr>
          </a:lstStyle>
          <a:p>
            <a:r>
              <a:rPr lang="en-US"/>
              <a:t>Click to add section title</a:t>
            </a:r>
          </a:p>
        </p:txBody>
      </p:sp>
    </p:spTree>
    <p:extLst>
      <p:ext uri="{BB962C8B-B14F-4D97-AF65-F5344CB8AC3E}">
        <p14:creationId xmlns:p14="http://schemas.microsoft.com/office/powerpoint/2010/main" val="1354490426"/>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p:cSld name="Divider 2">
    <p:spTree>
      <p:nvGrpSpPr>
        <p:cNvPr id="1" name=""/>
        <p:cNvGrpSpPr/>
        <p:nvPr/>
      </p:nvGrpSpPr>
      <p:grpSpPr>
        <a:xfrm>
          <a:off x="0" y="0"/>
          <a:ext cx="0" cy="0"/>
          <a:chOff x="0" y="0"/>
          <a:chExt cx="0" cy="0"/>
        </a:xfrm>
      </p:grpSpPr>
      <p:sp>
        <p:nvSpPr>
          <p:cNvPr id="4" name="shp2"/>
          <p:cNvSpPr/>
          <p:nvPr/>
        </p:nvSpPr>
        <p:spPr>
          <a:xfrm>
            <a:off x="0" y="0"/>
            <a:ext cx="121932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a:p>
        </p:txBody>
      </p:sp>
      <p:sp>
        <p:nvSpPr>
          <p:cNvPr id="21" name="Date Placeholder 20"/>
          <p:cNvSpPr>
            <a:spLocks noGrp="1"/>
          </p:cNvSpPr>
          <p:nvPr>
            <p:ph type="dt" sz="half" idx="14"/>
          </p:nvPr>
        </p:nvSpPr>
        <p:spPr bwMode="ltGray"/>
        <p:txBody>
          <a:bodyPr/>
          <a:lstStyle>
            <a:lvl1pPr>
              <a:defRPr>
                <a:solidFill>
                  <a:schemeClr val="bg1"/>
                </a:solidFill>
              </a:defRPr>
            </a:lvl1pPr>
          </a:lstStyle>
          <a:p>
            <a:endParaRPr lang="en-US"/>
          </a:p>
        </p:txBody>
      </p:sp>
      <p:sp>
        <p:nvSpPr>
          <p:cNvPr id="22" name="Footer Placeholder 21"/>
          <p:cNvSpPr>
            <a:spLocks noGrp="1"/>
          </p:cNvSpPr>
          <p:nvPr>
            <p:ph type="ftr" sz="quarter" idx="15"/>
          </p:nvPr>
        </p:nvSpPr>
        <p:spPr bwMode="ltGray"/>
        <p:txBody>
          <a:bodyPr/>
          <a:lstStyle>
            <a:lvl1pPr>
              <a:defRPr>
                <a:solidFill>
                  <a:schemeClr val="bg1"/>
                </a:solidFill>
              </a:defRPr>
            </a:lvl1pPr>
          </a:lstStyle>
          <a:p>
            <a:endParaRPr lang="en-US"/>
          </a:p>
        </p:txBody>
      </p:sp>
      <p:sp>
        <p:nvSpPr>
          <p:cNvPr id="23" name="Slide Number Placeholder 22"/>
          <p:cNvSpPr>
            <a:spLocks noGrp="1"/>
          </p:cNvSpPr>
          <p:nvPr>
            <p:ph type="sldNum" sz="quarter" idx="16"/>
          </p:nvPr>
        </p:nvSpPr>
        <p:spPr bwMode="ltGray"/>
        <p:txBody>
          <a:bodyPr/>
          <a:lstStyle>
            <a:lvl1pPr>
              <a:defRPr>
                <a:solidFill>
                  <a:schemeClr val="bg1"/>
                </a:solidFill>
              </a:defRPr>
            </a:lvl1pPr>
          </a:lstStyle>
          <a:p>
            <a:fld id="{5F3E29E4-0979-4FCA-B4C5-5FC6044C982A}" type="slidenum">
              <a:rPr lang="en-US" smtClean="0"/>
              <a:pPr/>
              <a:t>‹#›</a:t>
            </a:fld>
            <a:endParaRPr lang="en-US"/>
          </a:p>
        </p:txBody>
      </p:sp>
      <p:sp>
        <p:nvSpPr>
          <p:cNvPr id="8" name="copyright"/>
          <p:cNvSpPr txBox="1"/>
          <p:nvPr/>
        </p:nvSpPr>
        <p:spPr>
          <a:xfrm>
            <a:off x="10672209" y="6237288"/>
            <a:ext cx="500617" cy="358173"/>
          </a:xfrm>
          <a:prstGeom prst="rect">
            <a:avLst/>
          </a:prstGeom>
          <a:noFill/>
        </p:spPr>
        <p:txBody>
          <a:bodyPr wrap="none" lIns="0" tIns="0" rIns="0" bIns="0" rtlCol="0" anchor="b" anchorCtr="0">
            <a:noAutofit/>
          </a:bodyPr>
          <a:lstStyle/>
          <a:p>
            <a:pPr marL="0" indent="0" algn="r">
              <a:lnSpc>
                <a:spcPct val="125000"/>
              </a:lnSpc>
              <a:buClr>
                <a:schemeClr val="tx2"/>
              </a:buClr>
              <a:buFont typeface="Wingdings" panose="05000000000000000000" pitchFamily="2" charset="2"/>
              <a:buNone/>
            </a:pPr>
            <a:r>
              <a:rPr lang="en-US" sz="800">
                <a:solidFill>
                  <a:schemeClr val="bg1"/>
                </a:solidFill>
              </a:rPr>
              <a:t>© GfK</a:t>
            </a:r>
          </a:p>
        </p:txBody>
      </p:sp>
      <p:sp>
        <p:nvSpPr>
          <p:cNvPr id="2" name="Title 1"/>
          <p:cNvSpPr>
            <a:spLocks noGrp="1"/>
          </p:cNvSpPr>
          <p:nvPr>
            <p:ph type="title" hasCustomPrompt="1"/>
          </p:nvPr>
        </p:nvSpPr>
        <p:spPr bwMode="ltGray">
          <a:xfrm>
            <a:off x="1075062" y="1519552"/>
            <a:ext cx="10097763" cy="2273171"/>
          </a:xfrm>
        </p:spPr>
        <p:txBody>
          <a:bodyPr/>
          <a:lstStyle>
            <a:lvl1pPr>
              <a:defRPr>
                <a:solidFill>
                  <a:schemeClr val="bg1"/>
                </a:solidFill>
              </a:defRPr>
            </a:lvl1pPr>
          </a:lstStyle>
          <a:p>
            <a:r>
              <a:rPr lang="en-US"/>
              <a:t>Click to add section title</a:t>
            </a:r>
          </a:p>
        </p:txBody>
      </p:sp>
      <p:grpSp>
        <p:nvGrpSpPr>
          <p:cNvPr id="9" name="logo">
            <a:extLst>
              <a:ext uri="{FF2B5EF4-FFF2-40B4-BE49-F238E27FC236}">
                <a16:creationId xmlns:a16="http://schemas.microsoft.com/office/drawing/2014/main" id="{57BD2C4C-DC67-B843-B26C-309622FC75F7}"/>
              </a:ext>
            </a:extLst>
          </p:cNvPr>
          <p:cNvGrpSpPr>
            <a:grpSpLocks noChangeAspect="1"/>
          </p:cNvGrpSpPr>
          <p:nvPr/>
        </p:nvGrpSpPr>
        <p:grpSpPr bwMode="gray">
          <a:xfrm>
            <a:off x="11174018" y="401441"/>
            <a:ext cx="644225" cy="646507"/>
            <a:chOff x="2711" y="1027"/>
            <a:chExt cx="2258" cy="2266"/>
          </a:xfrm>
        </p:grpSpPr>
        <p:sp>
          <p:nvSpPr>
            <p:cNvPr id="11" name="AutoShape 3">
              <a:extLst>
                <a:ext uri="{FF2B5EF4-FFF2-40B4-BE49-F238E27FC236}">
                  <a16:creationId xmlns:a16="http://schemas.microsoft.com/office/drawing/2014/main" id="{FE1DC41B-291E-574C-9F2C-874E70A40758}"/>
                </a:ext>
              </a:extLst>
            </p:cNvPr>
            <p:cNvSpPr>
              <a:spLocks noChangeAspect="1" noChangeArrowheads="1" noTextEdit="1"/>
            </p:cNvSpPr>
            <p:nvPr/>
          </p:nvSpPr>
          <p:spPr bwMode="gray">
            <a:xfrm>
              <a:off x="2711" y="1027"/>
              <a:ext cx="2258" cy="22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12" name="Freeform 5">
              <a:extLst>
                <a:ext uri="{FF2B5EF4-FFF2-40B4-BE49-F238E27FC236}">
                  <a16:creationId xmlns:a16="http://schemas.microsoft.com/office/drawing/2014/main" id="{D4B633C8-F761-C54B-9BD2-EB59D49A2DBC}"/>
                </a:ext>
              </a:extLst>
            </p:cNvPr>
            <p:cNvSpPr>
              <a:spLocks/>
            </p:cNvSpPr>
            <p:nvPr/>
          </p:nvSpPr>
          <p:spPr bwMode="gray">
            <a:xfrm>
              <a:off x="2709" y="1029"/>
              <a:ext cx="2260" cy="2262"/>
            </a:xfrm>
            <a:custGeom>
              <a:avLst/>
              <a:gdLst>
                <a:gd name="T0" fmla="*/ 2260 w 2260"/>
                <a:gd name="T1" fmla="*/ 0 h 2262"/>
                <a:gd name="T2" fmla="*/ 1612 w 2260"/>
                <a:gd name="T3" fmla="*/ 649 h 2262"/>
                <a:gd name="T4" fmla="*/ 1612 w 2260"/>
                <a:gd name="T5" fmla="*/ 649 h 2262"/>
                <a:gd name="T6" fmla="*/ 2035 w 2260"/>
                <a:gd name="T7" fmla="*/ 0 h 2262"/>
                <a:gd name="T8" fmla="*/ 0 w 2260"/>
                <a:gd name="T9" fmla="*/ 0 h 2262"/>
                <a:gd name="T10" fmla="*/ 0 w 2260"/>
                <a:gd name="T11" fmla="*/ 2262 h 2262"/>
                <a:gd name="T12" fmla="*/ 2260 w 2260"/>
                <a:gd name="T13" fmla="*/ 2262 h 2262"/>
                <a:gd name="T14" fmla="*/ 2260 w 2260"/>
                <a:gd name="T15" fmla="*/ 0 h 2262"/>
                <a:gd name="T16" fmla="*/ 2260 w 2260"/>
                <a:gd name="T17" fmla="*/ 0 h 2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0" h="2262">
                  <a:moveTo>
                    <a:pt x="2260" y="0"/>
                  </a:moveTo>
                  <a:lnTo>
                    <a:pt x="1612" y="649"/>
                  </a:lnTo>
                  <a:lnTo>
                    <a:pt x="1612" y="649"/>
                  </a:lnTo>
                  <a:lnTo>
                    <a:pt x="2035" y="0"/>
                  </a:lnTo>
                  <a:lnTo>
                    <a:pt x="0" y="0"/>
                  </a:lnTo>
                  <a:lnTo>
                    <a:pt x="0" y="2262"/>
                  </a:lnTo>
                  <a:lnTo>
                    <a:pt x="2260" y="2262"/>
                  </a:lnTo>
                  <a:lnTo>
                    <a:pt x="2260" y="0"/>
                  </a:lnTo>
                  <a:lnTo>
                    <a:pt x="2260" y="0"/>
                  </a:lnTo>
                  <a:close/>
                </a:path>
              </a:pathLst>
            </a:custGeom>
            <a:solidFill>
              <a:srgbClr val="E55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13" name="Freeform 6">
              <a:extLst>
                <a:ext uri="{FF2B5EF4-FFF2-40B4-BE49-F238E27FC236}">
                  <a16:creationId xmlns:a16="http://schemas.microsoft.com/office/drawing/2014/main" id="{B16BAAE4-1A41-C843-9754-490F7A1E1270}"/>
                </a:ext>
              </a:extLst>
            </p:cNvPr>
            <p:cNvSpPr>
              <a:spLocks noEditPoints="1"/>
            </p:cNvSpPr>
            <p:nvPr/>
          </p:nvSpPr>
          <p:spPr bwMode="gray">
            <a:xfrm>
              <a:off x="3623" y="1696"/>
              <a:ext cx="1167" cy="922"/>
            </a:xfrm>
            <a:custGeom>
              <a:avLst/>
              <a:gdLst>
                <a:gd name="T0" fmla="*/ 411 w 580"/>
                <a:gd name="T1" fmla="*/ 213 h 458"/>
                <a:gd name="T2" fmla="*/ 570 w 580"/>
                <a:gd name="T3" fmla="*/ 37 h 458"/>
                <a:gd name="T4" fmla="*/ 580 w 580"/>
                <a:gd name="T5" fmla="*/ 20 h 458"/>
                <a:gd name="T6" fmla="*/ 545 w 580"/>
                <a:gd name="T7" fmla="*/ 0 h 458"/>
                <a:gd name="T8" fmla="*/ 519 w 580"/>
                <a:gd name="T9" fmla="*/ 16 h 458"/>
                <a:gd name="T10" fmla="*/ 344 w 580"/>
                <a:gd name="T11" fmla="*/ 210 h 458"/>
                <a:gd name="T12" fmla="*/ 334 w 580"/>
                <a:gd name="T13" fmla="*/ 229 h 458"/>
                <a:gd name="T14" fmla="*/ 344 w 580"/>
                <a:gd name="T15" fmla="*/ 248 h 458"/>
                <a:gd name="T16" fmla="*/ 519 w 580"/>
                <a:gd name="T17" fmla="*/ 442 h 458"/>
                <a:gd name="T18" fmla="*/ 545 w 580"/>
                <a:gd name="T19" fmla="*/ 458 h 458"/>
                <a:gd name="T20" fmla="*/ 580 w 580"/>
                <a:gd name="T21" fmla="*/ 438 h 458"/>
                <a:gd name="T22" fmla="*/ 570 w 580"/>
                <a:gd name="T23" fmla="*/ 421 h 458"/>
                <a:gd name="T24" fmla="*/ 411 w 580"/>
                <a:gd name="T25" fmla="*/ 245 h 458"/>
                <a:gd name="T26" fmla="*/ 399 w 580"/>
                <a:gd name="T27" fmla="*/ 229 h 458"/>
                <a:gd name="T28" fmla="*/ 411 w 580"/>
                <a:gd name="T29" fmla="*/ 213 h 458"/>
                <a:gd name="T30" fmla="*/ 252 w 580"/>
                <a:gd name="T31" fmla="*/ 439 h 458"/>
                <a:gd name="T32" fmla="*/ 281 w 580"/>
                <a:gd name="T33" fmla="*/ 454 h 458"/>
                <a:gd name="T34" fmla="*/ 309 w 580"/>
                <a:gd name="T35" fmla="*/ 439 h 458"/>
                <a:gd name="T36" fmla="*/ 309 w 580"/>
                <a:gd name="T37" fmla="*/ 19 h 458"/>
                <a:gd name="T38" fmla="*/ 281 w 580"/>
                <a:gd name="T39" fmla="*/ 4 h 458"/>
                <a:gd name="T40" fmla="*/ 252 w 580"/>
                <a:gd name="T41" fmla="*/ 19 h 458"/>
                <a:gd name="T42" fmla="*/ 252 w 580"/>
                <a:gd name="T43" fmla="*/ 439 h 458"/>
                <a:gd name="T44" fmla="*/ 0 w 580"/>
                <a:gd name="T45" fmla="*/ 439 h 458"/>
                <a:gd name="T46" fmla="*/ 28 w 580"/>
                <a:gd name="T47" fmla="*/ 454 h 458"/>
                <a:gd name="T48" fmla="*/ 56 w 580"/>
                <a:gd name="T49" fmla="*/ 439 h 458"/>
                <a:gd name="T50" fmla="*/ 56 w 580"/>
                <a:gd name="T51" fmla="*/ 157 h 458"/>
                <a:gd name="T52" fmla="*/ 165 w 580"/>
                <a:gd name="T53" fmla="*/ 53 h 458"/>
                <a:gd name="T54" fmla="*/ 180 w 580"/>
                <a:gd name="T55" fmla="*/ 53 h 458"/>
                <a:gd name="T56" fmla="*/ 196 w 580"/>
                <a:gd name="T57" fmla="*/ 27 h 458"/>
                <a:gd name="T58" fmla="*/ 154 w 580"/>
                <a:gd name="T59" fmla="*/ 4 h 458"/>
                <a:gd name="T60" fmla="*/ 0 w 580"/>
                <a:gd name="T61" fmla="*/ 152 h 458"/>
                <a:gd name="T62" fmla="*/ 0 w 580"/>
                <a:gd name="T63" fmla="*/ 439 h 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80" h="458">
                  <a:moveTo>
                    <a:pt x="411" y="213"/>
                  </a:moveTo>
                  <a:cubicBezTo>
                    <a:pt x="570" y="37"/>
                    <a:pt x="570" y="37"/>
                    <a:pt x="570" y="37"/>
                  </a:cubicBezTo>
                  <a:cubicBezTo>
                    <a:pt x="576" y="30"/>
                    <a:pt x="580" y="25"/>
                    <a:pt x="580" y="20"/>
                  </a:cubicBezTo>
                  <a:cubicBezTo>
                    <a:pt x="580" y="10"/>
                    <a:pt x="559" y="0"/>
                    <a:pt x="545" y="0"/>
                  </a:cubicBezTo>
                  <a:cubicBezTo>
                    <a:pt x="535" y="0"/>
                    <a:pt x="526" y="8"/>
                    <a:pt x="519" y="16"/>
                  </a:cubicBezTo>
                  <a:cubicBezTo>
                    <a:pt x="344" y="210"/>
                    <a:pt x="344" y="210"/>
                    <a:pt x="344" y="210"/>
                  </a:cubicBezTo>
                  <a:cubicBezTo>
                    <a:pt x="336" y="219"/>
                    <a:pt x="334" y="224"/>
                    <a:pt x="334" y="229"/>
                  </a:cubicBezTo>
                  <a:cubicBezTo>
                    <a:pt x="334" y="234"/>
                    <a:pt x="336" y="239"/>
                    <a:pt x="344" y="248"/>
                  </a:cubicBezTo>
                  <a:cubicBezTo>
                    <a:pt x="519" y="442"/>
                    <a:pt x="519" y="442"/>
                    <a:pt x="519" y="442"/>
                  </a:cubicBezTo>
                  <a:cubicBezTo>
                    <a:pt x="526" y="450"/>
                    <a:pt x="535" y="458"/>
                    <a:pt x="545" y="458"/>
                  </a:cubicBezTo>
                  <a:cubicBezTo>
                    <a:pt x="559" y="458"/>
                    <a:pt x="580" y="448"/>
                    <a:pt x="580" y="438"/>
                  </a:cubicBezTo>
                  <a:cubicBezTo>
                    <a:pt x="580" y="433"/>
                    <a:pt x="576" y="428"/>
                    <a:pt x="570" y="421"/>
                  </a:cubicBezTo>
                  <a:cubicBezTo>
                    <a:pt x="411" y="245"/>
                    <a:pt x="411" y="245"/>
                    <a:pt x="411" y="245"/>
                  </a:cubicBezTo>
                  <a:cubicBezTo>
                    <a:pt x="403" y="236"/>
                    <a:pt x="399" y="232"/>
                    <a:pt x="399" y="229"/>
                  </a:cubicBezTo>
                  <a:cubicBezTo>
                    <a:pt x="399" y="226"/>
                    <a:pt x="403" y="222"/>
                    <a:pt x="411" y="213"/>
                  </a:cubicBezTo>
                  <a:moveTo>
                    <a:pt x="252" y="439"/>
                  </a:moveTo>
                  <a:cubicBezTo>
                    <a:pt x="252" y="449"/>
                    <a:pt x="261" y="454"/>
                    <a:pt x="281" y="454"/>
                  </a:cubicBezTo>
                  <a:cubicBezTo>
                    <a:pt x="300" y="454"/>
                    <a:pt x="309" y="449"/>
                    <a:pt x="309" y="439"/>
                  </a:cubicBezTo>
                  <a:cubicBezTo>
                    <a:pt x="309" y="19"/>
                    <a:pt x="309" y="19"/>
                    <a:pt x="309" y="19"/>
                  </a:cubicBezTo>
                  <a:cubicBezTo>
                    <a:pt x="309" y="9"/>
                    <a:pt x="300" y="4"/>
                    <a:pt x="281" y="4"/>
                  </a:cubicBezTo>
                  <a:cubicBezTo>
                    <a:pt x="261" y="4"/>
                    <a:pt x="252" y="9"/>
                    <a:pt x="252" y="19"/>
                  </a:cubicBezTo>
                  <a:lnTo>
                    <a:pt x="252" y="439"/>
                  </a:lnTo>
                  <a:close/>
                  <a:moveTo>
                    <a:pt x="0" y="439"/>
                  </a:moveTo>
                  <a:cubicBezTo>
                    <a:pt x="0" y="449"/>
                    <a:pt x="8" y="454"/>
                    <a:pt x="28" y="454"/>
                  </a:cubicBezTo>
                  <a:cubicBezTo>
                    <a:pt x="48" y="454"/>
                    <a:pt x="56" y="449"/>
                    <a:pt x="56" y="439"/>
                  </a:cubicBezTo>
                  <a:cubicBezTo>
                    <a:pt x="56" y="157"/>
                    <a:pt x="56" y="157"/>
                    <a:pt x="56" y="157"/>
                  </a:cubicBezTo>
                  <a:cubicBezTo>
                    <a:pt x="56" y="83"/>
                    <a:pt x="85" y="53"/>
                    <a:pt x="165" y="53"/>
                  </a:cubicBezTo>
                  <a:cubicBezTo>
                    <a:pt x="180" y="53"/>
                    <a:pt x="180" y="53"/>
                    <a:pt x="180" y="53"/>
                  </a:cubicBezTo>
                  <a:cubicBezTo>
                    <a:pt x="192" y="53"/>
                    <a:pt x="196" y="43"/>
                    <a:pt x="196" y="27"/>
                  </a:cubicBezTo>
                  <a:cubicBezTo>
                    <a:pt x="196" y="8"/>
                    <a:pt x="185" y="4"/>
                    <a:pt x="154" y="4"/>
                  </a:cubicBezTo>
                  <a:cubicBezTo>
                    <a:pt x="64" y="4"/>
                    <a:pt x="0" y="43"/>
                    <a:pt x="0" y="152"/>
                  </a:cubicBezTo>
                  <a:lnTo>
                    <a:pt x="0" y="43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14" name="Freeform 7">
              <a:extLst>
                <a:ext uri="{FF2B5EF4-FFF2-40B4-BE49-F238E27FC236}">
                  <a16:creationId xmlns:a16="http://schemas.microsoft.com/office/drawing/2014/main" id="{2F32DCBD-8628-F245-85CD-97686A20ECFD}"/>
                </a:ext>
              </a:extLst>
            </p:cNvPr>
            <p:cNvSpPr>
              <a:spLocks/>
            </p:cNvSpPr>
            <p:nvPr/>
          </p:nvSpPr>
          <p:spPr bwMode="gray">
            <a:xfrm>
              <a:off x="2880" y="1704"/>
              <a:ext cx="618" cy="916"/>
            </a:xfrm>
            <a:custGeom>
              <a:avLst/>
              <a:gdLst>
                <a:gd name="T0" fmla="*/ 307 w 307"/>
                <a:gd name="T1" fmla="*/ 405 h 455"/>
                <a:gd name="T2" fmla="*/ 307 w 307"/>
                <a:gd name="T3" fmla="*/ 244 h 455"/>
                <a:gd name="T4" fmla="*/ 279 w 307"/>
                <a:gd name="T5" fmla="*/ 229 h 455"/>
                <a:gd name="T6" fmla="*/ 250 w 307"/>
                <a:gd name="T7" fmla="*/ 244 h 455"/>
                <a:gd name="T8" fmla="*/ 250 w 307"/>
                <a:gd name="T9" fmla="*/ 378 h 455"/>
                <a:gd name="T10" fmla="*/ 199 w 307"/>
                <a:gd name="T11" fmla="*/ 408 h 455"/>
                <a:gd name="T12" fmla="*/ 61 w 307"/>
                <a:gd name="T13" fmla="*/ 231 h 455"/>
                <a:gd name="T14" fmla="*/ 238 w 307"/>
                <a:gd name="T15" fmla="*/ 49 h 455"/>
                <a:gd name="T16" fmla="*/ 270 w 307"/>
                <a:gd name="T17" fmla="*/ 49 h 455"/>
                <a:gd name="T18" fmla="*/ 286 w 307"/>
                <a:gd name="T19" fmla="*/ 23 h 455"/>
                <a:gd name="T20" fmla="*/ 244 w 307"/>
                <a:gd name="T21" fmla="*/ 0 h 455"/>
                <a:gd name="T22" fmla="*/ 231 w 307"/>
                <a:gd name="T23" fmla="*/ 0 h 455"/>
                <a:gd name="T24" fmla="*/ 0 w 307"/>
                <a:gd name="T25" fmla="*/ 232 h 455"/>
                <a:gd name="T26" fmla="*/ 198 w 307"/>
                <a:gd name="T27" fmla="*/ 455 h 455"/>
                <a:gd name="T28" fmla="*/ 307 w 307"/>
                <a:gd name="T29" fmla="*/ 405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7" h="455">
                  <a:moveTo>
                    <a:pt x="307" y="405"/>
                  </a:moveTo>
                  <a:cubicBezTo>
                    <a:pt x="307" y="244"/>
                    <a:pt x="307" y="244"/>
                    <a:pt x="307" y="244"/>
                  </a:cubicBezTo>
                  <a:cubicBezTo>
                    <a:pt x="307" y="234"/>
                    <a:pt x="298" y="229"/>
                    <a:pt x="279" y="229"/>
                  </a:cubicBezTo>
                  <a:cubicBezTo>
                    <a:pt x="259" y="229"/>
                    <a:pt x="250" y="234"/>
                    <a:pt x="250" y="244"/>
                  </a:cubicBezTo>
                  <a:cubicBezTo>
                    <a:pt x="250" y="378"/>
                    <a:pt x="250" y="378"/>
                    <a:pt x="250" y="378"/>
                  </a:cubicBezTo>
                  <a:cubicBezTo>
                    <a:pt x="250" y="399"/>
                    <a:pt x="241" y="408"/>
                    <a:pt x="199" y="408"/>
                  </a:cubicBezTo>
                  <a:cubicBezTo>
                    <a:pt x="114" y="408"/>
                    <a:pt x="61" y="342"/>
                    <a:pt x="61" y="231"/>
                  </a:cubicBezTo>
                  <a:cubicBezTo>
                    <a:pt x="61" y="115"/>
                    <a:pt x="126" y="49"/>
                    <a:pt x="238" y="49"/>
                  </a:cubicBezTo>
                  <a:cubicBezTo>
                    <a:pt x="270" y="49"/>
                    <a:pt x="270" y="49"/>
                    <a:pt x="270" y="49"/>
                  </a:cubicBezTo>
                  <a:cubicBezTo>
                    <a:pt x="282" y="49"/>
                    <a:pt x="286" y="39"/>
                    <a:pt x="286" y="23"/>
                  </a:cubicBezTo>
                  <a:cubicBezTo>
                    <a:pt x="286" y="4"/>
                    <a:pt x="275" y="0"/>
                    <a:pt x="244" y="0"/>
                  </a:cubicBezTo>
                  <a:cubicBezTo>
                    <a:pt x="231" y="0"/>
                    <a:pt x="231" y="0"/>
                    <a:pt x="231" y="0"/>
                  </a:cubicBezTo>
                  <a:cubicBezTo>
                    <a:pt x="101" y="0"/>
                    <a:pt x="0" y="71"/>
                    <a:pt x="0" y="232"/>
                  </a:cubicBezTo>
                  <a:cubicBezTo>
                    <a:pt x="0" y="386"/>
                    <a:pt x="88" y="455"/>
                    <a:pt x="198" y="455"/>
                  </a:cubicBezTo>
                  <a:cubicBezTo>
                    <a:pt x="286" y="455"/>
                    <a:pt x="307" y="430"/>
                    <a:pt x="307" y="40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15" name="Oval 8">
              <a:extLst>
                <a:ext uri="{FF2B5EF4-FFF2-40B4-BE49-F238E27FC236}">
                  <a16:creationId xmlns:a16="http://schemas.microsoft.com/office/drawing/2014/main" id="{60D97C11-1A3B-5449-A48D-98A3E79B3810}"/>
                </a:ext>
              </a:extLst>
            </p:cNvPr>
            <p:cNvSpPr>
              <a:spLocks noChangeArrowheads="1"/>
            </p:cNvSpPr>
            <p:nvPr/>
          </p:nvSpPr>
          <p:spPr bwMode="gray">
            <a:xfrm>
              <a:off x="3778" y="2099"/>
              <a:ext cx="122" cy="12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16" name="Freeform 9">
              <a:extLst>
                <a:ext uri="{FF2B5EF4-FFF2-40B4-BE49-F238E27FC236}">
                  <a16:creationId xmlns:a16="http://schemas.microsoft.com/office/drawing/2014/main" id="{5856770D-B8F0-244E-A05D-AED190086F10}"/>
                </a:ext>
              </a:extLst>
            </p:cNvPr>
            <p:cNvSpPr>
              <a:spLocks noEditPoints="1"/>
            </p:cNvSpPr>
            <p:nvPr/>
          </p:nvSpPr>
          <p:spPr bwMode="gray">
            <a:xfrm>
              <a:off x="3623" y="1696"/>
              <a:ext cx="1167" cy="922"/>
            </a:xfrm>
            <a:custGeom>
              <a:avLst/>
              <a:gdLst>
                <a:gd name="T0" fmla="*/ 411 w 580"/>
                <a:gd name="T1" fmla="*/ 213 h 458"/>
                <a:gd name="T2" fmla="*/ 570 w 580"/>
                <a:gd name="T3" fmla="*/ 37 h 458"/>
                <a:gd name="T4" fmla="*/ 580 w 580"/>
                <a:gd name="T5" fmla="*/ 20 h 458"/>
                <a:gd name="T6" fmla="*/ 545 w 580"/>
                <a:gd name="T7" fmla="*/ 0 h 458"/>
                <a:gd name="T8" fmla="*/ 519 w 580"/>
                <a:gd name="T9" fmla="*/ 16 h 458"/>
                <a:gd name="T10" fmla="*/ 344 w 580"/>
                <a:gd name="T11" fmla="*/ 210 h 458"/>
                <a:gd name="T12" fmla="*/ 334 w 580"/>
                <a:gd name="T13" fmla="*/ 229 h 458"/>
                <a:gd name="T14" fmla="*/ 344 w 580"/>
                <a:gd name="T15" fmla="*/ 248 h 458"/>
                <a:gd name="T16" fmla="*/ 519 w 580"/>
                <a:gd name="T17" fmla="*/ 442 h 458"/>
                <a:gd name="T18" fmla="*/ 545 w 580"/>
                <a:gd name="T19" fmla="*/ 458 h 458"/>
                <a:gd name="T20" fmla="*/ 580 w 580"/>
                <a:gd name="T21" fmla="*/ 438 h 458"/>
                <a:gd name="T22" fmla="*/ 570 w 580"/>
                <a:gd name="T23" fmla="*/ 421 h 458"/>
                <a:gd name="T24" fmla="*/ 411 w 580"/>
                <a:gd name="T25" fmla="*/ 245 h 458"/>
                <a:gd name="T26" fmla="*/ 399 w 580"/>
                <a:gd name="T27" fmla="*/ 229 h 458"/>
                <a:gd name="T28" fmla="*/ 411 w 580"/>
                <a:gd name="T29" fmla="*/ 213 h 458"/>
                <a:gd name="T30" fmla="*/ 252 w 580"/>
                <a:gd name="T31" fmla="*/ 439 h 458"/>
                <a:gd name="T32" fmla="*/ 281 w 580"/>
                <a:gd name="T33" fmla="*/ 454 h 458"/>
                <a:gd name="T34" fmla="*/ 309 w 580"/>
                <a:gd name="T35" fmla="*/ 439 h 458"/>
                <a:gd name="T36" fmla="*/ 309 w 580"/>
                <a:gd name="T37" fmla="*/ 19 h 458"/>
                <a:gd name="T38" fmla="*/ 281 w 580"/>
                <a:gd name="T39" fmla="*/ 4 h 458"/>
                <a:gd name="T40" fmla="*/ 252 w 580"/>
                <a:gd name="T41" fmla="*/ 19 h 458"/>
                <a:gd name="T42" fmla="*/ 252 w 580"/>
                <a:gd name="T43" fmla="*/ 439 h 458"/>
                <a:gd name="T44" fmla="*/ 0 w 580"/>
                <a:gd name="T45" fmla="*/ 439 h 458"/>
                <a:gd name="T46" fmla="*/ 28 w 580"/>
                <a:gd name="T47" fmla="*/ 454 h 458"/>
                <a:gd name="T48" fmla="*/ 56 w 580"/>
                <a:gd name="T49" fmla="*/ 439 h 458"/>
                <a:gd name="T50" fmla="*/ 56 w 580"/>
                <a:gd name="T51" fmla="*/ 157 h 458"/>
                <a:gd name="T52" fmla="*/ 165 w 580"/>
                <a:gd name="T53" fmla="*/ 53 h 458"/>
                <a:gd name="T54" fmla="*/ 180 w 580"/>
                <a:gd name="T55" fmla="*/ 53 h 458"/>
                <a:gd name="T56" fmla="*/ 196 w 580"/>
                <a:gd name="T57" fmla="*/ 27 h 458"/>
                <a:gd name="T58" fmla="*/ 154 w 580"/>
                <a:gd name="T59" fmla="*/ 4 h 458"/>
                <a:gd name="T60" fmla="*/ 0 w 580"/>
                <a:gd name="T61" fmla="*/ 152 h 458"/>
                <a:gd name="T62" fmla="*/ 0 w 580"/>
                <a:gd name="T63" fmla="*/ 439 h 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80" h="458">
                  <a:moveTo>
                    <a:pt x="411" y="213"/>
                  </a:moveTo>
                  <a:cubicBezTo>
                    <a:pt x="570" y="37"/>
                    <a:pt x="570" y="37"/>
                    <a:pt x="570" y="37"/>
                  </a:cubicBezTo>
                  <a:cubicBezTo>
                    <a:pt x="576" y="30"/>
                    <a:pt x="580" y="25"/>
                    <a:pt x="580" y="20"/>
                  </a:cubicBezTo>
                  <a:cubicBezTo>
                    <a:pt x="580" y="10"/>
                    <a:pt x="559" y="0"/>
                    <a:pt x="545" y="0"/>
                  </a:cubicBezTo>
                  <a:cubicBezTo>
                    <a:pt x="535" y="0"/>
                    <a:pt x="526" y="8"/>
                    <a:pt x="519" y="16"/>
                  </a:cubicBezTo>
                  <a:cubicBezTo>
                    <a:pt x="344" y="210"/>
                    <a:pt x="344" y="210"/>
                    <a:pt x="344" y="210"/>
                  </a:cubicBezTo>
                  <a:cubicBezTo>
                    <a:pt x="336" y="219"/>
                    <a:pt x="334" y="224"/>
                    <a:pt x="334" y="229"/>
                  </a:cubicBezTo>
                  <a:cubicBezTo>
                    <a:pt x="334" y="234"/>
                    <a:pt x="336" y="239"/>
                    <a:pt x="344" y="248"/>
                  </a:cubicBezTo>
                  <a:cubicBezTo>
                    <a:pt x="519" y="442"/>
                    <a:pt x="519" y="442"/>
                    <a:pt x="519" y="442"/>
                  </a:cubicBezTo>
                  <a:cubicBezTo>
                    <a:pt x="526" y="450"/>
                    <a:pt x="535" y="458"/>
                    <a:pt x="545" y="458"/>
                  </a:cubicBezTo>
                  <a:cubicBezTo>
                    <a:pt x="559" y="458"/>
                    <a:pt x="580" y="448"/>
                    <a:pt x="580" y="438"/>
                  </a:cubicBezTo>
                  <a:cubicBezTo>
                    <a:pt x="580" y="433"/>
                    <a:pt x="576" y="428"/>
                    <a:pt x="570" y="421"/>
                  </a:cubicBezTo>
                  <a:cubicBezTo>
                    <a:pt x="411" y="245"/>
                    <a:pt x="411" y="245"/>
                    <a:pt x="411" y="245"/>
                  </a:cubicBezTo>
                  <a:cubicBezTo>
                    <a:pt x="403" y="236"/>
                    <a:pt x="399" y="232"/>
                    <a:pt x="399" y="229"/>
                  </a:cubicBezTo>
                  <a:cubicBezTo>
                    <a:pt x="399" y="226"/>
                    <a:pt x="403" y="222"/>
                    <a:pt x="411" y="213"/>
                  </a:cubicBezTo>
                  <a:moveTo>
                    <a:pt x="252" y="439"/>
                  </a:moveTo>
                  <a:cubicBezTo>
                    <a:pt x="252" y="449"/>
                    <a:pt x="261" y="454"/>
                    <a:pt x="281" y="454"/>
                  </a:cubicBezTo>
                  <a:cubicBezTo>
                    <a:pt x="300" y="454"/>
                    <a:pt x="309" y="449"/>
                    <a:pt x="309" y="439"/>
                  </a:cubicBezTo>
                  <a:cubicBezTo>
                    <a:pt x="309" y="19"/>
                    <a:pt x="309" y="19"/>
                    <a:pt x="309" y="19"/>
                  </a:cubicBezTo>
                  <a:cubicBezTo>
                    <a:pt x="309" y="9"/>
                    <a:pt x="300" y="4"/>
                    <a:pt x="281" y="4"/>
                  </a:cubicBezTo>
                  <a:cubicBezTo>
                    <a:pt x="261" y="4"/>
                    <a:pt x="252" y="9"/>
                    <a:pt x="252" y="19"/>
                  </a:cubicBezTo>
                  <a:lnTo>
                    <a:pt x="252" y="439"/>
                  </a:lnTo>
                  <a:close/>
                  <a:moveTo>
                    <a:pt x="0" y="439"/>
                  </a:moveTo>
                  <a:cubicBezTo>
                    <a:pt x="0" y="449"/>
                    <a:pt x="8" y="454"/>
                    <a:pt x="28" y="454"/>
                  </a:cubicBezTo>
                  <a:cubicBezTo>
                    <a:pt x="48" y="454"/>
                    <a:pt x="56" y="449"/>
                    <a:pt x="56" y="439"/>
                  </a:cubicBezTo>
                  <a:cubicBezTo>
                    <a:pt x="56" y="157"/>
                    <a:pt x="56" y="157"/>
                    <a:pt x="56" y="157"/>
                  </a:cubicBezTo>
                  <a:cubicBezTo>
                    <a:pt x="56" y="83"/>
                    <a:pt x="85" y="53"/>
                    <a:pt x="165" y="53"/>
                  </a:cubicBezTo>
                  <a:cubicBezTo>
                    <a:pt x="180" y="53"/>
                    <a:pt x="180" y="53"/>
                    <a:pt x="180" y="53"/>
                  </a:cubicBezTo>
                  <a:cubicBezTo>
                    <a:pt x="192" y="53"/>
                    <a:pt x="196" y="43"/>
                    <a:pt x="196" y="27"/>
                  </a:cubicBezTo>
                  <a:cubicBezTo>
                    <a:pt x="196" y="8"/>
                    <a:pt x="185" y="4"/>
                    <a:pt x="154" y="4"/>
                  </a:cubicBezTo>
                  <a:cubicBezTo>
                    <a:pt x="64" y="4"/>
                    <a:pt x="0" y="43"/>
                    <a:pt x="0" y="152"/>
                  </a:cubicBezTo>
                  <a:lnTo>
                    <a:pt x="0" y="43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17" name="Freeform 10">
              <a:extLst>
                <a:ext uri="{FF2B5EF4-FFF2-40B4-BE49-F238E27FC236}">
                  <a16:creationId xmlns:a16="http://schemas.microsoft.com/office/drawing/2014/main" id="{2B91B16B-BC11-E547-8FAC-B9B8D18EA449}"/>
                </a:ext>
              </a:extLst>
            </p:cNvPr>
            <p:cNvSpPr>
              <a:spLocks/>
            </p:cNvSpPr>
            <p:nvPr/>
          </p:nvSpPr>
          <p:spPr bwMode="gray">
            <a:xfrm>
              <a:off x="2880" y="1704"/>
              <a:ext cx="618" cy="916"/>
            </a:xfrm>
            <a:custGeom>
              <a:avLst/>
              <a:gdLst>
                <a:gd name="T0" fmla="*/ 307 w 307"/>
                <a:gd name="T1" fmla="*/ 405 h 455"/>
                <a:gd name="T2" fmla="*/ 307 w 307"/>
                <a:gd name="T3" fmla="*/ 244 h 455"/>
                <a:gd name="T4" fmla="*/ 279 w 307"/>
                <a:gd name="T5" fmla="*/ 229 h 455"/>
                <a:gd name="T6" fmla="*/ 250 w 307"/>
                <a:gd name="T7" fmla="*/ 244 h 455"/>
                <a:gd name="T8" fmla="*/ 250 w 307"/>
                <a:gd name="T9" fmla="*/ 378 h 455"/>
                <a:gd name="T10" fmla="*/ 199 w 307"/>
                <a:gd name="T11" fmla="*/ 408 h 455"/>
                <a:gd name="T12" fmla="*/ 61 w 307"/>
                <a:gd name="T13" fmla="*/ 231 h 455"/>
                <a:gd name="T14" fmla="*/ 238 w 307"/>
                <a:gd name="T15" fmla="*/ 49 h 455"/>
                <a:gd name="T16" fmla="*/ 270 w 307"/>
                <a:gd name="T17" fmla="*/ 49 h 455"/>
                <a:gd name="T18" fmla="*/ 286 w 307"/>
                <a:gd name="T19" fmla="*/ 23 h 455"/>
                <a:gd name="T20" fmla="*/ 244 w 307"/>
                <a:gd name="T21" fmla="*/ 0 h 455"/>
                <a:gd name="T22" fmla="*/ 231 w 307"/>
                <a:gd name="T23" fmla="*/ 0 h 455"/>
                <a:gd name="T24" fmla="*/ 0 w 307"/>
                <a:gd name="T25" fmla="*/ 232 h 455"/>
                <a:gd name="T26" fmla="*/ 198 w 307"/>
                <a:gd name="T27" fmla="*/ 455 h 455"/>
                <a:gd name="T28" fmla="*/ 307 w 307"/>
                <a:gd name="T29" fmla="*/ 405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7" h="455">
                  <a:moveTo>
                    <a:pt x="307" y="405"/>
                  </a:moveTo>
                  <a:cubicBezTo>
                    <a:pt x="307" y="244"/>
                    <a:pt x="307" y="244"/>
                    <a:pt x="307" y="244"/>
                  </a:cubicBezTo>
                  <a:cubicBezTo>
                    <a:pt x="307" y="234"/>
                    <a:pt x="298" y="229"/>
                    <a:pt x="279" y="229"/>
                  </a:cubicBezTo>
                  <a:cubicBezTo>
                    <a:pt x="259" y="229"/>
                    <a:pt x="250" y="234"/>
                    <a:pt x="250" y="244"/>
                  </a:cubicBezTo>
                  <a:cubicBezTo>
                    <a:pt x="250" y="378"/>
                    <a:pt x="250" y="378"/>
                    <a:pt x="250" y="378"/>
                  </a:cubicBezTo>
                  <a:cubicBezTo>
                    <a:pt x="250" y="399"/>
                    <a:pt x="241" y="408"/>
                    <a:pt x="199" y="408"/>
                  </a:cubicBezTo>
                  <a:cubicBezTo>
                    <a:pt x="114" y="408"/>
                    <a:pt x="61" y="342"/>
                    <a:pt x="61" y="231"/>
                  </a:cubicBezTo>
                  <a:cubicBezTo>
                    <a:pt x="61" y="115"/>
                    <a:pt x="126" y="49"/>
                    <a:pt x="238" y="49"/>
                  </a:cubicBezTo>
                  <a:cubicBezTo>
                    <a:pt x="270" y="49"/>
                    <a:pt x="270" y="49"/>
                    <a:pt x="270" y="49"/>
                  </a:cubicBezTo>
                  <a:cubicBezTo>
                    <a:pt x="282" y="49"/>
                    <a:pt x="286" y="39"/>
                    <a:pt x="286" y="23"/>
                  </a:cubicBezTo>
                  <a:cubicBezTo>
                    <a:pt x="286" y="4"/>
                    <a:pt x="275" y="0"/>
                    <a:pt x="244" y="0"/>
                  </a:cubicBezTo>
                  <a:cubicBezTo>
                    <a:pt x="231" y="0"/>
                    <a:pt x="231" y="0"/>
                    <a:pt x="231" y="0"/>
                  </a:cubicBezTo>
                  <a:cubicBezTo>
                    <a:pt x="101" y="0"/>
                    <a:pt x="0" y="71"/>
                    <a:pt x="0" y="232"/>
                  </a:cubicBezTo>
                  <a:cubicBezTo>
                    <a:pt x="0" y="386"/>
                    <a:pt x="88" y="455"/>
                    <a:pt x="198" y="455"/>
                  </a:cubicBezTo>
                  <a:cubicBezTo>
                    <a:pt x="286" y="455"/>
                    <a:pt x="307" y="430"/>
                    <a:pt x="307" y="40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18" name="Oval 11">
              <a:extLst>
                <a:ext uri="{FF2B5EF4-FFF2-40B4-BE49-F238E27FC236}">
                  <a16:creationId xmlns:a16="http://schemas.microsoft.com/office/drawing/2014/main" id="{14F8C3C8-4888-7646-B9B4-64EB46A1DA23}"/>
                </a:ext>
              </a:extLst>
            </p:cNvPr>
            <p:cNvSpPr>
              <a:spLocks noChangeArrowheads="1"/>
            </p:cNvSpPr>
            <p:nvPr/>
          </p:nvSpPr>
          <p:spPr bwMode="gray">
            <a:xfrm>
              <a:off x="3778" y="2099"/>
              <a:ext cx="122" cy="12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19" name="Freeform 12">
              <a:extLst>
                <a:ext uri="{FF2B5EF4-FFF2-40B4-BE49-F238E27FC236}">
                  <a16:creationId xmlns:a16="http://schemas.microsoft.com/office/drawing/2014/main" id="{D79D01D1-4E3E-F34B-97D7-2D387E68746E}"/>
                </a:ext>
              </a:extLst>
            </p:cNvPr>
            <p:cNvSpPr>
              <a:spLocks/>
            </p:cNvSpPr>
            <p:nvPr/>
          </p:nvSpPr>
          <p:spPr bwMode="gray">
            <a:xfrm>
              <a:off x="4321" y="1029"/>
              <a:ext cx="648" cy="649"/>
            </a:xfrm>
            <a:custGeom>
              <a:avLst/>
              <a:gdLst>
                <a:gd name="T0" fmla="*/ 0 w 648"/>
                <a:gd name="T1" fmla="*/ 649 h 649"/>
                <a:gd name="T2" fmla="*/ 2 w 648"/>
                <a:gd name="T3" fmla="*/ 649 h 649"/>
                <a:gd name="T4" fmla="*/ 648 w 648"/>
                <a:gd name="T5" fmla="*/ 0 h 649"/>
                <a:gd name="T6" fmla="*/ 423 w 648"/>
                <a:gd name="T7" fmla="*/ 0 h 649"/>
                <a:gd name="T8" fmla="*/ 0 w 648"/>
                <a:gd name="T9" fmla="*/ 649 h 649"/>
              </a:gdLst>
              <a:ahLst/>
              <a:cxnLst>
                <a:cxn ang="0">
                  <a:pos x="T0" y="T1"/>
                </a:cxn>
                <a:cxn ang="0">
                  <a:pos x="T2" y="T3"/>
                </a:cxn>
                <a:cxn ang="0">
                  <a:pos x="T4" y="T5"/>
                </a:cxn>
                <a:cxn ang="0">
                  <a:pos x="T6" y="T7"/>
                </a:cxn>
                <a:cxn ang="0">
                  <a:pos x="T8" y="T9"/>
                </a:cxn>
              </a:cxnLst>
              <a:rect l="0" t="0" r="r" b="b"/>
              <a:pathLst>
                <a:path w="648" h="649">
                  <a:moveTo>
                    <a:pt x="0" y="649"/>
                  </a:moveTo>
                  <a:lnTo>
                    <a:pt x="2" y="649"/>
                  </a:lnTo>
                  <a:lnTo>
                    <a:pt x="648" y="0"/>
                  </a:lnTo>
                  <a:lnTo>
                    <a:pt x="423" y="0"/>
                  </a:lnTo>
                  <a:lnTo>
                    <a:pt x="0" y="64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20" name="Freeform 13">
              <a:extLst>
                <a:ext uri="{FF2B5EF4-FFF2-40B4-BE49-F238E27FC236}">
                  <a16:creationId xmlns:a16="http://schemas.microsoft.com/office/drawing/2014/main" id="{46549898-6C52-B147-A8F6-A73FDBE6163B}"/>
                </a:ext>
              </a:extLst>
            </p:cNvPr>
            <p:cNvSpPr>
              <a:spLocks/>
            </p:cNvSpPr>
            <p:nvPr/>
          </p:nvSpPr>
          <p:spPr bwMode="gray">
            <a:xfrm>
              <a:off x="4321" y="1029"/>
              <a:ext cx="648" cy="649"/>
            </a:xfrm>
            <a:custGeom>
              <a:avLst/>
              <a:gdLst>
                <a:gd name="T0" fmla="*/ 0 w 648"/>
                <a:gd name="T1" fmla="*/ 649 h 649"/>
                <a:gd name="T2" fmla="*/ 2 w 648"/>
                <a:gd name="T3" fmla="*/ 649 h 649"/>
                <a:gd name="T4" fmla="*/ 648 w 648"/>
                <a:gd name="T5" fmla="*/ 0 h 649"/>
                <a:gd name="T6" fmla="*/ 423 w 648"/>
                <a:gd name="T7" fmla="*/ 0 h 649"/>
                <a:gd name="T8" fmla="*/ 0 w 648"/>
                <a:gd name="T9" fmla="*/ 649 h 649"/>
              </a:gdLst>
              <a:ahLst/>
              <a:cxnLst>
                <a:cxn ang="0">
                  <a:pos x="T0" y="T1"/>
                </a:cxn>
                <a:cxn ang="0">
                  <a:pos x="T2" y="T3"/>
                </a:cxn>
                <a:cxn ang="0">
                  <a:pos x="T4" y="T5"/>
                </a:cxn>
                <a:cxn ang="0">
                  <a:pos x="T6" y="T7"/>
                </a:cxn>
                <a:cxn ang="0">
                  <a:pos x="T8" y="T9"/>
                </a:cxn>
              </a:cxnLst>
              <a:rect l="0" t="0" r="r" b="b"/>
              <a:pathLst>
                <a:path w="648" h="649">
                  <a:moveTo>
                    <a:pt x="0" y="649"/>
                  </a:moveTo>
                  <a:lnTo>
                    <a:pt x="2" y="649"/>
                  </a:lnTo>
                  <a:lnTo>
                    <a:pt x="648" y="0"/>
                  </a:lnTo>
                  <a:lnTo>
                    <a:pt x="423" y="0"/>
                  </a:lnTo>
                  <a:lnTo>
                    <a:pt x="0" y="64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grpSp>
    </p:spTree>
    <p:extLst>
      <p:ext uri="{BB962C8B-B14F-4D97-AF65-F5344CB8AC3E}">
        <p14:creationId xmlns:p14="http://schemas.microsoft.com/office/powerpoint/2010/main" val="205189194"/>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p:cSld name="Headline only">
    <p:spTree>
      <p:nvGrpSpPr>
        <p:cNvPr id="1" name=""/>
        <p:cNvGrpSpPr/>
        <p:nvPr/>
      </p:nvGrpSpPr>
      <p:grpSpPr>
        <a:xfrm>
          <a:off x="0" y="0"/>
          <a:ext cx="0" cy="0"/>
          <a:chOff x="0" y="0"/>
          <a:chExt cx="0" cy="0"/>
        </a:xfrm>
      </p:grpSpPr>
      <p:sp>
        <p:nvSpPr>
          <p:cNvPr id="21" name="Date Placeholder 20"/>
          <p:cNvSpPr>
            <a:spLocks noGrp="1"/>
          </p:cNvSpPr>
          <p:nvPr>
            <p:ph type="dt" sz="half" idx="14"/>
          </p:nvPr>
        </p:nvSpPr>
        <p:spPr/>
        <p:txBody>
          <a:bodyPr/>
          <a:lstStyle/>
          <a:p>
            <a:endParaRPr lang="en-US"/>
          </a:p>
        </p:txBody>
      </p:sp>
      <p:sp>
        <p:nvSpPr>
          <p:cNvPr id="22" name="Footer Placeholder 21"/>
          <p:cNvSpPr>
            <a:spLocks noGrp="1"/>
          </p:cNvSpPr>
          <p:nvPr>
            <p:ph type="ftr" sz="quarter" idx="15"/>
          </p:nvPr>
        </p:nvSpPr>
        <p:spPr/>
        <p:txBody>
          <a:bodyPr/>
          <a:lstStyle/>
          <a:p>
            <a:endParaRPr lang="en-US"/>
          </a:p>
        </p:txBody>
      </p:sp>
      <p:sp>
        <p:nvSpPr>
          <p:cNvPr id="23" name="Slide Number Placeholder 22"/>
          <p:cNvSpPr>
            <a:spLocks noGrp="1"/>
          </p:cNvSpPr>
          <p:nvPr>
            <p:ph type="sldNum" sz="quarter" idx="16"/>
          </p:nvPr>
        </p:nvSpPr>
        <p:spPr/>
        <p:txBody>
          <a:bodyPr/>
          <a:lstStyle/>
          <a:p>
            <a:fld id="{5F3E29E4-0979-4FCA-B4C5-5FC6044C982A}" type="slidenum">
              <a:rPr lang="en-US" smtClean="0"/>
              <a:t>‹#›</a:t>
            </a:fld>
            <a:endParaRPr lang="en-US"/>
          </a:p>
        </p:txBody>
      </p:sp>
      <p:sp>
        <p:nvSpPr>
          <p:cNvPr id="2" name="Title 1"/>
          <p:cNvSpPr>
            <a:spLocks noGrp="1"/>
          </p:cNvSpPr>
          <p:nvPr>
            <p:ph type="title" hasCustomPrompt="1"/>
          </p:nvPr>
        </p:nvSpPr>
        <p:spPr/>
        <p:txBody>
          <a:bodyPr/>
          <a:lstStyle>
            <a:lvl1pPr>
              <a:defRPr/>
            </a:lvl1pPr>
          </a:lstStyle>
          <a:p>
            <a:r>
              <a:rPr lang="en-US"/>
              <a:t>Click to add slide title</a:t>
            </a:r>
          </a:p>
        </p:txBody>
      </p:sp>
      <p:sp>
        <p:nvSpPr>
          <p:cNvPr id="7" name="Subtitle 2"/>
          <p:cNvSpPr>
            <a:spLocks noGrp="1"/>
          </p:cNvSpPr>
          <p:nvPr>
            <p:ph type="subTitle" idx="13" hasCustomPrompt="1"/>
          </p:nvPr>
        </p:nvSpPr>
        <p:spPr>
          <a:xfrm>
            <a:off x="1075061" y="964671"/>
            <a:ext cx="7910158" cy="490042"/>
          </a:xfrm>
        </p:spPr>
        <p:txBody>
          <a:bodyPr wrap="none"/>
          <a:lstStyle>
            <a:lvl1pPr marL="0" indent="0" algn="l">
              <a:spcBef>
                <a:spcPts val="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sp>
        <p:nvSpPr>
          <p:cNvPr id="9" name="Text Placeholder 4"/>
          <p:cNvSpPr>
            <a:spLocks noGrp="1"/>
          </p:cNvSpPr>
          <p:nvPr>
            <p:ph type="body" sz="quarter" idx="17" hasCustomPrompt="1"/>
          </p:nvPr>
        </p:nvSpPr>
        <p:spPr>
          <a:xfrm>
            <a:off x="1075063" y="6307665"/>
            <a:ext cx="8162717" cy="133200"/>
          </a:xfrm>
        </p:spPr>
        <p:txBody>
          <a:bodyPr lIns="0" tIns="0" rIns="0" bIns="0" anchor="b" anchorCtr="0"/>
          <a:lstStyle>
            <a:lvl1pPr marL="0" indent="0" algn="l">
              <a:lnSpc>
                <a:spcPct val="100000"/>
              </a:lnSpc>
              <a:spcBef>
                <a:spcPts val="0"/>
              </a:spcBef>
              <a:buNone/>
              <a:defRPr sz="800" baseline="0"/>
            </a:lvl1pPr>
            <a:lvl2pPr marL="0" indent="0" algn="l">
              <a:lnSpc>
                <a:spcPct val="100000"/>
              </a:lnSpc>
              <a:spcBef>
                <a:spcPts val="0"/>
              </a:spcBef>
              <a:buNone/>
              <a:defRPr sz="800"/>
            </a:lvl2pPr>
            <a:lvl3pPr marL="0" indent="0" algn="l">
              <a:lnSpc>
                <a:spcPct val="100000"/>
              </a:lnSpc>
              <a:spcBef>
                <a:spcPts val="0"/>
              </a:spcBef>
              <a:buNone/>
              <a:defRPr sz="800"/>
            </a:lvl3pPr>
            <a:lvl4pPr marL="0" algn="l">
              <a:lnSpc>
                <a:spcPct val="100000"/>
              </a:lnSpc>
              <a:spcBef>
                <a:spcPts val="0"/>
              </a:spcBef>
              <a:buNone/>
              <a:defRPr sz="800"/>
            </a:lvl4pPr>
            <a:lvl5pPr marL="0" indent="0" algn="l">
              <a:lnSpc>
                <a:spcPct val="100000"/>
              </a:lnSpc>
              <a:spcBef>
                <a:spcPts val="0"/>
              </a:spcBef>
              <a:buNone/>
              <a:defRPr sz="800"/>
            </a:lvl5pPr>
          </a:lstStyle>
          <a:p>
            <a:pPr lvl="0"/>
            <a:r>
              <a:rPr lang="en-US"/>
              <a:t>Source line</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29962349"/>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p:cSld name="One content">
    <p:spTree>
      <p:nvGrpSpPr>
        <p:cNvPr id="1" name=""/>
        <p:cNvGrpSpPr/>
        <p:nvPr/>
      </p:nvGrpSpPr>
      <p:grpSpPr>
        <a:xfrm>
          <a:off x="0" y="0"/>
          <a:ext cx="0" cy="0"/>
          <a:chOff x="0" y="0"/>
          <a:chExt cx="0" cy="0"/>
        </a:xfrm>
      </p:grpSpPr>
      <p:sp>
        <p:nvSpPr>
          <p:cNvPr id="21" name="Date Placeholder 20"/>
          <p:cNvSpPr>
            <a:spLocks noGrp="1"/>
          </p:cNvSpPr>
          <p:nvPr>
            <p:ph type="dt" sz="half" idx="14"/>
          </p:nvPr>
        </p:nvSpPr>
        <p:spPr/>
        <p:txBody>
          <a:bodyPr/>
          <a:lstStyle/>
          <a:p>
            <a:endParaRPr lang="en-US"/>
          </a:p>
        </p:txBody>
      </p:sp>
      <p:sp>
        <p:nvSpPr>
          <p:cNvPr id="22" name="Footer Placeholder 21"/>
          <p:cNvSpPr>
            <a:spLocks noGrp="1"/>
          </p:cNvSpPr>
          <p:nvPr>
            <p:ph type="ftr" sz="quarter" idx="15"/>
          </p:nvPr>
        </p:nvSpPr>
        <p:spPr/>
        <p:txBody>
          <a:bodyPr/>
          <a:lstStyle/>
          <a:p>
            <a:endParaRPr lang="en-US"/>
          </a:p>
        </p:txBody>
      </p:sp>
      <p:sp>
        <p:nvSpPr>
          <p:cNvPr id="23" name="Slide Number Placeholder 22"/>
          <p:cNvSpPr>
            <a:spLocks noGrp="1"/>
          </p:cNvSpPr>
          <p:nvPr>
            <p:ph type="sldNum" sz="quarter" idx="16"/>
          </p:nvPr>
        </p:nvSpPr>
        <p:spPr/>
        <p:txBody>
          <a:bodyPr/>
          <a:lstStyle/>
          <a:p>
            <a:fld id="{5F3E29E4-0979-4FCA-B4C5-5FC6044C982A}" type="slidenum">
              <a:rPr lang="en-US" smtClean="0"/>
              <a:t>‹#›</a:t>
            </a:fld>
            <a:endParaRPr lang="en-US"/>
          </a:p>
        </p:txBody>
      </p:sp>
      <p:sp>
        <p:nvSpPr>
          <p:cNvPr id="2" name="Title 1"/>
          <p:cNvSpPr>
            <a:spLocks noGrp="1"/>
          </p:cNvSpPr>
          <p:nvPr>
            <p:ph type="title" hasCustomPrompt="1"/>
          </p:nvPr>
        </p:nvSpPr>
        <p:spPr/>
        <p:txBody>
          <a:bodyPr/>
          <a:lstStyle>
            <a:lvl1pPr>
              <a:defRPr/>
            </a:lvl1pPr>
          </a:lstStyle>
          <a:p>
            <a:r>
              <a:rPr lang="en-US"/>
              <a:t>Click to add slide title</a:t>
            </a:r>
          </a:p>
        </p:txBody>
      </p:sp>
      <p:sp>
        <p:nvSpPr>
          <p:cNvPr id="7" name="Subtitle 2"/>
          <p:cNvSpPr>
            <a:spLocks noGrp="1"/>
          </p:cNvSpPr>
          <p:nvPr>
            <p:ph type="subTitle" idx="13" hasCustomPrompt="1"/>
          </p:nvPr>
        </p:nvSpPr>
        <p:spPr>
          <a:xfrm>
            <a:off x="1075061" y="964671"/>
            <a:ext cx="7910158" cy="490042"/>
          </a:xfrm>
        </p:spPr>
        <p:txBody>
          <a:bodyPr wrap="none"/>
          <a:lstStyle>
            <a:lvl1pPr marL="0" indent="0" algn="l">
              <a:spcBef>
                <a:spcPts val="0"/>
              </a:spcBef>
              <a:buNone/>
              <a:defRPr sz="2400" baseline="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sp>
        <p:nvSpPr>
          <p:cNvPr id="3" name="Content Placeholder 2"/>
          <p:cNvSpPr>
            <a:spLocks noGrp="1"/>
          </p:cNvSpPr>
          <p:nvPr>
            <p:ph idx="1" hasCustomPrompt="1"/>
          </p:nvPr>
        </p:nvSpPr>
        <p:spPr/>
        <p:txBody>
          <a:bodyPr/>
          <a:lstStyle>
            <a:lvl1pPr>
              <a:defRPr baseline="0"/>
            </a:lvl1pPr>
          </a:lstStyle>
          <a:p>
            <a:pPr lvl="0"/>
            <a:r>
              <a:rPr lang="en-US"/>
              <a:t>Click to add text or content</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17" hasCustomPrompt="1"/>
          </p:nvPr>
        </p:nvSpPr>
        <p:spPr>
          <a:xfrm>
            <a:off x="1075063" y="6307665"/>
            <a:ext cx="8162717" cy="133200"/>
          </a:xfrm>
        </p:spPr>
        <p:txBody>
          <a:bodyPr lIns="0" tIns="0" rIns="0" bIns="0" anchor="b" anchorCtr="0"/>
          <a:lstStyle>
            <a:lvl1pPr marL="0" indent="0" algn="l">
              <a:lnSpc>
                <a:spcPct val="100000"/>
              </a:lnSpc>
              <a:spcBef>
                <a:spcPts val="0"/>
              </a:spcBef>
              <a:buNone/>
              <a:defRPr sz="800" baseline="0"/>
            </a:lvl1pPr>
            <a:lvl2pPr marL="0" indent="0" algn="l">
              <a:lnSpc>
                <a:spcPct val="100000"/>
              </a:lnSpc>
              <a:spcBef>
                <a:spcPts val="0"/>
              </a:spcBef>
              <a:buNone/>
              <a:defRPr sz="800"/>
            </a:lvl2pPr>
            <a:lvl3pPr marL="0" indent="0" algn="l">
              <a:lnSpc>
                <a:spcPct val="100000"/>
              </a:lnSpc>
              <a:spcBef>
                <a:spcPts val="0"/>
              </a:spcBef>
              <a:buNone/>
              <a:defRPr sz="800"/>
            </a:lvl3pPr>
            <a:lvl4pPr marL="0" algn="l">
              <a:lnSpc>
                <a:spcPct val="100000"/>
              </a:lnSpc>
              <a:spcBef>
                <a:spcPts val="0"/>
              </a:spcBef>
              <a:buNone/>
              <a:defRPr sz="800"/>
            </a:lvl4pPr>
            <a:lvl5pPr marL="0" indent="0" algn="l">
              <a:lnSpc>
                <a:spcPct val="100000"/>
              </a:lnSpc>
              <a:spcBef>
                <a:spcPts val="0"/>
              </a:spcBef>
              <a:buNone/>
              <a:defRPr sz="800"/>
            </a:lvl5pPr>
          </a:lstStyle>
          <a:p>
            <a:pPr lvl="0"/>
            <a:r>
              <a:rPr lang="en-US"/>
              <a:t>Source line</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45468800"/>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p:cSld name="Content and picture">
    <p:spTree>
      <p:nvGrpSpPr>
        <p:cNvPr id="1" name=""/>
        <p:cNvGrpSpPr/>
        <p:nvPr/>
      </p:nvGrpSpPr>
      <p:grpSpPr>
        <a:xfrm>
          <a:off x="0" y="0"/>
          <a:ext cx="0" cy="0"/>
          <a:chOff x="0" y="0"/>
          <a:chExt cx="0" cy="0"/>
        </a:xfrm>
      </p:grpSpPr>
      <p:sp>
        <p:nvSpPr>
          <p:cNvPr id="21" name="Date Placeholder 20"/>
          <p:cNvSpPr>
            <a:spLocks noGrp="1"/>
          </p:cNvSpPr>
          <p:nvPr>
            <p:ph type="dt" sz="half" idx="14"/>
          </p:nvPr>
        </p:nvSpPr>
        <p:spPr/>
        <p:txBody>
          <a:bodyPr/>
          <a:lstStyle/>
          <a:p>
            <a:endParaRPr lang="en-US"/>
          </a:p>
        </p:txBody>
      </p:sp>
      <p:sp>
        <p:nvSpPr>
          <p:cNvPr id="22" name="Footer Placeholder 21"/>
          <p:cNvSpPr>
            <a:spLocks noGrp="1"/>
          </p:cNvSpPr>
          <p:nvPr>
            <p:ph type="ftr" sz="quarter" idx="15"/>
          </p:nvPr>
        </p:nvSpPr>
        <p:spPr/>
        <p:txBody>
          <a:bodyPr/>
          <a:lstStyle/>
          <a:p>
            <a:endParaRPr lang="en-US"/>
          </a:p>
        </p:txBody>
      </p:sp>
      <p:sp>
        <p:nvSpPr>
          <p:cNvPr id="23" name="Slide Number Placeholder 22"/>
          <p:cNvSpPr>
            <a:spLocks noGrp="1"/>
          </p:cNvSpPr>
          <p:nvPr>
            <p:ph type="sldNum" sz="quarter" idx="16"/>
          </p:nvPr>
        </p:nvSpPr>
        <p:spPr/>
        <p:txBody>
          <a:bodyPr/>
          <a:lstStyle/>
          <a:p>
            <a:fld id="{5F3E29E4-0979-4FCA-B4C5-5FC6044C982A}" type="slidenum">
              <a:rPr lang="en-US" smtClean="0"/>
              <a:t>‹#›</a:t>
            </a:fld>
            <a:endParaRPr lang="en-US"/>
          </a:p>
        </p:txBody>
      </p:sp>
      <p:sp>
        <p:nvSpPr>
          <p:cNvPr id="2" name="Title 1"/>
          <p:cNvSpPr>
            <a:spLocks noGrp="1"/>
          </p:cNvSpPr>
          <p:nvPr>
            <p:ph type="title" hasCustomPrompt="1"/>
          </p:nvPr>
        </p:nvSpPr>
        <p:spPr/>
        <p:txBody>
          <a:bodyPr/>
          <a:lstStyle>
            <a:lvl1pPr>
              <a:defRPr/>
            </a:lvl1pPr>
          </a:lstStyle>
          <a:p>
            <a:r>
              <a:rPr lang="en-US"/>
              <a:t>Click to add slide title</a:t>
            </a:r>
          </a:p>
        </p:txBody>
      </p:sp>
      <p:sp>
        <p:nvSpPr>
          <p:cNvPr id="7" name="Subtitle 2"/>
          <p:cNvSpPr>
            <a:spLocks noGrp="1"/>
          </p:cNvSpPr>
          <p:nvPr>
            <p:ph type="subTitle" idx="13" hasCustomPrompt="1"/>
          </p:nvPr>
        </p:nvSpPr>
        <p:spPr>
          <a:xfrm>
            <a:off x="1075061" y="964671"/>
            <a:ext cx="7910158" cy="490042"/>
          </a:xfrm>
        </p:spPr>
        <p:txBody>
          <a:bodyPr wrap="none"/>
          <a:lstStyle>
            <a:lvl1pPr marL="0" indent="0" algn="l">
              <a:spcBef>
                <a:spcPts val="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sp>
        <p:nvSpPr>
          <p:cNvPr id="3" name="Content Placeholder 2"/>
          <p:cNvSpPr>
            <a:spLocks noGrp="1"/>
          </p:cNvSpPr>
          <p:nvPr>
            <p:ph idx="1" hasCustomPrompt="1"/>
          </p:nvPr>
        </p:nvSpPr>
        <p:spPr>
          <a:xfrm>
            <a:off x="1075062" y="1629618"/>
            <a:ext cx="5220000" cy="4139357"/>
          </a:xfrm>
        </p:spPr>
        <p:txBody>
          <a:bodyPr/>
          <a:lstStyle>
            <a:lvl1pPr>
              <a:defRPr/>
            </a:lvl1pPr>
          </a:lstStyle>
          <a:p>
            <a:pPr lvl="0"/>
            <a:r>
              <a:rPr lang="en-US"/>
              <a:t>Click to add text or content</a:t>
            </a:r>
          </a:p>
          <a:p>
            <a:pPr lvl="1"/>
            <a:r>
              <a:rPr lang="en-US"/>
              <a:t>Second level</a:t>
            </a:r>
          </a:p>
          <a:p>
            <a:pPr lvl="2"/>
            <a:r>
              <a:rPr lang="en-US"/>
              <a:t>Third level</a:t>
            </a:r>
          </a:p>
          <a:p>
            <a:pPr lvl="3"/>
            <a:r>
              <a:rPr lang="en-US"/>
              <a:t>Fourth level</a:t>
            </a:r>
          </a:p>
          <a:p>
            <a:pPr lvl="4"/>
            <a:r>
              <a:rPr lang="en-US"/>
              <a:t>Fifth level</a:t>
            </a:r>
          </a:p>
        </p:txBody>
      </p:sp>
      <p:sp>
        <p:nvSpPr>
          <p:cNvPr id="5" name="Picture Placeholder 4"/>
          <p:cNvSpPr>
            <a:spLocks noGrp="1"/>
          </p:cNvSpPr>
          <p:nvPr>
            <p:ph type="pic" sz="quarter" idx="17" hasCustomPrompt="1"/>
          </p:nvPr>
        </p:nvSpPr>
        <p:spPr>
          <a:xfrm>
            <a:off x="6600525" y="1637783"/>
            <a:ext cx="5220000" cy="4599506"/>
          </a:xfrm>
          <a:solidFill>
            <a:srgbClr val="D9DADB"/>
          </a:solidFill>
        </p:spPr>
        <p:txBody>
          <a:bodyPr/>
          <a:lstStyle>
            <a:lvl1pPr marL="0" indent="0">
              <a:buNone/>
              <a:defRPr/>
            </a:lvl1pPr>
          </a:lstStyle>
          <a:p>
            <a:r>
              <a:rPr lang="en-US"/>
              <a:t>Insert picture</a:t>
            </a:r>
          </a:p>
        </p:txBody>
      </p:sp>
      <p:sp>
        <p:nvSpPr>
          <p:cNvPr id="10" name="Text Placeholder 4"/>
          <p:cNvSpPr>
            <a:spLocks noGrp="1"/>
          </p:cNvSpPr>
          <p:nvPr>
            <p:ph type="body" sz="quarter" idx="18" hasCustomPrompt="1"/>
          </p:nvPr>
        </p:nvSpPr>
        <p:spPr>
          <a:xfrm>
            <a:off x="1075063" y="6307665"/>
            <a:ext cx="8162717" cy="133200"/>
          </a:xfrm>
        </p:spPr>
        <p:txBody>
          <a:bodyPr lIns="0" tIns="0" rIns="0" bIns="0" anchor="b" anchorCtr="0"/>
          <a:lstStyle>
            <a:lvl1pPr marL="0" indent="0" algn="l">
              <a:lnSpc>
                <a:spcPct val="100000"/>
              </a:lnSpc>
              <a:spcBef>
                <a:spcPts val="0"/>
              </a:spcBef>
              <a:buNone/>
              <a:defRPr sz="800" baseline="0"/>
            </a:lvl1pPr>
            <a:lvl2pPr marL="0" indent="0" algn="l">
              <a:lnSpc>
                <a:spcPct val="100000"/>
              </a:lnSpc>
              <a:spcBef>
                <a:spcPts val="0"/>
              </a:spcBef>
              <a:buNone/>
              <a:defRPr sz="800"/>
            </a:lvl2pPr>
            <a:lvl3pPr marL="0" indent="0" algn="l">
              <a:lnSpc>
                <a:spcPct val="100000"/>
              </a:lnSpc>
              <a:spcBef>
                <a:spcPts val="0"/>
              </a:spcBef>
              <a:buNone/>
              <a:defRPr sz="800"/>
            </a:lvl3pPr>
            <a:lvl4pPr marL="0" algn="l">
              <a:lnSpc>
                <a:spcPct val="100000"/>
              </a:lnSpc>
              <a:spcBef>
                <a:spcPts val="0"/>
              </a:spcBef>
              <a:buNone/>
              <a:defRPr sz="800"/>
            </a:lvl4pPr>
            <a:lvl5pPr marL="0" indent="0" algn="l">
              <a:lnSpc>
                <a:spcPct val="100000"/>
              </a:lnSpc>
              <a:spcBef>
                <a:spcPts val="0"/>
              </a:spcBef>
              <a:buNone/>
              <a:defRPr sz="800"/>
            </a:lvl5pPr>
          </a:lstStyle>
          <a:p>
            <a:pPr lvl="0"/>
            <a:r>
              <a:rPr lang="en-US"/>
              <a:t>Source line</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1986650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vmlDrawing" Target="../drawings/vmlDrawing1.v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tags" Target="../tags/tag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image" Target="../media/image2.w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ags" Target="../tags/tag2.xml"/><Relationship Id="rId30" Type="http://schemas.openxmlformats.org/officeDocument/2006/relationships/image" Target="../media/image1.emf"/></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224.xml"/><Relationship Id="rId13" Type="http://schemas.openxmlformats.org/officeDocument/2006/relationships/slideLayout" Target="../slideLayouts/slideLayout229.xml"/><Relationship Id="rId18" Type="http://schemas.openxmlformats.org/officeDocument/2006/relationships/slideLayout" Target="../slideLayouts/slideLayout234.xml"/><Relationship Id="rId26" Type="http://schemas.openxmlformats.org/officeDocument/2006/relationships/slideLayout" Target="../slideLayouts/slideLayout242.xml"/><Relationship Id="rId3" Type="http://schemas.openxmlformats.org/officeDocument/2006/relationships/slideLayout" Target="../slideLayouts/slideLayout219.xml"/><Relationship Id="rId21" Type="http://schemas.openxmlformats.org/officeDocument/2006/relationships/slideLayout" Target="../slideLayouts/slideLayout237.xml"/><Relationship Id="rId7" Type="http://schemas.openxmlformats.org/officeDocument/2006/relationships/slideLayout" Target="../slideLayouts/slideLayout223.xml"/><Relationship Id="rId12" Type="http://schemas.openxmlformats.org/officeDocument/2006/relationships/slideLayout" Target="../slideLayouts/slideLayout228.xml"/><Relationship Id="rId17" Type="http://schemas.openxmlformats.org/officeDocument/2006/relationships/slideLayout" Target="../slideLayouts/slideLayout233.xml"/><Relationship Id="rId25" Type="http://schemas.openxmlformats.org/officeDocument/2006/relationships/slideLayout" Target="../slideLayouts/slideLayout241.xml"/><Relationship Id="rId2" Type="http://schemas.openxmlformats.org/officeDocument/2006/relationships/slideLayout" Target="../slideLayouts/slideLayout218.xml"/><Relationship Id="rId16" Type="http://schemas.openxmlformats.org/officeDocument/2006/relationships/slideLayout" Target="../slideLayouts/slideLayout232.xml"/><Relationship Id="rId20" Type="http://schemas.openxmlformats.org/officeDocument/2006/relationships/slideLayout" Target="../slideLayouts/slideLayout236.xml"/><Relationship Id="rId29" Type="http://schemas.openxmlformats.org/officeDocument/2006/relationships/slideLayout" Target="../slideLayouts/slideLayout245.xml"/><Relationship Id="rId1" Type="http://schemas.openxmlformats.org/officeDocument/2006/relationships/slideLayout" Target="../slideLayouts/slideLayout217.xml"/><Relationship Id="rId6" Type="http://schemas.openxmlformats.org/officeDocument/2006/relationships/slideLayout" Target="../slideLayouts/slideLayout222.xml"/><Relationship Id="rId11" Type="http://schemas.openxmlformats.org/officeDocument/2006/relationships/slideLayout" Target="../slideLayouts/slideLayout227.xml"/><Relationship Id="rId24" Type="http://schemas.openxmlformats.org/officeDocument/2006/relationships/slideLayout" Target="../slideLayouts/slideLayout240.xml"/><Relationship Id="rId5" Type="http://schemas.openxmlformats.org/officeDocument/2006/relationships/slideLayout" Target="../slideLayouts/slideLayout221.xml"/><Relationship Id="rId15" Type="http://schemas.openxmlformats.org/officeDocument/2006/relationships/slideLayout" Target="../slideLayouts/slideLayout231.xml"/><Relationship Id="rId23" Type="http://schemas.openxmlformats.org/officeDocument/2006/relationships/slideLayout" Target="../slideLayouts/slideLayout239.xml"/><Relationship Id="rId28" Type="http://schemas.openxmlformats.org/officeDocument/2006/relationships/slideLayout" Target="../slideLayouts/slideLayout244.xml"/><Relationship Id="rId10" Type="http://schemas.openxmlformats.org/officeDocument/2006/relationships/slideLayout" Target="../slideLayouts/slideLayout226.xml"/><Relationship Id="rId19" Type="http://schemas.openxmlformats.org/officeDocument/2006/relationships/slideLayout" Target="../slideLayouts/slideLayout235.xml"/><Relationship Id="rId31" Type="http://schemas.openxmlformats.org/officeDocument/2006/relationships/theme" Target="../theme/theme10.xml"/><Relationship Id="rId4" Type="http://schemas.openxmlformats.org/officeDocument/2006/relationships/slideLayout" Target="../slideLayouts/slideLayout220.xml"/><Relationship Id="rId9" Type="http://schemas.openxmlformats.org/officeDocument/2006/relationships/slideLayout" Target="../slideLayouts/slideLayout225.xml"/><Relationship Id="rId14" Type="http://schemas.openxmlformats.org/officeDocument/2006/relationships/slideLayout" Target="../slideLayouts/slideLayout230.xml"/><Relationship Id="rId22" Type="http://schemas.openxmlformats.org/officeDocument/2006/relationships/slideLayout" Target="../slideLayouts/slideLayout238.xml"/><Relationship Id="rId27" Type="http://schemas.openxmlformats.org/officeDocument/2006/relationships/slideLayout" Target="../slideLayouts/slideLayout243.xml"/><Relationship Id="rId30" Type="http://schemas.openxmlformats.org/officeDocument/2006/relationships/slideLayout" Target="../slideLayouts/slideLayout246.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254.xml"/><Relationship Id="rId13" Type="http://schemas.openxmlformats.org/officeDocument/2006/relationships/slideLayout" Target="../slideLayouts/slideLayout259.xml"/><Relationship Id="rId18" Type="http://schemas.openxmlformats.org/officeDocument/2006/relationships/slideLayout" Target="../slideLayouts/slideLayout264.xml"/><Relationship Id="rId26" Type="http://schemas.openxmlformats.org/officeDocument/2006/relationships/slideLayout" Target="../slideLayouts/slideLayout272.xml"/><Relationship Id="rId3" Type="http://schemas.openxmlformats.org/officeDocument/2006/relationships/slideLayout" Target="../slideLayouts/slideLayout249.xml"/><Relationship Id="rId21" Type="http://schemas.openxmlformats.org/officeDocument/2006/relationships/slideLayout" Target="../slideLayouts/slideLayout267.xml"/><Relationship Id="rId7" Type="http://schemas.openxmlformats.org/officeDocument/2006/relationships/slideLayout" Target="../slideLayouts/slideLayout253.xml"/><Relationship Id="rId12" Type="http://schemas.openxmlformats.org/officeDocument/2006/relationships/slideLayout" Target="../slideLayouts/slideLayout258.xml"/><Relationship Id="rId17" Type="http://schemas.openxmlformats.org/officeDocument/2006/relationships/slideLayout" Target="../slideLayouts/slideLayout263.xml"/><Relationship Id="rId25" Type="http://schemas.openxmlformats.org/officeDocument/2006/relationships/slideLayout" Target="../slideLayouts/slideLayout271.xml"/><Relationship Id="rId2" Type="http://schemas.openxmlformats.org/officeDocument/2006/relationships/slideLayout" Target="../slideLayouts/slideLayout248.xml"/><Relationship Id="rId16" Type="http://schemas.openxmlformats.org/officeDocument/2006/relationships/slideLayout" Target="../slideLayouts/slideLayout262.xml"/><Relationship Id="rId20" Type="http://schemas.openxmlformats.org/officeDocument/2006/relationships/slideLayout" Target="../slideLayouts/slideLayout266.xml"/><Relationship Id="rId29" Type="http://schemas.openxmlformats.org/officeDocument/2006/relationships/slideLayout" Target="../slideLayouts/slideLayout275.xml"/><Relationship Id="rId1" Type="http://schemas.openxmlformats.org/officeDocument/2006/relationships/slideLayout" Target="../slideLayouts/slideLayout247.xml"/><Relationship Id="rId6" Type="http://schemas.openxmlformats.org/officeDocument/2006/relationships/slideLayout" Target="../slideLayouts/slideLayout252.xml"/><Relationship Id="rId11" Type="http://schemas.openxmlformats.org/officeDocument/2006/relationships/slideLayout" Target="../slideLayouts/slideLayout257.xml"/><Relationship Id="rId24" Type="http://schemas.openxmlformats.org/officeDocument/2006/relationships/slideLayout" Target="../slideLayouts/slideLayout270.xml"/><Relationship Id="rId5" Type="http://schemas.openxmlformats.org/officeDocument/2006/relationships/slideLayout" Target="../slideLayouts/slideLayout251.xml"/><Relationship Id="rId15" Type="http://schemas.openxmlformats.org/officeDocument/2006/relationships/slideLayout" Target="../slideLayouts/slideLayout261.xml"/><Relationship Id="rId23" Type="http://schemas.openxmlformats.org/officeDocument/2006/relationships/slideLayout" Target="../slideLayouts/slideLayout269.xml"/><Relationship Id="rId28" Type="http://schemas.openxmlformats.org/officeDocument/2006/relationships/slideLayout" Target="../slideLayouts/slideLayout274.xml"/><Relationship Id="rId10" Type="http://schemas.openxmlformats.org/officeDocument/2006/relationships/slideLayout" Target="../slideLayouts/slideLayout256.xml"/><Relationship Id="rId19" Type="http://schemas.openxmlformats.org/officeDocument/2006/relationships/slideLayout" Target="../slideLayouts/slideLayout265.xml"/><Relationship Id="rId4" Type="http://schemas.openxmlformats.org/officeDocument/2006/relationships/slideLayout" Target="../slideLayouts/slideLayout250.xml"/><Relationship Id="rId9" Type="http://schemas.openxmlformats.org/officeDocument/2006/relationships/slideLayout" Target="../slideLayouts/slideLayout255.xml"/><Relationship Id="rId14" Type="http://schemas.openxmlformats.org/officeDocument/2006/relationships/slideLayout" Target="../slideLayouts/slideLayout260.xml"/><Relationship Id="rId22" Type="http://schemas.openxmlformats.org/officeDocument/2006/relationships/slideLayout" Target="../slideLayouts/slideLayout268.xml"/><Relationship Id="rId27" Type="http://schemas.openxmlformats.org/officeDocument/2006/relationships/slideLayout" Target="../slideLayouts/slideLayout273.xml"/><Relationship Id="rId30" Type="http://schemas.openxmlformats.org/officeDocument/2006/relationships/theme" Target="../theme/theme11.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283.xml"/><Relationship Id="rId13" Type="http://schemas.openxmlformats.org/officeDocument/2006/relationships/slideLayout" Target="../slideLayouts/slideLayout288.xml"/><Relationship Id="rId18" Type="http://schemas.openxmlformats.org/officeDocument/2006/relationships/slideLayout" Target="../slideLayouts/slideLayout293.xml"/><Relationship Id="rId26" Type="http://schemas.openxmlformats.org/officeDocument/2006/relationships/slideLayout" Target="../slideLayouts/slideLayout301.xml"/><Relationship Id="rId3" Type="http://schemas.openxmlformats.org/officeDocument/2006/relationships/slideLayout" Target="../slideLayouts/slideLayout278.xml"/><Relationship Id="rId21" Type="http://schemas.openxmlformats.org/officeDocument/2006/relationships/slideLayout" Target="../slideLayouts/slideLayout296.xml"/><Relationship Id="rId34" Type="http://schemas.openxmlformats.org/officeDocument/2006/relationships/image" Target="../media/image11.emf"/><Relationship Id="rId7" Type="http://schemas.openxmlformats.org/officeDocument/2006/relationships/slideLayout" Target="../slideLayouts/slideLayout282.xml"/><Relationship Id="rId12" Type="http://schemas.openxmlformats.org/officeDocument/2006/relationships/slideLayout" Target="../slideLayouts/slideLayout287.xml"/><Relationship Id="rId17" Type="http://schemas.openxmlformats.org/officeDocument/2006/relationships/slideLayout" Target="../slideLayouts/slideLayout292.xml"/><Relationship Id="rId25" Type="http://schemas.openxmlformats.org/officeDocument/2006/relationships/slideLayout" Target="../slideLayouts/slideLayout300.xml"/><Relationship Id="rId33" Type="http://schemas.openxmlformats.org/officeDocument/2006/relationships/oleObject" Target="../embeddings/oleObject10.bin"/><Relationship Id="rId2" Type="http://schemas.openxmlformats.org/officeDocument/2006/relationships/slideLayout" Target="../slideLayouts/slideLayout277.xml"/><Relationship Id="rId16" Type="http://schemas.openxmlformats.org/officeDocument/2006/relationships/slideLayout" Target="../slideLayouts/slideLayout291.xml"/><Relationship Id="rId20" Type="http://schemas.openxmlformats.org/officeDocument/2006/relationships/slideLayout" Target="../slideLayouts/slideLayout295.xml"/><Relationship Id="rId29" Type="http://schemas.openxmlformats.org/officeDocument/2006/relationships/theme" Target="../theme/theme12.xml"/><Relationship Id="rId1" Type="http://schemas.openxmlformats.org/officeDocument/2006/relationships/slideLayout" Target="../slideLayouts/slideLayout276.xml"/><Relationship Id="rId6" Type="http://schemas.openxmlformats.org/officeDocument/2006/relationships/slideLayout" Target="../slideLayouts/slideLayout281.xml"/><Relationship Id="rId11" Type="http://schemas.openxmlformats.org/officeDocument/2006/relationships/slideLayout" Target="../slideLayouts/slideLayout286.xml"/><Relationship Id="rId24" Type="http://schemas.openxmlformats.org/officeDocument/2006/relationships/slideLayout" Target="../slideLayouts/slideLayout299.xml"/><Relationship Id="rId32" Type="http://schemas.openxmlformats.org/officeDocument/2006/relationships/tags" Target="../tags/tag100.xml"/><Relationship Id="rId5" Type="http://schemas.openxmlformats.org/officeDocument/2006/relationships/slideLayout" Target="../slideLayouts/slideLayout280.xml"/><Relationship Id="rId15" Type="http://schemas.openxmlformats.org/officeDocument/2006/relationships/slideLayout" Target="../slideLayouts/slideLayout290.xml"/><Relationship Id="rId23" Type="http://schemas.openxmlformats.org/officeDocument/2006/relationships/slideLayout" Target="../slideLayouts/slideLayout298.xml"/><Relationship Id="rId28" Type="http://schemas.openxmlformats.org/officeDocument/2006/relationships/slideLayout" Target="../slideLayouts/slideLayout303.xml"/><Relationship Id="rId10" Type="http://schemas.openxmlformats.org/officeDocument/2006/relationships/slideLayout" Target="../slideLayouts/slideLayout285.xml"/><Relationship Id="rId19" Type="http://schemas.openxmlformats.org/officeDocument/2006/relationships/slideLayout" Target="../slideLayouts/slideLayout294.xml"/><Relationship Id="rId31" Type="http://schemas.openxmlformats.org/officeDocument/2006/relationships/tags" Target="../tags/tag99.xml"/><Relationship Id="rId4" Type="http://schemas.openxmlformats.org/officeDocument/2006/relationships/slideLayout" Target="../slideLayouts/slideLayout279.xml"/><Relationship Id="rId9" Type="http://schemas.openxmlformats.org/officeDocument/2006/relationships/slideLayout" Target="../slideLayouts/slideLayout284.xml"/><Relationship Id="rId14" Type="http://schemas.openxmlformats.org/officeDocument/2006/relationships/slideLayout" Target="../slideLayouts/slideLayout289.xml"/><Relationship Id="rId22" Type="http://schemas.openxmlformats.org/officeDocument/2006/relationships/slideLayout" Target="../slideLayouts/slideLayout297.xml"/><Relationship Id="rId27" Type="http://schemas.openxmlformats.org/officeDocument/2006/relationships/slideLayout" Target="../slideLayouts/slideLayout302.xml"/><Relationship Id="rId30" Type="http://schemas.openxmlformats.org/officeDocument/2006/relationships/vmlDrawing" Target="../drawings/vmlDrawing16.v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311.xml"/><Relationship Id="rId13" Type="http://schemas.openxmlformats.org/officeDocument/2006/relationships/slideLayout" Target="../slideLayouts/slideLayout316.xml"/><Relationship Id="rId18" Type="http://schemas.openxmlformats.org/officeDocument/2006/relationships/slideLayout" Target="../slideLayouts/slideLayout321.xml"/><Relationship Id="rId26" Type="http://schemas.openxmlformats.org/officeDocument/2006/relationships/slideLayout" Target="../slideLayouts/slideLayout329.xml"/><Relationship Id="rId3" Type="http://schemas.openxmlformats.org/officeDocument/2006/relationships/slideLayout" Target="../slideLayouts/slideLayout306.xml"/><Relationship Id="rId21" Type="http://schemas.openxmlformats.org/officeDocument/2006/relationships/slideLayout" Target="../slideLayouts/slideLayout324.xml"/><Relationship Id="rId34" Type="http://schemas.openxmlformats.org/officeDocument/2006/relationships/image" Target="../media/image11.emf"/><Relationship Id="rId7" Type="http://schemas.openxmlformats.org/officeDocument/2006/relationships/slideLayout" Target="../slideLayouts/slideLayout310.xml"/><Relationship Id="rId12" Type="http://schemas.openxmlformats.org/officeDocument/2006/relationships/slideLayout" Target="../slideLayouts/slideLayout315.xml"/><Relationship Id="rId17" Type="http://schemas.openxmlformats.org/officeDocument/2006/relationships/slideLayout" Target="../slideLayouts/slideLayout320.xml"/><Relationship Id="rId25" Type="http://schemas.openxmlformats.org/officeDocument/2006/relationships/slideLayout" Target="../slideLayouts/slideLayout328.xml"/><Relationship Id="rId33" Type="http://schemas.openxmlformats.org/officeDocument/2006/relationships/oleObject" Target="../embeddings/oleObject10.bin"/><Relationship Id="rId2" Type="http://schemas.openxmlformats.org/officeDocument/2006/relationships/slideLayout" Target="../slideLayouts/slideLayout305.xml"/><Relationship Id="rId16" Type="http://schemas.openxmlformats.org/officeDocument/2006/relationships/slideLayout" Target="../slideLayouts/slideLayout319.xml"/><Relationship Id="rId20" Type="http://schemas.openxmlformats.org/officeDocument/2006/relationships/slideLayout" Target="../slideLayouts/slideLayout323.xml"/><Relationship Id="rId29" Type="http://schemas.openxmlformats.org/officeDocument/2006/relationships/theme" Target="../theme/theme13.xml"/><Relationship Id="rId1" Type="http://schemas.openxmlformats.org/officeDocument/2006/relationships/slideLayout" Target="../slideLayouts/slideLayout304.xml"/><Relationship Id="rId6" Type="http://schemas.openxmlformats.org/officeDocument/2006/relationships/slideLayout" Target="../slideLayouts/slideLayout309.xml"/><Relationship Id="rId11" Type="http://schemas.openxmlformats.org/officeDocument/2006/relationships/slideLayout" Target="../slideLayouts/slideLayout314.xml"/><Relationship Id="rId24" Type="http://schemas.openxmlformats.org/officeDocument/2006/relationships/slideLayout" Target="../slideLayouts/slideLayout327.xml"/><Relationship Id="rId32" Type="http://schemas.openxmlformats.org/officeDocument/2006/relationships/tags" Target="../tags/tag112.xml"/><Relationship Id="rId5" Type="http://schemas.openxmlformats.org/officeDocument/2006/relationships/slideLayout" Target="../slideLayouts/slideLayout308.xml"/><Relationship Id="rId15" Type="http://schemas.openxmlformats.org/officeDocument/2006/relationships/slideLayout" Target="../slideLayouts/slideLayout318.xml"/><Relationship Id="rId23" Type="http://schemas.openxmlformats.org/officeDocument/2006/relationships/slideLayout" Target="../slideLayouts/slideLayout326.xml"/><Relationship Id="rId28" Type="http://schemas.openxmlformats.org/officeDocument/2006/relationships/slideLayout" Target="../slideLayouts/slideLayout331.xml"/><Relationship Id="rId10" Type="http://schemas.openxmlformats.org/officeDocument/2006/relationships/slideLayout" Target="../slideLayouts/slideLayout313.xml"/><Relationship Id="rId19" Type="http://schemas.openxmlformats.org/officeDocument/2006/relationships/slideLayout" Target="../slideLayouts/slideLayout322.xml"/><Relationship Id="rId31" Type="http://schemas.openxmlformats.org/officeDocument/2006/relationships/tags" Target="../tags/tag111.xml"/><Relationship Id="rId4" Type="http://schemas.openxmlformats.org/officeDocument/2006/relationships/slideLayout" Target="../slideLayouts/slideLayout307.xml"/><Relationship Id="rId9" Type="http://schemas.openxmlformats.org/officeDocument/2006/relationships/slideLayout" Target="../slideLayouts/slideLayout312.xml"/><Relationship Id="rId14" Type="http://schemas.openxmlformats.org/officeDocument/2006/relationships/slideLayout" Target="../slideLayouts/slideLayout317.xml"/><Relationship Id="rId22" Type="http://schemas.openxmlformats.org/officeDocument/2006/relationships/slideLayout" Target="../slideLayouts/slideLayout325.xml"/><Relationship Id="rId27" Type="http://schemas.openxmlformats.org/officeDocument/2006/relationships/slideLayout" Target="../slideLayouts/slideLayout330.xml"/><Relationship Id="rId30" Type="http://schemas.openxmlformats.org/officeDocument/2006/relationships/vmlDrawing" Target="../drawings/vmlDrawing17.v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339.xml"/><Relationship Id="rId13" Type="http://schemas.openxmlformats.org/officeDocument/2006/relationships/slideLayout" Target="../slideLayouts/slideLayout344.xml"/><Relationship Id="rId18" Type="http://schemas.openxmlformats.org/officeDocument/2006/relationships/slideLayout" Target="../slideLayouts/slideLayout349.xml"/><Relationship Id="rId26" Type="http://schemas.openxmlformats.org/officeDocument/2006/relationships/slideLayout" Target="../slideLayouts/slideLayout357.xml"/><Relationship Id="rId3" Type="http://schemas.openxmlformats.org/officeDocument/2006/relationships/slideLayout" Target="../slideLayouts/slideLayout334.xml"/><Relationship Id="rId21" Type="http://schemas.openxmlformats.org/officeDocument/2006/relationships/slideLayout" Target="../slideLayouts/slideLayout352.xml"/><Relationship Id="rId34" Type="http://schemas.openxmlformats.org/officeDocument/2006/relationships/image" Target="../media/image11.emf"/><Relationship Id="rId7" Type="http://schemas.openxmlformats.org/officeDocument/2006/relationships/slideLayout" Target="../slideLayouts/slideLayout338.xml"/><Relationship Id="rId12" Type="http://schemas.openxmlformats.org/officeDocument/2006/relationships/slideLayout" Target="../slideLayouts/slideLayout343.xml"/><Relationship Id="rId17" Type="http://schemas.openxmlformats.org/officeDocument/2006/relationships/slideLayout" Target="../slideLayouts/slideLayout348.xml"/><Relationship Id="rId25" Type="http://schemas.openxmlformats.org/officeDocument/2006/relationships/slideLayout" Target="../slideLayouts/slideLayout356.xml"/><Relationship Id="rId33" Type="http://schemas.openxmlformats.org/officeDocument/2006/relationships/oleObject" Target="../embeddings/oleObject10.bin"/><Relationship Id="rId2" Type="http://schemas.openxmlformats.org/officeDocument/2006/relationships/slideLayout" Target="../slideLayouts/slideLayout333.xml"/><Relationship Id="rId16" Type="http://schemas.openxmlformats.org/officeDocument/2006/relationships/slideLayout" Target="../slideLayouts/slideLayout347.xml"/><Relationship Id="rId20" Type="http://schemas.openxmlformats.org/officeDocument/2006/relationships/slideLayout" Target="../slideLayouts/slideLayout351.xml"/><Relationship Id="rId29" Type="http://schemas.openxmlformats.org/officeDocument/2006/relationships/theme" Target="../theme/theme14.xml"/><Relationship Id="rId1" Type="http://schemas.openxmlformats.org/officeDocument/2006/relationships/slideLayout" Target="../slideLayouts/slideLayout332.xml"/><Relationship Id="rId6" Type="http://schemas.openxmlformats.org/officeDocument/2006/relationships/slideLayout" Target="../slideLayouts/slideLayout337.xml"/><Relationship Id="rId11" Type="http://schemas.openxmlformats.org/officeDocument/2006/relationships/slideLayout" Target="../slideLayouts/slideLayout342.xml"/><Relationship Id="rId24" Type="http://schemas.openxmlformats.org/officeDocument/2006/relationships/slideLayout" Target="../slideLayouts/slideLayout355.xml"/><Relationship Id="rId32" Type="http://schemas.openxmlformats.org/officeDocument/2006/relationships/tags" Target="../tags/tag124.xml"/><Relationship Id="rId5" Type="http://schemas.openxmlformats.org/officeDocument/2006/relationships/slideLayout" Target="../slideLayouts/slideLayout336.xml"/><Relationship Id="rId15" Type="http://schemas.openxmlformats.org/officeDocument/2006/relationships/slideLayout" Target="../slideLayouts/slideLayout346.xml"/><Relationship Id="rId23" Type="http://schemas.openxmlformats.org/officeDocument/2006/relationships/slideLayout" Target="../slideLayouts/slideLayout354.xml"/><Relationship Id="rId28" Type="http://schemas.openxmlformats.org/officeDocument/2006/relationships/slideLayout" Target="../slideLayouts/slideLayout359.xml"/><Relationship Id="rId10" Type="http://schemas.openxmlformats.org/officeDocument/2006/relationships/slideLayout" Target="../slideLayouts/slideLayout341.xml"/><Relationship Id="rId19" Type="http://schemas.openxmlformats.org/officeDocument/2006/relationships/slideLayout" Target="../slideLayouts/slideLayout350.xml"/><Relationship Id="rId31" Type="http://schemas.openxmlformats.org/officeDocument/2006/relationships/tags" Target="../tags/tag123.xml"/><Relationship Id="rId4" Type="http://schemas.openxmlformats.org/officeDocument/2006/relationships/slideLayout" Target="../slideLayouts/slideLayout335.xml"/><Relationship Id="rId9" Type="http://schemas.openxmlformats.org/officeDocument/2006/relationships/slideLayout" Target="../slideLayouts/slideLayout340.xml"/><Relationship Id="rId14" Type="http://schemas.openxmlformats.org/officeDocument/2006/relationships/slideLayout" Target="../slideLayouts/slideLayout345.xml"/><Relationship Id="rId22" Type="http://schemas.openxmlformats.org/officeDocument/2006/relationships/slideLayout" Target="../slideLayouts/slideLayout353.xml"/><Relationship Id="rId27" Type="http://schemas.openxmlformats.org/officeDocument/2006/relationships/slideLayout" Target="../slideLayouts/slideLayout358.xml"/><Relationship Id="rId30" Type="http://schemas.openxmlformats.org/officeDocument/2006/relationships/vmlDrawing" Target="../drawings/vmlDrawing18.vml"/></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367.xml"/><Relationship Id="rId13" Type="http://schemas.openxmlformats.org/officeDocument/2006/relationships/slideLayout" Target="../slideLayouts/slideLayout372.xml"/><Relationship Id="rId18" Type="http://schemas.openxmlformats.org/officeDocument/2006/relationships/slideLayout" Target="../slideLayouts/slideLayout377.xml"/><Relationship Id="rId26" Type="http://schemas.openxmlformats.org/officeDocument/2006/relationships/slideLayout" Target="../slideLayouts/slideLayout385.xml"/><Relationship Id="rId3" Type="http://schemas.openxmlformats.org/officeDocument/2006/relationships/slideLayout" Target="../slideLayouts/slideLayout362.xml"/><Relationship Id="rId21" Type="http://schemas.openxmlformats.org/officeDocument/2006/relationships/slideLayout" Target="../slideLayouts/slideLayout380.xml"/><Relationship Id="rId34" Type="http://schemas.openxmlformats.org/officeDocument/2006/relationships/image" Target="../media/image11.emf"/><Relationship Id="rId7" Type="http://schemas.openxmlformats.org/officeDocument/2006/relationships/slideLayout" Target="../slideLayouts/slideLayout366.xml"/><Relationship Id="rId12" Type="http://schemas.openxmlformats.org/officeDocument/2006/relationships/slideLayout" Target="../slideLayouts/slideLayout371.xml"/><Relationship Id="rId17" Type="http://schemas.openxmlformats.org/officeDocument/2006/relationships/slideLayout" Target="../slideLayouts/slideLayout376.xml"/><Relationship Id="rId25" Type="http://schemas.openxmlformats.org/officeDocument/2006/relationships/slideLayout" Target="../slideLayouts/slideLayout384.xml"/><Relationship Id="rId33" Type="http://schemas.openxmlformats.org/officeDocument/2006/relationships/oleObject" Target="../embeddings/oleObject10.bin"/><Relationship Id="rId2" Type="http://schemas.openxmlformats.org/officeDocument/2006/relationships/slideLayout" Target="../slideLayouts/slideLayout361.xml"/><Relationship Id="rId16" Type="http://schemas.openxmlformats.org/officeDocument/2006/relationships/slideLayout" Target="../slideLayouts/slideLayout375.xml"/><Relationship Id="rId20" Type="http://schemas.openxmlformats.org/officeDocument/2006/relationships/slideLayout" Target="../slideLayouts/slideLayout379.xml"/><Relationship Id="rId29" Type="http://schemas.openxmlformats.org/officeDocument/2006/relationships/theme" Target="../theme/theme15.xml"/><Relationship Id="rId1" Type="http://schemas.openxmlformats.org/officeDocument/2006/relationships/slideLayout" Target="../slideLayouts/slideLayout360.xml"/><Relationship Id="rId6" Type="http://schemas.openxmlformats.org/officeDocument/2006/relationships/slideLayout" Target="../slideLayouts/slideLayout365.xml"/><Relationship Id="rId11" Type="http://schemas.openxmlformats.org/officeDocument/2006/relationships/slideLayout" Target="../slideLayouts/slideLayout370.xml"/><Relationship Id="rId24" Type="http://schemas.openxmlformats.org/officeDocument/2006/relationships/slideLayout" Target="../slideLayouts/slideLayout383.xml"/><Relationship Id="rId32" Type="http://schemas.openxmlformats.org/officeDocument/2006/relationships/tags" Target="../tags/tag136.xml"/><Relationship Id="rId5" Type="http://schemas.openxmlformats.org/officeDocument/2006/relationships/slideLayout" Target="../slideLayouts/slideLayout364.xml"/><Relationship Id="rId15" Type="http://schemas.openxmlformats.org/officeDocument/2006/relationships/slideLayout" Target="../slideLayouts/slideLayout374.xml"/><Relationship Id="rId23" Type="http://schemas.openxmlformats.org/officeDocument/2006/relationships/slideLayout" Target="../slideLayouts/slideLayout382.xml"/><Relationship Id="rId28" Type="http://schemas.openxmlformats.org/officeDocument/2006/relationships/slideLayout" Target="../slideLayouts/slideLayout387.xml"/><Relationship Id="rId10" Type="http://schemas.openxmlformats.org/officeDocument/2006/relationships/slideLayout" Target="../slideLayouts/slideLayout369.xml"/><Relationship Id="rId19" Type="http://schemas.openxmlformats.org/officeDocument/2006/relationships/slideLayout" Target="../slideLayouts/slideLayout378.xml"/><Relationship Id="rId31" Type="http://schemas.openxmlformats.org/officeDocument/2006/relationships/tags" Target="../tags/tag135.xml"/><Relationship Id="rId4" Type="http://schemas.openxmlformats.org/officeDocument/2006/relationships/slideLayout" Target="../slideLayouts/slideLayout363.xml"/><Relationship Id="rId9" Type="http://schemas.openxmlformats.org/officeDocument/2006/relationships/slideLayout" Target="../slideLayouts/slideLayout368.xml"/><Relationship Id="rId14" Type="http://schemas.openxmlformats.org/officeDocument/2006/relationships/slideLayout" Target="../slideLayouts/slideLayout373.xml"/><Relationship Id="rId22" Type="http://schemas.openxmlformats.org/officeDocument/2006/relationships/slideLayout" Target="../slideLayouts/slideLayout381.xml"/><Relationship Id="rId27" Type="http://schemas.openxmlformats.org/officeDocument/2006/relationships/slideLayout" Target="../slideLayouts/slideLayout386.xml"/><Relationship Id="rId30" Type="http://schemas.openxmlformats.org/officeDocument/2006/relationships/vmlDrawing" Target="../drawings/vmlDrawing19.vml"/></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395.xml"/><Relationship Id="rId13" Type="http://schemas.openxmlformats.org/officeDocument/2006/relationships/slideLayout" Target="../slideLayouts/slideLayout400.xml"/><Relationship Id="rId18" Type="http://schemas.openxmlformats.org/officeDocument/2006/relationships/slideLayout" Target="../slideLayouts/slideLayout405.xml"/><Relationship Id="rId26" Type="http://schemas.openxmlformats.org/officeDocument/2006/relationships/slideLayout" Target="../slideLayouts/slideLayout413.xml"/><Relationship Id="rId3" Type="http://schemas.openxmlformats.org/officeDocument/2006/relationships/slideLayout" Target="../slideLayouts/slideLayout390.xml"/><Relationship Id="rId21" Type="http://schemas.openxmlformats.org/officeDocument/2006/relationships/slideLayout" Target="../slideLayouts/slideLayout408.xml"/><Relationship Id="rId34" Type="http://schemas.openxmlformats.org/officeDocument/2006/relationships/image" Target="../media/image11.emf"/><Relationship Id="rId7" Type="http://schemas.openxmlformats.org/officeDocument/2006/relationships/slideLayout" Target="../slideLayouts/slideLayout394.xml"/><Relationship Id="rId12" Type="http://schemas.openxmlformats.org/officeDocument/2006/relationships/slideLayout" Target="../slideLayouts/slideLayout399.xml"/><Relationship Id="rId17" Type="http://schemas.openxmlformats.org/officeDocument/2006/relationships/slideLayout" Target="../slideLayouts/slideLayout404.xml"/><Relationship Id="rId25" Type="http://schemas.openxmlformats.org/officeDocument/2006/relationships/slideLayout" Target="../slideLayouts/slideLayout412.xml"/><Relationship Id="rId33" Type="http://schemas.openxmlformats.org/officeDocument/2006/relationships/oleObject" Target="../embeddings/oleObject10.bin"/><Relationship Id="rId2" Type="http://schemas.openxmlformats.org/officeDocument/2006/relationships/slideLayout" Target="../slideLayouts/slideLayout389.xml"/><Relationship Id="rId16" Type="http://schemas.openxmlformats.org/officeDocument/2006/relationships/slideLayout" Target="../slideLayouts/slideLayout403.xml"/><Relationship Id="rId20" Type="http://schemas.openxmlformats.org/officeDocument/2006/relationships/slideLayout" Target="../slideLayouts/slideLayout407.xml"/><Relationship Id="rId29" Type="http://schemas.openxmlformats.org/officeDocument/2006/relationships/theme" Target="../theme/theme16.xml"/><Relationship Id="rId1" Type="http://schemas.openxmlformats.org/officeDocument/2006/relationships/slideLayout" Target="../slideLayouts/slideLayout388.xml"/><Relationship Id="rId6" Type="http://schemas.openxmlformats.org/officeDocument/2006/relationships/slideLayout" Target="../slideLayouts/slideLayout393.xml"/><Relationship Id="rId11" Type="http://schemas.openxmlformats.org/officeDocument/2006/relationships/slideLayout" Target="../slideLayouts/slideLayout398.xml"/><Relationship Id="rId24" Type="http://schemas.openxmlformats.org/officeDocument/2006/relationships/slideLayout" Target="../slideLayouts/slideLayout411.xml"/><Relationship Id="rId32" Type="http://schemas.openxmlformats.org/officeDocument/2006/relationships/tags" Target="../tags/tag148.xml"/><Relationship Id="rId5" Type="http://schemas.openxmlformats.org/officeDocument/2006/relationships/slideLayout" Target="../slideLayouts/slideLayout392.xml"/><Relationship Id="rId15" Type="http://schemas.openxmlformats.org/officeDocument/2006/relationships/slideLayout" Target="../slideLayouts/slideLayout402.xml"/><Relationship Id="rId23" Type="http://schemas.openxmlformats.org/officeDocument/2006/relationships/slideLayout" Target="../slideLayouts/slideLayout410.xml"/><Relationship Id="rId28" Type="http://schemas.openxmlformats.org/officeDocument/2006/relationships/slideLayout" Target="../slideLayouts/slideLayout415.xml"/><Relationship Id="rId10" Type="http://schemas.openxmlformats.org/officeDocument/2006/relationships/slideLayout" Target="../slideLayouts/slideLayout397.xml"/><Relationship Id="rId19" Type="http://schemas.openxmlformats.org/officeDocument/2006/relationships/slideLayout" Target="../slideLayouts/slideLayout406.xml"/><Relationship Id="rId31" Type="http://schemas.openxmlformats.org/officeDocument/2006/relationships/tags" Target="../tags/tag147.xml"/><Relationship Id="rId4" Type="http://schemas.openxmlformats.org/officeDocument/2006/relationships/slideLayout" Target="../slideLayouts/slideLayout391.xml"/><Relationship Id="rId9" Type="http://schemas.openxmlformats.org/officeDocument/2006/relationships/slideLayout" Target="../slideLayouts/slideLayout396.xml"/><Relationship Id="rId14" Type="http://schemas.openxmlformats.org/officeDocument/2006/relationships/slideLayout" Target="../slideLayouts/slideLayout401.xml"/><Relationship Id="rId22" Type="http://schemas.openxmlformats.org/officeDocument/2006/relationships/slideLayout" Target="../slideLayouts/slideLayout409.xml"/><Relationship Id="rId27" Type="http://schemas.openxmlformats.org/officeDocument/2006/relationships/slideLayout" Target="../slideLayouts/slideLayout414.xml"/><Relationship Id="rId30" Type="http://schemas.openxmlformats.org/officeDocument/2006/relationships/vmlDrawing" Target="../drawings/vmlDrawing20.vml"/></Relationships>
</file>

<file path=ppt/slideMasters/_rels/slideMaster17.xml.rels><?xml version="1.0" encoding="UTF-8" standalone="yes"?>
<Relationships xmlns="http://schemas.openxmlformats.org/package/2006/relationships"><Relationship Id="rId8" Type="http://schemas.openxmlformats.org/officeDocument/2006/relationships/slideLayout" Target="../slideLayouts/slideLayout423.xml"/><Relationship Id="rId13" Type="http://schemas.openxmlformats.org/officeDocument/2006/relationships/slideLayout" Target="../slideLayouts/slideLayout428.xml"/><Relationship Id="rId18" Type="http://schemas.openxmlformats.org/officeDocument/2006/relationships/slideLayout" Target="../slideLayouts/slideLayout433.xml"/><Relationship Id="rId26" Type="http://schemas.openxmlformats.org/officeDocument/2006/relationships/slideLayout" Target="../slideLayouts/slideLayout441.xml"/><Relationship Id="rId3" Type="http://schemas.openxmlformats.org/officeDocument/2006/relationships/slideLayout" Target="../slideLayouts/slideLayout418.xml"/><Relationship Id="rId21" Type="http://schemas.openxmlformats.org/officeDocument/2006/relationships/slideLayout" Target="../slideLayouts/slideLayout436.xml"/><Relationship Id="rId34" Type="http://schemas.openxmlformats.org/officeDocument/2006/relationships/image" Target="../media/image11.emf"/><Relationship Id="rId7" Type="http://schemas.openxmlformats.org/officeDocument/2006/relationships/slideLayout" Target="../slideLayouts/slideLayout422.xml"/><Relationship Id="rId12" Type="http://schemas.openxmlformats.org/officeDocument/2006/relationships/slideLayout" Target="../slideLayouts/slideLayout427.xml"/><Relationship Id="rId17" Type="http://schemas.openxmlformats.org/officeDocument/2006/relationships/slideLayout" Target="../slideLayouts/slideLayout432.xml"/><Relationship Id="rId25" Type="http://schemas.openxmlformats.org/officeDocument/2006/relationships/slideLayout" Target="../slideLayouts/slideLayout440.xml"/><Relationship Id="rId33" Type="http://schemas.openxmlformats.org/officeDocument/2006/relationships/oleObject" Target="../embeddings/oleObject10.bin"/><Relationship Id="rId2" Type="http://schemas.openxmlformats.org/officeDocument/2006/relationships/slideLayout" Target="../slideLayouts/slideLayout417.xml"/><Relationship Id="rId16" Type="http://schemas.openxmlformats.org/officeDocument/2006/relationships/slideLayout" Target="../slideLayouts/slideLayout431.xml"/><Relationship Id="rId20" Type="http://schemas.openxmlformats.org/officeDocument/2006/relationships/slideLayout" Target="../slideLayouts/slideLayout435.xml"/><Relationship Id="rId29" Type="http://schemas.openxmlformats.org/officeDocument/2006/relationships/theme" Target="../theme/theme17.xml"/><Relationship Id="rId1" Type="http://schemas.openxmlformats.org/officeDocument/2006/relationships/slideLayout" Target="../slideLayouts/slideLayout416.xml"/><Relationship Id="rId6" Type="http://schemas.openxmlformats.org/officeDocument/2006/relationships/slideLayout" Target="../slideLayouts/slideLayout421.xml"/><Relationship Id="rId11" Type="http://schemas.openxmlformats.org/officeDocument/2006/relationships/slideLayout" Target="../slideLayouts/slideLayout426.xml"/><Relationship Id="rId24" Type="http://schemas.openxmlformats.org/officeDocument/2006/relationships/slideLayout" Target="../slideLayouts/slideLayout439.xml"/><Relationship Id="rId32" Type="http://schemas.openxmlformats.org/officeDocument/2006/relationships/tags" Target="../tags/tag160.xml"/><Relationship Id="rId5" Type="http://schemas.openxmlformats.org/officeDocument/2006/relationships/slideLayout" Target="../slideLayouts/slideLayout420.xml"/><Relationship Id="rId15" Type="http://schemas.openxmlformats.org/officeDocument/2006/relationships/slideLayout" Target="../slideLayouts/slideLayout430.xml"/><Relationship Id="rId23" Type="http://schemas.openxmlformats.org/officeDocument/2006/relationships/slideLayout" Target="../slideLayouts/slideLayout438.xml"/><Relationship Id="rId28" Type="http://schemas.openxmlformats.org/officeDocument/2006/relationships/slideLayout" Target="../slideLayouts/slideLayout443.xml"/><Relationship Id="rId10" Type="http://schemas.openxmlformats.org/officeDocument/2006/relationships/slideLayout" Target="../slideLayouts/slideLayout425.xml"/><Relationship Id="rId19" Type="http://schemas.openxmlformats.org/officeDocument/2006/relationships/slideLayout" Target="../slideLayouts/slideLayout434.xml"/><Relationship Id="rId31" Type="http://schemas.openxmlformats.org/officeDocument/2006/relationships/tags" Target="../tags/tag159.xml"/><Relationship Id="rId4" Type="http://schemas.openxmlformats.org/officeDocument/2006/relationships/slideLayout" Target="../slideLayouts/slideLayout419.xml"/><Relationship Id="rId9" Type="http://schemas.openxmlformats.org/officeDocument/2006/relationships/slideLayout" Target="../slideLayouts/slideLayout424.xml"/><Relationship Id="rId14" Type="http://schemas.openxmlformats.org/officeDocument/2006/relationships/slideLayout" Target="../slideLayouts/slideLayout429.xml"/><Relationship Id="rId22" Type="http://schemas.openxmlformats.org/officeDocument/2006/relationships/slideLayout" Target="../slideLayouts/slideLayout437.xml"/><Relationship Id="rId27" Type="http://schemas.openxmlformats.org/officeDocument/2006/relationships/slideLayout" Target="../slideLayouts/slideLayout442.xml"/><Relationship Id="rId30" Type="http://schemas.openxmlformats.org/officeDocument/2006/relationships/vmlDrawing" Target="../drawings/vmlDrawing21.vml"/></Relationships>
</file>

<file path=ppt/slideMasters/_rels/slideMaster18.xml.rels><?xml version="1.0" encoding="UTF-8" standalone="yes"?>
<Relationships xmlns="http://schemas.openxmlformats.org/package/2006/relationships"><Relationship Id="rId8" Type="http://schemas.openxmlformats.org/officeDocument/2006/relationships/slideLayout" Target="../slideLayouts/slideLayout451.xml"/><Relationship Id="rId13" Type="http://schemas.openxmlformats.org/officeDocument/2006/relationships/slideLayout" Target="../slideLayouts/slideLayout456.xml"/><Relationship Id="rId18" Type="http://schemas.openxmlformats.org/officeDocument/2006/relationships/slideLayout" Target="../slideLayouts/slideLayout461.xml"/><Relationship Id="rId26" Type="http://schemas.openxmlformats.org/officeDocument/2006/relationships/slideLayout" Target="../slideLayouts/slideLayout469.xml"/><Relationship Id="rId3" Type="http://schemas.openxmlformats.org/officeDocument/2006/relationships/slideLayout" Target="../slideLayouts/slideLayout446.xml"/><Relationship Id="rId21" Type="http://schemas.openxmlformats.org/officeDocument/2006/relationships/slideLayout" Target="../slideLayouts/slideLayout464.xml"/><Relationship Id="rId34" Type="http://schemas.openxmlformats.org/officeDocument/2006/relationships/image" Target="../media/image11.emf"/><Relationship Id="rId7" Type="http://schemas.openxmlformats.org/officeDocument/2006/relationships/slideLayout" Target="../slideLayouts/slideLayout450.xml"/><Relationship Id="rId12" Type="http://schemas.openxmlformats.org/officeDocument/2006/relationships/slideLayout" Target="../slideLayouts/slideLayout455.xml"/><Relationship Id="rId17" Type="http://schemas.openxmlformats.org/officeDocument/2006/relationships/slideLayout" Target="../slideLayouts/slideLayout460.xml"/><Relationship Id="rId25" Type="http://schemas.openxmlformats.org/officeDocument/2006/relationships/slideLayout" Target="../slideLayouts/slideLayout468.xml"/><Relationship Id="rId33" Type="http://schemas.openxmlformats.org/officeDocument/2006/relationships/oleObject" Target="../embeddings/oleObject10.bin"/><Relationship Id="rId2" Type="http://schemas.openxmlformats.org/officeDocument/2006/relationships/slideLayout" Target="../slideLayouts/slideLayout445.xml"/><Relationship Id="rId16" Type="http://schemas.openxmlformats.org/officeDocument/2006/relationships/slideLayout" Target="../slideLayouts/slideLayout459.xml"/><Relationship Id="rId20" Type="http://schemas.openxmlformats.org/officeDocument/2006/relationships/slideLayout" Target="../slideLayouts/slideLayout463.xml"/><Relationship Id="rId29" Type="http://schemas.openxmlformats.org/officeDocument/2006/relationships/theme" Target="../theme/theme18.xml"/><Relationship Id="rId1" Type="http://schemas.openxmlformats.org/officeDocument/2006/relationships/slideLayout" Target="../slideLayouts/slideLayout444.xml"/><Relationship Id="rId6" Type="http://schemas.openxmlformats.org/officeDocument/2006/relationships/slideLayout" Target="../slideLayouts/slideLayout449.xml"/><Relationship Id="rId11" Type="http://schemas.openxmlformats.org/officeDocument/2006/relationships/slideLayout" Target="../slideLayouts/slideLayout454.xml"/><Relationship Id="rId24" Type="http://schemas.openxmlformats.org/officeDocument/2006/relationships/slideLayout" Target="../slideLayouts/slideLayout467.xml"/><Relationship Id="rId32" Type="http://schemas.openxmlformats.org/officeDocument/2006/relationships/tags" Target="../tags/tag172.xml"/><Relationship Id="rId5" Type="http://schemas.openxmlformats.org/officeDocument/2006/relationships/slideLayout" Target="../slideLayouts/slideLayout448.xml"/><Relationship Id="rId15" Type="http://schemas.openxmlformats.org/officeDocument/2006/relationships/slideLayout" Target="../slideLayouts/slideLayout458.xml"/><Relationship Id="rId23" Type="http://schemas.openxmlformats.org/officeDocument/2006/relationships/slideLayout" Target="../slideLayouts/slideLayout466.xml"/><Relationship Id="rId28" Type="http://schemas.openxmlformats.org/officeDocument/2006/relationships/slideLayout" Target="../slideLayouts/slideLayout471.xml"/><Relationship Id="rId10" Type="http://schemas.openxmlformats.org/officeDocument/2006/relationships/slideLayout" Target="../slideLayouts/slideLayout453.xml"/><Relationship Id="rId19" Type="http://schemas.openxmlformats.org/officeDocument/2006/relationships/slideLayout" Target="../slideLayouts/slideLayout462.xml"/><Relationship Id="rId31" Type="http://schemas.openxmlformats.org/officeDocument/2006/relationships/tags" Target="../tags/tag171.xml"/><Relationship Id="rId4" Type="http://schemas.openxmlformats.org/officeDocument/2006/relationships/slideLayout" Target="../slideLayouts/slideLayout447.xml"/><Relationship Id="rId9" Type="http://schemas.openxmlformats.org/officeDocument/2006/relationships/slideLayout" Target="../slideLayouts/slideLayout452.xml"/><Relationship Id="rId14" Type="http://schemas.openxmlformats.org/officeDocument/2006/relationships/slideLayout" Target="../slideLayouts/slideLayout457.xml"/><Relationship Id="rId22" Type="http://schemas.openxmlformats.org/officeDocument/2006/relationships/slideLayout" Target="../slideLayouts/slideLayout465.xml"/><Relationship Id="rId27" Type="http://schemas.openxmlformats.org/officeDocument/2006/relationships/slideLayout" Target="../slideLayouts/slideLayout470.xml"/><Relationship Id="rId30" Type="http://schemas.openxmlformats.org/officeDocument/2006/relationships/vmlDrawing" Target="../drawings/vmlDrawing22.vml"/></Relationships>
</file>

<file path=ppt/slideMasters/_rels/slideMaster19.xml.rels><?xml version="1.0" encoding="UTF-8" standalone="yes"?>
<Relationships xmlns="http://schemas.openxmlformats.org/package/2006/relationships"><Relationship Id="rId8" Type="http://schemas.openxmlformats.org/officeDocument/2006/relationships/slideLayout" Target="../slideLayouts/slideLayout479.xml"/><Relationship Id="rId13" Type="http://schemas.openxmlformats.org/officeDocument/2006/relationships/slideLayout" Target="../slideLayouts/slideLayout484.xml"/><Relationship Id="rId18" Type="http://schemas.openxmlformats.org/officeDocument/2006/relationships/slideLayout" Target="../slideLayouts/slideLayout489.xml"/><Relationship Id="rId26" Type="http://schemas.openxmlformats.org/officeDocument/2006/relationships/slideLayout" Target="../slideLayouts/slideLayout497.xml"/><Relationship Id="rId3" Type="http://schemas.openxmlformats.org/officeDocument/2006/relationships/slideLayout" Target="../slideLayouts/slideLayout474.xml"/><Relationship Id="rId21" Type="http://schemas.openxmlformats.org/officeDocument/2006/relationships/slideLayout" Target="../slideLayouts/slideLayout492.xml"/><Relationship Id="rId34" Type="http://schemas.openxmlformats.org/officeDocument/2006/relationships/slideLayout" Target="../slideLayouts/slideLayout505.xml"/><Relationship Id="rId7" Type="http://schemas.openxmlformats.org/officeDocument/2006/relationships/slideLayout" Target="../slideLayouts/slideLayout478.xml"/><Relationship Id="rId12" Type="http://schemas.openxmlformats.org/officeDocument/2006/relationships/slideLayout" Target="../slideLayouts/slideLayout483.xml"/><Relationship Id="rId17" Type="http://schemas.openxmlformats.org/officeDocument/2006/relationships/slideLayout" Target="../slideLayouts/slideLayout488.xml"/><Relationship Id="rId25" Type="http://schemas.openxmlformats.org/officeDocument/2006/relationships/slideLayout" Target="../slideLayouts/slideLayout496.xml"/><Relationship Id="rId33" Type="http://schemas.openxmlformats.org/officeDocument/2006/relationships/slideLayout" Target="../slideLayouts/slideLayout504.xml"/><Relationship Id="rId2" Type="http://schemas.openxmlformats.org/officeDocument/2006/relationships/slideLayout" Target="../slideLayouts/slideLayout473.xml"/><Relationship Id="rId16" Type="http://schemas.openxmlformats.org/officeDocument/2006/relationships/slideLayout" Target="../slideLayouts/slideLayout487.xml"/><Relationship Id="rId20" Type="http://schemas.openxmlformats.org/officeDocument/2006/relationships/slideLayout" Target="../slideLayouts/slideLayout491.xml"/><Relationship Id="rId29" Type="http://schemas.openxmlformats.org/officeDocument/2006/relationships/slideLayout" Target="../slideLayouts/slideLayout500.xml"/><Relationship Id="rId1" Type="http://schemas.openxmlformats.org/officeDocument/2006/relationships/slideLayout" Target="../slideLayouts/slideLayout472.xml"/><Relationship Id="rId6" Type="http://schemas.openxmlformats.org/officeDocument/2006/relationships/slideLayout" Target="../slideLayouts/slideLayout477.xml"/><Relationship Id="rId11" Type="http://schemas.openxmlformats.org/officeDocument/2006/relationships/slideLayout" Target="../slideLayouts/slideLayout482.xml"/><Relationship Id="rId24" Type="http://schemas.openxmlformats.org/officeDocument/2006/relationships/slideLayout" Target="../slideLayouts/slideLayout495.xml"/><Relationship Id="rId32" Type="http://schemas.openxmlformats.org/officeDocument/2006/relationships/slideLayout" Target="../slideLayouts/slideLayout503.xml"/><Relationship Id="rId5" Type="http://schemas.openxmlformats.org/officeDocument/2006/relationships/slideLayout" Target="../slideLayouts/slideLayout476.xml"/><Relationship Id="rId15" Type="http://schemas.openxmlformats.org/officeDocument/2006/relationships/slideLayout" Target="../slideLayouts/slideLayout486.xml"/><Relationship Id="rId23" Type="http://schemas.openxmlformats.org/officeDocument/2006/relationships/slideLayout" Target="../slideLayouts/slideLayout494.xml"/><Relationship Id="rId28" Type="http://schemas.openxmlformats.org/officeDocument/2006/relationships/slideLayout" Target="../slideLayouts/slideLayout499.xml"/><Relationship Id="rId36" Type="http://schemas.openxmlformats.org/officeDocument/2006/relationships/theme" Target="../theme/theme19.xml"/><Relationship Id="rId10" Type="http://schemas.openxmlformats.org/officeDocument/2006/relationships/slideLayout" Target="../slideLayouts/slideLayout481.xml"/><Relationship Id="rId19" Type="http://schemas.openxmlformats.org/officeDocument/2006/relationships/slideLayout" Target="../slideLayouts/slideLayout490.xml"/><Relationship Id="rId31" Type="http://schemas.openxmlformats.org/officeDocument/2006/relationships/slideLayout" Target="../slideLayouts/slideLayout502.xml"/><Relationship Id="rId4" Type="http://schemas.openxmlformats.org/officeDocument/2006/relationships/slideLayout" Target="../slideLayouts/slideLayout475.xml"/><Relationship Id="rId9" Type="http://schemas.openxmlformats.org/officeDocument/2006/relationships/slideLayout" Target="../slideLayouts/slideLayout480.xml"/><Relationship Id="rId14" Type="http://schemas.openxmlformats.org/officeDocument/2006/relationships/slideLayout" Target="../slideLayouts/slideLayout485.xml"/><Relationship Id="rId22" Type="http://schemas.openxmlformats.org/officeDocument/2006/relationships/slideLayout" Target="../slideLayouts/slideLayout493.xml"/><Relationship Id="rId27" Type="http://schemas.openxmlformats.org/officeDocument/2006/relationships/slideLayout" Target="../slideLayouts/slideLayout498.xml"/><Relationship Id="rId30" Type="http://schemas.openxmlformats.org/officeDocument/2006/relationships/slideLayout" Target="../slideLayouts/slideLayout501.xml"/><Relationship Id="rId35" Type="http://schemas.openxmlformats.org/officeDocument/2006/relationships/slideLayout" Target="../slideLayouts/slideLayout506.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1.xml"/><Relationship Id="rId13" Type="http://schemas.openxmlformats.org/officeDocument/2006/relationships/slideLayout" Target="../slideLayouts/slideLayout36.xml"/><Relationship Id="rId18" Type="http://schemas.openxmlformats.org/officeDocument/2006/relationships/slideLayout" Target="../slideLayouts/slideLayout41.xml"/><Relationship Id="rId26" Type="http://schemas.openxmlformats.org/officeDocument/2006/relationships/tags" Target="../tags/tag7.xml"/><Relationship Id="rId3" Type="http://schemas.openxmlformats.org/officeDocument/2006/relationships/slideLayout" Target="../slideLayouts/slideLayout26.xml"/><Relationship Id="rId21" Type="http://schemas.openxmlformats.org/officeDocument/2006/relationships/slideLayout" Target="../slideLayouts/slideLayout44.xml"/><Relationship Id="rId7" Type="http://schemas.openxmlformats.org/officeDocument/2006/relationships/slideLayout" Target="../slideLayouts/slideLayout30.xml"/><Relationship Id="rId12" Type="http://schemas.openxmlformats.org/officeDocument/2006/relationships/slideLayout" Target="../slideLayouts/slideLayout35.xml"/><Relationship Id="rId17" Type="http://schemas.openxmlformats.org/officeDocument/2006/relationships/slideLayout" Target="../slideLayouts/slideLayout40.xml"/><Relationship Id="rId25" Type="http://schemas.openxmlformats.org/officeDocument/2006/relationships/tags" Target="../tags/tag6.xml"/><Relationship Id="rId2" Type="http://schemas.openxmlformats.org/officeDocument/2006/relationships/slideLayout" Target="../slideLayouts/slideLayout25.xml"/><Relationship Id="rId16" Type="http://schemas.openxmlformats.org/officeDocument/2006/relationships/slideLayout" Target="../slideLayouts/slideLayout39.xml"/><Relationship Id="rId20" Type="http://schemas.openxmlformats.org/officeDocument/2006/relationships/slideLayout" Target="../slideLayouts/slideLayout43.xml"/><Relationship Id="rId29" Type="http://schemas.openxmlformats.org/officeDocument/2006/relationships/image" Target="../media/image1.emf"/><Relationship Id="rId1" Type="http://schemas.openxmlformats.org/officeDocument/2006/relationships/slideLayout" Target="../slideLayouts/slideLayout24.xml"/><Relationship Id="rId6" Type="http://schemas.openxmlformats.org/officeDocument/2006/relationships/slideLayout" Target="../slideLayouts/slideLayout29.xml"/><Relationship Id="rId11" Type="http://schemas.openxmlformats.org/officeDocument/2006/relationships/slideLayout" Target="../slideLayouts/slideLayout34.xml"/><Relationship Id="rId24" Type="http://schemas.openxmlformats.org/officeDocument/2006/relationships/vmlDrawing" Target="../drawings/vmlDrawing4.vml"/><Relationship Id="rId5" Type="http://schemas.openxmlformats.org/officeDocument/2006/relationships/slideLayout" Target="../slideLayouts/slideLayout28.xml"/><Relationship Id="rId15" Type="http://schemas.openxmlformats.org/officeDocument/2006/relationships/slideLayout" Target="../slideLayouts/slideLayout38.xml"/><Relationship Id="rId23" Type="http://schemas.openxmlformats.org/officeDocument/2006/relationships/theme" Target="../theme/theme2.xml"/><Relationship Id="rId28" Type="http://schemas.openxmlformats.org/officeDocument/2006/relationships/oleObject" Target="../embeddings/oleObject4.bin"/><Relationship Id="rId10" Type="http://schemas.openxmlformats.org/officeDocument/2006/relationships/slideLayout" Target="../slideLayouts/slideLayout33.xml"/><Relationship Id="rId19" Type="http://schemas.openxmlformats.org/officeDocument/2006/relationships/slideLayout" Target="../slideLayouts/slideLayout42.xml"/><Relationship Id="rId4" Type="http://schemas.openxmlformats.org/officeDocument/2006/relationships/slideLayout" Target="../slideLayouts/slideLayout27.xml"/><Relationship Id="rId9" Type="http://schemas.openxmlformats.org/officeDocument/2006/relationships/slideLayout" Target="../slideLayouts/slideLayout32.xml"/><Relationship Id="rId14" Type="http://schemas.openxmlformats.org/officeDocument/2006/relationships/slideLayout" Target="../slideLayouts/slideLayout37.xml"/><Relationship Id="rId22" Type="http://schemas.openxmlformats.org/officeDocument/2006/relationships/slideLayout" Target="../slideLayouts/slideLayout45.xml"/><Relationship Id="rId27" Type="http://schemas.openxmlformats.org/officeDocument/2006/relationships/tags" Target="../tags/tag8.xml"/><Relationship Id="rId30" Type="http://schemas.openxmlformats.org/officeDocument/2006/relationships/image" Target="../media/image2.wmf"/></Relationships>
</file>

<file path=ppt/slideMasters/_rels/slideMaster20.xml.rels><?xml version="1.0" encoding="UTF-8" standalone="yes"?>
<Relationships xmlns="http://schemas.openxmlformats.org/package/2006/relationships"><Relationship Id="rId8" Type="http://schemas.openxmlformats.org/officeDocument/2006/relationships/slideLayout" Target="../slideLayouts/slideLayout514.xml"/><Relationship Id="rId13" Type="http://schemas.openxmlformats.org/officeDocument/2006/relationships/slideLayout" Target="../slideLayouts/slideLayout519.xml"/><Relationship Id="rId18" Type="http://schemas.openxmlformats.org/officeDocument/2006/relationships/slideLayout" Target="../slideLayouts/slideLayout524.xml"/><Relationship Id="rId26" Type="http://schemas.openxmlformats.org/officeDocument/2006/relationships/slideLayout" Target="../slideLayouts/slideLayout532.xml"/><Relationship Id="rId3" Type="http://schemas.openxmlformats.org/officeDocument/2006/relationships/slideLayout" Target="../slideLayouts/slideLayout509.xml"/><Relationship Id="rId21" Type="http://schemas.openxmlformats.org/officeDocument/2006/relationships/slideLayout" Target="../slideLayouts/slideLayout527.xml"/><Relationship Id="rId7" Type="http://schemas.openxmlformats.org/officeDocument/2006/relationships/slideLayout" Target="../slideLayouts/slideLayout513.xml"/><Relationship Id="rId12" Type="http://schemas.openxmlformats.org/officeDocument/2006/relationships/slideLayout" Target="../slideLayouts/slideLayout518.xml"/><Relationship Id="rId17" Type="http://schemas.openxmlformats.org/officeDocument/2006/relationships/slideLayout" Target="../slideLayouts/slideLayout523.xml"/><Relationship Id="rId25" Type="http://schemas.openxmlformats.org/officeDocument/2006/relationships/slideLayout" Target="../slideLayouts/slideLayout531.xml"/><Relationship Id="rId2" Type="http://schemas.openxmlformats.org/officeDocument/2006/relationships/slideLayout" Target="../slideLayouts/slideLayout508.xml"/><Relationship Id="rId16" Type="http://schemas.openxmlformats.org/officeDocument/2006/relationships/slideLayout" Target="../slideLayouts/slideLayout522.xml"/><Relationship Id="rId20" Type="http://schemas.openxmlformats.org/officeDocument/2006/relationships/slideLayout" Target="../slideLayouts/slideLayout526.xml"/><Relationship Id="rId1" Type="http://schemas.openxmlformats.org/officeDocument/2006/relationships/slideLayout" Target="../slideLayouts/slideLayout507.xml"/><Relationship Id="rId6" Type="http://schemas.openxmlformats.org/officeDocument/2006/relationships/slideLayout" Target="../slideLayouts/slideLayout512.xml"/><Relationship Id="rId11" Type="http://schemas.openxmlformats.org/officeDocument/2006/relationships/slideLayout" Target="../slideLayouts/slideLayout517.xml"/><Relationship Id="rId24" Type="http://schemas.openxmlformats.org/officeDocument/2006/relationships/slideLayout" Target="../slideLayouts/slideLayout530.xml"/><Relationship Id="rId5" Type="http://schemas.openxmlformats.org/officeDocument/2006/relationships/slideLayout" Target="../slideLayouts/slideLayout511.xml"/><Relationship Id="rId15" Type="http://schemas.openxmlformats.org/officeDocument/2006/relationships/slideLayout" Target="../slideLayouts/slideLayout521.xml"/><Relationship Id="rId23" Type="http://schemas.openxmlformats.org/officeDocument/2006/relationships/slideLayout" Target="../slideLayouts/slideLayout529.xml"/><Relationship Id="rId28" Type="http://schemas.openxmlformats.org/officeDocument/2006/relationships/theme" Target="../theme/theme20.xml"/><Relationship Id="rId10" Type="http://schemas.openxmlformats.org/officeDocument/2006/relationships/slideLayout" Target="../slideLayouts/slideLayout516.xml"/><Relationship Id="rId19" Type="http://schemas.openxmlformats.org/officeDocument/2006/relationships/slideLayout" Target="../slideLayouts/slideLayout525.xml"/><Relationship Id="rId4" Type="http://schemas.openxmlformats.org/officeDocument/2006/relationships/slideLayout" Target="../slideLayouts/slideLayout510.xml"/><Relationship Id="rId9" Type="http://schemas.openxmlformats.org/officeDocument/2006/relationships/slideLayout" Target="../slideLayouts/slideLayout515.xml"/><Relationship Id="rId14" Type="http://schemas.openxmlformats.org/officeDocument/2006/relationships/slideLayout" Target="../slideLayouts/slideLayout520.xml"/><Relationship Id="rId22" Type="http://schemas.openxmlformats.org/officeDocument/2006/relationships/slideLayout" Target="../slideLayouts/slideLayout528.xml"/><Relationship Id="rId27" Type="http://schemas.openxmlformats.org/officeDocument/2006/relationships/slideLayout" Target="../slideLayouts/slideLayout533.xml"/></Relationships>
</file>

<file path=ppt/slideMasters/_rels/slideMaster21.xml.rels><?xml version="1.0" encoding="UTF-8" standalone="yes"?>
<Relationships xmlns="http://schemas.openxmlformats.org/package/2006/relationships"><Relationship Id="rId3" Type="http://schemas.openxmlformats.org/officeDocument/2006/relationships/slideLayout" Target="../slideLayouts/slideLayout536.xml"/><Relationship Id="rId2" Type="http://schemas.openxmlformats.org/officeDocument/2006/relationships/slideLayout" Target="../slideLayouts/slideLayout535.xml"/><Relationship Id="rId1" Type="http://schemas.openxmlformats.org/officeDocument/2006/relationships/slideLayout" Target="../slideLayouts/slideLayout534.xml"/><Relationship Id="rId5" Type="http://schemas.openxmlformats.org/officeDocument/2006/relationships/tags" Target="../tags/tag203.xml"/><Relationship Id="rId4" Type="http://schemas.openxmlformats.org/officeDocument/2006/relationships/theme" Target="../theme/theme21.xml"/></Relationships>
</file>

<file path=ppt/slideMasters/_rels/slideMaster22.xml.rels><?xml version="1.0" encoding="UTF-8" standalone="yes"?>
<Relationships xmlns="http://schemas.openxmlformats.org/package/2006/relationships"><Relationship Id="rId8" Type="http://schemas.openxmlformats.org/officeDocument/2006/relationships/slideLayout" Target="../slideLayouts/slideLayout544.xml"/><Relationship Id="rId13" Type="http://schemas.openxmlformats.org/officeDocument/2006/relationships/slideLayout" Target="../slideLayouts/slideLayout549.xml"/><Relationship Id="rId18" Type="http://schemas.openxmlformats.org/officeDocument/2006/relationships/slideLayout" Target="../slideLayouts/slideLayout554.xml"/><Relationship Id="rId26" Type="http://schemas.openxmlformats.org/officeDocument/2006/relationships/slideLayout" Target="../slideLayouts/slideLayout562.xml"/><Relationship Id="rId3" Type="http://schemas.openxmlformats.org/officeDocument/2006/relationships/slideLayout" Target="../slideLayouts/slideLayout539.xml"/><Relationship Id="rId21" Type="http://schemas.openxmlformats.org/officeDocument/2006/relationships/slideLayout" Target="../slideLayouts/slideLayout557.xml"/><Relationship Id="rId7" Type="http://schemas.openxmlformats.org/officeDocument/2006/relationships/slideLayout" Target="../slideLayouts/slideLayout543.xml"/><Relationship Id="rId12" Type="http://schemas.openxmlformats.org/officeDocument/2006/relationships/slideLayout" Target="../slideLayouts/slideLayout548.xml"/><Relationship Id="rId17" Type="http://schemas.openxmlformats.org/officeDocument/2006/relationships/slideLayout" Target="../slideLayouts/slideLayout553.xml"/><Relationship Id="rId25" Type="http://schemas.openxmlformats.org/officeDocument/2006/relationships/slideLayout" Target="../slideLayouts/slideLayout561.xml"/><Relationship Id="rId2" Type="http://schemas.openxmlformats.org/officeDocument/2006/relationships/slideLayout" Target="../slideLayouts/slideLayout538.xml"/><Relationship Id="rId16" Type="http://schemas.openxmlformats.org/officeDocument/2006/relationships/slideLayout" Target="../slideLayouts/slideLayout552.xml"/><Relationship Id="rId20" Type="http://schemas.openxmlformats.org/officeDocument/2006/relationships/slideLayout" Target="../slideLayouts/slideLayout556.xml"/><Relationship Id="rId29" Type="http://schemas.openxmlformats.org/officeDocument/2006/relationships/theme" Target="../theme/theme22.xml"/><Relationship Id="rId1" Type="http://schemas.openxmlformats.org/officeDocument/2006/relationships/slideLayout" Target="../slideLayouts/slideLayout537.xml"/><Relationship Id="rId6" Type="http://schemas.openxmlformats.org/officeDocument/2006/relationships/slideLayout" Target="../slideLayouts/slideLayout542.xml"/><Relationship Id="rId11" Type="http://schemas.openxmlformats.org/officeDocument/2006/relationships/slideLayout" Target="../slideLayouts/slideLayout547.xml"/><Relationship Id="rId24" Type="http://schemas.openxmlformats.org/officeDocument/2006/relationships/slideLayout" Target="../slideLayouts/slideLayout560.xml"/><Relationship Id="rId5" Type="http://schemas.openxmlformats.org/officeDocument/2006/relationships/slideLayout" Target="../slideLayouts/slideLayout541.xml"/><Relationship Id="rId15" Type="http://schemas.openxmlformats.org/officeDocument/2006/relationships/slideLayout" Target="../slideLayouts/slideLayout551.xml"/><Relationship Id="rId23" Type="http://schemas.openxmlformats.org/officeDocument/2006/relationships/slideLayout" Target="../slideLayouts/slideLayout559.xml"/><Relationship Id="rId28" Type="http://schemas.openxmlformats.org/officeDocument/2006/relationships/slideLayout" Target="../slideLayouts/slideLayout564.xml"/><Relationship Id="rId10" Type="http://schemas.openxmlformats.org/officeDocument/2006/relationships/slideLayout" Target="../slideLayouts/slideLayout546.xml"/><Relationship Id="rId19" Type="http://schemas.openxmlformats.org/officeDocument/2006/relationships/slideLayout" Target="../slideLayouts/slideLayout555.xml"/><Relationship Id="rId4" Type="http://schemas.openxmlformats.org/officeDocument/2006/relationships/slideLayout" Target="../slideLayouts/slideLayout540.xml"/><Relationship Id="rId9" Type="http://schemas.openxmlformats.org/officeDocument/2006/relationships/slideLayout" Target="../slideLayouts/slideLayout545.xml"/><Relationship Id="rId14" Type="http://schemas.openxmlformats.org/officeDocument/2006/relationships/slideLayout" Target="../slideLayouts/slideLayout550.xml"/><Relationship Id="rId22" Type="http://schemas.openxmlformats.org/officeDocument/2006/relationships/slideLayout" Target="../slideLayouts/slideLayout558.xml"/><Relationship Id="rId27" Type="http://schemas.openxmlformats.org/officeDocument/2006/relationships/slideLayout" Target="../slideLayouts/slideLayout563.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3.xml"/><Relationship Id="rId13" Type="http://schemas.openxmlformats.org/officeDocument/2006/relationships/slideLayout" Target="../slideLayouts/slideLayout58.xml"/><Relationship Id="rId18" Type="http://schemas.openxmlformats.org/officeDocument/2006/relationships/slideLayout" Target="../slideLayouts/slideLayout63.xml"/><Relationship Id="rId26" Type="http://schemas.openxmlformats.org/officeDocument/2006/relationships/image" Target="../media/image1.emf"/><Relationship Id="rId3" Type="http://schemas.openxmlformats.org/officeDocument/2006/relationships/slideLayout" Target="../slideLayouts/slideLayout48.xml"/><Relationship Id="rId21" Type="http://schemas.openxmlformats.org/officeDocument/2006/relationships/vmlDrawing" Target="../drawings/vmlDrawing7.vml"/><Relationship Id="rId7" Type="http://schemas.openxmlformats.org/officeDocument/2006/relationships/slideLayout" Target="../slideLayouts/slideLayout52.xml"/><Relationship Id="rId12" Type="http://schemas.openxmlformats.org/officeDocument/2006/relationships/slideLayout" Target="../slideLayouts/slideLayout57.xml"/><Relationship Id="rId17" Type="http://schemas.openxmlformats.org/officeDocument/2006/relationships/slideLayout" Target="../slideLayouts/slideLayout62.xml"/><Relationship Id="rId25" Type="http://schemas.openxmlformats.org/officeDocument/2006/relationships/oleObject" Target="../embeddings/oleObject7.bin"/><Relationship Id="rId2" Type="http://schemas.openxmlformats.org/officeDocument/2006/relationships/slideLayout" Target="../slideLayouts/slideLayout47.xml"/><Relationship Id="rId16" Type="http://schemas.openxmlformats.org/officeDocument/2006/relationships/slideLayout" Target="../slideLayouts/slideLayout61.xml"/><Relationship Id="rId20" Type="http://schemas.openxmlformats.org/officeDocument/2006/relationships/theme" Target="../theme/theme3.xml"/><Relationship Id="rId1" Type="http://schemas.openxmlformats.org/officeDocument/2006/relationships/slideLayout" Target="../slideLayouts/slideLayout46.xml"/><Relationship Id="rId6" Type="http://schemas.openxmlformats.org/officeDocument/2006/relationships/slideLayout" Target="../slideLayouts/slideLayout51.xml"/><Relationship Id="rId11" Type="http://schemas.openxmlformats.org/officeDocument/2006/relationships/slideLayout" Target="../slideLayouts/slideLayout56.xml"/><Relationship Id="rId24" Type="http://schemas.openxmlformats.org/officeDocument/2006/relationships/tags" Target="../tags/tag16.xml"/><Relationship Id="rId5" Type="http://schemas.openxmlformats.org/officeDocument/2006/relationships/slideLayout" Target="../slideLayouts/slideLayout50.xml"/><Relationship Id="rId15" Type="http://schemas.openxmlformats.org/officeDocument/2006/relationships/slideLayout" Target="../slideLayouts/slideLayout60.xml"/><Relationship Id="rId23" Type="http://schemas.openxmlformats.org/officeDocument/2006/relationships/tags" Target="../tags/tag15.xml"/><Relationship Id="rId10" Type="http://schemas.openxmlformats.org/officeDocument/2006/relationships/slideLayout" Target="../slideLayouts/slideLayout55.xml"/><Relationship Id="rId19" Type="http://schemas.openxmlformats.org/officeDocument/2006/relationships/slideLayout" Target="../slideLayouts/slideLayout64.xml"/><Relationship Id="rId4" Type="http://schemas.openxmlformats.org/officeDocument/2006/relationships/slideLayout" Target="../slideLayouts/slideLayout49.xml"/><Relationship Id="rId9" Type="http://schemas.openxmlformats.org/officeDocument/2006/relationships/slideLayout" Target="../slideLayouts/slideLayout54.xml"/><Relationship Id="rId14" Type="http://schemas.openxmlformats.org/officeDocument/2006/relationships/slideLayout" Target="../slideLayouts/slideLayout59.xml"/><Relationship Id="rId22" Type="http://schemas.openxmlformats.org/officeDocument/2006/relationships/tags" Target="../tags/tag14.xml"/><Relationship Id="rId27" Type="http://schemas.openxmlformats.org/officeDocument/2006/relationships/image" Target="../media/image2.wmf"/></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72.xml"/><Relationship Id="rId13" Type="http://schemas.openxmlformats.org/officeDocument/2006/relationships/slideLayout" Target="../slideLayouts/slideLayout77.xml"/><Relationship Id="rId18" Type="http://schemas.openxmlformats.org/officeDocument/2006/relationships/slideLayout" Target="../slideLayouts/slideLayout82.xml"/><Relationship Id="rId26" Type="http://schemas.openxmlformats.org/officeDocument/2006/relationships/slideLayout" Target="../slideLayouts/slideLayout90.xml"/><Relationship Id="rId3" Type="http://schemas.openxmlformats.org/officeDocument/2006/relationships/slideLayout" Target="../slideLayouts/slideLayout67.xml"/><Relationship Id="rId21" Type="http://schemas.openxmlformats.org/officeDocument/2006/relationships/slideLayout" Target="../slideLayouts/slideLayout85.xml"/><Relationship Id="rId7" Type="http://schemas.openxmlformats.org/officeDocument/2006/relationships/slideLayout" Target="../slideLayouts/slideLayout71.xml"/><Relationship Id="rId12" Type="http://schemas.openxmlformats.org/officeDocument/2006/relationships/slideLayout" Target="../slideLayouts/slideLayout76.xml"/><Relationship Id="rId17" Type="http://schemas.openxmlformats.org/officeDocument/2006/relationships/slideLayout" Target="../slideLayouts/slideLayout81.xml"/><Relationship Id="rId25" Type="http://schemas.openxmlformats.org/officeDocument/2006/relationships/slideLayout" Target="../slideLayouts/slideLayout89.xml"/><Relationship Id="rId2" Type="http://schemas.openxmlformats.org/officeDocument/2006/relationships/slideLayout" Target="../slideLayouts/slideLayout66.xml"/><Relationship Id="rId16" Type="http://schemas.openxmlformats.org/officeDocument/2006/relationships/slideLayout" Target="../slideLayouts/slideLayout80.xml"/><Relationship Id="rId20" Type="http://schemas.openxmlformats.org/officeDocument/2006/relationships/slideLayout" Target="../slideLayouts/slideLayout84.xml"/><Relationship Id="rId1" Type="http://schemas.openxmlformats.org/officeDocument/2006/relationships/slideLayout" Target="../slideLayouts/slideLayout65.xml"/><Relationship Id="rId6" Type="http://schemas.openxmlformats.org/officeDocument/2006/relationships/slideLayout" Target="../slideLayouts/slideLayout70.xml"/><Relationship Id="rId11" Type="http://schemas.openxmlformats.org/officeDocument/2006/relationships/slideLayout" Target="../slideLayouts/slideLayout75.xml"/><Relationship Id="rId24" Type="http://schemas.openxmlformats.org/officeDocument/2006/relationships/slideLayout" Target="../slideLayouts/slideLayout88.xml"/><Relationship Id="rId5" Type="http://schemas.openxmlformats.org/officeDocument/2006/relationships/slideLayout" Target="../slideLayouts/slideLayout69.xml"/><Relationship Id="rId15" Type="http://schemas.openxmlformats.org/officeDocument/2006/relationships/slideLayout" Target="../slideLayouts/slideLayout79.xml"/><Relationship Id="rId23" Type="http://schemas.openxmlformats.org/officeDocument/2006/relationships/slideLayout" Target="../slideLayouts/slideLayout87.xml"/><Relationship Id="rId28" Type="http://schemas.openxmlformats.org/officeDocument/2006/relationships/theme" Target="../theme/theme4.xml"/><Relationship Id="rId10" Type="http://schemas.openxmlformats.org/officeDocument/2006/relationships/slideLayout" Target="../slideLayouts/slideLayout74.xml"/><Relationship Id="rId19" Type="http://schemas.openxmlformats.org/officeDocument/2006/relationships/slideLayout" Target="../slideLayouts/slideLayout83.xml"/><Relationship Id="rId4" Type="http://schemas.openxmlformats.org/officeDocument/2006/relationships/slideLayout" Target="../slideLayouts/slideLayout68.xml"/><Relationship Id="rId9" Type="http://schemas.openxmlformats.org/officeDocument/2006/relationships/slideLayout" Target="../slideLayouts/slideLayout73.xml"/><Relationship Id="rId14" Type="http://schemas.openxmlformats.org/officeDocument/2006/relationships/slideLayout" Target="../slideLayouts/slideLayout78.xml"/><Relationship Id="rId22" Type="http://schemas.openxmlformats.org/officeDocument/2006/relationships/slideLayout" Target="../slideLayouts/slideLayout86.xml"/><Relationship Id="rId27" Type="http://schemas.openxmlformats.org/officeDocument/2006/relationships/slideLayout" Target="../slideLayouts/slideLayout91.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99.xml"/><Relationship Id="rId13" Type="http://schemas.openxmlformats.org/officeDocument/2006/relationships/slideLayout" Target="../slideLayouts/slideLayout104.xml"/><Relationship Id="rId18" Type="http://schemas.openxmlformats.org/officeDocument/2006/relationships/slideLayout" Target="../slideLayouts/slideLayout109.xml"/><Relationship Id="rId26" Type="http://schemas.openxmlformats.org/officeDocument/2006/relationships/slideLayout" Target="../slideLayouts/slideLayout117.xml"/><Relationship Id="rId3" Type="http://schemas.openxmlformats.org/officeDocument/2006/relationships/slideLayout" Target="../slideLayouts/slideLayout94.xml"/><Relationship Id="rId21" Type="http://schemas.openxmlformats.org/officeDocument/2006/relationships/slideLayout" Target="../slideLayouts/slideLayout112.xml"/><Relationship Id="rId34" Type="http://schemas.openxmlformats.org/officeDocument/2006/relationships/image" Target="../media/image11.emf"/><Relationship Id="rId7" Type="http://schemas.openxmlformats.org/officeDocument/2006/relationships/slideLayout" Target="../slideLayouts/slideLayout98.xml"/><Relationship Id="rId12" Type="http://schemas.openxmlformats.org/officeDocument/2006/relationships/slideLayout" Target="../slideLayouts/slideLayout103.xml"/><Relationship Id="rId17" Type="http://schemas.openxmlformats.org/officeDocument/2006/relationships/slideLayout" Target="../slideLayouts/slideLayout108.xml"/><Relationship Id="rId25" Type="http://schemas.openxmlformats.org/officeDocument/2006/relationships/slideLayout" Target="../slideLayouts/slideLayout116.xml"/><Relationship Id="rId33" Type="http://schemas.openxmlformats.org/officeDocument/2006/relationships/oleObject" Target="../embeddings/oleObject10.bin"/><Relationship Id="rId2" Type="http://schemas.openxmlformats.org/officeDocument/2006/relationships/slideLayout" Target="../slideLayouts/slideLayout93.xml"/><Relationship Id="rId16" Type="http://schemas.openxmlformats.org/officeDocument/2006/relationships/slideLayout" Target="../slideLayouts/slideLayout107.xml"/><Relationship Id="rId20" Type="http://schemas.openxmlformats.org/officeDocument/2006/relationships/slideLayout" Target="../slideLayouts/slideLayout111.xml"/><Relationship Id="rId29" Type="http://schemas.openxmlformats.org/officeDocument/2006/relationships/theme" Target="../theme/theme5.xml"/><Relationship Id="rId1" Type="http://schemas.openxmlformats.org/officeDocument/2006/relationships/slideLayout" Target="../slideLayouts/slideLayout92.xml"/><Relationship Id="rId6" Type="http://schemas.openxmlformats.org/officeDocument/2006/relationships/slideLayout" Target="../slideLayouts/slideLayout97.xml"/><Relationship Id="rId11" Type="http://schemas.openxmlformats.org/officeDocument/2006/relationships/slideLayout" Target="../slideLayouts/slideLayout102.xml"/><Relationship Id="rId24" Type="http://schemas.openxmlformats.org/officeDocument/2006/relationships/slideLayout" Target="../slideLayouts/slideLayout115.xml"/><Relationship Id="rId32" Type="http://schemas.openxmlformats.org/officeDocument/2006/relationships/tags" Target="../tags/tag30.xml"/><Relationship Id="rId5" Type="http://schemas.openxmlformats.org/officeDocument/2006/relationships/slideLayout" Target="../slideLayouts/slideLayout96.xml"/><Relationship Id="rId15" Type="http://schemas.openxmlformats.org/officeDocument/2006/relationships/slideLayout" Target="../slideLayouts/slideLayout106.xml"/><Relationship Id="rId23" Type="http://schemas.openxmlformats.org/officeDocument/2006/relationships/slideLayout" Target="../slideLayouts/slideLayout114.xml"/><Relationship Id="rId28" Type="http://schemas.openxmlformats.org/officeDocument/2006/relationships/slideLayout" Target="../slideLayouts/slideLayout119.xml"/><Relationship Id="rId10" Type="http://schemas.openxmlformats.org/officeDocument/2006/relationships/slideLayout" Target="../slideLayouts/slideLayout101.xml"/><Relationship Id="rId19" Type="http://schemas.openxmlformats.org/officeDocument/2006/relationships/slideLayout" Target="../slideLayouts/slideLayout110.xml"/><Relationship Id="rId31" Type="http://schemas.openxmlformats.org/officeDocument/2006/relationships/tags" Target="../tags/tag29.xml"/><Relationship Id="rId4" Type="http://schemas.openxmlformats.org/officeDocument/2006/relationships/slideLayout" Target="../slideLayouts/slideLayout95.xml"/><Relationship Id="rId9" Type="http://schemas.openxmlformats.org/officeDocument/2006/relationships/slideLayout" Target="../slideLayouts/slideLayout100.xml"/><Relationship Id="rId14" Type="http://schemas.openxmlformats.org/officeDocument/2006/relationships/slideLayout" Target="../slideLayouts/slideLayout105.xml"/><Relationship Id="rId22" Type="http://schemas.openxmlformats.org/officeDocument/2006/relationships/slideLayout" Target="../slideLayouts/slideLayout113.xml"/><Relationship Id="rId27" Type="http://schemas.openxmlformats.org/officeDocument/2006/relationships/slideLayout" Target="../slideLayouts/slideLayout118.xml"/><Relationship Id="rId30" Type="http://schemas.openxmlformats.org/officeDocument/2006/relationships/vmlDrawing" Target="../drawings/vmlDrawing10.v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27.xml"/><Relationship Id="rId13" Type="http://schemas.openxmlformats.org/officeDocument/2006/relationships/slideLayout" Target="../slideLayouts/slideLayout132.xml"/><Relationship Id="rId18" Type="http://schemas.openxmlformats.org/officeDocument/2006/relationships/slideLayout" Target="../slideLayouts/slideLayout137.xml"/><Relationship Id="rId26" Type="http://schemas.openxmlformats.org/officeDocument/2006/relationships/slideLayout" Target="../slideLayouts/slideLayout145.xml"/><Relationship Id="rId3" Type="http://schemas.openxmlformats.org/officeDocument/2006/relationships/slideLayout" Target="../slideLayouts/slideLayout122.xml"/><Relationship Id="rId21" Type="http://schemas.openxmlformats.org/officeDocument/2006/relationships/slideLayout" Target="../slideLayouts/slideLayout140.xml"/><Relationship Id="rId7" Type="http://schemas.openxmlformats.org/officeDocument/2006/relationships/slideLayout" Target="../slideLayouts/slideLayout126.xml"/><Relationship Id="rId12" Type="http://schemas.openxmlformats.org/officeDocument/2006/relationships/slideLayout" Target="../slideLayouts/slideLayout131.xml"/><Relationship Id="rId17" Type="http://schemas.openxmlformats.org/officeDocument/2006/relationships/slideLayout" Target="../slideLayouts/slideLayout136.xml"/><Relationship Id="rId25" Type="http://schemas.openxmlformats.org/officeDocument/2006/relationships/slideLayout" Target="../slideLayouts/slideLayout144.xml"/><Relationship Id="rId2" Type="http://schemas.openxmlformats.org/officeDocument/2006/relationships/slideLayout" Target="../slideLayouts/slideLayout121.xml"/><Relationship Id="rId16" Type="http://schemas.openxmlformats.org/officeDocument/2006/relationships/slideLayout" Target="../slideLayouts/slideLayout135.xml"/><Relationship Id="rId20" Type="http://schemas.openxmlformats.org/officeDocument/2006/relationships/slideLayout" Target="../slideLayouts/slideLayout139.xml"/><Relationship Id="rId29" Type="http://schemas.openxmlformats.org/officeDocument/2006/relationships/slideLayout" Target="../slideLayouts/slideLayout148.xml"/><Relationship Id="rId1" Type="http://schemas.openxmlformats.org/officeDocument/2006/relationships/slideLayout" Target="../slideLayouts/slideLayout120.xml"/><Relationship Id="rId6" Type="http://schemas.openxmlformats.org/officeDocument/2006/relationships/slideLayout" Target="../slideLayouts/slideLayout125.xml"/><Relationship Id="rId11" Type="http://schemas.openxmlformats.org/officeDocument/2006/relationships/slideLayout" Target="../slideLayouts/slideLayout130.xml"/><Relationship Id="rId24" Type="http://schemas.openxmlformats.org/officeDocument/2006/relationships/slideLayout" Target="../slideLayouts/slideLayout143.xml"/><Relationship Id="rId32" Type="http://schemas.openxmlformats.org/officeDocument/2006/relationships/theme" Target="../theme/theme6.xml"/><Relationship Id="rId5" Type="http://schemas.openxmlformats.org/officeDocument/2006/relationships/slideLayout" Target="../slideLayouts/slideLayout124.xml"/><Relationship Id="rId15" Type="http://schemas.openxmlformats.org/officeDocument/2006/relationships/slideLayout" Target="../slideLayouts/slideLayout134.xml"/><Relationship Id="rId23" Type="http://schemas.openxmlformats.org/officeDocument/2006/relationships/slideLayout" Target="../slideLayouts/slideLayout142.xml"/><Relationship Id="rId28" Type="http://schemas.openxmlformats.org/officeDocument/2006/relationships/slideLayout" Target="../slideLayouts/slideLayout147.xml"/><Relationship Id="rId10" Type="http://schemas.openxmlformats.org/officeDocument/2006/relationships/slideLayout" Target="../slideLayouts/slideLayout129.xml"/><Relationship Id="rId19" Type="http://schemas.openxmlformats.org/officeDocument/2006/relationships/slideLayout" Target="../slideLayouts/slideLayout138.xml"/><Relationship Id="rId31" Type="http://schemas.openxmlformats.org/officeDocument/2006/relationships/slideLayout" Target="../slideLayouts/slideLayout150.xml"/><Relationship Id="rId4" Type="http://schemas.openxmlformats.org/officeDocument/2006/relationships/slideLayout" Target="../slideLayouts/slideLayout123.xml"/><Relationship Id="rId9" Type="http://schemas.openxmlformats.org/officeDocument/2006/relationships/slideLayout" Target="../slideLayouts/slideLayout128.xml"/><Relationship Id="rId14" Type="http://schemas.openxmlformats.org/officeDocument/2006/relationships/slideLayout" Target="../slideLayouts/slideLayout133.xml"/><Relationship Id="rId22" Type="http://schemas.openxmlformats.org/officeDocument/2006/relationships/slideLayout" Target="../slideLayouts/slideLayout141.xml"/><Relationship Id="rId27" Type="http://schemas.openxmlformats.org/officeDocument/2006/relationships/slideLayout" Target="../slideLayouts/slideLayout146.xml"/><Relationship Id="rId30" Type="http://schemas.openxmlformats.org/officeDocument/2006/relationships/slideLayout" Target="../slideLayouts/slideLayout149.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58.xml"/><Relationship Id="rId13" Type="http://schemas.openxmlformats.org/officeDocument/2006/relationships/slideLayout" Target="../slideLayouts/slideLayout163.xml"/><Relationship Id="rId18" Type="http://schemas.openxmlformats.org/officeDocument/2006/relationships/slideLayout" Target="../slideLayouts/slideLayout168.xml"/><Relationship Id="rId26" Type="http://schemas.openxmlformats.org/officeDocument/2006/relationships/slideLayout" Target="../slideLayouts/slideLayout176.xml"/><Relationship Id="rId3" Type="http://schemas.openxmlformats.org/officeDocument/2006/relationships/slideLayout" Target="../slideLayouts/slideLayout153.xml"/><Relationship Id="rId21" Type="http://schemas.openxmlformats.org/officeDocument/2006/relationships/slideLayout" Target="../slideLayouts/slideLayout171.xml"/><Relationship Id="rId7" Type="http://schemas.openxmlformats.org/officeDocument/2006/relationships/slideLayout" Target="../slideLayouts/slideLayout157.xml"/><Relationship Id="rId12" Type="http://schemas.openxmlformats.org/officeDocument/2006/relationships/slideLayout" Target="../slideLayouts/slideLayout162.xml"/><Relationship Id="rId17" Type="http://schemas.openxmlformats.org/officeDocument/2006/relationships/slideLayout" Target="../slideLayouts/slideLayout167.xml"/><Relationship Id="rId25" Type="http://schemas.openxmlformats.org/officeDocument/2006/relationships/slideLayout" Target="../slideLayouts/slideLayout175.xml"/><Relationship Id="rId2" Type="http://schemas.openxmlformats.org/officeDocument/2006/relationships/slideLayout" Target="../slideLayouts/slideLayout152.xml"/><Relationship Id="rId16" Type="http://schemas.openxmlformats.org/officeDocument/2006/relationships/slideLayout" Target="../slideLayouts/slideLayout166.xml"/><Relationship Id="rId20" Type="http://schemas.openxmlformats.org/officeDocument/2006/relationships/slideLayout" Target="../slideLayouts/slideLayout170.xml"/><Relationship Id="rId29" Type="http://schemas.openxmlformats.org/officeDocument/2006/relationships/theme" Target="../theme/theme7.xml"/><Relationship Id="rId1" Type="http://schemas.openxmlformats.org/officeDocument/2006/relationships/slideLayout" Target="../slideLayouts/slideLayout151.xml"/><Relationship Id="rId6" Type="http://schemas.openxmlformats.org/officeDocument/2006/relationships/slideLayout" Target="../slideLayouts/slideLayout156.xml"/><Relationship Id="rId11" Type="http://schemas.openxmlformats.org/officeDocument/2006/relationships/slideLayout" Target="../slideLayouts/slideLayout161.xml"/><Relationship Id="rId24" Type="http://schemas.openxmlformats.org/officeDocument/2006/relationships/slideLayout" Target="../slideLayouts/slideLayout174.xml"/><Relationship Id="rId5" Type="http://schemas.openxmlformats.org/officeDocument/2006/relationships/slideLayout" Target="../slideLayouts/slideLayout155.xml"/><Relationship Id="rId15" Type="http://schemas.openxmlformats.org/officeDocument/2006/relationships/slideLayout" Target="../slideLayouts/slideLayout165.xml"/><Relationship Id="rId23" Type="http://schemas.openxmlformats.org/officeDocument/2006/relationships/slideLayout" Target="../slideLayouts/slideLayout173.xml"/><Relationship Id="rId28" Type="http://schemas.openxmlformats.org/officeDocument/2006/relationships/slideLayout" Target="../slideLayouts/slideLayout178.xml"/><Relationship Id="rId10" Type="http://schemas.openxmlformats.org/officeDocument/2006/relationships/slideLayout" Target="../slideLayouts/slideLayout160.xml"/><Relationship Id="rId19" Type="http://schemas.openxmlformats.org/officeDocument/2006/relationships/slideLayout" Target="../slideLayouts/slideLayout169.xml"/><Relationship Id="rId4" Type="http://schemas.openxmlformats.org/officeDocument/2006/relationships/slideLayout" Target="../slideLayouts/slideLayout154.xml"/><Relationship Id="rId9" Type="http://schemas.openxmlformats.org/officeDocument/2006/relationships/slideLayout" Target="../slideLayouts/slideLayout159.xml"/><Relationship Id="rId14" Type="http://schemas.openxmlformats.org/officeDocument/2006/relationships/slideLayout" Target="../slideLayouts/slideLayout164.xml"/><Relationship Id="rId22" Type="http://schemas.openxmlformats.org/officeDocument/2006/relationships/slideLayout" Target="../slideLayouts/slideLayout172.xml"/><Relationship Id="rId27" Type="http://schemas.openxmlformats.org/officeDocument/2006/relationships/slideLayout" Target="../slideLayouts/slideLayout177.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86.xml"/><Relationship Id="rId13" Type="http://schemas.openxmlformats.org/officeDocument/2006/relationships/slideLayout" Target="../slideLayouts/slideLayout191.xml"/><Relationship Id="rId18" Type="http://schemas.openxmlformats.org/officeDocument/2006/relationships/slideLayout" Target="../slideLayouts/slideLayout196.xml"/><Relationship Id="rId26" Type="http://schemas.openxmlformats.org/officeDocument/2006/relationships/slideLayout" Target="../slideLayouts/slideLayout204.xml"/><Relationship Id="rId3" Type="http://schemas.openxmlformats.org/officeDocument/2006/relationships/slideLayout" Target="../slideLayouts/slideLayout181.xml"/><Relationship Id="rId21" Type="http://schemas.openxmlformats.org/officeDocument/2006/relationships/slideLayout" Target="../slideLayouts/slideLayout199.xml"/><Relationship Id="rId7" Type="http://schemas.openxmlformats.org/officeDocument/2006/relationships/slideLayout" Target="../slideLayouts/slideLayout185.xml"/><Relationship Id="rId12" Type="http://schemas.openxmlformats.org/officeDocument/2006/relationships/slideLayout" Target="../slideLayouts/slideLayout190.xml"/><Relationship Id="rId17" Type="http://schemas.openxmlformats.org/officeDocument/2006/relationships/slideLayout" Target="../slideLayouts/slideLayout195.xml"/><Relationship Id="rId25" Type="http://schemas.openxmlformats.org/officeDocument/2006/relationships/slideLayout" Target="../slideLayouts/slideLayout203.xml"/><Relationship Id="rId2" Type="http://schemas.openxmlformats.org/officeDocument/2006/relationships/slideLayout" Target="../slideLayouts/slideLayout180.xml"/><Relationship Id="rId16" Type="http://schemas.openxmlformats.org/officeDocument/2006/relationships/slideLayout" Target="../slideLayouts/slideLayout194.xml"/><Relationship Id="rId20" Type="http://schemas.openxmlformats.org/officeDocument/2006/relationships/slideLayout" Target="../slideLayouts/slideLayout198.xml"/><Relationship Id="rId29" Type="http://schemas.openxmlformats.org/officeDocument/2006/relationships/slideLayout" Target="../slideLayouts/slideLayout207.xml"/><Relationship Id="rId1" Type="http://schemas.openxmlformats.org/officeDocument/2006/relationships/slideLayout" Target="../slideLayouts/slideLayout179.xml"/><Relationship Id="rId6" Type="http://schemas.openxmlformats.org/officeDocument/2006/relationships/slideLayout" Target="../slideLayouts/slideLayout184.xml"/><Relationship Id="rId11" Type="http://schemas.openxmlformats.org/officeDocument/2006/relationships/slideLayout" Target="../slideLayouts/slideLayout189.xml"/><Relationship Id="rId24" Type="http://schemas.openxmlformats.org/officeDocument/2006/relationships/slideLayout" Target="../slideLayouts/slideLayout202.xml"/><Relationship Id="rId5" Type="http://schemas.openxmlformats.org/officeDocument/2006/relationships/slideLayout" Target="../slideLayouts/slideLayout183.xml"/><Relationship Id="rId15" Type="http://schemas.openxmlformats.org/officeDocument/2006/relationships/slideLayout" Target="../slideLayouts/slideLayout193.xml"/><Relationship Id="rId23" Type="http://schemas.openxmlformats.org/officeDocument/2006/relationships/slideLayout" Target="../slideLayouts/slideLayout201.xml"/><Relationship Id="rId28" Type="http://schemas.openxmlformats.org/officeDocument/2006/relationships/slideLayout" Target="../slideLayouts/slideLayout206.xml"/><Relationship Id="rId10" Type="http://schemas.openxmlformats.org/officeDocument/2006/relationships/slideLayout" Target="../slideLayouts/slideLayout188.xml"/><Relationship Id="rId19" Type="http://schemas.openxmlformats.org/officeDocument/2006/relationships/slideLayout" Target="../slideLayouts/slideLayout197.xml"/><Relationship Id="rId4" Type="http://schemas.openxmlformats.org/officeDocument/2006/relationships/slideLayout" Target="../slideLayouts/slideLayout182.xml"/><Relationship Id="rId9" Type="http://schemas.openxmlformats.org/officeDocument/2006/relationships/slideLayout" Target="../slideLayouts/slideLayout187.xml"/><Relationship Id="rId14" Type="http://schemas.openxmlformats.org/officeDocument/2006/relationships/slideLayout" Target="../slideLayouts/slideLayout192.xml"/><Relationship Id="rId22" Type="http://schemas.openxmlformats.org/officeDocument/2006/relationships/slideLayout" Target="../slideLayouts/slideLayout200.xml"/><Relationship Id="rId27" Type="http://schemas.openxmlformats.org/officeDocument/2006/relationships/slideLayout" Target="../slideLayouts/slideLayout205.xml"/><Relationship Id="rId30" Type="http://schemas.openxmlformats.org/officeDocument/2006/relationships/theme" Target="../theme/theme8.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215.xml"/><Relationship Id="rId13" Type="http://schemas.openxmlformats.org/officeDocument/2006/relationships/tags" Target="../tags/tag74.xml"/><Relationship Id="rId3" Type="http://schemas.openxmlformats.org/officeDocument/2006/relationships/slideLayout" Target="../slideLayouts/slideLayout210.xml"/><Relationship Id="rId7" Type="http://schemas.openxmlformats.org/officeDocument/2006/relationships/slideLayout" Target="../slideLayouts/slideLayout214.xml"/><Relationship Id="rId12" Type="http://schemas.openxmlformats.org/officeDocument/2006/relationships/tags" Target="../tags/tag73.xml"/><Relationship Id="rId2" Type="http://schemas.openxmlformats.org/officeDocument/2006/relationships/slideLayout" Target="../slideLayouts/slideLayout209.xml"/><Relationship Id="rId16" Type="http://schemas.openxmlformats.org/officeDocument/2006/relationships/image" Target="../media/image26.png"/><Relationship Id="rId1" Type="http://schemas.openxmlformats.org/officeDocument/2006/relationships/slideLayout" Target="../slideLayouts/slideLayout208.xml"/><Relationship Id="rId6" Type="http://schemas.openxmlformats.org/officeDocument/2006/relationships/slideLayout" Target="../slideLayouts/slideLayout213.xml"/><Relationship Id="rId11" Type="http://schemas.openxmlformats.org/officeDocument/2006/relationships/vmlDrawing" Target="../drawings/vmlDrawing13.vml"/><Relationship Id="rId5" Type="http://schemas.openxmlformats.org/officeDocument/2006/relationships/slideLayout" Target="../slideLayouts/slideLayout212.xml"/><Relationship Id="rId15" Type="http://schemas.openxmlformats.org/officeDocument/2006/relationships/image" Target="../media/image25.emf"/><Relationship Id="rId10" Type="http://schemas.openxmlformats.org/officeDocument/2006/relationships/theme" Target="../theme/theme9.xml"/><Relationship Id="rId4" Type="http://schemas.openxmlformats.org/officeDocument/2006/relationships/slideLayout" Target="../slideLayouts/slideLayout211.xml"/><Relationship Id="rId9" Type="http://schemas.openxmlformats.org/officeDocument/2006/relationships/slideLayout" Target="../slideLayouts/slideLayout216.xml"/><Relationship Id="rId14" Type="http://schemas.openxmlformats.org/officeDocument/2006/relationships/oleObject" Target="../embeddings/oleObject13.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6"/>
            </p:custDataLst>
          </p:nvPr>
        </p:nvGraphicFramePr>
        <p:xfrm>
          <a:off x="2122" y="2123"/>
          <a:ext cx="2116" cy="2115"/>
        </p:xfrm>
        <a:graphic>
          <a:graphicData uri="http://schemas.openxmlformats.org/presentationml/2006/ole">
            <mc:AlternateContent xmlns:mc="http://schemas.openxmlformats.org/markup-compatibility/2006">
              <mc:Choice xmlns:v="urn:schemas-microsoft-com:vml" Requires="v">
                <p:oleObj spid="_x0000_s34886" name="think-cell Slide" r:id="rId29" imgW="353" imgH="353" progId="TCLayout.ActiveDocument.1">
                  <p:embed/>
                </p:oleObj>
              </mc:Choice>
              <mc:Fallback>
                <p:oleObj name="think-cell Slide" r:id="rId29" imgW="353" imgH="353" progId="TCLayout.ActiveDocument.1">
                  <p:embed/>
                  <p:pic>
                    <p:nvPicPr>
                      <p:cNvPr id="5" name="Object 4" hidden="1"/>
                      <p:cNvPicPr/>
                      <p:nvPr/>
                    </p:nvPicPr>
                    <p:blipFill>
                      <a:blip r:embed="rId30"/>
                      <a:stretch>
                        <a:fillRect/>
                      </a:stretch>
                    </p:blipFill>
                    <p:spPr>
                      <a:xfrm>
                        <a:off x="2122" y="2123"/>
                        <a:ext cx="2116" cy="2115"/>
                      </a:xfrm>
                      <a:prstGeom prst="rect">
                        <a:avLst/>
                      </a:prstGeom>
                    </p:spPr>
                  </p:pic>
                </p:oleObj>
              </mc:Fallback>
            </mc:AlternateContent>
          </a:graphicData>
        </a:graphic>
      </p:graphicFrame>
      <p:sp>
        <p:nvSpPr>
          <p:cNvPr id="2" name="Title Placeholder 1"/>
          <p:cNvSpPr>
            <a:spLocks noGrp="1"/>
          </p:cNvSpPr>
          <p:nvPr>
            <p:ph type="title"/>
          </p:nvPr>
        </p:nvSpPr>
        <p:spPr bwMode="gray">
          <a:xfrm>
            <a:off x="431220" y="260559"/>
            <a:ext cx="8545185" cy="768107"/>
          </a:xfrm>
          <a:prstGeom prst="rect">
            <a:avLst/>
          </a:prstGeom>
        </p:spPr>
        <p:txBody>
          <a:bodyPr vert="horz" lIns="0" tIns="0" rIns="0" bIns="0" rtlCol="0" anchor="b" anchorCtr="0">
            <a:noAutofit/>
          </a:bodyPr>
          <a:lstStyle/>
          <a:p>
            <a:r>
              <a:rPr lang="en-US"/>
              <a:t>Click to add headline</a:t>
            </a:r>
            <a:endParaRPr lang="en-US" noProof="0"/>
          </a:p>
        </p:txBody>
      </p:sp>
      <p:sp>
        <p:nvSpPr>
          <p:cNvPr id="3" name="Text Placeholder 2"/>
          <p:cNvSpPr>
            <a:spLocks noGrp="1"/>
          </p:cNvSpPr>
          <p:nvPr>
            <p:ph type="body" idx="1"/>
            <p:custDataLst>
              <p:tags r:id="rId27"/>
            </p:custDataLst>
          </p:nvPr>
        </p:nvSpPr>
        <p:spPr bwMode="gray">
          <a:xfrm>
            <a:off x="431215" y="1220695"/>
            <a:ext cx="11329573" cy="5088706"/>
          </a:xfrm>
          <a:prstGeom prst="rect">
            <a:avLst/>
          </a:prstGeom>
        </p:spPr>
        <p:txBody>
          <a:bodyPr vert="horz" lIns="0" tIns="18000" rIns="0" bIns="0" rtlCol="0" anchor="t" anchorCtr="0">
            <a:noAutofit/>
          </a:bodyPr>
          <a:lstStyle/>
          <a:p>
            <a:pPr lvl="0"/>
            <a:r>
              <a:rPr lang="en-US" noProof="0"/>
              <a:t>Click to add text</a:t>
            </a:r>
          </a:p>
          <a:p>
            <a:pPr lvl="1"/>
            <a:r>
              <a:rPr lang="en-US" noProof="0"/>
              <a:t>Second level</a:t>
            </a:r>
          </a:p>
          <a:p>
            <a:pPr lvl="2"/>
            <a:r>
              <a:rPr lang="en-US" noProof="0"/>
              <a:t>Third level</a:t>
            </a:r>
          </a:p>
          <a:p>
            <a:pPr lvl="3"/>
            <a:r>
              <a:rPr lang="en-US" noProof="0"/>
              <a:t>Fourth level</a:t>
            </a:r>
          </a:p>
          <a:p>
            <a:pPr lvl="4"/>
            <a:r>
              <a:rPr lang="en-US" noProof="0"/>
              <a:t>Fifth level</a:t>
            </a:r>
          </a:p>
          <a:p>
            <a:pPr lvl="5"/>
            <a:r>
              <a:rPr lang="en-US" noProof="0"/>
              <a:t>Sixth level</a:t>
            </a:r>
          </a:p>
          <a:p>
            <a:pPr lvl="6"/>
            <a:r>
              <a:rPr lang="en-US" noProof="0"/>
              <a:t>Seventh level</a:t>
            </a:r>
          </a:p>
          <a:p>
            <a:pPr lvl="6"/>
            <a:r>
              <a:rPr lang="en-US" noProof="0"/>
              <a:t>Eighth level</a:t>
            </a:r>
          </a:p>
          <a:p>
            <a:pPr lvl="8"/>
            <a:r>
              <a:rPr lang="en-US" noProof="0"/>
              <a:t>Ninth level</a:t>
            </a:r>
          </a:p>
        </p:txBody>
      </p:sp>
      <p:grpSp>
        <p:nvGrpSpPr>
          <p:cNvPr id="15" name="Gruppieren 14"/>
          <p:cNvGrpSpPr/>
          <p:nvPr/>
        </p:nvGrpSpPr>
        <p:grpSpPr bwMode="gray">
          <a:xfrm>
            <a:off x="431801" y="-420692"/>
            <a:ext cx="11328987" cy="288040"/>
            <a:chOff x="323850" y="-531550"/>
            <a:chExt cx="8496740" cy="432060"/>
          </a:xfrm>
        </p:grpSpPr>
        <p:cxnSp>
          <p:nvCxnSpPr>
            <p:cNvPr id="16" name="Gerade Verbindung 15"/>
            <p:cNvCxnSpPr/>
            <p:nvPr userDrawn="1"/>
          </p:nvCxnSpPr>
          <p:spPr bwMode="gray">
            <a:xfrm rot="5400000">
              <a:off x="10782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 name="Gerade Verbindung 16"/>
            <p:cNvCxnSpPr/>
            <p:nvPr userDrawn="1"/>
          </p:nvCxnSpPr>
          <p:spPr bwMode="gray">
            <a:xfrm rot="5400000">
              <a:off x="14035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 name="Gerade Verbindung 17"/>
            <p:cNvCxnSpPr/>
            <p:nvPr userDrawn="1"/>
          </p:nvCxnSpPr>
          <p:spPr bwMode="gray">
            <a:xfrm rot="5400000">
              <a:off x="154758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Gerade Verbindung 18"/>
            <p:cNvCxnSpPr/>
            <p:nvPr userDrawn="1"/>
          </p:nvCxnSpPr>
          <p:spPr bwMode="gray">
            <a:xfrm rot="5400000">
              <a:off x="28437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 name="Gerade Verbindung 19"/>
            <p:cNvCxnSpPr/>
            <p:nvPr userDrawn="1"/>
          </p:nvCxnSpPr>
          <p:spPr bwMode="gray">
            <a:xfrm rot="5400000">
              <a:off x="298778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 name="Gerade Verbindung 20"/>
            <p:cNvCxnSpPr/>
            <p:nvPr userDrawn="1"/>
          </p:nvCxnSpPr>
          <p:spPr bwMode="gray">
            <a:xfrm rot="5400000">
              <a:off x="42839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2" name="Gerade Verbindung 21"/>
            <p:cNvCxnSpPr/>
            <p:nvPr userDrawn="1"/>
          </p:nvCxnSpPr>
          <p:spPr bwMode="gray">
            <a:xfrm rot="5400000">
              <a:off x="442798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 name="Gerade Verbindung 22"/>
            <p:cNvCxnSpPr/>
            <p:nvPr userDrawn="1"/>
          </p:nvCxnSpPr>
          <p:spPr bwMode="gray">
            <a:xfrm rot="5400000">
              <a:off x="57241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 name="Gerade Verbindung 23"/>
            <p:cNvCxnSpPr/>
            <p:nvPr userDrawn="1"/>
          </p:nvCxnSpPr>
          <p:spPr bwMode="gray">
            <a:xfrm rot="5400000">
              <a:off x="586818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 name="Gerade Verbindung 24"/>
            <p:cNvCxnSpPr/>
            <p:nvPr userDrawn="1"/>
          </p:nvCxnSpPr>
          <p:spPr bwMode="gray">
            <a:xfrm rot="5400000">
              <a:off x="71643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 name="Gerade Verbindung 25"/>
            <p:cNvCxnSpPr/>
            <p:nvPr userDrawn="1"/>
          </p:nvCxnSpPr>
          <p:spPr bwMode="gray">
            <a:xfrm rot="5400000">
              <a:off x="730838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7" name="Gerade Verbindung 26"/>
            <p:cNvCxnSpPr/>
            <p:nvPr userDrawn="1"/>
          </p:nvCxnSpPr>
          <p:spPr bwMode="gray">
            <a:xfrm rot="5400000">
              <a:off x="86045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28" name="Gruppieren 27"/>
          <p:cNvGrpSpPr/>
          <p:nvPr/>
        </p:nvGrpSpPr>
        <p:grpSpPr bwMode="gray">
          <a:xfrm>
            <a:off x="431801" y="6981496"/>
            <a:ext cx="11328987" cy="288040"/>
            <a:chOff x="323850" y="-531550"/>
            <a:chExt cx="8496740" cy="432060"/>
          </a:xfrm>
        </p:grpSpPr>
        <p:cxnSp>
          <p:nvCxnSpPr>
            <p:cNvPr id="29" name="Gerade Verbindung 28"/>
            <p:cNvCxnSpPr/>
            <p:nvPr userDrawn="1"/>
          </p:nvCxnSpPr>
          <p:spPr bwMode="gray">
            <a:xfrm rot="5400000">
              <a:off x="10782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0" name="Gerade Verbindung 29"/>
            <p:cNvCxnSpPr/>
            <p:nvPr userDrawn="1"/>
          </p:nvCxnSpPr>
          <p:spPr bwMode="gray">
            <a:xfrm rot="5400000">
              <a:off x="14035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1" name="Gerade Verbindung 30"/>
            <p:cNvCxnSpPr/>
            <p:nvPr userDrawn="1"/>
          </p:nvCxnSpPr>
          <p:spPr bwMode="gray">
            <a:xfrm rot="5400000">
              <a:off x="154758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2" name="Gerade Verbindung 31"/>
            <p:cNvCxnSpPr/>
            <p:nvPr userDrawn="1"/>
          </p:nvCxnSpPr>
          <p:spPr bwMode="gray">
            <a:xfrm rot="5400000">
              <a:off x="28437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3" name="Gerade Verbindung 32"/>
            <p:cNvCxnSpPr/>
            <p:nvPr userDrawn="1"/>
          </p:nvCxnSpPr>
          <p:spPr bwMode="gray">
            <a:xfrm rot="5400000">
              <a:off x="298778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4" name="Gerade Verbindung 33"/>
            <p:cNvCxnSpPr/>
            <p:nvPr userDrawn="1"/>
          </p:nvCxnSpPr>
          <p:spPr bwMode="gray">
            <a:xfrm rot="5400000">
              <a:off x="42839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5" name="Gerade Verbindung 34"/>
            <p:cNvCxnSpPr/>
            <p:nvPr userDrawn="1"/>
          </p:nvCxnSpPr>
          <p:spPr bwMode="gray">
            <a:xfrm rot="5400000">
              <a:off x="442798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6" name="Gerade Verbindung 35"/>
            <p:cNvCxnSpPr/>
            <p:nvPr userDrawn="1"/>
          </p:nvCxnSpPr>
          <p:spPr bwMode="gray">
            <a:xfrm rot="5400000">
              <a:off x="57241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7" name="Gerade Verbindung 36"/>
            <p:cNvCxnSpPr/>
            <p:nvPr userDrawn="1"/>
          </p:nvCxnSpPr>
          <p:spPr bwMode="gray">
            <a:xfrm rot="5400000">
              <a:off x="586818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8" name="Gerade Verbindung 37"/>
            <p:cNvCxnSpPr/>
            <p:nvPr userDrawn="1"/>
          </p:nvCxnSpPr>
          <p:spPr bwMode="gray">
            <a:xfrm rot="5400000">
              <a:off x="71643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9" name="Gerade Verbindung 38"/>
            <p:cNvCxnSpPr/>
            <p:nvPr userDrawn="1"/>
          </p:nvCxnSpPr>
          <p:spPr bwMode="gray">
            <a:xfrm rot="5400000">
              <a:off x="730838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0" name="Gerade Verbindung 39"/>
            <p:cNvCxnSpPr/>
            <p:nvPr userDrawn="1"/>
          </p:nvCxnSpPr>
          <p:spPr bwMode="gray">
            <a:xfrm rot="5400000">
              <a:off x="86045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8" name="Gruppieren 7"/>
          <p:cNvGrpSpPr/>
          <p:nvPr/>
        </p:nvGrpSpPr>
        <p:grpSpPr bwMode="gray">
          <a:xfrm>
            <a:off x="12336688" y="260653"/>
            <a:ext cx="288221" cy="6336792"/>
            <a:chOff x="9252514" y="195486"/>
            <a:chExt cx="216166" cy="4752594"/>
          </a:xfrm>
        </p:grpSpPr>
        <p:cxnSp>
          <p:nvCxnSpPr>
            <p:cNvPr id="48" name="Gerade Verbindung 47"/>
            <p:cNvCxnSpPr/>
            <p:nvPr userDrawn="1"/>
          </p:nvCxnSpPr>
          <p:spPr bwMode="gray">
            <a:xfrm>
              <a:off x="9252650" y="915566"/>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9" name="Gerade Verbindung 48"/>
            <p:cNvCxnSpPr/>
            <p:nvPr userDrawn="1"/>
          </p:nvCxnSpPr>
          <p:spPr bwMode="gray">
            <a:xfrm>
              <a:off x="9252650" y="77150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0" name="Gerade Verbindung 49"/>
            <p:cNvCxnSpPr/>
            <p:nvPr userDrawn="1"/>
          </p:nvCxnSpPr>
          <p:spPr bwMode="gray">
            <a:xfrm>
              <a:off x="9252650" y="494808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1" name="Gerade Verbindung 50"/>
            <p:cNvCxnSpPr/>
            <p:nvPr userDrawn="1"/>
          </p:nvCxnSpPr>
          <p:spPr bwMode="gray">
            <a:xfrm>
              <a:off x="9252650" y="480406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2" name="Gerade Verbindung 51"/>
            <p:cNvCxnSpPr/>
            <p:nvPr userDrawn="1"/>
          </p:nvCxnSpPr>
          <p:spPr bwMode="gray">
            <a:xfrm>
              <a:off x="9252650" y="415597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3" name="Gerade Verbindung 52"/>
            <p:cNvCxnSpPr/>
            <p:nvPr userDrawn="1"/>
          </p:nvCxnSpPr>
          <p:spPr bwMode="gray">
            <a:xfrm>
              <a:off x="9252650" y="401195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4" name="Gerade Verbindung 53"/>
            <p:cNvCxnSpPr/>
            <p:nvPr userDrawn="1"/>
          </p:nvCxnSpPr>
          <p:spPr bwMode="gray">
            <a:xfrm>
              <a:off x="9252650" y="336386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5" name="Gerade Verbindung 54"/>
            <p:cNvCxnSpPr/>
            <p:nvPr userDrawn="1"/>
          </p:nvCxnSpPr>
          <p:spPr bwMode="gray">
            <a:xfrm>
              <a:off x="9252650" y="321984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6" name="Gerade Verbindung 55"/>
            <p:cNvCxnSpPr/>
            <p:nvPr userDrawn="1"/>
          </p:nvCxnSpPr>
          <p:spPr bwMode="gray">
            <a:xfrm>
              <a:off x="9252650" y="257175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7" name="Gerade Verbindung 56"/>
            <p:cNvCxnSpPr/>
            <p:nvPr userDrawn="1"/>
          </p:nvCxnSpPr>
          <p:spPr bwMode="gray">
            <a:xfrm>
              <a:off x="9252650" y="242773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8" name="Gerade Verbindung 57"/>
            <p:cNvCxnSpPr/>
            <p:nvPr userDrawn="1"/>
          </p:nvCxnSpPr>
          <p:spPr bwMode="gray">
            <a:xfrm>
              <a:off x="9252650" y="177964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9" name="Gerade Verbindung 58"/>
            <p:cNvCxnSpPr/>
            <p:nvPr userDrawn="1"/>
          </p:nvCxnSpPr>
          <p:spPr bwMode="gray">
            <a:xfrm>
              <a:off x="9252650" y="163562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0" name="Gerade Verbindung 59"/>
            <p:cNvCxnSpPr/>
            <p:nvPr userDrawn="1"/>
          </p:nvCxnSpPr>
          <p:spPr bwMode="gray">
            <a:xfrm>
              <a:off x="9252650" y="473205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2" name="Gerade Verbindung 81"/>
            <p:cNvCxnSpPr/>
            <p:nvPr userDrawn="1"/>
          </p:nvCxnSpPr>
          <p:spPr bwMode="gray">
            <a:xfrm>
              <a:off x="9252514" y="1275606"/>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3" name="Gerade Verbindung 82"/>
            <p:cNvCxnSpPr/>
            <p:nvPr userDrawn="1"/>
          </p:nvCxnSpPr>
          <p:spPr bwMode="gray">
            <a:xfrm>
              <a:off x="9252520" y="195486"/>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6" name="Gerade Verbindung 85"/>
            <p:cNvCxnSpPr/>
            <p:nvPr userDrawn="1"/>
          </p:nvCxnSpPr>
          <p:spPr bwMode="gray">
            <a:xfrm>
              <a:off x="9252650" y="1419225"/>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64" name="Gruppieren 63"/>
          <p:cNvGrpSpPr/>
          <p:nvPr/>
        </p:nvGrpSpPr>
        <p:grpSpPr bwMode="gray">
          <a:xfrm>
            <a:off x="-432907" y="260653"/>
            <a:ext cx="288221" cy="6336792"/>
            <a:chOff x="9252650" y="195486"/>
            <a:chExt cx="216166" cy="4752594"/>
          </a:xfrm>
        </p:grpSpPr>
        <p:cxnSp>
          <p:nvCxnSpPr>
            <p:cNvPr id="65" name="Gerade Verbindung 64"/>
            <p:cNvCxnSpPr/>
            <p:nvPr userDrawn="1"/>
          </p:nvCxnSpPr>
          <p:spPr bwMode="gray">
            <a:xfrm>
              <a:off x="9252650" y="915566"/>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7" name="Gerade Verbindung 66"/>
            <p:cNvCxnSpPr/>
            <p:nvPr userDrawn="1"/>
          </p:nvCxnSpPr>
          <p:spPr bwMode="gray">
            <a:xfrm>
              <a:off x="9252650" y="77150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8" name="Gerade Verbindung 67"/>
            <p:cNvCxnSpPr/>
            <p:nvPr userDrawn="1"/>
          </p:nvCxnSpPr>
          <p:spPr bwMode="gray">
            <a:xfrm>
              <a:off x="9252650" y="494808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9" name="Gerade Verbindung 68"/>
            <p:cNvCxnSpPr/>
            <p:nvPr userDrawn="1"/>
          </p:nvCxnSpPr>
          <p:spPr bwMode="gray">
            <a:xfrm>
              <a:off x="9252650" y="480406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0" name="Gerade Verbindung 69"/>
            <p:cNvCxnSpPr/>
            <p:nvPr userDrawn="1"/>
          </p:nvCxnSpPr>
          <p:spPr bwMode="gray">
            <a:xfrm>
              <a:off x="9252650" y="415597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1" name="Gerade Verbindung 70"/>
            <p:cNvCxnSpPr/>
            <p:nvPr userDrawn="1"/>
          </p:nvCxnSpPr>
          <p:spPr bwMode="gray">
            <a:xfrm>
              <a:off x="9252650" y="401195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2" name="Gerade Verbindung 71"/>
            <p:cNvCxnSpPr/>
            <p:nvPr userDrawn="1"/>
          </p:nvCxnSpPr>
          <p:spPr bwMode="gray">
            <a:xfrm>
              <a:off x="9252650" y="336386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3" name="Gerade Verbindung 72"/>
            <p:cNvCxnSpPr/>
            <p:nvPr userDrawn="1"/>
          </p:nvCxnSpPr>
          <p:spPr bwMode="gray">
            <a:xfrm>
              <a:off x="9252650" y="321984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4" name="Gerade Verbindung 73"/>
            <p:cNvCxnSpPr/>
            <p:nvPr userDrawn="1"/>
          </p:nvCxnSpPr>
          <p:spPr bwMode="gray">
            <a:xfrm>
              <a:off x="9252650" y="257175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5" name="Gerade Verbindung 74"/>
            <p:cNvCxnSpPr/>
            <p:nvPr userDrawn="1"/>
          </p:nvCxnSpPr>
          <p:spPr bwMode="gray">
            <a:xfrm>
              <a:off x="9252650" y="242773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6" name="Gerade Verbindung 75"/>
            <p:cNvCxnSpPr/>
            <p:nvPr userDrawn="1"/>
          </p:nvCxnSpPr>
          <p:spPr bwMode="gray">
            <a:xfrm>
              <a:off x="9252650" y="177964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7" name="Gerade Verbindung 76"/>
            <p:cNvCxnSpPr/>
            <p:nvPr userDrawn="1"/>
          </p:nvCxnSpPr>
          <p:spPr bwMode="gray">
            <a:xfrm>
              <a:off x="9252650" y="163562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8" name="Gerade Verbindung 77"/>
            <p:cNvCxnSpPr/>
            <p:nvPr userDrawn="1"/>
          </p:nvCxnSpPr>
          <p:spPr bwMode="gray">
            <a:xfrm>
              <a:off x="9252650" y="473205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1" name="Gerade Verbindung 80"/>
            <p:cNvCxnSpPr/>
            <p:nvPr userDrawn="1"/>
          </p:nvCxnSpPr>
          <p:spPr bwMode="gray">
            <a:xfrm>
              <a:off x="9252786" y="1275606"/>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4" name="Gerade Verbindung 83"/>
            <p:cNvCxnSpPr/>
            <p:nvPr userDrawn="1"/>
          </p:nvCxnSpPr>
          <p:spPr bwMode="gray">
            <a:xfrm>
              <a:off x="9252786" y="195486"/>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5" name="Gerade Verbindung 84"/>
            <p:cNvCxnSpPr/>
            <p:nvPr userDrawn="1"/>
          </p:nvCxnSpPr>
          <p:spPr bwMode="gray">
            <a:xfrm>
              <a:off x="9252786" y="1413738"/>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66" name="Rechteck 65"/>
          <p:cNvSpPr/>
          <p:nvPr/>
        </p:nvSpPr>
        <p:spPr bwMode="gray">
          <a:xfrm>
            <a:off x="10033001" y="6597442"/>
            <a:ext cx="1727787" cy="191999"/>
          </a:xfrm>
          <a:prstGeom prst="rect">
            <a:avLst/>
          </a:prstGeom>
          <a:solidFill>
            <a:schemeClr val="bg1"/>
          </a:solidFill>
          <a:ln w="9525">
            <a:noFill/>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lvl="0" algn="r"/>
            <a:fld id="{FCBC2E87-33EB-478A-988F-F7C865AFDA8A}" type="slidenum">
              <a:rPr lang="en-US" sz="1066" smtClean="0">
                <a:solidFill>
                  <a:schemeClr val="bg2"/>
                </a:solidFill>
                <a:latin typeface="Arial" pitchFamily="34" charset="0"/>
              </a:rPr>
              <a:t>‹#›</a:t>
            </a:fld>
            <a:endParaRPr lang="en-US" sz="1066">
              <a:solidFill>
                <a:schemeClr val="bg2"/>
              </a:solidFill>
              <a:latin typeface="Arial" pitchFamily="34" charset="0"/>
            </a:endParaRPr>
          </a:p>
        </p:txBody>
      </p:sp>
      <p:sp>
        <p:nvSpPr>
          <p:cNvPr id="79" name="Rechteck 13"/>
          <p:cNvSpPr/>
          <p:nvPr/>
        </p:nvSpPr>
        <p:spPr bwMode="gray">
          <a:xfrm>
            <a:off x="432520" y="6597442"/>
            <a:ext cx="9408000" cy="191999"/>
          </a:xfrm>
          <a:prstGeom prst="rect">
            <a:avLst/>
          </a:prstGeom>
          <a:solidFill>
            <a:schemeClr val="bg1"/>
          </a:solidFill>
          <a:ln w="9525">
            <a:noFill/>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lvl="8" indent="0">
              <a:tabLst/>
            </a:pPr>
            <a:r>
              <a:rPr lang="en-US" sz="1066" noProof="0">
                <a:solidFill>
                  <a:schemeClr val="bg2"/>
                </a:solidFill>
                <a:latin typeface="Arial" pitchFamily="34" charset="0"/>
              </a:rPr>
              <a:t>© GfK </a:t>
            </a:r>
            <a:fld id="{C5F468E3-E2B5-4048-B5A0-A2E0E1BF2E6A}" type="datetime4">
              <a:rPr lang="en-US" sz="1066" noProof="0" smtClean="0">
                <a:solidFill>
                  <a:schemeClr val="bg2"/>
                </a:solidFill>
                <a:latin typeface="Arial" pitchFamily="34" charset="0"/>
              </a:rPr>
              <a:pPr marL="0" lvl="8" indent="0">
                <a:tabLst/>
              </a:pPr>
              <a:t>June 26, 2020</a:t>
            </a:fld>
            <a:r>
              <a:rPr lang="en-US" sz="1066" noProof="0">
                <a:solidFill>
                  <a:schemeClr val="bg2"/>
                </a:solidFill>
                <a:latin typeface="Arial" pitchFamily="34" charset="0"/>
              </a:rPr>
              <a:t> | Title of presentation</a:t>
            </a:r>
          </a:p>
        </p:txBody>
      </p:sp>
      <p:pic>
        <p:nvPicPr>
          <p:cNvPr id="80" name="Grafik 75"/>
          <p:cNvPicPr>
            <a:picLocks noChangeAspect="1"/>
          </p:cNvPicPr>
          <p:nvPr/>
        </p:nvPicPr>
        <p:blipFill>
          <a:blip r:embed="rId31" cstate="email">
            <a:extLst>
              <a:ext uri="{28A0092B-C50C-407E-A947-70E740481C1C}">
                <a14:useLocalDpi xmlns:a14="http://schemas.microsoft.com/office/drawing/2010/main"/>
              </a:ext>
            </a:extLst>
          </a:blip>
          <a:stretch>
            <a:fillRect/>
          </a:stretch>
        </p:blipFill>
        <p:spPr bwMode="gray">
          <a:xfrm>
            <a:off x="10992258" y="260560"/>
            <a:ext cx="770129" cy="768000"/>
          </a:xfrm>
          <a:prstGeom prst="rect">
            <a:avLst/>
          </a:prstGeom>
        </p:spPr>
      </p:pic>
      <p:sp>
        <p:nvSpPr>
          <p:cNvPr id="4" name="VCT_Marker_ID_4" hidden="1"/>
          <p:cNvSpPr/>
          <p:nvPr>
            <p:custDataLst>
              <p:tags r:id="rId28"/>
            </p:custDataLst>
          </p:nvPr>
        </p:nvSpPr>
        <p:spPr bwMode="gray">
          <a:xfrm>
            <a:off x="1693335" y="169338"/>
            <a:ext cx="169333" cy="169333"/>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tx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802" tIns="60901" rIns="121802" bIns="60901" numCol="1" spcCol="0" rtlCol="0" fromWordArt="0" anchor="ctr" anchorCtr="0" forceAA="0" compatLnSpc="1">
            <a:prstTxWarp prst="textNoShape">
              <a:avLst/>
            </a:prstTxWarp>
            <a:noAutofit/>
          </a:bodyPr>
          <a:lstStyle/>
          <a:p>
            <a:pPr marL="0" indent="0" algn="ctr">
              <a:spcBef>
                <a:spcPts val="400"/>
              </a:spcBef>
              <a:buFont typeface="Courier New" pitchFamily="49" charset="0"/>
              <a:buNone/>
            </a:pPr>
            <a:endParaRPr lang="en-US" sz="2133">
              <a:solidFill>
                <a:schemeClr val="tx1"/>
              </a:solidFill>
              <a:latin typeface="Arial" pitchFamily="34" charset="0"/>
              <a:cs typeface="Arial" pitchFamily="34" charset="0"/>
            </a:endParaRPr>
          </a:p>
        </p:txBody>
      </p:sp>
    </p:spTree>
    <p:extLst>
      <p:ext uri="{BB962C8B-B14F-4D97-AF65-F5344CB8AC3E}">
        <p14:creationId xmlns:p14="http://schemas.microsoft.com/office/powerpoint/2010/main" val="1580601735"/>
      </p:ext>
    </p:extLst>
  </p:cSld>
  <p:clrMap bg1="lt1" tx1="dk1" bg2="lt2" tx2="dk2" accent1="accent1" accent2="accent2" accent3="accent3" accent4="accent4" accent5="accent5" accent6="accent6" hlink="hlink" folHlink="folHlink"/>
  <p:sldLayoutIdLst>
    <p:sldLayoutId id="2147483726" r:id="rId1"/>
    <p:sldLayoutId id="2147483727" r:id="rId2"/>
    <p:sldLayoutId id="2147483728" r:id="rId3"/>
    <p:sldLayoutId id="2147483729" r:id="rId4"/>
    <p:sldLayoutId id="2147483730" r:id="rId5"/>
    <p:sldLayoutId id="2147483731" r:id="rId6"/>
    <p:sldLayoutId id="2147483732" r:id="rId7"/>
    <p:sldLayoutId id="2147483733" r:id="rId8"/>
    <p:sldLayoutId id="2147483734" r:id="rId9"/>
    <p:sldLayoutId id="2147483735" r:id="rId10"/>
    <p:sldLayoutId id="2147483736" r:id="rId11"/>
    <p:sldLayoutId id="2147483737" r:id="rId12"/>
    <p:sldLayoutId id="2147483738" r:id="rId13"/>
    <p:sldLayoutId id="2147483739" r:id="rId14"/>
    <p:sldLayoutId id="2147483740" r:id="rId15"/>
    <p:sldLayoutId id="2147483741" r:id="rId16"/>
    <p:sldLayoutId id="2147483742" r:id="rId17"/>
    <p:sldLayoutId id="2147483743" r:id="rId18"/>
    <p:sldLayoutId id="2147483744" r:id="rId19"/>
    <p:sldLayoutId id="2147483745" r:id="rId20"/>
    <p:sldLayoutId id="2147483747" r:id="rId21"/>
    <p:sldLayoutId id="2147483748" r:id="rId22"/>
    <p:sldLayoutId id="2147483749" r:id="rId23"/>
  </p:sldLayoutIdLst>
  <p:txStyles>
    <p:titleStyle>
      <a:lvl1pPr algn="l" defTabSz="1218043" rtl="0" eaLnBrk="1" latinLnBrk="0" hangingPunct="1">
        <a:spcBef>
          <a:spcPct val="0"/>
        </a:spcBef>
        <a:buNone/>
        <a:defRPr sz="2398" kern="1200">
          <a:solidFill>
            <a:schemeClr val="tx1"/>
          </a:solidFill>
          <a:latin typeface="Arial" pitchFamily="34" charset="0"/>
          <a:ea typeface="+mj-ea"/>
          <a:cs typeface="+mj-cs"/>
        </a:defRPr>
      </a:lvl1pPr>
    </p:titleStyle>
    <p:bodyStyle>
      <a:lvl1pPr marL="0" marR="0" indent="0" algn="l" defTabSz="1218043" rtl="0" eaLnBrk="1" fontAlgn="auto" latinLnBrk="0" hangingPunct="1">
        <a:lnSpc>
          <a:spcPct val="100000"/>
        </a:lnSpc>
        <a:spcBef>
          <a:spcPts val="400"/>
        </a:spcBef>
        <a:spcAft>
          <a:spcPts val="0"/>
        </a:spcAft>
        <a:buClrTx/>
        <a:buSzTx/>
        <a:buFont typeface="Arial" pitchFamily="34" charset="0"/>
        <a:buNone/>
        <a:tabLst/>
        <a:defRPr sz="2133" kern="1200">
          <a:solidFill>
            <a:schemeClr val="tx1"/>
          </a:solidFill>
          <a:latin typeface="Arial" pitchFamily="34" charset="0"/>
          <a:ea typeface="+mn-ea"/>
          <a:cs typeface="Arial" pitchFamily="34" charset="0"/>
        </a:defRPr>
      </a:lvl1pPr>
      <a:lvl2pPr marL="239773" marR="0" indent="-239773" algn="l" defTabSz="1218043" rtl="0" eaLnBrk="1" fontAlgn="auto" latinLnBrk="0" hangingPunct="1">
        <a:lnSpc>
          <a:spcPct val="100000"/>
        </a:lnSpc>
        <a:spcBef>
          <a:spcPts val="400"/>
        </a:spcBef>
        <a:spcAft>
          <a:spcPts val="0"/>
        </a:spcAft>
        <a:buClrTx/>
        <a:buSzTx/>
        <a:buFont typeface="Wingdings" panose="05000000000000000000" pitchFamily="2" charset="2"/>
        <a:buChar char="§"/>
        <a:tabLst/>
        <a:defRPr sz="2133" kern="1200">
          <a:solidFill>
            <a:schemeClr val="tx1"/>
          </a:solidFill>
          <a:latin typeface="Arial" pitchFamily="34" charset="0"/>
          <a:ea typeface="+mn-ea"/>
          <a:cs typeface="Arial" pitchFamily="34" charset="0"/>
        </a:defRPr>
      </a:lvl2pPr>
      <a:lvl3pPr marL="479544" marR="0" indent="-241072" algn="l" defTabSz="1218043" rtl="0" eaLnBrk="1" fontAlgn="auto" latinLnBrk="0" hangingPunct="1">
        <a:lnSpc>
          <a:spcPct val="100000"/>
        </a:lnSpc>
        <a:spcBef>
          <a:spcPts val="400"/>
        </a:spcBef>
        <a:spcAft>
          <a:spcPts val="0"/>
        </a:spcAft>
        <a:buClrTx/>
        <a:buSzTx/>
        <a:buFont typeface="Wingdings" panose="05000000000000000000" pitchFamily="2" charset="2"/>
        <a:buChar char="§"/>
        <a:tabLst/>
        <a:defRPr sz="2133" kern="1200">
          <a:solidFill>
            <a:schemeClr val="tx1"/>
          </a:solidFill>
          <a:latin typeface="Arial" pitchFamily="34" charset="0"/>
          <a:ea typeface="+mn-ea"/>
          <a:cs typeface="Arial" pitchFamily="34" charset="0"/>
        </a:defRPr>
      </a:lvl3pPr>
      <a:lvl4pPr marL="719317" marR="0" indent="-241072" algn="l" defTabSz="1218043" rtl="0" eaLnBrk="1" fontAlgn="auto" latinLnBrk="0" hangingPunct="1">
        <a:lnSpc>
          <a:spcPct val="100000"/>
        </a:lnSpc>
        <a:spcBef>
          <a:spcPts val="400"/>
        </a:spcBef>
        <a:spcAft>
          <a:spcPts val="0"/>
        </a:spcAft>
        <a:buClrTx/>
        <a:buSzTx/>
        <a:buFont typeface="Wingdings" panose="05000000000000000000" pitchFamily="2" charset="2"/>
        <a:buChar char="§"/>
        <a:tabLst/>
        <a:defRPr sz="2133" kern="1200">
          <a:solidFill>
            <a:schemeClr val="tx1"/>
          </a:solidFill>
          <a:latin typeface="Arial" pitchFamily="34" charset="0"/>
          <a:ea typeface="+mn-ea"/>
          <a:cs typeface="Arial" pitchFamily="34" charset="0"/>
        </a:defRPr>
      </a:lvl4pPr>
      <a:lvl5pPr marL="959088" marR="0" indent="-241072" algn="l" defTabSz="1218043" rtl="0" eaLnBrk="1" fontAlgn="auto" latinLnBrk="0" hangingPunct="1">
        <a:lnSpc>
          <a:spcPct val="100000"/>
        </a:lnSpc>
        <a:spcBef>
          <a:spcPts val="400"/>
        </a:spcBef>
        <a:spcAft>
          <a:spcPts val="0"/>
        </a:spcAft>
        <a:buClrTx/>
        <a:buSzTx/>
        <a:buFont typeface="Wingdings" panose="05000000000000000000" pitchFamily="2" charset="2"/>
        <a:buChar char="§"/>
        <a:tabLst/>
        <a:defRPr sz="2133" kern="1200">
          <a:solidFill>
            <a:schemeClr val="tx1"/>
          </a:solidFill>
          <a:latin typeface="Arial" pitchFamily="34" charset="0"/>
          <a:ea typeface="+mn-ea"/>
          <a:cs typeface="Arial" pitchFamily="34" charset="0"/>
        </a:defRPr>
      </a:lvl5pPr>
      <a:lvl6pPr marL="959088" marR="0" indent="-241072" algn="l" defTabSz="1218043" rtl="0" eaLnBrk="1" fontAlgn="auto" latinLnBrk="0" hangingPunct="1">
        <a:lnSpc>
          <a:spcPct val="100000"/>
        </a:lnSpc>
        <a:spcBef>
          <a:spcPts val="400"/>
        </a:spcBef>
        <a:spcAft>
          <a:spcPts val="0"/>
        </a:spcAft>
        <a:buClrTx/>
        <a:buSzTx/>
        <a:buFont typeface="Wingdings" panose="05000000000000000000" pitchFamily="2" charset="2"/>
        <a:buChar char="§"/>
        <a:tabLst/>
        <a:defRPr sz="2133" kern="1200">
          <a:solidFill>
            <a:schemeClr val="tx1"/>
          </a:solidFill>
          <a:latin typeface="Arial" pitchFamily="34" charset="0"/>
          <a:ea typeface="+mn-ea"/>
          <a:cs typeface="Arial" pitchFamily="34" charset="0"/>
        </a:defRPr>
      </a:lvl6pPr>
      <a:lvl7pPr marL="959088" marR="0" indent="-241072" algn="l" defTabSz="1218043" rtl="0" eaLnBrk="1" fontAlgn="auto" latinLnBrk="0" hangingPunct="1">
        <a:lnSpc>
          <a:spcPct val="100000"/>
        </a:lnSpc>
        <a:spcBef>
          <a:spcPts val="400"/>
        </a:spcBef>
        <a:spcAft>
          <a:spcPts val="0"/>
        </a:spcAft>
        <a:buClrTx/>
        <a:buSzTx/>
        <a:buFont typeface="Wingdings" panose="05000000000000000000" pitchFamily="2" charset="2"/>
        <a:buChar char="§"/>
        <a:tabLst/>
        <a:defRPr sz="2133" kern="1200">
          <a:solidFill>
            <a:schemeClr val="tx1"/>
          </a:solidFill>
          <a:latin typeface="Arial" pitchFamily="34" charset="0"/>
          <a:ea typeface="+mn-ea"/>
          <a:cs typeface="Arial" pitchFamily="34" charset="0"/>
        </a:defRPr>
      </a:lvl7pPr>
      <a:lvl8pPr marL="719317" indent="-239773" algn="l" defTabSz="1218043" rtl="0" eaLnBrk="1" latinLnBrk="0" hangingPunct="1">
        <a:spcBef>
          <a:spcPts val="400"/>
        </a:spcBef>
        <a:spcAft>
          <a:spcPts val="0"/>
        </a:spcAft>
        <a:buFont typeface="Arial" pitchFamily="34" charset="0"/>
        <a:buChar char="•"/>
        <a:defRPr sz="2133" kern="1200">
          <a:solidFill>
            <a:schemeClr val="tx1"/>
          </a:solidFill>
          <a:latin typeface="Arial" pitchFamily="34" charset="0"/>
          <a:ea typeface="+mn-ea"/>
          <a:cs typeface="Arial" pitchFamily="34" charset="0"/>
        </a:defRPr>
      </a:lvl8pPr>
      <a:lvl9pPr marL="959088" marR="0" indent="-241072" algn="l" defTabSz="1218043" rtl="0" eaLnBrk="1" fontAlgn="auto" latinLnBrk="0" hangingPunct="1">
        <a:lnSpc>
          <a:spcPct val="100000"/>
        </a:lnSpc>
        <a:spcBef>
          <a:spcPts val="400"/>
        </a:spcBef>
        <a:spcAft>
          <a:spcPts val="0"/>
        </a:spcAft>
        <a:buClrTx/>
        <a:buSzTx/>
        <a:buFont typeface="Wingdings" panose="05000000000000000000" pitchFamily="2" charset="2"/>
        <a:buChar char="§"/>
        <a:tabLst/>
        <a:defRPr sz="2133" kern="1200">
          <a:solidFill>
            <a:schemeClr val="tx1"/>
          </a:solidFill>
          <a:latin typeface="Arial" pitchFamily="34" charset="0"/>
          <a:ea typeface="+mn-ea"/>
          <a:cs typeface="Arial" pitchFamily="34" charset="0"/>
        </a:defRPr>
      </a:lvl9pPr>
    </p:bodyStyle>
    <p:otherStyle>
      <a:defPPr>
        <a:defRPr lang="en-US"/>
      </a:defPPr>
      <a:lvl1pPr marL="0" algn="l" defTabSz="1218043" rtl="0" eaLnBrk="1" latinLnBrk="0" hangingPunct="1">
        <a:defRPr sz="2398" kern="1200">
          <a:solidFill>
            <a:schemeClr val="tx1"/>
          </a:solidFill>
          <a:latin typeface="+mn-lt"/>
          <a:ea typeface="+mn-ea"/>
          <a:cs typeface="+mn-cs"/>
        </a:defRPr>
      </a:lvl1pPr>
      <a:lvl2pPr marL="609021" algn="l" defTabSz="1218043" rtl="0" eaLnBrk="1" latinLnBrk="0" hangingPunct="1">
        <a:defRPr sz="2398" kern="1200">
          <a:solidFill>
            <a:schemeClr val="tx1"/>
          </a:solidFill>
          <a:latin typeface="+mn-lt"/>
          <a:ea typeface="+mn-ea"/>
          <a:cs typeface="+mn-cs"/>
        </a:defRPr>
      </a:lvl2pPr>
      <a:lvl3pPr marL="1218043" algn="l" defTabSz="1218043" rtl="0" eaLnBrk="1" latinLnBrk="0" hangingPunct="1">
        <a:defRPr sz="2398" kern="1200">
          <a:solidFill>
            <a:schemeClr val="tx1"/>
          </a:solidFill>
          <a:latin typeface="+mn-lt"/>
          <a:ea typeface="+mn-ea"/>
          <a:cs typeface="+mn-cs"/>
        </a:defRPr>
      </a:lvl3pPr>
      <a:lvl4pPr marL="1827065" algn="l" defTabSz="1218043" rtl="0" eaLnBrk="1" latinLnBrk="0" hangingPunct="1">
        <a:defRPr sz="2398" kern="1200">
          <a:solidFill>
            <a:schemeClr val="tx1"/>
          </a:solidFill>
          <a:latin typeface="+mn-lt"/>
          <a:ea typeface="+mn-ea"/>
          <a:cs typeface="+mn-cs"/>
        </a:defRPr>
      </a:lvl4pPr>
      <a:lvl5pPr marL="2436084" algn="l" defTabSz="1218043" rtl="0" eaLnBrk="1" latinLnBrk="0" hangingPunct="1">
        <a:defRPr sz="2398" kern="1200">
          <a:solidFill>
            <a:schemeClr val="tx1"/>
          </a:solidFill>
          <a:latin typeface="+mn-lt"/>
          <a:ea typeface="+mn-ea"/>
          <a:cs typeface="+mn-cs"/>
        </a:defRPr>
      </a:lvl5pPr>
      <a:lvl6pPr marL="3045105" algn="l" defTabSz="1218043" rtl="0" eaLnBrk="1" latinLnBrk="0" hangingPunct="1">
        <a:defRPr sz="2398" kern="1200">
          <a:solidFill>
            <a:schemeClr val="tx1"/>
          </a:solidFill>
          <a:latin typeface="+mn-lt"/>
          <a:ea typeface="+mn-ea"/>
          <a:cs typeface="+mn-cs"/>
        </a:defRPr>
      </a:lvl6pPr>
      <a:lvl7pPr marL="3654127" algn="l" defTabSz="1218043" rtl="0" eaLnBrk="1" latinLnBrk="0" hangingPunct="1">
        <a:defRPr sz="2398" kern="1200">
          <a:solidFill>
            <a:schemeClr val="tx1"/>
          </a:solidFill>
          <a:latin typeface="+mn-lt"/>
          <a:ea typeface="+mn-ea"/>
          <a:cs typeface="+mn-cs"/>
        </a:defRPr>
      </a:lvl7pPr>
      <a:lvl8pPr marL="4263149" algn="l" defTabSz="1218043" rtl="0" eaLnBrk="1" latinLnBrk="0" hangingPunct="1">
        <a:defRPr sz="2398" kern="1200">
          <a:solidFill>
            <a:schemeClr val="tx1"/>
          </a:solidFill>
          <a:latin typeface="+mn-lt"/>
          <a:ea typeface="+mn-ea"/>
          <a:cs typeface="+mn-cs"/>
        </a:defRPr>
      </a:lvl8pPr>
      <a:lvl9pPr marL="4872169" algn="l" defTabSz="1218043" rtl="0" eaLnBrk="1" latinLnBrk="0" hangingPunct="1">
        <a:defRPr sz="2398"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pSp>
        <p:nvGrpSpPr>
          <p:cNvPr id="13" name="logo">
            <a:extLst>
              <a:ext uri="{FF2B5EF4-FFF2-40B4-BE49-F238E27FC236}">
                <a16:creationId xmlns:a16="http://schemas.microsoft.com/office/drawing/2014/main" id="{57BD2C4C-DC67-B843-B26C-309622FC75F7}"/>
              </a:ext>
            </a:extLst>
          </p:cNvPr>
          <p:cNvGrpSpPr>
            <a:grpSpLocks noChangeAspect="1"/>
          </p:cNvGrpSpPr>
          <p:nvPr/>
        </p:nvGrpSpPr>
        <p:grpSpPr bwMode="gray">
          <a:xfrm>
            <a:off x="11174020" y="401441"/>
            <a:ext cx="644225" cy="646507"/>
            <a:chOff x="2711" y="1027"/>
            <a:chExt cx="2258" cy="2266"/>
          </a:xfrm>
        </p:grpSpPr>
        <p:sp>
          <p:nvSpPr>
            <p:cNvPr id="14" name="AutoShape 3">
              <a:extLst>
                <a:ext uri="{FF2B5EF4-FFF2-40B4-BE49-F238E27FC236}">
                  <a16:creationId xmlns:a16="http://schemas.microsoft.com/office/drawing/2014/main" id="{FE1DC41B-291E-574C-9F2C-874E70A40758}"/>
                </a:ext>
              </a:extLst>
            </p:cNvPr>
            <p:cNvSpPr>
              <a:spLocks noChangeAspect="1" noChangeArrowheads="1" noTextEdit="1"/>
            </p:cNvSpPr>
            <p:nvPr/>
          </p:nvSpPr>
          <p:spPr bwMode="gray">
            <a:xfrm>
              <a:off x="2711" y="1027"/>
              <a:ext cx="2258" cy="22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sz="1350" dirty="0"/>
            </a:p>
          </p:txBody>
        </p:sp>
        <p:sp>
          <p:nvSpPr>
            <p:cNvPr id="15" name="Freeform 5">
              <a:extLst>
                <a:ext uri="{FF2B5EF4-FFF2-40B4-BE49-F238E27FC236}">
                  <a16:creationId xmlns:a16="http://schemas.microsoft.com/office/drawing/2014/main" id="{D4B633C8-F761-C54B-9BD2-EB59D49A2DBC}"/>
                </a:ext>
              </a:extLst>
            </p:cNvPr>
            <p:cNvSpPr>
              <a:spLocks/>
            </p:cNvSpPr>
            <p:nvPr/>
          </p:nvSpPr>
          <p:spPr bwMode="gray">
            <a:xfrm>
              <a:off x="2709" y="1029"/>
              <a:ext cx="2260" cy="2262"/>
            </a:xfrm>
            <a:custGeom>
              <a:avLst/>
              <a:gdLst>
                <a:gd name="T0" fmla="*/ 2260 w 2260"/>
                <a:gd name="T1" fmla="*/ 0 h 2262"/>
                <a:gd name="T2" fmla="*/ 1612 w 2260"/>
                <a:gd name="T3" fmla="*/ 649 h 2262"/>
                <a:gd name="T4" fmla="*/ 1612 w 2260"/>
                <a:gd name="T5" fmla="*/ 649 h 2262"/>
                <a:gd name="T6" fmla="*/ 2035 w 2260"/>
                <a:gd name="T7" fmla="*/ 0 h 2262"/>
                <a:gd name="T8" fmla="*/ 0 w 2260"/>
                <a:gd name="T9" fmla="*/ 0 h 2262"/>
                <a:gd name="T10" fmla="*/ 0 w 2260"/>
                <a:gd name="T11" fmla="*/ 2262 h 2262"/>
                <a:gd name="T12" fmla="*/ 2260 w 2260"/>
                <a:gd name="T13" fmla="*/ 2262 h 2262"/>
                <a:gd name="T14" fmla="*/ 2260 w 2260"/>
                <a:gd name="T15" fmla="*/ 0 h 2262"/>
                <a:gd name="T16" fmla="*/ 2260 w 2260"/>
                <a:gd name="T17" fmla="*/ 0 h 2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0" h="2262">
                  <a:moveTo>
                    <a:pt x="2260" y="0"/>
                  </a:moveTo>
                  <a:lnTo>
                    <a:pt x="1612" y="649"/>
                  </a:lnTo>
                  <a:lnTo>
                    <a:pt x="1612" y="649"/>
                  </a:lnTo>
                  <a:lnTo>
                    <a:pt x="2035" y="0"/>
                  </a:lnTo>
                  <a:lnTo>
                    <a:pt x="0" y="0"/>
                  </a:lnTo>
                  <a:lnTo>
                    <a:pt x="0" y="2262"/>
                  </a:lnTo>
                  <a:lnTo>
                    <a:pt x="2260" y="2262"/>
                  </a:lnTo>
                  <a:lnTo>
                    <a:pt x="2260" y="0"/>
                  </a:lnTo>
                  <a:lnTo>
                    <a:pt x="2260" y="0"/>
                  </a:lnTo>
                  <a:close/>
                </a:path>
              </a:pathLst>
            </a:custGeom>
            <a:solidFill>
              <a:srgbClr val="E55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0" dirty="0"/>
            </a:p>
          </p:txBody>
        </p:sp>
        <p:sp>
          <p:nvSpPr>
            <p:cNvPr id="16" name="Freeform 6">
              <a:extLst>
                <a:ext uri="{FF2B5EF4-FFF2-40B4-BE49-F238E27FC236}">
                  <a16:creationId xmlns:a16="http://schemas.microsoft.com/office/drawing/2014/main" id="{B16BAAE4-1A41-C843-9754-490F7A1E1270}"/>
                </a:ext>
              </a:extLst>
            </p:cNvPr>
            <p:cNvSpPr>
              <a:spLocks noEditPoints="1"/>
            </p:cNvSpPr>
            <p:nvPr/>
          </p:nvSpPr>
          <p:spPr bwMode="gray">
            <a:xfrm>
              <a:off x="3623" y="1696"/>
              <a:ext cx="1167" cy="922"/>
            </a:xfrm>
            <a:custGeom>
              <a:avLst/>
              <a:gdLst>
                <a:gd name="T0" fmla="*/ 411 w 580"/>
                <a:gd name="T1" fmla="*/ 213 h 458"/>
                <a:gd name="T2" fmla="*/ 570 w 580"/>
                <a:gd name="T3" fmla="*/ 37 h 458"/>
                <a:gd name="T4" fmla="*/ 580 w 580"/>
                <a:gd name="T5" fmla="*/ 20 h 458"/>
                <a:gd name="T6" fmla="*/ 545 w 580"/>
                <a:gd name="T7" fmla="*/ 0 h 458"/>
                <a:gd name="T8" fmla="*/ 519 w 580"/>
                <a:gd name="T9" fmla="*/ 16 h 458"/>
                <a:gd name="T10" fmla="*/ 344 w 580"/>
                <a:gd name="T11" fmla="*/ 210 h 458"/>
                <a:gd name="T12" fmla="*/ 334 w 580"/>
                <a:gd name="T13" fmla="*/ 229 h 458"/>
                <a:gd name="T14" fmla="*/ 344 w 580"/>
                <a:gd name="T15" fmla="*/ 248 h 458"/>
                <a:gd name="T16" fmla="*/ 519 w 580"/>
                <a:gd name="T17" fmla="*/ 442 h 458"/>
                <a:gd name="T18" fmla="*/ 545 w 580"/>
                <a:gd name="T19" fmla="*/ 458 h 458"/>
                <a:gd name="T20" fmla="*/ 580 w 580"/>
                <a:gd name="T21" fmla="*/ 438 h 458"/>
                <a:gd name="T22" fmla="*/ 570 w 580"/>
                <a:gd name="T23" fmla="*/ 421 h 458"/>
                <a:gd name="T24" fmla="*/ 411 w 580"/>
                <a:gd name="T25" fmla="*/ 245 h 458"/>
                <a:gd name="T26" fmla="*/ 399 w 580"/>
                <a:gd name="T27" fmla="*/ 229 h 458"/>
                <a:gd name="T28" fmla="*/ 411 w 580"/>
                <a:gd name="T29" fmla="*/ 213 h 458"/>
                <a:gd name="T30" fmla="*/ 252 w 580"/>
                <a:gd name="T31" fmla="*/ 439 h 458"/>
                <a:gd name="T32" fmla="*/ 281 w 580"/>
                <a:gd name="T33" fmla="*/ 454 h 458"/>
                <a:gd name="T34" fmla="*/ 309 w 580"/>
                <a:gd name="T35" fmla="*/ 439 h 458"/>
                <a:gd name="T36" fmla="*/ 309 w 580"/>
                <a:gd name="T37" fmla="*/ 19 h 458"/>
                <a:gd name="T38" fmla="*/ 281 w 580"/>
                <a:gd name="T39" fmla="*/ 4 h 458"/>
                <a:gd name="T40" fmla="*/ 252 w 580"/>
                <a:gd name="T41" fmla="*/ 19 h 458"/>
                <a:gd name="T42" fmla="*/ 252 w 580"/>
                <a:gd name="T43" fmla="*/ 439 h 458"/>
                <a:gd name="T44" fmla="*/ 0 w 580"/>
                <a:gd name="T45" fmla="*/ 439 h 458"/>
                <a:gd name="T46" fmla="*/ 28 w 580"/>
                <a:gd name="T47" fmla="*/ 454 h 458"/>
                <a:gd name="T48" fmla="*/ 56 w 580"/>
                <a:gd name="T49" fmla="*/ 439 h 458"/>
                <a:gd name="T50" fmla="*/ 56 w 580"/>
                <a:gd name="T51" fmla="*/ 157 h 458"/>
                <a:gd name="T52" fmla="*/ 165 w 580"/>
                <a:gd name="T53" fmla="*/ 53 h 458"/>
                <a:gd name="T54" fmla="*/ 180 w 580"/>
                <a:gd name="T55" fmla="*/ 53 h 458"/>
                <a:gd name="T56" fmla="*/ 196 w 580"/>
                <a:gd name="T57" fmla="*/ 27 h 458"/>
                <a:gd name="T58" fmla="*/ 154 w 580"/>
                <a:gd name="T59" fmla="*/ 4 h 458"/>
                <a:gd name="T60" fmla="*/ 0 w 580"/>
                <a:gd name="T61" fmla="*/ 152 h 458"/>
                <a:gd name="T62" fmla="*/ 0 w 580"/>
                <a:gd name="T63" fmla="*/ 439 h 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80" h="458">
                  <a:moveTo>
                    <a:pt x="411" y="213"/>
                  </a:moveTo>
                  <a:cubicBezTo>
                    <a:pt x="570" y="37"/>
                    <a:pt x="570" y="37"/>
                    <a:pt x="570" y="37"/>
                  </a:cubicBezTo>
                  <a:cubicBezTo>
                    <a:pt x="576" y="30"/>
                    <a:pt x="580" y="25"/>
                    <a:pt x="580" y="20"/>
                  </a:cubicBezTo>
                  <a:cubicBezTo>
                    <a:pt x="580" y="10"/>
                    <a:pt x="559" y="0"/>
                    <a:pt x="545" y="0"/>
                  </a:cubicBezTo>
                  <a:cubicBezTo>
                    <a:pt x="535" y="0"/>
                    <a:pt x="526" y="8"/>
                    <a:pt x="519" y="16"/>
                  </a:cubicBezTo>
                  <a:cubicBezTo>
                    <a:pt x="344" y="210"/>
                    <a:pt x="344" y="210"/>
                    <a:pt x="344" y="210"/>
                  </a:cubicBezTo>
                  <a:cubicBezTo>
                    <a:pt x="336" y="219"/>
                    <a:pt x="334" y="224"/>
                    <a:pt x="334" y="229"/>
                  </a:cubicBezTo>
                  <a:cubicBezTo>
                    <a:pt x="334" y="234"/>
                    <a:pt x="336" y="239"/>
                    <a:pt x="344" y="248"/>
                  </a:cubicBezTo>
                  <a:cubicBezTo>
                    <a:pt x="519" y="442"/>
                    <a:pt x="519" y="442"/>
                    <a:pt x="519" y="442"/>
                  </a:cubicBezTo>
                  <a:cubicBezTo>
                    <a:pt x="526" y="450"/>
                    <a:pt x="535" y="458"/>
                    <a:pt x="545" y="458"/>
                  </a:cubicBezTo>
                  <a:cubicBezTo>
                    <a:pt x="559" y="458"/>
                    <a:pt x="580" y="448"/>
                    <a:pt x="580" y="438"/>
                  </a:cubicBezTo>
                  <a:cubicBezTo>
                    <a:pt x="580" y="433"/>
                    <a:pt x="576" y="428"/>
                    <a:pt x="570" y="421"/>
                  </a:cubicBezTo>
                  <a:cubicBezTo>
                    <a:pt x="411" y="245"/>
                    <a:pt x="411" y="245"/>
                    <a:pt x="411" y="245"/>
                  </a:cubicBezTo>
                  <a:cubicBezTo>
                    <a:pt x="403" y="236"/>
                    <a:pt x="399" y="232"/>
                    <a:pt x="399" y="229"/>
                  </a:cubicBezTo>
                  <a:cubicBezTo>
                    <a:pt x="399" y="226"/>
                    <a:pt x="403" y="222"/>
                    <a:pt x="411" y="213"/>
                  </a:cubicBezTo>
                  <a:moveTo>
                    <a:pt x="252" y="439"/>
                  </a:moveTo>
                  <a:cubicBezTo>
                    <a:pt x="252" y="449"/>
                    <a:pt x="261" y="454"/>
                    <a:pt x="281" y="454"/>
                  </a:cubicBezTo>
                  <a:cubicBezTo>
                    <a:pt x="300" y="454"/>
                    <a:pt x="309" y="449"/>
                    <a:pt x="309" y="439"/>
                  </a:cubicBezTo>
                  <a:cubicBezTo>
                    <a:pt x="309" y="19"/>
                    <a:pt x="309" y="19"/>
                    <a:pt x="309" y="19"/>
                  </a:cubicBezTo>
                  <a:cubicBezTo>
                    <a:pt x="309" y="9"/>
                    <a:pt x="300" y="4"/>
                    <a:pt x="281" y="4"/>
                  </a:cubicBezTo>
                  <a:cubicBezTo>
                    <a:pt x="261" y="4"/>
                    <a:pt x="252" y="9"/>
                    <a:pt x="252" y="19"/>
                  </a:cubicBezTo>
                  <a:lnTo>
                    <a:pt x="252" y="439"/>
                  </a:lnTo>
                  <a:close/>
                  <a:moveTo>
                    <a:pt x="0" y="439"/>
                  </a:moveTo>
                  <a:cubicBezTo>
                    <a:pt x="0" y="449"/>
                    <a:pt x="8" y="454"/>
                    <a:pt x="28" y="454"/>
                  </a:cubicBezTo>
                  <a:cubicBezTo>
                    <a:pt x="48" y="454"/>
                    <a:pt x="56" y="449"/>
                    <a:pt x="56" y="439"/>
                  </a:cubicBezTo>
                  <a:cubicBezTo>
                    <a:pt x="56" y="157"/>
                    <a:pt x="56" y="157"/>
                    <a:pt x="56" y="157"/>
                  </a:cubicBezTo>
                  <a:cubicBezTo>
                    <a:pt x="56" y="83"/>
                    <a:pt x="85" y="53"/>
                    <a:pt x="165" y="53"/>
                  </a:cubicBezTo>
                  <a:cubicBezTo>
                    <a:pt x="180" y="53"/>
                    <a:pt x="180" y="53"/>
                    <a:pt x="180" y="53"/>
                  </a:cubicBezTo>
                  <a:cubicBezTo>
                    <a:pt x="192" y="53"/>
                    <a:pt x="196" y="43"/>
                    <a:pt x="196" y="27"/>
                  </a:cubicBezTo>
                  <a:cubicBezTo>
                    <a:pt x="196" y="8"/>
                    <a:pt x="185" y="4"/>
                    <a:pt x="154" y="4"/>
                  </a:cubicBezTo>
                  <a:cubicBezTo>
                    <a:pt x="64" y="4"/>
                    <a:pt x="0" y="43"/>
                    <a:pt x="0" y="152"/>
                  </a:cubicBezTo>
                  <a:lnTo>
                    <a:pt x="0" y="43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0" dirty="0"/>
            </a:p>
          </p:txBody>
        </p:sp>
        <p:sp>
          <p:nvSpPr>
            <p:cNvPr id="17" name="Freeform 7">
              <a:extLst>
                <a:ext uri="{FF2B5EF4-FFF2-40B4-BE49-F238E27FC236}">
                  <a16:creationId xmlns:a16="http://schemas.microsoft.com/office/drawing/2014/main" id="{2F32DCBD-8628-F245-85CD-97686A20ECFD}"/>
                </a:ext>
              </a:extLst>
            </p:cNvPr>
            <p:cNvSpPr>
              <a:spLocks/>
            </p:cNvSpPr>
            <p:nvPr/>
          </p:nvSpPr>
          <p:spPr bwMode="gray">
            <a:xfrm>
              <a:off x="2880" y="1704"/>
              <a:ext cx="618" cy="916"/>
            </a:xfrm>
            <a:custGeom>
              <a:avLst/>
              <a:gdLst>
                <a:gd name="T0" fmla="*/ 307 w 307"/>
                <a:gd name="T1" fmla="*/ 405 h 455"/>
                <a:gd name="T2" fmla="*/ 307 w 307"/>
                <a:gd name="T3" fmla="*/ 244 h 455"/>
                <a:gd name="T4" fmla="*/ 279 w 307"/>
                <a:gd name="T5" fmla="*/ 229 h 455"/>
                <a:gd name="T6" fmla="*/ 250 w 307"/>
                <a:gd name="T7" fmla="*/ 244 h 455"/>
                <a:gd name="T8" fmla="*/ 250 w 307"/>
                <a:gd name="T9" fmla="*/ 378 h 455"/>
                <a:gd name="T10" fmla="*/ 199 w 307"/>
                <a:gd name="T11" fmla="*/ 408 h 455"/>
                <a:gd name="T12" fmla="*/ 61 w 307"/>
                <a:gd name="T13" fmla="*/ 231 h 455"/>
                <a:gd name="T14" fmla="*/ 238 w 307"/>
                <a:gd name="T15" fmla="*/ 49 h 455"/>
                <a:gd name="T16" fmla="*/ 270 w 307"/>
                <a:gd name="T17" fmla="*/ 49 h 455"/>
                <a:gd name="T18" fmla="*/ 286 w 307"/>
                <a:gd name="T19" fmla="*/ 23 h 455"/>
                <a:gd name="T20" fmla="*/ 244 w 307"/>
                <a:gd name="T21" fmla="*/ 0 h 455"/>
                <a:gd name="T22" fmla="*/ 231 w 307"/>
                <a:gd name="T23" fmla="*/ 0 h 455"/>
                <a:gd name="T24" fmla="*/ 0 w 307"/>
                <a:gd name="T25" fmla="*/ 232 h 455"/>
                <a:gd name="T26" fmla="*/ 198 w 307"/>
                <a:gd name="T27" fmla="*/ 455 h 455"/>
                <a:gd name="T28" fmla="*/ 307 w 307"/>
                <a:gd name="T29" fmla="*/ 405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7" h="455">
                  <a:moveTo>
                    <a:pt x="307" y="405"/>
                  </a:moveTo>
                  <a:cubicBezTo>
                    <a:pt x="307" y="244"/>
                    <a:pt x="307" y="244"/>
                    <a:pt x="307" y="244"/>
                  </a:cubicBezTo>
                  <a:cubicBezTo>
                    <a:pt x="307" y="234"/>
                    <a:pt x="298" y="229"/>
                    <a:pt x="279" y="229"/>
                  </a:cubicBezTo>
                  <a:cubicBezTo>
                    <a:pt x="259" y="229"/>
                    <a:pt x="250" y="234"/>
                    <a:pt x="250" y="244"/>
                  </a:cubicBezTo>
                  <a:cubicBezTo>
                    <a:pt x="250" y="378"/>
                    <a:pt x="250" y="378"/>
                    <a:pt x="250" y="378"/>
                  </a:cubicBezTo>
                  <a:cubicBezTo>
                    <a:pt x="250" y="399"/>
                    <a:pt x="241" y="408"/>
                    <a:pt x="199" y="408"/>
                  </a:cubicBezTo>
                  <a:cubicBezTo>
                    <a:pt x="114" y="408"/>
                    <a:pt x="61" y="342"/>
                    <a:pt x="61" y="231"/>
                  </a:cubicBezTo>
                  <a:cubicBezTo>
                    <a:pt x="61" y="115"/>
                    <a:pt x="126" y="49"/>
                    <a:pt x="238" y="49"/>
                  </a:cubicBezTo>
                  <a:cubicBezTo>
                    <a:pt x="270" y="49"/>
                    <a:pt x="270" y="49"/>
                    <a:pt x="270" y="49"/>
                  </a:cubicBezTo>
                  <a:cubicBezTo>
                    <a:pt x="282" y="49"/>
                    <a:pt x="286" y="39"/>
                    <a:pt x="286" y="23"/>
                  </a:cubicBezTo>
                  <a:cubicBezTo>
                    <a:pt x="286" y="4"/>
                    <a:pt x="275" y="0"/>
                    <a:pt x="244" y="0"/>
                  </a:cubicBezTo>
                  <a:cubicBezTo>
                    <a:pt x="231" y="0"/>
                    <a:pt x="231" y="0"/>
                    <a:pt x="231" y="0"/>
                  </a:cubicBezTo>
                  <a:cubicBezTo>
                    <a:pt x="101" y="0"/>
                    <a:pt x="0" y="71"/>
                    <a:pt x="0" y="232"/>
                  </a:cubicBezTo>
                  <a:cubicBezTo>
                    <a:pt x="0" y="386"/>
                    <a:pt x="88" y="455"/>
                    <a:pt x="198" y="455"/>
                  </a:cubicBezTo>
                  <a:cubicBezTo>
                    <a:pt x="286" y="455"/>
                    <a:pt x="307" y="430"/>
                    <a:pt x="307" y="40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0" dirty="0"/>
            </a:p>
          </p:txBody>
        </p:sp>
        <p:sp>
          <p:nvSpPr>
            <p:cNvPr id="18" name="Oval 8">
              <a:extLst>
                <a:ext uri="{FF2B5EF4-FFF2-40B4-BE49-F238E27FC236}">
                  <a16:creationId xmlns:a16="http://schemas.microsoft.com/office/drawing/2014/main" id="{60D97C11-1A3B-5449-A48D-98A3E79B3810}"/>
                </a:ext>
              </a:extLst>
            </p:cNvPr>
            <p:cNvSpPr>
              <a:spLocks noChangeArrowheads="1"/>
            </p:cNvSpPr>
            <p:nvPr/>
          </p:nvSpPr>
          <p:spPr bwMode="gray">
            <a:xfrm>
              <a:off x="3778" y="2099"/>
              <a:ext cx="122" cy="12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0" dirty="0"/>
            </a:p>
          </p:txBody>
        </p:sp>
        <p:sp>
          <p:nvSpPr>
            <p:cNvPr id="19" name="Freeform 9">
              <a:extLst>
                <a:ext uri="{FF2B5EF4-FFF2-40B4-BE49-F238E27FC236}">
                  <a16:creationId xmlns:a16="http://schemas.microsoft.com/office/drawing/2014/main" id="{5856770D-B8F0-244E-A05D-AED190086F10}"/>
                </a:ext>
              </a:extLst>
            </p:cNvPr>
            <p:cNvSpPr>
              <a:spLocks noEditPoints="1"/>
            </p:cNvSpPr>
            <p:nvPr/>
          </p:nvSpPr>
          <p:spPr bwMode="gray">
            <a:xfrm>
              <a:off x="3623" y="1696"/>
              <a:ext cx="1167" cy="922"/>
            </a:xfrm>
            <a:custGeom>
              <a:avLst/>
              <a:gdLst>
                <a:gd name="T0" fmla="*/ 411 w 580"/>
                <a:gd name="T1" fmla="*/ 213 h 458"/>
                <a:gd name="T2" fmla="*/ 570 w 580"/>
                <a:gd name="T3" fmla="*/ 37 h 458"/>
                <a:gd name="T4" fmla="*/ 580 w 580"/>
                <a:gd name="T5" fmla="*/ 20 h 458"/>
                <a:gd name="T6" fmla="*/ 545 w 580"/>
                <a:gd name="T7" fmla="*/ 0 h 458"/>
                <a:gd name="T8" fmla="*/ 519 w 580"/>
                <a:gd name="T9" fmla="*/ 16 h 458"/>
                <a:gd name="T10" fmla="*/ 344 w 580"/>
                <a:gd name="T11" fmla="*/ 210 h 458"/>
                <a:gd name="T12" fmla="*/ 334 w 580"/>
                <a:gd name="T13" fmla="*/ 229 h 458"/>
                <a:gd name="T14" fmla="*/ 344 w 580"/>
                <a:gd name="T15" fmla="*/ 248 h 458"/>
                <a:gd name="T16" fmla="*/ 519 w 580"/>
                <a:gd name="T17" fmla="*/ 442 h 458"/>
                <a:gd name="T18" fmla="*/ 545 w 580"/>
                <a:gd name="T19" fmla="*/ 458 h 458"/>
                <a:gd name="T20" fmla="*/ 580 w 580"/>
                <a:gd name="T21" fmla="*/ 438 h 458"/>
                <a:gd name="T22" fmla="*/ 570 w 580"/>
                <a:gd name="T23" fmla="*/ 421 h 458"/>
                <a:gd name="T24" fmla="*/ 411 w 580"/>
                <a:gd name="T25" fmla="*/ 245 h 458"/>
                <a:gd name="T26" fmla="*/ 399 w 580"/>
                <a:gd name="T27" fmla="*/ 229 h 458"/>
                <a:gd name="T28" fmla="*/ 411 w 580"/>
                <a:gd name="T29" fmla="*/ 213 h 458"/>
                <a:gd name="T30" fmla="*/ 252 w 580"/>
                <a:gd name="T31" fmla="*/ 439 h 458"/>
                <a:gd name="T32" fmla="*/ 281 w 580"/>
                <a:gd name="T33" fmla="*/ 454 h 458"/>
                <a:gd name="T34" fmla="*/ 309 w 580"/>
                <a:gd name="T35" fmla="*/ 439 h 458"/>
                <a:gd name="T36" fmla="*/ 309 w 580"/>
                <a:gd name="T37" fmla="*/ 19 h 458"/>
                <a:gd name="T38" fmla="*/ 281 w 580"/>
                <a:gd name="T39" fmla="*/ 4 h 458"/>
                <a:gd name="T40" fmla="*/ 252 w 580"/>
                <a:gd name="T41" fmla="*/ 19 h 458"/>
                <a:gd name="T42" fmla="*/ 252 w 580"/>
                <a:gd name="T43" fmla="*/ 439 h 458"/>
                <a:gd name="T44" fmla="*/ 0 w 580"/>
                <a:gd name="T45" fmla="*/ 439 h 458"/>
                <a:gd name="T46" fmla="*/ 28 w 580"/>
                <a:gd name="T47" fmla="*/ 454 h 458"/>
                <a:gd name="T48" fmla="*/ 56 w 580"/>
                <a:gd name="T49" fmla="*/ 439 h 458"/>
                <a:gd name="T50" fmla="*/ 56 w 580"/>
                <a:gd name="T51" fmla="*/ 157 h 458"/>
                <a:gd name="T52" fmla="*/ 165 w 580"/>
                <a:gd name="T53" fmla="*/ 53 h 458"/>
                <a:gd name="T54" fmla="*/ 180 w 580"/>
                <a:gd name="T55" fmla="*/ 53 h 458"/>
                <a:gd name="T56" fmla="*/ 196 w 580"/>
                <a:gd name="T57" fmla="*/ 27 h 458"/>
                <a:gd name="T58" fmla="*/ 154 w 580"/>
                <a:gd name="T59" fmla="*/ 4 h 458"/>
                <a:gd name="T60" fmla="*/ 0 w 580"/>
                <a:gd name="T61" fmla="*/ 152 h 458"/>
                <a:gd name="T62" fmla="*/ 0 w 580"/>
                <a:gd name="T63" fmla="*/ 439 h 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80" h="458">
                  <a:moveTo>
                    <a:pt x="411" y="213"/>
                  </a:moveTo>
                  <a:cubicBezTo>
                    <a:pt x="570" y="37"/>
                    <a:pt x="570" y="37"/>
                    <a:pt x="570" y="37"/>
                  </a:cubicBezTo>
                  <a:cubicBezTo>
                    <a:pt x="576" y="30"/>
                    <a:pt x="580" y="25"/>
                    <a:pt x="580" y="20"/>
                  </a:cubicBezTo>
                  <a:cubicBezTo>
                    <a:pt x="580" y="10"/>
                    <a:pt x="559" y="0"/>
                    <a:pt x="545" y="0"/>
                  </a:cubicBezTo>
                  <a:cubicBezTo>
                    <a:pt x="535" y="0"/>
                    <a:pt x="526" y="8"/>
                    <a:pt x="519" y="16"/>
                  </a:cubicBezTo>
                  <a:cubicBezTo>
                    <a:pt x="344" y="210"/>
                    <a:pt x="344" y="210"/>
                    <a:pt x="344" y="210"/>
                  </a:cubicBezTo>
                  <a:cubicBezTo>
                    <a:pt x="336" y="219"/>
                    <a:pt x="334" y="224"/>
                    <a:pt x="334" y="229"/>
                  </a:cubicBezTo>
                  <a:cubicBezTo>
                    <a:pt x="334" y="234"/>
                    <a:pt x="336" y="239"/>
                    <a:pt x="344" y="248"/>
                  </a:cubicBezTo>
                  <a:cubicBezTo>
                    <a:pt x="519" y="442"/>
                    <a:pt x="519" y="442"/>
                    <a:pt x="519" y="442"/>
                  </a:cubicBezTo>
                  <a:cubicBezTo>
                    <a:pt x="526" y="450"/>
                    <a:pt x="535" y="458"/>
                    <a:pt x="545" y="458"/>
                  </a:cubicBezTo>
                  <a:cubicBezTo>
                    <a:pt x="559" y="458"/>
                    <a:pt x="580" y="448"/>
                    <a:pt x="580" y="438"/>
                  </a:cubicBezTo>
                  <a:cubicBezTo>
                    <a:pt x="580" y="433"/>
                    <a:pt x="576" y="428"/>
                    <a:pt x="570" y="421"/>
                  </a:cubicBezTo>
                  <a:cubicBezTo>
                    <a:pt x="411" y="245"/>
                    <a:pt x="411" y="245"/>
                    <a:pt x="411" y="245"/>
                  </a:cubicBezTo>
                  <a:cubicBezTo>
                    <a:pt x="403" y="236"/>
                    <a:pt x="399" y="232"/>
                    <a:pt x="399" y="229"/>
                  </a:cubicBezTo>
                  <a:cubicBezTo>
                    <a:pt x="399" y="226"/>
                    <a:pt x="403" y="222"/>
                    <a:pt x="411" y="213"/>
                  </a:cubicBezTo>
                  <a:moveTo>
                    <a:pt x="252" y="439"/>
                  </a:moveTo>
                  <a:cubicBezTo>
                    <a:pt x="252" y="449"/>
                    <a:pt x="261" y="454"/>
                    <a:pt x="281" y="454"/>
                  </a:cubicBezTo>
                  <a:cubicBezTo>
                    <a:pt x="300" y="454"/>
                    <a:pt x="309" y="449"/>
                    <a:pt x="309" y="439"/>
                  </a:cubicBezTo>
                  <a:cubicBezTo>
                    <a:pt x="309" y="19"/>
                    <a:pt x="309" y="19"/>
                    <a:pt x="309" y="19"/>
                  </a:cubicBezTo>
                  <a:cubicBezTo>
                    <a:pt x="309" y="9"/>
                    <a:pt x="300" y="4"/>
                    <a:pt x="281" y="4"/>
                  </a:cubicBezTo>
                  <a:cubicBezTo>
                    <a:pt x="261" y="4"/>
                    <a:pt x="252" y="9"/>
                    <a:pt x="252" y="19"/>
                  </a:cubicBezTo>
                  <a:lnTo>
                    <a:pt x="252" y="439"/>
                  </a:lnTo>
                  <a:close/>
                  <a:moveTo>
                    <a:pt x="0" y="439"/>
                  </a:moveTo>
                  <a:cubicBezTo>
                    <a:pt x="0" y="449"/>
                    <a:pt x="8" y="454"/>
                    <a:pt x="28" y="454"/>
                  </a:cubicBezTo>
                  <a:cubicBezTo>
                    <a:pt x="48" y="454"/>
                    <a:pt x="56" y="449"/>
                    <a:pt x="56" y="439"/>
                  </a:cubicBezTo>
                  <a:cubicBezTo>
                    <a:pt x="56" y="157"/>
                    <a:pt x="56" y="157"/>
                    <a:pt x="56" y="157"/>
                  </a:cubicBezTo>
                  <a:cubicBezTo>
                    <a:pt x="56" y="83"/>
                    <a:pt x="85" y="53"/>
                    <a:pt x="165" y="53"/>
                  </a:cubicBezTo>
                  <a:cubicBezTo>
                    <a:pt x="180" y="53"/>
                    <a:pt x="180" y="53"/>
                    <a:pt x="180" y="53"/>
                  </a:cubicBezTo>
                  <a:cubicBezTo>
                    <a:pt x="192" y="53"/>
                    <a:pt x="196" y="43"/>
                    <a:pt x="196" y="27"/>
                  </a:cubicBezTo>
                  <a:cubicBezTo>
                    <a:pt x="196" y="8"/>
                    <a:pt x="185" y="4"/>
                    <a:pt x="154" y="4"/>
                  </a:cubicBezTo>
                  <a:cubicBezTo>
                    <a:pt x="64" y="4"/>
                    <a:pt x="0" y="43"/>
                    <a:pt x="0" y="152"/>
                  </a:cubicBezTo>
                  <a:lnTo>
                    <a:pt x="0" y="43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0" dirty="0"/>
            </a:p>
          </p:txBody>
        </p:sp>
        <p:sp>
          <p:nvSpPr>
            <p:cNvPr id="22" name="Freeform 10">
              <a:extLst>
                <a:ext uri="{FF2B5EF4-FFF2-40B4-BE49-F238E27FC236}">
                  <a16:creationId xmlns:a16="http://schemas.microsoft.com/office/drawing/2014/main" id="{2B91B16B-BC11-E547-8FAC-B9B8D18EA449}"/>
                </a:ext>
              </a:extLst>
            </p:cNvPr>
            <p:cNvSpPr>
              <a:spLocks/>
            </p:cNvSpPr>
            <p:nvPr/>
          </p:nvSpPr>
          <p:spPr bwMode="gray">
            <a:xfrm>
              <a:off x="2880" y="1704"/>
              <a:ext cx="618" cy="916"/>
            </a:xfrm>
            <a:custGeom>
              <a:avLst/>
              <a:gdLst>
                <a:gd name="T0" fmla="*/ 307 w 307"/>
                <a:gd name="T1" fmla="*/ 405 h 455"/>
                <a:gd name="T2" fmla="*/ 307 w 307"/>
                <a:gd name="T3" fmla="*/ 244 h 455"/>
                <a:gd name="T4" fmla="*/ 279 w 307"/>
                <a:gd name="T5" fmla="*/ 229 h 455"/>
                <a:gd name="T6" fmla="*/ 250 w 307"/>
                <a:gd name="T7" fmla="*/ 244 h 455"/>
                <a:gd name="T8" fmla="*/ 250 w 307"/>
                <a:gd name="T9" fmla="*/ 378 h 455"/>
                <a:gd name="T10" fmla="*/ 199 w 307"/>
                <a:gd name="T11" fmla="*/ 408 h 455"/>
                <a:gd name="T12" fmla="*/ 61 w 307"/>
                <a:gd name="T13" fmla="*/ 231 h 455"/>
                <a:gd name="T14" fmla="*/ 238 w 307"/>
                <a:gd name="T15" fmla="*/ 49 h 455"/>
                <a:gd name="T16" fmla="*/ 270 w 307"/>
                <a:gd name="T17" fmla="*/ 49 h 455"/>
                <a:gd name="T18" fmla="*/ 286 w 307"/>
                <a:gd name="T19" fmla="*/ 23 h 455"/>
                <a:gd name="T20" fmla="*/ 244 w 307"/>
                <a:gd name="T21" fmla="*/ 0 h 455"/>
                <a:gd name="T22" fmla="*/ 231 w 307"/>
                <a:gd name="T23" fmla="*/ 0 h 455"/>
                <a:gd name="T24" fmla="*/ 0 w 307"/>
                <a:gd name="T25" fmla="*/ 232 h 455"/>
                <a:gd name="T26" fmla="*/ 198 w 307"/>
                <a:gd name="T27" fmla="*/ 455 h 455"/>
                <a:gd name="T28" fmla="*/ 307 w 307"/>
                <a:gd name="T29" fmla="*/ 405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7" h="455">
                  <a:moveTo>
                    <a:pt x="307" y="405"/>
                  </a:moveTo>
                  <a:cubicBezTo>
                    <a:pt x="307" y="244"/>
                    <a:pt x="307" y="244"/>
                    <a:pt x="307" y="244"/>
                  </a:cubicBezTo>
                  <a:cubicBezTo>
                    <a:pt x="307" y="234"/>
                    <a:pt x="298" y="229"/>
                    <a:pt x="279" y="229"/>
                  </a:cubicBezTo>
                  <a:cubicBezTo>
                    <a:pt x="259" y="229"/>
                    <a:pt x="250" y="234"/>
                    <a:pt x="250" y="244"/>
                  </a:cubicBezTo>
                  <a:cubicBezTo>
                    <a:pt x="250" y="378"/>
                    <a:pt x="250" y="378"/>
                    <a:pt x="250" y="378"/>
                  </a:cubicBezTo>
                  <a:cubicBezTo>
                    <a:pt x="250" y="399"/>
                    <a:pt x="241" y="408"/>
                    <a:pt x="199" y="408"/>
                  </a:cubicBezTo>
                  <a:cubicBezTo>
                    <a:pt x="114" y="408"/>
                    <a:pt x="61" y="342"/>
                    <a:pt x="61" y="231"/>
                  </a:cubicBezTo>
                  <a:cubicBezTo>
                    <a:pt x="61" y="115"/>
                    <a:pt x="126" y="49"/>
                    <a:pt x="238" y="49"/>
                  </a:cubicBezTo>
                  <a:cubicBezTo>
                    <a:pt x="270" y="49"/>
                    <a:pt x="270" y="49"/>
                    <a:pt x="270" y="49"/>
                  </a:cubicBezTo>
                  <a:cubicBezTo>
                    <a:pt x="282" y="49"/>
                    <a:pt x="286" y="39"/>
                    <a:pt x="286" y="23"/>
                  </a:cubicBezTo>
                  <a:cubicBezTo>
                    <a:pt x="286" y="4"/>
                    <a:pt x="275" y="0"/>
                    <a:pt x="244" y="0"/>
                  </a:cubicBezTo>
                  <a:cubicBezTo>
                    <a:pt x="231" y="0"/>
                    <a:pt x="231" y="0"/>
                    <a:pt x="231" y="0"/>
                  </a:cubicBezTo>
                  <a:cubicBezTo>
                    <a:pt x="101" y="0"/>
                    <a:pt x="0" y="71"/>
                    <a:pt x="0" y="232"/>
                  </a:cubicBezTo>
                  <a:cubicBezTo>
                    <a:pt x="0" y="386"/>
                    <a:pt x="88" y="455"/>
                    <a:pt x="198" y="455"/>
                  </a:cubicBezTo>
                  <a:cubicBezTo>
                    <a:pt x="286" y="455"/>
                    <a:pt x="307" y="430"/>
                    <a:pt x="307" y="40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0" dirty="0"/>
            </a:p>
          </p:txBody>
        </p:sp>
        <p:sp>
          <p:nvSpPr>
            <p:cNvPr id="23" name="Oval 11">
              <a:extLst>
                <a:ext uri="{FF2B5EF4-FFF2-40B4-BE49-F238E27FC236}">
                  <a16:creationId xmlns:a16="http://schemas.microsoft.com/office/drawing/2014/main" id="{14F8C3C8-4888-7646-B9B4-64EB46A1DA23}"/>
                </a:ext>
              </a:extLst>
            </p:cNvPr>
            <p:cNvSpPr>
              <a:spLocks noChangeArrowheads="1"/>
            </p:cNvSpPr>
            <p:nvPr/>
          </p:nvSpPr>
          <p:spPr bwMode="gray">
            <a:xfrm>
              <a:off x="3778" y="2099"/>
              <a:ext cx="122" cy="12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0" dirty="0"/>
            </a:p>
          </p:txBody>
        </p:sp>
        <p:sp>
          <p:nvSpPr>
            <p:cNvPr id="24" name="Freeform 12">
              <a:extLst>
                <a:ext uri="{FF2B5EF4-FFF2-40B4-BE49-F238E27FC236}">
                  <a16:creationId xmlns:a16="http://schemas.microsoft.com/office/drawing/2014/main" id="{D79D01D1-4E3E-F34B-97D7-2D387E68746E}"/>
                </a:ext>
              </a:extLst>
            </p:cNvPr>
            <p:cNvSpPr>
              <a:spLocks/>
            </p:cNvSpPr>
            <p:nvPr/>
          </p:nvSpPr>
          <p:spPr bwMode="gray">
            <a:xfrm>
              <a:off x="4321" y="1029"/>
              <a:ext cx="648" cy="649"/>
            </a:xfrm>
            <a:custGeom>
              <a:avLst/>
              <a:gdLst>
                <a:gd name="T0" fmla="*/ 0 w 648"/>
                <a:gd name="T1" fmla="*/ 649 h 649"/>
                <a:gd name="T2" fmla="*/ 2 w 648"/>
                <a:gd name="T3" fmla="*/ 649 h 649"/>
                <a:gd name="T4" fmla="*/ 648 w 648"/>
                <a:gd name="T5" fmla="*/ 0 h 649"/>
                <a:gd name="T6" fmla="*/ 423 w 648"/>
                <a:gd name="T7" fmla="*/ 0 h 649"/>
                <a:gd name="T8" fmla="*/ 0 w 648"/>
                <a:gd name="T9" fmla="*/ 649 h 649"/>
              </a:gdLst>
              <a:ahLst/>
              <a:cxnLst>
                <a:cxn ang="0">
                  <a:pos x="T0" y="T1"/>
                </a:cxn>
                <a:cxn ang="0">
                  <a:pos x="T2" y="T3"/>
                </a:cxn>
                <a:cxn ang="0">
                  <a:pos x="T4" y="T5"/>
                </a:cxn>
                <a:cxn ang="0">
                  <a:pos x="T6" y="T7"/>
                </a:cxn>
                <a:cxn ang="0">
                  <a:pos x="T8" y="T9"/>
                </a:cxn>
              </a:cxnLst>
              <a:rect l="0" t="0" r="r" b="b"/>
              <a:pathLst>
                <a:path w="648" h="649">
                  <a:moveTo>
                    <a:pt x="0" y="649"/>
                  </a:moveTo>
                  <a:lnTo>
                    <a:pt x="2" y="649"/>
                  </a:lnTo>
                  <a:lnTo>
                    <a:pt x="648" y="0"/>
                  </a:lnTo>
                  <a:lnTo>
                    <a:pt x="423" y="0"/>
                  </a:lnTo>
                  <a:lnTo>
                    <a:pt x="0" y="64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0" dirty="0"/>
            </a:p>
          </p:txBody>
        </p:sp>
        <p:sp>
          <p:nvSpPr>
            <p:cNvPr id="26" name="Freeform 13">
              <a:extLst>
                <a:ext uri="{FF2B5EF4-FFF2-40B4-BE49-F238E27FC236}">
                  <a16:creationId xmlns:a16="http://schemas.microsoft.com/office/drawing/2014/main" id="{46549898-6C52-B147-A8F6-A73FDBE6163B}"/>
                </a:ext>
              </a:extLst>
            </p:cNvPr>
            <p:cNvSpPr>
              <a:spLocks/>
            </p:cNvSpPr>
            <p:nvPr/>
          </p:nvSpPr>
          <p:spPr bwMode="gray">
            <a:xfrm>
              <a:off x="4321" y="1029"/>
              <a:ext cx="648" cy="649"/>
            </a:xfrm>
            <a:custGeom>
              <a:avLst/>
              <a:gdLst>
                <a:gd name="T0" fmla="*/ 0 w 648"/>
                <a:gd name="T1" fmla="*/ 649 h 649"/>
                <a:gd name="T2" fmla="*/ 2 w 648"/>
                <a:gd name="T3" fmla="*/ 649 h 649"/>
                <a:gd name="T4" fmla="*/ 648 w 648"/>
                <a:gd name="T5" fmla="*/ 0 h 649"/>
                <a:gd name="T6" fmla="*/ 423 w 648"/>
                <a:gd name="T7" fmla="*/ 0 h 649"/>
                <a:gd name="T8" fmla="*/ 0 w 648"/>
                <a:gd name="T9" fmla="*/ 649 h 649"/>
              </a:gdLst>
              <a:ahLst/>
              <a:cxnLst>
                <a:cxn ang="0">
                  <a:pos x="T0" y="T1"/>
                </a:cxn>
                <a:cxn ang="0">
                  <a:pos x="T2" y="T3"/>
                </a:cxn>
                <a:cxn ang="0">
                  <a:pos x="T4" y="T5"/>
                </a:cxn>
                <a:cxn ang="0">
                  <a:pos x="T6" y="T7"/>
                </a:cxn>
                <a:cxn ang="0">
                  <a:pos x="T8" y="T9"/>
                </a:cxn>
              </a:cxnLst>
              <a:rect l="0" t="0" r="r" b="b"/>
              <a:pathLst>
                <a:path w="648" h="649">
                  <a:moveTo>
                    <a:pt x="0" y="649"/>
                  </a:moveTo>
                  <a:lnTo>
                    <a:pt x="2" y="649"/>
                  </a:lnTo>
                  <a:lnTo>
                    <a:pt x="648" y="0"/>
                  </a:lnTo>
                  <a:lnTo>
                    <a:pt x="423" y="0"/>
                  </a:lnTo>
                  <a:lnTo>
                    <a:pt x="0" y="64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0" dirty="0"/>
            </a:p>
          </p:txBody>
        </p:sp>
      </p:grpSp>
      <p:sp>
        <p:nvSpPr>
          <p:cNvPr id="20" name="shp1">
            <a:extLst>
              <a:ext uri="{FF2B5EF4-FFF2-40B4-BE49-F238E27FC236}">
                <a16:creationId xmlns:a16="http://schemas.microsoft.com/office/drawing/2014/main" id="{1AD9883E-0B1C-504A-A979-9C5803172360}"/>
              </a:ext>
            </a:extLst>
          </p:cNvPr>
          <p:cNvSpPr/>
          <p:nvPr/>
        </p:nvSpPr>
        <p:spPr>
          <a:xfrm>
            <a:off x="192089" y="2"/>
            <a:ext cx="215900" cy="144938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de-DE" sz="1350"/>
          </a:p>
        </p:txBody>
      </p:sp>
      <p:sp>
        <p:nvSpPr>
          <p:cNvPr id="7" name="copyright"/>
          <p:cNvSpPr txBox="1"/>
          <p:nvPr/>
        </p:nvSpPr>
        <p:spPr>
          <a:xfrm>
            <a:off x="10672210" y="6461673"/>
            <a:ext cx="500617" cy="133789"/>
          </a:xfrm>
          <a:prstGeom prst="rect">
            <a:avLst/>
          </a:prstGeom>
          <a:noFill/>
        </p:spPr>
        <p:txBody>
          <a:bodyPr wrap="none" lIns="0" tIns="0" rIns="0" bIns="0" rtlCol="0" anchor="b" anchorCtr="0">
            <a:noAutofit/>
          </a:bodyPr>
          <a:lstStyle/>
          <a:p>
            <a:pPr marL="0" indent="0" algn="r">
              <a:lnSpc>
                <a:spcPct val="125000"/>
              </a:lnSpc>
              <a:buClr>
                <a:schemeClr val="tx2"/>
              </a:buClr>
              <a:buFont typeface="Wingdings" panose="05000000000000000000" pitchFamily="2" charset="2"/>
              <a:buNone/>
            </a:pPr>
            <a:r>
              <a:rPr lang="en-US" sz="800" dirty="0"/>
              <a:t>© GfK</a:t>
            </a:r>
          </a:p>
        </p:txBody>
      </p:sp>
      <p:sp>
        <p:nvSpPr>
          <p:cNvPr id="29" name="Footer Placeholder 28"/>
          <p:cNvSpPr>
            <a:spLocks noGrp="1"/>
          </p:cNvSpPr>
          <p:nvPr>
            <p:ph type="ftr" sz="quarter" idx="3"/>
          </p:nvPr>
        </p:nvSpPr>
        <p:spPr>
          <a:xfrm>
            <a:off x="1076400" y="6461673"/>
            <a:ext cx="8162717" cy="133789"/>
          </a:xfrm>
          <a:prstGeom prst="rect">
            <a:avLst/>
          </a:prstGeom>
        </p:spPr>
        <p:txBody>
          <a:bodyPr vert="horz" lIns="0" tIns="0" rIns="0" bIns="0" rtlCol="0" anchor="b" anchorCtr="0"/>
          <a:lstStyle>
            <a:lvl1pPr marL="0" indent="0" algn="l">
              <a:buClr>
                <a:schemeClr val="tx2"/>
              </a:buClr>
              <a:buFont typeface="Wingdings" panose="05000000000000000000" pitchFamily="2" charset="2"/>
              <a:buNone/>
              <a:defRPr sz="800">
                <a:solidFill>
                  <a:schemeClr val="tx1"/>
                </a:solidFill>
              </a:defRPr>
            </a:lvl1pPr>
          </a:lstStyle>
          <a:p>
            <a:r>
              <a:rPr lang="en-US" dirty="0"/>
              <a:t>Source:</a:t>
            </a:r>
          </a:p>
        </p:txBody>
      </p:sp>
      <p:sp>
        <p:nvSpPr>
          <p:cNvPr id="30" name="Slide Number Placeholder 29"/>
          <p:cNvSpPr>
            <a:spLocks noGrp="1"/>
          </p:cNvSpPr>
          <p:nvPr>
            <p:ph type="sldNum" sz="quarter" idx="4"/>
          </p:nvPr>
        </p:nvSpPr>
        <p:spPr>
          <a:xfrm>
            <a:off x="11186669" y="6461673"/>
            <a:ext cx="648000" cy="133789"/>
          </a:xfrm>
          <a:prstGeom prst="rect">
            <a:avLst/>
          </a:prstGeom>
        </p:spPr>
        <p:txBody>
          <a:bodyPr vert="horz" lIns="0" tIns="0" rIns="0" bIns="0" rtlCol="0" anchor="b" anchorCtr="0"/>
          <a:lstStyle>
            <a:lvl1pPr algn="r">
              <a:defRPr sz="800">
                <a:solidFill>
                  <a:schemeClr val="tx1"/>
                </a:solidFill>
              </a:defRPr>
            </a:lvl1pPr>
          </a:lstStyle>
          <a:p>
            <a:fld id="{5F3E29E4-0979-4FCA-B4C5-5FC6044C982A}" type="slidenum">
              <a:rPr lang="en-US" smtClean="0"/>
              <a:pPr/>
              <a:t>‹#›</a:t>
            </a:fld>
            <a:endParaRPr lang="en-US"/>
          </a:p>
        </p:txBody>
      </p:sp>
      <p:sp>
        <p:nvSpPr>
          <p:cNvPr id="2" name="Title Placeholder 1"/>
          <p:cNvSpPr>
            <a:spLocks noGrp="1"/>
          </p:cNvSpPr>
          <p:nvPr>
            <p:ph type="title"/>
          </p:nvPr>
        </p:nvSpPr>
        <p:spPr>
          <a:xfrm>
            <a:off x="1075062" y="288921"/>
            <a:ext cx="7910159" cy="648000"/>
          </a:xfrm>
          <a:prstGeom prst="rect">
            <a:avLst/>
          </a:prstGeom>
        </p:spPr>
        <p:txBody>
          <a:bodyPr vert="horz" lIns="0" tIns="0" rIns="0" bIns="0" rtlCol="0" anchor="t">
            <a:noAutofit/>
          </a:bodyPr>
          <a:lstStyle/>
          <a:p>
            <a:r>
              <a:rPr lang="ru-RU"/>
              <a:t>Образец заголовка</a:t>
            </a:r>
            <a:endParaRPr lang="en-US" dirty="0"/>
          </a:p>
        </p:txBody>
      </p:sp>
      <p:sp>
        <p:nvSpPr>
          <p:cNvPr id="3" name="Text Placeholder 2"/>
          <p:cNvSpPr>
            <a:spLocks noGrp="1"/>
          </p:cNvSpPr>
          <p:nvPr>
            <p:ph type="body" idx="1"/>
          </p:nvPr>
        </p:nvSpPr>
        <p:spPr>
          <a:xfrm>
            <a:off x="1075063" y="1629618"/>
            <a:ext cx="10097764" cy="4139357"/>
          </a:xfrm>
          <a:prstGeom prst="rect">
            <a:avLst/>
          </a:prstGeom>
        </p:spPr>
        <p:txBody>
          <a:bodyPr vert="horz" lIns="0" tIns="0" rIns="0" bIns="0" rtlCol="0">
            <a:noAutofit/>
          </a:bodyPr>
          <a:lstStyle/>
          <a:p>
            <a:pPr lvl="0"/>
            <a:r>
              <a:rPr lang="ru-RU" dirty="0"/>
              <a:t>Образец текста</a:t>
            </a:r>
          </a:p>
          <a:p>
            <a:pPr lvl="1"/>
            <a:r>
              <a:rPr lang="ru-RU" dirty="0"/>
              <a:t>Второй уровень</a:t>
            </a:r>
          </a:p>
          <a:p>
            <a:pPr lvl="2"/>
            <a:r>
              <a:rPr lang="ru-RU" dirty="0"/>
              <a:t>Третий уровень</a:t>
            </a:r>
          </a:p>
          <a:p>
            <a:pPr lvl="3"/>
            <a:r>
              <a:rPr lang="ru-RU" dirty="0"/>
              <a:t>Четвертый уровень</a:t>
            </a:r>
          </a:p>
          <a:p>
            <a:pPr lvl="4"/>
            <a:r>
              <a:rPr lang="ru-RU" dirty="0"/>
              <a:t>Пятый уровень</a:t>
            </a:r>
            <a:endParaRPr lang="en-US" dirty="0"/>
          </a:p>
        </p:txBody>
      </p:sp>
    </p:spTree>
    <p:extLst>
      <p:ext uri="{BB962C8B-B14F-4D97-AF65-F5344CB8AC3E}">
        <p14:creationId xmlns:p14="http://schemas.microsoft.com/office/powerpoint/2010/main" val="1585525816"/>
      </p:ext>
    </p:extLst>
  </p:cSld>
  <p:clrMap bg1="lt1" tx1="dk1" bg2="lt2" tx2="dk2" accent1="accent1" accent2="accent2" accent3="accent3" accent4="accent4" accent5="accent5" accent6="accent6" hlink="hlink" folHlink="folHlink"/>
  <p:sldLayoutIdLst>
    <p:sldLayoutId id="2147484500" r:id="rId1"/>
    <p:sldLayoutId id="2147484501" r:id="rId2"/>
    <p:sldLayoutId id="2147484502" r:id="rId3"/>
    <p:sldLayoutId id="2147484503" r:id="rId4"/>
    <p:sldLayoutId id="2147484504" r:id="rId5"/>
    <p:sldLayoutId id="2147484505" r:id="rId6"/>
    <p:sldLayoutId id="2147484506" r:id="rId7"/>
    <p:sldLayoutId id="2147484507" r:id="rId8"/>
    <p:sldLayoutId id="2147484508" r:id="rId9"/>
    <p:sldLayoutId id="2147484509" r:id="rId10"/>
    <p:sldLayoutId id="2147484510" r:id="rId11"/>
    <p:sldLayoutId id="2147484511" r:id="rId12"/>
    <p:sldLayoutId id="2147484512" r:id="rId13"/>
    <p:sldLayoutId id="2147484513" r:id="rId14"/>
    <p:sldLayoutId id="2147484514" r:id="rId15"/>
    <p:sldLayoutId id="2147484515" r:id="rId16"/>
    <p:sldLayoutId id="2147484516" r:id="rId17"/>
    <p:sldLayoutId id="2147484517" r:id="rId18"/>
    <p:sldLayoutId id="2147484518" r:id="rId19"/>
    <p:sldLayoutId id="2147484519" r:id="rId20"/>
    <p:sldLayoutId id="2147484520" r:id="rId21"/>
    <p:sldLayoutId id="2147484521" r:id="rId22"/>
    <p:sldLayoutId id="2147484522" r:id="rId23"/>
    <p:sldLayoutId id="2147484523" r:id="rId24"/>
    <p:sldLayoutId id="2147484524" r:id="rId25"/>
    <p:sldLayoutId id="2147484525" r:id="rId26"/>
    <p:sldLayoutId id="2147484526" r:id="rId27"/>
    <p:sldLayoutId id="2147484527" r:id="rId28"/>
    <p:sldLayoutId id="2147484528" r:id="rId29"/>
    <p:sldLayoutId id="2147484529" r:id="rId30"/>
  </p:sldLayoutIdLst>
  <p:hf hdr="0"/>
  <p:txStyles>
    <p:titleStyle>
      <a:lvl1pPr algn="l" defTabSz="914103" rtl="0" eaLnBrk="1" latinLnBrk="0" hangingPunct="1">
        <a:lnSpc>
          <a:spcPct val="100000"/>
        </a:lnSpc>
        <a:spcBef>
          <a:spcPct val="0"/>
        </a:spcBef>
        <a:buNone/>
        <a:defRPr sz="3599" kern="1200">
          <a:solidFill>
            <a:schemeClr val="tx1"/>
          </a:solidFill>
          <a:latin typeface="+mj-lt"/>
          <a:ea typeface="+mj-ea"/>
          <a:cs typeface="+mj-cs"/>
        </a:defRPr>
      </a:lvl1pPr>
    </p:titleStyle>
    <p:bodyStyle>
      <a:lvl1pPr marL="251918" indent="-251918" algn="l" defTabSz="914103" rtl="0" eaLnBrk="1" latinLnBrk="0" hangingPunct="1">
        <a:lnSpc>
          <a:spcPct val="110000"/>
        </a:lnSpc>
        <a:spcBef>
          <a:spcPts val="1000"/>
        </a:spcBef>
        <a:buClr>
          <a:schemeClr val="tx2"/>
        </a:buClr>
        <a:buFont typeface="Wingdings" panose="05000000000000000000" pitchFamily="2" charset="2"/>
        <a:buChar char="§"/>
        <a:defRPr sz="2799" kern="1200">
          <a:solidFill>
            <a:schemeClr val="tx1"/>
          </a:solidFill>
          <a:latin typeface="+mn-lt"/>
          <a:ea typeface="+mn-ea"/>
          <a:cs typeface="+mn-cs"/>
        </a:defRPr>
      </a:lvl1pPr>
      <a:lvl2pPr marL="647789" indent="-251918" algn="l" defTabSz="914103" rtl="0" eaLnBrk="1" latinLnBrk="0" hangingPunct="1">
        <a:lnSpc>
          <a:spcPct val="110000"/>
        </a:lnSpc>
        <a:spcBef>
          <a:spcPts val="600"/>
        </a:spcBef>
        <a:buClr>
          <a:schemeClr val="tx2"/>
        </a:buClr>
        <a:buFont typeface="Wingdings" panose="05000000000000000000" pitchFamily="2" charset="2"/>
        <a:buChar char="§"/>
        <a:defRPr sz="2399" kern="1200">
          <a:solidFill>
            <a:schemeClr val="tx1"/>
          </a:solidFill>
          <a:latin typeface="+mn-lt"/>
          <a:ea typeface="+mn-ea"/>
          <a:cs typeface="+mn-cs"/>
        </a:defRPr>
      </a:lvl2pPr>
      <a:lvl3pPr marL="1079649" indent="-251918" algn="l" defTabSz="914103" rtl="0" eaLnBrk="1" latinLnBrk="0" hangingPunct="1">
        <a:lnSpc>
          <a:spcPct val="110000"/>
        </a:lnSpc>
        <a:spcBef>
          <a:spcPts val="600"/>
        </a:spcBef>
        <a:buClr>
          <a:schemeClr val="tx2"/>
        </a:buClr>
        <a:buFont typeface="Wingdings" panose="05000000000000000000" pitchFamily="2" charset="2"/>
        <a:buChar char="§"/>
        <a:defRPr sz="1999" kern="1200">
          <a:solidFill>
            <a:schemeClr val="tx1"/>
          </a:solidFill>
          <a:latin typeface="+mn-lt"/>
          <a:ea typeface="+mn-ea"/>
          <a:cs typeface="+mn-cs"/>
        </a:defRPr>
      </a:lvl3pPr>
      <a:lvl4pPr marL="0" indent="0" algn="l" defTabSz="914103" rtl="0" eaLnBrk="1" latinLnBrk="0" hangingPunct="1">
        <a:lnSpc>
          <a:spcPct val="110000"/>
        </a:lnSpc>
        <a:spcBef>
          <a:spcPts val="600"/>
        </a:spcBef>
        <a:buClr>
          <a:schemeClr val="tx2"/>
        </a:buClr>
        <a:buFont typeface="Lato" panose="020F0502020204030203" pitchFamily="34" charset="0"/>
        <a:buChar char="​"/>
        <a:defRPr sz="1599" kern="1200">
          <a:solidFill>
            <a:schemeClr val="tx1"/>
          </a:solidFill>
          <a:latin typeface="+mn-lt"/>
          <a:ea typeface="+mn-ea"/>
          <a:cs typeface="+mn-cs"/>
        </a:defRPr>
      </a:lvl4pPr>
      <a:lvl5pPr marL="251918" indent="-251918" algn="l" defTabSz="914103" rtl="0" eaLnBrk="1" latinLnBrk="0" hangingPunct="1">
        <a:lnSpc>
          <a:spcPct val="110000"/>
        </a:lnSpc>
        <a:spcBef>
          <a:spcPts val="600"/>
        </a:spcBef>
        <a:buClr>
          <a:schemeClr val="tx2"/>
        </a:buClr>
        <a:buFont typeface="Wingdings" panose="05000000000000000000" pitchFamily="2" charset="2"/>
        <a:buChar char="§"/>
        <a:defRPr sz="1599" kern="1200">
          <a:solidFill>
            <a:schemeClr val="tx1"/>
          </a:solidFill>
          <a:latin typeface="+mn-lt"/>
          <a:ea typeface="+mn-ea"/>
          <a:cs typeface="+mn-cs"/>
        </a:defRPr>
      </a:lvl5pPr>
      <a:lvl6pPr marL="647789" indent="-251918" algn="l" defTabSz="914103" rtl="0" eaLnBrk="1" latinLnBrk="0" hangingPunct="1">
        <a:lnSpc>
          <a:spcPct val="110000"/>
        </a:lnSpc>
        <a:spcBef>
          <a:spcPts val="600"/>
        </a:spcBef>
        <a:buClr>
          <a:schemeClr val="tx2"/>
        </a:buClr>
        <a:buFont typeface="Wingdings" panose="05000000000000000000" pitchFamily="2" charset="2"/>
        <a:buChar char="§"/>
        <a:defRPr sz="1599" kern="1200">
          <a:solidFill>
            <a:schemeClr val="tx1"/>
          </a:solidFill>
          <a:latin typeface="+mn-lt"/>
          <a:ea typeface="+mn-ea"/>
          <a:cs typeface="+mn-cs"/>
        </a:defRPr>
      </a:lvl6pPr>
      <a:lvl7pPr marL="1079649" indent="-251918" algn="l" defTabSz="914103" rtl="0" eaLnBrk="1" latinLnBrk="0" hangingPunct="1">
        <a:lnSpc>
          <a:spcPct val="110000"/>
        </a:lnSpc>
        <a:spcBef>
          <a:spcPts val="600"/>
        </a:spcBef>
        <a:buClr>
          <a:schemeClr val="tx2"/>
        </a:buClr>
        <a:buFont typeface="Wingdings" panose="05000000000000000000" pitchFamily="2" charset="2"/>
        <a:buChar char="§"/>
        <a:defRPr sz="1599" kern="1200">
          <a:solidFill>
            <a:schemeClr val="tx1"/>
          </a:solidFill>
          <a:latin typeface="+mn-lt"/>
          <a:ea typeface="+mn-ea"/>
          <a:cs typeface="+mn-cs"/>
        </a:defRPr>
      </a:lvl7pPr>
      <a:lvl8pPr marL="1511509" indent="-251918" algn="l" defTabSz="914103" rtl="0" eaLnBrk="1" latinLnBrk="0" hangingPunct="1">
        <a:lnSpc>
          <a:spcPct val="110000"/>
        </a:lnSpc>
        <a:spcBef>
          <a:spcPts val="600"/>
        </a:spcBef>
        <a:buClr>
          <a:schemeClr val="tx2"/>
        </a:buClr>
        <a:buFont typeface="Wingdings" panose="05000000000000000000" pitchFamily="2" charset="2"/>
        <a:buChar char="§"/>
        <a:defRPr sz="1599" kern="1200">
          <a:solidFill>
            <a:schemeClr val="tx1"/>
          </a:solidFill>
          <a:latin typeface="+mn-lt"/>
          <a:ea typeface="+mn-ea"/>
          <a:cs typeface="+mn-cs"/>
        </a:defRPr>
      </a:lvl8pPr>
      <a:lvl9pPr marL="1943368" indent="-251918" algn="l" defTabSz="914103" rtl="0" eaLnBrk="1" latinLnBrk="0" hangingPunct="1">
        <a:lnSpc>
          <a:spcPct val="110000"/>
        </a:lnSpc>
        <a:spcBef>
          <a:spcPts val="600"/>
        </a:spcBef>
        <a:buClr>
          <a:schemeClr val="tx2"/>
        </a:buClr>
        <a:buFont typeface="Wingdings" panose="05000000000000000000" pitchFamily="2" charset="2"/>
        <a:buChar char="§"/>
        <a:defRPr sz="1599" kern="1200">
          <a:solidFill>
            <a:schemeClr val="tx1"/>
          </a:solidFill>
          <a:latin typeface="+mn-lt"/>
          <a:ea typeface="+mn-ea"/>
          <a:cs typeface="+mn-cs"/>
        </a:defRPr>
      </a:lvl9pPr>
    </p:bodyStyle>
    <p:otherStyle>
      <a:defPPr>
        <a:defRPr lang="en-US"/>
      </a:defPPr>
      <a:lvl1pPr marL="0" algn="l" defTabSz="914103" rtl="0" eaLnBrk="1" latinLnBrk="0" hangingPunct="1">
        <a:defRPr sz="1799" kern="1200">
          <a:solidFill>
            <a:schemeClr val="tx1"/>
          </a:solidFill>
          <a:latin typeface="+mn-lt"/>
          <a:ea typeface="+mn-ea"/>
          <a:cs typeface="+mn-cs"/>
        </a:defRPr>
      </a:lvl1pPr>
      <a:lvl2pPr marL="457051" algn="l" defTabSz="914103" rtl="0" eaLnBrk="1" latinLnBrk="0" hangingPunct="1">
        <a:defRPr sz="1799" kern="1200">
          <a:solidFill>
            <a:schemeClr val="tx1"/>
          </a:solidFill>
          <a:latin typeface="+mn-lt"/>
          <a:ea typeface="+mn-ea"/>
          <a:cs typeface="+mn-cs"/>
        </a:defRPr>
      </a:lvl2pPr>
      <a:lvl3pPr marL="914103" algn="l" defTabSz="914103" rtl="0" eaLnBrk="1" latinLnBrk="0" hangingPunct="1">
        <a:defRPr sz="1799" kern="1200">
          <a:solidFill>
            <a:schemeClr val="tx1"/>
          </a:solidFill>
          <a:latin typeface="+mn-lt"/>
          <a:ea typeface="+mn-ea"/>
          <a:cs typeface="+mn-cs"/>
        </a:defRPr>
      </a:lvl3pPr>
      <a:lvl4pPr marL="1371154" algn="l" defTabSz="914103" rtl="0" eaLnBrk="1" latinLnBrk="0" hangingPunct="1">
        <a:defRPr sz="1799" kern="1200">
          <a:solidFill>
            <a:schemeClr val="tx1"/>
          </a:solidFill>
          <a:latin typeface="+mn-lt"/>
          <a:ea typeface="+mn-ea"/>
          <a:cs typeface="+mn-cs"/>
        </a:defRPr>
      </a:lvl4pPr>
      <a:lvl5pPr marL="1828206" algn="l" defTabSz="914103" rtl="0" eaLnBrk="1" latinLnBrk="0" hangingPunct="1">
        <a:defRPr sz="1799" kern="1200">
          <a:solidFill>
            <a:schemeClr val="tx1"/>
          </a:solidFill>
          <a:latin typeface="+mn-lt"/>
          <a:ea typeface="+mn-ea"/>
          <a:cs typeface="+mn-cs"/>
        </a:defRPr>
      </a:lvl5pPr>
      <a:lvl6pPr marL="2285257" algn="l" defTabSz="914103" rtl="0" eaLnBrk="1" latinLnBrk="0" hangingPunct="1">
        <a:defRPr sz="1799" kern="1200">
          <a:solidFill>
            <a:schemeClr val="tx1"/>
          </a:solidFill>
          <a:latin typeface="+mn-lt"/>
          <a:ea typeface="+mn-ea"/>
          <a:cs typeface="+mn-cs"/>
        </a:defRPr>
      </a:lvl6pPr>
      <a:lvl7pPr marL="2742308" algn="l" defTabSz="914103" rtl="0" eaLnBrk="1" latinLnBrk="0" hangingPunct="1">
        <a:defRPr sz="1799" kern="1200">
          <a:solidFill>
            <a:schemeClr val="tx1"/>
          </a:solidFill>
          <a:latin typeface="+mn-lt"/>
          <a:ea typeface="+mn-ea"/>
          <a:cs typeface="+mn-cs"/>
        </a:defRPr>
      </a:lvl7pPr>
      <a:lvl8pPr marL="3199360" algn="l" defTabSz="914103" rtl="0" eaLnBrk="1" latinLnBrk="0" hangingPunct="1">
        <a:defRPr sz="1799" kern="1200">
          <a:solidFill>
            <a:schemeClr val="tx1"/>
          </a:solidFill>
          <a:latin typeface="+mn-lt"/>
          <a:ea typeface="+mn-ea"/>
          <a:cs typeface="+mn-cs"/>
        </a:defRPr>
      </a:lvl8pPr>
      <a:lvl9pPr marL="3656411" algn="l" defTabSz="914103" rtl="0" eaLnBrk="1" latinLnBrk="0" hangingPunct="1">
        <a:defRPr sz="1799"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319">
          <p15:clr>
            <a:srgbClr val="5ACBF0"/>
          </p15:clr>
        </p15:guide>
        <p15:guide id="3" pos="257">
          <p15:clr>
            <a:srgbClr val="5ACBF0"/>
          </p15:clr>
        </p15:guide>
        <p15:guide id="4" pos="675">
          <p15:clr>
            <a:srgbClr val="5ACBF0"/>
          </p15:clr>
        </p15:guide>
        <p15:guide id="5" pos="7038">
          <p15:clr>
            <a:srgbClr val="5ACBF0"/>
          </p15:clr>
        </p15:guide>
        <p15:guide id="6" pos="7446">
          <p15:clr>
            <a:srgbClr val="5ACBF0"/>
          </p15:clr>
        </p15:guide>
        <p15:guide id="7" orient="horz" pos="255">
          <p15:clr>
            <a:srgbClr val="5ACBF0"/>
          </p15:clr>
        </p15:guide>
        <p15:guide id="8" orient="horz" pos="663">
          <p15:clr>
            <a:srgbClr val="5ACBF0"/>
          </p15:clr>
        </p15:guide>
        <p15:guide id="9" orient="horz" pos="799">
          <p15:clr>
            <a:srgbClr val="5ACBF0"/>
          </p15:clr>
        </p15:guide>
        <p15:guide id="10" orient="horz" pos="1026">
          <p15:clr>
            <a:srgbClr val="5ACBF0"/>
          </p15:clr>
        </p15:guide>
        <p15:guide id="11" orient="horz" pos="3634">
          <p15:clr>
            <a:srgbClr val="5ACBF0"/>
          </p15:clr>
        </p15:guide>
        <p15:guide id="12" orient="horz" pos="3929">
          <p15:clr>
            <a:srgbClr val="5ACBF0"/>
          </p15:clr>
        </p15:guide>
        <p15:guide id="13" orient="horz" pos="4133">
          <p15:clr>
            <a:srgbClr val="5ACBF0"/>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pSp>
        <p:nvGrpSpPr>
          <p:cNvPr id="13" name="logo">
            <a:extLst>
              <a:ext uri="{FF2B5EF4-FFF2-40B4-BE49-F238E27FC236}">
                <a16:creationId xmlns:a16="http://schemas.microsoft.com/office/drawing/2014/main" id="{57BD2C4C-DC67-B843-B26C-309622FC75F7}"/>
              </a:ext>
            </a:extLst>
          </p:cNvPr>
          <p:cNvGrpSpPr>
            <a:grpSpLocks noChangeAspect="1"/>
          </p:cNvGrpSpPr>
          <p:nvPr/>
        </p:nvGrpSpPr>
        <p:grpSpPr bwMode="gray">
          <a:xfrm>
            <a:off x="11174018" y="401441"/>
            <a:ext cx="644225" cy="646507"/>
            <a:chOff x="2711" y="1027"/>
            <a:chExt cx="2258" cy="2266"/>
          </a:xfrm>
        </p:grpSpPr>
        <p:sp>
          <p:nvSpPr>
            <p:cNvPr id="14" name="AutoShape 3">
              <a:extLst>
                <a:ext uri="{FF2B5EF4-FFF2-40B4-BE49-F238E27FC236}">
                  <a16:creationId xmlns:a16="http://schemas.microsoft.com/office/drawing/2014/main" id="{FE1DC41B-291E-574C-9F2C-874E70A40758}"/>
                </a:ext>
              </a:extLst>
            </p:cNvPr>
            <p:cNvSpPr>
              <a:spLocks noChangeAspect="1" noChangeArrowheads="1" noTextEdit="1"/>
            </p:cNvSpPr>
            <p:nvPr/>
          </p:nvSpPr>
          <p:spPr bwMode="gray">
            <a:xfrm>
              <a:off x="2711" y="1027"/>
              <a:ext cx="2258" cy="22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sp>
          <p:nvSpPr>
            <p:cNvPr id="15" name="Freeform 5">
              <a:extLst>
                <a:ext uri="{FF2B5EF4-FFF2-40B4-BE49-F238E27FC236}">
                  <a16:creationId xmlns:a16="http://schemas.microsoft.com/office/drawing/2014/main" id="{D4B633C8-F761-C54B-9BD2-EB59D49A2DBC}"/>
                </a:ext>
              </a:extLst>
            </p:cNvPr>
            <p:cNvSpPr>
              <a:spLocks/>
            </p:cNvSpPr>
            <p:nvPr/>
          </p:nvSpPr>
          <p:spPr bwMode="gray">
            <a:xfrm>
              <a:off x="2709" y="1029"/>
              <a:ext cx="2260" cy="2262"/>
            </a:xfrm>
            <a:custGeom>
              <a:avLst/>
              <a:gdLst>
                <a:gd name="T0" fmla="*/ 2260 w 2260"/>
                <a:gd name="T1" fmla="*/ 0 h 2262"/>
                <a:gd name="T2" fmla="*/ 1612 w 2260"/>
                <a:gd name="T3" fmla="*/ 649 h 2262"/>
                <a:gd name="T4" fmla="*/ 1612 w 2260"/>
                <a:gd name="T5" fmla="*/ 649 h 2262"/>
                <a:gd name="T6" fmla="*/ 2035 w 2260"/>
                <a:gd name="T7" fmla="*/ 0 h 2262"/>
                <a:gd name="T8" fmla="*/ 0 w 2260"/>
                <a:gd name="T9" fmla="*/ 0 h 2262"/>
                <a:gd name="T10" fmla="*/ 0 w 2260"/>
                <a:gd name="T11" fmla="*/ 2262 h 2262"/>
                <a:gd name="T12" fmla="*/ 2260 w 2260"/>
                <a:gd name="T13" fmla="*/ 2262 h 2262"/>
                <a:gd name="T14" fmla="*/ 2260 w 2260"/>
                <a:gd name="T15" fmla="*/ 0 h 2262"/>
                <a:gd name="T16" fmla="*/ 2260 w 2260"/>
                <a:gd name="T17" fmla="*/ 0 h 2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0" h="2262">
                  <a:moveTo>
                    <a:pt x="2260" y="0"/>
                  </a:moveTo>
                  <a:lnTo>
                    <a:pt x="1612" y="649"/>
                  </a:lnTo>
                  <a:lnTo>
                    <a:pt x="1612" y="649"/>
                  </a:lnTo>
                  <a:lnTo>
                    <a:pt x="2035" y="0"/>
                  </a:lnTo>
                  <a:lnTo>
                    <a:pt x="0" y="0"/>
                  </a:lnTo>
                  <a:lnTo>
                    <a:pt x="0" y="2262"/>
                  </a:lnTo>
                  <a:lnTo>
                    <a:pt x="2260" y="2262"/>
                  </a:lnTo>
                  <a:lnTo>
                    <a:pt x="2260" y="0"/>
                  </a:lnTo>
                  <a:lnTo>
                    <a:pt x="2260" y="0"/>
                  </a:lnTo>
                  <a:close/>
                </a:path>
              </a:pathLst>
            </a:custGeom>
            <a:solidFill>
              <a:srgbClr val="E55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sp>
          <p:nvSpPr>
            <p:cNvPr id="16" name="Freeform 6">
              <a:extLst>
                <a:ext uri="{FF2B5EF4-FFF2-40B4-BE49-F238E27FC236}">
                  <a16:creationId xmlns:a16="http://schemas.microsoft.com/office/drawing/2014/main" id="{B16BAAE4-1A41-C843-9754-490F7A1E1270}"/>
                </a:ext>
              </a:extLst>
            </p:cNvPr>
            <p:cNvSpPr>
              <a:spLocks noEditPoints="1"/>
            </p:cNvSpPr>
            <p:nvPr/>
          </p:nvSpPr>
          <p:spPr bwMode="gray">
            <a:xfrm>
              <a:off x="3623" y="1696"/>
              <a:ext cx="1167" cy="922"/>
            </a:xfrm>
            <a:custGeom>
              <a:avLst/>
              <a:gdLst>
                <a:gd name="T0" fmla="*/ 411 w 580"/>
                <a:gd name="T1" fmla="*/ 213 h 458"/>
                <a:gd name="T2" fmla="*/ 570 w 580"/>
                <a:gd name="T3" fmla="*/ 37 h 458"/>
                <a:gd name="T4" fmla="*/ 580 w 580"/>
                <a:gd name="T5" fmla="*/ 20 h 458"/>
                <a:gd name="T6" fmla="*/ 545 w 580"/>
                <a:gd name="T7" fmla="*/ 0 h 458"/>
                <a:gd name="T8" fmla="*/ 519 w 580"/>
                <a:gd name="T9" fmla="*/ 16 h 458"/>
                <a:gd name="T10" fmla="*/ 344 w 580"/>
                <a:gd name="T11" fmla="*/ 210 h 458"/>
                <a:gd name="T12" fmla="*/ 334 w 580"/>
                <a:gd name="T13" fmla="*/ 229 h 458"/>
                <a:gd name="T14" fmla="*/ 344 w 580"/>
                <a:gd name="T15" fmla="*/ 248 h 458"/>
                <a:gd name="T16" fmla="*/ 519 w 580"/>
                <a:gd name="T17" fmla="*/ 442 h 458"/>
                <a:gd name="T18" fmla="*/ 545 w 580"/>
                <a:gd name="T19" fmla="*/ 458 h 458"/>
                <a:gd name="T20" fmla="*/ 580 w 580"/>
                <a:gd name="T21" fmla="*/ 438 h 458"/>
                <a:gd name="T22" fmla="*/ 570 w 580"/>
                <a:gd name="T23" fmla="*/ 421 h 458"/>
                <a:gd name="T24" fmla="*/ 411 w 580"/>
                <a:gd name="T25" fmla="*/ 245 h 458"/>
                <a:gd name="T26" fmla="*/ 399 w 580"/>
                <a:gd name="T27" fmla="*/ 229 h 458"/>
                <a:gd name="T28" fmla="*/ 411 w 580"/>
                <a:gd name="T29" fmla="*/ 213 h 458"/>
                <a:gd name="T30" fmla="*/ 252 w 580"/>
                <a:gd name="T31" fmla="*/ 439 h 458"/>
                <a:gd name="T32" fmla="*/ 281 w 580"/>
                <a:gd name="T33" fmla="*/ 454 h 458"/>
                <a:gd name="T34" fmla="*/ 309 w 580"/>
                <a:gd name="T35" fmla="*/ 439 h 458"/>
                <a:gd name="T36" fmla="*/ 309 w 580"/>
                <a:gd name="T37" fmla="*/ 19 h 458"/>
                <a:gd name="T38" fmla="*/ 281 w 580"/>
                <a:gd name="T39" fmla="*/ 4 h 458"/>
                <a:gd name="T40" fmla="*/ 252 w 580"/>
                <a:gd name="T41" fmla="*/ 19 h 458"/>
                <a:gd name="T42" fmla="*/ 252 w 580"/>
                <a:gd name="T43" fmla="*/ 439 h 458"/>
                <a:gd name="T44" fmla="*/ 0 w 580"/>
                <a:gd name="T45" fmla="*/ 439 h 458"/>
                <a:gd name="T46" fmla="*/ 28 w 580"/>
                <a:gd name="T47" fmla="*/ 454 h 458"/>
                <a:gd name="T48" fmla="*/ 56 w 580"/>
                <a:gd name="T49" fmla="*/ 439 h 458"/>
                <a:gd name="T50" fmla="*/ 56 w 580"/>
                <a:gd name="T51" fmla="*/ 157 h 458"/>
                <a:gd name="T52" fmla="*/ 165 w 580"/>
                <a:gd name="T53" fmla="*/ 53 h 458"/>
                <a:gd name="T54" fmla="*/ 180 w 580"/>
                <a:gd name="T55" fmla="*/ 53 h 458"/>
                <a:gd name="T56" fmla="*/ 196 w 580"/>
                <a:gd name="T57" fmla="*/ 27 h 458"/>
                <a:gd name="T58" fmla="*/ 154 w 580"/>
                <a:gd name="T59" fmla="*/ 4 h 458"/>
                <a:gd name="T60" fmla="*/ 0 w 580"/>
                <a:gd name="T61" fmla="*/ 152 h 458"/>
                <a:gd name="T62" fmla="*/ 0 w 580"/>
                <a:gd name="T63" fmla="*/ 439 h 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80" h="458">
                  <a:moveTo>
                    <a:pt x="411" y="213"/>
                  </a:moveTo>
                  <a:cubicBezTo>
                    <a:pt x="570" y="37"/>
                    <a:pt x="570" y="37"/>
                    <a:pt x="570" y="37"/>
                  </a:cubicBezTo>
                  <a:cubicBezTo>
                    <a:pt x="576" y="30"/>
                    <a:pt x="580" y="25"/>
                    <a:pt x="580" y="20"/>
                  </a:cubicBezTo>
                  <a:cubicBezTo>
                    <a:pt x="580" y="10"/>
                    <a:pt x="559" y="0"/>
                    <a:pt x="545" y="0"/>
                  </a:cubicBezTo>
                  <a:cubicBezTo>
                    <a:pt x="535" y="0"/>
                    <a:pt x="526" y="8"/>
                    <a:pt x="519" y="16"/>
                  </a:cubicBezTo>
                  <a:cubicBezTo>
                    <a:pt x="344" y="210"/>
                    <a:pt x="344" y="210"/>
                    <a:pt x="344" y="210"/>
                  </a:cubicBezTo>
                  <a:cubicBezTo>
                    <a:pt x="336" y="219"/>
                    <a:pt x="334" y="224"/>
                    <a:pt x="334" y="229"/>
                  </a:cubicBezTo>
                  <a:cubicBezTo>
                    <a:pt x="334" y="234"/>
                    <a:pt x="336" y="239"/>
                    <a:pt x="344" y="248"/>
                  </a:cubicBezTo>
                  <a:cubicBezTo>
                    <a:pt x="519" y="442"/>
                    <a:pt x="519" y="442"/>
                    <a:pt x="519" y="442"/>
                  </a:cubicBezTo>
                  <a:cubicBezTo>
                    <a:pt x="526" y="450"/>
                    <a:pt x="535" y="458"/>
                    <a:pt x="545" y="458"/>
                  </a:cubicBezTo>
                  <a:cubicBezTo>
                    <a:pt x="559" y="458"/>
                    <a:pt x="580" y="448"/>
                    <a:pt x="580" y="438"/>
                  </a:cubicBezTo>
                  <a:cubicBezTo>
                    <a:pt x="580" y="433"/>
                    <a:pt x="576" y="428"/>
                    <a:pt x="570" y="421"/>
                  </a:cubicBezTo>
                  <a:cubicBezTo>
                    <a:pt x="411" y="245"/>
                    <a:pt x="411" y="245"/>
                    <a:pt x="411" y="245"/>
                  </a:cubicBezTo>
                  <a:cubicBezTo>
                    <a:pt x="403" y="236"/>
                    <a:pt x="399" y="232"/>
                    <a:pt x="399" y="229"/>
                  </a:cubicBezTo>
                  <a:cubicBezTo>
                    <a:pt x="399" y="226"/>
                    <a:pt x="403" y="222"/>
                    <a:pt x="411" y="213"/>
                  </a:cubicBezTo>
                  <a:moveTo>
                    <a:pt x="252" y="439"/>
                  </a:moveTo>
                  <a:cubicBezTo>
                    <a:pt x="252" y="449"/>
                    <a:pt x="261" y="454"/>
                    <a:pt x="281" y="454"/>
                  </a:cubicBezTo>
                  <a:cubicBezTo>
                    <a:pt x="300" y="454"/>
                    <a:pt x="309" y="449"/>
                    <a:pt x="309" y="439"/>
                  </a:cubicBezTo>
                  <a:cubicBezTo>
                    <a:pt x="309" y="19"/>
                    <a:pt x="309" y="19"/>
                    <a:pt x="309" y="19"/>
                  </a:cubicBezTo>
                  <a:cubicBezTo>
                    <a:pt x="309" y="9"/>
                    <a:pt x="300" y="4"/>
                    <a:pt x="281" y="4"/>
                  </a:cubicBezTo>
                  <a:cubicBezTo>
                    <a:pt x="261" y="4"/>
                    <a:pt x="252" y="9"/>
                    <a:pt x="252" y="19"/>
                  </a:cubicBezTo>
                  <a:lnTo>
                    <a:pt x="252" y="439"/>
                  </a:lnTo>
                  <a:close/>
                  <a:moveTo>
                    <a:pt x="0" y="439"/>
                  </a:moveTo>
                  <a:cubicBezTo>
                    <a:pt x="0" y="449"/>
                    <a:pt x="8" y="454"/>
                    <a:pt x="28" y="454"/>
                  </a:cubicBezTo>
                  <a:cubicBezTo>
                    <a:pt x="48" y="454"/>
                    <a:pt x="56" y="449"/>
                    <a:pt x="56" y="439"/>
                  </a:cubicBezTo>
                  <a:cubicBezTo>
                    <a:pt x="56" y="157"/>
                    <a:pt x="56" y="157"/>
                    <a:pt x="56" y="157"/>
                  </a:cubicBezTo>
                  <a:cubicBezTo>
                    <a:pt x="56" y="83"/>
                    <a:pt x="85" y="53"/>
                    <a:pt x="165" y="53"/>
                  </a:cubicBezTo>
                  <a:cubicBezTo>
                    <a:pt x="180" y="53"/>
                    <a:pt x="180" y="53"/>
                    <a:pt x="180" y="53"/>
                  </a:cubicBezTo>
                  <a:cubicBezTo>
                    <a:pt x="192" y="53"/>
                    <a:pt x="196" y="43"/>
                    <a:pt x="196" y="27"/>
                  </a:cubicBezTo>
                  <a:cubicBezTo>
                    <a:pt x="196" y="8"/>
                    <a:pt x="185" y="4"/>
                    <a:pt x="154" y="4"/>
                  </a:cubicBezTo>
                  <a:cubicBezTo>
                    <a:pt x="64" y="4"/>
                    <a:pt x="0" y="43"/>
                    <a:pt x="0" y="152"/>
                  </a:cubicBezTo>
                  <a:lnTo>
                    <a:pt x="0" y="43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sp>
          <p:nvSpPr>
            <p:cNvPr id="17" name="Freeform 7">
              <a:extLst>
                <a:ext uri="{FF2B5EF4-FFF2-40B4-BE49-F238E27FC236}">
                  <a16:creationId xmlns:a16="http://schemas.microsoft.com/office/drawing/2014/main" id="{2F32DCBD-8628-F245-85CD-97686A20ECFD}"/>
                </a:ext>
              </a:extLst>
            </p:cNvPr>
            <p:cNvSpPr>
              <a:spLocks/>
            </p:cNvSpPr>
            <p:nvPr/>
          </p:nvSpPr>
          <p:spPr bwMode="gray">
            <a:xfrm>
              <a:off x="2880" y="1704"/>
              <a:ext cx="618" cy="916"/>
            </a:xfrm>
            <a:custGeom>
              <a:avLst/>
              <a:gdLst>
                <a:gd name="T0" fmla="*/ 307 w 307"/>
                <a:gd name="T1" fmla="*/ 405 h 455"/>
                <a:gd name="T2" fmla="*/ 307 w 307"/>
                <a:gd name="T3" fmla="*/ 244 h 455"/>
                <a:gd name="T4" fmla="*/ 279 w 307"/>
                <a:gd name="T5" fmla="*/ 229 h 455"/>
                <a:gd name="T6" fmla="*/ 250 w 307"/>
                <a:gd name="T7" fmla="*/ 244 h 455"/>
                <a:gd name="T8" fmla="*/ 250 w 307"/>
                <a:gd name="T9" fmla="*/ 378 h 455"/>
                <a:gd name="T10" fmla="*/ 199 w 307"/>
                <a:gd name="T11" fmla="*/ 408 h 455"/>
                <a:gd name="T12" fmla="*/ 61 w 307"/>
                <a:gd name="T13" fmla="*/ 231 h 455"/>
                <a:gd name="T14" fmla="*/ 238 w 307"/>
                <a:gd name="T15" fmla="*/ 49 h 455"/>
                <a:gd name="T16" fmla="*/ 270 w 307"/>
                <a:gd name="T17" fmla="*/ 49 h 455"/>
                <a:gd name="T18" fmla="*/ 286 w 307"/>
                <a:gd name="T19" fmla="*/ 23 h 455"/>
                <a:gd name="T20" fmla="*/ 244 w 307"/>
                <a:gd name="T21" fmla="*/ 0 h 455"/>
                <a:gd name="T22" fmla="*/ 231 w 307"/>
                <a:gd name="T23" fmla="*/ 0 h 455"/>
                <a:gd name="T24" fmla="*/ 0 w 307"/>
                <a:gd name="T25" fmla="*/ 232 h 455"/>
                <a:gd name="T26" fmla="*/ 198 w 307"/>
                <a:gd name="T27" fmla="*/ 455 h 455"/>
                <a:gd name="T28" fmla="*/ 307 w 307"/>
                <a:gd name="T29" fmla="*/ 405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7" h="455">
                  <a:moveTo>
                    <a:pt x="307" y="405"/>
                  </a:moveTo>
                  <a:cubicBezTo>
                    <a:pt x="307" y="244"/>
                    <a:pt x="307" y="244"/>
                    <a:pt x="307" y="244"/>
                  </a:cubicBezTo>
                  <a:cubicBezTo>
                    <a:pt x="307" y="234"/>
                    <a:pt x="298" y="229"/>
                    <a:pt x="279" y="229"/>
                  </a:cubicBezTo>
                  <a:cubicBezTo>
                    <a:pt x="259" y="229"/>
                    <a:pt x="250" y="234"/>
                    <a:pt x="250" y="244"/>
                  </a:cubicBezTo>
                  <a:cubicBezTo>
                    <a:pt x="250" y="378"/>
                    <a:pt x="250" y="378"/>
                    <a:pt x="250" y="378"/>
                  </a:cubicBezTo>
                  <a:cubicBezTo>
                    <a:pt x="250" y="399"/>
                    <a:pt x="241" y="408"/>
                    <a:pt x="199" y="408"/>
                  </a:cubicBezTo>
                  <a:cubicBezTo>
                    <a:pt x="114" y="408"/>
                    <a:pt x="61" y="342"/>
                    <a:pt x="61" y="231"/>
                  </a:cubicBezTo>
                  <a:cubicBezTo>
                    <a:pt x="61" y="115"/>
                    <a:pt x="126" y="49"/>
                    <a:pt x="238" y="49"/>
                  </a:cubicBezTo>
                  <a:cubicBezTo>
                    <a:pt x="270" y="49"/>
                    <a:pt x="270" y="49"/>
                    <a:pt x="270" y="49"/>
                  </a:cubicBezTo>
                  <a:cubicBezTo>
                    <a:pt x="282" y="49"/>
                    <a:pt x="286" y="39"/>
                    <a:pt x="286" y="23"/>
                  </a:cubicBezTo>
                  <a:cubicBezTo>
                    <a:pt x="286" y="4"/>
                    <a:pt x="275" y="0"/>
                    <a:pt x="244" y="0"/>
                  </a:cubicBezTo>
                  <a:cubicBezTo>
                    <a:pt x="231" y="0"/>
                    <a:pt x="231" y="0"/>
                    <a:pt x="231" y="0"/>
                  </a:cubicBezTo>
                  <a:cubicBezTo>
                    <a:pt x="101" y="0"/>
                    <a:pt x="0" y="71"/>
                    <a:pt x="0" y="232"/>
                  </a:cubicBezTo>
                  <a:cubicBezTo>
                    <a:pt x="0" y="386"/>
                    <a:pt x="88" y="455"/>
                    <a:pt x="198" y="455"/>
                  </a:cubicBezTo>
                  <a:cubicBezTo>
                    <a:pt x="286" y="455"/>
                    <a:pt x="307" y="430"/>
                    <a:pt x="307" y="40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sp>
          <p:nvSpPr>
            <p:cNvPr id="18" name="Oval 8">
              <a:extLst>
                <a:ext uri="{FF2B5EF4-FFF2-40B4-BE49-F238E27FC236}">
                  <a16:creationId xmlns:a16="http://schemas.microsoft.com/office/drawing/2014/main" id="{60D97C11-1A3B-5449-A48D-98A3E79B3810}"/>
                </a:ext>
              </a:extLst>
            </p:cNvPr>
            <p:cNvSpPr>
              <a:spLocks noChangeArrowheads="1"/>
            </p:cNvSpPr>
            <p:nvPr/>
          </p:nvSpPr>
          <p:spPr bwMode="gray">
            <a:xfrm>
              <a:off x="3778" y="2099"/>
              <a:ext cx="122" cy="12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sp>
          <p:nvSpPr>
            <p:cNvPr id="19" name="Freeform 9">
              <a:extLst>
                <a:ext uri="{FF2B5EF4-FFF2-40B4-BE49-F238E27FC236}">
                  <a16:creationId xmlns:a16="http://schemas.microsoft.com/office/drawing/2014/main" id="{5856770D-B8F0-244E-A05D-AED190086F10}"/>
                </a:ext>
              </a:extLst>
            </p:cNvPr>
            <p:cNvSpPr>
              <a:spLocks noEditPoints="1"/>
            </p:cNvSpPr>
            <p:nvPr/>
          </p:nvSpPr>
          <p:spPr bwMode="gray">
            <a:xfrm>
              <a:off x="3623" y="1696"/>
              <a:ext cx="1167" cy="922"/>
            </a:xfrm>
            <a:custGeom>
              <a:avLst/>
              <a:gdLst>
                <a:gd name="T0" fmla="*/ 411 w 580"/>
                <a:gd name="T1" fmla="*/ 213 h 458"/>
                <a:gd name="T2" fmla="*/ 570 w 580"/>
                <a:gd name="T3" fmla="*/ 37 h 458"/>
                <a:gd name="T4" fmla="*/ 580 w 580"/>
                <a:gd name="T5" fmla="*/ 20 h 458"/>
                <a:gd name="T6" fmla="*/ 545 w 580"/>
                <a:gd name="T7" fmla="*/ 0 h 458"/>
                <a:gd name="T8" fmla="*/ 519 w 580"/>
                <a:gd name="T9" fmla="*/ 16 h 458"/>
                <a:gd name="T10" fmla="*/ 344 w 580"/>
                <a:gd name="T11" fmla="*/ 210 h 458"/>
                <a:gd name="T12" fmla="*/ 334 w 580"/>
                <a:gd name="T13" fmla="*/ 229 h 458"/>
                <a:gd name="T14" fmla="*/ 344 w 580"/>
                <a:gd name="T15" fmla="*/ 248 h 458"/>
                <a:gd name="T16" fmla="*/ 519 w 580"/>
                <a:gd name="T17" fmla="*/ 442 h 458"/>
                <a:gd name="T18" fmla="*/ 545 w 580"/>
                <a:gd name="T19" fmla="*/ 458 h 458"/>
                <a:gd name="T20" fmla="*/ 580 w 580"/>
                <a:gd name="T21" fmla="*/ 438 h 458"/>
                <a:gd name="T22" fmla="*/ 570 w 580"/>
                <a:gd name="T23" fmla="*/ 421 h 458"/>
                <a:gd name="T24" fmla="*/ 411 w 580"/>
                <a:gd name="T25" fmla="*/ 245 h 458"/>
                <a:gd name="T26" fmla="*/ 399 w 580"/>
                <a:gd name="T27" fmla="*/ 229 h 458"/>
                <a:gd name="T28" fmla="*/ 411 w 580"/>
                <a:gd name="T29" fmla="*/ 213 h 458"/>
                <a:gd name="T30" fmla="*/ 252 w 580"/>
                <a:gd name="T31" fmla="*/ 439 h 458"/>
                <a:gd name="T32" fmla="*/ 281 w 580"/>
                <a:gd name="T33" fmla="*/ 454 h 458"/>
                <a:gd name="T34" fmla="*/ 309 w 580"/>
                <a:gd name="T35" fmla="*/ 439 h 458"/>
                <a:gd name="T36" fmla="*/ 309 w 580"/>
                <a:gd name="T37" fmla="*/ 19 h 458"/>
                <a:gd name="T38" fmla="*/ 281 w 580"/>
                <a:gd name="T39" fmla="*/ 4 h 458"/>
                <a:gd name="T40" fmla="*/ 252 w 580"/>
                <a:gd name="T41" fmla="*/ 19 h 458"/>
                <a:gd name="T42" fmla="*/ 252 w 580"/>
                <a:gd name="T43" fmla="*/ 439 h 458"/>
                <a:gd name="T44" fmla="*/ 0 w 580"/>
                <a:gd name="T45" fmla="*/ 439 h 458"/>
                <a:gd name="T46" fmla="*/ 28 w 580"/>
                <a:gd name="T47" fmla="*/ 454 h 458"/>
                <a:gd name="T48" fmla="*/ 56 w 580"/>
                <a:gd name="T49" fmla="*/ 439 h 458"/>
                <a:gd name="T50" fmla="*/ 56 w 580"/>
                <a:gd name="T51" fmla="*/ 157 h 458"/>
                <a:gd name="T52" fmla="*/ 165 w 580"/>
                <a:gd name="T53" fmla="*/ 53 h 458"/>
                <a:gd name="T54" fmla="*/ 180 w 580"/>
                <a:gd name="T55" fmla="*/ 53 h 458"/>
                <a:gd name="T56" fmla="*/ 196 w 580"/>
                <a:gd name="T57" fmla="*/ 27 h 458"/>
                <a:gd name="T58" fmla="*/ 154 w 580"/>
                <a:gd name="T59" fmla="*/ 4 h 458"/>
                <a:gd name="T60" fmla="*/ 0 w 580"/>
                <a:gd name="T61" fmla="*/ 152 h 458"/>
                <a:gd name="T62" fmla="*/ 0 w 580"/>
                <a:gd name="T63" fmla="*/ 439 h 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80" h="458">
                  <a:moveTo>
                    <a:pt x="411" y="213"/>
                  </a:moveTo>
                  <a:cubicBezTo>
                    <a:pt x="570" y="37"/>
                    <a:pt x="570" y="37"/>
                    <a:pt x="570" y="37"/>
                  </a:cubicBezTo>
                  <a:cubicBezTo>
                    <a:pt x="576" y="30"/>
                    <a:pt x="580" y="25"/>
                    <a:pt x="580" y="20"/>
                  </a:cubicBezTo>
                  <a:cubicBezTo>
                    <a:pt x="580" y="10"/>
                    <a:pt x="559" y="0"/>
                    <a:pt x="545" y="0"/>
                  </a:cubicBezTo>
                  <a:cubicBezTo>
                    <a:pt x="535" y="0"/>
                    <a:pt x="526" y="8"/>
                    <a:pt x="519" y="16"/>
                  </a:cubicBezTo>
                  <a:cubicBezTo>
                    <a:pt x="344" y="210"/>
                    <a:pt x="344" y="210"/>
                    <a:pt x="344" y="210"/>
                  </a:cubicBezTo>
                  <a:cubicBezTo>
                    <a:pt x="336" y="219"/>
                    <a:pt x="334" y="224"/>
                    <a:pt x="334" y="229"/>
                  </a:cubicBezTo>
                  <a:cubicBezTo>
                    <a:pt x="334" y="234"/>
                    <a:pt x="336" y="239"/>
                    <a:pt x="344" y="248"/>
                  </a:cubicBezTo>
                  <a:cubicBezTo>
                    <a:pt x="519" y="442"/>
                    <a:pt x="519" y="442"/>
                    <a:pt x="519" y="442"/>
                  </a:cubicBezTo>
                  <a:cubicBezTo>
                    <a:pt x="526" y="450"/>
                    <a:pt x="535" y="458"/>
                    <a:pt x="545" y="458"/>
                  </a:cubicBezTo>
                  <a:cubicBezTo>
                    <a:pt x="559" y="458"/>
                    <a:pt x="580" y="448"/>
                    <a:pt x="580" y="438"/>
                  </a:cubicBezTo>
                  <a:cubicBezTo>
                    <a:pt x="580" y="433"/>
                    <a:pt x="576" y="428"/>
                    <a:pt x="570" y="421"/>
                  </a:cubicBezTo>
                  <a:cubicBezTo>
                    <a:pt x="411" y="245"/>
                    <a:pt x="411" y="245"/>
                    <a:pt x="411" y="245"/>
                  </a:cubicBezTo>
                  <a:cubicBezTo>
                    <a:pt x="403" y="236"/>
                    <a:pt x="399" y="232"/>
                    <a:pt x="399" y="229"/>
                  </a:cubicBezTo>
                  <a:cubicBezTo>
                    <a:pt x="399" y="226"/>
                    <a:pt x="403" y="222"/>
                    <a:pt x="411" y="213"/>
                  </a:cubicBezTo>
                  <a:moveTo>
                    <a:pt x="252" y="439"/>
                  </a:moveTo>
                  <a:cubicBezTo>
                    <a:pt x="252" y="449"/>
                    <a:pt x="261" y="454"/>
                    <a:pt x="281" y="454"/>
                  </a:cubicBezTo>
                  <a:cubicBezTo>
                    <a:pt x="300" y="454"/>
                    <a:pt x="309" y="449"/>
                    <a:pt x="309" y="439"/>
                  </a:cubicBezTo>
                  <a:cubicBezTo>
                    <a:pt x="309" y="19"/>
                    <a:pt x="309" y="19"/>
                    <a:pt x="309" y="19"/>
                  </a:cubicBezTo>
                  <a:cubicBezTo>
                    <a:pt x="309" y="9"/>
                    <a:pt x="300" y="4"/>
                    <a:pt x="281" y="4"/>
                  </a:cubicBezTo>
                  <a:cubicBezTo>
                    <a:pt x="261" y="4"/>
                    <a:pt x="252" y="9"/>
                    <a:pt x="252" y="19"/>
                  </a:cubicBezTo>
                  <a:lnTo>
                    <a:pt x="252" y="439"/>
                  </a:lnTo>
                  <a:close/>
                  <a:moveTo>
                    <a:pt x="0" y="439"/>
                  </a:moveTo>
                  <a:cubicBezTo>
                    <a:pt x="0" y="449"/>
                    <a:pt x="8" y="454"/>
                    <a:pt x="28" y="454"/>
                  </a:cubicBezTo>
                  <a:cubicBezTo>
                    <a:pt x="48" y="454"/>
                    <a:pt x="56" y="449"/>
                    <a:pt x="56" y="439"/>
                  </a:cubicBezTo>
                  <a:cubicBezTo>
                    <a:pt x="56" y="157"/>
                    <a:pt x="56" y="157"/>
                    <a:pt x="56" y="157"/>
                  </a:cubicBezTo>
                  <a:cubicBezTo>
                    <a:pt x="56" y="83"/>
                    <a:pt x="85" y="53"/>
                    <a:pt x="165" y="53"/>
                  </a:cubicBezTo>
                  <a:cubicBezTo>
                    <a:pt x="180" y="53"/>
                    <a:pt x="180" y="53"/>
                    <a:pt x="180" y="53"/>
                  </a:cubicBezTo>
                  <a:cubicBezTo>
                    <a:pt x="192" y="53"/>
                    <a:pt x="196" y="43"/>
                    <a:pt x="196" y="27"/>
                  </a:cubicBezTo>
                  <a:cubicBezTo>
                    <a:pt x="196" y="8"/>
                    <a:pt x="185" y="4"/>
                    <a:pt x="154" y="4"/>
                  </a:cubicBezTo>
                  <a:cubicBezTo>
                    <a:pt x="64" y="4"/>
                    <a:pt x="0" y="43"/>
                    <a:pt x="0" y="152"/>
                  </a:cubicBezTo>
                  <a:lnTo>
                    <a:pt x="0" y="43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sp>
          <p:nvSpPr>
            <p:cNvPr id="22" name="Freeform 10">
              <a:extLst>
                <a:ext uri="{FF2B5EF4-FFF2-40B4-BE49-F238E27FC236}">
                  <a16:creationId xmlns:a16="http://schemas.microsoft.com/office/drawing/2014/main" id="{2B91B16B-BC11-E547-8FAC-B9B8D18EA449}"/>
                </a:ext>
              </a:extLst>
            </p:cNvPr>
            <p:cNvSpPr>
              <a:spLocks/>
            </p:cNvSpPr>
            <p:nvPr/>
          </p:nvSpPr>
          <p:spPr bwMode="gray">
            <a:xfrm>
              <a:off x="2880" y="1704"/>
              <a:ext cx="618" cy="916"/>
            </a:xfrm>
            <a:custGeom>
              <a:avLst/>
              <a:gdLst>
                <a:gd name="T0" fmla="*/ 307 w 307"/>
                <a:gd name="T1" fmla="*/ 405 h 455"/>
                <a:gd name="T2" fmla="*/ 307 w 307"/>
                <a:gd name="T3" fmla="*/ 244 h 455"/>
                <a:gd name="T4" fmla="*/ 279 w 307"/>
                <a:gd name="T5" fmla="*/ 229 h 455"/>
                <a:gd name="T6" fmla="*/ 250 w 307"/>
                <a:gd name="T7" fmla="*/ 244 h 455"/>
                <a:gd name="T8" fmla="*/ 250 w 307"/>
                <a:gd name="T9" fmla="*/ 378 h 455"/>
                <a:gd name="T10" fmla="*/ 199 w 307"/>
                <a:gd name="T11" fmla="*/ 408 h 455"/>
                <a:gd name="T12" fmla="*/ 61 w 307"/>
                <a:gd name="T13" fmla="*/ 231 h 455"/>
                <a:gd name="T14" fmla="*/ 238 w 307"/>
                <a:gd name="T15" fmla="*/ 49 h 455"/>
                <a:gd name="T16" fmla="*/ 270 w 307"/>
                <a:gd name="T17" fmla="*/ 49 h 455"/>
                <a:gd name="T18" fmla="*/ 286 w 307"/>
                <a:gd name="T19" fmla="*/ 23 h 455"/>
                <a:gd name="T20" fmla="*/ 244 w 307"/>
                <a:gd name="T21" fmla="*/ 0 h 455"/>
                <a:gd name="T22" fmla="*/ 231 w 307"/>
                <a:gd name="T23" fmla="*/ 0 h 455"/>
                <a:gd name="T24" fmla="*/ 0 w 307"/>
                <a:gd name="T25" fmla="*/ 232 h 455"/>
                <a:gd name="T26" fmla="*/ 198 w 307"/>
                <a:gd name="T27" fmla="*/ 455 h 455"/>
                <a:gd name="T28" fmla="*/ 307 w 307"/>
                <a:gd name="T29" fmla="*/ 405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7" h="455">
                  <a:moveTo>
                    <a:pt x="307" y="405"/>
                  </a:moveTo>
                  <a:cubicBezTo>
                    <a:pt x="307" y="244"/>
                    <a:pt x="307" y="244"/>
                    <a:pt x="307" y="244"/>
                  </a:cubicBezTo>
                  <a:cubicBezTo>
                    <a:pt x="307" y="234"/>
                    <a:pt x="298" y="229"/>
                    <a:pt x="279" y="229"/>
                  </a:cubicBezTo>
                  <a:cubicBezTo>
                    <a:pt x="259" y="229"/>
                    <a:pt x="250" y="234"/>
                    <a:pt x="250" y="244"/>
                  </a:cubicBezTo>
                  <a:cubicBezTo>
                    <a:pt x="250" y="378"/>
                    <a:pt x="250" y="378"/>
                    <a:pt x="250" y="378"/>
                  </a:cubicBezTo>
                  <a:cubicBezTo>
                    <a:pt x="250" y="399"/>
                    <a:pt x="241" y="408"/>
                    <a:pt x="199" y="408"/>
                  </a:cubicBezTo>
                  <a:cubicBezTo>
                    <a:pt x="114" y="408"/>
                    <a:pt x="61" y="342"/>
                    <a:pt x="61" y="231"/>
                  </a:cubicBezTo>
                  <a:cubicBezTo>
                    <a:pt x="61" y="115"/>
                    <a:pt x="126" y="49"/>
                    <a:pt x="238" y="49"/>
                  </a:cubicBezTo>
                  <a:cubicBezTo>
                    <a:pt x="270" y="49"/>
                    <a:pt x="270" y="49"/>
                    <a:pt x="270" y="49"/>
                  </a:cubicBezTo>
                  <a:cubicBezTo>
                    <a:pt x="282" y="49"/>
                    <a:pt x="286" y="39"/>
                    <a:pt x="286" y="23"/>
                  </a:cubicBezTo>
                  <a:cubicBezTo>
                    <a:pt x="286" y="4"/>
                    <a:pt x="275" y="0"/>
                    <a:pt x="244" y="0"/>
                  </a:cubicBezTo>
                  <a:cubicBezTo>
                    <a:pt x="231" y="0"/>
                    <a:pt x="231" y="0"/>
                    <a:pt x="231" y="0"/>
                  </a:cubicBezTo>
                  <a:cubicBezTo>
                    <a:pt x="101" y="0"/>
                    <a:pt x="0" y="71"/>
                    <a:pt x="0" y="232"/>
                  </a:cubicBezTo>
                  <a:cubicBezTo>
                    <a:pt x="0" y="386"/>
                    <a:pt x="88" y="455"/>
                    <a:pt x="198" y="455"/>
                  </a:cubicBezTo>
                  <a:cubicBezTo>
                    <a:pt x="286" y="455"/>
                    <a:pt x="307" y="430"/>
                    <a:pt x="307" y="40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sp>
          <p:nvSpPr>
            <p:cNvPr id="23" name="Oval 11">
              <a:extLst>
                <a:ext uri="{FF2B5EF4-FFF2-40B4-BE49-F238E27FC236}">
                  <a16:creationId xmlns:a16="http://schemas.microsoft.com/office/drawing/2014/main" id="{14F8C3C8-4888-7646-B9B4-64EB46A1DA23}"/>
                </a:ext>
              </a:extLst>
            </p:cNvPr>
            <p:cNvSpPr>
              <a:spLocks noChangeArrowheads="1"/>
            </p:cNvSpPr>
            <p:nvPr/>
          </p:nvSpPr>
          <p:spPr bwMode="gray">
            <a:xfrm>
              <a:off x="3778" y="2099"/>
              <a:ext cx="122" cy="12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sp>
          <p:nvSpPr>
            <p:cNvPr id="24" name="Freeform 12">
              <a:extLst>
                <a:ext uri="{FF2B5EF4-FFF2-40B4-BE49-F238E27FC236}">
                  <a16:creationId xmlns:a16="http://schemas.microsoft.com/office/drawing/2014/main" id="{D79D01D1-4E3E-F34B-97D7-2D387E68746E}"/>
                </a:ext>
              </a:extLst>
            </p:cNvPr>
            <p:cNvSpPr>
              <a:spLocks/>
            </p:cNvSpPr>
            <p:nvPr/>
          </p:nvSpPr>
          <p:spPr bwMode="gray">
            <a:xfrm>
              <a:off x="4321" y="1029"/>
              <a:ext cx="648" cy="649"/>
            </a:xfrm>
            <a:custGeom>
              <a:avLst/>
              <a:gdLst>
                <a:gd name="T0" fmla="*/ 0 w 648"/>
                <a:gd name="T1" fmla="*/ 649 h 649"/>
                <a:gd name="T2" fmla="*/ 2 w 648"/>
                <a:gd name="T3" fmla="*/ 649 h 649"/>
                <a:gd name="T4" fmla="*/ 648 w 648"/>
                <a:gd name="T5" fmla="*/ 0 h 649"/>
                <a:gd name="T6" fmla="*/ 423 w 648"/>
                <a:gd name="T7" fmla="*/ 0 h 649"/>
                <a:gd name="T8" fmla="*/ 0 w 648"/>
                <a:gd name="T9" fmla="*/ 649 h 649"/>
              </a:gdLst>
              <a:ahLst/>
              <a:cxnLst>
                <a:cxn ang="0">
                  <a:pos x="T0" y="T1"/>
                </a:cxn>
                <a:cxn ang="0">
                  <a:pos x="T2" y="T3"/>
                </a:cxn>
                <a:cxn ang="0">
                  <a:pos x="T4" y="T5"/>
                </a:cxn>
                <a:cxn ang="0">
                  <a:pos x="T6" y="T7"/>
                </a:cxn>
                <a:cxn ang="0">
                  <a:pos x="T8" y="T9"/>
                </a:cxn>
              </a:cxnLst>
              <a:rect l="0" t="0" r="r" b="b"/>
              <a:pathLst>
                <a:path w="648" h="649">
                  <a:moveTo>
                    <a:pt x="0" y="649"/>
                  </a:moveTo>
                  <a:lnTo>
                    <a:pt x="2" y="649"/>
                  </a:lnTo>
                  <a:lnTo>
                    <a:pt x="648" y="0"/>
                  </a:lnTo>
                  <a:lnTo>
                    <a:pt x="423" y="0"/>
                  </a:lnTo>
                  <a:lnTo>
                    <a:pt x="0" y="64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sp>
          <p:nvSpPr>
            <p:cNvPr id="26" name="Freeform 13">
              <a:extLst>
                <a:ext uri="{FF2B5EF4-FFF2-40B4-BE49-F238E27FC236}">
                  <a16:creationId xmlns:a16="http://schemas.microsoft.com/office/drawing/2014/main" id="{46549898-6C52-B147-A8F6-A73FDBE6163B}"/>
                </a:ext>
              </a:extLst>
            </p:cNvPr>
            <p:cNvSpPr>
              <a:spLocks/>
            </p:cNvSpPr>
            <p:nvPr/>
          </p:nvSpPr>
          <p:spPr bwMode="gray">
            <a:xfrm>
              <a:off x="4321" y="1029"/>
              <a:ext cx="648" cy="649"/>
            </a:xfrm>
            <a:custGeom>
              <a:avLst/>
              <a:gdLst>
                <a:gd name="T0" fmla="*/ 0 w 648"/>
                <a:gd name="T1" fmla="*/ 649 h 649"/>
                <a:gd name="T2" fmla="*/ 2 w 648"/>
                <a:gd name="T3" fmla="*/ 649 h 649"/>
                <a:gd name="T4" fmla="*/ 648 w 648"/>
                <a:gd name="T5" fmla="*/ 0 h 649"/>
                <a:gd name="T6" fmla="*/ 423 w 648"/>
                <a:gd name="T7" fmla="*/ 0 h 649"/>
                <a:gd name="T8" fmla="*/ 0 w 648"/>
                <a:gd name="T9" fmla="*/ 649 h 649"/>
              </a:gdLst>
              <a:ahLst/>
              <a:cxnLst>
                <a:cxn ang="0">
                  <a:pos x="T0" y="T1"/>
                </a:cxn>
                <a:cxn ang="0">
                  <a:pos x="T2" y="T3"/>
                </a:cxn>
                <a:cxn ang="0">
                  <a:pos x="T4" y="T5"/>
                </a:cxn>
                <a:cxn ang="0">
                  <a:pos x="T6" y="T7"/>
                </a:cxn>
                <a:cxn ang="0">
                  <a:pos x="T8" y="T9"/>
                </a:cxn>
              </a:cxnLst>
              <a:rect l="0" t="0" r="r" b="b"/>
              <a:pathLst>
                <a:path w="648" h="649">
                  <a:moveTo>
                    <a:pt x="0" y="649"/>
                  </a:moveTo>
                  <a:lnTo>
                    <a:pt x="2" y="649"/>
                  </a:lnTo>
                  <a:lnTo>
                    <a:pt x="648" y="0"/>
                  </a:lnTo>
                  <a:lnTo>
                    <a:pt x="423" y="0"/>
                  </a:lnTo>
                  <a:lnTo>
                    <a:pt x="0" y="64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grpSp>
      <p:sp>
        <p:nvSpPr>
          <p:cNvPr id="20" name="shp1">
            <a:extLst>
              <a:ext uri="{FF2B5EF4-FFF2-40B4-BE49-F238E27FC236}">
                <a16:creationId xmlns:a16="http://schemas.microsoft.com/office/drawing/2014/main" id="{1AD9883E-0B1C-504A-A979-9C5803172360}"/>
              </a:ext>
            </a:extLst>
          </p:cNvPr>
          <p:cNvSpPr/>
          <p:nvPr/>
        </p:nvSpPr>
        <p:spPr>
          <a:xfrm>
            <a:off x="192088" y="1"/>
            <a:ext cx="215900" cy="144938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de-DE" sz="1351"/>
          </a:p>
        </p:txBody>
      </p:sp>
      <p:sp>
        <p:nvSpPr>
          <p:cNvPr id="7" name="copyright"/>
          <p:cNvSpPr txBox="1"/>
          <p:nvPr/>
        </p:nvSpPr>
        <p:spPr>
          <a:xfrm>
            <a:off x="10672209" y="6461671"/>
            <a:ext cx="500617" cy="133790"/>
          </a:xfrm>
          <a:prstGeom prst="rect">
            <a:avLst/>
          </a:prstGeom>
          <a:noFill/>
        </p:spPr>
        <p:txBody>
          <a:bodyPr wrap="none" lIns="0" tIns="0" rIns="0" bIns="0" rtlCol="0" anchor="b" anchorCtr="0">
            <a:noAutofit/>
          </a:bodyPr>
          <a:lstStyle/>
          <a:p>
            <a:pPr marL="0" indent="0" algn="r">
              <a:lnSpc>
                <a:spcPct val="125000"/>
              </a:lnSpc>
              <a:buClr>
                <a:schemeClr val="tx2"/>
              </a:buClr>
              <a:buFont typeface="Wingdings" panose="05000000000000000000" pitchFamily="2" charset="2"/>
              <a:buNone/>
            </a:pPr>
            <a:r>
              <a:rPr lang="en-US" sz="800" dirty="0"/>
              <a:t>© GfK</a:t>
            </a:r>
          </a:p>
        </p:txBody>
      </p:sp>
      <p:sp>
        <p:nvSpPr>
          <p:cNvPr id="28" name="Date Placeholder 27"/>
          <p:cNvSpPr>
            <a:spLocks noGrp="1"/>
          </p:cNvSpPr>
          <p:nvPr>
            <p:ph type="dt" sz="half" idx="2"/>
          </p:nvPr>
        </p:nvSpPr>
        <p:spPr>
          <a:xfrm>
            <a:off x="192088" y="6461671"/>
            <a:ext cx="761512" cy="133790"/>
          </a:xfrm>
          <a:prstGeom prst="rect">
            <a:avLst/>
          </a:prstGeom>
        </p:spPr>
        <p:txBody>
          <a:bodyPr vert="horz" wrap="none" lIns="0" tIns="0" rIns="0" bIns="0" rtlCol="0" anchor="b" anchorCtr="0"/>
          <a:lstStyle>
            <a:lvl1pPr algn="r">
              <a:defRPr sz="800">
                <a:solidFill>
                  <a:schemeClr val="tx1"/>
                </a:solidFill>
              </a:defRPr>
            </a:lvl1pPr>
          </a:lstStyle>
          <a:p>
            <a:fld id="{85245AC6-241B-4B56-BD95-BEEA95A36893}" type="datetime5">
              <a:rPr lang="en-US" smtClean="0"/>
              <a:t>26-Jun-20</a:t>
            </a:fld>
            <a:endParaRPr lang="en-US" dirty="0"/>
          </a:p>
        </p:txBody>
      </p:sp>
      <p:sp>
        <p:nvSpPr>
          <p:cNvPr id="29" name="Footer Placeholder 28"/>
          <p:cNvSpPr>
            <a:spLocks noGrp="1"/>
          </p:cNvSpPr>
          <p:nvPr>
            <p:ph type="ftr" sz="quarter" idx="3"/>
          </p:nvPr>
        </p:nvSpPr>
        <p:spPr>
          <a:xfrm>
            <a:off x="1076400" y="6461671"/>
            <a:ext cx="8162717" cy="133790"/>
          </a:xfrm>
          <a:prstGeom prst="rect">
            <a:avLst/>
          </a:prstGeom>
        </p:spPr>
        <p:txBody>
          <a:bodyPr vert="horz" lIns="0" tIns="0" rIns="0" bIns="0" rtlCol="0" anchor="b" anchorCtr="0"/>
          <a:lstStyle>
            <a:lvl1pPr marL="144000" indent="-144000" algn="l">
              <a:buClr>
                <a:schemeClr val="tx2"/>
              </a:buClr>
              <a:buFont typeface="Wingdings" panose="05000000000000000000" pitchFamily="2" charset="2"/>
              <a:buChar char="§"/>
              <a:defRPr sz="800">
                <a:solidFill>
                  <a:schemeClr val="tx1"/>
                </a:solidFill>
              </a:defRPr>
            </a:lvl1pPr>
          </a:lstStyle>
          <a:p>
            <a:r>
              <a:rPr lang="en-US" dirty="0"/>
              <a:t>Title of presentation (Insert / Header &amp; Footer / Apply to All)</a:t>
            </a:r>
          </a:p>
        </p:txBody>
      </p:sp>
      <p:sp>
        <p:nvSpPr>
          <p:cNvPr id="30" name="Slide Number Placeholder 29"/>
          <p:cNvSpPr>
            <a:spLocks noGrp="1"/>
          </p:cNvSpPr>
          <p:nvPr>
            <p:ph type="sldNum" sz="quarter" idx="4"/>
          </p:nvPr>
        </p:nvSpPr>
        <p:spPr>
          <a:xfrm>
            <a:off x="11186669" y="6461671"/>
            <a:ext cx="648000" cy="133790"/>
          </a:xfrm>
          <a:prstGeom prst="rect">
            <a:avLst/>
          </a:prstGeom>
        </p:spPr>
        <p:txBody>
          <a:bodyPr vert="horz" lIns="0" tIns="0" rIns="0" bIns="0" rtlCol="0" anchor="b" anchorCtr="0"/>
          <a:lstStyle>
            <a:lvl1pPr algn="r">
              <a:defRPr sz="800">
                <a:solidFill>
                  <a:schemeClr val="tx1"/>
                </a:solidFill>
              </a:defRPr>
            </a:lvl1pPr>
          </a:lstStyle>
          <a:p>
            <a:fld id="{5F3E29E4-0979-4FCA-B4C5-5FC6044C982A}" type="slidenum">
              <a:rPr lang="en-US" smtClean="0"/>
              <a:pPr/>
              <a:t>‹#›</a:t>
            </a:fld>
            <a:endParaRPr lang="en-US"/>
          </a:p>
        </p:txBody>
      </p:sp>
      <p:sp>
        <p:nvSpPr>
          <p:cNvPr id="2" name="Title Placeholder 1"/>
          <p:cNvSpPr>
            <a:spLocks noGrp="1"/>
          </p:cNvSpPr>
          <p:nvPr>
            <p:ph type="title"/>
          </p:nvPr>
        </p:nvSpPr>
        <p:spPr>
          <a:xfrm>
            <a:off x="1075061" y="288922"/>
            <a:ext cx="7910158" cy="648000"/>
          </a:xfrm>
          <a:prstGeom prst="rect">
            <a:avLst/>
          </a:prstGeom>
        </p:spPr>
        <p:txBody>
          <a:bodyPr vert="horz" lIns="0" tIns="0" rIns="0" bIns="0" rtlCol="0" anchor="t">
            <a:noAutofit/>
          </a:bodyPr>
          <a:lstStyle/>
          <a:p>
            <a:r>
              <a:rPr lang="ru-RU"/>
              <a:t>Образец заголовка</a:t>
            </a:r>
            <a:endParaRPr lang="en-US" dirty="0"/>
          </a:p>
        </p:txBody>
      </p:sp>
      <p:sp>
        <p:nvSpPr>
          <p:cNvPr id="3" name="Text Placeholder 2"/>
          <p:cNvSpPr>
            <a:spLocks noGrp="1"/>
          </p:cNvSpPr>
          <p:nvPr>
            <p:ph type="body" idx="1"/>
          </p:nvPr>
        </p:nvSpPr>
        <p:spPr>
          <a:xfrm>
            <a:off x="1075062" y="1629618"/>
            <a:ext cx="10097764" cy="4139357"/>
          </a:xfrm>
          <a:prstGeom prst="rect">
            <a:avLst/>
          </a:prstGeom>
        </p:spPr>
        <p:txBody>
          <a:bodyPr vert="horz" lIns="0" tIns="0" rIns="0" bIns="0" rtlCol="0">
            <a:noAutofit/>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endParaRPr lang="en-US" dirty="0"/>
          </a:p>
        </p:txBody>
      </p:sp>
    </p:spTree>
    <p:extLst>
      <p:ext uri="{BB962C8B-B14F-4D97-AF65-F5344CB8AC3E}">
        <p14:creationId xmlns:p14="http://schemas.microsoft.com/office/powerpoint/2010/main" val="4208705169"/>
      </p:ext>
    </p:extLst>
  </p:cSld>
  <p:clrMap bg1="lt1" tx1="dk1" bg2="lt2" tx2="dk2" accent1="accent1" accent2="accent2" accent3="accent3" accent4="accent4" accent5="accent5" accent6="accent6" hlink="hlink" folHlink="folHlink"/>
  <p:sldLayoutIdLst>
    <p:sldLayoutId id="2147484763" r:id="rId1"/>
    <p:sldLayoutId id="2147484764" r:id="rId2"/>
    <p:sldLayoutId id="2147484765" r:id="rId3"/>
    <p:sldLayoutId id="2147484766" r:id="rId4"/>
    <p:sldLayoutId id="2147484767" r:id="rId5"/>
    <p:sldLayoutId id="2147484768" r:id="rId6"/>
    <p:sldLayoutId id="2147484769" r:id="rId7"/>
    <p:sldLayoutId id="2147484770" r:id="rId8"/>
    <p:sldLayoutId id="2147484771" r:id="rId9"/>
    <p:sldLayoutId id="2147484772" r:id="rId10"/>
    <p:sldLayoutId id="2147484773" r:id="rId11"/>
    <p:sldLayoutId id="2147484774" r:id="rId12"/>
    <p:sldLayoutId id="2147484775" r:id="rId13"/>
    <p:sldLayoutId id="2147484776" r:id="rId14"/>
    <p:sldLayoutId id="2147484777" r:id="rId15"/>
    <p:sldLayoutId id="2147484778" r:id="rId16"/>
    <p:sldLayoutId id="2147484779" r:id="rId17"/>
    <p:sldLayoutId id="2147484780" r:id="rId18"/>
    <p:sldLayoutId id="2147484781" r:id="rId19"/>
    <p:sldLayoutId id="2147484782" r:id="rId20"/>
    <p:sldLayoutId id="2147484783" r:id="rId21"/>
    <p:sldLayoutId id="2147484784" r:id="rId22"/>
    <p:sldLayoutId id="2147484785" r:id="rId23"/>
    <p:sldLayoutId id="2147484786" r:id="rId24"/>
    <p:sldLayoutId id="2147484787" r:id="rId25"/>
    <p:sldLayoutId id="2147484788" r:id="rId26"/>
    <p:sldLayoutId id="2147484789" r:id="rId27"/>
    <p:sldLayoutId id="2147484791" r:id="rId28"/>
    <p:sldLayoutId id="2147484792" r:id="rId29"/>
  </p:sldLayoutIdLst>
  <p:hf hdr="0"/>
  <p:txStyles>
    <p:titleStyle>
      <a:lvl1pPr algn="l" defTabSz="914400" rtl="0" eaLnBrk="1" latinLnBrk="0" hangingPunct="1">
        <a:lnSpc>
          <a:spcPct val="100000"/>
        </a:lnSpc>
        <a:spcBef>
          <a:spcPct val="0"/>
        </a:spcBef>
        <a:buNone/>
        <a:defRPr sz="3600" kern="1200">
          <a:solidFill>
            <a:schemeClr val="tx1"/>
          </a:solidFill>
          <a:latin typeface="+mj-lt"/>
          <a:ea typeface="+mj-ea"/>
          <a:cs typeface="+mj-cs"/>
        </a:defRPr>
      </a:lvl1pPr>
    </p:titleStyle>
    <p:bodyStyle>
      <a:lvl1pPr marL="252000" indent="-252000" algn="l" defTabSz="914400" rtl="0" eaLnBrk="1" latinLnBrk="0" hangingPunct="1">
        <a:lnSpc>
          <a:spcPct val="110000"/>
        </a:lnSpc>
        <a:spcBef>
          <a:spcPts val="1000"/>
        </a:spcBef>
        <a:buClr>
          <a:schemeClr val="tx2"/>
        </a:buClr>
        <a:buFont typeface="Wingdings" panose="05000000000000000000" pitchFamily="2" charset="2"/>
        <a:buChar char="§"/>
        <a:defRPr sz="2800" kern="1200">
          <a:solidFill>
            <a:schemeClr val="tx1"/>
          </a:solidFill>
          <a:latin typeface="+mn-lt"/>
          <a:ea typeface="+mn-ea"/>
          <a:cs typeface="+mn-cs"/>
        </a:defRPr>
      </a:lvl1pPr>
      <a:lvl2pPr marL="648000" indent="-252000" algn="l" defTabSz="914400" rtl="0" eaLnBrk="1" latinLnBrk="0" hangingPunct="1">
        <a:lnSpc>
          <a:spcPct val="110000"/>
        </a:lnSpc>
        <a:spcBef>
          <a:spcPts val="600"/>
        </a:spcBef>
        <a:buClr>
          <a:schemeClr val="tx2"/>
        </a:buClr>
        <a:buFont typeface="Wingdings" panose="05000000000000000000" pitchFamily="2" charset="2"/>
        <a:buChar char="§"/>
        <a:defRPr sz="2400" kern="1200">
          <a:solidFill>
            <a:schemeClr val="tx1"/>
          </a:solidFill>
          <a:latin typeface="+mn-lt"/>
          <a:ea typeface="+mn-ea"/>
          <a:cs typeface="+mn-cs"/>
        </a:defRPr>
      </a:lvl2pPr>
      <a:lvl3pPr marL="1080000" indent="-252000" algn="l" defTabSz="914400" rtl="0" eaLnBrk="1" latinLnBrk="0" hangingPunct="1">
        <a:lnSpc>
          <a:spcPct val="110000"/>
        </a:lnSpc>
        <a:spcBef>
          <a:spcPts val="600"/>
        </a:spcBef>
        <a:buClr>
          <a:schemeClr val="tx2"/>
        </a:buClr>
        <a:buFont typeface="Wingdings" panose="05000000000000000000" pitchFamily="2" charset="2"/>
        <a:buChar char="§"/>
        <a:defRPr sz="2000" kern="1200">
          <a:solidFill>
            <a:schemeClr val="tx1"/>
          </a:solidFill>
          <a:latin typeface="+mn-lt"/>
          <a:ea typeface="+mn-ea"/>
          <a:cs typeface="+mn-cs"/>
        </a:defRPr>
      </a:lvl3pPr>
      <a:lvl4pPr marL="0" indent="0" algn="l" defTabSz="914400" rtl="0" eaLnBrk="1" latinLnBrk="0" hangingPunct="1">
        <a:lnSpc>
          <a:spcPct val="110000"/>
        </a:lnSpc>
        <a:spcBef>
          <a:spcPts val="600"/>
        </a:spcBef>
        <a:buClr>
          <a:schemeClr val="tx2"/>
        </a:buClr>
        <a:buFont typeface="Lato" panose="020F0502020204030203" pitchFamily="34" charset="0"/>
        <a:buChar char="​"/>
        <a:defRPr sz="1600" kern="1200">
          <a:solidFill>
            <a:schemeClr val="tx1"/>
          </a:solidFill>
          <a:latin typeface="+mn-lt"/>
          <a:ea typeface="+mn-ea"/>
          <a:cs typeface="+mn-cs"/>
        </a:defRPr>
      </a:lvl4pPr>
      <a:lvl5pPr marL="252000" indent="-252000" algn="l" defTabSz="914400" rtl="0" eaLnBrk="1" latinLnBrk="0" hangingPunct="1">
        <a:lnSpc>
          <a:spcPct val="110000"/>
        </a:lnSpc>
        <a:spcBef>
          <a:spcPts val="600"/>
        </a:spcBef>
        <a:buClr>
          <a:schemeClr val="tx2"/>
        </a:buClr>
        <a:buFont typeface="Wingdings" panose="05000000000000000000" pitchFamily="2" charset="2"/>
        <a:buChar char="§"/>
        <a:defRPr sz="1600" kern="1200">
          <a:solidFill>
            <a:schemeClr val="tx1"/>
          </a:solidFill>
          <a:latin typeface="+mn-lt"/>
          <a:ea typeface="+mn-ea"/>
          <a:cs typeface="+mn-cs"/>
        </a:defRPr>
      </a:lvl5pPr>
      <a:lvl6pPr marL="648000" indent="-252000" algn="l" defTabSz="914400" rtl="0" eaLnBrk="1" latinLnBrk="0" hangingPunct="1">
        <a:lnSpc>
          <a:spcPct val="110000"/>
        </a:lnSpc>
        <a:spcBef>
          <a:spcPts val="600"/>
        </a:spcBef>
        <a:buClr>
          <a:schemeClr val="tx2"/>
        </a:buClr>
        <a:buFont typeface="Wingdings" panose="05000000000000000000" pitchFamily="2" charset="2"/>
        <a:buChar char="§"/>
        <a:defRPr sz="1600" kern="1200">
          <a:solidFill>
            <a:schemeClr val="tx1"/>
          </a:solidFill>
          <a:latin typeface="+mn-lt"/>
          <a:ea typeface="+mn-ea"/>
          <a:cs typeface="+mn-cs"/>
        </a:defRPr>
      </a:lvl6pPr>
      <a:lvl7pPr marL="1080000" indent="-252000" algn="l" defTabSz="914400" rtl="0" eaLnBrk="1" latinLnBrk="0" hangingPunct="1">
        <a:lnSpc>
          <a:spcPct val="110000"/>
        </a:lnSpc>
        <a:spcBef>
          <a:spcPts val="600"/>
        </a:spcBef>
        <a:buClr>
          <a:schemeClr val="tx2"/>
        </a:buClr>
        <a:buFont typeface="Wingdings" panose="05000000000000000000" pitchFamily="2" charset="2"/>
        <a:buChar char="§"/>
        <a:defRPr sz="1600" kern="1200">
          <a:solidFill>
            <a:schemeClr val="tx1"/>
          </a:solidFill>
          <a:latin typeface="+mn-lt"/>
          <a:ea typeface="+mn-ea"/>
          <a:cs typeface="+mn-cs"/>
        </a:defRPr>
      </a:lvl7pPr>
      <a:lvl8pPr marL="1512000" indent="-252000" algn="l" defTabSz="914400" rtl="0" eaLnBrk="1" latinLnBrk="0" hangingPunct="1">
        <a:lnSpc>
          <a:spcPct val="110000"/>
        </a:lnSpc>
        <a:spcBef>
          <a:spcPts val="600"/>
        </a:spcBef>
        <a:buClr>
          <a:schemeClr val="tx2"/>
        </a:buClr>
        <a:buFont typeface="Wingdings" panose="05000000000000000000" pitchFamily="2" charset="2"/>
        <a:buChar char="§"/>
        <a:defRPr sz="1600" kern="1200">
          <a:solidFill>
            <a:schemeClr val="tx1"/>
          </a:solidFill>
          <a:latin typeface="+mn-lt"/>
          <a:ea typeface="+mn-ea"/>
          <a:cs typeface="+mn-cs"/>
        </a:defRPr>
      </a:lvl8pPr>
      <a:lvl9pPr marL="1944000" indent="-252000" algn="l" defTabSz="914400" rtl="0" eaLnBrk="1" latinLnBrk="0" hangingPunct="1">
        <a:lnSpc>
          <a:spcPct val="110000"/>
        </a:lnSpc>
        <a:spcBef>
          <a:spcPts val="600"/>
        </a:spcBef>
        <a:buClr>
          <a:schemeClr val="tx2"/>
        </a:buClr>
        <a:buFont typeface="Wingdings" panose="05000000000000000000" pitchFamily="2" charset="2"/>
        <a:buChar char="§"/>
        <a:defRPr sz="16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319">
          <p15:clr>
            <a:srgbClr val="5ACBF0"/>
          </p15:clr>
        </p15:guide>
        <p15:guide id="3" pos="257">
          <p15:clr>
            <a:srgbClr val="5ACBF0"/>
          </p15:clr>
        </p15:guide>
        <p15:guide id="4" pos="675">
          <p15:clr>
            <a:srgbClr val="5ACBF0"/>
          </p15:clr>
        </p15:guide>
        <p15:guide id="5" pos="7038">
          <p15:clr>
            <a:srgbClr val="5ACBF0"/>
          </p15:clr>
        </p15:guide>
        <p15:guide id="6" pos="7446">
          <p15:clr>
            <a:srgbClr val="5ACBF0"/>
          </p15:clr>
        </p15:guide>
        <p15:guide id="7" orient="horz" pos="255">
          <p15:clr>
            <a:srgbClr val="5ACBF0"/>
          </p15:clr>
        </p15:guide>
        <p15:guide id="8" orient="horz" pos="663">
          <p15:clr>
            <a:srgbClr val="5ACBF0"/>
          </p15:clr>
        </p15:guide>
        <p15:guide id="9" orient="horz" pos="799">
          <p15:clr>
            <a:srgbClr val="5ACBF0"/>
          </p15:clr>
        </p15:guide>
        <p15:guide id="10" orient="horz" pos="1026">
          <p15:clr>
            <a:srgbClr val="5ACBF0"/>
          </p15:clr>
        </p15:guide>
        <p15:guide id="11" orient="horz" pos="3634">
          <p15:clr>
            <a:srgbClr val="5ACBF0"/>
          </p15:clr>
        </p15:guide>
        <p15:guide id="12" orient="horz" pos="3929">
          <p15:clr>
            <a:srgbClr val="5ACBF0"/>
          </p15:clr>
        </p15:guide>
        <p15:guide id="13" orient="horz" pos="4133">
          <p15:clr>
            <a:srgbClr val="5ACBF0"/>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5" name="Oggetto 4" hidden="1">
            <a:extLst>
              <a:ext uri="{FF2B5EF4-FFF2-40B4-BE49-F238E27FC236}">
                <a16:creationId xmlns:a16="http://schemas.microsoft.com/office/drawing/2014/main" id="{46B8B118-3F0A-4D36-A0C9-ADD9E9AE1B0C}"/>
              </a:ext>
            </a:extLst>
          </p:cNvPr>
          <p:cNvGraphicFramePr>
            <a:graphicFrameLocks noChangeAspect="1"/>
          </p:cNvGraphicFramePr>
          <p:nvPr userDrawn="1">
            <p:custDataLst>
              <p:tags r:id="rId31"/>
            </p:custDataLst>
            <p:extLst>
              <p:ext uri="{D42A27DB-BD31-4B8C-83A1-F6EECF244321}">
                <p14:modId xmlns:p14="http://schemas.microsoft.com/office/powerpoint/2010/main" val="18725081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4454" name="Diapositiva think-cell" r:id="rId33" imgW="395" imgH="396" progId="TCLayout.ActiveDocument.1">
                  <p:embed/>
                </p:oleObj>
              </mc:Choice>
              <mc:Fallback>
                <p:oleObj name="Diapositiva think-cell" r:id="rId33" imgW="395" imgH="396" progId="TCLayout.ActiveDocument.1">
                  <p:embed/>
                  <p:pic>
                    <p:nvPicPr>
                      <p:cNvPr id="5" name="Oggetto 4" hidden="1">
                        <a:extLst>
                          <a:ext uri="{FF2B5EF4-FFF2-40B4-BE49-F238E27FC236}">
                            <a16:creationId xmlns:a16="http://schemas.microsoft.com/office/drawing/2014/main" id="{46B8B118-3F0A-4D36-A0C9-ADD9E9AE1B0C}"/>
                          </a:ext>
                        </a:extLst>
                      </p:cNvPr>
                      <p:cNvPicPr/>
                      <p:nvPr/>
                    </p:nvPicPr>
                    <p:blipFill>
                      <a:blip r:embed="rId34"/>
                      <a:stretch>
                        <a:fillRect/>
                      </a:stretch>
                    </p:blipFill>
                    <p:spPr>
                      <a:xfrm>
                        <a:off x="1588" y="1588"/>
                        <a:ext cx="1588" cy="1588"/>
                      </a:xfrm>
                      <a:prstGeom prst="rect">
                        <a:avLst/>
                      </a:prstGeom>
                    </p:spPr>
                  </p:pic>
                </p:oleObj>
              </mc:Fallback>
            </mc:AlternateContent>
          </a:graphicData>
        </a:graphic>
      </p:graphicFrame>
      <p:sp>
        <p:nvSpPr>
          <p:cNvPr id="4" name="Rettangolo 3" hidden="1">
            <a:extLst>
              <a:ext uri="{FF2B5EF4-FFF2-40B4-BE49-F238E27FC236}">
                <a16:creationId xmlns:a16="http://schemas.microsoft.com/office/drawing/2014/main" id="{1D85021D-95EC-47DA-A015-36E53DD8035A}"/>
              </a:ext>
            </a:extLst>
          </p:cNvPr>
          <p:cNvSpPr/>
          <p:nvPr userDrawn="1">
            <p:custDataLst>
              <p:tags r:id="rId3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lnSpc>
                <a:spcPct val="125000"/>
              </a:lnSpc>
            </a:pPr>
            <a:endParaRPr lang="en-US" sz="3600" b="0" i="0" baseline="0">
              <a:latin typeface="Lato Light" panose="020F0502020204030203" pitchFamily="34" charset="0"/>
              <a:ea typeface="+mj-ea"/>
              <a:cs typeface="+mj-cs"/>
              <a:sym typeface="Lato Light" panose="020F0502020204030203" pitchFamily="34" charset="0"/>
            </a:endParaRPr>
          </a:p>
        </p:txBody>
      </p:sp>
      <p:grpSp>
        <p:nvGrpSpPr>
          <p:cNvPr id="13" name="logo">
            <a:extLst>
              <a:ext uri="{FF2B5EF4-FFF2-40B4-BE49-F238E27FC236}">
                <a16:creationId xmlns:a16="http://schemas.microsoft.com/office/drawing/2014/main" id="{57BD2C4C-DC67-B843-B26C-309622FC75F7}"/>
              </a:ext>
            </a:extLst>
          </p:cNvPr>
          <p:cNvGrpSpPr>
            <a:grpSpLocks noChangeAspect="1"/>
          </p:cNvGrpSpPr>
          <p:nvPr/>
        </p:nvGrpSpPr>
        <p:grpSpPr bwMode="gray">
          <a:xfrm>
            <a:off x="11174018" y="401441"/>
            <a:ext cx="644225" cy="646507"/>
            <a:chOff x="2711" y="1027"/>
            <a:chExt cx="2258" cy="2266"/>
          </a:xfrm>
        </p:grpSpPr>
        <p:sp>
          <p:nvSpPr>
            <p:cNvPr id="14" name="AutoShape 3">
              <a:extLst>
                <a:ext uri="{FF2B5EF4-FFF2-40B4-BE49-F238E27FC236}">
                  <a16:creationId xmlns:a16="http://schemas.microsoft.com/office/drawing/2014/main" id="{FE1DC41B-291E-574C-9F2C-874E70A40758}"/>
                </a:ext>
              </a:extLst>
            </p:cNvPr>
            <p:cNvSpPr>
              <a:spLocks noChangeAspect="1" noChangeArrowheads="1" noTextEdit="1"/>
            </p:cNvSpPr>
            <p:nvPr/>
          </p:nvSpPr>
          <p:spPr bwMode="gray">
            <a:xfrm>
              <a:off x="2711" y="1027"/>
              <a:ext cx="2258" cy="22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15" name="Freeform 5">
              <a:extLst>
                <a:ext uri="{FF2B5EF4-FFF2-40B4-BE49-F238E27FC236}">
                  <a16:creationId xmlns:a16="http://schemas.microsoft.com/office/drawing/2014/main" id="{D4B633C8-F761-C54B-9BD2-EB59D49A2DBC}"/>
                </a:ext>
              </a:extLst>
            </p:cNvPr>
            <p:cNvSpPr>
              <a:spLocks/>
            </p:cNvSpPr>
            <p:nvPr/>
          </p:nvSpPr>
          <p:spPr bwMode="gray">
            <a:xfrm>
              <a:off x="2709" y="1029"/>
              <a:ext cx="2260" cy="2262"/>
            </a:xfrm>
            <a:custGeom>
              <a:avLst/>
              <a:gdLst>
                <a:gd name="T0" fmla="*/ 2260 w 2260"/>
                <a:gd name="T1" fmla="*/ 0 h 2262"/>
                <a:gd name="T2" fmla="*/ 1612 w 2260"/>
                <a:gd name="T3" fmla="*/ 649 h 2262"/>
                <a:gd name="T4" fmla="*/ 1612 w 2260"/>
                <a:gd name="T5" fmla="*/ 649 h 2262"/>
                <a:gd name="T6" fmla="*/ 2035 w 2260"/>
                <a:gd name="T7" fmla="*/ 0 h 2262"/>
                <a:gd name="T8" fmla="*/ 0 w 2260"/>
                <a:gd name="T9" fmla="*/ 0 h 2262"/>
                <a:gd name="T10" fmla="*/ 0 w 2260"/>
                <a:gd name="T11" fmla="*/ 2262 h 2262"/>
                <a:gd name="T12" fmla="*/ 2260 w 2260"/>
                <a:gd name="T13" fmla="*/ 2262 h 2262"/>
                <a:gd name="T14" fmla="*/ 2260 w 2260"/>
                <a:gd name="T15" fmla="*/ 0 h 2262"/>
                <a:gd name="T16" fmla="*/ 2260 w 2260"/>
                <a:gd name="T17" fmla="*/ 0 h 2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0" h="2262">
                  <a:moveTo>
                    <a:pt x="2260" y="0"/>
                  </a:moveTo>
                  <a:lnTo>
                    <a:pt x="1612" y="649"/>
                  </a:lnTo>
                  <a:lnTo>
                    <a:pt x="1612" y="649"/>
                  </a:lnTo>
                  <a:lnTo>
                    <a:pt x="2035" y="0"/>
                  </a:lnTo>
                  <a:lnTo>
                    <a:pt x="0" y="0"/>
                  </a:lnTo>
                  <a:lnTo>
                    <a:pt x="0" y="2262"/>
                  </a:lnTo>
                  <a:lnTo>
                    <a:pt x="2260" y="2262"/>
                  </a:lnTo>
                  <a:lnTo>
                    <a:pt x="2260" y="0"/>
                  </a:lnTo>
                  <a:lnTo>
                    <a:pt x="2260" y="0"/>
                  </a:lnTo>
                  <a:close/>
                </a:path>
              </a:pathLst>
            </a:custGeom>
            <a:solidFill>
              <a:srgbClr val="E55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16" name="Freeform 6">
              <a:extLst>
                <a:ext uri="{FF2B5EF4-FFF2-40B4-BE49-F238E27FC236}">
                  <a16:creationId xmlns:a16="http://schemas.microsoft.com/office/drawing/2014/main" id="{B16BAAE4-1A41-C843-9754-490F7A1E1270}"/>
                </a:ext>
              </a:extLst>
            </p:cNvPr>
            <p:cNvSpPr>
              <a:spLocks noEditPoints="1"/>
            </p:cNvSpPr>
            <p:nvPr/>
          </p:nvSpPr>
          <p:spPr bwMode="gray">
            <a:xfrm>
              <a:off x="3623" y="1696"/>
              <a:ext cx="1167" cy="922"/>
            </a:xfrm>
            <a:custGeom>
              <a:avLst/>
              <a:gdLst>
                <a:gd name="T0" fmla="*/ 411 w 580"/>
                <a:gd name="T1" fmla="*/ 213 h 458"/>
                <a:gd name="T2" fmla="*/ 570 w 580"/>
                <a:gd name="T3" fmla="*/ 37 h 458"/>
                <a:gd name="T4" fmla="*/ 580 w 580"/>
                <a:gd name="T5" fmla="*/ 20 h 458"/>
                <a:gd name="T6" fmla="*/ 545 w 580"/>
                <a:gd name="T7" fmla="*/ 0 h 458"/>
                <a:gd name="T8" fmla="*/ 519 w 580"/>
                <a:gd name="T9" fmla="*/ 16 h 458"/>
                <a:gd name="T10" fmla="*/ 344 w 580"/>
                <a:gd name="T11" fmla="*/ 210 h 458"/>
                <a:gd name="T12" fmla="*/ 334 w 580"/>
                <a:gd name="T13" fmla="*/ 229 h 458"/>
                <a:gd name="T14" fmla="*/ 344 w 580"/>
                <a:gd name="T15" fmla="*/ 248 h 458"/>
                <a:gd name="T16" fmla="*/ 519 w 580"/>
                <a:gd name="T17" fmla="*/ 442 h 458"/>
                <a:gd name="T18" fmla="*/ 545 w 580"/>
                <a:gd name="T19" fmla="*/ 458 h 458"/>
                <a:gd name="T20" fmla="*/ 580 w 580"/>
                <a:gd name="T21" fmla="*/ 438 h 458"/>
                <a:gd name="T22" fmla="*/ 570 w 580"/>
                <a:gd name="T23" fmla="*/ 421 h 458"/>
                <a:gd name="T24" fmla="*/ 411 w 580"/>
                <a:gd name="T25" fmla="*/ 245 h 458"/>
                <a:gd name="T26" fmla="*/ 399 w 580"/>
                <a:gd name="T27" fmla="*/ 229 h 458"/>
                <a:gd name="T28" fmla="*/ 411 w 580"/>
                <a:gd name="T29" fmla="*/ 213 h 458"/>
                <a:gd name="T30" fmla="*/ 252 w 580"/>
                <a:gd name="T31" fmla="*/ 439 h 458"/>
                <a:gd name="T32" fmla="*/ 281 w 580"/>
                <a:gd name="T33" fmla="*/ 454 h 458"/>
                <a:gd name="T34" fmla="*/ 309 w 580"/>
                <a:gd name="T35" fmla="*/ 439 h 458"/>
                <a:gd name="T36" fmla="*/ 309 w 580"/>
                <a:gd name="T37" fmla="*/ 19 h 458"/>
                <a:gd name="T38" fmla="*/ 281 w 580"/>
                <a:gd name="T39" fmla="*/ 4 h 458"/>
                <a:gd name="T40" fmla="*/ 252 w 580"/>
                <a:gd name="T41" fmla="*/ 19 h 458"/>
                <a:gd name="T42" fmla="*/ 252 w 580"/>
                <a:gd name="T43" fmla="*/ 439 h 458"/>
                <a:gd name="T44" fmla="*/ 0 w 580"/>
                <a:gd name="T45" fmla="*/ 439 h 458"/>
                <a:gd name="T46" fmla="*/ 28 w 580"/>
                <a:gd name="T47" fmla="*/ 454 h 458"/>
                <a:gd name="T48" fmla="*/ 56 w 580"/>
                <a:gd name="T49" fmla="*/ 439 h 458"/>
                <a:gd name="T50" fmla="*/ 56 w 580"/>
                <a:gd name="T51" fmla="*/ 157 h 458"/>
                <a:gd name="T52" fmla="*/ 165 w 580"/>
                <a:gd name="T53" fmla="*/ 53 h 458"/>
                <a:gd name="T54" fmla="*/ 180 w 580"/>
                <a:gd name="T55" fmla="*/ 53 h 458"/>
                <a:gd name="T56" fmla="*/ 196 w 580"/>
                <a:gd name="T57" fmla="*/ 27 h 458"/>
                <a:gd name="T58" fmla="*/ 154 w 580"/>
                <a:gd name="T59" fmla="*/ 4 h 458"/>
                <a:gd name="T60" fmla="*/ 0 w 580"/>
                <a:gd name="T61" fmla="*/ 152 h 458"/>
                <a:gd name="T62" fmla="*/ 0 w 580"/>
                <a:gd name="T63" fmla="*/ 439 h 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80" h="458">
                  <a:moveTo>
                    <a:pt x="411" y="213"/>
                  </a:moveTo>
                  <a:cubicBezTo>
                    <a:pt x="570" y="37"/>
                    <a:pt x="570" y="37"/>
                    <a:pt x="570" y="37"/>
                  </a:cubicBezTo>
                  <a:cubicBezTo>
                    <a:pt x="576" y="30"/>
                    <a:pt x="580" y="25"/>
                    <a:pt x="580" y="20"/>
                  </a:cubicBezTo>
                  <a:cubicBezTo>
                    <a:pt x="580" y="10"/>
                    <a:pt x="559" y="0"/>
                    <a:pt x="545" y="0"/>
                  </a:cubicBezTo>
                  <a:cubicBezTo>
                    <a:pt x="535" y="0"/>
                    <a:pt x="526" y="8"/>
                    <a:pt x="519" y="16"/>
                  </a:cubicBezTo>
                  <a:cubicBezTo>
                    <a:pt x="344" y="210"/>
                    <a:pt x="344" y="210"/>
                    <a:pt x="344" y="210"/>
                  </a:cubicBezTo>
                  <a:cubicBezTo>
                    <a:pt x="336" y="219"/>
                    <a:pt x="334" y="224"/>
                    <a:pt x="334" y="229"/>
                  </a:cubicBezTo>
                  <a:cubicBezTo>
                    <a:pt x="334" y="234"/>
                    <a:pt x="336" y="239"/>
                    <a:pt x="344" y="248"/>
                  </a:cubicBezTo>
                  <a:cubicBezTo>
                    <a:pt x="519" y="442"/>
                    <a:pt x="519" y="442"/>
                    <a:pt x="519" y="442"/>
                  </a:cubicBezTo>
                  <a:cubicBezTo>
                    <a:pt x="526" y="450"/>
                    <a:pt x="535" y="458"/>
                    <a:pt x="545" y="458"/>
                  </a:cubicBezTo>
                  <a:cubicBezTo>
                    <a:pt x="559" y="458"/>
                    <a:pt x="580" y="448"/>
                    <a:pt x="580" y="438"/>
                  </a:cubicBezTo>
                  <a:cubicBezTo>
                    <a:pt x="580" y="433"/>
                    <a:pt x="576" y="428"/>
                    <a:pt x="570" y="421"/>
                  </a:cubicBezTo>
                  <a:cubicBezTo>
                    <a:pt x="411" y="245"/>
                    <a:pt x="411" y="245"/>
                    <a:pt x="411" y="245"/>
                  </a:cubicBezTo>
                  <a:cubicBezTo>
                    <a:pt x="403" y="236"/>
                    <a:pt x="399" y="232"/>
                    <a:pt x="399" y="229"/>
                  </a:cubicBezTo>
                  <a:cubicBezTo>
                    <a:pt x="399" y="226"/>
                    <a:pt x="403" y="222"/>
                    <a:pt x="411" y="213"/>
                  </a:cubicBezTo>
                  <a:moveTo>
                    <a:pt x="252" y="439"/>
                  </a:moveTo>
                  <a:cubicBezTo>
                    <a:pt x="252" y="449"/>
                    <a:pt x="261" y="454"/>
                    <a:pt x="281" y="454"/>
                  </a:cubicBezTo>
                  <a:cubicBezTo>
                    <a:pt x="300" y="454"/>
                    <a:pt x="309" y="449"/>
                    <a:pt x="309" y="439"/>
                  </a:cubicBezTo>
                  <a:cubicBezTo>
                    <a:pt x="309" y="19"/>
                    <a:pt x="309" y="19"/>
                    <a:pt x="309" y="19"/>
                  </a:cubicBezTo>
                  <a:cubicBezTo>
                    <a:pt x="309" y="9"/>
                    <a:pt x="300" y="4"/>
                    <a:pt x="281" y="4"/>
                  </a:cubicBezTo>
                  <a:cubicBezTo>
                    <a:pt x="261" y="4"/>
                    <a:pt x="252" y="9"/>
                    <a:pt x="252" y="19"/>
                  </a:cubicBezTo>
                  <a:lnTo>
                    <a:pt x="252" y="439"/>
                  </a:lnTo>
                  <a:close/>
                  <a:moveTo>
                    <a:pt x="0" y="439"/>
                  </a:moveTo>
                  <a:cubicBezTo>
                    <a:pt x="0" y="449"/>
                    <a:pt x="8" y="454"/>
                    <a:pt x="28" y="454"/>
                  </a:cubicBezTo>
                  <a:cubicBezTo>
                    <a:pt x="48" y="454"/>
                    <a:pt x="56" y="449"/>
                    <a:pt x="56" y="439"/>
                  </a:cubicBezTo>
                  <a:cubicBezTo>
                    <a:pt x="56" y="157"/>
                    <a:pt x="56" y="157"/>
                    <a:pt x="56" y="157"/>
                  </a:cubicBezTo>
                  <a:cubicBezTo>
                    <a:pt x="56" y="83"/>
                    <a:pt x="85" y="53"/>
                    <a:pt x="165" y="53"/>
                  </a:cubicBezTo>
                  <a:cubicBezTo>
                    <a:pt x="180" y="53"/>
                    <a:pt x="180" y="53"/>
                    <a:pt x="180" y="53"/>
                  </a:cubicBezTo>
                  <a:cubicBezTo>
                    <a:pt x="192" y="53"/>
                    <a:pt x="196" y="43"/>
                    <a:pt x="196" y="27"/>
                  </a:cubicBezTo>
                  <a:cubicBezTo>
                    <a:pt x="196" y="8"/>
                    <a:pt x="185" y="4"/>
                    <a:pt x="154" y="4"/>
                  </a:cubicBezTo>
                  <a:cubicBezTo>
                    <a:pt x="64" y="4"/>
                    <a:pt x="0" y="43"/>
                    <a:pt x="0" y="152"/>
                  </a:cubicBezTo>
                  <a:lnTo>
                    <a:pt x="0" y="43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17" name="Freeform 7">
              <a:extLst>
                <a:ext uri="{FF2B5EF4-FFF2-40B4-BE49-F238E27FC236}">
                  <a16:creationId xmlns:a16="http://schemas.microsoft.com/office/drawing/2014/main" id="{2F32DCBD-8628-F245-85CD-97686A20ECFD}"/>
                </a:ext>
              </a:extLst>
            </p:cNvPr>
            <p:cNvSpPr>
              <a:spLocks/>
            </p:cNvSpPr>
            <p:nvPr/>
          </p:nvSpPr>
          <p:spPr bwMode="gray">
            <a:xfrm>
              <a:off x="2880" y="1704"/>
              <a:ext cx="618" cy="916"/>
            </a:xfrm>
            <a:custGeom>
              <a:avLst/>
              <a:gdLst>
                <a:gd name="T0" fmla="*/ 307 w 307"/>
                <a:gd name="T1" fmla="*/ 405 h 455"/>
                <a:gd name="T2" fmla="*/ 307 w 307"/>
                <a:gd name="T3" fmla="*/ 244 h 455"/>
                <a:gd name="T4" fmla="*/ 279 w 307"/>
                <a:gd name="T5" fmla="*/ 229 h 455"/>
                <a:gd name="T6" fmla="*/ 250 w 307"/>
                <a:gd name="T7" fmla="*/ 244 h 455"/>
                <a:gd name="T8" fmla="*/ 250 w 307"/>
                <a:gd name="T9" fmla="*/ 378 h 455"/>
                <a:gd name="T10" fmla="*/ 199 w 307"/>
                <a:gd name="T11" fmla="*/ 408 h 455"/>
                <a:gd name="T12" fmla="*/ 61 w 307"/>
                <a:gd name="T13" fmla="*/ 231 h 455"/>
                <a:gd name="T14" fmla="*/ 238 w 307"/>
                <a:gd name="T15" fmla="*/ 49 h 455"/>
                <a:gd name="T16" fmla="*/ 270 w 307"/>
                <a:gd name="T17" fmla="*/ 49 h 455"/>
                <a:gd name="T18" fmla="*/ 286 w 307"/>
                <a:gd name="T19" fmla="*/ 23 h 455"/>
                <a:gd name="T20" fmla="*/ 244 w 307"/>
                <a:gd name="T21" fmla="*/ 0 h 455"/>
                <a:gd name="T22" fmla="*/ 231 w 307"/>
                <a:gd name="T23" fmla="*/ 0 h 455"/>
                <a:gd name="T24" fmla="*/ 0 w 307"/>
                <a:gd name="T25" fmla="*/ 232 h 455"/>
                <a:gd name="T26" fmla="*/ 198 w 307"/>
                <a:gd name="T27" fmla="*/ 455 h 455"/>
                <a:gd name="T28" fmla="*/ 307 w 307"/>
                <a:gd name="T29" fmla="*/ 405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7" h="455">
                  <a:moveTo>
                    <a:pt x="307" y="405"/>
                  </a:moveTo>
                  <a:cubicBezTo>
                    <a:pt x="307" y="244"/>
                    <a:pt x="307" y="244"/>
                    <a:pt x="307" y="244"/>
                  </a:cubicBezTo>
                  <a:cubicBezTo>
                    <a:pt x="307" y="234"/>
                    <a:pt x="298" y="229"/>
                    <a:pt x="279" y="229"/>
                  </a:cubicBezTo>
                  <a:cubicBezTo>
                    <a:pt x="259" y="229"/>
                    <a:pt x="250" y="234"/>
                    <a:pt x="250" y="244"/>
                  </a:cubicBezTo>
                  <a:cubicBezTo>
                    <a:pt x="250" y="378"/>
                    <a:pt x="250" y="378"/>
                    <a:pt x="250" y="378"/>
                  </a:cubicBezTo>
                  <a:cubicBezTo>
                    <a:pt x="250" y="399"/>
                    <a:pt x="241" y="408"/>
                    <a:pt x="199" y="408"/>
                  </a:cubicBezTo>
                  <a:cubicBezTo>
                    <a:pt x="114" y="408"/>
                    <a:pt x="61" y="342"/>
                    <a:pt x="61" y="231"/>
                  </a:cubicBezTo>
                  <a:cubicBezTo>
                    <a:pt x="61" y="115"/>
                    <a:pt x="126" y="49"/>
                    <a:pt x="238" y="49"/>
                  </a:cubicBezTo>
                  <a:cubicBezTo>
                    <a:pt x="270" y="49"/>
                    <a:pt x="270" y="49"/>
                    <a:pt x="270" y="49"/>
                  </a:cubicBezTo>
                  <a:cubicBezTo>
                    <a:pt x="282" y="49"/>
                    <a:pt x="286" y="39"/>
                    <a:pt x="286" y="23"/>
                  </a:cubicBezTo>
                  <a:cubicBezTo>
                    <a:pt x="286" y="4"/>
                    <a:pt x="275" y="0"/>
                    <a:pt x="244" y="0"/>
                  </a:cubicBezTo>
                  <a:cubicBezTo>
                    <a:pt x="231" y="0"/>
                    <a:pt x="231" y="0"/>
                    <a:pt x="231" y="0"/>
                  </a:cubicBezTo>
                  <a:cubicBezTo>
                    <a:pt x="101" y="0"/>
                    <a:pt x="0" y="71"/>
                    <a:pt x="0" y="232"/>
                  </a:cubicBezTo>
                  <a:cubicBezTo>
                    <a:pt x="0" y="386"/>
                    <a:pt x="88" y="455"/>
                    <a:pt x="198" y="455"/>
                  </a:cubicBezTo>
                  <a:cubicBezTo>
                    <a:pt x="286" y="455"/>
                    <a:pt x="307" y="430"/>
                    <a:pt x="307" y="40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18" name="Oval 8">
              <a:extLst>
                <a:ext uri="{FF2B5EF4-FFF2-40B4-BE49-F238E27FC236}">
                  <a16:creationId xmlns:a16="http://schemas.microsoft.com/office/drawing/2014/main" id="{60D97C11-1A3B-5449-A48D-98A3E79B3810}"/>
                </a:ext>
              </a:extLst>
            </p:cNvPr>
            <p:cNvSpPr>
              <a:spLocks noChangeArrowheads="1"/>
            </p:cNvSpPr>
            <p:nvPr/>
          </p:nvSpPr>
          <p:spPr bwMode="gray">
            <a:xfrm>
              <a:off x="3778" y="2099"/>
              <a:ext cx="122" cy="12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19" name="Freeform 9">
              <a:extLst>
                <a:ext uri="{FF2B5EF4-FFF2-40B4-BE49-F238E27FC236}">
                  <a16:creationId xmlns:a16="http://schemas.microsoft.com/office/drawing/2014/main" id="{5856770D-B8F0-244E-A05D-AED190086F10}"/>
                </a:ext>
              </a:extLst>
            </p:cNvPr>
            <p:cNvSpPr>
              <a:spLocks noEditPoints="1"/>
            </p:cNvSpPr>
            <p:nvPr/>
          </p:nvSpPr>
          <p:spPr bwMode="gray">
            <a:xfrm>
              <a:off x="3623" y="1696"/>
              <a:ext cx="1167" cy="922"/>
            </a:xfrm>
            <a:custGeom>
              <a:avLst/>
              <a:gdLst>
                <a:gd name="T0" fmla="*/ 411 w 580"/>
                <a:gd name="T1" fmla="*/ 213 h 458"/>
                <a:gd name="T2" fmla="*/ 570 w 580"/>
                <a:gd name="T3" fmla="*/ 37 h 458"/>
                <a:gd name="T4" fmla="*/ 580 w 580"/>
                <a:gd name="T5" fmla="*/ 20 h 458"/>
                <a:gd name="T6" fmla="*/ 545 w 580"/>
                <a:gd name="T7" fmla="*/ 0 h 458"/>
                <a:gd name="T8" fmla="*/ 519 w 580"/>
                <a:gd name="T9" fmla="*/ 16 h 458"/>
                <a:gd name="T10" fmla="*/ 344 w 580"/>
                <a:gd name="T11" fmla="*/ 210 h 458"/>
                <a:gd name="T12" fmla="*/ 334 w 580"/>
                <a:gd name="T13" fmla="*/ 229 h 458"/>
                <a:gd name="T14" fmla="*/ 344 w 580"/>
                <a:gd name="T15" fmla="*/ 248 h 458"/>
                <a:gd name="T16" fmla="*/ 519 w 580"/>
                <a:gd name="T17" fmla="*/ 442 h 458"/>
                <a:gd name="T18" fmla="*/ 545 w 580"/>
                <a:gd name="T19" fmla="*/ 458 h 458"/>
                <a:gd name="T20" fmla="*/ 580 w 580"/>
                <a:gd name="T21" fmla="*/ 438 h 458"/>
                <a:gd name="T22" fmla="*/ 570 w 580"/>
                <a:gd name="T23" fmla="*/ 421 h 458"/>
                <a:gd name="T24" fmla="*/ 411 w 580"/>
                <a:gd name="T25" fmla="*/ 245 h 458"/>
                <a:gd name="T26" fmla="*/ 399 w 580"/>
                <a:gd name="T27" fmla="*/ 229 h 458"/>
                <a:gd name="T28" fmla="*/ 411 w 580"/>
                <a:gd name="T29" fmla="*/ 213 h 458"/>
                <a:gd name="T30" fmla="*/ 252 w 580"/>
                <a:gd name="T31" fmla="*/ 439 h 458"/>
                <a:gd name="T32" fmla="*/ 281 w 580"/>
                <a:gd name="T33" fmla="*/ 454 h 458"/>
                <a:gd name="T34" fmla="*/ 309 w 580"/>
                <a:gd name="T35" fmla="*/ 439 h 458"/>
                <a:gd name="T36" fmla="*/ 309 w 580"/>
                <a:gd name="T37" fmla="*/ 19 h 458"/>
                <a:gd name="T38" fmla="*/ 281 w 580"/>
                <a:gd name="T39" fmla="*/ 4 h 458"/>
                <a:gd name="T40" fmla="*/ 252 w 580"/>
                <a:gd name="T41" fmla="*/ 19 h 458"/>
                <a:gd name="T42" fmla="*/ 252 w 580"/>
                <a:gd name="T43" fmla="*/ 439 h 458"/>
                <a:gd name="T44" fmla="*/ 0 w 580"/>
                <a:gd name="T45" fmla="*/ 439 h 458"/>
                <a:gd name="T46" fmla="*/ 28 w 580"/>
                <a:gd name="T47" fmla="*/ 454 h 458"/>
                <a:gd name="T48" fmla="*/ 56 w 580"/>
                <a:gd name="T49" fmla="*/ 439 h 458"/>
                <a:gd name="T50" fmla="*/ 56 w 580"/>
                <a:gd name="T51" fmla="*/ 157 h 458"/>
                <a:gd name="T52" fmla="*/ 165 w 580"/>
                <a:gd name="T53" fmla="*/ 53 h 458"/>
                <a:gd name="T54" fmla="*/ 180 w 580"/>
                <a:gd name="T55" fmla="*/ 53 h 458"/>
                <a:gd name="T56" fmla="*/ 196 w 580"/>
                <a:gd name="T57" fmla="*/ 27 h 458"/>
                <a:gd name="T58" fmla="*/ 154 w 580"/>
                <a:gd name="T59" fmla="*/ 4 h 458"/>
                <a:gd name="T60" fmla="*/ 0 w 580"/>
                <a:gd name="T61" fmla="*/ 152 h 458"/>
                <a:gd name="T62" fmla="*/ 0 w 580"/>
                <a:gd name="T63" fmla="*/ 439 h 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80" h="458">
                  <a:moveTo>
                    <a:pt x="411" y="213"/>
                  </a:moveTo>
                  <a:cubicBezTo>
                    <a:pt x="570" y="37"/>
                    <a:pt x="570" y="37"/>
                    <a:pt x="570" y="37"/>
                  </a:cubicBezTo>
                  <a:cubicBezTo>
                    <a:pt x="576" y="30"/>
                    <a:pt x="580" y="25"/>
                    <a:pt x="580" y="20"/>
                  </a:cubicBezTo>
                  <a:cubicBezTo>
                    <a:pt x="580" y="10"/>
                    <a:pt x="559" y="0"/>
                    <a:pt x="545" y="0"/>
                  </a:cubicBezTo>
                  <a:cubicBezTo>
                    <a:pt x="535" y="0"/>
                    <a:pt x="526" y="8"/>
                    <a:pt x="519" y="16"/>
                  </a:cubicBezTo>
                  <a:cubicBezTo>
                    <a:pt x="344" y="210"/>
                    <a:pt x="344" y="210"/>
                    <a:pt x="344" y="210"/>
                  </a:cubicBezTo>
                  <a:cubicBezTo>
                    <a:pt x="336" y="219"/>
                    <a:pt x="334" y="224"/>
                    <a:pt x="334" y="229"/>
                  </a:cubicBezTo>
                  <a:cubicBezTo>
                    <a:pt x="334" y="234"/>
                    <a:pt x="336" y="239"/>
                    <a:pt x="344" y="248"/>
                  </a:cubicBezTo>
                  <a:cubicBezTo>
                    <a:pt x="519" y="442"/>
                    <a:pt x="519" y="442"/>
                    <a:pt x="519" y="442"/>
                  </a:cubicBezTo>
                  <a:cubicBezTo>
                    <a:pt x="526" y="450"/>
                    <a:pt x="535" y="458"/>
                    <a:pt x="545" y="458"/>
                  </a:cubicBezTo>
                  <a:cubicBezTo>
                    <a:pt x="559" y="458"/>
                    <a:pt x="580" y="448"/>
                    <a:pt x="580" y="438"/>
                  </a:cubicBezTo>
                  <a:cubicBezTo>
                    <a:pt x="580" y="433"/>
                    <a:pt x="576" y="428"/>
                    <a:pt x="570" y="421"/>
                  </a:cubicBezTo>
                  <a:cubicBezTo>
                    <a:pt x="411" y="245"/>
                    <a:pt x="411" y="245"/>
                    <a:pt x="411" y="245"/>
                  </a:cubicBezTo>
                  <a:cubicBezTo>
                    <a:pt x="403" y="236"/>
                    <a:pt x="399" y="232"/>
                    <a:pt x="399" y="229"/>
                  </a:cubicBezTo>
                  <a:cubicBezTo>
                    <a:pt x="399" y="226"/>
                    <a:pt x="403" y="222"/>
                    <a:pt x="411" y="213"/>
                  </a:cubicBezTo>
                  <a:moveTo>
                    <a:pt x="252" y="439"/>
                  </a:moveTo>
                  <a:cubicBezTo>
                    <a:pt x="252" y="449"/>
                    <a:pt x="261" y="454"/>
                    <a:pt x="281" y="454"/>
                  </a:cubicBezTo>
                  <a:cubicBezTo>
                    <a:pt x="300" y="454"/>
                    <a:pt x="309" y="449"/>
                    <a:pt x="309" y="439"/>
                  </a:cubicBezTo>
                  <a:cubicBezTo>
                    <a:pt x="309" y="19"/>
                    <a:pt x="309" y="19"/>
                    <a:pt x="309" y="19"/>
                  </a:cubicBezTo>
                  <a:cubicBezTo>
                    <a:pt x="309" y="9"/>
                    <a:pt x="300" y="4"/>
                    <a:pt x="281" y="4"/>
                  </a:cubicBezTo>
                  <a:cubicBezTo>
                    <a:pt x="261" y="4"/>
                    <a:pt x="252" y="9"/>
                    <a:pt x="252" y="19"/>
                  </a:cubicBezTo>
                  <a:lnTo>
                    <a:pt x="252" y="439"/>
                  </a:lnTo>
                  <a:close/>
                  <a:moveTo>
                    <a:pt x="0" y="439"/>
                  </a:moveTo>
                  <a:cubicBezTo>
                    <a:pt x="0" y="449"/>
                    <a:pt x="8" y="454"/>
                    <a:pt x="28" y="454"/>
                  </a:cubicBezTo>
                  <a:cubicBezTo>
                    <a:pt x="48" y="454"/>
                    <a:pt x="56" y="449"/>
                    <a:pt x="56" y="439"/>
                  </a:cubicBezTo>
                  <a:cubicBezTo>
                    <a:pt x="56" y="157"/>
                    <a:pt x="56" y="157"/>
                    <a:pt x="56" y="157"/>
                  </a:cubicBezTo>
                  <a:cubicBezTo>
                    <a:pt x="56" y="83"/>
                    <a:pt x="85" y="53"/>
                    <a:pt x="165" y="53"/>
                  </a:cubicBezTo>
                  <a:cubicBezTo>
                    <a:pt x="180" y="53"/>
                    <a:pt x="180" y="53"/>
                    <a:pt x="180" y="53"/>
                  </a:cubicBezTo>
                  <a:cubicBezTo>
                    <a:pt x="192" y="53"/>
                    <a:pt x="196" y="43"/>
                    <a:pt x="196" y="27"/>
                  </a:cubicBezTo>
                  <a:cubicBezTo>
                    <a:pt x="196" y="8"/>
                    <a:pt x="185" y="4"/>
                    <a:pt x="154" y="4"/>
                  </a:cubicBezTo>
                  <a:cubicBezTo>
                    <a:pt x="64" y="4"/>
                    <a:pt x="0" y="43"/>
                    <a:pt x="0" y="152"/>
                  </a:cubicBezTo>
                  <a:lnTo>
                    <a:pt x="0" y="43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22" name="Freeform 10">
              <a:extLst>
                <a:ext uri="{FF2B5EF4-FFF2-40B4-BE49-F238E27FC236}">
                  <a16:creationId xmlns:a16="http://schemas.microsoft.com/office/drawing/2014/main" id="{2B91B16B-BC11-E547-8FAC-B9B8D18EA449}"/>
                </a:ext>
              </a:extLst>
            </p:cNvPr>
            <p:cNvSpPr>
              <a:spLocks/>
            </p:cNvSpPr>
            <p:nvPr/>
          </p:nvSpPr>
          <p:spPr bwMode="gray">
            <a:xfrm>
              <a:off x="2880" y="1704"/>
              <a:ext cx="618" cy="916"/>
            </a:xfrm>
            <a:custGeom>
              <a:avLst/>
              <a:gdLst>
                <a:gd name="T0" fmla="*/ 307 w 307"/>
                <a:gd name="T1" fmla="*/ 405 h 455"/>
                <a:gd name="T2" fmla="*/ 307 w 307"/>
                <a:gd name="T3" fmla="*/ 244 h 455"/>
                <a:gd name="T4" fmla="*/ 279 w 307"/>
                <a:gd name="T5" fmla="*/ 229 h 455"/>
                <a:gd name="T6" fmla="*/ 250 w 307"/>
                <a:gd name="T7" fmla="*/ 244 h 455"/>
                <a:gd name="T8" fmla="*/ 250 w 307"/>
                <a:gd name="T9" fmla="*/ 378 h 455"/>
                <a:gd name="T10" fmla="*/ 199 w 307"/>
                <a:gd name="T11" fmla="*/ 408 h 455"/>
                <a:gd name="T12" fmla="*/ 61 w 307"/>
                <a:gd name="T13" fmla="*/ 231 h 455"/>
                <a:gd name="T14" fmla="*/ 238 w 307"/>
                <a:gd name="T15" fmla="*/ 49 h 455"/>
                <a:gd name="T16" fmla="*/ 270 w 307"/>
                <a:gd name="T17" fmla="*/ 49 h 455"/>
                <a:gd name="T18" fmla="*/ 286 w 307"/>
                <a:gd name="T19" fmla="*/ 23 h 455"/>
                <a:gd name="T20" fmla="*/ 244 w 307"/>
                <a:gd name="T21" fmla="*/ 0 h 455"/>
                <a:gd name="T22" fmla="*/ 231 w 307"/>
                <a:gd name="T23" fmla="*/ 0 h 455"/>
                <a:gd name="T24" fmla="*/ 0 w 307"/>
                <a:gd name="T25" fmla="*/ 232 h 455"/>
                <a:gd name="T26" fmla="*/ 198 w 307"/>
                <a:gd name="T27" fmla="*/ 455 h 455"/>
                <a:gd name="T28" fmla="*/ 307 w 307"/>
                <a:gd name="T29" fmla="*/ 405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7" h="455">
                  <a:moveTo>
                    <a:pt x="307" y="405"/>
                  </a:moveTo>
                  <a:cubicBezTo>
                    <a:pt x="307" y="244"/>
                    <a:pt x="307" y="244"/>
                    <a:pt x="307" y="244"/>
                  </a:cubicBezTo>
                  <a:cubicBezTo>
                    <a:pt x="307" y="234"/>
                    <a:pt x="298" y="229"/>
                    <a:pt x="279" y="229"/>
                  </a:cubicBezTo>
                  <a:cubicBezTo>
                    <a:pt x="259" y="229"/>
                    <a:pt x="250" y="234"/>
                    <a:pt x="250" y="244"/>
                  </a:cubicBezTo>
                  <a:cubicBezTo>
                    <a:pt x="250" y="378"/>
                    <a:pt x="250" y="378"/>
                    <a:pt x="250" y="378"/>
                  </a:cubicBezTo>
                  <a:cubicBezTo>
                    <a:pt x="250" y="399"/>
                    <a:pt x="241" y="408"/>
                    <a:pt x="199" y="408"/>
                  </a:cubicBezTo>
                  <a:cubicBezTo>
                    <a:pt x="114" y="408"/>
                    <a:pt x="61" y="342"/>
                    <a:pt x="61" y="231"/>
                  </a:cubicBezTo>
                  <a:cubicBezTo>
                    <a:pt x="61" y="115"/>
                    <a:pt x="126" y="49"/>
                    <a:pt x="238" y="49"/>
                  </a:cubicBezTo>
                  <a:cubicBezTo>
                    <a:pt x="270" y="49"/>
                    <a:pt x="270" y="49"/>
                    <a:pt x="270" y="49"/>
                  </a:cubicBezTo>
                  <a:cubicBezTo>
                    <a:pt x="282" y="49"/>
                    <a:pt x="286" y="39"/>
                    <a:pt x="286" y="23"/>
                  </a:cubicBezTo>
                  <a:cubicBezTo>
                    <a:pt x="286" y="4"/>
                    <a:pt x="275" y="0"/>
                    <a:pt x="244" y="0"/>
                  </a:cubicBezTo>
                  <a:cubicBezTo>
                    <a:pt x="231" y="0"/>
                    <a:pt x="231" y="0"/>
                    <a:pt x="231" y="0"/>
                  </a:cubicBezTo>
                  <a:cubicBezTo>
                    <a:pt x="101" y="0"/>
                    <a:pt x="0" y="71"/>
                    <a:pt x="0" y="232"/>
                  </a:cubicBezTo>
                  <a:cubicBezTo>
                    <a:pt x="0" y="386"/>
                    <a:pt x="88" y="455"/>
                    <a:pt x="198" y="455"/>
                  </a:cubicBezTo>
                  <a:cubicBezTo>
                    <a:pt x="286" y="455"/>
                    <a:pt x="307" y="430"/>
                    <a:pt x="307" y="40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23" name="Oval 11">
              <a:extLst>
                <a:ext uri="{FF2B5EF4-FFF2-40B4-BE49-F238E27FC236}">
                  <a16:creationId xmlns:a16="http://schemas.microsoft.com/office/drawing/2014/main" id="{14F8C3C8-4888-7646-B9B4-64EB46A1DA23}"/>
                </a:ext>
              </a:extLst>
            </p:cNvPr>
            <p:cNvSpPr>
              <a:spLocks noChangeArrowheads="1"/>
            </p:cNvSpPr>
            <p:nvPr/>
          </p:nvSpPr>
          <p:spPr bwMode="gray">
            <a:xfrm>
              <a:off x="3778" y="2099"/>
              <a:ext cx="122" cy="12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24" name="Freeform 12">
              <a:extLst>
                <a:ext uri="{FF2B5EF4-FFF2-40B4-BE49-F238E27FC236}">
                  <a16:creationId xmlns:a16="http://schemas.microsoft.com/office/drawing/2014/main" id="{D79D01D1-4E3E-F34B-97D7-2D387E68746E}"/>
                </a:ext>
              </a:extLst>
            </p:cNvPr>
            <p:cNvSpPr>
              <a:spLocks/>
            </p:cNvSpPr>
            <p:nvPr/>
          </p:nvSpPr>
          <p:spPr bwMode="gray">
            <a:xfrm>
              <a:off x="4321" y="1029"/>
              <a:ext cx="648" cy="649"/>
            </a:xfrm>
            <a:custGeom>
              <a:avLst/>
              <a:gdLst>
                <a:gd name="T0" fmla="*/ 0 w 648"/>
                <a:gd name="T1" fmla="*/ 649 h 649"/>
                <a:gd name="T2" fmla="*/ 2 w 648"/>
                <a:gd name="T3" fmla="*/ 649 h 649"/>
                <a:gd name="T4" fmla="*/ 648 w 648"/>
                <a:gd name="T5" fmla="*/ 0 h 649"/>
                <a:gd name="T6" fmla="*/ 423 w 648"/>
                <a:gd name="T7" fmla="*/ 0 h 649"/>
                <a:gd name="T8" fmla="*/ 0 w 648"/>
                <a:gd name="T9" fmla="*/ 649 h 649"/>
              </a:gdLst>
              <a:ahLst/>
              <a:cxnLst>
                <a:cxn ang="0">
                  <a:pos x="T0" y="T1"/>
                </a:cxn>
                <a:cxn ang="0">
                  <a:pos x="T2" y="T3"/>
                </a:cxn>
                <a:cxn ang="0">
                  <a:pos x="T4" y="T5"/>
                </a:cxn>
                <a:cxn ang="0">
                  <a:pos x="T6" y="T7"/>
                </a:cxn>
                <a:cxn ang="0">
                  <a:pos x="T8" y="T9"/>
                </a:cxn>
              </a:cxnLst>
              <a:rect l="0" t="0" r="r" b="b"/>
              <a:pathLst>
                <a:path w="648" h="649">
                  <a:moveTo>
                    <a:pt x="0" y="649"/>
                  </a:moveTo>
                  <a:lnTo>
                    <a:pt x="2" y="649"/>
                  </a:lnTo>
                  <a:lnTo>
                    <a:pt x="648" y="0"/>
                  </a:lnTo>
                  <a:lnTo>
                    <a:pt x="423" y="0"/>
                  </a:lnTo>
                  <a:lnTo>
                    <a:pt x="0" y="64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26" name="Freeform 13">
              <a:extLst>
                <a:ext uri="{FF2B5EF4-FFF2-40B4-BE49-F238E27FC236}">
                  <a16:creationId xmlns:a16="http://schemas.microsoft.com/office/drawing/2014/main" id="{46549898-6C52-B147-A8F6-A73FDBE6163B}"/>
                </a:ext>
              </a:extLst>
            </p:cNvPr>
            <p:cNvSpPr>
              <a:spLocks/>
            </p:cNvSpPr>
            <p:nvPr/>
          </p:nvSpPr>
          <p:spPr bwMode="gray">
            <a:xfrm>
              <a:off x="4321" y="1029"/>
              <a:ext cx="648" cy="649"/>
            </a:xfrm>
            <a:custGeom>
              <a:avLst/>
              <a:gdLst>
                <a:gd name="T0" fmla="*/ 0 w 648"/>
                <a:gd name="T1" fmla="*/ 649 h 649"/>
                <a:gd name="T2" fmla="*/ 2 w 648"/>
                <a:gd name="T3" fmla="*/ 649 h 649"/>
                <a:gd name="T4" fmla="*/ 648 w 648"/>
                <a:gd name="T5" fmla="*/ 0 h 649"/>
                <a:gd name="T6" fmla="*/ 423 w 648"/>
                <a:gd name="T7" fmla="*/ 0 h 649"/>
                <a:gd name="T8" fmla="*/ 0 w 648"/>
                <a:gd name="T9" fmla="*/ 649 h 649"/>
              </a:gdLst>
              <a:ahLst/>
              <a:cxnLst>
                <a:cxn ang="0">
                  <a:pos x="T0" y="T1"/>
                </a:cxn>
                <a:cxn ang="0">
                  <a:pos x="T2" y="T3"/>
                </a:cxn>
                <a:cxn ang="0">
                  <a:pos x="T4" y="T5"/>
                </a:cxn>
                <a:cxn ang="0">
                  <a:pos x="T6" y="T7"/>
                </a:cxn>
                <a:cxn ang="0">
                  <a:pos x="T8" y="T9"/>
                </a:cxn>
              </a:cxnLst>
              <a:rect l="0" t="0" r="r" b="b"/>
              <a:pathLst>
                <a:path w="648" h="649">
                  <a:moveTo>
                    <a:pt x="0" y="649"/>
                  </a:moveTo>
                  <a:lnTo>
                    <a:pt x="2" y="649"/>
                  </a:lnTo>
                  <a:lnTo>
                    <a:pt x="648" y="0"/>
                  </a:lnTo>
                  <a:lnTo>
                    <a:pt x="423" y="0"/>
                  </a:lnTo>
                  <a:lnTo>
                    <a:pt x="0" y="64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grpSp>
      <p:sp>
        <p:nvSpPr>
          <p:cNvPr id="20" name="shp1">
            <a:extLst>
              <a:ext uri="{FF2B5EF4-FFF2-40B4-BE49-F238E27FC236}">
                <a16:creationId xmlns:a16="http://schemas.microsoft.com/office/drawing/2014/main" id="{1AD9883E-0B1C-504A-A979-9C5803172360}"/>
              </a:ext>
            </a:extLst>
          </p:cNvPr>
          <p:cNvSpPr/>
          <p:nvPr/>
        </p:nvSpPr>
        <p:spPr>
          <a:xfrm>
            <a:off x="192088" y="1"/>
            <a:ext cx="215900" cy="144938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de-DE" sz="1351"/>
          </a:p>
        </p:txBody>
      </p:sp>
      <p:sp>
        <p:nvSpPr>
          <p:cNvPr id="7" name="copyright"/>
          <p:cNvSpPr txBox="1"/>
          <p:nvPr/>
        </p:nvSpPr>
        <p:spPr>
          <a:xfrm>
            <a:off x="10672209" y="6461671"/>
            <a:ext cx="500617" cy="133790"/>
          </a:xfrm>
          <a:prstGeom prst="rect">
            <a:avLst/>
          </a:prstGeom>
          <a:noFill/>
        </p:spPr>
        <p:txBody>
          <a:bodyPr wrap="none" lIns="0" tIns="0" rIns="0" bIns="0" rtlCol="0" anchor="b" anchorCtr="0">
            <a:noAutofit/>
          </a:bodyPr>
          <a:lstStyle/>
          <a:p>
            <a:pPr marL="0" indent="0" algn="r">
              <a:lnSpc>
                <a:spcPct val="125000"/>
              </a:lnSpc>
              <a:buClr>
                <a:schemeClr val="tx2"/>
              </a:buClr>
              <a:buFont typeface="Wingdings" panose="05000000000000000000" pitchFamily="2" charset="2"/>
              <a:buNone/>
            </a:pPr>
            <a:r>
              <a:rPr lang="en-US" sz="800"/>
              <a:t>© GfK</a:t>
            </a:r>
          </a:p>
        </p:txBody>
      </p:sp>
      <p:sp>
        <p:nvSpPr>
          <p:cNvPr id="28" name="Date Placeholder 27"/>
          <p:cNvSpPr>
            <a:spLocks noGrp="1"/>
          </p:cNvSpPr>
          <p:nvPr>
            <p:ph type="dt" sz="half" idx="2"/>
          </p:nvPr>
        </p:nvSpPr>
        <p:spPr>
          <a:xfrm>
            <a:off x="192088" y="6461671"/>
            <a:ext cx="761512" cy="133790"/>
          </a:xfrm>
          <a:prstGeom prst="rect">
            <a:avLst/>
          </a:prstGeom>
        </p:spPr>
        <p:txBody>
          <a:bodyPr vert="horz" wrap="none" lIns="0" tIns="0" rIns="0" bIns="0" rtlCol="0" anchor="b" anchorCtr="0"/>
          <a:lstStyle>
            <a:lvl1pPr algn="r">
              <a:defRPr sz="800">
                <a:solidFill>
                  <a:schemeClr val="tx1"/>
                </a:solidFill>
              </a:defRPr>
            </a:lvl1pPr>
          </a:lstStyle>
          <a:p>
            <a:endParaRPr lang="en-US"/>
          </a:p>
        </p:txBody>
      </p:sp>
      <p:sp>
        <p:nvSpPr>
          <p:cNvPr id="29" name="Footer Placeholder 28"/>
          <p:cNvSpPr>
            <a:spLocks noGrp="1"/>
          </p:cNvSpPr>
          <p:nvPr>
            <p:ph type="ftr" sz="quarter" idx="3"/>
          </p:nvPr>
        </p:nvSpPr>
        <p:spPr>
          <a:xfrm>
            <a:off x="1076400" y="6461671"/>
            <a:ext cx="8162717" cy="133790"/>
          </a:xfrm>
          <a:prstGeom prst="rect">
            <a:avLst/>
          </a:prstGeom>
        </p:spPr>
        <p:txBody>
          <a:bodyPr vert="horz" lIns="0" tIns="0" rIns="0" bIns="0" rtlCol="0" anchor="b" anchorCtr="0"/>
          <a:lstStyle>
            <a:lvl1pPr marL="144000" indent="-144000" algn="l">
              <a:buClr>
                <a:schemeClr val="tx2"/>
              </a:buClr>
              <a:buFont typeface="Wingdings" panose="05000000000000000000" pitchFamily="2" charset="2"/>
              <a:buChar char="§"/>
              <a:defRPr sz="800">
                <a:solidFill>
                  <a:schemeClr val="tx1"/>
                </a:solidFill>
              </a:defRPr>
            </a:lvl1pPr>
          </a:lstStyle>
          <a:p>
            <a:endParaRPr lang="en-US"/>
          </a:p>
        </p:txBody>
      </p:sp>
      <p:sp>
        <p:nvSpPr>
          <p:cNvPr id="30" name="Slide Number Placeholder 29"/>
          <p:cNvSpPr>
            <a:spLocks noGrp="1"/>
          </p:cNvSpPr>
          <p:nvPr>
            <p:ph type="sldNum" sz="quarter" idx="4"/>
          </p:nvPr>
        </p:nvSpPr>
        <p:spPr>
          <a:xfrm>
            <a:off x="11186669" y="6461671"/>
            <a:ext cx="648000" cy="133790"/>
          </a:xfrm>
          <a:prstGeom prst="rect">
            <a:avLst/>
          </a:prstGeom>
        </p:spPr>
        <p:txBody>
          <a:bodyPr vert="horz" lIns="0" tIns="0" rIns="0" bIns="0" rtlCol="0" anchor="b" anchorCtr="0"/>
          <a:lstStyle>
            <a:lvl1pPr algn="r">
              <a:defRPr sz="800">
                <a:solidFill>
                  <a:schemeClr val="tx1"/>
                </a:solidFill>
              </a:defRPr>
            </a:lvl1pPr>
          </a:lstStyle>
          <a:p>
            <a:fld id="{5F3E29E4-0979-4FCA-B4C5-5FC6044C982A}" type="slidenum">
              <a:rPr lang="en-US" smtClean="0"/>
              <a:pPr/>
              <a:t>‹#›</a:t>
            </a:fld>
            <a:endParaRPr lang="en-US"/>
          </a:p>
        </p:txBody>
      </p:sp>
      <p:sp>
        <p:nvSpPr>
          <p:cNvPr id="2" name="Title Placeholder 1"/>
          <p:cNvSpPr>
            <a:spLocks noGrp="1"/>
          </p:cNvSpPr>
          <p:nvPr>
            <p:ph type="title"/>
          </p:nvPr>
        </p:nvSpPr>
        <p:spPr>
          <a:xfrm>
            <a:off x="1075061" y="288922"/>
            <a:ext cx="7910158" cy="648000"/>
          </a:xfrm>
          <a:prstGeom prst="rect">
            <a:avLst/>
          </a:prstGeom>
        </p:spPr>
        <p:txBody>
          <a:bodyPr vert="horz" lIns="0" tIns="0" rIns="0" bIns="0" rtlCol="0" anchor="t">
            <a:noAutofit/>
          </a:bodyPr>
          <a:lstStyle/>
          <a:p>
            <a:r>
              <a:rPr lang="en-US"/>
              <a:t>Click to edit Master title style</a:t>
            </a:r>
          </a:p>
        </p:txBody>
      </p:sp>
      <p:sp>
        <p:nvSpPr>
          <p:cNvPr id="3" name="Text Placeholder 2"/>
          <p:cNvSpPr>
            <a:spLocks noGrp="1"/>
          </p:cNvSpPr>
          <p:nvPr>
            <p:ph type="body" idx="1"/>
          </p:nvPr>
        </p:nvSpPr>
        <p:spPr>
          <a:xfrm>
            <a:off x="1075062" y="1629618"/>
            <a:ext cx="10097764" cy="4139357"/>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68587962"/>
      </p:ext>
    </p:extLst>
  </p:cSld>
  <p:clrMap bg1="lt1" tx1="dk1" bg2="lt2" tx2="dk2" accent1="accent1" accent2="accent2" accent3="accent3" accent4="accent4" accent5="accent5" accent6="accent6" hlink="hlink" folHlink="folHlink"/>
  <p:sldLayoutIdLst>
    <p:sldLayoutId id="2147484796" r:id="rId1"/>
    <p:sldLayoutId id="2147484797" r:id="rId2"/>
    <p:sldLayoutId id="2147484798" r:id="rId3"/>
    <p:sldLayoutId id="2147484799" r:id="rId4"/>
    <p:sldLayoutId id="2147484800" r:id="rId5"/>
    <p:sldLayoutId id="2147484801" r:id="rId6"/>
    <p:sldLayoutId id="2147484802" r:id="rId7"/>
    <p:sldLayoutId id="2147484803" r:id="rId8"/>
    <p:sldLayoutId id="2147484804" r:id="rId9"/>
    <p:sldLayoutId id="2147484805" r:id="rId10"/>
    <p:sldLayoutId id="2147484806" r:id="rId11"/>
    <p:sldLayoutId id="2147484807" r:id="rId12"/>
    <p:sldLayoutId id="2147484808" r:id="rId13"/>
    <p:sldLayoutId id="2147484809" r:id="rId14"/>
    <p:sldLayoutId id="2147484810" r:id="rId15"/>
    <p:sldLayoutId id="2147484811" r:id="rId16"/>
    <p:sldLayoutId id="2147484812" r:id="rId17"/>
    <p:sldLayoutId id="2147484813" r:id="rId18"/>
    <p:sldLayoutId id="2147484814" r:id="rId19"/>
    <p:sldLayoutId id="2147484815" r:id="rId20"/>
    <p:sldLayoutId id="2147484816" r:id="rId21"/>
    <p:sldLayoutId id="2147484817" r:id="rId22"/>
    <p:sldLayoutId id="2147484818" r:id="rId23"/>
    <p:sldLayoutId id="2147484819" r:id="rId24"/>
    <p:sldLayoutId id="2147484820" r:id="rId25"/>
    <p:sldLayoutId id="2147484821" r:id="rId26"/>
    <p:sldLayoutId id="2147484822" r:id="rId27"/>
    <p:sldLayoutId id="2147484823" r:id="rId28"/>
  </p:sldLayoutIdLst>
  <p:hf hdr="0" ftr="0" dt="0"/>
  <p:txStyles>
    <p:titleStyle>
      <a:lvl1pPr algn="l" defTabSz="914400" rtl="0" eaLnBrk="1" latinLnBrk="0" hangingPunct="1">
        <a:lnSpc>
          <a:spcPct val="100000"/>
        </a:lnSpc>
        <a:spcBef>
          <a:spcPct val="0"/>
        </a:spcBef>
        <a:buNone/>
        <a:defRPr sz="3600" kern="1200">
          <a:solidFill>
            <a:schemeClr val="tx1"/>
          </a:solidFill>
          <a:latin typeface="+mj-lt"/>
          <a:ea typeface="+mj-ea"/>
          <a:cs typeface="+mj-cs"/>
        </a:defRPr>
      </a:lvl1pPr>
    </p:titleStyle>
    <p:bodyStyle>
      <a:lvl1pPr marL="252000" indent="-252000" algn="l" defTabSz="914400" rtl="0" eaLnBrk="1" latinLnBrk="0" hangingPunct="1">
        <a:lnSpc>
          <a:spcPct val="110000"/>
        </a:lnSpc>
        <a:spcBef>
          <a:spcPts val="1000"/>
        </a:spcBef>
        <a:buClr>
          <a:schemeClr val="tx2"/>
        </a:buClr>
        <a:buFont typeface="Wingdings" panose="05000000000000000000" pitchFamily="2" charset="2"/>
        <a:buChar char="§"/>
        <a:defRPr sz="2800" kern="1200">
          <a:solidFill>
            <a:schemeClr val="tx1"/>
          </a:solidFill>
          <a:latin typeface="+mn-lt"/>
          <a:ea typeface="+mn-ea"/>
          <a:cs typeface="+mn-cs"/>
        </a:defRPr>
      </a:lvl1pPr>
      <a:lvl2pPr marL="648000" indent="-252000" algn="l" defTabSz="914400" rtl="0" eaLnBrk="1" latinLnBrk="0" hangingPunct="1">
        <a:lnSpc>
          <a:spcPct val="110000"/>
        </a:lnSpc>
        <a:spcBef>
          <a:spcPts val="600"/>
        </a:spcBef>
        <a:buClr>
          <a:schemeClr val="tx2"/>
        </a:buClr>
        <a:buFont typeface="Wingdings" panose="05000000000000000000" pitchFamily="2" charset="2"/>
        <a:buChar char="§"/>
        <a:defRPr sz="2400" kern="1200">
          <a:solidFill>
            <a:schemeClr val="tx1"/>
          </a:solidFill>
          <a:latin typeface="+mn-lt"/>
          <a:ea typeface="+mn-ea"/>
          <a:cs typeface="+mn-cs"/>
        </a:defRPr>
      </a:lvl2pPr>
      <a:lvl3pPr marL="1080000" indent="-252000" algn="l" defTabSz="914400" rtl="0" eaLnBrk="1" latinLnBrk="0" hangingPunct="1">
        <a:lnSpc>
          <a:spcPct val="110000"/>
        </a:lnSpc>
        <a:spcBef>
          <a:spcPts val="600"/>
        </a:spcBef>
        <a:buClr>
          <a:schemeClr val="tx2"/>
        </a:buClr>
        <a:buFont typeface="Wingdings" panose="05000000000000000000" pitchFamily="2" charset="2"/>
        <a:buChar char="§"/>
        <a:defRPr sz="2000" kern="1200">
          <a:solidFill>
            <a:schemeClr val="tx1"/>
          </a:solidFill>
          <a:latin typeface="+mn-lt"/>
          <a:ea typeface="+mn-ea"/>
          <a:cs typeface="+mn-cs"/>
        </a:defRPr>
      </a:lvl3pPr>
      <a:lvl4pPr marL="0" indent="0" algn="l" defTabSz="914400" rtl="0" eaLnBrk="1" latinLnBrk="0" hangingPunct="1">
        <a:lnSpc>
          <a:spcPct val="110000"/>
        </a:lnSpc>
        <a:spcBef>
          <a:spcPts val="600"/>
        </a:spcBef>
        <a:buClr>
          <a:schemeClr val="tx2"/>
        </a:buClr>
        <a:buFont typeface="Lato" panose="020F0502020204030203" pitchFamily="34" charset="0"/>
        <a:buChar char="​"/>
        <a:defRPr sz="1600" kern="1200">
          <a:solidFill>
            <a:schemeClr val="tx1"/>
          </a:solidFill>
          <a:latin typeface="+mn-lt"/>
          <a:ea typeface="+mn-ea"/>
          <a:cs typeface="+mn-cs"/>
        </a:defRPr>
      </a:lvl4pPr>
      <a:lvl5pPr marL="252000" indent="-252000" algn="l" defTabSz="914400" rtl="0" eaLnBrk="1" latinLnBrk="0" hangingPunct="1">
        <a:lnSpc>
          <a:spcPct val="110000"/>
        </a:lnSpc>
        <a:spcBef>
          <a:spcPts val="600"/>
        </a:spcBef>
        <a:buClr>
          <a:schemeClr val="tx2"/>
        </a:buClr>
        <a:buFont typeface="Wingdings" panose="05000000000000000000" pitchFamily="2" charset="2"/>
        <a:buChar char="§"/>
        <a:defRPr sz="1600" kern="1200">
          <a:solidFill>
            <a:schemeClr val="tx1"/>
          </a:solidFill>
          <a:latin typeface="+mn-lt"/>
          <a:ea typeface="+mn-ea"/>
          <a:cs typeface="+mn-cs"/>
        </a:defRPr>
      </a:lvl5pPr>
      <a:lvl6pPr marL="648000" indent="-252000" algn="l" defTabSz="914400" rtl="0" eaLnBrk="1" latinLnBrk="0" hangingPunct="1">
        <a:lnSpc>
          <a:spcPct val="110000"/>
        </a:lnSpc>
        <a:spcBef>
          <a:spcPts val="600"/>
        </a:spcBef>
        <a:buClr>
          <a:schemeClr val="tx2"/>
        </a:buClr>
        <a:buFont typeface="Wingdings" panose="05000000000000000000" pitchFamily="2" charset="2"/>
        <a:buChar char="§"/>
        <a:defRPr sz="1600" kern="1200">
          <a:solidFill>
            <a:schemeClr val="tx1"/>
          </a:solidFill>
          <a:latin typeface="+mn-lt"/>
          <a:ea typeface="+mn-ea"/>
          <a:cs typeface="+mn-cs"/>
        </a:defRPr>
      </a:lvl6pPr>
      <a:lvl7pPr marL="1080000" indent="-252000" algn="l" defTabSz="914400" rtl="0" eaLnBrk="1" latinLnBrk="0" hangingPunct="1">
        <a:lnSpc>
          <a:spcPct val="110000"/>
        </a:lnSpc>
        <a:spcBef>
          <a:spcPts val="600"/>
        </a:spcBef>
        <a:buClr>
          <a:schemeClr val="tx2"/>
        </a:buClr>
        <a:buFont typeface="Wingdings" panose="05000000000000000000" pitchFamily="2" charset="2"/>
        <a:buChar char="§"/>
        <a:defRPr sz="1600" kern="1200">
          <a:solidFill>
            <a:schemeClr val="tx1"/>
          </a:solidFill>
          <a:latin typeface="+mn-lt"/>
          <a:ea typeface="+mn-ea"/>
          <a:cs typeface="+mn-cs"/>
        </a:defRPr>
      </a:lvl7pPr>
      <a:lvl8pPr marL="1512000" indent="-252000" algn="l" defTabSz="914400" rtl="0" eaLnBrk="1" latinLnBrk="0" hangingPunct="1">
        <a:lnSpc>
          <a:spcPct val="110000"/>
        </a:lnSpc>
        <a:spcBef>
          <a:spcPts val="600"/>
        </a:spcBef>
        <a:buClr>
          <a:schemeClr val="tx2"/>
        </a:buClr>
        <a:buFont typeface="Wingdings" panose="05000000000000000000" pitchFamily="2" charset="2"/>
        <a:buChar char="§"/>
        <a:defRPr sz="1600" kern="1200">
          <a:solidFill>
            <a:schemeClr val="tx1"/>
          </a:solidFill>
          <a:latin typeface="+mn-lt"/>
          <a:ea typeface="+mn-ea"/>
          <a:cs typeface="+mn-cs"/>
        </a:defRPr>
      </a:lvl8pPr>
      <a:lvl9pPr marL="1944000" indent="-252000" algn="l" defTabSz="914400" rtl="0" eaLnBrk="1" latinLnBrk="0" hangingPunct="1">
        <a:lnSpc>
          <a:spcPct val="110000"/>
        </a:lnSpc>
        <a:spcBef>
          <a:spcPts val="600"/>
        </a:spcBef>
        <a:buClr>
          <a:schemeClr val="tx2"/>
        </a:buClr>
        <a:buFont typeface="Wingdings" panose="05000000000000000000" pitchFamily="2" charset="2"/>
        <a:buChar char="§"/>
        <a:defRPr sz="16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319">
          <p15:clr>
            <a:srgbClr val="5ACBF0"/>
          </p15:clr>
        </p15:guide>
        <p15:guide id="3" pos="257">
          <p15:clr>
            <a:srgbClr val="5ACBF0"/>
          </p15:clr>
        </p15:guide>
        <p15:guide id="4" pos="675">
          <p15:clr>
            <a:srgbClr val="5ACBF0"/>
          </p15:clr>
        </p15:guide>
        <p15:guide id="5" pos="7038">
          <p15:clr>
            <a:srgbClr val="5ACBF0"/>
          </p15:clr>
        </p15:guide>
        <p15:guide id="6" pos="7446">
          <p15:clr>
            <a:srgbClr val="5ACBF0"/>
          </p15:clr>
        </p15:guide>
        <p15:guide id="7" orient="horz" pos="255">
          <p15:clr>
            <a:srgbClr val="5ACBF0"/>
          </p15:clr>
        </p15:guide>
        <p15:guide id="8" orient="horz" pos="663">
          <p15:clr>
            <a:srgbClr val="5ACBF0"/>
          </p15:clr>
        </p15:guide>
        <p15:guide id="9" orient="horz" pos="799">
          <p15:clr>
            <a:srgbClr val="5ACBF0"/>
          </p15:clr>
        </p15:guide>
        <p15:guide id="10" orient="horz" pos="1026">
          <p15:clr>
            <a:srgbClr val="5ACBF0"/>
          </p15:clr>
        </p15:guide>
        <p15:guide id="11" orient="horz" pos="3634">
          <p15:clr>
            <a:srgbClr val="5ACBF0"/>
          </p15:clr>
        </p15:guide>
        <p15:guide id="12" orient="horz" pos="3929">
          <p15:clr>
            <a:srgbClr val="5ACBF0"/>
          </p15:clr>
        </p15:guide>
        <p15:guide id="13" orient="horz" pos="4133">
          <p15:clr>
            <a:srgbClr val="5ACBF0"/>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5" name="Oggetto 4" hidden="1">
            <a:extLst>
              <a:ext uri="{FF2B5EF4-FFF2-40B4-BE49-F238E27FC236}">
                <a16:creationId xmlns:a16="http://schemas.microsoft.com/office/drawing/2014/main" id="{46B8B118-3F0A-4D36-A0C9-ADD9E9AE1B0C}"/>
              </a:ext>
            </a:extLst>
          </p:cNvPr>
          <p:cNvGraphicFramePr>
            <a:graphicFrameLocks noChangeAspect="1"/>
          </p:cNvGraphicFramePr>
          <p:nvPr userDrawn="1">
            <p:custDataLst>
              <p:tags r:id="rId31"/>
            </p:custDataLst>
            <p:extLst>
              <p:ext uri="{D42A27DB-BD31-4B8C-83A1-F6EECF244321}">
                <p14:modId xmlns:p14="http://schemas.microsoft.com/office/powerpoint/2010/main" val="31942323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5478" name="Diapositiva think-cell" r:id="rId33" imgW="395" imgH="396" progId="TCLayout.ActiveDocument.1">
                  <p:embed/>
                </p:oleObj>
              </mc:Choice>
              <mc:Fallback>
                <p:oleObj name="Diapositiva think-cell" r:id="rId33" imgW="395" imgH="396" progId="TCLayout.ActiveDocument.1">
                  <p:embed/>
                  <p:pic>
                    <p:nvPicPr>
                      <p:cNvPr id="5" name="Oggetto 4" hidden="1">
                        <a:extLst>
                          <a:ext uri="{FF2B5EF4-FFF2-40B4-BE49-F238E27FC236}">
                            <a16:creationId xmlns:a16="http://schemas.microsoft.com/office/drawing/2014/main" id="{46B8B118-3F0A-4D36-A0C9-ADD9E9AE1B0C}"/>
                          </a:ext>
                        </a:extLst>
                      </p:cNvPr>
                      <p:cNvPicPr/>
                      <p:nvPr/>
                    </p:nvPicPr>
                    <p:blipFill>
                      <a:blip r:embed="rId34"/>
                      <a:stretch>
                        <a:fillRect/>
                      </a:stretch>
                    </p:blipFill>
                    <p:spPr>
                      <a:xfrm>
                        <a:off x="1588" y="1588"/>
                        <a:ext cx="1588" cy="1588"/>
                      </a:xfrm>
                      <a:prstGeom prst="rect">
                        <a:avLst/>
                      </a:prstGeom>
                    </p:spPr>
                  </p:pic>
                </p:oleObj>
              </mc:Fallback>
            </mc:AlternateContent>
          </a:graphicData>
        </a:graphic>
      </p:graphicFrame>
      <p:sp>
        <p:nvSpPr>
          <p:cNvPr id="4" name="Rettangolo 3" hidden="1">
            <a:extLst>
              <a:ext uri="{FF2B5EF4-FFF2-40B4-BE49-F238E27FC236}">
                <a16:creationId xmlns:a16="http://schemas.microsoft.com/office/drawing/2014/main" id="{1D85021D-95EC-47DA-A015-36E53DD8035A}"/>
              </a:ext>
            </a:extLst>
          </p:cNvPr>
          <p:cNvSpPr/>
          <p:nvPr userDrawn="1">
            <p:custDataLst>
              <p:tags r:id="rId3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lnSpc>
                <a:spcPct val="125000"/>
              </a:lnSpc>
            </a:pPr>
            <a:endParaRPr lang="en-US" sz="3600" b="0" i="0" baseline="0">
              <a:latin typeface="Lato Light" panose="020F0502020204030203" pitchFamily="34" charset="0"/>
              <a:ea typeface="+mj-ea"/>
              <a:cs typeface="+mj-cs"/>
              <a:sym typeface="Lato Light" panose="020F0502020204030203" pitchFamily="34" charset="0"/>
            </a:endParaRPr>
          </a:p>
        </p:txBody>
      </p:sp>
      <p:grpSp>
        <p:nvGrpSpPr>
          <p:cNvPr id="13" name="logo">
            <a:extLst>
              <a:ext uri="{FF2B5EF4-FFF2-40B4-BE49-F238E27FC236}">
                <a16:creationId xmlns:a16="http://schemas.microsoft.com/office/drawing/2014/main" id="{57BD2C4C-DC67-B843-B26C-309622FC75F7}"/>
              </a:ext>
            </a:extLst>
          </p:cNvPr>
          <p:cNvGrpSpPr>
            <a:grpSpLocks noChangeAspect="1"/>
          </p:cNvGrpSpPr>
          <p:nvPr/>
        </p:nvGrpSpPr>
        <p:grpSpPr bwMode="gray">
          <a:xfrm>
            <a:off x="11174018" y="401441"/>
            <a:ext cx="644225" cy="646507"/>
            <a:chOff x="2711" y="1027"/>
            <a:chExt cx="2258" cy="2266"/>
          </a:xfrm>
        </p:grpSpPr>
        <p:sp>
          <p:nvSpPr>
            <p:cNvPr id="14" name="AutoShape 3">
              <a:extLst>
                <a:ext uri="{FF2B5EF4-FFF2-40B4-BE49-F238E27FC236}">
                  <a16:creationId xmlns:a16="http://schemas.microsoft.com/office/drawing/2014/main" id="{FE1DC41B-291E-574C-9F2C-874E70A40758}"/>
                </a:ext>
              </a:extLst>
            </p:cNvPr>
            <p:cNvSpPr>
              <a:spLocks noChangeAspect="1" noChangeArrowheads="1" noTextEdit="1"/>
            </p:cNvSpPr>
            <p:nvPr/>
          </p:nvSpPr>
          <p:spPr bwMode="gray">
            <a:xfrm>
              <a:off x="2711" y="1027"/>
              <a:ext cx="2258" cy="22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15" name="Freeform 5">
              <a:extLst>
                <a:ext uri="{FF2B5EF4-FFF2-40B4-BE49-F238E27FC236}">
                  <a16:creationId xmlns:a16="http://schemas.microsoft.com/office/drawing/2014/main" id="{D4B633C8-F761-C54B-9BD2-EB59D49A2DBC}"/>
                </a:ext>
              </a:extLst>
            </p:cNvPr>
            <p:cNvSpPr>
              <a:spLocks/>
            </p:cNvSpPr>
            <p:nvPr/>
          </p:nvSpPr>
          <p:spPr bwMode="gray">
            <a:xfrm>
              <a:off x="2709" y="1029"/>
              <a:ext cx="2260" cy="2262"/>
            </a:xfrm>
            <a:custGeom>
              <a:avLst/>
              <a:gdLst>
                <a:gd name="T0" fmla="*/ 2260 w 2260"/>
                <a:gd name="T1" fmla="*/ 0 h 2262"/>
                <a:gd name="T2" fmla="*/ 1612 w 2260"/>
                <a:gd name="T3" fmla="*/ 649 h 2262"/>
                <a:gd name="T4" fmla="*/ 1612 w 2260"/>
                <a:gd name="T5" fmla="*/ 649 h 2262"/>
                <a:gd name="T6" fmla="*/ 2035 w 2260"/>
                <a:gd name="T7" fmla="*/ 0 h 2262"/>
                <a:gd name="T8" fmla="*/ 0 w 2260"/>
                <a:gd name="T9" fmla="*/ 0 h 2262"/>
                <a:gd name="T10" fmla="*/ 0 w 2260"/>
                <a:gd name="T11" fmla="*/ 2262 h 2262"/>
                <a:gd name="T12" fmla="*/ 2260 w 2260"/>
                <a:gd name="T13" fmla="*/ 2262 h 2262"/>
                <a:gd name="T14" fmla="*/ 2260 w 2260"/>
                <a:gd name="T15" fmla="*/ 0 h 2262"/>
                <a:gd name="T16" fmla="*/ 2260 w 2260"/>
                <a:gd name="T17" fmla="*/ 0 h 2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0" h="2262">
                  <a:moveTo>
                    <a:pt x="2260" y="0"/>
                  </a:moveTo>
                  <a:lnTo>
                    <a:pt x="1612" y="649"/>
                  </a:lnTo>
                  <a:lnTo>
                    <a:pt x="1612" y="649"/>
                  </a:lnTo>
                  <a:lnTo>
                    <a:pt x="2035" y="0"/>
                  </a:lnTo>
                  <a:lnTo>
                    <a:pt x="0" y="0"/>
                  </a:lnTo>
                  <a:lnTo>
                    <a:pt x="0" y="2262"/>
                  </a:lnTo>
                  <a:lnTo>
                    <a:pt x="2260" y="2262"/>
                  </a:lnTo>
                  <a:lnTo>
                    <a:pt x="2260" y="0"/>
                  </a:lnTo>
                  <a:lnTo>
                    <a:pt x="2260" y="0"/>
                  </a:lnTo>
                  <a:close/>
                </a:path>
              </a:pathLst>
            </a:custGeom>
            <a:solidFill>
              <a:srgbClr val="E55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16" name="Freeform 6">
              <a:extLst>
                <a:ext uri="{FF2B5EF4-FFF2-40B4-BE49-F238E27FC236}">
                  <a16:creationId xmlns:a16="http://schemas.microsoft.com/office/drawing/2014/main" id="{B16BAAE4-1A41-C843-9754-490F7A1E1270}"/>
                </a:ext>
              </a:extLst>
            </p:cNvPr>
            <p:cNvSpPr>
              <a:spLocks noEditPoints="1"/>
            </p:cNvSpPr>
            <p:nvPr/>
          </p:nvSpPr>
          <p:spPr bwMode="gray">
            <a:xfrm>
              <a:off x="3623" y="1696"/>
              <a:ext cx="1167" cy="922"/>
            </a:xfrm>
            <a:custGeom>
              <a:avLst/>
              <a:gdLst>
                <a:gd name="T0" fmla="*/ 411 w 580"/>
                <a:gd name="T1" fmla="*/ 213 h 458"/>
                <a:gd name="T2" fmla="*/ 570 w 580"/>
                <a:gd name="T3" fmla="*/ 37 h 458"/>
                <a:gd name="T4" fmla="*/ 580 w 580"/>
                <a:gd name="T5" fmla="*/ 20 h 458"/>
                <a:gd name="T6" fmla="*/ 545 w 580"/>
                <a:gd name="T7" fmla="*/ 0 h 458"/>
                <a:gd name="T8" fmla="*/ 519 w 580"/>
                <a:gd name="T9" fmla="*/ 16 h 458"/>
                <a:gd name="T10" fmla="*/ 344 w 580"/>
                <a:gd name="T11" fmla="*/ 210 h 458"/>
                <a:gd name="T12" fmla="*/ 334 w 580"/>
                <a:gd name="T13" fmla="*/ 229 h 458"/>
                <a:gd name="T14" fmla="*/ 344 w 580"/>
                <a:gd name="T15" fmla="*/ 248 h 458"/>
                <a:gd name="T16" fmla="*/ 519 w 580"/>
                <a:gd name="T17" fmla="*/ 442 h 458"/>
                <a:gd name="T18" fmla="*/ 545 w 580"/>
                <a:gd name="T19" fmla="*/ 458 h 458"/>
                <a:gd name="T20" fmla="*/ 580 w 580"/>
                <a:gd name="T21" fmla="*/ 438 h 458"/>
                <a:gd name="T22" fmla="*/ 570 w 580"/>
                <a:gd name="T23" fmla="*/ 421 h 458"/>
                <a:gd name="T24" fmla="*/ 411 w 580"/>
                <a:gd name="T25" fmla="*/ 245 h 458"/>
                <a:gd name="T26" fmla="*/ 399 w 580"/>
                <a:gd name="T27" fmla="*/ 229 h 458"/>
                <a:gd name="T28" fmla="*/ 411 w 580"/>
                <a:gd name="T29" fmla="*/ 213 h 458"/>
                <a:gd name="T30" fmla="*/ 252 w 580"/>
                <a:gd name="T31" fmla="*/ 439 h 458"/>
                <a:gd name="T32" fmla="*/ 281 w 580"/>
                <a:gd name="T33" fmla="*/ 454 h 458"/>
                <a:gd name="T34" fmla="*/ 309 w 580"/>
                <a:gd name="T35" fmla="*/ 439 h 458"/>
                <a:gd name="T36" fmla="*/ 309 w 580"/>
                <a:gd name="T37" fmla="*/ 19 h 458"/>
                <a:gd name="T38" fmla="*/ 281 w 580"/>
                <a:gd name="T39" fmla="*/ 4 h 458"/>
                <a:gd name="T40" fmla="*/ 252 w 580"/>
                <a:gd name="T41" fmla="*/ 19 h 458"/>
                <a:gd name="T42" fmla="*/ 252 w 580"/>
                <a:gd name="T43" fmla="*/ 439 h 458"/>
                <a:gd name="T44" fmla="*/ 0 w 580"/>
                <a:gd name="T45" fmla="*/ 439 h 458"/>
                <a:gd name="T46" fmla="*/ 28 w 580"/>
                <a:gd name="T47" fmla="*/ 454 h 458"/>
                <a:gd name="T48" fmla="*/ 56 w 580"/>
                <a:gd name="T49" fmla="*/ 439 h 458"/>
                <a:gd name="T50" fmla="*/ 56 w 580"/>
                <a:gd name="T51" fmla="*/ 157 h 458"/>
                <a:gd name="T52" fmla="*/ 165 w 580"/>
                <a:gd name="T53" fmla="*/ 53 h 458"/>
                <a:gd name="T54" fmla="*/ 180 w 580"/>
                <a:gd name="T55" fmla="*/ 53 h 458"/>
                <a:gd name="T56" fmla="*/ 196 w 580"/>
                <a:gd name="T57" fmla="*/ 27 h 458"/>
                <a:gd name="T58" fmla="*/ 154 w 580"/>
                <a:gd name="T59" fmla="*/ 4 h 458"/>
                <a:gd name="T60" fmla="*/ 0 w 580"/>
                <a:gd name="T61" fmla="*/ 152 h 458"/>
                <a:gd name="T62" fmla="*/ 0 w 580"/>
                <a:gd name="T63" fmla="*/ 439 h 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80" h="458">
                  <a:moveTo>
                    <a:pt x="411" y="213"/>
                  </a:moveTo>
                  <a:cubicBezTo>
                    <a:pt x="570" y="37"/>
                    <a:pt x="570" y="37"/>
                    <a:pt x="570" y="37"/>
                  </a:cubicBezTo>
                  <a:cubicBezTo>
                    <a:pt x="576" y="30"/>
                    <a:pt x="580" y="25"/>
                    <a:pt x="580" y="20"/>
                  </a:cubicBezTo>
                  <a:cubicBezTo>
                    <a:pt x="580" y="10"/>
                    <a:pt x="559" y="0"/>
                    <a:pt x="545" y="0"/>
                  </a:cubicBezTo>
                  <a:cubicBezTo>
                    <a:pt x="535" y="0"/>
                    <a:pt x="526" y="8"/>
                    <a:pt x="519" y="16"/>
                  </a:cubicBezTo>
                  <a:cubicBezTo>
                    <a:pt x="344" y="210"/>
                    <a:pt x="344" y="210"/>
                    <a:pt x="344" y="210"/>
                  </a:cubicBezTo>
                  <a:cubicBezTo>
                    <a:pt x="336" y="219"/>
                    <a:pt x="334" y="224"/>
                    <a:pt x="334" y="229"/>
                  </a:cubicBezTo>
                  <a:cubicBezTo>
                    <a:pt x="334" y="234"/>
                    <a:pt x="336" y="239"/>
                    <a:pt x="344" y="248"/>
                  </a:cubicBezTo>
                  <a:cubicBezTo>
                    <a:pt x="519" y="442"/>
                    <a:pt x="519" y="442"/>
                    <a:pt x="519" y="442"/>
                  </a:cubicBezTo>
                  <a:cubicBezTo>
                    <a:pt x="526" y="450"/>
                    <a:pt x="535" y="458"/>
                    <a:pt x="545" y="458"/>
                  </a:cubicBezTo>
                  <a:cubicBezTo>
                    <a:pt x="559" y="458"/>
                    <a:pt x="580" y="448"/>
                    <a:pt x="580" y="438"/>
                  </a:cubicBezTo>
                  <a:cubicBezTo>
                    <a:pt x="580" y="433"/>
                    <a:pt x="576" y="428"/>
                    <a:pt x="570" y="421"/>
                  </a:cubicBezTo>
                  <a:cubicBezTo>
                    <a:pt x="411" y="245"/>
                    <a:pt x="411" y="245"/>
                    <a:pt x="411" y="245"/>
                  </a:cubicBezTo>
                  <a:cubicBezTo>
                    <a:pt x="403" y="236"/>
                    <a:pt x="399" y="232"/>
                    <a:pt x="399" y="229"/>
                  </a:cubicBezTo>
                  <a:cubicBezTo>
                    <a:pt x="399" y="226"/>
                    <a:pt x="403" y="222"/>
                    <a:pt x="411" y="213"/>
                  </a:cubicBezTo>
                  <a:moveTo>
                    <a:pt x="252" y="439"/>
                  </a:moveTo>
                  <a:cubicBezTo>
                    <a:pt x="252" y="449"/>
                    <a:pt x="261" y="454"/>
                    <a:pt x="281" y="454"/>
                  </a:cubicBezTo>
                  <a:cubicBezTo>
                    <a:pt x="300" y="454"/>
                    <a:pt x="309" y="449"/>
                    <a:pt x="309" y="439"/>
                  </a:cubicBezTo>
                  <a:cubicBezTo>
                    <a:pt x="309" y="19"/>
                    <a:pt x="309" y="19"/>
                    <a:pt x="309" y="19"/>
                  </a:cubicBezTo>
                  <a:cubicBezTo>
                    <a:pt x="309" y="9"/>
                    <a:pt x="300" y="4"/>
                    <a:pt x="281" y="4"/>
                  </a:cubicBezTo>
                  <a:cubicBezTo>
                    <a:pt x="261" y="4"/>
                    <a:pt x="252" y="9"/>
                    <a:pt x="252" y="19"/>
                  </a:cubicBezTo>
                  <a:lnTo>
                    <a:pt x="252" y="439"/>
                  </a:lnTo>
                  <a:close/>
                  <a:moveTo>
                    <a:pt x="0" y="439"/>
                  </a:moveTo>
                  <a:cubicBezTo>
                    <a:pt x="0" y="449"/>
                    <a:pt x="8" y="454"/>
                    <a:pt x="28" y="454"/>
                  </a:cubicBezTo>
                  <a:cubicBezTo>
                    <a:pt x="48" y="454"/>
                    <a:pt x="56" y="449"/>
                    <a:pt x="56" y="439"/>
                  </a:cubicBezTo>
                  <a:cubicBezTo>
                    <a:pt x="56" y="157"/>
                    <a:pt x="56" y="157"/>
                    <a:pt x="56" y="157"/>
                  </a:cubicBezTo>
                  <a:cubicBezTo>
                    <a:pt x="56" y="83"/>
                    <a:pt x="85" y="53"/>
                    <a:pt x="165" y="53"/>
                  </a:cubicBezTo>
                  <a:cubicBezTo>
                    <a:pt x="180" y="53"/>
                    <a:pt x="180" y="53"/>
                    <a:pt x="180" y="53"/>
                  </a:cubicBezTo>
                  <a:cubicBezTo>
                    <a:pt x="192" y="53"/>
                    <a:pt x="196" y="43"/>
                    <a:pt x="196" y="27"/>
                  </a:cubicBezTo>
                  <a:cubicBezTo>
                    <a:pt x="196" y="8"/>
                    <a:pt x="185" y="4"/>
                    <a:pt x="154" y="4"/>
                  </a:cubicBezTo>
                  <a:cubicBezTo>
                    <a:pt x="64" y="4"/>
                    <a:pt x="0" y="43"/>
                    <a:pt x="0" y="152"/>
                  </a:cubicBezTo>
                  <a:lnTo>
                    <a:pt x="0" y="43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17" name="Freeform 7">
              <a:extLst>
                <a:ext uri="{FF2B5EF4-FFF2-40B4-BE49-F238E27FC236}">
                  <a16:creationId xmlns:a16="http://schemas.microsoft.com/office/drawing/2014/main" id="{2F32DCBD-8628-F245-85CD-97686A20ECFD}"/>
                </a:ext>
              </a:extLst>
            </p:cNvPr>
            <p:cNvSpPr>
              <a:spLocks/>
            </p:cNvSpPr>
            <p:nvPr/>
          </p:nvSpPr>
          <p:spPr bwMode="gray">
            <a:xfrm>
              <a:off x="2880" y="1704"/>
              <a:ext cx="618" cy="916"/>
            </a:xfrm>
            <a:custGeom>
              <a:avLst/>
              <a:gdLst>
                <a:gd name="T0" fmla="*/ 307 w 307"/>
                <a:gd name="T1" fmla="*/ 405 h 455"/>
                <a:gd name="T2" fmla="*/ 307 w 307"/>
                <a:gd name="T3" fmla="*/ 244 h 455"/>
                <a:gd name="T4" fmla="*/ 279 w 307"/>
                <a:gd name="T5" fmla="*/ 229 h 455"/>
                <a:gd name="T6" fmla="*/ 250 w 307"/>
                <a:gd name="T7" fmla="*/ 244 h 455"/>
                <a:gd name="T8" fmla="*/ 250 w 307"/>
                <a:gd name="T9" fmla="*/ 378 h 455"/>
                <a:gd name="T10" fmla="*/ 199 w 307"/>
                <a:gd name="T11" fmla="*/ 408 h 455"/>
                <a:gd name="T12" fmla="*/ 61 w 307"/>
                <a:gd name="T13" fmla="*/ 231 h 455"/>
                <a:gd name="T14" fmla="*/ 238 w 307"/>
                <a:gd name="T15" fmla="*/ 49 h 455"/>
                <a:gd name="T16" fmla="*/ 270 w 307"/>
                <a:gd name="T17" fmla="*/ 49 h 455"/>
                <a:gd name="T18" fmla="*/ 286 w 307"/>
                <a:gd name="T19" fmla="*/ 23 h 455"/>
                <a:gd name="T20" fmla="*/ 244 w 307"/>
                <a:gd name="T21" fmla="*/ 0 h 455"/>
                <a:gd name="T22" fmla="*/ 231 w 307"/>
                <a:gd name="T23" fmla="*/ 0 h 455"/>
                <a:gd name="T24" fmla="*/ 0 w 307"/>
                <a:gd name="T25" fmla="*/ 232 h 455"/>
                <a:gd name="T26" fmla="*/ 198 w 307"/>
                <a:gd name="T27" fmla="*/ 455 h 455"/>
                <a:gd name="T28" fmla="*/ 307 w 307"/>
                <a:gd name="T29" fmla="*/ 405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7" h="455">
                  <a:moveTo>
                    <a:pt x="307" y="405"/>
                  </a:moveTo>
                  <a:cubicBezTo>
                    <a:pt x="307" y="244"/>
                    <a:pt x="307" y="244"/>
                    <a:pt x="307" y="244"/>
                  </a:cubicBezTo>
                  <a:cubicBezTo>
                    <a:pt x="307" y="234"/>
                    <a:pt x="298" y="229"/>
                    <a:pt x="279" y="229"/>
                  </a:cubicBezTo>
                  <a:cubicBezTo>
                    <a:pt x="259" y="229"/>
                    <a:pt x="250" y="234"/>
                    <a:pt x="250" y="244"/>
                  </a:cubicBezTo>
                  <a:cubicBezTo>
                    <a:pt x="250" y="378"/>
                    <a:pt x="250" y="378"/>
                    <a:pt x="250" y="378"/>
                  </a:cubicBezTo>
                  <a:cubicBezTo>
                    <a:pt x="250" y="399"/>
                    <a:pt x="241" y="408"/>
                    <a:pt x="199" y="408"/>
                  </a:cubicBezTo>
                  <a:cubicBezTo>
                    <a:pt x="114" y="408"/>
                    <a:pt x="61" y="342"/>
                    <a:pt x="61" y="231"/>
                  </a:cubicBezTo>
                  <a:cubicBezTo>
                    <a:pt x="61" y="115"/>
                    <a:pt x="126" y="49"/>
                    <a:pt x="238" y="49"/>
                  </a:cubicBezTo>
                  <a:cubicBezTo>
                    <a:pt x="270" y="49"/>
                    <a:pt x="270" y="49"/>
                    <a:pt x="270" y="49"/>
                  </a:cubicBezTo>
                  <a:cubicBezTo>
                    <a:pt x="282" y="49"/>
                    <a:pt x="286" y="39"/>
                    <a:pt x="286" y="23"/>
                  </a:cubicBezTo>
                  <a:cubicBezTo>
                    <a:pt x="286" y="4"/>
                    <a:pt x="275" y="0"/>
                    <a:pt x="244" y="0"/>
                  </a:cubicBezTo>
                  <a:cubicBezTo>
                    <a:pt x="231" y="0"/>
                    <a:pt x="231" y="0"/>
                    <a:pt x="231" y="0"/>
                  </a:cubicBezTo>
                  <a:cubicBezTo>
                    <a:pt x="101" y="0"/>
                    <a:pt x="0" y="71"/>
                    <a:pt x="0" y="232"/>
                  </a:cubicBezTo>
                  <a:cubicBezTo>
                    <a:pt x="0" y="386"/>
                    <a:pt x="88" y="455"/>
                    <a:pt x="198" y="455"/>
                  </a:cubicBezTo>
                  <a:cubicBezTo>
                    <a:pt x="286" y="455"/>
                    <a:pt x="307" y="430"/>
                    <a:pt x="307" y="40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18" name="Oval 8">
              <a:extLst>
                <a:ext uri="{FF2B5EF4-FFF2-40B4-BE49-F238E27FC236}">
                  <a16:creationId xmlns:a16="http://schemas.microsoft.com/office/drawing/2014/main" id="{60D97C11-1A3B-5449-A48D-98A3E79B3810}"/>
                </a:ext>
              </a:extLst>
            </p:cNvPr>
            <p:cNvSpPr>
              <a:spLocks noChangeArrowheads="1"/>
            </p:cNvSpPr>
            <p:nvPr/>
          </p:nvSpPr>
          <p:spPr bwMode="gray">
            <a:xfrm>
              <a:off x="3778" y="2099"/>
              <a:ext cx="122" cy="12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19" name="Freeform 9">
              <a:extLst>
                <a:ext uri="{FF2B5EF4-FFF2-40B4-BE49-F238E27FC236}">
                  <a16:creationId xmlns:a16="http://schemas.microsoft.com/office/drawing/2014/main" id="{5856770D-B8F0-244E-A05D-AED190086F10}"/>
                </a:ext>
              </a:extLst>
            </p:cNvPr>
            <p:cNvSpPr>
              <a:spLocks noEditPoints="1"/>
            </p:cNvSpPr>
            <p:nvPr/>
          </p:nvSpPr>
          <p:spPr bwMode="gray">
            <a:xfrm>
              <a:off x="3623" y="1696"/>
              <a:ext cx="1167" cy="922"/>
            </a:xfrm>
            <a:custGeom>
              <a:avLst/>
              <a:gdLst>
                <a:gd name="T0" fmla="*/ 411 w 580"/>
                <a:gd name="T1" fmla="*/ 213 h 458"/>
                <a:gd name="T2" fmla="*/ 570 w 580"/>
                <a:gd name="T3" fmla="*/ 37 h 458"/>
                <a:gd name="T4" fmla="*/ 580 w 580"/>
                <a:gd name="T5" fmla="*/ 20 h 458"/>
                <a:gd name="T6" fmla="*/ 545 w 580"/>
                <a:gd name="T7" fmla="*/ 0 h 458"/>
                <a:gd name="T8" fmla="*/ 519 w 580"/>
                <a:gd name="T9" fmla="*/ 16 h 458"/>
                <a:gd name="T10" fmla="*/ 344 w 580"/>
                <a:gd name="T11" fmla="*/ 210 h 458"/>
                <a:gd name="T12" fmla="*/ 334 w 580"/>
                <a:gd name="T13" fmla="*/ 229 h 458"/>
                <a:gd name="T14" fmla="*/ 344 w 580"/>
                <a:gd name="T15" fmla="*/ 248 h 458"/>
                <a:gd name="T16" fmla="*/ 519 w 580"/>
                <a:gd name="T17" fmla="*/ 442 h 458"/>
                <a:gd name="T18" fmla="*/ 545 w 580"/>
                <a:gd name="T19" fmla="*/ 458 h 458"/>
                <a:gd name="T20" fmla="*/ 580 w 580"/>
                <a:gd name="T21" fmla="*/ 438 h 458"/>
                <a:gd name="T22" fmla="*/ 570 w 580"/>
                <a:gd name="T23" fmla="*/ 421 h 458"/>
                <a:gd name="T24" fmla="*/ 411 w 580"/>
                <a:gd name="T25" fmla="*/ 245 h 458"/>
                <a:gd name="T26" fmla="*/ 399 w 580"/>
                <a:gd name="T27" fmla="*/ 229 h 458"/>
                <a:gd name="T28" fmla="*/ 411 w 580"/>
                <a:gd name="T29" fmla="*/ 213 h 458"/>
                <a:gd name="T30" fmla="*/ 252 w 580"/>
                <a:gd name="T31" fmla="*/ 439 h 458"/>
                <a:gd name="T32" fmla="*/ 281 w 580"/>
                <a:gd name="T33" fmla="*/ 454 h 458"/>
                <a:gd name="T34" fmla="*/ 309 w 580"/>
                <a:gd name="T35" fmla="*/ 439 h 458"/>
                <a:gd name="T36" fmla="*/ 309 w 580"/>
                <a:gd name="T37" fmla="*/ 19 h 458"/>
                <a:gd name="T38" fmla="*/ 281 w 580"/>
                <a:gd name="T39" fmla="*/ 4 h 458"/>
                <a:gd name="T40" fmla="*/ 252 w 580"/>
                <a:gd name="T41" fmla="*/ 19 h 458"/>
                <a:gd name="T42" fmla="*/ 252 w 580"/>
                <a:gd name="T43" fmla="*/ 439 h 458"/>
                <a:gd name="T44" fmla="*/ 0 w 580"/>
                <a:gd name="T45" fmla="*/ 439 h 458"/>
                <a:gd name="T46" fmla="*/ 28 w 580"/>
                <a:gd name="T47" fmla="*/ 454 h 458"/>
                <a:gd name="T48" fmla="*/ 56 w 580"/>
                <a:gd name="T49" fmla="*/ 439 h 458"/>
                <a:gd name="T50" fmla="*/ 56 w 580"/>
                <a:gd name="T51" fmla="*/ 157 h 458"/>
                <a:gd name="T52" fmla="*/ 165 w 580"/>
                <a:gd name="T53" fmla="*/ 53 h 458"/>
                <a:gd name="T54" fmla="*/ 180 w 580"/>
                <a:gd name="T55" fmla="*/ 53 h 458"/>
                <a:gd name="T56" fmla="*/ 196 w 580"/>
                <a:gd name="T57" fmla="*/ 27 h 458"/>
                <a:gd name="T58" fmla="*/ 154 w 580"/>
                <a:gd name="T59" fmla="*/ 4 h 458"/>
                <a:gd name="T60" fmla="*/ 0 w 580"/>
                <a:gd name="T61" fmla="*/ 152 h 458"/>
                <a:gd name="T62" fmla="*/ 0 w 580"/>
                <a:gd name="T63" fmla="*/ 439 h 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80" h="458">
                  <a:moveTo>
                    <a:pt x="411" y="213"/>
                  </a:moveTo>
                  <a:cubicBezTo>
                    <a:pt x="570" y="37"/>
                    <a:pt x="570" y="37"/>
                    <a:pt x="570" y="37"/>
                  </a:cubicBezTo>
                  <a:cubicBezTo>
                    <a:pt x="576" y="30"/>
                    <a:pt x="580" y="25"/>
                    <a:pt x="580" y="20"/>
                  </a:cubicBezTo>
                  <a:cubicBezTo>
                    <a:pt x="580" y="10"/>
                    <a:pt x="559" y="0"/>
                    <a:pt x="545" y="0"/>
                  </a:cubicBezTo>
                  <a:cubicBezTo>
                    <a:pt x="535" y="0"/>
                    <a:pt x="526" y="8"/>
                    <a:pt x="519" y="16"/>
                  </a:cubicBezTo>
                  <a:cubicBezTo>
                    <a:pt x="344" y="210"/>
                    <a:pt x="344" y="210"/>
                    <a:pt x="344" y="210"/>
                  </a:cubicBezTo>
                  <a:cubicBezTo>
                    <a:pt x="336" y="219"/>
                    <a:pt x="334" y="224"/>
                    <a:pt x="334" y="229"/>
                  </a:cubicBezTo>
                  <a:cubicBezTo>
                    <a:pt x="334" y="234"/>
                    <a:pt x="336" y="239"/>
                    <a:pt x="344" y="248"/>
                  </a:cubicBezTo>
                  <a:cubicBezTo>
                    <a:pt x="519" y="442"/>
                    <a:pt x="519" y="442"/>
                    <a:pt x="519" y="442"/>
                  </a:cubicBezTo>
                  <a:cubicBezTo>
                    <a:pt x="526" y="450"/>
                    <a:pt x="535" y="458"/>
                    <a:pt x="545" y="458"/>
                  </a:cubicBezTo>
                  <a:cubicBezTo>
                    <a:pt x="559" y="458"/>
                    <a:pt x="580" y="448"/>
                    <a:pt x="580" y="438"/>
                  </a:cubicBezTo>
                  <a:cubicBezTo>
                    <a:pt x="580" y="433"/>
                    <a:pt x="576" y="428"/>
                    <a:pt x="570" y="421"/>
                  </a:cubicBezTo>
                  <a:cubicBezTo>
                    <a:pt x="411" y="245"/>
                    <a:pt x="411" y="245"/>
                    <a:pt x="411" y="245"/>
                  </a:cubicBezTo>
                  <a:cubicBezTo>
                    <a:pt x="403" y="236"/>
                    <a:pt x="399" y="232"/>
                    <a:pt x="399" y="229"/>
                  </a:cubicBezTo>
                  <a:cubicBezTo>
                    <a:pt x="399" y="226"/>
                    <a:pt x="403" y="222"/>
                    <a:pt x="411" y="213"/>
                  </a:cubicBezTo>
                  <a:moveTo>
                    <a:pt x="252" y="439"/>
                  </a:moveTo>
                  <a:cubicBezTo>
                    <a:pt x="252" y="449"/>
                    <a:pt x="261" y="454"/>
                    <a:pt x="281" y="454"/>
                  </a:cubicBezTo>
                  <a:cubicBezTo>
                    <a:pt x="300" y="454"/>
                    <a:pt x="309" y="449"/>
                    <a:pt x="309" y="439"/>
                  </a:cubicBezTo>
                  <a:cubicBezTo>
                    <a:pt x="309" y="19"/>
                    <a:pt x="309" y="19"/>
                    <a:pt x="309" y="19"/>
                  </a:cubicBezTo>
                  <a:cubicBezTo>
                    <a:pt x="309" y="9"/>
                    <a:pt x="300" y="4"/>
                    <a:pt x="281" y="4"/>
                  </a:cubicBezTo>
                  <a:cubicBezTo>
                    <a:pt x="261" y="4"/>
                    <a:pt x="252" y="9"/>
                    <a:pt x="252" y="19"/>
                  </a:cubicBezTo>
                  <a:lnTo>
                    <a:pt x="252" y="439"/>
                  </a:lnTo>
                  <a:close/>
                  <a:moveTo>
                    <a:pt x="0" y="439"/>
                  </a:moveTo>
                  <a:cubicBezTo>
                    <a:pt x="0" y="449"/>
                    <a:pt x="8" y="454"/>
                    <a:pt x="28" y="454"/>
                  </a:cubicBezTo>
                  <a:cubicBezTo>
                    <a:pt x="48" y="454"/>
                    <a:pt x="56" y="449"/>
                    <a:pt x="56" y="439"/>
                  </a:cubicBezTo>
                  <a:cubicBezTo>
                    <a:pt x="56" y="157"/>
                    <a:pt x="56" y="157"/>
                    <a:pt x="56" y="157"/>
                  </a:cubicBezTo>
                  <a:cubicBezTo>
                    <a:pt x="56" y="83"/>
                    <a:pt x="85" y="53"/>
                    <a:pt x="165" y="53"/>
                  </a:cubicBezTo>
                  <a:cubicBezTo>
                    <a:pt x="180" y="53"/>
                    <a:pt x="180" y="53"/>
                    <a:pt x="180" y="53"/>
                  </a:cubicBezTo>
                  <a:cubicBezTo>
                    <a:pt x="192" y="53"/>
                    <a:pt x="196" y="43"/>
                    <a:pt x="196" y="27"/>
                  </a:cubicBezTo>
                  <a:cubicBezTo>
                    <a:pt x="196" y="8"/>
                    <a:pt x="185" y="4"/>
                    <a:pt x="154" y="4"/>
                  </a:cubicBezTo>
                  <a:cubicBezTo>
                    <a:pt x="64" y="4"/>
                    <a:pt x="0" y="43"/>
                    <a:pt x="0" y="152"/>
                  </a:cubicBezTo>
                  <a:lnTo>
                    <a:pt x="0" y="43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22" name="Freeform 10">
              <a:extLst>
                <a:ext uri="{FF2B5EF4-FFF2-40B4-BE49-F238E27FC236}">
                  <a16:creationId xmlns:a16="http://schemas.microsoft.com/office/drawing/2014/main" id="{2B91B16B-BC11-E547-8FAC-B9B8D18EA449}"/>
                </a:ext>
              </a:extLst>
            </p:cNvPr>
            <p:cNvSpPr>
              <a:spLocks/>
            </p:cNvSpPr>
            <p:nvPr/>
          </p:nvSpPr>
          <p:spPr bwMode="gray">
            <a:xfrm>
              <a:off x="2880" y="1704"/>
              <a:ext cx="618" cy="916"/>
            </a:xfrm>
            <a:custGeom>
              <a:avLst/>
              <a:gdLst>
                <a:gd name="T0" fmla="*/ 307 w 307"/>
                <a:gd name="T1" fmla="*/ 405 h 455"/>
                <a:gd name="T2" fmla="*/ 307 w 307"/>
                <a:gd name="T3" fmla="*/ 244 h 455"/>
                <a:gd name="T4" fmla="*/ 279 w 307"/>
                <a:gd name="T5" fmla="*/ 229 h 455"/>
                <a:gd name="T6" fmla="*/ 250 w 307"/>
                <a:gd name="T7" fmla="*/ 244 h 455"/>
                <a:gd name="T8" fmla="*/ 250 w 307"/>
                <a:gd name="T9" fmla="*/ 378 h 455"/>
                <a:gd name="T10" fmla="*/ 199 w 307"/>
                <a:gd name="T11" fmla="*/ 408 h 455"/>
                <a:gd name="T12" fmla="*/ 61 w 307"/>
                <a:gd name="T13" fmla="*/ 231 h 455"/>
                <a:gd name="T14" fmla="*/ 238 w 307"/>
                <a:gd name="T15" fmla="*/ 49 h 455"/>
                <a:gd name="T16" fmla="*/ 270 w 307"/>
                <a:gd name="T17" fmla="*/ 49 h 455"/>
                <a:gd name="T18" fmla="*/ 286 w 307"/>
                <a:gd name="T19" fmla="*/ 23 h 455"/>
                <a:gd name="T20" fmla="*/ 244 w 307"/>
                <a:gd name="T21" fmla="*/ 0 h 455"/>
                <a:gd name="T22" fmla="*/ 231 w 307"/>
                <a:gd name="T23" fmla="*/ 0 h 455"/>
                <a:gd name="T24" fmla="*/ 0 w 307"/>
                <a:gd name="T25" fmla="*/ 232 h 455"/>
                <a:gd name="T26" fmla="*/ 198 w 307"/>
                <a:gd name="T27" fmla="*/ 455 h 455"/>
                <a:gd name="T28" fmla="*/ 307 w 307"/>
                <a:gd name="T29" fmla="*/ 405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7" h="455">
                  <a:moveTo>
                    <a:pt x="307" y="405"/>
                  </a:moveTo>
                  <a:cubicBezTo>
                    <a:pt x="307" y="244"/>
                    <a:pt x="307" y="244"/>
                    <a:pt x="307" y="244"/>
                  </a:cubicBezTo>
                  <a:cubicBezTo>
                    <a:pt x="307" y="234"/>
                    <a:pt x="298" y="229"/>
                    <a:pt x="279" y="229"/>
                  </a:cubicBezTo>
                  <a:cubicBezTo>
                    <a:pt x="259" y="229"/>
                    <a:pt x="250" y="234"/>
                    <a:pt x="250" y="244"/>
                  </a:cubicBezTo>
                  <a:cubicBezTo>
                    <a:pt x="250" y="378"/>
                    <a:pt x="250" y="378"/>
                    <a:pt x="250" y="378"/>
                  </a:cubicBezTo>
                  <a:cubicBezTo>
                    <a:pt x="250" y="399"/>
                    <a:pt x="241" y="408"/>
                    <a:pt x="199" y="408"/>
                  </a:cubicBezTo>
                  <a:cubicBezTo>
                    <a:pt x="114" y="408"/>
                    <a:pt x="61" y="342"/>
                    <a:pt x="61" y="231"/>
                  </a:cubicBezTo>
                  <a:cubicBezTo>
                    <a:pt x="61" y="115"/>
                    <a:pt x="126" y="49"/>
                    <a:pt x="238" y="49"/>
                  </a:cubicBezTo>
                  <a:cubicBezTo>
                    <a:pt x="270" y="49"/>
                    <a:pt x="270" y="49"/>
                    <a:pt x="270" y="49"/>
                  </a:cubicBezTo>
                  <a:cubicBezTo>
                    <a:pt x="282" y="49"/>
                    <a:pt x="286" y="39"/>
                    <a:pt x="286" y="23"/>
                  </a:cubicBezTo>
                  <a:cubicBezTo>
                    <a:pt x="286" y="4"/>
                    <a:pt x="275" y="0"/>
                    <a:pt x="244" y="0"/>
                  </a:cubicBezTo>
                  <a:cubicBezTo>
                    <a:pt x="231" y="0"/>
                    <a:pt x="231" y="0"/>
                    <a:pt x="231" y="0"/>
                  </a:cubicBezTo>
                  <a:cubicBezTo>
                    <a:pt x="101" y="0"/>
                    <a:pt x="0" y="71"/>
                    <a:pt x="0" y="232"/>
                  </a:cubicBezTo>
                  <a:cubicBezTo>
                    <a:pt x="0" y="386"/>
                    <a:pt x="88" y="455"/>
                    <a:pt x="198" y="455"/>
                  </a:cubicBezTo>
                  <a:cubicBezTo>
                    <a:pt x="286" y="455"/>
                    <a:pt x="307" y="430"/>
                    <a:pt x="307" y="40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23" name="Oval 11">
              <a:extLst>
                <a:ext uri="{FF2B5EF4-FFF2-40B4-BE49-F238E27FC236}">
                  <a16:creationId xmlns:a16="http://schemas.microsoft.com/office/drawing/2014/main" id="{14F8C3C8-4888-7646-B9B4-64EB46A1DA23}"/>
                </a:ext>
              </a:extLst>
            </p:cNvPr>
            <p:cNvSpPr>
              <a:spLocks noChangeArrowheads="1"/>
            </p:cNvSpPr>
            <p:nvPr/>
          </p:nvSpPr>
          <p:spPr bwMode="gray">
            <a:xfrm>
              <a:off x="3778" y="2099"/>
              <a:ext cx="122" cy="12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24" name="Freeform 12">
              <a:extLst>
                <a:ext uri="{FF2B5EF4-FFF2-40B4-BE49-F238E27FC236}">
                  <a16:creationId xmlns:a16="http://schemas.microsoft.com/office/drawing/2014/main" id="{D79D01D1-4E3E-F34B-97D7-2D387E68746E}"/>
                </a:ext>
              </a:extLst>
            </p:cNvPr>
            <p:cNvSpPr>
              <a:spLocks/>
            </p:cNvSpPr>
            <p:nvPr/>
          </p:nvSpPr>
          <p:spPr bwMode="gray">
            <a:xfrm>
              <a:off x="4321" y="1029"/>
              <a:ext cx="648" cy="649"/>
            </a:xfrm>
            <a:custGeom>
              <a:avLst/>
              <a:gdLst>
                <a:gd name="T0" fmla="*/ 0 w 648"/>
                <a:gd name="T1" fmla="*/ 649 h 649"/>
                <a:gd name="T2" fmla="*/ 2 w 648"/>
                <a:gd name="T3" fmla="*/ 649 h 649"/>
                <a:gd name="T4" fmla="*/ 648 w 648"/>
                <a:gd name="T5" fmla="*/ 0 h 649"/>
                <a:gd name="T6" fmla="*/ 423 w 648"/>
                <a:gd name="T7" fmla="*/ 0 h 649"/>
                <a:gd name="T8" fmla="*/ 0 w 648"/>
                <a:gd name="T9" fmla="*/ 649 h 649"/>
              </a:gdLst>
              <a:ahLst/>
              <a:cxnLst>
                <a:cxn ang="0">
                  <a:pos x="T0" y="T1"/>
                </a:cxn>
                <a:cxn ang="0">
                  <a:pos x="T2" y="T3"/>
                </a:cxn>
                <a:cxn ang="0">
                  <a:pos x="T4" y="T5"/>
                </a:cxn>
                <a:cxn ang="0">
                  <a:pos x="T6" y="T7"/>
                </a:cxn>
                <a:cxn ang="0">
                  <a:pos x="T8" y="T9"/>
                </a:cxn>
              </a:cxnLst>
              <a:rect l="0" t="0" r="r" b="b"/>
              <a:pathLst>
                <a:path w="648" h="649">
                  <a:moveTo>
                    <a:pt x="0" y="649"/>
                  </a:moveTo>
                  <a:lnTo>
                    <a:pt x="2" y="649"/>
                  </a:lnTo>
                  <a:lnTo>
                    <a:pt x="648" y="0"/>
                  </a:lnTo>
                  <a:lnTo>
                    <a:pt x="423" y="0"/>
                  </a:lnTo>
                  <a:lnTo>
                    <a:pt x="0" y="64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26" name="Freeform 13">
              <a:extLst>
                <a:ext uri="{FF2B5EF4-FFF2-40B4-BE49-F238E27FC236}">
                  <a16:creationId xmlns:a16="http://schemas.microsoft.com/office/drawing/2014/main" id="{46549898-6C52-B147-A8F6-A73FDBE6163B}"/>
                </a:ext>
              </a:extLst>
            </p:cNvPr>
            <p:cNvSpPr>
              <a:spLocks/>
            </p:cNvSpPr>
            <p:nvPr/>
          </p:nvSpPr>
          <p:spPr bwMode="gray">
            <a:xfrm>
              <a:off x="4321" y="1029"/>
              <a:ext cx="648" cy="649"/>
            </a:xfrm>
            <a:custGeom>
              <a:avLst/>
              <a:gdLst>
                <a:gd name="T0" fmla="*/ 0 w 648"/>
                <a:gd name="T1" fmla="*/ 649 h 649"/>
                <a:gd name="T2" fmla="*/ 2 w 648"/>
                <a:gd name="T3" fmla="*/ 649 h 649"/>
                <a:gd name="T4" fmla="*/ 648 w 648"/>
                <a:gd name="T5" fmla="*/ 0 h 649"/>
                <a:gd name="T6" fmla="*/ 423 w 648"/>
                <a:gd name="T7" fmla="*/ 0 h 649"/>
                <a:gd name="T8" fmla="*/ 0 w 648"/>
                <a:gd name="T9" fmla="*/ 649 h 649"/>
              </a:gdLst>
              <a:ahLst/>
              <a:cxnLst>
                <a:cxn ang="0">
                  <a:pos x="T0" y="T1"/>
                </a:cxn>
                <a:cxn ang="0">
                  <a:pos x="T2" y="T3"/>
                </a:cxn>
                <a:cxn ang="0">
                  <a:pos x="T4" y="T5"/>
                </a:cxn>
                <a:cxn ang="0">
                  <a:pos x="T6" y="T7"/>
                </a:cxn>
                <a:cxn ang="0">
                  <a:pos x="T8" y="T9"/>
                </a:cxn>
              </a:cxnLst>
              <a:rect l="0" t="0" r="r" b="b"/>
              <a:pathLst>
                <a:path w="648" h="649">
                  <a:moveTo>
                    <a:pt x="0" y="649"/>
                  </a:moveTo>
                  <a:lnTo>
                    <a:pt x="2" y="649"/>
                  </a:lnTo>
                  <a:lnTo>
                    <a:pt x="648" y="0"/>
                  </a:lnTo>
                  <a:lnTo>
                    <a:pt x="423" y="0"/>
                  </a:lnTo>
                  <a:lnTo>
                    <a:pt x="0" y="64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grpSp>
      <p:sp>
        <p:nvSpPr>
          <p:cNvPr id="20" name="shp1">
            <a:extLst>
              <a:ext uri="{FF2B5EF4-FFF2-40B4-BE49-F238E27FC236}">
                <a16:creationId xmlns:a16="http://schemas.microsoft.com/office/drawing/2014/main" id="{1AD9883E-0B1C-504A-A979-9C5803172360}"/>
              </a:ext>
            </a:extLst>
          </p:cNvPr>
          <p:cNvSpPr/>
          <p:nvPr/>
        </p:nvSpPr>
        <p:spPr>
          <a:xfrm>
            <a:off x="192088" y="1"/>
            <a:ext cx="215900" cy="144938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de-DE" sz="1351"/>
          </a:p>
        </p:txBody>
      </p:sp>
      <p:sp>
        <p:nvSpPr>
          <p:cNvPr id="7" name="copyright"/>
          <p:cNvSpPr txBox="1"/>
          <p:nvPr/>
        </p:nvSpPr>
        <p:spPr>
          <a:xfrm>
            <a:off x="10672209" y="6461671"/>
            <a:ext cx="500617" cy="133790"/>
          </a:xfrm>
          <a:prstGeom prst="rect">
            <a:avLst/>
          </a:prstGeom>
          <a:noFill/>
        </p:spPr>
        <p:txBody>
          <a:bodyPr wrap="none" lIns="0" tIns="0" rIns="0" bIns="0" rtlCol="0" anchor="b" anchorCtr="0">
            <a:noAutofit/>
          </a:bodyPr>
          <a:lstStyle/>
          <a:p>
            <a:pPr marL="0" indent="0" algn="r">
              <a:lnSpc>
                <a:spcPct val="125000"/>
              </a:lnSpc>
              <a:buClr>
                <a:schemeClr val="tx2"/>
              </a:buClr>
              <a:buFont typeface="Wingdings" panose="05000000000000000000" pitchFamily="2" charset="2"/>
              <a:buNone/>
            </a:pPr>
            <a:r>
              <a:rPr lang="en-US" sz="800"/>
              <a:t>© GfK</a:t>
            </a:r>
          </a:p>
        </p:txBody>
      </p:sp>
      <p:sp>
        <p:nvSpPr>
          <p:cNvPr id="28" name="Date Placeholder 27"/>
          <p:cNvSpPr>
            <a:spLocks noGrp="1"/>
          </p:cNvSpPr>
          <p:nvPr>
            <p:ph type="dt" sz="half" idx="2"/>
          </p:nvPr>
        </p:nvSpPr>
        <p:spPr>
          <a:xfrm>
            <a:off x="192088" y="6461671"/>
            <a:ext cx="761512" cy="133790"/>
          </a:xfrm>
          <a:prstGeom prst="rect">
            <a:avLst/>
          </a:prstGeom>
        </p:spPr>
        <p:txBody>
          <a:bodyPr vert="horz" wrap="none" lIns="0" tIns="0" rIns="0" bIns="0" rtlCol="0" anchor="b" anchorCtr="0"/>
          <a:lstStyle>
            <a:lvl1pPr algn="r">
              <a:defRPr sz="800">
                <a:solidFill>
                  <a:schemeClr val="tx1"/>
                </a:solidFill>
              </a:defRPr>
            </a:lvl1pPr>
          </a:lstStyle>
          <a:p>
            <a:endParaRPr lang="en-US"/>
          </a:p>
        </p:txBody>
      </p:sp>
      <p:sp>
        <p:nvSpPr>
          <p:cNvPr id="29" name="Footer Placeholder 28"/>
          <p:cNvSpPr>
            <a:spLocks noGrp="1"/>
          </p:cNvSpPr>
          <p:nvPr>
            <p:ph type="ftr" sz="quarter" idx="3"/>
          </p:nvPr>
        </p:nvSpPr>
        <p:spPr>
          <a:xfrm>
            <a:off x="1076400" y="6461671"/>
            <a:ext cx="8162717" cy="133790"/>
          </a:xfrm>
          <a:prstGeom prst="rect">
            <a:avLst/>
          </a:prstGeom>
        </p:spPr>
        <p:txBody>
          <a:bodyPr vert="horz" lIns="0" tIns="0" rIns="0" bIns="0" rtlCol="0" anchor="b" anchorCtr="0"/>
          <a:lstStyle>
            <a:lvl1pPr marL="144000" indent="-144000" algn="l">
              <a:buClr>
                <a:schemeClr val="tx2"/>
              </a:buClr>
              <a:buFont typeface="Wingdings" panose="05000000000000000000" pitchFamily="2" charset="2"/>
              <a:buChar char="§"/>
              <a:defRPr sz="800">
                <a:solidFill>
                  <a:schemeClr val="tx1"/>
                </a:solidFill>
              </a:defRPr>
            </a:lvl1pPr>
          </a:lstStyle>
          <a:p>
            <a:endParaRPr lang="en-US"/>
          </a:p>
        </p:txBody>
      </p:sp>
      <p:sp>
        <p:nvSpPr>
          <p:cNvPr id="30" name="Slide Number Placeholder 29"/>
          <p:cNvSpPr>
            <a:spLocks noGrp="1"/>
          </p:cNvSpPr>
          <p:nvPr>
            <p:ph type="sldNum" sz="quarter" idx="4"/>
          </p:nvPr>
        </p:nvSpPr>
        <p:spPr>
          <a:xfrm>
            <a:off x="11186669" y="6461671"/>
            <a:ext cx="648000" cy="133790"/>
          </a:xfrm>
          <a:prstGeom prst="rect">
            <a:avLst/>
          </a:prstGeom>
        </p:spPr>
        <p:txBody>
          <a:bodyPr vert="horz" lIns="0" tIns="0" rIns="0" bIns="0" rtlCol="0" anchor="b" anchorCtr="0"/>
          <a:lstStyle>
            <a:lvl1pPr algn="r">
              <a:defRPr sz="800">
                <a:solidFill>
                  <a:schemeClr val="tx1"/>
                </a:solidFill>
              </a:defRPr>
            </a:lvl1pPr>
          </a:lstStyle>
          <a:p>
            <a:fld id="{5F3E29E4-0979-4FCA-B4C5-5FC6044C982A}" type="slidenum">
              <a:rPr lang="en-US" smtClean="0"/>
              <a:pPr/>
              <a:t>‹#›</a:t>
            </a:fld>
            <a:endParaRPr lang="en-US"/>
          </a:p>
        </p:txBody>
      </p:sp>
      <p:sp>
        <p:nvSpPr>
          <p:cNvPr id="2" name="Title Placeholder 1"/>
          <p:cNvSpPr>
            <a:spLocks noGrp="1"/>
          </p:cNvSpPr>
          <p:nvPr>
            <p:ph type="title"/>
          </p:nvPr>
        </p:nvSpPr>
        <p:spPr>
          <a:xfrm>
            <a:off x="1075061" y="288922"/>
            <a:ext cx="7910158" cy="648000"/>
          </a:xfrm>
          <a:prstGeom prst="rect">
            <a:avLst/>
          </a:prstGeom>
        </p:spPr>
        <p:txBody>
          <a:bodyPr vert="horz" lIns="0" tIns="0" rIns="0" bIns="0" rtlCol="0" anchor="t">
            <a:noAutofit/>
          </a:bodyPr>
          <a:lstStyle/>
          <a:p>
            <a:r>
              <a:rPr lang="en-US"/>
              <a:t>Click to edit Master title style</a:t>
            </a:r>
          </a:p>
        </p:txBody>
      </p:sp>
      <p:sp>
        <p:nvSpPr>
          <p:cNvPr id="3" name="Text Placeholder 2"/>
          <p:cNvSpPr>
            <a:spLocks noGrp="1"/>
          </p:cNvSpPr>
          <p:nvPr>
            <p:ph type="body" idx="1"/>
          </p:nvPr>
        </p:nvSpPr>
        <p:spPr>
          <a:xfrm>
            <a:off x="1075062" y="1629618"/>
            <a:ext cx="10097764" cy="4139357"/>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06679479"/>
      </p:ext>
    </p:extLst>
  </p:cSld>
  <p:clrMap bg1="lt1" tx1="dk1" bg2="lt2" tx2="dk2" accent1="accent1" accent2="accent2" accent3="accent3" accent4="accent4" accent5="accent5" accent6="accent6" hlink="hlink" folHlink="folHlink"/>
  <p:sldLayoutIdLst>
    <p:sldLayoutId id="2147484825" r:id="rId1"/>
    <p:sldLayoutId id="2147484826" r:id="rId2"/>
    <p:sldLayoutId id="2147484827" r:id="rId3"/>
    <p:sldLayoutId id="2147484828" r:id="rId4"/>
    <p:sldLayoutId id="2147484829" r:id="rId5"/>
    <p:sldLayoutId id="2147484830" r:id="rId6"/>
    <p:sldLayoutId id="2147484831" r:id="rId7"/>
    <p:sldLayoutId id="2147484832" r:id="rId8"/>
    <p:sldLayoutId id="2147484833" r:id="rId9"/>
    <p:sldLayoutId id="2147484834" r:id="rId10"/>
    <p:sldLayoutId id="2147484835" r:id="rId11"/>
    <p:sldLayoutId id="2147484836" r:id="rId12"/>
    <p:sldLayoutId id="2147484837" r:id="rId13"/>
    <p:sldLayoutId id="2147484838" r:id="rId14"/>
    <p:sldLayoutId id="2147484839" r:id="rId15"/>
    <p:sldLayoutId id="2147484840" r:id="rId16"/>
    <p:sldLayoutId id="2147484841" r:id="rId17"/>
    <p:sldLayoutId id="2147484842" r:id="rId18"/>
    <p:sldLayoutId id="2147484843" r:id="rId19"/>
    <p:sldLayoutId id="2147484844" r:id="rId20"/>
    <p:sldLayoutId id="2147484845" r:id="rId21"/>
    <p:sldLayoutId id="2147484846" r:id="rId22"/>
    <p:sldLayoutId id="2147484847" r:id="rId23"/>
    <p:sldLayoutId id="2147484848" r:id="rId24"/>
    <p:sldLayoutId id="2147484849" r:id="rId25"/>
    <p:sldLayoutId id="2147484850" r:id="rId26"/>
    <p:sldLayoutId id="2147484851" r:id="rId27"/>
    <p:sldLayoutId id="2147484852" r:id="rId28"/>
  </p:sldLayoutIdLst>
  <p:hf hdr="0" ftr="0" dt="0"/>
  <p:txStyles>
    <p:titleStyle>
      <a:lvl1pPr algn="l" defTabSz="914400" rtl="0" eaLnBrk="1" latinLnBrk="0" hangingPunct="1">
        <a:lnSpc>
          <a:spcPct val="100000"/>
        </a:lnSpc>
        <a:spcBef>
          <a:spcPct val="0"/>
        </a:spcBef>
        <a:buNone/>
        <a:defRPr sz="3600" kern="1200">
          <a:solidFill>
            <a:schemeClr val="tx1"/>
          </a:solidFill>
          <a:latin typeface="+mj-lt"/>
          <a:ea typeface="+mj-ea"/>
          <a:cs typeface="+mj-cs"/>
        </a:defRPr>
      </a:lvl1pPr>
    </p:titleStyle>
    <p:bodyStyle>
      <a:lvl1pPr marL="252000" indent="-252000" algn="l" defTabSz="914400" rtl="0" eaLnBrk="1" latinLnBrk="0" hangingPunct="1">
        <a:lnSpc>
          <a:spcPct val="110000"/>
        </a:lnSpc>
        <a:spcBef>
          <a:spcPts val="1000"/>
        </a:spcBef>
        <a:buClr>
          <a:schemeClr val="tx2"/>
        </a:buClr>
        <a:buFont typeface="Wingdings" panose="05000000000000000000" pitchFamily="2" charset="2"/>
        <a:buChar char="§"/>
        <a:defRPr sz="2800" kern="1200">
          <a:solidFill>
            <a:schemeClr val="tx1"/>
          </a:solidFill>
          <a:latin typeface="+mn-lt"/>
          <a:ea typeface="+mn-ea"/>
          <a:cs typeface="+mn-cs"/>
        </a:defRPr>
      </a:lvl1pPr>
      <a:lvl2pPr marL="648000" indent="-252000" algn="l" defTabSz="914400" rtl="0" eaLnBrk="1" latinLnBrk="0" hangingPunct="1">
        <a:lnSpc>
          <a:spcPct val="110000"/>
        </a:lnSpc>
        <a:spcBef>
          <a:spcPts val="600"/>
        </a:spcBef>
        <a:buClr>
          <a:schemeClr val="tx2"/>
        </a:buClr>
        <a:buFont typeface="Wingdings" panose="05000000000000000000" pitchFamily="2" charset="2"/>
        <a:buChar char="§"/>
        <a:defRPr sz="2400" kern="1200">
          <a:solidFill>
            <a:schemeClr val="tx1"/>
          </a:solidFill>
          <a:latin typeface="+mn-lt"/>
          <a:ea typeface="+mn-ea"/>
          <a:cs typeface="+mn-cs"/>
        </a:defRPr>
      </a:lvl2pPr>
      <a:lvl3pPr marL="1080000" indent="-252000" algn="l" defTabSz="914400" rtl="0" eaLnBrk="1" latinLnBrk="0" hangingPunct="1">
        <a:lnSpc>
          <a:spcPct val="110000"/>
        </a:lnSpc>
        <a:spcBef>
          <a:spcPts val="600"/>
        </a:spcBef>
        <a:buClr>
          <a:schemeClr val="tx2"/>
        </a:buClr>
        <a:buFont typeface="Wingdings" panose="05000000000000000000" pitchFamily="2" charset="2"/>
        <a:buChar char="§"/>
        <a:defRPr sz="2000" kern="1200">
          <a:solidFill>
            <a:schemeClr val="tx1"/>
          </a:solidFill>
          <a:latin typeface="+mn-lt"/>
          <a:ea typeface="+mn-ea"/>
          <a:cs typeface="+mn-cs"/>
        </a:defRPr>
      </a:lvl3pPr>
      <a:lvl4pPr marL="0" indent="0" algn="l" defTabSz="914400" rtl="0" eaLnBrk="1" latinLnBrk="0" hangingPunct="1">
        <a:lnSpc>
          <a:spcPct val="110000"/>
        </a:lnSpc>
        <a:spcBef>
          <a:spcPts val="600"/>
        </a:spcBef>
        <a:buClr>
          <a:schemeClr val="tx2"/>
        </a:buClr>
        <a:buFont typeface="Lato" panose="020F0502020204030203" pitchFamily="34" charset="0"/>
        <a:buChar char="​"/>
        <a:defRPr sz="1600" kern="1200">
          <a:solidFill>
            <a:schemeClr val="tx1"/>
          </a:solidFill>
          <a:latin typeface="+mn-lt"/>
          <a:ea typeface="+mn-ea"/>
          <a:cs typeface="+mn-cs"/>
        </a:defRPr>
      </a:lvl4pPr>
      <a:lvl5pPr marL="252000" indent="-252000" algn="l" defTabSz="914400" rtl="0" eaLnBrk="1" latinLnBrk="0" hangingPunct="1">
        <a:lnSpc>
          <a:spcPct val="110000"/>
        </a:lnSpc>
        <a:spcBef>
          <a:spcPts val="600"/>
        </a:spcBef>
        <a:buClr>
          <a:schemeClr val="tx2"/>
        </a:buClr>
        <a:buFont typeface="Wingdings" panose="05000000000000000000" pitchFamily="2" charset="2"/>
        <a:buChar char="§"/>
        <a:defRPr sz="1600" kern="1200">
          <a:solidFill>
            <a:schemeClr val="tx1"/>
          </a:solidFill>
          <a:latin typeface="+mn-lt"/>
          <a:ea typeface="+mn-ea"/>
          <a:cs typeface="+mn-cs"/>
        </a:defRPr>
      </a:lvl5pPr>
      <a:lvl6pPr marL="648000" indent="-252000" algn="l" defTabSz="914400" rtl="0" eaLnBrk="1" latinLnBrk="0" hangingPunct="1">
        <a:lnSpc>
          <a:spcPct val="110000"/>
        </a:lnSpc>
        <a:spcBef>
          <a:spcPts val="600"/>
        </a:spcBef>
        <a:buClr>
          <a:schemeClr val="tx2"/>
        </a:buClr>
        <a:buFont typeface="Wingdings" panose="05000000000000000000" pitchFamily="2" charset="2"/>
        <a:buChar char="§"/>
        <a:defRPr sz="1600" kern="1200">
          <a:solidFill>
            <a:schemeClr val="tx1"/>
          </a:solidFill>
          <a:latin typeface="+mn-lt"/>
          <a:ea typeface="+mn-ea"/>
          <a:cs typeface="+mn-cs"/>
        </a:defRPr>
      </a:lvl6pPr>
      <a:lvl7pPr marL="1080000" indent="-252000" algn="l" defTabSz="914400" rtl="0" eaLnBrk="1" latinLnBrk="0" hangingPunct="1">
        <a:lnSpc>
          <a:spcPct val="110000"/>
        </a:lnSpc>
        <a:spcBef>
          <a:spcPts val="600"/>
        </a:spcBef>
        <a:buClr>
          <a:schemeClr val="tx2"/>
        </a:buClr>
        <a:buFont typeface="Wingdings" panose="05000000000000000000" pitchFamily="2" charset="2"/>
        <a:buChar char="§"/>
        <a:defRPr sz="1600" kern="1200">
          <a:solidFill>
            <a:schemeClr val="tx1"/>
          </a:solidFill>
          <a:latin typeface="+mn-lt"/>
          <a:ea typeface="+mn-ea"/>
          <a:cs typeface="+mn-cs"/>
        </a:defRPr>
      </a:lvl7pPr>
      <a:lvl8pPr marL="1512000" indent="-252000" algn="l" defTabSz="914400" rtl="0" eaLnBrk="1" latinLnBrk="0" hangingPunct="1">
        <a:lnSpc>
          <a:spcPct val="110000"/>
        </a:lnSpc>
        <a:spcBef>
          <a:spcPts val="600"/>
        </a:spcBef>
        <a:buClr>
          <a:schemeClr val="tx2"/>
        </a:buClr>
        <a:buFont typeface="Wingdings" panose="05000000000000000000" pitchFamily="2" charset="2"/>
        <a:buChar char="§"/>
        <a:defRPr sz="1600" kern="1200">
          <a:solidFill>
            <a:schemeClr val="tx1"/>
          </a:solidFill>
          <a:latin typeface="+mn-lt"/>
          <a:ea typeface="+mn-ea"/>
          <a:cs typeface="+mn-cs"/>
        </a:defRPr>
      </a:lvl8pPr>
      <a:lvl9pPr marL="1944000" indent="-252000" algn="l" defTabSz="914400" rtl="0" eaLnBrk="1" latinLnBrk="0" hangingPunct="1">
        <a:lnSpc>
          <a:spcPct val="110000"/>
        </a:lnSpc>
        <a:spcBef>
          <a:spcPts val="600"/>
        </a:spcBef>
        <a:buClr>
          <a:schemeClr val="tx2"/>
        </a:buClr>
        <a:buFont typeface="Wingdings" panose="05000000000000000000" pitchFamily="2" charset="2"/>
        <a:buChar char="§"/>
        <a:defRPr sz="16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319">
          <p15:clr>
            <a:srgbClr val="5ACBF0"/>
          </p15:clr>
        </p15:guide>
        <p15:guide id="3" pos="257">
          <p15:clr>
            <a:srgbClr val="5ACBF0"/>
          </p15:clr>
        </p15:guide>
        <p15:guide id="4" pos="675">
          <p15:clr>
            <a:srgbClr val="5ACBF0"/>
          </p15:clr>
        </p15:guide>
        <p15:guide id="5" pos="7038">
          <p15:clr>
            <a:srgbClr val="5ACBF0"/>
          </p15:clr>
        </p15:guide>
        <p15:guide id="6" pos="7446">
          <p15:clr>
            <a:srgbClr val="5ACBF0"/>
          </p15:clr>
        </p15:guide>
        <p15:guide id="7" orient="horz" pos="255">
          <p15:clr>
            <a:srgbClr val="5ACBF0"/>
          </p15:clr>
        </p15:guide>
        <p15:guide id="8" orient="horz" pos="663">
          <p15:clr>
            <a:srgbClr val="5ACBF0"/>
          </p15:clr>
        </p15:guide>
        <p15:guide id="9" orient="horz" pos="799">
          <p15:clr>
            <a:srgbClr val="5ACBF0"/>
          </p15:clr>
        </p15:guide>
        <p15:guide id="10" orient="horz" pos="1026">
          <p15:clr>
            <a:srgbClr val="5ACBF0"/>
          </p15:clr>
        </p15:guide>
        <p15:guide id="11" orient="horz" pos="3634">
          <p15:clr>
            <a:srgbClr val="5ACBF0"/>
          </p15:clr>
        </p15:guide>
        <p15:guide id="12" orient="horz" pos="3929">
          <p15:clr>
            <a:srgbClr val="5ACBF0"/>
          </p15:clr>
        </p15:guide>
        <p15:guide id="13" orient="horz" pos="4133">
          <p15:clr>
            <a:srgbClr val="5ACBF0"/>
          </p15:clr>
        </p15:guide>
      </p15:sldGuideLst>
    </p:ext>
  </p:extLst>
</p:sldMaster>
</file>

<file path=ppt/slideMasters/slideMaster1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5" name="Oggetto 4" hidden="1">
            <a:extLst>
              <a:ext uri="{FF2B5EF4-FFF2-40B4-BE49-F238E27FC236}">
                <a16:creationId xmlns:a16="http://schemas.microsoft.com/office/drawing/2014/main" id="{46B8B118-3F0A-4D36-A0C9-ADD9E9AE1B0C}"/>
              </a:ext>
            </a:extLst>
          </p:cNvPr>
          <p:cNvGraphicFramePr>
            <a:graphicFrameLocks noChangeAspect="1"/>
          </p:cNvGraphicFramePr>
          <p:nvPr userDrawn="1">
            <p:custDataLst>
              <p:tags r:id="rId31"/>
            </p:custDataLst>
            <p:extLst>
              <p:ext uri="{D42A27DB-BD31-4B8C-83A1-F6EECF244321}">
                <p14:modId xmlns:p14="http://schemas.microsoft.com/office/powerpoint/2010/main" val="34366236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6502" name="Diapositiva think-cell" r:id="rId33" imgW="395" imgH="396" progId="TCLayout.ActiveDocument.1">
                  <p:embed/>
                </p:oleObj>
              </mc:Choice>
              <mc:Fallback>
                <p:oleObj name="Diapositiva think-cell" r:id="rId33" imgW="395" imgH="396" progId="TCLayout.ActiveDocument.1">
                  <p:embed/>
                  <p:pic>
                    <p:nvPicPr>
                      <p:cNvPr id="5" name="Oggetto 4" hidden="1">
                        <a:extLst>
                          <a:ext uri="{FF2B5EF4-FFF2-40B4-BE49-F238E27FC236}">
                            <a16:creationId xmlns:a16="http://schemas.microsoft.com/office/drawing/2014/main" id="{46B8B118-3F0A-4D36-A0C9-ADD9E9AE1B0C}"/>
                          </a:ext>
                        </a:extLst>
                      </p:cNvPr>
                      <p:cNvPicPr/>
                      <p:nvPr/>
                    </p:nvPicPr>
                    <p:blipFill>
                      <a:blip r:embed="rId34"/>
                      <a:stretch>
                        <a:fillRect/>
                      </a:stretch>
                    </p:blipFill>
                    <p:spPr>
                      <a:xfrm>
                        <a:off x="1588" y="1588"/>
                        <a:ext cx="1588" cy="1588"/>
                      </a:xfrm>
                      <a:prstGeom prst="rect">
                        <a:avLst/>
                      </a:prstGeom>
                    </p:spPr>
                  </p:pic>
                </p:oleObj>
              </mc:Fallback>
            </mc:AlternateContent>
          </a:graphicData>
        </a:graphic>
      </p:graphicFrame>
      <p:sp>
        <p:nvSpPr>
          <p:cNvPr id="4" name="Rettangolo 3" hidden="1">
            <a:extLst>
              <a:ext uri="{FF2B5EF4-FFF2-40B4-BE49-F238E27FC236}">
                <a16:creationId xmlns:a16="http://schemas.microsoft.com/office/drawing/2014/main" id="{1D85021D-95EC-47DA-A015-36E53DD8035A}"/>
              </a:ext>
            </a:extLst>
          </p:cNvPr>
          <p:cNvSpPr/>
          <p:nvPr userDrawn="1">
            <p:custDataLst>
              <p:tags r:id="rId3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lnSpc>
                <a:spcPct val="125000"/>
              </a:lnSpc>
            </a:pPr>
            <a:endParaRPr lang="en-US" sz="3600" b="0" i="0" baseline="0">
              <a:latin typeface="Lato Light" panose="020F0502020204030203" pitchFamily="34" charset="0"/>
              <a:ea typeface="+mj-ea"/>
              <a:cs typeface="+mj-cs"/>
              <a:sym typeface="Lato Light" panose="020F0502020204030203" pitchFamily="34" charset="0"/>
            </a:endParaRPr>
          </a:p>
        </p:txBody>
      </p:sp>
      <p:grpSp>
        <p:nvGrpSpPr>
          <p:cNvPr id="13" name="logo">
            <a:extLst>
              <a:ext uri="{FF2B5EF4-FFF2-40B4-BE49-F238E27FC236}">
                <a16:creationId xmlns:a16="http://schemas.microsoft.com/office/drawing/2014/main" id="{57BD2C4C-DC67-B843-B26C-309622FC75F7}"/>
              </a:ext>
            </a:extLst>
          </p:cNvPr>
          <p:cNvGrpSpPr>
            <a:grpSpLocks noChangeAspect="1"/>
          </p:cNvGrpSpPr>
          <p:nvPr/>
        </p:nvGrpSpPr>
        <p:grpSpPr bwMode="gray">
          <a:xfrm>
            <a:off x="11174018" y="401441"/>
            <a:ext cx="644225" cy="646507"/>
            <a:chOff x="2711" y="1027"/>
            <a:chExt cx="2258" cy="2266"/>
          </a:xfrm>
        </p:grpSpPr>
        <p:sp>
          <p:nvSpPr>
            <p:cNvPr id="14" name="AutoShape 3">
              <a:extLst>
                <a:ext uri="{FF2B5EF4-FFF2-40B4-BE49-F238E27FC236}">
                  <a16:creationId xmlns:a16="http://schemas.microsoft.com/office/drawing/2014/main" id="{FE1DC41B-291E-574C-9F2C-874E70A40758}"/>
                </a:ext>
              </a:extLst>
            </p:cNvPr>
            <p:cNvSpPr>
              <a:spLocks noChangeAspect="1" noChangeArrowheads="1" noTextEdit="1"/>
            </p:cNvSpPr>
            <p:nvPr/>
          </p:nvSpPr>
          <p:spPr bwMode="gray">
            <a:xfrm>
              <a:off x="2711" y="1027"/>
              <a:ext cx="2258" cy="22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15" name="Freeform 5">
              <a:extLst>
                <a:ext uri="{FF2B5EF4-FFF2-40B4-BE49-F238E27FC236}">
                  <a16:creationId xmlns:a16="http://schemas.microsoft.com/office/drawing/2014/main" id="{D4B633C8-F761-C54B-9BD2-EB59D49A2DBC}"/>
                </a:ext>
              </a:extLst>
            </p:cNvPr>
            <p:cNvSpPr>
              <a:spLocks/>
            </p:cNvSpPr>
            <p:nvPr/>
          </p:nvSpPr>
          <p:spPr bwMode="gray">
            <a:xfrm>
              <a:off x="2709" y="1029"/>
              <a:ext cx="2260" cy="2262"/>
            </a:xfrm>
            <a:custGeom>
              <a:avLst/>
              <a:gdLst>
                <a:gd name="T0" fmla="*/ 2260 w 2260"/>
                <a:gd name="T1" fmla="*/ 0 h 2262"/>
                <a:gd name="T2" fmla="*/ 1612 w 2260"/>
                <a:gd name="T3" fmla="*/ 649 h 2262"/>
                <a:gd name="T4" fmla="*/ 1612 w 2260"/>
                <a:gd name="T5" fmla="*/ 649 h 2262"/>
                <a:gd name="T6" fmla="*/ 2035 w 2260"/>
                <a:gd name="T7" fmla="*/ 0 h 2262"/>
                <a:gd name="T8" fmla="*/ 0 w 2260"/>
                <a:gd name="T9" fmla="*/ 0 h 2262"/>
                <a:gd name="T10" fmla="*/ 0 w 2260"/>
                <a:gd name="T11" fmla="*/ 2262 h 2262"/>
                <a:gd name="T12" fmla="*/ 2260 w 2260"/>
                <a:gd name="T13" fmla="*/ 2262 h 2262"/>
                <a:gd name="T14" fmla="*/ 2260 w 2260"/>
                <a:gd name="T15" fmla="*/ 0 h 2262"/>
                <a:gd name="T16" fmla="*/ 2260 w 2260"/>
                <a:gd name="T17" fmla="*/ 0 h 2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0" h="2262">
                  <a:moveTo>
                    <a:pt x="2260" y="0"/>
                  </a:moveTo>
                  <a:lnTo>
                    <a:pt x="1612" y="649"/>
                  </a:lnTo>
                  <a:lnTo>
                    <a:pt x="1612" y="649"/>
                  </a:lnTo>
                  <a:lnTo>
                    <a:pt x="2035" y="0"/>
                  </a:lnTo>
                  <a:lnTo>
                    <a:pt x="0" y="0"/>
                  </a:lnTo>
                  <a:lnTo>
                    <a:pt x="0" y="2262"/>
                  </a:lnTo>
                  <a:lnTo>
                    <a:pt x="2260" y="2262"/>
                  </a:lnTo>
                  <a:lnTo>
                    <a:pt x="2260" y="0"/>
                  </a:lnTo>
                  <a:lnTo>
                    <a:pt x="2260" y="0"/>
                  </a:lnTo>
                  <a:close/>
                </a:path>
              </a:pathLst>
            </a:custGeom>
            <a:solidFill>
              <a:srgbClr val="E55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16" name="Freeform 6">
              <a:extLst>
                <a:ext uri="{FF2B5EF4-FFF2-40B4-BE49-F238E27FC236}">
                  <a16:creationId xmlns:a16="http://schemas.microsoft.com/office/drawing/2014/main" id="{B16BAAE4-1A41-C843-9754-490F7A1E1270}"/>
                </a:ext>
              </a:extLst>
            </p:cNvPr>
            <p:cNvSpPr>
              <a:spLocks noEditPoints="1"/>
            </p:cNvSpPr>
            <p:nvPr/>
          </p:nvSpPr>
          <p:spPr bwMode="gray">
            <a:xfrm>
              <a:off x="3623" y="1696"/>
              <a:ext cx="1167" cy="922"/>
            </a:xfrm>
            <a:custGeom>
              <a:avLst/>
              <a:gdLst>
                <a:gd name="T0" fmla="*/ 411 w 580"/>
                <a:gd name="T1" fmla="*/ 213 h 458"/>
                <a:gd name="T2" fmla="*/ 570 w 580"/>
                <a:gd name="T3" fmla="*/ 37 h 458"/>
                <a:gd name="T4" fmla="*/ 580 w 580"/>
                <a:gd name="T5" fmla="*/ 20 h 458"/>
                <a:gd name="T6" fmla="*/ 545 w 580"/>
                <a:gd name="T7" fmla="*/ 0 h 458"/>
                <a:gd name="T8" fmla="*/ 519 w 580"/>
                <a:gd name="T9" fmla="*/ 16 h 458"/>
                <a:gd name="T10" fmla="*/ 344 w 580"/>
                <a:gd name="T11" fmla="*/ 210 h 458"/>
                <a:gd name="T12" fmla="*/ 334 w 580"/>
                <a:gd name="T13" fmla="*/ 229 h 458"/>
                <a:gd name="T14" fmla="*/ 344 w 580"/>
                <a:gd name="T15" fmla="*/ 248 h 458"/>
                <a:gd name="T16" fmla="*/ 519 w 580"/>
                <a:gd name="T17" fmla="*/ 442 h 458"/>
                <a:gd name="T18" fmla="*/ 545 w 580"/>
                <a:gd name="T19" fmla="*/ 458 h 458"/>
                <a:gd name="T20" fmla="*/ 580 w 580"/>
                <a:gd name="T21" fmla="*/ 438 h 458"/>
                <a:gd name="T22" fmla="*/ 570 w 580"/>
                <a:gd name="T23" fmla="*/ 421 h 458"/>
                <a:gd name="T24" fmla="*/ 411 w 580"/>
                <a:gd name="T25" fmla="*/ 245 h 458"/>
                <a:gd name="T26" fmla="*/ 399 w 580"/>
                <a:gd name="T27" fmla="*/ 229 h 458"/>
                <a:gd name="T28" fmla="*/ 411 w 580"/>
                <a:gd name="T29" fmla="*/ 213 h 458"/>
                <a:gd name="T30" fmla="*/ 252 w 580"/>
                <a:gd name="T31" fmla="*/ 439 h 458"/>
                <a:gd name="T32" fmla="*/ 281 w 580"/>
                <a:gd name="T33" fmla="*/ 454 h 458"/>
                <a:gd name="T34" fmla="*/ 309 w 580"/>
                <a:gd name="T35" fmla="*/ 439 h 458"/>
                <a:gd name="T36" fmla="*/ 309 w 580"/>
                <a:gd name="T37" fmla="*/ 19 h 458"/>
                <a:gd name="T38" fmla="*/ 281 w 580"/>
                <a:gd name="T39" fmla="*/ 4 h 458"/>
                <a:gd name="T40" fmla="*/ 252 w 580"/>
                <a:gd name="T41" fmla="*/ 19 h 458"/>
                <a:gd name="T42" fmla="*/ 252 w 580"/>
                <a:gd name="T43" fmla="*/ 439 h 458"/>
                <a:gd name="T44" fmla="*/ 0 w 580"/>
                <a:gd name="T45" fmla="*/ 439 h 458"/>
                <a:gd name="T46" fmla="*/ 28 w 580"/>
                <a:gd name="T47" fmla="*/ 454 h 458"/>
                <a:gd name="T48" fmla="*/ 56 w 580"/>
                <a:gd name="T49" fmla="*/ 439 h 458"/>
                <a:gd name="T50" fmla="*/ 56 w 580"/>
                <a:gd name="T51" fmla="*/ 157 h 458"/>
                <a:gd name="T52" fmla="*/ 165 w 580"/>
                <a:gd name="T53" fmla="*/ 53 h 458"/>
                <a:gd name="T54" fmla="*/ 180 w 580"/>
                <a:gd name="T55" fmla="*/ 53 h 458"/>
                <a:gd name="T56" fmla="*/ 196 w 580"/>
                <a:gd name="T57" fmla="*/ 27 h 458"/>
                <a:gd name="T58" fmla="*/ 154 w 580"/>
                <a:gd name="T59" fmla="*/ 4 h 458"/>
                <a:gd name="T60" fmla="*/ 0 w 580"/>
                <a:gd name="T61" fmla="*/ 152 h 458"/>
                <a:gd name="T62" fmla="*/ 0 w 580"/>
                <a:gd name="T63" fmla="*/ 439 h 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80" h="458">
                  <a:moveTo>
                    <a:pt x="411" y="213"/>
                  </a:moveTo>
                  <a:cubicBezTo>
                    <a:pt x="570" y="37"/>
                    <a:pt x="570" y="37"/>
                    <a:pt x="570" y="37"/>
                  </a:cubicBezTo>
                  <a:cubicBezTo>
                    <a:pt x="576" y="30"/>
                    <a:pt x="580" y="25"/>
                    <a:pt x="580" y="20"/>
                  </a:cubicBezTo>
                  <a:cubicBezTo>
                    <a:pt x="580" y="10"/>
                    <a:pt x="559" y="0"/>
                    <a:pt x="545" y="0"/>
                  </a:cubicBezTo>
                  <a:cubicBezTo>
                    <a:pt x="535" y="0"/>
                    <a:pt x="526" y="8"/>
                    <a:pt x="519" y="16"/>
                  </a:cubicBezTo>
                  <a:cubicBezTo>
                    <a:pt x="344" y="210"/>
                    <a:pt x="344" y="210"/>
                    <a:pt x="344" y="210"/>
                  </a:cubicBezTo>
                  <a:cubicBezTo>
                    <a:pt x="336" y="219"/>
                    <a:pt x="334" y="224"/>
                    <a:pt x="334" y="229"/>
                  </a:cubicBezTo>
                  <a:cubicBezTo>
                    <a:pt x="334" y="234"/>
                    <a:pt x="336" y="239"/>
                    <a:pt x="344" y="248"/>
                  </a:cubicBezTo>
                  <a:cubicBezTo>
                    <a:pt x="519" y="442"/>
                    <a:pt x="519" y="442"/>
                    <a:pt x="519" y="442"/>
                  </a:cubicBezTo>
                  <a:cubicBezTo>
                    <a:pt x="526" y="450"/>
                    <a:pt x="535" y="458"/>
                    <a:pt x="545" y="458"/>
                  </a:cubicBezTo>
                  <a:cubicBezTo>
                    <a:pt x="559" y="458"/>
                    <a:pt x="580" y="448"/>
                    <a:pt x="580" y="438"/>
                  </a:cubicBezTo>
                  <a:cubicBezTo>
                    <a:pt x="580" y="433"/>
                    <a:pt x="576" y="428"/>
                    <a:pt x="570" y="421"/>
                  </a:cubicBezTo>
                  <a:cubicBezTo>
                    <a:pt x="411" y="245"/>
                    <a:pt x="411" y="245"/>
                    <a:pt x="411" y="245"/>
                  </a:cubicBezTo>
                  <a:cubicBezTo>
                    <a:pt x="403" y="236"/>
                    <a:pt x="399" y="232"/>
                    <a:pt x="399" y="229"/>
                  </a:cubicBezTo>
                  <a:cubicBezTo>
                    <a:pt x="399" y="226"/>
                    <a:pt x="403" y="222"/>
                    <a:pt x="411" y="213"/>
                  </a:cubicBezTo>
                  <a:moveTo>
                    <a:pt x="252" y="439"/>
                  </a:moveTo>
                  <a:cubicBezTo>
                    <a:pt x="252" y="449"/>
                    <a:pt x="261" y="454"/>
                    <a:pt x="281" y="454"/>
                  </a:cubicBezTo>
                  <a:cubicBezTo>
                    <a:pt x="300" y="454"/>
                    <a:pt x="309" y="449"/>
                    <a:pt x="309" y="439"/>
                  </a:cubicBezTo>
                  <a:cubicBezTo>
                    <a:pt x="309" y="19"/>
                    <a:pt x="309" y="19"/>
                    <a:pt x="309" y="19"/>
                  </a:cubicBezTo>
                  <a:cubicBezTo>
                    <a:pt x="309" y="9"/>
                    <a:pt x="300" y="4"/>
                    <a:pt x="281" y="4"/>
                  </a:cubicBezTo>
                  <a:cubicBezTo>
                    <a:pt x="261" y="4"/>
                    <a:pt x="252" y="9"/>
                    <a:pt x="252" y="19"/>
                  </a:cubicBezTo>
                  <a:lnTo>
                    <a:pt x="252" y="439"/>
                  </a:lnTo>
                  <a:close/>
                  <a:moveTo>
                    <a:pt x="0" y="439"/>
                  </a:moveTo>
                  <a:cubicBezTo>
                    <a:pt x="0" y="449"/>
                    <a:pt x="8" y="454"/>
                    <a:pt x="28" y="454"/>
                  </a:cubicBezTo>
                  <a:cubicBezTo>
                    <a:pt x="48" y="454"/>
                    <a:pt x="56" y="449"/>
                    <a:pt x="56" y="439"/>
                  </a:cubicBezTo>
                  <a:cubicBezTo>
                    <a:pt x="56" y="157"/>
                    <a:pt x="56" y="157"/>
                    <a:pt x="56" y="157"/>
                  </a:cubicBezTo>
                  <a:cubicBezTo>
                    <a:pt x="56" y="83"/>
                    <a:pt x="85" y="53"/>
                    <a:pt x="165" y="53"/>
                  </a:cubicBezTo>
                  <a:cubicBezTo>
                    <a:pt x="180" y="53"/>
                    <a:pt x="180" y="53"/>
                    <a:pt x="180" y="53"/>
                  </a:cubicBezTo>
                  <a:cubicBezTo>
                    <a:pt x="192" y="53"/>
                    <a:pt x="196" y="43"/>
                    <a:pt x="196" y="27"/>
                  </a:cubicBezTo>
                  <a:cubicBezTo>
                    <a:pt x="196" y="8"/>
                    <a:pt x="185" y="4"/>
                    <a:pt x="154" y="4"/>
                  </a:cubicBezTo>
                  <a:cubicBezTo>
                    <a:pt x="64" y="4"/>
                    <a:pt x="0" y="43"/>
                    <a:pt x="0" y="152"/>
                  </a:cubicBezTo>
                  <a:lnTo>
                    <a:pt x="0" y="43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17" name="Freeform 7">
              <a:extLst>
                <a:ext uri="{FF2B5EF4-FFF2-40B4-BE49-F238E27FC236}">
                  <a16:creationId xmlns:a16="http://schemas.microsoft.com/office/drawing/2014/main" id="{2F32DCBD-8628-F245-85CD-97686A20ECFD}"/>
                </a:ext>
              </a:extLst>
            </p:cNvPr>
            <p:cNvSpPr>
              <a:spLocks/>
            </p:cNvSpPr>
            <p:nvPr/>
          </p:nvSpPr>
          <p:spPr bwMode="gray">
            <a:xfrm>
              <a:off x="2880" y="1704"/>
              <a:ext cx="618" cy="916"/>
            </a:xfrm>
            <a:custGeom>
              <a:avLst/>
              <a:gdLst>
                <a:gd name="T0" fmla="*/ 307 w 307"/>
                <a:gd name="T1" fmla="*/ 405 h 455"/>
                <a:gd name="T2" fmla="*/ 307 w 307"/>
                <a:gd name="T3" fmla="*/ 244 h 455"/>
                <a:gd name="T4" fmla="*/ 279 w 307"/>
                <a:gd name="T5" fmla="*/ 229 h 455"/>
                <a:gd name="T6" fmla="*/ 250 w 307"/>
                <a:gd name="T7" fmla="*/ 244 h 455"/>
                <a:gd name="T8" fmla="*/ 250 w 307"/>
                <a:gd name="T9" fmla="*/ 378 h 455"/>
                <a:gd name="T10" fmla="*/ 199 w 307"/>
                <a:gd name="T11" fmla="*/ 408 h 455"/>
                <a:gd name="T12" fmla="*/ 61 w 307"/>
                <a:gd name="T13" fmla="*/ 231 h 455"/>
                <a:gd name="T14" fmla="*/ 238 w 307"/>
                <a:gd name="T15" fmla="*/ 49 h 455"/>
                <a:gd name="T16" fmla="*/ 270 w 307"/>
                <a:gd name="T17" fmla="*/ 49 h 455"/>
                <a:gd name="T18" fmla="*/ 286 w 307"/>
                <a:gd name="T19" fmla="*/ 23 h 455"/>
                <a:gd name="T20" fmla="*/ 244 w 307"/>
                <a:gd name="T21" fmla="*/ 0 h 455"/>
                <a:gd name="T22" fmla="*/ 231 w 307"/>
                <a:gd name="T23" fmla="*/ 0 h 455"/>
                <a:gd name="T24" fmla="*/ 0 w 307"/>
                <a:gd name="T25" fmla="*/ 232 h 455"/>
                <a:gd name="T26" fmla="*/ 198 w 307"/>
                <a:gd name="T27" fmla="*/ 455 h 455"/>
                <a:gd name="T28" fmla="*/ 307 w 307"/>
                <a:gd name="T29" fmla="*/ 405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7" h="455">
                  <a:moveTo>
                    <a:pt x="307" y="405"/>
                  </a:moveTo>
                  <a:cubicBezTo>
                    <a:pt x="307" y="244"/>
                    <a:pt x="307" y="244"/>
                    <a:pt x="307" y="244"/>
                  </a:cubicBezTo>
                  <a:cubicBezTo>
                    <a:pt x="307" y="234"/>
                    <a:pt x="298" y="229"/>
                    <a:pt x="279" y="229"/>
                  </a:cubicBezTo>
                  <a:cubicBezTo>
                    <a:pt x="259" y="229"/>
                    <a:pt x="250" y="234"/>
                    <a:pt x="250" y="244"/>
                  </a:cubicBezTo>
                  <a:cubicBezTo>
                    <a:pt x="250" y="378"/>
                    <a:pt x="250" y="378"/>
                    <a:pt x="250" y="378"/>
                  </a:cubicBezTo>
                  <a:cubicBezTo>
                    <a:pt x="250" y="399"/>
                    <a:pt x="241" y="408"/>
                    <a:pt x="199" y="408"/>
                  </a:cubicBezTo>
                  <a:cubicBezTo>
                    <a:pt x="114" y="408"/>
                    <a:pt x="61" y="342"/>
                    <a:pt x="61" y="231"/>
                  </a:cubicBezTo>
                  <a:cubicBezTo>
                    <a:pt x="61" y="115"/>
                    <a:pt x="126" y="49"/>
                    <a:pt x="238" y="49"/>
                  </a:cubicBezTo>
                  <a:cubicBezTo>
                    <a:pt x="270" y="49"/>
                    <a:pt x="270" y="49"/>
                    <a:pt x="270" y="49"/>
                  </a:cubicBezTo>
                  <a:cubicBezTo>
                    <a:pt x="282" y="49"/>
                    <a:pt x="286" y="39"/>
                    <a:pt x="286" y="23"/>
                  </a:cubicBezTo>
                  <a:cubicBezTo>
                    <a:pt x="286" y="4"/>
                    <a:pt x="275" y="0"/>
                    <a:pt x="244" y="0"/>
                  </a:cubicBezTo>
                  <a:cubicBezTo>
                    <a:pt x="231" y="0"/>
                    <a:pt x="231" y="0"/>
                    <a:pt x="231" y="0"/>
                  </a:cubicBezTo>
                  <a:cubicBezTo>
                    <a:pt x="101" y="0"/>
                    <a:pt x="0" y="71"/>
                    <a:pt x="0" y="232"/>
                  </a:cubicBezTo>
                  <a:cubicBezTo>
                    <a:pt x="0" y="386"/>
                    <a:pt x="88" y="455"/>
                    <a:pt x="198" y="455"/>
                  </a:cubicBezTo>
                  <a:cubicBezTo>
                    <a:pt x="286" y="455"/>
                    <a:pt x="307" y="430"/>
                    <a:pt x="307" y="40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18" name="Oval 8">
              <a:extLst>
                <a:ext uri="{FF2B5EF4-FFF2-40B4-BE49-F238E27FC236}">
                  <a16:creationId xmlns:a16="http://schemas.microsoft.com/office/drawing/2014/main" id="{60D97C11-1A3B-5449-A48D-98A3E79B3810}"/>
                </a:ext>
              </a:extLst>
            </p:cNvPr>
            <p:cNvSpPr>
              <a:spLocks noChangeArrowheads="1"/>
            </p:cNvSpPr>
            <p:nvPr/>
          </p:nvSpPr>
          <p:spPr bwMode="gray">
            <a:xfrm>
              <a:off x="3778" y="2099"/>
              <a:ext cx="122" cy="12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19" name="Freeform 9">
              <a:extLst>
                <a:ext uri="{FF2B5EF4-FFF2-40B4-BE49-F238E27FC236}">
                  <a16:creationId xmlns:a16="http://schemas.microsoft.com/office/drawing/2014/main" id="{5856770D-B8F0-244E-A05D-AED190086F10}"/>
                </a:ext>
              </a:extLst>
            </p:cNvPr>
            <p:cNvSpPr>
              <a:spLocks noEditPoints="1"/>
            </p:cNvSpPr>
            <p:nvPr/>
          </p:nvSpPr>
          <p:spPr bwMode="gray">
            <a:xfrm>
              <a:off x="3623" y="1696"/>
              <a:ext cx="1167" cy="922"/>
            </a:xfrm>
            <a:custGeom>
              <a:avLst/>
              <a:gdLst>
                <a:gd name="T0" fmla="*/ 411 w 580"/>
                <a:gd name="T1" fmla="*/ 213 h 458"/>
                <a:gd name="T2" fmla="*/ 570 w 580"/>
                <a:gd name="T3" fmla="*/ 37 h 458"/>
                <a:gd name="T4" fmla="*/ 580 w 580"/>
                <a:gd name="T5" fmla="*/ 20 h 458"/>
                <a:gd name="T6" fmla="*/ 545 w 580"/>
                <a:gd name="T7" fmla="*/ 0 h 458"/>
                <a:gd name="T8" fmla="*/ 519 w 580"/>
                <a:gd name="T9" fmla="*/ 16 h 458"/>
                <a:gd name="T10" fmla="*/ 344 w 580"/>
                <a:gd name="T11" fmla="*/ 210 h 458"/>
                <a:gd name="T12" fmla="*/ 334 w 580"/>
                <a:gd name="T13" fmla="*/ 229 h 458"/>
                <a:gd name="T14" fmla="*/ 344 w 580"/>
                <a:gd name="T15" fmla="*/ 248 h 458"/>
                <a:gd name="T16" fmla="*/ 519 w 580"/>
                <a:gd name="T17" fmla="*/ 442 h 458"/>
                <a:gd name="T18" fmla="*/ 545 w 580"/>
                <a:gd name="T19" fmla="*/ 458 h 458"/>
                <a:gd name="T20" fmla="*/ 580 w 580"/>
                <a:gd name="T21" fmla="*/ 438 h 458"/>
                <a:gd name="T22" fmla="*/ 570 w 580"/>
                <a:gd name="T23" fmla="*/ 421 h 458"/>
                <a:gd name="T24" fmla="*/ 411 w 580"/>
                <a:gd name="T25" fmla="*/ 245 h 458"/>
                <a:gd name="T26" fmla="*/ 399 w 580"/>
                <a:gd name="T27" fmla="*/ 229 h 458"/>
                <a:gd name="T28" fmla="*/ 411 w 580"/>
                <a:gd name="T29" fmla="*/ 213 h 458"/>
                <a:gd name="T30" fmla="*/ 252 w 580"/>
                <a:gd name="T31" fmla="*/ 439 h 458"/>
                <a:gd name="T32" fmla="*/ 281 w 580"/>
                <a:gd name="T33" fmla="*/ 454 h 458"/>
                <a:gd name="T34" fmla="*/ 309 w 580"/>
                <a:gd name="T35" fmla="*/ 439 h 458"/>
                <a:gd name="T36" fmla="*/ 309 w 580"/>
                <a:gd name="T37" fmla="*/ 19 h 458"/>
                <a:gd name="T38" fmla="*/ 281 w 580"/>
                <a:gd name="T39" fmla="*/ 4 h 458"/>
                <a:gd name="T40" fmla="*/ 252 w 580"/>
                <a:gd name="T41" fmla="*/ 19 h 458"/>
                <a:gd name="T42" fmla="*/ 252 w 580"/>
                <a:gd name="T43" fmla="*/ 439 h 458"/>
                <a:gd name="T44" fmla="*/ 0 w 580"/>
                <a:gd name="T45" fmla="*/ 439 h 458"/>
                <a:gd name="T46" fmla="*/ 28 w 580"/>
                <a:gd name="T47" fmla="*/ 454 h 458"/>
                <a:gd name="T48" fmla="*/ 56 w 580"/>
                <a:gd name="T49" fmla="*/ 439 h 458"/>
                <a:gd name="T50" fmla="*/ 56 w 580"/>
                <a:gd name="T51" fmla="*/ 157 h 458"/>
                <a:gd name="T52" fmla="*/ 165 w 580"/>
                <a:gd name="T53" fmla="*/ 53 h 458"/>
                <a:gd name="T54" fmla="*/ 180 w 580"/>
                <a:gd name="T55" fmla="*/ 53 h 458"/>
                <a:gd name="T56" fmla="*/ 196 w 580"/>
                <a:gd name="T57" fmla="*/ 27 h 458"/>
                <a:gd name="T58" fmla="*/ 154 w 580"/>
                <a:gd name="T59" fmla="*/ 4 h 458"/>
                <a:gd name="T60" fmla="*/ 0 w 580"/>
                <a:gd name="T61" fmla="*/ 152 h 458"/>
                <a:gd name="T62" fmla="*/ 0 w 580"/>
                <a:gd name="T63" fmla="*/ 439 h 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80" h="458">
                  <a:moveTo>
                    <a:pt x="411" y="213"/>
                  </a:moveTo>
                  <a:cubicBezTo>
                    <a:pt x="570" y="37"/>
                    <a:pt x="570" y="37"/>
                    <a:pt x="570" y="37"/>
                  </a:cubicBezTo>
                  <a:cubicBezTo>
                    <a:pt x="576" y="30"/>
                    <a:pt x="580" y="25"/>
                    <a:pt x="580" y="20"/>
                  </a:cubicBezTo>
                  <a:cubicBezTo>
                    <a:pt x="580" y="10"/>
                    <a:pt x="559" y="0"/>
                    <a:pt x="545" y="0"/>
                  </a:cubicBezTo>
                  <a:cubicBezTo>
                    <a:pt x="535" y="0"/>
                    <a:pt x="526" y="8"/>
                    <a:pt x="519" y="16"/>
                  </a:cubicBezTo>
                  <a:cubicBezTo>
                    <a:pt x="344" y="210"/>
                    <a:pt x="344" y="210"/>
                    <a:pt x="344" y="210"/>
                  </a:cubicBezTo>
                  <a:cubicBezTo>
                    <a:pt x="336" y="219"/>
                    <a:pt x="334" y="224"/>
                    <a:pt x="334" y="229"/>
                  </a:cubicBezTo>
                  <a:cubicBezTo>
                    <a:pt x="334" y="234"/>
                    <a:pt x="336" y="239"/>
                    <a:pt x="344" y="248"/>
                  </a:cubicBezTo>
                  <a:cubicBezTo>
                    <a:pt x="519" y="442"/>
                    <a:pt x="519" y="442"/>
                    <a:pt x="519" y="442"/>
                  </a:cubicBezTo>
                  <a:cubicBezTo>
                    <a:pt x="526" y="450"/>
                    <a:pt x="535" y="458"/>
                    <a:pt x="545" y="458"/>
                  </a:cubicBezTo>
                  <a:cubicBezTo>
                    <a:pt x="559" y="458"/>
                    <a:pt x="580" y="448"/>
                    <a:pt x="580" y="438"/>
                  </a:cubicBezTo>
                  <a:cubicBezTo>
                    <a:pt x="580" y="433"/>
                    <a:pt x="576" y="428"/>
                    <a:pt x="570" y="421"/>
                  </a:cubicBezTo>
                  <a:cubicBezTo>
                    <a:pt x="411" y="245"/>
                    <a:pt x="411" y="245"/>
                    <a:pt x="411" y="245"/>
                  </a:cubicBezTo>
                  <a:cubicBezTo>
                    <a:pt x="403" y="236"/>
                    <a:pt x="399" y="232"/>
                    <a:pt x="399" y="229"/>
                  </a:cubicBezTo>
                  <a:cubicBezTo>
                    <a:pt x="399" y="226"/>
                    <a:pt x="403" y="222"/>
                    <a:pt x="411" y="213"/>
                  </a:cubicBezTo>
                  <a:moveTo>
                    <a:pt x="252" y="439"/>
                  </a:moveTo>
                  <a:cubicBezTo>
                    <a:pt x="252" y="449"/>
                    <a:pt x="261" y="454"/>
                    <a:pt x="281" y="454"/>
                  </a:cubicBezTo>
                  <a:cubicBezTo>
                    <a:pt x="300" y="454"/>
                    <a:pt x="309" y="449"/>
                    <a:pt x="309" y="439"/>
                  </a:cubicBezTo>
                  <a:cubicBezTo>
                    <a:pt x="309" y="19"/>
                    <a:pt x="309" y="19"/>
                    <a:pt x="309" y="19"/>
                  </a:cubicBezTo>
                  <a:cubicBezTo>
                    <a:pt x="309" y="9"/>
                    <a:pt x="300" y="4"/>
                    <a:pt x="281" y="4"/>
                  </a:cubicBezTo>
                  <a:cubicBezTo>
                    <a:pt x="261" y="4"/>
                    <a:pt x="252" y="9"/>
                    <a:pt x="252" y="19"/>
                  </a:cubicBezTo>
                  <a:lnTo>
                    <a:pt x="252" y="439"/>
                  </a:lnTo>
                  <a:close/>
                  <a:moveTo>
                    <a:pt x="0" y="439"/>
                  </a:moveTo>
                  <a:cubicBezTo>
                    <a:pt x="0" y="449"/>
                    <a:pt x="8" y="454"/>
                    <a:pt x="28" y="454"/>
                  </a:cubicBezTo>
                  <a:cubicBezTo>
                    <a:pt x="48" y="454"/>
                    <a:pt x="56" y="449"/>
                    <a:pt x="56" y="439"/>
                  </a:cubicBezTo>
                  <a:cubicBezTo>
                    <a:pt x="56" y="157"/>
                    <a:pt x="56" y="157"/>
                    <a:pt x="56" y="157"/>
                  </a:cubicBezTo>
                  <a:cubicBezTo>
                    <a:pt x="56" y="83"/>
                    <a:pt x="85" y="53"/>
                    <a:pt x="165" y="53"/>
                  </a:cubicBezTo>
                  <a:cubicBezTo>
                    <a:pt x="180" y="53"/>
                    <a:pt x="180" y="53"/>
                    <a:pt x="180" y="53"/>
                  </a:cubicBezTo>
                  <a:cubicBezTo>
                    <a:pt x="192" y="53"/>
                    <a:pt x="196" y="43"/>
                    <a:pt x="196" y="27"/>
                  </a:cubicBezTo>
                  <a:cubicBezTo>
                    <a:pt x="196" y="8"/>
                    <a:pt x="185" y="4"/>
                    <a:pt x="154" y="4"/>
                  </a:cubicBezTo>
                  <a:cubicBezTo>
                    <a:pt x="64" y="4"/>
                    <a:pt x="0" y="43"/>
                    <a:pt x="0" y="152"/>
                  </a:cubicBezTo>
                  <a:lnTo>
                    <a:pt x="0" y="43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22" name="Freeform 10">
              <a:extLst>
                <a:ext uri="{FF2B5EF4-FFF2-40B4-BE49-F238E27FC236}">
                  <a16:creationId xmlns:a16="http://schemas.microsoft.com/office/drawing/2014/main" id="{2B91B16B-BC11-E547-8FAC-B9B8D18EA449}"/>
                </a:ext>
              </a:extLst>
            </p:cNvPr>
            <p:cNvSpPr>
              <a:spLocks/>
            </p:cNvSpPr>
            <p:nvPr/>
          </p:nvSpPr>
          <p:spPr bwMode="gray">
            <a:xfrm>
              <a:off x="2880" y="1704"/>
              <a:ext cx="618" cy="916"/>
            </a:xfrm>
            <a:custGeom>
              <a:avLst/>
              <a:gdLst>
                <a:gd name="T0" fmla="*/ 307 w 307"/>
                <a:gd name="T1" fmla="*/ 405 h 455"/>
                <a:gd name="T2" fmla="*/ 307 w 307"/>
                <a:gd name="T3" fmla="*/ 244 h 455"/>
                <a:gd name="T4" fmla="*/ 279 w 307"/>
                <a:gd name="T5" fmla="*/ 229 h 455"/>
                <a:gd name="T6" fmla="*/ 250 w 307"/>
                <a:gd name="T7" fmla="*/ 244 h 455"/>
                <a:gd name="T8" fmla="*/ 250 w 307"/>
                <a:gd name="T9" fmla="*/ 378 h 455"/>
                <a:gd name="T10" fmla="*/ 199 w 307"/>
                <a:gd name="T11" fmla="*/ 408 h 455"/>
                <a:gd name="T12" fmla="*/ 61 w 307"/>
                <a:gd name="T13" fmla="*/ 231 h 455"/>
                <a:gd name="T14" fmla="*/ 238 w 307"/>
                <a:gd name="T15" fmla="*/ 49 h 455"/>
                <a:gd name="T16" fmla="*/ 270 w 307"/>
                <a:gd name="T17" fmla="*/ 49 h 455"/>
                <a:gd name="T18" fmla="*/ 286 w 307"/>
                <a:gd name="T19" fmla="*/ 23 h 455"/>
                <a:gd name="T20" fmla="*/ 244 w 307"/>
                <a:gd name="T21" fmla="*/ 0 h 455"/>
                <a:gd name="T22" fmla="*/ 231 w 307"/>
                <a:gd name="T23" fmla="*/ 0 h 455"/>
                <a:gd name="T24" fmla="*/ 0 w 307"/>
                <a:gd name="T25" fmla="*/ 232 h 455"/>
                <a:gd name="T26" fmla="*/ 198 w 307"/>
                <a:gd name="T27" fmla="*/ 455 h 455"/>
                <a:gd name="T28" fmla="*/ 307 w 307"/>
                <a:gd name="T29" fmla="*/ 405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7" h="455">
                  <a:moveTo>
                    <a:pt x="307" y="405"/>
                  </a:moveTo>
                  <a:cubicBezTo>
                    <a:pt x="307" y="244"/>
                    <a:pt x="307" y="244"/>
                    <a:pt x="307" y="244"/>
                  </a:cubicBezTo>
                  <a:cubicBezTo>
                    <a:pt x="307" y="234"/>
                    <a:pt x="298" y="229"/>
                    <a:pt x="279" y="229"/>
                  </a:cubicBezTo>
                  <a:cubicBezTo>
                    <a:pt x="259" y="229"/>
                    <a:pt x="250" y="234"/>
                    <a:pt x="250" y="244"/>
                  </a:cubicBezTo>
                  <a:cubicBezTo>
                    <a:pt x="250" y="378"/>
                    <a:pt x="250" y="378"/>
                    <a:pt x="250" y="378"/>
                  </a:cubicBezTo>
                  <a:cubicBezTo>
                    <a:pt x="250" y="399"/>
                    <a:pt x="241" y="408"/>
                    <a:pt x="199" y="408"/>
                  </a:cubicBezTo>
                  <a:cubicBezTo>
                    <a:pt x="114" y="408"/>
                    <a:pt x="61" y="342"/>
                    <a:pt x="61" y="231"/>
                  </a:cubicBezTo>
                  <a:cubicBezTo>
                    <a:pt x="61" y="115"/>
                    <a:pt x="126" y="49"/>
                    <a:pt x="238" y="49"/>
                  </a:cubicBezTo>
                  <a:cubicBezTo>
                    <a:pt x="270" y="49"/>
                    <a:pt x="270" y="49"/>
                    <a:pt x="270" y="49"/>
                  </a:cubicBezTo>
                  <a:cubicBezTo>
                    <a:pt x="282" y="49"/>
                    <a:pt x="286" y="39"/>
                    <a:pt x="286" y="23"/>
                  </a:cubicBezTo>
                  <a:cubicBezTo>
                    <a:pt x="286" y="4"/>
                    <a:pt x="275" y="0"/>
                    <a:pt x="244" y="0"/>
                  </a:cubicBezTo>
                  <a:cubicBezTo>
                    <a:pt x="231" y="0"/>
                    <a:pt x="231" y="0"/>
                    <a:pt x="231" y="0"/>
                  </a:cubicBezTo>
                  <a:cubicBezTo>
                    <a:pt x="101" y="0"/>
                    <a:pt x="0" y="71"/>
                    <a:pt x="0" y="232"/>
                  </a:cubicBezTo>
                  <a:cubicBezTo>
                    <a:pt x="0" y="386"/>
                    <a:pt x="88" y="455"/>
                    <a:pt x="198" y="455"/>
                  </a:cubicBezTo>
                  <a:cubicBezTo>
                    <a:pt x="286" y="455"/>
                    <a:pt x="307" y="430"/>
                    <a:pt x="307" y="40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23" name="Oval 11">
              <a:extLst>
                <a:ext uri="{FF2B5EF4-FFF2-40B4-BE49-F238E27FC236}">
                  <a16:creationId xmlns:a16="http://schemas.microsoft.com/office/drawing/2014/main" id="{14F8C3C8-4888-7646-B9B4-64EB46A1DA23}"/>
                </a:ext>
              </a:extLst>
            </p:cNvPr>
            <p:cNvSpPr>
              <a:spLocks noChangeArrowheads="1"/>
            </p:cNvSpPr>
            <p:nvPr/>
          </p:nvSpPr>
          <p:spPr bwMode="gray">
            <a:xfrm>
              <a:off x="3778" y="2099"/>
              <a:ext cx="122" cy="12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24" name="Freeform 12">
              <a:extLst>
                <a:ext uri="{FF2B5EF4-FFF2-40B4-BE49-F238E27FC236}">
                  <a16:creationId xmlns:a16="http://schemas.microsoft.com/office/drawing/2014/main" id="{D79D01D1-4E3E-F34B-97D7-2D387E68746E}"/>
                </a:ext>
              </a:extLst>
            </p:cNvPr>
            <p:cNvSpPr>
              <a:spLocks/>
            </p:cNvSpPr>
            <p:nvPr/>
          </p:nvSpPr>
          <p:spPr bwMode="gray">
            <a:xfrm>
              <a:off x="4321" y="1029"/>
              <a:ext cx="648" cy="649"/>
            </a:xfrm>
            <a:custGeom>
              <a:avLst/>
              <a:gdLst>
                <a:gd name="T0" fmla="*/ 0 w 648"/>
                <a:gd name="T1" fmla="*/ 649 h 649"/>
                <a:gd name="T2" fmla="*/ 2 w 648"/>
                <a:gd name="T3" fmla="*/ 649 h 649"/>
                <a:gd name="T4" fmla="*/ 648 w 648"/>
                <a:gd name="T5" fmla="*/ 0 h 649"/>
                <a:gd name="T6" fmla="*/ 423 w 648"/>
                <a:gd name="T7" fmla="*/ 0 h 649"/>
                <a:gd name="T8" fmla="*/ 0 w 648"/>
                <a:gd name="T9" fmla="*/ 649 h 649"/>
              </a:gdLst>
              <a:ahLst/>
              <a:cxnLst>
                <a:cxn ang="0">
                  <a:pos x="T0" y="T1"/>
                </a:cxn>
                <a:cxn ang="0">
                  <a:pos x="T2" y="T3"/>
                </a:cxn>
                <a:cxn ang="0">
                  <a:pos x="T4" y="T5"/>
                </a:cxn>
                <a:cxn ang="0">
                  <a:pos x="T6" y="T7"/>
                </a:cxn>
                <a:cxn ang="0">
                  <a:pos x="T8" y="T9"/>
                </a:cxn>
              </a:cxnLst>
              <a:rect l="0" t="0" r="r" b="b"/>
              <a:pathLst>
                <a:path w="648" h="649">
                  <a:moveTo>
                    <a:pt x="0" y="649"/>
                  </a:moveTo>
                  <a:lnTo>
                    <a:pt x="2" y="649"/>
                  </a:lnTo>
                  <a:lnTo>
                    <a:pt x="648" y="0"/>
                  </a:lnTo>
                  <a:lnTo>
                    <a:pt x="423" y="0"/>
                  </a:lnTo>
                  <a:lnTo>
                    <a:pt x="0" y="64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26" name="Freeform 13">
              <a:extLst>
                <a:ext uri="{FF2B5EF4-FFF2-40B4-BE49-F238E27FC236}">
                  <a16:creationId xmlns:a16="http://schemas.microsoft.com/office/drawing/2014/main" id="{46549898-6C52-B147-A8F6-A73FDBE6163B}"/>
                </a:ext>
              </a:extLst>
            </p:cNvPr>
            <p:cNvSpPr>
              <a:spLocks/>
            </p:cNvSpPr>
            <p:nvPr/>
          </p:nvSpPr>
          <p:spPr bwMode="gray">
            <a:xfrm>
              <a:off x="4321" y="1029"/>
              <a:ext cx="648" cy="649"/>
            </a:xfrm>
            <a:custGeom>
              <a:avLst/>
              <a:gdLst>
                <a:gd name="T0" fmla="*/ 0 w 648"/>
                <a:gd name="T1" fmla="*/ 649 h 649"/>
                <a:gd name="T2" fmla="*/ 2 w 648"/>
                <a:gd name="T3" fmla="*/ 649 h 649"/>
                <a:gd name="T4" fmla="*/ 648 w 648"/>
                <a:gd name="T5" fmla="*/ 0 h 649"/>
                <a:gd name="T6" fmla="*/ 423 w 648"/>
                <a:gd name="T7" fmla="*/ 0 h 649"/>
                <a:gd name="T8" fmla="*/ 0 w 648"/>
                <a:gd name="T9" fmla="*/ 649 h 649"/>
              </a:gdLst>
              <a:ahLst/>
              <a:cxnLst>
                <a:cxn ang="0">
                  <a:pos x="T0" y="T1"/>
                </a:cxn>
                <a:cxn ang="0">
                  <a:pos x="T2" y="T3"/>
                </a:cxn>
                <a:cxn ang="0">
                  <a:pos x="T4" y="T5"/>
                </a:cxn>
                <a:cxn ang="0">
                  <a:pos x="T6" y="T7"/>
                </a:cxn>
                <a:cxn ang="0">
                  <a:pos x="T8" y="T9"/>
                </a:cxn>
              </a:cxnLst>
              <a:rect l="0" t="0" r="r" b="b"/>
              <a:pathLst>
                <a:path w="648" h="649">
                  <a:moveTo>
                    <a:pt x="0" y="649"/>
                  </a:moveTo>
                  <a:lnTo>
                    <a:pt x="2" y="649"/>
                  </a:lnTo>
                  <a:lnTo>
                    <a:pt x="648" y="0"/>
                  </a:lnTo>
                  <a:lnTo>
                    <a:pt x="423" y="0"/>
                  </a:lnTo>
                  <a:lnTo>
                    <a:pt x="0" y="64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grpSp>
      <p:sp>
        <p:nvSpPr>
          <p:cNvPr id="20" name="shp1">
            <a:extLst>
              <a:ext uri="{FF2B5EF4-FFF2-40B4-BE49-F238E27FC236}">
                <a16:creationId xmlns:a16="http://schemas.microsoft.com/office/drawing/2014/main" id="{1AD9883E-0B1C-504A-A979-9C5803172360}"/>
              </a:ext>
            </a:extLst>
          </p:cNvPr>
          <p:cNvSpPr/>
          <p:nvPr/>
        </p:nvSpPr>
        <p:spPr>
          <a:xfrm>
            <a:off x="192088" y="1"/>
            <a:ext cx="215900" cy="144938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de-DE" sz="1351"/>
          </a:p>
        </p:txBody>
      </p:sp>
      <p:sp>
        <p:nvSpPr>
          <p:cNvPr id="7" name="copyright"/>
          <p:cNvSpPr txBox="1"/>
          <p:nvPr/>
        </p:nvSpPr>
        <p:spPr>
          <a:xfrm>
            <a:off x="10672209" y="6461671"/>
            <a:ext cx="500617" cy="133790"/>
          </a:xfrm>
          <a:prstGeom prst="rect">
            <a:avLst/>
          </a:prstGeom>
          <a:noFill/>
        </p:spPr>
        <p:txBody>
          <a:bodyPr wrap="none" lIns="0" tIns="0" rIns="0" bIns="0" rtlCol="0" anchor="b" anchorCtr="0">
            <a:noAutofit/>
          </a:bodyPr>
          <a:lstStyle/>
          <a:p>
            <a:pPr marL="0" indent="0" algn="r">
              <a:lnSpc>
                <a:spcPct val="125000"/>
              </a:lnSpc>
              <a:buClr>
                <a:schemeClr val="tx2"/>
              </a:buClr>
              <a:buFont typeface="Wingdings" panose="05000000000000000000" pitchFamily="2" charset="2"/>
              <a:buNone/>
            </a:pPr>
            <a:r>
              <a:rPr lang="en-US" sz="800"/>
              <a:t>© GfK</a:t>
            </a:r>
          </a:p>
        </p:txBody>
      </p:sp>
      <p:sp>
        <p:nvSpPr>
          <p:cNvPr id="28" name="Date Placeholder 27"/>
          <p:cNvSpPr>
            <a:spLocks noGrp="1"/>
          </p:cNvSpPr>
          <p:nvPr>
            <p:ph type="dt" sz="half" idx="2"/>
          </p:nvPr>
        </p:nvSpPr>
        <p:spPr>
          <a:xfrm>
            <a:off x="192088" y="6461671"/>
            <a:ext cx="761512" cy="133790"/>
          </a:xfrm>
          <a:prstGeom prst="rect">
            <a:avLst/>
          </a:prstGeom>
        </p:spPr>
        <p:txBody>
          <a:bodyPr vert="horz" wrap="none" lIns="0" tIns="0" rIns="0" bIns="0" rtlCol="0" anchor="b" anchorCtr="0"/>
          <a:lstStyle>
            <a:lvl1pPr algn="r">
              <a:defRPr sz="800">
                <a:solidFill>
                  <a:schemeClr val="tx1"/>
                </a:solidFill>
              </a:defRPr>
            </a:lvl1pPr>
          </a:lstStyle>
          <a:p>
            <a:endParaRPr lang="en-US"/>
          </a:p>
        </p:txBody>
      </p:sp>
      <p:sp>
        <p:nvSpPr>
          <p:cNvPr id="29" name="Footer Placeholder 28"/>
          <p:cNvSpPr>
            <a:spLocks noGrp="1"/>
          </p:cNvSpPr>
          <p:nvPr>
            <p:ph type="ftr" sz="quarter" idx="3"/>
          </p:nvPr>
        </p:nvSpPr>
        <p:spPr>
          <a:xfrm>
            <a:off x="1076400" y="6461671"/>
            <a:ext cx="8162717" cy="133790"/>
          </a:xfrm>
          <a:prstGeom prst="rect">
            <a:avLst/>
          </a:prstGeom>
        </p:spPr>
        <p:txBody>
          <a:bodyPr vert="horz" lIns="0" tIns="0" rIns="0" bIns="0" rtlCol="0" anchor="b" anchorCtr="0"/>
          <a:lstStyle>
            <a:lvl1pPr marL="144000" indent="-144000" algn="l">
              <a:buClr>
                <a:schemeClr val="tx2"/>
              </a:buClr>
              <a:buFont typeface="Wingdings" panose="05000000000000000000" pitchFamily="2" charset="2"/>
              <a:buChar char="§"/>
              <a:defRPr sz="800">
                <a:solidFill>
                  <a:schemeClr val="tx1"/>
                </a:solidFill>
              </a:defRPr>
            </a:lvl1pPr>
          </a:lstStyle>
          <a:p>
            <a:endParaRPr lang="en-US"/>
          </a:p>
        </p:txBody>
      </p:sp>
      <p:sp>
        <p:nvSpPr>
          <p:cNvPr id="30" name="Slide Number Placeholder 29"/>
          <p:cNvSpPr>
            <a:spLocks noGrp="1"/>
          </p:cNvSpPr>
          <p:nvPr>
            <p:ph type="sldNum" sz="quarter" idx="4"/>
          </p:nvPr>
        </p:nvSpPr>
        <p:spPr>
          <a:xfrm>
            <a:off x="11186669" y="6461671"/>
            <a:ext cx="648000" cy="133790"/>
          </a:xfrm>
          <a:prstGeom prst="rect">
            <a:avLst/>
          </a:prstGeom>
        </p:spPr>
        <p:txBody>
          <a:bodyPr vert="horz" lIns="0" tIns="0" rIns="0" bIns="0" rtlCol="0" anchor="b" anchorCtr="0"/>
          <a:lstStyle>
            <a:lvl1pPr algn="r">
              <a:defRPr sz="800">
                <a:solidFill>
                  <a:schemeClr val="tx1"/>
                </a:solidFill>
              </a:defRPr>
            </a:lvl1pPr>
          </a:lstStyle>
          <a:p>
            <a:fld id="{5F3E29E4-0979-4FCA-B4C5-5FC6044C982A}" type="slidenum">
              <a:rPr lang="en-US" smtClean="0"/>
              <a:pPr/>
              <a:t>‹#›</a:t>
            </a:fld>
            <a:endParaRPr lang="en-US"/>
          </a:p>
        </p:txBody>
      </p:sp>
      <p:sp>
        <p:nvSpPr>
          <p:cNvPr id="2" name="Title Placeholder 1"/>
          <p:cNvSpPr>
            <a:spLocks noGrp="1"/>
          </p:cNvSpPr>
          <p:nvPr>
            <p:ph type="title"/>
          </p:nvPr>
        </p:nvSpPr>
        <p:spPr>
          <a:xfrm>
            <a:off x="1075061" y="288922"/>
            <a:ext cx="7910158" cy="648000"/>
          </a:xfrm>
          <a:prstGeom prst="rect">
            <a:avLst/>
          </a:prstGeom>
        </p:spPr>
        <p:txBody>
          <a:bodyPr vert="horz" lIns="0" tIns="0" rIns="0" bIns="0" rtlCol="0" anchor="t">
            <a:noAutofit/>
          </a:bodyPr>
          <a:lstStyle/>
          <a:p>
            <a:r>
              <a:rPr lang="en-US"/>
              <a:t>Click to edit Master title style</a:t>
            </a:r>
          </a:p>
        </p:txBody>
      </p:sp>
      <p:sp>
        <p:nvSpPr>
          <p:cNvPr id="3" name="Text Placeholder 2"/>
          <p:cNvSpPr>
            <a:spLocks noGrp="1"/>
          </p:cNvSpPr>
          <p:nvPr>
            <p:ph type="body" idx="1"/>
          </p:nvPr>
        </p:nvSpPr>
        <p:spPr>
          <a:xfrm>
            <a:off x="1075062" y="1629618"/>
            <a:ext cx="10097764" cy="4139357"/>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49701401"/>
      </p:ext>
    </p:extLst>
  </p:cSld>
  <p:clrMap bg1="lt1" tx1="dk1" bg2="lt2" tx2="dk2" accent1="accent1" accent2="accent2" accent3="accent3" accent4="accent4" accent5="accent5" accent6="accent6" hlink="hlink" folHlink="folHlink"/>
  <p:sldLayoutIdLst>
    <p:sldLayoutId id="2147484854" r:id="rId1"/>
    <p:sldLayoutId id="2147484855" r:id="rId2"/>
    <p:sldLayoutId id="2147484856" r:id="rId3"/>
    <p:sldLayoutId id="2147484857" r:id="rId4"/>
    <p:sldLayoutId id="2147484858" r:id="rId5"/>
    <p:sldLayoutId id="2147484859" r:id="rId6"/>
    <p:sldLayoutId id="2147484860" r:id="rId7"/>
    <p:sldLayoutId id="2147484861" r:id="rId8"/>
    <p:sldLayoutId id="2147484862" r:id="rId9"/>
    <p:sldLayoutId id="2147484863" r:id="rId10"/>
    <p:sldLayoutId id="2147484864" r:id="rId11"/>
    <p:sldLayoutId id="2147484865" r:id="rId12"/>
    <p:sldLayoutId id="2147484866" r:id="rId13"/>
    <p:sldLayoutId id="2147484867" r:id="rId14"/>
    <p:sldLayoutId id="2147484868" r:id="rId15"/>
    <p:sldLayoutId id="2147484869" r:id="rId16"/>
    <p:sldLayoutId id="2147484870" r:id="rId17"/>
    <p:sldLayoutId id="2147484871" r:id="rId18"/>
    <p:sldLayoutId id="2147484872" r:id="rId19"/>
    <p:sldLayoutId id="2147484873" r:id="rId20"/>
    <p:sldLayoutId id="2147484874" r:id="rId21"/>
    <p:sldLayoutId id="2147484875" r:id="rId22"/>
    <p:sldLayoutId id="2147484876" r:id="rId23"/>
    <p:sldLayoutId id="2147484877" r:id="rId24"/>
    <p:sldLayoutId id="2147484878" r:id="rId25"/>
    <p:sldLayoutId id="2147484879" r:id="rId26"/>
    <p:sldLayoutId id="2147484880" r:id="rId27"/>
    <p:sldLayoutId id="2147484881" r:id="rId28"/>
  </p:sldLayoutIdLst>
  <p:hf hdr="0" ftr="0" dt="0"/>
  <p:txStyles>
    <p:titleStyle>
      <a:lvl1pPr algn="l" defTabSz="914400" rtl="0" eaLnBrk="1" latinLnBrk="0" hangingPunct="1">
        <a:lnSpc>
          <a:spcPct val="100000"/>
        </a:lnSpc>
        <a:spcBef>
          <a:spcPct val="0"/>
        </a:spcBef>
        <a:buNone/>
        <a:defRPr sz="3600" kern="1200">
          <a:solidFill>
            <a:schemeClr val="tx1"/>
          </a:solidFill>
          <a:latin typeface="+mj-lt"/>
          <a:ea typeface="+mj-ea"/>
          <a:cs typeface="+mj-cs"/>
        </a:defRPr>
      </a:lvl1pPr>
    </p:titleStyle>
    <p:bodyStyle>
      <a:lvl1pPr marL="252000" indent="-252000" algn="l" defTabSz="914400" rtl="0" eaLnBrk="1" latinLnBrk="0" hangingPunct="1">
        <a:lnSpc>
          <a:spcPct val="110000"/>
        </a:lnSpc>
        <a:spcBef>
          <a:spcPts val="1000"/>
        </a:spcBef>
        <a:buClr>
          <a:schemeClr val="tx2"/>
        </a:buClr>
        <a:buFont typeface="Wingdings" panose="05000000000000000000" pitchFamily="2" charset="2"/>
        <a:buChar char="§"/>
        <a:defRPr sz="2800" kern="1200">
          <a:solidFill>
            <a:schemeClr val="tx1"/>
          </a:solidFill>
          <a:latin typeface="+mn-lt"/>
          <a:ea typeface="+mn-ea"/>
          <a:cs typeface="+mn-cs"/>
        </a:defRPr>
      </a:lvl1pPr>
      <a:lvl2pPr marL="648000" indent="-252000" algn="l" defTabSz="914400" rtl="0" eaLnBrk="1" latinLnBrk="0" hangingPunct="1">
        <a:lnSpc>
          <a:spcPct val="110000"/>
        </a:lnSpc>
        <a:spcBef>
          <a:spcPts val="600"/>
        </a:spcBef>
        <a:buClr>
          <a:schemeClr val="tx2"/>
        </a:buClr>
        <a:buFont typeface="Wingdings" panose="05000000000000000000" pitchFamily="2" charset="2"/>
        <a:buChar char="§"/>
        <a:defRPr sz="2400" kern="1200">
          <a:solidFill>
            <a:schemeClr val="tx1"/>
          </a:solidFill>
          <a:latin typeface="+mn-lt"/>
          <a:ea typeface="+mn-ea"/>
          <a:cs typeface="+mn-cs"/>
        </a:defRPr>
      </a:lvl2pPr>
      <a:lvl3pPr marL="1080000" indent="-252000" algn="l" defTabSz="914400" rtl="0" eaLnBrk="1" latinLnBrk="0" hangingPunct="1">
        <a:lnSpc>
          <a:spcPct val="110000"/>
        </a:lnSpc>
        <a:spcBef>
          <a:spcPts val="600"/>
        </a:spcBef>
        <a:buClr>
          <a:schemeClr val="tx2"/>
        </a:buClr>
        <a:buFont typeface="Wingdings" panose="05000000000000000000" pitchFamily="2" charset="2"/>
        <a:buChar char="§"/>
        <a:defRPr sz="2000" kern="1200">
          <a:solidFill>
            <a:schemeClr val="tx1"/>
          </a:solidFill>
          <a:latin typeface="+mn-lt"/>
          <a:ea typeface="+mn-ea"/>
          <a:cs typeface="+mn-cs"/>
        </a:defRPr>
      </a:lvl3pPr>
      <a:lvl4pPr marL="0" indent="0" algn="l" defTabSz="914400" rtl="0" eaLnBrk="1" latinLnBrk="0" hangingPunct="1">
        <a:lnSpc>
          <a:spcPct val="110000"/>
        </a:lnSpc>
        <a:spcBef>
          <a:spcPts val="600"/>
        </a:spcBef>
        <a:buClr>
          <a:schemeClr val="tx2"/>
        </a:buClr>
        <a:buFont typeface="Lato" panose="020F0502020204030203" pitchFamily="34" charset="0"/>
        <a:buChar char="​"/>
        <a:defRPr sz="1600" kern="1200">
          <a:solidFill>
            <a:schemeClr val="tx1"/>
          </a:solidFill>
          <a:latin typeface="+mn-lt"/>
          <a:ea typeface="+mn-ea"/>
          <a:cs typeface="+mn-cs"/>
        </a:defRPr>
      </a:lvl4pPr>
      <a:lvl5pPr marL="252000" indent="-252000" algn="l" defTabSz="914400" rtl="0" eaLnBrk="1" latinLnBrk="0" hangingPunct="1">
        <a:lnSpc>
          <a:spcPct val="110000"/>
        </a:lnSpc>
        <a:spcBef>
          <a:spcPts val="600"/>
        </a:spcBef>
        <a:buClr>
          <a:schemeClr val="tx2"/>
        </a:buClr>
        <a:buFont typeface="Wingdings" panose="05000000000000000000" pitchFamily="2" charset="2"/>
        <a:buChar char="§"/>
        <a:defRPr sz="1600" kern="1200">
          <a:solidFill>
            <a:schemeClr val="tx1"/>
          </a:solidFill>
          <a:latin typeface="+mn-lt"/>
          <a:ea typeface="+mn-ea"/>
          <a:cs typeface="+mn-cs"/>
        </a:defRPr>
      </a:lvl5pPr>
      <a:lvl6pPr marL="648000" indent="-252000" algn="l" defTabSz="914400" rtl="0" eaLnBrk="1" latinLnBrk="0" hangingPunct="1">
        <a:lnSpc>
          <a:spcPct val="110000"/>
        </a:lnSpc>
        <a:spcBef>
          <a:spcPts val="600"/>
        </a:spcBef>
        <a:buClr>
          <a:schemeClr val="tx2"/>
        </a:buClr>
        <a:buFont typeface="Wingdings" panose="05000000000000000000" pitchFamily="2" charset="2"/>
        <a:buChar char="§"/>
        <a:defRPr sz="1600" kern="1200">
          <a:solidFill>
            <a:schemeClr val="tx1"/>
          </a:solidFill>
          <a:latin typeface="+mn-lt"/>
          <a:ea typeface="+mn-ea"/>
          <a:cs typeface="+mn-cs"/>
        </a:defRPr>
      </a:lvl6pPr>
      <a:lvl7pPr marL="1080000" indent="-252000" algn="l" defTabSz="914400" rtl="0" eaLnBrk="1" latinLnBrk="0" hangingPunct="1">
        <a:lnSpc>
          <a:spcPct val="110000"/>
        </a:lnSpc>
        <a:spcBef>
          <a:spcPts val="600"/>
        </a:spcBef>
        <a:buClr>
          <a:schemeClr val="tx2"/>
        </a:buClr>
        <a:buFont typeface="Wingdings" panose="05000000000000000000" pitchFamily="2" charset="2"/>
        <a:buChar char="§"/>
        <a:defRPr sz="1600" kern="1200">
          <a:solidFill>
            <a:schemeClr val="tx1"/>
          </a:solidFill>
          <a:latin typeface="+mn-lt"/>
          <a:ea typeface="+mn-ea"/>
          <a:cs typeface="+mn-cs"/>
        </a:defRPr>
      </a:lvl7pPr>
      <a:lvl8pPr marL="1512000" indent="-252000" algn="l" defTabSz="914400" rtl="0" eaLnBrk="1" latinLnBrk="0" hangingPunct="1">
        <a:lnSpc>
          <a:spcPct val="110000"/>
        </a:lnSpc>
        <a:spcBef>
          <a:spcPts val="600"/>
        </a:spcBef>
        <a:buClr>
          <a:schemeClr val="tx2"/>
        </a:buClr>
        <a:buFont typeface="Wingdings" panose="05000000000000000000" pitchFamily="2" charset="2"/>
        <a:buChar char="§"/>
        <a:defRPr sz="1600" kern="1200">
          <a:solidFill>
            <a:schemeClr val="tx1"/>
          </a:solidFill>
          <a:latin typeface="+mn-lt"/>
          <a:ea typeface="+mn-ea"/>
          <a:cs typeface="+mn-cs"/>
        </a:defRPr>
      </a:lvl8pPr>
      <a:lvl9pPr marL="1944000" indent="-252000" algn="l" defTabSz="914400" rtl="0" eaLnBrk="1" latinLnBrk="0" hangingPunct="1">
        <a:lnSpc>
          <a:spcPct val="110000"/>
        </a:lnSpc>
        <a:spcBef>
          <a:spcPts val="600"/>
        </a:spcBef>
        <a:buClr>
          <a:schemeClr val="tx2"/>
        </a:buClr>
        <a:buFont typeface="Wingdings" panose="05000000000000000000" pitchFamily="2" charset="2"/>
        <a:buChar char="§"/>
        <a:defRPr sz="16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319">
          <p15:clr>
            <a:srgbClr val="5ACBF0"/>
          </p15:clr>
        </p15:guide>
        <p15:guide id="3" pos="257">
          <p15:clr>
            <a:srgbClr val="5ACBF0"/>
          </p15:clr>
        </p15:guide>
        <p15:guide id="4" pos="675">
          <p15:clr>
            <a:srgbClr val="5ACBF0"/>
          </p15:clr>
        </p15:guide>
        <p15:guide id="5" pos="7038">
          <p15:clr>
            <a:srgbClr val="5ACBF0"/>
          </p15:clr>
        </p15:guide>
        <p15:guide id="6" pos="7446">
          <p15:clr>
            <a:srgbClr val="5ACBF0"/>
          </p15:clr>
        </p15:guide>
        <p15:guide id="7" orient="horz" pos="255">
          <p15:clr>
            <a:srgbClr val="5ACBF0"/>
          </p15:clr>
        </p15:guide>
        <p15:guide id="8" orient="horz" pos="663">
          <p15:clr>
            <a:srgbClr val="5ACBF0"/>
          </p15:clr>
        </p15:guide>
        <p15:guide id="9" orient="horz" pos="799">
          <p15:clr>
            <a:srgbClr val="5ACBF0"/>
          </p15:clr>
        </p15:guide>
        <p15:guide id="10" orient="horz" pos="1026">
          <p15:clr>
            <a:srgbClr val="5ACBF0"/>
          </p15:clr>
        </p15:guide>
        <p15:guide id="11" orient="horz" pos="3634">
          <p15:clr>
            <a:srgbClr val="5ACBF0"/>
          </p15:clr>
        </p15:guide>
        <p15:guide id="12" orient="horz" pos="3929">
          <p15:clr>
            <a:srgbClr val="5ACBF0"/>
          </p15:clr>
        </p15:guide>
        <p15:guide id="13" orient="horz" pos="4133">
          <p15:clr>
            <a:srgbClr val="5ACBF0"/>
          </p15:clr>
        </p15:guide>
      </p15:sldGuideLst>
    </p:ext>
  </p:extLst>
</p:sldMaster>
</file>

<file path=ppt/slideMasters/slideMaster1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5" name="Oggetto 4" hidden="1">
            <a:extLst>
              <a:ext uri="{FF2B5EF4-FFF2-40B4-BE49-F238E27FC236}">
                <a16:creationId xmlns:a16="http://schemas.microsoft.com/office/drawing/2014/main" id="{46B8B118-3F0A-4D36-A0C9-ADD9E9AE1B0C}"/>
              </a:ext>
            </a:extLst>
          </p:cNvPr>
          <p:cNvGraphicFramePr>
            <a:graphicFrameLocks noChangeAspect="1"/>
          </p:cNvGraphicFramePr>
          <p:nvPr userDrawn="1">
            <p:custDataLst>
              <p:tags r:id="rId31"/>
            </p:custDataLst>
            <p:extLst>
              <p:ext uri="{D42A27DB-BD31-4B8C-83A1-F6EECF244321}">
                <p14:modId xmlns:p14="http://schemas.microsoft.com/office/powerpoint/2010/main" val="12616912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7526" name="Diapositiva think-cell" r:id="rId33" imgW="395" imgH="396" progId="TCLayout.ActiveDocument.1">
                  <p:embed/>
                </p:oleObj>
              </mc:Choice>
              <mc:Fallback>
                <p:oleObj name="Diapositiva think-cell" r:id="rId33" imgW="395" imgH="396" progId="TCLayout.ActiveDocument.1">
                  <p:embed/>
                  <p:pic>
                    <p:nvPicPr>
                      <p:cNvPr id="5" name="Oggetto 4" hidden="1">
                        <a:extLst>
                          <a:ext uri="{FF2B5EF4-FFF2-40B4-BE49-F238E27FC236}">
                            <a16:creationId xmlns:a16="http://schemas.microsoft.com/office/drawing/2014/main" id="{46B8B118-3F0A-4D36-A0C9-ADD9E9AE1B0C}"/>
                          </a:ext>
                        </a:extLst>
                      </p:cNvPr>
                      <p:cNvPicPr/>
                      <p:nvPr/>
                    </p:nvPicPr>
                    <p:blipFill>
                      <a:blip r:embed="rId34"/>
                      <a:stretch>
                        <a:fillRect/>
                      </a:stretch>
                    </p:blipFill>
                    <p:spPr>
                      <a:xfrm>
                        <a:off x="1588" y="1588"/>
                        <a:ext cx="1588" cy="1588"/>
                      </a:xfrm>
                      <a:prstGeom prst="rect">
                        <a:avLst/>
                      </a:prstGeom>
                    </p:spPr>
                  </p:pic>
                </p:oleObj>
              </mc:Fallback>
            </mc:AlternateContent>
          </a:graphicData>
        </a:graphic>
      </p:graphicFrame>
      <p:sp>
        <p:nvSpPr>
          <p:cNvPr id="4" name="Rettangolo 3" hidden="1">
            <a:extLst>
              <a:ext uri="{FF2B5EF4-FFF2-40B4-BE49-F238E27FC236}">
                <a16:creationId xmlns:a16="http://schemas.microsoft.com/office/drawing/2014/main" id="{1D85021D-95EC-47DA-A015-36E53DD8035A}"/>
              </a:ext>
            </a:extLst>
          </p:cNvPr>
          <p:cNvSpPr/>
          <p:nvPr userDrawn="1">
            <p:custDataLst>
              <p:tags r:id="rId3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lnSpc>
                <a:spcPct val="125000"/>
              </a:lnSpc>
            </a:pPr>
            <a:endParaRPr lang="en-US" sz="3600" b="0" i="0" baseline="0">
              <a:latin typeface="Lato Light" panose="020F0502020204030203" pitchFamily="34" charset="0"/>
              <a:ea typeface="+mj-ea"/>
              <a:cs typeface="+mj-cs"/>
              <a:sym typeface="Lato Light" panose="020F0502020204030203" pitchFamily="34" charset="0"/>
            </a:endParaRPr>
          </a:p>
        </p:txBody>
      </p:sp>
      <p:grpSp>
        <p:nvGrpSpPr>
          <p:cNvPr id="13" name="logo">
            <a:extLst>
              <a:ext uri="{FF2B5EF4-FFF2-40B4-BE49-F238E27FC236}">
                <a16:creationId xmlns:a16="http://schemas.microsoft.com/office/drawing/2014/main" id="{57BD2C4C-DC67-B843-B26C-309622FC75F7}"/>
              </a:ext>
            </a:extLst>
          </p:cNvPr>
          <p:cNvGrpSpPr>
            <a:grpSpLocks noChangeAspect="1"/>
          </p:cNvGrpSpPr>
          <p:nvPr/>
        </p:nvGrpSpPr>
        <p:grpSpPr bwMode="gray">
          <a:xfrm>
            <a:off x="11174018" y="401441"/>
            <a:ext cx="644225" cy="646507"/>
            <a:chOff x="2711" y="1027"/>
            <a:chExt cx="2258" cy="2266"/>
          </a:xfrm>
        </p:grpSpPr>
        <p:sp>
          <p:nvSpPr>
            <p:cNvPr id="14" name="AutoShape 3">
              <a:extLst>
                <a:ext uri="{FF2B5EF4-FFF2-40B4-BE49-F238E27FC236}">
                  <a16:creationId xmlns:a16="http://schemas.microsoft.com/office/drawing/2014/main" id="{FE1DC41B-291E-574C-9F2C-874E70A40758}"/>
                </a:ext>
              </a:extLst>
            </p:cNvPr>
            <p:cNvSpPr>
              <a:spLocks noChangeAspect="1" noChangeArrowheads="1" noTextEdit="1"/>
            </p:cNvSpPr>
            <p:nvPr/>
          </p:nvSpPr>
          <p:spPr bwMode="gray">
            <a:xfrm>
              <a:off x="2711" y="1027"/>
              <a:ext cx="2258" cy="22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15" name="Freeform 5">
              <a:extLst>
                <a:ext uri="{FF2B5EF4-FFF2-40B4-BE49-F238E27FC236}">
                  <a16:creationId xmlns:a16="http://schemas.microsoft.com/office/drawing/2014/main" id="{D4B633C8-F761-C54B-9BD2-EB59D49A2DBC}"/>
                </a:ext>
              </a:extLst>
            </p:cNvPr>
            <p:cNvSpPr>
              <a:spLocks/>
            </p:cNvSpPr>
            <p:nvPr/>
          </p:nvSpPr>
          <p:spPr bwMode="gray">
            <a:xfrm>
              <a:off x="2709" y="1029"/>
              <a:ext cx="2260" cy="2262"/>
            </a:xfrm>
            <a:custGeom>
              <a:avLst/>
              <a:gdLst>
                <a:gd name="T0" fmla="*/ 2260 w 2260"/>
                <a:gd name="T1" fmla="*/ 0 h 2262"/>
                <a:gd name="T2" fmla="*/ 1612 w 2260"/>
                <a:gd name="T3" fmla="*/ 649 h 2262"/>
                <a:gd name="T4" fmla="*/ 1612 w 2260"/>
                <a:gd name="T5" fmla="*/ 649 h 2262"/>
                <a:gd name="T6" fmla="*/ 2035 w 2260"/>
                <a:gd name="T7" fmla="*/ 0 h 2262"/>
                <a:gd name="T8" fmla="*/ 0 w 2260"/>
                <a:gd name="T9" fmla="*/ 0 h 2262"/>
                <a:gd name="T10" fmla="*/ 0 w 2260"/>
                <a:gd name="T11" fmla="*/ 2262 h 2262"/>
                <a:gd name="T12" fmla="*/ 2260 w 2260"/>
                <a:gd name="T13" fmla="*/ 2262 h 2262"/>
                <a:gd name="T14" fmla="*/ 2260 w 2260"/>
                <a:gd name="T15" fmla="*/ 0 h 2262"/>
                <a:gd name="T16" fmla="*/ 2260 w 2260"/>
                <a:gd name="T17" fmla="*/ 0 h 2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0" h="2262">
                  <a:moveTo>
                    <a:pt x="2260" y="0"/>
                  </a:moveTo>
                  <a:lnTo>
                    <a:pt x="1612" y="649"/>
                  </a:lnTo>
                  <a:lnTo>
                    <a:pt x="1612" y="649"/>
                  </a:lnTo>
                  <a:lnTo>
                    <a:pt x="2035" y="0"/>
                  </a:lnTo>
                  <a:lnTo>
                    <a:pt x="0" y="0"/>
                  </a:lnTo>
                  <a:lnTo>
                    <a:pt x="0" y="2262"/>
                  </a:lnTo>
                  <a:lnTo>
                    <a:pt x="2260" y="2262"/>
                  </a:lnTo>
                  <a:lnTo>
                    <a:pt x="2260" y="0"/>
                  </a:lnTo>
                  <a:lnTo>
                    <a:pt x="2260" y="0"/>
                  </a:lnTo>
                  <a:close/>
                </a:path>
              </a:pathLst>
            </a:custGeom>
            <a:solidFill>
              <a:srgbClr val="E55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16" name="Freeform 6">
              <a:extLst>
                <a:ext uri="{FF2B5EF4-FFF2-40B4-BE49-F238E27FC236}">
                  <a16:creationId xmlns:a16="http://schemas.microsoft.com/office/drawing/2014/main" id="{B16BAAE4-1A41-C843-9754-490F7A1E1270}"/>
                </a:ext>
              </a:extLst>
            </p:cNvPr>
            <p:cNvSpPr>
              <a:spLocks noEditPoints="1"/>
            </p:cNvSpPr>
            <p:nvPr/>
          </p:nvSpPr>
          <p:spPr bwMode="gray">
            <a:xfrm>
              <a:off x="3623" y="1696"/>
              <a:ext cx="1167" cy="922"/>
            </a:xfrm>
            <a:custGeom>
              <a:avLst/>
              <a:gdLst>
                <a:gd name="T0" fmla="*/ 411 w 580"/>
                <a:gd name="T1" fmla="*/ 213 h 458"/>
                <a:gd name="T2" fmla="*/ 570 w 580"/>
                <a:gd name="T3" fmla="*/ 37 h 458"/>
                <a:gd name="T4" fmla="*/ 580 w 580"/>
                <a:gd name="T5" fmla="*/ 20 h 458"/>
                <a:gd name="T6" fmla="*/ 545 w 580"/>
                <a:gd name="T7" fmla="*/ 0 h 458"/>
                <a:gd name="T8" fmla="*/ 519 w 580"/>
                <a:gd name="T9" fmla="*/ 16 h 458"/>
                <a:gd name="T10" fmla="*/ 344 w 580"/>
                <a:gd name="T11" fmla="*/ 210 h 458"/>
                <a:gd name="T12" fmla="*/ 334 w 580"/>
                <a:gd name="T13" fmla="*/ 229 h 458"/>
                <a:gd name="T14" fmla="*/ 344 w 580"/>
                <a:gd name="T15" fmla="*/ 248 h 458"/>
                <a:gd name="T16" fmla="*/ 519 w 580"/>
                <a:gd name="T17" fmla="*/ 442 h 458"/>
                <a:gd name="T18" fmla="*/ 545 w 580"/>
                <a:gd name="T19" fmla="*/ 458 h 458"/>
                <a:gd name="T20" fmla="*/ 580 w 580"/>
                <a:gd name="T21" fmla="*/ 438 h 458"/>
                <a:gd name="T22" fmla="*/ 570 w 580"/>
                <a:gd name="T23" fmla="*/ 421 h 458"/>
                <a:gd name="T24" fmla="*/ 411 w 580"/>
                <a:gd name="T25" fmla="*/ 245 h 458"/>
                <a:gd name="T26" fmla="*/ 399 w 580"/>
                <a:gd name="T27" fmla="*/ 229 h 458"/>
                <a:gd name="T28" fmla="*/ 411 w 580"/>
                <a:gd name="T29" fmla="*/ 213 h 458"/>
                <a:gd name="T30" fmla="*/ 252 w 580"/>
                <a:gd name="T31" fmla="*/ 439 h 458"/>
                <a:gd name="T32" fmla="*/ 281 w 580"/>
                <a:gd name="T33" fmla="*/ 454 h 458"/>
                <a:gd name="T34" fmla="*/ 309 w 580"/>
                <a:gd name="T35" fmla="*/ 439 h 458"/>
                <a:gd name="T36" fmla="*/ 309 w 580"/>
                <a:gd name="T37" fmla="*/ 19 h 458"/>
                <a:gd name="T38" fmla="*/ 281 w 580"/>
                <a:gd name="T39" fmla="*/ 4 h 458"/>
                <a:gd name="T40" fmla="*/ 252 w 580"/>
                <a:gd name="T41" fmla="*/ 19 h 458"/>
                <a:gd name="T42" fmla="*/ 252 w 580"/>
                <a:gd name="T43" fmla="*/ 439 h 458"/>
                <a:gd name="T44" fmla="*/ 0 w 580"/>
                <a:gd name="T45" fmla="*/ 439 h 458"/>
                <a:gd name="T46" fmla="*/ 28 w 580"/>
                <a:gd name="T47" fmla="*/ 454 h 458"/>
                <a:gd name="T48" fmla="*/ 56 w 580"/>
                <a:gd name="T49" fmla="*/ 439 h 458"/>
                <a:gd name="T50" fmla="*/ 56 w 580"/>
                <a:gd name="T51" fmla="*/ 157 h 458"/>
                <a:gd name="T52" fmla="*/ 165 w 580"/>
                <a:gd name="T53" fmla="*/ 53 h 458"/>
                <a:gd name="T54" fmla="*/ 180 w 580"/>
                <a:gd name="T55" fmla="*/ 53 h 458"/>
                <a:gd name="T56" fmla="*/ 196 w 580"/>
                <a:gd name="T57" fmla="*/ 27 h 458"/>
                <a:gd name="T58" fmla="*/ 154 w 580"/>
                <a:gd name="T59" fmla="*/ 4 h 458"/>
                <a:gd name="T60" fmla="*/ 0 w 580"/>
                <a:gd name="T61" fmla="*/ 152 h 458"/>
                <a:gd name="T62" fmla="*/ 0 w 580"/>
                <a:gd name="T63" fmla="*/ 439 h 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80" h="458">
                  <a:moveTo>
                    <a:pt x="411" y="213"/>
                  </a:moveTo>
                  <a:cubicBezTo>
                    <a:pt x="570" y="37"/>
                    <a:pt x="570" y="37"/>
                    <a:pt x="570" y="37"/>
                  </a:cubicBezTo>
                  <a:cubicBezTo>
                    <a:pt x="576" y="30"/>
                    <a:pt x="580" y="25"/>
                    <a:pt x="580" y="20"/>
                  </a:cubicBezTo>
                  <a:cubicBezTo>
                    <a:pt x="580" y="10"/>
                    <a:pt x="559" y="0"/>
                    <a:pt x="545" y="0"/>
                  </a:cubicBezTo>
                  <a:cubicBezTo>
                    <a:pt x="535" y="0"/>
                    <a:pt x="526" y="8"/>
                    <a:pt x="519" y="16"/>
                  </a:cubicBezTo>
                  <a:cubicBezTo>
                    <a:pt x="344" y="210"/>
                    <a:pt x="344" y="210"/>
                    <a:pt x="344" y="210"/>
                  </a:cubicBezTo>
                  <a:cubicBezTo>
                    <a:pt x="336" y="219"/>
                    <a:pt x="334" y="224"/>
                    <a:pt x="334" y="229"/>
                  </a:cubicBezTo>
                  <a:cubicBezTo>
                    <a:pt x="334" y="234"/>
                    <a:pt x="336" y="239"/>
                    <a:pt x="344" y="248"/>
                  </a:cubicBezTo>
                  <a:cubicBezTo>
                    <a:pt x="519" y="442"/>
                    <a:pt x="519" y="442"/>
                    <a:pt x="519" y="442"/>
                  </a:cubicBezTo>
                  <a:cubicBezTo>
                    <a:pt x="526" y="450"/>
                    <a:pt x="535" y="458"/>
                    <a:pt x="545" y="458"/>
                  </a:cubicBezTo>
                  <a:cubicBezTo>
                    <a:pt x="559" y="458"/>
                    <a:pt x="580" y="448"/>
                    <a:pt x="580" y="438"/>
                  </a:cubicBezTo>
                  <a:cubicBezTo>
                    <a:pt x="580" y="433"/>
                    <a:pt x="576" y="428"/>
                    <a:pt x="570" y="421"/>
                  </a:cubicBezTo>
                  <a:cubicBezTo>
                    <a:pt x="411" y="245"/>
                    <a:pt x="411" y="245"/>
                    <a:pt x="411" y="245"/>
                  </a:cubicBezTo>
                  <a:cubicBezTo>
                    <a:pt x="403" y="236"/>
                    <a:pt x="399" y="232"/>
                    <a:pt x="399" y="229"/>
                  </a:cubicBezTo>
                  <a:cubicBezTo>
                    <a:pt x="399" y="226"/>
                    <a:pt x="403" y="222"/>
                    <a:pt x="411" y="213"/>
                  </a:cubicBezTo>
                  <a:moveTo>
                    <a:pt x="252" y="439"/>
                  </a:moveTo>
                  <a:cubicBezTo>
                    <a:pt x="252" y="449"/>
                    <a:pt x="261" y="454"/>
                    <a:pt x="281" y="454"/>
                  </a:cubicBezTo>
                  <a:cubicBezTo>
                    <a:pt x="300" y="454"/>
                    <a:pt x="309" y="449"/>
                    <a:pt x="309" y="439"/>
                  </a:cubicBezTo>
                  <a:cubicBezTo>
                    <a:pt x="309" y="19"/>
                    <a:pt x="309" y="19"/>
                    <a:pt x="309" y="19"/>
                  </a:cubicBezTo>
                  <a:cubicBezTo>
                    <a:pt x="309" y="9"/>
                    <a:pt x="300" y="4"/>
                    <a:pt x="281" y="4"/>
                  </a:cubicBezTo>
                  <a:cubicBezTo>
                    <a:pt x="261" y="4"/>
                    <a:pt x="252" y="9"/>
                    <a:pt x="252" y="19"/>
                  </a:cubicBezTo>
                  <a:lnTo>
                    <a:pt x="252" y="439"/>
                  </a:lnTo>
                  <a:close/>
                  <a:moveTo>
                    <a:pt x="0" y="439"/>
                  </a:moveTo>
                  <a:cubicBezTo>
                    <a:pt x="0" y="449"/>
                    <a:pt x="8" y="454"/>
                    <a:pt x="28" y="454"/>
                  </a:cubicBezTo>
                  <a:cubicBezTo>
                    <a:pt x="48" y="454"/>
                    <a:pt x="56" y="449"/>
                    <a:pt x="56" y="439"/>
                  </a:cubicBezTo>
                  <a:cubicBezTo>
                    <a:pt x="56" y="157"/>
                    <a:pt x="56" y="157"/>
                    <a:pt x="56" y="157"/>
                  </a:cubicBezTo>
                  <a:cubicBezTo>
                    <a:pt x="56" y="83"/>
                    <a:pt x="85" y="53"/>
                    <a:pt x="165" y="53"/>
                  </a:cubicBezTo>
                  <a:cubicBezTo>
                    <a:pt x="180" y="53"/>
                    <a:pt x="180" y="53"/>
                    <a:pt x="180" y="53"/>
                  </a:cubicBezTo>
                  <a:cubicBezTo>
                    <a:pt x="192" y="53"/>
                    <a:pt x="196" y="43"/>
                    <a:pt x="196" y="27"/>
                  </a:cubicBezTo>
                  <a:cubicBezTo>
                    <a:pt x="196" y="8"/>
                    <a:pt x="185" y="4"/>
                    <a:pt x="154" y="4"/>
                  </a:cubicBezTo>
                  <a:cubicBezTo>
                    <a:pt x="64" y="4"/>
                    <a:pt x="0" y="43"/>
                    <a:pt x="0" y="152"/>
                  </a:cubicBezTo>
                  <a:lnTo>
                    <a:pt x="0" y="43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17" name="Freeform 7">
              <a:extLst>
                <a:ext uri="{FF2B5EF4-FFF2-40B4-BE49-F238E27FC236}">
                  <a16:creationId xmlns:a16="http://schemas.microsoft.com/office/drawing/2014/main" id="{2F32DCBD-8628-F245-85CD-97686A20ECFD}"/>
                </a:ext>
              </a:extLst>
            </p:cNvPr>
            <p:cNvSpPr>
              <a:spLocks/>
            </p:cNvSpPr>
            <p:nvPr/>
          </p:nvSpPr>
          <p:spPr bwMode="gray">
            <a:xfrm>
              <a:off x="2880" y="1704"/>
              <a:ext cx="618" cy="916"/>
            </a:xfrm>
            <a:custGeom>
              <a:avLst/>
              <a:gdLst>
                <a:gd name="T0" fmla="*/ 307 w 307"/>
                <a:gd name="T1" fmla="*/ 405 h 455"/>
                <a:gd name="T2" fmla="*/ 307 w 307"/>
                <a:gd name="T3" fmla="*/ 244 h 455"/>
                <a:gd name="T4" fmla="*/ 279 w 307"/>
                <a:gd name="T5" fmla="*/ 229 h 455"/>
                <a:gd name="T6" fmla="*/ 250 w 307"/>
                <a:gd name="T7" fmla="*/ 244 h 455"/>
                <a:gd name="T8" fmla="*/ 250 w 307"/>
                <a:gd name="T9" fmla="*/ 378 h 455"/>
                <a:gd name="T10" fmla="*/ 199 w 307"/>
                <a:gd name="T11" fmla="*/ 408 h 455"/>
                <a:gd name="T12" fmla="*/ 61 w 307"/>
                <a:gd name="T13" fmla="*/ 231 h 455"/>
                <a:gd name="T14" fmla="*/ 238 w 307"/>
                <a:gd name="T15" fmla="*/ 49 h 455"/>
                <a:gd name="T16" fmla="*/ 270 w 307"/>
                <a:gd name="T17" fmla="*/ 49 h 455"/>
                <a:gd name="T18" fmla="*/ 286 w 307"/>
                <a:gd name="T19" fmla="*/ 23 h 455"/>
                <a:gd name="T20" fmla="*/ 244 w 307"/>
                <a:gd name="T21" fmla="*/ 0 h 455"/>
                <a:gd name="T22" fmla="*/ 231 w 307"/>
                <a:gd name="T23" fmla="*/ 0 h 455"/>
                <a:gd name="T24" fmla="*/ 0 w 307"/>
                <a:gd name="T25" fmla="*/ 232 h 455"/>
                <a:gd name="T26" fmla="*/ 198 w 307"/>
                <a:gd name="T27" fmla="*/ 455 h 455"/>
                <a:gd name="T28" fmla="*/ 307 w 307"/>
                <a:gd name="T29" fmla="*/ 405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7" h="455">
                  <a:moveTo>
                    <a:pt x="307" y="405"/>
                  </a:moveTo>
                  <a:cubicBezTo>
                    <a:pt x="307" y="244"/>
                    <a:pt x="307" y="244"/>
                    <a:pt x="307" y="244"/>
                  </a:cubicBezTo>
                  <a:cubicBezTo>
                    <a:pt x="307" y="234"/>
                    <a:pt x="298" y="229"/>
                    <a:pt x="279" y="229"/>
                  </a:cubicBezTo>
                  <a:cubicBezTo>
                    <a:pt x="259" y="229"/>
                    <a:pt x="250" y="234"/>
                    <a:pt x="250" y="244"/>
                  </a:cubicBezTo>
                  <a:cubicBezTo>
                    <a:pt x="250" y="378"/>
                    <a:pt x="250" y="378"/>
                    <a:pt x="250" y="378"/>
                  </a:cubicBezTo>
                  <a:cubicBezTo>
                    <a:pt x="250" y="399"/>
                    <a:pt x="241" y="408"/>
                    <a:pt x="199" y="408"/>
                  </a:cubicBezTo>
                  <a:cubicBezTo>
                    <a:pt x="114" y="408"/>
                    <a:pt x="61" y="342"/>
                    <a:pt x="61" y="231"/>
                  </a:cubicBezTo>
                  <a:cubicBezTo>
                    <a:pt x="61" y="115"/>
                    <a:pt x="126" y="49"/>
                    <a:pt x="238" y="49"/>
                  </a:cubicBezTo>
                  <a:cubicBezTo>
                    <a:pt x="270" y="49"/>
                    <a:pt x="270" y="49"/>
                    <a:pt x="270" y="49"/>
                  </a:cubicBezTo>
                  <a:cubicBezTo>
                    <a:pt x="282" y="49"/>
                    <a:pt x="286" y="39"/>
                    <a:pt x="286" y="23"/>
                  </a:cubicBezTo>
                  <a:cubicBezTo>
                    <a:pt x="286" y="4"/>
                    <a:pt x="275" y="0"/>
                    <a:pt x="244" y="0"/>
                  </a:cubicBezTo>
                  <a:cubicBezTo>
                    <a:pt x="231" y="0"/>
                    <a:pt x="231" y="0"/>
                    <a:pt x="231" y="0"/>
                  </a:cubicBezTo>
                  <a:cubicBezTo>
                    <a:pt x="101" y="0"/>
                    <a:pt x="0" y="71"/>
                    <a:pt x="0" y="232"/>
                  </a:cubicBezTo>
                  <a:cubicBezTo>
                    <a:pt x="0" y="386"/>
                    <a:pt x="88" y="455"/>
                    <a:pt x="198" y="455"/>
                  </a:cubicBezTo>
                  <a:cubicBezTo>
                    <a:pt x="286" y="455"/>
                    <a:pt x="307" y="430"/>
                    <a:pt x="307" y="40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18" name="Oval 8">
              <a:extLst>
                <a:ext uri="{FF2B5EF4-FFF2-40B4-BE49-F238E27FC236}">
                  <a16:creationId xmlns:a16="http://schemas.microsoft.com/office/drawing/2014/main" id="{60D97C11-1A3B-5449-A48D-98A3E79B3810}"/>
                </a:ext>
              </a:extLst>
            </p:cNvPr>
            <p:cNvSpPr>
              <a:spLocks noChangeArrowheads="1"/>
            </p:cNvSpPr>
            <p:nvPr/>
          </p:nvSpPr>
          <p:spPr bwMode="gray">
            <a:xfrm>
              <a:off x="3778" y="2099"/>
              <a:ext cx="122" cy="12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19" name="Freeform 9">
              <a:extLst>
                <a:ext uri="{FF2B5EF4-FFF2-40B4-BE49-F238E27FC236}">
                  <a16:creationId xmlns:a16="http://schemas.microsoft.com/office/drawing/2014/main" id="{5856770D-B8F0-244E-A05D-AED190086F10}"/>
                </a:ext>
              </a:extLst>
            </p:cNvPr>
            <p:cNvSpPr>
              <a:spLocks noEditPoints="1"/>
            </p:cNvSpPr>
            <p:nvPr/>
          </p:nvSpPr>
          <p:spPr bwMode="gray">
            <a:xfrm>
              <a:off x="3623" y="1696"/>
              <a:ext cx="1167" cy="922"/>
            </a:xfrm>
            <a:custGeom>
              <a:avLst/>
              <a:gdLst>
                <a:gd name="T0" fmla="*/ 411 w 580"/>
                <a:gd name="T1" fmla="*/ 213 h 458"/>
                <a:gd name="T2" fmla="*/ 570 w 580"/>
                <a:gd name="T3" fmla="*/ 37 h 458"/>
                <a:gd name="T4" fmla="*/ 580 w 580"/>
                <a:gd name="T5" fmla="*/ 20 h 458"/>
                <a:gd name="T6" fmla="*/ 545 w 580"/>
                <a:gd name="T7" fmla="*/ 0 h 458"/>
                <a:gd name="T8" fmla="*/ 519 w 580"/>
                <a:gd name="T9" fmla="*/ 16 h 458"/>
                <a:gd name="T10" fmla="*/ 344 w 580"/>
                <a:gd name="T11" fmla="*/ 210 h 458"/>
                <a:gd name="T12" fmla="*/ 334 w 580"/>
                <a:gd name="T13" fmla="*/ 229 h 458"/>
                <a:gd name="T14" fmla="*/ 344 w 580"/>
                <a:gd name="T15" fmla="*/ 248 h 458"/>
                <a:gd name="T16" fmla="*/ 519 w 580"/>
                <a:gd name="T17" fmla="*/ 442 h 458"/>
                <a:gd name="T18" fmla="*/ 545 w 580"/>
                <a:gd name="T19" fmla="*/ 458 h 458"/>
                <a:gd name="T20" fmla="*/ 580 w 580"/>
                <a:gd name="T21" fmla="*/ 438 h 458"/>
                <a:gd name="T22" fmla="*/ 570 w 580"/>
                <a:gd name="T23" fmla="*/ 421 h 458"/>
                <a:gd name="T24" fmla="*/ 411 w 580"/>
                <a:gd name="T25" fmla="*/ 245 h 458"/>
                <a:gd name="T26" fmla="*/ 399 w 580"/>
                <a:gd name="T27" fmla="*/ 229 h 458"/>
                <a:gd name="T28" fmla="*/ 411 w 580"/>
                <a:gd name="T29" fmla="*/ 213 h 458"/>
                <a:gd name="T30" fmla="*/ 252 w 580"/>
                <a:gd name="T31" fmla="*/ 439 h 458"/>
                <a:gd name="T32" fmla="*/ 281 w 580"/>
                <a:gd name="T33" fmla="*/ 454 h 458"/>
                <a:gd name="T34" fmla="*/ 309 w 580"/>
                <a:gd name="T35" fmla="*/ 439 h 458"/>
                <a:gd name="T36" fmla="*/ 309 w 580"/>
                <a:gd name="T37" fmla="*/ 19 h 458"/>
                <a:gd name="T38" fmla="*/ 281 w 580"/>
                <a:gd name="T39" fmla="*/ 4 h 458"/>
                <a:gd name="T40" fmla="*/ 252 w 580"/>
                <a:gd name="T41" fmla="*/ 19 h 458"/>
                <a:gd name="T42" fmla="*/ 252 w 580"/>
                <a:gd name="T43" fmla="*/ 439 h 458"/>
                <a:gd name="T44" fmla="*/ 0 w 580"/>
                <a:gd name="T45" fmla="*/ 439 h 458"/>
                <a:gd name="T46" fmla="*/ 28 w 580"/>
                <a:gd name="T47" fmla="*/ 454 h 458"/>
                <a:gd name="T48" fmla="*/ 56 w 580"/>
                <a:gd name="T49" fmla="*/ 439 h 458"/>
                <a:gd name="T50" fmla="*/ 56 w 580"/>
                <a:gd name="T51" fmla="*/ 157 h 458"/>
                <a:gd name="T52" fmla="*/ 165 w 580"/>
                <a:gd name="T53" fmla="*/ 53 h 458"/>
                <a:gd name="T54" fmla="*/ 180 w 580"/>
                <a:gd name="T55" fmla="*/ 53 h 458"/>
                <a:gd name="T56" fmla="*/ 196 w 580"/>
                <a:gd name="T57" fmla="*/ 27 h 458"/>
                <a:gd name="T58" fmla="*/ 154 w 580"/>
                <a:gd name="T59" fmla="*/ 4 h 458"/>
                <a:gd name="T60" fmla="*/ 0 w 580"/>
                <a:gd name="T61" fmla="*/ 152 h 458"/>
                <a:gd name="T62" fmla="*/ 0 w 580"/>
                <a:gd name="T63" fmla="*/ 439 h 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80" h="458">
                  <a:moveTo>
                    <a:pt x="411" y="213"/>
                  </a:moveTo>
                  <a:cubicBezTo>
                    <a:pt x="570" y="37"/>
                    <a:pt x="570" y="37"/>
                    <a:pt x="570" y="37"/>
                  </a:cubicBezTo>
                  <a:cubicBezTo>
                    <a:pt x="576" y="30"/>
                    <a:pt x="580" y="25"/>
                    <a:pt x="580" y="20"/>
                  </a:cubicBezTo>
                  <a:cubicBezTo>
                    <a:pt x="580" y="10"/>
                    <a:pt x="559" y="0"/>
                    <a:pt x="545" y="0"/>
                  </a:cubicBezTo>
                  <a:cubicBezTo>
                    <a:pt x="535" y="0"/>
                    <a:pt x="526" y="8"/>
                    <a:pt x="519" y="16"/>
                  </a:cubicBezTo>
                  <a:cubicBezTo>
                    <a:pt x="344" y="210"/>
                    <a:pt x="344" y="210"/>
                    <a:pt x="344" y="210"/>
                  </a:cubicBezTo>
                  <a:cubicBezTo>
                    <a:pt x="336" y="219"/>
                    <a:pt x="334" y="224"/>
                    <a:pt x="334" y="229"/>
                  </a:cubicBezTo>
                  <a:cubicBezTo>
                    <a:pt x="334" y="234"/>
                    <a:pt x="336" y="239"/>
                    <a:pt x="344" y="248"/>
                  </a:cubicBezTo>
                  <a:cubicBezTo>
                    <a:pt x="519" y="442"/>
                    <a:pt x="519" y="442"/>
                    <a:pt x="519" y="442"/>
                  </a:cubicBezTo>
                  <a:cubicBezTo>
                    <a:pt x="526" y="450"/>
                    <a:pt x="535" y="458"/>
                    <a:pt x="545" y="458"/>
                  </a:cubicBezTo>
                  <a:cubicBezTo>
                    <a:pt x="559" y="458"/>
                    <a:pt x="580" y="448"/>
                    <a:pt x="580" y="438"/>
                  </a:cubicBezTo>
                  <a:cubicBezTo>
                    <a:pt x="580" y="433"/>
                    <a:pt x="576" y="428"/>
                    <a:pt x="570" y="421"/>
                  </a:cubicBezTo>
                  <a:cubicBezTo>
                    <a:pt x="411" y="245"/>
                    <a:pt x="411" y="245"/>
                    <a:pt x="411" y="245"/>
                  </a:cubicBezTo>
                  <a:cubicBezTo>
                    <a:pt x="403" y="236"/>
                    <a:pt x="399" y="232"/>
                    <a:pt x="399" y="229"/>
                  </a:cubicBezTo>
                  <a:cubicBezTo>
                    <a:pt x="399" y="226"/>
                    <a:pt x="403" y="222"/>
                    <a:pt x="411" y="213"/>
                  </a:cubicBezTo>
                  <a:moveTo>
                    <a:pt x="252" y="439"/>
                  </a:moveTo>
                  <a:cubicBezTo>
                    <a:pt x="252" y="449"/>
                    <a:pt x="261" y="454"/>
                    <a:pt x="281" y="454"/>
                  </a:cubicBezTo>
                  <a:cubicBezTo>
                    <a:pt x="300" y="454"/>
                    <a:pt x="309" y="449"/>
                    <a:pt x="309" y="439"/>
                  </a:cubicBezTo>
                  <a:cubicBezTo>
                    <a:pt x="309" y="19"/>
                    <a:pt x="309" y="19"/>
                    <a:pt x="309" y="19"/>
                  </a:cubicBezTo>
                  <a:cubicBezTo>
                    <a:pt x="309" y="9"/>
                    <a:pt x="300" y="4"/>
                    <a:pt x="281" y="4"/>
                  </a:cubicBezTo>
                  <a:cubicBezTo>
                    <a:pt x="261" y="4"/>
                    <a:pt x="252" y="9"/>
                    <a:pt x="252" y="19"/>
                  </a:cubicBezTo>
                  <a:lnTo>
                    <a:pt x="252" y="439"/>
                  </a:lnTo>
                  <a:close/>
                  <a:moveTo>
                    <a:pt x="0" y="439"/>
                  </a:moveTo>
                  <a:cubicBezTo>
                    <a:pt x="0" y="449"/>
                    <a:pt x="8" y="454"/>
                    <a:pt x="28" y="454"/>
                  </a:cubicBezTo>
                  <a:cubicBezTo>
                    <a:pt x="48" y="454"/>
                    <a:pt x="56" y="449"/>
                    <a:pt x="56" y="439"/>
                  </a:cubicBezTo>
                  <a:cubicBezTo>
                    <a:pt x="56" y="157"/>
                    <a:pt x="56" y="157"/>
                    <a:pt x="56" y="157"/>
                  </a:cubicBezTo>
                  <a:cubicBezTo>
                    <a:pt x="56" y="83"/>
                    <a:pt x="85" y="53"/>
                    <a:pt x="165" y="53"/>
                  </a:cubicBezTo>
                  <a:cubicBezTo>
                    <a:pt x="180" y="53"/>
                    <a:pt x="180" y="53"/>
                    <a:pt x="180" y="53"/>
                  </a:cubicBezTo>
                  <a:cubicBezTo>
                    <a:pt x="192" y="53"/>
                    <a:pt x="196" y="43"/>
                    <a:pt x="196" y="27"/>
                  </a:cubicBezTo>
                  <a:cubicBezTo>
                    <a:pt x="196" y="8"/>
                    <a:pt x="185" y="4"/>
                    <a:pt x="154" y="4"/>
                  </a:cubicBezTo>
                  <a:cubicBezTo>
                    <a:pt x="64" y="4"/>
                    <a:pt x="0" y="43"/>
                    <a:pt x="0" y="152"/>
                  </a:cubicBezTo>
                  <a:lnTo>
                    <a:pt x="0" y="43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22" name="Freeform 10">
              <a:extLst>
                <a:ext uri="{FF2B5EF4-FFF2-40B4-BE49-F238E27FC236}">
                  <a16:creationId xmlns:a16="http://schemas.microsoft.com/office/drawing/2014/main" id="{2B91B16B-BC11-E547-8FAC-B9B8D18EA449}"/>
                </a:ext>
              </a:extLst>
            </p:cNvPr>
            <p:cNvSpPr>
              <a:spLocks/>
            </p:cNvSpPr>
            <p:nvPr/>
          </p:nvSpPr>
          <p:spPr bwMode="gray">
            <a:xfrm>
              <a:off x="2880" y="1704"/>
              <a:ext cx="618" cy="916"/>
            </a:xfrm>
            <a:custGeom>
              <a:avLst/>
              <a:gdLst>
                <a:gd name="T0" fmla="*/ 307 w 307"/>
                <a:gd name="T1" fmla="*/ 405 h 455"/>
                <a:gd name="T2" fmla="*/ 307 w 307"/>
                <a:gd name="T3" fmla="*/ 244 h 455"/>
                <a:gd name="T4" fmla="*/ 279 w 307"/>
                <a:gd name="T5" fmla="*/ 229 h 455"/>
                <a:gd name="T6" fmla="*/ 250 w 307"/>
                <a:gd name="T7" fmla="*/ 244 h 455"/>
                <a:gd name="T8" fmla="*/ 250 w 307"/>
                <a:gd name="T9" fmla="*/ 378 h 455"/>
                <a:gd name="T10" fmla="*/ 199 w 307"/>
                <a:gd name="T11" fmla="*/ 408 h 455"/>
                <a:gd name="T12" fmla="*/ 61 w 307"/>
                <a:gd name="T13" fmla="*/ 231 h 455"/>
                <a:gd name="T14" fmla="*/ 238 w 307"/>
                <a:gd name="T15" fmla="*/ 49 h 455"/>
                <a:gd name="T16" fmla="*/ 270 w 307"/>
                <a:gd name="T17" fmla="*/ 49 h 455"/>
                <a:gd name="T18" fmla="*/ 286 w 307"/>
                <a:gd name="T19" fmla="*/ 23 h 455"/>
                <a:gd name="T20" fmla="*/ 244 w 307"/>
                <a:gd name="T21" fmla="*/ 0 h 455"/>
                <a:gd name="T22" fmla="*/ 231 w 307"/>
                <a:gd name="T23" fmla="*/ 0 h 455"/>
                <a:gd name="T24" fmla="*/ 0 w 307"/>
                <a:gd name="T25" fmla="*/ 232 h 455"/>
                <a:gd name="T26" fmla="*/ 198 w 307"/>
                <a:gd name="T27" fmla="*/ 455 h 455"/>
                <a:gd name="T28" fmla="*/ 307 w 307"/>
                <a:gd name="T29" fmla="*/ 405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7" h="455">
                  <a:moveTo>
                    <a:pt x="307" y="405"/>
                  </a:moveTo>
                  <a:cubicBezTo>
                    <a:pt x="307" y="244"/>
                    <a:pt x="307" y="244"/>
                    <a:pt x="307" y="244"/>
                  </a:cubicBezTo>
                  <a:cubicBezTo>
                    <a:pt x="307" y="234"/>
                    <a:pt x="298" y="229"/>
                    <a:pt x="279" y="229"/>
                  </a:cubicBezTo>
                  <a:cubicBezTo>
                    <a:pt x="259" y="229"/>
                    <a:pt x="250" y="234"/>
                    <a:pt x="250" y="244"/>
                  </a:cubicBezTo>
                  <a:cubicBezTo>
                    <a:pt x="250" y="378"/>
                    <a:pt x="250" y="378"/>
                    <a:pt x="250" y="378"/>
                  </a:cubicBezTo>
                  <a:cubicBezTo>
                    <a:pt x="250" y="399"/>
                    <a:pt x="241" y="408"/>
                    <a:pt x="199" y="408"/>
                  </a:cubicBezTo>
                  <a:cubicBezTo>
                    <a:pt x="114" y="408"/>
                    <a:pt x="61" y="342"/>
                    <a:pt x="61" y="231"/>
                  </a:cubicBezTo>
                  <a:cubicBezTo>
                    <a:pt x="61" y="115"/>
                    <a:pt x="126" y="49"/>
                    <a:pt x="238" y="49"/>
                  </a:cubicBezTo>
                  <a:cubicBezTo>
                    <a:pt x="270" y="49"/>
                    <a:pt x="270" y="49"/>
                    <a:pt x="270" y="49"/>
                  </a:cubicBezTo>
                  <a:cubicBezTo>
                    <a:pt x="282" y="49"/>
                    <a:pt x="286" y="39"/>
                    <a:pt x="286" y="23"/>
                  </a:cubicBezTo>
                  <a:cubicBezTo>
                    <a:pt x="286" y="4"/>
                    <a:pt x="275" y="0"/>
                    <a:pt x="244" y="0"/>
                  </a:cubicBezTo>
                  <a:cubicBezTo>
                    <a:pt x="231" y="0"/>
                    <a:pt x="231" y="0"/>
                    <a:pt x="231" y="0"/>
                  </a:cubicBezTo>
                  <a:cubicBezTo>
                    <a:pt x="101" y="0"/>
                    <a:pt x="0" y="71"/>
                    <a:pt x="0" y="232"/>
                  </a:cubicBezTo>
                  <a:cubicBezTo>
                    <a:pt x="0" y="386"/>
                    <a:pt x="88" y="455"/>
                    <a:pt x="198" y="455"/>
                  </a:cubicBezTo>
                  <a:cubicBezTo>
                    <a:pt x="286" y="455"/>
                    <a:pt x="307" y="430"/>
                    <a:pt x="307" y="40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23" name="Oval 11">
              <a:extLst>
                <a:ext uri="{FF2B5EF4-FFF2-40B4-BE49-F238E27FC236}">
                  <a16:creationId xmlns:a16="http://schemas.microsoft.com/office/drawing/2014/main" id="{14F8C3C8-4888-7646-B9B4-64EB46A1DA23}"/>
                </a:ext>
              </a:extLst>
            </p:cNvPr>
            <p:cNvSpPr>
              <a:spLocks noChangeArrowheads="1"/>
            </p:cNvSpPr>
            <p:nvPr/>
          </p:nvSpPr>
          <p:spPr bwMode="gray">
            <a:xfrm>
              <a:off x="3778" y="2099"/>
              <a:ext cx="122" cy="12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24" name="Freeform 12">
              <a:extLst>
                <a:ext uri="{FF2B5EF4-FFF2-40B4-BE49-F238E27FC236}">
                  <a16:creationId xmlns:a16="http://schemas.microsoft.com/office/drawing/2014/main" id="{D79D01D1-4E3E-F34B-97D7-2D387E68746E}"/>
                </a:ext>
              </a:extLst>
            </p:cNvPr>
            <p:cNvSpPr>
              <a:spLocks/>
            </p:cNvSpPr>
            <p:nvPr/>
          </p:nvSpPr>
          <p:spPr bwMode="gray">
            <a:xfrm>
              <a:off x="4321" y="1029"/>
              <a:ext cx="648" cy="649"/>
            </a:xfrm>
            <a:custGeom>
              <a:avLst/>
              <a:gdLst>
                <a:gd name="T0" fmla="*/ 0 w 648"/>
                <a:gd name="T1" fmla="*/ 649 h 649"/>
                <a:gd name="T2" fmla="*/ 2 w 648"/>
                <a:gd name="T3" fmla="*/ 649 h 649"/>
                <a:gd name="T4" fmla="*/ 648 w 648"/>
                <a:gd name="T5" fmla="*/ 0 h 649"/>
                <a:gd name="T6" fmla="*/ 423 w 648"/>
                <a:gd name="T7" fmla="*/ 0 h 649"/>
                <a:gd name="T8" fmla="*/ 0 w 648"/>
                <a:gd name="T9" fmla="*/ 649 h 649"/>
              </a:gdLst>
              <a:ahLst/>
              <a:cxnLst>
                <a:cxn ang="0">
                  <a:pos x="T0" y="T1"/>
                </a:cxn>
                <a:cxn ang="0">
                  <a:pos x="T2" y="T3"/>
                </a:cxn>
                <a:cxn ang="0">
                  <a:pos x="T4" y="T5"/>
                </a:cxn>
                <a:cxn ang="0">
                  <a:pos x="T6" y="T7"/>
                </a:cxn>
                <a:cxn ang="0">
                  <a:pos x="T8" y="T9"/>
                </a:cxn>
              </a:cxnLst>
              <a:rect l="0" t="0" r="r" b="b"/>
              <a:pathLst>
                <a:path w="648" h="649">
                  <a:moveTo>
                    <a:pt x="0" y="649"/>
                  </a:moveTo>
                  <a:lnTo>
                    <a:pt x="2" y="649"/>
                  </a:lnTo>
                  <a:lnTo>
                    <a:pt x="648" y="0"/>
                  </a:lnTo>
                  <a:lnTo>
                    <a:pt x="423" y="0"/>
                  </a:lnTo>
                  <a:lnTo>
                    <a:pt x="0" y="64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26" name="Freeform 13">
              <a:extLst>
                <a:ext uri="{FF2B5EF4-FFF2-40B4-BE49-F238E27FC236}">
                  <a16:creationId xmlns:a16="http://schemas.microsoft.com/office/drawing/2014/main" id="{46549898-6C52-B147-A8F6-A73FDBE6163B}"/>
                </a:ext>
              </a:extLst>
            </p:cNvPr>
            <p:cNvSpPr>
              <a:spLocks/>
            </p:cNvSpPr>
            <p:nvPr/>
          </p:nvSpPr>
          <p:spPr bwMode="gray">
            <a:xfrm>
              <a:off x="4321" y="1029"/>
              <a:ext cx="648" cy="649"/>
            </a:xfrm>
            <a:custGeom>
              <a:avLst/>
              <a:gdLst>
                <a:gd name="T0" fmla="*/ 0 w 648"/>
                <a:gd name="T1" fmla="*/ 649 h 649"/>
                <a:gd name="T2" fmla="*/ 2 w 648"/>
                <a:gd name="T3" fmla="*/ 649 h 649"/>
                <a:gd name="T4" fmla="*/ 648 w 648"/>
                <a:gd name="T5" fmla="*/ 0 h 649"/>
                <a:gd name="T6" fmla="*/ 423 w 648"/>
                <a:gd name="T7" fmla="*/ 0 h 649"/>
                <a:gd name="T8" fmla="*/ 0 w 648"/>
                <a:gd name="T9" fmla="*/ 649 h 649"/>
              </a:gdLst>
              <a:ahLst/>
              <a:cxnLst>
                <a:cxn ang="0">
                  <a:pos x="T0" y="T1"/>
                </a:cxn>
                <a:cxn ang="0">
                  <a:pos x="T2" y="T3"/>
                </a:cxn>
                <a:cxn ang="0">
                  <a:pos x="T4" y="T5"/>
                </a:cxn>
                <a:cxn ang="0">
                  <a:pos x="T6" y="T7"/>
                </a:cxn>
                <a:cxn ang="0">
                  <a:pos x="T8" y="T9"/>
                </a:cxn>
              </a:cxnLst>
              <a:rect l="0" t="0" r="r" b="b"/>
              <a:pathLst>
                <a:path w="648" h="649">
                  <a:moveTo>
                    <a:pt x="0" y="649"/>
                  </a:moveTo>
                  <a:lnTo>
                    <a:pt x="2" y="649"/>
                  </a:lnTo>
                  <a:lnTo>
                    <a:pt x="648" y="0"/>
                  </a:lnTo>
                  <a:lnTo>
                    <a:pt x="423" y="0"/>
                  </a:lnTo>
                  <a:lnTo>
                    <a:pt x="0" y="64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grpSp>
      <p:sp>
        <p:nvSpPr>
          <p:cNvPr id="20" name="shp1">
            <a:extLst>
              <a:ext uri="{FF2B5EF4-FFF2-40B4-BE49-F238E27FC236}">
                <a16:creationId xmlns:a16="http://schemas.microsoft.com/office/drawing/2014/main" id="{1AD9883E-0B1C-504A-A979-9C5803172360}"/>
              </a:ext>
            </a:extLst>
          </p:cNvPr>
          <p:cNvSpPr/>
          <p:nvPr/>
        </p:nvSpPr>
        <p:spPr>
          <a:xfrm>
            <a:off x="192088" y="1"/>
            <a:ext cx="215900" cy="144938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de-DE" sz="1351"/>
          </a:p>
        </p:txBody>
      </p:sp>
      <p:sp>
        <p:nvSpPr>
          <p:cNvPr id="7" name="copyright"/>
          <p:cNvSpPr txBox="1"/>
          <p:nvPr/>
        </p:nvSpPr>
        <p:spPr>
          <a:xfrm>
            <a:off x="10672209" y="6461671"/>
            <a:ext cx="500617" cy="133790"/>
          </a:xfrm>
          <a:prstGeom prst="rect">
            <a:avLst/>
          </a:prstGeom>
          <a:noFill/>
        </p:spPr>
        <p:txBody>
          <a:bodyPr wrap="none" lIns="0" tIns="0" rIns="0" bIns="0" rtlCol="0" anchor="b" anchorCtr="0">
            <a:noAutofit/>
          </a:bodyPr>
          <a:lstStyle/>
          <a:p>
            <a:pPr marL="0" indent="0" algn="r">
              <a:lnSpc>
                <a:spcPct val="125000"/>
              </a:lnSpc>
              <a:buClr>
                <a:schemeClr val="tx2"/>
              </a:buClr>
              <a:buFont typeface="Wingdings" panose="05000000000000000000" pitchFamily="2" charset="2"/>
              <a:buNone/>
            </a:pPr>
            <a:r>
              <a:rPr lang="en-US" sz="800"/>
              <a:t>© GfK</a:t>
            </a:r>
          </a:p>
        </p:txBody>
      </p:sp>
      <p:sp>
        <p:nvSpPr>
          <p:cNvPr id="28" name="Date Placeholder 27"/>
          <p:cNvSpPr>
            <a:spLocks noGrp="1"/>
          </p:cNvSpPr>
          <p:nvPr>
            <p:ph type="dt" sz="half" idx="2"/>
          </p:nvPr>
        </p:nvSpPr>
        <p:spPr>
          <a:xfrm>
            <a:off x="192088" y="6461671"/>
            <a:ext cx="761512" cy="133790"/>
          </a:xfrm>
          <a:prstGeom prst="rect">
            <a:avLst/>
          </a:prstGeom>
        </p:spPr>
        <p:txBody>
          <a:bodyPr vert="horz" wrap="none" lIns="0" tIns="0" rIns="0" bIns="0" rtlCol="0" anchor="b" anchorCtr="0"/>
          <a:lstStyle>
            <a:lvl1pPr algn="r">
              <a:defRPr sz="800">
                <a:solidFill>
                  <a:schemeClr val="tx1"/>
                </a:solidFill>
              </a:defRPr>
            </a:lvl1pPr>
          </a:lstStyle>
          <a:p>
            <a:endParaRPr lang="en-US"/>
          </a:p>
        </p:txBody>
      </p:sp>
      <p:sp>
        <p:nvSpPr>
          <p:cNvPr id="29" name="Footer Placeholder 28"/>
          <p:cNvSpPr>
            <a:spLocks noGrp="1"/>
          </p:cNvSpPr>
          <p:nvPr>
            <p:ph type="ftr" sz="quarter" idx="3"/>
          </p:nvPr>
        </p:nvSpPr>
        <p:spPr>
          <a:xfrm>
            <a:off x="1076400" y="6461671"/>
            <a:ext cx="8162717" cy="133790"/>
          </a:xfrm>
          <a:prstGeom prst="rect">
            <a:avLst/>
          </a:prstGeom>
        </p:spPr>
        <p:txBody>
          <a:bodyPr vert="horz" lIns="0" tIns="0" rIns="0" bIns="0" rtlCol="0" anchor="b" anchorCtr="0"/>
          <a:lstStyle>
            <a:lvl1pPr marL="144000" indent="-144000" algn="l">
              <a:buClr>
                <a:schemeClr val="tx2"/>
              </a:buClr>
              <a:buFont typeface="Wingdings" panose="05000000000000000000" pitchFamily="2" charset="2"/>
              <a:buChar char="§"/>
              <a:defRPr sz="800">
                <a:solidFill>
                  <a:schemeClr val="tx1"/>
                </a:solidFill>
              </a:defRPr>
            </a:lvl1pPr>
          </a:lstStyle>
          <a:p>
            <a:endParaRPr lang="en-US"/>
          </a:p>
        </p:txBody>
      </p:sp>
      <p:sp>
        <p:nvSpPr>
          <p:cNvPr id="30" name="Slide Number Placeholder 29"/>
          <p:cNvSpPr>
            <a:spLocks noGrp="1"/>
          </p:cNvSpPr>
          <p:nvPr>
            <p:ph type="sldNum" sz="quarter" idx="4"/>
          </p:nvPr>
        </p:nvSpPr>
        <p:spPr>
          <a:xfrm>
            <a:off x="11186669" y="6461671"/>
            <a:ext cx="648000" cy="133790"/>
          </a:xfrm>
          <a:prstGeom prst="rect">
            <a:avLst/>
          </a:prstGeom>
        </p:spPr>
        <p:txBody>
          <a:bodyPr vert="horz" lIns="0" tIns="0" rIns="0" bIns="0" rtlCol="0" anchor="b" anchorCtr="0"/>
          <a:lstStyle>
            <a:lvl1pPr algn="r">
              <a:defRPr sz="800">
                <a:solidFill>
                  <a:schemeClr val="tx1"/>
                </a:solidFill>
              </a:defRPr>
            </a:lvl1pPr>
          </a:lstStyle>
          <a:p>
            <a:fld id="{5F3E29E4-0979-4FCA-B4C5-5FC6044C982A}" type="slidenum">
              <a:rPr lang="en-US" smtClean="0"/>
              <a:pPr/>
              <a:t>‹#›</a:t>
            </a:fld>
            <a:endParaRPr lang="en-US"/>
          </a:p>
        </p:txBody>
      </p:sp>
      <p:sp>
        <p:nvSpPr>
          <p:cNvPr id="2" name="Title Placeholder 1"/>
          <p:cNvSpPr>
            <a:spLocks noGrp="1"/>
          </p:cNvSpPr>
          <p:nvPr>
            <p:ph type="title"/>
          </p:nvPr>
        </p:nvSpPr>
        <p:spPr>
          <a:xfrm>
            <a:off x="1075061" y="288922"/>
            <a:ext cx="7910158" cy="648000"/>
          </a:xfrm>
          <a:prstGeom prst="rect">
            <a:avLst/>
          </a:prstGeom>
        </p:spPr>
        <p:txBody>
          <a:bodyPr vert="horz" lIns="0" tIns="0" rIns="0" bIns="0" rtlCol="0" anchor="t">
            <a:noAutofit/>
          </a:bodyPr>
          <a:lstStyle/>
          <a:p>
            <a:r>
              <a:rPr lang="en-US"/>
              <a:t>Click to edit Master title style</a:t>
            </a:r>
          </a:p>
        </p:txBody>
      </p:sp>
      <p:sp>
        <p:nvSpPr>
          <p:cNvPr id="3" name="Text Placeholder 2"/>
          <p:cNvSpPr>
            <a:spLocks noGrp="1"/>
          </p:cNvSpPr>
          <p:nvPr>
            <p:ph type="body" idx="1"/>
          </p:nvPr>
        </p:nvSpPr>
        <p:spPr>
          <a:xfrm>
            <a:off x="1075062" y="1629618"/>
            <a:ext cx="10097764" cy="4139357"/>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96604524"/>
      </p:ext>
    </p:extLst>
  </p:cSld>
  <p:clrMap bg1="lt1" tx1="dk1" bg2="lt2" tx2="dk2" accent1="accent1" accent2="accent2" accent3="accent3" accent4="accent4" accent5="accent5" accent6="accent6" hlink="hlink" folHlink="folHlink"/>
  <p:sldLayoutIdLst>
    <p:sldLayoutId id="2147484883" r:id="rId1"/>
    <p:sldLayoutId id="2147484884" r:id="rId2"/>
    <p:sldLayoutId id="2147484885" r:id="rId3"/>
    <p:sldLayoutId id="2147484886" r:id="rId4"/>
    <p:sldLayoutId id="2147484887" r:id="rId5"/>
    <p:sldLayoutId id="2147484888" r:id="rId6"/>
    <p:sldLayoutId id="2147484889" r:id="rId7"/>
    <p:sldLayoutId id="2147484890" r:id="rId8"/>
    <p:sldLayoutId id="2147484891" r:id="rId9"/>
    <p:sldLayoutId id="2147484892" r:id="rId10"/>
    <p:sldLayoutId id="2147484893" r:id="rId11"/>
    <p:sldLayoutId id="2147484894" r:id="rId12"/>
    <p:sldLayoutId id="2147484895" r:id="rId13"/>
    <p:sldLayoutId id="2147484896" r:id="rId14"/>
    <p:sldLayoutId id="2147484897" r:id="rId15"/>
    <p:sldLayoutId id="2147484898" r:id="rId16"/>
    <p:sldLayoutId id="2147484899" r:id="rId17"/>
    <p:sldLayoutId id="2147484900" r:id="rId18"/>
    <p:sldLayoutId id="2147484901" r:id="rId19"/>
    <p:sldLayoutId id="2147484902" r:id="rId20"/>
    <p:sldLayoutId id="2147484903" r:id="rId21"/>
    <p:sldLayoutId id="2147484904" r:id="rId22"/>
    <p:sldLayoutId id="2147484905" r:id="rId23"/>
    <p:sldLayoutId id="2147484906" r:id="rId24"/>
    <p:sldLayoutId id="2147484907" r:id="rId25"/>
    <p:sldLayoutId id="2147484908" r:id="rId26"/>
    <p:sldLayoutId id="2147484909" r:id="rId27"/>
    <p:sldLayoutId id="2147484910" r:id="rId28"/>
  </p:sldLayoutIdLst>
  <p:hf hdr="0" ftr="0" dt="0"/>
  <p:txStyles>
    <p:titleStyle>
      <a:lvl1pPr algn="l" defTabSz="914400" rtl="0" eaLnBrk="1" latinLnBrk="0" hangingPunct="1">
        <a:lnSpc>
          <a:spcPct val="100000"/>
        </a:lnSpc>
        <a:spcBef>
          <a:spcPct val="0"/>
        </a:spcBef>
        <a:buNone/>
        <a:defRPr sz="3600" kern="1200">
          <a:solidFill>
            <a:schemeClr val="tx1"/>
          </a:solidFill>
          <a:latin typeface="+mj-lt"/>
          <a:ea typeface="+mj-ea"/>
          <a:cs typeface="+mj-cs"/>
        </a:defRPr>
      </a:lvl1pPr>
    </p:titleStyle>
    <p:bodyStyle>
      <a:lvl1pPr marL="252000" indent="-252000" algn="l" defTabSz="914400" rtl="0" eaLnBrk="1" latinLnBrk="0" hangingPunct="1">
        <a:lnSpc>
          <a:spcPct val="110000"/>
        </a:lnSpc>
        <a:spcBef>
          <a:spcPts val="1000"/>
        </a:spcBef>
        <a:buClr>
          <a:schemeClr val="tx2"/>
        </a:buClr>
        <a:buFont typeface="Wingdings" panose="05000000000000000000" pitchFamily="2" charset="2"/>
        <a:buChar char="§"/>
        <a:defRPr sz="2800" kern="1200">
          <a:solidFill>
            <a:schemeClr val="tx1"/>
          </a:solidFill>
          <a:latin typeface="+mn-lt"/>
          <a:ea typeface="+mn-ea"/>
          <a:cs typeface="+mn-cs"/>
        </a:defRPr>
      </a:lvl1pPr>
      <a:lvl2pPr marL="648000" indent="-252000" algn="l" defTabSz="914400" rtl="0" eaLnBrk="1" latinLnBrk="0" hangingPunct="1">
        <a:lnSpc>
          <a:spcPct val="110000"/>
        </a:lnSpc>
        <a:spcBef>
          <a:spcPts val="600"/>
        </a:spcBef>
        <a:buClr>
          <a:schemeClr val="tx2"/>
        </a:buClr>
        <a:buFont typeface="Wingdings" panose="05000000000000000000" pitchFamily="2" charset="2"/>
        <a:buChar char="§"/>
        <a:defRPr sz="2400" kern="1200">
          <a:solidFill>
            <a:schemeClr val="tx1"/>
          </a:solidFill>
          <a:latin typeface="+mn-lt"/>
          <a:ea typeface="+mn-ea"/>
          <a:cs typeface="+mn-cs"/>
        </a:defRPr>
      </a:lvl2pPr>
      <a:lvl3pPr marL="1080000" indent="-252000" algn="l" defTabSz="914400" rtl="0" eaLnBrk="1" latinLnBrk="0" hangingPunct="1">
        <a:lnSpc>
          <a:spcPct val="110000"/>
        </a:lnSpc>
        <a:spcBef>
          <a:spcPts val="600"/>
        </a:spcBef>
        <a:buClr>
          <a:schemeClr val="tx2"/>
        </a:buClr>
        <a:buFont typeface="Wingdings" panose="05000000000000000000" pitchFamily="2" charset="2"/>
        <a:buChar char="§"/>
        <a:defRPr sz="2000" kern="1200">
          <a:solidFill>
            <a:schemeClr val="tx1"/>
          </a:solidFill>
          <a:latin typeface="+mn-lt"/>
          <a:ea typeface="+mn-ea"/>
          <a:cs typeface="+mn-cs"/>
        </a:defRPr>
      </a:lvl3pPr>
      <a:lvl4pPr marL="0" indent="0" algn="l" defTabSz="914400" rtl="0" eaLnBrk="1" latinLnBrk="0" hangingPunct="1">
        <a:lnSpc>
          <a:spcPct val="110000"/>
        </a:lnSpc>
        <a:spcBef>
          <a:spcPts val="600"/>
        </a:spcBef>
        <a:buClr>
          <a:schemeClr val="tx2"/>
        </a:buClr>
        <a:buFont typeface="Lato" panose="020F0502020204030203" pitchFamily="34" charset="0"/>
        <a:buChar char="​"/>
        <a:defRPr sz="1600" kern="1200">
          <a:solidFill>
            <a:schemeClr val="tx1"/>
          </a:solidFill>
          <a:latin typeface="+mn-lt"/>
          <a:ea typeface="+mn-ea"/>
          <a:cs typeface="+mn-cs"/>
        </a:defRPr>
      </a:lvl4pPr>
      <a:lvl5pPr marL="252000" indent="-252000" algn="l" defTabSz="914400" rtl="0" eaLnBrk="1" latinLnBrk="0" hangingPunct="1">
        <a:lnSpc>
          <a:spcPct val="110000"/>
        </a:lnSpc>
        <a:spcBef>
          <a:spcPts val="600"/>
        </a:spcBef>
        <a:buClr>
          <a:schemeClr val="tx2"/>
        </a:buClr>
        <a:buFont typeface="Wingdings" panose="05000000000000000000" pitchFamily="2" charset="2"/>
        <a:buChar char="§"/>
        <a:defRPr sz="1600" kern="1200">
          <a:solidFill>
            <a:schemeClr val="tx1"/>
          </a:solidFill>
          <a:latin typeface="+mn-lt"/>
          <a:ea typeface="+mn-ea"/>
          <a:cs typeface="+mn-cs"/>
        </a:defRPr>
      </a:lvl5pPr>
      <a:lvl6pPr marL="648000" indent="-252000" algn="l" defTabSz="914400" rtl="0" eaLnBrk="1" latinLnBrk="0" hangingPunct="1">
        <a:lnSpc>
          <a:spcPct val="110000"/>
        </a:lnSpc>
        <a:spcBef>
          <a:spcPts val="600"/>
        </a:spcBef>
        <a:buClr>
          <a:schemeClr val="tx2"/>
        </a:buClr>
        <a:buFont typeface="Wingdings" panose="05000000000000000000" pitchFamily="2" charset="2"/>
        <a:buChar char="§"/>
        <a:defRPr sz="1600" kern="1200">
          <a:solidFill>
            <a:schemeClr val="tx1"/>
          </a:solidFill>
          <a:latin typeface="+mn-lt"/>
          <a:ea typeface="+mn-ea"/>
          <a:cs typeface="+mn-cs"/>
        </a:defRPr>
      </a:lvl6pPr>
      <a:lvl7pPr marL="1080000" indent="-252000" algn="l" defTabSz="914400" rtl="0" eaLnBrk="1" latinLnBrk="0" hangingPunct="1">
        <a:lnSpc>
          <a:spcPct val="110000"/>
        </a:lnSpc>
        <a:spcBef>
          <a:spcPts val="600"/>
        </a:spcBef>
        <a:buClr>
          <a:schemeClr val="tx2"/>
        </a:buClr>
        <a:buFont typeface="Wingdings" panose="05000000000000000000" pitchFamily="2" charset="2"/>
        <a:buChar char="§"/>
        <a:defRPr sz="1600" kern="1200">
          <a:solidFill>
            <a:schemeClr val="tx1"/>
          </a:solidFill>
          <a:latin typeface="+mn-lt"/>
          <a:ea typeface="+mn-ea"/>
          <a:cs typeface="+mn-cs"/>
        </a:defRPr>
      </a:lvl7pPr>
      <a:lvl8pPr marL="1512000" indent="-252000" algn="l" defTabSz="914400" rtl="0" eaLnBrk="1" latinLnBrk="0" hangingPunct="1">
        <a:lnSpc>
          <a:spcPct val="110000"/>
        </a:lnSpc>
        <a:spcBef>
          <a:spcPts val="600"/>
        </a:spcBef>
        <a:buClr>
          <a:schemeClr val="tx2"/>
        </a:buClr>
        <a:buFont typeface="Wingdings" panose="05000000000000000000" pitchFamily="2" charset="2"/>
        <a:buChar char="§"/>
        <a:defRPr sz="1600" kern="1200">
          <a:solidFill>
            <a:schemeClr val="tx1"/>
          </a:solidFill>
          <a:latin typeface="+mn-lt"/>
          <a:ea typeface="+mn-ea"/>
          <a:cs typeface="+mn-cs"/>
        </a:defRPr>
      </a:lvl8pPr>
      <a:lvl9pPr marL="1944000" indent="-252000" algn="l" defTabSz="914400" rtl="0" eaLnBrk="1" latinLnBrk="0" hangingPunct="1">
        <a:lnSpc>
          <a:spcPct val="110000"/>
        </a:lnSpc>
        <a:spcBef>
          <a:spcPts val="600"/>
        </a:spcBef>
        <a:buClr>
          <a:schemeClr val="tx2"/>
        </a:buClr>
        <a:buFont typeface="Wingdings" panose="05000000000000000000" pitchFamily="2" charset="2"/>
        <a:buChar char="§"/>
        <a:defRPr sz="16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319">
          <p15:clr>
            <a:srgbClr val="5ACBF0"/>
          </p15:clr>
        </p15:guide>
        <p15:guide id="3" pos="257">
          <p15:clr>
            <a:srgbClr val="5ACBF0"/>
          </p15:clr>
        </p15:guide>
        <p15:guide id="4" pos="675">
          <p15:clr>
            <a:srgbClr val="5ACBF0"/>
          </p15:clr>
        </p15:guide>
        <p15:guide id="5" pos="7038">
          <p15:clr>
            <a:srgbClr val="5ACBF0"/>
          </p15:clr>
        </p15:guide>
        <p15:guide id="6" pos="7446">
          <p15:clr>
            <a:srgbClr val="5ACBF0"/>
          </p15:clr>
        </p15:guide>
        <p15:guide id="7" orient="horz" pos="255">
          <p15:clr>
            <a:srgbClr val="5ACBF0"/>
          </p15:clr>
        </p15:guide>
        <p15:guide id="8" orient="horz" pos="663">
          <p15:clr>
            <a:srgbClr val="5ACBF0"/>
          </p15:clr>
        </p15:guide>
        <p15:guide id="9" orient="horz" pos="799">
          <p15:clr>
            <a:srgbClr val="5ACBF0"/>
          </p15:clr>
        </p15:guide>
        <p15:guide id="10" orient="horz" pos="1026">
          <p15:clr>
            <a:srgbClr val="5ACBF0"/>
          </p15:clr>
        </p15:guide>
        <p15:guide id="11" orient="horz" pos="3634">
          <p15:clr>
            <a:srgbClr val="5ACBF0"/>
          </p15:clr>
        </p15:guide>
        <p15:guide id="12" orient="horz" pos="3929">
          <p15:clr>
            <a:srgbClr val="5ACBF0"/>
          </p15:clr>
        </p15:guide>
        <p15:guide id="13" orient="horz" pos="4133">
          <p15:clr>
            <a:srgbClr val="5ACBF0"/>
          </p15:clr>
        </p15:guide>
      </p15:sldGuideLst>
    </p:ext>
  </p:extLst>
</p:sldMaster>
</file>

<file path=ppt/slideMasters/slideMaster1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5" name="Oggetto 4" hidden="1">
            <a:extLst>
              <a:ext uri="{FF2B5EF4-FFF2-40B4-BE49-F238E27FC236}">
                <a16:creationId xmlns:a16="http://schemas.microsoft.com/office/drawing/2014/main" id="{46B8B118-3F0A-4D36-A0C9-ADD9E9AE1B0C}"/>
              </a:ext>
            </a:extLst>
          </p:cNvPr>
          <p:cNvGraphicFramePr>
            <a:graphicFrameLocks noChangeAspect="1"/>
          </p:cNvGraphicFramePr>
          <p:nvPr userDrawn="1">
            <p:custDataLst>
              <p:tags r:id="rId31"/>
            </p:custDataLst>
            <p:extLst>
              <p:ext uri="{D42A27DB-BD31-4B8C-83A1-F6EECF244321}">
                <p14:modId xmlns:p14="http://schemas.microsoft.com/office/powerpoint/2010/main" val="30585823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8550" name="Diapositiva think-cell" r:id="rId33" imgW="395" imgH="396" progId="TCLayout.ActiveDocument.1">
                  <p:embed/>
                </p:oleObj>
              </mc:Choice>
              <mc:Fallback>
                <p:oleObj name="Diapositiva think-cell" r:id="rId33" imgW="395" imgH="396" progId="TCLayout.ActiveDocument.1">
                  <p:embed/>
                  <p:pic>
                    <p:nvPicPr>
                      <p:cNvPr id="5" name="Oggetto 4" hidden="1">
                        <a:extLst>
                          <a:ext uri="{FF2B5EF4-FFF2-40B4-BE49-F238E27FC236}">
                            <a16:creationId xmlns:a16="http://schemas.microsoft.com/office/drawing/2014/main" id="{46B8B118-3F0A-4D36-A0C9-ADD9E9AE1B0C}"/>
                          </a:ext>
                        </a:extLst>
                      </p:cNvPr>
                      <p:cNvPicPr/>
                      <p:nvPr/>
                    </p:nvPicPr>
                    <p:blipFill>
                      <a:blip r:embed="rId34"/>
                      <a:stretch>
                        <a:fillRect/>
                      </a:stretch>
                    </p:blipFill>
                    <p:spPr>
                      <a:xfrm>
                        <a:off x="1588" y="1588"/>
                        <a:ext cx="1588" cy="1588"/>
                      </a:xfrm>
                      <a:prstGeom prst="rect">
                        <a:avLst/>
                      </a:prstGeom>
                    </p:spPr>
                  </p:pic>
                </p:oleObj>
              </mc:Fallback>
            </mc:AlternateContent>
          </a:graphicData>
        </a:graphic>
      </p:graphicFrame>
      <p:sp>
        <p:nvSpPr>
          <p:cNvPr id="4" name="Rettangolo 3" hidden="1">
            <a:extLst>
              <a:ext uri="{FF2B5EF4-FFF2-40B4-BE49-F238E27FC236}">
                <a16:creationId xmlns:a16="http://schemas.microsoft.com/office/drawing/2014/main" id="{1D85021D-95EC-47DA-A015-36E53DD8035A}"/>
              </a:ext>
            </a:extLst>
          </p:cNvPr>
          <p:cNvSpPr/>
          <p:nvPr userDrawn="1">
            <p:custDataLst>
              <p:tags r:id="rId3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lnSpc>
                <a:spcPct val="125000"/>
              </a:lnSpc>
            </a:pPr>
            <a:endParaRPr lang="en-US" sz="3600" b="0" i="0" baseline="0">
              <a:latin typeface="Lato Light" panose="020F0502020204030203" pitchFamily="34" charset="0"/>
              <a:ea typeface="+mj-ea"/>
              <a:cs typeface="+mj-cs"/>
              <a:sym typeface="Lato Light" panose="020F0502020204030203" pitchFamily="34" charset="0"/>
            </a:endParaRPr>
          </a:p>
        </p:txBody>
      </p:sp>
      <p:grpSp>
        <p:nvGrpSpPr>
          <p:cNvPr id="13" name="logo">
            <a:extLst>
              <a:ext uri="{FF2B5EF4-FFF2-40B4-BE49-F238E27FC236}">
                <a16:creationId xmlns:a16="http://schemas.microsoft.com/office/drawing/2014/main" id="{57BD2C4C-DC67-B843-B26C-309622FC75F7}"/>
              </a:ext>
            </a:extLst>
          </p:cNvPr>
          <p:cNvGrpSpPr>
            <a:grpSpLocks noChangeAspect="1"/>
          </p:cNvGrpSpPr>
          <p:nvPr/>
        </p:nvGrpSpPr>
        <p:grpSpPr bwMode="gray">
          <a:xfrm>
            <a:off x="11174018" y="401441"/>
            <a:ext cx="644225" cy="646507"/>
            <a:chOff x="2711" y="1027"/>
            <a:chExt cx="2258" cy="2266"/>
          </a:xfrm>
        </p:grpSpPr>
        <p:sp>
          <p:nvSpPr>
            <p:cNvPr id="14" name="AutoShape 3">
              <a:extLst>
                <a:ext uri="{FF2B5EF4-FFF2-40B4-BE49-F238E27FC236}">
                  <a16:creationId xmlns:a16="http://schemas.microsoft.com/office/drawing/2014/main" id="{FE1DC41B-291E-574C-9F2C-874E70A40758}"/>
                </a:ext>
              </a:extLst>
            </p:cNvPr>
            <p:cNvSpPr>
              <a:spLocks noChangeAspect="1" noChangeArrowheads="1" noTextEdit="1"/>
            </p:cNvSpPr>
            <p:nvPr/>
          </p:nvSpPr>
          <p:spPr bwMode="gray">
            <a:xfrm>
              <a:off x="2711" y="1027"/>
              <a:ext cx="2258" cy="22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15" name="Freeform 5">
              <a:extLst>
                <a:ext uri="{FF2B5EF4-FFF2-40B4-BE49-F238E27FC236}">
                  <a16:creationId xmlns:a16="http://schemas.microsoft.com/office/drawing/2014/main" id="{D4B633C8-F761-C54B-9BD2-EB59D49A2DBC}"/>
                </a:ext>
              </a:extLst>
            </p:cNvPr>
            <p:cNvSpPr>
              <a:spLocks/>
            </p:cNvSpPr>
            <p:nvPr/>
          </p:nvSpPr>
          <p:spPr bwMode="gray">
            <a:xfrm>
              <a:off x="2709" y="1029"/>
              <a:ext cx="2260" cy="2262"/>
            </a:xfrm>
            <a:custGeom>
              <a:avLst/>
              <a:gdLst>
                <a:gd name="T0" fmla="*/ 2260 w 2260"/>
                <a:gd name="T1" fmla="*/ 0 h 2262"/>
                <a:gd name="T2" fmla="*/ 1612 w 2260"/>
                <a:gd name="T3" fmla="*/ 649 h 2262"/>
                <a:gd name="T4" fmla="*/ 1612 w 2260"/>
                <a:gd name="T5" fmla="*/ 649 h 2262"/>
                <a:gd name="T6" fmla="*/ 2035 w 2260"/>
                <a:gd name="T7" fmla="*/ 0 h 2262"/>
                <a:gd name="T8" fmla="*/ 0 w 2260"/>
                <a:gd name="T9" fmla="*/ 0 h 2262"/>
                <a:gd name="T10" fmla="*/ 0 w 2260"/>
                <a:gd name="T11" fmla="*/ 2262 h 2262"/>
                <a:gd name="T12" fmla="*/ 2260 w 2260"/>
                <a:gd name="T13" fmla="*/ 2262 h 2262"/>
                <a:gd name="T14" fmla="*/ 2260 w 2260"/>
                <a:gd name="T15" fmla="*/ 0 h 2262"/>
                <a:gd name="T16" fmla="*/ 2260 w 2260"/>
                <a:gd name="T17" fmla="*/ 0 h 2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0" h="2262">
                  <a:moveTo>
                    <a:pt x="2260" y="0"/>
                  </a:moveTo>
                  <a:lnTo>
                    <a:pt x="1612" y="649"/>
                  </a:lnTo>
                  <a:lnTo>
                    <a:pt x="1612" y="649"/>
                  </a:lnTo>
                  <a:lnTo>
                    <a:pt x="2035" y="0"/>
                  </a:lnTo>
                  <a:lnTo>
                    <a:pt x="0" y="0"/>
                  </a:lnTo>
                  <a:lnTo>
                    <a:pt x="0" y="2262"/>
                  </a:lnTo>
                  <a:lnTo>
                    <a:pt x="2260" y="2262"/>
                  </a:lnTo>
                  <a:lnTo>
                    <a:pt x="2260" y="0"/>
                  </a:lnTo>
                  <a:lnTo>
                    <a:pt x="2260" y="0"/>
                  </a:lnTo>
                  <a:close/>
                </a:path>
              </a:pathLst>
            </a:custGeom>
            <a:solidFill>
              <a:srgbClr val="E55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16" name="Freeform 6">
              <a:extLst>
                <a:ext uri="{FF2B5EF4-FFF2-40B4-BE49-F238E27FC236}">
                  <a16:creationId xmlns:a16="http://schemas.microsoft.com/office/drawing/2014/main" id="{B16BAAE4-1A41-C843-9754-490F7A1E1270}"/>
                </a:ext>
              </a:extLst>
            </p:cNvPr>
            <p:cNvSpPr>
              <a:spLocks noEditPoints="1"/>
            </p:cNvSpPr>
            <p:nvPr/>
          </p:nvSpPr>
          <p:spPr bwMode="gray">
            <a:xfrm>
              <a:off x="3623" y="1696"/>
              <a:ext cx="1167" cy="922"/>
            </a:xfrm>
            <a:custGeom>
              <a:avLst/>
              <a:gdLst>
                <a:gd name="T0" fmla="*/ 411 w 580"/>
                <a:gd name="T1" fmla="*/ 213 h 458"/>
                <a:gd name="T2" fmla="*/ 570 w 580"/>
                <a:gd name="T3" fmla="*/ 37 h 458"/>
                <a:gd name="T4" fmla="*/ 580 w 580"/>
                <a:gd name="T5" fmla="*/ 20 h 458"/>
                <a:gd name="T6" fmla="*/ 545 w 580"/>
                <a:gd name="T7" fmla="*/ 0 h 458"/>
                <a:gd name="T8" fmla="*/ 519 w 580"/>
                <a:gd name="T9" fmla="*/ 16 h 458"/>
                <a:gd name="T10" fmla="*/ 344 w 580"/>
                <a:gd name="T11" fmla="*/ 210 h 458"/>
                <a:gd name="T12" fmla="*/ 334 w 580"/>
                <a:gd name="T13" fmla="*/ 229 h 458"/>
                <a:gd name="T14" fmla="*/ 344 w 580"/>
                <a:gd name="T15" fmla="*/ 248 h 458"/>
                <a:gd name="T16" fmla="*/ 519 w 580"/>
                <a:gd name="T17" fmla="*/ 442 h 458"/>
                <a:gd name="T18" fmla="*/ 545 w 580"/>
                <a:gd name="T19" fmla="*/ 458 h 458"/>
                <a:gd name="T20" fmla="*/ 580 w 580"/>
                <a:gd name="T21" fmla="*/ 438 h 458"/>
                <a:gd name="T22" fmla="*/ 570 w 580"/>
                <a:gd name="T23" fmla="*/ 421 h 458"/>
                <a:gd name="T24" fmla="*/ 411 w 580"/>
                <a:gd name="T25" fmla="*/ 245 h 458"/>
                <a:gd name="T26" fmla="*/ 399 w 580"/>
                <a:gd name="T27" fmla="*/ 229 h 458"/>
                <a:gd name="T28" fmla="*/ 411 w 580"/>
                <a:gd name="T29" fmla="*/ 213 h 458"/>
                <a:gd name="T30" fmla="*/ 252 w 580"/>
                <a:gd name="T31" fmla="*/ 439 h 458"/>
                <a:gd name="T32" fmla="*/ 281 w 580"/>
                <a:gd name="T33" fmla="*/ 454 h 458"/>
                <a:gd name="T34" fmla="*/ 309 w 580"/>
                <a:gd name="T35" fmla="*/ 439 h 458"/>
                <a:gd name="T36" fmla="*/ 309 w 580"/>
                <a:gd name="T37" fmla="*/ 19 h 458"/>
                <a:gd name="T38" fmla="*/ 281 w 580"/>
                <a:gd name="T39" fmla="*/ 4 h 458"/>
                <a:gd name="T40" fmla="*/ 252 w 580"/>
                <a:gd name="T41" fmla="*/ 19 h 458"/>
                <a:gd name="T42" fmla="*/ 252 w 580"/>
                <a:gd name="T43" fmla="*/ 439 h 458"/>
                <a:gd name="T44" fmla="*/ 0 w 580"/>
                <a:gd name="T45" fmla="*/ 439 h 458"/>
                <a:gd name="T46" fmla="*/ 28 w 580"/>
                <a:gd name="T47" fmla="*/ 454 h 458"/>
                <a:gd name="T48" fmla="*/ 56 w 580"/>
                <a:gd name="T49" fmla="*/ 439 h 458"/>
                <a:gd name="T50" fmla="*/ 56 w 580"/>
                <a:gd name="T51" fmla="*/ 157 h 458"/>
                <a:gd name="T52" fmla="*/ 165 w 580"/>
                <a:gd name="T53" fmla="*/ 53 h 458"/>
                <a:gd name="T54" fmla="*/ 180 w 580"/>
                <a:gd name="T55" fmla="*/ 53 h 458"/>
                <a:gd name="T56" fmla="*/ 196 w 580"/>
                <a:gd name="T57" fmla="*/ 27 h 458"/>
                <a:gd name="T58" fmla="*/ 154 w 580"/>
                <a:gd name="T59" fmla="*/ 4 h 458"/>
                <a:gd name="T60" fmla="*/ 0 w 580"/>
                <a:gd name="T61" fmla="*/ 152 h 458"/>
                <a:gd name="T62" fmla="*/ 0 w 580"/>
                <a:gd name="T63" fmla="*/ 439 h 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80" h="458">
                  <a:moveTo>
                    <a:pt x="411" y="213"/>
                  </a:moveTo>
                  <a:cubicBezTo>
                    <a:pt x="570" y="37"/>
                    <a:pt x="570" y="37"/>
                    <a:pt x="570" y="37"/>
                  </a:cubicBezTo>
                  <a:cubicBezTo>
                    <a:pt x="576" y="30"/>
                    <a:pt x="580" y="25"/>
                    <a:pt x="580" y="20"/>
                  </a:cubicBezTo>
                  <a:cubicBezTo>
                    <a:pt x="580" y="10"/>
                    <a:pt x="559" y="0"/>
                    <a:pt x="545" y="0"/>
                  </a:cubicBezTo>
                  <a:cubicBezTo>
                    <a:pt x="535" y="0"/>
                    <a:pt x="526" y="8"/>
                    <a:pt x="519" y="16"/>
                  </a:cubicBezTo>
                  <a:cubicBezTo>
                    <a:pt x="344" y="210"/>
                    <a:pt x="344" y="210"/>
                    <a:pt x="344" y="210"/>
                  </a:cubicBezTo>
                  <a:cubicBezTo>
                    <a:pt x="336" y="219"/>
                    <a:pt x="334" y="224"/>
                    <a:pt x="334" y="229"/>
                  </a:cubicBezTo>
                  <a:cubicBezTo>
                    <a:pt x="334" y="234"/>
                    <a:pt x="336" y="239"/>
                    <a:pt x="344" y="248"/>
                  </a:cubicBezTo>
                  <a:cubicBezTo>
                    <a:pt x="519" y="442"/>
                    <a:pt x="519" y="442"/>
                    <a:pt x="519" y="442"/>
                  </a:cubicBezTo>
                  <a:cubicBezTo>
                    <a:pt x="526" y="450"/>
                    <a:pt x="535" y="458"/>
                    <a:pt x="545" y="458"/>
                  </a:cubicBezTo>
                  <a:cubicBezTo>
                    <a:pt x="559" y="458"/>
                    <a:pt x="580" y="448"/>
                    <a:pt x="580" y="438"/>
                  </a:cubicBezTo>
                  <a:cubicBezTo>
                    <a:pt x="580" y="433"/>
                    <a:pt x="576" y="428"/>
                    <a:pt x="570" y="421"/>
                  </a:cubicBezTo>
                  <a:cubicBezTo>
                    <a:pt x="411" y="245"/>
                    <a:pt x="411" y="245"/>
                    <a:pt x="411" y="245"/>
                  </a:cubicBezTo>
                  <a:cubicBezTo>
                    <a:pt x="403" y="236"/>
                    <a:pt x="399" y="232"/>
                    <a:pt x="399" y="229"/>
                  </a:cubicBezTo>
                  <a:cubicBezTo>
                    <a:pt x="399" y="226"/>
                    <a:pt x="403" y="222"/>
                    <a:pt x="411" y="213"/>
                  </a:cubicBezTo>
                  <a:moveTo>
                    <a:pt x="252" y="439"/>
                  </a:moveTo>
                  <a:cubicBezTo>
                    <a:pt x="252" y="449"/>
                    <a:pt x="261" y="454"/>
                    <a:pt x="281" y="454"/>
                  </a:cubicBezTo>
                  <a:cubicBezTo>
                    <a:pt x="300" y="454"/>
                    <a:pt x="309" y="449"/>
                    <a:pt x="309" y="439"/>
                  </a:cubicBezTo>
                  <a:cubicBezTo>
                    <a:pt x="309" y="19"/>
                    <a:pt x="309" y="19"/>
                    <a:pt x="309" y="19"/>
                  </a:cubicBezTo>
                  <a:cubicBezTo>
                    <a:pt x="309" y="9"/>
                    <a:pt x="300" y="4"/>
                    <a:pt x="281" y="4"/>
                  </a:cubicBezTo>
                  <a:cubicBezTo>
                    <a:pt x="261" y="4"/>
                    <a:pt x="252" y="9"/>
                    <a:pt x="252" y="19"/>
                  </a:cubicBezTo>
                  <a:lnTo>
                    <a:pt x="252" y="439"/>
                  </a:lnTo>
                  <a:close/>
                  <a:moveTo>
                    <a:pt x="0" y="439"/>
                  </a:moveTo>
                  <a:cubicBezTo>
                    <a:pt x="0" y="449"/>
                    <a:pt x="8" y="454"/>
                    <a:pt x="28" y="454"/>
                  </a:cubicBezTo>
                  <a:cubicBezTo>
                    <a:pt x="48" y="454"/>
                    <a:pt x="56" y="449"/>
                    <a:pt x="56" y="439"/>
                  </a:cubicBezTo>
                  <a:cubicBezTo>
                    <a:pt x="56" y="157"/>
                    <a:pt x="56" y="157"/>
                    <a:pt x="56" y="157"/>
                  </a:cubicBezTo>
                  <a:cubicBezTo>
                    <a:pt x="56" y="83"/>
                    <a:pt x="85" y="53"/>
                    <a:pt x="165" y="53"/>
                  </a:cubicBezTo>
                  <a:cubicBezTo>
                    <a:pt x="180" y="53"/>
                    <a:pt x="180" y="53"/>
                    <a:pt x="180" y="53"/>
                  </a:cubicBezTo>
                  <a:cubicBezTo>
                    <a:pt x="192" y="53"/>
                    <a:pt x="196" y="43"/>
                    <a:pt x="196" y="27"/>
                  </a:cubicBezTo>
                  <a:cubicBezTo>
                    <a:pt x="196" y="8"/>
                    <a:pt x="185" y="4"/>
                    <a:pt x="154" y="4"/>
                  </a:cubicBezTo>
                  <a:cubicBezTo>
                    <a:pt x="64" y="4"/>
                    <a:pt x="0" y="43"/>
                    <a:pt x="0" y="152"/>
                  </a:cubicBezTo>
                  <a:lnTo>
                    <a:pt x="0" y="43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17" name="Freeform 7">
              <a:extLst>
                <a:ext uri="{FF2B5EF4-FFF2-40B4-BE49-F238E27FC236}">
                  <a16:creationId xmlns:a16="http://schemas.microsoft.com/office/drawing/2014/main" id="{2F32DCBD-8628-F245-85CD-97686A20ECFD}"/>
                </a:ext>
              </a:extLst>
            </p:cNvPr>
            <p:cNvSpPr>
              <a:spLocks/>
            </p:cNvSpPr>
            <p:nvPr/>
          </p:nvSpPr>
          <p:spPr bwMode="gray">
            <a:xfrm>
              <a:off x="2880" y="1704"/>
              <a:ext cx="618" cy="916"/>
            </a:xfrm>
            <a:custGeom>
              <a:avLst/>
              <a:gdLst>
                <a:gd name="T0" fmla="*/ 307 w 307"/>
                <a:gd name="T1" fmla="*/ 405 h 455"/>
                <a:gd name="T2" fmla="*/ 307 w 307"/>
                <a:gd name="T3" fmla="*/ 244 h 455"/>
                <a:gd name="T4" fmla="*/ 279 w 307"/>
                <a:gd name="T5" fmla="*/ 229 h 455"/>
                <a:gd name="T6" fmla="*/ 250 w 307"/>
                <a:gd name="T7" fmla="*/ 244 h 455"/>
                <a:gd name="T8" fmla="*/ 250 w 307"/>
                <a:gd name="T9" fmla="*/ 378 h 455"/>
                <a:gd name="T10" fmla="*/ 199 w 307"/>
                <a:gd name="T11" fmla="*/ 408 h 455"/>
                <a:gd name="T12" fmla="*/ 61 w 307"/>
                <a:gd name="T13" fmla="*/ 231 h 455"/>
                <a:gd name="T14" fmla="*/ 238 w 307"/>
                <a:gd name="T15" fmla="*/ 49 h 455"/>
                <a:gd name="T16" fmla="*/ 270 w 307"/>
                <a:gd name="T17" fmla="*/ 49 h 455"/>
                <a:gd name="T18" fmla="*/ 286 w 307"/>
                <a:gd name="T19" fmla="*/ 23 h 455"/>
                <a:gd name="T20" fmla="*/ 244 w 307"/>
                <a:gd name="T21" fmla="*/ 0 h 455"/>
                <a:gd name="T22" fmla="*/ 231 w 307"/>
                <a:gd name="T23" fmla="*/ 0 h 455"/>
                <a:gd name="T24" fmla="*/ 0 w 307"/>
                <a:gd name="T25" fmla="*/ 232 h 455"/>
                <a:gd name="T26" fmla="*/ 198 w 307"/>
                <a:gd name="T27" fmla="*/ 455 h 455"/>
                <a:gd name="T28" fmla="*/ 307 w 307"/>
                <a:gd name="T29" fmla="*/ 405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7" h="455">
                  <a:moveTo>
                    <a:pt x="307" y="405"/>
                  </a:moveTo>
                  <a:cubicBezTo>
                    <a:pt x="307" y="244"/>
                    <a:pt x="307" y="244"/>
                    <a:pt x="307" y="244"/>
                  </a:cubicBezTo>
                  <a:cubicBezTo>
                    <a:pt x="307" y="234"/>
                    <a:pt x="298" y="229"/>
                    <a:pt x="279" y="229"/>
                  </a:cubicBezTo>
                  <a:cubicBezTo>
                    <a:pt x="259" y="229"/>
                    <a:pt x="250" y="234"/>
                    <a:pt x="250" y="244"/>
                  </a:cubicBezTo>
                  <a:cubicBezTo>
                    <a:pt x="250" y="378"/>
                    <a:pt x="250" y="378"/>
                    <a:pt x="250" y="378"/>
                  </a:cubicBezTo>
                  <a:cubicBezTo>
                    <a:pt x="250" y="399"/>
                    <a:pt x="241" y="408"/>
                    <a:pt x="199" y="408"/>
                  </a:cubicBezTo>
                  <a:cubicBezTo>
                    <a:pt x="114" y="408"/>
                    <a:pt x="61" y="342"/>
                    <a:pt x="61" y="231"/>
                  </a:cubicBezTo>
                  <a:cubicBezTo>
                    <a:pt x="61" y="115"/>
                    <a:pt x="126" y="49"/>
                    <a:pt x="238" y="49"/>
                  </a:cubicBezTo>
                  <a:cubicBezTo>
                    <a:pt x="270" y="49"/>
                    <a:pt x="270" y="49"/>
                    <a:pt x="270" y="49"/>
                  </a:cubicBezTo>
                  <a:cubicBezTo>
                    <a:pt x="282" y="49"/>
                    <a:pt x="286" y="39"/>
                    <a:pt x="286" y="23"/>
                  </a:cubicBezTo>
                  <a:cubicBezTo>
                    <a:pt x="286" y="4"/>
                    <a:pt x="275" y="0"/>
                    <a:pt x="244" y="0"/>
                  </a:cubicBezTo>
                  <a:cubicBezTo>
                    <a:pt x="231" y="0"/>
                    <a:pt x="231" y="0"/>
                    <a:pt x="231" y="0"/>
                  </a:cubicBezTo>
                  <a:cubicBezTo>
                    <a:pt x="101" y="0"/>
                    <a:pt x="0" y="71"/>
                    <a:pt x="0" y="232"/>
                  </a:cubicBezTo>
                  <a:cubicBezTo>
                    <a:pt x="0" y="386"/>
                    <a:pt x="88" y="455"/>
                    <a:pt x="198" y="455"/>
                  </a:cubicBezTo>
                  <a:cubicBezTo>
                    <a:pt x="286" y="455"/>
                    <a:pt x="307" y="430"/>
                    <a:pt x="307" y="40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18" name="Oval 8">
              <a:extLst>
                <a:ext uri="{FF2B5EF4-FFF2-40B4-BE49-F238E27FC236}">
                  <a16:creationId xmlns:a16="http://schemas.microsoft.com/office/drawing/2014/main" id="{60D97C11-1A3B-5449-A48D-98A3E79B3810}"/>
                </a:ext>
              </a:extLst>
            </p:cNvPr>
            <p:cNvSpPr>
              <a:spLocks noChangeArrowheads="1"/>
            </p:cNvSpPr>
            <p:nvPr/>
          </p:nvSpPr>
          <p:spPr bwMode="gray">
            <a:xfrm>
              <a:off x="3778" y="2099"/>
              <a:ext cx="122" cy="12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19" name="Freeform 9">
              <a:extLst>
                <a:ext uri="{FF2B5EF4-FFF2-40B4-BE49-F238E27FC236}">
                  <a16:creationId xmlns:a16="http://schemas.microsoft.com/office/drawing/2014/main" id="{5856770D-B8F0-244E-A05D-AED190086F10}"/>
                </a:ext>
              </a:extLst>
            </p:cNvPr>
            <p:cNvSpPr>
              <a:spLocks noEditPoints="1"/>
            </p:cNvSpPr>
            <p:nvPr/>
          </p:nvSpPr>
          <p:spPr bwMode="gray">
            <a:xfrm>
              <a:off x="3623" y="1696"/>
              <a:ext cx="1167" cy="922"/>
            </a:xfrm>
            <a:custGeom>
              <a:avLst/>
              <a:gdLst>
                <a:gd name="T0" fmla="*/ 411 w 580"/>
                <a:gd name="T1" fmla="*/ 213 h 458"/>
                <a:gd name="T2" fmla="*/ 570 w 580"/>
                <a:gd name="T3" fmla="*/ 37 h 458"/>
                <a:gd name="T4" fmla="*/ 580 w 580"/>
                <a:gd name="T5" fmla="*/ 20 h 458"/>
                <a:gd name="T6" fmla="*/ 545 w 580"/>
                <a:gd name="T7" fmla="*/ 0 h 458"/>
                <a:gd name="T8" fmla="*/ 519 w 580"/>
                <a:gd name="T9" fmla="*/ 16 h 458"/>
                <a:gd name="T10" fmla="*/ 344 w 580"/>
                <a:gd name="T11" fmla="*/ 210 h 458"/>
                <a:gd name="T12" fmla="*/ 334 w 580"/>
                <a:gd name="T13" fmla="*/ 229 h 458"/>
                <a:gd name="T14" fmla="*/ 344 w 580"/>
                <a:gd name="T15" fmla="*/ 248 h 458"/>
                <a:gd name="T16" fmla="*/ 519 w 580"/>
                <a:gd name="T17" fmla="*/ 442 h 458"/>
                <a:gd name="T18" fmla="*/ 545 w 580"/>
                <a:gd name="T19" fmla="*/ 458 h 458"/>
                <a:gd name="T20" fmla="*/ 580 w 580"/>
                <a:gd name="T21" fmla="*/ 438 h 458"/>
                <a:gd name="T22" fmla="*/ 570 w 580"/>
                <a:gd name="T23" fmla="*/ 421 h 458"/>
                <a:gd name="T24" fmla="*/ 411 w 580"/>
                <a:gd name="T25" fmla="*/ 245 h 458"/>
                <a:gd name="T26" fmla="*/ 399 w 580"/>
                <a:gd name="T27" fmla="*/ 229 h 458"/>
                <a:gd name="T28" fmla="*/ 411 w 580"/>
                <a:gd name="T29" fmla="*/ 213 h 458"/>
                <a:gd name="T30" fmla="*/ 252 w 580"/>
                <a:gd name="T31" fmla="*/ 439 h 458"/>
                <a:gd name="T32" fmla="*/ 281 w 580"/>
                <a:gd name="T33" fmla="*/ 454 h 458"/>
                <a:gd name="T34" fmla="*/ 309 w 580"/>
                <a:gd name="T35" fmla="*/ 439 h 458"/>
                <a:gd name="T36" fmla="*/ 309 w 580"/>
                <a:gd name="T37" fmla="*/ 19 h 458"/>
                <a:gd name="T38" fmla="*/ 281 w 580"/>
                <a:gd name="T39" fmla="*/ 4 h 458"/>
                <a:gd name="T40" fmla="*/ 252 w 580"/>
                <a:gd name="T41" fmla="*/ 19 h 458"/>
                <a:gd name="T42" fmla="*/ 252 w 580"/>
                <a:gd name="T43" fmla="*/ 439 h 458"/>
                <a:gd name="T44" fmla="*/ 0 w 580"/>
                <a:gd name="T45" fmla="*/ 439 h 458"/>
                <a:gd name="T46" fmla="*/ 28 w 580"/>
                <a:gd name="T47" fmla="*/ 454 h 458"/>
                <a:gd name="T48" fmla="*/ 56 w 580"/>
                <a:gd name="T49" fmla="*/ 439 h 458"/>
                <a:gd name="T50" fmla="*/ 56 w 580"/>
                <a:gd name="T51" fmla="*/ 157 h 458"/>
                <a:gd name="T52" fmla="*/ 165 w 580"/>
                <a:gd name="T53" fmla="*/ 53 h 458"/>
                <a:gd name="T54" fmla="*/ 180 w 580"/>
                <a:gd name="T55" fmla="*/ 53 h 458"/>
                <a:gd name="T56" fmla="*/ 196 w 580"/>
                <a:gd name="T57" fmla="*/ 27 h 458"/>
                <a:gd name="T58" fmla="*/ 154 w 580"/>
                <a:gd name="T59" fmla="*/ 4 h 458"/>
                <a:gd name="T60" fmla="*/ 0 w 580"/>
                <a:gd name="T61" fmla="*/ 152 h 458"/>
                <a:gd name="T62" fmla="*/ 0 w 580"/>
                <a:gd name="T63" fmla="*/ 439 h 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80" h="458">
                  <a:moveTo>
                    <a:pt x="411" y="213"/>
                  </a:moveTo>
                  <a:cubicBezTo>
                    <a:pt x="570" y="37"/>
                    <a:pt x="570" y="37"/>
                    <a:pt x="570" y="37"/>
                  </a:cubicBezTo>
                  <a:cubicBezTo>
                    <a:pt x="576" y="30"/>
                    <a:pt x="580" y="25"/>
                    <a:pt x="580" y="20"/>
                  </a:cubicBezTo>
                  <a:cubicBezTo>
                    <a:pt x="580" y="10"/>
                    <a:pt x="559" y="0"/>
                    <a:pt x="545" y="0"/>
                  </a:cubicBezTo>
                  <a:cubicBezTo>
                    <a:pt x="535" y="0"/>
                    <a:pt x="526" y="8"/>
                    <a:pt x="519" y="16"/>
                  </a:cubicBezTo>
                  <a:cubicBezTo>
                    <a:pt x="344" y="210"/>
                    <a:pt x="344" y="210"/>
                    <a:pt x="344" y="210"/>
                  </a:cubicBezTo>
                  <a:cubicBezTo>
                    <a:pt x="336" y="219"/>
                    <a:pt x="334" y="224"/>
                    <a:pt x="334" y="229"/>
                  </a:cubicBezTo>
                  <a:cubicBezTo>
                    <a:pt x="334" y="234"/>
                    <a:pt x="336" y="239"/>
                    <a:pt x="344" y="248"/>
                  </a:cubicBezTo>
                  <a:cubicBezTo>
                    <a:pt x="519" y="442"/>
                    <a:pt x="519" y="442"/>
                    <a:pt x="519" y="442"/>
                  </a:cubicBezTo>
                  <a:cubicBezTo>
                    <a:pt x="526" y="450"/>
                    <a:pt x="535" y="458"/>
                    <a:pt x="545" y="458"/>
                  </a:cubicBezTo>
                  <a:cubicBezTo>
                    <a:pt x="559" y="458"/>
                    <a:pt x="580" y="448"/>
                    <a:pt x="580" y="438"/>
                  </a:cubicBezTo>
                  <a:cubicBezTo>
                    <a:pt x="580" y="433"/>
                    <a:pt x="576" y="428"/>
                    <a:pt x="570" y="421"/>
                  </a:cubicBezTo>
                  <a:cubicBezTo>
                    <a:pt x="411" y="245"/>
                    <a:pt x="411" y="245"/>
                    <a:pt x="411" y="245"/>
                  </a:cubicBezTo>
                  <a:cubicBezTo>
                    <a:pt x="403" y="236"/>
                    <a:pt x="399" y="232"/>
                    <a:pt x="399" y="229"/>
                  </a:cubicBezTo>
                  <a:cubicBezTo>
                    <a:pt x="399" y="226"/>
                    <a:pt x="403" y="222"/>
                    <a:pt x="411" y="213"/>
                  </a:cubicBezTo>
                  <a:moveTo>
                    <a:pt x="252" y="439"/>
                  </a:moveTo>
                  <a:cubicBezTo>
                    <a:pt x="252" y="449"/>
                    <a:pt x="261" y="454"/>
                    <a:pt x="281" y="454"/>
                  </a:cubicBezTo>
                  <a:cubicBezTo>
                    <a:pt x="300" y="454"/>
                    <a:pt x="309" y="449"/>
                    <a:pt x="309" y="439"/>
                  </a:cubicBezTo>
                  <a:cubicBezTo>
                    <a:pt x="309" y="19"/>
                    <a:pt x="309" y="19"/>
                    <a:pt x="309" y="19"/>
                  </a:cubicBezTo>
                  <a:cubicBezTo>
                    <a:pt x="309" y="9"/>
                    <a:pt x="300" y="4"/>
                    <a:pt x="281" y="4"/>
                  </a:cubicBezTo>
                  <a:cubicBezTo>
                    <a:pt x="261" y="4"/>
                    <a:pt x="252" y="9"/>
                    <a:pt x="252" y="19"/>
                  </a:cubicBezTo>
                  <a:lnTo>
                    <a:pt x="252" y="439"/>
                  </a:lnTo>
                  <a:close/>
                  <a:moveTo>
                    <a:pt x="0" y="439"/>
                  </a:moveTo>
                  <a:cubicBezTo>
                    <a:pt x="0" y="449"/>
                    <a:pt x="8" y="454"/>
                    <a:pt x="28" y="454"/>
                  </a:cubicBezTo>
                  <a:cubicBezTo>
                    <a:pt x="48" y="454"/>
                    <a:pt x="56" y="449"/>
                    <a:pt x="56" y="439"/>
                  </a:cubicBezTo>
                  <a:cubicBezTo>
                    <a:pt x="56" y="157"/>
                    <a:pt x="56" y="157"/>
                    <a:pt x="56" y="157"/>
                  </a:cubicBezTo>
                  <a:cubicBezTo>
                    <a:pt x="56" y="83"/>
                    <a:pt x="85" y="53"/>
                    <a:pt x="165" y="53"/>
                  </a:cubicBezTo>
                  <a:cubicBezTo>
                    <a:pt x="180" y="53"/>
                    <a:pt x="180" y="53"/>
                    <a:pt x="180" y="53"/>
                  </a:cubicBezTo>
                  <a:cubicBezTo>
                    <a:pt x="192" y="53"/>
                    <a:pt x="196" y="43"/>
                    <a:pt x="196" y="27"/>
                  </a:cubicBezTo>
                  <a:cubicBezTo>
                    <a:pt x="196" y="8"/>
                    <a:pt x="185" y="4"/>
                    <a:pt x="154" y="4"/>
                  </a:cubicBezTo>
                  <a:cubicBezTo>
                    <a:pt x="64" y="4"/>
                    <a:pt x="0" y="43"/>
                    <a:pt x="0" y="152"/>
                  </a:cubicBezTo>
                  <a:lnTo>
                    <a:pt x="0" y="43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22" name="Freeform 10">
              <a:extLst>
                <a:ext uri="{FF2B5EF4-FFF2-40B4-BE49-F238E27FC236}">
                  <a16:creationId xmlns:a16="http://schemas.microsoft.com/office/drawing/2014/main" id="{2B91B16B-BC11-E547-8FAC-B9B8D18EA449}"/>
                </a:ext>
              </a:extLst>
            </p:cNvPr>
            <p:cNvSpPr>
              <a:spLocks/>
            </p:cNvSpPr>
            <p:nvPr/>
          </p:nvSpPr>
          <p:spPr bwMode="gray">
            <a:xfrm>
              <a:off x="2880" y="1704"/>
              <a:ext cx="618" cy="916"/>
            </a:xfrm>
            <a:custGeom>
              <a:avLst/>
              <a:gdLst>
                <a:gd name="T0" fmla="*/ 307 w 307"/>
                <a:gd name="T1" fmla="*/ 405 h 455"/>
                <a:gd name="T2" fmla="*/ 307 w 307"/>
                <a:gd name="T3" fmla="*/ 244 h 455"/>
                <a:gd name="T4" fmla="*/ 279 w 307"/>
                <a:gd name="T5" fmla="*/ 229 h 455"/>
                <a:gd name="T6" fmla="*/ 250 w 307"/>
                <a:gd name="T7" fmla="*/ 244 h 455"/>
                <a:gd name="T8" fmla="*/ 250 w 307"/>
                <a:gd name="T9" fmla="*/ 378 h 455"/>
                <a:gd name="T10" fmla="*/ 199 w 307"/>
                <a:gd name="T11" fmla="*/ 408 h 455"/>
                <a:gd name="T12" fmla="*/ 61 w 307"/>
                <a:gd name="T13" fmla="*/ 231 h 455"/>
                <a:gd name="T14" fmla="*/ 238 w 307"/>
                <a:gd name="T15" fmla="*/ 49 h 455"/>
                <a:gd name="T16" fmla="*/ 270 w 307"/>
                <a:gd name="T17" fmla="*/ 49 h 455"/>
                <a:gd name="T18" fmla="*/ 286 w 307"/>
                <a:gd name="T19" fmla="*/ 23 h 455"/>
                <a:gd name="T20" fmla="*/ 244 w 307"/>
                <a:gd name="T21" fmla="*/ 0 h 455"/>
                <a:gd name="T22" fmla="*/ 231 w 307"/>
                <a:gd name="T23" fmla="*/ 0 h 455"/>
                <a:gd name="T24" fmla="*/ 0 w 307"/>
                <a:gd name="T25" fmla="*/ 232 h 455"/>
                <a:gd name="T26" fmla="*/ 198 w 307"/>
                <a:gd name="T27" fmla="*/ 455 h 455"/>
                <a:gd name="T28" fmla="*/ 307 w 307"/>
                <a:gd name="T29" fmla="*/ 405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7" h="455">
                  <a:moveTo>
                    <a:pt x="307" y="405"/>
                  </a:moveTo>
                  <a:cubicBezTo>
                    <a:pt x="307" y="244"/>
                    <a:pt x="307" y="244"/>
                    <a:pt x="307" y="244"/>
                  </a:cubicBezTo>
                  <a:cubicBezTo>
                    <a:pt x="307" y="234"/>
                    <a:pt x="298" y="229"/>
                    <a:pt x="279" y="229"/>
                  </a:cubicBezTo>
                  <a:cubicBezTo>
                    <a:pt x="259" y="229"/>
                    <a:pt x="250" y="234"/>
                    <a:pt x="250" y="244"/>
                  </a:cubicBezTo>
                  <a:cubicBezTo>
                    <a:pt x="250" y="378"/>
                    <a:pt x="250" y="378"/>
                    <a:pt x="250" y="378"/>
                  </a:cubicBezTo>
                  <a:cubicBezTo>
                    <a:pt x="250" y="399"/>
                    <a:pt x="241" y="408"/>
                    <a:pt x="199" y="408"/>
                  </a:cubicBezTo>
                  <a:cubicBezTo>
                    <a:pt x="114" y="408"/>
                    <a:pt x="61" y="342"/>
                    <a:pt x="61" y="231"/>
                  </a:cubicBezTo>
                  <a:cubicBezTo>
                    <a:pt x="61" y="115"/>
                    <a:pt x="126" y="49"/>
                    <a:pt x="238" y="49"/>
                  </a:cubicBezTo>
                  <a:cubicBezTo>
                    <a:pt x="270" y="49"/>
                    <a:pt x="270" y="49"/>
                    <a:pt x="270" y="49"/>
                  </a:cubicBezTo>
                  <a:cubicBezTo>
                    <a:pt x="282" y="49"/>
                    <a:pt x="286" y="39"/>
                    <a:pt x="286" y="23"/>
                  </a:cubicBezTo>
                  <a:cubicBezTo>
                    <a:pt x="286" y="4"/>
                    <a:pt x="275" y="0"/>
                    <a:pt x="244" y="0"/>
                  </a:cubicBezTo>
                  <a:cubicBezTo>
                    <a:pt x="231" y="0"/>
                    <a:pt x="231" y="0"/>
                    <a:pt x="231" y="0"/>
                  </a:cubicBezTo>
                  <a:cubicBezTo>
                    <a:pt x="101" y="0"/>
                    <a:pt x="0" y="71"/>
                    <a:pt x="0" y="232"/>
                  </a:cubicBezTo>
                  <a:cubicBezTo>
                    <a:pt x="0" y="386"/>
                    <a:pt x="88" y="455"/>
                    <a:pt x="198" y="455"/>
                  </a:cubicBezTo>
                  <a:cubicBezTo>
                    <a:pt x="286" y="455"/>
                    <a:pt x="307" y="430"/>
                    <a:pt x="307" y="40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23" name="Oval 11">
              <a:extLst>
                <a:ext uri="{FF2B5EF4-FFF2-40B4-BE49-F238E27FC236}">
                  <a16:creationId xmlns:a16="http://schemas.microsoft.com/office/drawing/2014/main" id="{14F8C3C8-4888-7646-B9B4-64EB46A1DA23}"/>
                </a:ext>
              </a:extLst>
            </p:cNvPr>
            <p:cNvSpPr>
              <a:spLocks noChangeArrowheads="1"/>
            </p:cNvSpPr>
            <p:nvPr/>
          </p:nvSpPr>
          <p:spPr bwMode="gray">
            <a:xfrm>
              <a:off x="3778" y="2099"/>
              <a:ext cx="122" cy="12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24" name="Freeform 12">
              <a:extLst>
                <a:ext uri="{FF2B5EF4-FFF2-40B4-BE49-F238E27FC236}">
                  <a16:creationId xmlns:a16="http://schemas.microsoft.com/office/drawing/2014/main" id="{D79D01D1-4E3E-F34B-97D7-2D387E68746E}"/>
                </a:ext>
              </a:extLst>
            </p:cNvPr>
            <p:cNvSpPr>
              <a:spLocks/>
            </p:cNvSpPr>
            <p:nvPr/>
          </p:nvSpPr>
          <p:spPr bwMode="gray">
            <a:xfrm>
              <a:off x="4321" y="1029"/>
              <a:ext cx="648" cy="649"/>
            </a:xfrm>
            <a:custGeom>
              <a:avLst/>
              <a:gdLst>
                <a:gd name="T0" fmla="*/ 0 w 648"/>
                <a:gd name="T1" fmla="*/ 649 h 649"/>
                <a:gd name="T2" fmla="*/ 2 w 648"/>
                <a:gd name="T3" fmla="*/ 649 h 649"/>
                <a:gd name="T4" fmla="*/ 648 w 648"/>
                <a:gd name="T5" fmla="*/ 0 h 649"/>
                <a:gd name="T6" fmla="*/ 423 w 648"/>
                <a:gd name="T7" fmla="*/ 0 h 649"/>
                <a:gd name="T8" fmla="*/ 0 w 648"/>
                <a:gd name="T9" fmla="*/ 649 h 649"/>
              </a:gdLst>
              <a:ahLst/>
              <a:cxnLst>
                <a:cxn ang="0">
                  <a:pos x="T0" y="T1"/>
                </a:cxn>
                <a:cxn ang="0">
                  <a:pos x="T2" y="T3"/>
                </a:cxn>
                <a:cxn ang="0">
                  <a:pos x="T4" y="T5"/>
                </a:cxn>
                <a:cxn ang="0">
                  <a:pos x="T6" y="T7"/>
                </a:cxn>
                <a:cxn ang="0">
                  <a:pos x="T8" y="T9"/>
                </a:cxn>
              </a:cxnLst>
              <a:rect l="0" t="0" r="r" b="b"/>
              <a:pathLst>
                <a:path w="648" h="649">
                  <a:moveTo>
                    <a:pt x="0" y="649"/>
                  </a:moveTo>
                  <a:lnTo>
                    <a:pt x="2" y="649"/>
                  </a:lnTo>
                  <a:lnTo>
                    <a:pt x="648" y="0"/>
                  </a:lnTo>
                  <a:lnTo>
                    <a:pt x="423" y="0"/>
                  </a:lnTo>
                  <a:lnTo>
                    <a:pt x="0" y="64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26" name="Freeform 13">
              <a:extLst>
                <a:ext uri="{FF2B5EF4-FFF2-40B4-BE49-F238E27FC236}">
                  <a16:creationId xmlns:a16="http://schemas.microsoft.com/office/drawing/2014/main" id="{46549898-6C52-B147-A8F6-A73FDBE6163B}"/>
                </a:ext>
              </a:extLst>
            </p:cNvPr>
            <p:cNvSpPr>
              <a:spLocks/>
            </p:cNvSpPr>
            <p:nvPr/>
          </p:nvSpPr>
          <p:spPr bwMode="gray">
            <a:xfrm>
              <a:off x="4321" y="1029"/>
              <a:ext cx="648" cy="649"/>
            </a:xfrm>
            <a:custGeom>
              <a:avLst/>
              <a:gdLst>
                <a:gd name="T0" fmla="*/ 0 w 648"/>
                <a:gd name="T1" fmla="*/ 649 h 649"/>
                <a:gd name="T2" fmla="*/ 2 w 648"/>
                <a:gd name="T3" fmla="*/ 649 h 649"/>
                <a:gd name="T4" fmla="*/ 648 w 648"/>
                <a:gd name="T5" fmla="*/ 0 h 649"/>
                <a:gd name="T6" fmla="*/ 423 w 648"/>
                <a:gd name="T7" fmla="*/ 0 h 649"/>
                <a:gd name="T8" fmla="*/ 0 w 648"/>
                <a:gd name="T9" fmla="*/ 649 h 649"/>
              </a:gdLst>
              <a:ahLst/>
              <a:cxnLst>
                <a:cxn ang="0">
                  <a:pos x="T0" y="T1"/>
                </a:cxn>
                <a:cxn ang="0">
                  <a:pos x="T2" y="T3"/>
                </a:cxn>
                <a:cxn ang="0">
                  <a:pos x="T4" y="T5"/>
                </a:cxn>
                <a:cxn ang="0">
                  <a:pos x="T6" y="T7"/>
                </a:cxn>
                <a:cxn ang="0">
                  <a:pos x="T8" y="T9"/>
                </a:cxn>
              </a:cxnLst>
              <a:rect l="0" t="0" r="r" b="b"/>
              <a:pathLst>
                <a:path w="648" h="649">
                  <a:moveTo>
                    <a:pt x="0" y="649"/>
                  </a:moveTo>
                  <a:lnTo>
                    <a:pt x="2" y="649"/>
                  </a:lnTo>
                  <a:lnTo>
                    <a:pt x="648" y="0"/>
                  </a:lnTo>
                  <a:lnTo>
                    <a:pt x="423" y="0"/>
                  </a:lnTo>
                  <a:lnTo>
                    <a:pt x="0" y="64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grpSp>
      <p:sp>
        <p:nvSpPr>
          <p:cNvPr id="20" name="shp1">
            <a:extLst>
              <a:ext uri="{FF2B5EF4-FFF2-40B4-BE49-F238E27FC236}">
                <a16:creationId xmlns:a16="http://schemas.microsoft.com/office/drawing/2014/main" id="{1AD9883E-0B1C-504A-A979-9C5803172360}"/>
              </a:ext>
            </a:extLst>
          </p:cNvPr>
          <p:cNvSpPr/>
          <p:nvPr/>
        </p:nvSpPr>
        <p:spPr>
          <a:xfrm>
            <a:off x="192088" y="1"/>
            <a:ext cx="215900" cy="144938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de-DE" sz="1351"/>
          </a:p>
        </p:txBody>
      </p:sp>
      <p:sp>
        <p:nvSpPr>
          <p:cNvPr id="7" name="copyright"/>
          <p:cNvSpPr txBox="1"/>
          <p:nvPr/>
        </p:nvSpPr>
        <p:spPr>
          <a:xfrm>
            <a:off x="10672209" y="6461671"/>
            <a:ext cx="500617" cy="133790"/>
          </a:xfrm>
          <a:prstGeom prst="rect">
            <a:avLst/>
          </a:prstGeom>
          <a:noFill/>
        </p:spPr>
        <p:txBody>
          <a:bodyPr wrap="none" lIns="0" tIns="0" rIns="0" bIns="0" rtlCol="0" anchor="b" anchorCtr="0">
            <a:noAutofit/>
          </a:bodyPr>
          <a:lstStyle/>
          <a:p>
            <a:pPr marL="0" indent="0" algn="r">
              <a:lnSpc>
                <a:spcPct val="125000"/>
              </a:lnSpc>
              <a:buClr>
                <a:schemeClr val="tx2"/>
              </a:buClr>
              <a:buFont typeface="Wingdings" panose="05000000000000000000" pitchFamily="2" charset="2"/>
              <a:buNone/>
            </a:pPr>
            <a:r>
              <a:rPr lang="en-US" sz="800"/>
              <a:t>© GfK</a:t>
            </a:r>
          </a:p>
        </p:txBody>
      </p:sp>
      <p:sp>
        <p:nvSpPr>
          <p:cNvPr id="28" name="Date Placeholder 27"/>
          <p:cNvSpPr>
            <a:spLocks noGrp="1"/>
          </p:cNvSpPr>
          <p:nvPr>
            <p:ph type="dt" sz="half" idx="2"/>
          </p:nvPr>
        </p:nvSpPr>
        <p:spPr>
          <a:xfrm>
            <a:off x="192088" y="6461671"/>
            <a:ext cx="761512" cy="133790"/>
          </a:xfrm>
          <a:prstGeom prst="rect">
            <a:avLst/>
          </a:prstGeom>
        </p:spPr>
        <p:txBody>
          <a:bodyPr vert="horz" wrap="none" lIns="0" tIns="0" rIns="0" bIns="0" rtlCol="0" anchor="b" anchorCtr="0"/>
          <a:lstStyle>
            <a:lvl1pPr algn="r">
              <a:defRPr sz="800">
                <a:solidFill>
                  <a:schemeClr val="tx1"/>
                </a:solidFill>
              </a:defRPr>
            </a:lvl1pPr>
          </a:lstStyle>
          <a:p>
            <a:endParaRPr lang="en-US"/>
          </a:p>
        </p:txBody>
      </p:sp>
      <p:sp>
        <p:nvSpPr>
          <p:cNvPr id="29" name="Footer Placeholder 28"/>
          <p:cNvSpPr>
            <a:spLocks noGrp="1"/>
          </p:cNvSpPr>
          <p:nvPr>
            <p:ph type="ftr" sz="quarter" idx="3"/>
          </p:nvPr>
        </p:nvSpPr>
        <p:spPr>
          <a:xfrm>
            <a:off x="1076400" y="6461671"/>
            <a:ext cx="8162717" cy="133790"/>
          </a:xfrm>
          <a:prstGeom prst="rect">
            <a:avLst/>
          </a:prstGeom>
        </p:spPr>
        <p:txBody>
          <a:bodyPr vert="horz" lIns="0" tIns="0" rIns="0" bIns="0" rtlCol="0" anchor="b" anchorCtr="0"/>
          <a:lstStyle>
            <a:lvl1pPr marL="144000" indent="-144000" algn="l">
              <a:buClr>
                <a:schemeClr val="tx2"/>
              </a:buClr>
              <a:buFont typeface="Wingdings" panose="05000000000000000000" pitchFamily="2" charset="2"/>
              <a:buChar char="§"/>
              <a:defRPr sz="800">
                <a:solidFill>
                  <a:schemeClr val="tx1"/>
                </a:solidFill>
              </a:defRPr>
            </a:lvl1pPr>
          </a:lstStyle>
          <a:p>
            <a:endParaRPr lang="en-US"/>
          </a:p>
        </p:txBody>
      </p:sp>
      <p:sp>
        <p:nvSpPr>
          <p:cNvPr id="30" name="Slide Number Placeholder 29"/>
          <p:cNvSpPr>
            <a:spLocks noGrp="1"/>
          </p:cNvSpPr>
          <p:nvPr>
            <p:ph type="sldNum" sz="quarter" idx="4"/>
          </p:nvPr>
        </p:nvSpPr>
        <p:spPr>
          <a:xfrm>
            <a:off x="11186669" y="6461671"/>
            <a:ext cx="648000" cy="133790"/>
          </a:xfrm>
          <a:prstGeom prst="rect">
            <a:avLst/>
          </a:prstGeom>
        </p:spPr>
        <p:txBody>
          <a:bodyPr vert="horz" lIns="0" tIns="0" rIns="0" bIns="0" rtlCol="0" anchor="b" anchorCtr="0"/>
          <a:lstStyle>
            <a:lvl1pPr algn="r">
              <a:defRPr sz="800">
                <a:solidFill>
                  <a:schemeClr val="tx1"/>
                </a:solidFill>
              </a:defRPr>
            </a:lvl1pPr>
          </a:lstStyle>
          <a:p>
            <a:fld id="{5F3E29E4-0979-4FCA-B4C5-5FC6044C982A}" type="slidenum">
              <a:rPr lang="en-US" smtClean="0"/>
              <a:pPr/>
              <a:t>‹#›</a:t>
            </a:fld>
            <a:endParaRPr lang="en-US"/>
          </a:p>
        </p:txBody>
      </p:sp>
      <p:sp>
        <p:nvSpPr>
          <p:cNvPr id="2" name="Title Placeholder 1"/>
          <p:cNvSpPr>
            <a:spLocks noGrp="1"/>
          </p:cNvSpPr>
          <p:nvPr>
            <p:ph type="title"/>
          </p:nvPr>
        </p:nvSpPr>
        <p:spPr>
          <a:xfrm>
            <a:off x="1075061" y="288922"/>
            <a:ext cx="7910158" cy="648000"/>
          </a:xfrm>
          <a:prstGeom prst="rect">
            <a:avLst/>
          </a:prstGeom>
        </p:spPr>
        <p:txBody>
          <a:bodyPr vert="horz" lIns="0" tIns="0" rIns="0" bIns="0" rtlCol="0" anchor="t">
            <a:noAutofit/>
          </a:bodyPr>
          <a:lstStyle/>
          <a:p>
            <a:r>
              <a:rPr lang="en-US"/>
              <a:t>Click to edit Master title style</a:t>
            </a:r>
          </a:p>
        </p:txBody>
      </p:sp>
      <p:sp>
        <p:nvSpPr>
          <p:cNvPr id="3" name="Text Placeholder 2"/>
          <p:cNvSpPr>
            <a:spLocks noGrp="1"/>
          </p:cNvSpPr>
          <p:nvPr>
            <p:ph type="body" idx="1"/>
          </p:nvPr>
        </p:nvSpPr>
        <p:spPr>
          <a:xfrm>
            <a:off x="1075062" y="1629618"/>
            <a:ext cx="10097764" cy="4139357"/>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6319593"/>
      </p:ext>
    </p:extLst>
  </p:cSld>
  <p:clrMap bg1="lt1" tx1="dk1" bg2="lt2" tx2="dk2" accent1="accent1" accent2="accent2" accent3="accent3" accent4="accent4" accent5="accent5" accent6="accent6" hlink="hlink" folHlink="folHlink"/>
  <p:sldLayoutIdLst>
    <p:sldLayoutId id="2147484912" r:id="rId1"/>
    <p:sldLayoutId id="2147484913" r:id="rId2"/>
    <p:sldLayoutId id="2147484914" r:id="rId3"/>
    <p:sldLayoutId id="2147484915" r:id="rId4"/>
    <p:sldLayoutId id="2147484916" r:id="rId5"/>
    <p:sldLayoutId id="2147484917" r:id="rId6"/>
    <p:sldLayoutId id="2147484918" r:id="rId7"/>
    <p:sldLayoutId id="2147484919" r:id="rId8"/>
    <p:sldLayoutId id="2147484920" r:id="rId9"/>
    <p:sldLayoutId id="2147484921" r:id="rId10"/>
    <p:sldLayoutId id="2147484922" r:id="rId11"/>
    <p:sldLayoutId id="2147484923" r:id="rId12"/>
    <p:sldLayoutId id="2147484924" r:id="rId13"/>
    <p:sldLayoutId id="2147484925" r:id="rId14"/>
    <p:sldLayoutId id="2147484926" r:id="rId15"/>
    <p:sldLayoutId id="2147484927" r:id="rId16"/>
    <p:sldLayoutId id="2147484928" r:id="rId17"/>
    <p:sldLayoutId id="2147484929" r:id="rId18"/>
    <p:sldLayoutId id="2147484930" r:id="rId19"/>
    <p:sldLayoutId id="2147484931" r:id="rId20"/>
    <p:sldLayoutId id="2147484932" r:id="rId21"/>
    <p:sldLayoutId id="2147484933" r:id="rId22"/>
    <p:sldLayoutId id="2147484934" r:id="rId23"/>
    <p:sldLayoutId id="2147484935" r:id="rId24"/>
    <p:sldLayoutId id="2147484936" r:id="rId25"/>
    <p:sldLayoutId id="2147484937" r:id="rId26"/>
    <p:sldLayoutId id="2147484938" r:id="rId27"/>
    <p:sldLayoutId id="2147484939" r:id="rId28"/>
  </p:sldLayoutIdLst>
  <p:hf hdr="0" ftr="0" dt="0"/>
  <p:txStyles>
    <p:titleStyle>
      <a:lvl1pPr algn="l" defTabSz="914400" rtl="0" eaLnBrk="1" latinLnBrk="0" hangingPunct="1">
        <a:lnSpc>
          <a:spcPct val="100000"/>
        </a:lnSpc>
        <a:spcBef>
          <a:spcPct val="0"/>
        </a:spcBef>
        <a:buNone/>
        <a:defRPr sz="3600" kern="1200">
          <a:solidFill>
            <a:schemeClr val="tx1"/>
          </a:solidFill>
          <a:latin typeface="+mj-lt"/>
          <a:ea typeface="+mj-ea"/>
          <a:cs typeface="+mj-cs"/>
        </a:defRPr>
      </a:lvl1pPr>
    </p:titleStyle>
    <p:bodyStyle>
      <a:lvl1pPr marL="252000" indent="-252000" algn="l" defTabSz="914400" rtl="0" eaLnBrk="1" latinLnBrk="0" hangingPunct="1">
        <a:lnSpc>
          <a:spcPct val="110000"/>
        </a:lnSpc>
        <a:spcBef>
          <a:spcPts val="1000"/>
        </a:spcBef>
        <a:buClr>
          <a:schemeClr val="tx2"/>
        </a:buClr>
        <a:buFont typeface="Wingdings" panose="05000000000000000000" pitchFamily="2" charset="2"/>
        <a:buChar char="§"/>
        <a:defRPr sz="2800" kern="1200">
          <a:solidFill>
            <a:schemeClr val="tx1"/>
          </a:solidFill>
          <a:latin typeface="+mn-lt"/>
          <a:ea typeface="+mn-ea"/>
          <a:cs typeface="+mn-cs"/>
        </a:defRPr>
      </a:lvl1pPr>
      <a:lvl2pPr marL="648000" indent="-252000" algn="l" defTabSz="914400" rtl="0" eaLnBrk="1" latinLnBrk="0" hangingPunct="1">
        <a:lnSpc>
          <a:spcPct val="110000"/>
        </a:lnSpc>
        <a:spcBef>
          <a:spcPts val="600"/>
        </a:spcBef>
        <a:buClr>
          <a:schemeClr val="tx2"/>
        </a:buClr>
        <a:buFont typeface="Wingdings" panose="05000000000000000000" pitchFamily="2" charset="2"/>
        <a:buChar char="§"/>
        <a:defRPr sz="2400" kern="1200">
          <a:solidFill>
            <a:schemeClr val="tx1"/>
          </a:solidFill>
          <a:latin typeface="+mn-lt"/>
          <a:ea typeface="+mn-ea"/>
          <a:cs typeface="+mn-cs"/>
        </a:defRPr>
      </a:lvl2pPr>
      <a:lvl3pPr marL="1080000" indent="-252000" algn="l" defTabSz="914400" rtl="0" eaLnBrk="1" latinLnBrk="0" hangingPunct="1">
        <a:lnSpc>
          <a:spcPct val="110000"/>
        </a:lnSpc>
        <a:spcBef>
          <a:spcPts val="600"/>
        </a:spcBef>
        <a:buClr>
          <a:schemeClr val="tx2"/>
        </a:buClr>
        <a:buFont typeface="Wingdings" panose="05000000000000000000" pitchFamily="2" charset="2"/>
        <a:buChar char="§"/>
        <a:defRPr sz="2000" kern="1200">
          <a:solidFill>
            <a:schemeClr val="tx1"/>
          </a:solidFill>
          <a:latin typeface="+mn-lt"/>
          <a:ea typeface="+mn-ea"/>
          <a:cs typeface="+mn-cs"/>
        </a:defRPr>
      </a:lvl3pPr>
      <a:lvl4pPr marL="0" indent="0" algn="l" defTabSz="914400" rtl="0" eaLnBrk="1" latinLnBrk="0" hangingPunct="1">
        <a:lnSpc>
          <a:spcPct val="110000"/>
        </a:lnSpc>
        <a:spcBef>
          <a:spcPts val="600"/>
        </a:spcBef>
        <a:buClr>
          <a:schemeClr val="tx2"/>
        </a:buClr>
        <a:buFont typeface="Lato" panose="020F0502020204030203" pitchFamily="34" charset="0"/>
        <a:buChar char="​"/>
        <a:defRPr sz="1600" kern="1200">
          <a:solidFill>
            <a:schemeClr val="tx1"/>
          </a:solidFill>
          <a:latin typeface="+mn-lt"/>
          <a:ea typeface="+mn-ea"/>
          <a:cs typeface="+mn-cs"/>
        </a:defRPr>
      </a:lvl4pPr>
      <a:lvl5pPr marL="252000" indent="-252000" algn="l" defTabSz="914400" rtl="0" eaLnBrk="1" latinLnBrk="0" hangingPunct="1">
        <a:lnSpc>
          <a:spcPct val="110000"/>
        </a:lnSpc>
        <a:spcBef>
          <a:spcPts val="600"/>
        </a:spcBef>
        <a:buClr>
          <a:schemeClr val="tx2"/>
        </a:buClr>
        <a:buFont typeface="Wingdings" panose="05000000000000000000" pitchFamily="2" charset="2"/>
        <a:buChar char="§"/>
        <a:defRPr sz="1600" kern="1200">
          <a:solidFill>
            <a:schemeClr val="tx1"/>
          </a:solidFill>
          <a:latin typeface="+mn-lt"/>
          <a:ea typeface="+mn-ea"/>
          <a:cs typeface="+mn-cs"/>
        </a:defRPr>
      </a:lvl5pPr>
      <a:lvl6pPr marL="648000" indent="-252000" algn="l" defTabSz="914400" rtl="0" eaLnBrk="1" latinLnBrk="0" hangingPunct="1">
        <a:lnSpc>
          <a:spcPct val="110000"/>
        </a:lnSpc>
        <a:spcBef>
          <a:spcPts val="600"/>
        </a:spcBef>
        <a:buClr>
          <a:schemeClr val="tx2"/>
        </a:buClr>
        <a:buFont typeface="Wingdings" panose="05000000000000000000" pitchFamily="2" charset="2"/>
        <a:buChar char="§"/>
        <a:defRPr sz="1600" kern="1200">
          <a:solidFill>
            <a:schemeClr val="tx1"/>
          </a:solidFill>
          <a:latin typeface="+mn-lt"/>
          <a:ea typeface="+mn-ea"/>
          <a:cs typeface="+mn-cs"/>
        </a:defRPr>
      </a:lvl6pPr>
      <a:lvl7pPr marL="1080000" indent="-252000" algn="l" defTabSz="914400" rtl="0" eaLnBrk="1" latinLnBrk="0" hangingPunct="1">
        <a:lnSpc>
          <a:spcPct val="110000"/>
        </a:lnSpc>
        <a:spcBef>
          <a:spcPts val="600"/>
        </a:spcBef>
        <a:buClr>
          <a:schemeClr val="tx2"/>
        </a:buClr>
        <a:buFont typeface="Wingdings" panose="05000000000000000000" pitchFamily="2" charset="2"/>
        <a:buChar char="§"/>
        <a:defRPr sz="1600" kern="1200">
          <a:solidFill>
            <a:schemeClr val="tx1"/>
          </a:solidFill>
          <a:latin typeface="+mn-lt"/>
          <a:ea typeface="+mn-ea"/>
          <a:cs typeface="+mn-cs"/>
        </a:defRPr>
      </a:lvl7pPr>
      <a:lvl8pPr marL="1512000" indent="-252000" algn="l" defTabSz="914400" rtl="0" eaLnBrk="1" latinLnBrk="0" hangingPunct="1">
        <a:lnSpc>
          <a:spcPct val="110000"/>
        </a:lnSpc>
        <a:spcBef>
          <a:spcPts val="600"/>
        </a:spcBef>
        <a:buClr>
          <a:schemeClr val="tx2"/>
        </a:buClr>
        <a:buFont typeface="Wingdings" panose="05000000000000000000" pitchFamily="2" charset="2"/>
        <a:buChar char="§"/>
        <a:defRPr sz="1600" kern="1200">
          <a:solidFill>
            <a:schemeClr val="tx1"/>
          </a:solidFill>
          <a:latin typeface="+mn-lt"/>
          <a:ea typeface="+mn-ea"/>
          <a:cs typeface="+mn-cs"/>
        </a:defRPr>
      </a:lvl8pPr>
      <a:lvl9pPr marL="1944000" indent="-252000" algn="l" defTabSz="914400" rtl="0" eaLnBrk="1" latinLnBrk="0" hangingPunct="1">
        <a:lnSpc>
          <a:spcPct val="110000"/>
        </a:lnSpc>
        <a:spcBef>
          <a:spcPts val="600"/>
        </a:spcBef>
        <a:buClr>
          <a:schemeClr val="tx2"/>
        </a:buClr>
        <a:buFont typeface="Wingdings" panose="05000000000000000000" pitchFamily="2" charset="2"/>
        <a:buChar char="§"/>
        <a:defRPr sz="16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319">
          <p15:clr>
            <a:srgbClr val="5ACBF0"/>
          </p15:clr>
        </p15:guide>
        <p15:guide id="3" pos="257">
          <p15:clr>
            <a:srgbClr val="5ACBF0"/>
          </p15:clr>
        </p15:guide>
        <p15:guide id="4" pos="675">
          <p15:clr>
            <a:srgbClr val="5ACBF0"/>
          </p15:clr>
        </p15:guide>
        <p15:guide id="5" pos="7038">
          <p15:clr>
            <a:srgbClr val="5ACBF0"/>
          </p15:clr>
        </p15:guide>
        <p15:guide id="6" pos="7446">
          <p15:clr>
            <a:srgbClr val="5ACBF0"/>
          </p15:clr>
        </p15:guide>
        <p15:guide id="7" orient="horz" pos="255">
          <p15:clr>
            <a:srgbClr val="5ACBF0"/>
          </p15:clr>
        </p15:guide>
        <p15:guide id="8" orient="horz" pos="663">
          <p15:clr>
            <a:srgbClr val="5ACBF0"/>
          </p15:clr>
        </p15:guide>
        <p15:guide id="9" orient="horz" pos="799">
          <p15:clr>
            <a:srgbClr val="5ACBF0"/>
          </p15:clr>
        </p15:guide>
        <p15:guide id="10" orient="horz" pos="1026">
          <p15:clr>
            <a:srgbClr val="5ACBF0"/>
          </p15:clr>
        </p15:guide>
        <p15:guide id="11" orient="horz" pos="3634">
          <p15:clr>
            <a:srgbClr val="5ACBF0"/>
          </p15:clr>
        </p15:guide>
        <p15:guide id="12" orient="horz" pos="3929">
          <p15:clr>
            <a:srgbClr val="5ACBF0"/>
          </p15:clr>
        </p15:guide>
        <p15:guide id="13" orient="horz" pos="4133">
          <p15:clr>
            <a:srgbClr val="5ACBF0"/>
          </p15:clr>
        </p15:guide>
      </p15:sldGuideLst>
    </p:ext>
  </p:extLst>
</p:sldMaster>
</file>

<file path=ppt/slideMasters/slideMaster1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5" name="Oggetto 4" hidden="1">
            <a:extLst>
              <a:ext uri="{FF2B5EF4-FFF2-40B4-BE49-F238E27FC236}">
                <a16:creationId xmlns:a16="http://schemas.microsoft.com/office/drawing/2014/main" id="{46B8B118-3F0A-4D36-A0C9-ADD9E9AE1B0C}"/>
              </a:ext>
            </a:extLst>
          </p:cNvPr>
          <p:cNvGraphicFramePr>
            <a:graphicFrameLocks noChangeAspect="1"/>
          </p:cNvGraphicFramePr>
          <p:nvPr userDrawn="1">
            <p:custDataLst>
              <p:tags r:id="rId31"/>
            </p:custDataLst>
            <p:extLst>
              <p:ext uri="{D42A27DB-BD31-4B8C-83A1-F6EECF244321}">
                <p14:modId xmlns:p14="http://schemas.microsoft.com/office/powerpoint/2010/main" val="6483992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9574" name="Diapositiva think-cell" r:id="rId33" imgW="395" imgH="396" progId="TCLayout.ActiveDocument.1">
                  <p:embed/>
                </p:oleObj>
              </mc:Choice>
              <mc:Fallback>
                <p:oleObj name="Diapositiva think-cell" r:id="rId33" imgW="395" imgH="396" progId="TCLayout.ActiveDocument.1">
                  <p:embed/>
                  <p:pic>
                    <p:nvPicPr>
                      <p:cNvPr id="5" name="Oggetto 4" hidden="1">
                        <a:extLst>
                          <a:ext uri="{FF2B5EF4-FFF2-40B4-BE49-F238E27FC236}">
                            <a16:creationId xmlns:a16="http://schemas.microsoft.com/office/drawing/2014/main" id="{46B8B118-3F0A-4D36-A0C9-ADD9E9AE1B0C}"/>
                          </a:ext>
                        </a:extLst>
                      </p:cNvPr>
                      <p:cNvPicPr/>
                      <p:nvPr/>
                    </p:nvPicPr>
                    <p:blipFill>
                      <a:blip r:embed="rId34"/>
                      <a:stretch>
                        <a:fillRect/>
                      </a:stretch>
                    </p:blipFill>
                    <p:spPr>
                      <a:xfrm>
                        <a:off x="1588" y="1588"/>
                        <a:ext cx="1588" cy="1588"/>
                      </a:xfrm>
                      <a:prstGeom prst="rect">
                        <a:avLst/>
                      </a:prstGeom>
                    </p:spPr>
                  </p:pic>
                </p:oleObj>
              </mc:Fallback>
            </mc:AlternateContent>
          </a:graphicData>
        </a:graphic>
      </p:graphicFrame>
      <p:sp>
        <p:nvSpPr>
          <p:cNvPr id="4" name="Rettangolo 3" hidden="1">
            <a:extLst>
              <a:ext uri="{FF2B5EF4-FFF2-40B4-BE49-F238E27FC236}">
                <a16:creationId xmlns:a16="http://schemas.microsoft.com/office/drawing/2014/main" id="{1D85021D-95EC-47DA-A015-36E53DD8035A}"/>
              </a:ext>
            </a:extLst>
          </p:cNvPr>
          <p:cNvSpPr/>
          <p:nvPr userDrawn="1">
            <p:custDataLst>
              <p:tags r:id="rId3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lnSpc>
                <a:spcPct val="125000"/>
              </a:lnSpc>
            </a:pPr>
            <a:endParaRPr lang="en-US" sz="3600" b="0" i="0" baseline="0">
              <a:latin typeface="Lato Light" panose="020F0502020204030203" pitchFamily="34" charset="0"/>
              <a:ea typeface="+mj-ea"/>
              <a:cs typeface="+mj-cs"/>
              <a:sym typeface="Lato Light" panose="020F0502020204030203" pitchFamily="34" charset="0"/>
            </a:endParaRPr>
          </a:p>
        </p:txBody>
      </p:sp>
      <p:grpSp>
        <p:nvGrpSpPr>
          <p:cNvPr id="13" name="logo">
            <a:extLst>
              <a:ext uri="{FF2B5EF4-FFF2-40B4-BE49-F238E27FC236}">
                <a16:creationId xmlns:a16="http://schemas.microsoft.com/office/drawing/2014/main" id="{57BD2C4C-DC67-B843-B26C-309622FC75F7}"/>
              </a:ext>
            </a:extLst>
          </p:cNvPr>
          <p:cNvGrpSpPr>
            <a:grpSpLocks noChangeAspect="1"/>
          </p:cNvGrpSpPr>
          <p:nvPr/>
        </p:nvGrpSpPr>
        <p:grpSpPr bwMode="gray">
          <a:xfrm>
            <a:off x="11174018" y="401441"/>
            <a:ext cx="644225" cy="646507"/>
            <a:chOff x="2711" y="1027"/>
            <a:chExt cx="2258" cy="2266"/>
          </a:xfrm>
        </p:grpSpPr>
        <p:sp>
          <p:nvSpPr>
            <p:cNvPr id="14" name="AutoShape 3">
              <a:extLst>
                <a:ext uri="{FF2B5EF4-FFF2-40B4-BE49-F238E27FC236}">
                  <a16:creationId xmlns:a16="http://schemas.microsoft.com/office/drawing/2014/main" id="{FE1DC41B-291E-574C-9F2C-874E70A40758}"/>
                </a:ext>
              </a:extLst>
            </p:cNvPr>
            <p:cNvSpPr>
              <a:spLocks noChangeAspect="1" noChangeArrowheads="1" noTextEdit="1"/>
            </p:cNvSpPr>
            <p:nvPr/>
          </p:nvSpPr>
          <p:spPr bwMode="gray">
            <a:xfrm>
              <a:off x="2711" y="1027"/>
              <a:ext cx="2258" cy="22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15" name="Freeform 5">
              <a:extLst>
                <a:ext uri="{FF2B5EF4-FFF2-40B4-BE49-F238E27FC236}">
                  <a16:creationId xmlns:a16="http://schemas.microsoft.com/office/drawing/2014/main" id="{D4B633C8-F761-C54B-9BD2-EB59D49A2DBC}"/>
                </a:ext>
              </a:extLst>
            </p:cNvPr>
            <p:cNvSpPr>
              <a:spLocks/>
            </p:cNvSpPr>
            <p:nvPr/>
          </p:nvSpPr>
          <p:spPr bwMode="gray">
            <a:xfrm>
              <a:off x="2709" y="1029"/>
              <a:ext cx="2260" cy="2262"/>
            </a:xfrm>
            <a:custGeom>
              <a:avLst/>
              <a:gdLst>
                <a:gd name="T0" fmla="*/ 2260 w 2260"/>
                <a:gd name="T1" fmla="*/ 0 h 2262"/>
                <a:gd name="T2" fmla="*/ 1612 w 2260"/>
                <a:gd name="T3" fmla="*/ 649 h 2262"/>
                <a:gd name="T4" fmla="*/ 1612 w 2260"/>
                <a:gd name="T5" fmla="*/ 649 h 2262"/>
                <a:gd name="T6" fmla="*/ 2035 w 2260"/>
                <a:gd name="T7" fmla="*/ 0 h 2262"/>
                <a:gd name="T8" fmla="*/ 0 w 2260"/>
                <a:gd name="T9" fmla="*/ 0 h 2262"/>
                <a:gd name="T10" fmla="*/ 0 w 2260"/>
                <a:gd name="T11" fmla="*/ 2262 h 2262"/>
                <a:gd name="T12" fmla="*/ 2260 w 2260"/>
                <a:gd name="T13" fmla="*/ 2262 h 2262"/>
                <a:gd name="T14" fmla="*/ 2260 w 2260"/>
                <a:gd name="T15" fmla="*/ 0 h 2262"/>
                <a:gd name="T16" fmla="*/ 2260 w 2260"/>
                <a:gd name="T17" fmla="*/ 0 h 2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0" h="2262">
                  <a:moveTo>
                    <a:pt x="2260" y="0"/>
                  </a:moveTo>
                  <a:lnTo>
                    <a:pt x="1612" y="649"/>
                  </a:lnTo>
                  <a:lnTo>
                    <a:pt x="1612" y="649"/>
                  </a:lnTo>
                  <a:lnTo>
                    <a:pt x="2035" y="0"/>
                  </a:lnTo>
                  <a:lnTo>
                    <a:pt x="0" y="0"/>
                  </a:lnTo>
                  <a:lnTo>
                    <a:pt x="0" y="2262"/>
                  </a:lnTo>
                  <a:lnTo>
                    <a:pt x="2260" y="2262"/>
                  </a:lnTo>
                  <a:lnTo>
                    <a:pt x="2260" y="0"/>
                  </a:lnTo>
                  <a:lnTo>
                    <a:pt x="2260" y="0"/>
                  </a:lnTo>
                  <a:close/>
                </a:path>
              </a:pathLst>
            </a:custGeom>
            <a:solidFill>
              <a:srgbClr val="E55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16" name="Freeform 6">
              <a:extLst>
                <a:ext uri="{FF2B5EF4-FFF2-40B4-BE49-F238E27FC236}">
                  <a16:creationId xmlns:a16="http://schemas.microsoft.com/office/drawing/2014/main" id="{B16BAAE4-1A41-C843-9754-490F7A1E1270}"/>
                </a:ext>
              </a:extLst>
            </p:cNvPr>
            <p:cNvSpPr>
              <a:spLocks noEditPoints="1"/>
            </p:cNvSpPr>
            <p:nvPr/>
          </p:nvSpPr>
          <p:spPr bwMode="gray">
            <a:xfrm>
              <a:off x="3623" y="1696"/>
              <a:ext cx="1167" cy="922"/>
            </a:xfrm>
            <a:custGeom>
              <a:avLst/>
              <a:gdLst>
                <a:gd name="T0" fmla="*/ 411 w 580"/>
                <a:gd name="T1" fmla="*/ 213 h 458"/>
                <a:gd name="T2" fmla="*/ 570 w 580"/>
                <a:gd name="T3" fmla="*/ 37 h 458"/>
                <a:gd name="T4" fmla="*/ 580 w 580"/>
                <a:gd name="T5" fmla="*/ 20 h 458"/>
                <a:gd name="T6" fmla="*/ 545 w 580"/>
                <a:gd name="T7" fmla="*/ 0 h 458"/>
                <a:gd name="T8" fmla="*/ 519 w 580"/>
                <a:gd name="T9" fmla="*/ 16 h 458"/>
                <a:gd name="T10" fmla="*/ 344 w 580"/>
                <a:gd name="T11" fmla="*/ 210 h 458"/>
                <a:gd name="T12" fmla="*/ 334 w 580"/>
                <a:gd name="T13" fmla="*/ 229 h 458"/>
                <a:gd name="T14" fmla="*/ 344 w 580"/>
                <a:gd name="T15" fmla="*/ 248 h 458"/>
                <a:gd name="T16" fmla="*/ 519 w 580"/>
                <a:gd name="T17" fmla="*/ 442 h 458"/>
                <a:gd name="T18" fmla="*/ 545 w 580"/>
                <a:gd name="T19" fmla="*/ 458 h 458"/>
                <a:gd name="T20" fmla="*/ 580 w 580"/>
                <a:gd name="T21" fmla="*/ 438 h 458"/>
                <a:gd name="T22" fmla="*/ 570 w 580"/>
                <a:gd name="T23" fmla="*/ 421 h 458"/>
                <a:gd name="T24" fmla="*/ 411 w 580"/>
                <a:gd name="T25" fmla="*/ 245 h 458"/>
                <a:gd name="T26" fmla="*/ 399 w 580"/>
                <a:gd name="T27" fmla="*/ 229 h 458"/>
                <a:gd name="T28" fmla="*/ 411 w 580"/>
                <a:gd name="T29" fmla="*/ 213 h 458"/>
                <a:gd name="T30" fmla="*/ 252 w 580"/>
                <a:gd name="T31" fmla="*/ 439 h 458"/>
                <a:gd name="T32" fmla="*/ 281 w 580"/>
                <a:gd name="T33" fmla="*/ 454 h 458"/>
                <a:gd name="T34" fmla="*/ 309 w 580"/>
                <a:gd name="T35" fmla="*/ 439 h 458"/>
                <a:gd name="T36" fmla="*/ 309 w 580"/>
                <a:gd name="T37" fmla="*/ 19 h 458"/>
                <a:gd name="T38" fmla="*/ 281 w 580"/>
                <a:gd name="T39" fmla="*/ 4 h 458"/>
                <a:gd name="T40" fmla="*/ 252 w 580"/>
                <a:gd name="T41" fmla="*/ 19 h 458"/>
                <a:gd name="T42" fmla="*/ 252 w 580"/>
                <a:gd name="T43" fmla="*/ 439 h 458"/>
                <a:gd name="T44" fmla="*/ 0 w 580"/>
                <a:gd name="T45" fmla="*/ 439 h 458"/>
                <a:gd name="T46" fmla="*/ 28 w 580"/>
                <a:gd name="T47" fmla="*/ 454 h 458"/>
                <a:gd name="T48" fmla="*/ 56 w 580"/>
                <a:gd name="T49" fmla="*/ 439 h 458"/>
                <a:gd name="T50" fmla="*/ 56 w 580"/>
                <a:gd name="T51" fmla="*/ 157 h 458"/>
                <a:gd name="T52" fmla="*/ 165 w 580"/>
                <a:gd name="T53" fmla="*/ 53 h 458"/>
                <a:gd name="T54" fmla="*/ 180 w 580"/>
                <a:gd name="T55" fmla="*/ 53 h 458"/>
                <a:gd name="T56" fmla="*/ 196 w 580"/>
                <a:gd name="T57" fmla="*/ 27 h 458"/>
                <a:gd name="T58" fmla="*/ 154 w 580"/>
                <a:gd name="T59" fmla="*/ 4 h 458"/>
                <a:gd name="T60" fmla="*/ 0 w 580"/>
                <a:gd name="T61" fmla="*/ 152 h 458"/>
                <a:gd name="T62" fmla="*/ 0 w 580"/>
                <a:gd name="T63" fmla="*/ 439 h 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80" h="458">
                  <a:moveTo>
                    <a:pt x="411" y="213"/>
                  </a:moveTo>
                  <a:cubicBezTo>
                    <a:pt x="570" y="37"/>
                    <a:pt x="570" y="37"/>
                    <a:pt x="570" y="37"/>
                  </a:cubicBezTo>
                  <a:cubicBezTo>
                    <a:pt x="576" y="30"/>
                    <a:pt x="580" y="25"/>
                    <a:pt x="580" y="20"/>
                  </a:cubicBezTo>
                  <a:cubicBezTo>
                    <a:pt x="580" y="10"/>
                    <a:pt x="559" y="0"/>
                    <a:pt x="545" y="0"/>
                  </a:cubicBezTo>
                  <a:cubicBezTo>
                    <a:pt x="535" y="0"/>
                    <a:pt x="526" y="8"/>
                    <a:pt x="519" y="16"/>
                  </a:cubicBezTo>
                  <a:cubicBezTo>
                    <a:pt x="344" y="210"/>
                    <a:pt x="344" y="210"/>
                    <a:pt x="344" y="210"/>
                  </a:cubicBezTo>
                  <a:cubicBezTo>
                    <a:pt x="336" y="219"/>
                    <a:pt x="334" y="224"/>
                    <a:pt x="334" y="229"/>
                  </a:cubicBezTo>
                  <a:cubicBezTo>
                    <a:pt x="334" y="234"/>
                    <a:pt x="336" y="239"/>
                    <a:pt x="344" y="248"/>
                  </a:cubicBezTo>
                  <a:cubicBezTo>
                    <a:pt x="519" y="442"/>
                    <a:pt x="519" y="442"/>
                    <a:pt x="519" y="442"/>
                  </a:cubicBezTo>
                  <a:cubicBezTo>
                    <a:pt x="526" y="450"/>
                    <a:pt x="535" y="458"/>
                    <a:pt x="545" y="458"/>
                  </a:cubicBezTo>
                  <a:cubicBezTo>
                    <a:pt x="559" y="458"/>
                    <a:pt x="580" y="448"/>
                    <a:pt x="580" y="438"/>
                  </a:cubicBezTo>
                  <a:cubicBezTo>
                    <a:pt x="580" y="433"/>
                    <a:pt x="576" y="428"/>
                    <a:pt x="570" y="421"/>
                  </a:cubicBezTo>
                  <a:cubicBezTo>
                    <a:pt x="411" y="245"/>
                    <a:pt x="411" y="245"/>
                    <a:pt x="411" y="245"/>
                  </a:cubicBezTo>
                  <a:cubicBezTo>
                    <a:pt x="403" y="236"/>
                    <a:pt x="399" y="232"/>
                    <a:pt x="399" y="229"/>
                  </a:cubicBezTo>
                  <a:cubicBezTo>
                    <a:pt x="399" y="226"/>
                    <a:pt x="403" y="222"/>
                    <a:pt x="411" y="213"/>
                  </a:cubicBezTo>
                  <a:moveTo>
                    <a:pt x="252" y="439"/>
                  </a:moveTo>
                  <a:cubicBezTo>
                    <a:pt x="252" y="449"/>
                    <a:pt x="261" y="454"/>
                    <a:pt x="281" y="454"/>
                  </a:cubicBezTo>
                  <a:cubicBezTo>
                    <a:pt x="300" y="454"/>
                    <a:pt x="309" y="449"/>
                    <a:pt x="309" y="439"/>
                  </a:cubicBezTo>
                  <a:cubicBezTo>
                    <a:pt x="309" y="19"/>
                    <a:pt x="309" y="19"/>
                    <a:pt x="309" y="19"/>
                  </a:cubicBezTo>
                  <a:cubicBezTo>
                    <a:pt x="309" y="9"/>
                    <a:pt x="300" y="4"/>
                    <a:pt x="281" y="4"/>
                  </a:cubicBezTo>
                  <a:cubicBezTo>
                    <a:pt x="261" y="4"/>
                    <a:pt x="252" y="9"/>
                    <a:pt x="252" y="19"/>
                  </a:cubicBezTo>
                  <a:lnTo>
                    <a:pt x="252" y="439"/>
                  </a:lnTo>
                  <a:close/>
                  <a:moveTo>
                    <a:pt x="0" y="439"/>
                  </a:moveTo>
                  <a:cubicBezTo>
                    <a:pt x="0" y="449"/>
                    <a:pt x="8" y="454"/>
                    <a:pt x="28" y="454"/>
                  </a:cubicBezTo>
                  <a:cubicBezTo>
                    <a:pt x="48" y="454"/>
                    <a:pt x="56" y="449"/>
                    <a:pt x="56" y="439"/>
                  </a:cubicBezTo>
                  <a:cubicBezTo>
                    <a:pt x="56" y="157"/>
                    <a:pt x="56" y="157"/>
                    <a:pt x="56" y="157"/>
                  </a:cubicBezTo>
                  <a:cubicBezTo>
                    <a:pt x="56" y="83"/>
                    <a:pt x="85" y="53"/>
                    <a:pt x="165" y="53"/>
                  </a:cubicBezTo>
                  <a:cubicBezTo>
                    <a:pt x="180" y="53"/>
                    <a:pt x="180" y="53"/>
                    <a:pt x="180" y="53"/>
                  </a:cubicBezTo>
                  <a:cubicBezTo>
                    <a:pt x="192" y="53"/>
                    <a:pt x="196" y="43"/>
                    <a:pt x="196" y="27"/>
                  </a:cubicBezTo>
                  <a:cubicBezTo>
                    <a:pt x="196" y="8"/>
                    <a:pt x="185" y="4"/>
                    <a:pt x="154" y="4"/>
                  </a:cubicBezTo>
                  <a:cubicBezTo>
                    <a:pt x="64" y="4"/>
                    <a:pt x="0" y="43"/>
                    <a:pt x="0" y="152"/>
                  </a:cubicBezTo>
                  <a:lnTo>
                    <a:pt x="0" y="43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17" name="Freeform 7">
              <a:extLst>
                <a:ext uri="{FF2B5EF4-FFF2-40B4-BE49-F238E27FC236}">
                  <a16:creationId xmlns:a16="http://schemas.microsoft.com/office/drawing/2014/main" id="{2F32DCBD-8628-F245-85CD-97686A20ECFD}"/>
                </a:ext>
              </a:extLst>
            </p:cNvPr>
            <p:cNvSpPr>
              <a:spLocks/>
            </p:cNvSpPr>
            <p:nvPr/>
          </p:nvSpPr>
          <p:spPr bwMode="gray">
            <a:xfrm>
              <a:off x="2880" y="1704"/>
              <a:ext cx="618" cy="916"/>
            </a:xfrm>
            <a:custGeom>
              <a:avLst/>
              <a:gdLst>
                <a:gd name="T0" fmla="*/ 307 w 307"/>
                <a:gd name="T1" fmla="*/ 405 h 455"/>
                <a:gd name="T2" fmla="*/ 307 w 307"/>
                <a:gd name="T3" fmla="*/ 244 h 455"/>
                <a:gd name="T4" fmla="*/ 279 w 307"/>
                <a:gd name="T5" fmla="*/ 229 h 455"/>
                <a:gd name="T6" fmla="*/ 250 w 307"/>
                <a:gd name="T7" fmla="*/ 244 h 455"/>
                <a:gd name="T8" fmla="*/ 250 w 307"/>
                <a:gd name="T9" fmla="*/ 378 h 455"/>
                <a:gd name="T10" fmla="*/ 199 w 307"/>
                <a:gd name="T11" fmla="*/ 408 h 455"/>
                <a:gd name="T12" fmla="*/ 61 w 307"/>
                <a:gd name="T13" fmla="*/ 231 h 455"/>
                <a:gd name="T14" fmla="*/ 238 w 307"/>
                <a:gd name="T15" fmla="*/ 49 h 455"/>
                <a:gd name="T16" fmla="*/ 270 w 307"/>
                <a:gd name="T17" fmla="*/ 49 h 455"/>
                <a:gd name="T18" fmla="*/ 286 w 307"/>
                <a:gd name="T19" fmla="*/ 23 h 455"/>
                <a:gd name="T20" fmla="*/ 244 w 307"/>
                <a:gd name="T21" fmla="*/ 0 h 455"/>
                <a:gd name="T22" fmla="*/ 231 w 307"/>
                <a:gd name="T23" fmla="*/ 0 h 455"/>
                <a:gd name="T24" fmla="*/ 0 w 307"/>
                <a:gd name="T25" fmla="*/ 232 h 455"/>
                <a:gd name="T26" fmla="*/ 198 w 307"/>
                <a:gd name="T27" fmla="*/ 455 h 455"/>
                <a:gd name="T28" fmla="*/ 307 w 307"/>
                <a:gd name="T29" fmla="*/ 405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7" h="455">
                  <a:moveTo>
                    <a:pt x="307" y="405"/>
                  </a:moveTo>
                  <a:cubicBezTo>
                    <a:pt x="307" y="244"/>
                    <a:pt x="307" y="244"/>
                    <a:pt x="307" y="244"/>
                  </a:cubicBezTo>
                  <a:cubicBezTo>
                    <a:pt x="307" y="234"/>
                    <a:pt x="298" y="229"/>
                    <a:pt x="279" y="229"/>
                  </a:cubicBezTo>
                  <a:cubicBezTo>
                    <a:pt x="259" y="229"/>
                    <a:pt x="250" y="234"/>
                    <a:pt x="250" y="244"/>
                  </a:cubicBezTo>
                  <a:cubicBezTo>
                    <a:pt x="250" y="378"/>
                    <a:pt x="250" y="378"/>
                    <a:pt x="250" y="378"/>
                  </a:cubicBezTo>
                  <a:cubicBezTo>
                    <a:pt x="250" y="399"/>
                    <a:pt x="241" y="408"/>
                    <a:pt x="199" y="408"/>
                  </a:cubicBezTo>
                  <a:cubicBezTo>
                    <a:pt x="114" y="408"/>
                    <a:pt x="61" y="342"/>
                    <a:pt x="61" y="231"/>
                  </a:cubicBezTo>
                  <a:cubicBezTo>
                    <a:pt x="61" y="115"/>
                    <a:pt x="126" y="49"/>
                    <a:pt x="238" y="49"/>
                  </a:cubicBezTo>
                  <a:cubicBezTo>
                    <a:pt x="270" y="49"/>
                    <a:pt x="270" y="49"/>
                    <a:pt x="270" y="49"/>
                  </a:cubicBezTo>
                  <a:cubicBezTo>
                    <a:pt x="282" y="49"/>
                    <a:pt x="286" y="39"/>
                    <a:pt x="286" y="23"/>
                  </a:cubicBezTo>
                  <a:cubicBezTo>
                    <a:pt x="286" y="4"/>
                    <a:pt x="275" y="0"/>
                    <a:pt x="244" y="0"/>
                  </a:cubicBezTo>
                  <a:cubicBezTo>
                    <a:pt x="231" y="0"/>
                    <a:pt x="231" y="0"/>
                    <a:pt x="231" y="0"/>
                  </a:cubicBezTo>
                  <a:cubicBezTo>
                    <a:pt x="101" y="0"/>
                    <a:pt x="0" y="71"/>
                    <a:pt x="0" y="232"/>
                  </a:cubicBezTo>
                  <a:cubicBezTo>
                    <a:pt x="0" y="386"/>
                    <a:pt x="88" y="455"/>
                    <a:pt x="198" y="455"/>
                  </a:cubicBezTo>
                  <a:cubicBezTo>
                    <a:pt x="286" y="455"/>
                    <a:pt x="307" y="430"/>
                    <a:pt x="307" y="40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18" name="Oval 8">
              <a:extLst>
                <a:ext uri="{FF2B5EF4-FFF2-40B4-BE49-F238E27FC236}">
                  <a16:creationId xmlns:a16="http://schemas.microsoft.com/office/drawing/2014/main" id="{60D97C11-1A3B-5449-A48D-98A3E79B3810}"/>
                </a:ext>
              </a:extLst>
            </p:cNvPr>
            <p:cNvSpPr>
              <a:spLocks noChangeArrowheads="1"/>
            </p:cNvSpPr>
            <p:nvPr/>
          </p:nvSpPr>
          <p:spPr bwMode="gray">
            <a:xfrm>
              <a:off x="3778" y="2099"/>
              <a:ext cx="122" cy="12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19" name="Freeform 9">
              <a:extLst>
                <a:ext uri="{FF2B5EF4-FFF2-40B4-BE49-F238E27FC236}">
                  <a16:creationId xmlns:a16="http://schemas.microsoft.com/office/drawing/2014/main" id="{5856770D-B8F0-244E-A05D-AED190086F10}"/>
                </a:ext>
              </a:extLst>
            </p:cNvPr>
            <p:cNvSpPr>
              <a:spLocks noEditPoints="1"/>
            </p:cNvSpPr>
            <p:nvPr/>
          </p:nvSpPr>
          <p:spPr bwMode="gray">
            <a:xfrm>
              <a:off x="3623" y="1696"/>
              <a:ext cx="1167" cy="922"/>
            </a:xfrm>
            <a:custGeom>
              <a:avLst/>
              <a:gdLst>
                <a:gd name="T0" fmla="*/ 411 w 580"/>
                <a:gd name="T1" fmla="*/ 213 h 458"/>
                <a:gd name="T2" fmla="*/ 570 w 580"/>
                <a:gd name="T3" fmla="*/ 37 h 458"/>
                <a:gd name="T4" fmla="*/ 580 w 580"/>
                <a:gd name="T5" fmla="*/ 20 h 458"/>
                <a:gd name="T6" fmla="*/ 545 w 580"/>
                <a:gd name="T7" fmla="*/ 0 h 458"/>
                <a:gd name="T8" fmla="*/ 519 w 580"/>
                <a:gd name="T9" fmla="*/ 16 h 458"/>
                <a:gd name="T10" fmla="*/ 344 w 580"/>
                <a:gd name="T11" fmla="*/ 210 h 458"/>
                <a:gd name="T12" fmla="*/ 334 w 580"/>
                <a:gd name="T13" fmla="*/ 229 h 458"/>
                <a:gd name="T14" fmla="*/ 344 w 580"/>
                <a:gd name="T15" fmla="*/ 248 h 458"/>
                <a:gd name="T16" fmla="*/ 519 w 580"/>
                <a:gd name="T17" fmla="*/ 442 h 458"/>
                <a:gd name="T18" fmla="*/ 545 w 580"/>
                <a:gd name="T19" fmla="*/ 458 h 458"/>
                <a:gd name="T20" fmla="*/ 580 w 580"/>
                <a:gd name="T21" fmla="*/ 438 h 458"/>
                <a:gd name="T22" fmla="*/ 570 w 580"/>
                <a:gd name="T23" fmla="*/ 421 h 458"/>
                <a:gd name="T24" fmla="*/ 411 w 580"/>
                <a:gd name="T25" fmla="*/ 245 h 458"/>
                <a:gd name="T26" fmla="*/ 399 w 580"/>
                <a:gd name="T27" fmla="*/ 229 h 458"/>
                <a:gd name="T28" fmla="*/ 411 w 580"/>
                <a:gd name="T29" fmla="*/ 213 h 458"/>
                <a:gd name="T30" fmla="*/ 252 w 580"/>
                <a:gd name="T31" fmla="*/ 439 h 458"/>
                <a:gd name="T32" fmla="*/ 281 w 580"/>
                <a:gd name="T33" fmla="*/ 454 h 458"/>
                <a:gd name="T34" fmla="*/ 309 w 580"/>
                <a:gd name="T35" fmla="*/ 439 h 458"/>
                <a:gd name="T36" fmla="*/ 309 w 580"/>
                <a:gd name="T37" fmla="*/ 19 h 458"/>
                <a:gd name="T38" fmla="*/ 281 w 580"/>
                <a:gd name="T39" fmla="*/ 4 h 458"/>
                <a:gd name="T40" fmla="*/ 252 w 580"/>
                <a:gd name="T41" fmla="*/ 19 h 458"/>
                <a:gd name="T42" fmla="*/ 252 w 580"/>
                <a:gd name="T43" fmla="*/ 439 h 458"/>
                <a:gd name="T44" fmla="*/ 0 w 580"/>
                <a:gd name="T45" fmla="*/ 439 h 458"/>
                <a:gd name="T46" fmla="*/ 28 w 580"/>
                <a:gd name="T47" fmla="*/ 454 h 458"/>
                <a:gd name="T48" fmla="*/ 56 w 580"/>
                <a:gd name="T49" fmla="*/ 439 h 458"/>
                <a:gd name="T50" fmla="*/ 56 w 580"/>
                <a:gd name="T51" fmla="*/ 157 h 458"/>
                <a:gd name="T52" fmla="*/ 165 w 580"/>
                <a:gd name="T53" fmla="*/ 53 h 458"/>
                <a:gd name="T54" fmla="*/ 180 w 580"/>
                <a:gd name="T55" fmla="*/ 53 h 458"/>
                <a:gd name="T56" fmla="*/ 196 w 580"/>
                <a:gd name="T57" fmla="*/ 27 h 458"/>
                <a:gd name="T58" fmla="*/ 154 w 580"/>
                <a:gd name="T59" fmla="*/ 4 h 458"/>
                <a:gd name="T60" fmla="*/ 0 w 580"/>
                <a:gd name="T61" fmla="*/ 152 h 458"/>
                <a:gd name="T62" fmla="*/ 0 w 580"/>
                <a:gd name="T63" fmla="*/ 439 h 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80" h="458">
                  <a:moveTo>
                    <a:pt x="411" y="213"/>
                  </a:moveTo>
                  <a:cubicBezTo>
                    <a:pt x="570" y="37"/>
                    <a:pt x="570" y="37"/>
                    <a:pt x="570" y="37"/>
                  </a:cubicBezTo>
                  <a:cubicBezTo>
                    <a:pt x="576" y="30"/>
                    <a:pt x="580" y="25"/>
                    <a:pt x="580" y="20"/>
                  </a:cubicBezTo>
                  <a:cubicBezTo>
                    <a:pt x="580" y="10"/>
                    <a:pt x="559" y="0"/>
                    <a:pt x="545" y="0"/>
                  </a:cubicBezTo>
                  <a:cubicBezTo>
                    <a:pt x="535" y="0"/>
                    <a:pt x="526" y="8"/>
                    <a:pt x="519" y="16"/>
                  </a:cubicBezTo>
                  <a:cubicBezTo>
                    <a:pt x="344" y="210"/>
                    <a:pt x="344" y="210"/>
                    <a:pt x="344" y="210"/>
                  </a:cubicBezTo>
                  <a:cubicBezTo>
                    <a:pt x="336" y="219"/>
                    <a:pt x="334" y="224"/>
                    <a:pt x="334" y="229"/>
                  </a:cubicBezTo>
                  <a:cubicBezTo>
                    <a:pt x="334" y="234"/>
                    <a:pt x="336" y="239"/>
                    <a:pt x="344" y="248"/>
                  </a:cubicBezTo>
                  <a:cubicBezTo>
                    <a:pt x="519" y="442"/>
                    <a:pt x="519" y="442"/>
                    <a:pt x="519" y="442"/>
                  </a:cubicBezTo>
                  <a:cubicBezTo>
                    <a:pt x="526" y="450"/>
                    <a:pt x="535" y="458"/>
                    <a:pt x="545" y="458"/>
                  </a:cubicBezTo>
                  <a:cubicBezTo>
                    <a:pt x="559" y="458"/>
                    <a:pt x="580" y="448"/>
                    <a:pt x="580" y="438"/>
                  </a:cubicBezTo>
                  <a:cubicBezTo>
                    <a:pt x="580" y="433"/>
                    <a:pt x="576" y="428"/>
                    <a:pt x="570" y="421"/>
                  </a:cubicBezTo>
                  <a:cubicBezTo>
                    <a:pt x="411" y="245"/>
                    <a:pt x="411" y="245"/>
                    <a:pt x="411" y="245"/>
                  </a:cubicBezTo>
                  <a:cubicBezTo>
                    <a:pt x="403" y="236"/>
                    <a:pt x="399" y="232"/>
                    <a:pt x="399" y="229"/>
                  </a:cubicBezTo>
                  <a:cubicBezTo>
                    <a:pt x="399" y="226"/>
                    <a:pt x="403" y="222"/>
                    <a:pt x="411" y="213"/>
                  </a:cubicBezTo>
                  <a:moveTo>
                    <a:pt x="252" y="439"/>
                  </a:moveTo>
                  <a:cubicBezTo>
                    <a:pt x="252" y="449"/>
                    <a:pt x="261" y="454"/>
                    <a:pt x="281" y="454"/>
                  </a:cubicBezTo>
                  <a:cubicBezTo>
                    <a:pt x="300" y="454"/>
                    <a:pt x="309" y="449"/>
                    <a:pt x="309" y="439"/>
                  </a:cubicBezTo>
                  <a:cubicBezTo>
                    <a:pt x="309" y="19"/>
                    <a:pt x="309" y="19"/>
                    <a:pt x="309" y="19"/>
                  </a:cubicBezTo>
                  <a:cubicBezTo>
                    <a:pt x="309" y="9"/>
                    <a:pt x="300" y="4"/>
                    <a:pt x="281" y="4"/>
                  </a:cubicBezTo>
                  <a:cubicBezTo>
                    <a:pt x="261" y="4"/>
                    <a:pt x="252" y="9"/>
                    <a:pt x="252" y="19"/>
                  </a:cubicBezTo>
                  <a:lnTo>
                    <a:pt x="252" y="439"/>
                  </a:lnTo>
                  <a:close/>
                  <a:moveTo>
                    <a:pt x="0" y="439"/>
                  </a:moveTo>
                  <a:cubicBezTo>
                    <a:pt x="0" y="449"/>
                    <a:pt x="8" y="454"/>
                    <a:pt x="28" y="454"/>
                  </a:cubicBezTo>
                  <a:cubicBezTo>
                    <a:pt x="48" y="454"/>
                    <a:pt x="56" y="449"/>
                    <a:pt x="56" y="439"/>
                  </a:cubicBezTo>
                  <a:cubicBezTo>
                    <a:pt x="56" y="157"/>
                    <a:pt x="56" y="157"/>
                    <a:pt x="56" y="157"/>
                  </a:cubicBezTo>
                  <a:cubicBezTo>
                    <a:pt x="56" y="83"/>
                    <a:pt x="85" y="53"/>
                    <a:pt x="165" y="53"/>
                  </a:cubicBezTo>
                  <a:cubicBezTo>
                    <a:pt x="180" y="53"/>
                    <a:pt x="180" y="53"/>
                    <a:pt x="180" y="53"/>
                  </a:cubicBezTo>
                  <a:cubicBezTo>
                    <a:pt x="192" y="53"/>
                    <a:pt x="196" y="43"/>
                    <a:pt x="196" y="27"/>
                  </a:cubicBezTo>
                  <a:cubicBezTo>
                    <a:pt x="196" y="8"/>
                    <a:pt x="185" y="4"/>
                    <a:pt x="154" y="4"/>
                  </a:cubicBezTo>
                  <a:cubicBezTo>
                    <a:pt x="64" y="4"/>
                    <a:pt x="0" y="43"/>
                    <a:pt x="0" y="152"/>
                  </a:cubicBezTo>
                  <a:lnTo>
                    <a:pt x="0" y="43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22" name="Freeform 10">
              <a:extLst>
                <a:ext uri="{FF2B5EF4-FFF2-40B4-BE49-F238E27FC236}">
                  <a16:creationId xmlns:a16="http://schemas.microsoft.com/office/drawing/2014/main" id="{2B91B16B-BC11-E547-8FAC-B9B8D18EA449}"/>
                </a:ext>
              </a:extLst>
            </p:cNvPr>
            <p:cNvSpPr>
              <a:spLocks/>
            </p:cNvSpPr>
            <p:nvPr/>
          </p:nvSpPr>
          <p:spPr bwMode="gray">
            <a:xfrm>
              <a:off x="2880" y="1704"/>
              <a:ext cx="618" cy="916"/>
            </a:xfrm>
            <a:custGeom>
              <a:avLst/>
              <a:gdLst>
                <a:gd name="T0" fmla="*/ 307 w 307"/>
                <a:gd name="T1" fmla="*/ 405 h 455"/>
                <a:gd name="T2" fmla="*/ 307 w 307"/>
                <a:gd name="T3" fmla="*/ 244 h 455"/>
                <a:gd name="T4" fmla="*/ 279 w 307"/>
                <a:gd name="T5" fmla="*/ 229 h 455"/>
                <a:gd name="T6" fmla="*/ 250 w 307"/>
                <a:gd name="T7" fmla="*/ 244 h 455"/>
                <a:gd name="T8" fmla="*/ 250 w 307"/>
                <a:gd name="T9" fmla="*/ 378 h 455"/>
                <a:gd name="T10" fmla="*/ 199 w 307"/>
                <a:gd name="T11" fmla="*/ 408 h 455"/>
                <a:gd name="T12" fmla="*/ 61 w 307"/>
                <a:gd name="T13" fmla="*/ 231 h 455"/>
                <a:gd name="T14" fmla="*/ 238 w 307"/>
                <a:gd name="T15" fmla="*/ 49 h 455"/>
                <a:gd name="T16" fmla="*/ 270 w 307"/>
                <a:gd name="T17" fmla="*/ 49 h 455"/>
                <a:gd name="T18" fmla="*/ 286 w 307"/>
                <a:gd name="T19" fmla="*/ 23 h 455"/>
                <a:gd name="T20" fmla="*/ 244 w 307"/>
                <a:gd name="T21" fmla="*/ 0 h 455"/>
                <a:gd name="T22" fmla="*/ 231 w 307"/>
                <a:gd name="T23" fmla="*/ 0 h 455"/>
                <a:gd name="T24" fmla="*/ 0 w 307"/>
                <a:gd name="T25" fmla="*/ 232 h 455"/>
                <a:gd name="T26" fmla="*/ 198 w 307"/>
                <a:gd name="T27" fmla="*/ 455 h 455"/>
                <a:gd name="T28" fmla="*/ 307 w 307"/>
                <a:gd name="T29" fmla="*/ 405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7" h="455">
                  <a:moveTo>
                    <a:pt x="307" y="405"/>
                  </a:moveTo>
                  <a:cubicBezTo>
                    <a:pt x="307" y="244"/>
                    <a:pt x="307" y="244"/>
                    <a:pt x="307" y="244"/>
                  </a:cubicBezTo>
                  <a:cubicBezTo>
                    <a:pt x="307" y="234"/>
                    <a:pt x="298" y="229"/>
                    <a:pt x="279" y="229"/>
                  </a:cubicBezTo>
                  <a:cubicBezTo>
                    <a:pt x="259" y="229"/>
                    <a:pt x="250" y="234"/>
                    <a:pt x="250" y="244"/>
                  </a:cubicBezTo>
                  <a:cubicBezTo>
                    <a:pt x="250" y="378"/>
                    <a:pt x="250" y="378"/>
                    <a:pt x="250" y="378"/>
                  </a:cubicBezTo>
                  <a:cubicBezTo>
                    <a:pt x="250" y="399"/>
                    <a:pt x="241" y="408"/>
                    <a:pt x="199" y="408"/>
                  </a:cubicBezTo>
                  <a:cubicBezTo>
                    <a:pt x="114" y="408"/>
                    <a:pt x="61" y="342"/>
                    <a:pt x="61" y="231"/>
                  </a:cubicBezTo>
                  <a:cubicBezTo>
                    <a:pt x="61" y="115"/>
                    <a:pt x="126" y="49"/>
                    <a:pt x="238" y="49"/>
                  </a:cubicBezTo>
                  <a:cubicBezTo>
                    <a:pt x="270" y="49"/>
                    <a:pt x="270" y="49"/>
                    <a:pt x="270" y="49"/>
                  </a:cubicBezTo>
                  <a:cubicBezTo>
                    <a:pt x="282" y="49"/>
                    <a:pt x="286" y="39"/>
                    <a:pt x="286" y="23"/>
                  </a:cubicBezTo>
                  <a:cubicBezTo>
                    <a:pt x="286" y="4"/>
                    <a:pt x="275" y="0"/>
                    <a:pt x="244" y="0"/>
                  </a:cubicBezTo>
                  <a:cubicBezTo>
                    <a:pt x="231" y="0"/>
                    <a:pt x="231" y="0"/>
                    <a:pt x="231" y="0"/>
                  </a:cubicBezTo>
                  <a:cubicBezTo>
                    <a:pt x="101" y="0"/>
                    <a:pt x="0" y="71"/>
                    <a:pt x="0" y="232"/>
                  </a:cubicBezTo>
                  <a:cubicBezTo>
                    <a:pt x="0" y="386"/>
                    <a:pt x="88" y="455"/>
                    <a:pt x="198" y="455"/>
                  </a:cubicBezTo>
                  <a:cubicBezTo>
                    <a:pt x="286" y="455"/>
                    <a:pt x="307" y="430"/>
                    <a:pt x="307" y="40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23" name="Oval 11">
              <a:extLst>
                <a:ext uri="{FF2B5EF4-FFF2-40B4-BE49-F238E27FC236}">
                  <a16:creationId xmlns:a16="http://schemas.microsoft.com/office/drawing/2014/main" id="{14F8C3C8-4888-7646-B9B4-64EB46A1DA23}"/>
                </a:ext>
              </a:extLst>
            </p:cNvPr>
            <p:cNvSpPr>
              <a:spLocks noChangeArrowheads="1"/>
            </p:cNvSpPr>
            <p:nvPr/>
          </p:nvSpPr>
          <p:spPr bwMode="gray">
            <a:xfrm>
              <a:off x="3778" y="2099"/>
              <a:ext cx="122" cy="12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24" name="Freeform 12">
              <a:extLst>
                <a:ext uri="{FF2B5EF4-FFF2-40B4-BE49-F238E27FC236}">
                  <a16:creationId xmlns:a16="http://schemas.microsoft.com/office/drawing/2014/main" id="{D79D01D1-4E3E-F34B-97D7-2D387E68746E}"/>
                </a:ext>
              </a:extLst>
            </p:cNvPr>
            <p:cNvSpPr>
              <a:spLocks/>
            </p:cNvSpPr>
            <p:nvPr/>
          </p:nvSpPr>
          <p:spPr bwMode="gray">
            <a:xfrm>
              <a:off x="4321" y="1029"/>
              <a:ext cx="648" cy="649"/>
            </a:xfrm>
            <a:custGeom>
              <a:avLst/>
              <a:gdLst>
                <a:gd name="T0" fmla="*/ 0 w 648"/>
                <a:gd name="T1" fmla="*/ 649 h 649"/>
                <a:gd name="T2" fmla="*/ 2 w 648"/>
                <a:gd name="T3" fmla="*/ 649 h 649"/>
                <a:gd name="T4" fmla="*/ 648 w 648"/>
                <a:gd name="T5" fmla="*/ 0 h 649"/>
                <a:gd name="T6" fmla="*/ 423 w 648"/>
                <a:gd name="T7" fmla="*/ 0 h 649"/>
                <a:gd name="T8" fmla="*/ 0 w 648"/>
                <a:gd name="T9" fmla="*/ 649 h 649"/>
              </a:gdLst>
              <a:ahLst/>
              <a:cxnLst>
                <a:cxn ang="0">
                  <a:pos x="T0" y="T1"/>
                </a:cxn>
                <a:cxn ang="0">
                  <a:pos x="T2" y="T3"/>
                </a:cxn>
                <a:cxn ang="0">
                  <a:pos x="T4" y="T5"/>
                </a:cxn>
                <a:cxn ang="0">
                  <a:pos x="T6" y="T7"/>
                </a:cxn>
                <a:cxn ang="0">
                  <a:pos x="T8" y="T9"/>
                </a:cxn>
              </a:cxnLst>
              <a:rect l="0" t="0" r="r" b="b"/>
              <a:pathLst>
                <a:path w="648" h="649">
                  <a:moveTo>
                    <a:pt x="0" y="649"/>
                  </a:moveTo>
                  <a:lnTo>
                    <a:pt x="2" y="649"/>
                  </a:lnTo>
                  <a:lnTo>
                    <a:pt x="648" y="0"/>
                  </a:lnTo>
                  <a:lnTo>
                    <a:pt x="423" y="0"/>
                  </a:lnTo>
                  <a:lnTo>
                    <a:pt x="0" y="64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26" name="Freeform 13">
              <a:extLst>
                <a:ext uri="{FF2B5EF4-FFF2-40B4-BE49-F238E27FC236}">
                  <a16:creationId xmlns:a16="http://schemas.microsoft.com/office/drawing/2014/main" id="{46549898-6C52-B147-A8F6-A73FDBE6163B}"/>
                </a:ext>
              </a:extLst>
            </p:cNvPr>
            <p:cNvSpPr>
              <a:spLocks/>
            </p:cNvSpPr>
            <p:nvPr/>
          </p:nvSpPr>
          <p:spPr bwMode="gray">
            <a:xfrm>
              <a:off x="4321" y="1029"/>
              <a:ext cx="648" cy="649"/>
            </a:xfrm>
            <a:custGeom>
              <a:avLst/>
              <a:gdLst>
                <a:gd name="T0" fmla="*/ 0 w 648"/>
                <a:gd name="T1" fmla="*/ 649 h 649"/>
                <a:gd name="T2" fmla="*/ 2 w 648"/>
                <a:gd name="T3" fmla="*/ 649 h 649"/>
                <a:gd name="T4" fmla="*/ 648 w 648"/>
                <a:gd name="T5" fmla="*/ 0 h 649"/>
                <a:gd name="T6" fmla="*/ 423 w 648"/>
                <a:gd name="T7" fmla="*/ 0 h 649"/>
                <a:gd name="T8" fmla="*/ 0 w 648"/>
                <a:gd name="T9" fmla="*/ 649 h 649"/>
              </a:gdLst>
              <a:ahLst/>
              <a:cxnLst>
                <a:cxn ang="0">
                  <a:pos x="T0" y="T1"/>
                </a:cxn>
                <a:cxn ang="0">
                  <a:pos x="T2" y="T3"/>
                </a:cxn>
                <a:cxn ang="0">
                  <a:pos x="T4" y="T5"/>
                </a:cxn>
                <a:cxn ang="0">
                  <a:pos x="T6" y="T7"/>
                </a:cxn>
                <a:cxn ang="0">
                  <a:pos x="T8" y="T9"/>
                </a:cxn>
              </a:cxnLst>
              <a:rect l="0" t="0" r="r" b="b"/>
              <a:pathLst>
                <a:path w="648" h="649">
                  <a:moveTo>
                    <a:pt x="0" y="649"/>
                  </a:moveTo>
                  <a:lnTo>
                    <a:pt x="2" y="649"/>
                  </a:lnTo>
                  <a:lnTo>
                    <a:pt x="648" y="0"/>
                  </a:lnTo>
                  <a:lnTo>
                    <a:pt x="423" y="0"/>
                  </a:lnTo>
                  <a:lnTo>
                    <a:pt x="0" y="64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grpSp>
      <p:sp>
        <p:nvSpPr>
          <p:cNvPr id="20" name="shp1">
            <a:extLst>
              <a:ext uri="{FF2B5EF4-FFF2-40B4-BE49-F238E27FC236}">
                <a16:creationId xmlns:a16="http://schemas.microsoft.com/office/drawing/2014/main" id="{1AD9883E-0B1C-504A-A979-9C5803172360}"/>
              </a:ext>
            </a:extLst>
          </p:cNvPr>
          <p:cNvSpPr/>
          <p:nvPr/>
        </p:nvSpPr>
        <p:spPr>
          <a:xfrm>
            <a:off x="192088" y="1"/>
            <a:ext cx="215900" cy="144938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de-DE" sz="1351"/>
          </a:p>
        </p:txBody>
      </p:sp>
      <p:sp>
        <p:nvSpPr>
          <p:cNvPr id="7" name="copyright"/>
          <p:cNvSpPr txBox="1"/>
          <p:nvPr/>
        </p:nvSpPr>
        <p:spPr>
          <a:xfrm>
            <a:off x="10672209" y="6461671"/>
            <a:ext cx="500617" cy="133790"/>
          </a:xfrm>
          <a:prstGeom prst="rect">
            <a:avLst/>
          </a:prstGeom>
          <a:noFill/>
        </p:spPr>
        <p:txBody>
          <a:bodyPr wrap="none" lIns="0" tIns="0" rIns="0" bIns="0" rtlCol="0" anchor="b" anchorCtr="0">
            <a:noAutofit/>
          </a:bodyPr>
          <a:lstStyle/>
          <a:p>
            <a:pPr marL="0" indent="0" algn="r">
              <a:lnSpc>
                <a:spcPct val="125000"/>
              </a:lnSpc>
              <a:buClr>
                <a:schemeClr val="tx2"/>
              </a:buClr>
              <a:buFont typeface="Wingdings" panose="05000000000000000000" pitchFamily="2" charset="2"/>
              <a:buNone/>
            </a:pPr>
            <a:r>
              <a:rPr lang="en-US" sz="800"/>
              <a:t>© GfK</a:t>
            </a:r>
          </a:p>
        </p:txBody>
      </p:sp>
      <p:sp>
        <p:nvSpPr>
          <p:cNvPr id="28" name="Date Placeholder 27"/>
          <p:cNvSpPr>
            <a:spLocks noGrp="1"/>
          </p:cNvSpPr>
          <p:nvPr>
            <p:ph type="dt" sz="half" idx="2"/>
          </p:nvPr>
        </p:nvSpPr>
        <p:spPr>
          <a:xfrm>
            <a:off x="192088" y="6461671"/>
            <a:ext cx="761512" cy="133790"/>
          </a:xfrm>
          <a:prstGeom prst="rect">
            <a:avLst/>
          </a:prstGeom>
        </p:spPr>
        <p:txBody>
          <a:bodyPr vert="horz" wrap="none" lIns="0" tIns="0" rIns="0" bIns="0" rtlCol="0" anchor="b" anchorCtr="0"/>
          <a:lstStyle>
            <a:lvl1pPr algn="r">
              <a:defRPr sz="800">
                <a:solidFill>
                  <a:schemeClr val="tx1"/>
                </a:solidFill>
              </a:defRPr>
            </a:lvl1pPr>
          </a:lstStyle>
          <a:p>
            <a:endParaRPr lang="en-US"/>
          </a:p>
        </p:txBody>
      </p:sp>
      <p:sp>
        <p:nvSpPr>
          <p:cNvPr id="29" name="Footer Placeholder 28"/>
          <p:cNvSpPr>
            <a:spLocks noGrp="1"/>
          </p:cNvSpPr>
          <p:nvPr>
            <p:ph type="ftr" sz="quarter" idx="3"/>
          </p:nvPr>
        </p:nvSpPr>
        <p:spPr>
          <a:xfrm>
            <a:off x="1076400" y="6461671"/>
            <a:ext cx="8162717" cy="133790"/>
          </a:xfrm>
          <a:prstGeom prst="rect">
            <a:avLst/>
          </a:prstGeom>
        </p:spPr>
        <p:txBody>
          <a:bodyPr vert="horz" lIns="0" tIns="0" rIns="0" bIns="0" rtlCol="0" anchor="b" anchorCtr="0"/>
          <a:lstStyle>
            <a:lvl1pPr marL="144000" indent="-144000" algn="l">
              <a:buClr>
                <a:schemeClr val="tx2"/>
              </a:buClr>
              <a:buFont typeface="Wingdings" panose="05000000000000000000" pitchFamily="2" charset="2"/>
              <a:buChar char="§"/>
              <a:defRPr sz="800">
                <a:solidFill>
                  <a:schemeClr val="tx1"/>
                </a:solidFill>
              </a:defRPr>
            </a:lvl1pPr>
          </a:lstStyle>
          <a:p>
            <a:endParaRPr lang="en-US"/>
          </a:p>
        </p:txBody>
      </p:sp>
      <p:sp>
        <p:nvSpPr>
          <p:cNvPr id="30" name="Slide Number Placeholder 29"/>
          <p:cNvSpPr>
            <a:spLocks noGrp="1"/>
          </p:cNvSpPr>
          <p:nvPr>
            <p:ph type="sldNum" sz="quarter" idx="4"/>
          </p:nvPr>
        </p:nvSpPr>
        <p:spPr>
          <a:xfrm>
            <a:off x="11186669" y="6461671"/>
            <a:ext cx="648000" cy="133790"/>
          </a:xfrm>
          <a:prstGeom prst="rect">
            <a:avLst/>
          </a:prstGeom>
        </p:spPr>
        <p:txBody>
          <a:bodyPr vert="horz" lIns="0" tIns="0" rIns="0" bIns="0" rtlCol="0" anchor="b" anchorCtr="0"/>
          <a:lstStyle>
            <a:lvl1pPr algn="r">
              <a:defRPr sz="800">
                <a:solidFill>
                  <a:schemeClr val="tx1"/>
                </a:solidFill>
              </a:defRPr>
            </a:lvl1pPr>
          </a:lstStyle>
          <a:p>
            <a:fld id="{5F3E29E4-0979-4FCA-B4C5-5FC6044C982A}" type="slidenum">
              <a:rPr lang="en-US" smtClean="0"/>
              <a:pPr/>
              <a:t>‹#›</a:t>
            </a:fld>
            <a:endParaRPr lang="en-US"/>
          </a:p>
        </p:txBody>
      </p:sp>
      <p:sp>
        <p:nvSpPr>
          <p:cNvPr id="2" name="Title Placeholder 1"/>
          <p:cNvSpPr>
            <a:spLocks noGrp="1"/>
          </p:cNvSpPr>
          <p:nvPr>
            <p:ph type="title"/>
          </p:nvPr>
        </p:nvSpPr>
        <p:spPr>
          <a:xfrm>
            <a:off x="1075061" y="288922"/>
            <a:ext cx="7910158" cy="648000"/>
          </a:xfrm>
          <a:prstGeom prst="rect">
            <a:avLst/>
          </a:prstGeom>
        </p:spPr>
        <p:txBody>
          <a:bodyPr vert="horz" lIns="0" tIns="0" rIns="0" bIns="0" rtlCol="0" anchor="t">
            <a:noAutofit/>
          </a:bodyPr>
          <a:lstStyle/>
          <a:p>
            <a:r>
              <a:rPr lang="en-US"/>
              <a:t>Click to edit Master title style</a:t>
            </a:r>
          </a:p>
        </p:txBody>
      </p:sp>
      <p:sp>
        <p:nvSpPr>
          <p:cNvPr id="3" name="Text Placeholder 2"/>
          <p:cNvSpPr>
            <a:spLocks noGrp="1"/>
          </p:cNvSpPr>
          <p:nvPr>
            <p:ph type="body" idx="1"/>
          </p:nvPr>
        </p:nvSpPr>
        <p:spPr>
          <a:xfrm>
            <a:off x="1075062" y="1629618"/>
            <a:ext cx="10097764" cy="4139357"/>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53958812"/>
      </p:ext>
    </p:extLst>
  </p:cSld>
  <p:clrMap bg1="lt1" tx1="dk1" bg2="lt2" tx2="dk2" accent1="accent1" accent2="accent2" accent3="accent3" accent4="accent4" accent5="accent5" accent6="accent6" hlink="hlink" folHlink="folHlink"/>
  <p:sldLayoutIdLst>
    <p:sldLayoutId id="2147484941" r:id="rId1"/>
    <p:sldLayoutId id="2147484942" r:id="rId2"/>
    <p:sldLayoutId id="2147484943" r:id="rId3"/>
    <p:sldLayoutId id="2147484944" r:id="rId4"/>
    <p:sldLayoutId id="2147484945" r:id="rId5"/>
    <p:sldLayoutId id="2147484946" r:id="rId6"/>
    <p:sldLayoutId id="2147484947" r:id="rId7"/>
    <p:sldLayoutId id="2147484948" r:id="rId8"/>
    <p:sldLayoutId id="2147484949" r:id="rId9"/>
    <p:sldLayoutId id="2147484950" r:id="rId10"/>
    <p:sldLayoutId id="2147484951" r:id="rId11"/>
    <p:sldLayoutId id="2147484952" r:id="rId12"/>
    <p:sldLayoutId id="2147484953" r:id="rId13"/>
    <p:sldLayoutId id="2147484954" r:id="rId14"/>
    <p:sldLayoutId id="2147484955" r:id="rId15"/>
    <p:sldLayoutId id="2147484956" r:id="rId16"/>
    <p:sldLayoutId id="2147484957" r:id="rId17"/>
    <p:sldLayoutId id="2147484958" r:id="rId18"/>
    <p:sldLayoutId id="2147484959" r:id="rId19"/>
    <p:sldLayoutId id="2147484960" r:id="rId20"/>
    <p:sldLayoutId id="2147484961" r:id="rId21"/>
    <p:sldLayoutId id="2147484962" r:id="rId22"/>
    <p:sldLayoutId id="2147484963" r:id="rId23"/>
    <p:sldLayoutId id="2147484964" r:id="rId24"/>
    <p:sldLayoutId id="2147484965" r:id="rId25"/>
    <p:sldLayoutId id="2147484966" r:id="rId26"/>
    <p:sldLayoutId id="2147484967" r:id="rId27"/>
    <p:sldLayoutId id="2147484968" r:id="rId28"/>
  </p:sldLayoutIdLst>
  <p:hf hdr="0" ftr="0" dt="0"/>
  <p:txStyles>
    <p:titleStyle>
      <a:lvl1pPr algn="l" defTabSz="914400" rtl="0" eaLnBrk="1" latinLnBrk="0" hangingPunct="1">
        <a:lnSpc>
          <a:spcPct val="100000"/>
        </a:lnSpc>
        <a:spcBef>
          <a:spcPct val="0"/>
        </a:spcBef>
        <a:buNone/>
        <a:defRPr sz="3600" kern="1200">
          <a:solidFill>
            <a:schemeClr val="tx1"/>
          </a:solidFill>
          <a:latin typeface="+mj-lt"/>
          <a:ea typeface="+mj-ea"/>
          <a:cs typeface="+mj-cs"/>
        </a:defRPr>
      </a:lvl1pPr>
    </p:titleStyle>
    <p:bodyStyle>
      <a:lvl1pPr marL="252000" indent="-252000" algn="l" defTabSz="914400" rtl="0" eaLnBrk="1" latinLnBrk="0" hangingPunct="1">
        <a:lnSpc>
          <a:spcPct val="110000"/>
        </a:lnSpc>
        <a:spcBef>
          <a:spcPts val="1000"/>
        </a:spcBef>
        <a:buClr>
          <a:schemeClr val="tx2"/>
        </a:buClr>
        <a:buFont typeface="Wingdings" panose="05000000000000000000" pitchFamily="2" charset="2"/>
        <a:buChar char="§"/>
        <a:defRPr sz="2800" kern="1200">
          <a:solidFill>
            <a:schemeClr val="tx1"/>
          </a:solidFill>
          <a:latin typeface="+mn-lt"/>
          <a:ea typeface="+mn-ea"/>
          <a:cs typeface="+mn-cs"/>
        </a:defRPr>
      </a:lvl1pPr>
      <a:lvl2pPr marL="648000" indent="-252000" algn="l" defTabSz="914400" rtl="0" eaLnBrk="1" latinLnBrk="0" hangingPunct="1">
        <a:lnSpc>
          <a:spcPct val="110000"/>
        </a:lnSpc>
        <a:spcBef>
          <a:spcPts val="600"/>
        </a:spcBef>
        <a:buClr>
          <a:schemeClr val="tx2"/>
        </a:buClr>
        <a:buFont typeface="Wingdings" panose="05000000000000000000" pitchFamily="2" charset="2"/>
        <a:buChar char="§"/>
        <a:defRPr sz="2400" kern="1200">
          <a:solidFill>
            <a:schemeClr val="tx1"/>
          </a:solidFill>
          <a:latin typeface="+mn-lt"/>
          <a:ea typeface="+mn-ea"/>
          <a:cs typeface="+mn-cs"/>
        </a:defRPr>
      </a:lvl2pPr>
      <a:lvl3pPr marL="1080000" indent="-252000" algn="l" defTabSz="914400" rtl="0" eaLnBrk="1" latinLnBrk="0" hangingPunct="1">
        <a:lnSpc>
          <a:spcPct val="110000"/>
        </a:lnSpc>
        <a:spcBef>
          <a:spcPts val="600"/>
        </a:spcBef>
        <a:buClr>
          <a:schemeClr val="tx2"/>
        </a:buClr>
        <a:buFont typeface="Wingdings" panose="05000000000000000000" pitchFamily="2" charset="2"/>
        <a:buChar char="§"/>
        <a:defRPr sz="2000" kern="1200">
          <a:solidFill>
            <a:schemeClr val="tx1"/>
          </a:solidFill>
          <a:latin typeface="+mn-lt"/>
          <a:ea typeface="+mn-ea"/>
          <a:cs typeface="+mn-cs"/>
        </a:defRPr>
      </a:lvl3pPr>
      <a:lvl4pPr marL="0" indent="0" algn="l" defTabSz="914400" rtl="0" eaLnBrk="1" latinLnBrk="0" hangingPunct="1">
        <a:lnSpc>
          <a:spcPct val="110000"/>
        </a:lnSpc>
        <a:spcBef>
          <a:spcPts val="600"/>
        </a:spcBef>
        <a:buClr>
          <a:schemeClr val="tx2"/>
        </a:buClr>
        <a:buFont typeface="Lato" panose="020F0502020204030203" pitchFamily="34" charset="0"/>
        <a:buChar char="​"/>
        <a:defRPr sz="1600" kern="1200">
          <a:solidFill>
            <a:schemeClr val="tx1"/>
          </a:solidFill>
          <a:latin typeface="+mn-lt"/>
          <a:ea typeface="+mn-ea"/>
          <a:cs typeface="+mn-cs"/>
        </a:defRPr>
      </a:lvl4pPr>
      <a:lvl5pPr marL="252000" indent="-252000" algn="l" defTabSz="914400" rtl="0" eaLnBrk="1" latinLnBrk="0" hangingPunct="1">
        <a:lnSpc>
          <a:spcPct val="110000"/>
        </a:lnSpc>
        <a:spcBef>
          <a:spcPts val="600"/>
        </a:spcBef>
        <a:buClr>
          <a:schemeClr val="tx2"/>
        </a:buClr>
        <a:buFont typeface="Wingdings" panose="05000000000000000000" pitchFamily="2" charset="2"/>
        <a:buChar char="§"/>
        <a:defRPr sz="1600" kern="1200">
          <a:solidFill>
            <a:schemeClr val="tx1"/>
          </a:solidFill>
          <a:latin typeface="+mn-lt"/>
          <a:ea typeface="+mn-ea"/>
          <a:cs typeface="+mn-cs"/>
        </a:defRPr>
      </a:lvl5pPr>
      <a:lvl6pPr marL="648000" indent="-252000" algn="l" defTabSz="914400" rtl="0" eaLnBrk="1" latinLnBrk="0" hangingPunct="1">
        <a:lnSpc>
          <a:spcPct val="110000"/>
        </a:lnSpc>
        <a:spcBef>
          <a:spcPts val="600"/>
        </a:spcBef>
        <a:buClr>
          <a:schemeClr val="tx2"/>
        </a:buClr>
        <a:buFont typeface="Wingdings" panose="05000000000000000000" pitchFamily="2" charset="2"/>
        <a:buChar char="§"/>
        <a:defRPr sz="1600" kern="1200">
          <a:solidFill>
            <a:schemeClr val="tx1"/>
          </a:solidFill>
          <a:latin typeface="+mn-lt"/>
          <a:ea typeface="+mn-ea"/>
          <a:cs typeface="+mn-cs"/>
        </a:defRPr>
      </a:lvl6pPr>
      <a:lvl7pPr marL="1080000" indent="-252000" algn="l" defTabSz="914400" rtl="0" eaLnBrk="1" latinLnBrk="0" hangingPunct="1">
        <a:lnSpc>
          <a:spcPct val="110000"/>
        </a:lnSpc>
        <a:spcBef>
          <a:spcPts val="600"/>
        </a:spcBef>
        <a:buClr>
          <a:schemeClr val="tx2"/>
        </a:buClr>
        <a:buFont typeface="Wingdings" panose="05000000000000000000" pitchFamily="2" charset="2"/>
        <a:buChar char="§"/>
        <a:defRPr sz="1600" kern="1200">
          <a:solidFill>
            <a:schemeClr val="tx1"/>
          </a:solidFill>
          <a:latin typeface="+mn-lt"/>
          <a:ea typeface="+mn-ea"/>
          <a:cs typeface="+mn-cs"/>
        </a:defRPr>
      </a:lvl7pPr>
      <a:lvl8pPr marL="1512000" indent="-252000" algn="l" defTabSz="914400" rtl="0" eaLnBrk="1" latinLnBrk="0" hangingPunct="1">
        <a:lnSpc>
          <a:spcPct val="110000"/>
        </a:lnSpc>
        <a:spcBef>
          <a:spcPts val="600"/>
        </a:spcBef>
        <a:buClr>
          <a:schemeClr val="tx2"/>
        </a:buClr>
        <a:buFont typeface="Wingdings" panose="05000000000000000000" pitchFamily="2" charset="2"/>
        <a:buChar char="§"/>
        <a:defRPr sz="1600" kern="1200">
          <a:solidFill>
            <a:schemeClr val="tx1"/>
          </a:solidFill>
          <a:latin typeface="+mn-lt"/>
          <a:ea typeface="+mn-ea"/>
          <a:cs typeface="+mn-cs"/>
        </a:defRPr>
      </a:lvl8pPr>
      <a:lvl9pPr marL="1944000" indent="-252000" algn="l" defTabSz="914400" rtl="0" eaLnBrk="1" latinLnBrk="0" hangingPunct="1">
        <a:lnSpc>
          <a:spcPct val="110000"/>
        </a:lnSpc>
        <a:spcBef>
          <a:spcPts val="600"/>
        </a:spcBef>
        <a:buClr>
          <a:schemeClr val="tx2"/>
        </a:buClr>
        <a:buFont typeface="Wingdings" panose="05000000000000000000" pitchFamily="2" charset="2"/>
        <a:buChar char="§"/>
        <a:defRPr sz="16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319">
          <p15:clr>
            <a:srgbClr val="5ACBF0"/>
          </p15:clr>
        </p15:guide>
        <p15:guide id="3" pos="257">
          <p15:clr>
            <a:srgbClr val="5ACBF0"/>
          </p15:clr>
        </p15:guide>
        <p15:guide id="4" pos="675">
          <p15:clr>
            <a:srgbClr val="5ACBF0"/>
          </p15:clr>
        </p15:guide>
        <p15:guide id="5" pos="7038">
          <p15:clr>
            <a:srgbClr val="5ACBF0"/>
          </p15:clr>
        </p15:guide>
        <p15:guide id="6" pos="7446">
          <p15:clr>
            <a:srgbClr val="5ACBF0"/>
          </p15:clr>
        </p15:guide>
        <p15:guide id="7" orient="horz" pos="255">
          <p15:clr>
            <a:srgbClr val="5ACBF0"/>
          </p15:clr>
        </p15:guide>
        <p15:guide id="8" orient="horz" pos="663">
          <p15:clr>
            <a:srgbClr val="5ACBF0"/>
          </p15:clr>
        </p15:guide>
        <p15:guide id="9" orient="horz" pos="799">
          <p15:clr>
            <a:srgbClr val="5ACBF0"/>
          </p15:clr>
        </p15:guide>
        <p15:guide id="10" orient="horz" pos="1026">
          <p15:clr>
            <a:srgbClr val="5ACBF0"/>
          </p15:clr>
        </p15:guide>
        <p15:guide id="11" orient="horz" pos="3634">
          <p15:clr>
            <a:srgbClr val="5ACBF0"/>
          </p15:clr>
        </p15:guide>
        <p15:guide id="12" orient="horz" pos="3929">
          <p15:clr>
            <a:srgbClr val="5ACBF0"/>
          </p15:clr>
        </p15:guide>
        <p15:guide id="13" orient="horz" pos="4133">
          <p15:clr>
            <a:srgbClr val="5ACBF0"/>
          </p15:clr>
        </p15:guide>
      </p15:sldGuideLst>
    </p:ext>
  </p:extLst>
</p:sldMaster>
</file>

<file path=ppt/slideMasters/slideMaster18.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5" name="Oggetto 4" hidden="1">
            <a:extLst>
              <a:ext uri="{FF2B5EF4-FFF2-40B4-BE49-F238E27FC236}">
                <a16:creationId xmlns:a16="http://schemas.microsoft.com/office/drawing/2014/main" id="{46B8B118-3F0A-4D36-A0C9-ADD9E9AE1B0C}"/>
              </a:ext>
            </a:extLst>
          </p:cNvPr>
          <p:cNvGraphicFramePr>
            <a:graphicFrameLocks noChangeAspect="1"/>
          </p:cNvGraphicFramePr>
          <p:nvPr userDrawn="1">
            <p:custDataLst>
              <p:tags r:id="rId31"/>
            </p:custDataLst>
            <p:extLst>
              <p:ext uri="{D42A27DB-BD31-4B8C-83A1-F6EECF244321}">
                <p14:modId xmlns:p14="http://schemas.microsoft.com/office/powerpoint/2010/main" val="2555148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20598" name="Diapositiva think-cell" r:id="rId33" imgW="395" imgH="396" progId="TCLayout.ActiveDocument.1">
                  <p:embed/>
                </p:oleObj>
              </mc:Choice>
              <mc:Fallback>
                <p:oleObj name="Diapositiva think-cell" r:id="rId33" imgW="395" imgH="396" progId="TCLayout.ActiveDocument.1">
                  <p:embed/>
                  <p:pic>
                    <p:nvPicPr>
                      <p:cNvPr id="5" name="Oggetto 4" hidden="1">
                        <a:extLst>
                          <a:ext uri="{FF2B5EF4-FFF2-40B4-BE49-F238E27FC236}">
                            <a16:creationId xmlns:a16="http://schemas.microsoft.com/office/drawing/2014/main" id="{46B8B118-3F0A-4D36-A0C9-ADD9E9AE1B0C}"/>
                          </a:ext>
                        </a:extLst>
                      </p:cNvPr>
                      <p:cNvPicPr/>
                      <p:nvPr/>
                    </p:nvPicPr>
                    <p:blipFill>
                      <a:blip r:embed="rId34"/>
                      <a:stretch>
                        <a:fillRect/>
                      </a:stretch>
                    </p:blipFill>
                    <p:spPr>
                      <a:xfrm>
                        <a:off x="1588" y="1588"/>
                        <a:ext cx="1588" cy="1588"/>
                      </a:xfrm>
                      <a:prstGeom prst="rect">
                        <a:avLst/>
                      </a:prstGeom>
                    </p:spPr>
                  </p:pic>
                </p:oleObj>
              </mc:Fallback>
            </mc:AlternateContent>
          </a:graphicData>
        </a:graphic>
      </p:graphicFrame>
      <p:sp>
        <p:nvSpPr>
          <p:cNvPr id="4" name="Rettangolo 3" hidden="1">
            <a:extLst>
              <a:ext uri="{FF2B5EF4-FFF2-40B4-BE49-F238E27FC236}">
                <a16:creationId xmlns:a16="http://schemas.microsoft.com/office/drawing/2014/main" id="{1D85021D-95EC-47DA-A015-36E53DD8035A}"/>
              </a:ext>
            </a:extLst>
          </p:cNvPr>
          <p:cNvSpPr/>
          <p:nvPr userDrawn="1">
            <p:custDataLst>
              <p:tags r:id="rId3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lnSpc>
                <a:spcPct val="125000"/>
              </a:lnSpc>
            </a:pPr>
            <a:endParaRPr lang="en-US" sz="3600" b="0" i="0" baseline="0">
              <a:latin typeface="Lato Light" panose="020F0502020204030203" pitchFamily="34" charset="0"/>
              <a:ea typeface="+mj-ea"/>
              <a:cs typeface="+mj-cs"/>
              <a:sym typeface="Lato Light" panose="020F0502020204030203" pitchFamily="34" charset="0"/>
            </a:endParaRPr>
          </a:p>
        </p:txBody>
      </p:sp>
      <p:grpSp>
        <p:nvGrpSpPr>
          <p:cNvPr id="13" name="logo">
            <a:extLst>
              <a:ext uri="{FF2B5EF4-FFF2-40B4-BE49-F238E27FC236}">
                <a16:creationId xmlns:a16="http://schemas.microsoft.com/office/drawing/2014/main" id="{57BD2C4C-DC67-B843-B26C-309622FC75F7}"/>
              </a:ext>
            </a:extLst>
          </p:cNvPr>
          <p:cNvGrpSpPr>
            <a:grpSpLocks noChangeAspect="1"/>
          </p:cNvGrpSpPr>
          <p:nvPr/>
        </p:nvGrpSpPr>
        <p:grpSpPr bwMode="gray">
          <a:xfrm>
            <a:off x="11174018" y="401441"/>
            <a:ext cx="644225" cy="646507"/>
            <a:chOff x="2711" y="1027"/>
            <a:chExt cx="2258" cy="2266"/>
          </a:xfrm>
        </p:grpSpPr>
        <p:sp>
          <p:nvSpPr>
            <p:cNvPr id="14" name="AutoShape 3">
              <a:extLst>
                <a:ext uri="{FF2B5EF4-FFF2-40B4-BE49-F238E27FC236}">
                  <a16:creationId xmlns:a16="http://schemas.microsoft.com/office/drawing/2014/main" id="{FE1DC41B-291E-574C-9F2C-874E70A40758}"/>
                </a:ext>
              </a:extLst>
            </p:cNvPr>
            <p:cNvSpPr>
              <a:spLocks noChangeAspect="1" noChangeArrowheads="1" noTextEdit="1"/>
            </p:cNvSpPr>
            <p:nvPr/>
          </p:nvSpPr>
          <p:spPr bwMode="gray">
            <a:xfrm>
              <a:off x="2711" y="1027"/>
              <a:ext cx="2258" cy="22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15" name="Freeform 5">
              <a:extLst>
                <a:ext uri="{FF2B5EF4-FFF2-40B4-BE49-F238E27FC236}">
                  <a16:creationId xmlns:a16="http://schemas.microsoft.com/office/drawing/2014/main" id="{D4B633C8-F761-C54B-9BD2-EB59D49A2DBC}"/>
                </a:ext>
              </a:extLst>
            </p:cNvPr>
            <p:cNvSpPr>
              <a:spLocks/>
            </p:cNvSpPr>
            <p:nvPr/>
          </p:nvSpPr>
          <p:spPr bwMode="gray">
            <a:xfrm>
              <a:off x="2709" y="1029"/>
              <a:ext cx="2260" cy="2262"/>
            </a:xfrm>
            <a:custGeom>
              <a:avLst/>
              <a:gdLst>
                <a:gd name="T0" fmla="*/ 2260 w 2260"/>
                <a:gd name="T1" fmla="*/ 0 h 2262"/>
                <a:gd name="T2" fmla="*/ 1612 w 2260"/>
                <a:gd name="T3" fmla="*/ 649 h 2262"/>
                <a:gd name="T4" fmla="*/ 1612 w 2260"/>
                <a:gd name="T5" fmla="*/ 649 h 2262"/>
                <a:gd name="T6" fmla="*/ 2035 w 2260"/>
                <a:gd name="T7" fmla="*/ 0 h 2262"/>
                <a:gd name="T8" fmla="*/ 0 w 2260"/>
                <a:gd name="T9" fmla="*/ 0 h 2262"/>
                <a:gd name="T10" fmla="*/ 0 w 2260"/>
                <a:gd name="T11" fmla="*/ 2262 h 2262"/>
                <a:gd name="T12" fmla="*/ 2260 w 2260"/>
                <a:gd name="T13" fmla="*/ 2262 h 2262"/>
                <a:gd name="T14" fmla="*/ 2260 w 2260"/>
                <a:gd name="T15" fmla="*/ 0 h 2262"/>
                <a:gd name="T16" fmla="*/ 2260 w 2260"/>
                <a:gd name="T17" fmla="*/ 0 h 2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0" h="2262">
                  <a:moveTo>
                    <a:pt x="2260" y="0"/>
                  </a:moveTo>
                  <a:lnTo>
                    <a:pt x="1612" y="649"/>
                  </a:lnTo>
                  <a:lnTo>
                    <a:pt x="1612" y="649"/>
                  </a:lnTo>
                  <a:lnTo>
                    <a:pt x="2035" y="0"/>
                  </a:lnTo>
                  <a:lnTo>
                    <a:pt x="0" y="0"/>
                  </a:lnTo>
                  <a:lnTo>
                    <a:pt x="0" y="2262"/>
                  </a:lnTo>
                  <a:lnTo>
                    <a:pt x="2260" y="2262"/>
                  </a:lnTo>
                  <a:lnTo>
                    <a:pt x="2260" y="0"/>
                  </a:lnTo>
                  <a:lnTo>
                    <a:pt x="2260" y="0"/>
                  </a:lnTo>
                  <a:close/>
                </a:path>
              </a:pathLst>
            </a:custGeom>
            <a:solidFill>
              <a:srgbClr val="E55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16" name="Freeform 6">
              <a:extLst>
                <a:ext uri="{FF2B5EF4-FFF2-40B4-BE49-F238E27FC236}">
                  <a16:creationId xmlns:a16="http://schemas.microsoft.com/office/drawing/2014/main" id="{B16BAAE4-1A41-C843-9754-490F7A1E1270}"/>
                </a:ext>
              </a:extLst>
            </p:cNvPr>
            <p:cNvSpPr>
              <a:spLocks noEditPoints="1"/>
            </p:cNvSpPr>
            <p:nvPr/>
          </p:nvSpPr>
          <p:spPr bwMode="gray">
            <a:xfrm>
              <a:off x="3623" y="1696"/>
              <a:ext cx="1167" cy="922"/>
            </a:xfrm>
            <a:custGeom>
              <a:avLst/>
              <a:gdLst>
                <a:gd name="T0" fmla="*/ 411 w 580"/>
                <a:gd name="T1" fmla="*/ 213 h 458"/>
                <a:gd name="T2" fmla="*/ 570 w 580"/>
                <a:gd name="T3" fmla="*/ 37 h 458"/>
                <a:gd name="T4" fmla="*/ 580 w 580"/>
                <a:gd name="T5" fmla="*/ 20 h 458"/>
                <a:gd name="T6" fmla="*/ 545 w 580"/>
                <a:gd name="T7" fmla="*/ 0 h 458"/>
                <a:gd name="T8" fmla="*/ 519 w 580"/>
                <a:gd name="T9" fmla="*/ 16 h 458"/>
                <a:gd name="T10" fmla="*/ 344 w 580"/>
                <a:gd name="T11" fmla="*/ 210 h 458"/>
                <a:gd name="T12" fmla="*/ 334 w 580"/>
                <a:gd name="T13" fmla="*/ 229 h 458"/>
                <a:gd name="T14" fmla="*/ 344 w 580"/>
                <a:gd name="T15" fmla="*/ 248 h 458"/>
                <a:gd name="T16" fmla="*/ 519 w 580"/>
                <a:gd name="T17" fmla="*/ 442 h 458"/>
                <a:gd name="T18" fmla="*/ 545 w 580"/>
                <a:gd name="T19" fmla="*/ 458 h 458"/>
                <a:gd name="T20" fmla="*/ 580 w 580"/>
                <a:gd name="T21" fmla="*/ 438 h 458"/>
                <a:gd name="T22" fmla="*/ 570 w 580"/>
                <a:gd name="T23" fmla="*/ 421 h 458"/>
                <a:gd name="T24" fmla="*/ 411 w 580"/>
                <a:gd name="T25" fmla="*/ 245 h 458"/>
                <a:gd name="T26" fmla="*/ 399 w 580"/>
                <a:gd name="T27" fmla="*/ 229 h 458"/>
                <a:gd name="T28" fmla="*/ 411 w 580"/>
                <a:gd name="T29" fmla="*/ 213 h 458"/>
                <a:gd name="T30" fmla="*/ 252 w 580"/>
                <a:gd name="T31" fmla="*/ 439 h 458"/>
                <a:gd name="T32" fmla="*/ 281 w 580"/>
                <a:gd name="T33" fmla="*/ 454 h 458"/>
                <a:gd name="T34" fmla="*/ 309 w 580"/>
                <a:gd name="T35" fmla="*/ 439 h 458"/>
                <a:gd name="T36" fmla="*/ 309 w 580"/>
                <a:gd name="T37" fmla="*/ 19 h 458"/>
                <a:gd name="T38" fmla="*/ 281 w 580"/>
                <a:gd name="T39" fmla="*/ 4 h 458"/>
                <a:gd name="T40" fmla="*/ 252 w 580"/>
                <a:gd name="T41" fmla="*/ 19 h 458"/>
                <a:gd name="T42" fmla="*/ 252 w 580"/>
                <a:gd name="T43" fmla="*/ 439 h 458"/>
                <a:gd name="T44" fmla="*/ 0 w 580"/>
                <a:gd name="T45" fmla="*/ 439 h 458"/>
                <a:gd name="T46" fmla="*/ 28 w 580"/>
                <a:gd name="T47" fmla="*/ 454 h 458"/>
                <a:gd name="T48" fmla="*/ 56 w 580"/>
                <a:gd name="T49" fmla="*/ 439 h 458"/>
                <a:gd name="T50" fmla="*/ 56 w 580"/>
                <a:gd name="T51" fmla="*/ 157 h 458"/>
                <a:gd name="T52" fmla="*/ 165 w 580"/>
                <a:gd name="T53" fmla="*/ 53 h 458"/>
                <a:gd name="T54" fmla="*/ 180 w 580"/>
                <a:gd name="T55" fmla="*/ 53 h 458"/>
                <a:gd name="T56" fmla="*/ 196 w 580"/>
                <a:gd name="T57" fmla="*/ 27 h 458"/>
                <a:gd name="T58" fmla="*/ 154 w 580"/>
                <a:gd name="T59" fmla="*/ 4 h 458"/>
                <a:gd name="T60" fmla="*/ 0 w 580"/>
                <a:gd name="T61" fmla="*/ 152 h 458"/>
                <a:gd name="T62" fmla="*/ 0 w 580"/>
                <a:gd name="T63" fmla="*/ 439 h 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80" h="458">
                  <a:moveTo>
                    <a:pt x="411" y="213"/>
                  </a:moveTo>
                  <a:cubicBezTo>
                    <a:pt x="570" y="37"/>
                    <a:pt x="570" y="37"/>
                    <a:pt x="570" y="37"/>
                  </a:cubicBezTo>
                  <a:cubicBezTo>
                    <a:pt x="576" y="30"/>
                    <a:pt x="580" y="25"/>
                    <a:pt x="580" y="20"/>
                  </a:cubicBezTo>
                  <a:cubicBezTo>
                    <a:pt x="580" y="10"/>
                    <a:pt x="559" y="0"/>
                    <a:pt x="545" y="0"/>
                  </a:cubicBezTo>
                  <a:cubicBezTo>
                    <a:pt x="535" y="0"/>
                    <a:pt x="526" y="8"/>
                    <a:pt x="519" y="16"/>
                  </a:cubicBezTo>
                  <a:cubicBezTo>
                    <a:pt x="344" y="210"/>
                    <a:pt x="344" y="210"/>
                    <a:pt x="344" y="210"/>
                  </a:cubicBezTo>
                  <a:cubicBezTo>
                    <a:pt x="336" y="219"/>
                    <a:pt x="334" y="224"/>
                    <a:pt x="334" y="229"/>
                  </a:cubicBezTo>
                  <a:cubicBezTo>
                    <a:pt x="334" y="234"/>
                    <a:pt x="336" y="239"/>
                    <a:pt x="344" y="248"/>
                  </a:cubicBezTo>
                  <a:cubicBezTo>
                    <a:pt x="519" y="442"/>
                    <a:pt x="519" y="442"/>
                    <a:pt x="519" y="442"/>
                  </a:cubicBezTo>
                  <a:cubicBezTo>
                    <a:pt x="526" y="450"/>
                    <a:pt x="535" y="458"/>
                    <a:pt x="545" y="458"/>
                  </a:cubicBezTo>
                  <a:cubicBezTo>
                    <a:pt x="559" y="458"/>
                    <a:pt x="580" y="448"/>
                    <a:pt x="580" y="438"/>
                  </a:cubicBezTo>
                  <a:cubicBezTo>
                    <a:pt x="580" y="433"/>
                    <a:pt x="576" y="428"/>
                    <a:pt x="570" y="421"/>
                  </a:cubicBezTo>
                  <a:cubicBezTo>
                    <a:pt x="411" y="245"/>
                    <a:pt x="411" y="245"/>
                    <a:pt x="411" y="245"/>
                  </a:cubicBezTo>
                  <a:cubicBezTo>
                    <a:pt x="403" y="236"/>
                    <a:pt x="399" y="232"/>
                    <a:pt x="399" y="229"/>
                  </a:cubicBezTo>
                  <a:cubicBezTo>
                    <a:pt x="399" y="226"/>
                    <a:pt x="403" y="222"/>
                    <a:pt x="411" y="213"/>
                  </a:cubicBezTo>
                  <a:moveTo>
                    <a:pt x="252" y="439"/>
                  </a:moveTo>
                  <a:cubicBezTo>
                    <a:pt x="252" y="449"/>
                    <a:pt x="261" y="454"/>
                    <a:pt x="281" y="454"/>
                  </a:cubicBezTo>
                  <a:cubicBezTo>
                    <a:pt x="300" y="454"/>
                    <a:pt x="309" y="449"/>
                    <a:pt x="309" y="439"/>
                  </a:cubicBezTo>
                  <a:cubicBezTo>
                    <a:pt x="309" y="19"/>
                    <a:pt x="309" y="19"/>
                    <a:pt x="309" y="19"/>
                  </a:cubicBezTo>
                  <a:cubicBezTo>
                    <a:pt x="309" y="9"/>
                    <a:pt x="300" y="4"/>
                    <a:pt x="281" y="4"/>
                  </a:cubicBezTo>
                  <a:cubicBezTo>
                    <a:pt x="261" y="4"/>
                    <a:pt x="252" y="9"/>
                    <a:pt x="252" y="19"/>
                  </a:cubicBezTo>
                  <a:lnTo>
                    <a:pt x="252" y="439"/>
                  </a:lnTo>
                  <a:close/>
                  <a:moveTo>
                    <a:pt x="0" y="439"/>
                  </a:moveTo>
                  <a:cubicBezTo>
                    <a:pt x="0" y="449"/>
                    <a:pt x="8" y="454"/>
                    <a:pt x="28" y="454"/>
                  </a:cubicBezTo>
                  <a:cubicBezTo>
                    <a:pt x="48" y="454"/>
                    <a:pt x="56" y="449"/>
                    <a:pt x="56" y="439"/>
                  </a:cubicBezTo>
                  <a:cubicBezTo>
                    <a:pt x="56" y="157"/>
                    <a:pt x="56" y="157"/>
                    <a:pt x="56" y="157"/>
                  </a:cubicBezTo>
                  <a:cubicBezTo>
                    <a:pt x="56" y="83"/>
                    <a:pt x="85" y="53"/>
                    <a:pt x="165" y="53"/>
                  </a:cubicBezTo>
                  <a:cubicBezTo>
                    <a:pt x="180" y="53"/>
                    <a:pt x="180" y="53"/>
                    <a:pt x="180" y="53"/>
                  </a:cubicBezTo>
                  <a:cubicBezTo>
                    <a:pt x="192" y="53"/>
                    <a:pt x="196" y="43"/>
                    <a:pt x="196" y="27"/>
                  </a:cubicBezTo>
                  <a:cubicBezTo>
                    <a:pt x="196" y="8"/>
                    <a:pt x="185" y="4"/>
                    <a:pt x="154" y="4"/>
                  </a:cubicBezTo>
                  <a:cubicBezTo>
                    <a:pt x="64" y="4"/>
                    <a:pt x="0" y="43"/>
                    <a:pt x="0" y="152"/>
                  </a:cubicBezTo>
                  <a:lnTo>
                    <a:pt x="0" y="43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17" name="Freeform 7">
              <a:extLst>
                <a:ext uri="{FF2B5EF4-FFF2-40B4-BE49-F238E27FC236}">
                  <a16:creationId xmlns:a16="http://schemas.microsoft.com/office/drawing/2014/main" id="{2F32DCBD-8628-F245-85CD-97686A20ECFD}"/>
                </a:ext>
              </a:extLst>
            </p:cNvPr>
            <p:cNvSpPr>
              <a:spLocks/>
            </p:cNvSpPr>
            <p:nvPr/>
          </p:nvSpPr>
          <p:spPr bwMode="gray">
            <a:xfrm>
              <a:off x="2880" y="1704"/>
              <a:ext cx="618" cy="916"/>
            </a:xfrm>
            <a:custGeom>
              <a:avLst/>
              <a:gdLst>
                <a:gd name="T0" fmla="*/ 307 w 307"/>
                <a:gd name="T1" fmla="*/ 405 h 455"/>
                <a:gd name="T2" fmla="*/ 307 w 307"/>
                <a:gd name="T3" fmla="*/ 244 h 455"/>
                <a:gd name="T4" fmla="*/ 279 w 307"/>
                <a:gd name="T5" fmla="*/ 229 h 455"/>
                <a:gd name="T6" fmla="*/ 250 w 307"/>
                <a:gd name="T7" fmla="*/ 244 h 455"/>
                <a:gd name="T8" fmla="*/ 250 w 307"/>
                <a:gd name="T9" fmla="*/ 378 h 455"/>
                <a:gd name="T10" fmla="*/ 199 w 307"/>
                <a:gd name="T11" fmla="*/ 408 h 455"/>
                <a:gd name="T12" fmla="*/ 61 w 307"/>
                <a:gd name="T13" fmla="*/ 231 h 455"/>
                <a:gd name="T14" fmla="*/ 238 w 307"/>
                <a:gd name="T15" fmla="*/ 49 h 455"/>
                <a:gd name="T16" fmla="*/ 270 w 307"/>
                <a:gd name="T17" fmla="*/ 49 h 455"/>
                <a:gd name="T18" fmla="*/ 286 w 307"/>
                <a:gd name="T19" fmla="*/ 23 h 455"/>
                <a:gd name="T20" fmla="*/ 244 w 307"/>
                <a:gd name="T21" fmla="*/ 0 h 455"/>
                <a:gd name="T22" fmla="*/ 231 w 307"/>
                <a:gd name="T23" fmla="*/ 0 h 455"/>
                <a:gd name="T24" fmla="*/ 0 w 307"/>
                <a:gd name="T25" fmla="*/ 232 h 455"/>
                <a:gd name="T26" fmla="*/ 198 w 307"/>
                <a:gd name="T27" fmla="*/ 455 h 455"/>
                <a:gd name="T28" fmla="*/ 307 w 307"/>
                <a:gd name="T29" fmla="*/ 405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7" h="455">
                  <a:moveTo>
                    <a:pt x="307" y="405"/>
                  </a:moveTo>
                  <a:cubicBezTo>
                    <a:pt x="307" y="244"/>
                    <a:pt x="307" y="244"/>
                    <a:pt x="307" y="244"/>
                  </a:cubicBezTo>
                  <a:cubicBezTo>
                    <a:pt x="307" y="234"/>
                    <a:pt x="298" y="229"/>
                    <a:pt x="279" y="229"/>
                  </a:cubicBezTo>
                  <a:cubicBezTo>
                    <a:pt x="259" y="229"/>
                    <a:pt x="250" y="234"/>
                    <a:pt x="250" y="244"/>
                  </a:cubicBezTo>
                  <a:cubicBezTo>
                    <a:pt x="250" y="378"/>
                    <a:pt x="250" y="378"/>
                    <a:pt x="250" y="378"/>
                  </a:cubicBezTo>
                  <a:cubicBezTo>
                    <a:pt x="250" y="399"/>
                    <a:pt x="241" y="408"/>
                    <a:pt x="199" y="408"/>
                  </a:cubicBezTo>
                  <a:cubicBezTo>
                    <a:pt x="114" y="408"/>
                    <a:pt x="61" y="342"/>
                    <a:pt x="61" y="231"/>
                  </a:cubicBezTo>
                  <a:cubicBezTo>
                    <a:pt x="61" y="115"/>
                    <a:pt x="126" y="49"/>
                    <a:pt x="238" y="49"/>
                  </a:cubicBezTo>
                  <a:cubicBezTo>
                    <a:pt x="270" y="49"/>
                    <a:pt x="270" y="49"/>
                    <a:pt x="270" y="49"/>
                  </a:cubicBezTo>
                  <a:cubicBezTo>
                    <a:pt x="282" y="49"/>
                    <a:pt x="286" y="39"/>
                    <a:pt x="286" y="23"/>
                  </a:cubicBezTo>
                  <a:cubicBezTo>
                    <a:pt x="286" y="4"/>
                    <a:pt x="275" y="0"/>
                    <a:pt x="244" y="0"/>
                  </a:cubicBezTo>
                  <a:cubicBezTo>
                    <a:pt x="231" y="0"/>
                    <a:pt x="231" y="0"/>
                    <a:pt x="231" y="0"/>
                  </a:cubicBezTo>
                  <a:cubicBezTo>
                    <a:pt x="101" y="0"/>
                    <a:pt x="0" y="71"/>
                    <a:pt x="0" y="232"/>
                  </a:cubicBezTo>
                  <a:cubicBezTo>
                    <a:pt x="0" y="386"/>
                    <a:pt x="88" y="455"/>
                    <a:pt x="198" y="455"/>
                  </a:cubicBezTo>
                  <a:cubicBezTo>
                    <a:pt x="286" y="455"/>
                    <a:pt x="307" y="430"/>
                    <a:pt x="307" y="40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18" name="Oval 8">
              <a:extLst>
                <a:ext uri="{FF2B5EF4-FFF2-40B4-BE49-F238E27FC236}">
                  <a16:creationId xmlns:a16="http://schemas.microsoft.com/office/drawing/2014/main" id="{60D97C11-1A3B-5449-A48D-98A3E79B3810}"/>
                </a:ext>
              </a:extLst>
            </p:cNvPr>
            <p:cNvSpPr>
              <a:spLocks noChangeArrowheads="1"/>
            </p:cNvSpPr>
            <p:nvPr/>
          </p:nvSpPr>
          <p:spPr bwMode="gray">
            <a:xfrm>
              <a:off x="3778" y="2099"/>
              <a:ext cx="122" cy="12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19" name="Freeform 9">
              <a:extLst>
                <a:ext uri="{FF2B5EF4-FFF2-40B4-BE49-F238E27FC236}">
                  <a16:creationId xmlns:a16="http://schemas.microsoft.com/office/drawing/2014/main" id="{5856770D-B8F0-244E-A05D-AED190086F10}"/>
                </a:ext>
              </a:extLst>
            </p:cNvPr>
            <p:cNvSpPr>
              <a:spLocks noEditPoints="1"/>
            </p:cNvSpPr>
            <p:nvPr/>
          </p:nvSpPr>
          <p:spPr bwMode="gray">
            <a:xfrm>
              <a:off x="3623" y="1696"/>
              <a:ext cx="1167" cy="922"/>
            </a:xfrm>
            <a:custGeom>
              <a:avLst/>
              <a:gdLst>
                <a:gd name="T0" fmla="*/ 411 w 580"/>
                <a:gd name="T1" fmla="*/ 213 h 458"/>
                <a:gd name="T2" fmla="*/ 570 w 580"/>
                <a:gd name="T3" fmla="*/ 37 h 458"/>
                <a:gd name="T4" fmla="*/ 580 w 580"/>
                <a:gd name="T5" fmla="*/ 20 h 458"/>
                <a:gd name="T6" fmla="*/ 545 w 580"/>
                <a:gd name="T7" fmla="*/ 0 h 458"/>
                <a:gd name="T8" fmla="*/ 519 w 580"/>
                <a:gd name="T9" fmla="*/ 16 h 458"/>
                <a:gd name="T10" fmla="*/ 344 w 580"/>
                <a:gd name="T11" fmla="*/ 210 h 458"/>
                <a:gd name="T12" fmla="*/ 334 w 580"/>
                <a:gd name="T13" fmla="*/ 229 h 458"/>
                <a:gd name="T14" fmla="*/ 344 w 580"/>
                <a:gd name="T15" fmla="*/ 248 h 458"/>
                <a:gd name="T16" fmla="*/ 519 w 580"/>
                <a:gd name="T17" fmla="*/ 442 h 458"/>
                <a:gd name="T18" fmla="*/ 545 w 580"/>
                <a:gd name="T19" fmla="*/ 458 h 458"/>
                <a:gd name="T20" fmla="*/ 580 w 580"/>
                <a:gd name="T21" fmla="*/ 438 h 458"/>
                <a:gd name="T22" fmla="*/ 570 w 580"/>
                <a:gd name="T23" fmla="*/ 421 h 458"/>
                <a:gd name="T24" fmla="*/ 411 w 580"/>
                <a:gd name="T25" fmla="*/ 245 h 458"/>
                <a:gd name="T26" fmla="*/ 399 w 580"/>
                <a:gd name="T27" fmla="*/ 229 h 458"/>
                <a:gd name="T28" fmla="*/ 411 w 580"/>
                <a:gd name="T29" fmla="*/ 213 h 458"/>
                <a:gd name="T30" fmla="*/ 252 w 580"/>
                <a:gd name="T31" fmla="*/ 439 h 458"/>
                <a:gd name="T32" fmla="*/ 281 w 580"/>
                <a:gd name="T33" fmla="*/ 454 h 458"/>
                <a:gd name="T34" fmla="*/ 309 w 580"/>
                <a:gd name="T35" fmla="*/ 439 h 458"/>
                <a:gd name="T36" fmla="*/ 309 w 580"/>
                <a:gd name="T37" fmla="*/ 19 h 458"/>
                <a:gd name="T38" fmla="*/ 281 w 580"/>
                <a:gd name="T39" fmla="*/ 4 h 458"/>
                <a:gd name="T40" fmla="*/ 252 w 580"/>
                <a:gd name="T41" fmla="*/ 19 h 458"/>
                <a:gd name="T42" fmla="*/ 252 w 580"/>
                <a:gd name="T43" fmla="*/ 439 h 458"/>
                <a:gd name="T44" fmla="*/ 0 w 580"/>
                <a:gd name="T45" fmla="*/ 439 h 458"/>
                <a:gd name="T46" fmla="*/ 28 w 580"/>
                <a:gd name="T47" fmla="*/ 454 h 458"/>
                <a:gd name="T48" fmla="*/ 56 w 580"/>
                <a:gd name="T49" fmla="*/ 439 h 458"/>
                <a:gd name="T50" fmla="*/ 56 w 580"/>
                <a:gd name="T51" fmla="*/ 157 h 458"/>
                <a:gd name="T52" fmla="*/ 165 w 580"/>
                <a:gd name="T53" fmla="*/ 53 h 458"/>
                <a:gd name="T54" fmla="*/ 180 w 580"/>
                <a:gd name="T55" fmla="*/ 53 h 458"/>
                <a:gd name="T56" fmla="*/ 196 w 580"/>
                <a:gd name="T57" fmla="*/ 27 h 458"/>
                <a:gd name="T58" fmla="*/ 154 w 580"/>
                <a:gd name="T59" fmla="*/ 4 h 458"/>
                <a:gd name="T60" fmla="*/ 0 w 580"/>
                <a:gd name="T61" fmla="*/ 152 h 458"/>
                <a:gd name="T62" fmla="*/ 0 w 580"/>
                <a:gd name="T63" fmla="*/ 439 h 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80" h="458">
                  <a:moveTo>
                    <a:pt x="411" y="213"/>
                  </a:moveTo>
                  <a:cubicBezTo>
                    <a:pt x="570" y="37"/>
                    <a:pt x="570" y="37"/>
                    <a:pt x="570" y="37"/>
                  </a:cubicBezTo>
                  <a:cubicBezTo>
                    <a:pt x="576" y="30"/>
                    <a:pt x="580" y="25"/>
                    <a:pt x="580" y="20"/>
                  </a:cubicBezTo>
                  <a:cubicBezTo>
                    <a:pt x="580" y="10"/>
                    <a:pt x="559" y="0"/>
                    <a:pt x="545" y="0"/>
                  </a:cubicBezTo>
                  <a:cubicBezTo>
                    <a:pt x="535" y="0"/>
                    <a:pt x="526" y="8"/>
                    <a:pt x="519" y="16"/>
                  </a:cubicBezTo>
                  <a:cubicBezTo>
                    <a:pt x="344" y="210"/>
                    <a:pt x="344" y="210"/>
                    <a:pt x="344" y="210"/>
                  </a:cubicBezTo>
                  <a:cubicBezTo>
                    <a:pt x="336" y="219"/>
                    <a:pt x="334" y="224"/>
                    <a:pt x="334" y="229"/>
                  </a:cubicBezTo>
                  <a:cubicBezTo>
                    <a:pt x="334" y="234"/>
                    <a:pt x="336" y="239"/>
                    <a:pt x="344" y="248"/>
                  </a:cubicBezTo>
                  <a:cubicBezTo>
                    <a:pt x="519" y="442"/>
                    <a:pt x="519" y="442"/>
                    <a:pt x="519" y="442"/>
                  </a:cubicBezTo>
                  <a:cubicBezTo>
                    <a:pt x="526" y="450"/>
                    <a:pt x="535" y="458"/>
                    <a:pt x="545" y="458"/>
                  </a:cubicBezTo>
                  <a:cubicBezTo>
                    <a:pt x="559" y="458"/>
                    <a:pt x="580" y="448"/>
                    <a:pt x="580" y="438"/>
                  </a:cubicBezTo>
                  <a:cubicBezTo>
                    <a:pt x="580" y="433"/>
                    <a:pt x="576" y="428"/>
                    <a:pt x="570" y="421"/>
                  </a:cubicBezTo>
                  <a:cubicBezTo>
                    <a:pt x="411" y="245"/>
                    <a:pt x="411" y="245"/>
                    <a:pt x="411" y="245"/>
                  </a:cubicBezTo>
                  <a:cubicBezTo>
                    <a:pt x="403" y="236"/>
                    <a:pt x="399" y="232"/>
                    <a:pt x="399" y="229"/>
                  </a:cubicBezTo>
                  <a:cubicBezTo>
                    <a:pt x="399" y="226"/>
                    <a:pt x="403" y="222"/>
                    <a:pt x="411" y="213"/>
                  </a:cubicBezTo>
                  <a:moveTo>
                    <a:pt x="252" y="439"/>
                  </a:moveTo>
                  <a:cubicBezTo>
                    <a:pt x="252" y="449"/>
                    <a:pt x="261" y="454"/>
                    <a:pt x="281" y="454"/>
                  </a:cubicBezTo>
                  <a:cubicBezTo>
                    <a:pt x="300" y="454"/>
                    <a:pt x="309" y="449"/>
                    <a:pt x="309" y="439"/>
                  </a:cubicBezTo>
                  <a:cubicBezTo>
                    <a:pt x="309" y="19"/>
                    <a:pt x="309" y="19"/>
                    <a:pt x="309" y="19"/>
                  </a:cubicBezTo>
                  <a:cubicBezTo>
                    <a:pt x="309" y="9"/>
                    <a:pt x="300" y="4"/>
                    <a:pt x="281" y="4"/>
                  </a:cubicBezTo>
                  <a:cubicBezTo>
                    <a:pt x="261" y="4"/>
                    <a:pt x="252" y="9"/>
                    <a:pt x="252" y="19"/>
                  </a:cubicBezTo>
                  <a:lnTo>
                    <a:pt x="252" y="439"/>
                  </a:lnTo>
                  <a:close/>
                  <a:moveTo>
                    <a:pt x="0" y="439"/>
                  </a:moveTo>
                  <a:cubicBezTo>
                    <a:pt x="0" y="449"/>
                    <a:pt x="8" y="454"/>
                    <a:pt x="28" y="454"/>
                  </a:cubicBezTo>
                  <a:cubicBezTo>
                    <a:pt x="48" y="454"/>
                    <a:pt x="56" y="449"/>
                    <a:pt x="56" y="439"/>
                  </a:cubicBezTo>
                  <a:cubicBezTo>
                    <a:pt x="56" y="157"/>
                    <a:pt x="56" y="157"/>
                    <a:pt x="56" y="157"/>
                  </a:cubicBezTo>
                  <a:cubicBezTo>
                    <a:pt x="56" y="83"/>
                    <a:pt x="85" y="53"/>
                    <a:pt x="165" y="53"/>
                  </a:cubicBezTo>
                  <a:cubicBezTo>
                    <a:pt x="180" y="53"/>
                    <a:pt x="180" y="53"/>
                    <a:pt x="180" y="53"/>
                  </a:cubicBezTo>
                  <a:cubicBezTo>
                    <a:pt x="192" y="53"/>
                    <a:pt x="196" y="43"/>
                    <a:pt x="196" y="27"/>
                  </a:cubicBezTo>
                  <a:cubicBezTo>
                    <a:pt x="196" y="8"/>
                    <a:pt x="185" y="4"/>
                    <a:pt x="154" y="4"/>
                  </a:cubicBezTo>
                  <a:cubicBezTo>
                    <a:pt x="64" y="4"/>
                    <a:pt x="0" y="43"/>
                    <a:pt x="0" y="152"/>
                  </a:cubicBezTo>
                  <a:lnTo>
                    <a:pt x="0" y="43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22" name="Freeform 10">
              <a:extLst>
                <a:ext uri="{FF2B5EF4-FFF2-40B4-BE49-F238E27FC236}">
                  <a16:creationId xmlns:a16="http://schemas.microsoft.com/office/drawing/2014/main" id="{2B91B16B-BC11-E547-8FAC-B9B8D18EA449}"/>
                </a:ext>
              </a:extLst>
            </p:cNvPr>
            <p:cNvSpPr>
              <a:spLocks/>
            </p:cNvSpPr>
            <p:nvPr/>
          </p:nvSpPr>
          <p:spPr bwMode="gray">
            <a:xfrm>
              <a:off x="2880" y="1704"/>
              <a:ext cx="618" cy="916"/>
            </a:xfrm>
            <a:custGeom>
              <a:avLst/>
              <a:gdLst>
                <a:gd name="T0" fmla="*/ 307 w 307"/>
                <a:gd name="T1" fmla="*/ 405 h 455"/>
                <a:gd name="T2" fmla="*/ 307 w 307"/>
                <a:gd name="T3" fmla="*/ 244 h 455"/>
                <a:gd name="T4" fmla="*/ 279 w 307"/>
                <a:gd name="T5" fmla="*/ 229 h 455"/>
                <a:gd name="T6" fmla="*/ 250 w 307"/>
                <a:gd name="T7" fmla="*/ 244 h 455"/>
                <a:gd name="T8" fmla="*/ 250 w 307"/>
                <a:gd name="T9" fmla="*/ 378 h 455"/>
                <a:gd name="T10" fmla="*/ 199 w 307"/>
                <a:gd name="T11" fmla="*/ 408 h 455"/>
                <a:gd name="T12" fmla="*/ 61 w 307"/>
                <a:gd name="T13" fmla="*/ 231 h 455"/>
                <a:gd name="T14" fmla="*/ 238 w 307"/>
                <a:gd name="T15" fmla="*/ 49 h 455"/>
                <a:gd name="T16" fmla="*/ 270 w 307"/>
                <a:gd name="T17" fmla="*/ 49 h 455"/>
                <a:gd name="T18" fmla="*/ 286 w 307"/>
                <a:gd name="T19" fmla="*/ 23 h 455"/>
                <a:gd name="T20" fmla="*/ 244 w 307"/>
                <a:gd name="T21" fmla="*/ 0 h 455"/>
                <a:gd name="T22" fmla="*/ 231 w 307"/>
                <a:gd name="T23" fmla="*/ 0 h 455"/>
                <a:gd name="T24" fmla="*/ 0 w 307"/>
                <a:gd name="T25" fmla="*/ 232 h 455"/>
                <a:gd name="T26" fmla="*/ 198 w 307"/>
                <a:gd name="T27" fmla="*/ 455 h 455"/>
                <a:gd name="T28" fmla="*/ 307 w 307"/>
                <a:gd name="T29" fmla="*/ 405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7" h="455">
                  <a:moveTo>
                    <a:pt x="307" y="405"/>
                  </a:moveTo>
                  <a:cubicBezTo>
                    <a:pt x="307" y="244"/>
                    <a:pt x="307" y="244"/>
                    <a:pt x="307" y="244"/>
                  </a:cubicBezTo>
                  <a:cubicBezTo>
                    <a:pt x="307" y="234"/>
                    <a:pt x="298" y="229"/>
                    <a:pt x="279" y="229"/>
                  </a:cubicBezTo>
                  <a:cubicBezTo>
                    <a:pt x="259" y="229"/>
                    <a:pt x="250" y="234"/>
                    <a:pt x="250" y="244"/>
                  </a:cubicBezTo>
                  <a:cubicBezTo>
                    <a:pt x="250" y="378"/>
                    <a:pt x="250" y="378"/>
                    <a:pt x="250" y="378"/>
                  </a:cubicBezTo>
                  <a:cubicBezTo>
                    <a:pt x="250" y="399"/>
                    <a:pt x="241" y="408"/>
                    <a:pt x="199" y="408"/>
                  </a:cubicBezTo>
                  <a:cubicBezTo>
                    <a:pt x="114" y="408"/>
                    <a:pt x="61" y="342"/>
                    <a:pt x="61" y="231"/>
                  </a:cubicBezTo>
                  <a:cubicBezTo>
                    <a:pt x="61" y="115"/>
                    <a:pt x="126" y="49"/>
                    <a:pt x="238" y="49"/>
                  </a:cubicBezTo>
                  <a:cubicBezTo>
                    <a:pt x="270" y="49"/>
                    <a:pt x="270" y="49"/>
                    <a:pt x="270" y="49"/>
                  </a:cubicBezTo>
                  <a:cubicBezTo>
                    <a:pt x="282" y="49"/>
                    <a:pt x="286" y="39"/>
                    <a:pt x="286" y="23"/>
                  </a:cubicBezTo>
                  <a:cubicBezTo>
                    <a:pt x="286" y="4"/>
                    <a:pt x="275" y="0"/>
                    <a:pt x="244" y="0"/>
                  </a:cubicBezTo>
                  <a:cubicBezTo>
                    <a:pt x="231" y="0"/>
                    <a:pt x="231" y="0"/>
                    <a:pt x="231" y="0"/>
                  </a:cubicBezTo>
                  <a:cubicBezTo>
                    <a:pt x="101" y="0"/>
                    <a:pt x="0" y="71"/>
                    <a:pt x="0" y="232"/>
                  </a:cubicBezTo>
                  <a:cubicBezTo>
                    <a:pt x="0" y="386"/>
                    <a:pt x="88" y="455"/>
                    <a:pt x="198" y="455"/>
                  </a:cubicBezTo>
                  <a:cubicBezTo>
                    <a:pt x="286" y="455"/>
                    <a:pt x="307" y="430"/>
                    <a:pt x="307" y="40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23" name="Oval 11">
              <a:extLst>
                <a:ext uri="{FF2B5EF4-FFF2-40B4-BE49-F238E27FC236}">
                  <a16:creationId xmlns:a16="http://schemas.microsoft.com/office/drawing/2014/main" id="{14F8C3C8-4888-7646-B9B4-64EB46A1DA23}"/>
                </a:ext>
              </a:extLst>
            </p:cNvPr>
            <p:cNvSpPr>
              <a:spLocks noChangeArrowheads="1"/>
            </p:cNvSpPr>
            <p:nvPr/>
          </p:nvSpPr>
          <p:spPr bwMode="gray">
            <a:xfrm>
              <a:off x="3778" y="2099"/>
              <a:ext cx="122" cy="12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24" name="Freeform 12">
              <a:extLst>
                <a:ext uri="{FF2B5EF4-FFF2-40B4-BE49-F238E27FC236}">
                  <a16:creationId xmlns:a16="http://schemas.microsoft.com/office/drawing/2014/main" id="{D79D01D1-4E3E-F34B-97D7-2D387E68746E}"/>
                </a:ext>
              </a:extLst>
            </p:cNvPr>
            <p:cNvSpPr>
              <a:spLocks/>
            </p:cNvSpPr>
            <p:nvPr/>
          </p:nvSpPr>
          <p:spPr bwMode="gray">
            <a:xfrm>
              <a:off x="4321" y="1029"/>
              <a:ext cx="648" cy="649"/>
            </a:xfrm>
            <a:custGeom>
              <a:avLst/>
              <a:gdLst>
                <a:gd name="T0" fmla="*/ 0 w 648"/>
                <a:gd name="T1" fmla="*/ 649 h 649"/>
                <a:gd name="T2" fmla="*/ 2 w 648"/>
                <a:gd name="T3" fmla="*/ 649 h 649"/>
                <a:gd name="T4" fmla="*/ 648 w 648"/>
                <a:gd name="T5" fmla="*/ 0 h 649"/>
                <a:gd name="T6" fmla="*/ 423 w 648"/>
                <a:gd name="T7" fmla="*/ 0 h 649"/>
                <a:gd name="T8" fmla="*/ 0 w 648"/>
                <a:gd name="T9" fmla="*/ 649 h 649"/>
              </a:gdLst>
              <a:ahLst/>
              <a:cxnLst>
                <a:cxn ang="0">
                  <a:pos x="T0" y="T1"/>
                </a:cxn>
                <a:cxn ang="0">
                  <a:pos x="T2" y="T3"/>
                </a:cxn>
                <a:cxn ang="0">
                  <a:pos x="T4" y="T5"/>
                </a:cxn>
                <a:cxn ang="0">
                  <a:pos x="T6" y="T7"/>
                </a:cxn>
                <a:cxn ang="0">
                  <a:pos x="T8" y="T9"/>
                </a:cxn>
              </a:cxnLst>
              <a:rect l="0" t="0" r="r" b="b"/>
              <a:pathLst>
                <a:path w="648" h="649">
                  <a:moveTo>
                    <a:pt x="0" y="649"/>
                  </a:moveTo>
                  <a:lnTo>
                    <a:pt x="2" y="649"/>
                  </a:lnTo>
                  <a:lnTo>
                    <a:pt x="648" y="0"/>
                  </a:lnTo>
                  <a:lnTo>
                    <a:pt x="423" y="0"/>
                  </a:lnTo>
                  <a:lnTo>
                    <a:pt x="0" y="64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26" name="Freeform 13">
              <a:extLst>
                <a:ext uri="{FF2B5EF4-FFF2-40B4-BE49-F238E27FC236}">
                  <a16:creationId xmlns:a16="http://schemas.microsoft.com/office/drawing/2014/main" id="{46549898-6C52-B147-A8F6-A73FDBE6163B}"/>
                </a:ext>
              </a:extLst>
            </p:cNvPr>
            <p:cNvSpPr>
              <a:spLocks/>
            </p:cNvSpPr>
            <p:nvPr/>
          </p:nvSpPr>
          <p:spPr bwMode="gray">
            <a:xfrm>
              <a:off x="4321" y="1029"/>
              <a:ext cx="648" cy="649"/>
            </a:xfrm>
            <a:custGeom>
              <a:avLst/>
              <a:gdLst>
                <a:gd name="T0" fmla="*/ 0 w 648"/>
                <a:gd name="T1" fmla="*/ 649 h 649"/>
                <a:gd name="T2" fmla="*/ 2 w 648"/>
                <a:gd name="T3" fmla="*/ 649 h 649"/>
                <a:gd name="T4" fmla="*/ 648 w 648"/>
                <a:gd name="T5" fmla="*/ 0 h 649"/>
                <a:gd name="T6" fmla="*/ 423 w 648"/>
                <a:gd name="T7" fmla="*/ 0 h 649"/>
                <a:gd name="T8" fmla="*/ 0 w 648"/>
                <a:gd name="T9" fmla="*/ 649 h 649"/>
              </a:gdLst>
              <a:ahLst/>
              <a:cxnLst>
                <a:cxn ang="0">
                  <a:pos x="T0" y="T1"/>
                </a:cxn>
                <a:cxn ang="0">
                  <a:pos x="T2" y="T3"/>
                </a:cxn>
                <a:cxn ang="0">
                  <a:pos x="T4" y="T5"/>
                </a:cxn>
                <a:cxn ang="0">
                  <a:pos x="T6" y="T7"/>
                </a:cxn>
                <a:cxn ang="0">
                  <a:pos x="T8" y="T9"/>
                </a:cxn>
              </a:cxnLst>
              <a:rect l="0" t="0" r="r" b="b"/>
              <a:pathLst>
                <a:path w="648" h="649">
                  <a:moveTo>
                    <a:pt x="0" y="649"/>
                  </a:moveTo>
                  <a:lnTo>
                    <a:pt x="2" y="649"/>
                  </a:lnTo>
                  <a:lnTo>
                    <a:pt x="648" y="0"/>
                  </a:lnTo>
                  <a:lnTo>
                    <a:pt x="423" y="0"/>
                  </a:lnTo>
                  <a:lnTo>
                    <a:pt x="0" y="64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grpSp>
      <p:sp>
        <p:nvSpPr>
          <p:cNvPr id="20" name="shp1">
            <a:extLst>
              <a:ext uri="{FF2B5EF4-FFF2-40B4-BE49-F238E27FC236}">
                <a16:creationId xmlns:a16="http://schemas.microsoft.com/office/drawing/2014/main" id="{1AD9883E-0B1C-504A-A979-9C5803172360}"/>
              </a:ext>
            </a:extLst>
          </p:cNvPr>
          <p:cNvSpPr/>
          <p:nvPr/>
        </p:nvSpPr>
        <p:spPr>
          <a:xfrm>
            <a:off x="192088" y="1"/>
            <a:ext cx="215900" cy="144938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de-DE" sz="1351"/>
          </a:p>
        </p:txBody>
      </p:sp>
      <p:sp>
        <p:nvSpPr>
          <p:cNvPr id="7" name="copyright"/>
          <p:cNvSpPr txBox="1"/>
          <p:nvPr/>
        </p:nvSpPr>
        <p:spPr>
          <a:xfrm>
            <a:off x="10672209" y="6461671"/>
            <a:ext cx="500617" cy="133790"/>
          </a:xfrm>
          <a:prstGeom prst="rect">
            <a:avLst/>
          </a:prstGeom>
          <a:noFill/>
        </p:spPr>
        <p:txBody>
          <a:bodyPr wrap="none" lIns="0" tIns="0" rIns="0" bIns="0" rtlCol="0" anchor="b" anchorCtr="0">
            <a:noAutofit/>
          </a:bodyPr>
          <a:lstStyle/>
          <a:p>
            <a:pPr marL="0" indent="0" algn="r">
              <a:lnSpc>
                <a:spcPct val="125000"/>
              </a:lnSpc>
              <a:buClr>
                <a:schemeClr val="tx2"/>
              </a:buClr>
              <a:buFont typeface="Wingdings" panose="05000000000000000000" pitchFamily="2" charset="2"/>
              <a:buNone/>
            </a:pPr>
            <a:r>
              <a:rPr lang="en-US" sz="800"/>
              <a:t>© GfK</a:t>
            </a:r>
          </a:p>
        </p:txBody>
      </p:sp>
      <p:sp>
        <p:nvSpPr>
          <p:cNvPr id="28" name="Date Placeholder 27"/>
          <p:cNvSpPr>
            <a:spLocks noGrp="1"/>
          </p:cNvSpPr>
          <p:nvPr>
            <p:ph type="dt" sz="half" idx="2"/>
          </p:nvPr>
        </p:nvSpPr>
        <p:spPr>
          <a:xfrm>
            <a:off x="192088" y="6461671"/>
            <a:ext cx="761512" cy="133790"/>
          </a:xfrm>
          <a:prstGeom prst="rect">
            <a:avLst/>
          </a:prstGeom>
        </p:spPr>
        <p:txBody>
          <a:bodyPr vert="horz" wrap="none" lIns="0" tIns="0" rIns="0" bIns="0" rtlCol="0" anchor="b" anchorCtr="0"/>
          <a:lstStyle>
            <a:lvl1pPr algn="r">
              <a:defRPr sz="800">
                <a:solidFill>
                  <a:schemeClr val="tx1"/>
                </a:solidFill>
              </a:defRPr>
            </a:lvl1pPr>
          </a:lstStyle>
          <a:p>
            <a:endParaRPr lang="en-US"/>
          </a:p>
        </p:txBody>
      </p:sp>
      <p:sp>
        <p:nvSpPr>
          <p:cNvPr id="29" name="Footer Placeholder 28"/>
          <p:cNvSpPr>
            <a:spLocks noGrp="1"/>
          </p:cNvSpPr>
          <p:nvPr>
            <p:ph type="ftr" sz="quarter" idx="3"/>
          </p:nvPr>
        </p:nvSpPr>
        <p:spPr>
          <a:xfrm>
            <a:off x="1076400" y="6461671"/>
            <a:ext cx="8162717" cy="133790"/>
          </a:xfrm>
          <a:prstGeom prst="rect">
            <a:avLst/>
          </a:prstGeom>
        </p:spPr>
        <p:txBody>
          <a:bodyPr vert="horz" lIns="0" tIns="0" rIns="0" bIns="0" rtlCol="0" anchor="b" anchorCtr="0"/>
          <a:lstStyle>
            <a:lvl1pPr marL="144000" indent="-144000" algn="l">
              <a:buClr>
                <a:schemeClr val="tx2"/>
              </a:buClr>
              <a:buFont typeface="Wingdings" panose="05000000000000000000" pitchFamily="2" charset="2"/>
              <a:buChar char="§"/>
              <a:defRPr sz="800">
                <a:solidFill>
                  <a:schemeClr val="tx1"/>
                </a:solidFill>
              </a:defRPr>
            </a:lvl1pPr>
          </a:lstStyle>
          <a:p>
            <a:endParaRPr lang="en-US"/>
          </a:p>
        </p:txBody>
      </p:sp>
      <p:sp>
        <p:nvSpPr>
          <p:cNvPr id="30" name="Slide Number Placeholder 29"/>
          <p:cNvSpPr>
            <a:spLocks noGrp="1"/>
          </p:cNvSpPr>
          <p:nvPr>
            <p:ph type="sldNum" sz="quarter" idx="4"/>
          </p:nvPr>
        </p:nvSpPr>
        <p:spPr>
          <a:xfrm>
            <a:off x="11186669" y="6461671"/>
            <a:ext cx="648000" cy="133790"/>
          </a:xfrm>
          <a:prstGeom prst="rect">
            <a:avLst/>
          </a:prstGeom>
        </p:spPr>
        <p:txBody>
          <a:bodyPr vert="horz" lIns="0" tIns="0" rIns="0" bIns="0" rtlCol="0" anchor="b" anchorCtr="0"/>
          <a:lstStyle>
            <a:lvl1pPr algn="r">
              <a:defRPr sz="800">
                <a:solidFill>
                  <a:schemeClr val="tx1"/>
                </a:solidFill>
              </a:defRPr>
            </a:lvl1pPr>
          </a:lstStyle>
          <a:p>
            <a:fld id="{5F3E29E4-0979-4FCA-B4C5-5FC6044C982A}" type="slidenum">
              <a:rPr lang="en-US" smtClean="0"/>
              <a:pPr/>
              <a:t>‹#›</a:t>
            </a:fld>
            <a:endParaRPr lang="en-US"/>
          </a:p>
        </p:txBody>
      </p:sp>
      <p:sp>
        <p:nvSpPr>
          <p:cNvPr id="2" name="Title Placeholder 1"/>
          <p:cNvSpPr>
            <a:spLocks noGrp="1"/>
          </p:cNvSpPr>
          <p:nvPr>
            <p:ph type="title"/>
          </p:nvPr>
        </p:nvSpPr>
        <p:spPr>
          <a:xfrm>
            <a:off x="1075061" y="288922"/>
            <a:ext cx="7910158" cy="648000"/>
          </a:xfrm>
          <a:prstGeom prst="rect">
            <a:avLst/>
          </a:prstGeom>
        </p:spPr>
        <p:txBody>
          <a:bodyPr vert="horz" lIns="0" tIns="0" rIns="0" bIns="0" rtlCol="0" anchor="t">
            <a:noAutofit/>
          </a:bodyPr>
          <a:lstStyle/>
          <a:p>
            <a:r>
              <a:rPr lang="en-US"/>
              <a:t>Click to edit Master title style</a:t>
            </a:r>
          </a:p>
        </p:txBody>
      </p:sp>
      <p:sp>
        <p:nvSpPr>
          <p:cNvPr id="3" name="Text Placeholder 2"/>
          <p:cNvSpPr>
            <a:spLocks noGrp="1"/>
          </p:cNvSpPr>
          <p:nvPr>
            <p:ph type="body" idx="1"/>
          </p:nvPr>
        </p:nvSpPr>
        <p:spPr>
          <a:xfrm>
            <a:off x="1075062" y="1629618"/>
            <a:ext cx="10097764" cy="4139357"/>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70642064"/>
      </p:ext>
    </p:extLst>
  </p:cSld>
  <p:clrMap bg1="lt1" tx1="dk1" bg2="lt2" tx2="dk2" accent1="accent1" accent2="accent2" accent3="accent3" accent4="accent4" accent5="accent5" accent6="accent6" hlink="hlink" folHlink="folHlink"/>
  <p:sldLayoutIdLst>
    <p:sldLayoutId id="2147484970" r:id="rId1"/>
    <p:sldLayoutId id="2147484971" r:id="rId2"/>
    <p:sldLayoutId id="2147484972" r:id="rId3"/>
    <p:sldLayoutId id="2147484973" r:id="rId4"/>
    <p:sldLayoutId id="2147484974" r:id="rId5"/>
    <p:sldLayoutId id="2147484975" r:id="rId6"/>
    <p:sldLayoutId id="2147484976" r:id="rId7"/>
    <p:sldLayoutId id="2147484977" r:id="rId8"/>
    <p:sldLayoutId id="2147484978" r:id="rId9"/>
    <p:sldLayoutId id="2147484979" r:id="rId10"/>
    <p:sldLayoutId id="2147484980" r:id="rId11"/>
    <p:sldLayoutId id="2147484981" r:id="rId12"/>
    <p:sldLayoutId id="2147484982" r:id="rId13"/>
    <p:sldLayoutId id="2147484983" r:id="rId14"/>
    <p:sldLayoutId id="2147484984" r:id="rId15"/>
    <p:sldLayoutId id="2147484985" r:id="rId16"/>
    <p:sldLayoutId id="2147484986" r:id="rId17"/>
    <p:sldLayoutId id="2147484987" r:id="rId18"/>
    <p:sldLayoutId id="2147484988" r:id="rId19"/>
    <p:sldLayoutId id="2147484989" r:id="rId20"/>
    <p:sldLayoutId id="2147484990" r:id="rId21"/>
    <p:sldLayoutId id="2147484991" r:id="rId22"/>
    <p:sldLayoutId id="2147484992" r:id="rId23"/>
    <p:sldLayoutId id="2147484993" r:id="rId24"/>
    <p:sldLayoutId id="2147484994" r:id="rId25"/>
    <p:sldLayoutId id="2147484995" r:id="rId26"/>
    <p:sldLayoutId id="2147484996" r:id="rId27"/>
    <p:sldLayoutId id="2147484997" r:id="rId28"/>
  </p:sldLayoutIdLst>
  <p:hf hdr="0" ftr="0" dt="0"/>
  <p:txStyles>
    <p:titleStyle>
      <a:lvl1pPr algn="l" defTabSz="914400" rtl="0" eaLnBrk="1" latinLnBrk="0" hangingPunct="1">
        <a:lnSpc>
          <a:spcPct val="100000"/>
        </a:lnSpc>
        <a:spcBef>
          <a:spcPct val="0"/>
        </a:spcBef>
        <a:buNone/>
        <a:defRPr sz="3600" kern="1200">
          <a:solidFill>
            <a:schemeClr val="tx1"/>
          </a:solidFill>
          <a:latin typeface="+mj-lt"/>
          <a:ea typeface="+mj-ea"/>
          <a:cs typeface="+mj-cs"/>
        </a:defRPr>
      </a:lvl1pPr>
    </p:titleStyle>
    <p:bodyStyle>
      <a:lvl1pPr marL="252000" indent="-252000" algn="l" defTabSz="914400" rtl="0" eaLnBrk="1" latinLnBrk="0" hangingPunct="1">
        <a:lnSpc>
          <a:spcPct val="110000"/>
        </a:lnSpc>
        <a:spcBef>
          <a:spcPts val="1000"/>
        </a:spcBef>
        <a:buClr>
          <a:schemeClr val="tx2"/>
        </a:buClr>
        <a:buFont typeface="Wingdings" panose="05000000000000000000" pitchFamily="2" charset="2"/>
        <a:buChar char="§"/>
        <a:defRPr sz="2800" kern="1200">
          <a:solidFill>
            <a:schemeClr val="tx1"/>
          </a:solidFill>
          <a:latin typeface="+mn-lt"/>
          <a:ea typeface="+mn-ea"/>
          <a:cs typeface="+mn-cs"/>
        </a:defRPr>
      </a:lvl1pPr>
      <a:lvl2pPr marL="648000" indent="-252000" algn="l" defTabSz="914400" rtl="0" eaLnBrk="1" latinLnBrk="0" hangingPunct="1">
        <a:lnSpc>
          <a:spcPct val="110000"/>
        </a:lnSpc>
        <a:spcBef>
          <a:spcPts val="600"/>
        </a:spcBef>
        <a:buClr>
          <a:schemeClr val="tx2"/>
        </a:buClr>
        <a:buFont typeface="Wingdings" panose="05000000000000000000" pitchFamily="2" charset="2"/>
        <a:buChar char="§"/>
        <a:defRPr sz="2400" kern="1200">
          <a:solidFill>
            <a:schemeClr val="tx1"/>
          </a:solidFill>
          <a:latin typeface="+mn-lt"/>
          <a:ea typeface="+mn-ea"/>
          <a:cs typeface="+mn-cs"/>
        </a:defRPr>
      </a:lvl2pPr>
      <a:lvl3pPr marL="1080000" indent="-252000" algn="l" defTabSz="914400" rtl="0" eaLnBrk="1" latinLnBrk="0" hangingPunct="1">
        <a:lnSpc>
          <a:spcPct val="110000"/>
        </a:lnSpc>
        <a:spcBef>
          <a:spcPts val="600"/>
        </a:spcBef>
        <a:buClr>
          <a:schemeClr val="tx2"/>
        </a:buClr>
        <a:buFont typeface="Wingdings" panose="05000000000000000000" pitchFamily="2" charset="2"/>
        <a:buChar char="§"/>
        <a:defRPr sz="2000" kern="1200">
          <a:solidFill>
            <a:schemeClr val="tx1"/>
          </a:solidFill>
          <a:latin typeface="+mn-lt"/>
          <a:ea typeface="+mn-ea"/>
          <a:cs typeface="+mn-cs"/>
        </a:defRPr>
      </a:lvl3pPr>
      <a:lvl4pPr marL="0" indent="0" algn="l" defTabSz="914400" rtl="0" eaLnBrk="1" latinLnBrk="0" hangingPunct="1">
        <a:lnSpc>
          <a:spcPct val="110000"/>
        </a:lnSpc>
        <a:spcBef>
          <a:spcPts val="600"/>
        </a:spcBef>
        <a:buClr>
          <a:schemeClr val="tx2"/>
        </a:buClr>
        <a:buFont typeface="Lato" panose="020F0502020204030203" pitchFamily="34" charset="0"/>
        <a:buChar char="​"/>
        <a:defRPr sz="1600" kern="1200">
          <a:solidFill>
            <a:schemeClr val="tx1"/>
          </a:solidFill>
          <a:latin typeface="+mn-lt"/>
          <a:ea typeface="+mn-ea"/>
          <a:cs typeface="+mn-cs"/>
        </a:defRPr>
      </a:lvl4pPr>
      <a:lvl5pPr marL="252000" indent="-252000" algn="l" defTabSz="914400" rtl="0" eaLnBrk="1" latinLnBrk="0" hangingPunct="1">
        <a:lnSpc>
          <a:spcPct val="110000"/>
        </a:lnSpc>
        <a:spcBef>
          <a:spcPts val="600"/>
        </a:spcBef>
        <a:buClr>
          <a:schemeClr val="tx2"/>
        </a:buClr>
        <a:buFont typeface="Wingdings" panose="05000000000000000000" pitchFamily="2" charset="2"/>
        <a:buChar char="§"/>
        <a:defRPr sz="1600" kern="1200">
          <a:solidFill>
            <a:schemeClr val="tx1"/>
          </a:solidFill>
          <a:latin typeface="+mn-lt"/>
          <a:ea typeface="+mn-ea"/>
          <a:cs typeface="+mn-cs"/>
        </a:defRPr>
      </a:lvl5pPr>
      <a:lvl6pPr marL="648000" indent="-252000" algn="l" defTabSz="914400" rtl="0" eaLnBrk="1" latinLnBrk="0" hangingPunct="1">
        <a:lnSpc>
          <a:spcPct val="110000"/>
        </a:lnSpc>
        <a:spcBef>
          <a:spcPts val="600"/>
        </a:spcBef>
        <a:buClr>
          <a:schemeClr val="tx2"/>
        </a:buClr>
        <a:buFont typeface="Wingdings" panose="05000000000000000000" pitchFamily="2" charset="2"/>
        <a:buChar char="§"/>
        <a:defRPr sz="1600" kern="1200">
          <a:solidFill>
            <a:schemeClr val="tx1"/>
          </a:solidFill>
          <a:latin typeface="+mn-lt"/>
          <a:ea typeface="+mn-ea"/>
          <a:cs typeface="+mn-cs"/>
        </a:defRPr>
      </a:lvl6pPr>
      <a:lvl7pPr marL="1080000" indent="-252000" algn="l" defTabSz="914400" rtl="0" eaLnBrk="1" latinLnBrk="0" hangingPunct="1">
        <a:lnSpc>
          <a:spcPct val="110000"/>
        </a:lnSpc>
        <a:spcBef>
          <a:spcPts val="600"/>
        </a:spcBef>
        <a:buClr>
          <a:schemeClr val="tx2"/>
        </a:buClr>
        <a:buFont typeface="Wingdings" panose="05000000000000000000" pitchFamily="2" charset="2"/>
        <a:buChar char="§"/>
        <a:defRPr sz="1600" kern="1200">
          <a:solidFill>
            <a:schemeClr val="tx1"/>
          </a:solidFill>
          <a:latin typeface="+mn-lt"/>
          <a:ea typeface="+mn-ea"/>
          <a:cs typeface="+mn-cs"/>
        </a:defRPr>
      </a:lvl7pPr>
      <a:lvl8pPr marL="1512000" indent="-252000" algn="l" defTabSz="914400" rtl="0" eaLnBrk="1" latinLnBrk="0" hangingPunct="1">
        <a:lnSpc>
          <a:spcPct val="110000"/>
        </a:lnSpc>
        <a:spcBef>
          <a:spcPts val="600"/>
        </a:spcBef>
        <a:buClr>
          <a:schemeClr val="tx2"/>
        </a:buClr>
        <a:buFont typeface="Wingdings" panose="05000000000000000000" pitchFamily="2" charset="2"/>
        <a:buChar char="§"/>
        <a:defRPr sz="1600" kern="1200">
          <a:solidFill>
            <a:schemeClr val="tx1"/>
          </a:solidFill>
          <a:latin typeface="+mn-lt"/>
          <a:ea typeface="+mn-ea"/>
          <a:cs typeface="+mn-cs"/>
        </a:defRPr>
      </a:lvl8pPr>
      <a:lvl9pPr marL="1944000" indent="-252000" algn="l" defTabSz="914400" rtl="0" eaLnBrk="1" latinLnBrk="0" hangingPunct="1">
        <a:lnSpc>
          <a:spcPct val="110000"/>
        </a:lnSpc>
        <a:spcBef>
          <a:spcPts val="600"/>
        </a:spcBef>
        <a:buClr>
          <a:schemeClr val="tx2"/>
        </a:buClr>
        <a:buFont typeface="Wingdings" panose="05000000000000000000" pitchFamily="2" charset="2"/>
        <a:buChar char="§"/>
        <a:defRPr sz="16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319">
          <p15:clr>
            <a:srgbClr val="5ACBF0"/>
          </p15:clr>
        </p15:guide>
        <p15:guide id="3" pos="257">
          <p15:clr>
            <a:srgbClr val="5ACBF0"/>
          </p15:clr>
        </p15:guide>
        <p15:guide id="4" pos="675">
          <p15:clr>
            <a:srgbClr val="5ACBF0"/>
          </p15:clr>
        </p15:guide>
        <p15:guide id="5" pos="7038">
          <p15:clr>
            <a:srgbClr val="5ACBF0"/>
          </p15:clr>
        </p15:guide>
        <p15:guide id="6" pos="7446">
          <p15:clr>
            <a:srgbClr val="5ACBF0"/>
          </p15:clr>
        </p15:guide>
        <p15:guide id="7" orient="horz" pos="255">
          <p15:clr>
            <a:srgbClr val="5ACBF0"/>
          </p15:clr>
        </p15:guide>
        <p15:guide id="8" orient="horz" pos="663">
          <p15:clr>
            <a:srgbClr val="5ACBF0"/>
          </p15:clr>
        </p15:guide>
        <p15:guide id="9" orient="horz" pos="799">
          <p15:clr>
            <a:srgbClr val="5ACBF0"/>
          </p15:clr>
        </p15:guide>
        <p15:guide id="10" orient="horz" pos="1026">
          <p15:clr>
            <a:srgbClr val="5ACBF0"/>
          </p15:clr>
        </p15:guide>
        <p15:guide id="11" orient="horz" pos="3634">
          <p15:clr>
            <a:srgbClr val="5ACBF0"/>
          </p15:clr>
        </p15:guide>
        <p15:guide id="12" orient="horz" pos="3929">
          <p15:clr>
            <a:srgbClr val="5ACBF0"/>
          </p15:clr>
        </p15:guide>
        <p15:guide id="13" orient="horz" pos="4133">
          <p15:clr>
            <a:srgbClr val="5ACBF0"/>
          </p15:clr>
        </p15:guide>
      </p15:sldGuideLst>
    </p:ext>
  </p:extLst>
</p:sldMaster>
</file>

<file path=ppt/slideMasters/slideMaster19.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pSp>
        <p:nvGrpSpPr>
          <p:cNvPr id="13" name="logo">
            <a:extLst>
              <a:ext uri="{FF2B5EF4-FFF2-40B4-BE49-F238E27FC236}">
                <a16:creationId xmlns:a16="http://schemas.microsoft.com/office/drawing/2014/main" id="{57BD2C4C-DC67-B843-B26C-309622FC75F7}"/>
              </a:ext>
            </a:extLst>
          </p:cNvPr>
          <p:cNvGrpSpPr>
            <a:grpSpLocks noChangeAspect="1"/>
          </p:cNvGrpSpPr>
          <p:nvPr/>
        </p:nvGrpSpPr>
        <p:grpSpPr bwMode="gray">
          <a:xfrm>
            <a:off x="11174018" y="401441"/>
            <a:ext cx="644225" cy="646507"/>
            <a:chOff x="2711" y="1027"/>
            <a:chExt cx="2258" cy="2266"/>
          </a:xfrm>
        </p:grpSpPr>
        <p:sp>
          <p:nvSpPr>
            <p:cNvPr id="14" name="AutoShape 3">
              <a:extLst>
                <a:ext uri="{FF2B5EF4-FFF2-40B4-BE49-F238E27FC236}">
                  <a16:creationId xmlns:a16="http://schemas.microsoft.com/office/drawing/2014/main" id="{FE1DC41B-291E-574C-9F2C-874E70A40758}"/>
                </a:ext>
              </a:extLst>
            </p:cNvPr>
            <p:cNvSpPr>
              <a:spLocks noChangeAspect="1" noChangeArrowheads="1" noTextEdit="1"/>
            </p:cNvSpPr>
            <p:nvPr/>
          </p:nvSpPr>
          <p:spPr bwMode="gray">
            <a:xfrm>
              <a:off x="2711" y="1027"/>
              <a:ext cx="2258" cy="22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15" name="Freeform 5">
              <a:extLst>
                <a:ext uri="{FF2B5EF4-FFF2-40B4-BE49-F238E27FC236}">
                  <a16:creationId xmlns:a16="http://schemas.microsoft.com/office/drawing/2014/main" id="{D4B633C8-F761-C54B-9BD2-EB59D49A2DBC}"/>
                </a:ext>
              </a:extLst>
            </p:cNvPr>
            <p:cNvSpPr>
              <a:spLocks/>
            </p:cNvSpPr>
            <p:nvPr/>
          </p:nvSpPr>
          <p:spPr bwMode="gray">
            <a:xfrm>
              <a:off x="2709" y="1029"/>
              <a:ext cx="2260" cy="2262"/>
            </a:xfrm>
            <a:custGeom>
              <a:avLst/>
              <a:gdLst>
                <a:gd name="T0" fmla="*/ 2260 w 2260"/>
                <a:gd name="T1" fmla="*/ 0 h 2262"/>
                <a:gd name="T2" fmla="*/ 1612 w 2260"/>
                <a:gd name="T3" fmla="*/ 649 h 2262"/>
                <a:gd name="T4" fmla="*/ 1612 w 2260"/>
                <a:gd name="T5" fmla="*/ 649 h 2262"/>
                <a:gd name="T6" fmla="*/ 2035 w 2260"/>
                <a:gd name="T7" fmla="*/ 0 h 2262"/>
                <a:gd name="T8" fmla="*/ 0 w 2260"/>
                <a:gd name="T9" fmla="*/ 0 h 2262"/>
                <a:gd name="T10" fmla="*/ 0 w 2260"/>
                <a:gd name="T11" fmla="*/ 2262 h 2262"/>
                <a:gd name="T12" fmla="*/ 2260 w 2260"/>
                <a:gd name="T13" fmla="*/ 2262 h 2262"/>
                <a:gd name="T14" fmla="*/ 2260 w 2260"/>
                <a:gd name="T15" fmla="*/ 0 h 2262"/>
                <a:gd name="T16" fmla="*/ 2260 w 2260"/>
                <a:gd name="T17" fmla="*/ 0 h 2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0" h="2262">
                  <a:moveTo>
                    <a:pt x="2260" y="0"/>
                  </a:moveTo>
                  <a:lnTo>
                    <a:pt x="1612" y="649"/>
                  </a:lnTo>
                  <a:lnTo>
                    <a:pt x="1612" y="649"/>
                  </a:lnTo>
                  <a:lnTo>
                    <a:pt x="2035" y="0"/>
                  </a:lnTo>
                  <a:lnTo>
                    <a:pt x="0" y="0"/>
                  </a:lnTo>
                  <a:lnTo>
                    <a:pt x="0" y="2262"/>
                  </a:lnTo>
                  <a:lnTo>
                    <a:pt x="2260" y="2262"/>
                  </a:lnTo>
                  <a:lnTo>
                    <a:pt x="2260" y="0"/>
                  </a:lnTo>
                  <a:lnTo>
                    <a:pt x="2260" y="0"/>
                  </a:lnTo>
                  <a:close/>
                </a:path>
              </a:pathLst>
            </a:custGeom>
            <a:solidFill>
              <a:srgbClr val="E55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16" name="Freeform 6">
              <a:extLst>
                <a:ext uri="{FF2B5EF4-FFF2-40B4-BE49-F238E27FC236}">
                  <a16:creationId xmlns:a16="http://schemas.microsoft.com/office/drawing/2014/main" id="{B16BAAE4-1A41-C843-9754-490F7A1E1270}"/>
                </a:ext>
              </a:extLst>
            </p:cNvPr>
            <p:cNvSpPr>
              <a:spLocks noEditPoints="1"/>
            </p:cNvSpPr>
            <p:nvPr/>
          </p:nvSpPr>
          <p:spPr bwMode="gray">
            <a:xfrm>
              <a:off x="3623" y="1696"/>
              <a:ext cx="1167" cy="922"/>
            </a:xfrm>
            <a:custGeom>
              <a:avLst/>
              <a:gdLst>
                <a:gd name="T0" fmla="*/ 411 w 580"/>
                <a:gd name="T1" fmla="*/ 213 h 458"/>
                <a:gd name="T2" fmla="*/ 570 w 580"/>
                <a:gd name="T3" fmla="*/ 37 h 458"/>
                <a:gd name="T4" fmla="*/ 580 w 580"/>
                <a:gd name="T5" fmla="*/ 20 h 458"/>
                <a:gd name="T6" fmla="*/ 545 w 580"/>
                <a:gd name="T7" fmla="*/ 0 h 458"/>
                <a:gd name="T8" fmla="*/ 519 w 580"/>
                <a:gd name="T9" fmla="*/ 16 h 458"/>
                <a:gd name="T10" fmla="*/ 344 w 580"/>
                <a:gd name="T11" fmla="*/ 210 h 458"/>
                <a:gd name="T12" fmla="*/ 334 w 580"/>
                <a:gd name="T13" fmla="*/ 229 h 458"/>
                <a:gd name="T14" fmla="*/ 344 w 580"/>
                <a:gd name="T15" fmla="*/ 248 h 458"/>
                <a:gd name="T16" fmla="*/ 519 w 580"/>
                <a:gd name="T17" fmla="*/ 442 h 458"/>
                <a:gd name="T18" fmla="*/ 545 w 580"/>
                <a:gd name="T19" fmla="*/ 458 h 458"/>
                <a:gd name="T20" fmla="*/ 580 w 580"/>
                <a:gd name="T21" fmla="*/ 438 h 458"/>
                <a:gd name="T22" fmla="*/ 570 w 580"/>
                <a:gd name="T23" fmla="*/ 421 h 458"/>
                <a:gd name="T24" fmla="*/ 411 w 580"/>
                <a:gd name="T25" fmla="*/ 245 h 458"/>
                <a:gd name="T26" fmla="*/ 399 w 580"/>
                <a:gd name="T27" fmla="*/ 229 h 458"/>
                <a:gd name="T28" fmla="*/ 411 w 580"/>
                <a:gd name="T29" fmla="*/ 213 h 458"/>
                <a:gd name="T30" fmla="*/ 252 w 580"/>
                <a:gd name="T31" fmla="*/ 439 h 458"/>
                <a:gd name="T32" fmla="*/ 281 w 580"/>
                <a:gd name="T33" fmla="*/ 454 h 458"/>
                <a:gd name="T34" fmla="*/ 309 w 580"/>
                <a:gd name="T35" fmla="*/ 439 h 458"/>
                <a:gd name="T36" fmla="*/ 309 w 580"/>
                <a:gd name="T37" fmla="*/ 19 h 458"/>
                <a:gd name="T38" fmla="*/ 281 w 580"/>
                <a:gd name="T39" fmla="*/ 4 h 458"/>
                <a:gd name="T40" fmla="*/ 252 w 580"/>
                <a:gd name="T41" fmla="*/ 19 h 458"/>
                <a:gd name="T42" fmla="*/ 252 w 580"/>
                <a:gd name="T43" fmla="*/ 439 h 458"/>
                <a:gd name="T44" fmla="*/ 0 w 580"/>
                <a:gd name="T45" fmla="*/ 439 h 458"/>
                <a:gd name="T46" fmla="*/ 28 w 580"/>
                <a:gd name="T47" fmla="*/ 454 h 458"/>
                <a:gd name="T48" fmla="*/ 56 w 580"/>
                <a:gd name="T49" fmla="*/ 439 h 458"/>
                <a:gd name="T50" fmla="*/ 56 w 580"/>
                <a:gd name="T51" fmla="*/ 157 h 458"/>
                <a:gd name="T52" fmla="*/ 165 w 580"/>
                <a:gd name="T53" fmla="*/ 53 h 458"/>
                <a:gd name="T54" fmla="*/ 180 w 580"/>
                <a:gd name="T55" fmla="*/ 53 h 458"/>
                <a:gd name="T56" fmla="*/ 196 w 580"/>
                <a:gd name="T57" fmla="*/ 27 h 458"/>
                <a:gd name="T58" fmla="*/ 154 w 580"/>
                <a:gd name="T59" fmla="*/ 4 h 458"/>
                <a:gd name="T60" fmla="*/ 0 w 580"/>
                <a:gd name="T61" fmla="*/ 152 h 458"/>
                <a:gd name="T62" fmla="*/ 0 w 580"/>
                <a:gd name="T63" fmla="*/ 439 h 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80" h="458">
                  <a:moveTo>
                    <a:pt x="411" y="213"/>
                  </a:moveTo>
                  <a:cubicBezTo>
                    <a:pt x="570" y="37"/>
                    <a:pt x="570" y="37"/>
                    <a:pt x="570" y="37"/>
                  </a:cubicBezTo>
                  <a:cubicBezTo>
                    <a:pt x="576" y="30"/>
                    <a:pt x="580" y="25"/>
                    <a:pt x="580" y="20"/>
                  </a:cubicBezTo>
                  <a:cubicBezTo>
                    <a:pt x="580" y="10"/>
                    <a:pt x="559" y="0"/>
                    <a:pt x="545" y="0"/>
                  </a:cubicBezTo>
                  <a:cubicBezTo>
                    <a:pt x="535" y="0"/>
                    <a:pt x="526" y="8"/>
                    <a:pt x="519" y="16"/>
                  </a:cubicBezTo>
                  <a:cubicBezTo>
                    <a:pt x="344" y="210"/>
                    <a:pt x="344" y="210"/>
                    <a:pt x="344" y="210"/>
                  </a:cubicBezTo>
                  <a:cubicBezTo>
                    <a:pt x="336" y="219"/>
                    <a:pt x="334" y="224"/>
                    <a:pt x="334" y="229"/>
                  </a:cubicBezTo>
                  <a:cubicBezTo>
                    <a:pt x="334" y="234"/>
                    <a:pt x="336" y="239"/>
                    <a:pt x="344" y="248"/>
                  </a:cubicBezTo>
                  <a:cubicBezTo>
                    <a:pt x="519" y="442"/>
                    <a:pt x="519" y="442"/>
                    <a:pt x="519" y="442"/>
                  </a:cubicBezTo>
                  <a:cubicBezTo>
                    <a:pt x="526" y="450"/>
                    <a:pt x="535" y="458"/>
                    <a:pt x="545" y="458"/>
                  </a:cubicBezTo>
                  <a:cubicBezTo>
                    <a:pt x="559" y="458"/>
                    <a:pt x="580" y="448"/>
                    <a:pt x="580" y="438"/>
                  </a:cubicBezTo>
                  <a:cubicBezTo>
                    <a:pt x="580" y="433"/>
                    <a:pt x="576" y="428"/>
                    <a:pt x="570" y="421"/>
                  </a:cubicBezTo>
                  <a:cubicBezTo>
                    <a:pt x="411" y="245"/>
                    <a:pt x="411" y="245"/>
                    <a:pt x="411" y="245"/>
                  </a:cubicBezTo>
                  <a:cubicBezTo>
                    <a:pt x="403" y="236"/>
                    <a:pt x="399" y="232"/>
                    <a:pt x="399" y="229"/>
                  </a:cubicBezTo>
                  <a:cubicBezTo>
                    <a:pt x="399" y="226"/>
                    <a:pt x="403" y="222"/>
                    <a:pt x="411" y="213"/>
                  </a:cubicBezTo>
                  <a:moveTo>
                    <a:pt x="252" y="439"/>
                  </a:moveTo>
                  <a:cubicBezTo>
                    <a:pt x="252" y="449"/>
                    <a:pt x="261" y="454"/>
                    <a:pt x="281" y="454"/>
                  </a:cubicBezTo>
                  <a:cubicBezTo>
                    <a:pt x="300" y="454"/>
                    <a:pt x="309" y="449"/>
                    <a:pt x="309" y="439"/>
                  </a:cubicBezTo>
                  <a:cubicBezTo>
                    <a:pt x="309" y="19"/>
                    <a:pt x="309" y="19"/>
                    <a:pt x="309" y="19"/>
                  </a:cubicBezTo>
                  <a:cubicBezTo>
                    <a:pt x="309" y="9"/>
                    <a:pt x="300" y="4"/>
                    <a:pt x="281" y="4"/>
                  </a:cubicBezTo>
                  <a:cubicBezTo>
                    <a:pt x="261" y="4"/>
                    <a:pt x="252" y="9"/>
                    <a:pt x="252" y="19"/>
                  </a:cubicBezTo>
                  <a:lnTo>
                    <a:pt x="252" y="439"/>
                  </a:lnTo>
                  <a:close/>
                  <a:moveTo>
                    <a:pt x="0" y="439"/>
                  </a:moveTo>
                  <a:cubicBezTo>
                    <a:pt x="0" y="449"/>
                    <a:pt x="8" y="454"/>
                    <a:pt x="28" y="454"/>
                  </a:cubicBezTo>
                  <a:cubicBezTo>
                    <a:pt x="48" y="454"/>
                    <a:pt x="56" y="449"/>
                    <a:pt x="56" y="439"/>
                  </a:cubicBezTo>
                  <a:cubicBezTo>
                    <a:pt x="56" y="157"/>
                    <a:pt x="56" y="157"/>
                    <a:pt x="56" y="157"/>
                  </a:cubicBezTo>
                  <a:cubicBezTo>
                    <a:pt x="56" y="83"/>
                    <a:pt x="85" y="53"/>
                    <a:pt x="165" y="53"/>
                  </a:cubicBezTo>
                  <a:cubicBezTo>
                    <a:pt x="180" y="53"/>
                    <a:pt x="180" y="53"/>
                    <a:pt x="180" y="53"/>
                  </a:cubicBezTo>
                  <a:cubicBezTo>
                    <a:pt x="192" y="53"/>
                    <a:pt x="196" y="43"/>
                    <a:pt x="196" y="27"/>
                  </a:cubicBezTo>
                  <a:cubicBezTo>
                    <a:pt x="196" y="8"/>
                    <a:pt x="185" y="4"/>
                    <a:pt x="154" y="4"/>
                  </a:cubicBezTo>
                  <a:cubicBezTo>
                    <a:pt x="64" y="4"/>
                    <a:pt x="0" y="43"/>
                    <a:pt x="0" y="152"/>
                  </a:cubicBezTo>
                  <a:lnTo>
                    <a:pt x="0" y="43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17" name="Freeform 7">
              <a:extLst>
                <a:ext uri="{FF2B5EF4-FFF2-40B4-BE49-F238E27FC236}">
                  <a16:creationId xmlns:a16="http://schemas.microsoft.com/office/drawing/2014/main" id="{2F32DCBD-8628-F245-85CD-97686A20ECFD}"/>
                </a:ext>
              </a:extLst>
            </p:cNvPr>
            <p:cNvSpPr>
              <a:spLocks/>
            </p:cNvSpPr>
            <p:nvPr/>
          </p:nvSpPr>
          <p:spPr bwMode="gray">
            <a:xfrm>
              <a:off x="2880" y="1704"/>
              <a:ext cx="618" cy="916"/>
            </a:xfrm>
            <a:custGeom>
              <a:avLst/>
              <a:gdLst>
                <a:gd name="T0" fmla="*/ 307 w 307"/>
                <a:gd name="T1" fmla="*/ 405 h 455"/>
                <a:gd name="T2" fmla="*/ 307 w 307"/>
                <a:gd name="T3" fmla="*/ 244 h 455"/>
                <a:gd name="T4" fmla="*/ 279 w 307"/>
                <a:gd name="T5" fmla="*/ 229 h 455"/>
                <a:gd name="T6" fmla="*/ 250 w 307"/>
                <a:gd name="T7" fmla="*/ 244 h 455"/>
                <a:gd name="T8" fmla="*/ 250 w 307"/>
                <a:gd name="T9" fmla="*/ 378 h 455"/>
                <a:gd name="T10" fmla="*/ 199 w 307"/>
                <a:gd name="T11" fmla="*/ 408 h 455"/>
                <a:gd name="T12" fmla="*/ 61 w 307"/>
                <a:gd name="T13" fmla="*/ 231 h 455"/>
                <a:gd name="T14" fmla="*/ 238 w 307"/>
                <a:gd name="T15" fmla="*/ 49 h 455"/>
                <a:gd name="T16" fmla="*/ 270 w 307"/>
                <a:gd name="T17" fmla="*/ 49 h 455"/>
                <a:gd name="T18" fmla="*/ 286 w 307"/>
                <a:gd name="T19" fmla="*/ 23 h 455"/>
                <a:gd name="T20" fmla="*/ 244 w 307"/>
                <a:gd name="T21" fmla="*/ 0 h 455"/>
                <a:gd name="T22" fmla="*/ 231 w 307"/>
                <a:gd name="T23" fmla="*/ 0 h 455"/>
                <a:gd name="T24" fmla="*/ 0 w 307"/>
                <a:gd name="T25" fmla="*/ 232 h 455"/>
                <a:gd name="T26" fmla="*/ 198 w 307"/>
                <a:gd name="T27" fmla="*/ 455 h 455"/>
                <a:gd name="T28" fmla="*/ 307 w 307"/>
                <a:gd name="T29" fmla="*/ 405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7" h="455">
                  <a:moveTo>
                    <a:pt x="307" y="405"/>
                  </a:moveTo>
                  <a:cubicBezTo>
                    <a:pt x="307" y="244"/>
                    <a:pt x="307" y="244"/>
                    <a:pt x="307" y="244"/>
                  </a:cubicBezTo>
                  <a:cubicBezTo>
                    <a:pt x="307" y="234"/>
                    <a:pt x="298" y="229"/>
                    <a:pt x="279" y="229"/>
                  </a:cubicBezTo>
                  <a:cubicBezTo>
                    <a:pt x="259" y="229"/>
                    <a:pt x="250" y="234"/>
                    <a:pt x="250" y="244"/>
                  </a:cubicBezTo>
                  <a:cubicBezTo>
                    <a:pt x="250" y="378"/>
                    <a:pt x="250" y="378"/>
                    <a:pt x="250" y="378"/>
                  </a:cubicBezTo>
                  <a:cubicBezTo>
                    <a:pt x="250" y="399"/>
                    <a:pt x="241" y="408"/>
                    <a:pt x="199" y="408"/>
                  </a:cubicBezTo>
                  <a:cubicBezTo>
                    <a:pt x="114" y="408"/>
                    <a:pt x="61" y="342"/>
                    <a:pt x="61" y="231"/>
                  </a:cubicBezTo>
                  <a:cubicBezTo>
                    <a:pt x="61" y="115"/>
                    <a:pt x="126" y="49"/>
                    <a:pt x="238" y="49"/>
                  </a:cubicBezTo>
                  <a:cubicBezTo>
                    <a:pt x="270" y="49"/>
                    <a:pt x="270" y="49"/>
                    <a:pt x="270" y="49"/>
                  </a:cubicBezTo>
                  <a:cubicBezTo>
                    <a:pt x="282" y="49"/>
                    <a:pt x="286" y="39"/>
                    <a:pt x="286" y="23"/>
                  </a:cubicBezTo>
                  <a:cubicBezTo>
                    <a:pt x="286" y="4"/>
                    <a:pt x="275" y="0"/>
                    <a:pt x="244" y="0"/>
                  </a:cubicBezTo>
                  <a:cubicBezTo>
                    <a:pt x="231" y="0"/>
                    <a:pt x="231" y="0"/>
                    <a:pt x="231" y="0"/>
                  </a:cubicBezTo>
                  <a:cubicBezTo>
                    <a:pt x="101" y="0"/>
                    <a:pt x="0" y="71"/>
                    <a:pt x="0" y="232"/>
                  </a:cubicBezTo>
                  <a:cubicBezTo>
                    <a:pt x="0" y="386"/>
                    <a:pt x="88" y="455"/>
                    <a:pt x="198" y="455"/>
                  </a:cubicBezTo>
                  <a:cubicBezTo>
                    <a:pt x="286" y="455"/>
                    <a:pt x="307" y="430"/>
                    <a:pt x="307" y="40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18" name="Oval 8">
              <a:extLst>
                <a:ext uri="{FF2B5EF4-FFF2-40B4-BE49-F238E27FC236}">
                  <a16:creationId xmlns:a16="http://schemas.microsoft.com/office/drawing/2014/main" id="{60D97C11-1A3B-5449-A48D-98A3E79B3810}"/>
                </a:ext>
              </a:extLst>
            </p:cNvPr>
            <p:cNvSpPr>
              <a:spLocks noChangeArrowheads="1"/>
            </p:cNvSpPr>
            <p:nvPr/>
          </p:nvSpPr>
          <p:spPr bwMode="gray">
            <a:xfrm>
              <a:off x="3778" y="2099"/>
              <a:ext cx="122" cy="12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19" name="Freeform 9">
              <a:extLst>
                <a:ext uri="{FF2B5EF4-FFF2-40B4-BE49-F238E27FC236}">
                  <a16:creationId xmlns:a16="http://schemas.microsoft.com/office/drawing/2014/main" id="{5856770D-B8F0-244E-A05D-AED190086F10}"/>
                </a:ext>
              </a:extLst>
            </p:cNvPr>
            <p:cNvSpPr>
              <a:spLocks noEditPoints="1"/>
            </p:cNvSpPr>
            <p:nvPr/>
          </p:nvSpPr>
          <p:spPr bwMode="gray">
            <a:xfrm>
              <a:off x="3623" y="1696"/>
              <a:ext cx="1167" cy="922"/>
            </a:xfrm>
            <a:custGeom>
              <a:avLst/>
              <a:gdLst>
                <a:gd name="T0" fmla="*/ 411 w 580"/>
                <a:gd name="T1" fmla="*/ 213 h 458"/>
                <a:gd name="T2" fmla="*/ 570 w 580"/>
                <a:gd name="T3" fmla="*/ 37 h 458"/>
                <a:gd name="T4" fmla="*/ 580 w 580"/>
                <a:gd name="T5" fmla="*/ 20 h 458"/>
                <a:gd name="T6" fmla="*/ 545 w 580"/>
                <a:gd name="T7" fmla="*/ 0 h 458"/>
                <a:gd name="T8" fmla="*/ 519 w 580"/>
                <a:gd name="T9" fmla="*/ 16 h 458"/>
                <a:gd name="T10" fmla="*/ 344 w 580"/>
                <a:gd name="T11" fmla="*/ 210 h 458"/>
                <a:gd name="T12" fmla="*/ 334 w 580"/>
                <a:gd name="T13" fmla="*/ 229 h 458"/>
                <a:gd name="T14" fmla="*/ 344 w 580"/>
                <a:gd name="T15" fmla="*/ 248 h 458"/>
                <a:gd name="T16" fmla="*/ 519 w 580"/>
                <a:gd name="T17" fmla="*/ 442 h 458"/>
                <a:gd name="T18" fmla="*/ 545 w 580"/>
                <a:gd name="T19" fmla="*/ 458 h 458"/>
                <a:gd name="T20" fmla="*/ 580 w 580"/>
                <a:gd name="T21" fmla="*/ 438 h 458"/>
                <a:gd name="T22" fmla="*/ 570 w 580"/>
                <a:gd name="T23" fmla="*/ 421 h 458"/>
                <a:gd name="T24" fmla="*/ 411 w 580"/>
                <a:gd name="T25" fmla="*/ 245 h 458"/>
                <a:gd name="T26" fmla="*/ 399 w 580"/>
                <a:gd name="T27" fmla="*/ 229 h 458"/>
                <a:gd name="T28" fmla="*/ 411 w 580"/>
                <a:gd name="T29" fmla="*/ 213 h 458"/>
                <a:gd name="T30" fmla="*/ 252 w 580"/>
                <a:gd name="T31" fmla="*/ 439 h 458"/>
                <a:gd name="T32" fmla="*/ 281 w 580"/>
                <a:gd name="T33" fmla="*/ 454 h 458"/>
                <a:gd name="T34" fmla="*/ 309 w 580"/>
                <a:gd name="T35" fmla="*/ 439 h 458"/>
                <a:gd name="T36" fmla="*/ 309 w 580"/>
                <a:gd name="T37" fmla="*/ 19 h 458"/>
                <a:gd name="T38" fmla="*/ 281 w 580"/>
                <a:gd name="T39" fmla="*/ 4 h 458"/>
                <a:gd name="T40" fmla="*/ 252 w 580"/>
                <a:gd name="T41" fmla="*/ 19 h 458"/>
                <a:gd name="T42" fmla="*/ 252 w 580"/>
                <a:gd name="T43" fmla="*/ 439 h 458"/>
                <a:gd name="T44" fmla="*/ 0 w 580"/>
                <a:gd name="T45" fmla="*/ 439 h 458"/>
                <a:gd name="T46" fmla="*/ 28 w 580"/>
                <a:gd name="T47" fmla="*/ 454 h 458"/>
                <a:gd name="T48" fmla="*/ 56 w 580"/>
                <a:gd name="T49" fmla="*/ 439 h 458"/>
                <a:gd name="T50" fmla="*/ 56 w 580"/>
                <a:gd name="T51" fmla="*/ 157 h 458"/>
                <a:gd name="T52" fmla="*/ 165 w 580"/>
                <a:gd name="T53" fmla="*/ 53 h 458"/>
                <a:gd name="T54" fmla="*/ 180 w 580"/>
                <a:gd name="T55" fmla="*/ 53 h 458"/>
                <a:gd name="T56" fmla="*/ 196 w 580"/>
                <a:gd name="T57" fmla="*/ 27 h 458"/>
                <a:gd name="T58" fmla="*/ 154 w 580"/>
                <a:gd name="T59" fmla="*/ 4 h 458"/>
                <a:gd name="T60" fmla="*/ 0 w 580"/>
                <a:gd name="T61" fmla="*/ 152 h 458"/>
                <a:gd name="T62" fmla="*/ 0 w 580"/>
                <a:gd name="T63" fmla="*/ 439 h 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80" h="458">
                  <a:moveTo>
                    <a:pt x="411" y="213"/>
                  </a:moveTo>
                  <a:cubicBezTo>
                    <a:pt x="570" y="37"/>
                    <a:pt x="570" y="37"/>
                    <a:pt x="570" y="37"/>
                  </a:cubicBezTo>
                  <a:cubicBezTo>
                    <a:pt x="576" y="30"/>
                    <a:pt x="580" y="25"/>
                    <a:pt x="580" y="20"/>
                  </a:cubicBezTo>
                  <a:cubicBezTo>
                    <a:pt x="580" y="10"/>
                    <a:pt x="559" y="0"/>
                    <a:pt x="545" y="0"/>
                  </a:cubicBezTo>
                  <a:cubicBezTo>
                    <a:pt x="535" y="0"/>
                    <a:pt x="526" y="8"/>
                    <a:pt x="519" y="16"/>
                  </a:cubicBezTo>
                  <a:cubicBezTo>
                    <a:pt x="344" y="210"/>
                    <a:pt x="344" y="210"/>
                    <a:pt x="344" y="210"/>
                  </a:cubicBezTo>
                  <a:cubicBezTo>
                    <a:pt x="336" y="219"/>
                    <a:pt x="334" y="224"/>
                    <a:pt x="334" y="229"/>
                  </a:cubicBezTo>
                  <a:cubicBezTo>
                    <a:pt x="334" y="234"/>
                    <a:pt x="336" y="239"/>
                    <a:pt x="344" y="248"/>
                  </a:cubicBezTo>
                  <a:cubicBezTo>
                    <a:pt x="519" y="442"/>
                    <a:pt x="519" y="442"/>
                    <a:pt x="519" y="442"/>
                  </a:cubicBezTo>
                  <a:cubicBezTo>
                    <a:pt x="526" y="450"/>
                    <a:pt x="535" y="458"/>
                    <a:pt x="545" y="458"/>
                  </a:cubicBezTo>
                  <a:cubicBezTo>
                    <a:pt x="559" y="458"/>
                    <a:pt x="580" y="448"/>
                    <a:pt x="580" y="438"/>
                  </a:cubicBezTo>
                  <a:cubicBezTo>
                    <a:pt x="580" y="433"/>
                    <a:pt x="576" y="428"/>
                    <a:pt x="570" y="421"/>
                  </a:cubicBezTo>
                  <a:cubicBezTo>
                    <a:pt x="411" y="245"/>
                    <a:pt x="411" y="245"/>
                    <a:pt x="411" y="245"/>
                  </a:cubicBezTo>
                  <a:cubicBezTo>
                    <a:pt x="403" y="236"/>
                    <a:pt x="399" y="232"/>
                    <a:pt x="399" y="229"/>
                  </a:cubicBezTo>
                  <a:cubicBezTo>
                    <a:pt x="399" y="226"/>
                    <a:pt x="403" y="222"/>
                    <a:pt x="411" y="213"/>
                  </a:cubicBezTo>
                  <a:moveTo>
                    <a:pt x="252" y="439"/>
                  </a:moveTo>
                  <a:cubicBezTo>
                    <a:pt x="252" y="449"/>
                    <a:pt x="261" y="454"/>
                    <a:pt x="281" y="454"/>
                  </a:cubicBezTo>
                  <a:cubicBezTo>
                    <a:pt x="300" y="454"/>
                    <a:pt x="309" y="449"/>
                    <a:pt x="309" y="439"/>
                  </a:cubicBezTo>
                  <a:cubicBezTo>
                    <a:pt x="309" y="19"/>
                    <a:pt x="309" y="19"/>
                    <a:pt x="309" y="19"/>
                  </a:cubicBezTo>
                  <a:cubicBezTo>
                    <a:pt x="309" y="9"/>
                    <a:pt x="300" y="4"/>
                    <a:pt x="281" y="4"/>
                  </a:cubicBezTo>
                  <a:cubicBezTo>
                    <a:pt x="261" y="4"/>
                    <a:pt x="252" y="9"/>
                    <a:pt x="252" y="19"/>
                  </a:cubicBezTo>
                  <a:lnTo>
                    <a:pt x="252" y="439"/>
                  </a:lnTo>
                  <a:close/>
                  <a:moveTo>
                    <a:pt x="0" y="439"/>
                  </a:moveTo>
                  <a:cubicBezTo>
                    <a:pt x="0" y="449"/>
                    <a:pt x="8" y="454"/>
                    <a:pt x="28" y="454"/>
                  </a:cubicBezTo>
                  <a:cubicBezTo>
                    <a:pt x="48" y="454"/>
                    <a:pt x="56" y="449"/>
                    <a:pt x="56" y="439"/>
                  </a:cubicBezTo>
                  <a:cubicBezTo>
                    <a:pt x="56" y="157"/>
                    <a:pt x="56" y="157"/>
                    <a:pt x="56" y="157"/>
                  </a:cubicBezTo>
                  <a:cubicBezTo>
                    <a:pt x="56" y="83"/>
                    <a:pt x="85" y="53"/>
                    <a:pt x="165" y="53"/>
                  </a:cubicBezTo>
                  <a:cubicBezTo>
                    <a:pt x="180" y="53"/>
                    <a:pt x="180" y="53"/>
                    <a:pt x="180" y="53"/>
                  </a:cubicBezTo>
                  <a:cubicBezTo>
                    <a:pt x="192" y="53"/>
                    <a:pt x="196" y="43"/>
                    <a:pt x="196" y="27"/>
                  </a:cubicBezTo>
                  <a:cubicBezTo>
                    <a:pt x="196" y="8"/>
                    <a:pt x="185" y="4"/>
                    <a:pt x="154" y="4"/>
                  </a:cubicBezTo>
                  <a:cubicBezTo>
                    <a:pt x="64" y="4"/>
                    <a:pt x="0" y="43"/>
                    <a:pt x="0" y="152"/>
                  </a:cubicBezTo>
                  <a:lnTo>
                    <a:pt x="0" y="43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22" name="Freeform 10">
              <a:extLst>
                <a:ext uri="{FF2B5EF4-FFF2-40B4-BE49-F238E27FC236}">
                  <a16:creationId xmlns:a16="http://schemas.microsoft.com/office/drawing/2014/main" id="{2B91B16B-BC11-E547-8FAC-B9B8D18EA449}"/>
                </a:ext>
              </a:extLst>
            </p:cNvPr>
            <p:cNvSpPr>
              <a:spLocks/>
            </p:cNvSpPr>
            <p:nvPr/>
          </p:nvSpPr>
          <p:spPr bwMode="gray">
            <a:xfrm>
              <a:off x="2880" y="1704"/>
              <a:ext cx="618" cy="916"/>
            </a:xfrm>
            <a:custGeom>
              <a:avLst/>
              <a:gdLst>
                <a:gd name="T0" fmla="*/ 307 w 307"/>
                <a:gd name="T1" fmla="*/ 405 h 455"/>
                <a:gd name="T2" fmla="*/ 307 w 307"/>
                <a:gd name="T3" fmla="*/ 244 h 455"/>
                <a:gd name="T4" fmla="*/ 279 w 307"/>
                <a:gd name="T5" fmla="*/ 229 h 455"/>
                <a:gd name="T6" fmla="*/ 250 w 307"/>
                <a:gd name="T7" fmla="*/ 244 h 455"/>
                <a:gd name="T8" fmla="*/ 250 w 307"/>
                <a:gd name="T9" fmla="*/ 378 h 455"/>
                <a:gd name="T10" fmla="*/ 199 w 307"/>
                <a:gd name="T11" fmla="*/ 408 h 455"/>
                <a:gd name="T12" fmla="*/ 61 w 307"/>
                <a:gd name="T13" fmla="*/ 231 h 455"/>
                <a:gd name="T14" fmla="*/ 238 w 307"/>
                <a:gd name="T15" fmla="*/ 49 h 455"/>
                <a:gd name="T16" fmla="*/ 270 w 307"/>
                <a:gd name="T17" fmla="*/ 49 h 455"/>
                <a:gd name="T18" fmla="*/ 286 w 307"/>
                <a:gd name="T19" fmla="*/ 23 h 455"/>
                <a:gd name="T20" fmla="*/ 244 w 307"/>
                <a:gd name="T21" fmla="*/ 0 h 455"/>
                <a:gd name="T22" fmla="*/ 231 w 307"/>
                <a:gd name="T23" fmla="*/ 0 h 455"/>
                <a:gd name="T24" fmla="*/ 0 w 307"/>
                <a:gd name="T25" fmla="*/ 232 h 455"/>
                <a:gd name="T26" fmla="*/ 198 w 307"/>
                <a:gd name="T27" fmla="*/ 455 h 455"/>
                <a:gd name="T28" fmla="*/ 307 w 307"/>
                <a:gd name="T29" fmla="*/ 405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7" h="455">
                  <a:moveTo>
                    <a:pt x="307" y="405"/>
                  </a:moveTo>
                  <a:cubicBezTo>
                    <a:pt x="307" y="244"/>
                    <a:pt x="307" y="244"/>
                    <a:pt x="307" y="244"/>
                  </a:cubicBezTo>
                  <a:cubicBezTo>
                    <a:pt x="307" y="234"/>
                    <a:pt x="298" y="229"/>
                    <a:pt x="279" y="229"/>
                  </a:cubicBezTo>
                  <a:cubicBezTo>
                    <a:pt x="259" y="229"/>
                    <a:pt x="250" y="234"/>
                    <a:pt x="250" y="244"/>
                  </a:cubicBezTo>
                  <a:cubicBezTo>
                    <a:pt x="250" y="378"/>
                    <a:pt x="250" y="378"/>
                    <a:pt x="250" y="378"/>
                  </a:cubicBezTo>
                  <a:cubicBezTo>
                    <a:pt x="250" y="399"/>
                    <a:pt x="241" y="408"/>
                    <a:pt x="199" y="408"/>
                  </a:cubicBezTo>
                  <a:cubicBezTo>
                    <a:pt x="114" y="408"/>
                    <a:pt x="61" y="342"/>
                    <a:pt x="61" y="231"/>
                  </a:cubicBezTo>
                  <a:cubicBezTo>
                    <a:pt x="61" y="115"/>
                    <a:pt x="126" y="49"/>
                    <a:pt x="238" y="49"/>
                  </a:cubicBezTo>
                  <a:cubicBezTo>
                    <a:pt x="270" y="49"/>
                    <a:pt x="270" y="49"/>
                    <a:pt x="270" y="49"/>
                  </a:cubicBezTo>
                  <a:cubicBezTo>
                    <a:pt x="282" y="49"/>
                    <a:pt x="286" y="39"/>
                    <a:pt x="286" y="23"/>
                  </a:cubicBezTo>
                  <a:cubicBezTo>
                    <a:pt x="286" y="4"/>
                    <a:pt x="275" y="0"/>
                    <a:pt x="244" y="0"/>
                  </a:cubicBezTo>
                  <a:cubicBezTo>
                    <a:pt x="231" y="0"/>
                    <a:pt x="231" y="0"/>
                    <a:pt x="231" y="0"/>
                  </a:cubicBezTo>
                  <a:cubicBezTo>
                    <a:pt x="101" y="0"/>
                    <a:pt x="0" y="71"/>
                    <a:pt x="0" y="232"/>
                  </a:cubicBezTo>
                  <a:cubicBezTo>
                    <a:pt x="0" y="386"/>
                    <a:pt x="88" y="455"/>
                    <a:pt x="198" y="455"/>
                  </a:cubicBezTo>
                  <a:cubicBezTo>
                    <a:pt x="286" y="455"/>
                    <a:pt x="307" y="430"/>
                    <a:pt x="307" y="40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23" name="Oval 11">
              <a:extLst>
                <a:ext uri="{FF2B5EF4-FFF2-40B4-BE49-F238E27FC236}">
                  <a16:creationId xmlns:a16="http://schemas.microsoft.com/office/drawing/2014/main" id="{14F8C3C8-4888-7646-B9B4-64EB46A1DA23}"/>
                </a:ext>
              </a:extLst>
            </p:cNvPr>
            <p:cNvSpPr>
              <a:spLocks noChangeArrowheads="1"/>
            </p:cNvSpPr>
            <p:nvPr/>
          </p:nvSpPr>
          <p:spPr bwMode="gray">
            <a:xfrm>
              <a:off x="3778" y="2099"/>
              <a:ext cx="122" cy="12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24" name="Freeform 12">
              <a:extLst>
                <a:ext uri="{FF2B5EF4-FFF2-40B4-BE49-F238E27FC236}">
                  <a16:creationId xmlns:a16="http://schemas.microsoft.com/office/drawing/2014/main" id="{D79D01D1-4E3E-F34B-97D7-2D387E68746E}"/>
                </a:ext>
              </a:extLst>
            </p:cNvPr>
            <p:cNvSpPr>
              <a:spLocks/>
            </p:cNvSpPr>
            <p:nvPr/>
          </p:nvSpPr>
          <p:spPr bwMode="gray">
            <a:xfrm>
              <a:off x="4321" y="1029"/>
              <a:ext cx="648" cy="649"/>
            </a:xfrm>
            <a:custGeom>
              <a:avLst/>
              <a:gdLst>
                <a:gd name="T0" fmla="*/ 0 w 648"/>
                <a:gd name="T1" fmla="*/ 649 h 649"/>
                <a:gd name="T2" fmla="*/ 2 w 648"/>
                <a:gd name="T3" fmla="*/ 649 h 649"/>
                <a:gd name="T4" fmla="*/ 648 w 648"/>
                <a:gd name="T5" fmla="*/ 0 h 649"/>
                <a:gd name="T6" fmla="*/ 423 w 648"/>
                <a:gd name="T7" fmla="*/ 0 h 649"/>
                <a:gd name="T8" fmla="*/ 0 w 648"/>
                <a:gd name="T9" fmla="*/ 649 h 649"/>
              </a:gdLst>
              <a:ahLst/>
              <a:cxnLst>
                <a:cxn ang="0">
                  <a:pos x="T0" y="T1"/>
                </a:cxn>
                <a:cxn ang="0">
                  <a:pos x="T2" y="T3"/>
                </a:cxn>
                <a:cxn ang="0">
                  <a:pos x="T4" y="T5"/>
                </a:cxn>
                <a:cxn ang="0">
                  <a:pos x="T6" y="T7"/>
                </a:cxn>
                <a:cxn ang="0">
                  <a:pos x="T8" y="T9"/>
                </a:cxn>
              </a:cxnLst>
              <a:rect l="0" t="0" r="r" b="b"/>
              <a:pathLst>
                <a:path w="648" h="649">
                  <a:moveTo>
                    <a:pt x="0" y="649"/>
                  </a:moveTo>
                  <a:lnTo>
                    <a:pt x="2" y="649"/>
                  </a:lnTo>
                  <a:lnTo>
                    <a:pt x="648" y="0"/>
                  </a:lnTo>
                  <a:lnTo>
                    <a:pt x="423" y="0"/>
                  </a:lnTo>
                  <a:lnTo>
                    <a:pt x="0" y="64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26" name="Freeform 13">
              <a:extLst>
                <a:ext uri="{FF2B5EF4-FFF2-40B4-BE49-F238E27FC236}">
                  <a16:creationId xmlns:a16="http://schemas.microsoft.com/office/drawing/2014/main" id="{46549898-6C52-B147-A8F6-A73FDBE6163B}"/>
                </a:ext>
              </a:extLst>
            </p:cNvPr>
            <p:cNvSpPr>
              <a:spLocks/>
            </p:cNvSpPr>
            <p:nvPr/>
          </p:nvSpPr>
          <p:spPr bwMode="gray">
            <a:xfrm>
              <a:off x="4321" y="1029"/>
              <a:ext cx="648" cy="649"/>
            </a:xfrm>
            <a:custGeom>
              <a:avLst/>
              <a:gdLst>
                <a:gd name="T0" fmla="*/ 0 w 648"/>
                <a:gd name="T1" fmla="*/ 649 h 649"/>
                <a:gd name="T2" fmla="*/ 2 w 648"/>
                <a:gd name="T3" fmla="*/ 649 h 649"/>
                <a:gd name="T4" fmla="*/ 648 w 648"/>
                <a:gd name="T5" fmla="*/ 0 h 649"/>
                <a:gd name="T6" fmla="*/ 423 w 648"/>
                <a:gd name="T7" fmla="*/ 0 h 649"/>
                <a:gd name="T8" fmla="*/ 0 w 648"/>
                <a:gd name="T9" fmla="*/ 649 h 649"/>
              </a:gdLst>
              <a:ahLst/>
              <a:cxnLst>
                <a:cxn ang="0">
                  <a:pos x="T0" y="T1"/>
                </a:cxn>
                <a:cxn ang="0">
                  <a:pos x="T2" y="T3"/>
                </a:cxn>
                <a:cxn ang="0">
                  <a:pos x="T4" y="T5"/>
                </a:cxn>
                <a:cxn ang="0">
                  <a:pos x="T6" y="T7"/>
                </a:cxn>
                <a:cxn ang="0">
                  <a:pos x="T8" y="T9"/>
                </a:cxn>
              </a:cxnLst>
              <a:rect l="0" t="0" r="r" b="b"/>
              <a:pathLst>
                <a:path w="648" h="649">
                  <a:moveTo>
                    <a:pt x="0" y="649"/>
                  </a:moveTo>
                  <a:lnTo>
                    <a:pt x="2" y="649"/>
                  </a:lnTo>
                  <a:lnTo>
                    <a:pt x="648" y="0"/>
                  </a:lnTo>
                  <a:lnTo>
                    <a:pt x="423" y="0"/>
                  </a:lnTo>
                  <a:lnTo>
                    <a:pt x="0" y="64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grpSp>
      <p:sp>
        <p:nvSpPr>
          <p:cNvPr id="7" name="copyright"/>
          <p:cNvSpPr txBox="1"/>
          <p:nvPr/>
        </p:nvSpPr>
        <p:spPr>
          <a:xfrm>
            <a:off x="10672209" y="6461671"/>
            <a:ext cx="500617" cy="133790"/>
          </a:xfrm>
          <a:prstGeom prst="rect">
            <a:avLst/>
          </a:prstGeom>
          <a:noFill/>
        </p:spPr>
        <p:txBody>
          <a:bodyPr wrap="none" lIns="0" tIns="0" rIns="0" bIns="0" rtlCol="0" anchor="b" anchorCtr="0">
            <a:noAutofit/>
          </a:bodyPr>
          <a:lstStyle/>
          <a:p>
            <a:pPr marL="0" indent="0" algn="r">
              <a:lnSpc>
                <a:spcPct val="125000"/>
              </a:lnSpc>
              <a:buClr>
                <a:schemeClr val="tx2"/>
              </a:buClr>
              <a:buFont typeface="Wingdings" panose="05000000000000000000" pitchFamily="2" charset="2"/>
              <a:buNone/>
            </a:pPr>
            <a:r>
              <a:rPr lang="en-US" sz="800"/>
              <a:t>© GfK</a:t>
            </a:r>
          </a:p>
        </p:txBody>
      </p:sp>
      <p:sp>
        <p:nvSpPr>
          <p:cNvPr id="28" name="Date Placeholder 27"/>
          <p:cNvSpPr>
            <a:spLocks noGrp="1"/>
          </p:cNvSpPr>
          <p:nvPr>
            <p:ph type="dt" sz="half" idx="2"/>
          </p:nvPr>
        </p:nvSpPr>
        <p:spPr>
          <a:xfrm>
            <a:off x="192088" y="6461671"/>
            <a:ext cx="761512" cy="133790"/>
          </a:xfrm>
          <a:prstGeom prst="rect">
            <a:avLst/>
          </a:prstGeom>
        </p:spPr>
        <p:txBody>
          <a:bodyPr vert="horz" wrap="none" lIns="0" tIns="0" rIns="0" bIns="0" rtlCol="0" anchor="b" anchorCtr="0"/>
          <a:lstStyle>
            <a:lvl1pPr algn="r">
              <a:defRPr sz="800">
                <a:solidFill>
                  <a:schemeClr val="tx1"/>
                </a:solidFill>
              </a:defRPr>
            </a:lvl1pPr>
          </a:lstStyle>
          <a:p>
            <a:fld id="{85245AC6-241B-4B56-BD95-BEEA95A36893}" type="datetime5">
              <a:rPr lang="en-US" smtClean="0"/>
              <a:t>26-Jun-20</a:t>
            </a:fld>
            <a:endParaRPr lang="en-US"/>
          </a:p>
        </p:txBody>
      </p:sp>
      <p:sp>
        <p:nvSpPr>
          <p:cNvPr id="29" name="Footer Placeholder 28"/>
          <p:cNvSpPr>
            <a:spLocks noGrp="1"/>
          </p:cNvSpPr>
          <p:nvPr>
            <p:ph type="ftr" sz="quarter" idx="3"/>
          </p:nvPr>
        </p:nvSpPr>
        <p:spPr>
          <a:xfrm>
            <a:off x="1076400" y="6461671"/>
            <a:ext cx="8162717" cy="133790"/>
          </a:xfrm>
          <a:prstGeom prst="rect">
            <a:avLst/>
          </a:prstGeom>
        </p:spPr>
        <p:txBody>
          <a:bodyPr vert="horz" lIns="0" tIns="0" rIns="0" bIns="0" rtlCol="0" anchor="b" anchorCtr="0"/>
          <a:lstStyle>
            <a:lvl1pPr marL="144000" indent="-144000" algn="l">
              <a:buClr>
                <a:schemeClr val="tx2"/>
              </a:buClr>
              <a:buFont typeface="Wingdings" panose="05000000000000000000" pitchFamily="2" charset="2"/>
              <a:buChar char="§"/>
              <a:defRPr sz="800">
                <a:solidFill>
                  <a:schemeClr val="tx1"/>
                </a:solidFill>
              </a:defRPr>
            </a:lvl1pPr>
          </a:lstStyle>
          <a:p>
            <a:r>
              <a:rPr lang="en-US"/>
              <a:t>Title of presentation (Insert / Header &amp; Footer / Apply to All)</a:t>
            </a:r>
          </a:p>
        </p:txBody>
      </p:sp>
      <p:sp>
        <p:nvSpPr>
          <p:cNvPr id="30" name="Slide Number Placeholder 29"/>
          <p:cNvSpPr>
            <a:spLocks noGrp="1"/>
          </p:cNvSpPr>
          <p:nvPr>
            <p:ph type="sldNum" sz="quarter" idx="4"/>
          </p:nvPr>
        </p:nvSpPr>
        <p:spPr>
          <a:xfrm>
            <a:off x="11186669" y="6461671"/>
            <a:ext cx="648000" cy="133790"/>
          </a:xfrm>
          <a:prstGeom prst="rect">
            <a:avLst/>
          </a:prstGeom>
        </p:spPr>
        <p:txBody>
          <a:bodyPr vert="horz" lIns="0" tIns="0" rIns="0" bIns="0" rtlCol="0" anchor="b" anchorCtr="0"/>
          <a:lstStyle>
            <a:lvl1pPr algn="r">
              <a:defRPr sz="800">
                <a:solidFill>
                  <a:schemeClr val="tx1"/>
                </a:solidFill>
              </a:defRPr>
            </a:lvl1pPr>
          </a:lstStyle>
          <a:p>
            <a:fld id="{5F3E29E4-0979-4FCA-B4C5-5FC6044C982A}" type="slidenum">
              <a:rPr lang="en-US" smtClean="0"/>
              <a:pPr/>
              <a:t>‹#›</a:t>
            </a:fld>
            <a:endParaRPr lang="en-US"/>
          </a:p>
        </p:txBody>
      </p:sp>
      <p:sp>
        <p:nvSpPr>
          <p:cNvPr id="2" name="Title Placeholder 1"/>
          <p:cNvSpPr>
            <a:spLocks noGrp="1"/>
          </p:cNvSpPr>
          <p:nvPr>
            <p:ph type="title"/>
          </p:nvPr>
        </p:nvSpPr>
        <p:spPr>
          <a:xfrm>
            <a:off x="1075061" y="288922"/>
            <a:ext cx="7910158" cy="648000"/>
          </a:xfrm>
          <a:prstGeom prst="rect">
            <a:avLst/>
          </a:prstGeom>
        </p:spPr>
        <p:txBody>
          <a:bodyPr vert="horz" lIns="0" tIns="0" rIns="0" bIns="0" rtlCol="0" anchor="t">
            <a:noAutofit/>
          </a:bodyPr>
          <a:lstStyle/>
          <a:p>
            <a:r>
              <a:rPr lang="ru-RU"/>
              <a:t>Образец заголовка</a:t>
            </a:r>
            <a:endParaRPr lang="en-US"/>
          </a:p>
        </p:txBody>
      </p:sp>
      <p:sp>
        <p:nvSpPr>
          <p:cNvPr id="3" name="Text Placeholder 2"/>
          <p:cNvSpPr>
            <a:spLocks noGrp="1"/>
          </p:cNvSpPr>
          <p:nvPr>
            <p:ph type="body" idx="1"/>
          </p:nvPr>
        </p:nvSpPr>
        <p:spPr>
          <a:xfrm>
            <a:off x="1075062" y="1629618"/>
            <a:ext cx="10097764" cy="4139357"/>
          </a:xfrm>
          <a:prstGeom prst="rect">
            <a:avLst/>
          </a:prstGeom>
        </p:spPr>
        <p:txBody>
          <a:bodyPr vert="horz" lIns="0" tIns="0" rIns="0" bIns="0" rtlCol="0">
            <a:noAutofit/>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endParaRPr lang="en-US"/>
          </a:p>
        </p:txBody>
      </p:sp>
    </p:spTree>
    <p:extLst>
      <p:ext uri="{BB962C8B-B14F-4D97-AF65-F5344CB8AC3E}">
        <p14:creationId xmlns:p14="http://schemas.microsoft.com/office/powerpoint/2010/main" val="1812368239"/>
      </p:ext>
    </p:extLst>
  </p:cSld>
  <p:clrMap bg1="lt1" tx1="dk1" bg2="lt2" tx2="dk2" accent1="accent1" accent2="accent2" accent3="accent3" accent4="accent4" accent5="accent5" accent6="accent6" hlink="hlink" folHlink="folHlink"/>
  <p:sldLayoutIdLst>
    <p:sldLayoutId id="2147484999" r:id="rId1"/>
    <p:sldLayoutId id="2147485000" r:id="rId2"/>
    <p:sldLayoutId id="2147485001" r:id="rId3"/>
    <p:sldLayoutId id="2147485002" r:id="rId4"/>
    <p:sldLayoutId id="2147485003" r:id="rId5"/>
    <p:sldLayoutId id="2147485004" r:id="rId6"/>
    <p:sldLayoutId id="2147485005" r:id="rId7"/>
    <p:sldLayoutId id="2147485006" r:id="rId8"/>
    <p:sldLayoutId id="2147485007" r:id="rId9"/>
    <p:sldLayoutId id="2147485008" r:id="rId10"/>
    <p:sldLayoutId id="2147485009" r:id="rId11"/>
    <p:sldLayoutId id="2147485010" r:id="rId12"/>
    <p:sldLayoutId id="2147485011" r:id="rId13"/>
    <p:sldLayoutId id="2147485012" r:id="rId14"/>
    <p:sldLayoutId id="2147485013" r:id="rId15"/>
    <p:sldLayoutId id="2147485014" r:id="rId16"/>
    <p:sldLayoutId id="2147485015" r:id="rId17"/>
    <p:sldLayoutId id="2147485016" r:id="rId18"/>
    <p:sldLayoutId id="2147485017" r:id="rId19"/>
    <p:sldLayoutId id="2147485018" r:id="rId20"/>
    <p:sldLayoutId id="2147485019" r:id="rId21"/>
    <p:sldLayoutId id="2147485020" r:id="rId22"/>
    <p:sldLayoutId id="2147485021" r:id="rId23"/>
    <p:sldLayoutId id="2147485022" r:id="rId24"/>
    <p:sldLayoutId id="2147485023" r:id="rId25"/>
    <p:sldLayoutId id="2147485024" r:id="rId26"/>
    <p:sldLayoutId id="2147485025" r:id="rId27"/>
    <p:sldLayoutId id="2147485026" r:id="rId28"/>
    <p:sldLayoutId id="2147485027" r:id="rId29"/>
    <p:sldLayoutId id="2147485028" r:id="rId30"/>
    <p:sldLayoutId id="2147485029" r:id="rId31"/>
    <p:sldLayoutId id="2147485030" r:id="rId32"/>
    <p:sldLayoutId id="2147485031" r:id="rId33"/>
    <p:sldLayoutId id="2147485032" r:id="rId34"/>
    <p:sldLayoutId id="2147485033" r:id="rId35"/>
  </p:sldLayoutIdLst>
  <p:hf hdr="0"/>
  <p:txStyles>
    <p:titleStyle>
      <a:lvl1pPr algn="l" defTabSz="914400" rtl="0" eaLnBrk="1" latinLnBrk="0" hangingPunct="1">
        <a:lnSpc>
          <a:spcPct val="100000"/>
        </a:lnSpc>
        <a:spcBef>
          <a:spcPct val="0"/>
        </a:spcBef>
        <a:buNone/>
        <a:defRPr sz="3600" kern="1200">
          <a:solidFill>
            <a:schemeClr val="tx1"/>
          </a:solidFill>
          <a:latin typeface="+mj-lt"/>
          <a:ea typeface="+mj-ea"/>
          <a:cs typeface="+mj-cs"/>
        </a:defRPr>
      </a:lvl1pPr>
    </p:titleStyle>
    <p:bodyStyle>
      <a:lvl1pPr marL="252000" indent="-252000" algn="l" defTabSz="914400" rtl="0" eaLnBrk="1" latinLnBrk="0" hangingPunct="1">
        <a:lnSpc>
          <a:spcPct val="110000"/>
        </a:lnSpc>
        <a:spcBef>
          <a:spcPts val="1000"/>
        </a:spcBef>
        <a:buClr>
          <a:schemeClr val="tx2"/>
        </a:buClr>
        <a:buFont typeface="Wingdings" panose="05000000000000000000" pitchFamily="2" charset="2"/>
        <a:buChar char="§"/>
        <a:defRPr sz="2800" kern="1200">
          <a:solidFill>
            <a:schemeClr val="tx1"/>
          </a:solidFill>
          <a:latin typeface="+mn-lt"/>
          <a:ea typeface="+mn-ea"/>
          <a:cs typeface="+mn-cs"/>
        </a:defRPr>
      </a:lvl1pPr>
      <a:lvl2pPr marL="648000" indent="-252000" algn="l" defTabSz="914400" rtl="0" eaLnBrk="1" latinLnBrk="0" hangingPunct="1">
        <a:lnSpc>
          <a:spcPct val="110000"/>
        </a:lnSpc>
        <a:spcBef>
          <a:spcPts val="600"/>
        </a:spcBef>
        <a:buClr>
          <a:schemeClr val="tx2"/>
        </a:buClr>
        <a:buFont typeface="Wingdings" panose="05000000000000000000" pitchFamily="2" charset="2"/>
        <a:buChar char="§"/>
        <a:defRPr sz="2400" kern="1200">
          <a:solidFill>
            <a:schemeClr val="tx1"/>
          </a:solidFill>
          <a:latin typeface="+mn-lt"/>
          <a:ea typeface="+mn-ea"/>
          <a:cs typeface="+mn-cs"/>
        </a:defRPr>
      </a:lvl2pPr>
      <a:lvl3pPr marL="1080000" indent="-252000" algn="l" defTabSz="914400" rtl="0" eaLnBrk="1" latinLnBrk="0" hangingPunct="1">
        <a:lnSpc>
          <a:spcPct val="110000"/>
        </a:lnSpc>
        <a:spcBef>
          <a:spcPts val="600"/>
        </a:spcBef>
        <a:buClr>
          <a:schemeClr val="tx2"/>
        </a:buClr>
        <a:buFont typeface="Wingdings" panose="05000000000000000000" pitchFamily="2" charset="2"/>
        <a:buChar char="§"/>
        <a:defRPr sz="2000" kern="1200">
          <a:solidFill>
            <a:schemeClr val="tx1"/>
          </a:solidFill>
          <a:latin typeface="+mn-lt"/>
          <a:ea typeface="+mn-ea"/>
          <a:cs typeface="+mn-cs"/>
        </a:defRPr>
      </a:lvl3pPr>
      <a:lvl4pPr marL="0" indent="0" algn="l" defTabSz="914400" rtl="0" eaLnBrk="1" latinLnBrk="0" hangingPunct="1">
        <a:lnSpc>
          <a:spcPct val="110000"/>
        </a:lnSpc>
        <a:spcBef>
          <a:spcPts val="600"/>
        </a:spcBef>
        <a:buClr>
          <a:schemeClr val="tx2"/>
        </a:buClr>
        <a:buFont typeface="Lato" panose="020F0502020204030203" pitchFamily="34" charset="0"/>
        <a:buChar char="​"/>
        <a:defRPr sz="1600" kern="1200">
          <a:solidFill>
            <a:schemeClr val="tx1"/>
          </a:solidFill>
          <a:latin typeface="+mn-lt"/>
          <a:ea typeface="+mn-ea"/>
          <a:cs typeface="+mn-cs"/>
        </a:defRPr>
      </a:lvl4pPr>
      <a:lvl5pPr marL="252000" indent="-252000" algn="l" defTabSz="914400" rtl="0" eaLnBrk="1" latinLnBrk="0" hangingPunct="1">
        <a:lnSpc>
          <a:spcPct val="110000"/>
        </a:lnSpc>
        <a:spcBef>
          <a:spcPts val="600"/>
        </a:spcBef>
        <a:buClr>
          <a:schemeClr val="tx2"/>
        </a:buClr>
        <a:buFont typeface="Wingdings" panose="05000000000000000000" pitchFamily="2" charset="2"/>
        <a:buChar char="§"/>
        <a:defRPr sz="1600" kern="1200">
          <a:solidFill>
            <a:schemeClr val="tx1"/>
          </a:solidFill>
          <a:latin typeface="+mn-lt"/>
          <a:ea typeface="+mn-ea"/>
          <a:cs typeface="+mn-cs"/>
        </a:defRPr>
      </a:lvl5pPr>
      <a:lvl6pPr marL="648000" indent="-252000" algn="l" defTabSz="914400" rtl="0" eaLnBrk="1" latinLnBrk="0" hangingPunct="1">
        <a:lnSpc>
          <a:spcPct val="110000"/>
        </a:lnSpc>
        <a:spcBef>
          <a:spcPts val="600"/>
        </a:spcBef>
        <a:buClr>
          <a:schemeClr val="tx2"/>
        </a:buClr>
        <a:buFont typeface="Wingdings" panose="05000000000000000000" pitchFamily="2" charset="2"/>
        <a:buChar char="§"/>
        <a:defRPr sz="1600" kern="1200">
          <a:solidFill>
            <a:schemeClr val="tx1"/>
          </a:solidFill>
          <a:latin typeface="+mn-lt"/>
          <a:ea typeface="+mn-ea"/>
          <a:cs typeface="+mn-cs"/>
        </a:defRPr>
      </a:lvl6pPr>
      <a:lvl7pPr marL="1080000" indent="-252000" algn="l" defTabSz="914400" rtl="0" eaLnBrk="1" latinLnBrk="0" hangingPunct="1">
        <a:lnSpc>
          <a:spcPct val="110000"/>
        </a:lnSpc>
        <a:spcBef>
          <a:spcPts val="600"/>
        </a:spcBef>
        <a:buClr>
          <a:schemeClr val="tx2"/>
        </a:buClr>
        <a:buFont typeface="Wingdings" panose="05000000000000000000" pitchFamily="2" charset="2"/>
        <a:buChar char="§"/>
        <a:defRPr sz="1600" kern="1200">
          <a:solidFill>
            <a:schemeClr val="tx1"/>
          </a:solidFill>
          <a:latin typeface="+mn-lt"/>
          <a:ea typeface="+mn-ea"/>
          <a:cs typeface="+mn-cs"/>
        </a:defRPr>
      </a:lvl7pPr>
      <a:lvl8pPr marL="1512000" indent="-252000" algn="l" defTabSz="914400" rtl="0" eaLnBrk="1" latinLnBrk="0" hangingPunct="1">
        <a:lnSpc>
          <a:spcPct val="110000"/>
        </a:lnSpc>
        <a:spcBef>
          <a:spcPts val="600"/>
        </a:spcBef>
        <a:buClr>
          <a:schemeClr val="tx2"/>
        </a:buClr>
        <a:buFont typeface="Wingdings" panose="05000000000000000000" pitchFamily="2" charset="2"/>
        <a:buChar char="§"/>
        <a:defRPr sz="1600" kern="1200">
          <a:solidFill>
            <a:schemeClr val="tx1"/>
          </a:solidFill>
          <a:latin typeface="+mn-lt"/>
          <a:ea typeface="+mn-ea"/>
          <a:cs typeface="+mn-cs"/>
        </a:defRPr>
      </a:lvl8pPr>
      <a:lvl9pPr marL="1944000" indent="-252000" algn="l" defTabSz="914400" rtl="0" eaLnBrk="1" latinLnBrk="0" hangingPunct="1">
        <a:lnSpc>
          <a:spcPct val="110000"/>
        </a:lnSpc>
        <a:spcBef>
          <a:spcPts val="600"/>
        </a:spcBef>
        <a:buClr>
          <a:schemeClr val="tx2"/>
        </a:buClr>
        <a:buFont typeface="Wingdings" panose="05000000000000000000" pitchFamily="2" charset="2"/>
        <a:buChar char="§"/>
        <a:defRPr sz="16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319">
          <p15:clr>
            <a:srgbClr val="5ACBF0"/>
          </p15:clr>
        </p15:guide>
        <p15:guide id="3" pos="257">
          <p15:clr>
            <a:srgbClr val="5ACBF0"/>
          </p15:clr>
        </p15:guide>
        <p15:guide id="4" pos="675">
          <p15:clr>
            <a:srgbClr val="5ACBF0"/>
          </p15:clr>
        </p15:guide>
        <p15:guide id="5" pos="7038">
          <p15:clr>
            <a:srgbClr val="5ACBF0"/>
          </p15:clr>
        </p15:guide>
        <p15:guide id="6" pos="7446">
          <p15:clr>
            <a:srgbClr val="5ACBF0"/>
          </p15:clr>
        </p15:guide>
        <p15:guide id="7" orient="horz" pos="255">
          <p15:clr>
            <a:srgbClr val="5ACBF0"/>
          </p15:clr>
        </p15:guide>
        <p15:guide id="8" orient="horz" pos="663">
          <p15:clr>
            <a:srgbClr val="5ACBF0"/>
          </p15:clr>
        </p15:guide>
        <p15:guide id="9" orient="horz" pos="799">
          <p15:clr>
            <a:srgbClr val="5ACBF0"/>
          </p15:clr>
        </p15:guide>
        <p15:guide id="10" orient="horz" pos="1026">
          <p15:clr>
            <a:srgbClr val="5ACBF0"/>
          </p15:clr>
        </p15:guide>
        <p15:guide id="11" orient="horz" pos="3634">
          <p15:clr>
            <a:srgbClr val="5ACBF0"/>
          </p15:clr>
        </p15:guide>
        <p15:guide id="12" orient="horz" pos="3929">
          <p15:clr>
            <a:srgbClr val="5ACBF0"/>
          </p15:clr>
        </p15:guide>
        <p15:guide id="13" orient="horz" pos="4133">
          <p15:clr>
            <a:srgbClr val="5ACBF0"/>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5"/>
            </p:custDataLst>
            <p:extLst>
              <p:ext uri="{D42A27DB-BD31-4B8C-83A1-F6EECF244321}">
                <p14:modId xmlns:p14="http://schemas.microsoft.com/office/powerpoint/2010/main" val="3876647522"/>
              </p:ext>
            </p:ext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spid="_x0000_s59462" name="think-cell Slide" r:id="rId28" imgW="353" imgH="353" progId="TCLayout.ActiveDocument.1">
                  <p:embed/>
                </p:oleObj>
              </mc:Choice>
              <mc:Fallback>
                <p:oleObj name="think-cell Slide" r:id="rId28" imgW="353" imgH="353" progId="TCLayout.ActiveDocument.1">
                  <p:embed/>
                  <p:pic>
                    <p:nvPicPr>
                      <p:cNvPr id="5" name="Object 4" hidden="1"/>
                      <p:cNvPicPr/>
                      <p:nvPr/>
                    </p:nvPicPr>
                    <p:blipFill>
                      <a:blip r:embed="rId29"/>
                      <a:stretch>
                        <a:fillRect/>
                      </a:stretch>
                    </p:blipFill>
                    <p:spPr>
                      <a:xfrm>
                        <a:off x="2118" y="2118"/>
                        <a:ext cx="2116" cy="2116"/>
                      </a:xfrm>
                      <a:prstGeom prst="rect">
                        <a:avLst/>
                      </a:prstGeom>
                    </p:spPr>
                  </p:pic>
                </p:oleObj>
              </mc:Fallback>
            </mc:AlternateContent>
          </a:graphicData>
        </a:graphic>
      </p:graphicFrame>
      <p:sp>
        <p:nvSpPr>
          <p:cNvPr id="2" name="Title Placeholder 1"/>
          <p:cNvSpPr>
            <a:spLocks noGrp="1"/>
          </p:cNvSpPr>
          <p:nvPr>
            <p:ph type="title"/>
          </p:nvPr>
        </p:nvSpPr>
        <p:spPr bwMode="gray">
          <a:xfrm>
            <a:off x="431216" y="260560"/>
            <a:ext cx="8545185" cy="768107"/>
          </a:xfrm>
          <a:prstGeom prst="rect">
            <a:avLst/>
          </a:prstGeom>
        </p:spPr>
        <p:txBody>
          <a:bodyPr vert="horz" lIns="0" tIns="0" rIns="0" bIns="0" rtlCol="0" anchor="b" anchorCtr="0">
            <a:noAutofit/>
          </a:bodyPr>
          <a:lstStyle/>
          <a:p>
            <a:r>
              <a:rPr lang="en-US"/>
              <a:t>Click to add headline</a:t>
            </a:r>
            <a:endParaRPr lang="en-US" noProof="0"/>
          </a:p>
        </p:txBody>
      </p:sp>
      <p:sp>
        <p:nvSpPr>
          <p:cNvPr id="3" name="Text Placeholder 2"/>
          <p:cNvSpPr>
            <a:spLocks noGrp="1"/>
          </p:cNvSpPr>
          <p:nvPr>
            <p:ph type="body" idx="1"/>
            <p:custDataLst>
              <p:tags r:id="rId26"/>
            </p:custDataLst>
          </p:nvPr>
        </p:nvSpPr>
        <p:spPr bwMode="gray">
          <a:xfrm>
            <a:off x="431214" y="1220695"/>
            <a:ext cx="11329573" cy="5088707"/>
          </a:xfrm>
          <a:prstGeom prst="rect">
            <a:avLst/>
          </a:prstGeom>
        </p:spPr>
        <p:txBody>
          <a:bodyPr vert="horz" lIns="0" tIns="18000" rIns="0" bIns="0" rtlCol="0" anchor="t" anchorCtr="0">
            <a:noAutofit/>
          </a:bodyPr>
          <a:lstStyle/>
          <a:p>
            <a:pPr lvl="0"/>
            <a:r>
              <a:rPr lang="en-US" noProof="0"/>
              <a:t>Click to add text</a:t>
            </a:r>
          </a:p>
          <a:p>
            <a:pPr lvl="1"/>
            <a:r>
              <a:rPr lang="en-US" noProof="0"/>
              <a:t>Second level</a:t>
            </a:r>
          </a:p>
          <a:p>
            <a:pPr lvl="2"/>
            <a:r>
              <a:rPr lang="en-US" noProof="0"/>
              <a:t>Third level</a:t>
            </a:r>
          </a:p>
          <a:p>
            <a:pPr lvl="3"/>
            <a:r>
              <a:rPr lang="en-US" noProof="0"/>
              <a:t>Fourth level</a:t>
            </a:r>
          </a:p>
          <a:p>
            <a:pPr lvl="4"/>
            <a:r>
              <a:rPr lang="en-US" noProof="0"/>
              <a:t>Fifth level</a:t>
            </a:r>
          </a:p>
          <a:p>
            <a:pPr lvl="5"/>
            <a:r>
              <a:rPr lang="en-US" noProof="0"/>
              <a:t>Sixth level</a:t>
            </a:r>
          </a:p>
          <a:p>
            <a:pPr lvl="6"/>
            <a:r>
              <a:rPr lang="en-US" noProof="0"/>
              <a:t>Seventh level</a:t>
            </a:r>
          </a:p>
          <a:p>
            <a:pPr lvl="6"/>
            <a:r>
              <a:rPr lang="en-US" noProof="0"/>
              <a:t>Eighth level</a:t>
            </a:r>
          </a:p>
          <a:p>
            <a:pPr lvl="8"/>
            <a:r>
              <a:rPr lang="en-US" noProof="0"/>
              <a:t>Ninth level</a:t>
            </a:r>
          </a:p>
        </p:txBody>
      </p:sp>
      <p:grpSp>
        <p:nvGrpSpPr>
          <p:cNvPr id="15" name="Gruppieren 14"/>
          <p:cNvGrpSpPr/>
          <p:nvPr userDrawn="1"/>
        </p:nvGrpSpPr>
        <p:grpSpPr bwMode="gray">
          <a:xfrm>
            <a:off x="431800" y="-420693"/>
            <a:ext cx="11328987" cy="288040"/>
            <a:chOff x="323850" y="-531550"/>
            <a:chExt cx="8496740" cy="432060"/>
          </a:xfrm>
        </p:grpSpPr>
        <p:cxnSp>
          <p:nvCxnSpPr>
            <p:cNvPr id="16" name="Gerade Verbindung 15"/>
            <p:cNvCxnSpPr/>
            <p:nvPr userDrawn="1"/>
          </p:nvCxnSpPr>
          <p:spPr bwMode="gray">
            <a:xfrm rot="5400000">
              <a:off x="10782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 name="Gerade Verbindung 16"/>
            <p:cNvCxnSpPr/>
            <p:nvPr userDrawn="1"/>
          </p:nvCxnSpPr>
          <p:spPr bwMode="gray">
            <a:xfrm rot="5400000">
              <a:off x="14035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 name="Gerade Verbindung 17"/>
            <p:cNvCxnSpPr/>
            <p:nvPr userDrawn="1"/>
          </p:nvCxnSpPr>
          <p:spPr bwMode="gray">
            <a:xfrm rot="5400000">
              <a:off x="154758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Gerade Verbindung 18"/>
            <p:cNvCxnSpPr/>
            <p:nvPr userDrawn="1"/>
          </p:nvCxnSpPr>
          <p:spPr bwMode="gray">
            <a:xfrm rot="5400000">
              <a:off x="28437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 name="Gerade Verbindung 19"/>
            <p:cNvCxnSpPr/>
            <p:nvPr userDrawn="1"/>
          </p:nvCxnSpPr>
          <p:spPr bwMode="gray">
            <a:xfrm rot="5400000">
              <a:off x="298778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 name="Gerade Verbindung 20"/>
            <p:cNvCxnSpPr/>
            <p:nvPr userDrawn="1"/>
          </p:nvCxnSpPr>
          <p:spPr bwMode="gray">
            <a:xfrm rot="5400000">
              <a:off x="42839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2" name="Gerade Verbindung 21"/>
            <p:cNvCxnSpPr/>
            <p:nvPr userDrawn="1"/>
          </p:nvCxnSpPr>
          <p:spPr bwMode="gray">
            <a:xfrm rot="5400000">
              <a:off x="442798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 name="Gerade Verbindung 22"/>
            <p:cNvCxnSpPr/>
            <p:nvPr userDrawn="1"/>
          </p:nvCxnSpPr>
          <p:spPr bwMode="gray">
            <a:xfrm rot="5400000">
              <a:off x="57241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 name="Gerade Verbindung 23"/>
            <p:cNvCxnSpPr/>
            <p:nvPr userDrawn="1"/>
          </p:nvCxnSpPr>
          <p:spPr bwMode="gray">
            <a:xfrm rot="5400000">
              <a:off x="586818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 name="Gerade Verbindung 24"/>
            <p:cNvCxnSpPr/>
            <p:nvPr userDrawn="1"/>
          </p:nvCxnSpPr>
          <p:spPr bwMode="gray">
            <a:xfrm rot="5400000">
              <a:off x="71643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 name="Gerade Verbindung 25"/>
            <p:cNvCxnSpPr/>
            <p:nvPr userDrawn="1"/>
          </p:nvCxnSpPr>
          <p:spPr bwMode="gray">
            <a:xfrm rot="5400000">
              <a:off x="730838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7" name="Gerade Verbindung 26"/>
            <p:cNvCxnSpPr/>
            <p:nvPr userDrawn="1"/>
          </p:nvCxnSpPr>
          <p:spPr bwMode="gray">
            <a:xfrm rot="5400000">
              <a:off x="86045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28" name="Gruppieren 27"/>
          <p:cNvGrpSpPr/>
          <p:nvPr/>
        </p:nvGrpSpPr>
        <p:grpSpPr bwMode="gray">
          <a:xfrm>
            <a:off x="431800" y="6981493"/>
            <a:ext cx="11328987" cy="288040"/>
            <a:chOff x="323850" y="-531550"/>
            <a:chExt cx="8496740" cy="432060"/>
          </a:xfrm>
        </p:grpSpPr>
        <p:cxnSp>
          <p:nvCxnSpPr>
            <p:cNvPr id="29" name="Gerade Verbindung 28"/>
            <p:cNvCxnSpPr/>
            <p:nvPr userDrawn="1"/>
          </p:nvCxnSpPr>
          <p:spPr bwMode="gray">
            <a:xfrm rot="5400000">
              <a:off x="10782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0" name="Gerade Verbindung 29"/>
            <p:cNvCxnSpPr/>
            <p:nvPr userDrawn="1"/>
          </p:nvCxnSpPr>
          <p:spPr bwMode="gray">
            <a:xfrm rot="5400000">
              <a:off x="14035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1" name="Gerade Verbindung 30"/>
            <p:cNvCxnSpPr/>
            <p:nvPr userDrawn="1"/>
          </p:nvCxnSpPr>
          <p:spPr bwMode="gray">
            <a:xfrm rot="5400000">
              <a:off x="154758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2" name="Gerade Verbindung 31"/>
            <p:cNvCxnSpPr/>
            <p:nvPr userDrawn="1"/>
          </p:nvCxnSpPr>
          <p:spPr bwMode="gray">
            <a:xfrm rot="5400000">
              <a:off x="28437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3" name="Gerade Verbindung 32"/>
            <p:cNvCxnSpPr/>
            <p:nvPr userDrawn="1"/>
          </p:nvCxnSpPr>
          <p:spPr bwMode="gray">
            <a:xfrm rot="5400000">
              <a:off x="298778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4" name="Gerade Verbindung 33"/>
            <p:cNvCxnSpPr/>
            <p:nvPr userDrawn="1"/>
          </p:nvCxnSpPr>
          <p:spPr bwMode="gray">
            <a:xfrm rot="5400000">
              <a:off x="42839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5" name="Gerade Verbindung 34"/>
            <p:cNvCxnSpPr/>
            <p:nvPr userDrawn="1"/>
          </p:nvCxnSpPr>
          <p:spPr bwMode="gray">
            <a:xfrm rot="5400000">
              <a:off x="442798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6" name="Gerade Verbindung 35"/>
            <p:cNvCxnSpPr/>
            <p:nvPr userDrawn="1"/>
          </p:nvCxnSpPr>
          <p:spPr bwMode="gray">
            <a:xfrm rot="5400000">
              <a:off x="57241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7" name="Gerade Verbindung 36"/>
            <p:cNvCxnSpPr/>
            <p:nvPr userDrawn="1"/>
          </p:nvCxnSpPr>
          <p:spPr bwMode="gray">
            <a:xfrm rot="5400000">
              <a:off x="586818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8" name="Gerade Verbindung 37"/>
            <p:cNvCxnSpPr/>
            <p:nvPr userDrawn="1"/>
          </p:nvCxnSpPr>
          <p:spPr bwMode="gray">
            <a:xfrm rot="5400000">
              <a:off x="71643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9" name="Gerade Verbindung 38"/>
            <p:cNvCxnSpPr/>
            <p:nvPr userDrawn="1"/>
          </p:nvCxnSpPr>
          <p:spPr bwMode="gray">
            <a:xfrm rot="5400000">
              <a:off x="730838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0" name="Gerade Verbindung 39"/>
            <p:cNvCxnSpPr/>
            <p:nvPr userDrawn="1"/>
          </p:nvCxnSpPr>
          <p:spPr bwMode="gray">
            <a:xfrm rot="5400000">
              <a:off x="86045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8" name="Gruppieren 7"/>
          <p:cNvGrpSpPr/>
          <p:nvPr userDrawn="1"/>
        </p:nvGrpSpPr>
        <p:grpSpPr bwMode="gray">
          <a:xfrm>
            <a:off x="12336686" y="260648"/>
            <a:ext cx="288221" cy="6336792"/>
            <a:chOff x="9252514" y="195486"/>
            <a:chExt cx="216166" cy="4752594"/>
          </a:xfrm>
        </p:grpSpPr>
        <p:cxnSp>
          <p:nvCxnSpPr>
            <p:cNvPr id="48" name="Gerade Verbindung 47"/>
            <p:cNvCxnSpPr/>
            <p:nvPr userDrawn="1"/>
          </p:nvCxnSpPr>
          <p:spPr bwMode="gray">
            <a:xfrm>
              <a:off x="9252650" y="915566"/>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9" name="Gerade Verbindung 48"/>
            <p:cNvCxnSpPr/>
            <p:nvPr userDrawn="1"/>
          </p:nvCxnSpPr>
          <p:spPr bwMode="gray">
            <a:xfrm>
              <a:off x="9252650" y="77150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0" name="Gerade Verbindung 49"/>
            <p:cNvCxnSpPr/>
            <p:nvPr userDrawn="1"/>
          </p:nvCxnSpPr>
          <p:spPr bwMode="gray">
            <a:xfrm>
              <a:off x="9252650" y="494808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1" name="Gerade Verbindung 50"/>
            <p:cNvCxnSpPr/>
            <p:nvPr userDrawn="1"/>
          </p:nvCxnSpPr>
          <p:spPr bwMode="gray">
            <a:xfrm>
              <a:off x="9252650" y="480406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2" name="Gerade Verbindung 51"/>
            <p:cNvCxnSpPr/>
            <p:nvPr userDrawn="1"/>
          </p:nvCxnSpPr>
          <p:spPr bwMode="gray">
            <a:xfrm>
              <a:off x="9252650" y="415597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3" name="Gerade Verbindung 52"/>
            <p:cNvCxnSpPr/>
            <p:nvPr userDrawn="1"/>
          </p:nvCxnSpPr>
          <p:spPr bwMode="gray">
            <a:xfrm>
              <a:off x="9252650" y="401195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4" name="Gerade Verbindung 53"/>
            <p:cNvCxnSpPr/>
            <p:nvPr userDrawn="1"/>
          </p:nvCxnSpPr>
          <p:spPr bwMode="gray">
            <a:xfrm>
              <a:off x="9252650" y="336386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5" name="Gerade Verbindung 54"/>
            <p:cNvCxnSpPr/>
            <p:nvPr userDrawn="1"/>
          </p:nvCxnSpPr>
          <p:spPr bwMode="gray">
            <a:xfrm>
              <a:off x="9252650" y="321984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6" name="Gerade Verbindung 55"/>
            <p:cNvCxnSpPr/>
            <p:nvPr userDrawn="1"/>
          </p:nvCxnSpPr>
          <p:spPr bwMode="gray">
            <a:xfrm>
              <a:off x="9252650" y="257175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7" name="Gerade Verbindung 56"/>
            <p:cNvCxnSpPr/>
            <p:nvPr userDrawn="1"/>
          </p:nvCxnSpPr>
          <p:spPr bwMode="gray">
            <a:xfrm>
              <a:off x="9252650" y="242773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8" name="Gerade Verbindung 57"/>
            <p:cNvCxnSpPr/>
            <p:nvPr userDrawn="1"/>
          </p:nvCxnSpPr>
          <p:spPr bwMode="gray">
            <a:xfrm>
              <a:off x="9252650" y="177964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9" name="Gerade Verbindung 58"/>
            <p:cNvCxnSpPr/>
            <p:nvPr userDrawn="1"/>
          </p:nvCxnSpPr>
          <p:spPr bwMode="gray">
            <a:xfrm>
              <a:off x="9252650" y="163562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0" name="Gerade Verbindung 59"/>
            <p:cNvCxnSpPr/>
            <p:nvPr userDrawn="1"/>
          </p:nvCxnSpPr>
          <p:spPr bwMode="gray">
            <a:xfrm>
              <a:off x="9252650" y="473205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2" name="Gerade Verbindung 81"/>
            <p:cNvCxnSpPr/>
            <p:nvPr userDrawn="1"/>
          </p:nvCxnSpPr>
          <p:spPr bwMode="gray">
            <a:xfrm>
              <a:off x="9252514" y="1275606"/>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3" name="Gerade Verbindung 82"/>
            <p:cNvCxnSpPr/>
            <p:nvPr userDrawn="1"/>
          </p:nvCxnSpPr>
          <p:spPr bwMode="gray">
            <a:xfrm>
              <a:off x="9252520" y="195486"/>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6" name="Gerade Verbindung 85"/>
            <p:cNvCxnSpPr/>
            <p:nvPr userDrawn="1"/>
          </p:nvCxnSpPr>
          <p:spPr bwMode="gray">
            <a:xfrm>
              <a:off x="9252650" y="1419225"/>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64" name="Gruppieren 63"/>
          <p:cNvGrpSpPr/>
          <p:nvPr/>
        </p:nvGrpSpPr>
        <p:grpSpPr bwMode="gray">
          <a:xfrm>
            <a:off x="-432907" y="260648"/>
            <a:ext cx="288221" cy="6336792"/>
            <a:chOff x="9252650" y="195486"/>
            <a:chExt cx="216166" cy="4752594"/>
          </a:xfrm>
        </p:grpSpPr>
        <p:cxnSp>
          <p:nvCxnSpPr>
            <p:cNvPr id="65" name="Gerade Verbindung 64"/>
            <p:cNvCxnSpPr/>
            <p:nvPr userDrawn="1"/>
          </p:nvCxnSpPr>
          <p:spPr bwMode="gray">
            <a:xfrm>
              <a:off x="9252650" y="915566"/>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7" name="Gerade Verbindung 66"/>
            <p:cNvCxnSpPr/>
            <p:nvPr userDrawn="1"/>
          </p:nvCxnSpPr>
          <p:spPr bwMode="gray">
            <a:xfrm>
              <a:off x="9252650" y="77150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8" name="Gerade Verbindung 67"/>
            <p:cNvCxnSpPr/>
            <p:nvPr userDrawn="1"/>
          </p:nvCxnSpPr>
          <p:spPr bwMode="gray">
            <a:xfrm>
              <a:off x="9252650" y="494808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9" name="Gerade Verbindung 68"/>
            <p:cNvCxnSpPr/>
            <p:nvPr userDrawn="1"/>
          </p:nvCxnSpPr>
          <p:spPr bwMode="gray">
            <a:xfrm>
              <a:off x="9252650" y="480406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0" name="Gerade Verbindung 69"/>
            <p:cNvCxnSpPr/>
            <p:nvPr userDrawn="1"/>
          </p:nvCxnSpPr>
          <p:spPr bwMode="gray">
            <a:xfrm>
              <a:off x="9252650" y="415597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1" name="Gerade Verbindung 70"/>
            <p:cNvCxnSpPr/>
            <p:nvPr userDrawn="1"/>
          </p:nvCxnSpPr>
          <p:spPr bwMode="gray">
            <a:xfrm>
              <a:off x="9252650" y="401195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2" name="Gerade Verbindung 71"/>
            <p:cNvCxnSpPr/>
            <p:nvPr userDrawn="1"/>
          </p:nvCxnSpPr>
          <p:spPr bwMode="gray">
            <a:xfrm>
              <a:off x="9252650" y="336386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3" name="Gerade Verbindung 72"/>
            <p:cNvCxnSpPr/>
            <p:nvPr userDrawn="1"/>
          </p:nvCxnSpPr>
          <p:spPr bwMode="gray">
            <a:xfrm>
              <a:off x="9252650" y="321984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4" name="Gerade Verbindung 73"/>
            <p:cNvCxnSpPr/>
            <p:nvPr userDrawn="1"/>
          </p:nvCxnSpPr>
          <p:spPr bwMode="gray">
            <a:xfrm>
              <a:off x="9252650" y="257175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5" name="Gerade Verbindung 74"/>
            <p:cNvCxnSpPr/>
            <p:nvPr userDrawn="1"/>
          </p:nvCxnSpPr>
          <p:spPr bwMode="gray">
            <a:xfrm>
              <a:off x="9252650" y="242773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6" name="Gerade Verbindung 75"/>
            <p:cNvCxnSpPr/>
            <p:nvPr userDrawn="1"/>
          </p:nvCxnSpPr>
          <p:spPr bwMode="gray">
            <a:xfrm>
              <a:off x="9252650" y="177964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7" name="Gerade Verbindung 76"/>
            <p:cNvCxnSpPr/>
            <p:nvPr userDrawn="1"/>
          </p:nvCxnSpPr>
          <p:spPr bwMode="gray">
            <a:xfrm>
              <a:off x="9252650" y="163562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8" name="Gerade Verbindung 77"/>
            <p:cNvCxnSpPr/>
            <p:nvPr userDrawn="1"/>
          </p:nvCxnSpPr>
          <p:spPr bwMode="gray">
            <a:xfrm>
              <a:off x="9252650" y="473205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1" name="Gerade Verbindung 80"/>
            <p:cNvCxnSpPr/>
            <p:nvPr userDrawn="1"/>
          </p:nvCxnSpPr>
          <p:spPr bwMode="gray">
            <a:xfrm>
              <a:off x="9252786" y="1275606"/>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4" name="Gerade Verbindung 83"/>
            <p:cNvCxnSpPr/>
            <p:nvPr userDrawn="1"/>
          </p:nvCxnSpPr>
          <p:spPr bwMode="gray">
            <a:xfrm>
              <a:off x="9252786" y="195486"/>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5" name="Gerade Verbindung 84"/>
            <p:cNvCxnSpPr/>
            <p:nvPr userDrawn="1"/>
          </p:nvCxnSpPr>
          <p:spPr bwMode="gray">
            <a:xfrm>
              <a:off x="9252786" y="1413738"/>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66" name="Rechteck 65"/>
          <p:cNvSpPr/>
          <p:nvPr/>
        </p:nvSpPr>
        <p:spPr bwMode="gray">
          <a:xfrm>
            <a:off x="10033000" y="6597440"/>
            <a:ext cx="1727787" cy="192000"/>
          </a:xfrm>
          <a:prstGeom prst="rect">
            <a:avLst/>
          </a:prstGeom>
          <a:solidFill>
            <a:schemeClr val="bg1"/>
          </a:solidFill>
          <a:ln w="9525">
            <a:noFill/>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lvl="0" algn="r"/>
            <a:fld id="{FCBC2E87-33EB-478A-988F-F7C865AFDA8A}" type="slidenum">
              <a:rPr lang="en-US" sz="1067" smtClean="0">
                <a:solidFill>
                  <a:schemeClr val="bg2"/>
                </a:solidFill>
                <a:latin typeface="Arial" pitchFamily="34" charset="0"/>
              </a:rPr>
              <a:t>‹#›</a:t>
            </a:fld>
            <a:endParaRPr lang="en-US" sz="1067">
              <a:solidFill>
                <a:schemeClr val="bg2"/>
              </a:solidFill>
              <a:latin typeface="Arial" pitchFamily="34" charset="0"/>
            </a:endParaRPr>
          </a:p>
        </p:txBody>
      </p:sp>
      <p:sp>
        <p:nvSpPr>
          <p:cNvPr id="79" name="Rechteck 13"/>
          <p:cNvSpPr/>
          <p:nvPr/>
        </p:nvSpPr>
        <p:spPr bwMode="gray">
          <a:xfrm>
            <a:off x="432520" y="6597440"/>
            <a:ext cx="9408000" cy="192000"/>
          </a:xfrm>
          <a:prstGeom prst="rect">
            <a:avLst/>
          </a:prstGeom>
          <a:solidFill>
            <a:schemeClr val="bg1"/>
          </a:solidFill>
          <a:ln w="9525">
            <a:noFill/>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lvl="8" indent="0">
              <a:tabLst/>
            </a:pPr>
            <a:r>
              <a:rPr lang="en-US" sz="1067" noProof="0">
                <a:solidFill>
                  <a:schemeClr val="bg2"/>
                </a:solidFill>
                <a:latin typeface="Arial" pitchFamily="34" charset="0"/>
              </a:rPr>
              <a:t>© GfK </a:t>
            </a:r>
            <a:fld id="{C5F468E3-E2B5-4048-B5A0-A2E0E1BF2E6A}" type="datetime4">
              <a:rPr lang="en-US" sz="1067" noProof="0" smtClean="0">
                <a:solidFill>
                  <a:schemeClr val="bg2"/>
                </a:solidFill>
                <a:latin typeface="Arial" pitchFamily="34" charset="0"/>
              </a:rPr>
              <a:pPr marL="0" lvl="8" indent="0">
                <a:tabLst/>
              </a:pPr>
              <a:t>June 26, 2020</a:t>
            </a:fld>
            <a:r>
              <a:rPr lang="en-US" sz="1067" noProof="0">
                <a:solidFill>
                  <a:schemeClr val="bg2"/>
                </a:solidFill>
                <a:latin typeface="Arial" pitchFamily="34" charset="0"/>
              </a:rPr>
              <a:t> | Technical</a:t>
            </a:r>
            <a:r>
              <a:rPr lang="en-US" sz="1067" baseline="0" noProof="0">
                <a:solidFill>
                  <a:schemeClr val="bg2"/>
                </a:solidFill>
                <a:latin typeface="Arial" pitchFamily="34" charset="0"/>
              </a:rPr>
              <a:t> consumer goods today and tomorrow</a:t>
            </a:r>
            <a:endParaRPr lang="en-US" sz="1067" noProof="0">
              <a:solidFill>
                <a:schemeClr val="bg2"/>
              </a:solidFill>
              <a:latin typeface="Arial" pitchFamily="34" charset="0"/>
            </a:endParaRPr>
          </a:p>
        </p:txBody>
      </p:sp>
      <p:pic>
        <p:nvPicPr>
          <p:cNvPr id="80" name="Grafik 75"/>
          <p:cNvPicPr>
            <a:picLocks noChangeAspect="1"/>
          </p:cNvPicPr>
          <p:nvPr/>
        </p:nvPicPr>
        <p:blipFill>
          <a:blip r:embed="rId30" cstate="print">
            <a:extLst>
              <a:ext uri="{28A0092B-C50C-407E-A947-70E740481C1C}">
                <a14:useLocalDpi xmlns:a14="http://schemas.microsoft.com/office/drawing/2010/main"/>
              </a:ext>
            </a:extLst>
          </a:blip>
          <a:stretch>
            <a:fillRect/>
          </a:stretch>
        </p:blipFill>
        <p:spPr bwMode="gray">
          <a:xfrm>
            <a:off x="10992254" y="260560"/>
            <a:ext cx="770129" cy="768000"/>
          </a:xfrm>
          <a:prstGeom prst="rect">
            <a:avLst/>
          </a:prstGeom>
        </p:spPr>
      </p:pic>
      <p:sp>
        <p:nvSpPr>
          <p:cNvPr id="4" name="VCT_Marker_ID_4" hidden="1"/>
          <p:cNvSpPr/>
          <p:nvPr userDrawn="1">
            <p:custDataLst>
              <p:tags r:id="rId27"/>
            </p:custDataLst>
          </p:nvPr>
        </p:nvSpPr>
        <p:spPr bwMode="gray">
          <a:xfrm>
            <a:off x="1693334" y="169334"/>
            <a:ext cx="169333" cy="169333"/>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tx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indent="0" algn="ctr">
              <a:spcBef>
                <a:spcPts val="400"/>
              </a:spcBef>
              <a:buFont typeface="Courier New" pitchFamily="49" charset="0"/>
              <a:buNone/>
            </a:pPr>
            <a:endParaRPr lang="en-US" sz="2133">
              <a:solidFill>
                <a:schemeClr val="tx1"/>
              </a:solidFill>
              <a:latin typeface="Arial" pitchFamily="34" charset="0"/>
              <a:cs typeface="Arial" pitchFamily="34" charset="0"/>
            </a:endParaRPr>
          </a:p>
        </p:txBody>
      </p:sp>
    </p:spTree>
    <p:extLst>
      <p:ext uri="{BB962C8B-B14F-4D97-AF65-F5344CB8AC3E}">
        <p14:creationId xmlns:p14="http://schemas.microsoft.com/office/powerpoint/2010/main" val="1117946452"/>
      </p:ext>
    </p:extLst>
  </p:cSld>
  <p:clrMap bg1="lt1" tx1="dk1" bg2="lt2" tx2="dk2" accent1="accent1" accent2="accent2" accent3="accent3" accent4="accent4" accent5="accent5" accent6="accent6" hlink="hlink" folHlink="folHlink"/>
  <p:sldLayoutIdLst>
    <p:sldLayoutId id="2147483751" r:id="rId1"/>
    <p:sldLayoutId id="2147483752" r:id="rId2"/>
    <p:sldLayoutId id="2147483753" r:id="rId3"/>
    <p:sldLayoutId id="2147483754" r:id="rId4"/>
    <p:sldLayoutId id="2147483755" r:id="rId5"/>
    <p:sldLayoutId id="2147483756" r:id="rId6"/>
    <p:sldLayoutId id="2147483757" r:id="rId7"/>
    <p:sldLayoutId id="2147483758" r:id="rId8"/>
    <p:sldLayoutId id="2147483759" r:id="rId9"/>
    <p:sldLayoutId id="2147483760" r:id="rId10"/>
    <p:sldLayoutId id="2147483761" r:id="rId11"/>
    <p:sldLayoutId id="2147483762" r:id="rId12"/>
    <p:sldLayoutId id="2147483763" r:id="rId13"/>
    <p:sldLayoutId id="2147483764" r:id="rId14"/>
    <p:sldLayoutId id="2147483765" r:id="rId15"/>
    <p:sldLayoutId id="2147483766" r:id="rId16"/>
    <p:sldLayoutId id="2147483767" r:id="rId17"/>
    <p:sldLayoutId id="2147483768" r:id="rId18"/>
    <p:sldLayoutId id="2147483769" r:id="rId19"/>
    <p:sldLayoutId id="2147483770" r:id="rId20"/>
    <p:sldLayoutId id="2147483771" r:id="rId21"/>
    <p:sldLayoutId id="2147483772" r:id="rId22"/>
  </p:sldLayoutIdLst>
  <p:hf hdr="0" ftr="0" dt="0"/>
  <p:txStyles>
    <p:titleStyle>
      <a:lvl1pPr algn="l" defTabSz="1219170" rtl="0" eaLnBrk="1" latinLnBrk="0" hangingPunct="1">
        <a:spcBef>
          <a:spcPct val="0"/>
        </a:spcBef>
        <a:buNone/>
        <a:defRPr sz="2400" kern="1200">
          <a:solidFill>
            <a:schemeClr val="tx1"/>
          </a:solidFill>
          <a:latin typeface="Arial" pitchFamily="34" charset="0"/>
          <a:ea typeface="+mj-ea"/>
          <a:cs typeface="+mj-cs"/>
        </a:defRPr>
      </a:lvl1pPr>
    </p:titleStyle>
    <p:bodyStyle>
      <a:lvl1pPr marL="0" marR="0" indent="0" algn="l" defTabSz="1219170" rtl="0" eaLnBrk="1" fontAlgn="auto" latinLnBrk="0" hangingPunct="1">
        <a:lnSpc>
          <a:spcPct val="100000"/>
        </a:lnSpc>
        <a:spcBef>
          <a:spcPts val="400"/>
        </a:spcBef>
        <a:spcAft>
          <a:spcPts val="0"/>
        </a:spcAft>
        <a:buClrTx/>
        <a:buSzTx/>
        <a:buFont typeface="Arial" pitchFamily="34" charset="0"/>
        <a:buNone/>
        <a:tabLst/>
        <a:defRPr sz="2133" kern="1200">
          <a:solidFill>
            <a:schemeClr val="tx1"/>
          </a:solidFill>
          <a:latin typeface="Arial" pitchFamily="34" charset="0"/>
          <a:ea typeface="+mn-ea"/>
          <a:cs typeface="Arial" pitchFamily="34" charset="0"/>
        </a:defRPr>
      </a:lvl1pPr>
      <a:lvl2pPr marL="239994" marR="0" indent="-239994" algn="l" defTabSz="1219170" rtl="0" eaLnBrk="1" fontAlgn="auto" latinLnBrk="0" hangingPunct="1">
        <a:lnSpc>
          <a:spcPct val="100000"/>
        </a:lnSpc>
        <a:spcBef>
          <a:spcPts val="400"/>
        </a:spcBef>
        <a:spcAft>
          <a:spcPts val="0"/>
        </a:spcAft>
        <a:buClrTx/>
        <a:buSzTx/>
        <a:buFont typeface="Wingdings" panose="05000000000000000000" pitchFamily="2" charset="2"/>
        <a:buChar char="§"/>
        <a:tabLst/>
        <a:defRPr sz="2133" kern="1200">
          <a:solidFill>
            <a:schemeClr val="tx1"/>
          </a:solidFill>
          <a:latin typeface="Arial" pitchFamily="34" charset="0"/>
          <a:ea typeface="+mn-ea"/>
          <a:cs typeface="Arial" pitchFamily="34" charset="0"/>
        </a:defRPr>
      </a:lvl2pPr>
      <a:lvl3pPr marL="479988" marR="0" indent="-241294" algn="l" defTabSz="1219170" rtl="0" eaLnBrk="1" fontAlgn="auto" latinLnBrk="0" hangingPunct="1">
        <a:lnSpc>
          <a:spcPct val="100000"/>
        </a:lnSpc>
        <a:spcBef>
          <a:spcPts val="400"/>
        </a:spcBef>
        <a:spcAft>
          <a:spcPts val="0"/>
        </a:spcAft>
        <a:buClrTx/>
        <a:buSzTx/>
        <a:buFont typeface="Wingdings" panose="05000000000000000000" pitchFamily="2" charset="2"/>
        <a:buChar char="§"/>
        <a:tabLst/>
        <a:defRPr sz="2133" kern="1200">
          <a:solidFill>
            <a:schemeClr val="tx1"/>
          </a:solidFill>
          <a:latin typeface="Arial" pitchFamily="34" charset="0"/>
          <a:ea typeface="+mn-ea"/>
          <a:cs typeface="Arial" pitchFamily="34" charset="0"/>
        </a:defRPr>
      </a:lvl3pPr>
      <a:lvl4pPr marL="719982" marR="0" indent="-241294" algn="l" defTabSz="1219170" rtl="0" eaLnBrk="1" fontAlgn="auto" latinLnBrk="0" hangingPunct="1">
        <a:lnSpc>
          <a:spcPct val="100000"/>
        </a:lnSpc>
        <a:spcBef>
          <a:spcPts val="400"/>
        </a:spcBef>
        <a:spcAft>
          <a:spcPts val="0"/>
        </a:spcAft>
        <a:buClrTx/>
        <a:buSzTx/>
        <a:buFont typeface="Wingdings" panose="05000000000000000000" pitchFamily="2" charset="2"/>
        <a:buChar char="§"/>
        <a:tabLst/>
        <a:defRPr sz="2133" kern="1200">
          <a:solidFill>
            <a:schemeClr val="tx1"/>
          </a:solidFill>
          <a:latin typeface="Arial" pitchFamily="34" charset="0"/>
          <a:ea typeface="+mn-ea"/>
          <a:cs typeface="Arial" pitchFamily="34" charset="0"/>
        </a:defRPr>
      </a:lvl4pPr>
      <a:lvl5pPr marL="959976" marR="0" indent="-241294" algn="l" defTabSz="1219170" rtl="0" eaLnBrk="1" fontAlgn="auto" latinLnBrk="0" hangingPunct="1">
        <a:lnSpc>
          <a:spcPct val="100000"/>
        </a:lnSpc>
        <a:spcBef>
          <a:spcPts val="400"/>
        </a:spcBef>
        <a:spcAft>
          <a:spcPts val="0"/>
        </a:spcAft>
        <a:buClrTx/>
        <a:buSzTx/>
        <a:buFont typeface="Wingdings" panose="05000000000000000000" pitchFamily="2" charset="2"/>
        <a:buChar char="§"/>
        <a:tabLst/>
        <a:defRPr sz="2133" kern="1200">
          <a:solidFill>
            <a:schemeClr val="tx1"/>
          </a:solidFill>
          <a:latin typeface="Arial" pitchFamily="34" charset="0"/>
          <a:ea typeface="+mn-ea"/>
          <a:cs typeface="Arial" pitchFamily="34" charset="0"/>
        </a:defRPr>
      </a:lvl5pPr>
      <a:lvl6pPr marL="959976" marR="0" indent="-241294" algn="l" defTabSz="1219170" rtl="0" eaLnBrk="1" fontAlgn="auto" latinLnBrk="0" hangingPunct="1">
        <a:lnSpc>
          <a:spcPct val="100000"/>
        </a:lnSpc>
        <a:spcBef>
          <a:spcPts val="400"/>
        </a:spcBef>
        <a:spcAft>
          <a:spcPts val="0"/>
        </a:spcAft>
        <a:buClrTx/>
        <a:buSzTx/>
        <a:buFont typeface="Wingdings" panose="05000000000000000000" pitchFamily="2" charset="2"/>
        <a:buChar char="§"/>
        <a:tabLst/>
        <a:defRPr sz="2133" kern="1200">
          <a:solidFill>
            <a:schemeClr val="tx1"/>
          </a:solidFill>
          <a:latin typeface="Arial" pitchFamily="34" charset="0"/>
          <a:ea typeface="+mn-ea"/>
          <a:cs typeface="Arial" pitchFamily="34" charset="0"/>
        </a:defRPr>
      </a:lvl6pPr>
      <a:lvl7pPr marL="959976" marR="0" indent="-241294" algn="l" defTabSz="1219170" rtl="0" eaLnBrk="1" fontAlgn="auto" latinLnBrk="0" hangingPunct="1">
        <a:lnSpc>
          <a:spcPct val="100000"/>
        </a:lnSpc>
        <a:spcBef>
          <a:spcPts val="400"/>
        </a:spcBef>
        <a:spcAft>
          <a:spcPts val="0"/>
        </a:spcAft>
        <a:buClrTx/>
        <a:buSzTx/>
        <a:buFont typeface="Wingdings" panose="05000000000000000000" pitchFamily="2" charset="2"/>
        <a:buChar char="§"/>
        <a:tabLst/>
        <a:defRPr sz="2133" kern="1200">
          <a:solidFill>
            <a:schemeClr val="tx1"/>
          </a:solidFill>
          <a:latin typeface="Arial" pitchFamily="34" charset="0"/>
          <a:ea typeface="+mn-ea"/>
          <a:cs typeface="Arial" pitchFamily="34" charset="0"/>
        </a:defRPr>
      </a:lvl7pPr>
      <a:lvl8pPr marL="719982" indent="-239994" algn="l" defTabSz="1219170" rtl="0" eaLnBrk="1" latinLnBrk="0" hangingPunct="1">
        <a:spcBef>
          <a:spcPts val="400"/>
        </a:spcBef>
        <a:spcAft>
          <a:spcPts val="0"/>
        </a:spcAft>
        <a:buFont typeface="Arial" pitchFamily="34" charset="0"/>
        <a:buChar char="•"/>
        <a:defRPr sz="2133" kern="1200">
          <a:solidFill>
            <a:schemeClr val="tx1"/>
          </a:solidFill>
          <a:latin typeface="Arial" pitchFamily="34" charset="0"/>
          <a:ea typeface="+mn-ea"/>
          <a:cs typeface="Arial" pitchFamily="34" charset="0"/>
        </a:defRPr>
      </a:lvl8pPr>
      <a:lvl9pPr marL="959976" marR="0" indent="-241294" algn="l" defTabSz="1219170" rtl="0" eaLnBrk="1" fontAlgn="auto" latinLnBrk="0" hangingPunct="1">
        <a:lnSpc>
          <a:spcPct val="100000"/>
        </a:lnSpc>
        <a:spcBef>
          <a:spcPts val="400"/>
        </a:spcBef>
        <a:spcAft>
          <a:spcPts val="0"/>
        </a:spcAft>
        <a:buClrTx/>
        <a:buSzTx/>
        <a:buFont typeface="Wingdings" panose="05000000000000000000" pitchFamily="2" charset="2"/>
        <a:buChar char="§"/>
        <a:tabLst/>
        <a:defRPr sz="2133" kern="1200">
          <a:solidFill>
            <a:schemeClr val="tx1"/>
          </a:solidFill>
          <a:latin typeface="Arial" pitchFamily="34" charset="0"/>
          <a:ea typeface="+mn-ea"/>
          <a:cs typeface="Arial" pitchFamily="34" charset="0"/>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sldMaster>
</file>

<file path=ppt/slideMasters/slideMaster20.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pSp>
        <p:nvGrpSpPr>
          <p:cNvPr id="13" name="logo">
            <a:extLst>
              <a:ext uri="{FF2B5EF4-FFF2-40B4-BE49-F238E27FC236}">
                <a16:creationId xmlns:a16="http://schemas.microsoft.com/office/drawing/2014/main" id="{57BD2C4C-DC67-B843-B26C-309622FC75F7}"/>
              </a:ext>
            </a:extLst>
          </p:cNvPr>
          <p:cNvGrpSpPr>
            <a:grpSpLocks noChangeAspect="1"/>
          </p:cNvGrpSpPr>
          <p:nvPr/>
        </p:nvGrpSpPr>
        <p:grpSpPr bwMode="gray">
          <a:xfrm>
            <a:off x="11174018" y="401441"/>
            <a:ext cx="644225" cy="646507"/>
            <a:chOff x="2711" y="1027"/>
            <a:chExt cx="2258" cy="2266"/>
          </a:xfrm>
        </p:grpSpPr>
        <p:sp>
          <p:nvSpPr>
            <p:cNvPr id="14" name="AutoShape 3">
              <a:extLst>
                <a:ext uri="{FF2B5EF4-FFF2-40B4-BE49-F238E27FC236}">
                  <a16:creationId xmlns:a16="http://schemas.microsoft.com/office/drawing/2014/main" id="{FE1DC41B-291E-574C-9F2C-874E70A40758}"/>
                </a:ext>
              </a:extLst>
            </p:cNvPr>
            <p:cNvSpPr>
              <a:spLocks noChangeAspect="1" noChangeArrowheads="1" noTextEdit="1"/>
            </p:cNvSpPr>
            <p:nvPr/>
          </p:nvSpPr>
          <p:spPr bwMode="gray">
            <a:xfrm>
              <a:off x="2711" y="1027"/>
              <a:ext cx="2258" cy="22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sp>
          <p:nvSpPr>
            <p:cNvPr id="15" name="Freeform 5">
              <a:extLst>
                <a:ext uri="{FF2B5EF4-FFF2-40B4-BE49-F238E27FC236}">
                  <a16:creationId xmlns:a16="http://schemas.microsoft.com/office/drawing/2014/main" id="{D4B633C8-F761-C54B-9BD2-EB59D49A2DBC}"/>
                </a:ext>
              </a:extLst>
            </p:cNvPr>
            <p:cNvSpPr>
              <a:spLocks/>
            </p:cNvSpPr>
            <p:nvPr/>
          </p:nvSpPr>
          <p:spPr bwMode="gray">
            <a:xfrm>
              <a:off x="2709" y="1029"/>
              <a:ext cx="2260" cy="2262"/>
            </a:xfrm>
            <a:custGeom>
              <a:avLst/>
              <a:gdLst>
                <a:gd name="T0" fmla="*/ 2260 w 2260"/>
                <a:gd name="T1" fmla="*/ 0 h 2262"/>
                <a:gd name="T2" fmla="*/ 1612 w 2260"/>
                <a:gd name="T3" fmla="*/ 649 h 2262"/>
                <a:gd name="T4" fmla="*/ 1612 w 2260"/>
                <a:gd name="T5" fmla="*/ 649 h 2262"/>
                <a:gd name="T6" fmla="*/ 2035 w 2260"/>
                <a:gd name="T7" fmla="*/ 0 h 2262"/>
                <a:gd name="T8" fmla="*/ 0 w 2260"/>
                <a:gd name="T9" fmla="*/ 0 h 2262"/>
                <a:gd name="T10" fmla="*/ 0 w 2260"/>
                <a:gd name="T11" fmla="*/ 2262 h 2262"/>
                <a:gd name="T12" fmla="*/ 2260 w 2260"/>
                <a:gd name="T13" fmla="*/ 2262 h 2262"/>
                <a:gd name="T14" fmla="*/ 2260 w 2260"/>
                <a:gd name="T15" fmla="*/ 0 h 2262"/>
                <a:gd name="T16" fmla="*/ 2260 w 2260"/>
                <a:gd name="T17" fmla="*/ 0 h 2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0" h="2262">
                  <a:moveTo>
                    <a:pt x="2260" y="0"/>
                  </a:moveTo>
                  <a:lnTo>
                    <a:pt x="1612" y="649"/>
                  </a:lnTo>
                  <a:lnTo>
                    <a:pt x="1612" y="649"/>
                  </a:lnTo>
                  <a:lnTo>
                    <a:pt x="2035" y="0"/>
                  </a:lnTo>
                  <a:lnTo>
                    <a:pt x="0" y="0"/>
                  </a:lnTo>
                  <a:lnTo>
                    <a:pt x="0" y="2262"/>
                  </a:lnTo>
                  <a:lnTo>
                    <a:pt x="2260" y="2262"/>
                  </a:lnTo>
                  <a:lnTo>
                    <a:pt x="2260" y="0"/>
                  </a:lnTo>
                  <a:lnTo>
                    <a:pt x="2260" y="0"/>
                  </a:lnTo>
                  <a:close/>
                </a:path>
              </a:pathLst>
            </a:custGeom>
            <a:solidFill>
              <a:srgbClr val="E55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sp>
          <p:nvSpPr>
            <p:cNvPr id="16" name="Freeform 6">
              <a:extLst>
                <a:ext uri="{FF2B5EF4-FFF2-40B4-BE49-F238E27FC236}">
                  <a16:creationId xmlns:a16="http://schemas.microsoft.com/office/drawing/2014/main" id="{B16BAAE4-1A41-C843-9754-490F7A1E1270}"/>
                </a:ext>
              </a:extLst>
            </p:cNvPr>
            <p:cNvSpPr>
              <a:spLocks noEditPoints="1"/>
            </p:cNvSpPr>
            <p:nvPr/>
          </p:nvSpPr>
          <p:spPr bwMode="gray">
            <a:xfrm>
              <a:off x="3623" y="1696"/>
              <a:ext cx="1167" cy="922"/>
            </a:xfrm>
            <a:custGeom>
              <a:avLst/>
              <a:gdLst>
                <a:gd name="T0" fmla="*/ 411 w 580"/>
                <a:gd name="T1" fmla="*/ 213 h 458"/>
                <a:gd name="T2" fmla="*/ 570 w 580"/>
                <a:gd name="T3" fmla="*/ 37 h 458"/>
                <a:gd name="T4" fmla="*/ 580 w 580"/>
                <a:gd name="T5" fmla="*/ 20 h 458"/>
                <a:gd name="T6" fmla="*/ 545 w 580"/>
                <a:gd name="T7" fmla="*/ 0 h 458"/>
                <a:gd name="T8" fmla="*/ 519 w 580"/>
                <a:gd name="T9" fmla="*/ 16 h 458"/>
                <a:gd name="T10" fmla="*/ 344 w 580"/>
                <a:gd name="T11" fmla="*/ 210 h 458"/>
                <a:gd name="T12" fmla="*/ 334 w 580"/>
                <a:gd name="T13" fmla="*/ 229 h 458"/>
                <a:gd name="T14" fmla="*/ 344 w 580"/>
                <a:gd name="T15" fmla="*/ 248 h 458"/>
                <a:gd name="T16" fmla="*/ 519 w 580"/>
                <a:gd name="T17" fmla="*/ 442 h 458"/>
                <a:gd name="T18" fmla="*/ 545 w 580"/>
                <a:gd name="T19" fmla="*/ 458 h 458"/>
                <a:gd name="T20" fmla="*/ 580 w 580"/>
                <a:gd name="T21" fmla="*/ 438 h 458"/>
                <a:gd name="T22" fmla="*/ 570 w 580"/>
                <a:gd name="T23" fmla="*/ 421 h 458"/>
                <a:gd name="T24" fmla="*/ 411 w 580"/>
                <a:gd name="T25" fmla="*/ 245 h 458"/>
                <a:gd name="T26" fmla="*/ 399 w 580"/>
                <a:gd name="T27" fmla="*/ 229 h 458"/>
                <a:gd name="T28" fmla="*/ 411 w 580"/>
                <a:gd name="T29" fmla="*/ 213 h 458"/>
                <a:gd name="T30" fmla="*/ 252 w 580"/>
                <a:gd name="T31" fmla="*/ 439 h 458"/>
                <a:gd name="T32" fmla="*/ 281 w 580"/>
                <a:gd name="T33" fmla="*/ 454 h 458"/>
                <a:gd name="T34" fmla="*/ 309 w 580"/>
                <a:gd name="T35" fmla="*/ 439 h 458"/>
                <a:gd name="T36" fmla="*/ 309 w 580"/>
                <a:gd name="T37" fmla="*/ 19 h 458"/>
                <a:gd name="T38" fmla="*/ 281 w 580"/>
                <a:gd name="T39" fmla="*/ 4 h 458"/>
                <a:gd name="T40" fmla="*/ 252 w 580"/>
                <a:gd name="T41" fmla="*/ 19 h 458"/>
                <a:gd name="T42" fmla="*/ 252 w 580"/>
                <a:gd name="T43" fmla="*/ 439 h 458"/>
                <a:gd name="T44" fmla="*/ 0 w 580"/>
                <a:gd name="T45" fmla="*/ 439 h 458"/>
                <a:gd name="T46" fmla="*/ 28 w 580"/>
                <a:gd name="T47" fmla="*/ 454 h 458"/>
                <a:gd name="T48" fmla="*/ 56 w 580"/>
                <a:gd name="T49" fmla="*/ 439 h 458"/>
                <a:gd name="T50" fmla="*/ 56 w 580"/>
                <a:gd name="T51" fmla="*/ 157 h 458"/>
                <a:gd name="T52" fmla="*/ 165 w 580"/>
                <a:gd name="T53" fmla="*/ 53 h 458"/>
                <a:gd name="T54" fmla="*/ 180 w 580"/>
                <a:gd name="T55" fmla="*/ 53 h 458"/>
                <a:gd name="T56" fmla="*/ 196 w 580"/>
                <a:gd name="T57" fmla="*/ 27 h 458"/>
                <a:gd name="T58" fmla="*/ 154 w 580"/>
                <a:gd name="T59" fmla="*/ 4 h 458"/>
                <a:gd name="T60" fmla="*/ 0 w 580"/>
                <a:gd name="T61" fmla="*/ 152 h 458"/>
                <a:gd name="T62" fmla="*/ 0 w 580"/>
                <a:gd name="T63" fmla="*/ 439 h 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80" h="458">
                  <a:moveTo>
                    <a:pt x="411" y="213"/>
                  </a:moveTo>
                  <a:cubicBezTo>
                    <a:pt x="570" y="37"/>
                    <a:pt x="570" y="37"/>
                    <a:pt x="570" y="37"/>
                  </a:cubicBezTo>
                  <a:cubicBezTo>
                    <a:pt x="576" y="30"/>
                    <a:pt x="580" y="25"/>
                    <a:pt x="580" y="20"/>
                  </a:cubicBezTo>
                  <a:cubicBezTo>
                    <a:pt x="580" y="10"/>
                    <a:pt x="559" y="0"/>
                    <a:pt x="545" y="0"/>
                  </a:cubicBezTo>
                  <a:cubicBezTo>
                    <a:pt x="535" y="0"/>
                    <a:pt x="526" y="8"/>
                    <a:pt x="519" y="16"/>
                  </a:cubicBezTo>
                  <a:cubicBezTo>
                    <a:pt x="344" y="210"/>
                    <a:pt x="344" y="210"/>
                    <a:pt x="344" y="210"/>
                  </a:cubicBezTo>
                  <a:cubicBezTo>
                    <a:pt x="336" y="219"/>
                    <a:pt x="334" y="224"/>
                    <a:pt x="334" y="229"/>
                  </a:cubicBezTo>
                  <a:cubicBezTo>
                    <a:pt x="334" y="234"/>
                    <a:pt x="336" y="239"/>
                    <a:pt x="344" y="248"/>
                  </a:cubicBezTo>
                  <a:cubicBezTo>
                    <a:pt x="519" y="442"/>
                    <a:pt x="519" y="442"/>
                    <a:pt x="519" y="442"/>
                  </a:cubicBezTo>
                  <a:cubicBezTo>
                    <a:pt x="526" y="450"/>
                    <a:pt x="535" y="458"/>
                    <a:pt x="545" y="458"/>
                  </a:cubicBezTo>
                  <a:cubicBezTo>
                    <a:pt x="559" y="458"/>
                    <a:pt x="580" y="448"/>
                    <a:pt x="580" y="438"/>
                  </a:cubicBezTo>
                  <a:cubicBezTo>
                    <a:pt x="580" y="433"/>
                    <a:pt x="576" y="428"/>
                    <a:pt x="570" y="421"/>
                  </a:cubicBezTo>
                  <a:cubicBezTo>
                    <a:pt x="411" y="245"/>
                    <a:pt x="411" y="245"/>
                    <a:pt x="411" y="245"/>
                  </a:cubicBezTo>
                  <a:cubicBezTo>
                    <a:pt x="403" y="236"/>
                    <a:pt x="399" y="232"/>
                    <a:pt x="399" y="229"/>
                  </a:cubicBezTo>
                  <a:cubicBezTo>
                    <a:pt x="399" y="226"/>
                    <a:pt x="403" y="222"/>
                    <a:pt x="411" y="213"/>
                  </a:cubicBezTo>
                  <a:moveTo>
                    <a:pt x="252" y="439"/>
                  </a:moveTo>
                  <a:cubicBezTo>
                    <a:pt x="252" y="449"/>
                    <a:pt x="261" y="454"/>
                    <a:pt x="281" y="454"/>
                  </a:cubicBezTo>
                  <a:cubicBezTo>
                    <a:pt x="300" y="454"/>
                    <a:pt x="309" y="449"/>
                    <a:pt x="309" y="439"/>
                  </a:cubicBezTo>
                  <a:cubicBezTo>
                    <a:pt x="309" y="19"/>
                    <a:pt x="309" y="19"/>
                    <a:pt x="309" y="19"/>
                  </a:cubicBezTo>
                  <a:cubicBezTo>
                    <a:pt x="309" y="9"/>
                    <a:pt x="300" y="4"/>
                    <a:pt x="281" y="4"/>
                  </a:cubicBezTo>
                  <a:cubicBezTo>
                    <a:pt x="261" y="4"/>
                    <a:pt x="252" y="9"/>
                    <a:pt x="252" y="19"/>
                  </a:cubicBezTo>
                  <a:lnTo>
                    <a:pt x="252" y="439"/>
                  </a:lnTo>
                  <a:close/>
                  <a:moveTo>
                    <a:pt x="0" y="439"/>
                  </a:moveTo>
                  <a:cubicBezTo>
                    <a:pt x="0" y="449"/>
                    <a:pt x="8" y="454"/>
                    <a:pt x="28" y="454"/>
                  </a:cubicBezTo>
                  <a:cubicBezTo>
                    <a:pt x="48" y="454"/>
                    <a:pt x="56" y="449"/>
                    <a:pt x="56" y="439"/>
                  </a:cubicBezTo>
                  <a:cubicBezTo>
                    <a:pt x="56" y="157"/>
                    <a:pt x="56" y="157"/>
                    <a:pt x="56" y="157"/>
                  </a:cubicBezTo>
                  <a:cubicBezTo>
                    <a:pt x="56" y="83"/>
                    <a:pt x="85" y="53"/>
                    <a:pt x="165" y="53"/>
                  </a:cubicBezTo>
                  <a:cubicBezTo>
                    <a:pt x="180" y="53"/>
                    <a:pt x="180" y="53"/>
                    <a:pt x="180" y="53"/>
                  </a:cubicBezTo>
                  <a:cubicBezTo>
                    <a:pt x="192" y="53"/>
                    <a:pt x="196" y="43"/>
                    <a:pt x="196" y="27"/>
                  </a:cubicBezTo>
                  <a:cubicBezTo>
                    <a:pt x="196" y="8"/>
                    <a:pt x="185" y="4"/>
                    <a:pt x="154" y="4"/>
                  </a:cubicBezTo>
                  <a:cubicBezTo>
                    <a:pt x="64" y="4"/>
                    <a:pt x="0" y="43"/>
                    <a:pt x="0" y="152"/>
                  </a:cubicBezTo>
                  <a:lnTo>
                    <a:pt x="0" y="43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sp>
          <p:nvSpPr>
            <p:cNvPr id="17" name="Freeform 7">
              <a:extLst>
                <a:ext uri="{FF2B5EF4-FFF2-40B4-BE49-F238E27FC236}">
                  <a16:creationId xmlns:a16="http://schemas.microsoft.com/office/drawing/2014/main" id="{2F32DCBD-8628-F245-85CD-97686A20ECFD}"/>
                </a:ext>
              </a:extLst>
            </p:cNvPr>
            <p:cNvSpPr>
              <a:spLocks/>
            </p:cNvSpPr>
            <p:nvPr/>
          </p:nvSpPr>
          <p:spPr bwMode="gray">
            <a:xfrm>
              <a:off x="2880" y="1704"/>
              <a:ext cx="618" cy="916"/>
            </a:xfrm>
            <a:custGeom>
              <a:avLst/>
              <a:gdLst>
                <a:gd name="T0" fmla="*/ 307 w 307"/>
                <a:gd name="T1" fmla="*/ 405 h 455"/>
                <a:gd name="T2" fmla="*/ 307 w 307"/>
                <a:gd name="T3" fmla="*/ 244 h 455"/>
                <a:gd name="T4" fmla="*/ 279 w 307"/>
                <a:gd name="T5" fmla="*/ 229 h 455"/>
                <a:gd name="T6" fmla="*/ 250 w 307"/>
                <a:gd name="T7" fmla="*/ 244 h 455"/>
                <a:gd name="T8" fmla="*/ 250 w 307"/>
                <a:gd name="T9" fmla="*/ 378 h 455"/>
                <a:gd name="T10" fmla="*/ 199 w 307"/>
                <a:gd name="T11" fmla="*/ 408 h 455"/>
                <a:gd name="T12" fmla="*/ 61 w 307"/>
                <a:gd name="T13" fmla="*/ 231 h 455"/>
                <a:gd name="T14" fmla="*/ 238 w 307"/>
                <a:gd name="T15" fmla="*/ 49 h 455"/>
                <a:gd name="T16" fmla="*/ 270 w 307"/>
                <a:gd name="T17" fmla="*/ 49 h 455"/>
                <a:gd name="T18" fmla="*/ 286 w 307"/>
                <a:gd name="T19" fmla="*/ 23 h 455"/>
                <a:gd name="T20" fmla="*/ 244 w 307"/>
                <a:gd name="T21" fmla="*/ 0 h 455"/>
                <a:gd name="T22" fmla="*/ 231 w 307"/>
                <a:gd name="T23" fmla="*/ 0 h 455"/>
                <a:gd name="T24" fmla="*/ 0 w 307"/>
                <a:gd name="T25" fmla="*/ 232 h 455"/>
                <a:gd name="T26" fmla="*/ 198 w 307"/>
                <a:gd name="T27" fmla="*/ 455 h 455"/>
                <a:gd name="T28" fmla="*/ 307 w 307"/>
                <a:gd name="T29" fmla="*/ 405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7" h="455">
                  <a:moveTo>
                    <a:pt x="307" y="405"/>
                  </a:moveTo>
                  <a:cubicBezTo>
                    <a:pt x="307" y="244"/>
                    <a:pt x="307" y="244"/>
                    <a:pt x="307" y="244"/>
                  </a:cubicBezTo>
                  <a:cubicBezTo>
                    <a:pt x="307" y="234"/>
                    <a:pt x="298" y="229"/>
                    <a:pt x="279" y="229"/>
                  </a:cubicBezTo>
                  <a:cubicBezTo>
                    <a:pt x="259" y="229"/>
                    <a:pt x="250" y="234"/>
                    <a:pt x="250" y="244"/>
                  </a:cubicBezTo>
                  <a:cubicBezTo>
                    <a:pt x="250" y="378"/>
                    <a:pt x="250" y="378"/>
                    <a:pt x="250" y="378"/>
                  </a:cubicBezTo>
                  <a:cubicBezTo>
                    <a:pt x="250" y="399"/>
                    <a:pt x="241" y="408"/>
                    <a:pt x="199" y="408"/>
                  </a:cubicBezTo>
                  <a:cubicBezTo>
                    <a:pt x="114" y="408"/>
                    <a:pt x="61" y="342"/>
                    <a:pt x="61" y="231"/>
                  </a:cubicBezTo>
                  <a:cubicBezTo>
                    <a:pt x="61" y="115"/>
                    <a:pt x="126" y="49"/>
                    <a:pt x="238" y="49"/>
                  </a:cubicBezTo>
                  <a:cubicBezTo>
                    <a:pt x="270" y="49"/>
                    <a:pt x="270" y="49"/>
                    <a:pt x="270" y="49"/>
                  </a:cubicBezTo>
                  <a:cubicBezTo>
                    <a:pt x="282" y="49"/>
                    <a:pt x="286" y="39"/>
                    <a:pt x="286" y="23"/>
                  </a:cubicBezTo>
                  <a:cubicBezTo>
                    <a:pt x="286" y="4"/>
                    <a:pt x="275" y="0"/>
                    <a:pt x="244" y="0"/>
                  </a:cubicBezTo>
                  <a:cubicBezTo>
                    <a:pt x="231" y="0"/>
                    <a:pt x="231" y="0"/>
                    <a:pt x="231" y="0"/>
                  </a:cubicBezTo>
                  <a:cubicBezTo>
                    <a:pt x="101" y="0"/>
                    <a:pt x="0" y="71"/>
                    <a:pt x="0" y="232"/>
                  </a:cubicBezTo>
                  <a:cubicBezTo>
                    <a:pt x="0" y="386"/>
                    <a:pt x="88" y="455"/>
                    <a:pt x="198" y="455"/>
                  </a:cubicBezTo>
                  <a:cubicBezTo>
                    <a:pt x="286" y="455"/>
                    <a:pt x="307" y="430"/>
                    <a:pt x="307" y="40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sp>
          <p:nvSpPr>
            <p:cNvPr id="18" name="Oval 8">
              <a:extLst>
                <a:ext uri="{FF2B5EF4-FFF2-40B4-BE49-F238E27FC236}">
                  <a16:creationId xmlns:a16="http://schemas.microsoft.com/office/drawing/2014/main" id="{60D97C11-1A3B-5449-A48D-98A3E79B3810}"/>
                </a:ext>
              </a:extLst>
            </p:cNvPr>
            <p:cNvSpPr>
              <a:spLocks noChangeArrowheads="1"/>
            </p:cNvSpPr>
            <p:nvPr/>
          </p:nvSpPr>
          <p:spPr bwMode="gray">
            <a:xfrm>
              <a:off x="3778" y="2099"/>
              <a:ext cx="122" cy="12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sp>
          <p:nvSpPr>
            <p:cNvPr id="19" name="Freeform 9">
              <a:extLst>
                <a:ext uri="{FF2B5EF4-FFF2-40B4-BE49-F238E27FC236}">
                  <a16:creationId xmlns:a16="http://schemas.microsoft.com/office/drawing/2014/main" id="{5856770D-B8F0-244E-A05D-AED190086F10}"/>
                </a:ext>
              </a:extLst>
            </p:cNvPr>
            <p:cNvSpPr>
              <a:spLocks noEditPoints="1"/>
            </p:cNvSpPr>
            <p:nvPr/>
          </p:nvSpPr>
          <p:spPr bwMode="gray">
            <a:xfrm>
              <a:off x="3623" y="1696"/>
              <a:ext cx="1167" cy="922"/>
            </a:xfrm>
            <a:custGeom>
              <a:avLst/>
              <a:gdLst>
                <a:gd name="T0" fmla="*/ 411 w 580"/>
                <a:gd name="T1" fmla="*/ 213 h 458"/>
                <a:gd name="T2" fmla="*/ 570 w 580"/>
                <a:gd name="T3" fmla="*/ 37 h 458"/>
                <a:gd name="T4" fmla="*/ 580 w 580"/>
                <a:gd name="T5" fmla="*/ 20 h 458"/>
                <a:gd name="T6" fmla="*/ 545 w 580"/>
                <a:gd name="T7" fmla="*/ 0 h 458"/>
                <a:gd name="T8" fmla="*/ 519 w 580"/>
                <a:gd name="T9" fmla="*/ 16 h 458"/>
                <a:gd name="T10" fmla="*/ 344 w 580"/>
                <a:gd name="T11" fmla="*/ 210 h 458"/>
                <a:gd name="T12" fmla="*/ 334 w 580"/>
                <a:gd name="T13" fmla="*/ 229 h 458"/>
                <a:gd name="T14" fmla="*/ 344 w 580"/>
                <a:gd name="T15" fmla="*/ 248 h 458"/>
                <a:gd name="T16" fmla="*/ 519 w 580"/>
                <a:gd name="T17" fmla="*/ 442 h 458"/>
                <a:gd name="T18" fmla="*/ 545 w 580"/>
                <a:gd name="T19" fmla="*/ 458 h 458"/>
                <a:gd name="T20" fmla="*/ 580 w 580"/>
                <a:gd name="T21" fmla="*/ 438 h 458"/>
                <a:gd name="T22" fmla="*/ 570 w 580"/>
                <a:gd name="T23" fmla="*/ 421 h 458"/>
                <a:gd name="T24" fmla="*/ 411 w 580"/>
                <a:gd name="T25" fmla="*/ 245 h 458"/>
                <a:gd name="T26" fmla="*/ 399 w 580"/>
                <a:gd name="T27" fmla="*/ 229 h 458"/>
                <a:gd name="T28" fmla="*/ 411 w 580"/>
                <a:gd name="T29" fmla="*/ 213 h 458"/>
                <a:gd name="T30" fmla="*/ 252 w 580"/>
                <a:gd name="T31" fmla="*/ 439 h 458"/>
                <a:gd name="T32" fmla="*/ 281 w 580"/>
                <a:gd name="T33" fmla="*/ 454 h 458"/>
                <a:gd name="T34" fmla="*/ 309 w 580"/>
                <a:gd name="T35" fmla="*/ 439 h 458"/>
                <a:gd name="T36" fmla="*/ 309 w 580"/>
                <a:gd name="T37" fmla="*/ 19 h 458"/>
                <a:gd name="T38" fmla="*/ 281 w 580"/>
                <a:gd name="T39" fmla="*/ 4 h 458"/>
                <a:gd name="T40" fmla="*/ 252 w 580"/>
                <a:gd name="T41" fmla="*/ 19 h 458"/>
                <a:gd name="T42" fmla="*/ 252 w 580"/>
                <a:gd name="T43" fmla="*/ 439 h 458"/>
                <a:gd name="T44" fmla="*/ 0 w 580"/>
                <a:gd name="T45" fmla="*/ 439 h 458"/>
                <a:gd name="T46" fmla="*/ 28 w 580"/>
                <a:gd name="T47" fmla="*/ 454 h 458"/>
                <a:gd name="T48" fmla="*/ 56 w 580"/>
                <a:gd name="T49" fmla="*/ 439 h 458"/>
                <a:gd name="T50" fmla="*/ 56 w 580"/>
                <a:gd name="T51" fmla="*/ 157 h 458"/>
                <a:gd name="T52" fmla="*/ 165 w 580"/>
                <a:gd name="T53" fmla="*/ 53 h 458"/>
                <a:gd name="T54" fmla="*/ 180 w 580"/>
                <a:gd name="T55" fmla="*/ 53 h 458"/>
                <a:gd name="T56" fmla="*/ 196 w 580"/>
                <a:gd name="T57" fmla="*/ 27 h 458"/>
                <a:gd name="T58" fmla="*/ 154 w 580"/>
                <a:gd name="T59" fmla="*/ 4 h 458"/>
                <a:gd name="T60" fmla="*/ 0 w 580"/>
                <a:gd name="T61" fmla="*/ 152 h 458"/>
                <a:gd name="T62" fmla="*/ 0 w 580"/>
                <a:gd name="T63" fmla="*/ 439 h 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80" h="458">
                  <a:moveTo>
                    <a:pt x="411" y="213"/>
                  </a:moveTo>
                  <a:cubicBezTo>
                    <a:pt x="570" y="37"/>
                    <a:pt x="570" y="37"/>
                    <a:pt x="570" y="37"/>
                  </a:cubicBezTo>
                  <a:cubicBezTo>
                    <a:pt x="576" y="30"/>
                    <a:pt x="580" y="25"/>
                    <a:pt x="580" y="20"/>
                  </a:cubicBezTo>
                  <a:cubicBezTo>
                    <a:pt x="580" y="10"/>
                    <a:pt x="559" y="0"/>
                    <a:pt x="545" y="0"/>
                  </a:cubicBezTo>
                  <a:cubicBezTo>
                    <a:pt x="535" y="0"/>
                    <a:pt x="526" y="8"/>
                    <a:pt x="519" y="16"/>
                  </a:cubicBezTo>
                  <a:cubicBezTo>
                    <a:pt x="344" y="210"/>
                    <a:pt x="344" y="210"/>
                    <a:pt x="344" y="210"/>
                  </a:cubicBezTo>
                  <a:cubicBezTo>
                    <a:pt x="336" y="219"/>
                    <a:pt x="334" y="224"/>
                    <a:pt x="334" y="229"/>
                  </a:cubicBezTo>
                  <a:cubicBezTo>
                    <a:pt x="334" y="234"/>
                    <a:pt x="336" y="239"/>
                    <a:pt x="344" y="248"/>
                  </a:cubicBezTo>
                  <a:cubicBezTo>
                    <a:pt x="519" y="442"/>
                    <a:pt x="519" y="442"/>
                    <a:pt x="519" y="442"/>
                  </a:cubicBezTo>
                  <a:cubicBezTo>
                    <a:pt x="526" y="450"/>
                    <a:pt x="535" y="458"/>
                    <a:pt x="545" y="458"/>
                  </a:cubicBezTo>
                  <a:cubicBezTo>
                    <a:pt x="559" y="458"/>
                    <a:pt x="580" y="448"/>
                    <a:pt x="580" y="438"/>
                  </a:cubicBezTo>
                  <a:cubicBezTo>
                    <a:pt x="580" y="433"/>
                    <a:pt x="576" y="428"/>
                    <a:pt x="570" y="421"/>
                  </a:cubicBezTo>
                  <a:cubicBezTo>
                    <a:pt x="411" y="245"/>
                    <a:pt x="411" y="245"/>
                    <a:pt x="411" y="245"/>
                  </a:cubicBezTo>
                  <a:cubicBezTo>
                    <a:pt x="403" y="236"/>
                    <a:pt x="399" y="232"/>
                    <a:pt x="399" y="229"/>
                  </a:cubicBezTo>
                  <a:cubicBezTo>
                    <a:pt x="399" y="226"/>
                    <a:pt x="403" y="222"/>
                    <a:pt x="411" y="213"/>
                  </a:cubicBezTo>
                  <a:moveTo>
                    <a:pt x="252" y="439"/>
                  </a:moveTo>
                  <a:cubicBezTo>
                    <a:pt x="252" y="449"/>
                    <a:pt x="261" y="454"/>
                    <a:pt x="281" y="454"/>
                  </a:cubicBezTo>
                  <a:cubicBezTo>
                    <a:pt x="300" y="454"/>
                    <a:pt x="309" y="449"/>
                    <a:pt x="309" y="439"/>
                  </a:cubicBezTo>
                  <a:cubicBezTo>
                    <a:pt x="309" y="19"/>
                    <a:pt x="309" y="19"/>
                    <a:pt x="309" y="19"/>
                  </a:cubicBezTo>
                  <a:cubicBezTo>
                    <a:pt x="309" y="9"/>
                    <a:pt x="300" y="4"/>
                    <a:pt x="281" y="4"/>
                  </a:cubicBezTo>
                  <a:cubicBezTo>
                    <a:pt x="261" y="4"/>
                    <a:pt x="252" y="9"/>
                    <a:pt x="252" y="19"/>
                  </a:cubicBezTo>
                  <a:lnTo>
                    <a:pt x="252" y="439"/>
                  </a:lnTo>
                  <a:close/>
                  <a:moveTo>
                    <a:pt x="0" y="439"/>
                  </a:moveTo>
                  <a:cubicBezTo>
                    <a:pt x="0" y="449"/>
                    <a:pt x="8" y="454"/>
                    <a:pt x="28" y="454"/>
                  </a:cubicBezTo>
                  <a:cubicBezTo>
                    <a:pt x="48" y="454"/>
                    <a:pt x="56" y="449"/>
                    <a:pt x="56" y="439"/>
                  </a:cubicBezTo>
                  <a:cubicBezTo>
                    <a:pt x="56" y="157"/>
                    <a:pt x="56" y="157"/>
                    <a:pt x="56" y="157"/>
                  </a:cubicBezTo>
                  <a:cubicBezTo>
                    <a:pt x="56" y="83"/>
                    <a:pt x="85" y="53"/>
                    <a:pt x="165" y="53"/>
                  </a:cubicBezTo>
                  <a:cubicBezTo>
                    <a:pt x="180" y="53"/>
                    <a:pt x="180" y="53"/>
                    <a:pt x="180" y="53"/>
                  </a:cubicBezTo>
                  <a:cubicBezTo>
                    <a:pt x="192" y="53"/>
                    <a:pt x="196" y="43"/>
                    <a:pt x="196" y="27"/>
                  </a:cubicBezTo>
                  <a:cubicBezTo>
                    <a:pt x="196" y="8"/>
                    <a:pt x="185" y="4"/>
                    <a:pt x="154" y="4"/>
                  </a:cubicBezTo>
                  <a:cubicBezTo>
                    <a:pt x="64" y="4"/>
                    <a:pt x="0" y="43"/>
                    <a:pt x="0" y="152"/>
                  </a:cubicBezTo>
                  <a:lnTo>
                    <a:pt x="0" y="43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sp>
          <p:nvSpPr>
            <p:cNvPr id="22" name="Freeform 10">
              <a:extLst>
                <a:ext uri="{FF2B5EF4-FFF2-40B4-BE49-F238E27FC236}">
                  <a16:creationId xmlns:a16="http://schemas.microsoft.com/office/drawing/2014/main" id="{2B91B16B-BC11-E547-8FAC-B9B8D18EA449}"/>
                </a:ext>
              </a:extLst>
            </p:cNvPr>
            <p:cNvSpPr>
              <a:spLocks/>
            </p:cNvSpPr>
            <p:nvPr/>
          </p:nvSpPr>
          <p:spPr bwMode="gray">
            <a:xfrm>
              <a:off x="2880" y="1704"/>
              <a:ext cx="618" cy="916"/>
            </a:xfrm>
            <a:custGeom>
              <a:avLst/>
              <a:gdLst>
                <a:gd name="T0" fmla="*/ 307 w 307"/>
                <a:gd name="T1" fmla="*/ 405 h 455"/>
                <a:gd name="T2" fmla="*/ 307 w 307"/>
                <a:gd name="T3" fmla="*/ 244 h 455"/>
                <a:gd name="T4" fmla="*/ 279 w 307"/>
                <a:gd name="T5" fmla="*/ 229 h 455"/>
                <a:gd name="T6" fmla="*/ 250 w 307"/>
                <a:gd name="T7" fmla="*/ 244 h 455"/>
                <a:gd name="T8" fmla="*/ 250 w 307"/>
                <a:gd name="T9" fmla="*/ 378 h 455"/>
                <a:gd name="T10" fmla="*/ 199 w 307"/>
                <a:gd name="T11" fmla="*/ 408 h 455"/>
                <a:gd name="T12" fmla="*/ 61 w 307"/>
                <a:gd name="T13" fmla="*/ 231 h 455"/>
                <a:gd name="T14" fmla="*/ 238 w 307"/>
                <a:gd name="T15" fmla="*/ 49 h 455"/>
                <a:gd name="T16" fmla="*/ 270 w 307"/>
                <a:gd name="T17" fmla="*/ 49 h 455"/>
                <a:gd name="T18" fmla="*/ 286 w 307"/>
                <a:gd name="T19" fmla="*/ 23 h 455"/>
                <a:gd name="T20" fmla="*/ 244 w 307"/>
                <a:gd name="T21" fmla="*/ 0 h 455"/>
                <a:gd name="T22" fmla="*/ 231 w 307"/>
                <a:gd name="T23" fmla="*/ 0 h 455"/>
                <a:gd name="T24" fmla="*/ 0 w 307"/>
                <a:gd name="T25" fmla="*/ 232 h 455"/>
                <a:gd name="T26" fmla="*/ 198 w 307"/>
                <a:gd name="T27" fmla="*/ 455 h 455"/>
                <a:gd name="T28" fmla="*/ 307 w 307"/>
                <a:gd name="T29" fmla="*/ 405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7" h="455">
                  <a:moveTo>
                    <a:pt x="307" y="405"/>
                  </a:moveTo>
                  <a:cubicBezTo>
                    <a:pt x="307" y="244"/>
                    <a:pt x="307" y="244"/>
                    <a:pt x="307" y="244"/>
                  </a:cubicBezTo>
                  <a:cubicBezTo>
                    <a:pt x="307" y="234"/>
                    <a:pt x="298" y="229"/>
                    <a:pt x="279" y="229"/>
                  </a:cubicBezTo>
                  <a:cubicBezTo>
                    <a:pt x="259" y="229"/>
                    <a:pt x="250" y="234"/>
                    <a:pt x="250" y="244"/>
                  </a:cubicBezTo>
                  <a:cubicBezTo>
                    <a:pt x="250" y="378"/>
                    <a:pt x="250" y="378"/>
                    <a:pt x="250" y="378"/>
                  </a:cubicBezTo>
                  <a:cubicBezTo>
                    <a:pt x="250" y="399"/>
                    <a:pt x="241" y="408"/>
                    <a:pt x="199" y="408"/>
                  </a:cubicBezTo>
                  <a:cubicBezTo>
                    <a:pt x="114" y="408"/>
                    <a:pt x="61" y="342"/>
                    <a:pt x="61" y="231"/>
                  </a:cubicBezTo>
                  <a:cubicBezTo>
                    <a:pt x="61" y="115"/>
                    <a:pt x="126" y="49"/>
                    <a:pt x="238" y="49"/>
                  </a:cubicBezTo>
                  <a:cubicBezTo>
                    <a:pt x="270" y="49"/>
                    <a:pt x="270" y="49"/>
                    <a:pt x="270" y="49"/>
                  </a:cubicBezTo>
                  <a:cubicBezTo>
                    <a:pt x="282" y="49"/>
                    <a:pt x="286" y="39"/>
                    <a:pt x="286" y="23"/>
                  </a:cubicBezTo>
                  <a:cubicBezTo>
                    <a:pt x="286" y="4"/>
                    <a:pt x="275" y="0"/>
                    <a:pt x="244" y="0"/>
                  </a:cubicBezTo>
                  <a:cubicBezTo>
                    <a:pt x="231" y="0"/>
                    <a:pt x="231" y="0"/>
                    <a:pt x="231" y="0"/>
                  </a:cubicBezTo>
                  <a:cubicBezTo>
                    <a:pt x="101" y="0"/>
                    <a:pt x="0" y="71"/>
                    <a:pt x="0" y="232"/>
                  </a:cubicBezTo>
                  <a:cubicBezTo>
                    <a:pt x="0" y="386"/>
                    <a:pt x="88" y="455"/>
                    <a:pt x="198" y="455"/>
                  </a:cubicBezTo>
                  <a:cubicBezTo>
                    <a:pt x="286" y="455"/>
                    <a:pt x="307" y="430"/>
                    <a:pt x="307" y="40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sp>
          <p:nvSpPr>
            <p:cNvPr id="23" name="Oval 11">
              <a:extLst>
                <a:ext uri="{FF2B5EF4-FFF2-40B4-BE49-F238E27FC236}">
                  <a16:creationId xmlns:a16="http://schemas.microsoft.com/office/drawing/2014/main" id="{14F8C3C8-4888-7646-B9B4-64EB46A1DA23}"/>
                </a:ext>
              </a:extLst>
            </p:cNvPr>
            <p:cNvSpPr>
              <a:spLocks noChangeArrowheads="1"/>
            </p:cNvSpPr>
            <p:nvPr/>
          </p:nvSpPr>
          <p:spPr bwMode="gray">
            <a:xfrm>
              <a:off x="3778" y="2099"/>
              <a:ext cx="122" cy="12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sp>
          <p:nvSpPr>
            <p:cNvPr id="24" name="Freeform 12">
              <a:extLst>
                <a:ext uri="{FF2B5EF4-FFF2-40B4-BE49-F238E27FC236}">
                  <a16:creationId xmlns:a16="http://schemas.microsoft.com/office/drawing/2014/main" id="{D79D01D1-4E3E-F34B-97D7-2D387E68746E}"/>
                </a:ext>
              </a:extLst>
            </p:cNvPr>
            <p:cNvSpPr>
              <a:spLocks/>
            </p:cNvSpPr>
            <p:nvPr/>
          </p:nvSpPr>
          <p:spPr bwMode="gray">
            <a:xfrm>
              <a:off x="4321" y="1029"/>
              <a:ext cx="648" cy="649"/>
            </a:xfrm>
            <a:custGeom>
              <a:avLst/>
              <a:gdLst>
                <a:gd name="T0" fmla="*/ 0 w 648"/>
                <a:gd name="T1" fmla="*/ 649 h 649"/>
                <a:gd name="T2" fmla="*/ 2 w 648"/>
                <a:gd name="T3" fmla="*/ 649 h 649"/>
                <a:gd name="T4" fmla="*/ 648 w 648"/>
                <a:gd name="T5" fmla="*/ 0 h 649"/>
                <a:gd name="T6" fmla="*/ 423 w 648"/>
                <a:gd name="T7" fmla="*/ 0 h 649"/>
                <a:gd name="T8" fmla="*/ 0 w 648"/>
                <a:gd name="T9" fmla="*/ 649 h 649"/>
              </a:gdLst>
              <a:ahLst/>
              <a:cxnLst>
                <a:cxn ang="0">
                  <a:pos x="T0" y="T1"/>
                </a:cxn>
                <a:cxn ang="0">
                  <a:pos x="T2" y="T3"/>
                </a:cxn>
                <a:cxn ang="0">
                  <a:pos x="T4" y="T5"/>
                </a:cxn>
                <a:cxn ang="0">
                  <a:pos x="T6" y="T7"/>
                </a:cxn>
                <a:cxn ang="0">
                  <a:pos x="T8" y="T9"/>
                </a:cxn>
              </a:cxnLst>
              <a:rect l="0" t="0" r="r" b="b"/>
              <a:pathLst>
                <a:path w="648" h="649">
                  <a:moveTo>
                    <a:pt x="0" y="649"/>
                  </a:moveTo>
                  <a:lnTo>
                    <a:pt x="2" y="649"/>
                  </a:lnTo>
                  <a:lnTo>
                    <a:pt x="648" y="0"/>
                  </a:lnTo>
                  <a:lnTo>
                    <a:pt x="423" y="0"/>
                  </a:lnTo>
                  <a:lnTo>
                    <a:pt x="0" y="64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sp>
          <p:nvSpPr>
            <p:cNvPr id="26" name="Freeform 13">
              <a:extLst>
                <a:ext uri="{FF2B5EF4-FFF2-40B4-BE49-F238E27FC236}">
                  <a16:creationId xmlns:a16="http://schemas.microsoft.com/office/drawing/2014/main" id="{46549898-6C52-B147-A8F6-A73FDBE6163B}"/>
                </a:ext>
              </a:extLst>
            </p:cNvPr>
            <p:cNvSpPr>
              <a:spLocks/>
            </p:cNvSpPr>
            <p:nvPr/>
          </p:nvSpPr>
          <p:spPr bwMode="gray">
            <a:xfrm>
              <a:off x="4321" y="1029"/>
              <a:ext cx="648" cy="649"/>
            </a:xfrm>
            <a:custGeom>
              <a:avLst/>
              <a:gdLst>
                <a:gd name="T0" fmla="*/ 0 w 648"/>
                <a:gd name="T1" fmla="*/ 649 h 649"/>
                <a:gd name="T2" fmla="*/ 2 w 648"/>
                <a:gd name="T3" fmla="*/ 649 h 649"/>
                <a:gd name="T4" fmla="*/ 648 w 648"/>
                <a:gd name="T5" fmla="*/ 0 h 649"/>
                <a:gd name="T6" fmla="*/ 423 w 648"/>
                <a:gd name="T7" fmla="*/ 0 h 649"/>
                <a:gd name="T8" fmla="*/ 0 w 648"/>
                <a:gd name="T9" fmla="*/ 649 h 649"/>
              </a:gdLst>
              <a:ahLst/>
              <a:cxnLst>
                <a:cxn ang="0">
                  <a:pos x="T0" y="T1"/>
                </a:cxn>
                <a:cxn ang="0">
                  <a:pos x="T2" y="T3"/>
                </a:cxn>
                <a:cxn ang="0">
                  <a:pos x="T4" y="T5"/>
                </a:cxn>
                <a:cxn ang="0">
                  <a:pos x="T6" y="T7"/>
                </a:cxn>
                <a:cxn ang="0">
                  <a:pos x="T8" y="T9"/>
                </a:cxn>
              </a:cxnLst>
              <a:rect l="0" t="0" r="r" b="b"/>
              <a:pathLst>
                <a:path w="648" h="649">
                  <a:moveTo>
                    <a:pt x="0" y="649"/>
                  </a:moveTo>
                  <a:lnTo>
                    <a:pt x="2" y="649"/>
                  </a:lnTo>
                  <a:lnTo>
                    <a:pt x="648" y="0"/>
                  </a:lnTo>
                  <a:lnTo>
                    <a:pt x="423" y="0"/>
                  </a:lnTo>
                  <a:lnTo>
                    <a:pt x="0" y="64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grpSp>
      <p:sp>
        <p:nvSpPr>
          <p:cNvPr id="20" name="shp1">
            <a:extLst>
              <a:ext uri="{FF2B5EF4-FFF2-40B4-BE49-F238E27FC236}">
                <a16:creationId xmlns:a16="http://schemas.microsoft.com/office/drawing/2014/main" id="{1AD9883E-0B1C-504A-A979-9C5803172360}"/>
              </a:ext>
            </a:extLst>
          </p:cNvPr>
          <p:cNvSpPr/>
          <p:nvPr/>
        </p:nvSpPr>
        <p:spPr>
          <a:xfrm>
            <a:off x="192088" y="1"/>
            <a:ext cx="215900" cy="144938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de-DE" sz="1351"/>
          </a:p>
        </p:txBody>
      </p:sp>
      <p:sp>
        <p:nvSpPr>
          <p:cNvPr id="7" name="copyright"/>
          <p:cNvSpPr txBox="1"/>
          <p:nvPr/>
        </p:nvSpPr>
        <p:spPr>
          <a:xfrm>
            <a:off x="10672209" y="6461671"/>
            <a:ext cx="500617" cy="133790"/>
          </a:xfrm>
          <a:prstGeom prst="rect">
            <a:avLst/>
          </a:prstGeom>
          <a:noFill/>
        </p:spPr>
        <p:txBody>
          <a:bodyPr wrap="none" lIns="0" tIns="0" rIns="0" bIns="0" rtlCol="0" anchor="b" anchorCtr="0">
            <a:noAutofit/>
          </a:bodyPr>
          <a:lstStyle/>
          <a:p>
            <a:pPr marL="0" indent="0" algn="r">
              <a:lnSpc>
                <a:spcPct val="125000"/>
              </a:lnSpc>
              <a:buClr>
                <a:schemeClr val="tx2"/>
              </a:buClr>
              <a:buFont typeface="Wingdings" panose="05000000000000000000" pitchFamily="2" charset="2"/>
              <a:buNone/>
            </a:pPr>
            <a:r>
              <a:rPr lang="en-US" sz="800" dirty="0"/>
              <a:t>© GfK</a:t>
            </a:r>
          </a:p>
        </p:txBody>
      </p:sp>
      <p:sp>
        <p:nvSpPr>
          <p:cNvPr id="30" name="Slide Number Placeholder 29"/>
          <p:cNvSpPr>
            <a:spLocks noGrp="1"/>
          </p:cNvSpPr>
          <p:nvPr>
            <p:ph type="sldNum" sz="quarter" idx="4"/>
          </p:nvPr>
        </p:nvSpPr>
        <p:spPr>
          <a:xfrm>
            <a:off x="11186669" y="6461671"/>
            <a:ext cx="648000" cy="133790"/>
          </a:xfrm>
          <a:prstGeom prst="rect">
            <a:avLst/>
          </a:prstGeom>
        </p:spPr>
        <p:txBody>
          <a:bodyPr vert="horz" lIns="0" tIns="0" rIns="0" bIns="0" rtlCol="0" anchor="b" anchorCtr="0"/>
          <a:lstStyle>
            <a:lvl1pPr algn="r">
              <a:defRPr sz="800">
                <a:solidFill>
                  <a:schemeClr val="tx1"/>
                </a:solidFill>
              </a:defRPr>
            </a:lvl1pPr>
          </a:lstStyle>
          <a:p>
            <a:fld id="{5F3E29E4-0979-4FCA-B4C5-5FC6044C982A}" type="slidenum">
              <a:rPr lang="en-US" smtClean="0"/>
              <a:pPr/>
              <a:t>‹#›</a:t>
            </a:fld>
            <a:endParaRPr lang="en-US"/>
          </a:p>
        </p:txBody>
      </p:sp>
      <p:sp>
        <p:nvSpPr>
          <p:cNvPr id="2" name="Title Placeholder 1"/>
          <p:cNvSpPr>
            <a:spLocks noGrp="1"/>
          </p:cNvSpPr>
          <p:nvPr>
            <p:ph type="title"/>
          </p:nvPr>
        </p:nvSpPr>
        <p:spPr>
          <a:xfrm>
            <a:off x="1075061" y="288922"/>
            <a:ext cx="7910158" cy="648000"/>
          </a:xfrm>
          <a:prstGeom prst="rect">
            <a:avLst/>
          </a:prstGeom>
        </p:spPr>
        <p:txBody>
          <a:bodyPr vert="horz" lIns="0" tIns="0" rIns="0" bIns="0" rtlCol="0" anchor="t">
            <a:noAutofit/>
          </a:bodyPr>
          <a:lstStyle/>
          <a:p>
            <a:r>
              <a:rPr lang="ru-RU"/>
              <a:t>Образец заголовка</a:t>
            </a:r>
            <a:endParaRPr lang="en-US" dirty="0"/>
          </a:p>
        </p:txBody>
      </p:sp>
      <p:sp>
        <p:nvSpPr>
          <p:cNvPr id="3" name="Text Placeholder 2"/>
          <p:cNvSpPr>
            <a:spLocks noGrp="1"/>
          </p:cNvSpPr>
          <p:nvPr>
            <p:ph type="body" idx="1"/>
          </p:nvPr>
        </p:nvSpPr>
        <p:spPr>
          <a:xfrm>
            <a:off x="1075062" y="1629618"/>
            <a:ext cx="10097764" cy="4139357"/>
          </a:xfrm>
          <a:prstGeom prst="rect">
            <a:avLst/>
          </a:prstGeom>
        </p:spPr>
        <p:txBody>
          <a:bodyPr vert="horz" lIns="0" tIns="0" rIns="0" bIns="0" rtlCol="0">
            <a:noAutofit/>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endParaRPr lang="en-US" dirty="0"/>
          </a:p>
        </p:txBody>
      </p:sp>
    </p:spTree>
    <p:extLst>
      <p:ext uri="{BB962C8B-B14F-4D97-AF65-F5344CB8AC3E}">
        <p14:creationId xmlns:p14="http://schemas.microsoft.com/office/powerpoint/2010/main" val="4115338235"/>
      </p:ext>
    </p:extLst>
  </p:cSld>
  <p:clrMap bg1="lt1" tx1="dk1" bg2="lt2" tx2="dk2" accent1="accent1" accent2="accent2" accent3="accent3" accent4="accent4" accent5="accent5" accent6="accent6" hlink="hlink" folHlink="folHlink"/>
  <p:sldLayoutIdLst>
    <p:sldLayoutId id="2147485035" r:id="rId1"/>
    <p:sldLayoutId id="2147485036" r:id="rId2"/>
    <p:sldLayoutId id="2147485037" r:id="rId3"/>
    <p:sldLayoutId id="2147485038" r:id="rId4"/>
    <p:sldLayoutId id="2147485039" r:id="rId5"/>
    <p:sldLayoutId id="2147485040" r:id="rId6"/>
    <p:sldLayoutId id="2147485041" r:id="rId7"/>
    <p:sldLayoutId id="2147485042" r:id="rId8"/>
    <p:sldLayoutId id="2147485043" r:id="rId9"/>
    <p:sldLayoutId id="2147485044" r:id="rId10"/>
    <p:sldLayoutId id="2147485045" r:id="rId11"/>
    <p:sldLayoutId id="2147485046" r:id="rId12"/>
    <p:sldLayoutId id="2147485047" r:id="rId13"/>
    <p:sldLayoutId id="2147485048" r:id="rId14"/>
    <p:sldLayoutId id="2147485049" r:id="rId15"/>
    <p:sldLayoutId id="2147485050" r:id="rId16"/>
    <p:sldLayoutId id="2147485051" r:id="rId17"/>
    <p:sldLayoutId id="2147485052" r:id="rId18"/>
    <p:sldLayoutId id="2147485053" r:id="rId19"/>
    <p:sldLayoutId id="2147485054" r:id="rId20"/>
    <p:sldLayoutId id="2147485055" r:id="rId21"/>
    <p:sldLayoutId id="2147485056" r:id="rId22"/>
    <p:sldLayoutId id="2147485057" r:id="rId23"/>
    <p:sldLayoutId id="2147485058" r:id="rId24"/>
    <p:sldLayoutId id="2147485059" r:id="rId25"/>
    <p:sldLayoutId id="2147485060" r:id="rId26"/>
    <p:sldLayoutId id="2147485061" r:id="rId27"/>
  </p:sldLayoutIdLst>
  <p:hf hdr="0"/>
  <p:txStyles>
    <p:titleStyle>
      <a:lvl1pPr algn="l" defTabSz="914400" rtl="0" eaLnBrk="1" latinLnBrk="0" hangingPunct="1">
        <a:lnSpc>
          <a:spcPct val="100000"/>
        </a:lnSpc>
        <a:spcBef>
          <a:spcPct val="0"/>
        </a:spcBef>
        <a:buNone/>
        <a:defRPr sz="3600" kern="1200">
          <a:solidFill>
            <a:schemeClr val="tx1"/>
          </a:solidFill>
          <a:latin typeface="+mj-lt"/>
          <a:ea typeface="+mj-ea"/>
          <a:cs typeface="+mj-cs"/>
        </a:defRPr>
      </a:lvl1pPr>
    </p:titleStyle>
    <p:bodyStyle>
      <a:lvl1pPr marL="252000" indent="-252000" algn="l" defTabSz="914400" rtl="0" eaLnBrk="1" latinLnBrk="0" hangingPunct="1">
        <a:lnSpc>
          <a:spcPct val="110000"/>
        </a:lnSpc>
        <a:spcBef>
          <a:spcPts val="1000"/>
        </a:spcBef>
        <a:buClr>
          <a:schemeClr val="tx2"/>
        </a:buClr>
        <a:buFont typeface="Wingdings" panose="05000000000000000000" pitchFamily="2" charset="2"/>
        <a:buChar char="§"/>
        <a:defRPr sz="2800" kern="1200">
          <a:solidFill>
            <a:schemeClr val="tx1"/>
          </a:solidFill>
          <a:latin typeface="+mn-lt"/>
          <a:ea typeface="+mn-ea"/>
          <a:cs typeface="+mn-cs"/>
        </a:defRPr>
      </a:lvl1pPr>
      <a:lvl2pPr marL="648000" indent="-252000" algn="l" defTabSz="914400" rtl="0" eaLnBrk="1" latinLnBrk="0" hangingPunct="1">
        <a:lnSpc>
          <a:spcPct val="110000"/>
        </a:lnSpc>
        <a:spcBef>
          <a:spcPts val="600"/>
        </a:spcBef>
        <a:buClr>
          <a:schemeClr val="tx2"/>
        </a:buClr>
        <a:buFont typeface="Wingdings" panose="05000000000000000000" pitchFamily="2" charset="2"/>
        <a:buChar char="§"/>
        <a:defRPr sz="2400" kern="1200">
          <a:solidFill>
            <a:schemeClr val="tx1"/>
          </a:solidFill>
          <a:latin typeface="+mn-lt"/>
          <a:ea typeface="+mn-ea"/>
          <a:cs typeface="+mn-cs"/>
        </a:defRPr>
      </a:lvl2pPr>
      <a:lvl3pPr marL="1080000" indent="-252000" algn="l" defTabSz="914400" rtl="0" eaLnBrk="1" latinLnBrk="0" hangingPunct="1">
        <a:lnSpc>
          <a:spcPct val="110000"/>
        </a:lnSpc>
        <a:spcBef>
          <a:spcPts val="600"/>
        </a:spcBef>
        <a:buClr>
          <a:schemeClr val="tx2"/>
        </a:buClr>
        <a:buFont typeface="Wingdings" panose="05000000000000000000" pitchFamily="2" charset="2"/>
        <a:buChar char="§"/>
        <a:defRPr sz="2000" kern="1200">
          <a:solidFill>
            <a:schemeClr val="tx1"/>
          </a:solidFill>
          <a:latin typeface="+mn-lt"/>
          <a:ea typeface="+mn-ea"/>
          <a:cs typeface="+mn-cs"/>
        </a:defRPr>
      </a:lvl3pPr>
      <a:lvl4pPr marL="0" indent="0" algn="l" defTabSz="914400" rtl="0" eaLnBrk="1" latinLnBrk="0" hangingPunct="1">
        <a:lnSpc>
          <a:spcPct val="110000"/>
        </a:lnSpc>
        <a:spcBef>
          <a:spcPts val="600"/>
        </a:spcBef>
        <a:buClr>
          <a:schemeClr val="tx2"/>
        </a:buClr>
        <a:buFont typeface="Lato" panose="020F0502020204030203" pitchFamily="34" charset="0"/>
        <a:buChar char="​"/>
        <a:defRPr sz="1600" kern="1200">
          <a:solidFill>
            <a:schemeClr val="tx1"/>
          </a:solidFill>
          <a:latin typeface="+mn-lt"/>
          <a:ea typeface="+mn-ea"/>
          <a:cs typeface="+mn-cs"/>
        </a:defRPr>
      </a:lvl4pPr>
      <a:lvl5pPr marL="252000" indent="-252000" algn="l" defTabSz="914400" rtl="0" eaLnBrk="1" latinLnBrk="0" hangingPunct="1">
        <a:lnSpc>
          <a:spcPct val="110000"/>
        </a:lnSpc>
        <a:spcBef>
          <a:spcPts val="600"/>
        </a:spcBef>
        <a:buClr>
          <a:schemeClr val="tx2"/>
        </a:buClr>
        <a:buFont typeface="Wingdings" panose="05000000000000000000" pitchFamily="2" charset="2"/>
        <a:buChar char="§"/>
        <a:defRPr sz="1600" kern="1200">
          <a:solidFill>
            <a:schemeClr val="tx1"/>
          </a:solidFill>
          <a:latin typeface="+mn-lt"/>
          <a:ea typeface="+mn-ea"/>
          <a:cs typeface="+mn-cs"/>
        </a:defRPr>
      </a:lvl5pPr>
      <a:lvl6pPr marL="648000" indent="-252000" algn="l" defTabSz="914400" rtl="0" eaLnBrk="1" latinLnBrk="0" hangingPunct="1">
        <a:lnSpc>
          <a:spcPct val="110000"/>
        </a:lnSpc>
        <a:spcBef>
          <a:spcPts val="600"/>
        </a:spcBef>
        <a:buClr>
          <a:schemeClr val="tx2"/>
        </a:buClr>
        <a:buFont typeface="Wingdings" panose="05000000000000000000" pitchFamily="2" charset="2"/>
        <a:buChar char="§"/>
        <a:defRPr sz="1600" kern="1200">
          <a:solidFill>
            <a:schemeClr val="tx1"/>
          </a:solidFill>
          <a:latin typeface="+mn-lt"/>
          <a:ea typeface="+mn-ea"/>
          <a:cs typeface="+mn-cs"/>
        </a:defRPr>
      </a:lvl6pPr>
      <a:lvl7pPr marL="1080000" indent="-252000" algn="l" defTabSz="914400" rtl="0" eaLnBrk="1" latinLnBrk="0" hangingPunct="1">
        <a:lnSpc>
          <a:spcPct val="110000"/>
        </a:lnSpc>
        <a:spcBef>
          <a:spcPts val="600"/>
        </a:spcBef>
        <a:buClr>
          <a:schemeClr val="tx2"/>
        </a:buClr>
        <a:buFont typeface="Wingdings" panose="05000000000000000000" pitchFamily="2" charset="2"/>
        <a:buChar char="§"/>
        <a:defRPr sz="1600" kern="1200">
          <a:solidFill>
            <a:schemeClr val="tx1"/>
          </a:solidFill>
          <a:latin typeface="+mn-lt"/>
          <a:ea typeface="+mn-ea"/>
          <a:cs typeface="+mn-cs"/>
        </a:defRPr>
      </a:lvl7pPr>
      <a:lvl8pPr marL="1512000" indent="-252000" algn="l" defTabSz="914400" rtl="0" eaLnBrk="1" latinLnBrk="0" hangingPunct="1">
        <a:lnSpc>
          <a:spcPct val="110000"/>
        </a:lnSpc>
        <a:spcBef>
          <a:spcPts val="600"/>
        </a:spcBef>
        <a:buClr>
          <a:schemeClr val="tx2"/>
        </a:buClr>
        <a:buFont typeface="Wingdings" panose="05000000000000000000" pitchFamily="2" charset="2"/>
        <a:buChar char="§"/>
        <a:defRPr sz="1600" kern="1200">
          <a:solidFill>
            <a:schemeClr val="tx1"/>
          </a:solidFill>
          <a:latin typeface="+mn-lt"/>
          <a:ea typeface="+mn-ea"/>
          <a:cs typeface="+mn-cs"/>
        </a:defRPr>
      </a:lvl8pPr>
      <a:lvl9pPr marL="1944000" indent="-252000" algn="l" defTabSz="914400" rtl="0" eaLnBrk="1" latinLnBrk="0" hangingPunct="1">
        <a:lnSpc>
          <a:spcPct val="110000"/>
        </a:lnSpc>
        <a:spcBef>
          <a:spcPts val="600"/>
        </a:spcBef>
        <a:buClr>
          <a:schemeClr val="tx2"/>
        </a:buClr>
        <a:buFont typeface="Wingdings" panose="05000000000000000000" pitchFamily="2" charset="2"/>
        <a:buChar char="§"/>
        <a:defRPr sz="16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319">
          <p15:clr>
            <a:srgbClr val="5ACBF0"/>
          </p15:clr>
        </p15:guide>
        <p15:guide id="3" pos="257">
          <p15:clr>
            <a:srgbClr val="5ACBF0"/>
          </p15:clr>
        </p15:guide>
        <p15:guide id="4" pos="675">
          <p15:clr>
            <a:srgbClr val="5ACBF0"/>
          </p15:clr>
        </p15:guide>
        <p15:guide id="5" pos="7038">
          <p15:clr>
            <a:srgbClr val="5ACBF0"/>
          </p15:clr>
        </p15:guide>
        <p15:guide id="6" pos="7446">
          <p15:clr>
            <a:srgbClr val="5ACBF0"/>
          </p15:clr>
        </p15:guide>
        <p15:guide id="7" orient="horz" pos="255">
          <p15:clr>
            <a:srgbClr val="5ACBF0"/>
          </p15:clr>
        </p15:guide>
        <p15:guide id="8" orient="horz" pos="663">
          <p15:clr>
            <a:srgbClr val="5ACBF0"/>
          </p15:clr>
        </p15:guide>
        <p15:guide id="9" orient="horz" pos="799">
          <p15:clr>
            <a:srgbClr val="5ACBF0"/>
          </p15:clr>
        </p15:guide>
        <p15:guide id="10" orient="horz" pos="1026">
          <p15:clr>
            <a:srgbClr val="5ACBF0"/>
          </p15:clr>
        </p15:guide>
        <p15:guide id="11" orient="horz" pos="3634">
          <p15:clr>
            <a:srgbClr val="5ACBF0"/>
          </p15:clr>
        </p15:guide>
        <p15:guide id="12" orient="horz" pos="3929">
          <p15:clr>
            <a:srgbClr val="5ACBF0"/>
          </p15:clr>
        </p15:guide>
        <p15:guide id="13" orient="horz" pos="4133">
          <p15:clr>
            <a:srgbClr val="5ACBF0"/>
          </p15:clr>
        </p15:guide>
      </p15:sldGuideLst>
    </p:ext>
  </p:extLst>
</p:sldMaster>
</file>

<file path=ppt/slideMasters/slideMaster2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 name="VCT_Marker_ID_4" hidden="1"/>
          <p:cNvSpPr/>
          <p:nvPr>
            <p:custDataLst>
              <p:tags r:id="rId5"/>
            </p:custDataLst>
          </p:nvPr>
        </p:nvSpPr>
        <p:spPr bwMode="gray">
          <a:xfrm>
            <a:off x="1693334" y="126962"/>
            <a:ext cx="169333" cy="126961"/>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buFont typeface="Arial" charset="0"/>
              <a:buNone/>
              <a:defRPr/>
            </a:pPr>
            <a:endParaRPr lang="de-DE" sz="2399">
              <a:solidFill>
                <a:schemeClr val="tx1"/>
              </a:solidFill>
            </a:endParaRPr>
          </a:p>
        </p:txBody>
      </p:sp>
      <p:grpSp>
        <p:nvGrpSpPr>
          <p:cNvPr id="1027" name="Group 69"/>
          <p:cNvGrpSpPr>
            <a:grpSpLocks/>
          </p:cNvGrpSpPr>
          <p:nvPr/>
        </p:nvGrpSpPr>
        <p:grpSpPr bwMode="auto">
          <a:xfrm>
            <a:off x="431800" y="-410507"/>
            <a:ext cx="11328400" cy="287778"/>
            <a:chOff x="204" y="-194"/>
            <a:chExt cx="5352" cy="136"/>
          </a:xfrm>
        </p:grpSpPr>
        <p:cxnSp>
          <p:nvCxnSpPr>
            <p:cNvPr id="64" name="Gerade Verbindung 63"/>
            <p:cNvCxnSpPr/>
            <p:nvPr/>
          </p:nvCxnSpPr>
          <p:spPr bwMode="gray">
            <a:xfrm rot="5400000">
              <a:off x="136" y="-126"/>
              <a:ext cx="136"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5" name="Gerade Verbindung 64"/>
            <p:cNvCxnSpPr/>
            <p:nvPr/>
          </p:nvCxnSpPr>
          <p:spPr bwMode="gray">
            <a:xfrm rot="5400000">
              <a:off x="952" y="-126"/>
              <a:ext cx="136"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7" name="Gerade Verbindung 66"/>
            <p:cNvCxnSpPr/>
            <p:nvPr/>
          </p:nvCxnSpPr>
          <p:spPr bwMode="gray">
            <a:xfrm rot="5400000">
              <a:off x="1043" y="-126"/>
              <a:ext cx="136"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8" name="Gerade Verbindung 67"/>
            <p:cNvCxnSpPr/>
            <p:nvPr/>
          </p:nvCxnSpPr>
          <p:spPr bwMode="gray">
            <a:xfrm rot="5400000">
              <a:off x="1859" y="-126"/>
              <a:ext cx="136"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9" name="Gerade Verbindung 68"/>
            <p:cNvCxnSpPr/>
            <p:nvPr/>
          </p:nvCxnSpPr>
          <p:spPr bwMode="gray">
            <a:xfrm rot="5400000">
              <a:off x="1950" y="-126"/>
              <a:ext cx="136"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0" name="Gerade Verbindung 69"/>
            <p:cNvCxnSpPr/>
            <p:nvPr/>
          </p:nvCxnSpPr>
          <p:spPr bwMode="gray">
            <a:xfrm rot="5400000">
              <a:off x="2767" y="-126"/>
              <a:ext cx="136"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1" name="Gerade Verbindung 70"/>
            <p:cNvCxnSpPr/>
            <p:nvPr/>
          </p:nvCxnSpPr>
          <p:spPr bwMode="gray">
            <a:xfrm rot="5400000">
              <a:off x="2857" y="-126"/>
              <a:ext cx="136"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2" name="Gerade Verbindung 71"/>
            <p:cNvCxnSpPr/>
            <p:nvPr/>
          </p:nvCxnSpPr>
          <p:spPr bwMode="gray">
            <a:xfrm rot="5400000">
              <a:off x="3674" y="-126"/>
              <a:ext cx="136"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3" name="Gerade Verbindung 72"/>
            <p:cNvCxnSpPr/>
            <p:nvPr/>
          </p:nvCxnSpPr>
          <p:spPr bwMode="gray">
            <a:xfrm rot="5400000">
              <a:off x="3764" y="-126"/>
              <a:ext cx="136"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4" name="Gerade Verbindung 73"/>
            <p:cNvCxnSpPr/>
            <p:nvPr/>
          </p:nvCxnSpPr>
          <p:spPr bwMode="gray">
            <a:xfrm rot="5400000">
              <a:off x="4581" y="-126"/>
              <a:ext cx="136"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5" name="Gerade Verbindung 74"/>
            <p:cNvCxnSpPr/>
            <p:nvPr/>
          </p:nvCxnSpPr>
          <p:spPr bwMode="gray">
            <a:xfrm rot="5400000">
              <a:off x="4672" y="-126"/>
              <a:ext cx="136"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6" name="Gerade Verbindung 75"/>
            <p:cNvCxnSpPr/>
            <p:nvPr/>
          </p:nvCxnSpPr>
          <p:spPr bwMode="gray">
            <a:xfrm rot="5400000">
              <a:off x="5488" y="-126"/>
              <a:ext cx="136"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028" name="Gruppieren 76"/>
          <p:cNvGrpSpPr>
            <a:grpSpLocks/>
          </p:cNvGrpSpPr>
          <p:nvPr/>
        </p:nvGrpSpPr>
        <p:grpSpPr bwMode="auto">
          <a:xfrm>
            <a:off x="431800" y="6989193"/>
            <a:ext cx="11328400" cy="287778"/>
            <a:chOff x="323850" y="-531550"/>
            <a:chExt cx="8496740" cy="432060"/>
          </a:xfrm>
        </p:grpSpPr>
        <p:cxnSp>
          <p:nvCxnSpPr>
            <p:cNvPr id="78" name="Gerade Verbindung 77"/>
            <p:cNvCxnSpPr/>
            <p:nvPr/>
          </p:nvCxnSpPr>
          <p:spPr bwMode="gray">
            <a:xfrm rot="5400000">
              <a:off x="10782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9" name="Gerade Verbindung 78"/>
            <p:cNvCxnSpPr/>
            <p:nvPr/>
          </p:nvCxnSpPr>
          <p:spPr bwMode="gray">
            <a:xfrm rot="5400000">
              <a:off x="1403287"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0" name="Gerade Verbindung 79"/>
            <p:cNvCxnSpPr/>
            <p:nvPr/>
          </p:nvCxnSpPr>
          <p:spPr bwMode="gray">
            <a:xfrm rot="5400000">
              <a:off x="1547758"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3" name="Gerade Verbindung 82"/>
            <p:cNvCxnSpPr/>
            <p:nvPr/>
          </p:nvCxnSpPr>
          <p:spPr bwMode="gray">
            <a:xfrm rot="5400000">
              <a:off x="2843225"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4" name="Gerade Verbindung 83"/>
            <p:cNvCxnSpPr/>
            <p:nvPr/>
          </p:nvCxnSpPr>
          <p:spPr bwMode="gray">
            <a:xfrm rot="5400000">
              <a:off x="2987694"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5" name="Gerade Verbindung 84"/>
            <p:cNvCxnSpPr/>
            <p:nvPr/>
          </p:nvCxnSpPr>
          <p:spPr bwMode="gray">
            <a:xfrm rot="5400000">
              <a:off x="4284749"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6" name="Gerade Verbindung 85"/>
            <p:cNvCxnSpPr/>
            <p:nvPr/>
          </p:nvCxnSpPr>
          <p:spPr bwMode="gray">
            <a:xfrm rot="5400000">
              <a:off x="4427632"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7" name="Gerade Verbindung 86"/>
            <p:cNvCxnSpPr/>
            <p:nvPr/>
          </p:nvCxnSpPr>
          <p:spPr bwMode="gray">
            <a:xfrm rot="5400000">
              <a:off x="5724686"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8" name="Gerade Verbindung 87"/>
            <p:cNvCxnSpPr/>
            <p:nvPr/>
          </p:nvCxnSpPr>
          <p:spPr bwMode="gray">
            <a:xfrm rot="5400000">
              <a:off x="5867568"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9" name="Gerade Verbindung 88"/>
            <p:cNvCxnSpPr/>
            <p:nvPr/>
          </p:nvCxnSpPr>
          <p:spPr bwMode="gray">
            <a:xfrm rot="5400000">
              <a:off x="7164623"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0" name="Gerade Verbindung 89"/>
            <p:cNvCxnSpPr/>
            <p:nvPr/>
          </p:nvCxnSpPr>
          <p:spPr bwMode="gray">
            <a:xfrm rot="5400000">
              <a:off x="7309093"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1" name="Gerade Verbindung 90"/>
            <p:cNvCxnSpPr/>
            <p:nvPr/>
          </p:nvCxnSpPr>
          <p:spPr bwMode="gray">
            <a:xfrm rot="5400000">
              <a:off x="86045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029" name="Group 95"/>
          <p:cNvGrpSpPr>
            <a:grpSpLocks/>
          </p:cNvGrpSpPr>
          <p:nvPr/>
        </p:nvGrpSpPr>
        <p:grpSpPr bwMode="auto">
          <a:xfrm>
            <a:off x="12335933" y="1030501"/>
            <a:ext cx="289984" cy="5565115"/>
            <a:chOff x="5828" y="487"/>
            <a:chExt cx="137" cy="2630"/>
          </a:xfrm>
        </p:grpSpPr>
        <p:cxnSp>
          <p:nvCxnSpPr>
            <p:cNvPr id="2" name="Gerade Verbindung 92"/>
            <p:cNvCxnSpPr/>
            <p:nvPr/>
          </p:nvCxnSpPr>
          <p:spPr bwMode="gray">
            <a:xfrm>
              <a:off x="5828" y="623"/>
              <a:ext cx="137"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 name="Gerade Verbindung 93"/>
            <p:cNvCxnSpPr/>
            <p:nvPr/>
          </p:nvCxnSpPr>
          <p:spPr bwMode="gray">
            <a:xfrm>
              <a:off x="5828" y="487"/>
              <a:ext cx="137"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 name="Gerade Verbindung 107"/>
            <p:cNvCxnSpPr/>
            <p:nvPr/>
          </p:nvCxnSpPr>
          <p:spPr bwMode="gray">
            <a:xfrm>
              <a:off x="5828" y="3117"/>
              <a:ext cx="137"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 name="Gerade Verbindung 108"/>
            <p:cNvCxnSpPr/>
            <p:nvPr/>
          </p:nvCxnSpPr>
          <p:spPr bwMode="gray">
            <a:xfrm>
              <a:off x="5828" y="3027"/>
              <a:ext cx="137"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 name="Gerade Verbindung 109"/>
            <p:cNvCxnSpPr/>
            <p:nvPr/>
          </p:nvCxnSpPr>
          <p:spPr bwMode="gray">
            <a:xfrm>
              <a:off x="5828" y="2618"/>
              <a:ext cx="137"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 name="Gerade Verbindung 110"/>
            <p:cNvCxnSpPr/>
            <p:nvPr/>
          </p:nvCxnSpPr>
          <p:spPr bwMode="gray">
            <a:xfrm>
              <a:off x="5828" y="2528"/>
              <a:ext cx="137"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 name="Gerade Verbindung 111"/>
            <p:cNvCxnSpPr/>
            <p:nvPr/>
          </p:nvCxnSpPr>
          <p:spPr bwMode="gray">
            <a:xfrm>
              <a:off x="5828" y="2119"/>
              <a:ext cx="137"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 name="Gerade Verbindung 112"/>
            <p:cNvCxnSpPr/>
            <p:nvPr/>
          </p:nvCxnSpPr>
          <p:spPr bwMode="gray">
            <a:xfrm>
              <a:off x="5828" y="2029"/>
              <a:ext cx="137"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 name="Gerade Verbindung 113"/>
            <p:cNvCxnSpPr/>
            <p:nvPr/>
          </p:nvCxnSpPr>
          <p:spPr bwMode="gray">
            <a:xfrm>
              <a:off x="5828" y="1621"/>
              <a:ext cx="137"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 name="Gerade Verbindung 114"/>
            <p:cNvCxnSpPr/>
            <p:nvPr/>
          </p:nvCxnSpPr>
          <p:spPr bwMode="gray">
            <a:xfrm>
              <a:off x="5828" y="1530"/>
              <a:ext cx="137"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 name="Gerade Verbindung 115"/>
            <p:cNvCxnSpPr/>
            <p:nvPr/>
          </p:nvCxnSpPr>
          <p:spPr bwMode="gray">
            <a:xfrm>
              <a:off x="5828" y="1122"/>
              <a:ext cx="137"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Gerade Verbindung 116"/>
            <p:cNvCxnSpPr/>
            <p:nvPr/>
          </p:nvCxnSpPr>
          <p:spPr bwMode="gray">
            <a:xfrm>
              <a:off x="5828" y="1031"/>
              <a:ext cx="137"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Gerade Verbindung 117"/>
            <p:cNvCxnSpPr/>
            <p:nvPr/>
          </p:nvCxnSpPr>
          <p:spPr bwMode="gray">
            <a:xfrm>
              <a:off x="5828" y="2981"/>
              <a:ext cx="137"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030" name="Group 109"/>
          <p:cNvGrpSpPr>
            <a:grpSpLocks/>
          </p:cNvGrpSpPr>
          <p:nvPr/>
        </p:nvGrpSpPr>
        <p:grpSpPr bwMode="auto">
          <a:xfrm>
            <a:off x="-433917" y="1030501"/>
            <a:ext cx="289984" cy="5565115"/>
            <a:chOff x="5828" y="487"/>
            <a:chExt cx="137" cy="2630"/>
          </a:xfrm>
        </p:grpSpPr>
        <p:cxnSp>
          <p:nvCxnSpPr>
            <p:cNvPr id="93" name="Gerade Verbindung 92"/>
            <p:cNvCxnSpPr/>
            <p:nvPr/>
          </p:nvCxnSpPr>
          <p:spPr bwMode="gray">
            <a:xfrm>
              <a:off x="5828" y="623"/>
              <a:ext cx="137"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4" name="Gerade Verbindung 93"/>
            <p:cNvCxnSpPr/>
            <p:nvPr/>
          </p:nvCxnSpPr>
          <p:spPr bwMode="gray">
            <a:xfrm>
              <a:off x="5828" y="487"/>
              <a:ext cx="137"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8" name="Gerade Verbindung 107"/>
            <p:cNvCxnSpPr/>
            <p:nvPr/>
          </p:nvCxnSpPr>
          <p:spPr bwMode="gray">
            <a:xfrm>
              <a:off x="5828" y="3117"/>
              <a:ext cx="137"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9" name="Gerade Verbindung 108"/>
            <p:cNvCxnSpPr/>
            <p:nvPr/>
          </p:nvCxnSpPr>
          <p:spPr bwMode="gray">
            <a:xfrm>
              <a:off x="5828" y="3027"/>
              <a:ext cx="137"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0" name="Gerade Verbindung 109"/>
            <p:cNvCxnSpPr/>
            <p:nvPr/>
          </p:nvCxnSpPr>
          <p:spPr bwMode="gray">
            <a:xfrm>
              <a:off x="5828" y="2618"/>
              <a:ext cx="137"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1" name="Gerade Verbindung 110"/>
            <p:cNvCxnSpPr/>
            <p:nvPr/>
          </p:nvCxnSpPr>
          <p:spPr bwMode="gray">
            <a:xfrm>
              <a:off x="5828" y="2528"/>
              <a:ext cx="137"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2" name="Gerade Verbindung 111"/>
            <p:cNvCxnSpPr/>
            <p:nvPr/>
          </p:nvCxnSpPr>
          <p:spPr bwMode="gray">
            <a:xfrm>
              <a:off x="5828" y="2119"/>
              <a:ext cx="137"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3" name="Gerade Verbindung 112"/>
            <p:cNvCxnSpPr/>
            <p:nvPr/>
          </p:nvCxnSpPr>
          <p:spPr bwMode="gray">
            <a:xfrm>
              <a:off x="5828" y="2029"/>
              <a:ext cx="137"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4" name="Gerade Verbindung 113"/>
            <p:cNvCxnSpPr/>
            <p:nvPr/>
          </p:nvCxnSpPr>
          <p:spPr bwMode="gray">
            <a:xfrm>
              <a:off x="5828" y="1621"/>
              <a:ext cx="137"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5" name="Gerade Verbindung 114"/>
            <p:cNvCxnSpPr/>
            <p:nvPr/>
          </p:nvCxnSpPr>
          <p:spPr bwMode="gray">
            <a:xfrm>
              <a:off x="5828" y="1530"/>
              <a:ext cx="137"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6" name="Gerade Verbindung 115"/>
            <p:cNvCxnSpPr/>
            <p:nvPr/>
          </p:nvCxnSpPr>
          <p:spPr bwMode="gray">
            <a:xfrm>
              <a:off x="5828" y="1122"/>
              <a:ext cx="137"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7" name="Gerade Verbindung 116"/>
            <p:cNvCxnSpPr/>
            <p:nvPr/>
          </p:nvCxnSpPr>
          <p:spPr bwMode="gray">
            <a:xfrm>
              <a:off x="5828" y="1031"/>
              <a:ext cx="137"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8" name="Gerade Verbindung 117"/>
            <p:cNvCxnSpPr/>
            <p:nvPr/>
          </p:nvCxnSpPr>
          <p:spPr bwMode="gray">
            <a:xfrm>
              <a:off x="5828" y="2981"/>
              <a:ext cx="137"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546440179"/>
      </p:ext>
    </p:extLst>
  </p:cSld>
  <p:clrMap bg1="lt1" tx1="dk1" bg2="lt2" tx2="dk2" accent1="accent1" accent2="accent2" accent3="accent3" accent4="accent4" accent5="accent5" accent6="accent6" hlink="hlink" folHlink="folHlink"/>
  <p:sldLayoutIdLst>
    <p:sldLayoutId id="2147485063" r:id="rId1"/>
    <p:sldLayoutId id="2147485064" r:id="rId2"/>
    <p:sldLayoutId id="2147485065" r:id="rId3"/>
  </p:sldLayoutIdLst>
  <p:txStyles>
    <p:titleStyle>
      <a:lvl1pPr algn="l" rtl="0" eaLnBrk="1" fontAlgn="base" hangingPunct="1">
        <a:spcBef>
          <a:spcPct val="0"/>
        </a:spcBef>
        <a:spcAft>
          <a:spcPct val="0"/>
        </a:spcAft>
        <a:defRPr sz="2666">
          <a:solidFill>
            <a:schemeClr val="tx1"/>
          </a:solidFill>
          <a:latin typeface="+mj-lt"/>
          <a:ea typeface="+mj-ea"/>
          <a:cs typeface="+mj-cs"/>
        </a:defRPr>
      </a:lvl1pPr>
      <a:lvl2pPr algn="l" rtl="0" eaLnBrk="1" fontAlgn="base" hangingPunct="1">
        <a:spcBef>
          <a:spcPct val="0"/>
        </a:spcBef>
        <a:spcAft>
          <a:spcPct val="0"/>
        </a:spcAft>
        <a:defRPr sz="2666">
          <a:solidFill>
            <a:schemeClr val="tx1"/>
          </a:solidFill>
          <a:latin typeface="Arial" charset="0"/>
        </a:defRPr>
      </a:lvl2pPr>
      <a:lvl3pPr algn="l" rtl="0" eaLnBrk="1" fontAlgn="base" hangingPunct="1">
        <a:spcBef>
          <a:spcPct val="0"/>
        </a:spcBef>
        <a:spcAft>
          <a:spcPct val="0"/>
        </a:spcAft>
        <a:defRPr sz="2666">
          <a:solidFill>
            <a:schemeClr val="tx1"/>
          </a:solidFill>
          <a:latin typeface="Arial" charset="0"/>
        </a:defRPr>
      </a:lvl3pPr>
      <a:lvl4pPr algn="l" rtl="0" eaLnBrk="1" fontAlgn="base" hangingPunct="1">
        <a:spcBef>
          <a:spcPct val="0"/>
        </a:spcBef>
        <a:spcAft>
          <a:spcPct val="0"/>
        </a:spcAft>
        <a:defRPr sz="2666">
          <a:solidFill>
            <a:schemeClr val="tx1"/>
          </a:solidFill>
          <a:latin typeface="Arial" charset="0"/>
        </a:defRPr>
      </a:lvl4pPr>
      <a:lvl5pPr algn="l" rtl="0" eaLnBrk="1" fontAlgn="base" hangingPunct="1">
        <a:spcBef>
          <a:spcPct val="0"/>
        </a:spcBef>
        <a:spcAft>
          <a:spcPct val="0"/>
        </a:spcAft>
        <a:defRPr sz="2666">
          <a:solidFill>
            <a:schemeClr val="tx1"/>
          </a:solidFill>
          <a:latin typeface="Arial" charset="0"/>
        </a:defRPr>
      </a:lvl5pPr>
      <a:lvl6pPr marL="609402" algn="l" rtl="0" eaLnBrk="1" fontAlgn="base" hangingPunct="1">
        <a:spcBef>
          <a:spcPct val="0"/>
        </a:spcBef>
        <a:spcAft>
          <a:spcPct val="0"/>
        </a:spcAft>
        <a:defRPr sz="2666">
          <a:solidFill>
            <a:schemeClr val="tx1"/>
          </a:solidFill>
          <a:latin typeface="Arial" charset="0"/>
        </a:defRPr>
      </a:lvl6pPr>
      <a:lvl7pPr marL="1218804" algn="l" rtl="0" eaLnBrk="1" fontAlgn="base" hangingPunct="1">
        <a:spcBef>
          <a:spcPct val="0"/>
        </a:spcBef>
        <a:spcAft>
          <a:spcPct val="0"/>
        </a:spcAft>
        <a:defRPr sz="2666">
          <a:solidFill>
            <a:schemeClr val="tx1"/>
          </a:solidFill>
          <a:latin typeface="Arial" charset="0"/>
        </a:defRPr>
      </a:lvl7pPr>
      <a:lvl8pPr marL="1828206" algn="l" rtl="0" eaLnBrk="1" fontAlgn="base" hangingPunct="1">
        <a:spcBef>
          <a:spcPct val="0"/>
        </a:spcBef>
        <a:spcAft>
          <a:spcPct val="0"/>
        </a:spcAft>
        <a:defRPr sz="2666">
          <a:solidFill>
            <a:schemeClr val="tx1"/>
          </a:solidFill>
          <a:latin typeface="Arial" charset="0"/>
        </a:defRPr>
      </a:lvl8pPr>
      <a:lvl9pPr marL="2437608" algn="l" rtl="0" eaLnBrk="1" fontAlgn="base" hangingPunct="1">
        <a:spcBef>
          <a:spcPct val="0"/>
        </a:spcBef>
        <a:spcAft>
          <a:spcPct val="0"/>
        </a:spcAft>
        <a:defRPr sz="2666">
          <a:solidFill>
            <a:schemeClr val="tx1"/>
          </a:solidFill>
          <a:latin typeface="Arial" charset="0"/>
        </a:defRPr>
      </a:lvl9pPr>
    </p:titleStyle>
    <p:bodyStyle>
      <a:lvl1pPr marL="457051" indent="-457051" algn="l" rtl="0" eaLnBrk="1" fontAlgn="base" hangingPunct="1">
        <a:spcBef>
          <a:spcPts val="800"/>
        </a:spcBef>
        <a:spcAft>
          <a:spcPct val="0"/>
        </a:spcAft>
        <a:defRPr>
          <a:solidFill>
            <a:schemeClr val="tx2"/>
          </a:solidFill>
          <a:latin typeface="+mn-lt"/>
          <a:ea typeface="+mn-ea"/>
          <a:cs typeface="+mn-cs"/>
        </a:defRPr>
      </a:lvl1pPr>
      <a:lvl2pPr marL="2117" indent="607287" algn="l" rtl="0" eaLnBrk="1" fontAlgn="base" hangingPunct="1">
        <a:spcBef>
          <a:spcPts val="800"/>
        </a:spcBef>
        <a:spcAft>
          <a:spcPct val="0"/>
        </a:spcAft>
        <a:defRPr sz="2133">
          <a:solidFill>
            <a:schemeClr val="tx1"/>
          </a:solidFill>
          <a:latin typeface="+mn-lt"/>
        </a:defRPr>
      </a:lvl2pPr>
      <a:lvl3pPr marL="241222" indent="-236990" algn="l" rtl="0" eaLnBrk="1" fontAlgn="base" hangingPunct="1">
        <a:spcBef>
          <a:spcPts val="400"/>
        </a:spcBef>
        <a:spcAft>
          <a:spcPct val="0"/>
        </a:spcAft>
        <a:buChar char="•"/>
        <a:defRPr sz="2133">
          <a:solidFill>
            <a:schemeClr val="tx1"/>
          </a:solidFill>
          <a:latin typeface="+mn-lt"/>
        </a:defRPr>
      </a:lvl3pPr>
      <a:lvl4pPr marL="480328" indent="-236990" algn="l" rtl="0" eaLnBrk="1" fontAlgn="base" hangingPunct="1">
        <a:spcBef>
          <a:spcPts val="400"/>
        </a:spcBef>
        <a:spcAft>
          <a:spcPct val="0"/>
        </a:spcAft>
        <a:buChar char="•"/>
        <a:defRPr sz="2133">
          <a:solidFill>
            <a:schemeClr val="tx1"/>
          </a:solidFill>
          <a:latin typeface="+mn-lt"/>
        </a:defRPr>
      </a:lvl4pPr>
      <a:lvl5pPr marL="719433" indent="-236990" algn="l" rtl="0" eaLnBrk="1" fontAlgn="base" hangingPunct="1">
        <a:spcBef>
          <a:spcPts val="400"/>
        </a:spcBef>
        <a:spcAft>
          <a:spcPct val="0"/>
        </a:spcAft>
        <a:buChar char="•"/>
        <a:defRPr sz="2133">
          <a:solidFill>
            <a:schemeClr val="tx1"/>
          </a:solidFill>
          <a:latin typeface="+mn-lt"/>
        </a:defRPr>
      </a:lvl5pPr>
      <a:lvl6pPr marL="1328835" indent="-236990" algn="l" rtl="0" eaLnBrk="1" fontAlgn="base" hangingPunct="1">
        <a:spcBef>
          <a:spcPts val="400"/>
        </a:spcBef>
        <a:spcAft>
          <a:spcPct val="0"/>
        </a:spcAft>
        <a:buChar char="•"/>
        <a:defRPr sz="2133">
          <a:solidFill>
            <a:schemeClr val="tx1"/>
          </a:solidFill>
          <a:latin typeface="+mn-lt"/>
        </a:defRPr>
      </a:lvl6pPr>
      <a:lvl7pPr marL="1938237" indent="-236990" algn="l" rtl="0" eaLnBrk="1" fontAlgn="base" hangingPunct="1">
        <a:spcBef>
          <a:spcPts val="400"/>
        </a:spcBef>
        <a:spcAft>
          <a:spcPct val="0"/>
        </a:spcAft>
        <a:buChar char="•"/>
        <a:defRPr sz="2133">
          <a:solidFill>
            <a:schemeClr val="tx1"/>
          </a:solidFill>
          <a:latin typeface="+mn-lt"/>
        </a:defRPr>
      </a:lvl7pPr>
      <a:lvl8pPr marL="2547638" indent="-236990" algn="l" rtl="0" eaLnBrk="1" fontAlgn="base" hangingPunct="1">
        <a:spcBef>
          <a:spcPts val="400"/>
        </a:spcBef>
        <a:spcAft>
          <a:spcPct val="0"/>
        </a:spcAft>
        <a:buChar char="•"/>
        <a:defRPr sz="2133">
          <a:solidFill>
            <a:schemeClr val="tx1"/>
          </a:solidFill>
          <a:latin typeface="+mn-lt"/>
        </a:defRPr>
      </a:lvl8pPr>
      <a:lvl9pPr marL="3157040" indent="-236990" algn="l" rtl="0" eaLnBrk="1" fontAlgn="base" hangingPunct="1">
        <a:spcBef>
          <a:spcPts val="400"/>
        </a:spcBef>
        <a:spcAft>
          <a:spcPct val="0"/>
        </a:spcAft>
        <a:buChar char="•"/>
        <a:defRPr sz="2133">
          <a:solidFill>
            <a:schemeClr val="tx1"/>
          </a:solidFill>
          <a:latin typeface="+mn-lt"/>
        </a:defRPr>
      </a:lvl9pPr>
    </p:bodyStyle>
    <p:otherStyle>
      <a:defPPr>
        <a:defRPr lang="de-DE"/>
      </a:defPPr>
      <a:lvl1pPr marL="0" algn="l" defTabSz="1218804" rtl="0" eaLnBrk="1" latinLnBrk="0" hangingPunct="1">
        <a:defRPr sz="2399" kern="1200">
          <a:solidFill>
            <a:schemeClr val="tx1"/>
          </a:solidFill>
          <a:latin typeface="+mn-lt"/>
          <a:ea typeface="+mn-ea"/>
          <a:cs typeface="+mn-cs"/>
        </a:defRPr>
      </a:lvl1pPr>
      <a:lvl2pPr marL="609402" algn="l" defTabSz="1218804" rtl="0" eaLnBrk="1" latinLnBrk="0" hangingPunct="1">
        <a:defRPr sz="2399" kern="1200">
          <a:solidFill>
            <a:schemeClr val="tx1"/>
          </a:solidFill>
          <a:latin typeface="+mn-lt"/>
          <a:ea typeface="+mn-ea"/>
          <a:cs typeface="+mn-cs"/>
        </a:defRPr>
      </a:lvl2pPr>
      <a:lvl3pPr marL="1218804" algn="l" defTabSz="1218804" rtl="0" eaLnBrk="1" latinLnBrk="0" hangingPunct="1">
        <a:defRPr sz="2399" kern="1200">
          <a:solidFill>
            <a:schemeClr val="tx1"/>
          </a:solidFill>
          <a:latin typeface="+mn-lt"/>
          <a:ea typeface="+mn-ea"/>
          <a:cs typeface="+mn-cs"/>
        </a:defRPr>
      </a:lvl3pPr>
      <a:lvl4pPr marL="1828206" algn="l" defTabSz="1218804" rtl="0" eaLnBrk="1" latinLnBrk="0" hangingPunct="1">
        <a:defRPr sz="2399" kern="1200">
          <a:solidFill>
            <a:schemeClr val="tx1"/>
          </a:solidFill>
          <a:latin typeface="+mn-lt"/>
          <a:ea typeface="+mn-ea"/>
          <a:cs typeface="+mn-cs"/>
        </a:defRPr>
      </a:lvl4pPr>
      <a:lvl5pPr marL="2437608" algn="l" defTabSz="1218804" rtl="0" eaLnBrk="1" latinLnBrk="0" hangingPunct="1">
        <a:defRPr sz="2399" kern="1200">
          <a:solidFill>
            <a:schemeClr val="tx1"/>
          </a:solidFill>
          <a:latin typeface="+mn-lt"/>
          <a:ea typeface="+mn-ea"/>
          <a:cs typeface="+mn-cs"/>
        </a:defRPr>
      </a:lvl5pPr>
      <a:lvl6pPr marL="3047009" algn="l" defTabSz="1218804" rtl="0" eaLnBrk="1" latinLnBrk="0" hangingPunct="1">
        <a:defRPr sz="2399" kern="1200">
          <a:solidFill>
            <a:schemeClr val="tx1"/>
          </a:solidFill>
          <a:latin typeface="+mn-lt"/>
          <a:ea typeface="+mn-ea"/>
          <a:cs typeface="+mn-cs"/>
        </a:defRPr>
      </a:lvl6pPr>
      <a:lvl7pPr marL="3656411" algn="l" defTabSz="1218804" rtl="0" eaLnBrk="1" latinLnBrk="0" hangingPunct="1">
        <a:defRPr sz="2399" kern="1200">
          <a:solidFill>
            <a:schemeClr val="tx1"/>
          </a:solidFill>
          <a:latin typeface="+mn-lt"/>
          <a:ea typeface="+mn-ea"/>
          <a:cs typeface="+mn-cs"/>
        </a:defRPr>
      </a:lvl7pPr>
      <a:lvl8pPr marL="4265813" algn="l" defTabSz="1218804" rtl="0" eaLnBrk="1" latinLnBrk="0" hangingPunct="1">
        <a:defRPr sz="2399" kern="1200">
          <a:solidFill>
            <a:schemeClr val="tx1"/>
          </a:solidFill>
          <a:latin typeface="+mn-lt"/>
          <a:ea typeface="+mn-ea"/>
          <a:cs typeface="+mn-cs"/>
        </a:defRPr>
      </a:lvl8pPr>
      <a:lvl9pPr marL="4875215" algn="l" defTabSz="1218804" rtl="0" eaLnBrk="1" latinLnBrk="0" hangingPunct="1">
        <a:defRPr sz="2399" kern="1200">
          <a:solidFill>
            <a:schemeClr val="tx1"/>
          </a:solidFill>
          <a:latin typeface="+mn-lt"/>
          <a:ea typeface="+mn-ea"/>
          <a:cs typeface="+mn-cs"/>
        </a:defRPr>
      </a:lvl9pPr>
    </p:otherStyle>
  </p:txStyles>
</p:sldMaster>
</file>

<file path=ppt/slideMasters/slideMaster2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pSp>
        <p:nvGrpSpPr>
          <p:cNvPr id="13" name="logo">
            <a:extLst>
              <a:ext uri="{FF2B5EF4-FFF2-40B4-BE49-F238E27FC236}">
                <a16:creationId xmlns:a16="http://schemas.microsoft.com/office/drawing/2014/main" id="{57BD2C4C-DC67-B843-B26C-309622FC75F7}"/>
              </a:ext>
            </a:extLst>
          </p:cNvPr>
          <p:cNvGrpSpPr>
            <a:grpSpLocks noChangeAspect="1"/>
          </p:cNvGrpSpPr>
          <p:nvPr/>
        </p:nvGrpSpPr>
        <p:grpSpPr bwMode="gray">
          <a:xfrm>
            <a:off x="11174018" y="401441"/>
            <a:ext cx="644225" cy="646507"/>
            <a:chOff x="2711" y="1027"/>
            <a:chExt cx="2258" cy="2266"/>
          </a:xfrm>
        </p:grpSpPr>
        <p:sp>
          <p:nvSpPr>
            <p:cNvPr id="14" name="AutoShape 3">
              <a:extLst>
                <a:ext uri="{FF2B5EF4-FFF2-40B4-BE49-F238E27FC236}">
                  <a16:creationId xmlns:a16="http://schemas.microsoft.com/office/drawing/2014/main" id="{FE1DC41B-291E-574C-9F2C-874E70A40758}"/>
                </a:ext>
              </a:extLst>
            </p:cNvPr>
            <p:cNvSpPr>
              <a:spLocks noChangeAspect="1" noChangeArrowheads="1" noTextEdit="1"/>
            </p:cNvSpPr>
            <p:nvPr/>
          </p:nvSpPr>
          <p:spPr bwMode="gray">
            <a:xfrm>
              <a:off x="2711" y="1027"/>
              <a:ext cx="2258" cy="22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15" name="Freeform 5">
              <a:extLst>
                <a:ext uri="{FF2B5EF4-FFF2-40B4-BE49-F238E27FC236}">
                  <a16:creationId xmlns:a16="http://schemas.microsoft.com/office/drawing/2014/main" id="{D4B633C8-F761-C54B-9BD2-EB59D49A2DBC}"/>
                </a:ext>
              </a:extLst>
            </p:cNvPr>
            <p:cNvSpPr>
              <a:spLocks/>
            </p:cNvSpPr>
            <p:nvPr/>
          </p:nvSpPr>
          <p:spPr bwMode="gray">
            <a:xfrm>
              <a:off x="2709" y="1029"/>
              <a:ext cx="2260" cy="2262"/>
            </a:xfrm>
            <a:custGeom>
              <a:avLst/>
              <a:gdLst>
                <a:gd name="T0" fmla="*/ 2260 w 2260"/>
                <a:gd name="T1" fmla="*/ 0 h 2262"/>
                <a:gd name="T2" fmla="*/ 1612 w 2260"/>
                <a:gd name="T3" fmla="*/ 649 h 2262"/>
                <a:gd name="T4" fmla="*/ 1612 w 2260"/>
                <a:gd name="T5" fmla="*/ 649 h 2262"/>
                <a:gd name="T6" fmla="*/ 2035 w 2260"/>
                <a:gd name="T7" fmla="*/ 0 h 2262"/>
                <a:gd name="T8" fmla="*/ 0 w 2260"/>
                <a:gd name="T9" fmla="*/ 0 h 2262"/>
                <a:gd name="T10" fmla="*/ 0 w 2260"/>
                <a:gd name="T11" fmla="*/ 2262 h 2262"/>
                <a:gd name="T12" fmla="*/ 2260 w 2260"/>
                <a:gd name="T13" fmla="*/ 2262 h 2262"/>
                <a:gd name="T14" fmla="*/ 2260 w 2260"/>
                <a:gd name="T15" fmla="*/ 0 h 2262"/>
                <a:gd name="T16" fmla="*/ 2260 w 2260"/>
                <a:gd name="T17" fmla="*/ 0 h 2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0" h="2262">
                  <a:moveTo>
                    <a:pt x="2260" y="0"/>
                  </a:moveTo>
                  <a:lnTo>
                    <a:pt x="1612" y="649"/>
                  </a:lnTo>
                  <a:lnTo>
                    <a:pt x="1612" y="649"/>
                  </a:lnTo>
                  <a:lnTo>
                    <a:pt x="2035" y="0"/>
                  </a:lnTo>
                  <a:lnTo>
                    <a:pt x="0" y="0"/>
                  </a:lnTo>
                  <a:lnTo>
                    <a:pt x="0" y="2262"/>
                  </a:lnTo>
                  <a:lnTo>
                    <a:pt x="2260" y="2262"/>
                  </a:lnTo>
                  <a:lnTo>
                    <a:pt x="2260" y="0"/>
                  </a:lnTo>
                  <a:lnTo>
                    <a:pt x="2260" y="0"/>
                  </a:lnTo>
                  <a:close/>
                </a:path>
              </a:pathLst>
            </a:custGeom>
            <a:solidFill>
              <a:srgbClr val="E55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16" name="Freeform 6">
              <a:extLst>
                <a:ext uri="{FF2B5EF4-FFF2-40B4-BE49-F238E27FC236}">
                  <a16:creationId xmlns:a16="http://schemas.microsoft.com/office/drawing/2014/main" id="{B16BAAE4-1A41-C843-9754-490F7A1E1270}"/>
                </a:ext>
              </a:extLst>
            </p:cNvPr>
            <p:cNvSpPr>
              <a:spLocks noEditPoints="1"/>
            </p:cNvSpPr>
            <p:nvPr/>
          </p:nvSpPr>
          <p:spPr bwMode="gray">
            <a:xfrm>
              <a:off x="3623" y="1696"/>
              <a:ext cx="1167" cy="922"/>
            </a:xfrm>
            <a:custGeom>
              <a:avLst/>
              <a:gdLst>
                <a:gd name="T0" fmla="*/ 411 w 580"/>
                <a:gd name="T1" fmla="*/ 213 h 458"/>
                <a:gd name="T2" fmla="*/ 570 w 580"/>
                <a:gd name="T3" fmla="*/ 37 h 458"/>
                <a:gd name="T4" fmla="*/ 580 w 580"/>
                <a:gd name="T5" fmla="*/ 20 h 458"/>
                <a:gd name="T6" fmla="*/ 545 w 580"/>
                <a:gd name="T7" fmla="*/ 0 h 458"/>
                <a:gd name="T8" fmla="*/ 519 w 580"/>
                <a:gd name="T9" fmla="*/ 16 h 458"/>
                <a:gd name="T10" fmla="*/ 344 w 580"/>
                <a:gd name="T11" fmla="*/ 210 h 458"/>
                <a:gd name="T12" fmla="*/ 334 w 580"/>
                <a:gd name="T13" fmla="*/ 229 h 458"/>
                <a:gd name="T14" fmla="*/ 344 w 580"/>
                <a:gd name="T15" fmla="*/ 248 h 458"/>
                <a:gd name="T16" fmla="*/ 519 w 580"/>
                <a:gd name="T17" fmla="*/ 442 h 458"/>
                <a:gd name="T18" fmla="*/ 545 w 580"/>
                <a:gd name="T19" fmla="*/ 458 h 458"/>
                <a:gd name="T20" fmla="*/ 580 w 580"/>
                <a:gd name="T21" fmla="*/ 438 h 458"/>
                <a:gd name="T22" fmla="*/ 570 w 580"/>
                <a:gd name="T23" fmla="*/ 421 h 458"/>
                <a:gd name="T24" fmla="*/ 411 w 580"/>
                <a:gd name="T25" fmla="*/ 245 h 458"/>
                <a:gd name="T26" fmla="*/ 399 w 580"/>
                <a:gd name="T27" fmla="*/ 229 h 458"/>
                <a:gd name="T28" fmla="*/ 411 w 580"/>
                <a:gd name="T29" fmla="*/ 213 h 458"/>
                <a:gd name="T30" fmla="*/ 252 w 580"/>
                <a:gd name="T31" fmla="*/ 439 h 458"/>
                <a:gd name="T32" fmla="*/ 281 w 580"/>
                <a:gd name="T33" fmla="*/ 454 h 458"/>
                <a:gd name="T34" fmla="*/ 309 w 580"/>
                <a:gd name="T35" fmla="*/ 439 h 458"/>
                <a:gd name="T36" fmla="*/ 309 w 580"/>
                <a:gd name="T37" fmla="*/ 19 h 458"/>
                <a:gd name="T38" fmla="*/ 281 w 580"/>
                <a:gd name="T39" fmla="*/ 4 h 458"/>
                <a:gd name="T40" fmla="*/ 252 w 580"/>
                <a:gd name="T41" fmla="*/ 19 h 458"/>
                <a:gd name="T42" fmla="*/ 252 w 580"/>
                <a:gd name="T43" fmla="*/ 439 h 458"/>
                <a:gd name="T44" fmla="*/ 0 w 580"/>
                <a:gd name="T45" fmla="*/ 439 h 458"/>
                <a:gd name="T46" fmla="*/ 28 w 580"/>
                <a:gd name="T47" fmla="*/ 454 h 458"/>
                <a:gd name="T48" fmla="*/ 56 w 580"/>
                <a:gd name="T49" fmla="*/ 439 h 458"/>
                <a:gd name="T50" fmla="*/ 56 w 580"/>
                <a:gd name="T51" fmla="*/ 157 h 458"/>
                <a:gd name="T52" fmla="*/ 165 w 580"/>
                <a:gd name="T53" fmla="*/ 53 h 458"/>
                <a:gd name="T54" fmla="*/ 180 w 580"/>
                <a:gd name="T55" fmla="*/ 53 h 458"/>
                <a:gd name="T56" fmla="*/ 196 w 580"/>
                <a:gd name="T57" fmla="*/ 27 h 458"/>
                <a:gd name="T58" fmla="*/ 154 w 580"/>
                <a:gd name="T59" fmla="*/ 4 h 458"/>
                <a:gd name="T60" fmla="*/ 0 w 580"/>
                <a:gd name="T61" fmla="*/ 152 h 458"/>
                <a:gd name="T62" fmla="*/ 0 w 580"/>
                <a:gd name="T63" fmla="*/ 439 h 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80" h="458">
                  <a:moveTo>
                    <a:pt x="411" y="213"/>
                  </a:moveTo>
                  <a:cubicBezTo>
                    <a:pt x="570" y="37"/>
                    <a:pt x="570" y="37"/>
                    <a:pt x="570" y="37"/>
                  </a:cubicBezTo>
                  <a:cubicBezTo>
                    <a:pt x="576" y="30"/>
                    <a:pt x="580" y="25"/>
                    <a:pt x="580" y="20"/>
                  </a:cubicBezTo>
                  <a:cubicBezTo>
                    <a:pt x="580" y="10"/>
                    <a:pt x="559" y="0"/>
                    <a:pt x="545" y="0"/>
                  </a:cubicBezTo>
                  <a:cubicBezTo>
                    <a:pt x="535" y="0"/>
                    <a:pt x="526" y="8"/>
                    <a:pt x="519" y="16"/>
                  </a:cubicBezTo>
                  <a:cubicBezTo>
                    <a:pt x="344" y="210"/>
                    <a:pt x="344" y="210"/>
                    <a:pt x="344" y="210"/>
                  </a:cubicBezTo>
                  <a:cubicBezTo>
                    <a:pt x="336" y="219"/>
                    <a:pt x="334" y="224"/>
                    <a:pt x="334" y="229"/>
                  </a:cubicBezTo>
                  <a:cubicBezTo>
                    <a:pt x="334" y="234"/>
                    <a:pt x="336" y="239"/>
                    <a:pt x="344" y="248"/>
                  </a:cubicBezTo>
                  <a:cubicBezTo>
                    <a:pt x="519" y="442"/>
                    <a:pt x="519" y="442"/>
                    <a:pt x="519" y="442"/>
                  </a:cubicBezTo>
                  <a:cubicBezTo>
                    <a:pt x="526" y="450"/>
                    <a:pt x="535" y="458"/>
                    <a:pt x="545" y="458"/>
                  </a:cubicBezTo>
                  <a:cubicBezTo>
                    <a:pt x="559" y="458"/>
                    <a:pt x="580" y="448"/>
                    <a:pt x="580" y="438"/>
                  </a:cubicBezTo>
                  <a:cubicBezTo>
                    <a:pt x="580" y="433"/>
                    <a:pt x="576" y="428"/>
                    <a:pt x="570" y="421"/>
                  </a:cubicBezTo>
                  <a:cubicBezTo>
                    <a:pt x="411" y="245"/>
                    <a:pt x="411" y="245"/>
                    <a:pt x="411" y="245"/>
                  </a:cubicBezTo>
                  <a:cubicBezTo>
                    <a:pt x="403" y="236"/>
                    <a:pt x="399" y="232"/>
                    <a:pt x="399" y="229"/>
                  </a:cubicBezTo>
                  <a:cubicBezTo>
                    <a:pt x="399" y="226"/>
                    <a:pt x="403" y="222"/>
                    <a:pt x="411" y="213"/>
                  </a:cubicBezTo>
                  <a:moveTo>
                    <a:pt x="252" y="439"/>
                  </a:moveTo>
                  <a:cubicBezTo>
                    <a:pt x="252" y="449"/>
                    <a:pt x="261" y="454"/>
                    <a:pt x="281" y="454"/>
                  </a:cubicBezTo>
                  <a:cubicBezTo>
                    <a:pt x="300" y="454"/>
                    <a:pt x="309" y="449"/>
                    <a:pt x="309" y="439"/>
                  </a:cubicBezTo>
                  <a:cubicBezTo>
                    <a:pt x="309" y="19"/>
                    <a:pt x="309" y="19"/>
                    <a:pt x="309" y="19"/>
                  </a:cubicBezTo>
                  <a:cubicBezTo>
                    <a:pt x="309" y="9"/>
                    <a:pt x="300" y="4"/>
                    <a:pt x="281" y="4"/>
                  </a:cubicBezTo>
                  <a:cubicBezTo>
                    <a:pt x="261" y="4"/>
                    <a:pt x="252" y="9"/>
                    <a:pt x="252" y="19"/>
                  </a:cubicBezTo>
                  <a:lnTo>
                    <a:pt x="252" y="439"/>
                  </a:lnTo>
                  <a:close/>
                  <a:moveTo>
                    <a:pt x="0" y="439"/>
                  </a:moveTo>
                  <a:cubicBezTo>
                    <a:pt x="0" y="449"/>
                    <a:pt x="8" y="454"/>
                    <a:pt x="28" y="454"/>
                  </a:cubicBezTo>
                  <a:cubicBezTo>
                    <a:pt x="48" y="454"/>
                    <a:pt x="56" y="449"/>
                    <a:pt x="56" y="439"/>
                  </a:cubicBezTo>
                  <a:cubicBezTo>
                    <a:pt x="56" y="157"/>
                    <a:pt x="56" y="157"/>
                    <a:pt x="56" y="157"/>
                  </a:cubicBezTo>
                  <a:cubicBezTo>
                    <a:pt x="56" y="83"/>
                    <a:pt x="85" y="53"/>
                    <a:pt x="165" y="53"/>
                  </a:cubicBezTo>
                  <a:cubicBezTo>
                    <a:pt x="180" y="53"/>
                    <a:pt x="180" y="53"/>
                    <a:pt x="180" y="53"/>
                  </a:cubicBezTo>
                  <a:cubicBezTo>
                    <a:pt x="192" y="53"/>
                    <a:pt x="196" y="43"/>
                    <a:pt x="196" y="27"/>
                  </a:cubicBezTo>
                  <a:cubicBezTo>
                    <a:pt x="196" y="8"/>
                    <a:pt x="185" y="4"/>
                    <a:pt x="154" y="4"/>
                  </a:cubicBezTo>
                  <a:cubicBezTo>
                    <a:pt x="64" y="4"/>
                    <a:pt x="0" y="43"/>
                    <a:pt x="0" y="152"/>
                  </a:cubicBezTo>
                  <a:lnTo>
                    <a:pt x="0" y="43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17" name="Freeform 7">
              <a:extLst>
                <a:ext uri="{FF2B5EF4-FFF2-40B4-BE49-F238E27FC236}">
                  <a16:creationId xmlns:a16="http://schemas.microsoft.com/office/drawing/2014/main" id="{2F32DCBD-8628-F245-85CD-97686A20ECFD}"/>
                </a:ext>
              </a:extLst>
            </p:cNvPr>
            <p:cNvSpPr>
              <a:spLocks/>
            </p:cNvSpPr>
            <p:nvPr/>
          </p:nvSpPr>
          <p:spPr bwMode="gray">
            <a:xfrm>
              <a:off x="2880" y="1704"/>
              <a:ext cx="618" cy="916"/>
            </a:xfrm>
            <a:custGeom>
              <a:avLst/>
              <a:gdLst>
                <a:gd name="T0" fmla="*/ 307 w 307"/>
                <a:gd name="T1" fmla="*/ 405 h 455"/>
                <a:gd name="T2" fmla="*/ 307 w 307"/>
                <a:gd name="T3" fmla="*/ 244 h 455"/>
                <a:gd name="T4" fmla="*/ 279 w 307"/>
                <a:gd name="T5" fmla="*/ 229 h 455"/>
                <a:gd name="T6" fmla="*/ 250 w 307"/>
                <a:gd name="T7" fmla="*/ 244 h 455"/>
                <a:gd name="T8" fmla="*/ 250 w 307"/>
                <a:gd name="T9" fmla="*/ 378 h 455"/>
                <a:gd name="T10" fmla="*/ 199 w 307"/>
                <a:gd name="T11" fmla="*/ 408 h 455"/>
                <a:gd name="T12" fmla="*/ 61 w 307"/>
                <a:gd name="T13" fmla="*/ 231 h 455"/>
                <a:gd name="T14" fmla="*/ 238 w 307"/>
                <a:gd name="T15" fmla="*/ 49 h 455"/>
                <a:gd name="T16" fmla="*/ 270 w 307"/>
                <a:gd name="T17" fmla="*/ 49 h 455"/>
                <a:gd name="T18" fmla="*/ 286 w 307"/>
                <a:gd name="T19" fmla="*/ 23 h 455"/>
                <a:gd name="T20" fmla="*/ 244 w 307"/>
                <a:gd name="T21" fmla="*/ 0 h 455"/>
                <a:gd name="T22" fmla="*/ 231 w 307"/>
                <a:gd name="T23" fmla="*/ 0 h 455"/>
                <a:gd name="T24" fmla="*/ 0 w 307"/>
                <a:gd name="T25" fmla="*/ 232 h 455"/>
                <a:gd name="T26" fmla="*/ 198 w 307"/>
                <a:gd name="T27" fmla="*/ 455 h 455"/>
                <a:gd name="T28" fmla="*/ 307 w 307"/>
                <a:gd name="T29" fmla="*/ 405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7" h="455">
                  <a:moveTo>
                    <a:pt x="307" y="405"/>
                  </a:moveTo>
                  <a:cubicBezTo>
                    <a:pt x="307" y="244"/>
                    <a:pt x="307" y="244"/>
                    <a:pt x="307" y="244"/>
                  </a:cubicBezTo>
                  <a:cubicBezTo>
                    <a:pt x="307" y="234"/>
                    <a:pt x="298" y="229"/>
                    <a:pt x="279" y="229"/>
                  </a:cubicBezTo>
                  <a:cubicBezTo>
                    <a:pt x="259" y="229"/>
                    <a:pt x="250" y="234"/>
                    <a:pt x="250" y="244"/>
                  </a:cubicBezTo>
                  <a:cubicBezTo>
                    <a:pt x="250" y="378"/>
                    <a:pt x="250" y="378"/>
                    <a:pt x="250" y="378"/>
                  </a:cubicBezTo>
                  <a:cubicBezTo>
                    <a:pt x="250" y="399"/>
                    <a:pt x="241" y="408"/>
                    <a:pt x="199" y="408"/>
                  </a:cubicBezTo>
                  <a:cubicBezTo>
                    <a:pt x="114" y="408"/>
                    <a:pt x="61" y="342"/>
                    <a:pt x="61" y="231"/>
                  </a:cubicBezTo>
                  <a:cubicBezTo>
                    <a:pt x="61" y="115"/>
                    <a:pt x="126" y="49"/>
                    <a:pt x="238" y="49"/>
                  </a:cubicBezTo>
                  <a:cubicBezTo>
                    <a:pt x="270" y="49"/>
                    <a:pt x="270" y="49"/>
                    <a:pt x="270" y="49"/>
                  </a:cubicBezTo>
                  <a:cubicBezTo>
                    <a:pt x="282" y="49"/>
                    <a:pt x="286" y="39"/>
                    <a:pt x="286" y="23"/>
                  </a:cubicBezTo>
                  <a:cubicBezTo>
                    <a:pt x="286" y="4"/>
                    <a:pt x="275" y="0"/>
                    <a:pt x="244" y="0"/>
                  </a:cubicBezTo>
                  <a:cubicBezTo>
                    <a:pt x="231" y="0"/>
                    <a:pt x="231" y="0"/>
                    <a:pt x="231" y="0"/>
                  </a:cubicBezTo>
                  <a:cubicBezTo>
                    <a:pt x="101" y="0"/>
                    <a:pt x="0" y="71"/>
                    <a:pt x="0" y="232"/>
                  </a:cubicBezTo>
                  <a:cubicBezTo>
                    <a:pt x="0" y="386"/>
                    <a:pt x="88" y="455"/>
                    <a:pt x="198" y="455"/>
                  </a:cubicBezTo>
                  <a:cubicBezTo>
                    <a:pt x="286" y="455"/>
                    <a:pt x="307" y="430"/>
                    <a:pt x="307" y="40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18" name="Oval 8">
              <a:extLst>
                <a:ext uri="{FF2B5EF4-FFF2-40B4-BE49-F238E27FC236}">
                  <a16:creationId xmlns:a16="http://schemas.microsoft.com/office/drawing/2014/main" id="{60D97C11-1A3B-5449-A48D-98A3E79B3810}"/>
                </a:ext>
              </a:extLst>
            </p:cNvPr>
            <p:cNvSpPr>
              <a:spLocks noChangeArrowheads="1"/>
            </p:cNvSpPr>
            <p:nvPr/>
          </p:nvSpPr>
          <p:spPr bwMode="gray">
            <a:xfrm>
              <a:off x="3778" y="2099"/>
              <a:ext cx="122" cy="12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19" name="Freeform 9">
              <a:extLst>
                <a:ext uri="{FF2B5EF4-FFF2-40B4-BE49-F238E27FC236}">
                  <a16:creationId xmlns:a16="http://schemas.microsoft.com/office/drawing/2014/main" id="{5856770D-B8F0-244E-A05D-AED190086F10}"/>
                </a:ext>
              </a:extLst>
            </p:cNvPr>
            <p:cNvSpPr>
              <a:spLocks noEditPoints="1"/>
            </p:cNvSpPr>
            <p:nvPr/>
          </p:nvSpPr>
          <p:spPr bwMode="gray">
            <a:xfrm>
              <a:off x="3623" y="1696"/>
              <a:ext cx="1167" cy="922"/>
            </a:xfrm>
            <a:custGeom>
              <a:avLst/>
              <a:gdLst>
                <a:gd name="T0" fmla="*/ 411 w 580"/>
                <a:gd name="T1" fmla="*/ 213 h 458"/>
                <a:gd name="T2" fmla="*/ 570 w 580"/>
                <a:gd name="T3" fmla="*/ 37 h 458"/>
                <a:gd name="T4" fmla="*/ 580 w 580"/>
                <a:gd name="T5" fmla="*/ 20 h 458"/>
                <a:gd name="T6" fmla="*/ 545 w 580"/>
                <a:gd name="T7" fmla="*/ 0 h 458"/>
                <a:gd name="T8" fmla="*/ 519 w 580"/>
                <a:gd name="T9" fmla="*/ 16 h 458"/>
                <a:gd name="T10" fmla="*/ 344 w 580"/>
                <a:gd name="T11" fmla="*/ 210 h 458"/>
                <a:gd name="T12" fmla="*/ 334 w 580"/>
                <a:gd name="T13" fmla="*/ 229 h 458"/>
                <a:gd name="T14" fmla="*/ 344 w 580"/>
                <a:gd name="T15" fmla="*/ 248 h 458"/>
                <a:gd name="T16" fmla="*/ 519 w 580"/>
                <a:gd name="T17" fmla="*/ 442 h 458"/>
                <a:gd name="T18" fmla="*/ 545 w 580"/>
                <a:gd name="T19" fmla="*/ 458 h 458"/>
                <a:gd name="T20" fmla="*/ 580 w 580"/>
                <a:gd name="T21" fmla="*/ 438 h 458"/>
                <a:gd name="T22" fmla="*/ 570 w 580"/>
                <a:gd name="T23" fmla="*/ 421 h 458"/>
                <a:gd name="T24" fmla="*/ 411 w 580"/>
                <a:gd name="T25" fmla="*/ 245 h 458"/>
                <a:gd name="T26" fmla="*/ 399 w 580"/>
                <a:gd name="T27" fmla="*/ 229 h 458"/>
                <a:gd name="T28" fmla="*/ 411 w 580"/>
                <a:gd name="T29" fmla="*/ 213 h 458"/>
                <a:gd name="T30" fmla="*/ 252 w 580"/>
                <a:gd name="T31" fmla="*/ 439 h 458"/>
                <a:gd name="T32" fmla="*/ 281 w 580"/>
                <a:gd name="T33" fmla="*/ 454 h 458"/>
                <a:gd name="T34" fmla="*/ 309 w 580"/>
                <a:gd name="T35" fmla="*/ 439 h 458"/>
                <a:gd name="T36" fmla="*/ 309 w 580"/>
                <a:gd name="T37" fmla="*/ 19 h 458"/>
                <a:gd name="T38" fmla="*/ 281 w 580"/>
                <a:gd name="T39" fmla="*/ 4 h 458"/>
                <a:gd name="T40" fmla="*/ 252 w 580"/>
                <a:gd name="T41" fmla="*/ 19 h 458"/>
                <a:gd name="T42" fmla="*/ 252 w 580"/>
                <a:gd name="T43" fmla="*/ 439 h 458"/>
                <a:gd name="T44" fmla="*/ 0 w 580"/>
                <a:gd name="T45" fmla="*/ 439 h 458"/>
                <a:gd name="T46" fmla="*/ 28 w 580"/>
                <a:gd name="T47" fmla="*/ 454 h 458"/>
                <a:gd name="T48" fmla="*/ 56 w 580"/>
                <a:gd name="T49" fmla="*/ 439 h 458"/>
                <a:gd name="T50" fmla="*/ 56 w 580"/>
                <a:gd name="T51" fmla="*/ 157 h 458"/>
                <a:gd name="T52" fmla="*/ 165 w 580"/>
                <a:gd name="T53" fmla="*/ 53 h 458"/>
                <a:gd name="T54" fmla="*/ 180 w 580"/>
                <a:gd name="T55" fmla="*/ 53 h 458"/>
                <a:gd name="T56" fmla="*/ 196 w 580"/>
                <a:gd name="T57" fmla="*/ 27 h 458"/>
                <a:gd name="T58" fmla="*/ 154 w 580"/>
                <a:gd name="T59" fmla="*/ 4 h 458"/>
                <a:gd name="T60" fmla="*/ 0 w 580"/>
                <a:gd name="T61" fmla="*/ 152 h 458"/>
                <a:gd name="T62" fmla="*/ 0 w 580"/>
                <a:gd name="T63" fmla="*/ 439 h 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80" h="458">
                  <a:moveTo>
                    <a:pt x="411" y="213"/>
                  </a:moveTo>
                  <a:cubicBezTo>
                    <a:pt x="570" y="37"/>
                    <a:pt x="570" y="37"/>
                    <a:pt x="570" y="37"/>
                  </a:cubicBezTo>
                  <a:cubicBezTo>
                    <a:pt x="576" y="30"/>
                    <a:pt x="580" y="25"/>
                    <a:pt x="580" y="20"/>
                  </a:cubicBezTo>
                  <a:cubicBezTo>
                    <a:pt x="580" y="10"/>
                    <a:pt x="559" y="0"/>
                    <a:pt x="545" y="0"/>
                  </a:cubicBezTo>
                  <a:cubicBezTo>
                    <a:pt x="535" y="0"/>
                    <a:pt x="526" y="8"/>
                    <a:pt x="519" y="16"/>
                  </a:cubicBezTo>
                  <a:cubicBezTo>
                    <a:pt x="344" y="210"/>
                    <a:pt x="344" y="210"/>
                    <a:pt x="344" y="210"/>
                  </a:cubicBezTo>
                  <a:cubicBezTo>
                    <a:pt x="336" y="219"/>
                    <a:pt x="334" y="224"/>
                    <a:pt x="334" y="229"/>
                  </a:cubicBezTo>
                  <a:cubicBezTo>
                    <a:pt x="334" y="234"/>
                    <a:pt x="336" y="239"/>
                    <a:pt x="344" y="248"/>
                  </a:cubicBezTo>
                  <a:cubicBezTo>
                    <a:pt x="519" y="442"/>
                    <a:pt x="519" y="442"/>
                    <a:pt x="519" y="442"/>
                  </a:cubicBezTo>
                  <a:cubicBezTo>
                    <a:pt x="526" y="450"/>
                    <a:pt x="535" y="458"/>
                    <a:pt x="545" y="458"/>
                  </a:cubicBezTo>
                  <a:cubicBezTo>
                    <a:pt x="559" y="458"/>
                    <a:pt x="580" y="448"/>
                    <a:pt x="580" y="438"/>
                  </a:cubicBezTo>
                  <a:cubicBezTo>
                    <a:pt x="580" y="433"/>
                    <a:pt x="576" y="428"/>
                    <a:pt x="570" y="421"/>
                  </a:cubicBezTo>
                  <a:cubicBezTo>
                    <a:pt x="411" y="245"/>
                    <a:pt x="411" y="245"/>
                    <a:pt x="411" y="245"/>
                  </a:cubicBezTo>
                  <a:cubicBezTo>
                    <a:pt x="403" y="236"/>
                    <a:pt x="399" y="232"/>
                    <a:pt x="399" y="229"/>
                  </a:cubicBezTo>
                  <a:cubicBezTo>
                    <a:pt x="399" y="226"/>
                    <a:pt x="403" y="222"/>
                    <a:pt x="411" y="213"/>
                  </a:cubicBezTo>
                  <a:moveTo>
                    <a:pt x="252" y="439"/>
                  </a:moveTo>
                  <a:cubicBezTo>
                    <a:pt x="252" y="449"/>
                    <a:pt x="261" y="454"/>
                    <a:pt x="281" y="454"/>
                  </a:cubicBezTo>
                  <a:cubicBezTo>
                    <a:pt x="300" y="454"/>
                    <a:pt x="309" y="449"/>
                    <a:pt x="309" y="439"/>
                  </a:cubicBezTo>
                  <a:cubicBezTo>
                    <a:pt x="309" y="19"/>
                    <a:pt x="309" y="19"/>
                    <a:pt x="309" y="19"/>
                  </a:cubicBezTo>
                  <a:cubicBezTo>
                    <a:pt x="309" y="9"/>
                    <a:pt x="300" y="4"/>
                    <a:pt x="281" y="4"/>
                  </a:cubicBezTo>
                  <a:cubicBezTo>
                    <a:pt x="261" y="4"/>
                    <a:pt x="252" y="9"/>
                    <a:pt x="252" y="19"/>
                  </a:cubicBezTo>
                  <a:lnTo>
                    <a:pt x="252" y="439"/>
                  </a:lnTo>
                  <a:close/>
                  <a:moveTo>
                    <a:pt x="0" y="439"/>
                  </a:moveTo>
                  <a:cubicBezTo>
                    <a:pt x="0" y="449"/>
                    <a:pt x="8" y="454"/>
                    <a:pt x="28" y="454"/>
                  </a:cubicBezTo>
                  <a:cubicBezTo>
                    <a:pt x="48" y="454"/>
                    <a:pt x="56" y="449"/>
                    <a:pt x="56" y="439"/>
                  </a:cubicBezTo>
                  <a:cubicBezTo>
                    <a:pt x="56" y="157"/>
                    <a:pt x="56" y="157"/>
                    <a:pt x="56" y="157"/>
                  </a:cubicBezTo>
                  <a:cubicBezTo>
                    <a:pt x="56" y="83"/>
                    <a:pt x="85" y="53"/>
                    <a:pt x="165" y="53"/>
                  </a:cubicBezTo>
                  <a:cubicBezTo>
                    <a:pt x="180" y="53"/>
                    <a:pt x="180" y="53"/>
                    <a:pt x="180" y="53"/>
                  </a:cubicBezTo>
                  <a:cubicBezTo>
                    <a:pt x="192" y="53"/>
                    <a:pt x="196" y="43"/>
                    <a:pt x="196" y="27"/>
                  </a:cubicBezTo>
                  <a:cubicBezTo>
                    <a:pt x="196" y="8"/>
                    <a:pt x="185" y="4"/>
                    <a:pt x="154" y="4"/>
                  </a:cubicBezTo>
                  <a:cubicBezTo>
                    <a:pt x="64" y="4"/>
                    <a:pt x="0" y="43"/>
                    <a:pt x="0" y="152"/>
                  </a:cubicBezTo>
                  <a:lnTo>
                    <a:pt x="0" y="43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22" name="Freeform 10">
              <a:extLst>
                <a:ext uri="{FF2B5EF4-FFF2-40B4-BE49-F238E27FC236}">
                  <a16:creationId xmlns:a16="http://schemas.microsoft.com/office/drawing/2014/main" id="{2B91B16B-BC11-E547-8FAC-B9B8D18EA449}"/>
                </a:ext>
              </a:extLst>
            </p:cNvPr>
            <p:cNvSpPr>
              <a:spLocks/>
            </p:cNvSpPr>
            <p:nvPr/>
          </p:nvSpPr>
          <p:spPr bwMode="gray">
            <a:xfrm>
              <a:off x="2880" y="1704"/>
              <a:ext cx="618" cy="916"/>
            </a:xfrm>
            <a:custGeom>
              <a:avLst/>
              <a:gdLst>
                <a:gd name="T0" fmla="*/ 307 w 307"/>
                <a:gd name="T1" fmla="*/ 405 h 455"/>
                <a:gd name="T2" fmla="*/ 307 w 307"/>
                <a:gd name="T3" fmla="*/ 244 h 455"/>
                <a:gd name="T4" fmla="*/ 279 w 307"/>
                <a:gd name="T5" fmla="*/ 229 h 455"/>
                <a:gd name="T6" fmla="*/ 250 w 307"/>
                <a:gd name="T7" fmla="*/ 244 h 455"/>
                <a:gd name="T8" fmla="*/ 250 w 307"/>
                <a:gd name="T9" fmla="*/ 378 h 455"/>
                <a:gd name="T10" fmla="*/ 199 w 307"/>
                <a:gd name="T11" fmla="*/ 408 h 455"/>
                <a:gd name="T12" fmla="*/ 61 w 307"/>
                <a:gd name="T13" fmla="*/ 231 h 455"/>
                <a:gd name="T14" fmla="*/ 238 w 307"/>
                <a:gd name="T15" fmla="*/ 49 h 455"/>
                <a:gd name="T16" fmla="*/ 270 w 307"/>
                <a:gd name="T17" fmla="*/ 49 h 455"/>
                <a:gd name="T18" fmla="*/ 286 w 307"/>
                <a:gd name="T19" fmla="*/ 23 h 455"/>
                <a:gd name="T20" fmla="*/ 244 w 307"/>
                <a:gd name="T21" fmla="*/ 0 h 455"/>
                <a:gd name="T22" fmla="*/ 231 w 307"/>
                <a:gd name="T23" fmla="*/ 0 h 455"/>
                <a:gd name="T24" fmla="*/ 0 w 307"/>
                <a:gd name="T25" fmla="*/ 232 h 455"/>
                <a:gd name="T26" fmla="*/ 198 w 307"/>
                <a:gd name="T27" fmla="*/ 455 h 455"/>
                <a:gd name="T28" fmla="*/ 307 w 307"/>
                <a:gd name="T29" fmla="*/ 405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7" h="455">
                  <a:moveTo>
                    <a:pt x="307" y="405"/>
                  </a:moveTo>
                  <a:cubicBezTo>
                    <a:pt x="307" y="244"/>
                    <a:pt x="307" y="244"/>
                    <a:pt x="307" y="244"/>
                  </a:cubicBezTo>
                  <a:cubicBezTo>
                    <a:pt x="307" y="234"/>
                    <a:pt x="298" y="229"/>
                    <a:pt x="279" y="229"/>
                  </a:cubicBezTo>
                  <a:cubicBezTo>
                    <a:pt x="259" y="229"/>
                    <a:pt x="250" y="234"/>
                    <a:pt x="250" y="244"/>
                  </a:cubicBezTo>
                  <a:cubicBezTo>
                    <a:pt x="250" y="378"/>
                    <a:pt x="250" y="378"/>
                    <a:pt x="250" y="378"/>
                  </a:cubicBezTo>
                  <a:cubicBezTo>
                    <a:pt x="250" y="399"/>
                    <a:pt x="241" y="408"/>
                    <a:pt x="199" y="408"/>
                  </a:cubicBezTo>
                  <a:cubicBezTo>
                    <a:pt x="114" y="408"/>
                    <a:pt x="61" y="342"/>
                    <a:pt x="61" y="231"/>
                  </a:cubicBezTo>
                  <a:cubicBezTo>
                    <a:pt x="61" y="115"/>
                    <a:pt x="126" y="49"/>
                    <a:pt x="238" y="49"/>
                  </a:cubicBezTo>
                  <a:cubicBezTo>
                    <a:pt x="270" y="49"/>
                    <a:pt x="270" y="49"/>
                    <a:pt x="270" y="49"/>
                  </a:cubicBezTo>
                  <a:cubicBezTo>
                    <a:pt x="282" y="49"/>
                    <a:pt x="286" y="39"/>
                    <a:pt x="286" y="23"/>
                  </a:cubicBezTo>
                  <a:cubicBezTo>
                    <a:pt x="286" y="4"/>
                    <a:pt x="275" y="0"/>
                    <a:pt x="244" y="0"/>
                  </a:cubicBezTo>
                  <a:cubicBezTo>
                    <a:pt x="231" y="0"/>
                    <a:pt x="231" y="0"/>
                    <a:pt x="231" y="0"/>
                  </a:cubicBezTo>
                  <a:cubicBezTo>
                    <a:pt x="101" y="0"/>
                    <a:pt x="0" y="71"/>
                    <a:pt x="0" y="232"/>
                  </a:cubicBezTo>
                  <a:cubicBezTo>
                    <a:pt x="0" y="386"/>
                    <a:pt x="88" y="455"/>
                    <a:pt x="198" y="455"/>
                  </a:cubicBezTo>
                  <a:cubicBezTo>
                    <a:pt x="286" y="455"/>
                    <a:pt x="307" y="430"/>
                    <a:pt x="307" y="40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23" name="Oval 11">
              <a:extLst>
                <a:ext uri="{FF2B5EF4-FFF2-40B4-BE49-F238E27FC236}">
                  <a16:creationId xmlns:a16="http://schemas.microsoft.com/office/drawing/2014/main" id="{14F8C3C8-4888-7646-B9B4-64EB46A1DA23}"/>
                </a:ext>
              </a:extLst>
            </p:cNvPr>
            <p:cNvSpPr>
              <a:spLocks noChangeArrowheads="1"/>
            </p:cNvSpPr>
            <p:nvPr/>
          </p:nvSpPr>
          <p:spPr bwMode="gray">
            <a:xfrm>
              <a:off x="3778" y="2099"/>
              <a:ext cx="122" cy="12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24" name="Freeform 12">
              <a:extLst>
                <a:ext uri="{FF2B5EF4-FFF2-40B4-BE49-F238E27FC236}">
                  <a16:creationId xmlns:a16="http://schemas.microsoft.com/office/drawing/2014/main" id="{D79D01D1-4E3E-F34B-97D7-2D387E68746E}"/>
                </a:ext>
              </a:extLst>
            </p:cNvPr>
            <p:cNvSpPr>
              <a:spLocks/>
            </p:cNvSpPr>
            <p:nvPr/>
          </p:nvSpPr>
          <p:spPr bwMode="gray">
            <a:xfrm>
              <a:off x="4321" y="1029"/>
              <a:ext cx="648" cy="649"/>
            </a:xfrm>
            <a:custGeom>
              <a:avLst/>
              <a:gdLst>
                <a:gd name="T0" fmla="*/ 0 w 648"/>
                <a:gd name="T1" fmla="*/ 649 h 649"/>
                <a:gd name="T2" fmla="*/ 2 w 648"/>
                <a:gd name="T3" fmla="*/ 649 h 649"/>
                <a:gd name="T4" fmla="*/ 648 w 648"/>
                <a:gd name="T5" fmla="*/ 0 h 649"/>
                <a:gd name="T6" fmla="*/ 423 w 648"/>
                <a:gd name="T7" fmla="*/ 0 h 649"/>
                <a:gd name="T8" fmla="*/ 0 w 648"/>
                <a:gd name="T9" fmla="*/ 649 h 649"/>
              </a:gdLst>
              <a:ahLst/>
              <a:cxnLst>
                <a:cxn ang="0">
                  <a:pos x="T0" y="T1"/>
                </a:cxn>
                <a:cxn ang="0">
                  <a:pos x="T2" y="T3"/>
                </a:cxn>
                <a:cxn ang="0">
                  <a:pos x="T4" y="T5"/>
                </a:cxn>
                <a:cxn ang="0">
                  <a:pos x="T6" y="T7"/>
                </a:cxn>
                <a:cxn ang="0">
                  <a:pos x="T8" y="T9"/>
                </a:cxn>
              </a:cxnLst>
              <a:rect l="0" t="0" r="r" b="b"/>
              <a:pathLst>
                <a:path w="648" h="649">
                  <a:moveTo>
                    <a:pt x="0" y="649"/>
                  </a:moveTo>
                  <a:lnTo>
                    <a:pt x="2" y="649"/>
                  </a:lnTo>
                  <a:lnTo>
                    <a:pt x="648" y="0"/>
                  </a:lnTo>
                  <a:lnTo>
                    <a:pt x="423" y="0"/>
                  </a:lnTo>
                  <a:lnTo>
                    <a:pt x="0" y="64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26" name="Freeform 13">
              <a:extLst>
                <a:ext uri="{FF2B5EF4-FFF2-40B4-BE49-F238E27FC236}">
                  <a16:creationId xmlns:a16="http://schemas.microsoft.com/office/drawing/2014/main" id="{46549898-6C52-B147-A8F6-A73FDBE6163B}"/>
                </a:ext>
              </a:extLst>
            </p:cNvPr>
            <p:cNvSpPr>
              <a:spLocks/>
            </p:cNvSpPr>
            <p:nvPr/>
          </p:nvSpPr>
          <p:spPr bwMode="gray">
            <a:xfrm>
              <a:off x="4321" y="1029"/>
              <a:ext cx="648" cy="649"/>
            </a:xfrm>
            <a:custGeom>
              <a:avLst/>
              <a:gdLst>
                <a:gd name="T0" fmla="*/ 0 w 648"/>
                <a:gd name="T1" fmla="*/ 649 h 649"/>
                <a:gd name="T2" fmla="*/ 2 w 648"/>
                <a:gd name="T3" fmla="*/ 649 h 649"/>
                <a:gd name="T4" fmla="*/ 648 w 648"/>
                <a:gd name="T5" fmla="*/ 0 h 649"/>
                <a:gd name="T6" fmla="*/ 423 w 648"/>
                <a:gd name="T7" fmla="*/ 0 h 649"/>
                <a:gd name="T8" fmla="*/ 0 w 648"/>
                <a:gd name="T9" fmla="*/ 649 h 649"/>
              </a:gdLst>
              <a:ahLst/>
              <a:cxnLst>
                <a:cxn ang="0">
                  <a:pos x="T0" y="T1"/>
                </a:cxn>
                <a:cxn ang="0">
                  <a:pos x="T2" y="T3"/>
                </a:cxn>
                <a:cxn ang="0">
                  <a:pos x="T4" y="T5"/>
                </a:cxn>
                <a:cxn ang="0">
                  <a:pos x="T6" y="T7"/>
                </a:cxn>
                <a:cxn ang="0">
                  <a:pos x="T8" y="T9"/>
                </a:cxn>
              </a:cxnLst>
              <a:rect l="0" t="0" r="r" b="b"/>
              <a:pathLst>
                <a:path w="648" h="649">
                  <a:moveTo>
                    <a:pt x="0" y="649"/>
                  </a:moveTo>
                  <a:lnTo>
                    <a:pt x="2" y="649"/>
                  </a:lnTo>
                  <a:lnTo>
                    <a:pt x="648" y="0"/>
                  </a:lnTo>
                  <a:lnTo>
                    <a:pt x="423" y="0"/>
                  </a:lnTo>
                  <a:lnTo>
                    <a:pt x="0" y="64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grpSp>
      <p:sp>
        <p:nvSpPr>
          <p:cNvPr id="20" name="shp1">
            <a:extLst>
              <a:ext uri="{FF2B5EF4-FFF2-40B4-BE49-F238E27FC236}">
                <a16:creationId xmlns:a16="http://schemas.microsoft.com/office/drawing/2014/main" id="{1AD9883E-0B1C-504A-A979-9C5803172360}"/>
              </a:ext>
            </a:extLst>
          </p:cNvPr>
          <p:cNvSpPr/>
          <p:nvPr/>
        </p:nvSpPr>
        <p:spPr>
          <a:xfrm>
            <a:off x="192088" y="1"/>
            <a:ext cx="215900" cy="144938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de-DE" sz="1351"/>
          </a:p>
        </p:txBody>
      </p:sp>
      <p:sp>
        <p:nvSpPr>
          <p:cNvPr id="7" name="copyright"/>
          <p:cNvSpPr txBox="1"/>
          <p:nvPr/>
        </p:nvSpPr>
        <p:spPr>
          <a:xfrm>
            <a:off x="10672209" y="6461671"/>
            <a:ext cx="500617" cy="133790"/>
          </a:xfrm>
          <a:prstGeom prst="rect">
            <a:avLst/>
          </a:prstGeom>
          <a:noFill/>
        </p:spPr>
        <p:txBody>
          <a:bodyPr wrap="none" lIns="0" tIns="0" rIns="0" bIns="0" rtlCol="0" anchor="b" anchorCtr="0">
            <a:noAutofit/>
          </a:bodyPr>
          <a:lstStyle/>
          <a:p>
            <a:pPr marL="0" indent="0" algn="r">
              <a:lnSpc>
                <a:spcPct val="125000"/>
              </a:lnSpc>
              <a:buClr>
                <a:schemeClr val="tx2"/>
              </a:buClr>
              <a:buFont typeface="Wingdings" panose="05000000000000000000" pitchFamily="2" charset="2"/>
              <a:buNone/>
            </a:pPr>
            <a:r>
              <a:rPr lang="en-US" sz="800"/>
              <a:t>© GfK</a:t>
            </a:r>
          </a:p>
        </p:txBody>
      </p:sp>
      <p:sp>
        <p:nvSpPr>
          <p:cNvPr id="28" name="Date Placeholder 27"/>
          <p:cNvSpPr>
            <a:spLocks noGrp="1"/>
          </p:cNvSpPr>
          <p:nvPr>
            <p:ph type="dt" sz="half" idx="2"/>
          </p:nvPr>
        </p:nvSpPr>
        <p:spPr>
          <a:xfrm>
            <a:off x="192088" y="6461671"/>
            <a:ext cx="761512" cy="133790"/>
          </a:xfrm>
          <a:prstGeom prst="rect">
            <a:avLst/>
          </a:prstGeom>
        </p:spPr>
        <p:txBody>
          <a:bodyPr vert="horz" wrap="none" lIns="0" tIns="0" rIns="0" bIns="0" rtlCol="0" anchor="b" anchorCtr="0"/>
          <a:lstStyle>
            <a:lvl1pPr algn="r">
              <a:defRPr sz="800">
                <a:solidFill>
                  <a:schemeClr val="tx1"/>
                </a:solidFill>
              </a:defRPr>
            </a:lvl1pPr>
          </a:lstStyle>
          <a:p>
            <a:fld id="{85245AC6-241B-4B56-BD95-BEEA95A36893}" type="datetime5">
              <a:rPr lang="en-US" smtClean="0"/>
              <a:t>26-Jun-20</a:t>
            </a:fld>
            <a:endParaRPr lang="en-US"/>
          </a:p>
        </p:txBody>
      </p:sp>
      <p:sp>
        <p:nvSpPr>
          <p:cNvPr id="29" name="Footer Placeholder 28"/>
          <p:cNvSpPr>
            <a:spLocks noGrp="1"/>
          </p:cNvSpPr>
          <p:nvPr>
            <p:ph type="ftr" sz="quarter" idx="3"/>
          </p:nvPr>
        </p:nvSpPr>
        <p:spPr>
          <a:xfrm>
            <a:off x="1076400" y="6461671"/>
            <a:ext cx="8162717" cy="133790"/>
          </a:xfrm>
          <a:prstGeom prst="rect">
            <a:avLst/>
          </a:prstGeom>
        </p:spPr>
        <p:txBody>
          <a:bodyPr vert="horz" lIns="0" tIns="0" rIns="0" bIns="0" rtlCol="0" anchor="b" anchorCtr="0"/>
          <a:lstStyle>
            <a:lvl1pPr marL="144000" indent="-144000" algn="l">
              <a:buClr>
                <a:schemeClr val="tx2"/>
              </a:buClr>
              <a:buFont typeface="Wingdings" panose="05000000000000000000" pitchFamily="2" charset="2"/>
              <a:buChar char="§"/>
              <a:defRPr sz="800">
                <a:solidFill>
                  <a:schemeClr val="tx1"/>
                </a:solidFill>
              </a:defRPr>
            </a:lvl1pPr>
          </a:lstStyle>
          <a:p>
            <a:r>
              <a:rPr lang="en-US"/>
              <a:t>Title of presentation (Insert / Header &amp; Footer / Apply to All)</a:t>
            </a:r>
          </a:p>
        </p:txBody>
      </p:sp>
      <p:sp>
        <p:nvSpPr>
          <p:cNvPr id="30" name="Slide Number Placeholder 29"/>
          <p:cNvSpPr>
            <a:spLocks noGrp="1"/>
          </p:cNvSpPr>
          <p:nvPr>
            <p:ph type="sldNum" sz="quarter" idx="4"/>
          </p:nvPr>
        </p:nvSpPr>
        <p:spPr>
          <a:xfrm>
            <a:off x="11186669" y="6461671"/>
            <a:ext cx="648000" cy="133790"/>
          </a:xfrm>
          <a:prstGeom prst="rect">
            <a:avLst/>
          </a:prstGeom>
        </p:spPr>
        <p:txBody>
          <a:bodyPr vert="horz" lIns="0" tIns="0" rIns="0" bIns="0" rtlCol="0" anchor="b" anchorCtr="0"/>
          <a:lstStyle>
            <a:lvl1pPr algn="r">
              <a:defRPr sz="800">
                <a:solidFill>
                  <a:schemeClr val="tx1"/>
                </a:solidFill>
              </a:defRPr>
            </a:lvl1pPr>
          </a:lstStyle>
          <a:p>
            <a:fld id="{5F3E29E4-0979-4FCA-B4C5-5FC6044C982A}" type="slidenum">
              <a:rPr lang="en-US" smtClean="0"/>
              <a:pPr/>
              <a:t>‹#›</a:t>
            </a:fld>
            <a:endParaRPr lang="en-US"/>
          </a:p>
        </p:txBody>
      </p:sp>
      <p:sp>
        <p:nvSpPr>
          <p:cNvPr id="2" name="Title Placeholder 1"/>
          <p:cNvSpPr>
            <a:spLocks noGrp="1"/>
          </p:cNvSpPr>
          <p:nvPr>
            <p:ph type="title"/>
          </p:nvPr>
        </p:nvSpPr>
        <p:spPr>
          <a:xfrm>
            <a:off x="1075061" y="288922"/>
            <a:ext cx="7910158" cy="648000"/>
          </a:xfrm>
          <a:prstGeom prst="rect">
            <a:avLst/>
          </a:prstGeom>
        </p:spPr>
        <p:txBody>
          <a:bodyPr vert="horz" lIns="0" tIns="0" rIns="0" bIns="0" rtlCol="0" anchor="t">
            <a:noAutofit/>
          </a:bodyPr>
          <a:lstStyle/>
          <a:p>
            <a:r>
              <a:rPr lang="ru-RU"/>
              <a:t>Образец заголовка</a:t>
            </a:r>
            <a:endParaRPr lang="en-US"/>
          </a:p>
        </p:txBody>
      </p:sp>
      <p:sp>
        <p:nvSpPr>
          <p:cNvPr id="3" name="Text Placeholder 2"/>
          <p:cNvSpPr>
            <a:spLocks noGrp="1"/>
          </p:cNvSpPr>
          <p:nvPr>
            <p:ph type="body" idx="1"/>
          </p:nvPr>
        </p:nvSpPr>
        <p:spPr>
          <a:xfrm>
            <a:off x="1075062" y="1629618"/>
            <a:ext cx="10097764" cy="4139357"/>
          </a:xfrm>
          <a:prstGeom prst="rect">
            <a:avLst/>
          </a:prstGeom>
        </p:spPr>
        <p:txBody>
          <a:bodyPr vert="horz" lIns="0" tIns="0" rIns="0" bIns="0" rtlCol="0">
            <a:noAutofit/>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endParaRPr lang="en-US"/>
          </a:p>
        </p:txBody>
      </p:sp>
    </p:spTree>
    <p:extLst>
      <p:ext uri="{BB962C8B-B14F-4D97-AF65-F5344CB8AC3E}">
        <p14:creationId xmlns:p14="http://schemas.microsoft.com/office/powerpoint/2010/main" val="430525863"/>
      </p:ext>
    </p:extLst>
  </p:cSld>
  <p:clrMap bg1="lt1" tx1="dk1" bg2="lt2" tx2="dk2" accent1="accent1" accent2="accent2" accent3="accent3" accent4="accent4" accent5="accent5" accent6="accent6" hlink="hlink" folHlink="folHlink"/>
  <p:sldLayoutIdLst>
    <p:sldLayoutId id="2147485067" r:id="rId1"/>
    <p:sldLayoutId id="2147485068" r:id="rId2"/>
    <p:sldLayoutId id="2147485069" r:id="rId3"/>
    <p:sldLayoutId id="2147485070" r:id="rId4"/>
    <p:sldLayoutId id="2147485071" r:id="rId5"/>
    <p:sldLayoutId id="2147485072" r:id="rId6"/>
    <p:sldLayoutId id="2147485073" r:id="rId7"/>
    <p:sldLayoutId id="2147485074" r:id="rId8"/>
    <p:sldLayoutId id="2147485075" r:id="rId9"/>
    <p:sldLayoutId id="2147485076" r:id="rId10"/>
    <p:sldLayoutId id="2147485077" r:id="rId11"/>
    <p:sldLayoutId id="2147485078" r:id="rId12"/>
    <p:sldLayoutId id="2147485079" r:id="rId13"/>
    <p:sldLayoutId id="2147485080" r:id="rId14"/>
    <p:sldLayoutId id="2147485081" r:id="rId15"/>
    <p:sldLayoutId id="2147485082" r:id="rId16"/>
    <p:sldLayoutId id="2147485083" r:id="rId17"/>
    <p:sldLayoutId id="2147485084" r:id="rId18"/>
    <p:sldLayoutId id="2147485085" r:id="rId19"/>
    <p:sldLayoutId id="2147485086" r:id="rId20"/>
    <p:sldLayoutId id="2147485087" r:id="rId21"/>
    <p:sldLayoutId id="2147485088" r:id="rId22"/>
    <p:sldLayoutId id="2147485089" r:id="rId23"/>
    <p:sldLayoutId id="2147485090" r:id="rId24"/>
    <p:sldLayoutId id="2147485091" r:id="rId25"/>
    <p:sldLayoutId id="2147485092" r:id="rId26"/>
    <p:sldLayoutId id="2147485093" r:id="rId27"/>
    <p:sldLayoutId id="2147485094" r:id="rId28"/>
  </p:sldLayoutIdLst>
  <p:hf hdr="0"/>
  <p:txStyles>
    <p:titleStyle>
      <a:lvl1pPr algn="l" defTabSz="914400" rtl="0" eaLnBrk="1" latinLnBrk="0" hangingPunct="1">
        <a:lnSpc>
          <a:spcPct val="100000"/>
        </a:lnSpc>
        <a:spcBef>
          <a:spcPct val="0"/>
        </a:spcBef>
        <a:buNone/>
        <a:defRPr sz="3600" kern="1200">
          <a:solidFill>
            <a:schemeClr val="tx1"/>
          </a:solidFill>
          <a:latin typeface="+mj-lt"/>
          <a:ea typeface="+mj-ea"/>
          <a:cs typeface="+mj-cs"/>
        </a:defRPr>
      </a:lvl1pPr>
    </p:titleStyle>
    <p:bodyStyle>
      <a:lvl1pPr marL="252000" indent="-252000" algn="l" defTabSz="914400" rtl="0" eaLnBrk="1" latinLnBrk="0" hangingPunct="1">
        <a:lnSpc>
          <a:spcPct val="110000"/>
        </a:lnSpc>
        <a:spcBef>
          <a:spcPts val="1000"/>
        </a:spcBef>
        <a:buClr>
          <a:schemeClr val="tx2"/>
        </a:buClr>
        <a:buFont typeface="Wingdings" panose="05000000000000000000" pitchFamily="2" charset="2"/>
        <a:buChar char="§"/>
        <a:defRPr sz="2800" kern="1200">
          <a:solidFill>
            <a:schemeClr val="tx1"/>
          </a:solidFill>
          <a:latin typeface="+mn-lt"/>
          <a:ea typeface="+mn-ea"/>
          <a:cs typeface="+mn-cs"/>
        </a:defRPr>
      </a:lvl1pPr>
      <a:lvl2pPr marL="648000" indent="-252000" algn="l" defTabSz="914400" rtl="0" eaLnBrk="1" latinLnBrk="0" hangingPunct="1">
        <a:lnSpc>
          <a:spcPct val="110000"/>
        </a:lnSpc>
        <a:spcBef>
          <a:spcPts val="600"/>
        </a:spcBef>
        <a:buClr>
          <a:schemeClr val="tx2"/>
        </a:buClr>
        <a:buFont typeface="Wingdings" panose="05000000000000000000" pitchFamily="2" charset="2"/>
        <a:buChar char="§"/>
        <a:defRPr sz="2400" kern="1200">
          <a:solidFill>
            <a:schemeClr val="tx1"/>
          </a:solidFill>
          <a:latin typeface="+mn-lt"/>
          <a:ea typeface="+mn-ea"/>
          <a:cs typeface="+mn-cs"/>
        </a:defRPr>
      </a:lvl2pPr>
      <a:lvl3pPr marL="1080000" indent="-252000" algn="l" defTabSz="914400" rtl="0" eaLnBrk="1" latinLnBrk="0" hangingPunct="1">
        <a:lnSpc>
          <a:spcPct val="110000"/>
        </a:lnSpc>
        <a:spcBef>
          <a:spcPts val="600"/>
        </a:spcBef>
        <a:buClr>
          <a:schemeClr val="tx2"/>
        </a:buClr>
        <a:buFont typeface="Wingdings" panose="05000000000000000000" pitchFamily="2" charset="2"/>
        <a:buChar char="§"/>
        <a:defRPr sz="2000" kern="1200">
          <a:solidFill>
            <a:schemeClr val="tx1"/>
          </a:solidFill>
          <a:latin typeface="+mn-lt"/>
          <a:ea typeface="+mn-ea"/>
          <a:cs typeface="+mn-cs"/>
        </a:defRPr>
      </a:lvl3pPr>
      <a:lvl4pPr marL="0" indent="0" algn="l" defTabSz="914400" rtl="0" eaLnBrk="1" latinLnBrk="0" hangingPunct="1">
        <a:lnSpc>
          <a:spcPct val="110000"/>
        </a:lnSpc>
        <a:spcBef>
          <a:spcPts val="600"/>
        </a:spcBef>
        <a:buClr>
          <a:schemeClr val="tx2"/>
        </a:buClr>
        <a:buFont typeface="Lato" panose="020F0502020204030203" pitchFamily="34" charset="0"/>
        <a:buChar char="​"/>
        <a:defRPr sz="1600" kern="1200">
          <a:solidFill>
            <a:schemeClr val="tx1"/>
          </a:solidFill>
          <a:latin typeface="+mn-lt"/>
          <a:ea typeface="+mn-ea"/>
          <a:cs typeface="+mn-cs"/>
        </a:defRPr>
      </a:lvl4pPr>
      <a:lvl5pPr marL="252000" indent="-252000" algn="l" defTabSz="914400" rtl="0" eaLnBrk="1" latinLnBrk="0" hangingPunct="1">
        <a:lnSpc>
          <a:spcPct val="110000"/>
        </a:lnSpc>
        <a:spcBef>
          <a:spcPts val="600"/>
        </a:spcBef>
        <a:buClr>
          <a:schemeClr val="tx2"/>
        </a:buClr>
        <a:buFont typeface="Wingdings" panose="05000000000000000000" pitchFamily="2" charset="2"/>
        <a:buChar char="§"/>
        <a:defRPr sz="1600" kern="1200">
          <a:solidFill>
            <a:schemeClr val="tx1"/>
          </a:solidFill>
          <a:latin typeface="+mn-lt"/>
          <a:ea typeface="+mn-ea"/>
          <a:cs typeface="+mn-cs"/>
        </a:defRPr>
      </a:lvl5pPr>
      <a:lvl6pPr marL="648000" indent="-252000" algn="l" defTabSz="914400" rtl="0" eaLnBrk="1" latinLnBrk="0" hangingPunct="1">
        <a:lnSpc>
          <a:spcPct val="110000"/>
        </a:lnSpc>
        <a:spcBef>
          <a:spcPts val="600"/>
        </a:spcBef>
        <a:buClr>
          <a:schemeClr val="tx2"/>
        </a:buClr>
        <a:buFont typeface="Wingdings" panose="05000000000000000000" pitchFamily="2" charset="2"/>
        <a:buChar char="§"/>
        <a:defRPr sz="1600" kern="1200">
          <a:solidFill>
            <a:schemeClr val="tx1"/>
          </a:solidFill>
          <a:latin typeface="+mn-lt"/>
          <a:ea typeface="+mn-ea"/>
          <a:cs typeface="+mn-cs"/>
        </a:defRPr>
      </a:lvl6pPr>
      <a:lvl7pPr marL="1080000" indent="-252000" algn="l" defTabSz="914400" rtl="0" eaLnBrk="1" latinLnBrk="0" hangingPunct="1">
        <a:lnSpc>
          <a:spcPct val="110000"/>
        </a:lnSpc>
        <a:spcBef>
          <a:spcPts val="600"/>
        </a:spcBef>
        <a:buClr>
          <a:schemeClr val="tx2"/>
        </a:buClr>
        <a:buFont typeface="Wingdings" panose="05000000000000000000" pitchFamily="2" charset="2"/>
        <a:buChar char="§"/>
        <a:defRPr sz="1600" kern="1200">
          <a:solidFill>
            <a:schemeClr val="tx1"/>
          </a:solidFill>
          <a:latin typeface="+mn-lt"/>
          <a:ea typeface="+mn-ea"/>
          <a:cs typeface="+mn-cs"/>
        </a:defRPr>
      </a:lvl7pPr>
      <a:lvl8pPr marL="1512000" indent="-252000" algn="l" defTabSz="914400" rtl="0" eaLnBrk="1" latinLnBrk="0" hangingPunct="1">
        <a:lnSpc>
          <a:spcPct val="110000"/>
        </a:lnSpc>
        <a:spcBef>
          <a:spcPts val="600"/>
        </a:spcBef>
        <a:buClr>
          <a:schemeClr val="tx2"/>
        </a:buClr>
        <a:buFont typeface="Wingdings" panose="05000000000000000000" pitchFamily="2" charset="2"/>
        <a:buChar char="§"/>
        <a:defRPr sz="1600" kern="1200">
          <a:solidFill>
            <a:schemeClr val="tx1"/>
          </a:solidFill>
          <a:latin typeface="+mn-lt"/>
          <a:ea typeface="+mn-ea"/>
          <a:cs typeface="+mn-cs"/>
        </a:defRPr>
      </a:lvl8pPr>
      <a:lvl9pPr marL="1944000" indent="-252000" algn="l" defTabSz="914400" rtl="0" eaLnBrk="1" latinLnBrk="0" hangingPunct="1">
        <a:lnSpc>
          <a:spcPct val="110000"/>
        </a:lnSpc>
        <a:spcBef>
          <a:spcPts val="600"/>
        </a:spcBef>
        <a:buClr>
          <a:schemeClr val="tx2"/>
        </a:buClr>
        <a:buFont typeface="Wingdings" panose="05000000000000000000" pitchFamily="2" charset="2"/>
        <a:buChar char="§"/>
        <a:defRPr sz="16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319">
          <p15:clr>
            <a:srgbClr val="5ACBF0"/>
          </p15:clr>
        </p15:guide>
        <p15:guide id="3" pos="257">
          <p15:clr>
            <a:srgbClr val="5ACBF0"/>
          </p15:clr>
        </p15:guide>
        <p15:guide id="4" pos="675">
          <p15:clr>
            <a:srgbClr val="5ACBF0"/>
          </p15:clr>
        </p15:guide>
        <p15:guide id="5" pos="7038">
          <p15:clr>
            <a:srgbClr val="5ACBF0"/>
          </p15:clr>
        </p15:guide>
        <p15:guide id="6" pos="7446">
          <p15:clr>
            <a:srgbClr val="5ACBF0"/>
          </p15:clr>
        </p15:guide>
        <p15:guide id="7" orient="horz" pos="255">
          <p15:clr>
            <a:srgbClr val="5ACBF0"/>
          </p15:clr>
        </p15:guide>
        <p15:guide id="8" orient="horz" pos="663">
          <p15:clr>
            <a:srgbClr val="5ACBF0"/>
          </p15:clr>
        </p15:guide>
        <p15:guide id="9" orient="horz" pos="799">
          <p15:clr>
            <a:srgbClr val="5ACBF0"/>
          </p15:clr>
        </p15:guide>
        <p15:guide id="10" orient="horz" pos="1026">
          <p15:clr>
            <a:srgbClr val="5ACBF0"/>
          </p15:clr>
        </p15:guide>
        <p15:guide id="11" orient="horz" pos="3634">
          <p15:clr>
            <a:srgbClr val="5ACBF0"/>
          </p15:clr>
        </p15:guide>
        <p15:guide id="12" orient="horz" pos="3929">
          <p15:clr>
            <a:srgbClr val="5ACBF0"/>
          </p15:clr>
        </p15:guide>
        <p15:guide id="13" orient="horz" pos="4133">
          <p15:clr>
            <a:srgbClr val="5ACBF0"/>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2"/>
            </p:custDataLst>
            <p:extLst>
              <p:ext uri="{D42A27DB-BD31-4B8C-83A1-F6EECF244321}">
                <p14:modId xmlns:p14="http://schemas.microsoft.com/office/powerpoint/2010/main" val="2799209868"/>
              </p:ext>
            </p:ext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spid="_x0000_s83014" name="think-cell Folie" r:id="rId25" imgW="353" imgH="353" progId="TCLayout.ActiveDocument.1">
                  <p:embed/>
                </p:oleObj>
              </mc:Choice>
              <mc:Fallback>
                <p:oleObj name="think-cell Folie" r:id="rId25" imgW="353" imgH="353" progId="TCLayout.ActiveDocument.1">
                  <p:embed/>
                  <p:pic>
                    <p:nvPicPr>
                      <p:cNvPr id="5" name="Object 4" hidden="1"/>
                      <p:cNvPicPr/>
                      <p:nvPr/>
                    </p:nvPicPr>
                    <p:blipFill>
                      <a:blip r:embed="rId26"/>
                      <a:stretch>
                        <a:fillRect/>
                      </a:stretch>
                    </p:blipFill>
                    <p:spPr>
                      <a:xfrm>
                        <a:off x="2118" y="2118"/>
                        <a:ext cx="2116" cy="2116"/>
                      </a:xfrm>
                      <a:prstGeom prst="rect">
                        <a:avLst/>
                      </a:prstGeom>
                    </p:spPr>
                  </p:pic>
                </p:oleObj>
              </mc:Fallback>
            </mc:AlternateContent>
          </a:graphicData>
        </a:graphic>
      </p:graphicFrame>
      <p:sp>
        <p:nvSpPr>
          <p:cNvPr id="2" name="Title Placeholder 1"/>
          <p:cNvSpPr>
            <a:spLocks noGrp="1"/>
          </p:cNvSpPr>
          <p:nvPr>
            <p:ph type="title"/>
          </p:nvPr>
        </p:nvSpPr>
        <p:spPr bwMode="gray">
          <a:xfrm>
            <a:off x="431216" y="260560"/>
            <a:ext cx="8545185" cy="768107"/>
          </a:xfrm>
          <a:prstGeom prst="rect">
            <a:avLst/>
          </a:prstGeom>
        </p:spPr>
        <p:txBody>
          <a:bodyPr vert="horz" lIns="0" tIns="0" rIns="0" bIns="0" rtlCol="0" anchor="b" anchorCtr="0">
            <a:noAutofit/>
          </a:bodyPr>
          <a:lstStyle/>
          <a:p>
            <a:r>
              <a:rPr lang="en-US"/>
              <a:t>Click to add headline</a:t>
            </a:r>
            <a:endParaRPr lang="en-US" noProof="0"/>
          </a:p>
        </p:txBody>
      </p:sp>
      <p:sp>
        <p:nvSpPr>
          <p:cNvPr id="3" name="Text Placeholder 2"/>
          <p:cNvSpPr>
            <a:spLocks noGrp="1"/>
          </p:cNvSpPr>
          <p:nvPr>
            <p:ph type="body" idx="1"/>
            <p:custDataLst>
              <p:tags r:id="rId23"/>
            </p:custDataLst>
          </p:nvPr>
        </p:nvSpPr>
        <p:spPr bwMode="gray">
          <a:xfrm>
            <a:off x="431214" y="1220695"/>
            <a:ext cx="11329573" cy="5088707"/>
          </a:xfrm>
          <a:prstGeom prst="rect">
            <a:avLst/>
          </a:prstGeom>
        </p:spPr>
        <p:txBody>
          <a:bodyPr vert="horz" lIns="0" tIns="18000" rIns="0" bIns="0" rtlCol="0" anchor="t" anchorCtr="0">
            <a:noAutofit/>
          </a:bodyPr>
          <a:lstStyle/>
          <a:p>
            <a:pPr lvl="0"/>
            <a:r>
              <a:rPr lang="en-US" noProof="0"/>
              <a:t>Click to add text</a:t>
            </a:r>
          </a:p>
          <a:p>
            <a:pPr lvl="1"/>
            <a:r>
              <a:rPr lang="en-US" noProof="0"/>
              <a:t>Second level</a:t>
            </a:r>
          </a:p>
          <a:p>
            <a:pPr lvl="2"/>
            <a:r>
              <a:rPr lang="en-US" noProof="0"/>
              <a:t>Third level</a:t>
            </a:r>
          </a:p>
          <a:p>
            <a:pPr lvl="3"/>
            <a:r>
              <a:rPr lang="en-US" noProof="0"/>
              <a:t>Fourth level</a:t>
            </a:r>
          </a:p>
          <a:p>
            <a:pPr lvl="4"/>
            <a:r>
              <a:rPr lang="en-US" noProof="0"/>
              <a:t>Fifth level</a:t>
            </a:r>
          </a:p>
          <a:p>
            <a:pPr lvl="5"/>
            <a:r>
              <a:rPr lang="en-US" noProof="0"/>
              <a:t>Sixth level</a:t>
            </a:r>
          </a:p>
          <a:p>
            <a:pPr lvl="6"/>
            <a:r>
              <a:rPr lang="en-US" noProof="0"/>
              <a:t>Seventh level</a:t>
            </a:r>
          </a:p>
          <a:p>
            <a:pPr lvl="6"/>
            <a:r>
              <a:rPr lang="en-US" noProof="0"/>
              <a:t>Eighth level</a:t>
            </a:r>
          </a:p>
          <a:p>
            <a:pPr lvl="8"/>
            <a:r>
              <a:rPr lang="en-US" noProof="0"/>
              <a:t>Ninth level</a:t>
            </a:r>
          </a:p>
        </p:txBody>
      </p:sp>
      <p:grpSp>
        <p:nvGrpSpPr>
          <p:cNvPr id="15" name="Gruppieren 14"/>
          <p:cNvGrpSpPr/>
          <p:nvPr/>
        </p:nvGrpSpPr>
        <p:grpSpPr bwMode="gray">
          <a:xfrm>
            <a:off x="431800" y="-420693"/>
            <a:ext cx="11328987" cy="288040"/>
            <a:chOff x="323850" y="-531550"/>
            <a:chExt cx="8496740" cy="432060"/>
          </a:xfrm>
        </p:grpSpPr>
        <p:cxnSp>
          <p:nvCxnSpPr>
            <p:cNvPr id="16" name="Gerade Verbindung 15"/>
            <p:cNvCxnSpPr/>
            <p:nvPr userDrawn="1"/>
          </p:nvCxnSpPr>
          <p:spPr bwMode="gray">
            <a:xfrm rot="5400000">
              <a:off x="10782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 name="Gerade Verbindung 16"/>
            <p:cNvCxnSpPr/>
            <p:nvPr userDrawn="1"/>
          </p:nvCxnSpPr>
          <p:spPr bwMode="gray">
            <a:xfrm rot="5400000">
              <a:off x="14035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 name="Gerade Verbindung 17"/>
            <p:cNvCxnSpPr/>
            <p:nvPr userDrawn="1"/>
          </p:nvCxnSpPr>
          <p:spPr bwMode="gray">
            <a:xfrm rot="5400000">
              <a:off x="154758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Gerade Verbindung 18"/>
            <p:cNvCxnSpPr/>
            <p:nvPr userDrawn="1"/>
          </p:nvCxnSpPr>
          <p:spPr bwMode="gray">
            <a:xfrm rot="5400000">
              <a:off x="28437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 name="Gerade Verbindung 19"/>
            <p:cNvCxnSpPr/>
            <p:nvPr userDrawn="1"/>
          </p:nvCxnSpPr>
          <p:spPr bwMode="gray">
            <a:xfrm rot="5400000">
              <a:off x="298778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 name="Gerade Verbindung 20"/>
            <p:cNvCxnSpPr/>
            <p:nvPr userDrawn="1"/>
          </p:nvCxnSpPr>
          <p:spPr bwMode="gray">
            <a:xfrm rot="5400000">
              <a:off x="42839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2" name="Gerade Verbindung 21"/>
            <p:cNvCxnSpPr/>
            <p:nvPr userDrawn="1"/>
          </p:nvCxnSpPr>
          <p:spPr bwMode="gray">
            <a:xfrm rot="5400000">
              <a:off x="442798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 name="Gerade Verbindung 22"/>
            <p:cNvCxnSpPr/>
            <p:nvPr userDrawn="1"/>
          </p:nvCxnSpPr>
          <p:spPr bwMode="gray">
            <a:xfrm rot="5400000">
              <a:off x="57241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 name="Gerade Verbindung 23"/>
            <p:cNvCxnSpPr/>
            <p:nvPr userDrawn="1"/>
          </p:nvCxnSpPr>
          <p:spPr bwMode="gray">
            <a:xfrm rot="5400000">
              <a:off x="586818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 name="Gerade Verbindung 24"/>
            <p:cNvCxnSpPr/>
            <p:nvPr userDrawn="1"/>
          </p:nvCxnSpPr>
          <p:spPr bwMode="gray">
            <a:xfrm rot="5400000">
              <a:off x="71643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 name="Gerade Verbindung 25"/>
            <p:cNvCxnSpPr/>
            <p:nvPr userDrawn="1"/>
          </p:nvCxnSpPr>
          <p:spPr bwMode="gray">
            <a:xfrm rot="5400000">
              <a:off x="730838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7" name="Gerade Verbindung 26"/>
            <p:cNvCxnSpPr/>
            <p:nvPr userDrawn="1"/>
          </p:nvCxnSpPr>
          <p:spPr bwMode="gray">
            <a:xfrm rot="5400000">
              <a:off x="86045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28" name="Gruppieren 27"/>
          <p:cNvGrpSpPr/>
          <p:nvPr/>
        </p:nvGrpSpPr>
        <p:grpSpPr bwMode="gray">
          <a:xfrm>
            <a:off x="431800" y="6981493"/>
            <a:ext cx="11328987" cy="288040"/>
            <a:chOff x="323850" y="-531550"/>
            <a:chExt cx="8496740" cy="432060"/>
          </a:xfrm>
        </p:grpSpPr>
        <p:cxnSp>
          <p:nvCxnSpPr>
            <p:cNvPr id="29" name="Gerade Verbindung 28"/>
            <p:cNvCxnSpPr/>
            <p:nvPr userDrawn="1"/>
          </p:nvCxnSpPr>
          <p:spPr bwMode="gray">
            <a:xfrm rot="5400000">
              <a:off x="10782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0" name="Gerade Verbindung 29"/>
            <p:cNvCxnSpPr/>
            <p:nvPr userDrawn="1"/>
          </p:nvCxnSpPr>
          <p:spPr bwMode="gray">
            <a:xfrm rot="5400000">
              <a:off x="14035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1" name="Gerade Verbindung 30"/>
            <p:cNvCxnSpPr/>
            <p:nvPr userDrawn="1"/>
          </p:nvCxnSpPr>
          <p:spPr bwMode="gray">
            <a:xfrm rot="5400000">
              <a:off x="154758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2" name="Gerade Verbindung 31"/>
            <p:cNvCxnSpPr/>
            <p:nvPr userDrawn="1"/>
          </p:nvCxnSpPr>
          <p:spPr bwMode="gray">
            <a:xfrm rot="5400000">
              <a:off x="28437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3" name="Gerade Verbindung 32"/>
            <p:cNvCxnSpPr/>
            <p:nvPr userDrawn="1"/>
          </p:nvCxnSpPr>
          <p:spPr bwMode="gray">
            <a:xfrm rot="5400000">
              <a:off x="298778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4" name="Gerade Verbindung 33"/>
            <p:cNvCxnSpPr/>
            <p:nvPr userDrawn="1"/>
          </p:nvCxnSpPr>
          <p:spPr bwMode="gray">
            <a:xfrm rot="5400000">
              <a:off x="42839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5" name="Gerade Verbindung 34"/>
            <p:cNvCxnSpPr/>
            <p:nvPr userDrawn="1"/>
          </p:nvCxnSpPr>
          <p:spPr bwMode="gray">
            <a:xfrm rot="5400000">
              <a:off x="442798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6" name="Gerade Verbindung 35"/>
            <p:cNvCxnSpPr/>
            <p:nvPr userDrawn="1"/>
          </p:nvCxnSpPr>
          <p:spPr bwMode="gray">
            <a:xfrm rot="5400000">
              <a:off x="57241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7" name="Gerade Verbindung 36"/>
            <p:cNvCxnSpPr/>
            <p:nvPr userDrawn="1"/>
          </p:nvCxnSpPr>
          <p:spPr bwMode="gray">
            <a:xfrm rot="5400000">
              <a:off x="586818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8" name="Gerade Verbindung 37"/>
            <p:cNvCxnSpPr/>
            <p:nvPr userDrawn="1"/>
          </p:nvCxnSpPr>
          <p:spPr bwMode="gray">
            <a:xfrm rot="5400000">
              <a:off x="71643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9" name="Gerade Verbindung 38"/>
            <p:cNvCxnSpPr/>
            <p:nvPr userDrawn="1"/>
          </p:nvCxnSpPr>
          <p:spPr bwMode="gray">
            <a:xfrm rot="5400000">
              <a:off x="730838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0" name="Gerade Verbindung 39"/>
            <p:cNvCxnSpPr/>
            <p:nvPr userDrawn="1"/>
          </p:nvCxnSpPr>
          <p:spPr bwMode="gray">
            <a:xfrm rot="5400000">
              <a:off x="86045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8" name="Gruppieren 7"/>
          <p:cNvGrpSpPr/>
          <p:nvPr/>
        </p:nvGrpSpPr>
        <p:grpSpPr bwMode="gray">
          <a:xfrm>
            <a:off x="12336686" y="260648"/>
            <a:ext cx="288221" cy="6336792"/>
            <a:chOff x="9252514" y="195486"/>
            <a:chExt cx="216166" cy="4752594"/>
          </a:xfrm>
        </p:grpSpPr>
        <p:cxnSp>
          <p:nvCxnSpPr>
            <p:cNvPr id="48" name="Gerade Verbindung 47"/>
            <p:cNvCxnSpPr/>
            <p:nvPr userDrawn="1"/>
          </p:nvCxnSpPr>
          <p:spPr bwMode="gray">
            <a:xfrm>
              <a:off x="9252650" y="915566"/>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9" name="Gerade Verbindung 48"/>
            <p:cNvCxnSpPr/>
            <p:nvPr userDrawn="1"/>
          </p:nvCxnSpPr>
          <p:spPr bwMode="gray">
            <a:xfrm>
              <a:off x="9252650" y="77150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0" name="Gerade Verbindung 49"/>
            <p:cNvCxnSpPr/>
            <p:nvPr userDrawn="1"/>
          </p:nvCxnSpPr>
          <p:spPr bwMode="gray">
            <a:xfrm>
              <a:off x="9252650" y="494808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1" name="Gerade Verbindung 50"/>
            <p:cNvCxnSpPr/>
            <p:nvPr userDrawn="1"/>
          </p:nvCxnSpPr>
          <p:spPr bwMode="gray">
            <a:xfrm>
              <a:off x="9252650" y="480406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2" name="Gerade Verbindung 51"/>
            <p:cNvCxnSpPr/>
            <p:nvPr userDrawn="1"/>
          </p:nvCxnSpPr>
          <p:spPr bwMode="gray">
            <a:xfrm>
              <a:off x="9252650" y="415597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3" name="Gerade Verbindung 52"/>
            <p:cNvCxnSpPr/>
            <p:nvPr userDrawn="1"/>
          </p:nvCxnSpPr>
          <p:spPr bwMode="gray">
            <a:xfrm>
              <a:off x="9252650" y="401195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4" name="Gerade Verbindung 53"/>
            <p:cNvCxnSpPr/>
            <p:nvPr userDrawn="1"/>
          </p:nvCxnSpPr>
          <p:spPr bwMode="gray">
            <a:xfrm>
              <a:off x="9252650" y="336386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5" name="Gerade Verbindung 54"/>
            <p:cNvCxnSpPr/>
            <p:nvPr userDrawn="1"/>
          </p:nvCxnSpPr>
          <p:spPr bwMode="gray">
            <a:xfrm>
              <a:off x="9252650" y="321984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6" name="Gerade Verbindung 55"/>
            <p:cNvCxnSpPr/>
            <p:nvPr userDrawn="1"/>
          </p:nvCxnSpPr>
          <p:spPr bwMode="gray">
            <a:xfrm>
              <a:off x="9252650" y="257175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7" name="Gerade Verbindung 56"/>
            <p:cNvCxnSpPr/>
            <p:nvPr userDrawn="1"/>
          </p:nvCxnSpPr>
          <p:spPr bwMode="gray">
            <a:xfrm>
              <a:off x="9252650" y="242773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8" name="Gerade Verbindung 57"/>
            <p:cNvCxnSpPr/>
            <p:nvPr userDrawn="1"/>
          </p:nvCxnSpPr>
          <p:spPr bwMode="gray">
            <a:xfrm>
              <a:off x="9252650" y="177964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9" name="Gerade Verbindung 58"/>
            <p:cNvCxnSpPr/>
            <p:nvPr userDrawn="1"/>
          </p:nvCxnSpPr>
          <p:spPr bwMode="gray">
            <a:xfrm>
              <a:off x="9252650" y="163562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0" name="Gerade Verbindung 59"/>
            <p:cNvCxnSpPr/>
            <p:nvPr userDrawn="1"/>
          </p:nvCxnSpPr>
          <p:spPr bwMode="gray">
            <a:xfrm>
              <a:off x="9252650" y="473205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2" name="Gerade Verbindung 81"/>
            <p:cNvCxnSpPr/>
            <p:nvPr userDrawn="1"/>
          </p:nvCxnSpPr>
          <p:spPr bwMode="gray">
            <a:xfrm>
              <a:off x="9252514" y="1275606"/>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3" name="Gerade Verbindung 82"/>
            <p:cNvCxnSpPr/>
            <p:nvPr userDrawn="1"/>
          </p:nvCxnSpPr>
          <p:spPr bwMode="gray">
            <a:xfrm>
              <a:off x="9252520" y="195486"/>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6" name="Gerade Verbindung 85"/>
            <p:cNvCxnSpPr/>
            <p:nvPr userDrawn="1"/>
          </p:nvCxnSpPr>
          <p:spPr bwMode="gray">
            <a:xfrm>
              <a:off x="9252650" y="1419225"/>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64" name="Gruppieren 63"/>
          <p:cNvGrpSpPr/>
          <p:nvPr/>
        </p:nvGrpSpPr>
        <p:grpSpPr bwMode="gray">
          <a:xfrm>
            <a:off x="-432907" y="260648"/>
            <a:ext cx="288221" cy="6336792"/>
            <a:chOff x="9252650" y="195486"/>
            <a:chExt cx="216166" cy="4752594"/>
          </a:xfrm>
        </p:grpSpPr>
        <p:cxnSp>
          <p:nvCxnSpPr>
            <p:cNvPr id="65" name="Gerade Verbindung 64"/>
            <p:cNvCxnSpPr/>
            <p:nvPr userDrawn="1"/>
          </p:nvCxnSpPr>
          <p:spPr bwMode="gray">
            <a:xfrm>
              <a:off x="9252650" y="915566"/>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7" name="Gerade Verbindung 66"/>
            <p:cNvCxnSpPr/>
            <p:nvPr userDrawn="1"/>
          </p:nvCxnSpPr>
          <p:spPr bwMode="gray">
            <a:xfrm>
              <a:off x="9252650" y="77150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8" name="Gerade Verbindung 67"/>
            <p:cNvCxnSpPr/>
            <p:nvPr userDrawn="1"/>
          </p:nvCxnSpPr>
          <p:spPr bwMode="gray">
            <a:xfrm>
              <a:off x="9252650" y="494808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9" name="Gerade Verbindung 68"/>
            <p:cNvCxnSpPr/>
            <p:nvPr userDrawn="1"/>
          </p:nvCxnSpPr>
          <p:spPr bwMode="gray">
            <a:xfrm>
              <a:off x="9252650" y="480406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0" name="Gerade Verbindung 69"/>
            <p:cNvCxnSpPr/>
            <p:nvPr userDrawn="1"/>
          </p:nvCxnSpPr>
          <p:spPr bwMode="gray">
            <a:xfrm>
              <a:off x="9252650" y="415597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1" name="Gerade Verbindung 70"/>
            <p:cNvCxnSpPr/>
            <p:nvPr userDrawn="1"/>
          </p:nvCxnSpPr>
          <p:spPr bwMode="gray">
            <a:xfrm>
              <a:off x="9252650" y="401195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2" name="Gerade Verbindung 71"/>
            <p:cNvCxnSpPr/>
            <p:nvPr userDrawn="1"/>
          </p:nvCxnSpPr>
          <p:spPr bwMode="gray">
            <a:xfrm>
              <a:off x="9252650" y="336386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3" name="Gerade Verbindung 72"/>
            <p:cNvCxnSpPr/>
            <p:nvPr userDrawn="1"/>
          </p:nvCxnSpPr>
          <p:spPr bwMode="gray">
            <a:xfrm>
              <a:off x="9252650" y="321984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4" name="Gerade Verbindung 73"/>
            <p:cNvCxnSpPr/>
            <p:nvPr userDrawn="1"/>
          </p:nvCxnSpPr>
          <p:spPr bwMode="gray">
            <a:xfrm>
              <a:off x="9252650" y="257175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5" name="Gerade Verbindung 74"/>
            <p:cNvCxnSpPr/>
            <p:nvPr userDrawn="1"/>
          </p:nvCxnSpPr>
          <p:spPr bwMode="gray">
            <a:xfrm>
              <a:off x="9252650" y="242773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6" name="Gerade Verbindung 75"/>
            <p:cNvCxnSpPr/>
            <p:nvPr userDrawn="1"/>
          </p:nvCxnSpPr>
          <p:spPr bwMode="gray">
            <a:xfrm>
              <a:off x="9252650" y="177964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7" name="Gerade Verbindung 76"/>
            <p:cNvCxnSpPr/>
            <p:nvPr userDrawn="1"/>
          </p:nvCxnSpPr>
          <p:spPr bwMode="gray">
            <a:xfrm>
              <a:off x="9252650" y="163562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8" name="Gerade Verbindung 77"/>
            <p:cNvCxnSpPr/>
            <p:nvPr userDrawn="1"/>
          </p:nvCxnSpPr>
          <p:spPr bwMode="gray">
            <a:xfrm>
              <a:off x="9252650" y="473205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1" name="Gerade Verbindung 80"/>
            <p:cNvCxnSpPr/>
            <p:nvPr userDrawn="1"/>
          </p:nvCxnSpPr>
          <p:spPr bwMode="gray">
            <a:xfrm>
              <a:off x="9252786" y="1275606"/>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4" name="Gerade Verbindung 83"/>
            <p:cNvCxnSpPr/>
            <p:nvPr userDrawn="1"/>
          </p:nvCxnSpPr>
          <p:spPr bwMode="gray">
            <a:xfrm>
              <a:off x="9252786" y="195486"/>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5" name="Gerade Verbindung 84"/>
            <p:cNvCxnSpPr/>
            <p:nvPr userDrawn="1"/>
          </p:nvCxnSpPr>
          <p:spPr bwMode="gray">
            <a:xfrm>
              <a:off x="9252786" y="1413738"/>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66" name="Rechteck 65"/>
          <p:cNvSpPr/>
          <p:nvPr/>
        </p:nvSpPr>
        <p:spPr bwMode="gray">
          <a:xfrm>
            <a:off x="10033000" y="6597440"/>
            <a:ext cx="1727787" cy="192000"/>
          </a:xfrm>
          <a:prstGeom prst="rect">
            <a:avLst/>
          </a:prstGeom>
          <a:solidFill>
            <a:schemeClr val="bg1"/>
          </a:solidFill>
          <a:ln w="9525">
            <a:noFill/>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lvl="0" algn="r"/>
            <a:fld id="{FCBC2E87-33EB-478A-988F-F7C865AFDA8A}" type="slidenum">
              <a:rPr lang="en-US" sz="1067" smtClean="0">
                <a:solidFill>
                  <a:schemeClr val="bg2"/>
                </a:solidFill>
                <a:latin typeface="Arial" pitchFamily="34" charset="0"/>
              </a:rPr>
              <a:t>‹#›</a:t>
            </a:fld>
            <a:endParaRPr lang="en-US" sz="1067">
              <a:solidFill>
                <a:schemeClr val="bg2"/>
              </a:solidFill>
              <a:latin typeface="Arial" pitchFamily="34" charset="0"/>
            </a:endParaRPr>
          </a:p>
        </p:txBody>
      </p:sp>
      <p:sp>
        <p:nvSpPr>
          <p:cNvPr id="79" name="Rechteck 13"/>
          <p:cNvSpPr/>
          <p:nvPr/>
        </p:nvSpPr>
        <p:spPr bwMode="gray">
          <a:xfrm>
            <a:off x="432520" y="6597440"/>
            <a:ext cx="9408000" cy="192000"/>
          </a:xfrm>
          <a:prstGeom prst="rect">
            <a:avLst/>
          </a:prstGeom>
          <a:solidFill>
            <a:schemeClr val="bg1"/>
          </a:solidFill>
          <a:ln w="9525">
            <a:noFill/>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lvl="8" indent="0">
              <a:tabLst/>
            </a:pPr>
            <a:r>
              <a:rPr lang="en-US" sz="1067" noProof="0">
                <a:solidFill>
                  <a:schemeClr val="bg2"/>
                </a:solidFill>
                <a:latin typeface="Arial" pitchFamily="34" charset="0"/>
              </a:rPr>
              <a:t>© GfK </a:t>
            </a:r>
            <a:fld id="{C5F468E3-E2B5-4048-B5A0-A2E0E1BF2E6A}" type="datetime4">
              <a:rPr lang="en-US" sz="1067" noProof="0" smtClean="0">
                <a:solidFill>
                  <a:schemeClr val="bg2"/>
                </a:solidFill>
                <a:latin typeface="Arial" pitchFamily="34" charset="0"/>
              </a:rPr>
              <a:pPr marL="0" lvl="8" indent="0">
                <a:tabLst/>
              </a:pPr>
              <a:t>June 26, 2020</a:t>
            </a:fld>
            <a:r>
              <a:rPr lang="en-US" sz="1067" noProof="0">
                <a:solidFill>
                  <a:schemeClr val="bg2"/>
                </a:solidFill>
                <a:latin typeface="Arial" pitchFamily="34" charset="0"/>
              </a:rPr>
              <a:t> | Title of presentation</a:t>
            </a:r>
          </a:p>
        </p:txBody>
      </p:sp>
      <p:pic>
        <p:nvPicPr>
          <p:cNvPr id="80" name="Grafik 75"/>
          <p:cNvPicPr>
            <a:picLocks noChangeAspect="1"/>
          </p:cNvPicPr>
          <p:nvPr/>
        </p:nvPicPr>
        <p:blipFill>
          <a:blip r:embed="rId27" cstate="print">
            <a:extLst>
              <a:ext uri="{28A0092B-C50C-407E-A947-70E740481C1C}">
                <a14:useLocalDpi xmlns:a14="http://schemas.microsoft.com/office/drawing/2010/main"/>
              </a:ext>
            </a:extLst>
          </a:blip>
          <a:stretch>
            <a:fillRect/>
          </a:stretch>
        </p:blipFill>
        <p:spPr bwMode="gray">
          <a:xfrm>
            <a:off x="10992254" y="260560"/>
            <a:ext cx="770129" cy="768000"/>
          </a:xfrm>
          <a:prstGeom prst="rect">
            <a:avLst/>
          </a:prstGeom>
        </p:spPr>
      </p:pic>
      <p:sp>
        <p:nvSpPr>
          <p:cNvPr id="62" name="Text Placeholder 6"/>
          <p:cNvSpPr txBox="1">
            <a:spLocks/>
          </p:cNvSpPr>
          <p:nvPr/>
        </p:nvSpPr>
        <p:spPr bwMode="gray">
          <a:xfrm>
            <a:off x="9120496" y="260648"/>
            <a:ext cx="1440000" cy="768000"/>
          </a:xfrm>
          <a:prstGeom prst="rect">
            <a:avLst/>
          </a:prstGeom>
          <a:solidFill>
            <a:srgbClr val="FFFFFF">
              <a:lumMod val="95000"/>
            </a:srgbClr>
          </a:solidFill>
        </p:spPr>
        <p:txBody>
          <a:bodyPr lIns="0" rIns="0" anchor="ctr"/>
          <a:lstStyle>
            <a:lvl1pPr marL="0" indent="0" algn="ctr" defTabSz="914400" rtl="0" eaLnBrk="1" latinLnBrk="0" hangingPunct="1">
              <a:spcBef>
                <a:spcPts val="0"/>
              </a:spcBef>
              <a:spcAft>
                <a:spcPts val="0"/>
              </a:spcAft>
              <a:buFontTx/>
              <a:buNone/>
              <a:defRPr sz="1000" kern="1200">
                <a:solidFill>
                  <a:schemeClr val="bg2"/>
                </a:solidFill>
                <a:latin typeface="+mn-lt"/>
                <a:ea typeface="+mn-ea"/>
                <a:cs typeface="+mn-cs"/>
              </a:defRPr>
            </a:lvl1pPr>
            <a:lvl2pPr marL="0" indent="0" algn="l" defTabSz="914400" rtl="0" eaLnBrk="1" latinLnBrk="0" hangingPunct="1">
              <a:spcBef>
                <a:spcPts val="0"/>
              </a:spcBef>
              <a:spcAft>
                <a:spcPts val="0"/>
              </a:spcAft>
              <a:buFontTx/>
              <a:buNone/>
              <a:defRPr sz="1000" kern="1200">
                <a:solidFill>
                  <a:schemeClr val="bg2"/>
                </a:solidFill>
                <a:latin typeface="+mn-lt"/>
                <a:ea typeface="+mn-ea"/>
                <a:cs typeface="+mn-cs"/>
              </a:defRPr>
            </a:lvl2pPr>
            <a:lvl3pPr marL="0" indent="0" algn="l" defTabSz="914400" rtl="0" eaLnBrk="1" latinLnBrk="0" hangingPunct="1">
              <a:spcBef>
                <a:spcPts val="0"/>
              </a:spcBef>
              <a:spcAft>
                <a:spcPts val="0"/>
              </a:spcAft>
              <a:buFontTx/>
              <a:buNone/>
              <a:defRPr sz="1000" kern="1200">
                <a:solidFill>
                  <a:schemeClr val="bg2"/>
                </a:solidFill>
                <a:latin typeface="+mn-lt"/>
                <a:ea typeface="+mn-ea"/>
                <a:cs typeface="+mn-cs"/>
              </a:defRPr>
            </a:lvl3pPr>
            <a:lvl4pPr marL="0" indent="0" algn="l" defTabSz="914400" rtl="0" eaLnBrk="1" latinLnBrk="0" hangingPunct="1">
              <a:spcBef>
                <a:spcPts val="0"/>
              </a:spcBef>
              <a:spcAft>
                <a:spcPts val="0"/>
              </a:spcAft>
              <a:buFontTx/>
              <a:buNone/>
              <a:defRPr sz="1000" kern="1200">
                <a:solidFill>
                  <a:schemeClr val="bg2"/>
                </a:solidFill>
                <a:latin typeface="+mn-lt"/>
                <a:ea typeface="+mn-ea"/>
                <a:cs typeface="+mn-cs"/>
              </a:defRPr>
            </a:lvl4pPr>
            <a:lvl5pPr marL="0" indent="0" algn="l" defTabSz="914400" rtl="0" eaLnBrk="1" latinLnBrk="0" hangingPunct="1">
              <a:spcBef>
                <a:spcPts val="0"/>
              </a:spcBef>
              <a:spcAft>
                <a:spcPts val="0"/>
              </a:spcAft>
              <a:buFontTx/>
              <a:buNone/>
              <a:defRPr sz="1000" kern="1200">
                <a:solidFill>
                  <a:schemeClr val="bg2"/>
                </a:solidFill>
                <a:latin typeface="+mn-lt"/>
                <a:ea typeface="+mn-ea"/>
                <a:cs typeface="+mn-cs"/>
              </a:defRPr>
            </a:lvl5pPr>
            <a:lvl6pPr marL="0" indent="0" algn="l" defTabSz="914400" rtl="0" eaLnBrk="1" latinLnBrk="0" hangingPunct="1">
              <a:spcBef>
                <a:spcPts val="0"/>
              </a:spcBef>
              <a:spcAft>
                <a:spcPts val="0"/>
              </a:spcAft>
              <a:buFontTx/>
              <a:buNone/>
              <a:defRPr sz="1000" kern="1200">
                <a:solidFill>
                  <a:schemeClr val="bg2"/>
                </a:solidFill>
                <a:latin typeface="+mn-lt"/>
                <a:ea typeface="+mn-ea"/>
                <a:cs typeface="+mn-cs"/>
              </a:defRPr>
            </a:lvl6pPr>
            <a:lvl7pPr marL="0" indent="0" algn="l" defTabSz="914400" rtl="0" eaLnBrk="1" latinLnBrk="0" hangingPunct="1">
              <a:spcBef>
                <a:spcPts val="0"/>
              </a:spcBef>
              <a:spcAft>
                <a:spcPts val="0"/>
              </a:spcAft>
              <a:buFontTx/>
              <a:buNone/>
              <a:defRPr sz="1000" kern="1200">
                <a:solidFill>
                  <a:schemeClr val="bg2"/>
                </a:solidFill>
                <a:latin typeface="+mn-lt"/>
                <a:ea typeface="+mn-ea"/>
                <a:cs typeface="+mn-cs"/>
              </a:defRPr>
            </a:lvl7pPr>
            <a:lvl8pPr marL="0" indent="0" algn="l" defTabSz="914400" rtl="0" eaLnBrk="1" latinLnBrk="0" hangingPunct="1">
              <a:spcBef>
                <a:spcPts val="0"/>
              </a:spcBef>
              <a:spcAft>
                <a:spcPts val="0"/>
              </a:spcAft>
              <a:buFontTx/>
              <a:buNone/>
              <a:defRPr sz="1000" kern="1200">
                <a:solidFill>
                  <a:schemeClr val="bg2"/>
                </a:solidFill>
                <a:latin typeface="+mn-lt"/>
                <a:ea typeface="+mn-ea"/>
                <a:cs typeface="+mn-cs"/>
              </a:defRPr>
            </a:lvl8pPr>
            <a:lvl9pPr marL="0" indent="0" algn="l" defTabSz="914400" rtl="0" eaLnBrk="1" latinLnBrk="0" hangingPunct="1">
              <a:spcBef>
                <a:spcPts val="0"/>
              </a:spcBef>
              <a:spcAft>
                <a:spcPts val="0"/>
              </a:spcAft>
              <a:buFontTx/>
              <a:buNone/>
              <a:defRPr sz="1000" kern="1200">
                <a:solidFill>
                  <a:schemeClr val="bg2"/>
                </a:solidFill>
                <a:latin typeface="+mn-lt"/>
                <a:ea typeface="+mn-ea"/>
                <a:cs typeface="+mn-cs"/>
              </a:defRPr>
            </a:lvl9p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333" b="0" i="0" u="none" strike="noStrike" kern="1200" cap="none" spc="0" normalizeH="0" baseline="0" noProof="0">
                <a:ln>
                  <a:noFill/>
                </a:ln>
                <a:solidFill>
                  <a:srgbClr val="928580"/>
                </a:solidFill>
                <a:effectLst/>
                <a:uLnTx/>
                <a:uFillTx/>
                <a:latin typeface="Arial" pitchFamily="34" charset="0"/>
                <a:ea typeface="+mn-ea"/>
                <a:cs typeface="+mn-cs"/>
              </a:rPr>
              <a:t>Client logo</a:t>
            </a:r>
            <a:br>
              <a:rPr kumimoji="0" lang="en-US" sz="1333" b="0" i="0" u="none" strike="noStrike" kern="1200" cap="none" spc="0" normalizeH="0" baseline="0" noProof="0">
                <a:ln>
                  <a:noFill/>
                </a:ln>
                <a:solidFill>
                  <a:srgbClr val="928580"/>
                </a:solidFill>
                <a:effectLst/>
                <a:uLnTx/>
                <a:uFillTx/>
                <a:latin typeface="Arial" pitchFamily="34" charset="0"/>
                <a:ea typeface="+mn-ea"/>
                <a:cs typeface="+mn-cs"/>
              </a:rPr>
            </a:br>
            <a:r>
              <a:rPr kumimoji="0" lang="en-US" sz="1067" b="0" i="0" u="none" strike="noStrike" kern="1200" cap="none" spc="0" normalizeH="0" baseline="0" noProof="0">
                <a:ln>
                  <a:noFill/>
                </a:ln>
                <a:solidFill>
                  <a:srgbClr val="928580"/>
                </a:solidFill>
                <a:effectLst/>
                <a:uLnTx/>
                <a:uFillTx/>
                <a:latin typeface="Arial" pitchFamily="34" charset="0"/>
                <a:ea typeface="+mn-ea"/>
                <a:cs typeface="+mn-cs"/>
              </a:rPr>
              <a:t>[delete this grey box </a:t>
            </a:r>
            <a:br>
              <a:rPr kumimoji="0" lang="en-US" sz="1067" b="0" i="0" u="none" strike="noStrike" kern="1200" cap="none" spc="0" normalizeH="0" baseline="0" noProof="0">
                <a:ln>
                  <a:noFill/>
                </a:ln>
                <a:solidFill>
                  <a:srgbClr val="928580"/>
                </a:solidFill>
                <a:effectLst/>
                <a:uLnTx/>
                <a:uFillTx/>
                <a:latin typeface="Arial" pitchFamily="34" charset="0"/>
                <a:ea typeface="+mn-ea"/>
                <a:cs typeface="+mn-cs"/>
              </a:rPr>
            </a:br>
            <a:r>
              <a:rPr kumimoji="0" lang="en-US" sz="1067" b="0" i="0" u="none" strike="noStrike" kern="1200" cap="none" spc="0" normalizeH="0" baseline="0" noProof="0">
                <a:ln>
                  <a:noFill/>
                </a:ln>
                <a:solidFill>
                  <a:srgbClr val="928580"/>
                </a:solidFill>
                <a:effectLst/>
                <a:uLnTx/>
                <a:uFillTx/>
                <a:latin typeface="Arial" pitchFamily="34" charset="0"/>
                <a:ea typeface="+mn-ea"/>
                <a:cs typeface="+mn-cs"/>
              </a:rPr>
              <a:t>if not required]</a:t>
            </a:r>
          </a:p>
        </p:txBody>
      </p:sp>
      <p:sp>
        <p:nvSpPr>
          <p:cNvPr id="4" name="VCT_Marker_ID_4" hidden="1"/>
          <p:cNvSpPr/>
          <p:nvPr>
            <p:custDataLst>
              <p:tags r:id="rId24"/>
            </p:custDataLst>
          </p:nvPr>
        </p:nvSpPr>
        <p:spPr bwMode="gray">
          <a:xfrm>
            <a:off x="1693334" y="169334"/>
            <a:ext cx="169333" cy="169333"/>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tx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indent="0" algn="ctr">
              <a:spcBef>
                <a:spcPts val="400"/>
              </a:spcBef>
              <a:buFont typeface="Courier New" pitchFamily="49" charset="0"/>
              <a:buNone/>
            </a:pPr>
            <a:endParaRPr lang="en-US" sz="2133">
              <a:solidFill>
                <a:schemeClr val="tx1"/>
              </a:solidFill>
              <a:latin typeface="Arial" pitchFamily="34" charset="0"/>
              <a:cs typeface="Arial" pitchFamily="34" charset="0"/>
            </a:endParaRPr>
          </a:p>
        </p:txBody>
      </p:sp>
    </p:spTree>
    <p:extLst>
      <p:ext uri="{BB962C8B-B14F-4D97-AF65-F5344CB8AC3E}">
        <p14:creationId xmlns:p14="http://schemas.microsoft.com/office/powerpoint/2010/main" val="3603918274"/>
      </p:ext>
    </p:extLst>
  </p:cSld>
  <p:clrMap bg1="lt1" tx1="dk1" bg2="lt2" tx2="dk2" accent1="accent1" accent2="accent2" accent3="accent3" accent4="accent4" accent5="accent5" accent6="accent6" hlink="hlink" folHlink="folHlink"/>
  <p:sldLayoutIdLst>
    <p:sldLayoutId id="2147483774" r:id="rId1"/>
    <p:sldLayoutId id="2147483775" r:id="rId2"/>
    <p:sldLayoutId id="2147483776" r:id="rId3"/>
    <p:sldLayoutId id="2147483777" r:id="rId4"/>
    <p:sldLayoutId id="2147483778" r:id="rId5"/>
    <p:sldLayoutId id="2147483779" r:id="rId6"/>
    <p:sldLayoutId id="2147483780" r:id="rId7"/>
    <p:sldLayoutId id="2147483781" r:id="rId8"/>
    <p:sldLayoutId id="2147483782" r:id="rId9"/>
    <p:sldLayoutId id="2147483783" r:id="rId10"/>
    <p:sldLayoutId id="2147483784" r:id="rId11"/>
    <p:sldLayoutId id="2147483785" r:id="rId12"/>
    <p:sldLayoutId id="2147483786" r:id="rId13"/>
    <p:sldLayoutId id="2147483787" r:id="rId14"/>
    <p:sldLayoutId id="2147483788" r:id="rId15"/>
    <p:sldLayoutId id="2147483789" r:id="rId16"/>
    <p:sldLayoutId id="2147483790" r:id="rId17"/>
    <p:sldLayoutId id="2147483791" r:id="rId18"/>
    <p:sldLayoutId id="2147483792" r:id="rId19"/>
  </p:sldLayoutIdLst>
  <p:hf hdr="0" ftr="0" dt="0"/>
  <p:txStyles>
    <p:titleStyle>
      <a:lvl1pPr algn="l" defTabSz="1219170" rtl="0" eaLnBrk="1" latinLnBrk="0" hangingPunct="1">
        <a:spcBef>
          <a:spcPct val="0"/>
        </a:spcBef>
        <a:buNone/>
        <a:defRPr sz="2400" kern="1200">
          <a:solidFill>
            <a:schemeClr val="tx1"/>
          </a:solidFill>
          <a:latin typeface="Arial" pitchFamily="34" charset="0"/>
          <a:ea typeface="+mj-ea"/>
          <a:cs typeface="+mj-cs"/>
        </a:defRPr>
      </a:lvl1pPr>
    </p:titleStyle>
    <p:bodyStyle>
      <a:lvl1pPr marL="0" marR="0" indent="0" algn="l" defTabSz="1219170" rtl="0" eaLnBrk="1" fontAlgn="auto" latinLnBrk="0" hangingPunct="1">
        <a:lnSpc>
          <a:spcPct val="100000"/>
        </a:lnSpc>
        <a:spcBef>
          <a:spcPts val="400"/>
        </a:spcBef>
        <a:spcAft>
          <a:spcPts val="0"/>
        </a:spcAft>
        <a:buClrTx/>
        <a:buSzTx/>
        <a:buFont typeface="Arial" pitchFamily="34" charset="0"/>
        <a:buNone/>
        <a:tabLst/>
        <a:defRPr sz="2133" kern="1200">
          <a:solidFill>
            <a:schemeClr val="tx1"/>
          </a:solidFill>
          <a:latin typeface="Arial" pitchFamily="34" charset="0"/>
          <a:ea typeface="+mn-ea"/>
          <a:cs typeface="Arial" pitchFamily="34" charset="0"/>
        </a:defRPr>
      </a:lvl1pPr>
      <a:lvl2pPr marL="239994" marR="0" indent="-239994" algn="l" defTabSz="1219170" rtl="0" eaLnBrk="1" fontAlgn="auto" latinLnBrk="0" hangingPunct="1">
        <a:lnSpc>
          <a:spcPct val="100000"/>
        </a:lnSpc>
        <a:spcBef>
          <a:spcPts val="400"/>
        </a:spcBef>
        <a:spcAft>
          <a:spcPts val="0"/>
        </a:spcAft>
        <a:buClrTx/>
        <a:buSzTx/>
        <a:buFont typeface="Wingdings" panose="05000000000000000000" pitchFamily="2" charset="2"/>
        <a:buChar char="§"/>
        <a:tabLst/>
        <a:defRPr sz="2133" kern="1200">
          <a:solidFill>
            <a:schemeClr val="tx1"/>
          </a:solidFill>
          <a:latin typeface="Arial" pitchFamily="34" charset="0"/>
          <a:ea typeface="+mn-ea"/>
          <a:cs typeface="Arial" pitchFamily="34" charset="0"/>
        </a:defRPr>
      </a:lvl2pPr>
      <a:lvl3pPr marL="479988" marR="0" indent="-241294" algn="l" defTabSz="1219170" rtl="0" eaLnBrk="1" fontAlgn="auto" latinLnBrk="0" hangingPunct="1">
        <a:lnSpc>
          <a:spcPct val="100000"/>
        </a:lnSpc>
        <a:spcBef>
          <a:spcPts val="400"/>
        </a:spcBef>
        <a:spcAft>
          <a:spcPts val="0"/>
        </a:spcAft>
        <a:buClrTx/>
        <a:buSzTx/>
        <a:buFont typeface="Wingdings" panose="05000000000000000000" pitchFamily="2" charset="2"/>
        <a:buChar char="§"/>
        <a:tabLst/>
        <a:defRPr sz="2133" kern="1200">
          <a:solidFill>
            <a:schemeClr val="tx1"/>
          </a:solidFill>
          <a:latin typeface="Arial" pitchFamily="34" charset="0"/>
          <a:ea typeface="+mn-ea"/>
          <a:cs typeface="Arial" pitchFamily="34" charset="0"/>
        </a:defRPr>
      </a:lvl3pPr>
      <a:lvl4pPr marL="719982" marR="0" indent="-241294" algn="l" defTabSz="1219170" rtl="0" eaLnBrk="1" fontAlgn="auto" latinLnBrk="0" hangingPunct="1">
        <a:lnSpc>
          <a:spcPct val="100000"/>
        </a:lnSpc>
        <a:spcBef>
          <a:spcPts val="400"/>
        </a:spcBef>
        <a:spcAft>
          <a:spcPts val="0"/>
        </a:spcAft>
        <a:buClrTx/>
        <a:buSzTx/>
        <a:buFont typeface="Wingdings" panose="05000000000000000000" pitchFamily="2" charset="2"/>
        <a:buChar char="§"/>
        <a:tabLst/>
        <a:defRPr sz="2133" kern="1200">
          <a:solidFill>
            <a:schemeClr val="tx1"/>
          </a:solidFill>
          <a:latin typeface="Arial" pitchFamily="34" charset="0"/>
          <a:ea typeface="+mn-ea"/>
          <a:cs typeface="Arial" pitchFamily="34" charset="0"/>
        </a:defRPr>
      </a:lvl4pPr>
      <a:lvl5pPr marL="959976" marR="0" indent="-241294" algn="l" defTabSz="1219170" rtl="0" eaLnBrk="1" fontAlgn="auto" latinLnBrk="0" hangingPunct="1">
        <a:lnSpc>
          <a:spcPct val="100000"/>
        </a:lnSpc>
        <a:spcBef>
          <a:spcPts val="400"/>
        </a:spcBef>
        <a:spcAft>
          <a:spcPts val="0"/>
        </a:spcAft>
        <a:buClrTx/>
        <a:buSzTx/>
        <a:buFont typeface="Wingdings" panose="05000000000000000000" pitchFamily="2" charset="2"/>
        <a:buChar char="§"/>
        <a:tabLst/>
        <a:defRPr sz="2133" kern="1200">
          <a:solidFill>
            <a:schemeClr val="tx1"/>
          </a:solidFill>
          <a:latin typeface="Arial" pitchFamily="34" charset="0"/>
          <a:ea typeface="+mn-ea"/>
          <a:cs typeface="Arial" pitchFamily="34" charset="0"/>
        </a:defRPr>
      </a:lvl5pPr>
      <a:lvl6pPr marL="959976" marR="0" indent="-241294" algn="l" defTabSz="1219170" rtl="0" eaLnBrk="1" fontAlgn="auto" latinLnBrk="0" hangingPunct="1">
        <a:lnSpc>
          <a:spcPct val="100000"/>
        </a:lnSpc>
        <a:spcBef>
          <a:spcPts val="400"/>
        </a:spcBef>
        <a:spcAft>
          <a:spcPts val="0"/>
        </a:spcAft>
        <a:buClrTx/>
        <a:buSzTx/>
        <a:buFont typeface="Wingdings" panose="05000000000000000000" pitchFamily="2" charset="2"/>
        <a:buChar char="§"/>
        <a:tabLst/>
        <a:defRPr sz="2133" kern="1200">
          <a:solidFill>
            <a:schemeClr val="tx1"/>
          </a:solidFill>
          <a:latin typeface="Arial" pitchFamily="34" charset="0"/>
          <a:ea typeface="+mn-ea"/>
          <a:cs typeface="Arial" pitchFamily="34" charset="0"/>
        </a:defRPr>
      </a:lvl6pPr>
      <a:lvl7pPr marL="959976" marR="0" indent="-241294" algn="l" defTabSz="1219170" rtl="0" eaLnBrk="1" fontAlgn="auto" latinLnBrk="0" hangingPunct="1">
        <a:lnSpc>
          <a:spcPct val="100000"/>
        </a:lnSpc>
        <a:spcBef>
          <a:spcPts val="400"/>
        </a:spcBef>
        <a:spcAft>
          <a:spcPts val="0"/>
        </a:spcAft>
        <a:buClrTx/>
        <a:buSzTx/>
        <a:buFont typeface="Wingdings" panose="05000000000000000000" pitchFamily="2" charset="2"/>
        <a:buChar char="§"/>
        <a:tabLst/>
        <a:defRPr sz="2133" kern="1200">
          <a:solidFill>
            <a:schemeClr val="tx1"/>
          </a:solidFill>
          <a:latin typeface="Arial" pitchFamily="34" charset="0"/>
          <a:ea typeface="+mn-ea"/>
          <a:cs typeface="Arial" pitchFamily="34" charset="0"/>
        </a:defRPr>
      </a:lvl7pPr>
      <a:lvl8pPr marL="719982" indent="-239994" algn="l" defTabSz="1219170" rtl="0" eaLnBrk="1" latinLnBrk="0" hangingPunct="1">
        <a:spcBef>
          <a:spcPts val="400"/>
        </a:spcBef>
        <a:spcAft>
          <a:spcPts val="0"/>
        </a:spcAft>
        <a:buFont typeface="Arial" pitchFamily="34" charset="0"/>
        <a:buChar char="•"/>
        <a:defRPr sz="2133" kern="1200">
          <a:solidFill>
            <a:schemeClr val="tx1"/>
          </a:solidFill>
          <a:latin typeface="Arial" pitchFamily="34" charset="0"/>
          <a:ea typeface="+mn-ea"/>
          <a:cs typeface="Arial" pitchFamily="34" charset="0"/>
        </a:defRPr>
      </a:lvl8pPr>
      <a:lvl9pPr marL="959976" marR="0" indent="-241294" algn="l" defTabSz="1219170" rtl="0" eaLnBrk="1" fontAlgn="auto" latinLnBrk="0" hangingPunct="1">
        <a:lnSpc>
          <a:spcPct val="100000"/>
        </a:lnSpc>
        <a:spcBef>
          <a:spcPts val="400"/>
        </a:spcBef>
        <a:spcAft>
          <a:spcPts val="0"/>
        </a:spcAft>
        <a:buClrTx/>
        <a:buSzTx/>
        <a:buFont typeface="Wingdings" panose="05000000000000000000" pitchFamily="2" charset="2"/>
        <a:buChar char="§"/>
        <a:tabLst/>
        <a:defRPr sz="2133" kern="1200">
          <a:solidFill>
            <a:schemeClr val="tx1"/>
          </a:solidFill>
          <a:latin typeface="Arial" pitchFamily="34" charset="0"/>
          <a:ea typeface="+mn-ea"/>
          <a:cs typeface="Arial" pitchFamily="34" charset="0"/>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pSp>
        <p:nvGrpSpPr>
          <p:cNvPr id="13" name="logo">
            <a:extLst>
              <a:ext uri="{FF2B5EF4-FFF2-40B4-BE49-F238E27FC236}">
                <a16:creationId xmlns:a16="http://schemas.microsoft.com/office/drawing/2014/main" id="{57BD2C4C-DC67-B843-B26C-309622FC75F7}"/>
              </a:ext>
            </a:extLst>
          </p:cNvPr>
          <p:cNvGrpSpPr>
            <a:grpSpLocks noChangeAspect="1"/>
          </p:cNvGrpSpPr>
          <p:nvPr/>
        </p:nvGrpSpPr>
        <p:grpSpPr bwMode="gray">
          <a:xfrm>
            <a:off x="11174018" y="401441"/>
            <a:ext cx="644225" cy="646507"/>
            <a:chOff x="2711" y="1027"/>
            <a:chExt cx="2258" cy="2266"/>
          </a:xfrm>
        </p:grpSpPr>
        <p:sp>
          <p:nvSpPr>
            <p:cNvPr id="14" name="AutoShape 3">
              <a:extLst>
                <a:ext uri="{FF2B5EF4-FFF2-40B4-BE49-F238E27FC236}">
                  <a16:creationId xmlns:a16="http://schemas.microsoft.com/office/drawing/2014/main" id="{FE1DC41B-291E-574C-9F2C-874E70A40758}"/>
                </a:ext>
              </a:extLst>
            </p:cNvPr>
            <p:cNvSpPr>
              <a:spLocks noChangeAspect="1" noChangeArrowheads="1" noTextEdit="1"/>
            </p:cNvSpPr>
            <p:nvPr/>
          </p:nvSpPr>
          <p:spPr bwMode="gray">
            <a:xfrm>
              <a:off x="2711" y="1027"/>
              <a:ext cx="2258" cy="22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15" name="Freeform 5">
              <a:extLst>
                <a:ext uri="{FF2B5EF4-FFF2-40B4-BE49-F238E27FC236}">
                  <a16:creationId xmlns:a16="http://schemas.microsoft.com/office/drawing/2014/main" id="{D4B633C8-F761-C54B-9BD2-EB59D49A2DBC}"/>
                </a:ext>
              </a:extLst>
            </p:cNvPr>
            <p:cNvSpPr>
              <a:spLocks/>
            </p:cNvSpPr>
            <p:nvPr/>
          </p:nvSpPr>
          <p:spPr bwMode="gray">
            <a:xfrm>
              <a:off x="2709" y="1029"/>
              <a:ext cx="2260" cy="2262"/>
            </a:xfrm>
            <a:custGeom>
              <a:avLst/>
              <a:gdLst>
                <a:gd name="T0" fmla="*/ 2260 w 2260"/>
                <a:gd name="T1" fmla="*/ 0 h 2262"/>
                <a:gd name="T2" fmla="*/ 1612 w 2260"/>
                <a:gd name="T3" fmla="*/ 649 h 2262"/>
                <a:gd name="T4" fmla="*/ 1612 w 2260"/>
                <a:gd name="T5" fmla="*/ 649 h 2262"/>
                <a:gd name="T6" fmla="*/ 2035 w 2260"/>
                <a:gd name="T7" fmla="*/ 0 h 2262"/>
                <a:gd name="T8" fmla="*/ 0 w 2260"/>
                <a:gd name="T9" fmla="*/ 0 h 2262"/>
                <a:gd name="T10" fmla="*/ 0 w 2260"/>
                <a:gd name="T11" fmla="*/ 2262 h 2262"/>
                <a:gd name="T12" fmla="*/ 2260 w 2260"/>
                <a:gd name="T13" fmla="*/ 2262 h 2262"/>
                <a:gd name="T14" fmla="*/ 2260 w 2260"/>
                <a:gd name="T15" fmla="*/ 0 h 2262"/>
                <a:gd name="T16" fmla="*/ 2260 w 2260"/>
                <a:gd name="T17" fmla="*/ 0 h 2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0" h="2262">
                  <a:moveTo>
                    <a:pt x="2260" y="0"/>
                  </a:moveTo>
                  <a:lnTo>
                    <a:pt x="1612" y="649"/>
                  </a:lnTo>
                  <a:lnTo>
                    <a:pt x="1612" y="649"/>
                  </a:lnTo>
                  <a:lnTo>
                    <a:pt x="2035" y="0"/>
                  </a:lnTo>
                  <a:lnTo>
                    <a:pt x="0" y="0"/>
                  </a:lnTo>
                  <a:lnTo>
                    <a:pt x="0" y="2262"/>
                  </a:lnTo>
                  <a:lnTo>
                    <a:pt x="2260" y="2262"/>
                  </a:lnTo>
                  <a:lnTo>
                    <a:pt x="2260" y="0"/>
                  </a:lnTo>
                  <a:lnTo>
                    <a:pt x="2260" y="0"/>
                  </a:lnTo>
                  <a:close/>
                </a:path>
              </a:pathLst>
            </a:custGeom>
            <a:solidFill>
              <a:srgbClr val="E55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16" name="Freeform 6">
              <a:extLst>
                <a:ext uri="{FF2B5EF4-FFF2-40B4-BE49-F238E27FC236}">
                  <a16:creationId xmlns:a16="http://schemas.microsoft.com/office/drawing/2014/main" id="{B16BAAE4-1A41-C843-9754-490F7A1E1270}"/>
                </a:ext>
              </a:extLst>
            </p:cNvPr>
            <p:cNvSpPr>
              <a:spLocks noEditPoints="1"/>
            </p:cNvSpPr>
            <p:nvPr/>
          </p:nvSpPr>
          <p:spPr bwMode="gray">
            <a:xfrm>
              <a:off x="3623" y="1696"/>
              <a:ext cx="1167" cy="922"/>
            </a:xfrm>
            <a:custGeom>
              <a:avLst/>
              <a:gdLst>
                <a:gd name="T0" fmla="*/ 411 w 580"/>
                <a:gd name="T1" fmla="*/ 213 h 458"/>
                <a:gd name="T2" fmla="*/ 570 w 580"/>
                <a:gd name="T3" fmla="*/ 37 h 458"/>
                <a:gd name="T4" fmla="*/ 580 w 580"/>
                <a:gd name="T5" fmla="*/ 20 h 458"/>
                <a:gd name="T6" fmla="*/ 545 w 580"/>
                <a:gd name="T7" fmla="*/ 0 h 458"/>
                <a:gd name="T8" fmla="*/ 519 w 580"/>
                <a:gd name="T9" fmla="*/ 16 h 458"/>
                <a:gd name="T10" fmla="*/ 344 w 580"/>
                <a:gd name="T11" fmla="*/ 210 h 458"/>
                <a:gd name="T12" fmla="*/ 334 w 580"/>
                <a:gd name="T13" fmla="*/ 229 h 458"/>
                <a:gd name="T14" fmla="*/ 344 w 580"/>
                <a:gd name="T15" fmla="*/ 248 h 458"/>
                <a:gd name="T16" fmla="*/ 519 w 580"/>
                <a:gd name="T17" fmla="*/ 442 h 458"/>
                <a:gd name="T18" fmla="*/ 545 w 580"/>
                <a:gd name="T19" fmla="*/ 458 h 458"/>
                <a:gd name="T20" fmla="*/ 580 w 580"/>
                <a:gd name="T21" fmla="*/ 438 h 458"/>
                <a:gd name="T22" fmla="*/ 570 w 580"/>
                <a:gd name="T23" fmla="*/ 421 h 458"/>
                <a:gd name="T24" fmla="*/ 411 w 580"/>
                <a:gd name="T25" fmla="*/ 245 h 458"/>
                <a:gd name="T26" fmla="*/ 399 w 580"/>
                <a:gd name="T27" fmla="*/ 229 h 458"/>
                <a:gd name="T28" fmla="*/ 411 w 580"/>
                <a:gd name="T29" fmla="*/ 213 h 458"/>
                <a:gd name="T30" fmla="*/ 252 w 580"/>
                <a:gd name="T31" fmla="*/ 439 h 458"/>
                <a:gd name="T32" fmla="*/ 281 w 580"/>
                <a:gd name="T33" fmla="*/ 454 h 458"/>
                <a:gd name="T34" fmla="*/ 309 w 580"/>
                <a:gd name="T35" fmla="*/ 439 h 458"/>
                <a:gd name="T36" fmla="*/ 309 w 580"/>
                <a:gd name="T37" fmla="*/ 19 h 458"/>
                <a:gd name="T38" fmla="*/ 281 w 580"/>
                <a:gd name="T39" fmla="*/ 4 h 458"/>
                <a:gd name="T40" fmla="*/ 252 w 580"/>
                <a:gd name="T41" fmla="*/ 19 h 458"/>
                <a:gd name="T42" fmla="*/ 252 w 580"/>
                <a:gd name="T43" fmla="*/ 439 h 458"/>
                <a:gd name="T44" fmla="*/ 0 w 580"/>
                <a:gd name="T45" fmla="*/ 439 h 458"/>
                <a:gd name="T46" fmla="*/ 28 w 580"/>
                <a:gd name="T47" fmla="*/ 454 h 458"/>
                <a:gd name="T48" fmla="*/ 56 w 580"/>
                <a:gd name="T49" fmla="*/ 439 h 458"/>
                <a:gd name="T50" fmla="*/ 56 w 580"/>
                <a:gd name="T51" fmla="*/ 157 h 458"/>
                <a:gd name="T52" fmla="*/ 165 w 580"/>
                <a:gd name="T53" fmla="*/ 53 h 458"/>
                <a:gd name="T54" fmla="*/ 180 w 580"/>
                <a:gd name="T55" fmla="*/ 53 h 458"/>
                <a:gd name="T56" fmla="*/ 196 w 580"/>
                <a:gd name="T57" fmla="*/ 27 h 458"/>
                <a:gd name="T58" fmla="*/ 154 w 580"/>
                <a:gd name="T59" fmla="*/ 4 h 458"/>
                <a:gd name="T60" fmla="*/ 0 w 580"/>
                <a:gd name="T61" fmla="*/ 152 h 458"/>
                <a:gd name="T62" fmla="*/ 0 w 580"/>
                <a:gd name="T63" fmla="*/ 439 h 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80" h="458">
                  <a:moveTo>
                    <a:pt x="411" y="213"/>
                  </a:moveTo>
                  <a:cubicBezTo>
                    <a:pt x="570" y="37"/>
                    <a:pt x="570" y="37"/>
                    <a:pt x="570" y="37"/>
                  </a:cubicBezTo>
                  <a:cubicBezTo>
                    <a:pt x="576" y="30"/>
                    <a:pt x="580" y="25"/>
                    <a:pt x="580" y="20"/>
                  </a:cubicBezTo>
                  <a:cubicBezTo>
                    <a:pt x="580" y="10"/>
                    <a:pt x="559" y="0"/>
                    <a:pt x="545" y="0"/>
                  </a:cubicBezTo>
                  <a:cubicBezTo>
                    <a:pt x="535" y="0"/>
                    <a:pt x="526" y="8"/>
                    <a:pt x="519" y="16"/>
                  </a:cubicBezTo>
                  <a:cubicBezTo>
                    <a:pt x="344" y="210"/>
                    <a:pt x="344" y="210"/>
                    <a:pt x="344" y="210"/>
                  </a:cubicBezTo>
                  <a:cubicBezTo>
                    <a:pt x="336" y="219"/>
                    <a:pt x="334" y="224"/>
                    <a:pt x="334" y="229"/>
                  </a:cubicBezTo>
                  <a:cubicBezTo>
                    <a:pt x="334" y="234"/>
                    <a:pt x="336" y="239"/>
                    <a:pt x="344" y="248"/>
                  </a:cubicBezTo>
                  <a:cubicBezTo>
                    <a:pt x="519" y="442"/>
                    <a:pt x="519" y="442"/>
                    <a:pt x="519" y="442"/>
                  </a:cubicBezTo>
                  <a:cubicBezTo>
                    <a:pt x="526" y="450"/>
                    <a:pt x="535" y="458"/>
                    <a:pt x="545" y="458"/>
                  </a:cubicBezTo>
                  <a:cubicBezTo>
                    <a:pt x="559" y="458"/>
                    <a:pt x="580" y="448"/>
                    <a:pt x="580" y="438"/>
                  </a:cubicBezTo>
                  <a:cubicBezTo>
                    <a:pt x="580" y="433"/>
                    <a:pt x="576" y="428"/>
                    <a:pt x="570" y="421"/>
                  </a:cubicBezTo>
                  <a:cubicBezTo>
                    <a:pt x="411" y="245"/>
                    <a:pt x="411" y="245"/>
                    <a:pt x="411" y="245"/>
                  </a:cubicBezTo>
                  <a:cubicBezTo>
                    <a:pt x="403" y="236"/>
                    <a:pt x="399" y="232"/>
                    <a:pt x="399" y="229"/>
                  </a:cubicBezTo>
                  <a:cubicBezTo>
                    <a:pt x="399" y="226"/>
                    <a:pt x="403" y="222"/>
                    <a:pt x="411" y="213"/>
                  </a:cubicBezTo>
                  <a:moveTo>
                    <a:pt x="252" y="439"/>
                  </a:moveTo>
                  <a:cubicBezTo>
                    <a:pt x="252" y="449"/>
                    <a:pt x="261" y="454"/>
                    <a:pt x="281" y="454"/>
                  </a:cubicBezTo>
                  <a:cubicBezTo>
                    <a:pt x="300" y="454"/>
                    <a:pt x="309" y="449"/>
                    <a:pt x="309" y="439"/>
                  </a:cubicBezTo>
                  <a:cubicBezTo>
                    <a:pt x="309" y="19"/>
                    <a:pt x="309" y="19"/>
                    <a:pt x="309" y="19"/>
                  </a:cubicBezTo>
                  <a:cubicBezTo>
                    <a:pt x="309" y="9"/>
                    <a:pt x="300" y="4"/>
                    <a:pt x="281" y="4"/>
                  </a:cubicBezTo>
                  <a:cubicBezTo>
                    <a:pt x="261" y="4"/>
                    <a:pt x="252" y="9"/>
                    <a:pt x="252" y="19"/>
                  </a:cubicBezTo>
                  <a:lnTo>
                    <a:pt x="252" y="439"/>
                  </a:lnTo>
                  <a:close/>
                  <a:moveTo>
                    <a:pt x="0" y="439"/>
                  </a:moveTo>
                  <a:cubicBezTo>
                    <a:pt x="0" y="449"/>
                    <a:pt x="8" y="454"/>
                    <a:pt x="28" y="454"/>
                  </a:cubicBezTo>
                  <a:cubicBezTo>
                    <a:pt x="48" y="454"/>
                    <a:pt x="56" y="449"/>
                    <a:pt x="56" y="439"/>
                  </a:cubicBezTo>
                  <a:cubicBezTo>
                    <a:pt x="56" y="157"/>
                    <a:pt x="56" y="157"/>
                    <a:pt x="56" y="157"/>
                  </a:cubicBezTo>
                  <a:cubicBezTo>
                    <a:pt x="56" y="83"/>
                    <a:pt x="85" y="53"/>
                    <a:pt x="165" y="53"/>
                  </a:cubicBezTo>
                  <a:cubicBezTo>
                    <a:pt x="180" y="53"/>
                    <a:pt x="180" y="53"/>
                    <a:pt x="180" y="53"/>
                  </a:cubicBezTo>
                  <a:cubicBezTo>
                    <a:pt x="192" y="53"/>
                    <a:pt x="196" y="43"/>
                    <a:pt x="196" y="27"/>
                  </a:cubicBezTo>
                  <a:cubicBezTo>
                    <a:pt x="196" y="8"/>
                    <a:pt x="185" y="4"/>
                    <a:pt x="154" y="4"/>
                  </a:cubicBezTo>
                  <a:cubicBezTo>
                    <a:pt x="64" y="4"/>
                    <a:pt x="0" y="43"/>
                    <a:pt x="0" y="152"/>
                  </a:cubicBezTo>
                  <a:lnTo>
                    <a:pt x="0" y="43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17" name="Freeform 7">
              <a:extLst>
                <a:ext uri="{FF2B5EF4-FFF2-40B4-BE49-F238E27FC236}">
                  <a16:creationId xmlns:a16="http://schemas.microsoft.com/office/drawing/2014/main" id="{2F32DCBD-8628-F245-85CD-97686A20ECFD}"/>
                </a:ext>
              </a:extLst>
            </p:cNvPr>
            <p:cNvSpPr>
              <a:spLocks/>
            </p:cNvSpPr>
            <p:nvPr/>
          </p:nvSpPr>
          <p:spPr bwMode="gray">
            <a:xfrm>
              <a:off x="2880" y="1704"/>
              <a:ext cx="618" cy="916"/>
            </a:xfrm>
            <a:custGeom>
              <a:avLst/>
              <a:gdLst>
                <a:gd name="T0" fmla="*/ 307 w 307"/>
                <a:gd name="T1" fmla="*/ 405 h 455"/>
                <a:gd name="T2" fmla="*/ 307 w 307"/>
                <a:gd name="T3" fmla="*/ 244 h 455"/>
                <a:gd name="T4" fmla="*/ 279 w 307"/>
                <a:gd name="T5" fmla="*/ 229 h 455"/>
                <a:gd name="T6" fmla="*/ 250 w 307"/>
                <a:gd name="T7" fmla="*/ 244 h 455"/>
                <a:gd name="T8" fmla="*/ 250 w 307"/>
                <a:gd name="T9" fmla="*/ 378 h 455"/>
                <a:gd name="T10" fmla="*/ 199 w 307"/>
                <a:gd name="T11" fmla="*/ 408 h 455"/>
                <a:gd name="T12" fmla="*/ 61 w 307"/>
                <a:gd name="T13" fmla="*/ 231 h 455"/>
                <a:gd name="T14" fmla="*/ 238 w 307"/>
                <a:gd name="T15" fmla="*/ 49 h 455"/>
                <a:gd name="T16" fmla="*/ 270 w 307"/>
                <a:gd name="T17" fmla="*/ 49 h 455"/>
                <a:gd name="T18" fmla="*/ 286 w 307"/>
                <a:gd name="T19" fmla="*/ 23 h 455"/>
                <a:gd name="T20" fmla="*/ 244 w 307"/>
                <a:gd name="T21" fmla="*/ 0 h 455"/>
                <a:gd name="T22" fmla="*/ 231 w 307"/>
                <a:gd name="T23" fmla="*/ 0 h 455"/>
                <a:gd name="T24" fmla="*/ 0 w 307"/>
                <a:gd name="T25" fmla="*/ 232 h 455"/>
                <a:gd name="T26" fmla="*/ 198 w 307"/>
                <a:gd name="T27" fmla="*/ 455 h 455"/>
                <a:gd name="T28" fmla="*/ 307 w 307"/>
                <a:gd name="T29" fmla="*/ 405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7" h="455">
                  <a:moveTo>
                    <a:pt x="307" y="405"/>
                  </a:moveTo>
                  <a:cubicBezTo>
                    <a:pt x="307" y="244"/>
                    <a:pt x="307" y="244"/>
                    <a:pt x="307" y="244"/>
                  </a:cubicBezTo>
                  <a:cubicBezTo>
                    <a:pt x="307" y="234"/>
                    <a:pt x="298" y="229"/>
                    <a:pt x="279" y="229"/>
                  </a:cubicBezTo>
                  <a:cubicBezTo>
                    <a:pt x="259" y="229"/>
                    <a:pt x="250" y="234"/>
                    <a:pt x="250" y="244"/>
                  </a:cubicBezTo>
                  <a:cubicBezTo>
                    <a:pt x="250" y="378"/>
                    <a:pt x="250" y="378"/>
                    <a:pt x="250" y="378"/>
                  </a:cubicBezTo>
                  <a:cubicBezTo>
                    <a:pt x="250" y="399"/>
                    <a:pt x="241" y="408"/>
                    <a:pt x="199" y="408"/>
                  </a:cubicBezTo>
                  <a:cubicBezTo>
                    <a:pt x="114" y="408"/>
                    <a:pt x="61" y="342"/>
                    <a:pt x="61" y="231"/>
                  </a:cubicBezTo>
                  <a:cubicBezTo>
                    <a:pt x="61" y="115"/>
                    <a:pt x="126" y="49"/>
                    <a:pt x="238" y="49"/>
                  </a:cubicBezTo>
                  <a:cubicBezTo>
                    <a:pt x="270" y="49"/>
                    <a:pt x="270" y="49"/>
                    <a:pt x="270" y="49"/>
                  </a:cubicBezTo>
                  <a:cubicBezTo>
                    <a:pt x="282" y="49"/>
                    <a:pt x="286" y="39"/>
                    <a:pt x="286" y="23"/>
                  </a:cubicBezTo>
                  <a:cubicBezTo>
                    <a:pt x="286" y="4"/>
                    <a:pt x="275" y="0"/>
                    <a:pt x="244" y="0"/>
                  </a:cubicBezTo>
                  <a:cubicBezTo>
                    <a:pt x="231" y="0"/>
                    <a:pt x="231" y="0"/>
                    <a:pt x="231" y="0"/>
                  </a:cubicBezTo>
                  <a:cubicBezTo>
                    <a:pt x="101" y="0"/>
                    <a:pt x="0" y="71"/>
                    <a:pt x="0" y="232"/>
                  </a:cubicBezTo>
                  <a:cubicBezTo>
                    <a:pt x="0" y="386"/>
                    <a:pt x="88" y="455"/>
                    <a:pt x="198" y="455"/>
                  </a:cubicBezTo>
                  <a:cubicBezTo>
                    <a:pt x="286" y="455"/>
                    <a:pt x="307" y="430"/>
                    <a:pt x="307" y="40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18" name="Oval 8">
              <a:extLst>
                <a:ext uri="{FF2B5EF4-FFF2-40B4-BE49-F238E27FC236}">
                  <a16:creationId xmlns:a16="http://schemas.microsoft.com/office/drawing/2014/main" id="{60D97C11-1A3B-5449-A48D-98A3E79B3810}"/>
                </a:ext>
              </a:extLst>
            </p:cNvPr>
            <p:cNvSpPr>
              <a:spLocks noChangeArrowheads="1"/>
            </p:cNvSpPr>
            <p:nvPr/>
          </p:nvSpPr>
          <p:spPr bwMode="gray">
            <a:xfrm>
              <a:off x="3778" y="2099"/>
              <a:ext cx="122" cy="12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19" name="Freeform 9">
              <a:extLst>
                <a:ext uri="{FF2B5EF4-FFF2-40B4-BE49-F238E27FC236}">
                  <a16:creationId xmlns:a16="http://schemas.microsoft.com/office/drawing/2014/main" id="{5856770D-B8F0-244E-A05D-AED190086F10}"/>
                </a:ext>
              </a:extLst>
            </p:cNvPr>
            <p:cNvSpPr>
              <a:spLocks noEditPoints="1"/>
            </p:cNvSpPr>
            <p:nvPr/>
          </p:nvSpPr>
          <p:spPr bwMode="gray">
            <a:xfrm>
              <a:off x="3623" y="1696"/>
              <a:ext cx="1167" cy="922"/>
            </a:xfrm>
            <a:custGeom>
              <a:avLst/>
              <a:gdLst>
                <a:gd name="T0" fmla="*/ 411 w 580"/>
                <a:gd name="T1" fmla="*/ 213 h 458"/>
                <a:gd name="T2" fmla="*/ 570 w 580"/>
                <a:gd name="T3" fmla="*/ 37 h 458"/>
                <a:gd name="T4" fmla="*/ 580 w 580"/>
                <a:gd name="T5" fmla="*/ 20 h 458"/>
                <a:gd name="T6" fmla="*/ 545 w 580"/>
                <a:gd name="T7" fmla="*/ 0 h 458"/>
                <a:gd name="T8" fmla="*/ 519 w 580"/>
                <a:gd name="T9" fmla="*/ 16 h 458"/>
                <a:gd name="T10" fmla="*/ 344 w 580"/>
                <a:gd name="T11" fmla="*/ 210 h 458"/>
                <a:gd name="T12" fmla="*/ 334 w 580"/>
                <a:gd name="T13" fmla="*/ 229 h 458"/>
                <a:gd name="T14" fmla="*/ 344 w 580"/>
                <a:gd name="T15" fmla="*/ 248 h 458"/>
                <a:gd name="T16" fmla="*/ 519 w 580"/>
                <a:gd name="T17" fmla="*/ 442 h 458"/>
                <a:gd name="T18" fmla="*/ 545 w 580"/>
                <a:gd name="T19" fmla="*/ 458 h 458"/>
                <a:gd name="T20" fmla="*/ 580 w 580"/>
                <a:gd name="T21" fmla="*/ 438 h 458"/>
                <a:gd name="T22" fmla="*/ 570 w 580"/>
                <a:gd name="T23" fmla="*/ 421 h 458"/>
                <a:gd name="T24" fmla="*/ 411 w 580"/>
                <a:gd name="T25" fmla="*/ 245 h 458"/>
                <a:gd name="T26" fmla="*/ 399 w 580"/>
                <a:gd name="T27" fmla="*/ 229 h 458"/>
                <a:gd name="T28" fmla="*/ 411 w 580"/>
                <a:gd name="T29" fmla="*/ 213 h 458"/>
                <a:gd name="T30" fmla="*/ 252 w 580"/>
                <a:gd name="T31" fmla="*/ 439 h 458"/>
                <a:gd name="T32" fmla="*/ 281 w 580"/>
                <a:gd name="T33" fmla="*/ 454 h 458"/>
                <a:gd name="T34" fmla="*/ 309 w 580"/>
                <a:gd name="T35" fmla="*/ 439 h 458"/>
                <a:gd name="T36" fmla="*/ 309 w 580"/>
                <a:gd name="T37" fmla="*/ 19 h 458"/>
                <a:gd name="T38" fmla="*/ 281 w 580"/>
                <a:gd name="T39" fmla="*/ 4 h 458"/>
                <a:gd name="T40" fmla="*/ 252 w 580"/>
                <a:gd name="T41" fmla="*/ 19 h 458"/>
                <a:gd name="T42" fmla="*/ 252 w 580"/>
                <a:gd name="T43" fmla="*/ 439 h 458"/>
                <a:gd name="T44" fmla="*/ 0 w 580"/>
                <a:gd name="T45" fmla="*/ 439 h 458"/>
                <a:gd name="T46" fmla="*/ 28 w 580"/>
                <a:gd name="T47" fmla="*/ 454 h 458"/>
                <a:gd name="T48" fmla="*/ 56 w 580"/>
                <a:gd name="T49" fmla="*/ 439 h 458"/>
                <a:gd name="T50" fmla="*/ 56 w 580"/>
                <a:gd name="T51" fmla="*/ 157 h 458"/>
                <a:gd name="T52" fmla="*/ 165 w 580"/>
                <a:gd name="T53" fmla="*/ 53 h 458"/>
                <a:gd name="T54" fmla="*/ 180 w 580"/>
                <a:gd name="T55" fmla="*/ 53 h 458"/>
                <a:gd name="T56" fmla="*/ 196 w 580"/>
                <a:gd name="T57" fmla="*/ 27 h 458"/>
                <a:gd name="T58" fmla="*/ 154 w 580"/>
                <a:gd name="T59" fmla="*/ 4 h 458"/>
                <a:gd name="T60" fmla="*/ 0 w 580"/>
                <a:gd name="T61" fmla="*/ 152 h 458"/>
                <a:gd name="T62" fmla="*/ 0 w 580"/>
                <a:gd name="T63" fmla="*/ 439 h 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80" h="458">
                  <a:moveTo>
                    <a:pt x="411" y="213"/>
                  </a:moveTo>
                  <a:cubicBezTo>
                    <a:pt x="570" y="37"/>
                    <a:pt x="570" y="37"/>
                    <a:pt x="570" y="37"/>
                  </a:cubicBezTo>
                  <a:cubicBezTo>
                    <a:pt x="576" y="30"/>
                    <a:pt x="580" y="25"/>
                    <a:pt x="580" y="20"/>
                  </a:cubicBezTo>
                  <a:cubicBezTo>
                    <a:pt x="580" y="10"/>
                    <a:pt x="559" y="0"/>
                    <a:pt x="545" y="0"/>
                  </a:cubicBezTo>
                  <a:cubicBezTo>
                    <a:pt x="535" y="0"/>
                    <a:pt x="526" y="8"/>
                    <a:pt x="519" y="16"/>
                  </a:cubicBezTo>
                  <a:cubicBezTo>
                    <a:pt x="344" y="210"/>
                    <a:pt x="344" y="210"/>
                    <a:pt x="344" y="210"/>
                  </a:cubicBezTo>
                  <a:cubicBezTo>
                    <a:pt x="336" y="219"/>
                    <a:pt x="334" y="224"/>
                    <a:pt x="334" y="229"/>
                  </a:cubicBezTo>
                  <a:cubicBezTo>
                    <a:pt x="334" y="234"/>
                    <a:pt x="336" y="239"/>
                    <a:pt x="344" y="248"/>
                  </a:cubicBezTo>
                  <a:cubicBezTo>
                    <a:pt x="519" y="442"/>
                    <a:pt x="519" y="442"/>
                    <a:pt x="519" y="442"/>
                  </a:cubicBezTo>
                  <a:cubicBezTo>
                    <a:pt x="526" y="450"/>
                    <a:pt x="535" y="458"/>
                    <a:pt x="545" y="458"/>
                  </a:cubicBezTo>
                  <a:cubicBezTo>
                    <a:pt x="559" y="458"/>
                    <a:pt x="580" y="448"/>
                    <a:pt x="580" y="438"/>
                  </a:cubicBezTo>
                  <a:cubicBezTo>
                    <a:pt x="580" y="433"/>
                    <a:pt x="576" y="428"/>
                    <a:pt x="570" y="421"/>
                  </a:cubicBezTo>
                  <a:cubicBezTo>
                    <a:pt x="411" y="245"/>
                    <a:pt x="411" y="245"/>
                    <a:pt x="411" y="245"/>
                  </a:cubicBezTo>
                  <a:cubicBezTo>
                    <a:pt x="403" y="236"/>
                    <a:pt x="399" y="232"/>
                    <a:pt x="399" y="229"/>
                  </a:cubicBezTo>
                  <a:cubicBezTo>
                    <a:pt x="399" y="226"/>
                    <a:pt x="403" y="222"/>
                    <a:pt x="411" y="213"/>
                  </a:cubicBezTo>
                  <a:moveTo>
                    <a:pt x="252" y="439"/>
                  </a:moveTo>
                  <a:cubicBezTo>
                    <a:pt x="252" y="449"/>
                    <a:pt x="261" y="454"/>
                    <a:pt x="281" y="454"/>
                  </a:cubicBezTo>
                  <a:cubicBezTo>
                    <a:pt x="300" y="454"/>
                    <a:pt x="309" y="449"/>
                    <a:pt x="309" y="439"/>
                  </a:cubicBezTo>
                  <a:cubicBezTo>
                    <a:pt x="309" y="19"/>
                    <a:pt x="309" y="19"/>
                    <a:pt x="309" y="19"/>
                  </a:cubicBezTo>
                  <a:cubicBezTo>
                    <a:pt x="309" y="9"/>
                    <a:pt x="300" y="4"/>
                    <a:pt x="281" y="4"/>
                  </a:cubicBezTo>
                  <a:cubicBezTo>
                    <a:pt x="261" y="4"/>
                    <a:pt x="252" y="9"/>
                    <a:pt x="252" y="19"/>
                  </a:cubicBezTo>
                  <a:lnTo>
                    <a:pt x="252" y="439"/>
                  </a:lnTo>
                  <a:close/>
                  <a:moveTo>
                    <a:pt x="0" y="439"/>
                  </a:moveTo>
                  <a:cubicBezTo>
                    <a:pt x="0" y="449"/>
                    <a:pt x="8" y="454"/>
                    <a:pt x="28" y="454"/>
                  </a:cubicBezTo>
                  <a:cubicBezTo>
                    <a:pt x="48" y="454"/>
                    <a:pt x="56" y="449"/>
                    <a:pt x="56" y="439"/>
                  </a:cubicBezTo>
                  <a:cubicBezTo>
                    <a:pt x="56" y="157"/>
                    <a:pt x="56" y="157"/>
                    <a:pt x="56" y="157"/>
                  </a:cubicBezTo>
                  <a:cubicBezTo>
                    <a:pt x="56" y="83"/>
                    <a:pt x="85" y="53"/>
                    <a:pt x="165" y="53"/>
                  </a:cubicBezTo>
                  <a:cubicBezTo>
                    <a:pt x="180" y="53"/>
                    <a:pt x="180" y="53"/>
                    <a:pt x="180" y="53"/>
                  </a:cubicBezTo>
                  <a:cubicBezTo>
                    <a:pt x="192" y="53"/>
                    <a:pt x="196" y="43"/>
                    <a:pt x="196" y="27"/>
                  </a:cubicBezTo>
                  <a:cubicBezTo>
                    <a:pt x="196" y="8"/>
                    <a:pt x="185" y="4"/>
                    <a:pt x="154" y="4"/>
                  </a:cubicBezTo>
                  <a:cubicBezTo>
                    <a:pt x="64" y="4"/>
                    <a:pt x="0" y="43"/>
                    <a:pt x="0" y="152"/>
                  </a:cubicBezTo>
                  <a:lnTo>
                    <a:pt x="0" y="43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22" name="Freeform 10">
              <a:extLst>
                <a:ext uri="{FF2B5EF4-FFF2-40B4-BE49-F238E27FC236}">
                  <a16:creationId xmlns:a16="http://schemas.microsoft.com/office/drawing/2014/main" id="{2B91B16B-BC11-E547-8FAC-B9B8D18EA449}"/>
                </a:ext>
              </a:extLst>
            </p:cNvPr>
            <p:cNvSpPr>
              <a:spLocks/>
            </p:cNvSpPr>
            <p:nvPr/>
          </p:nvSpPr>
          <p:spPr bwMode="gray">
            <a:xfrm>
              <a:off x="2880" y="1704"/>
              <a:ext cx="618" cy="916"/>
            </a:xfrm>
            <a:custGeom>
              <a:avLst/>
              <a:gdLst>
                <a:gd name="T0" fmla="*/ 307 w 307"/>
                <a:gd name="T1" fmla="*/ 405 h 455"/>
                <a:gd name="T2" fmla="*/ 307 w 307"/>
                <a:gd name="T3" fmla="*/ 244 h 455"/>
                <a:gd name="T4" fmla="*/ 279 w 307"/>
                <a:gd name="T5" fmla="*/ 229 h 455"/>
                <a:gd name="T6" fmla="*/ 250 w 307"/>
                <a:gd name="T7" fmla="*/ 244 h 455"/>
                <a:gd name="T8" fmla="*/ 250 w 307"/>
                <a:gd name="T9" fmla="*/ 378 h 455"/>
                <a:gd name="T10" fmla="*/ 199 w 307"/>
                <a:gd name="T11" fmla="*/ 408 h 455"/>
                <a:gd name="T12" fmla="*/ 61 w 307"/>
                <a:gd name="T13" fmla="*/ 231 h 455"/>
                <a:gd name="T14" fmla="*/ 238 w 307"/>
                <a:gd name="T15" fmla="*/ 49 h 455"/>
                <a:gd name="T16" fmla="*/ 270 w 307"/>
                <a:gd name="T17" fmla="*/ 49 h 455"/>
                <a:gd name="T18" fmla="*/ 286 w 307"/>
                <a:gd name="T19" fmla="*/ 23 h 455"/>
                <a:gd name="T20" fmla="*/ 244 w 307"/>
                <a:gd name="T21" fmla="*/ 0 h 455"/>
                <a:gd name="T22" fmla="*/ 231 w 307"/>
                <a:gd name="T23" fmla="*/ 0 h 455"/>
                <a:gd name="T24" fmla="*/ 0 w 307"/>
                <a:gd name="T25" fmla="*/ 232 h 455"/>
                <a:gd name="T26" fmla="*/ 198 w 307"/>
                <a:gd name="T27" fmla="*/ 455 h 455"/>
                <a:gd name="T28" fmla="*/ 307 w 307"/>
                <a:gd name="T29" fmla="*/ 405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7" h="455">
                  <a:moveTo>
                    <a:pt x="307" y="405"/>
                  </a:moveTo>
                  <a:cubicBezTo>
                    <a:pt x="307" y="244"/>
                    <a:pt x="307" y="244"/>
                    <a:pt x="307" y="244"/>
                  </a:cubicBezTo>
                  <a:cubicBezTo>
                    <a:pt x="307" y="234"/>
                    <a:pt x="298" y="229"/>
                    <a:pt x="279" y="229"/>
                  </a:cubicBezTo>
                  <a:cubicBezTo>
                    <a:pt x="259" y="229"/>
                    <a:pt x="250" y="234"/>
                    <a:pt x="250" y="244"/>
                  </a:cubicBezTo>
                  <a:cubicBezTo>
                    <a:pt x="250" y="378"/>
                    <a:pt x="250" y="378"/>
                    <a:pt x="250" y="378"/>
                  </a:cubicBezTo>
                  <a:cubicBezTo>
                    <a:pt x="250" y="399"/>
                    <a:pt x="241" y="408"/>
                    <a:pt x="199" y="408"/>
                  </a:cubicBezTo>
                  <a:cubicBezTo>
                    <a:pt x="114" y="408"/>
                    <a:pt x="61" y="342"/>
                    <a:pt x="61" y="231"/>
                  </a:cubicBezTo>
                  <a:cubicBezTo>
                    <a:pt x="61" y="115"/>
                    <a:pt x="126" y="49"/>
                    <a:pt x="238" y="49"/>
                  </a:cubicBezTo>
                  <a:cubicBezTo>
                    <a:pt x="270" y="49"/>
                    <a:pt x="270" y="49"/>
                    <a:pt x="270" y="49"/>
                  </a:cubicBezTo>
                  <a:cubicBezTo>
                    <a:pt x="282" y="49"/>
                    <a:pt x="286" y="39"/>
                    <a:pt x="286" y="23"/>
                  </a:cubicBezTo>
                  <a:cubicBezTo>
                    <a:pt x="286" y="4"/>
                    <a:pt x="275" y="0"/>
                    <a:pt x="244" y="0"/>
                  </a:cubicBezTo>
                  <a:cubicBezTo>
                    <a:pt x="231" y="0"/>
                    <a:pt x="231" y="0"/>
                    <a:pt x="231" y="0"/>
                  </a:cubicBezTo>
                  <a:cubicBezTo>
                    <a:pt x="101" y="0"/>
                    <a:pt x="0" y="71"/>
                    <a:pt x="0" y="232"/>
                  </a:cubicBezTo>
                  <a:cubicBezTo>
                    <a:pt x="0" y="386"/>
                    <a:pt x="88" y="455"/>
                    <a:pt x="198" y="455"/>
                  </a:cubicBezTo>
                  <a:cubicBezTo>
                    <a:pt x="286" y="455"/>
                    <a:pt x="307" y="430"/>
                    <a:pt x="307" y="40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23" name="Oval 11">
              <a:extLst>
                <a:ext uri="{FF2B5EF4-FFF2-40B4-BE49-F238E27FC236}">
                  <a16:creationId xmlns:a16="http://schemas.microsoft.com/office/drawing/2014/main" id="{14F8C3C8-4888-7646-B9B4-64EB46A1DA23}"/>
                </a:ext>
              </a:extLst>
            </p:cNvPr>
            <p:cNvSpPr>
              <a:spLocks noChangeArrowheads="1"/>
            </p:cNvSpPr>
            <p:nvPr/>
          </p:nvSpPr>
          <p:spPr bwMode="gray">
            <a:xfrm>
              <a:off x="3778" y="2099"/>
              <a:ext cx="122" cy="12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24" name="Freeform 12">
              <a:extLst>
                <a:ext uri="{FF2B5EF4-FFF2-40B4-BE49-F238E27FC236}">
                  <a16:creationId xmlns:a16="http://schemas.microsoft.com/office/drawing/2014/main" id="{D79D01D1-4E3E-F34B-97D7-2D387E68746E}"/>
                </a:ext>
              </a:extLst>
            </p:cNvPr>
            <p:cNvSpPr>
              <a:spLocks/>
            </p:cNvSpPr>
            <p:nvPr/>
          </p:nvSpPr>
          <p:spPr bwMode="gray">
            <a:xfrm>
              <a:off x="4321" y="1029"/>
              <a:ext cx="648" cy="649"/>
            </a:xfrm>
            <a:custGeom>
              <a:avLst/>
              <a:gdLst>
                <a:gd name="T0" fmla="*/ 0 w 648"/>
                <a:gd name="T1" fmla="*/ 649 h 649"/>
                <a:gd name="T2" fmla="*/ 2 w 648"/>
                <a:gd name="T3" fmla="*/ 649 h 649"/>
                <a:gd name="T4" fmla="*/ 648 w 648"/>
                <a:gd name="T5" fmla="*/ 0 h 649"/>
                <a:gd name="T6" fmla="*/ 423 w 648"/>
                <a:gd name="T7" fmla="*/ 0 h 649"/>
                <a:gd name="T8" fmla="*/ 0 w 648"/>
                <a:gd name="T9" fmla="*/ 649 h 649"/>
              </a:gdLst>
              <a:ahLst/>
              <a:cxnLst>
                <a:cxn ang="0">
                  <a:pos x="T0" y="T1"/>
                </a:cxn>
                <a:cxn ang="0">
                  <a:pos x="T2" y="T3"/>
                </a:cxn>
                <a:cxn ang="0">
                  <a:pos x="T4" y="T5"/>
                </a:cxn>
                <a:cxn ang="0">
                  <a:pos x="T6" y="T7"/>
                </a:cxn>
                <a:cxn ang="0">
                  <a:pos x="T8" y="T9"/>
                </a:cxn>
              </a:cxnLst>
              <a:rect l="0" t="0" r="r" b="b"/>
              <a:pathLst>
                <a:path w="648" h="649">
                  <a:moveTo>
                    <a:pt x="0" y="649"/>
                  </a:moveTo>
                  <a:lnTo>
                    <a:pt x="2" y="649"/>
                  </a:lnTo>
                  <a:lnTo>
                    <a:pt x="648" y="0"/>
                  </a:lnTo>
                  <a:lnTo>
                    <a:pt x="423" y="0"/>
                  </a:lnTo>
                  <a:lnTo>
                    <a:pt x="0" y="64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26" name="Freeform 13">
              <a:extLst>
                <a:ext uri="{FF2B5EF4-FFF2-40B4-BE49-F238E27FC236}">
                  <a16:creationId xmlns:a16="http://schemas.microsoft.com/office/drawing/2014/main" id="{46549898-6C52-B147-A8F6-A73FDBE6163B}"/>
                </a:ext>
              </a:extLst>
            </p:cNvPr>
            <p:cNvSpPr>
              <a:spLocks/>
            </p:cNvSpPr>
            <p:nvPr/>
          </p:nvSpPr>
          <p:spPr bwMode="gray">
            <a:xfrm>
              <a:off x="4321" y="1029"/>
              <a:ext cx="648" cy="649"/>
            </a:xfrm>
            <a:custGeom>
              <a:avLst/>
              <a:gdLst>
                <a:gd name="T0" fmla="*/ 0 w 648"/>
                <a:gd name="T1" fmla="*/ 649 h 649"/>
                <a:gd name="T2" fmla="*/ 2 w 648"/>
                <a:gd name="T3" fmla="*/ 649 h 649"/>
                <a:gd name="T4" fmla="*/ 648 w 648"/>
                <a:gd name="T5" fmla="*/ 0 h 649"/>
                <a:gd name="T6" fmla="*/ 423 w 648"/>
                <a:gd name="T7" fmla="*/ 0 h 649"/>
                <a:gd name="T8" fmla="*/ 0 w 648"/>
                <a:gd name="T9" fmla="*/ 649 h 649"/>
              </a:gdLst>
              <a:ahLst/>
              <a:cxnLst>
                <a:cxn ang="0">
                  <a:pos x="T0" y="T1"/>
                </a:cxn>
                <a:cxn ang="0">
                  <a:pos x="T2" y="T3"/>
                </a:cxn>
                <a:cxn ang="0">
                  <a:pos x="T4" y="T5"/>
                </a:cxn>
                <a:cxn ang="0">
                  <a:pos x="T6" y="T7"/>
                </a:cxn>
                <a:cxn ang="0">
                  <a:pos x="T8" y="T9"/>
                </a:cxn>
              </a:cxnLst>
              <a:rect l="0" t="0" r="r" b="b"/>
              <a:pathLst>
                <a:path w="648" h="649">
                  <a:moveTo>
                    <a:pt x="0" y="649"/>
                  </a:moveTo>
                  <a:lnTo>
                    <a:pt x="2" y="649"/>
                  </a:lnTo>
                  <a:lnTo>
                    <a:pt x="648" y="0"/>
                  </a:lnTo>
                  <a:lnTo>
                    <a:pt x="423" y="0"/>
                  </a:lnTo>
                  <a:lnTo>
                    <a:pt x="0" y="64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grpSp>
      <p:sp>
        <p:nvSpPr>
          <p:cNvPr id="20" name="shp1">
            <a:extLst>
              <a:ext uri="{FF2B5EF4-FFF2-40B4-BE49-F238E27FC236}">
                <a16:creationId xmlns:a16="http://schemas.microsoft.com/office/drawing/2014/main" id="{1AD9883E-0B1C-504A-A979-9C5803172360}"/>
              </a:ext>
            </a:extLst>
          </p:cNvPr>
          <p:cNvSpPr/>
          <p:nvPr/>
        </p:nvSpPr>
        <p:spPr>
          <a:xfrm>
            <a:off x="192088" y="1"/>
            <a:ext cx="215900" cy="144938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de-DE" sz="1351"/>
          </a:p>
        </p:txBody>
      </p:sp>
      <p:sp>
        <p:nvSpPr>
          <p:cNvPr id="7" name="copyright"/>
          <p:cNvSpPr txBox="1"/>
          <p:nvPr/>
        </p:nvSpPr>
        <p:spPr>
          <a:xfrm>
            <a:off x="10672209" y="6461671"/>
            <a:ext cx="500617" cy="133790"/>
          </a:xfrm>
          <a:prstGeom prst="rect">
            <a:avLst/>
          </a:prstGeom>
          <a:noFill/>
        </p:spPr>
        <p:txBody>
          <a:bodyPr wrap="none" lIns="0" tIns="0" rIns="0" bIns="0" rtlCol="0" anchor="b" anchorCtr="0">
            <a:noAutofit/>
          </a:bodyPr>
          <a:lstStyle/>
          <a:p>
            <a:pPr marL="0" indent="0" algn="r">
              <a:lnSpc>
                <a:spcPct val="125000"/>
              </a:lnSpc>
              <a:buClr>
                <a:schemeClr val="tx2"/>
              </a:buClr>
              <a:buFont typeface="Wingdings" panose="05000000000000000000" pitchFamily="2" charset="2"/>
              <a:buNone/>
            </a:pPr>
            <a:r>
              <a:rPr lang="en-US" sz="800"/>
              <a:t>© GfK</a:t>
            </a:r>
          </a:p>
        </p:txBody>
      </p:sp>
      <p:sp>
        <p:nvSpPr>
          <p:cNvPr id="28" name="Date Placeholder 27"/>
          <p:cNvSpPr>
            <a:spLocks noGrp="1"/>
          </p:cNvSpPr>
          <p:nvPr>
            <p:ph type="dt" sz="half" idx="2"/>
          </p:nvPr>
        </p:nvSpPr>
        <p:spPr>
          <a:xfrm>
            <a:off x="192088" y="6461671"/>
            <a:ext cx="761512" cy="133790"/>
          </a:xfrm>
          <a:prstGeom prst="rect">
            <a:avLst/>
          </a:prstGeom>
        </p:spPr>
        <p:txBody>
          <a:bodyPr vert="horz" wrap="none" lIns="0" tIns="0" rIns="0" bIns="0" rtlCol="0" anchor="b" anchorCtr="0"/>
          <a:lstStyle>
            <a:lvl1pPr algn="r">
              <a:defRPr sz="800">
                <a:solidFill>
                  <a:schemeClr val="tx1"/>
                </a:solidFill>
              </a:defRPr>
            </a:lvl1pPr>
          </a:lstStyle>
          <a:p>
            <a:fld id="{85245AC6-241B-4B56-BD95-BEEA95A36893}" type="datetime5">
              <a:rPr lang="en-US" smtClean="0"/>
              <a:t>26-Jun-20</a:t>
            </a:fld>
            <a:endParaRPr lang="en-US"/>
          </a:p>
        </p:txBody>
      </p:sp>
      <p:sp>
        <p:nvSpPr>
          <p:cNvPr id="29" name="Footer Placeholder 28"/>
          <p:cNvSpPr>
            <a:spLocks noGrp="1"/>
          </p:cNvSpPr>
          <p:nvPr>
            <p:ph type="ftr" sz="quarter" idx="3"/>
          </p:nvPr>
        </p:nvSpPr>
        <p:spPr>
          <a:xfrm>
            <a:off x="1076400" y="6461671"/>
            <a:ext cx="8162717" cy="133790"/>
          </a:xfrm>
          <a:prstGeom prst="rect">
            <a:avLst/>
          </a:prstGeom>
        </p:spPr>
        <p:txBody>
          <a:bodyPr vert="horz" lIns="0" tIns="0" rIns="0" bIns="0" rtlCol="0" anchor="b" anchorCtr="0"/>
          <a:lstStyle>
            <a:lvl1pPr marL="144000" indent="-144000" algn="l">
              <a:buClr>
                <a:schemeClr val="tx2"/>
              </a:buClr>
              <a:buFont typeface="Wingdings" panose="05000000000000000000" pitchFamily="2" charset="2"/>
              <a:buChar char="§"/>
              <a:defRPr sz="800">
                <a:solidFill>
                  <a:schemeClr val="tx1"/>
                </a:solidFill>
              </a:defRPr>
            </a:lvl1pPr>
          </a:lstStyle>
          <a:p>
            <a:r>
              <a:rPr lang="en-US"/>
              <a:t>Title of presentation (Insert / Header &amp; Footer / Apply to All)</a:t>
            </a:r>
          </a:p>
        </p:txBody>
      </p:sp>
      <p:sp>
        <p:nvSpPr>
          <p:cNvPr id="30" name="Slide Number Placeholder 29"/>
          <p:cNvSpPr>
            <a:spLocks noGrp="1"/>
          </p:cNvSpPr>
          <p:nvPr>
            <p:ph type="sldNum" sz="quarter" idx="4"/>
          </p:nvPr>
        </p:nvSpPr>
        <p:spPr>
          <a:xfrm>
            <a:off x="11186669" y="6461671"/>
            <a:ext cx="648000" cy="133790"/>
          </a:xfrm>
          <a:prstGeom prst="rect">
            <a:avLst/>
          </a:prstGeom>
        </p:spPr>
        <p:txBody>
          <a:bodyPr vert="horz" lIns="0" tIns="0" rIns="0" bIns="0" rtlCol="0" anchor="b" anchorCtr="0"/>
          <a:lstStyle>
            <a:lvl1pPr algn="r">
              <a:defRPr sz="800">
                <a:solidFill>
                  <a:schemeClr val="tx1"/>
                </a:solidFill>
              </a:defRPr>
            </a:lvl1pPr>
          </a:lstStyle>
          <a:p>
            <a:fld id="{5F3E29E4-0979-4FCA-B4C5-5FC6044C982A}" type="slidenum">
              <a:rPr lang="en-US" smtClean="0"/>
              <a:pPr/>
              <a:t>‹#›</a:t>
            </a:fld>
            <a:endParaRPr lang="en-US"/>
          </a:p>
        </p:txBody>
      </p:sp>
      <p:sp>
        <p:nvSpPr>
          <p:cNvPr id="2" name="Title Placeholder 1"/>
          <p:cNvSpPr>
            <a:spLocks noGrp="1"/>
          </p:cNvSpPr>
          <p:nvPr>
            <p:ph type="title"/>
          </p:nvPr>
        </p:nvSpPr>
        <p:spPr>
          <a:xfrm>
            <a:off x="1075061" y="288922"/>
            <a:ext cx="7910158" cy="648000"/>
          </a:xfrm>
          <a:prstGeom prst="rect">
            <a:avLst/>
          </a:prstGeom>
        </p:spPr>
        <p:txBody>
          <a:bodyPr vert="horz" lIns="0" tIns="0" rIns="0" bIns="0" rtlCol="0" anchor="t">
            <a:noAutofit/>
          </a:bodyPr>
          <a:lstStyle/>
          <a:p>
            <a:r>
              <a:rPr lang="ru-RU"/>
              <a:t>Образец заголовка</a:t>
            </a:r>
            <a:endParaRPr lang="en-US"/>
          </a:p>
        </p:txBody>
      </p:sp>
      <p:sp>
        <p:nvSpPr>
          <p:cNvPr id="3" name="Text Placeholder 2"/>
          <p:cNvSpPr>
            <a:spLocks noGrp="1"/>
          </p:cNvSpPr>
          <p:nvPr>
            <p:ph type="body" idx="1"/>
          </p:nvPr>
        </p:nvSpPr>
        <p:spPr>
          <a:xfrm>
            <a:off x="1075062" y="1629618"/>
            <a:ext cx="10097764" cy="4139357"/>
          </a:xfrm>
          <a:prstGeom prst="rect">
            <a:avLst/>
          </a:prstGeom>
        </p:spPr>
        <p:txBody>
          <a:bodyPr vert="horz" lIns="0" tIns="0" rIns="0" bIns="0" rtlCol="0">
            <a:noAutofit/>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endParaRPr lang="en-US"/>
          </a:p>
        </p:txBody>
      </p:sp>
    </p:spTree>
    <p:extLst>
      <p:ext uri="{BB962C8B-B14F-4D97-AF65-F5344CB8AC3E}">
        <p14:creationId xmlns:p14="http://schemas.microsoft.com/office/powerpoint/2010/main" val="2833927992"/>
      </p:ext>
    </p:extLst>
  </p:cSld>
  <p:clrMap bg1="lt1" tx1="dk1" bg2="lt2" tx2="dk2" accent1="accent1" accent2="accent2" accent3="accent3" accent4="accent4" accent5="accent5" accent6="accent6" hlink="hlink" folHlink="folHlink"/>
  <p:sldLayoutIdLst>
    <p:sldLayoutId id="2147483794" r:id="rId1"/>
    <p:sldLayoutId id="2147483795" r:id="rId2"/>
    <p:sldLayoutId id="2147483796" r:id="rId3"/>
    <p:sldLayoutId id="2147483797" r:id="rId4"/>
    <p:sldLayoutId id="2147483798" r:id="rId5"/>
    <p:sldLayoutId id="2147483799" r:id="rId6"/>
    <p:sldLayoutId id="2147483800" r:id="rId7"/>
    <p:sldLayoutId id="2147483801" r:id="rId8"/>
    <p:sldLayoutId id="2147483802" r:id="rId9"/>
    <p:sldLayoutId id="2147483803" r:id="rId10"/>
    <p:sldLayoutId id="2147483804" r:id="rId11"/>
    <p:sldLayoutId id="2147483805" r:id="rId12"/>
    <p:sldLayoutId id="2147483806" r:id="rId13"/>
    <p:sldLayoutId id="2147483807" r:id="rId14"/>
    <p:sldLayoutId id="2147483808" r:id="rId15"/>
    <p:sldLayoutId id="2147483809" r:id="rId16"/>
    <p:sldLayoutId id="2147483810" r:id="rId17"/>
    <p:sldLayoutId id="2147483811" r:id="rId18"/>
    <p:sldLayoutId id="2147483812" r:id="rId19"/>
    <p:sldLayoutId id="2147483813" r:id="rId20"/>
    <p:sldLayoutId id="2147483814" r:id="rId21"/>
    <p:sldLayoutId id="2147483815" r:id="rId22"/>
    <p:sldLayoutId id="2147483816" r:id="rId23"/>
    <p:sldLayoutId id="2147483817" r:id="rId24"/>
    <p:sldLayoutId id="2147483818" r:id="rId25"/>
    <p:sldLayoutId id="2147483819" r:id="rId26"/>
    <p:sldLayoutId id="2147483820" r:id="rId27"/>
  </p:sldLayoutIdLst>
  <p:hf hdr="0"/>
  <p:txStyles>
    <p:titleStyle>
      <a:lvl1pPr algn="l" defTabSz="914400" rtl="0" eaLnBrk="1" latinLnBrk="0" hangingPunct="1">
        <a:lnSpc>
          <a:spcPct val="100000"/>
        </a:lnSpc>
        <a:spcBef>
          <a:spcPct val="0"/>
        </a:spcBef>
        <a:buNone/>
        <a:defRPr sz="3600" kern="1200">
          <a:solidFill>
            <a:schemeClr val="tx1"/>
          </a:solidFill>
          <a:latin typeface="+mj-lt"/>
          <a:ea typeface="+mj-ea"/>
          <a:cs typeface="+mj-cs"/>
        </a:defRPr>
      </a:lvl1pPr>
    </p:titleStyle>
    <p:bodyStyle>
      <a:lvl1pPr marL="252000" indent="-252000" algn="l" defTabSz="914400" rtl="0" eaLnBrk="1" latinLnBrk="0" hangingPunct="1">
        <a:lnSpc>
          <a:spcPct val="110000"/>
        </a:lnSpc>
        <a:spcBef>
          <a:spcPts val="1000"/>
        </a:spcBef>
        <a:buClr>
          <a:schemeClr val="tx2"/>
        </a:buClr>
        <a:buFont typeface="Wingdings" panose="05000000000000000000" pitchFamily="2" charset="2"/>
        <a:buChar char="§"/>
        <a:defRPr sz="2800" kern="1200">
          <a:solidFill>
            <a:schemeClr val="tx1"/>
          </a:solidFill>
          <a:latin typeface="+mn-lt"/>
          <a:ea typeface="+mn-ea"/>
          <a:cs typeface="+mn-cs"/>
        </a:defRPr>
      </a:lvl1pPr>
      <a:lvl2pPr marL="648000" indent="-252000" algn="l" defTabSz="914400" rtl="0" eaLnBrk="1" latinLnBrk="0" hangingPunct="1">
        <a:lnSpc>
          <a:spcPct val="110000"/>
        </a:lnSpc>
        <a:spcBef>
          <a:spcPts val="600"/>
        </a:spcBef>
        <a:buClr>
          <a:schemeClr val="tx2"/>
        </a:buClr>
        <a:buFont typeface="Wingdings" panose="05000000000000000000" pitchFamily="2" charset="2"/>
        <a:buChar char="§"/>
        <a:defRPr sz="2400" kern="1200">
          <a:solidFill>
            <a:schemeClr val="tx1"/>
          </a:solidFill>
          <a:latin typeface="+mn-lt"/>
          <a:ea typeface="+mn-ea"/>
          <a:cs typeface="+mn-cs"/>
        </a:defRPr>
      </a:lvl2pPr>
      <a:lvl3pPr marL="1080000" indent="-252000" algn="l" defTabSz="914400" rtl="0" eaLnBrk="1" latinLnBrk="0" hangingPunct="1">
        <a:lnSpc>
          <a:spcPct val="110000"/>
        </a:lnSpc>
        <a:spcBef>
          <a:spcPts val="600"/>
        </a:spcBef>
        <a:buClr>
          <a:schemeClr val="tx2"/>
        </a:buClr>
        <a:buFont typeface="Wingdings" panose="05000000000000000000" pitchFamily="2" charset="2"/>
        <a:buChar char="§"/>
        <a:defRPr sz="2000" kern="1200">
          <a:solidFill>
            <a:schemeClr val="tx1"/>
          </a:solidFill>
          <a:latin typeface="+mn-lt"/>
          <a:ea typeface="+mn-ea"/>
          <a:cs typeface="+mn-cs"/>
        </a:defRPr>
      </a:lvl3pPr>
      <a:lvl4pPr marL="0" indent="0" algn="l" defTabSz="914400" rtl="0" eaLnBrk="1" latinLnBrk="0" hangingPunct="1">
        <a:lnSpc>
          <a:spcPct val="110000"/>
        </a:lnSpc>
        <a:spcBef>
          <a:spcPts val="600"/>
        </a:spcBef>
        <a:buClr>
          <a:schemeClr val="tx2"/>
        </a:buClr>
        <a:buFont typeface="Lato" panose="020F0502020204030203" pitchFamily="34" charset="0"/>
        <a:buChar char="​"/>
        <a:defRPr sz="1600" kern="1200">
          <a:solidFill>
            <a:schemeClr val="tx1"/>
          </a:solidFill>
          <a:latin typeface="+mn-lt"/>
          <a:ea typeface="+mn-ea"/>
          <a:cs typeface="+mn-cs"/>
        </a:defRPr>
      </a:lvl4pPr>
      <a:lvl5pPr marL="252000" indent="-252000" algn="l" defTabSz="914400" rtl="0" eaLnBrk="1" latinLnBrk="0" hangingPunct="1">
        <a:lnSpc>
          <a:spcPct val="110000"/>
        </a:lnSpc>
        <a:spcBef>
          <a:spcPts val="600"/>
        </a:spcBef>
        <a:buClr>
          <a:schemeClr val="tx2"/>
        </a:buClr>
        <a:buFont typeface="Wingdings" panose="05000000000000000000" pitchFamily="2" charset="2"/>
        <a:buChar char="§"/>
        <a:defRPr sz="1600" kern="1200">
          <a:solidFill>
            <a:schemeClr val="tx1"/>
          </a:solidFill>
          <a:latin typeface="+mn-lt"/>
          <a:ea typeface="+mn-ea"/>
          <a:cs typeface="+mn-cs"/>
        </a:defRPr>
      </a:lvl5pPr>
      <a:lvl6pPr marL="648000" indent="-252000" algn="l" defTabSz="914400" rtl="0" eaLnBrk="1" latinLnBrk="0" hangingPunct="1">
        <a:lnSpc>
          <a:spcPct val="110000"/>
        </a:lnSpc>
        <a:spcBef>
          <a:spcPts val="600"/>
        </a:spcBef>
        <a:buClr>
          <a:schemeClr val="tx2"/>
        </a:buClr>
        <a:buFont typeface="Wingdings" panose="05000000000000000000" pitchFamily="2" charset="2"/>
        <a:buChar char="§"/>
        <a:defRPr sz="1600" kern="1200">
          <a:solidFill>
            <a:schemeClr val="tx1"/>
          </a:solidFill>
          <a:latin typeface="+mn-lt"/>
          <a:ea typeface="+mn-ea"/>
          <a:cs typeface="+mn-cs"/>
        </a:defRPr>
      </a:lvl6pPr>
      <a:lvl7pPr marL="1080000" indent="-252000" algn="l" defTabSz="914400" rtl="0" eaLnBrk="1" latinLnBrk="0" hangingPunct="1">
        <a:lnSpc>
          <a:spcPct val="110000"/>
        </a:lnSpc>
        <a:spcBef>
          <a:spcPts val="600"/>
        </a:spcBef>
        <a:buClr>
          <a:schemeClr val="tx2"/>
        </a:buClr>
        <a:buFont typeface="Wingdings" panose="05000000000000000000" pitchFamily="2" charset="2"/>
        <a:buChar char="§"/>
        <a:defRPr sz="1600" kern="1200">
          <a:solidFill>
            <a:schemeClr val="tx1"/>
          </a:solidFill>
          <a:latin typeface="+mn-lt"/>
          <a:ea typeface="+mn-ea"/>
          <a:cs typeface="+mn-cs"/>
        </a:defRPr>
      </a:lvl7pPr>
      <a:lvl8pPr marL="1512000" indent="-252000" algn="l" defTabSz="914400" rtl="0" eaLnBrk="1" latinLnBrk="0" hangingPunct="1">
        <a:lnSpc>
          <a:spcPct val="110000"/>
        </a:lnSpc>
        <a:spcBef>
          <a:spcPts val="600"/>
        </a:spcBef>
        <a:buClr>
          <a:schemeClr val="tx2"/>
        </a:buClr>
        <a:buFont typeface="Wingdings" panose="05000000000000000000" pitchFamily="2" charset="2"/>
        <a:buChar char="§"/>
        <a:defRPr sz="1600" kern="1200">
          <a:solidFill>
            <a:schemeClr val="tx1"/>
          </a:solidFill>
          <a:latin typeface="+mn-lt"/>
          <a:ea typeface="+mn-ea"/>
          <a:cs typeface="+mn-cs"/>
        </a:defRPr>
      </a:lvl8pPr>
      <a:lvl9pPr marL="1944000" indent="-252000" algn="l" defTabSz="914400" rtl="0" eaLnBrk="1" latinLnBrk="0" hangingPunct="1">
        <a:lnSpc>
          <a:spcPct val="110000"/>
        </a:lnSpc>
        <a:spcBef>
          <a:spcPts val="600"/>
        </a:spcBef>
        <a:buClr>
          <a:schemeClr val="tx2"/>
        </a:buClr>
        <a:buFont typeface="Wingdings" panose="05000000000000000000" pitchFamily="2" charset="2"/>
        <a:buChar char="§"/>
        <a:defRPr sz="16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319">
          <p15:clr>
            <a:srgbClr val="5ACBF0"/>
          </p15:clr>
        </p15:guide>
        <p15:guide id="3" pos="257">
          <p15:clr>
            <a:srgbClr val="5ACBF0"/>
          </p15:clr>
        </p15:guide>
        <p15:guide id="4" pos="675">
          <p15:clr>
            <a:srgbClr val="5ACBF0"/>
          </p15:clr>
        </p15:guide>
        <p15:guide id="5" pos="7038">
          <p15:clr>
            <a:srgbClr val="5ACBF0"/>
          </p15:clr>
        </p15:guide>
        <p15:guide id="6" pos="7446">
          <p15:clr>
            <a:srgbClr val="5ACBF0"/>
          </p15:clr>
        </p15:guide>
        <p15:guide id="7" orient="horz" pos="255">
          <p15:clr>
            <a:srgbClr val="5ACBF0"/>
          </p15:clr>
        </p15:guide>
        <p15:guide id="8" orient="horz" pos="663">
          <p15:clr>
            <a:srgbClr val="5ACBF0"/>
          </p15:clr>
        </p15:guide>
        <p15:guide id="9" orient="horz" pos="799">
          <p15:clr>
            <a:srgbClr val="5ACBF0"/>
          </p15:clr>
        </p15:guide>
        <p15:guide id="10" orient="horz" pos="1026">
          <p15:clr>
            <a:srgbClr val="5ACBF0"/>
          </p15:clr>
        </p15:guide>
        <p15:guide id="11" orient="horz" pos="3634">
          <p15:clr>
            <a:srgbClr val="5ACBF0"/>
          </p15:clr>
        </p15:guide>
        <p15:guide id="12" orient="horz" pos="3929">
          <p15:clr>
            <a:srgbClr val="5ACBF0"/>
          </p15:clr>
        </p15:guide>
        <p15:guide id="13" orient="horz" pos="4133">
          <p15:clr>
            <a:srgbClr val="5ACBF0"/>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5" name="Oggetto 4" hidden="1">
            <a:extLst>
              <a:ext uri="{FF2B5EF4-FFF2-40B4-BE49-F238E27FC236}">
                <a16:creationId xmlns:a16="http://schemas.microsoft.com/office/drawing/2014/main" id="{46B8B118-3F0A-4D36-A0C9-ADD9E9AE1B0C}"/>
              </a:ext>
            </a:extLst>
          </p:cNvPr>
          <p:cNvGraphicFramePr>
            <a:graphicFrameLocks noChangeAspect="1"/>
          </p:cNvGraphicFramePr>
          <p:nvPr userDrawn="1">
            <p:custDataLst>
              <p:tags r:id="rId31"/>
            </p:custDataLst>
            <p:extLst>
              <p:ext uri="{D42A27DB-BD31-4B8C-83A1-F6EECF244321}">
                <p14:modId xmlns:p14="http://schemas.microsoft.com/office/powerpoint/2010/main" val="13684380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0454" name="Diapositiva think-cell" r:id="rId33" imgW="395" imgH="396" progId="TCLayout.ActiveDocument.1">
                  <p:embed/>
                </p:oleObj>
              </mc:Choice>
              <mc:Fallback>
                <p:oleObj name="Diapositiva think-cell" r:id="rId33" imgW="395" imgH="396" progId="TCLayout.ActiveDocument.1">
                  <p:embed/>
                  <p:pic>
                    <p:nvPicPr>
                      <p:cNvPr id="5" name="Oggetto 4" hidden="1">
                        <a:extLst>
                          <a:ext uri="{FF2B5EF4-FFF2-40B4-BE49-F238E27FC236}">
                            <a16:creationId xmlns:a16="http://schemas.microsoft.com/office/drawing/2014/main" id="{46B8B118-3F0A-4D36-A0C9-ADD9E9AE1B0C}"/>
                          </a:ext>
                        </a:extLst>
                      </p:cNvPr>
                      <p:cNvPicPr/>
                      <p:nvPr/>
                    </p:nvPicPr>
                    <p:blipFill>
                      <a:blip r:embed="rId34"/>
                      <a:stretch>
                        <a:fillRect/>
                      </a:stretch>
                    </p:blipFill>
                    <p:spPr>
                      <a:xfrm>
                        <a:off x="1588" y="1588"/>
                        <a:ext cx="1588" cy="1588"/>
                      </a:xfrm>
                      <a:prstGeom prst="rect">
                        <a:avLst/>
                      </a:prstGeom>
                    </p:spPr>
                  </p:pic>
                </p:oleObj>
              </mc:Fallback>
            </mc:AlternateContent>
          </a:graphicData>
        </a:graphic>
      </p:graphicFrame>
      <p:sp>
        <p:nvSpPr>
          <p:cNvPr id="4" name="Rettangolo 3" hidden="1">
            <a:extLst>
              <a:ext uri="{FF2B5EF4-FFF2-40B4-BE49-F238E27FC236}">
                <a16:creationId xmlns:a16="http://schemas.microsoft.com/office/drawing/2014/main" id="{1D85021D-95EC-47DA-A015-36E53DD8035A}"/>
              </a:ext>
            </a:extLst>
          </p:cNvPr>
          <p:cNvSpPr/>
          <p:nvPr userDrawn="1">
            <p:custDataLst>
              <p:tags r:id="rId3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lnSpc>
                <a:spcPct val="125000"/>
              </a:lnSpc>
            </a:pPr>
            <a:endParaRPr lang="en-US" sz="3600" b="0" i="0" baseline="0">
              <a:latin typeface="Lato Light" panose="020F0502020204030203" pitchFamily="34" charset="0"/>
              <a:ea typeface="+mj-ea"/>
              <a:cs typeface="+mj-cs"/>
              <a:sym typeface="Lato Light" panose="020F0502020204030203" pitchFamily="34" charset="0"/>
            </a:endParaRPr>
          </a:p>
        </p:txBody>
      </p:sp>
      <p:grpSp>
        <p:nvGrpSpPr>
          <p:cNvPr id="13" name="logo">
            <a:extLst>
              <a:ext uri="{FF2B5EF4-FFF2-40B4-BE49-F238E27FC236}">
                <a16:creationId xmlns:a16="http://schemas.microsoft.com/office/drawing/2014/main" id="{57BD2C4C-DC67-B843-B26C-309622FC75F7}"/>
              </a:ext>
            </a:extLst>
          </p:cNvPr>
          <p:cNvGrpSpPr>
            <a:grpSpLocks noChangeAspect="1"/>
          </p:cNvGrpSpPr>
          <p:nvPr/>
        </p:nvGrpSpPr>
        <p:grpSpPr bwMode="gray">
          <a:xfrm>
            <a:off x="11174018" y="401441"/>
            <a:ext cx="644225" cy="646507"/>
            <a:chOff x="2711" y="1027"/>
            <a:chExt cx="2258" cy="2266"/>
          </a:xfrm>
        </p:grpSpPr>
        <p:sp>
          <p:nvSpPr>
            <p:cNvPr id="14" name="AutoShape 3">
              <a:extLst>
                <a:ext uri="{FF2B5EF4-FFF2-40B4-BE49-F238E27FC236}">
                  <a16:creationId xmlns:a16="http://schemas.microsoft.com/office/drawing/2014/main" id="{FE1DC41B-291E-574C-9F2C-874E70A40758}"/>
                </a:ext>
              </a:extLst>
            </p:cNvPr>
            <p:cNvSpPr>
              <a:spLocks noChangeAspect="1" noChangeArrowheads="1" noTextEdit="1"/>
            </p:cNvSpPr>
            <p:nvPr/>
          </p:nvSpPr>
          <p:spPr bwMode="gray">
            <a:xfrm>
              <a:off x="2711" y="1027"/>
              <a:ext cx="2258" cy="22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15" name="Freeform 5">
              <a:extLst>
                <a:ext uri="{FF2B5EF4-FFF2-40B4-BE49-F238E27FC236}">
                  <a16:creationId xmlns:a16="http://schemas.microsoft.com/office/drawing/2014/main" id="{D4B633C8-F761-C54B-9BD2-EB59D49A2DBC}"/>
                </a:ext>
              </a:extLst>
            </p:cNvPr>
            <p:cNvSpPr>
              <a:spLocks/>
            </p:cNvSpPr>
            <p:nvPr/>
          </p:nvSpPr>
          <p:spPr bwMode="gray">
            <a:xfrm>
              <a:off x="2709" y="1029"/>
              <a:ext cx="2260" cy="2262"/>
            </a:xfrm>
            <a:custGeom>
              <a:avLst/>
              <a:gdLst>
                <a:gd name="T0" fmla="*/ 2260 w 2260"/>
                <a:gd name="T1" fmla="*/ 0 h 2262"/>
                <a:gd name="T2" fmla="*/ 1612 w 2260"/>
                <a:gd name="T3" fmla="*/ 649 h 2262"/>
                <a:gd name="T4" fmla="*/ 1612 w 2260"/>
                <a:gd name="T5" fmla="*/ 649 h 2262"/>
                <a:gd name="T6" fmla="*/ 2035 w 2260"/>
                <a:gd name="T7" fmla="*/ 0 h 2262"/>
                <a:gd name="T8" fmla="*/ 0 w 2260"/>
                <a:gd name="T9" fmla="*/ 0 h 2262"/>
                <a:gd name="T10" fmla="*/ 0 w 2260"/>
                <a:gd name="T11" fmla="*/ 2262 h 2262"/>
                <a:gd name="T12" fmla="*/ 2260 w 2260"/>
                <a:gd name="T13" fmla="*/ 2262 h 2262"/>
                <a:gd name="T14" fmla="*/ 2260 w 2260"/>
                <a:gd name="T15" fmla="*/ 0 h 2262"/>
                <a:gd name="T16" fmla="*/ 2260 w 2260"/>
                <a:gd name="T17" fmla="*/ 0 h 2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0" h="2262">
                  <a:moveTo>
                    <a:pt x="2260" y="0"/>
                  </a:moveTo>
                  <a:lnTo>
                    <a:pt x="1612" y="649"/>
                  </a:lnTo>
                  <a:lnTo>
                    <a:pt x="1612" y="649"/>
                  </a:lnTo>
                  <a:lnTo>
                    <a:pt x="2035" y="0"/>
                  </a:lnTo>
                  <a:lnTo>
                    <a:pt x="0" y="0"/>
                  </a:lnTo>
                  <a:lnTo>
                    <a:pt x="0" y="2262"/>
                  </a:lnTo>
                  <a:lnTo>
                    <a:pt x="2260" y="2262"/>
                  </a:lnTo>
                  <a:lnTo>
                    <a:pt x="2260" y="0"/>
                  </a:lnTo>
                  <a:lnTo>
                    <a:pt x="2260" y="0"/>
                  </a:lnTo>
                  <a:close/>
                </a:path>
              </a:pathLst>
            </a:custGeom>
            <a:solidFill>
              <a:srgbClr val="E55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16" name="Freeform 6">
              <a:extLst>
                <a:ext uri="{FF2B5EF4-FFF2-40B4-BE49-F238E27FC236}">
                  <a16:creationId xmlns:a16="http://schemas.microsoft.com/office/drawing/2014/main" id="{B16BAAE4-1A41-C843-9754-490F7A1E1270}"/>
                </a:ext>
              </a:extLst>
            </p:cNvPr>
            <p:cNvSpPr>
              <a:spLocks noEditPoints="1"/>
            </p:cNvSpPr>
            <p:nvPr/>
          </p:nvSpPr>
          <p:spPr bwMode="gray">
            <a:xfrm>
              <a:off x="3623" y="1696"/>
              <a:ext cx="1167" cy="922"/>
            </a:xfrm>
            <a:custGeom>
              <a:avLst/>
              <a:gdLst>
                <a:gd name="T0" fmla="*/ 411 w 580"/>
                <a:gd name="T1" fmla="*/ 213 h 458"/>
                <a:gd name="T2" fmla="*/ 570 w 580"/>
                <a:gd name="T3" fmla="*/ 37 h 458"/>
                <a:gd name="T4" fmla="*/ 580 w 580"/>
                <a:gd name="T5" fmla="*/ 20 h 458"/>
                <a:gd name="T6" fmla="*/ 545 w 580"/>
                <a:gd name="T7" fmla="*/ 0 h 458"/>
                <a:gd name="T8" fmla="*/ 519 w 580"/>
                <a:gd name="T9" fmla="*/ 16 h 458"/>
                <a:gd name="T10" fmla="*/ 344 w 580"/>
                <a:gd name="T11" fmla="*/ 210 h 458"/>
                <a:gd name="T12" fmla="*/ 334 w 580"/>
                <a:gd name="T13" fmla="*/ 229 h 458"/>
                <a:gd name="T14" fmla="*/ 344 w 580"/>
                <a:gd name="T15" fmla="*/ 248 h 458"/>
                <a:gd name="T16" fmla="*/ 519 w 580"/>
                <a:gd name="T17" fmla="*/ 442 h 458"/>
                <a:gd name="T18" fmla="*/ 545 w 580"/>
                <a:gd name="T19" fmla="*/ 458 h 458"/>
                <a:gd name="T20" fmla="*/ 580 w 580"/>
                <a:gd name="T21" fmla="*/ 438 h 458"/>
                <a:gd name="T22" fmla="*/ 570 w 580"/>
                <a:gd name="T23" fmla="*/ 421 h 458"/>
                <a:gd name="T24" fmla="*/ 411 w 580"/>
                <a:gd name="T25" fmla="*/ 245 h 458"/>
                <a:gd name="T26" fmla="*/ 399 w 580"/>
                <a:gd name="T27" fmla="*/ 229 h 458"/>
                <a:gd name="T28" fmla="*/ 411 w 580"/>
                <a:gd name="T29" fmla="*/ 213 h 458"/>
                <a:gd name="T30" fmla="*/ 252 w 580"/>
                <a:gd name="T31" fmla="*/ 439 h 458"/>
                <a:gd name="T32" fmla="*/ 281 w 580"/>
                <a:gd name="T33" fmla="*/ 454 h 458"/>
                <a:gd name="T34" fmla="*/ 309 w 580"/>
                <a:gd name="T35" fmla="*/ 439 h 458"/>
                <a:gd name="T36" fmla="*/ 309 w 580"/>
                <a:gd name="T37" fmla="*/ 19 h 458"/>
                <a:gd name="T38" fmla="*/ 281 w 580"/>
                <a:gd name="T39" fmla="*/ 4 h 458"/>
                <a:gd name="T40" fmla="*/ 252 w 580"/>
                <a:gd name="T41" fmla="*/ 19 h 458"/>
                <a:gd name="T42" fmla="*/ 252 w 580"/>
                <a:gd name="T43" fmla="*/ 439 h 458"/>
                <a:gd name="T44" fmla="*/ 0 w 580"/>
                <a:gd name="T45" fmla="*/ 439 h 458"/>
                <a:gd name="T46" fmla="*/ 28 w 580"/>
                <a:gd name="T47" fmla="*/ 454 h 458"/>
                <a:gd name="T48" fmla="*/ 56 w 580"/>
                <a:gd name="T49" fmla="*/ 439 h 458"/>
                <a:gd name="T50" fmla="*/ 56 w 580"/>
                <a:gd name="T51" fmla="*/ 157 h 458"/>
                <a:gd name="T52" fmla="*/ 165 w 580"/>
                <a:gd name="T53" fmla="*/ 53 h 458"/>
                <a:gd name="T54" fmla="*/ 180 w 580"/>
                <a:gd name="T55" fmla="*/ 53 h 458"/>
                <a:gd name="T56" fmla="*/ 196 w 580"/>
                <a:gd name="T57" fmla="*/ 27 h 458"/>
                <a:gd name="T58" fmla="*/ 154 w 580"/>
                <a:gd name="T59" fmla="*/ 4 h 458"/>
                <a:gd name="T60" fmla="*/ 0 w 580"/>
                <a:gd name="T61" fmla="*/ 152 h 458"/>
                <a:gd name="T62" fmla="*/ 0 w 580"/>
                <a:gd name="T63" fmla="*/ 439 h 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80" h="458">
                  <a:moveTo>
                    <a:pt x="411" y="213"/>
                  </a:moveTo>
                  <a:cubicBezTo>
                    <a:pt x="570" y="37"/>
                    <a:pt x="570" y="37"/>
                    <a:pt x="570" y="37"/>
                  </a:cubicBezTo>
                  <a:cubicBezTo>
                    <a:pt x="576" y="30"/>
                    <a:pt x="580" y="25"/>
                    <a:pt x="580" y="20"/>
                  </a:cubicBezTo>
                  <a:cubicBezTo>
                    <a:pt x="580" y="10"/>
                    <a:pt x="559" y="0"/>
                    <a:pt x="545" y="0"/>
                  </a:cubicBezTo>
                  <a:cubicBezTo>
                    <a:pt x="535" y="0"/>
                    <a:pt x="526" y="8"/>
                    <a:pt x="519" y="16"/>
                  </a:cubicBezTo>
                  <a:cubicBezTo>
                    <a:pt x="344" y="210"/>
                    <a:pt x="344" y="210"/>
                    <a:pt x="344" y="210"/>
                  </a:cubicBezTo>
                  <a:cubicBezTo>
                    <a:pt x="336" y="219"/>
                    <a:pt x="334" y="224"/>
                    <a:pt x="334" y="229"/>
                  </a:cubicBezTo>
                  <a:cubicBezTo>
                    <a:pt x="334" y="234"/>
                    <a:pt x="336" y="239"/>
                    <a:pt x="344" y="248"/>
                  </a:cubicBezTo>
                  <a:cubicBezTo>
                    <a:pt x="519" y="442"/>
                    <a:pt x="519" y="442"/>
                    <a:pt x="519" y="442"/>
                  </a:cubicBezTo>
                  <a:cubicBezTo>
                    <a:pt x="526" y="450"/>
                    <a:pt x="535" y="458"/>
                    <a:pt x="545" y="458"/>
                  </a:cubicBezTo>
                  <a:cubicBezTo>
                    <a:pt x="559" y="458"/>
                    <a:pt x="580" y="448"/>
                    <a:pt x="580" y="438"/>
                  </a:cubicBezTo>
                  <a:cubicBezTo>
                    <a:pt x="580" y="433"/>
                    <a:pt x="576" y="428"/>
                    <a:pt x="570" y="421"/>
                  </a:cubicBezTo>
                  <a:cubicBezTo>
                    <a:pt x="411" y="245"/>
                    <a:pt x="411" y="245"/>
                    <a:pt x="411" y="245"/>
                  </a:cubicBezTo>
                  <a:cubicBezTo>
                    <a:pt x="403" y="236"/>
                    <a:pt x="399" y="232"/>
                    <a:pt x="399" y="229"/>
                  </a:cubicBezTo>
                  <a:cubicBezTo>
                    <a:pt x="399" y="226"/>
                    <a:pt x="403" y="222"/>
                    <a:pt x="411" y="213"/>
                  </a:cubicBezTo>
                  <a:moveTo>
                    <a:pt x="252" y="439"/>
                  </a:moveTo>
                  <a:cubicBezTo>
                    <a:pt x="252" y="449"/>
                    <a:pt x="261" y="454"/>
                    <a:pt x="281" y="454"/>
                  </a:cubicBezTo>
                  <a:cubicBezTo>
                    <a:pt x="300" y="454"/>
                    <a:pt x="309" y="449"/>
                    <a:pt x="309" y="439"/>
                  </a:cubicBezTo>
                  <a:cubicBezTo>
                    <a:pt x="309" y="19"/>
                    <a:pt x="309" y="19"/>
                    <a:pt x="309" y="19"/>
                  </a:cubicBezTo>
                  <a:cubicBezTo>
                    <a:pt x="309" y="9"/>
                    <a:pt x="300" y="4"/>
                    <a:pt x="281" y="4"/>
                  </a:cubicBezTo>
                  <a:cubicBezTo>
                    <a:pt x="261" y="4"/>
                    <a:pt x="252" y="9"/>
                    <a:pt x="252" y="19"/>
                  </a:cubicBezTo>
                  <a:lnTo>
                    <a:pt x="252" y="439"/>
                  </a:lnTo>
                  <a:close/>
                  <a:moveTo>
                    <a:pt x="0" y="439"/>
                  </a:moveTo>
                  <a:cubicBezTo>
                    <a:pt x="0" y="449"/>
                    <a:pt x="8" y="454"/>
                    <a:pt x="28" y="454"/>
                  </a:cubicBezTo>
                  <a:cubicBezTo>
                    <a:pt x="48" y="454"/>
                    <a:pt x="56" y="449"/>
                    <a:pt x="56" y="439"/>
                  </a:cubicBezTo>
                  <a:cubicBezTo>
                    <a:pt x="56" y="157"/>
                    <a:pt x="56" y="157"/>
                    <a:pt x="56" y="157"/>
                  </a:cubicBezTo>
                  <a:cubicBezTo>
                    <a:pt x="56" y="83"/>
                    <a:pt x="85" y="53"/>
                    <a:pt x="165" y="53"/>
                  </a:cubicBezTo>
                  <a:cubicBezTo>
                    <a:pt x="180" y="53"/>
                    <a:pt x="180" y="53"/>
                    <a:pt x="180" y="53"/>
                  </a:cubicBezTo>
                  <a:cubicBezTo>
                    <a:pt x="192" y="53"/>
                    <a:pt x="196" y="43"/>
                    <a:pt x="196" y="27"/>
                  </a:cubicBezTo>
                  <a:cubicBezTo>
                    <a:pt x="196" y="8"/>
                    <a:pt x="185" y="4"/>
                    <a:pt x="154" y="4"/>
                  </a:cubicBezTo>
                  <a:cubicBezTo>
                    <a:pt x="64" y="4"/>
                    <a:pt x="0" y="43"/>
                    <a:pt x="0" y="152"/>
                  </a:cubicBezTo>
                  <a:lnTo>
                    <a:pt x="0" y="43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17" name="Freeform 7">
              <a:extLst>
                <a:ext uri="{FF2B5EF4-FFF2-40B4-BE49-F238E27FC236}">
                  <a16:creationId xmlns:a16="http://schemas.microsoft.com/office/drawing/2014/main" id="{2F32DCBD-8628-F245-85CD-97686A20ECFD}"/>
                </a:ext>
              </a:extLst>
            </p:cNvPr>
            <p:cNvSpPr>
              <a:spLocks/>
            </p:cNvSpPr>
            <p:nvPr/>
          </p:nvSpPr>
          <p:spPr bwMode="gray">
            <a:xfrm>
              <a:off x="2880" y="1704"/>
              <a:ext cx="618" cy="916"/>
            </a:xfrm>
            <a:custGeom>
              <a:avLst/>
              <a:gdLst>
                <a:gd name="T0" fmla="*/ 307 w 307"/>
                <a:gd name="T1" fmla="*/ 405 h 455"/>
                <a:gd name="T2" fmla="*/ 307 w 307"/>
                <a:gd name="T3" fmla="*/ 244 h 455"/>
                <a:gd name="T4" fmla="*/ 279 w 307"/>
                <a:gd name="T5" fmla="*/ 229 h 455"/>
                <a:gd name="T6" fmla="*/ 250 w 307"/>
                <a:gd name="T7" fmla="*/ 244 h 455"/>
                <a:gd name="T8" fmla="*/ 250 w 307"/>
                <a:gd name="T9" fmla="*/ 378 h 455"/>
                <a:gd name="T10" fmla="*/ 199 w 307"/>
                <a:gd name="T11" fmla="*/ 408 h 455"/>
                <a:gd name="T12" fmla="*/ 61 w 307"/>
                <a:gd name="T13" fmla="*/ 231 h 455"/>
                <a:gd name="T14" fmla="*/ 238 w 307"/>
                <a:gd name="T15" fmla="*/ 49 h 455"/>
                <a:gd name="T16" fmla="*/ 270 w 307"/>
                <a:gd name="T17" fmla="*/ 49 h 455"/>
                <a:gd name="T18" fmla="*/ 286 w 307"/>
                <a:gd name="T19" fmla="*/ 23 h 455"/>
                <a:gd name="T20" fmla="*/ 244 w 307"/>
                <a:gd name="T21" fmla="*/ 0 h 455"/>
                <a:gd name="T22" fmla="*/ 231 w 307"/>
                <a:gd name="T23" fmla="*/ 0 h 455"/>
                <a:gd name="T24" fmla="*/ 0 w 307"/>
                <a:gd name="T25" fmla="*/ 232 h 455"/>
                <a:gd name="T26" fmla="*/ 198 w 307"/>
                <a:gd name="T27" fmla="*/ 455 h 455"/>
                <a:gd name="T28" fmla="*/ 307 w 307"/>
                <a:gd name="T29" fmla="*/ 405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7" h="455">
                  <a:moveTo>
                    <a:pt x="307" y="405"/>
                  </a:moveTo>
                  <a:cubicBezTo>
                    <a:pt x="307" y="244"/>
                    <a:pt x="307" y="244"/>
                    <a:pt x="307" y="244"/>
                  </a:cubicBezTo>
                  <a:cubicBezTo>
                    <a:pt x="307" y="234"/>
                    <a:pt x="298" y="229"/>
                    <a:pt x="279" y="229"/>
                  </a:cubicBezTo>
                  <a:cubicBezTo>
                    <a:pt x="259" y="229"/>
                    <a:pt x="250" y="234"/>
                    <a:pt x="250" y="244"/>
                  </a:cubicBezTo>
                  <a:cubicBezTo>
                    <a:pt x="250" y="378"/>
                    <a:pt x="250" y="378"/>
                    <a:pt x="250" y="378"/>
                  </a:cubicBezTo>
                  <a:cubicBezTo>
                    <a:pt x="250" y="399"/>
                    <a:pt x="241" y="408"/>
                    <a:pt x="199" y="408"/>
                  </a:cubicBezTo>
                  <a:cubicBezTo>
                    <a:pt x="114" y="408"/>
                    <a:pt x="61" y="342"/>
                    <a:pt x="61" y="231"/>
                  </a:cubicBezTo>
                  <a:cubicBezTo>
                    <a:pt x="61" y="115"/>
                    <a:pt x="126" y="49"/>
                    <a:pt x="238" y="49"/>
                  </a:cubicBezTo>
                  <a:cubicBezTo>
                    <a:pt x="270" y="49"/>
                    <a:pt x="270" y="49"/>
                    <a:pt x="270" y="49"/>
                  </a:cubicBezTo>
                  <a:cubicBezTo>
                    <a:pt x="282" y="49"/>
                    <a:pt x="286" y="39"/>
                    <a:pt x="286" y="23"/>
                  </a:cubicBezTo>
                  <a:cubicBezTo>
                    <a:pt x="286" y="4"/>
                    <a:pt x="275" y="0"/>
                    <a:pt x="244" y="0"/>
                  </a:cubicBezTo>
                  <a:cubicBezTo>
                    <a:pt x="231" y="0"/>
                    <a:pt x="231" y="0"/>
                    <a:pt x="231" y="0"/>
                  </a:cubicBezTo>
                  <a:cubicBezTo>
                    <a:pt x="101" y="0"/>
                    <a:pt x="0" y="71"/>
                    <a:pt x="0" y="232"/>
                  </a:cubicBezTo>
                  <a:cubicBezTo>
                    <a:pt x="0" y="386"/>
                    <a:pt x="88" y="455"/>
                    <a:pt x="198" y="455"/>
                  </a:cubicBezTo>
                  <a:cubicBezTo>
                    <a:pt x="286" y="455"/>
                    <a:pt x="307" y="430"/>
                    <a:pt x="307" y="40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18" name="Oval 8">
              <a:extLst>
                <a:ext uri="{FF2B5EF4-FFF2-40B4-BE49-F238E27FC236}">
                  <a16:creationId xmlns:a16="http://schemas.microsoft.com/office/drawing/2014/main" id="{60D97C11-1A3B-5449-A48D-98A3E79B3810}"/>
                </a:ext>
              </a:extLst>
            </p:cNvPr>
            <p:cNvSpPr>
              <a:spLocks noChangeArrowheads="1"/>
            </p:cNvSpPr>
            <p:nvPr/>
          </p:nvSpPr>
          <p:spPr bwMode="gray">
            <a:xfrm>
              <a:off x="3778" y="2099"/>
              <a:ext cx="122" cy="12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19" name="Freeform 9">
              <a:extLst>
                <a:ext uri="{FF2B5EF4-FFF2-40B4-BE49-F238E27FC236}">
                  <a16:creationId xmlns:a16="http://schemas.microsoft.com/office/drawing/2014/main" id="{5856770D-B8F0-244E-A05D-AED190086F10}"/>
                </a:ext>
              </a:extLst>
            </p:cNvPr>
            <p:cNvSpPr>
              <a:spLocks noEditPoints="1"/>
            </p:cNvSpPr>
            <p:nvPr/>
          </p:nvSpPr>
          <p:spPr bwMode="gray">
            <a:xfrm>
              <a:off x="3623" y="1696"/>
              <a:ext cx="1167" cy="922"/>
            </a:xfrm>
            <a:custGeom>
              <a:avLst/>
              <a:gdLst>
                <a:gd name="T0" fmla="*/ 411 w 580"/>
                <a:gd name="T1" fmla="*/ 213 h 458"/>
                <a:gd name="T2" fmla="*/ 570 w 580"/>
                <a:gd name="T3" fmla="*/ 37 h 458"/>
                <a:gd name="T4" fmla="*/ 580 w 580"/>
                <a:gd name="T5" fmla="*/ 20 h 458"/>
                <a:gd name="T6" fmla="*/ 545 w 580"/>
                <a:gd name="T7" fmla="*/ 0 h 458"/>
                <a:gd name="T8" fmla="*/ 519 w 580"/>
                <a:gd name="T9" fmla="*/ 16 h 458"/>
                <a:gd name="T10" fmla="*/ 344 w 580"/>
                <a:gd name="T11" fmla="*/ 210 h 458"/>
                <a:gd name="T12" fmla="*/ 334 w 580"/>
                <a:gd name="T13" fmla="*/ 229 h 458"/>
                <a:gd name="T14" fmla="*/ 344 w 580"/>
                <a:gd name="T15" fmla="*/ 248 h 458"/>
                <a:gd name="T16" fmla="*/ 519 w 580"/>
                <a:gd name="T17" fmla="*/ 442 h 458"/>
                <a:gd name="T18" fmla="*/ 545 w 580"/>
                <a:gd name="T19" fmla="*/ 458 h 458"/>
                <a:gd name="T20" fmla="*/ 580 w 580"/>
                <a:gd name="T21" fmla="*/ 438 h 458"/>
                <a:gd name="T22" fmla="*/ 570 w 580"/>
                <a:gd name="T23" fmla="*/ 421 h 458"/>
                <a:gd name="T24" fmla="*/ 411 w 580"/>
                <a:gd name="T25" fmla="*/ 245 h 458"/>
                <a:gd name="T26" fmla="*/ 399 w 580"/>
                <a:gd name="T27" fmla="*/ 229 h 458"/>
                <a:gd name="T28" fmla="*/ 411 w 580"/>
                <a:gd name="T29" fmla="*/ 213 h 458"/>
                <a:gd name="T30" fmla="*/ 252 w 580"/>
                <a:gd name="T31" fmla="*/ 439 h 458"/>
                <a:gd name="T32" fmla="*/ 281 w 580"/>
                <a:gd name="T33" fmla="*/ 454 h 458"/>
                <a:gd name="T34" fmla="*/ 309 w 580"/>
                <a:gd name="T35" fmla="*/ 439 h 458"/>
                <a:gd name="T36" fmla="*/ 309 w 580"/>
                <a:gd name="T37" fmla="*/ 19 h 458"/>
                <a:gd name="T38" fmla="*/ 281 w 580"/>
                <a:gd name="T39" fmla="*/ 4 h 458"/>
                <a:gd name="T40" fmla="*/ 252 w 580"/>
                <a:gd name="T41" fmla="*/ 19 h 458"/>
                <a:gd name="T42" fmla="*/ 252 w 580"/>
                <a:gd name="T43" fmla="*/ 439 h 458"/>
                <a:gd name="T44" fmla="*/ 0 w 580"/>
                <a:gd name="T45" fmla="*/ 439 h 458"/>
                <a:gd name="T46" fmla="*/ 28 w 580"/>
                <a:gd name="T47" fmla="*/ 454 h 458"/>
                <a:gd name="T48" fmla="*/ 56 w 580"/>
                <a:gd name="T49" fmla="*/ 439 h 458"/>
                <a:gd name="T50" fmla="*/ 56 w 580"/>
                <a:gd name="T51" fmla="*/ 157 h 458"/>
                <a:gd name="T52" fmla="*/ 165 w 580"/>
                <a:gd name="T53" fmla="*/ 53 h 458"/>
                <a:gd name="T54" fmla="*/ 180 w 580"/>
                <a:gd name="T55" fmla="*/ 53 h 458"/>
                <a:gd name="T56" fmla="*/ 196 w 580"/>
                <a:gd name="T57" fmla="*/ 27 h 458"/>
                <a:gd name="T58" fmla="*/ 154 w 580"/>
                <a:gd name="T59" fmla="*/ 4 h 458"/>
                <a:gd name="T60" fmla="*/ 0 w 580"/>
                <a:gd name="T61" fmla="*/ 152 h 458"/>
                <a:gd name="T62" fmla="*/ 0 w 580"/>
                <a:gd name="T63" fmla="*/ 439 h 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80" h="458">
                  <a:moveTo>
                    <a:pt x="411" y="213"/>
                  </a:moveTo>
                  <a:cubicBezTo>
                    <a:pt x="570" y="37"/>
                    <a:pt x="570" y="37"/>
                    <a:pt x="570" y="37"/>
                  </a:cubicBezTo>
                  <a:cubicBezTo>
                    <a:pt x="576" y="30"/>
                    <a:pt x="580" y="25"/>
                    <a:pt x="580" y="20"/>
                  </a:cubicBezTo>
                  <a:cubicBezTo>
                    <a:pt x="580" y="10"/>
                    <a:pt x="559" y="0"/>
                    <a:pt x="545" y="0"/>
                  </a:cubicBezTo>
                  <a:cubicBezTo>
                    <a:pt x="535" y="0"/>
                    <a:pt x="526" y="8"/>
                    <a:pt x="519" y="16"/>
                  </a:cubicBezTo>
                  <a:cubicBezTo>
                    <a:pt x="344" y="210"/>
                    <a:pt x="344" y="210"/>
                    <a:pt x="344" y="210"/>
                  </a:cubicBezTo>
                  <a:cubicBezTo>
                    <a:pt x="336" y="219"/>
                    <a:pt x="334" y="224"/>
                    <a:pt x="334" y="229"/>
                  </a:cubicBezTo>
                  <a:cubicBezTo>
                    <a:pt x="334" y="234"/>
                    <a:pt x="336" y="239"/>
                    <a:pt x="344" y="248"/>
                  </a:cubicBezTo>
                  <a:cubicBezTo>
                    <a:pt x="519" y="442"/>
                    <a:pt x="519" y="442"/>
                    <a:pt x="519" y="442"/>
                  </a:cubicBezTo>
                  <a:cubicBezTo>
                    <a:pt x="526" y="450"/>
                    <a:pt x="535" y="458"/>
                    <a:pt x="545" y="458"/>
                  </a:cubicBezTo>
                  <a:cubicBezTo>
                    <a:pt x="559" y="458"/>
                    <a:pt x="580" y="448"/>
                    <a:pt x="580" y="438"/>
                  </a:cubicBezTo>
                  <a:cubicBezTo>
                    <a:pt x="580" y="433"/>
                    <a:pt x="576" y="428"/>
                    <a:pt x="570" y="421"/>
                  </a:cubicBezTo>
                  <a:cubicBezTo>
                    <a:pt x="411" y="245"/>
                    <a:pt x="411" y="245"/>
                    <a:pt x="411" y="245"/>
                  </a:cubicBezTo>
                  <a:cubicBezTo>
                    <a:pt x="403" y="236"/>
                    <a:pt x="399" y="232"/>
                    <a:pt x="399" y="229"/>
                  </a:cubicBezTo>
                  <a:cubicBezTo>
                    <a:pt x="399" y="226"/>
                    <a:pt x="403" y="222"/>
                    <a:pt x="411" y="213"/>
                  </a:cubicBezTo>
                  <a:moveTo>
                    <a:pt x="252" y="439"/>
                  </a:moveTo>
                  <a:cubicBezTo>
                    <a:pt x="252" y="449"/>
                    <a:pt x="261" y="454"/>
                    <a:pt x="281" y="454"/>
                  </a:cubicBezTo>
                  <a:cubicBezTo>
                    <a:pt x="300" y="454"/>
                    <a:pt x="309" y="449"/>
                    <a:pt x="309" y="439"/>
                  </a:cubicBezTo>
                  <a:cubicBezTo>
                    <a:pt x="309" y="19"/>
                    <a:pt x="309" y="19"/>
                    <a:pt x="309" y="19"/>
                  </a:cubicBezTo>
                  <a:cubicBezTo>
                    <a:pt x="309" y="9"/>
                    <a:pt x="300" y="4"/>
                    <a:pt x="281" y="4"/>
                  </a:cubicBezTo>
                  <a:cubicBezTo>
                    <a:pt x="261" y="4"/>
                    <a:pt x="252" y="9"/>
                    <a:pt x="252" y="19"/>
                  </a:cubicBezTo>
                  <a:lnTo>
                    <a:pt x="252" y="439"/>
                  </a:lnTo>
                  <a:close/>
                  <a:moveTo>
                    <a:pt x="0" y="439"/>
                  </a:moveTo>
                  <a:cubicBezTo>
                    <a:pt x="0" y="449"/>
                    <a:pt x="8" y="454"/>
                    <a:pt x="28" y="454"/>
                  </a:cubicBezTo>
                  <a:cubicBezTo>
                    <a:pt x="48" y="454"/>
                    <a:pt x="56" y="449"/>
                    <a:pt x="56" y="439"/>
                  </a:cubicBezTo>
                  <a:cubicBezTo>
                    <a:pt x="56" y="157"/>
                    <a:pt x="56" y="157"/>
                    <a:pt x="56" y="157"/>
                  </a:cubicBezTo>
                  <a:cubicBezTo>
                    <a:pt x="56" y="83"/>
                    <a:pt x="85" y="53"/>
                    <a:pt x="165" y="53"/>
                  </a:cubicBezTo>
                  <a:cubicBezTo>
                    <a:pt x="180" y="53"/>
                    <a:pt x="180" y="53"/>
                    <a:pt x="180" y="53"/>
                  </a:cubicBezTo>
                  <a:cubicBezTo>
                    <a:pt x="192" y="53"/>
                    <a:pt x="196" y="43"/>
                    <a:pt x="196" y="27"/>
                  </a:cubicBezTo>
                  <a:cubicBezTo>
                    <a:pt x="196" y="8"/>
                    <a:pt x="185" y="4"/>
                    <a:pt x="154" y="4"/>
                  </a:cubicBezTo>
                  <a:cubicBezTo>
                    <a:pt x="64" y="4"/>
                    <a:pt x="0" y="43"/>
                    <a:pt x="0" y="152"/>
                  </a:cubicBezTo>
                  <a:lnTo>
                    <a:pt x="0" y="43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22" name="Freeform 10">
              <a:extLst>
                <a:ext uri="{FF2B5EF4-FFF2-40B4-BE49-F238E27FC236}">
                  <a16:creationId xmlns:a16="http://schemas.microsoft.com/office/drawing/2014/main" id="{2B91B16B-BC11-E547-8FAC-B9B8D18EA449}"/>
                </a:ext>
              </a:extLst>
            </p:cNvPr>
            <p:cNvSpPr>
              <a:spLocks/>
            </p:cNvSpPr>
            <p:nvPr/>
          </p:nvSpPr>
          <p:spPr bwMode="gray">
            <a:xfrm>
              <a:off x="2880" y="1704"/>
              <a:ext cx="618" cy="916"/>
            </a:xfrm>
            <a:custGeom>
              <a:avLst/>
              <a:gdLst>
                <a:gd name="T0" fmla="*/ 307 w 307"/>
                <a:gd name="T1" fmla="*/ 405 h 455"/>
                <a:gd name="T2" fmla="*/ 307 w 307"/>
                <a:gd name="T3" fmla="*/ 244 h 455"/>
                <a:gd name="T4" fmla="*/ 279 w 307"/>
                <a:gd name="T5" fmla="*/ 229 h 455"/>
                <a:gd name="T6" fmla="*/ 250 w 307"/>
                <a:gd name="T7" fmla="*/ 244 h 455"/>
                <a:gd name="T8" fmla="*/ 250 w 307"/>
                <a:gd name="T9" fmla="*/ 378 h 455"/>
                <a:gd name="T10" fmla="*/ 199 w 307"/>
                <a:gd name="T11" fmla="*/ 408 h 455"/>
                <a:gd name="T12" fmla="*/ 61 w 307"/>
                <a:gd name="T13" fmla="*/ 231 h 455"/>
                <a:gd name="T14" fmla="*/ 238 w 307"/>
                <a:gd name="T15" fmla="*/ 49 h 455"/>
                <a:gd name="T16" fmla="*/ 270 w 307"/>
                <a:gd name="T17" fmla="*/ 49 h 455"/>
                <a:gd name="T18" fmla="*/ 286 w 307"/>
                <a:gd name="T19" fmla="*/ 23 h 455"/>
                <a:gd name="T20" fmla="*/ 244 w 307"/>
                <a:gd name="T21" fmla="*/ 0 h 455"/>
                <a:gd name="T22" fmla="*/ 231 w 307"/>
                <a:gd name="T23" fmla="*/ 0 h 455"/>
                <a:gd name="T24" fmla="*/ 0 w 307"/>
                <a:gd name="T25" fmla="*/ 232 h 455"/>
                <a:gd name="T26" fmla="*/ 198 w 307"/>
                <a:gd name="T27" fmla="*/ 455 h 455"/>
                <a:gd name="T28" fmla="*/ 307 w 307"/>
                <a:gd name="T29" fmla="*/ 405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7" h="455">
                  <a:moveTo>
                    <a:pt x="307" y="405"/>
                  </a:moveTo>
                  <a:cubicBezTo>
                    <a:pt x="307" y="244"/>
                    <a:pt x="307" y="244"/>
                    <a:pt x="307" y="244"/>
                  </a:cubicBezTo>
                  <a:cubicBezTo>
                    <a:pt x="307" y="234"/>
                    <a:pt x="298" y="229"/>
                    <a:pt x="279" y="229"/>
                  </a:cubicBezTo>
                  <a:cubicBezTo>
                    <a:pt x="259" y="229"/>
                    <a:pt x="250" y="234"/>
                    <a:pt x="250" y="244"/>
                  </a:cubicBezTo>
                  <a:cubicBezTo>
                    <a:pt x="250" y="378"/>
                    <a:pt x="250" y="378"/>
                    <a:pt x="250" y="378"/>
                  </a:cubicBezTo>
                  <a:cubicBezTo>
                    <a:pt x="250" y="399"/>
                    <a:pt x="241" y="408"/>
                    <a:pt x="199" y="408"/>
                  </a:cubicBezTo>
                  <a:cubicBezTo>
                    <a:pt x="114" y="408"/>
                    <a:pt x="61" y="342"/>
                    <a:pt x="61" y="231"/>
                  </a:cubicBezTo>
                  <a:cubicBezTo>
                    <a:pt x="61" y="115"/>
                    <a:pt x="126" y="49"/>
                    <a:pt x="238" y="49"/>
                  </a:cubicBezTo>
                  <a:cubicBezTo>
                    <a:pt x="270" y="49"/>
                    <a:pt x="270" y="49"/>
                    <a:pt x="270" y="49"/>
                  </a:cubicBezTo>
                  <a:cubicBezTo>
                    <a:pt x="282" y="49"/>
                    <a:pt x="286" y="39"/>
                    <a:pt x="286" y="23"/>
                  </a:cubicBezTo>
                  <a:cubicBezTo>
                    <a:pt x="286" y="4"/>
                    <a:pt x="275" y="0"/>
                    <a:pt x="244" y="0"/>
                  </a:cubicBezTo>
                  <a:cubicBezTo>
                    <a:pt x="231" y="0"/>
                    <a:pt x="231" y="0"/>
                    <a:pt x="231" y="0"/>
                  </a:cubicBezTo>
                  <a:cubicBezTo>
                    <a:pt x="101" y="0"/>
                    <a:pt x="0" y="71"/>
                    <a:pt x="0" y="232"/>
                  </a:cubicBezTo>
                  <a:cubicBezTo>
                    <a:pt x="0" y="386"/>
                    <a:pt x="88" y="455"/>
                    <a:pt x="198" y="455"/>
                  </a:cubicBezTo>
                  <a:cubicBezTo>
                    <a:pt x="286" y="455"/>
                    <a:pt x="307" y="430"/>
                    <a:pt x="307" y="40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23" name="Oval 11">
              <a:extLst>
                <a:ext uri="{FF2B5EF4-FFF2-40B4-BE49-F238E27FC236}">
                  <a16:creationId xmlns:a16="http://schemas.microsoft.com/office/drawing/2014/main" id="{14F8C3C8-4888-7646-B9B4-64EB46A1DA23}"/>
                </a:ext>
              </a:extLst>
            </p:cNvPr>
            <p:cNvSpPr>
              <a:spLocks noChangeArrowheads="1"/>
            </p:cNvSpPr>
            <p:nvPr/>
          </p:nvSpPr>
          <p:spPr bwMode="gray">
            <a:xfrm>
              <a:off x="3778" y="2099"/>
              <a:ext cx="122" cy="12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24" name="Freeform 12">
              <a:extLst>
                <a:ext uri="{FF2B5EF4-FFF2-40B4-BE49-F238E27FC236}">
                  <a16:creationId xmlns:a16="http://schemas.microsoft.com/office/drawing/2014/main" id="{D79D01D1-4E3E-F34B-97D7-2D387E68746E}"/>
                </a:ext>
              </a:extLst>
            </p:cNvPr>
            <p:cNvSpPr>
              <a:spLocks/>
            </p:cNvSpPr>
            <p:nvPr/>
          </p:nvSpPr>
          <p:spPr bwMode="gray">
            <a:xfrm>
              <a:off x="4321" y="1029"/>
              <a:ext cx="648" cy="649"/>
            </a:xfrm>
            <a:custGeom>
              <a:avLst/>
              <a:gdLst>
                <a:gd name="T0" fmla="*/ 0 w 648"/>
                <a:gd name="T1" fmla="*/ 649 h 649"/>
                <a:gd name="T2" fmla="*/ 2 w 648"/>
                <a:gd name="T3" fmla="*/ 649 h 649"/>
                <a:gd name="T4" fmla="*/ 648 w 648"/>
                <a:gd name="T5" fmla="*/ 0 h 649"/>
                <a:gd name="T6" fmla="*/ 423 w 648"/>
                <a:gd name="T7" fmla="*/ 0 h 649"/>
                <a:gd name="T8" fmla="*/ 0 w 648"/>
                <a:gd name="T9" fmla="*/ 649 h 649"/>
              </a:gdLst>
              <a:ahLst/>
              <a:cxnLst>
                <a:cxn ang="0">
                  <a:pos x="T0" y="T1"/>
                </a:cxn>
                <a:cxn ang="0">
                  <a:pos x="T2" y="T3"/>
                </a:cxn>
                <a:cxn ang="0">
                  <a:pos x="T4" y="T5"/>
                </a:cxn>
                <a:cxn ang="0">
                  <a:pos x="T6" y="T7"/>
                </a:cxn>
                <a:cxn ang="0">
                  <a:pos x="T8" y="T9"/>
                </a:cxn>
              </a:cxnLst>
              <a:rect l="0" t="0" r="r" b="b"/>
              <a:pathLst>
                <a:path w="648" h="649">
                  <a:moveTo>
                    <a:pt x="0" y="649"/>
                  </a:moveTo>
                  <a:lnTo>
                    <a:pt x="2" y="649"/>
                  </a:lnTo>
                  <a:lnTo>
                    <a:pt x="648" y="0"/>
                  </a:lnTo>
                  <a:lnTo>
                    <a:pt x="423" y="0"/>
                  </a:lnTo>
                  <a:lnTo>
                    <a:pt x="0" y="64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sp>
          <p:nvSpPr>
            <p:cNvPr id="26" name="Freeform 13">
              <a:extLst>
                <a:ext uri="{FF2B5EF4-FFF2-40B4-BE49-F238E27FC236}">
                  <a16:creationId xmlns:a16="http://schemas.microsoft.com/office/drawing/2014/main" id="{46549898-6C52-B147-A8F6-A73FDBE6163B}"/>
                </a:ext>
              </a:extLst>
            </p:cNvPr>
            <p:cNvSpPr>
              <a:spLocks/>
            </p:cNvSpPr>
            <p:nvPr/>
          </p:nvSpPr>
          <p:spPr bwMode="gray">
            <a:xfrm>
              <a:off x="4321" y="1029"/>
              <a:ext cx="648" cy="649"/>
            </a:xfrm>
            <a:custGeom>
              <a:avLst/>
              <a:gdLst>
                <a:gd name="T0" fmla="*/ 0 w 648"/>
                <a:gd name="T1" fmla="*/ 649 h 649"/>
                <a:gd name="T2" fmla="*/ 2 w 648"/>
                <a:gd name="T3" fmla="*/ 649 h 649"/>
                <a:gd name="T4" fmla="*/ 648 w 648"/>
                <a:gd name="T5" fmla="*/ 0 h 649"/>
                <a:gd name="T6" fmla="*/ 423 w 648"/>
                <a:gd name="T7" fmla="*/ 0 h 649"/>
                <a:gd name="T8" fmla="*/ 0 w 648"/>
                <a:gd name="T9" fmla="*/ 649 h 649"/>
              </a:gdLst>
              <a:ahLst/>
              <a:cxnLst>
                <a:cxn ang="0">
                  <a:pos x="T0" y="T1"/>
                </a:cxn>
                <a:cxn ang="0">
                  <a:pos x="T2" y="T3"/>
                </a:cxn>
                <a:cxn ang="0">
                  <a:pos x="T4" y="T5"/>
                </a:cxn>
                <a:cxn ang="0">
                  <a:pos x="T6" y="T7"/>
                </a:cxn>
                <a:cxn ang="0">
                  <a:pos x="T8" y="T9"/>
                </a:cxn>
              </a:cxnLst>
              <a:rect l="0" t="0" r="r" b="b"/>
              <a:pathLst>
                <a:path w="648" h="649">
                  <a:moveTo>
                    <a:pt x="0" y="649"/>
                  </a:moveTo>
                  <a:lnTo>
                    <a:pt x="2" y="649"/>
                  </a:lnTo>
                  <a:lnTo>
                    <a:pt x="648" y="0"/>
                  </a:lnTo>
                  <a:lnTo>
                    <a:pt x="423" y="0"/>
                  </a:lnTo>
                  <a:lnTo>
                    <a:pt x="0" y="64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a:p>
          </p:txBody>
        </p:sp>
      </p:grpSp>
      <p:sp>
        <p:nvSpPr>
          <p:cNvPr id="20" name="shp1">
            <a:extLst>
              <a:ext uri="{FF2B5EF4-FFF2-40B4-BE49-F238E27FC236}">
                <a16:creationId xmlns:a16="http://schemas.microsoft.com/office/drawing/2014/main" id="{1AD9883E-0B1C-504A-A979-9C5803172360}"/>
              </a:ext>
            </a:extLst>
          </p:cNvPr>
          <p:cNvSpPr/>
          <p:nvPr/>
        </p:nvSpPr>
        <p:spPr>
          <a:xfrm>
            <a:off x="192088" y="1"/>
            <a:ext cx="215900" cy="144938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de-DE" sz="1351"/>
          </a:p>
        </p:txBody>
      </p:sp>
      <p:sp>
        <p:nvSpPr>
          <p:cNvPr id="7" name="copyright"/>
          <p:cNvSpPr txBox="1"/>
          <p:nvPr/>
        </p:nvSpPr>
        <p:spPr>
          <a:xfrm>
            <a:off x="10672209" y="6461671"/>
            <a:ext cx="500617" cy="133790"/>
          </a:xfrm>
          <a:prstGeom prst="rect">
            <a:avLst/>
          </a:prstGeom>
          <a:noFill/>
        </p:spPr>
        <p:txBody>
          <a:bodyPr wrap="none" lIns="0" tIns="0" rIns="0" bIns="0" rtlCol="0" anchor="b" anchorCtr="0">
            <a:noAutofit/>
          </a:bodyPr>
          <a:lstStyle/>
          <a:p>
            <a:pPr marL="0" indent="0" algn="r">
              <a:lnSpc>
                <a:spcPct val="125000"/>
              </a:lnSpc>
              <a:buClr>
                <a:schemeClr val="tx2"/>
              </a:buClr>
              <a:buFont typeface="Wingdings" panose="05000000000000000000" pitchFamily="2" charset="2"/>
              <a:buNone/>
            </a:pPr>
            <a:r>
              <a:rPr lang="en-US" sz="800"/>
              <a:t>© GfK</a:t>
            </a:r>
          </a:p>
        </p:txBody>
      </p:sp>
      <p:sp>
        <p:nvSpPr>
          <p:cNvPr id="28" name="Date Placeholder 27"/>
          <p:cNvSpPr>
            <a:spLocks noGrp="1"/>
          </p:cNvSpPr>
          <p:nvPr>
            <p:ph type="dt" sz="half" idx="2"/>
          </p:nvPr>
        </p:nvSpPr>
        <p:spPr>
          <a:xfrm>
            <a:off x="192088" y="6461671"/>
            <a:ext cx="761512" cy="133790"/>
          </a:xfrm>
          <a:prstGeom prst="rect">
            <a:avLst/>
          </a:prstGeom>
        </p:spPr>
        <p:txBody>
          <a:bodyPr vert="horz" wrap="none" lIns="0" tIns="0" rIns="0" bIns="0" rtlCol="0" anchor="b" anchorCtr="0"/>
          <a:lstStyle>
            <a:lvl1pPr algn="r">
              <a:defRPr sz="800">
                <a:solidFill>
                  <a:schemeClr val="tx1"/>
                </a:solidFill>
              </a:defRPr>
            </a:lvl1pPr>
          </a:lstStyle>
          <a:p>
            <a:endParaRPr lang="en-US"/>
          </a:p>
        </p:txBody>
      </p:sp>
      <p:sp>
        <p:nvSpPr>
          <p:cNvPr id="29" name="Footer Placeholder 28"/>
          <p:cNvSpPr>
            <a:spLocks noGrp="1"/>
          </p:cNvSpPr>
          <p:nvPr>
            <p:ph type="ftr" sz="quarter" idx="3"/>
          </p:nvPr>
        </p:nvSpPr>
        <p:spPr>
          <a:xfrm>
            <a:off x="1076400" y="6461671"/>
            <a:ext cx="8162717" cy="133790"/>
          </a:xfrm>
          <a:prstGeom prst="rect">
            <a:avLst/>
          </a:prstGeom>
        </p:spPr>
        <p:txBody>
          <a:bodyPr vert="horz" lIns="0" tIns="0" rIns="0" bIns="0" rtlCol="0" anchor="b" anchorCtr="0"/>
          <a:lstStyle>
            <a:lvl1pPr marL="144000" indent="-144000" algn="l">
              <a:buClr>
                <a:schemeClr val="tx2"/>
              </a:buClr>
              <a:buFont typeface="Wingdings" panose="05000000000000000000" pitchFamily="2" charset="2"/>
              <a:buChar char="§"/>
              <a:defRPr sz="800">
                <a:solidFill>
                  <a:schemeClr val="tx1"/>
                </a:solidFill>
              </a:defRPr>
            </a:lvl1pPr>
          </a:lstStyle>
          <a:p>
            <a:endParaRPr lang="en-US"/>
          </a:p>
        </p:txBody>
      </p:sp>
      <p:sp>
        <p:nvSpPr>
          <p:cNvPr id="30" name="Slide Number Placeholder 29"/>
          <p:cNvSpPr>
            <a:spLocks noGrp="1"/>
          </p:cNvSpPr>
          <p:nvPr>
            <p:ph type="sldNum" sz="quarter" idx="4"/>
          </p:nvPr>
        </p:nvSpPr>
        <p:spPr>
          <a:xfrm>
            <a:off x="11186669" y="6461671"/>
            <a:ext cx="648000" cy="133790"/>
          </a:xfrm>
          <a:prstGeom prst="rect">
            <a:avLst/>
          </a:prstGeom>
        </p:spPr>
        <p:txBody>
          <a:bodyPr vert="horz" lIns="0" tIns="0" rIns="0" bIns="0" rtlCol="0" anchor="b" anchorCtr="0"/>
          <a:lstStyle>
            <a:lvl1pPr algn="r">
              <a:defRPr sz="800">
                <a:solidFill>
                  <a:schemeClr val="tx1"/>
                </a:solidFill>
              </a:defRPr>
            </a:lvl1pPr>
          </a:lstStyle>
          <a:p>
            <a:fld id="{5F3E29E4-0979-4FCA-B4C5-5FC6044C982A}" type="slidenum">
              <a:rPr lang="en-US" smtClean="0"/>
              <a:pPr/>
              <a:t>‹#›</a:t>
            </a:fld>
            <a:endParaRPr lang="en-US"/>
          </a:p>
        </p:txBody>
      </p:sp>
      <p:sp>
        <p:nvSpPr>
          <p:cNvPr id="2" name="Title Placeholder 1"/>
          <p:cNvSpPr>
            <a:spLocks noGrp="1"/>
          </p:cNvSpPr>
          <p:nvPr>
            <p:ph type="title"/>
          </p:nvPr>
        </p:nvSpPr>
        <p:spPr>
          <a:xfrm>
            <a:off x="1075061" y="288922"/>
            <a:ext cx="7910158" cy="648000"/>
          </a:xfrm>
          <a:prstGeom prst="rect">
            <a:avLst/>
          </a:prstGeom>
        </p:spPr>
        <p:txBody>
          <a:bodyPr vert="horz" lIns="0" tIns="0" rIns="0" bIns="0" rtlCol="0" anchor="t">
            <a:noAutofit/>
          </a:bodyPr>
          <a:lstStyle/>
          <a:p>
            <a:r>
              <a:rPr lang="en-US"/>
              <a:t>Click to edit Master title style</a:t>
            </a:r>
          </a:p>
        </p:txBody>
      </p:sp>
      <p:sp>
        <p:nvSpPr>
          <p:cNvPr id="3" name="Text Placeholder 2"/>
          <p:cNvSpPr>
            <a:spLocks noGrp="1"/>
          </p:cNvSpPr>
          <p:nvPr>
            <p:ph type="body" idx="1"/>
          </p:nvPr>
        </p:nvSpPr>
        <p:spPr>
          <a:xfrm>
            <a:off x="1075062" y="1629618"/>
            <a:ext cx="10097764" cy="4139357"/>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15648063"/>
      </p:ext>
    </p:extLst>
  </p:cSld>
  <p:clrMap bg1="lt1" tx1="dk1" bg2="lt2" tx2="dk2" accent1="accent1" accent2="accent2" accent3="accent3" accent4="accent4" accent5="accent5" accent6="accent6" hlink="hlink" folHlink="folHlink"/>
  <p:sldLayoutIdLst>
    <p:sldLayoutId id="2147484235" r:id="rId1"/>
    <p:sldLayoutId id="2147484236" r:id="rId2"/>
    <p:sldLayoutId id="2147484237" r:id="rId3"/>
    <p:sldLayoutId id="2147484238" r:id="rId4"/>
    <p:sldLayoutId id="2147484239" r:id="rId5"/>
    <p:sldLayoutId id="2147484240" r:id="rId6"/>
    <p:sldLayoutId id="2147484241" r:id="rId7"/>
    <p:sldLayoutId id="2147484242" r:id="rId8"/>
    <p:sldLayoutId id="2147484243" r:id="rId9"/>
    <p:sldLayoutId id="2147484244" r:id="rId10"/>
    <p:sldLayoutId id="2147484245" r:id="rId11"/>
    <p:sldLayoutId id="2147484246" r:id="rId12"/>
    <p:sldLayoutId id="2147484247" r:id="rId13"/>
    <p:sldLayoutId id="2147484248" r:id="rId14"/>
    <p:sldLayoutId id="2147484249" r:id="rId15"/>
    <p:sldLayoutId id="2147484250" r:id="rId16"/>
    <p:sldLayoutId id="2147484251" r:id="rId17"/>
    <p:sldLayoutId id="2147484252" r:id="rId18"/>
    <p:sldLayoutId id="2147484253" r:id="rId19"/>
    <p:sldLayoutId id="2147484254" r:id="rId20"/>
    <p:sldLayoutId id="2147484255" r:id="rId21"/>
    <p:sldLayoutId id="2147484256" r:id="rId22"/>
    <p:sldLayoutId id="2147484257" r:id="rId23"/>
    <p:sldLayoutId id="2147484258" r:id="rId24"/>
    <p:sldLayoutId id="2147484259" r:id="rId25"/>
    <p:sldLayoutId id="2147484260" r:id="rId26"/>
    <p:sldLayoutId id="2147484261" r:id="rId27"/>
    <p:sldLayoutId id="2147484262" r:id="rId28"/>
  </p:sldLayoutIdLst>
  <p:hf hdr="0" ftr="0" dt="0"/>
  <p:txStyles>
    <p:titleStyle>
      <a:lvl1pPr algn="l" defTabSz="914400" rtl="0" eaLnBrk="1" latinLnBrk="0" hangingPunct="1">
        <a:lnSpc>
          <a:spcPct val="100000"/>
        </a:lnSpc>
        <a:spcBef>
          <a:spcPct val="0"/>
        </a:spcBef>
        <a:buNone/>
        <a:defRPr sz="3600" kern="1200">
          <a:solidFill>
            <a:schemeClr val="tx1"/>
          </a:solidFill>
          <a:latin typeface="+mj-lt"/>
          <a:ea typeface="+mj-ea"/>
          <a:cs typeface="+mj-cs"/>
        </a:defRPr>
      </a:lvl1pPr>
    </p:titleStyle>
    <p:bodyStyle>
      <a:lvl1pPr marL="252000" indent="-252000" algn="l" defTabSz="914400" rtl="0" eaLnBrk="1" latinLnBrk="0" hangingPunct="1">
        <a:lnSpc>
          <a:spcPct val="110000"/>
        </a:lnSpc>
        <a:spcBef>
          <a:spcPts val="1000"/>
        </a:spcBef>
        <a:buClr>
          <a:schemeClr val="tx2"/>
        </a:buClr>
        <a:buFont typeface="Wingdings" panose="05000000000000000000" pitchFamily="2" charset="2"/>
        <a:buChar char="§"/>
        <a:defRPr sz="2800" kern="1200">
          <a:solidFill>
            <a:schemeClr val="tx1"/>
          </a:solidFill>
          <a:latin typeface="+mn-lt"/>
          <a:ea typeface="+mn-ea"/>
          <a:cs typeface="+mn-cs"/>
        </a:defRPr>
      </a:lvl1pPr>
      <a:lvl2pPr marL="648000" indent="-252000" algn="l" defTabSz="914400" rtl="0" eaLnBrk="1" latinLnBrk="0" hangingPunct="1">
        <a:lnSpc>
          <a:spcPct val="110000"/>
        </a:lnSpc>
        <a:spcBef>
          <a:spcPts val="600"/>
        </a:spcBef>
        <a:buClr>
          <a:schemeClr val="tx2"/>
        </a:buClr>
        <a:buFont typeface="Wingdings" panose="05000000000000000000" pitchFamily="2" charset="2"/>
        <a:buChar char="§"/>
        <a:defRPr sz="2400" kern="1200">
          <a:solidFill>
            <a:schemeClr val="tx1"/>
          </a:solidFill>
          <a:latin typeface="+mn-lt"/>
          <a:ea typeface="+mn-ea"/>
          <a:cs typeface="+mn-cs"/>
        </a:defRPr>
      </a:lvl2pPr>
      <a:lvl3pPr marL="1080000" indent="-252000" algn="l" defTabSz="914400" rtl="0" eaLnBrk="1" latinLnBrk="0" hangingPunct="1">
        <a:lnSpc>
          <a:spcPct val="110000"/>
        </a:lnSpc>
        <a:spcBef>
          <a:spcPts val="600"/>
        </a:spcBef>
        <a:buClr>
          <a:schemeClr val="tx2"/>
        </a:buClr>
        <a:buFont typeface="Wingdings" panose="05000000000000000000" pitchFamily="2" charset="2"/>
        <a:buChar char="§"/>
        <a:defRPr sz="2000" kern="1200">
          <a:solidFill>
            <a:schemeClr val="tx1"/>
          </a:solidFill>
          <a:latin typeface="+mn-lt"/>
          <a:ea typeface="+mn-ea"/>
          <a:cs typeface="+mn-cs"/>
        </a:defRPr>
      </a:lvl3pPr>
      <a:lvl4pPr marL="0" indent="0" algn="l" defTabSz="914400" rtl="0" eaLnBrk="1" latinLnBrk="0" hangingPunct="1">
        <a:lnSpc>
          <a:spcPct val="110000"/>
        </a:lnSpc>
        <a:spcBef>
          <a:spcPts val="600"/>
        </a:spcBef>
        <a:buClr>
          <a:schemeClr val="tx2"/>
        </a:buClr>
        <a:buFont typeface="Lato" panose="020F0502020204030203" pitchFamily="34" charset="0"/>
        <a:buChar char="​"/>
        <a:defRPr sz="1600" kern="1200">
          <a:solidFill>
            <a:schemeClr val="tx1"/>
          </a:solidFill>
          <a:latin typeface="+mn-lt"/>
          <a:ea typeface="+mn-ea"/>
          <a:cs typeface="+mn-cs"/>
        </a:defRPr>
      </a:lvl4pPr>
      <a:lvl5pPr marL="252000" indent="-252000" algn="l" defTabSz="914400" rtl="0" eaLnBrk="1" latinLnBrk="0" hangingPunct="1">
        <a:lnSpc>
          <a:spcPct val="110000"/>
        </a:lnSpc>
        <a:spcBef>
          <a:spcPts val="600"/>
        </a:spcBef>
        <a:buClr>
          <a:schemeClr val="tx2"/>
        </a:buClr>
        <a:buFont typeface="Wingdings" panose="05000000000000000000" pitchFamily="2" charset="2"/>
        <a:buChar char="§"/>
        <a:defRPr sz="1600" kern="1200">
          <a:solidFill>
            <a:schemeClr val="tx1"/>
          </a:solidFill>
          <a:latin typeface="+mn-lt"/>
          <a:ea typeface="+mn-ea"/>
          <a:cs typeface="+mn-cs"/>
        </a:defRPr>
      </a:lvl5pPr>
      <a:lvl6pPr marL="648000" indent="-252000" algn="l" defTabSz="914400" rtl="0" eaLnBrk="1" latinLnBrk="0" hangingPunct="1">
        <a:lnSpc>
          <a:spcPct val="110000"/>
        </a:lnSpc>
        <a:spcBef>
          <a:spcPts val="600"/>
        </a:spcBef>
        <a:buClr>
          <a:schemeClr val="tx2"/>
        </a:buClr>
        <a:buFont typeface="Wingdings" panose="05000000000000000000" pitchFamily="2" charset="2"/>
        <a:buChar char="§"/>
        <a:defRPr sz="1600" kern="1200">
          <a:solidFill>
            <a:schemeClr val="tx1"/>
          </a:solidFill>
          <a:latin typeface="+mn-lt"/>
          <a:ea typeface="+mn-ea"/>
          <a:cs typeface="+mn-cs"/>
        </a:defRPr>
      </a:lvl6pPr>
      <a:lvl7pPr marL="1080000" indent="-252000" algn="l" defTabSz="914400" rtl="0" eaLnBrk="1" latinLnBrk="0" hangingPunct="1">
        <a:lnSpc>
          <a:spcPct val="110000"/>
        </a:lnSpc>
        <a:spcBef>
          <a:spcPts val="600"/>
        </a:spcBef>
        <a:buClr>
          <a:schemeClr val="tx2"/>
        </a:buClr>
        <a:buFont typeface="Wingdings" panose="05000000000000000000" pitchFamily="2" charset="2"/>
        <a:buChar char="§"/>
        <a:defRPr sz="1600" kern="1200">
          <a:solidFill>
            <a:schemeClr val="tx1"/>
          </a:solidFill>
          <a:latin typeface="+mn-lt"/>
          <a:ea typeface="+mn-ea"/>
          <a:cs typeface="+mn-cs"/>
        </a:defRPr>
      </a:lvl7pPr>
      <a:lvl8pPr marL="1512000" indent="-252000" algn="l" defTabSz="914400" rtl="0" eaLnBrk="1" latinLnBrk="0" hangingPunct="1">
        <a:lnSpc>
          <a:spcPct val="110000"/>
        </a:lnSpc>
        <a:spcBef>
          <a:spcPts val="600"/>
        </a:spcBef>
        <a:buClr>
          <a:schemeClr val="tx2"/>
        </a:buClr>
        <a:buFont typeface="Wingdings" panose="05000000000000000000" pitchFamily="2" charset="2"/>
        <a:buChar char="§"/>
        <a:defRPr sz="1600" kern="1200">
          <a:solidFill>
            <a:schemeClr val="tx1"/>
          </a:solidFill>
          <a:latin typeface="+mn-lt"/>
          <a:ea typeface="+mn-ea"/>
          <a:cs typeface="+mn-cs"/>
        </a:defRPr>
      </a:lvl8pPr>
      <a:lvl9pPr marL="1944000" indent="-252000" algn="l" defTabSz="914400" rtl="0" eaLnBrk="1" latinLnBrk="0" hangingPunct="1">
        <a:lnSpc>
          <a:spcPct val="110000"/>
        </a:lnSpc>
        <a:spcBef>
          <a:spcPts val="600"/>
        </a:spcBef>
        <a:buClr>
          <a:schemeClr val="tx2"/>
        </a:buClr>
        <a:buFont typeface="Wingdings" panose="05000000000000000000" pitchFamily="2" charset="2"/>
        <a:buChar char="§"/>
        <a:defRPr sz="16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319">
          <p15:clr>
            <a:srgbClr val="5ACBF0"/>
          </p15:clr>
        </p15:guide>
        <p15:guide id="3" pos="257">
          <p15:clr>
            <a:srgbClr val="5ACBF0"/>
          </p15:clr>
        </p15:guide>
        <p15:guide id="4" pos="675">
          <p15:clr>
            <a:srgbClr val="5ACBF0"/>
          </p15:clr>
        </p15:guide>
        <p15:guide id="5" pos="7038">
          <p15:clr>
            <a:srgbClr val="5ACBF0"/>
          </p15:clr>
        </p15:guide>
        <p15:guide id="6" pos="7446">
          <p15:clr>
            <a:srgbClr val="5ACBF0"/>
          </p15:clr>
        </p15:guide>
        <p15:guide id="7" orient="horz" pos="255">
          <p15:clr>
            <a:srgbClr val="5ACBF0"/>
          </p15:clr>
        </p15:guide>
        <p15:guide id="8" orient="horz" pos="663">
          <p15:clr>
            <a:srgbClr val="5ACBF0"/>
          </p15:clr>
        </p15:guide>
        <p15:guide id="9" orient="horz" pos="799">
          <p15:clr>
            <a:srgbClr val="5ACBF0"/>
          </p15:clr>
        </p15:guide>
        <p15:guide id="10" orient="horz" pos="1026">
          <p15:clr>
            <a:srgbClr val="5ACBF0"/>
          </p15:clr>
        </p15:guide>
        <p15:guide id="11" orient="horz" pos="3634">
          <p15:clr>
            <a:srgbClr val="5ACBF0"/>
          </p15:clr>
        </p15:guide>
        <p15:guide id="12" orient="horz" pos="3929">
          <p15:clr>
            <a:srgbClr val="5ACBF0"/>
          </p15:clr>
        </p15:guide>
        <p15:guide id="13" orient="horz" pos="4133">
          <p15:clr>
            <a:srgbClr val="5ACBF0"/>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0" name="shp1">
            <a:extLst>
              <a:ext uri="{FF2B5EF4-FFF2-40B4-BE49-F238E27FC236}">
                <a16:creationId xmlns:a16="http://schemas.microsoft.com/office/drawing/2014/main" id="{1AD9883E-0B1C-504A-A979-9C5803172360}"/>
              </a:ext>
            </a:extLst>
          </p:cNvPr>
          <p:cNvSpPr/>
          <p:nvPr/>
        </p:nvSpPr>
        <p:spPr>
          <a:xfrm>
            <a:off x="192088" y="1"/>
            <a:ext cx="215900" cy="144938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de-DE" sz="1351"/>
          </a:p>
        </p:txBody>
      </p:sp>
      <p:sp>
        <p:nvSpPr>
          <p:cNvPr id="7" name="copyright"/>
          <p:cNvSpPr txBox="1"/>
          <p:nvPr/>
        </p:nvSpPr>
        <p:spPr>
          <a:xfrm>
            <a:off x="10672209" y="6237288"/>
            <a:ext cx="500617" cy="358173"/>
          </a:xfrm>
          <a:prstGeom prst="rect">
            <a:avLst/>
          </a:prstGeom>
          <a:noFill/>
        </p:spPr>
        <p:txBody>
          <a:bodyPr wrap="none" lIns="0" tIns="0" rIns="0" bIns="0" rtlCol="0" anchor="b" anchorCtr="0">
            <a:noAutofit/>
          </a:bodyPr>
          <a:lstStyle/>
          <a:p>
            <a:pPr marL="0" indent="0" algn="r">
              <a:lnSpc>
                <a:spcPct val="125000"/>
              </a:lnSpc>
              <a:buClr>
                <a:schemeClr val="tx2"/>
              </a:buClr>
              <a:buFont typeface="Wingdings" panose="05000000000000000000" pitchFamily="2" charset="2"/>
              <a:buNone/>
            </a:pPr>
            <a:r>
              <a:rPr lang="en-US" sz="800" dirty="0"/>
              <a:t>© GfK</a:t>
            </a:r>
          </a:p>
        </p:txBody>
      </p:sp>
      <p:sp>
        <p:nvSpPr>
          <p:cNvPr id="30" name="Slide Number Placeholder 29"/>
          <p:cNvSpPr>
            <a:spLocks noGrp="1"/>
          </p:cNvSpPr>
          <p:nvPr>
            <p:ph type="sldNum" sz="quarter" idx="4"/>
          </p:nvPr>
        </p:nvSpPr>
        <p:spPr>
          <a:xfrm>
            <a:off x="11186669" y="6237288"/>
            <a:ext cx="648000" cy="358173"/>
          </a:xfrm>
          <a:prstGeom prst="rect">
            <a:avLst/>
          </a:prstGeom>
        </p:spPr>
        <p:txBody>
          <a:bodyPr vert="horz" lIns="0" tIns="0" rIns="0" bIns="0" rtlCol="0" anchor="b" anchorCtr="0"/>
          <a:lstStyle>
            <a:lvl1pPr algn="r">
              <a:defRPr sz="1200">
                <a:solidFill>
                  <a:schemeClr val="tx1"/>
                </a:solidFill>
              </a:defRPr>
            </a:lvl1pPr>
          </a:lstStyle>
          <a:p>
            <a:fld id="{5F3E29E4-0979-4FCA-B4C5-5FC6044C982A}" type="slidenum">
              <a:rPr lang="en-US" smtClean="0"/>
              <a:pPr/>
              <a:t>‹#›</a:t>
            </a:fld>
            <a:endParaRPr lang="en-US"/>
          </a:p>
        </p:txBody>
      </p:sp>
      <p:sp>
        <p:nvSpPr>
          <p:cNvPr id="2" name="Title Placeholder 1"/>
          <p:cNvSpPr>
            <a:spLocks noGrp="1"/>
          </p:cNvSpPr>
          <p:nvPr>
            <p:ph type="title"/>
          </p:nvPr>
        </p:nvSpPr>
        <p:spPr>
          <a:xfrm>
            <a:off x="1075061" y="288922"/>
            <a:ext cx="7910158" cy="648000"/>
          </a:xfrm>
          <a:prstGeom prst="rect">
            <a:avLst/>
          </a:prstGeom>
        </p:spPr>
        <p:txBody>
          <a:bodyPr vert="horz" lIns="0" tIns="0" rIns="0" bIns="0" rtlCol="0" anchor="t">
            <a:noAutofit/>
          </a:bodyPr>
          <a:lstStyle/>
          <a:p>
            <a:r>
              <a:rPr lang="it-IT"/>
              <a:t>Fare clic per modificare lo stile del titolo</a:t>
            </a:r>
            <a:endParaRPr lang="en-US" dirty="0"/>
          </a:p>
        </p:txBody>
      </p:sp>
      <p:sp>
        <p:nvSpPr>
          <p:cNvPr id="3" name="Text Placeholder 2"/>
          <p:cNvSpPr>
            <a:spLocks noGrp="1"/>
          </p:cNvSpPr>
          <p:nvPr>
            <p:ph type="body" idx="1"/>
          </p:nvPr>
        </p:nvSpPr>
        <p:spPr>
          <a:xfrm>
            <a:off x="1075062" y="1629618"/>
            <a:ext cx="10097764" cy="4139357"/>
          </a:xfrm>
          <a:prstGeom prst="rect">
            <a:avLst/>
          </a:prstGeom>
        </p:spPr>
        <p:txBody>
          <a:bodyPr vert="horz" lIns="0" tIns="0" rIns="0" bIns="0" rtlCol="0">
            <a:noAutofit/>
          </a:bodyPr>
          <a:lstStyle/>
          <a:p>
            <a:pPr lvl="0"/>
            <a:r>
              <a:rPr lang="it-IT" dirty="0"/>
              <a:t>Modifica gli stili del testo dello schema</a:t>
            </a:r>
          </a:p>
          <a:p>
            <a:pPr lvl="1"/>
            <a:r>
              <a:rPr lang="it-IT" dirty="0"/>
              <a:t>Secondo livello</a:t>
            </a:r>
          </a:p>
          <a:p>
            <a:pPr lvl="2"/>
            <a:r>
              <a:rPr lang="it-IT" dirty="0"/>
              <a:t>Terzo livello</a:t>
            </a:r>
          </a:p>
          <a:p>
            <a:pPr lvl="3"/>
            <a:r>
              <a:rPr lang="it-IT" dirty="0"/>
              <a:t>Quarto livello</a:t>
            </a:r>
          </a:p>
          <a:p>
            <a:pPr lvl="4"/>
            <a:r>
              <a:rPr lang="it-IT" dirty="0"/>
              <a:t>Quinto livello</a:t>
            </a:r>
            <a:endParaRPr lang="en-US" dirty="0"/>
          </a:p>
        </p:txBody>
      </p:sp>
      <p:grpSp>
        <p:nvGrpSpPr>
          <p:cNvPr id="13" name="logo">
            <a:extLst>
              <a:ext uri="{FF2B5EF4-FFF2-40B4-BE49-F238E27FC236}">
                <a16:creationId xmlns:a16="http://schemas.microsoft.com/office/drawing/2014/main" id="{57BD2C4C-DC67-B843-B26C-309622FC75F7}"/>
              </a:ext>
            </a:extLst>
          </p:cNvPr>
          <p:cNvGrpSpPr>
            <a:grpSpLocks noChangeAspect="1"/>
          </p:cNvGrpSpPr>
          <p:nvPr/>
        </p:nvGrpSpPr>
        <p:grpSpPr bwMode="gray">
          <a:xfrm>
            <a:off x="11174018" y="401441"/>
            <a:ext cx="644225" cy="646507"/>
            <a:chOff x="2711" y="1027"/>
            <a:chExt cx="2258" cy="2266"/>
          </a:xfrm>
        </p:grpSpPr>
        <p:sp>
          <p:nvSpPr>
            <p:cNvPr id="14" name="AutoShape 3">
              <a:extLst>
                <a:ext uri="{FF2B5EF4-FFF2-40B4-BE49-F238E27FC236}">
                  <a16:creationId xmlns:a16="http://schemas.microsoft.com/office/drawing/2014/main" id="{FE1DC41B-291E-574C-9F2C-874E70A40758}"/>
                </a:ext>
              </a:extLst>
            </p:cNvPr>
            <p:cNvSpPr>
              <a:spLocks noChangeAspect="1" noChangeArrowheads="1" noTextEdit="1"/>
            </p:cNvSpPr>
            <p:nvPr/>
          </p:nvSpPr>
          <p:spPr bwMode="gray">
            <a:xfrm>
              <a:off x="2711" y="1027"/>
              <a:ext cx="2258" cy="22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sp>
          <p:nvSpPr>
            <p:cNvPr id="15" name="Freeform 5">
              <a:extLst>
                <a:ext uri="{FF2B5EF4-FFF2-40B4-BE49-F238E27FC236}">
                  <a16:creationId xmlns:a16="http://schemas.microsoft.com/office/drawing/2014/main" id="{D4B633C8-F761-C54B-9BD2-EB59D49A2DBC}"/>
                </a:ext>
              </a:extLst>
            </p:cNvPr>
            <p:cNvSpPr>
              <a:spLocks/>
            </p:cNvSpPr>
            <p:nvPr/>
          </p:nvSpPr>
          <p:spPr bwMode="gray">
            <a:xfrm>
              <a:off x="2709" y="1029"/>
              <a:ext cx="2260" cy="2262"/>
            </a:xfrm>
            <a:custGeom>
              <a:avLst/>
              <a:gdLst>
                <a:gd name="T0" fmla="*/ 2260 w 2260"/>
                <a:gd name="T1" fmla="*/ 0 h 2262"/>
                <a:gd name="T2" fmla="*/ 1612 w 2260"/>
                <a:gd name="T3" fmla="*/ 649 h 2262"/>
                <a:gd name="T4" fmla="*/ 1612 w 2260"/>
                <a:gd name="T5" fmla="*/ 649 h 2262"/>
                <a:gd name="T6" fmla="*/ 2035 w 2260"/>
                <a:gd name="T7" fmla="*/ 0 h 2262"/>
                <a:gd name="T8" fmla="*/ 0 w 2260"/>
                <a:gd name="T9" fmla="*/ 0 h 2262"/>
                <a:gd name="T10" fmla="*/ 0 w 2260"/>
                <a:gd name="T11" fmla="*/ 2262 h 2262"/>
                <a:gd name="T12" fmla="*/ 2260 w 2260"/>
                <a:gd name="T13" fmla="*/ 2262 h 2262"/>
                <a:gd name="T14" fmla="*/ 2260 w 2260"/>
                <a:gd name="T15" fmla="*/ 0 h 2262"/>
                <a:gd name="T16" fmla="*/ 2260 w 2260"/>
                <a:gd name="T17" fmla="*/ 0 h 2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0" h="2262">
                  <a:moveTo>
                    <a:pt x="2260" y="0"/>
                  </a:moveTo>
                  <a:lnTo>
                    <a:pt x="1612" y="649"/>
                  </a:lnTo>
                  <a:lnTo>
                    <a:pt x="1612" y="649"/>
                  </a:lnTo>
                  <a:lnTo>
                    <a:pt x="2035" y="0"/>
                  </a:lnTo>
                  <a:lnTo>
                    <a:pt x="0" y="0"/>
                  </a:lnTo>
                  <a:lnTo>
                    <a:pt x="0" y="2262"/>
                  </a:lnTo>
                  <a:lnTo>
                    <a:pt x="2260" y="2262"/>
                  </a:lnTo>
                  <a:lnTo>
                    <a:pt x="2260" y="0"/>
                  </a:lnTo>
                  <a:lnTo>
                    <a:pt x="2260" y="0"/>
                  </a:lnTo>
                  <a:close/>
                </a:path>
              </a:pathLst>
            </a:custGeom>
            <a:solidFill>
              <a:srgbClr val="E55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sp>
          <p:nvSpPr>
            <p:cNvPr id="16" name="Freeform 6">
              <a:extLst>
                <a:ext uri="{FF2B5EF4-FFF2-40B4-BE49-F238E27FC236}">
                  <a16:creationId xmlns:a16="http://schemas.microsoft.com/office/drawing/2014/main" id="{B16BAAE4-1A41-C843-9754-490F7A1E1270}"/>
                </a:ext>
              </a:extLst>
            </p:cNvPr>
            <p:cNvSpPr>
              <a:spLocks noEditPoints="1"/>
            </p:cNvSpPr>
            <p:nvPr/>
          </p:nvSpPr>
          <p:spPr bwMode="gray">
            <a:xfrm>
              <a:off x="3623" y="1696"/>
              <a:ext cx="1167" cy="922"/>
            </a:xfrm>
            <a:custGeom>
              <a:avLst/>
              <a:gdLst>
                <a:gd name="T0" fmla="*/ 411 w 580"/>
                <a:gd name="T1" fmla="*/ 213 h 458"/>
                <a:gd name="T2" fmla="*/ 570 w 580"/>
                <a:gd name="T3" fmla="*/ 37 h 458"/>
                <a:gd name="T4" fmla="*/ 580 w 580"/>
                <a:gd name="T5" fmla="*/ 20 h 458"/>
                <a:gd name="T6" fmla="*/ 545 w 580"/>
                <a:gd name="T7" fmla="*/ 0 h 458"/>
                <a:gd name="T8" fmla="*/ 519 w 580"/>
                <a:gd name="T9" fmla="*/ 16 h 458"/>
                <a:gd name="T10" fmla="*/ 344 w 580"/>
                <a:gd name="T11" fmla="*/ 210 h 458"/>
                <a:gd name="T12" fmla="*/ 334 w 580"/>
                <a:gd name="T13" fmla="*/ 229 h 458"/>
                <a:gd name="T14" fmla="*/ 344 w 580"/>
                <a:gd name="T15" fmla="*/ 248 h 458"/>
                <a:gd name="T16" fmla="*/ 519 w 580"/>
                <a:gd name="T17" fmla="*/ 442 h 458"/>
                <a:gd name="T18" fmla="*/ 545 w 580"/>
                <a:gd name="T19" fmla="*/ 458 h 458"/>
                <a:gd name="T20" fmla="*/ 580 w 580"/>
                <a:gd name="T21" fmla="*/ 438 h 458"/>
                <a:gd name="T22" fmla="*/ 570 w 580"/>
                <a:gd name="T23" fmla="*/ 421 h 458"/>
                <a:gd name="T24" fmla="*/ 411 w 580"/>
                <a:gd name="T25" fmla="*/ 245 h 458"/>
                <a:gd name="T26" fmla="*/ 399 w 580"/>
                <a:gd name="T27" fmla="*/ 229 h 458"/>
                <a:gd name="T28" fmla="*/ 411 w 580"/>
                <a:gd name="T29" fmla="*/ 213 h 458"/>
                <a:gd name="T30" fmla="*/ 252 w 580"/>
                <a:gd name="T31" fmla="*/ 439 h 458"/>
                <a:gd name="T32" fmla="*/ 281 w 580"/>
                <a:gd name="T33" fmla="*/ 454 h 458"/>
                <a:gd name="T34" fmla="*/ 309 w 580"/>
                <a:gd name="T35" fmla="*/ 439 h 458"/>
                <a:gd name="T36" fmla="*/ 309 w 580"/>
                <a:gd name="T37" fmla="*/ 19 h 458"/>
                <a:gd name="T38" fmla="*/ 281 w 580"/>
                <a:gd name="T39" fmla="*/ 4 h 458"/>
                <a:gd name="T40" fmla="*/ 252 w 580"/>
                <a:gd name="T41" fmla="*/ 19 h 458"/>
                <a:gd name="T42" fmla="*/ 252 w 580"/>
                <a:gd name="T43" fmla="*/ 439 h 458"/>
                <a:gd name="T44" fmla="*/ 0 w 580"/>
                <a:gd name="T45" fmla="*/ 439 h 458"/>
                <a:gd name="T46" fmla="*/ 28 w 580"/>
                <a:gd name="T47" fmla="*/ 454 h 458"/>
                <a:gd name="T48" fmla="*/ 56 w 580"/>
                <a:gd name="T49" fmla="*/ 439 h 458"/>
                <a:gd name="T50" fmla="*/ 56 w 580"/>
                <a:gd name="T51" fmla="*/ 157 h 458"/>
                <a:gd name="T52" fmla="*/ 165 w 580"/>
                <a:gd name="T53" fmla="*/ 53 h 458"/>
                <a:gd name="T54" fmla="*/ 180 w 580"/>
                <a:gd name="T55" fmla="*/ 53 h 458"/>
                <a:gd name="T56" fmla="*/ 196 w 580"/>
                <a:gd name="T57" fmla="*/ 27 h 458"/>
                <a:gd name="T58" fmla="*/ 154 w 580"/>
                <a:gd name="T59" fmla="*/ 4 h 458"/>
                <a:gd name="T60" fmla="*/ 0 w 580"/>
                <a:gd name="T61" fmla="*/ 152 h 458"/>
                <a:gd name="T62" fmla="*/ 0 w 580"/>
                <a:gd name="T63" fmla="*/ 439 h 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80" h="458">
                  <a:moveTo>
                    <a:pt x="411" y="213"/>
                  </a:moveTo>
                  <a:cubicBezTo>
                    <a:pt x="570" y="37"/>
                    <a:pt x="570" y="37"/>
                    <a:pt x="570" y="37"/>
                  </a:cubicBezTo>
                  <a:cubicBezTo>
                    <a:pt x="576" y="30"/>
                    <a:pt x="580" y="25"/>
                    <a:pt x="580" y="20"/>
                  </a:cubicBezTo>
                  <a:cubicBezTo>
                    <a:pt x="580" y="10"/>
                    <a:pt x="559" y="0"/>
                    <a:pt x="545" y="0"/>
                  </a:cubicBezTo>
                  <a:cubicBezTo>
                    <a:pt x="535" y="0"/>
                    <a:pt x="526" y="8"/>
                    <a:pt x="519" y="16"/>
                  </a:cubicBezTo>
                  <a:cubicBezTo>
                    <a:pt x="344" y="210"/>
                    <a:pt x="344" y="210"/>
                    <a:pt x="344" y="210"/>
                  </a:cubicBezTo>
                  <a:cubicBezTo>
                    <a:pt x="336" y="219"/>
                    <a:pt x="334" y="224"/>
                    <a:pt x="334" y="229"/>
                  </a:cubicBezTo>
                  <a:cubicBezTo>
                    <a:pt x="334" y="234"/>
                    <a:pt x="336" y="239"/>
                    <a:pt x="344" y="248"/>
                  </a:cubicBezTo>
                  <a:cubicBezTo>
                    <a:pt x="519" y="442"/>
                    <a:pt x="519" y="442"/>
                    <a:pt x="519" y="442"/>
                  </a:cubicBezTo>
                  <a:cubicBezTo>
                    <a:pt x="526" y="450"/>
                    <a:pt x="535" y="458"/>
                    <a:pt x="545" y="458"/>
                  </a:cubicBezTo>
                  <a:cubicBezTo>
                    <a:pt x="559" y="458"/>
                    <a:pt x="580" y="448"/>
                    <a:pt x="580" y="438"/>
                  </a:cubicBezTo>
                  <a:cubicBezTo>
                    <a:pt x="580" y="433"/>
                    <a:pt x="576" y="428"/>
                    <a:pt x="570" y="421"/>
                  </a:cubicBezTo>
                  <a:cubicBezTo>
                    <a:pt x="411" y="245"/>
                    <a:pt x="411" y="245"/>
                    <a:pt x="411" y="245"/>
                  </a:cubicBezTo>
                  <a:cubicBezTo>
                    <a:pt x="403" y="236"/>
                    <a:pt x="399" y="232"/>
                    <a:pt x="399" y="229"/>
                  </a:cubicBezTo>
                  <a:cubicBezTo>
                    <a:pt x="399" y="226"/>
                    <a:pt x="403" y="222"/>
                    <a:pt x="411" y="213"/>
                  </a:cubicBezTo>
                  <a:moveTo>
                    <a:pt x="252" y="439"/>
                  </a:moveTo>
                  <a:cubicBezTo>
                    <a:pt x="252" y="449"/>
                    <a:pt x="261" y="454"/>
                    <a:pt x="281" y="454"/>
                  </a:cubicBezTo>
                  <a:cubicBezTo>
                    <a:pt x="300" y="454"/>
                    <a:pt x="309" y="449"/>
                    <a:pt x="309" y="439"/>
                  </a:cubicBezTo>
                  <a:cubicBezTo>
                    <a:pt x="309" y="19"/>
                    <a:pt x="309" y="19"/>
                    <a:pt x="309" y="19"/>
                  </a:cubicBezTo>
                  <a:cubicBezTo>
                    <a:pt x="309" y="9"/>
                    <a:pt x="300" y="4"/>
                    <a:pt x="281" y="4"/>
                  </a:cubicBezTo>
                  <a:cubicBezTo>
                    <a:pt x="261" y="4"/>
                    <a:pt x="252" y="9"/>
                    <a:pt x="252" y="19"/>
                  </a:cubicBezTo>
                  <a:lnTo>
                    <a:pt x="252" y="439"/>
                  </a:lnTo>
                  <a:close/>
                  <a:moveTo>
                    <a:pt x="0" y="439"/>
                  </a:moveTo>
                  <a:cubicBezTo>
                    <a:pt x="0" y="449"/>
                    <a:pt x="8" y="454"/>
                    <a:pt x="28" y="454"/>
                  </a:cubicBezTo>
                  <a:cubicBezTo>
                    <a:pt x="48" y="454"/>
                    <a:pt x="56" y="449"/>
                    <a:pt x="56" y="439"/>
                  </a:cubicBezTo>
                  <a:cubicBezTo>
                    <a:pt x="56" y="157"/>
                    <a:pt x="56" y="157"/>
                    <a:pt x="56" y="157"/>
                  </a:cubicBezTo>
                  <a:cubicBezTo>
                    <a:pt x="56" y="83"/>
                    <a:pt x="85" y="53"/>
                    <a:pt x="165" y="53"/>
                  </a:cubicBezTo>
                  <a:cubicBezTo>
                    <a:pt x="180" y="53"/>
                    <a:pt x="180" y="53"/>
                    <a:pt x="180" y="53"/>
                  </a:cubicBezTo>
                  <a:cubicBezTo>
                    <a:pt x="192" y="53"/>
                    <a:pt x="196" y="43"/>
                    <a:pt x="196" y="27"/>
                  </a:cubicBezTo>
                  <a:cubicBezTo>
                    <a:pt x="196" y="8"/>
                    <a:pt x="185" y="4"/>
                    <a:pt x="154" y="4"/>
                  </a:cubicBezTo>
                  <a:cubicBezTo>
                    <a:pt x="64" y="4"/>
                    <a:pt x="0" y="43"/>
                    <a:pt x="0" y="152"/>
                  </a:cubicBezTo>
                  <a:lnTo>
                    <a:pt x="0" y="43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sp>
          <p:nvSpPr>
            <p:cNvPr id="17" name="Freeform 7">
              <a:extLst>
                <a:ext uri="{FF2B5EF4-FFF2-40B4-BE49-F238E27FC236}">
                  <a16:creationId xmlns:a16="http://schemas.microsoft.com/office/drawing/2014/main" id="{2F32DCBD-8628-F245-85CD-97686A20ECFD}"/>
                </a:ext>
              </a:extLst>
            </p:cNvPr>
            <p:cNvSpPr>
              <a:spLocks/>
            </p:cNvSpPr>
            <p:nvPr/>
          </p:nvSpPr>
          <p:spPr bwMode="gray">
            <a:xfrm>
              <a:off x="2880" y="1704"/>
              <a:ext cx="618" cy="916"/>
            </a:xfrm>
            <a:custGeom>
              <a:avLst/>
              <a:gdLst>
                <a:gd name="T0" fmla="*/ 307 w 307"/>
                <a:gd name="T1" fmla="*/ 405 h 455"/>
                <a:gd name="T2" fmla="*/ 307 w 307"/>
                <a:gd name="T3" fmla="*/ 244 h 455"/>
                <a:gd name="T4" fmla="*/ 279 w 307"/>
                <a:gd name="T5" fmla="*/ 229 h 455"/>
                <a:gd name="T6" fmla="*/ 250 w 307"/>
                <a:gd name="T7" fmla="*/ 244 h 455"/>
                <a:gd name="T8" fmla="*/ 250 w 307"/>
                <a:gd name="T9" fmla="*/ 378 h 455"/>
                <a:gd name="T10" fmla="*/ 199 w 307"/>
                <a:gd name="T11" fmla="*/ 408 h 455"/>
                <a:gd name="T12" fmla="*/ 61 w 307"/>
                <a:gd name="T13" fmla="*/ 231 h 455"/>
                <a:gd name="T14" fmla="*/ 238 w 307"/>
                <a:gd name="T15" fmla="*/ 49 h 455"/>
                <a:gd name="T16" fmla="*/ 270 w 307"/>
                <a:gd name="T17" fmla="*/ 49 h 455"/>
                <a:gd name="T18" fmla="*/ 286 w 307"/>
                <a:gd name="T19" fmla="*/ 23 h 455"/>
                <a:gd name="T20" fmla="*/ 244 w 307"/>
                <a:gd name="T21" fmla="*/ 0 h 455"/>
                <a:gd name="T22" fmla="*/ 231 w 307"/>
                <a:gd name="T23" fmla="*/ 0 h 455"/>
                <a:gd name="T24" fmla="*/ 0 w 307"/>
                <a:gd name="T25" fmla="*/ 232 h 455"/>
                <a:gd name="T26" fmla="*/ 198 w 307"/>
                <a:gd name="T27" fmla="*/ 455 h 455"/>
                <a:gd name="T28" fmla="*/ 307 w 307"/>
                <a:gd name="T29" fmla="*/ 405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7" h="455">
                  <a:moveTo>
                    <a:pt x="307" y="405"/>
                  </a:moveTo>
                  <a:cubicBezTo>
                    <a:pt x="307" y="244"/>
                    <a:pt x="307" y="244"/>
                    <a:pt x="307" y="244"/>
                  </a:cubicBezTo>
                  <a:cubicBezTo>
                    <a:pt x="307" y="234"/>
                    <a:pt x="298" y="229"/>
                    <a:pt x="279" y="229"/>
                  </a:cubicBezTo>
                  <a:cubicBezTo>
                    <a:pt x="259" y="229"/>
                    <a:pt x="250" y="234"/>
                    <a:pt x="250" y="244"/>
                  </a:cubicBezTo>
                  <a:cubicBezTo>
                    <a:pt x="250" y="378"/>
                    <a:pt x="250" y="378"/>
                    <a:pt x="250" y="378"/>
                  </a:cubicBezTo>
                  <a:cubicBezTo>
                    <a:pt x="250" y="399"/>
                    <a:pt x="241" y="408"/>
                    <a:pt x="199" y="408"/>
                  </a:cubicBezTo>
                  <a:cubicBezTo>
                    <a:pt x="114" y="408"/>
                    <a:pt x="61" y="342"/>
                    <a:pt x="61" y="231"/>
                  </a:cubicBezTo>
                  <a:cubicBezTo>
                    <a:pt x="61" y="115"/>
                    <a:pt x="126" y="49"/>
                    <a:pt x="238" y="49"/>
                  </a:cubicBezTo>
                  <a:cubicBezTo>
                    <a:pt x="270" y="49"/>
                    <a:pt x="270" y="49"/>
                    <a:pt x="270" y="49"/>
                  </a:cubicBezTo>
                  <a:cubicBezTo>
                    <a:pt x="282" y="49"/>
                    <a:pt x="286" y="39"/>
                    <a:pt x="286" y="23"/>
                  </a:cubicBezTo>
                  <a:cubicBezTo>
                    <a:pt x="286" y="4"/>
                    <a:pt x="275" y="0"/>
                    <a:pt x="244" y="0"/>
                  </a:cubicBezTo>
                  <a:cubicBezTo>
                    <a:pt x="231" y="0"/>
                    <a:pt x="231" y="0"/>
                    <a:pt x="231" y="0"/>
                  </a:cubicBezTo>
                  <a:cubicBezTo>
                    <a:pt x="101" y="0"/>
                    <a:pt x="0" y="71"/>
                    <a:pt x="0" y="232"/>
                  </a:cubicBezTo>
                  <a:cubicBezTo>
                    <a:pt x="0" y="386"/>
                    <a:pt x="88" y="455"/>
                    <a:pt x="198" y="455"/>
                  </a:cubicBezTo>
                  <a:cubicBezTo>
                    <a:pt x="286" y="455"/>
                    <a:pt x="307" y="430"/>
                    <a:pt x="307" y="40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sp>
          <p:nvSpPr>
            <p:cNvPr id="18" name="Oval 8">
              <a:extLst>
                <a:ext uri="{FF2B5EF4-FFF2-40B4-BE49-F238E27FC236}">
                  <a16:creationId xmlns:a16="http://schemas.microsoft.com/office/drawing/2014/main" id="{60D97C11-1A3B-5449-A48D-98A3E79B3810}"/>
                </a:ext>
              </a:extLst>
            </p:cNvPr>
            <p:cNvSpPr>
              <a:spLocks noChangeArrowheads="1"/>
            </p:cNvSpPr>
            <p:nvPr/>
          </p:nvSpPr>
          <p:spPr bwMode="gray">
            <a:xfrm>
              <a:off x="3778" y="2099"/>
              <a:ext cx="122" cy="12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sp>
          <p:nvSpPr>
            <p:cNvPr id="19" name="Freeform 9">
              <a:extLst>
                <a:ext uri="{FF2B5EF4-FFF2-40B4-BE49-F238E27FC236}">
                  <a16:creationId xmlns:a16="http://schemas.microsoft.com/office/drawing/2014/main" id="{5856770D-B8F0-244E-A05D-AED190086F10}"/>
                </a:ext>
              </a:extLst>
            </p:cNvPr>
            <p:cNvSpPr>
              <a:spLocks noEditPoints="1"/>
            </p:cNvSpPr>
            <p:nvPr/>
          </p:nvSpPr>
          <p:spPr bwMode="gray">
            <a:xfrm>
              <a:off x="3623" y="1696"/>
              <a:ext cx="1167" cy="922"/>
            </a:xfrm>
            <a:custGeom>
              <a:avLst/>
              <a:gdLst>
                <a:gd name="T0" fmla="*/ 411 w 580"/>
                <a:gd name="T1" fmla="*/ 213 h 458"/>
                <a:gd name="T2" fmla="*/ 570 w 580"/>
                <a:gd name="T3" fmla="*/ 37 h 458"/>
                <a:gd name="T4" fmla="*/ 580 w 580"/>
                <a:gd name="T5" fmla="*/ 20 h 458"/>
                <a:gd name="T6" fmla="*/ 545 w 580"/>
                <a:gd name="T7" fmla="*/ 0 h 458"/>
                <a:gd name="T8" fmla="*/ 519 w 580"/>
                <a:gd name="T9" fmla="*/ 16 h 458"/>
                <a:gd name="T10" fmla="*/ 344 w 580"/>
                <a:gd name="T11" fmla="*/ 210 h 458"/>
                <a:gd name="T12" fmla="*/ 334 w 580"/>
                <a:gd name="T13" fmla="*/ 229 h 458"/>
                <a:gd name="T14" fmla="*/ 344 w 580"/>
                <a:gd name="T15" fmla="*/ 248 h 458"/>
                <a:gd name="T16" fmla="*/ 519 w 580"/>
                <a:gd name="T17" fmla="*/ 442 h 458"/>
                <a:gd name="T18" fmla="*/ 545 w 580"/>
                <a:gd name="T19" fmla="*/ 458 h 458"/>
                <a:gd name="T20" fmla="*/ 580 w 580"/>
                <a:gd name="T21" fmla="*/ 438 h 458"/>
                <a:gd name="T22" fmla="*/ 570 w 580"/>
                <a:gd name="T23" fmla="*/ 421 h 458"/>
                <a:gd name="T24" fmla="*/ 411 w 580"/>
                <a:gd name="T25" fmla="*/ 245 h 458"/>
                <a:gd name="T26" fmla="*/ 399 w 580"/>
                <a:gd name="T27" fmla="*/ 229 h 458"/>
                <a:gd name="T28" fmla="*/ 411 w 580"/>
                <a:gd name="T29" fmla="*/ 213 h 458"/>
                <a:gd name="T30" fmla="*/ 252 w 580"/>
                <a:gd name="T31" fmla="*/ 439 h 458"/>
                <a:gd name="T32" fmla="*/ 281 w 580"/>
                <a:gd name="T33" fmla="*/ 454 h 458"/>
                <a:gd name="T34" fmla="*/ 309 w 580"/>
                <a:gd name="T35" fmla="*/ 439 h 458"/>
                <a:gd name="T36" fmla="*/ 309 w 580"/>
                <a:gd name="T37" fmla="*/ 19 h 458"/>
                <a:gd name="T38" fmla="*/ 281 w 580"/>
                <a:gd name="T39" fmla="*/ 4 h 458"/>
                <a:gd name="T40" fmla="*/ 252 w 580"/>
                <a:gd name="T41" fmla="*/ 19 h 458"/>
                <a:gd name="T42" fmla="*/ 252 w 580"/>
                <a:gd name="T43" fmla="*/ 439 h 458"/>
                <a:gd name="T44" fmla="*/ 0 w 580"/>
                <a:gd name="T45" fmla="*/ 439 h 458"/>
                <a:gd name="T46" fmla="*/ 28 w 580"/>
                <a:gd name="T47" fmla="*/ 454 h 458"/>
                <a:gd name="T48" fmla="*/ 56 w 580"/>
                <a:gd name="T49" fmla="*/ 439 h 458"/>
                <a:gd name="T50" fmla="*/ 56 w 580"/>
                <a:gd name="T51" fmla="*/ 157 h 458"/>
                <a:gd name="T52" fmla="*/ 165 w 580"/>
                <a:gd name="T53" fmla="*/ 53 h 458"/>
                <a:gd name="T54" fmla="*/ 180 w 580"/>
                <a:gd name="T55" fmla="*/ 53 h 458"/>
                <a:gd name="T56" fmla="*/ 196 w 580"/>
                <a:gd name="T57" fmla="*/ 27 h 458"/>
                <a:gd name="T58" fmla="*/ 154 w 580"/>
                <a:gd name="T59" fmla="*/ 4 h 458"/>
                <a:gd name="T60" fmla="*/ 0 w 580"/>
                <a:gd name="T61" fmla="*/ 152 h 458"/>
                <a:gd name="T62" fmla="*/ 0 w 580"/>
                <a:gd name="T63" fmla="*/ 439 h 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80" h="458">
                  <a:moveTo>
                    <a:pt x="411" y="213"/>
                  </a:moveTo>
                  <a:cubicBezTo>
                    <a:pt x="570" y="37"/>
                    <a:pt x="570" y="37"/>
                    <a:pt x="570" y="37"/>
                  </a:cubicBezTo>
                  <a:cubicBezTo>
                    <a:pt x="576" y="30"/>
                    <a:pt x="580" y="25"/>
                    <a:pt x="580" y="20"/>
                  </a:cubicBezTo>
                  <a:cubicBezTo>
                    <a:pt x="580" y="10"/>
                    <a:pt x="559" y="0"/>
                    <a:pt x="545" y="0"/>
                  </a:cubicBezTo>
                  <a:cubicBezTo>
                    <a:pt x="535" y="0"/>
                    <a:pt x="526" y="8"/>
                    <a:pt x="519" y="16"/>
                  </a:cubicBezTo>
                  <a:cubicBezTo>
                    <a:pt x="344" y="210"/>
                    <a:pt x="344" y="210"/>
                    <a:pt x="344" y="210"/>
                  </a:cubicBezTo>
                  <a:cubicBezTo>
                    <a:pt x="336" y="219"/>
                    <a:pt x="334" y="224"/>
                    <a:pt x="334" y="229"/>
                  </a:cubicBezTo>
                  <a:cubicBezTo>
                    <a:pt x="334" y="234"/>
                    <a:pt x="336" y="239"/>
                    <a:pt x="344" y="248"/>
                  </a:cubicBezTo>
                  <a:cubicBezTo>
                    <a:pt x="519" y="442"/>
                    <a:pt x="519" y="442"/>
                    <a:pt x="519" y="442"/>
                  </a:cubicBezTo>
                  <a:cubicBezTo>
                    <a:pt x="526" y="450"/>
                    <a:pt x="535" y="458"/>
                    <a:pt x="545" y="458"/>
                  </a:cubicBezTo>
                  <a:cubicBezTo>
                    <a:pt x="559" y="458"/>
                    <a:pt x="580" y="448"/>
                    <a:pt x="580" y="438"/>
                  </a:cubicBezTo>
                  <a:cubicBezTo>
                    <a:pt x="580" y="433"/>
                    <a:pt x="576" y="428"/>
                    <a:pt x="570" y="421"/>
                  </a:cubicBezTo>
                  <a:cubicBezTo>
                    <a:pt x="411" y="245"/>
                    <a:pt x="411" y="245"/>
                    <a:pt x="411" y="245"/>
                  </a:cubicBezTo>
                  <a:cubicBezTo>
                    <a:pt x="403" y="236"/>
                    <a:pt x="399" y="232"/>
                    <a:pt x="399" y="229"/>
                  </a:cubicBezTo>
                  <a:cubicBezTo>
                    <a:pt x="399" y="226"/>
                    <a:pt x="403" y="222"/>
                    <a:pt x="411" y="213"/>
                  </a:cubicBezTo>
                  <a:moveTo>
                    <a:pt x="252" y="439"/>
                  </a:moveTo>
                  <a:cubicBezTo>
                    <a:pt x="252" y="449"/>
                    <a:pt x="261" y="454"/>
                    <a:pt x="281" y="454"/>
                  </a:cubicBezTo>
                  <a:cubicBezTo>
                    <a:pt x="300" y="454"/>
                    <a:pt x="309" y="449"/>
                    <a:pt x="309" y="439"/>
                  </a:cubicBezTo>
                  <a:cubicBezTo>
                    <a:pt x="309" y="19"/>
                    <a:pt x="309" y="19"/>
                    <a:pt x="309" y="19"/>
                  </a:cubicBezTo>
                  <a:cubicBezTo>
                    <a:pt x="309" y="9"/>
                    <a:pt x="300" y="4"/>
                    <a:pt x="281" y="4"/>
                  </a:cubicBezTo>
                  <a:cubicBezTo>
                    <a:pt x="261" y="4"/>
                    <a:pt x="252" y="9"/>
                    <a:pt x="252" y="19"/>
                  </a:cubicBezTo>
                  <a:lnTo>
                    <a:pt x="252" y="439"/>
                  </a:lnTo>
                  <a:close/>
                  <a:moveTo>
                    <a:pt x="0" y="439"/>
                  </a:moveTo>
                  <a:cubicBezTo>
                    <a:pt x="0" y="449"/>
                    <a:pt x="8" y="454"/>
                    <a:pt x="28" y="454"/>
                  </a:cubicBezTo>
                  <a:cubicBezTo>
                    <a:pt x="48" y="454"/>
                    <a:pt x="56" y="449"/>
                    <a:pt x="56" y="439"/>
                  </a:cubicBezTo>
                  <a:cubicBezTo>
                    <a:pt x="56" y="157"/>
                    <a:pt x="56" y="157"/>
                    <a:pt x="56" y="157"/>
                  </a:cubicBezTo>
                  <a:cubicBezTo>
                    <a:pt x="56" y="83"/>
                    <a:pt x="85" y="53"/>
                    <a:pt x="165" y="53"/>
                  </a:cubicBezTo>
                  <a:cubicBezTo>
                    <a:pt x="180" y="53"/>
                    <a:pt x="180" y="53"/>
                    <a:pt x="180" y="53"/>
                  </a:cubicBezTo>
                  <a:cubicBezTo>
                    <a:pt x="192" y="53"/>
                    <a:pt x="196" y="43"/>
                    <a:pt x="196" y="27"/>
                  </a:cubicBezTo>
                  <a:cubicBezTo>
                    <a:pt x="196" y="8"/>
                    <a:pt x="185" y="4"/>
                    <a:pt x="154" y="4"/>
                  </a:cubicBezTo>
                  <a:cubicBezTo>
                    <a:pt x="64" y="4"/>
                    <a:pt x="0" y="43"/>
                    <a:pt x="0" y="152"/>
                  </a:cubicBezTo>
                  <a:lnTo>
                    <a:pt x="0" y="43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sp>
          <p:nvSpPr>
            <p:cNvPr id="22" name="Freeform 10">
              <a:extLst>
                <a:ext uri="{FF2B5EF4-FFF2-40B4-BE49-F238E27FC236}">
                  <a16:creationId xmlns:a16="http://schemas.microsoft.com/office/drawing/2014/main" id="{2B91B16B-BC11-E547-8FAC-B9B8D18EA449}"/>
                </a:ext>
              </a:extLst>
            </p:cNvPr>
            <p:cNvSpPr>
              <a:spLocks/>
            </p:cNvSpPr>
            <p:nvPr/>
          </p:nvSpPr>
          <p:spPr bwMode="gray">
            <a:xfrm>
              <a:off x="2880" y="1704"/>
              <a:ext cx="618" cy="916"/>
            </a:xfrm>
            <a:custGeom>
              <a:avLst/>
              <a:gdLst>
                <a:gd name="T0" fmla="*/ 307 w 307"/>
                <a:gd name="T1" fmla="*/ 405 h 455"/>
                <a:gd name="T2" fmla="*/ 307 w 307"/>
                <a:gd name="T3" fmla="*/ 244 h 455"/>
                <a:gd name="T4" fmla="*/ 279 w 307"/>
                <a:gd name="T5" fmla="*/ 229 h 455"/>
                <a:gd name="T6" fmla="*/ 250 w 307"/>
                <a:gd name="T7" fmla="*/ 244 h 455"/>
                <a:gd name="T8" fmla="*/ 250 w 307"/>
                <a:gd name="T9" fmla="*/ 378 h 455"/>
                <a:gd name="T10" fmla="*/ 199 w 307"/>
                <a:gd name="T11" fmla="*/ 408 h 455"/>
                <a:gd name="T12" fmla="*/ 61 w 307"/>
                <a:gd name="T13" fmla="*/ 231 h 455"/>
                <a:gd name="T14" fmla="*/ 238 w 307"/>
                <a:gd name="T15" fmla="*/ 49 h 455"/>
                <a:gd name="T16" fmla="*/ 270 w 307"/>
                <a:gd name="T17" fmla="*/ 49 h 455"/>
                <a:gd name="T18" fmla="*/ 286 w 307"/>
                <a:gd name="T19" fmla="*/ 23 h 455"/>
                <a:gd name="T20" fmla="*/ 244 w 307"/>
                <a:gd name="T21" fmla="*/ 0 h 455"/>
                <a:gd name="T22" fmla="*/ 231 w 307"/>
                <a:gd name="T23" fmla="*/ 0 h 455"/>
                <a:gd name="T24" fmla="*/ 0 w 307"/>
                <a:gd name="T25" fmla="*/ 232 h 455"/>
                <a:gd name="T26" fmla="*/ 198 w 307"/>
                <a:gd name="T27" fmla="*/ 455 h 455"/>
                <a:gd name="T28" fmla="*/ 307 w 307"/>
                <a:gd name="T29" fmla="*/ 405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7" h="455">
                  <a:moveTo>
                    <a:pt x="307" y="405"/>
                  </a:moveTo>
                  <a:cubicBezTo>
                    <a:pt x="307" y="244"/>
                    <a:pt x="307" y="244"/>
                    <a:pt x="307" y="244"/>
                  </a:cubicBezTo>
                  <a:cubicBezTo>
                    <a:pt x="307" y="234"/>
                    <a:pt x="298" y="229"/>
                    <a:pt x="279" y="229"/>
                  </a:cubicBezTo>
                  <a:cubicBezTo>
                    <a:pt x="259" y="229"/>
                    <a:pt x="250" y="234"/>
                    <a:pt x="250" y="244"/>
                  </a:cubicBezTo>
                  <a:cubicBezTo>
                    <a:pt x="250" y="378"/>
                    <a:pt x="250" y="378"/>
                    <a:pt x="250" y="378"/>
                  </a:cubicBezTo>
                  <a:cubicBezTo>
                    <a:pt x="250" y="399"/>
                    <a:pt x="241" y="408"/>
                    <a:pt x="199" y="408"/>
                  </a:cubicBezTo>
                  <a:cubicBezTo>
                    <a:pt x="114" y="408"/>
                    <a:pt x="61" y="342"/>
                    <a:pt x="61" y="231"/>
                  </a:cubicBezTo>
                  <a:cubicBezTo>
                    <a:pt x="61" y="115"/>
                    <a:pt x="126" y="49"/>
                    <a:pt x="238" y="49"/>
                  </a:cubicBezTo>
                  <a:cubicBezTo>
                    <a:pt x="270" y="49"/>
                    <a:pt x="270" y="49"/>
                    <a:pt x="270" y="49"/>
                  </a:cubicBezTo>
                  <a:cubicBezTo>
                    <a:pt x="282" y="49"/>
                    <a:pt x="286" y="39"/>
                    <a:pt x="286" y="23"/>
                  </a:cubicBezTo>
                  <a:cubicBezTo>
                    <a:pt x="286" y="4"/>
                    <a:pt x="275" y="0"/>
                    <a:pt x="244" y="0"/>
                  </a:cubicBezTo>
                  <a:cubicBezTo>
                    <a:pt x="231" y="0"/>
                    <a:pt x="231" y="0"/>
                    <a:pt x="231" y="0"/>
                  </a:cubicBezTo>
                  <a:cubicBezTo>
                    <a:pt x="101" y="0"/>
                    <a:pt x="0" y="71"/>
                    <a:pt x="0" y="232"/>
                  </a:cubicBezTo>
                  <a:cubicBezTo>
                    <a:pt x="0" y="386"/>
                    <a:pt x="88" y="455"/>
                    <a:pt x="198" y="455"/>
                  </a:cubicBezTo>
                  <a:cubicBezTo>
                    <a:pt x="286" y="455"/>
                    <a:pt x="307" y="430"/>
                    <a:pt x="307" y="40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sp>
          <p:nvSpPr>
            <p:cNvPr id="23" name="Oval 11">
              <a:extLst>
                <a:ext uri="{FF2B5EF4-FFF2-40B4-BE49-F238E27FC236}">
                  <a16:creationId xmlns:a16="http://schemas.microsoft.com/office/drawing/2014/main" id="{14F8C3C8-4888-7646-B9B4-64EB46A1DA23}"/>
                </a:ext>
              </a:extLst>
            </p:cNvPr>
            <p:cNvSpPr>
              <a:spLocks noChangeArrowheads="1"/>
            </p:cNvSpPr>
            <p:nvPr/>
          </p:nvSpPr>
          <p:spPr bwMode="gray">
            <a:xfrm>
              <a:off x="3778" y="2099"/>
              <a:ext cx="122" cy="12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sp>
          <p:nvSpPr>
            <p:cNvPr id="24" name="Freeform 12">
              <a:extLst>
                <a:ext uri="{FF2B5EF4-FFF2-40B4-BE49-F238E27FC236}">
                  <a16:creationId xmlns:a16="http://schemas.microsoft.com/office/drawing/2014/main" id="{D79D01D1-4E3E-F34B-97D7-2D387E68746E}"/>
                </a:ext>
              </a:extLst>
            </p:cNvPr>
            <p:cNvSpPr>
              <a:spLocks/>
            </p:cNvSpPr>
            <p:nvPr/>
          </p:nvSpPr>
          <p:spPr bwMode="gray">
            <a:xfrm>
              <a:off x="4321" y="1029"/>
              <a:ext cx="648" cy="649"/>
            </a:xfrm>
            <a:custGeom>
              <a:avLst/>
              <a:gdLst>
                <a:gd name="T0" fmla="*/ 0 w 648"/>
                <a:gd name="T1" fmla="*/ 649 h 649"/>
                <a:gd name="T2" fmla="*/ 2 w 648"/>
                <a:gd name="T3" fmla="*/ 649 h 649"/>
                <a:gd name="T4" fmla="*/ 648 w 648"/>
                <a:gd name="T5" fmla="*/ 0 h 649"/>
                <a:gd name="T6" fmla="*/ 423 w 648"/>
                <a:gd name="T7" fmla="*/ 0 h 649"/>
                <a:gd name="T8" fmla="*/ 0 w 648"/>
                <a:gd name="T9" fmla="*/ 649 h 649"/>
              </a:gdLst>
              <a:ahLst/>
              <a:cxnLst>
                <a:cxn ang="0">
                  <a:pos x="T0" y="T1"/>
                </a:cxn>
                <a:cxn ang="0">
                  <a:pos x="T2" y="T3"/>
                </a:cxn>
                <a:cxn ang="0">
                  <a:pos x="T4" y="T5"/>
                </a:cxn>
                <a:cxn ang="0">
                  <a:pos x="T6" y="T7"/>
                </a:cxn>
                <a:cxn ang="0">
                  <a:pos x="T8" y="T9"/>
                </a:cxn>
              </a:cxnLst>
              <a:rect l="0" t="0" r="r" b="b"/>
              <a:pathLst>
                <a:path w="648" h="649">
                  <a:moveTo>
                    <a:pt x="0" y="649"/>
                  </a:moveTo>
                  <a:lnTo>
                    <a:pt x="2" y="649"/>
                  </a:lnTo>
                  <a:lnTo>
                    <a:pt x="648" y="0"/>
                  </a:lnTo>
                  <a:lnTo>
                    <a:pt x="423" y="0"/>
                  </a:lnTo>
                  <a:lnTo>
                    <a:pt x="0" y="64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sp>
          <p:nvSpPr>
            <p:cNvPr id="26" name="Freeform 13">
              <a:extLst>
                <a:ext uri="{FF2B5EF4-FFF2-40B4-BE49-F238E27FC236}">
                  <a16:creationId xmlns:a16="http://schemas.microsoft.com/office/drawing/2014/main" id="{46549898-6C52-B147-A8F6-A73FDBE6163B}"/>
                </a:ext>
              </a:extLst>
            </p:cNvPr>
            <p:cNvSpPr>
              <a:spLocks/>
            </p:cNvSpPr>
            <p:nvPr/>
          </p:nvSpPr>
          <p:spPr bwMode="gray">
            <a:xfrm>
              <a:off x="4321" y="1029"/>
              <a:ext cx="648" cy="649"/>
            </a:xfrm>
            <a:custGeom>
              <a:avLst/>
              <a:gdLst>
                <a:gd name="T0" fmla="*/ 0 w 648"/>
                <a:gd name="T1" fmla="*/ 649 h 649"/>
                <a:gd name="T2" fmla="*/ 2 w 648"/>
                <a:gd name="T3" fmla="*/ 649 h 649"/>
                <a:gd name="T4" fmla="*/ 648 w 648"/>
                <a:gd name="T5" fmla="*/ 0 h 649"/>
                <a:gd name="T6" fmla="*/ 423 w 648"/>
                <a:gd name="T7" fmla="*/ 0 h 649"/>
                <a:gd name="T8" fmla="*/ 0 w 648"/>
                <a:gd name="T9" fmla="*/ 649 h 649"/>
              </a:gdLst>
              <a:ahLst/>
              <a:cxnLst>
                <a:cxn ang="0">
                  <a:pos x="T0" y="T1"/>
                </a:cxn>
                <a:cxn ang="0">
                  <a:pos x="T2" y="T3"/>
                </a:cxn>
                <a:cxn ang="0">
                  <a:pos x="T4" y="T5"/>
                </a:cxn>
                <a:cxn ang="0">
                  <a:pos x="T6" y="T7"/>
                </a:cxn>
                <a:cxn ang="0">
                  <a:pos x="T8" y="T9"/>
                </a:cxn>
              </a:cxnLst>
              <a:rect l="0" t="0" r="r" b="b"/>
              <a:pathLst>
                <a:path w="648" h="649">
                  <a:moveTo>
                    <a:pt x="0" y="649"/>
                  </a:moveTo>
                  <a:lnTo>
                    <a:pt x="2" y="649"/>
                  </a:lnTo>
                  <a:lnTo>
                    <a:pt x="648" y="0"/>
                  </a:lnTo>
                  <a:lnTo>
                    <a:pt x="423" y="0"/>
                  </a:lnTo>
                  <a:lnTo>
                    <a:pt x="0" y="64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grpSp>
    </p:spTree>
    <p:extLst>
      <p:ext uri="{BB962C8B-B14F-4D97-AF65-F5344CB8AC3E}">
        <p14:creationId xmlns:p14="http://schemas.microsoft.com/office/powerpoint/2010/main" val="810666181"/>
      </p:ext>
    </p:extLst>
  </p:cSld>
  <p:clrMap bg1="lt1" tx1="dk1" bg2="lt2" tx2="dk2" accent1="accent1" accent2="accent2" accent3="accent3" accent4="accent4" accent5="accent5" accent6="accent6" hlink="hlink" folHlink="folHlink"/>
  <p:sldLayoutIdLst>
    <p:sldLayoutId id="2147484390" r:id="rId1"/>
    <p:sldLayoutId id="2147484391" r:id="rId2"/>
    <p:sldLayoutId id="2147484392" r:id="rId3"/>
    <p:sldLayoutId id="2147484393" r:id="rId4"/>
    <p:sldLayoutId id="2147484394" r:id="rId5"/>
    <p:sldLayoutId id="2147484395" r:id="rId6"/>
    <p:sldLayoutId id="2147484396" r:id="rId7"/>
    <p:sldLayoutId id="2147484397" r:id="rId8"/>
    <p:sldLayoutId id="2147484398" r:id="rId9"/>
    <p:sldLayoutId id="2147484399" r:id="rId10"/>
    <p:sldLayoutId id="2147484400" r:id="rId11"/>
    <p:sldLayoutId id="2147484401" r:id="rId12"/>
    <p:sldLayoutId id="2147484402" r:id="rId13"/>
    <p:sldLayoutId id="2147484403" r:id="rId14"/>
    <p:sldLayoutId id="2147484404" r:id="rId15"/>
    <p:sldLayoutId id="2147484405" r:id="rId16"/>
    <p:sldLayoutId id="2147484406" r:id="rId17"/>
    <p:sldLayoutId id="2147484407" r:id="rId18"/>
    <p:sldLayoutId id="2147484408" r:id="rId19"/>
    <p:sldLayoutId id="2147484409" r:id="rId20"/>
    <p:sldLayoutId id="2147484410" r:id="rId21"/>
    <p:sldLayoutId id="2147484411" r:id="rId22"/>
    <p:sldLayoutId id="2147484412" r:id="rId23"/>
    <p:sldLayoutId id="2147484413" r:id="rId24"/>
    <p:sldLayoutId id="2147484414" r:id="rId25"/>
    <p:sldLayoutId id="2147484415" r:id="rId26"/>
    <p:sldLayoutId id="2147484416" r:id="rId27"/>
    <p:sldLayoutId id="2147484417" r:id="rId28"/>
    <p:sldLayoutId id="2147484418" r:id="rId29"/>
    <p:sldLayoutId id="2147484419" r:id="rId30"/>
    <p:sldLayoutId id="2147484420" r:id="rId31"/>
  </p:sldLayoutIdLst>
  <p:hf hdr="0"/>
  <p:txStyles>
    <p:titleStyle>
      <a:lvl1pPr algn="l" defTabSz="914400" rtl="0" eaLnBrk="1" latinLnBrk="0" hangingPunct="1">
        <a:lnSpc>
          <a:spcPct val="100000"/>
        </a:lnSpc>
        <a:spcBef>
          <a:spcPct val="0"/>
        </a:spcBef>
        <a:buNone/>
        <a:defRPr sz="3600" kern="1200">
          <a:solidFill>
            <a:schemeClr val="tx1"/>
          </a:solidFill>
          <a:latin typeface="+mj-lt"/>
          <a:ea typeface="+mj-ea"/>
          <a:cs typeface="+mj-cs"/>
        </a:defRPr>
      </a:lvl1pPr>
    </p:titleStyle>
    <p:bodyStyle>
      <a:lvl1pPr marL="252000" indent="-252000" algn="l" defTabSz="914400" rtl="0" eaLnBrk="1" latinLnBrk="0" hangingPunct="1">
        <a:lnSpc>
          <a:spcPct val="110000"/>
        </a:lnSpc>
        <a:spcBef>
          <a:spcPts val="1000"/>
        </a:spcBef>
        <a:buClr>
          <a:schemeClr val="tx2"/>
        </a:buClr>
        <a:buFont typeface="Wingdings" panose="05000000000000000000" pitchFamily="2" charset="2"/>
        <a:buChar char="§"/>
        <a:defRPr sz="2800" kern="1200">
          <a:solidFill>
            <a:schemeClr val="tx1"/>
          </a:solidFill>
          <a:latin typeface="+mn-lt"/>
          <a:ea typeface="+mn-ea"/>
          <a:cs typeface="+mn-cs"/>
        </a:defRPr>
      </a:lvl1pPr>
      <a:lvl2pPr marL="648000" indent="-252000" algn="l" defTabSz="914400" rtl="0" eaLnBrk="1" latinLnBrk="0" hangingPunct="1">
        <a:lnSpc>
          <a:spcPct val="110000"/>
        </a:lnSpc>
        <a:spcBef>
          <a:spcPts val="600"/>
        </a:spcBef>
        <a:buClr>
          <a:schemeClr val="tx2"/>
        </a:buClr>
        <a:buFont typeface="Wingdings" panose="05000000000000000000" pitchFamily="2" charset="2"/>
        <a:buChar char="§"/>
        <a:defRPr sz="2400" kern="1200">
          <a:solidFill>
            <a:schemeClr val="tx1"/>
          </a:solidFill>
          <a:latin typeface="+mn-lt"/>
          <a:ea typeface="+mn-ea"/>
          <a:cs typeface="+mn-cs"/>
        </a:defRPr>
      </a:lvl2pPr>
      <a:lvl3pPr marL="1080000" indent="-252000" algn="l" defTabSz="914400" rtl="0" eaLnBrk="1" latinLnBrk="0" hangingPunct="1">
        <a:lnSpc>
          <a:spcPct val="110000"/>
        </a:lnSpc>
        <a:spcBef>
          <a:spcPts val="600"/>
        </a:spcBef>
        <a:buClr>
          <a:schemeClr val="tx2"/>
        </a:buClr>
        <a:buFont typeface="Wingdings" panose="05000000000000000000" pitchFamily="2" charset="2"/>
        <a:buChar char="§"/>
        <a:defRPr sz="2000" kern="1200">
          <a:solidFill>
            <a:schemeClr val="tx1"/>
          </a:solidFill>
          <a:latin typeface="+mn-lt"/>
          <a:ea typeface="+mn-ea"/>
          <a:cs typeface="+mn-cs"/>
        </a:defRPr>
      </a:lvl3pPr>
      <a:lvl4pPr marL="0" indent="0" algn="l" defTabSz="914400" rtl="0" eaLnBrk="1" latinLnBrk="0" hangingPunct="1">
        <a:lnSpc>
          <a:spcPct val="110000"/>
        </a:lnSpc>
        <a:spcBef>
          <a:spcPts val="600"/>
        </a:spcBef>
        <a:buClr>
          <a:schemeClr val="tx2"/>
        </a:buClr>
        <a:buFont typeface="Lato" panose="020F0502020204030203" pitchFamily="34" charset="0"/>
        <a:buChar char="​"/>
        <a:defRPr sz="1600" kern="1200">
          <a:solidFill>
            <a:schemeClr val="tx1"/>
          </a:solidFill>
          <a:latin typeface="+mn-lt"/>
          <a:ea typeface="+mn-ea"/>
          <a:cs typeface="+mn-cs"/>
        </a:defRPr>
      </a:lvl4pPr>
      <a:lvl5pPr marL="252000" indent="-252000" algn="l" defTabSz="914400" rtl="0" eaLnBrk="1" latinLnBrk="0" hangingPunct="1">
        <a:lnSpc>
          <a:spcPct val="110000"/>
        </a:lnSpc>
        <a:spcBef>
          <a:spcPts val="600"/>
        </a:spcBef>
        <a:buClr>
          <a:schemeClr val="tx2"/>
        </a:buClr>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319">
          <p15:clr>
            <a:srgbClr val="5ACBF0"/>
          </p15:clr>
        </p15:guide>
        <p15:guide id="3" pos="257">
          <p15:clr>
            <a:srgbClr val="5ACBF0"/>
          </p15:clr>
        </p15:guide>
        <p15:guide id="4" pos="665">
          <p15:clr>
            <a:srgbClr val="5ACBF0"/>
          </p15:clr>
        </p15:guide>
        <p15:guide id="5" pos="7038">
          <p15:clr>
            <a:srgbClr val="5ACBF0"/>
          </p15:clr>
        </p15:guide>
        <p15:guide id="6" pos="7446">
          <p15:clr>
            <a:srgbClr val="5ACBF0"/>
          </p15:clr>
        </p15:guide>
        <p15:guide id="7" orient="horz" pos="255">
          <p15:clr>
            <a:srgbClr val="5ACBF0"/>
          </p15:clr>
        </p15:guide>
        <p15:guide id="8" orient="horz" pos="663">
          <p15:clr>
            <a:srgbClr val="5ACBF0"/>
          </p15:clr>
        </p15:guide>
        <p15:guide id="9" orient="horz" pos="799">
          <p15:clr>
            <a:srgbClr val="5ACBF0"/>
          </p15:clr>
        </p15:guide>
        <p15:guide id="10" orient="horz" pos="1026">
          <p15:clr>
            <a:srgbClr val="5ACBF0"/>
          </p15:clr>
        </p15:guide>
        <p15:guide id="11" orient="horz" pos="3634">
          <p15:clr>
            <a:srgbClr val="5ACBF0"/>
          </p15:clr>
        </p15:guide>
        <p15:guide id="12" orient="horz" pos="3929">
          <p15:clr>
            <a:srgbClr val="5ACBF0"/>
          </p15:clr>
        </p15:guide>
        <p15:guide id="13" orient="horz" pos="4133">
          <p15:clr>
            <a:srgbClr val="5ACBF0"/>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pSp>
        <p:nvGrpSpPr>
          <p:cNvPr id="13" name="logo">
            <a:extLst>
              <a:ext uri="{FF2B5EF4-FFF2-40B4-BE49-F238E27FC236}">
                <a16:creationId xmlns:a16="http://schemas.microsoft.com/office/drawing/2014/main" id="{57BD2C4C-DC67-B843-B26C-309622FC75F7}"/>
              </a:ext>
            </a:extLst>
          </p:cNvPr>
          <p:cNvGrpSpPr>
            <a:grpSpLocks noChangeAspect="1"/>
          </p:cNvGrpSpPr>
          <p:nvPr/>
        </p:nvGrpSpPr>
        <p:grpSpPr bwMode="gray">
          <a:xfrm>
            <a:off x="11174020" y="401441"/>
            <a:ext cx="644225" cy="646507"/>
            <a:chOff x="2711" y="1027"/>
            <a:chExt cx="2258" cy="2266"/>
          </a:xfrm>
        </p:grpSpPr>
        <p:sp>
          <p:nvSpPr>
            <p:cNvPr id="14" name="AutoShape 3">
              <a:extLst>
                <a:ext uri="{FF2B5EF4-FFF2-40B4-BE49-F238E27FC236}">
                  <a16:creationId xmlns:a16="http://schemas.microsoft.com/office/drawing/2014/main" id="{FE1DC41B-291E-574C-9F2C-874E70A40758}"/>
                </a:ext>
              </a:extLst>
            </p:cNvPr>
            <p:cNvSpPr>
              <a:spLocks noChangeAspect="1" noChangeArrowheads="1" noTextEdit="1"/>
            </p:cNvSpPr>
            <p:nvPr/>
          </p:nvSpPr>
          <p:spPr bwMode="gray">
            <a:xfrm>
              <a:off x="2711" y="1027"/>
              <a:ext cx="2258" cy="22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sz="1350" dirty="0"/>
            </a:p>
          </p:txBody>
        </p:sp>
        <p:sp>
          <p:nvSpPr>
            <p:cNvPr id="15" name="Freeform 5">
              <a:extLst>
                <a:ext uri="{FF2B5EF4-FFF2-40B4-BE49-F238E27FC236}">
                  <a16:creationId xmlns:a16="http://schemas.microsoft.com/office/drawing/2014/main" id="{D4B633C8-F761-C54B-9BD2-EB59D49A2DBC}"/>
                </a:ext>
              </a:extLst>
            </p:cNvPr>
            <p:cNvSpPr>
              <a:spLocks/>
            </p:cNvSpPr>
            <p:nvPr/>
          </p:nvSpPr>
          <p:spPr bwMode="gray">
            <a:xfrm>
              <a:off x="2709" y="1029"/>
              <a:ext cx="2260" cy="2262"/>
            </a:xfrm>
            <a:custGeom>
              <a:avLst/>
              <a:gdLst>
                <a:gd name="T0" fmla="*/ 2260 w 2260"/>
                <a:gd name="T1" fmla="*/ 0 h 2262"/>
                <a:gd name="T2" fmla="*/ 1612 w 2260"/>
                <a:gd name="T3" fmla="*/ 649 h 2262"/>
                <a:gd name="T4" fmla="*/ 1612 w 2260"/>
                <a:gd name="T5" fmla="*/ 649 h 2262"/>
                <a:gd name="T6" fmla="*/ 2035 w 2260"/>
                <a:gd name="T7" fmla="*/ 0 h 2262"/>
                <a:gd name="T8" fmla="*/ 0 w 2260"/>
                <a:gd name="T9" fmla="*/ 0 h 2262"/>
                <a:gd name="T10" fmla="*/ 0 w 2260"/>
                <a:gd name="T11" fmla="*/ 2262 h 2262"/>
                <a:gd name="T12" fmla="*/ 2260 w 2260"/>
                <a:gd name="T13" fmla="*/ 2262 h 2262"/>
                <a:gd name="T14" fmla="*/ 2260 w 2260"/>
                <a:gd name="T15" fmla="*/ 0 h 2262"/>
                <a:gd name="T16" fmla="*/ 2260 w 2260"/>
                <a:gd name="T17" fmla="*/ 0 h 2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0" h="2262">
                  <a:moveTo>
                    <a:pt x="2260" y="0"/>
                  </a:moveTo>
                  <a:lnTo>
                    <a:pt x="1612" y="649"/>
                  </a:lnTo>
                  <a:lnTo>
                    <a:pt x="1612" y="649"/>
                  </a:lnTo>
                  <a:lnTo>
                    <a:pt x="2035" y="0"/>
                  </a:lnTo>
                  <a:lnTo>
                    <a:pt x="0" y="0"/>
                  </a:lnTo>
                  <a:lnTo>
                    <a:pt x="0" y="2262"/>
                  </a:lnTo>
                  <a:lnTo>
                    <a:pt x="2260" y="2262"/>
                  </a:lnTo>
                  <a:lnTo>
                    <a:pt x="2260" y="0"/>
                  </a:lnTo>
                  <a:lnTo>
                    <a:pt x="2260" y="0"/>
                  </a:lnTo>
                  <a:close/>
                </a:path>
              </a:pathLst>
            </a:custGeom>
            <a:solidFill>
              <a:srgbClr val="E55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0" dirty="0"/>
            </a:p>
          </p:txBody>
        </p:sp>
        <p:sp>
          <p:nvSpPr>
            <p:cNvPr id="16" name="Freeform 6">
              <a:extLst>
                <a:ext uri="{FF2B5EF4-FFF2-40B4-BE49-F238E27FC236}">
                  <a16:creationId xmlns:a16="http://schemas.microsoft.com/office/drawing/2014/main" id="{B16BAAE4-1A41-C843-9754-490F7A1E1270}"/>
                </a:ext>
              </a:extLst>
            </p:cNvPr>
            <p:cNvSpPr>
              <a:spLocks noEditPoints="1"/>
            </p:cNvSpPr>
            <p:nvPr/>
          </p:nvSpPr>
          <p:spPr bwMode="gray">
            <a:xfrm>
              <a:off x="3623" y="1696"/>
              <a:ext cx="1167" cy="922"/>
            </a:xfrm>
            <a:custGeom>
              <a:avLst/>
              <a:gdLst>
                <a:gd name="T0" fmla="*/ 411 w 580"/>
                <a:gd name="T1" fmla="*/ 213 h 458"/>
                <a:gd name="T2" fmla="*/ 570 w 580"/>
                <a:gd name="T3" fmla="*/ 37 h 458"/>
                <a:gd name="T4" fmla="*/ 580 w 580"/>
                <a:gd name="T5" fmla="*/ 20 h 458"/>
                <a:gd name="T6" fmla="*/ 545 w 580"/>
                <a:gd name="T7" fmla="*/ 0 h 458"/>
                <a:gd name="T8" fmla="*/ 519 w 580"/>
                <a:gd name="T9" fmla="*/ 16 h 458"/>
                <a:gd name="T10" fmla="*/ 344 w 580"/>
                <a:gd name="T11" fmla="*/ 210 h 458"/>
                <a:gd name="T12" fmla="*/ 334 w 580"/>
                <a:gd name="T13" fmla="*/ 229 h 458"/>
                <a:gd name="T14" fmla="*/ 344 w 580"/>
                <a:gd name="T15" fmla="*/ 248 h 458"/>
                <a:gd name="T16" fmla="*/ 519 w 580"/>
                <a:gd name="T17" fmla="*/ 442 h 458"/>
                <a:gd name="T18" fmla="*/ 545 w 580"/>
                <a:gd name="T19" fmla="*/ 458 h 458"/>
                <a:gd name="T20" fmla="*/ 580 w 580"/>
                <a:gd name="T21" fmla="*/ 438 h 458"/>
                <a:gd name="T22" fmla="*/ 570 w 580"/>
                <a:gd name="T23" fmla="*/ 421 h 458"/>
                <a:gd name="T24" fmla="*/ 411 w 580"/>
                <a:gd name="T25" fmla="*/ 245 h 458"/>
                <a:gd name="T26" fmla="*/ 399 w 580"/>
                <a:gd name="T27" fmla="*/ 229 h 458"/>
                <a:gd name="T28" fmla="*/ 411 w 580"/>
                <a:gd name="T29" fmla="*/ 213 h 458"/>
                <a:gd name="T30" fmla="*/ 252 w 580"/>
                <a:gd name="T31" fmla="*/ 439 h 458"/>
                <a:gd name="T32" fmla="*/ 281 w 580"/>
                <a:gd name="T33" fmla="*/ 454 h 458"/>
                <a:gd name="T34" fmla="*/ 309 w 580"/>
                <a:gd name="T35" fmla="*/ 439 h 458"/>
                <a:gd name="T36" fmla="*/ 309 w 580"/>
                <a:gd name="T37" fmla="*/ 19 h 458"/>
                <a:gd name="T38" fmla="*/ 281 w 580"/>
                <a:gd name="T39" fmla="*/ 4 h 458"/>
                <a:gd name="T40" fmla="*/ 252 w 580"/>
                <a:gd name="T41" fmla="*/ 19 h 458"/>
                <a:gd name="T42" fmla="*/ 252 w 580"/>
                <a:gd name="T43" fmla="*/ 439 h 458"/>
                <a:gd name="T44" fmla="*/ 0 w 580"/>
                <a:gd name="T45" fmla="*/ 439 h 458"/>
                <a:gd name="T46" fmla="*/ 28 w 580"/>
                <a:gd name="T47" fmla="*/ 454 h 458"/>
                <a:gd name="T48" fmla="*/ 56 w 580"/>
                <a:gd name="T49" fmla="*/ 439 h 458"/>
                <a:gd name="T50" fmla="*/ 56 w 580"/>
                <a:gd name="T51" fmla="*/ 157 h 458"/>
                <a:gd name="T52" fmla="*/ 165 w 580"/>
                <a:gd name="T53" fmla="*/ 53 h 458"/>
                <a:gd name="T54" fmla="*/ 180 w 580"/>
                <a:gd name="T55" fmla="*/ 53 h 458"/>
                <a:gd name="T56" fmla="*/ 196 w 580"/>
                <a:gd name="T57" fmla="*/ 27 h 458"/>
                <a:gd name="T58" fmla="*/ 154 w 580"/>
                <a:gd name="T59" fmla="*/ 4 h 458"/>
                <a:gd name="T60" fmla="*/ 0 w 580"/>
                <a:gd name="T61" fmla="*/ 152 h 458"/>
                <a:gd name="T62" fmla="*/ 0 w 580"/>
                <a:gd name="T63" fmla="*/ 439 h 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80" h="458">
                  <a:moveTo>
                    <a:pt x="411" y="213"/>
                  </a:moveTo>
                  <a:cubicBezTo>
                    <a:pt x="570" y="37"/>
                    <a:pt x="570" y="37"/>
                    <a:pt x="570" y="37"/>
                  </a:cubicBezTo>
                  <a:cubicBezTo>
                    <a:pt x="576" y="30"/>
                    <a:pt x="580" y="25"/>
                    <a:pt x="580" y="20"/>
                  </a:cubicBezTo>
                  <a:cubicBezTo>
                    <a:pt x="580" y="10"/>
                    <a:pt x="559" y="0"/>
                    <a:pt x="545" y="0"/>
                  </a:cubicBezTo>
                  <a:cubicBezTo>
                    <a:pt x="535" y="0"/>
                    <a:pt x="526" y="8"/>
                    <a:pt x="519" y="16"/>
                  </a:cubicBezTo>
                  <a:cubicBezTo>
                    <a:pt x="344" y="210"/>
                    <a:pt x="344" y="210"/>
                    <a:pt x="344" y="210"/>
                  </a:cubicBezTo>
                  <a:cubicBezTo>
                    <a:pt x="336" y="219"/>
                    <a:pt x="334" y="224"/>
                    <a:pt x="334" y="229"/>
                  </a:cubicBezTo>
                  <a:cubicBezTo>
                    <a:pt x="334" y="234"/>
                    <a:pt x="336" y="239"/>
                    <a:pt x="344" y="248"/>
                  </a:cubicBezTo>
                  <a:cubicBezTo>
                    <a:pt x="519" y="442"/>
                    <a:pt x="519" y="442"/>
                    <a:pt x="519" y="442"/>
                  </a:cubicBezTo>
                  <a:cubicBezTo>
                    <a:pt x="526" y="450"/>
                    <a:pt x="535" y="458"/>
                    <a:pt x="545" y="458"/>
                  </a:cubicBezTo>
                  <a:cubicBezTo>
                    <a:pt x="559" y="458"/>
                    <a:pt x="580" y="448"/>
                    <a:pt x="580" y="438"/>
                  </a:cubicBezTo>
                  <a:cubicBezTo>
                    <a:pt x="580" y="433"/>
                    <a:pt x="576" y="428"/>
                    <a:pt x="570" y="421"/>
                  </a:cubicBezTo>
                  <a:cubicBezTo>
                    <a:pt x="411" y="245"/>
                    <a:pt x="411" y="245"/>
                    <a:pt x="411" y="245"/>
                  </a:cubicBezTo>
                  <a:cubicBezTo>
                    <a:pt x="403" y="236"/>
                    <a:pt x="399" y="232"/>
                    <a:pt x="399" y="229"/>
                  </a:cubicBezTo>
                  <a:cubicBezTo>
                    <a:pt x="399" y="226"/>
                    <a:pt x="403" y="222"/>
                    <a:pt x="411" y="213"/>
                  </a:cubicBezTo>
                  <a:moveTo>
                    <a:pt x="252" y="439"/>
                  </a:moveTo>
                  <a:cubicBezTo>
                    <a:pt x="252" y="449"/>
                    <a:pt x="261" y="454"/>
                    <a:pt x="281" y="454"/>
                  </a:cubicBezTo>
                  <a:cubicBezTo>
                    <a:pt x="300" y="454"/>
                    <a:pt x="309" y="449"/>
                    <a:pt x="309" y="439"/>
                  </a:cubicBezTo>
                  <a:cubicBezTo>
                    <a:pt x="309" y="19"/>
                    <a:pt x="309" y="19"/>
                    <a:pt x="309" y="19"/>
                  </a:cubicBezTo>
                  <a:cubicBezTo>
                    <a:pt x="309" y="9"/>
                    <a:pt x="300" y="4"/>
                    <a:pt x="281" y="4"/>
                  </a:cubicBezTo>
                  <a:cubicBezTo>
                    <a:pt x="261" y="4"/>
                    <a:pt x="252" y="9"/>
                    <a:pt x="252" y="19"/>
                  </a:cubicBezTo>
                  <a:lnTo>
                    <a:pt x="252" y="439"/>
                  </a:lnTo>
                  <a:close/>
                  <a:moveTo>
                    <a:pt x="0" y="439"/>
                  </a:moveTo>
                  <a:cubicBezTo>
                    <a:pt x="0" y="449"/>
                    <a:pt x="8" y="454"/>
                    <a:pt x="28" y="454"/>
                  </a:cubicBezTo>
                  <a:cubicBezTo>
                    <a:pt x="48" y="454"/>
                    <a:pt x="56" y="449"/>
                    <a:pt x="56" y="439"/>
                  </a:cubicBezTo>
                  <a:cubicBezTo>
                    <a:pt x="56" y="157"/>
                    <a:pt x="56" y="157"/>
                    <a:pt x="56" y="157"/>
                  </a:cubicBezTo>
                  <a:cubicBezTo>
                    <a:pt x="56" y="83"/>
                    <a:pt x="85" y="53"/>
                    <a:pt x="165" y="53"/>
                  </a:cubicBezTo>
                  <a:cubicBezTo>
                    <a:pt x="180" y="53"/>
                    <a:pt x="180" y="53"/>
                    <a:pt x="180" y="53"/>
                  </a:cubicBezTo>
                  <a:cubicBezTo>
                    <a:pt x="192" y="53"/>
                    <a:pt x="196" y="43"/>
                    <a:pt x="196" y="27"/>
                  </a:cubicBezTo>
                  <a:cubicBezTo>
                    <a:pt x="196" y="8"/>
                    <a:pt x="185" y="4"/>
                    <a:pt x="154" y="4"/>
                  </a:cubicBezTo>
                  <a:cubicBezTo>
                    <a:pt x="64" y="4"/>
                    <a:pt x="0" y="43"/>
                    <a:pt x="0" y="152"/>
                  </a:cubicBezTo>
                  <a:lnTo>
                    <a:pt x="0" y="43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0" dirty="0"/>
            </a:p>
          </p:txBody>
        </p:sp>
        <p:sp>
          <p:nvSpPr>
            <p:cNvPr id="17" name="Freeform 7">
              <a:extLst>
                <a:ext uri="{FF2B5EF4-FFF2-40B4-BE49-F238E27FC236}">
                  <a16:creationId xmlns:a16="http://schemas.microsoft.com/office/drawing/2014/main" id="{2F32DCBD-8628-F245-85CD-97686A20ECFD}"/>
                </a:ext>
              </a:extLst>
            </p:cNvPr>
            <p:cNvSpPr>
              <a:spLocks/>
            </p:cNvSpPr>
            <p:nvPr/>
          </p:nvSpPr>
          <p:spPr bwMode="gray">
            <a:xfrm>
              <a:off x="2880" y="1704"/>
              <a:ext cx="618" cy="916"/>
            </a:xfrm>
            <a:custGeom>
              <a:avLst/>
              <a:gdLst>
                <a:gd name="T0" fmla="*/ 307 w 307"/>
                <a:gd name="T1" fmla="*/ 405 h 455"/>
                <a:gd name="T2" fmla="*/ 307 w 307"/>
                <a:gd name="T3" fmla="*/ 244 h 455"/>
                <a:gd name="T4" fmla="*/ 279 w 307"/>
                <a:gd name="T5" fmla="*/ 229 h 455"/>
                <a:gd name="T6" fmla="*/ 250 w 307"/>
                <a:gd name="T7" fmla="*/ 244 h 455"/>
                <a:gd name="T8" fmla="*/ 250 w 307"/>
                <a:gd name="T9" fmla="*/ 378 h 455"/>
                <a:gd name="T10" fmla="*/ 199 w 307"/>
                <a:gd name="T11" fmla="*/ 408 h 455"/>
                <a:gd name="T12" fmla="*/ 61 w 307"/>
                <a:gd name="T13" fmla="*/ 231 h 455"/>
                <a:gd name="T14" fmla="*/ 238 w 307"/>
                <a:gd name="T15" fmla="*/ 49 h 455"/>
                <a:gd name="T16" fmla="*/ 270 w 307"/>
                <a:gd name="T17" fmla="*/ 49 h 455"/>
                <a:gd name="T18" fmla="*/ 286 w 307"/>
                <a:gd name="T19" fmla="*/ 23 h 455"/>
                <a:gd name="T20" fmla="*/ 244 w 307"/>
                <a:gd name="T21" fmla="*/ 0 h 455"/>
                <a:gd name="T22" fmla="*/ 231 w 307"/>
                <a:gd name="T23" fmla="*/ 0 h 455"/>
                <a:gd name="T24" fmla="*/ 0 w 307"/>
                <a:gd name="T25" fmla="*/ 232 h 455"/>
                <a:gd name="T26" fmla="*/ 198 w 307"/>
                <a:gd name="T27" fmla="*/ 455 h 455"/>
                <a:gd name="T28" fmla="*/ 307 w 307"/>
                <a:gd name="T29" fmla="*/ 405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7" h="455">
                  <a:moveTo>
                    <a:pt x="307" y="405"/>
                  </a:moveTo>
                  <a:cubicBezTo>
                    <a:pt x="307" y="244"/>
                    <a:pt x="307" y="244"/>
                    <a:pt x="307" y="244"/>
                  </a:cubicBezTo>
                  <a:cubicBezTo>
                    <a:pt x="307" y="234"/>
                    <a:pt x="298" y="229"/>
                    <a:pt x="279" y="229"/>
                  </a:cubicBezTo>
                  <a:cubicBezTo>
                    <a:pt x="259" y="229"/>
                    <a:pt x="250" y="234"/>
                    <a:pt x="250" y="244"/>
                  </a:cubicBezTo>
                  <a:cubicBezTo>
                    <a:pt x="250" y="378"/>
                    <a:pt x="250" y="378"/>
                    <a:pt x="250" y="378"/>
                  </a:cubicBezTo>
                  <a:cubicBezTo>
                    <a:pt x="250" y="399"/>
                    <a:pt x="241" y="408"/>
                    <a:pt x="199" y="408"/>
                  </a:cubicBezTo>
                  <a:cubicBezTo>
                    <a:pt x="114" y="408"/>
                    <a:pt x="61" y="342"/>
                    <a:pt x="61" y="231"/>
                  </a:cubicBezTo>
                  <a:cubicBezTo>
                    <a:pt x="61" y="115"/>
                    <a:pt x="126" y="49"/>
                    <a:pt x="238" y="49"/>
                  </a:cubicBezTo>
                  <a:cubicBezTo>
                    <a:pt x="270" y="49"/>
                    <a:pt x="270" y="49"/>
                    <a:pt x="270" y="49"/>
                  </a:cubicBezTo>
                  <a:cubicBezTo>
                    <a:pt x="282" y="49"/>
                    <a:pt x="286" y="39"/>
                    <a:pt x="286" y="23"/>
                  </a:cubicBezTo>
                  <a:cubicBezTo>
                    <a:pt x="286" y="4"/>
                    <a:pt x="275" y="0"/>
                    <a:pt x="244" y="0"/>
                  </a:cubicBezTo>
                  <a:cubicBezTo>
                    <a:pt x="231" y="0"/>
                    <a:pt x="231" y="0"/>
                    <a:pt x="231" y="0"/>
                  </a:cubicBezTo>
                  <a:cubicBezTo>
                    <a:pt x="101" y="0"/>
                    <a:pt x="0" y="71"/>
                    <a:pt x="0" y="232"/>
                  </a:cubicBezTo>
                  <a:cubicBezTo>
                    <a:pt x="0" y="386"/>
                    <a:pt x="88" y="455"/>
                    <a:pt x="198" y="455"/>
                  </a:cubicBezTo>
                  <a:cubicBezTo>
                    <a:pt x="286" y="455"/>
                    <a:pt x="307" y="430"/>
                    <a:pt x="307" y="40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0" dirty="0"/>
            </a:p>
          </p:txBody>
        </p:sp>
        <p:sp>
          <p:nvSpPr>
            <p:cNvPr id="18" name="Oval 8">
              <a:extLst>
                <a:ext uri="{FF2B5EF4-FFF2-40B4-BE49-F238E27FC236}">
                  <a16:creationId xmlns:a16="http://schemas.microsoft.com/office/drawing/2014/main" id="{60D97C11-1A3B-5449-A48D-98A3E79B3810}"/>
                </a:ext>
              </a:extLst>
            </p:cNvPr>
            <p:cNvSpPr>
              <a:spLocks noChangeArrowheads="1"/>
            </p:cNvSpPr>
            <p:nvPr/>
          </p:nvSpPr>
          <p:spPr bwMode="gray">
            <a:xfrm>
              <a:off x="3778" y="2099"/>
              <a:ext cx="122" cy="12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0" dirty="0"/>
            </a:p>
          </p:txBody>
        </p:sp>
        <p:sp>
          <p:nvSpPr>
            <p:cNvPr id="19" name="Freeform 9">
              <a:extLst>
                <a:ext uri="{FF2B5EF4-FFF2-40B4-BE49-F238E27FC236}">
                  <a16:creationId xmlns:a16="http://schemas.microsoft.com/office/drawing/2014/main" id="{5856770D-B8F0-244E-A05D-AED190086F10}"/>
                </a:ext>
              </a:extLst>
            </p:cNvPr>
            <p:cNvSpPr>
              <a:spLocks noEditPoints="1"/>
            </p:cNvSpPr>
            <p:nvPr/>
          </p:nvSpPr>
          <p:spPr bwMode="gray">
            <a:xfrm>
              <a:off x="3623" y="1696"/>
              <a:ext cx="1167" cy="922"/>
            </a:xfrm>
            <a:custGeom>
              <a:avLst/>
              <a:gdLst>
                <a:gd name="T0" fmla="*/ 411 w 580"/>
                <a:gd name="T1" fmla="*/ 213 h 458"/>
                <a:gd name="T2" fmla="*/ 570 w 580"/>
                <a:gd name="T3" fmla="*/ 37 h 458"/>
                <a:gd name="T4" fmla="*/ 580 w 580"/>
                <a:gd name="T5" fmla="*/ 20 h 458"/>
                <a:gd name="T6" fmla="*/ 545 w 580"/>
                <a:gd name="T7" fmla="*/ 0 h 458"/>
                <a:gd name="T8" fmla="*/ 519 w 580"/>
                <a:gd name="T9" fmla="*/ 16 h 458"/>
                <a:gd name="T10" fmla="*/ 344 w 580"/>
                <a:gd name="T11" fmla="*/ 210 h 458"/>
                <a:gd name="T12" fmla="*/ 334 w 580"/>
                <a:gd name="T13" fmla="*/ 229 h 458"/>
                <a:gd name="T14" fmla="*/ 344 w 580"/>
                <a:gd name="T15" fmla="*/ 248 h 458"/>
                <a:gd name="T16" fmla="*/ 519 w 580"/>
                <a:gd name="T17" fmla="*/ 442 h 458"/>
                <a:gd name="T18" fmla="*/ 545 w 580"/>
                <a:gd name="T19" fmla="*/ 458 h 458"/>
                <a:gd name="T20" fmla="*/ 580 w 580"/>
                <a:gd name="T21" fmla="*/ 438 h 458"/>
                <a:gd name="T22" fmla="*/ 570 w 580"/>
                <a:gd name="T23" fmla="*/ 421 h 458"/>
                <a:gd name="T24" fmla="*/ 411 w 580"/>
                <a:gd name="T25" fmla="*/ 245 h 458"/>
                <a:gd name="T26" fmla="*/ 399 w 580"/>
                <a:gd name="T27" fmla="*/ 229 h 458"/>
                <a:gd name="T28" fmla="*/ 411 w 580"/>
                <a:gd name="T29" fmla="*/ 213 h 458"/>
                <a:gd name="T30" fmla="*/ 252 w 580"/>
                <a:gd name="T31" fmla="*/ 439 h 458"/>
                <a:gd name="T32" fmla="*/ 281 w 580"/>
                <a:gd name="T33" fmla="*/ 454 h 458"/>
                <a:gd name="T34" fmla="*/ 309 w 580"/>
                <a:gd name="T35" fmla="*/ 439 h 458"/>
                <a:gd name="T36" fmla="*/ 309 w 580"/>
                <a:gd name="T37" fmla="*/ 19 h 458"/>
                <a:gd name="T38" fmla="*/ 281 w 580"/>
                <a:gd name="T39" fmla="*/ 4 h 458"/>
                <a:gd name="T40" fmla="*/ 252 w 580"/>
                <a:gd name="T41" fmla="*/ 19 h 458"/>
                <a:gd name="T42" fmla="*/ 252 w 580"/>
                <a:gd name="T43" fmla="*/ 439 h 458"/>
                <a:gd name="T44" fmla="*/ 0 w 580"/>
                <a:gd name="T45" fmla="*/ 439 h 458"/>
                <a:gd name="T46" fmla="*/ 28 w 580"/>
                <a:gd name="T47" fmla="*/ 454 h 458"/>
                <a:gd name="T48" fmla="*/ 56 w 580"/>
                <a:gd name="T49" fmla="*/ 439 h 458"/>
                <a:gd name="T50" fmla="*/ 56 w 580"/>
                <a:gd name="T51" fmla="*/ 157 h 458"/>
                <a:gd name="T52" fmla="*/ 165 w 580"/>
                <a:gd name="T53" fmla="*/ 53 h 458"/>
                <a:gd name="T54" fmla="*/ 180 w 580"/>
                <a:gd name="T55" fmla="*/ 53 h 458"/>
                <a:gd name="T56" fmla="*/ 196 w 580"/>
                <a:gd name="T57" fmla="*/ 27 h 458"/>
                <a:gd name="T58" fmla="*/ 154 w 580"/>
                <a:gd name="T59" fmla="*/ 4 h 458"/>
                <a:gd name="T60" fmla="*/ 0 w 580"/>
                <a:gd name="T61" fmla="*/ 152 h 458"/>
                <a:gd name="T62" fmla="*/ 0 w 580"/>
                <a:gd name="T63" fmla="*/ 439 h 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80" h="458">
                  <a:moveTo>
                    <a:pt x="411" y="213"/>
                  </a:moveTo>
                  <a:cubicBezTo>
                    <a:pt x="570" y="37"/>
                    <a:pt x="570" y="37"/>
                    <a:pt x="570" y="37"/>
                  </a:cubicBezTo>
                  <a:cubicBezTo>
                    <a:pt x="576" y="30"/>
                    <a:pt x="580" y="25"/>
                    <a:pt x="580" y="20"/>
                  </a:cubicBezTo>
                  <a:cubicBezTo>
                    <a:pt x="580" y="10"/>
                    <a:pt x="559" y="0"/>
                    <a:pt x="545" y="0"/>
                  </a:cubicBezTo>
                  <a:cubicBezTo>
                    <a:pt x="535" y="0"/>
                    <a:pt x="526" y="8"/>
                    <a:pt x="519" y="16"/>
                  </a:cubicBezTo>
                  <a:cubicBezTo>
                    <a:pt x="344" y="210"/>
                    <a:pt x="344" y="210"/>
                    <a:pt x="344" y="210"/>
                  </a:cubicBezTo>
                  <a:cubicBezTo>
                    <a:pt x="336" y="219"/>
                    <a:pt x="334" y="224"/>
                    <a:pt x="334" y="229"/>
                  </a:cubicBezTo>
                  <a:cubicBezTo>
                    <a:pt x="334" y="234"/>
                    <a:pt x="336" y="239"/>
                    <a:pt x="344" y="248"/>
                  </a:cubicBezTo>
                  <a:cubicBezTo>
                    <a:pt x="519" y="442"/>
                    <a:pt x="519" y="442"/>
                    <a:pt x="519" y="442"/>
                  </a:cubicBezTo>
                  <a:cubicBezTo>
                    <a:pt x="526" y="450"/>
                    <a:pt x="535" y="458"/>
                    <a:pt x="545" y="458"/>
                  </a:cubicBezTo>
                  <a:cubicBezTo>
                    <a:pt x="559" y="458"/>
                    <a:pt x="580" y="448"/>
                    <a:pt x="580" y="438"/>
                  </a:cubicBezTo>
                  <a:cubicBezTo>
                    <a:pt x="580" y="433"/>
                    <a:pt x="576" y="428"/>
                    <a:pt x="570" y="421"/>
                  </a:cubicBezTo>
                  <a:cubicBezTo>
                    <a:pt x="411" y="245"/>
                    <a:pt x="411" y="245"/>
                    <a:pt x="411" y="245"/>
                  </a:cubicBezTo>
                  <a:cubicBezTo>
                    <a:pt x="403" y="236"/>
                    <a:pt x="399" y="232"/>
                    <a:pt x="399" y="229"/>
                  </a:cubicBezTo>
                  <a:cubicBezTo>
                    <a:pt x="399" y="226"/>
                    <a:pt x="403" y="222"/>
                    <a:pt x="411" y="213"/>
                  </a:cubicBezTo>
                  <a:moveTo>
                    <a:pt x="252" y="439"/>
                  </a:moveTo>
                  <a:cubicBezTo>
                    <a:pt x="252" y="449"/>
                    <a:pt x="261" y="454"/>
                    <a:pt x="281" y="454"/>
                  </a:cubicBezTo>
                  <a:cubicBezTo>
                    <a:pt x="300" y="454"/>
                    <a:pt x="309" y="449"/>
                    <a:pt x="309" y="439"/>
                  </a:cubicBezTo>
                  <a:cubicBezTo>
                    <a:pt x="309" y="19"/>
                    <a:pt x="309" y="19"/>
                    <a:pt x="309" y="19"/>
                  </a:cubicBezTo>
                  <a:cubicBezTo>
                    <a:pt x="309" y="9"/>
                    <a:pt x="300" y="4"/>
                    <a:pt x="281" y="4"/>
                  </a:cubicBezTo>
                  <a:cubicBezTo>
                    <a:pt x="261" y="4"/>
                    <a:pt x="252" y="9"/>
                    <a:pt x="252" y="19"/>
                  </a:cubicBezTo>
                  <a:lnTo>
                    <a:pt x="252" y="439"/>
                  </a:lnTo>
                  <a:close/>
                  <a:moveTo>
                    <a:pt x="0" y="439"/>
                  </a:moveTo>
                  <a:cubicBezTo>
                    <a:pt x="0" y="449"/>
                    <a:pt x="8" y="454"/>
                    <a:pt x="28" y="454"/>
                  </a:cubicBezTo>
                  <a:cubicBezTo>
                    <a:pt x="48" y="454"/>
                    <a:pt x="56" y="449"/>
                    <a:pt x="56" y="439"/>
                  </a:cubicBezTo>
                  <a:cubicBezTo>
                    <a:pt x="56" y="157"/>
                    <a:pt x="56" y="157"/>
                    <a:pt x="56" y="157"/>
                  </a:cubicBezTo>
                  <a:cubicBezTo>
                    <a:pt x="56" y="83"/>
                    <a:pt x="85" y="53"/>
                    <a:pt x="165" y="53"/>
                  </a:cubicBezTo>
                  <a:cubicBezTo>
                    <a:pt x="180" y="53"/>
                    <a:pt x="180" y="53"/>
                    <a:pt x="180" y="53"/>
                  </a:cubicBezTo>
                  <a:cubicBezTo>
                    <a:pt x="192" y="53"/>
                    <a:pt x="196" y="43"/>
                    <a:pt x="196" y="27"/>
                  </a:cubicBezTo>
                  <a:cubicBezTo>
                    <a:pt x="196" y="8"/>
                    <a:pt x="185" y="4"/>
                    <a:pt x="154" y="4"/>
                  </a:cubicBezTo>
                  <a:cubicBezTo>
                    <a:pt x="64" y="4"/>
                    <a:pt x="0" y="43"/>
                    <a:pt x="0" y="152"/>
                  </a:cubicBezTo>
                  <a:lnTo>
                    <a:pt x="0" y="43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0" dirty="0"/>
            </a:p>
          </p:txBody>
        </p:sp>
        <p:sp>
          <p:nvSpPr>
            <p:cNvPr id="22" name="Freeform 10">
              <a:extLst>
                <a:ext uri="{FF2B5EF4-FFF2-40B4-BE49-F238E27FC236}">
                  <a16:creationId xmlns:a16="http://schemas.microsoft.com/office/drawing/2014/main" id="{2B91B16B-BC11-E547-8FAC-B9B8D18EA449}"/>
                </a:ext>
              </a:extLst>
            </p:cNvPr>
            <p:cNvSpPr>
              <a:spLocks/>
            </p:cNvSpPr>
            <p:nvPr/>
          </p:nvSpPr>
          <p:spPr bwMode="gray">
            <a:xfrm>
              <a:off x="2880" y="1704"/>
              <a:ext cx="618" cy="916"/>
            </a:xfrm>
            <a:custGeom>
              <a:avLst/>
              <a:gdLst>
                <a:gd name="T0" fmla="*/ 307 w 307"/>
                <a:gd name="T1" fmla="*/ 405 h 455"/>
                <a:gd name="T2" fmla="*/ 307 w 307"/>
                <a:gd name="T3" fmla="*/ 244 h 455"/>
                <a:gd name="T4" fmla="*/ 279 w 307"/>
                <a:gd name="T5" fmla="*/ 229 h 455"/>
                <a:gd name="T6" fmla="*/ 250 w 307"/>
                <a:gd name="T7" fmla="*/ 244 h 455"/>
                <a:gd name="T8" fmla="*/ 250 w 307"/>
                <a:gd name="T9" fmla="*/ 378 h 455"/>
                <a:gd name="T10" fmla="*/ 199 w 307"/>
                <a:gd name="T11" fmla="*/ 408 h 455"/>
                <a:gd name="T12" fmla="*/ 61 w 307"/>
                <a:gd name="T13" fmla="*/ 231 h 455"/>
                <a:gd name="T14" fmla="*/ 238 w 307"/>
                <a:gd name="T15" fmla="*/ 49 h 455"/>
                <a:gd name="T16" fmla="*/ 270 w 307"/>
                <a:gd name="T17" fmla="*/ 49 h 455"/>
                <a:gd name="T18" fmla="*/ 286 w 307"/>
                <a:gd name="T19" fmla="*/ 23 h 455"/>
                <a:gd name="T20" fmla="*/ 244 w 307"/>
                <a:gd name="T21" fmla="*/ 0 h 455"/>
                <a:gd name="T22" fmla="*/ 231 w 307"/>
                <a:gd name="T23" fmla="*/ 0 h 455"/>
                <a:gd name="T24" fmla="*/ 0 w 307"/>
                <a:gd name="T25" fmla="*/ 232 h 455"/>
                <a:gd name="T26" fmla="*/ 198 w 307"/>
                <a:gd name="T27" fmla="*/ 455 h 455"/>
                <a:gd name="T28" fmla="*/ 307 w 307"/>
                <a:gd name="T29" fmla="*/ 405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7" h="455">
                  <a:moveTo>
                    <a:pt x="307" y="405"/>
                  </a:moveTo>
                  <a:cubicBezTo>
                    <a:pt x="307" y="244"/>
                    <a:pt x="307" y="244"/>
                    <a:pt x="307" y="244"/>
                  </a:cubicBezTo>
                  <a:cubicBezTo>
                    <a:pt x="307" y="234"/>
                    <a:pt x="298" y="229"/>
                    <a:pt x="279" y="229"/>
                  </a:cubicBezTo>
                  <a:cubicBezTo>
                    <a:pt x="259" y="229"/>
                    <a:pt x="250" y="234"/>
                    <a:pt x="250" y="244"/>
                  </a:cubicBezTo>
                  <a:cubicBezTo>
                    <a:pt x="250" y="378"/>
                    <a:pt x="250" y="378"/>
                    <a:pt x="250" y="378"/>
                  </a:cubicBezTo>
                  <a:cubicBezTo>
                    <a:pt x="250" y="399"/>
                    <a:pt x="241" y="408"/>
                    <a:pt x="199" y="408"/>
                  </a:cubicBezTo>
                  <a:cubicBezTo>
                    <a:pt x="114" y="408"/>
                    <a:pt x="61" y="342"/>
                    <a:pt x="61" y="231"/>
                  </a:cubicBezTo>
                  <a:cubicBezTo>
                    <a:pt x="61" y="115"/>
                    <a:pt x="126" y="49"/>
                    <a:pt x="238" y="49"/>
                  </a:cubicBezTo>
                  <a:cubicBezTo>
                    <a:pt x="270" y="49"/>
                    <a:pt x="270" y="49"/>
                    <a:pt x="270" y="49"/>
                  </a:cubicBezTo>
                  <a:cubicBezTo>
                    <a:pt x="282" y="49"/>
                    <a:pt x="286" y="39"/>
                    <a:pt x="286" y="23"/>
                  </a:cubicBezTo>
                  <a:cubicBezTo>
                    <a:pt x="286" y="4"/>
                    <a:pt x="275" y="0"/>
                    <a:pt x="244" y="0"/>
                  </a:cubicBezTo>
                  <a:cubicBezTo>
                    <a:pt x="231" y="0"/>
                    <a:pt x="231" y="0"/>
                    <a:pt x="231" y="0"/>
                  </a:cubicBezTo>
                  <a:cubicBezTo>
                    <a:pt x="101" y="0"/>
                    <a:pt x="0" y="71"/>
                    <a:pt x="0" y="232"/>
                  </a:cubicBezTo>
                  <a:cubicBezTo>
                    <a:pt x="0" y="386"/>
                    <a:pt x="88" y="455"/>
                    <a:pt x="198" y="455"/>
                  </a:cubicBezTo>
                  <a:cubicBezTo>
                    <a:pt x="286" y="455"/>
                    <a:pt x="307" y="430"/>
                    <a:pt x="307" y="40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0" dirty="0"/>
            </a:p>
          </p:txBody>
        </p:sp>
        <p:sp>
          <p:nvSpPr>
            <p:cNvPr id="23" name="Oval 11">
              <a:extLst>
                <a:ext uri="{FF2B5EF4-FFF2-40B4-BE49-F238E27FC236}">
                  <a16:creationId xmlns:a16="http://schemas.microsoft.com/office/drawing/2014/main" id="{14F8C3C8-4888-7646-B9B4-64EB46A1DA23}"/>
                </a:ext>
              </a:extLst>
            </p:cNvPr>
            <p:cNvSpPr>
              <a:spLocks noChangeArrowheads="1"/>
            </p:cNvSpPr>
            <p:nvPr/>
          </p:nvSpPr>
          <p:spPr bwMode="gray">
            <a:xfrm>
              <a:off x="3778" y="2099"/>
              <a:ext cx="122" cy="12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0" dirty="0"/>
            </a:p>
          </p:txBody>
        </p:sp>
        <p:sp>
          <p:nvSpPr>
            <p:cNvPr id="24" name="Freeform 12">
              <a:extLst>
                <a:ext uri="{FF2B5EF4-FFF2-40B4-BE49-F238E27FC236}">
                  <a16:creationId xmlns:a16="http://schemas.microsoft.com/office/drawing/2014/main" id="{D79D01D1-4E3E-F34B-97D7-2D387E68746E}"/>
                </a:ext>
              </a:extLst>
            </p:cNvPr>
            <p:cNvSpPr>
              <a:spLocks/>
            </p:cNvSpPr>
            <p:nvPr/>
          </p:nvSpPr>
          <p:spPr bwMode="gray">
            <a:xfrm>
              <a:off x="4321" y="1029"/>
              <a:ext cx="648" cy="649"/>
            </a:xfrm>
            <a:custGeom>
              <a:avLst/>
              <a:gdLst>
                <a:gd name="T0" fmla="*/ 0 w 648"/>
                <a:gd name="T1" fmla="*/ 649 h 649"/>
                <a:gd name="T2" fmla="*/ 2 w 648"/>
                <a:gd name="T3" fmla="*/ 649 h 649"/>
                <a:gd name="T4" fmla="*/ 648 w 648"/>
                <a:gd name="T5" fmla="*/ 0 h 649"/>
                <a:gd name="T6" fmla="*/ 423 w 648"/>
                <a:gd name="T7" fmla="*/ 0 h 649"/>
                <a:gd name="T8" fmla="*/ 0 w 648"/>
                <a:gd name="T9" fmla="*/ 649 h 649"/>
              </a:gdLst>
              <a:ahLst/>
              <a:cxnLst>
                <a:cxn ang="0">
                  <a:pos x="T0" y="T1"/>
                </a:cxn>
                <a:cxn ang="0">
                  <a:pos x="T2" y="T3"/>
                </a:cxn>
                <a:cxn ang="0">
                  <a:pos x="T4" y="T5"/>
                </a:cxn>
                <a:cxn ang="0">
                  <a:pos x="T6" y="T7"/>
                </a:cxn>
                <a:cxn ang="0">
                  <a:pos x="T8" y="T9"/>
                </a:cxn>
              </a:cxnLst>
              <a:rect l="0" t="0" r="r" b="b"/>
              <a:pathLst>
                <a:path w="648" h="649">
                  <a:moveTo>
                    <a:pt x="0" y="649"/>
                  </a:moveTo>
                  <a:lnTo>
                    <a:pt x="2" y="649"/>
                  </a:lnTo>
                  <a:lnTo>
                    <a:pt x="648" y="0"/>
                  </a:lnTo>
                  <a:lnTo>
                    <a:pt x="423" y="0"/>
                  </a:lnTo>
                  <a:lnTo>
                    <a:pt x="0" y="64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0" dirty="0"/>
            </a:p>
          </p:txBody>
        </p:sp>
        <p:sp>
          <p:nvSpPr>
            <p:cNvPr id="26" name="Freeform 13">
              <a:extLst>
                <a:ext uri="{FF2B5EF4-FFF2-40B4-BE49-F238E27FC236}">
                  <a16:creationId xmlns:a16="http://schemas.microsoft.com/office/drawing/2014/main" id="{46549898-6C52-B147-A8F6-A73FDBE6163B}"/>
                </a:ext>
              </a:extLst>
            </p:cNvPr>
            <p:cNvSpPr>
              <a:spLocks/>
            </p:cNvSpPr>
            <p:nvPr/>
          </p:nvSpPr>
          <p:spPr bwMode="gray">
            <a:xfrm>
              <a:off x="4321" y="1029"/>
              <a:ext cx="648" cy="649"/>
            </a:xfrm>
            <a:custGeom>
              <a:avLst/>
              <a:gdLst>
                <a:gd name="T0" fmla="*/ 0 w 648"/>
                <a:gd name="T1" fmla="*/ 649 h 649"/>
                <a:gd name="T2" fmla="*/ 2 w 648"/>
                <a:gd name="T3" fmla="*/ 649 h 649"/>
                <a:gd name="T4" fmla="*/ 648 w 648"/>
                <a:gd name="T5" fmla="*/ 0 h 649"/>
                <a:gd name="T6" fmla="*/ 423 w 648"/>
                <a:gd name="T7" fmla="*/ 0 h 649"/>
                <a:gd name="T8" fmla="*/ 0 w 648"/>
                <a:gd name="T9" fmla="*/ 649 h 649"/>
              </a:gdLst>
              <a:ahLst/>
              <a:cxnLst>
                <a:cxn ang="0">
                  <a:pos x="T0" y="T1"/>
                </a:cxn>
                <a:cxn ang="0">
                  <a:pos x="T2" y="T3"/>
                </a:cxn>
                <a:cxn ang="0">
                  <a:pos x="T4" y="T5"/>
                </a:cxn>
                <a:cxn ang="0">
                  <a:pos x="T6" y="T7"/>
                </a:cxn>
                <a:cxn ang="0">
                  <a:pos x="T8" y="T9"/>
                </a:cxn>
              </a:cxnLst>
              <a:rect l="0" t="0" r="r" b="b"/>
              <a:pathLst>
                <a:path w="648" h="649">
                  <a:moveTo>
                    <a:pt x="0" y="649"/>
                  </a:moveTo>
                  <a:lnTo>
                    <a:pt x="2" y="649"/>
                  </a:lnTo>
                  <a:lnTo>
                    <a:pt x="648" y="0"/>
                  </a:lnTo>
                  <a:lnTo>
                    <a:pt x="423" y="0"/>
                  </a:lnTo>
                  <a:lnTo>
                    <a:pt x="0" y="64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0" dirty="0"/>
            </a:p>
          </p:txBody>
        </p:sp>
      </p:grpSp>
      <p:sp>
        <p:nvSpPr>
          <p:cNvPr id="20" name="shp1">
            <a:extLst>
              <a:ext uri="{FF2B5EF4-FFF2-40B4-BE49-F238E27FC236}">
                <a16:creationId xmlns:a16="http://schemas.microsoft.com/office/drawing/2014/main" id="{1AD9883E-0B1C-504A-A979-9C5803172360}"/>
              </a:ext>
            </a:extLst>
          </p:cNvPr>
          <p:cNvSpPr/>
          <p:nvPr/>
        </p:nvSpPr>
        <p:spPr>
          <a:xfrm>
            <a:off x="192089" y="2"/>
            <a:ext cx="215900" cy="144938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de-DE" sz="1350"/>
          </a:p>
        </p:txBody>
      </p:sp>
      <p:sp>
        <p:nvSpPr>
          <p:cNvPr id="7" name="copyright"/>
          <p:cNvSpPr txBox="1"/>
          <p:nvPr/>
        </p:nvSpPr>
        <p:spPr>
          <a:xfrm>
            <a:off x="10672210" y="6461673"/>
            <a:ext cx="500617" cy="133789"/>
          </a:xfrm>
          <a:prstGeom prst="rect">
            <a:avLst/>
          </a:prstGeom>
          <a:noFill/>
        </p:spPr>
        <p:txBody>
          <a:bodyPr wrap="none" lIns="0" tIns="0" rIns="0" bIns="0" rtlCol="0" anchor="b" anchorCtr="0">
            <a:noAutofit/>
          </a:bodyPr>
          <a:lstStyle/>
          <a:p>
            <a:pPr marL="0" indent="0" algn="r">
              <a:lnSpc>
                <a:spcPct val="125000"/>
              </a:lnSpc>
              <a:buClr>
                <a:schemeClr val="tx2"/>
              </a:buClr>
              <a:buFont typeface="Wingdings" panose="05000000000000000000" pitchFamily="2" charset="2"/>
              <a:buNone/>
            </a:pPr>
            <a:r>
              <a:rPr lang="en-US" sz="800" dirty="0"/>
              <a:t>© GfK</a:t>
            </a:r>
          </a:p>
        </p:txBody>
      </p:sp>
      <p:sp>
        <p:nvSpPr>
          <p:cNvPr id="28" name="Date Placeholder 27"/>
          <p:cNvSpPr>
            <a:spLocks noGrp="1"/>
          </p:cNvSpPr>
          <p:nvPr>
            <p:ph type="dt" sz="half" idx="2"/>
          </p:nvPr>
        </p:nvSpPr>
        <p:spPr>
          <a:xfrm>
            <a:off x="192088" y="6461673"/>
            <a:ext cx="761512" cy="133789"/>
          </a:xfrm>
          <a:prstGeom prst="rect">
            <a:avLst/>
          </a:prstGeom>
        </p:spPr>
        <p:txBody>
          <a:bodyPr vert="horz" wrap="none" lIns="0" tIns="0" rIns="0" bIns="0" rtlCol="0" anchor="b" anchorCtr="0"/>
          <a:lstStyle>
            <a:lvl1pPr algn="r">
              <a:defRPr sz="800">
                <a:solidFill>
                  <a:schemeClr val="tx1"/>
                </a:solidFill>
              </a:defRPr>
            </a:lvl1pPr>
          </a:lstStyle>
          <a:p>
            <a:fld id="{85245AC6-241B-4B56-BD95-BEEA95A36893}" type="datetime5">
              <a:rPr lang="en-US" smtClean="0"/>
              <a:t>26-Jun-20</a:t>
            </a:fld>
            <a:endParaRPr lang="en-US" dirty="0"/>
          </a:p>
        </p:txBody>
      </p:sp>
      <p:sp>
        <p:nvSpPr>
          <p:cNvPr id="29" name="Footer Placeholder 28"/>
          <p:cNvSpPr>
            <a:spLocks noGrp="1"/>
          </p:cNvSpPr>
          <p:nvPr>
            <p:ph type="ftr" sz="quarter" idx="3"/>
          </p:nvPr>
        </p:nvSpPr>
        <p:spPr>
          <a:xfrm>
            <a:off x="1076400" y="6461673"/>
            <a:ext cx="8162717" cy="133789"/>
          </a:xfrm>
          <a:prstGeom prst="rect">
            <a:avLst/>
          </a:prstGeom>
        </p:spPr>
        <p:txBody>
          <a:bodyPr vert="horz" lIns="0" tIns="0" rIns="0" bIns="0" rtlCol="0" anchor="b" anchorCtr="0"/>
          <a:lstStyle>
            <a:lvl1pPr marL="143953" indent="-143953" algn="l">
              <a:buClr>
                <a:schemeClr val="tx2"/>
              </a:buClr>
              <a:buFont typeface="Wingdings" panose="05000000000000000000" pitchFamily="2" charset="2"/>
              <a:buChar char="§"/>
              <a:defRPr sz="800">
                <a:solidFill>
                  <a:schemeClr val="tx1"/>
                </a:solidFill>
              </a:defRPr>
            </a:lvl1pPr>
          </a:lstStyle>
          <a:p>
            <a:r>
              <a:rPr lang="en-US" dirty="0"/>
              <a:t>Title of presentation (Insert / Header &amp; Footer / Apply to All)</a:t>
            </a:r>
          </a:p>
        </p:txBody>
      </p:sp>
      <p:sp>
        <p:nvSpPr>
          <p:cNvPr id="30" name="Slide Number Placeholder 29"/>
          <p:cNvSpPr>
            <a:spLocks noGrp="1"/>
          </p:cNvSpPr>
          <p:nvPr>
            <p:ph type="sldNum" sz="quarter" idx="4"/>
          </p:nvPr>
        </p:nvSpPr>
        <p:spPr>
          <a:xfrm>
            <a:off x="11186669" y="6461673"/>
            <a:ext cx="648000" cy="133789"/>
          </a:xfrm>
          <a:prstGeom prst="rect">
            <a:avLst/>
          </a:prstGeom>
        </p:spPr>
        <p:txBody>
          <a:bodyPr vert="horz" lIns="0" tIns="0" rIns="0" bIns="0" rtlCol="0" anchor="b" anchorCtr="0"/>
          <a:lstStyle>
            <a:lvl1pPr algn="r">
              <a:defRPr sz="800">
                <a:solidFill>
                  <a:schemeClr val="tx1"/>
                </a:solidFill>
              </a:defRPr>
            </a:lvl1pPr>
          </a:lstStyle>
          <a:p>
            <a:fld id="{5F3E29E4-0979-4FCA-B4C5-5FC6044C982A}" type="slidenum">
              <a:rPr lang="en-US" smtClean="0"/>
              <a:pPr/>
              <a:t>‹#›</a:t>
            </a:fld>
            <a:endParaRPr lang="en-US"/>
          </a:p>
        </p:txBody>
      </p:sp>
      <p:sp>
        <p:nvSpPr>
          <p:cNvPr id="2" name="Title Placeholder 1"/>
          <p:cNvSpPr>
            <a:spLocks noGrp="1"/>
          </p:cNvSpPr>
          <p:nvPr>
            <p:ph type="title"/>
          </p:nvPr>
        </p:nvSpPr>
        <p:spPr>
          <a:xfrm>
            <a:off x="1075062" y="288921"/>
            <a:ext cx="7910159" cy="648000"/>
          </a:xfrm>
          <a:prstGeom prst="rect">
            <a:avLst/>
          </a:prstGeom>
        </p:spPr>
        <p:txBody>
          <a:bodyPr vert="horz" lIns="0" tIns="0" rIns="0" bIns="0" rtlCol="0" anchor="t">
            <a:noAutofit/>
          </a:bodyPr>
          <a:lstStyle/>
          <a:p>
            <a:r>
              <a:rPr lang="ru-RU"/>
              <a:t>Образец заголовка</a:t>
            </a:r>
            <a:endParaRPr lang="en-US" dirty="0"/>
          </a:p>
        </p:txBody>
      </p:sp>
      <p:sp>
        <p:nvSpPr>
          <p:cNvPr id="3" name="Text Placeholder 2"/>
          <p:cNvSpPr>
            <a:spLocks noGrp="1"/>
          </p:cNvSpPr>
          <p:nvPr>
            <p:ph type="body" idx="1"/>
          </p:nvPr>
        </p:nvSpPr>
        <p:spPr>
          <a:xfrm>
            <a:off x="1075063" y="1629618"/>
            <a:ext cx="10097764" cy="4139357"/>
          </a:xfrm>
          <a:prstGeom prst="rect">
            <a:avLst/>
          </a:prstGeom>
        </p:spPr>
        <p:txBody>
          <a:bodyPr vert="horz" lIns="0" tIns="0" rIns="0" bIns="0" rtlCol="0">
            <a:noAutofit/>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endParaRPr lang="en-US" dirty="0"/>
          </a:p>
        </p:txBody>
      </p:sp>
    </p:spTree>
    <p:extLst>
      <p:ext uri="{BB962C8B-B14F-4D97-AF65-F5344CB8AC3E}">
        <p14:creationId xmlns:p14="http://schemas.microsoft.com/office/powerpoint/2010/main" val="3577667380"/>
      </p:ext>
    </p:extLst>
  </p:cSld>
  <p:clrMap bg1="lt1" tx1="dk1" bg2="lt2" tx2="dk2" accent1="accent1" accent2="accent2" accent3="accent3" accent4="accent4" accent5="accent5" accent6="accent6" hlink="hlink" folHlink="folHlink"/>
  <p:sldLayoutIdLst>
    <p:sldLayoutId id="2147484426" r:id="rId1"/>
    <p:sldLayoutId id="2147484427" r:id="rId2"/>
    <p:sldLayoutId id="2147484428" r:id="rId3"/>
    <p:sldLayoutId id="2147484429" r:id="rId4"/>
    <p:sldLayoutId id="2147484430" r:id="rId5"/>
    <p:sldLayoutId id="2147484431" r:id="rId6"/>
    <p:sldLayoutId id="2147484432" r:id="rId7"/>
    <p:sldLayoutId id="2147484433" r:id="rId8"/>
    <p:sldLayoutId id="2147484434" r:id="rId9"/>
    <p:sldLayoutId id="2147484435" r:id="rId10"/>
    <p:sldLayoutId id="2147484436" r:id="rId11"/>
    <p:sldLayoutId id="2147484437" r:id="rId12"/>
    <p:sldLayoutId id="2147484438" r:id="rId13"/>
    <p:sldLayoutId id="2147484439" r:id="rId14"/>
    <p:sldLayoutId id="2147484440" r:id="rId15"/>
    <p:sldLayoutId id="2147484441" r:id="rId16"/>
    <p:sldLayoutId id="2147484442" r:id="rId17"/>
    <p:sldLayoutId id="2147484443" r:id="rId18"/>
    <p:sldLayoutId id="2147484444" r:id="rId19"/>
    <p:sldLayoutId id="2147484445" r:id="rId20"/>
    <p:sldLayoutId id="2147484446" r:id="rId21"/>
    <p:sldLayoutId id="2147484447" r:id="rId22"/>
    <p:sldLayoutId id="2147484448" r:id="rId23"/>
    <p:sldLayoutId id="2147484449" r:id="rId24"/>
    <p:sldLayoutId id="2147484450" r:id="rId25"/>
    <p:sldLayoutId id="2147484451" r:id="rId26"/>
    <p:sldLayoutId id="2147484452" r:id="rId27"/>
    <p:sldLayoutId id="2147484453" r:id="rId28"/>
  </p:sldLayoutIdLst>
  <p:hf hdr="0"/>
  <p:txStyles>
    <p:titleStyle>
      <a:lvl1pPr algn="l" defTabSz="914103" rtl="0" eaLnBrk="1" latinLnBrk="0" hangingPunct="1">
        <a:lnSpc>
          <a:spcPct val="100000"/>
        </a:lnSpc>
        <a:spcBef>
          <a:spcPct val="0"/>
        </a:spcBef>
        <a:buNone/>
        <a:defRPr sz="3599" kern="1200">
          <a:solidFill>
            <a:schemeClr val="tx1"/>
          </a:solidFill>
          <a:latin typeface="+mj-lt"/>
          <a:ea typeface="+mj-ea"/>
          <a:cs typeface="+mj-cs"/>
        </a:defRPr>
      </a:lvl1pPr>
    </p:titleStyle>
    <p:bodyStyle>
      <a:lvl1pPr marL="251918" indent="-251918" algn="l" defTabSz="914103" rtl="0" eaLnBrk="1" latinLnBrk="0" hangingPunct="1">
        <a:lnSpc>
          <a:spcPct val="110000"/>
        </a:lnSpc>
        <a:spcBef>
          <a:spcPts val="1000"/>
        </a:spcBef>
        <a:buClr>
          <a:schemeClr val="tx2"/>
        </a:buClr>
        <a:buFont typeface="Wingdings" panose="05000000000000000000" pitchFamily="2" charset="2"/>
        <a:buChar char="§"/>
        <a:defRPr sz="2799" kern="1200">
          <a:solidFill>
            <a:schemeClr val="tx1"/>
          </a:solidFill>
          <a:latin typeface="+mn-lt"/>
          <a:ea typeface="+mn-ea"/>
          <a:cs typeface="+mn-cs"/>
        </a:defRPr>
      </a:lvl1pPr>
      <a:lvl2pPr marL="647789" indent="-251918" algn="l" defTabSz="914103" rtl="0" eaLnBrk="1" latinLnBrk="0" hangingPunct="1">
        <a:lnSpc>
          <a:spcPct val="110000"/>
        </a:lnSpc>
        <a:spcBef>
          <a:spcPts val="600"/>
        </a:spcBef>
        <a:buClr>
          <a:schemeClr val="tx2"/>
        </a:buClr>
        <a:buFont typeface="Wingdings" panose="05000000000000000000" pitchFamily="2" charset="2"/>
        <a:buChar char="§"/>
        <a:defRPr sz="2399" kern="1200">
          <a:solidFill>
            <a:schemeClr val="tx1"/>
          </a:solidFill>
          <a:latin typeface="+mn-lt"/>
          <a:ea typeface="+mn-ea"/>
          <a:cs typeface="+mn-cs"/>
        </a:defRPr>
      </a:lvl2pPr>
      <a:lvl3pPr marL="1079649" indent="-251918" algn="l" defTabSz="914103" rtl="0" eaLnBrk="1" latinLnBrk="0" hangingPunct="1">
        <a:lnSpc>
          <a:spcPct val="110000"/>
        </a:lnSpc>
        <a:spcBef>
          <a:spcPts val="600"/>
        </a:spcBef>
        <a:buClr>
          <a:schemeClr val="tx2"/>
        </a:buClr>
        <a:buFont typeface="Wingdings" panose="05000000000000000000" pitchFamily="2" charset="2"/>
        <a:buChar char="§"/>
        <a:defRPr sz="1999" kern="1200">
          <a:solidFill>
            <a:schemeClr val="tx1"/>
          </a:solidFill>
          <a:latin typeface="+mn-lt"/>
          <a:ea typeface="+mn-ea"/>
          <a:cs typeface="+mn-cs"/>
        </a:defRPr>
      </a:lvl3pPr>
      <a:lvl4pPr marL="0" indent="0" algn="l" defTabSz="914103" rtl="0" eaLnBrk="1" latinLnBrk="0" hangingPunct="1">
        <a:lnSpc>
          <a:spcPct val="110000"/>
        </a:lnSpc>
        <a:spcBef>
          <a:spcPts val="600"/>
        </a:spcBef>
        <a:buClr>
          <a:schemeClr val="tx2"/>
        </a:buClr>
        <a:buFont typeface="Lato" panose="020F0502020204030203" pitchFamily="34" charset="0"/>
        <a:buChar char="​"/>
        <a:defRPr sz="1599" kern="1200">
          <a:solidFill>
            <a:schemeClr val="tx1"/>
          </a:solidFill>
          <a:latin typeface="+mn-lt"/>
          <a:ea typeface="+mn-ea"/>
          <a:cs typeface="+mn-cs"/>
        </a:defRPr>
      </a:lvl4pPr>
      <a:lvl5pPr marL="251918" indent="-251918" algn="l" defTabSz="914103" rtl="0" eaLnBrk="1" latinLnBrk="0" hangingPunct="1">
        <a:lnSpc>
          <a:spcPct val="110000"/>
        </a:lnSpc>
        <a:spcBef>
          <a:spcPts val="600"/>
        </a:spcBef>
        <a:buClr>
          <a:schemeClr val="tx2"/>
        </a:buClr>
        <a:buFont typeface="Wingdings" panose="05000000000000000000" pitchFamily="2" charset="2"/>
        <a:buChar char="§"/>
        <a:defRPr sz="1599" kern="1200">
          <a:solidFill>
            <a:schemeClr val="tx1"/>
          </a:solidFill>
          <a:latin typeface="+mn-lt"/>
          <a:ea typeface="+mn-ea"/>
          <a:cs typeface="+mn-cs"/>
        </a:defRPr>
      </a:lvl5pPr>
      <a:lvl6pPr marL="647789" indent="-251918" algn="l" defTabSz="914103" rtl="0" eaLnBrk="1" latinLnBrk="0" hangingPunct="1">
        <a:lnSpc>
          <a:spcPct val="110000"/>
        </a:lnSpc>
        <a:spcBef>
          <a:spcPts val="600"/>
        </a:spcBef>
        <a:buClr>
          <a:schemeClr val="tx2"/>
        </a:buClr>
        <a:buFont typeface="Wingdings" panose="05000000000000000000" pitchFamily="2" charset="2"/>
        <a:buChar char="§"/>
        <a:defRPr sz="1599" kern="1200">
          <a:solidFill>
            <a:schemeClr val="tx1"/>
          </a:solidFill>
          <a:latin typeface="+mn-lt"/>
          <a:ea typeface="+mn-ea"/>
          <a:cs typeface="+mn-cs"/>
        </a:defRPr>
      </a:lvl6pPr>
      <a:lvl7pPr marL="1079649" indent="-251918" algn="l" defTabSz="914103" rtl="0" eaLnBrk="1" latinLnBrk="0" hangingPunct="1">
        <a:lnSpc>
          <a:spcPct val="110000"/>
        </a:lnSpc>
        <a:spcBef>
          <a:spcPts val="600"/>
        </a:spcBef>
        <a:buClr>
          <a:schemeClr val="tx2"/>
        </a:buClr>
        <a:buFont typeface="Wingdings" panose="05000000000000000000" pitchFamily="2" charset="2"/>
        <a:buChar char="§"/>
        <a:defRPr sz="1599" kern="1200">
          <a:solidFill>
            <a:schemeClr val="tx1"/>
          </a:solidFill>
          <a:latin typeface="+mn-lt"/>
          <a:ea typeface="+mn-ea"/>
          <a:cs typeface="+mn-cs"/>
        </a:defRPr>
      </a:lvl7pPr>
      <a:lvl8pPr marL="1511509" indent="-251918" algn="l" defTabSz="914103" rtl="0" eaLnBrk="1" latinLnBrk="0" hangingPunct="1">
        <a:lnSpc>
          <a:spcPct val="110000"/>
        </a:lnSpc>
        <a:spcBef>
          <a:spcPts val="600"/>
        </a:spcBef>
        <a:buClr>
          <a:schemeClr val="tx2"/>
        </a:buClr>
        <a:buFont typeface="Wingdings" panose="05000000000000000000" pitchFamily="2" charset="2"/>
        <a:buChar char="§"/>
        <a:defRPr sz="1599" kern="1200">
          <a:solidFill>
            <a:schemeClr val="tx1"/>
          </a:solidFill>
          <a:latin typeface="+mn-lt"/>
          <a:ea typeface="+mn-ea"/>
          <a:cs typeface="+mn-cs"/>
        </a:defRPr>
      </a:lvl8pPr>
      <a:lvl9pPr marL="1943368" indent="-251918" algn="l" defTabSz="914103" rtl="0" eaLnBrk="1" latinLnBrk="0" hangingPunct="1">
        <a:lnSpc>
          <a:spcPct val="110000"/>
        </a:lnSpc>
        <a:spcBef>
          <a:spcPts val="600"/>
        </a:spcBef>
        <a:buClr>
          <a:schemeClr val="tx2"/>
        </a:buClr>
        <a:buFont typeface="Wingdings" panose="05000000000000000000" pitchFamily="2" charset="2"/>
        <a:buChar char="§"/>
        <a:defRPr sz="1599" kern="1200">
          <a:solidFill>
            <a:schemeClr val="tx1"/>
          </a:solidFill>
          <a:latin typeface="+mn-lt"/>
          <a:ea typeface="+mn-ea"/>
          <a:cs typeface="+mn-cs"/>
        </a:defRPr>
      </a:lvl9pPr>
    </p:bodyStyle>
    <p:otherStyle>
      <a:defPPr>
        <a:defRPr lang="en-US"/>
      </a:defPPr>
      <a:lvl1pPr marL="0" algn="l" defTabSz="914103" rtl="0" eaLnBrk="1" latinLnBrk="0" hangingPunct="1">
        <a:defRPr sz="1799" kern="1200">
          <a:solidFill>
            <a:schemeClr val="tx1"/>
          </a:solidFill>
          <a:latin typeface="+mn-lt"/>
          <a:ea typeface="+mn-ea"/>
          <a:cs typeface="+mn-cs"/>
        </a:defRPr>
      </a:lvl1pPr>
      <a:lvl2pPr marL="457051" algn="l" defTabSz="914103" rtl="0" eaLnBrk="1" latinLnBrk="0" hangingPunct="1">
        <a:defRPr sz="1799" kern="1200">
          <a:solidFill>
            <a:schemeClr val="tx1"/>
          </a:solidFill>
          <a:latin typeface="+mn-lt"/>
          <a:ea typeface="+mn-ea"/>
          <a:cs typeface="+mn-cs"/>
        </a:defRPr>
      </a:lvl2pPr>
      <a:lvl3pPr marL="914103" algn="l" defTabSz="914103" rtl="0" eaLnBrk="1" latinLnBrk="0" hangingPunct="1">
        <a:defRPr sz="1799" kern="1200">
          <a:solidFill>
            <a:schemeClr val="tx1"/>
          </a:solidFill>
          <a:latin typeface="+mn-lt"/>
          <a:ea typeface="+mn-ea"/>
          <a:cs typeface="+mn-cs"/>
        </a:defRPr>
      </a:lvl3pPr>
      <a:lvl4pPr marL="1371154" algn="l" defTabSz="914103" rtl="0" eaLnBrk="1" latinLnBrk="0" hangingPunct="1">
        <a:defRPr sz="1799" kern="1200">
          <a:solidFill>
            <a:schemeClr val="tx1"/>
          </a:solidFill>
          <a:latin typeface="+mn-lt"/>
          <a:ea typeface="+mn-ea"/>
          <a:cs typeface="+mn-cs"/>
        </a:defRPr>
      </a:lvl4pPr>
      <a:lvl5pPr marL="1828206" algn="l" defTabSz="914103" rtl="0" eaLnBrk="1" latinLnBrk="0" hangingPunct="1">
        <a:defRPr sz="1799" kern="1200">
          <a:solidFill>
            <a:schemeClr val="tx1"/>
          </a:solidFill>
          <a:latin typeface="+mn-lt"/>
          <a:ea typeface="+mn-ea"/>
          <a:cs typeface="+mn-cs"/>
        </a:defRPr>
      </a:lvl5pPr>
      <a:lvl6pPr marL="2285257" algn="l" defTabSz="914103" rtl="0" eaLnBrk="1" latinLnBrk="0" hangingPunct="1">
        <a:defRPr sz="1799" kern="1200">
          <a:solidFill>
            <a:schemeClr val="tx1"/>
          </a:solidFill>
          <a:latin typeface="+mn-lt"/>
          <a:ea typeface="+mn-ea"/>
          <a:cs typeface="+mn-cs"/>
        </a:defRPr>
      </a:lvl6pPr>
      <a:lvl7pPr marL="2742308" algn="l" defTabSz="914103" rtl="0" eaLnBrk="1" latinLnBrk="0" hangingPunct="1">
        <a:defRPr sz="1799" kern="1200">
          <a:solidFill>
            <a:schemeClr val="tx1"/>
          </a:solidFill>
          <a:latin typeface="+mn-lt"/>
          <a:ea typeface="+mn-ea"/>
          <a:cs typeface="+mn-cs"/>
        </a:defRPr>
      </a:lvl7pPr>
      <a:lvl8pPr marL="3199360" algn="l" defTabSz="914103" rtl="0" eaLnBrk="1" latinLnBrk="0" hangingPunct="1">
        <a:defRPr sz="1799" kern="1200">
          <a:solidFill>
            <a:schemeClr val="tx1"/>
          </a:solidFill>
          <a:latin typeface="+mn-lt"/>
          <a:ea typeface="+mn-ea"/>
          <a:cs typeface="+mn-cs"/>
        </a:defRPr>
      </a:lvl8pPr>
      <a:lvl9pPr marL="3656411" algn="l" defTabSz="914103" rtl="0" eaLnBrk="1" latinLnBrk="0" hangingPunct="1">
        <a:defRPr sz="1799"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319">
          <p15:clr>
            <a:srgbClr val="5ACBF0"/>
          </p15:clr>
        </p15:guide>
        <p15:guide id="3" pos="257">
          <p15:clr>
            <a:srgbClr val="5ACBF0"/>
          </p15:clr>
        </p15:guide>
        <p15:guide id="4" pos="675">
          <p15:clr>
            <a:srgbClr val="5ACBF0"/>
          </p15:clr>
        </p15:guide>
        <p15:guide id="5" pos="7038">
          <p15:clr>
            <a:srgbClr val="5ACBF0"/>
          </p15:clr>
        </p15:guide>
        <p15:guide id="6" pos="7446">
          <p15:clr>
            <a:srgbClr val="5ACBF0"/>
          </p15:clr>
        </p15:guide>
        <p15:guide id="7" orient="horz" pos="255">
          <p15:clr>
            <a:srgbClr val="5ACBF0"/>
          </p15:clr>
        </p15:guide>
        <p15:guide id="8" orient="horz" pos="663">
          <p15:clr>
            <a:srgbClr val="5ACBF0"/>
          </p15:clr>
        </p15:guide>
        <p15:guide id="9" orient="horz" pos="799">
          <p15:clr>
            <a:srgbClr val="5ACBF0"/>
          </p15:clr>
        </p15:guide>
        <p15:guide id="10" orient="horz" pos="1026">
          <p15:clr>
            <a:srgbClr val="5ACBF0"/>
          </p15:clr>
        </p15:guide>
        <p15:guide id="11" orient="horz" pos="3634">
          <p15:clr>
            <a:srgbClr val="5ACBF0"/>
          </p15:clr>
        </p15:guide>
        <p15:guide id="12" orient="horz" pos="3929">
          <p15:clr>
            <a:srgbClr val="5ACBF0"/>
          </p15:clr>
        </p15:guide>
        <p15:guide id="13" orient="horz" pos="4133">
          <p15:clr>
            <a:srgbClr val="5ACBF0"/>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pSp>
        <p:nvGrpSpPr>
          <p:cNvPr id="13" name="logo">
            <a:extLst>
              <a:ext uri="{FF2B5EF4-FFF2-40B4-BE49-F238E27FC236}">
                <a16:creationId xmlns:a16="http://schemas.microsoft.com/office/drawing/2014/main" id="{57BD2C4C-DC67-B843-B26C-309622FC75F7}"/>
              </a:ext>
            </a:extLst>
          </p:cNvPr>
          <p:cNvGrpSpPr>
            <a:grpSpLocks noChangeAspect="1"/>
          </p:cNvGrpSpPr>
          <p:nvPr/>
        </p:nvGrpSpPr>
        <p:grpSpPr bwMode="gray">
          <a:xfrm>
            <a:off x="11174018" y="401441"/>
            <a:ext cx="644225" cy="646507"/>
            <a:chOff x="2711" y="1027"/>
            <a:chExt cx="2258" cy="2266"/>
          </a:xfrm>
        </p:grpSpPr>
        <p:sp>
          <p:nvSpPr>
            <p:cNvPr id="14" name="AutoShape 3">
              <a:extLst>
                <a:ext uri="{FF2B5EF4-FFF2-40B4-BE49-F238E27FC236}">
                  <a16:creationId xmlns:a16="http://schemas.microsoft.com/office/drawing/2014/main" id="{FE1DC41B-291E-574C-9F2C-874E70A40758}"/>
                </a:ext>
              </a:extLst>
            </p:cNvPr>
            <p:cNvSpPr>
              <a:spLocks noChangeAspect="1" noChangeArrowheads="1" noTextEdit="1"/>
            </p:cNvSpPr>
            <p:nvPr/>
          </p:nvSpPr>
          <p:spPr bwMode="gray">
            <a:xfrm>
              <a:off x="2711" y="1027"/>
              <a:ext cx="2258" cy="22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sp>
          <p:nvSpPr>
            <p:cNvPr id="15" name="Freeform 5">
              <a:extLst>
                <a:ext uri="{FF2B5EF4-FFF2-40B4-BE49-F238E27FC236}">
                  <a16:creationId xmlns:a16="http://schemas.microsoft.com/office/drawing/2014/main" id="{D4B633C8-F761-C54B-9BD2-EB59D49A2DBC}"/>
                </a:ext>
              </a:extLst>
            </p:cNvPr>
            <p:cNvSpPr>
              <a:spLocks/>
            </p:cNvSpPr>
            <p:nvPr/>
          </p:nvSpPr>
          <p:spPr bwMode="gray">
            <a:xfrm>
              <a:off x="2709" y="1029"/>
              <a:ext cx="2260" cy="2262"/>
            </a:xfrm>
            <a:custGeom>
              <a:avLst/>
              <a:gdLst>
                <a:gd name="T0" fmla="*/ 2260 w 2260"/>
                <a:gd name="T1" fmla="*/ 0 h 2262"/>
                <a:gd name="T2" fmla="*/ 1612 w 2260"/>
                <a:gd name="T3" fmla="*/ 649 h 2262"/>
                <a:gd name="T4" fmla="*/ 1612 w 2260"/>
                <a:gd name="T5" fmla="*/ 649 h 2262"/>
                <a:gd name="T6" fmla="*/ 2035 w 2260"/>
                <a:gd name="T7" fmla="*/ 0 h 2262"/>
                <a:gd name="T8" fmla="*/ 0 w 2260"/>
                <a:gd name="T9" fmla="*/ 0 h 2262"/>
                <a:gd name="T10" fmla="*/ 0 w 2260"/>
                <a:gd name="T11" fmla="*/ 2262 h 2262"/>
                <a:gd name="T12" fmla="*/ 2260 w 2260"/>
                <a:gd name="T13" fmla="*/ 2262 h 2262"/>
                <a:gd name="T14" fmla="*/ 2260 w 2260"/>
                <a:gd name="T15" fmla="*/ 0 h 2262"/>
                <a:gd name="T16" fmla="*/ 2260 w 2260"/>
                <a:gd name="T17" fmla="*/ 0 h 2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0" h="2262">
                  <a:moveTo>
                    <a:pt x="2260" y="0"/>
                  </a:moveTo>
                  <a:lnTo>
                    <a:pt x="1612" y="649"/>
                  </a:lnTo>
                  <a:lnTo>
                    <a:pt x="1612" y="649"/>
                  </a:lnTo>
                  <a:lnTo>
                    <a:pt x="2035" y="0"/>
                  </a:lnTo>
                  <a:lnTo>
                    <a:pt x="0" y="0"/>
                  </a:lnTo>
                  <a:lnTo>
                    <a:pt x="0" y="2262"/>
                  </a:lnTo>
                  <a:lnTo>
                    <a:pt x="2260" y="2262"/>
                  </a:lnTo>
                  <a:lnTo>
                    <a:pt x="2260" y="0"/>
                  </a:lnTo>
                  <a:lnTo>
                    <a:pt x="2260" y="0"/>
                  </a:lnTo>
                  <a:close/>
                </a:path>
              </a:pathLst>
            </a:custGeom>
            <a:solidFill>
              <a:srgbClr val="E55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sp>
          <p:nvSpPr>
            <p:cNvPr id="16" name="Freeform 6">
              <a:extLst>
                <a:ext uri="{FF2B5EF4-FFF2-40B4-BE49-F238E27FC236}">
                  <a16:creationId xmlns:a16="http://schemas.microsoft.com/office/drawing/2014/main" id="{B16BAAE4-1A41-C843-9754-490F7A1E1270}"/>
                </a:ext>
              </a:extLst>
            </p:cNvPr>
            <p:cNvSpPr>
              <a:spLocks noEditPoints="1"/>
            </p:cNvSpPr>
            <p:nvPr/>
          </p:nvSpPr>
          <p:spPr bwMode="gray">
            <a:xfrm>
              <a:off x="3623" y="1696"/>
              <a:ext cx="1167" cy="922"/>
            </a:xfrm>
            <a:custGeom>
              <a:avLst/>
              <a:gdLst>
                <a:gd name="T0" fmla="*/ 411 w 580"/>
                <a:gd name="T1" fmla="*/ 213 h 458"/>
                <a:gd name="T2" fmla="*/ 570 w 580"/>
                <a:gd name="T3" fmla="*/ 37 h 458"/>
                <a:gd name="T4" fmla="*/ 580 w 580"/>
                <a:gd name="T5" fmla="*/ 20 h 458"/>
                <a:gd name="T6" fmla="*/ 545 w 580"/>
                <a:gd name="T7" fmla="*/ 0 h 458"/>
                <a:gd name="T8" fmla="*/ 519 w 580"/>
                <a:gd name="T9" fmla="*/ 16 h 458"/>
                <a:gd name="T10" fmla="*/ 344 w 580"/>
                <a:gd name="T11" fmla="*/ 210 h 458"/>
                <a:gd name="T12" fmla="*/ 334 w 580"/>
                <a:gd name="T13" fmla="*/ 229 h 458"/>
                <a:gd name="T14" fmla="*/ 344 w 580"/>
                <a:gd name="T15" fmla="*/ 248 h 458"/>
                <a:gd name="T16" fmla="*/ 519 w 580"/>
                <a:gd name="T17" fmla="*/ 442 h 458"/>
                <a:gd name="T18" fmla="*/ 545 w 580"/>
                <a:gd name="T19" fmla="*/ 458 h 458"/>
                <a:gd name="T20" fmla="*/ 580 w 580"/>
                <a:gd name="T21" fmla="*/ 438 h 458"/>
                <a:gd name="T22" fmla="*/ 570 w 580"/>
                <a:gd name="T23" fmla="*/ 421 h 458"/>
                <a:gd name="T24" fmla="*/ 411 w 580"/>
                <a:gd name="T25" fmla="*/ 245 h 458"/>
                <a:gd name="T26" fmla="*/ 399 w 580"/>
                <a:gd name="T27" fmla="*/ 229 h 458"/>
                <a:gd name="T28" fmla="*/ 411 w 580"/>
                <a:gd name="T29" fmla="*/ 213 h 458"/>
                <a:gd name="T30" fmla="*/ 252 w 580"/>
                <a:gd name="T31" fmla="*/ 439 h 458"/>
                <a:gd name="T32" fmla="*/ 281 w 580"/>
                <a:gd name="T33" fmla="*/ 454 h 458"/>
                <a:gd name="T34" fmla="*/ 309 w 580"/>
                <a:gd name="T35" fmla="*/ 439 h 458"/>
                <a:gd name="T36" fmla="*/ 309 w 580"/>
                <a:gd name="T37" fmla="*/ 19 h 458"/>
                <a:gd name="T38" fmla="*/ 281 w 580"/>
                <a:gd name="T39" fmla="*/ 4 h 458"/>
                <a:gd name="T40" fmla="*/ 252 w 580"/>
                <a:gd name="T41" fmla="*/ 19 h 458"/>
                <a:gd name="T42" fmla="*/ 252 w 580"/>
                <a:gd name="T43" fmla="*/ 439 h 458"/>
                <a:gd name="T44" fmla="*/ 0 w 580"/>
                <a:gd name="T45" fmla="*/ 439 h 458"/>
                <a:gd name="T46" fmla="*/ 28 w 580"/>
                <a:gd name="T47" fmla="*/ 454 h 458"/>
                <a:gd name="T48" fmla="*/ 56 w 580"/>
                <a:gd name="T49" fmla="*/ 439 h 458"/>
                <a:gd name="T50" fmla="*/ 56 w 580"/>
                <a:gd name="T51" fmla="*/ 157 h 458"/>
                <a:gd name="T52" fmla="*/ 165 w 580"/>
                <a:gd name="T53" fmla="*/ 53 h 458"/>
                <a:gd name="T54" fmla="*/ 180 w 580"/>
                <a:gd name="T55" fmla="*/ 53 h 458"/>
                <a:gd name="T56" fmla="*/ 196 w 580"/>
                <a:gd name="T57" fmla="*/ 27 h 458"/>
                <a:gd name="T58" fmla="*/ 154 w 580"/>
                <a:gd name="T59" fmla="*/ 4 h 458"/>
                <a:gd name="T60" fmla="*/ 0 w 580"/>
                <a:gd name="T61" fmla="*/ 152 h 458"/>
                <a:gd name="T62" fmla="*/ 0 w 580"/>
                <a:gd name="T63" fmla="*/ 439 h 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80" h="458">
                  <a:moveTo>
                    <a:pt x="411" y="213"/>
                  </a:moveTo>
                  <a:cubicBezTo>
                    <a:pt x="570" y="37"/>
                    <a:pt x="570" y="37"/>
                    <a:pt x="570" y="37"/>
                  </a:cubicBezTo>
                  <a:cubicBezTo>
                    <a:pt x="576" y="30"/>
                    <a:pt x="580" y="25"/>
                    <a:pt x="580" y="20"/>
                  </a:cubicBezTo>
                  <a:cubicBezTo>
                    <a:pt x="580" y="10"/>
                    <a:pt x="559" y="0"/>
                    <a:pt x="545" y="0"/>
                  </a:cubicBezTo>
                  <a:cubicBezTo>
                    <a:pt x="535" y="0"/>
                    <a:pt x="526" y="8"/>
                    <a:pt x="519" y="16"/>
                  </a:cubicBezTo>
                  <a:cubicBezTo>
                    <a:pt x="344" y="210"/>
                    <a:pt x="344" y="210"/>
                    <a:pt x="344" y="210"/>
                  </a:cubicBezTo>
                  <a:cubicBezTo>
                    <a:pt x="336" y="219"/>
                    <a:pt x="334" y="224"/>
                    <a:pt x="334" y="229"/>
                  </a:cubicBezTo>
                  <a:cubicBezTo>
                    <a:pt x="334" y="234"/>
                    <a:pt x="336" y="239"/>
                    <a:pt x="344" y="248"/>
                  </a:cubicBezTo>
                  <a:cubicBezTo>
                    <a:pt x="519" y="442"/>
                    <a:pt x="519" y="442"/>
                    <a:pt x="519" y="442"/>
                  </a:cubicBezTo>
                  <a:cubicBezTo>
                    <a:pt x="526" y="450"/>
                    <a:pt x="535" y="458"/>
                    <a:pt x="545" y="458"/>
                  </a:cubicBezTo>
                  <a:cubicBezTo>
                    <a:pt x="559" y="458"/>
                    <a:pt x="580" y="448"/>
                    <a:pt x="580" y="438"/>
                  </a:cubicBezTo>
                  <a:cubicBezTo>
                    <a:pt x="580" y="433"/>
                    <a:pt x="576" y="428"/>
                    <a:pt x="570" y="421"/>
                  </a:cubicBezTo>
                  <a:cubicBezTo>
                    <a:pt x="411" y="245"/>
                    <a:pt x="411" y="245"/>
                    <a:pt x="411" y="245"/>
                  </a:cubicBezTo>
                  <a:cubicBezTo>
                    <a:pt x="403" y="236"/>
                    <a:pt x="399" y="232"/>
                    <a:pt x="399" y="229"/>
                  </a:cubicBezTo>
                  <a:cubicBezTo>
                    <a:pt x="399" y="226"/>
                    <a:pt x="403" y="222"/>
                    <a:pt x="411" y="213"/>
                  </a:cubicBezTo>
                  <a:moveTo>
                    <a:pt x="252" y="439"/>
                  </a:moveTo>
                  <a:cubicBezTo>
                    <a:pt x="252" y="449"/>
                    <a:pt x="261" y="454"/>
                    <a:pt x="281" y="454"/>
                  </a:cubicBezTo>
                  <a:cubicBezTo>
                    <a:pt x="300" y="454"/>
                    <a:pt x="309" y="449"/>
                    <a:pt x="309" y="439"/>
                  </a:cubicBezTo>
                  <a:cubicBezTo>
                    <a:pt x="309" y="19"/>
                    <a:pt x="309" y="19"/>
                    <a:pt x="309" y="19"/>
                  </a:cubicBezTo>
                  <a:cubicBezTo>
                    <a:pt x="309" y="9"/>
                    <a:pt x="300" y="4"/>
                    <a:pt x="281" y="4"/>
                  </a:cubicBezTo>
                  <a:cubicBezTo>
                    <a:pt x="261" y="4"/>
                    <a:pt x="252" y="9"/>
                    <a:pt x="252" y="19"/>
                  </a:cubicBezTo>
                  <a:lnTo>
                    <a:pt x="252" y="439"/>
                  </a:lnTo>
                  <a:close/>
                  <a:moveTo>
                    <a:pt x="0" y="439"/>
                  </a:moveTo>
                  <a:cubicBezTo>
                    <a:pt x="0" y="449"/>
                    <a:pt x="8" y="454"/>
                    <a:pt x="28" y="454"/>
                  </a:cubicBezTo>
                  <a:cubicBezTo>
                    <a:pt x="48" y="454"/>
                    <a:pt x="56" y="449"/>
                    <a:pt x="56" y="439"/>
                  </a:cubicBezTo>
                  <a:cubicBezTo>
                    <a:pt x="56" y="157"/>
                    <a:pt x="56" y="157"/>
                    <a:pt x="56" y="157"/>
                  </a:cubicBezTo>
                  <a:cubicBezTo>
                    <a:pt x="56" y="83"/>
                    <a:pt x="85" y="53"/>
                    <a:pt x="165" y="53"/>
                  </a:cubicBezTo>
                  <a:cubicBezTo>
                    <a:pt x="180" y="53"/>
                    <a:pt x="180" y="53"/>
                    <a:pt x="180" y="53"/>
                  </a:cubicBezTo>
                  <a:cubicBezTo>
                    <a:pt x="192" y="53"/>
                    <a:pt x="196" y="43"/>
                    <a:pt x="196" y="27"/>
                  </a:cubicBezTo>
                  <a:cubicBezTo>
                    <a:pt x="196" y="8"/>
                    <a:pt x="185" y="4"/>
                    <a:pt x="154" y="4"/>
                  </a:cubicBezTo>
                  <a:cubicBezTo>
                    <a:pt x="64" y="4"/>
                    <a:pt x="0" y="43"/>
                    <a:pt x="0" y="152"/>
                  </a:cubicBezTo>
                  <a:lnTo>
                    <a:pt x="0" y="43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sp>
          <p:nvSpPr>
            <p:cNvPr id="17" name="Freeform 7">
              <a:extLst>
                <a:ext uri="{FF2B5EF4-FFF2-40B4-BE49-F238E27FC236}">
                  <a16:creationId xmlns:a16="http://schemas.microsoft.com/office/drawing/2014/main" id="{2F32DCBD-8628-F245-85CD-97686A20ECFD}"/>
                </a:ext>
              </a:extLst>
            </p:cNvPr>
            <p:cNvSpPr>
              <a:spLocks/>
            </p:cNvSpPr>
            <p:nvPr/>
          </p:nvSpPr>
          <p:spPr bwMode="gray">
            <a:xfrm>
              <a:off x="2880" y="1704"/>
              <a:ext cx="618" cy="916"/>
            </a:xfrm>
            <a:custGeom>
              <a:avLst/>
              <a:gdLst>
                <a:gd name="T0" fmla="*/ 307 w 307"/>
                <a:gd name="T1" fmla="*/ 405 h 455"/>
                <a:gd name="T2" fmla="*/ 307 w 307"/>
                <a:gd name="T3" fmla="*/ 244 h 455"/>
                <a:gd name="T4" fmla="*/ 279 w 307"/>
                <a:gd name="T5" fmla="*/ 229 h 455"/>
                <a:gd name="T6" fmla="*/ 250 w 307"/>
                <a:gd name="T7" fmla="*/ 244 h 455"/>
                <a:gd name="T8" fmla="*/ 250 w 307"/>
                <a:gd name="T9" fmla="*/ 378 h 455"/>
                <a:gd name="T10" fmla="*/ 199 w 307"/>
                <a:gd name="T11" fmla="*/ 408 h 455"/>
                <a:gd name="T12" fmla="*/ 61 w 307"/>
                <a:gd name="T13" fmla="*/ 231 h 455"/>
                <a:gd name="T14" fmla="*/ 238 w 307"/>
                <a:gd name="T15" fmla="*/ 49 h 455"/>
                <a:gd name="T16" fmla="*/ 270 w 307"/>
                <a:gd name="T17" fmla="*/ 49 h 455"/>
                <a:gd name="T18" fmla="*/ 286 w 307"/>
                <a:gd name="T19" fmla="*/ 23 h 455"/>
                <a:gd name="T20" fmla="*/ 244 w 307"/>
                <a:gd name="T21" fmla="*/ 0 h 455"/>
                <a:gd name="T22" fmla="*/ 231 w 307"/>
                <a:gd name="T23" fmla="*/ 0 h 455"/>
                <a:gd name="T24" fmla="*/ 0 w 307"/>
                <a:gd name="T25" fmla="*/ 232 h 455"/>
                <a:gd name="T26" fmla="*/ 198 w 307"/>
                <a:gd name="T27" fmla="*/ 455 h 455"/>
                <a:gd name="T28" fmla="*/ 307 w 307"/>
                <a:gd name="T29" fmla="*/ 405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7" h="455">
                  <a:moveTo>
                    <a:pt x="307" y="405"/>
                  </a:moveTo>
                  <a:cubicBezTo>
                    <a:pt x="307" y="244"/>
                    <a:pt x="307" y="244"/>
                    <a:pt x="307" y="244"/>
                  </a:cubicBezTo>
                  <a:cubicBezTo>
                    <a:pt x="307" y="234"/>
                    <a:pt x="298" y="229"/>
                    <a:pt x="279" y="229"/>
                  </a:cubicBezTo>
                  <a:cubicBezTo>
                    <a:pt x="259" y="229"/>
                    <a:pt x="250" y="234"/>
                    <a:pt x="250" y="244"/>
                  </a:cubicBezTo>
                  <a:cubicBezTo>
                    <a:pt x="250" y="378"/>
                    <a:pt x="250" y="378"/>
                    <a:pt x="250" y="378"/>
                  </a:cubicBezTo>
                  <a:cubicBezTo>
                    <a:pt x="250" y="399"/>
                    <a:pt x="241" y="408"/>
                    <a:pt x="199" y="408"/>
                  </a:cubicBezTo>
                  <a:cubicBezTo>
                    <a:pt x="114" y="408"/>
                    <a:pt x="61" y="342"/>
                    <a:pt x="61" y="231"/>
                  </a:cubicBezTo>
                  <a:cubicBezTo>
                    <a:pt x="61" y="115"/>
                    <a:pt x="126" y="49"/>
                    <a:pt x="238" y="49"/>
                  </a:cubicBezTo>
                  <a:cubicBezTo>
                    <a:pt x="270" y="49"/>
                    <a:pt x="270" y="49"/>
                    <a:pt x="270" y="49"/>
                  </a:cubicBezTo>
                  <a:cubicBezTo>
                    <a:pt x="282" y="49"/>
                    <a:pt x="286" y="39"/>
                    <a:pt x="286" y="23"/>
                  </a:cubicBezTo>
                  <a:cubicBezTo>
                    <a:pt x="286" y="4"/>
                    <a:pt x="275" y="0"/>
                    <a:pt x="244" y="0"/>
                  </a:cubicBezTo>
                  <a:cubicBezTo>
                    <a:pt x="231" y="0"/>
                    <a:pt x="231" y="0"/>
                    <a:pt x="231" y="0"/>
                  </a:cubicBezTo>
                  <a:cubicBezTo>
                    <a:pt x="101" y="0"/>
                    <a:pt x="0" y="71"/>
                    <a:pt x="0" y="232"/>
                  </a:cubicBezTo>
                  <a:cubicBezTo>
                    <a:pt x="0" y="386"/>
                    <a:pt x="88" y="455"/>
                    <a:pt x="198" y="455"/>
                  </a:cubicBezTo>
                  <a:cubicBezTo>
                    <a:pt x="286" y="455"/>
                    <a:pt x="307" y="430"/>
                    <a:pt x="307" y="40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sp>
          <p:nvSpPr>
            <p:cNvPr id="18" name="Oval 8">
              <a:extLst>
                <a:ext uri="{FF2B5EF4-FFF2-40B4-BE49-F238E27FC236}">
                  <a16:creationId xmlns:a16="http://schemas.microsoft.com/office/drawing/2014/main" id="{60D97C11-1A3B-5449-A48D-98A3E79B3810}"/>
                </a:ext>
              </a:extLst>
            </p:cNvPr>
            <p:cNvSpPr>
              <a:spLocks noChangeArrowheads="1"/>
            </p:cNvSpPr>
            <p:nvPr/>
          </p:nvSpPr>
          <p:spPr bwMode="gray">
            <a:xfrm>
              <a:off x="3778" y="2099"/>
              <a:ext cx="122" cy="12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sp>
          <p:nvSpPr>
            <p:cNvPr id="19" name="Freeform 9">
              <a:extLst>
                <a:ext uri="{FF2B5EF4-FFF2-40B4-BE49-F238E27FC236}">
                  <a16:creationId xmlns:a16="http://schemas.microsoft.com/office/drawing/2014/main" id="{5856770D-B8F0-244E-A05D-AED190086F10}"/>
                </a:ext>
              </a:extLst>
            </p:cNvPr>
            <p:cNvSpPr>
              <a:spLocks noEditPoints="1"/>
            </p:cNvSpPr>
            <p:nvPr/>
          </p:nvSpPr>
          <p:spPr bwMode="gray">
            <a:xfrm>
              <a:off x="3623" y="1696"/>
              <a:ext cx="1167" cy="922"/>
            </a:xfrm>
            <a:custGeom>
              <a:avLst/>
              <a:gdLst>
                <a:gd name="T0" fmla="*/ 411 w 580"/>
                <a:gd name="T1" fmla="*/ 213 h 458"/>
                <a:gd name="T2" fmla="*/ 570 w 580"/>
                <a:gd name="T3" fmla="*/ 37 h 458"/>
                <a:gd name="T4" fmla="*/ 580 w 580"/>
                <a:gd name="T5" fmla="*/ 20 h 458"/>
                <a:gd name="T6" fmla="*/ 545 w 580"/>
                <a:gd name="T7" fmla="*/ 0 h 458"/>
                <a:gd name="T8" fmla="*/ 519 w 580"/>
                <a:gd name="T9" fmla="*/ 16 h 458"/>
                <a:gd name="T10" fmla="*/ 344 w 580"/>
                <a:gd name="T11" fmla="*/ 210 h 458"/>
                <a:gd name="T12" fmla="*/ 334 w 580"/>
                <a:gd name="T13" fmla="*/ 229 h 458"/>
                <a:gd name="T14" fmla="*/ 344 w 580"/>
                <a:gd name="T15" fmla="*/ 248 h 458"/>
                <a:gd name="T16" fmla="*/ 519 w 580"/>
                <a:gd name="T17" fmla="*/ 442 h 458"/>
                <a:gd name="T18" fmla="*/ 545 w 580"/>
                <a:gd name="T19" fmla="*/ 458 h 458"/>
                <a:gd name="T20" fmla="*/ 580 w 580"/>
                <a:gd name="T21" fmla="*/ 438 h 458"/>
                <a:gd name="T22" fmla="*/ 570 w 580"/>
                <a:gd name="T23" fmla="*/ 421 h 458"/>
                <a:gd name="T24" fmla="*/ 411 w 580"/>
                <a:gd name="T25" fmla="*/ 245 h 458"/>
                <a:gd name="T26" fmla="*/ 399 w 580"/>
                <a:gd name="T27" fmla="*/ 229 h 458"/>
                <a:gd name="T28" fmla="*/ 411 w 580"/>
                <a:gd name="T29" fmla="*/ 213 h 458"/>
                <a:gd name="T30" fmla="*/ 252 w 580"/>
                <a:gd name="T31" fmla="*/ 439 h 458"/>
                <a:gd name="T32" fmla="*/ 281 w 580"/>
                <a:gd name="T33" fmla="*/ 454 h 458"/>
                <a:gd name="T34" fmla="*/ 309 w 580"/>
                <a:gd name="T35" fmla="*/ 439 h 458"/>
                <a:gd name="T36" fmla="*/ 309 w 580"/>
                <a:gd name="T37" fmla="*/ 19 h 458"/>
                <a:gd name="T38" fmla="*/ 281 w 580"/>
                <a:gd name="T39" fmla="*/ 4 h 458"/>
                <a:gd name="T40" fmla="*/ 252 w 580"/>
                <a:gd name="T41" fmla="*/ 19 h 458"/>
                <a:gd name="T42" fmla="*/ 252 w 580"/>
                <a:gd name="T43" fmla="*/ 439 h 458"/>
                <a:gd name="T44" fmla="*/ 0 w 580"/>
                <a:gd name="T45" fmla="*/ 439 h 458"/>
                <a:gd name="T46" fmla="*/ 28 w 580"/>
                <a:gd name="T47" fmla="*/ 454 h 458"/>
                <a:gd name="T48" fmla="*/ 56 w 580"/>
                <a:gd name="T49" fmla="*/ 439 h 458"/>
                <a:gd name="T50" fmla="*/ 56 w 580"/>
                <a:gd name="T51" fmla="*/ 157 h 458"/>
                <a:gd name="T52" fmla="*/ 165 w 580"/>
                <a:gd name="T53" fmla="*/ 53 h 458"/>
                <a:gd name="T54" fmla="*/ 180 w 580"/>
                <a:gd name="T55" fmla="*/ 53 h 458"/>
                <a:gd name="T56" fmla="*/ 196 w 580"/>
                <a:gd name="T57" fmla="*/ 27 h 458"/>
                <a:gd name="T58" fmla="*/ 154 w 580"/>
                <a:gd name="T59" fmla="*/ 4 h 458"/>
                <a:gd name="T60" fmla="*/ 0 w 580"/>
                <a:gd name="T61" fmla="*/ 152 h 458"/>
                <a:gd name="T62" fmla="*/ 0 w 580"/>
                <a:gd name="T63" fmla="*/ 439 h 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80" h="458">
                  <a:moveTo>
                    <a:pt x="411" y="213"/>
                  </a:moveTo>
                  <a:cubicBezTo>
                    <a:pt x="570" y="37"/>
                    <a:pt x="570" y="37"/>
                    <a:pt x="570" y="37"/>
                  </a:cubicBezTo>
                  <a:cubicBezTo>
                    <a:pt x="576" y="30"/>
                    <a:pt x="580" y="25"/>
                    <a:pt x="580" y="20"/>
                  </a:cubicBezTo>
                  <a:cubicBezTo>
                    <a:pt x="580" y="10"/>
                    <a:pt x="559" y="0"/>
                    <a:pt x="545" y="0"/>
                  </a:cubicBezTo>
                  <a:cubicBezTo>
                    <a:pt x="535" y="0"/>
                    <a:pt x="526" y="8"/>
                    <a:pt x="519" y="16"/>
                  </a:cubicBezTo>
                  <a:cubicBezTo>
                    <a:pt x="344" y="210"/>
                    <a:pt x="344" y="210"/>
                    <a:pt x="344" y="210"/>
                  </a:cubicBezTo>
                  <a:cubicBezTo>
                    <a:pt x="336" y="219"/>
                    <a:pt x="334" y="224"/>
                    <a:pt x="334" y="229"/>
                  </a:cubicBezTo>
                  <a:cubicBezTo>
                    <a:pt x="334" y="234"/>
                    <a:pt x="336" y="239"/>
                    <a:pt x="344" y="248"/>
                  </a:cubicBezTo>
                  <a:cubicBezTo>
                    <a:pt x="519" y="442"/>
                    <a:pt x="519" y="442"/>
                    <a:pt x="519" y="442"/>
                  </a:cubicBezTo>
                  <a:cubicBezTo>
                    <a:pt x="526" y="450"/>
                    <a:pt x="535" y="458"/>
                    <a:pt x="545" y="458"/>
                  </a:cubicBezTo>
                  <a:cubicBezTo>
                    <a:pt x="559" y="458"/>
                    <a:pt x="580" y="448"/>
                    <a:pt x="580" y="438"/>
                  </a:cubicBezTo>
                  <a:cubicBezTo>
                    <a:pt x="580" y="433"/>
                    <a:pt x="576" y="428"/>
                    <a:pt x="570" y="421"/>
                  </a:cubicBezTo>
                  <a:cubicBezTo>
                    <a:pt x="411" y="245"/>
                    <a:pt x="411" y="245"/>
                    <a:pt x="411" y="245"/>
                  </a:cubicBezTo>
                  <a:cubicBezTo>
                    <a:pt x="403" y="236"/>
                    <a:pt x="399" y="232"/>
                    <a:pt x="399" y="229"/>
                  </a:cubicBezTo>
                  <a:cubicBezTo>
                    <a:pt x="399" y="226"/>
                    <a:pt x="403" y="222"/>
                    <a:pt x="411" y="213"/>
                  </a:cubicBezTo>
                  <a:moveTo>
                    <a:pt x="252" y="439"/>
                  </a:moveTo>
                  <a:cubicBezTo>
                    <a:pt x="252" y="449"/>
                    <a:pt x="261" y="454"/>
                    <a:pt x="281" y="454"/>
                  </a:cubicBezTo>
                  <a:cubicBezTo>
                    <a:pt x="300" y="454"/>
                    <a:pt x="309" y="449"/>
                    <a:pt x="309" y="439"/>
                  </a:cubicBezTo>
                  <a:cubicBezTo>
                    <a:pt x="309" y="19"/>
                    <a:pt x="309" y="19"/>
                    <a:pt x="309" y="19"/>
                  </a:cubicBezTo>
                  <a:cubicBezTo>
                    <a:pt x="309" y="9"/>
                    <a:pt x="300" y="4"/>
                    <a:pt x="281" y="4"/>
                  </a:cubicBezTo>
                  <a:cubicBezTo>
                    <a:pt x="261" y="4"/>
                    <a:pt x="252" y="9"/>
                    <a:pt x="252" y="19"/>
                  </a:cubicBezTo>
                  <a:lnTo>
                    <a:pt x="252" y="439"/>
                  </a:lnTo>
                  <a:close/>
                  <a:moveTo>
                    <a:pt x="0" y="439"/>
                  </a:moveTo>
                  <a:cubicBezTo>
                    <a:pt x="0" y="449"/>
                    <a:pt x="8" y="454"/>
                    <a:pt x="28" y="454"/>
                  </a:cubicBezTo>
                  <a:cubicBezTo>
                    <a:pt x="48" y="454"/>
                    <a:pt x="56" y="449"/>
                    <a:pt x="56" y="439"/>
                  </a:cubicBezTo>
                  <a:cubicBezTo>
                    <a:pt x="56" y="157"/>
                    <a:pt x="56" y="157"/>
                    <a:pt x="56" y="157"/>
                  </a:cubicBezTo>
                  <a:cubicBezTo>
                    <a:pt x="56" y="83"/>
                    <a:pt x="85" y="53"/>
                    <a:pt x="165" y="53"/>
                  </a:cubicBezTo>
                  <a:cubicBezTo>
                    <a:pt x="180" y="53"/>
                    <a:pt x="180" y="53"/>
                    <a:pt x="180" y="53"/>
                  </a:cubicBezTo>
                  <a:cubicBezTo>
                    <a:pt x="192" y="53"/>
                    <a:pt x="196" y="43"/>
                    <a:pt x="196" y="27"/>
                  </a:cubicBezTo>
                  <a:cubicBezTo>
                    <a:pt x="196" y="8"/>
                    <a:pt x="185" y="4"/>
                    <a:pt x="154" y="4"/>
                  </a:cubicBezTo>
                  <a:cubicBezTo>
                    <a:pt x="64" y="4"/>
                    <a:pt x="0" y="43"/>
                    <a:pt x="0" y="152"/>
                  </a:cubicBezTo>
                  <a:lnTo>
                    <a:pt x="0" y="43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sp>
          <p:nvSpPr>
            <p:cNvPr id="22" name="Freeform 10">
              <a:extLst>
                <a:ext uri="{FF2B5EF4-FFF2-40B4-BE49-F238E27FC236}">
                  <a16:creationId xmlns:a16="http://schemas.microsoft.com/office/drawing/2014/main" id="{2B91B16B-BC11-E547-8FAC-B9B8D18EA449}"/>
                </a:ext>
              </a:extLst>
            </p:cNvPr>
            <p:cNvSpPr>
              <a:spLocks/>
            </p:cNvSpPr>
            <p:nvPr/>
          </p:nvSpPr>
          <p:spPr bwMode="gray">
            <a:xfrm>
              <a:off x="2880" y="1704"/>
              <a:ext cx="618" cy="916"/>
            </a:xfrm>
            <a:custGeom>
              <a:avLst/>
              <a:gdLst>
                <a:gd name="T0" fmla="*/ 307 w 307"/>
                <a:gd name="T1" fmla="*/ 405 h 455"/>
                <a:gd name="T2" fmla="*/ 307 w 307"/>
                <a:gd name="T3" fmla="*/ 244 h 455"/>
                <a:gd name="T4" fmla="*/ 279 w 307"/>
                <a:gd name="T5" fmla="*/ 229 h 455"/>
                <a:gd name="T6" fmla="*/ 250 w 307"/>
                <a:gd name="T7" fmla="*/ 244 h 455"/>
                <a:gd name="T8" fmla="*/ 250 w 307"/>
                <a:gd name="T9" fmla="*/ 378 h 455"/>
                <a:gd name="T10" fmla="*/ 199 w 307"/>
                <a:gd name="T11" fmla="*/ 408 h 455"/>
                <a:gd name="T12" fmla="*/ 61 w 307"/>
                <a:gd name="T13" fmla="*/ 231 h 455"/>
                <a:gd name="T14" fmla="*/ 238 w 307"/>
                <a:gd name="T15" fmla="*/ 49 h 455"/>
                <a:gd name="T16" fmla="*/ 270 w 307"/>
                <a:gd name="T17" fmla="*/ 49 h 455"/>
                <a:gd name="T18" fmla="*/ 286 w 307"/>
                <a:gd name="T19" fmla="*/ 23 h 455"/>
                <a:gd name="T20" fmla="*/ 244 w 307"/>
                <a:gd name="T21" fmla="*/ 0 h 455"/>
                <a:gd name="T22" fmla="*/ 231 w 307"/>
                <a:gd name="T23" fmla="*/ 0 h 455"/>
                <a:gd name="T24" fmla="*/ 0 w 307"/>
                <a:gd name="T25" fmla="*/ 232 h 455"/>
                <a:gd name="T26" fmla="*/ 198 w 307"/>
                <a:gd name="T27" fmla="*/ 455 h 455"/>
                <a:gd name="T28" fmla="*/ 307 w 307"/>
                <a:gd name="T29" fmla="*/ 405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7" h="455">
                  <a:moveTo>
                    <a:pt x="307" y="405"/>
                  </a:moveTo>
                  <a:cubicBezTo>
                    <a:pt x="307" y="244"/>
                    <a:pt x="307" y="244"/>
                    <a:pt x="307" y="244"/>
                  </a:cubicBezTo>
                  <a:cubicBezTo>
                    <a:pt x="307" y="234"/>
                    <a:pt x="298" y="229"/>
                    <a:pt x="279" y="229"/>
                  </a:cubicBezTo>
                  <a:cubicBezTo>
                    <a:pt x="259" y="229"/>
                    <a:pt x="250" y="234"/>
                    <a:pt x="250" y="244"/>
                  </a:cubicBezTo>
                  <a:cubicBezTo>
                    <a:pt x="250" y="378"/>
                    <a:pt x="250" y="378"/>
                    <a:pt x="250" y="378"/>
                  </a:cubicBezTo>
                  <a:cubicBezTo>
                    <a:pt x="250" y="399"/>
                    <a:pt x="241" y="408"/>
                    <a:pt x="199" y="408"/>
                  </a:cubicBezTo>
                  <a:cubicBezTo>
                    <a:pt x="114" y="408"/>
                    <a:pt x="61" y="342"/>
                    <a:pt x="61" y="231"/>
                  </a:cubicBezTo>
                  <a:cubicBezTo>
                    <a:pt x="61" y="115"/>
                    <a:pt x="126" y="49"/>
                    <a:pt x="238" y="49"/>
                  </a:cubicBezTo>
                  <a:cubicBezTo>
                    <a:pt x="270" y="49"/>
                    <a:pt x="270" y="49"/>
                    <a:pt x="270" y="49"/>
                  </a:cubicBezTo>
                  <a:cubicBezTo>
                    <a:pt x="282" y="49"/>
                    <a:pt x="286" y="39"/>
                    <a:pt x="286" y="23"/>
                  </a:cubicBezTo>
                  <a:cubicBezTo>
                    <a:pt x="286" y="4"/>
                    <a:pt x="275" y="0"/>
                    <a:pt x="244" y="0"/>
                  </a:cubicBezTo>
                  <a:cubicBezTo>
                    <a:pt x="231" y="0"/>
                    <a:pt x="231" y="0"/>
                    <a:pt x="231" y="0"/>
                  </a:cubicBezTo>
                  <a:cubicBezTo>
                    <a:pt x="101" y="0"/>
                    <a:pt x="0" y="71"/>
                    <a:pt x="0" y="232"/>
                  </a:cubicBezTo>
                  <a:cubicBezTo>
                    <a:pt x="0" y="386"/>
                    <a:pt x="88" y="455"/>
                    <a:pt x="198" y="455"/>
                  </a:cubicBezTo>
                  <a:cubicBezTo>
                    <a:pt x="286" y="455"/>
                    <a:pt x="307" y="430"/>
                    <a:pt x="307" y="40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sp>
          <p:nvSpPr>
            <p:cNvPr id="23" name="Oval 11">
              <a:extLst>
                <a:ext uri="{FF2B5EF4-FFF2-40B4-BE49-F238E27FC236}">
                  <a16:creationId xmlns:a16="http://schemas.microsoft.com/office/drawing/2014/main" id="{14F8C3C8-4888-7646-B9B4-64EB46A1DA23}"/>
                </a:ext>
              </a:extLst>
            </p:cNvPr>
            <p:cNvSpPr>
              <a:spLocks noChangeArrowheads="1"/>
            </p:cNvSpPr>
            <p:nvPr/>
          </p:nvSpPr>
          <p:spPr bwMode="gray">
            <a:xfrm>
              <a:off x="3778" y="2099"/>
              <a:ext cx="122" cy="12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sp>
          <p:nvSpPr>
            <p:cNvPr id="24" name="Freeform 12">
              <a:extLst>
                <a:ext uri="{FF2B5EF4-FFF2-40B4-BE49-F238E27FC236}">
                  <a16:creationId xmlns:a16="http://schemas.microsoft.com/office/drawing/2014/main" id="{D79D01D1-4E3E-F34B-97D7-2D387E68746E}"/>
                </a:ext>
              </a:extLst>
            </p:cNvPr>
            <p:cNvSpPr>
              <a:spLocks/>
            </p:cNvSpPr>
            <p:nvPr/>
          </p:nvSpPr>
          <p:spPr bwMode="gray">
            <a:xfrm>
              <a:off x="4321" y="1029"/>
              <a:ext cx="648" cy="649"/>
            </a:xfrm>
            <a:custGeom>
              <a:avLst/>
              <a:gdLst>
                <a:gd name="T0" fmla="*/ 0 w 648"/>
                <a:gd name="T1" fmla="*/ 649 h 649"/>
                <a:gd name="T2" fmla="*/ 2 w 648"/>
                <a:gd name="T3" fmla="*/ 649 h 649"/>
                <a:gd name="T4" fmla="*/ 648 w 648"/>
                <a:gd name="T5" fmla="*/ 0 h 649"/>
                <a:gd name="T6" fmla="*/ 423 w 648"/>
                <a:gd name="T7" fmla="*/ 0 h 649"/>
                <a:gd name="T8" fmla="*/ 0 w 648"/>
                <a:gd name="T9" fmla="*/ 649 h 649"/>
              </a:gdLst>
              <a:ahLst/>
              <a:cxnLst>
                <a:cxn ang="0">
                  <a:pos x="T0" y="T1"/>
                </a:cxn>
                <a:cxn ang="0">
                  <a:pos x="T2" y="T3"/>
                </a:cxn>
                <a:cxn ang="0">
                  <a:pos x="T4" y="T5"/>
                </a:cxn>
                <a:cxn ang="0">
                  <a:pos x="T6" y="T7"/>
                </a:cxn>
                <a:cxn ang="0">
                  <a:pos x="T8" y="T9"/>
                </a:cxn>
              </a:cxnLst>
              <a:rect l="0" t="0" r="r" b="b"/>
              <a:pathLst>
                <a:path w="648" h="649">
                  <a:moveTo>
                    <a:pt x="0" y="649"/>
                  </a:moveTo>
                  <a:lnTo>
                    <a:pt x="2" y="649"/>
                  </a:lnTo>
                  <a:lnTo>
                    <a:pt x="648" y="0"/>
                  </a:lnTo>
                  <a:lnTo>
                    <a:pt x="423" y="0"/>
                  </a:lnTo>
                  <a:lnTo>
                    <a:pt x="0" y="64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sp>
          <p:nvSpPr>
            <p:cNvPr id="26" name="Freeform 13">
              <a:extLst>
                <a:ext uri="{FF2B5EF4-FFF2-40B4-BE49-F238E27FC236}">
                  <a16:creationId xmlns:a16="http://schemas.microsoft.com/office/drawing/2014/main" id="{46549898-6C52-B147-A8F6-A73FDBE6163B}"/>
                </a:ext>
              </a:extLst>
            </p:cNvPr>
            <p:cNvSpPr>
              <a:spLocks/>
            </p:cNvSpPr>
            <p:nvPr/>
          </p:nvSpPr>
          <p:spPr bwMode="gray">
            <a:xfrm>
              <a:off x="4321" y="1029"/>
              <a:ext cx="648" cy="649"/>
            </a:xfrm>
            <a:custGeom>
              <a:avLst/>
              <a:gdLst>
                <a:gd name="T0" fmla="*/ 0 w 648"/>
                <a:gd name="T1" fmla="*/ 649 h 649"/>
                <a:gd name="T2" fmla="*/ 2 w 648"/>
                <a:gd name="T3" fmla="*/ 649 h 649"/>
                <a:gd name="T4" fmla="*/ 648 w 648"/>
                <a:gd name="T5" fmla="*/ 0 h 649"/>
                <a:gd name="T6" fmla="*/ 423 w 648"/>
                <a:gd name="T7" fmla="*/ 0 h 649"/>
                <a:gd name="T8" fmla="*/ 0 w 648"/>
                <a:gd name="T9" fmla="*/ 649 h 649"/>
              </a:gdLst>
              <a:ahLst/>
              <a:cxnLst>
                <a:cxn ang="0">
                  <a:pos x="T0" y="T1"/>
                </a:cxn>
                <a:cxn ang="0">
                  <a:pos x="T2" y="T3"/>
                </a:cxn>
                <a:cxn ang="0">
                  <a:pos x="T4" y="T5"/>
                </a:cxn>
                <a:cxn ang="0">
                  <a:pos x="T6" y="T7"/>
                </a:cxn>
                <a:cxn ang="0">
                  <a:pos x="T8" y="T9"/>
                </a:cxn>
              </a:cxnLst>
              <a:rect l="0" t="0" r="r" b="b"/>
              <a:pathLst>
                <a:path w="648" h="649">
                  <a:moveTo>
                    <a:pt x="0" y="649"/>
                  </a:moveTo>
                  <a:lnTo>
                    <a:pt x="2" y="649"/>
                  </a:lnTo>
                  <a:lnTo>
                    <a:pt x="648" y="0"/>
                  </a:lnTo>
                  <a:lnTo>
                    <a:pt x="423" y="0"/>
                  </a:lnTo>
                  <a:lnTo>
                    <a:pt x="0" y="64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grpSp>
      <p:sp>
        <p:nvSpPr>
          <p:cNvPr id="20" name="shp1">
            <a:extLst>
              <a:ext uri="{FF2B5EF4-FFF2-40B4-BE49-F238E27FC236}">
                <a16:creationId xmlns:a16="http://schemas.microsoft.com/office/drawing/2014/main" id="{1AD9883E-0B1C-504A-A979-9C5803172360}"/>
              </a:ext>
            </a:extLst>
          </p:cNvPr>
          <p:cNvSpPr/>
          <p:nvPr/>
        </p:nvSpPr>
        <p:spPr>
          <a:xfrm>
            <a:off x="192088" y="1"/>
            <a:ext cx="215900" cy="144938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de-DE" sz="1351"/>
          </a:p>
        </p:txBody>
      </p:sp>
      <p:sp>
        <p:nvSpPr>
          <p:cNvPr id="7" name="copyright"/>
          <p:cNvSpPr txBox="1"/>
          <p:nvPr/>
        </p:nvSpPr>
        <p:spPr>
          <a:xfrm>
            <a:off x="10672209" y="6461671"/>
            <a:ext cx="500617" cy="133790"/>
          </a:xfrm>
          <a:prstGeom prst="rect">
            <a:avLst/>
          </a:prstGeom>
          <a:noFill/>
        </p:spPr>
        <p:txBody>
          <a:bodyPr wrap="none" lIns="0" tIns="0" rIns="0" bIns="0" rtlCol="0" anchor="b" anchorCtr="0">
            <a:noAutofit/>
          </a:bodyPr>
          <a:lstStyle/>
          <a:p>
            <a:pPr marL="0" indent="0" algn="r">
              <a:lnSpc>
                <a:spcPct val="125000"/>
              </a:lnSpc>
              <a:buClr>
                <a:schemeClr val="tx2"/>
              </a:buClr>
              <a:buFont typeface="Wingdings" panose="05000000000000000000" pitchFamily="2" charset="2"/>
              <a:buNone/>
            </a:pPr>
            <a:r>
              <a:rPr lang="en-US" sz="800" dirty="0"/>
              <a:t>© GfK</a:t>
            </a:r>
          </a:p>
        </p:txBody>
      </p:sp>
      <p:sp>
        <p:nvSpPr>
          <p:cNvPr id="30" name="Slide Number Placeholder 29"/>
          <p:cNvSpPr>
            <a:spLocks noGrp="1"/>
          </p:cNvSpPr>
          <p:nvPr>
            <p:ph type="sldNum" sz="quarter" idx="4"/>
          </p:nvPr>
        </p:nvSpPr>
        <p:spPr>
          <a:xfrm>
            <a:off x="11186669" y="6461671"/>
            <a:ext cx="648000" cy="133790"/>
          </a:xfrm>
          <a:prstGeom prst="rect">
            <a:avLst/>
          </a:prstGeom>
        </p:spPr>
        <p:txBody>
          <a:bodyPr vert="horz" lIns="0" tIns="0" rIns="0" bIns="0" rtlCol="0" anchor="b" anchorCtr="0"/>
          <a:lstStyle>
            <a:lvl1pPr algn="r">
              <a:defRPr sz="800">
                <a:solidFill>
                  <a:schemeClr val="tx1"/>
                </a:solidFill>
              </a:defRPr>
            </a:lvl1pPr>
          </a:lstStyle>
          <a:p>
            <a:fld id="{5F3E29E4-0979-4FCA-B4C5-5FC6044C982A}" type="slidenum">
              <a:rPr lang="en-US" smtClean="0"/>
              <a:pPr/>
              <a:t>‹#›</a:t>
            </a:fld>
            <a:endParaRPr lang="en-US"/>
          </a:p>
        </p:txBody>
      </p:sp>
      <p:sp>
        <p:nvSpPr>
          <p:cNvPr id="2" name="Title Placeholder 1"/>
          <p:cNvSpPr>
            <a:spLocks noGrp="1"/>
          </p:cNvSpPr>
          <p:nvPr>
            <p:ph type="title"/>
          </p:nvPr>
        </p:nvSpPr>
        <p:spPr>
          <a:xfrm>
            <a:off x="1075061" y="288922"/>
            <a:ext cx="7910158" cy="648000"/>
          </a:xfrm>
          <a:prstGeom prst="rect">
            <a:avLst/>
          </a:prstGeom>
        </p:spPr>
        <p:txBody>
          <a:bodyPr vert="horz" lIns="0" tIns="0" rIns="0" bIns="0" rtlCol="0" anchor="t">
            <a:noAutofit/>
          </a:bodyPr>
          <a:lstStyle/>
          <a:p>
            <a:r>
              <a:rPr lang="ru-RU"/>
              <a:t>Образец заголовка</a:t>
            </a:r>
            <a:endParaRPr lang="en-US" dirty="0"/>
          </a:p>
        </p:txBody>
      </p:sp>
      <p:sp>
        <p:nvSpPr>
          <p:cNvPr id="3" name="Text Placeholder 2"/>
          <p:cNvSpPr>
            <a:spLocks noGrp="1"/>
          </p:cNvSpPr>
          <p:nvPr>
            <p:ph type="body" idx="1"/>
          </p:nvPr>
        </p:nvSpPr>
        <p:spPr>
          <a:xfrm>
            <a:off x="1075062" y="1629618"/>
            <a:ext cx="10097764" cy="4139357"/>
          </a:xfrm>
          <a:prstGeom prst="rect">
            <a:avLst/>
          </a:prstGeom>
        </p:spPr>
        <p:txBody>
          <a:bodyPr vert="horz" lIns="0" tIns="0" rIns="0" bIns="0" rtlCol="0">
            <a:noAutofit/>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endParaRPr lang="en-US" dirty="0"/>
          </a:p>
        </p:txBody>
      </p:sp>
    </p:spTree>
    <p:extLst>
      <p:ext uri="{BB962C8B-B14F-4D97-AF65-F5344CB8AC3E}">
        <p14:creationId xmlns:p14="http://schemas.microsoft.com/office/powerpoint/2010/main" val="2094972230"/>
      </p:ext>
    </p:extLst>
  </p:cSld>
  <p:clrMap bg1="lt1" tx1="dk1" bg2="lt2" tx2="dk2" accent1="accent1" accent2="accent2" accent3="accent3" accent4="accent4" accent5="accent5" accent6="accent6" hlink="hlink" folHlink="folHlink"/>
  <p:sldLayoutIdLst>
    <p:sldLayoutId id="2147484459" r:id="rId1"/>
    <p:sldLayoutId id="2147484460" r:id="rId2"/>
    <p:sldLayoutId id="2147484461" r:id="rId3"/>
    <p:sldLayoutId id="2147484462" r:id="rId4"/>
    <p:sldLayoutId id="2147484463" r:id="rId5"/>
    <p:sldLayoutId id="2147484464" r:id="rId6"/>
    <p:sldLayoutId id="2147484465" r:id="rId7"/>
    <p:sldLayoutId id="2147484466" r:id="rId8"/>
    <p:sldLayoutId id="2147484467" r:id="rId9"/>
    <p:sldLayoutId id="2147484468" r:id="rId10"/>
    <p:sldLayoutId id="2147484469" r:id="rId11"/>
    <p:sldLayoutId id="2147484470" r:id="rId12"/>
    <p:sldLayoutId id="2147484471" r:id="rId13"/>
    <p:sldLayoutId id="2147484472" r:id="rId14"/>
    <p:sldLayoutId id="2147484473" r:id="rId15"/>
    <p:sldLayoutId id="2147484474" r:id="rId16"/>
    <p:sldLayoutId id="2147484475" r:id="rId17"/>
    <p:sldLayoutId id="2147484476" r:id="rId18"/>
    <p:sldLayoutId id="2147484477" r:id="rId19"/>
    <p:sldLayoutId id="2147484478" r:id="rId20"/>
    <p:sldLayoutId id="2147484479" r:id="rId21"/>
    <p:sldLayoutId id="2147484480" r:id="rId22"/>
    <p:sldLayoutId id="2147484481" r:id="rId23"/>
    <p:sldLayoutId id="2147484482" r:id="rId24"/>
    <p:sldLayoutId id="2147484483" r:id="rId25"/>
    <p:sldLayoutId id="2147484484" r:id="rId26"/>
    <p:sldLayoutId id="2147484485" r:id="rId27"/>
    <p:sldLayoutId id="2147484486" r:id="rId28"/>
    <p:sldLayoutId id="2147484487" r:id="rId29"/>
  </p:sldLayoutIdLst>
  <p:hf hdr="0"/>
  <p:txStyles>
    <p:titleStyle>
      <a:lvl1pPr algn="l" defTabSz="914400" rtl="0" eaLnBrk="1" latinLnBrk="0" hangingPunct="1">
        <a:lnSpc>
          <a:spcPct val="100000"/>
        </a:lnSpc>
        <a:spcBef>
          <a:spcPct val="0"/>
        </a:spcBef>
        <a:buNone/>
        <a:defRPr sz="3600" kern="1200">
          <a:solidFill>
            <a:schemeClr val="tx1"/>
          </a:solidFill>
          <a:latin typeface="+mj-lt"/>
          <a:ea typeface="+mj-ea"/>
          <a:cs typeface="+mj-cs"/>
        </a:defRPr>
      </a:lvl1pPr>
    </p:titleStyle>
    <p:bodyStyle>
      <a:lvl1pPr marL="252000" indent="-252000" algn="l" defTabSz="914400" rtl="0" eaLnBrk="1" latinLnBrk="0" hangingPunct="1">
        <a:lnSpc>
          <a:spcPct val="110000"/>
        </a:lnSpc>
        <a:spcBef>
          <a:spcPts val="1000"/>
        </a:spcBef>
        <a:buClr>
          <a:schemeClr val="tx2"/>
        </a:buClr>
        <a:buFont typeface="Wingdings" panose="05000000000000000000" pitchFamily="2" charset="2"/>
        <a:buChar char="§"/>
        <a:defRPr sz="2800" kern="1200">
          <a:solidFill>
            <a:schemeClr val="tx1"/>
          </a:solidFill>
          <a:latin typeface="+mn-lt"/>
          <a:ea typeface="+mn-ea"/>
          <a:cs typeface="+mn-cs"/>
        </a:defRPr>
      </a:lvl1pPr>
      <a:lvl2pPr marL="648000" indent="-252000" algn="l" defTabSz="914400" rtl="0" eaLnBrk="1" latinLnBrk="0" hangingPunct="1">
        <a:lnSpc>
          <a:spcPct val="110000"/>
        </a:lnSpc>
        <a:spcBef>
          <a:spcPts val="600"/>
        </a:spcBef>
        <a:buClr>
          <a:schemeClr val="tx2"/>
        </a:buClr>
        <a:buFont typeface="Wingdings" panose="05000000000000000000" pitchFamily="2" charset="2"/>
        <a:buChar char="§"/>
        <a:defRPr sz="2400" kern="1200">
          <a:solidFill>
            <a:schemeClr val="tx1"/>
          </a:solidFill>
          <a:latin typeface="+mn-lt"/>
          <a:ea typeface="+mn-ea"/>
          <a:cs typeface="+mn-cs"/>
        </a:defRPr>
      </a:lvl2pPr>
      <a:lvl3pPr marL="1080000" indent="-252000" algn="l" defTabSz="914400" rtl="0" eaLnBrk="1" latinLnBrk="0" hangingPunct="1">
        <a:lnSpc>
          <a:spcPct val="110000"/>
        </a:lnSpc>
        <a:spcBef>
          <a:spcPts val="600"/>
        </a:spcBef>
        <a:buClr>
          <a:schemeClr val="tx2"/>
        </a:buClr>
        <a:buFont typeface="Wingdings" panose="05000000000000000000" pitchFamily="2" charset="2"/>
        <a:buChar char="§"/>
        <a:defRPr sz="2000" kern="1200">
          <a:solidFill>
            <a:schemeClr val="tx1"/>
          </a:solidFill>
          <a:latin typeface="+mn-lt"/>
          <a:ea typeface="+mn-ea"/>
          <a:cs typeface="+mn-cs"/>
        </a:defRPr>
      </a:lvl3pPr>
      <a:lvl4pPr marL="0" indent="0" algn="l" defTabSz="914400" rtl="0" eaLnBrk="1" latinLnBrk="0" hangingPunct="1">
        <a:lnSpc>
          <a:spcPct val="110000"/>
        </a:lnSpc>
        <a:spcBef>
          <a:spcPts val="600"/>
        </a:spcBef>
        <a:buClr>
          <a:schemeClr val="tx2"/>
        </a:buClr>
        <a:buFont typeface="Lato" panose="020F0502020204030203" pitchFamily="34" charset="0"/>
        <a:buChar char="​"/>
        <a:defRPr sz="1600" kern="1200">
          <a:solidFill>
            <a:schemeClr val="tx1"/>
          </a:solidFill>
          <a:latin typeface="+mn-lt"/>
          <a:ea typeface="+mn-ea"/>
          <a:cs typeface="+mn-cs"/>
        </a:defRPr>
      </a:lvl4pPr>
      <a:lvl5pPr marL="252000" indent="-252000" algn="l" defTabSz="914400" rtl="0" eaLnBrk="1" latinLnBrk="0" hangingPunct="1">
        <a:lnSpc>
          <a:spcPct val="110000"/>
        </a:lnSpc>
        <a:spcBef>
          <a:spcPts val="600"/>
        </a:spcBef>
        <a:buClr>
          <a:schemeClr val="tx2"/>
        </a:buClr>
        <a:buFont typeface="Wingdings" panose="05000000000000000000" pitchFamily="2" charset="2"/>
        <a:buChar char="§"/>
        <a:defRPr sz="1600" kern="1200">
          <a:solidFill>
            <a:schemeClr val="tx1"/>
          </a:solidFill>
          <a:latin typeface="+mn-lt"/>
          <a:ea typeface="+mn-ea"/>
          <a:cs typeface="+mn-cs"/>
        </a:defRPr>
      </a:lvl5pPr>
      <a:lvl6pPr marL="648000" indent="-252000" algn="l" defTabSz="914400" rtl="0" eaLnBrk="1" latinLnBrk="0" hangingPunct="1">
        <a:lnSpc>
          <a:spcPct val="110000"/>
        </a:lnSpc>
        <a:spcBef>
          <a:spcPts val="600"/>
        </a:spcBef>
        <a:buClr>
          <a:schemeClr val="tx2"/>
        </a:buClr>
        <a:buFont typeface="Wingdings" panose="05000000000000000000" pitchFamily="2" charset="2"/>
        <a:buChar char="§"/>
        <a:defRPr sz="1600" kern="1200">
          <a:solidFill>
            <a:schemeClr val="tx1"/>
          </a:solidFill>
          <a:latin typeface="+mn-lt"/>
          <a:ea typeface="+mn-ea"/>
          <a:cs typeface="+mn-cs"/>
        </a:defRPr>
      </a:lvl6pPr>
      <a:lvl7pPr marL="1080000" indent="-252000" algn="l" defTabSz="914400" rtl="0" eaLnBrk="1" latinLnBrk="0" hangingPunct="1">
        <a:lnSpc>
          <a:spcPct val="110000"/>
        </a:lnSpc>
        <a:spcBef>
          <a:spcPts val="600"/>
        </a:spcBef>
        <a:buClr>
          <a:schemeClr val="tx2"/>
        </a:buClr>
        <a:buFont typeface="Wingdings" panose="05000000000000000000" pitchFamily="2" charset="2"/>
        <a:buChar char="§"/>
        <a:defRPr sz="1600" kern="1200">
          <a:solidFill>
            <a:schemeClr val="tx1"/>
          </a:solidFill>
          <a:latin typeface="+mn-lt"/>
          <a:ea typeface="+mn-ea"/>
          <a:cs typeface="+mn-cs"/>
        </a:defRPr>
      </a:lvl7pPr>
      <a:lvl8pPr marL="1512000" indent="-252000" algn="l" defTabSz="914400" rtl="0" eaLnBrk="1" latinLnBrk="0" hangingPunct="1">
        <a:lnSpc>
          <a:spcPct val="110000"/>
        </a:lnSpc>
        <a:spcBef>
          <a:spcPts val="600"/>
        </a:spcBef>
        <a:buClr>
          <a:schemeClr val="tx2"/>
        </a:buClr>
        <a:buFont typeface="Wingdings" panose="05000000000000000000" pitchFamily="2" charset="2"/>
        <a:buChar char="§"/>
        <a:defRPr sz="1600" kern="1200">
          <a:solidFill>
            <a:schemeClr val="tx1"/>
          </a:solidFill>
          <a:latin typeface="+mn-lt"/>
          <a:ea typeface="+mn-ea"/>
          <a:cs typeface="+mn-cs"/>
        </a:defRPr>
      </a:lvl8pPr>
      <a:lvl9pPr marL="1944000" indent="-252000" algn="l" defTabSz="914400" rtl="0" eaLnBrk="1" latinLnBrk="0" hangingPunct="1">
        <a:lnSpc>
          <a:spcPct val="110000"/>
        </a:lnSpc>
        <a:spcBef>
          <a:spcPts val="600"/>
        </a:spcBef>
        <a:buClr>
          <a:schemeClr val="tx2"/>
        </a:buClr>
        <a:buFont typeface="Wingdings" panose="05000000000000000000" pitchFamily="2" charset="2"/>
        <a:buChar char="§"/>
        <a:defRPr sz="16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319">
          <p15:clr>
            <a:srgbClr val="5ACBF0"/>
          </p15:clr>
        </p15:guide>
        <p15:guide id="3" pos="257">
          <p15:clr>
            <a:srgbClr val="5ACBF0"/>
          </p15:clr>
        </p15:guide>
        <p15:guide id="4" pos="675">
          <p15:clr>
            <a:srgbClr val="5ACBF0"/>
          </p15:clr>
        </p15:guide>
        <p15:guide id="5" pos="7038">
          <p15:clr>
            <a:srgbClr val="5ACBF0"/>
          </p15:clr>
        </p15:guide>
        <p15:guide id="6" pos="7446">
          <p15:clr>
            <a:srgbClr val="5ACBF0"/>
          </p15:clr>
        </p15:guide>
        <p15:guide id="7" orient="horz" pos="255">
          <p15:clr>
            <a:srgbClr val="5ACBF0"/>
          </p15:clr>
        </p15:guide>
        <p15:guide id="8" orient="horz" pos="663">
          <p15:clr>
            <a:srgbClr val="5ACBF0"/>
          </p15:clr>
        </p15:guide>
        <p15:guide id="9" orient="horz" pos="799">
          <p15:clr>
            <a:srgbClr val="5ACBF0"/>
          </p15:clr>
        </p15:guide>
        <p15:guide id="10" orient="horz" pos="1026">
          <p15:clr>
            <a:srgbClr val="5ACBF0"/>
          </p15:clr>
        </p15:guide>
        <p15:guide id="11" orient="horz" pos="3634">
          <p15:clr>
            <a:srgbClr val="5ACBF0"/>
          </p15:clr>
        </p15:guide>
        <p15:guide id="12" orient="horz" pos="3929">
          <p15:clr>
            <a:srgbClr val="5ACBF0"/>
          </p15:clr>
        </p15:guide>
        <p15:guide id="13" orient="horz" pos="4133">
          <p15:clr>
            <a:srgbClr val="5ACBF0"/>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017D88C8-8402-40AB-8EEC-F7D70EA96F53}"/>
              </a:ext>
            </a:extLst>
          </p:cNvPr>
          <p:cNvGraphicFramePr>
            <a:graphicFrameLocks noChangeAspect="1"/>
          </p:cNvGraphicFramePr>
          <p:nvPr userDrawn="1">
            <p:custDataLst>
              <p:tags r:id="rId12"/>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597049" name="think-cell Folie" r:id="rId14" imgW="359" imgH="358" progId="TCLayout.ActiveDocument.1">
                  <p:embed/>
                </p:oleObj>
              </mc:Choice>
              <mc:Fallback>
                <p:oleObj name="think-cell Folie" r:id="rId14" imgW="359" imgH="358" progId="TCLayout.ActiveDocument.1">
                  <p:embed/>
                  <p:pic>
                    <p:nvPicPr>
                      <p:cNvPr id="8" name="Objekt 7" hidden="1">
                        <a:extLst>
                          <a:ext uri="{FF2B5EF4-FFF2-40B4-BE49-F238E27FC236}">
                            <a16:creationId xmlns:a16="http://schemas.microsoft.com/office/drawing/2014/main" id="{017D88C8-8402-40AB-8EEC-F7D70EA96F53}"/>
                          </a:ext>
                        </a:extLst>
                      </p:cNvPr>
                      <p:cNvPicPr/>
                      <p:nvPr/>
                    </p:nvPicPr>
                    <p:blipFill>
                      <a:blip r:embed="rId15"/>
                      <a:stretch>
                        <a:fillRect/>
                      </a:stretch>
                    </p:blipFill>
                    <p:spPr>
                      <a:xfrm>
                        <a:off x="1589" y="1589"/>
                        <a:ext cx="1588" cy="1588"/>
                      </a:xfrm>
                      <a:prstGeom prst="rect">
                        <a:avLst/>
                      </a:prstGeom>
                    </p:spPr>
                  </p:pic>
                </p:oleObj>
              </mc:Fallback>
            </mc:AlternateContent>
          </a:graphicData>
        </a:graphic>
      </p:graphicFrame>
      <p:sp>
        <p:nvSpPr>
          <p:cNvPr id="7" name="Rechteck 6" hidden="1">
            <a:extLst>
              <a:ext uri="{FF2B5EF4-FFF2-40B4-BE49-F238E27FC236}">
                <a16:creationId xmlns:a16="http://schemas.microsoft.com/office/drawing/2014/main" id="{F745C66A-DDB9-4878-BF8E-C7AD385C1A80}"/>
              </a:ext>
            </a:extLst>
          </p:cNvPr>
          <p:cNvSpPr/>
          <p:nvPr userDrawn="1">
            <p:custDataLst>
              <p:tags r:id="rId13"/>
            </p:custDataLst>
          </p:nvPr>
        </p:nvSpPr>
        <p:spPr bwMode="gray">
          <a:xfrm>
            <a:off x="1" y="0"/>
            <a:ext cx="158751"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l" eaLnBrk="1">
              <a:lnSpc>
                <a:spcPct val="90000"/>
              </a:lnSpc>
              <a:spcBef>
                <a:spcPct val="0"/>
              </a:spcBef>
              <a:spcAft>
                <a:spcPct val="0"/>
              </a:spcAft>
            </a:pPr>
            <a:endParaRPr lang="en-US" sz="3199" b="1" i="0" baseline="0" dirty="0">
              <a:latin typeface="Lato" panose="020F0502020204030203" pitchFamily="34" charset="0"/>
              <a:ea typeface="+mj-ea"/>
              <a:cs typeface="+mj-cs"/>
              <a:sym typeface="Lato" panose="020F0502020204030203" pitchFamily="34" charset="0"/>
            </a:endParaRPr>
          </a:p>
        </p:txBody>
      </p:sp>
      <p:sp>
        <p:nvSpPr>
          <p:cNvPr id="2" name="Titelplatzhalter 1"/>
          <p:cNvSpPr>
            <a:spLocks noGrp="1"/>
          </p:cNvSpPr>
          <p:nvPr>
            <p:ph type="title"/>
          </p:nvPr>
        </p:nvSpPr>
        <p:spPr bwMode="gray">
          <a:xfrm>
            <a:off x="335361" y="296653"/>
            <a:ext cx="9313035" cy="575999"/>
          </a:xfrm>
          <a:prstGeom prst="rect">
            <a:avLst/>
          </a:prstGeom>
        </p:spPr>
        <p:txBody>
          <a:bodyPr vert="horz" lIns="0" tIns="0" rIns="0" bIns="0" rtlCol="0" anchor="t" anchorCtr="0">
            <a:noAutofit/>
          </a:bodyPr>
          <a:lstStyle/>
          <a:p>
            <a:r>
              <a:rPr lang="en-US" dirty="0"/>
              <a:t>Click to add headline</a:t>
            </a:r>
          </a:p>
        </p:txBody>
      </p:sp>
      <p:sp>
        <p:nvSpPr>
          <p:cNvPr id="3" name="Textplatzhalter 2"/>
          <p:cNvSpPr>
            <a:spLocks noGrp="1"/>
          </p:cNvSpPr>
          <p:nvPr>
            <p:ph type="body" idx="1"/>
          </p:nvPr>
        </p:nvSpPr>
        <p:spPr bwMode="gray">
          <a:xfrm>
            <a:off x="334963" y="1773240"/>
            <a:ext cx="11520000" cy="4679948"/>
          </a:xfrm>
          <a:prstGeom prst="rect">
            <a:avLst/>
          </a:prstGeom>
        </p:spPr>
        <p:txBody>
          <a:bodyPr vert="horz" lIns="0" tIns="0" rIns="0" bIns="0" rtlCol="0">
            <a:noAutofit/>
          </a:body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a:p>
            <a:pPr lvl="4"/>
            <a:r>
              <a:rPr lang="en-US" dirty="0"/>
              <a:t>Sixth level</a:t>
            </a:r>
          </a:p>
          <a:p>
            <a:pPr lvl="4"/>
            <a:r>
              <a:rPr lang="en-US" dirty="0"/>
              <a:t>Seventh level</a:t>
            </a:r>
          </a:p>
          <a:p>
            <a:pPr lvl="4"/>
            <a:r>
              <a:rPr lang="en-US" dirty="0"/>
              <a:t>Eighth level</a:t>
            </a:r>
          </a:p>
          <a:p>
            <a:pPr lvl="4"/>
            <a:r>
              <a:rPr lang="en-US" dirty="0"/>
              <a:t>Ninth level</a:t>
            </a:r>
          </a:p>
        </p:txBody>
      </p:sp>
      <p:sp>
        <p:nvSpPr>
          <p:cNvPr id="6" name="Foliennummernplatzhalter 5"/>
          <p:cNvSpPr>
            <a:spLocks noGrp="1"/>
          </p:cNvSpPr>
          <p:nvPr>
            <p:ph type="sldNum" sz="quarter" idx="4"/>
          </p:nvPr>
        </p:nvSpPr>
        <p:spPr bwMode="gray">
          <a:xfrm>
            <a:off x="11244573" y="6525360"/>
            <a:ext cx="612068" cy="144000"/>
          </a:xfrm>
          <a:prstGeom prst="rect">
            <a:avLst/>
          </a:prstGeom>
        </p:spPr>
        <p:txBody>
          <a:bodyPr vert="horz" lIns="0" tIns="0" rIns="0" bIns="0" rtlCol="0" anchor="ctr"/>
          <a:lstStyle>
            <a:lvl1pPr algn="r">
              <a:defRPr sz="800">
                <a:solidFill>
                  <a:schemeClr val="bg2"/>
                </a:solidFill>
              </a:defRPr>
            </a:lvl1pPr>
          </a:lstStyle>
          <a:p>
            <a:fld id="{9B03EF59-7151-FE47-8F89-F91E474DC3E5}" type="slidenum">
              <a:rPr lang="en-US" smtClean="0"/>
              <a:pPr/>
              <a:t>‹#›</a:t>
            </a:fld>
            <a:endParaRPr lang="en-US" dirty="0"/>
          </a:p>
        </p:txBody>
      </p:sp>
      <p:grpSp>
        <p:nvGrpSpPr>
          <p:cNvPr id="52" name="Gruppieren 51">
            <a:extLst>
              <a:ext uri="{FF2B5EF4-FFF2-40B4-BE49-F238E27FC236}">
                <a16:creationId xmlns:a16="http://schemas.microsoft.com/office/drawing/2014/main" id="{1E26AFE5-3A4C-4685-ADF5-2FC759787517}"/>
              </a:ext>
            </a:extLst>
          </p:cNvPr>
          <p:cNvGrpSpPr/>
          <p:nvPr userDrawn="1"/>
        </p:nvGrpSpPr>
        <p:grpSpPr bwMode="gray">
          <a:xfrm>
            <a:off x="335364" y="-315519"/>
            <a:ext cx="11521675" cy="216031"/>
            <a:chOff x="335364" y="-315520"/>
            <a:chExt cx="11521674" cy="216030"/>
          </a:xfrm>
        </p:grpSpPr>
        <p:cxnSp>
          <p:nvCxnSpPr>
            <p:cNvPr id="33" name="Gerade Verbindung 16">
              <a:extLst>
                <a:ext uri="{FF2B5EF4-FFF2-40B4-BE49-F238E27FC236}">
                  <a16:creationId xmlns:a16="http://schemas.microsoft.com/office/drawing/2014/main" id="{42DD5C70-A67B-4796-8C77-DFE36E929B87}"/>
                </a:ext>
              </a:extLst>
            </p:cNvPr>
            <p:cNvCxnSpPr/>
            <p:nvPr userDrawn="1"/>
          </p:nvCxnSpPr>
          <p:spPr bwMode="gray">
            <a:xfrm rot="5400000">
              <a:off x="2027541" y="-207505"/>
              <a:ext cx="216030"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34" name="Gerade Verbindung 17">
              <a:extLst>
                <a:ext uri="{FF2B5EF4-FFF2-40B4-BE49-F238E27FC236}">
                  <a16:creationId xmlns:a16="http://schemas.microsoft.com/office/drawing/2014/main" id="{225C9CFB-03FF-43FB-BC0F-985979E68FC7}"/>
                </a:ext>
              </a:extLst>
            </p:cNvPr>
            <p:cNvCxnSpPr/>
            <p:nvPr userDrawn="1"/>
          </p:nvCxnSpPr>
          <p:spPr bwMode="gray">
            <a:xfrm rot="5400000">
              <a:off x="2171561" y="-207505"/>
              <a:ext cx="216030"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37" name="Gerade Verbindung 16">
              <a:extLst>
                <a:ext uri="{FF2B5EF4-FFF2-40B4-BE49-F238E27FC236}">
                  <a16:creationId xmlns:a16="http://schemas.microsoft.com/office/drawing/2014/main" id="{4871418C-3FB7-4E5F-9E0B-6AB5A1A6144B}"/>
                </a:ext>
              </a:extLst>
            </p:cNvPr>
            <p:cNvCxnSpPr/>
            <p:nvPr userDrawn="1"/>
          </p:nvCxnSpPr>
          <p:spPr bwMode="gray">
            <a:xfrm rot="5400000">
              <a:off x="3971363" y="-207505"/>
              <a:ext cx="216030"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38" name="Gerade Verbindung 17">
              <a:extLst>
                <a:ext uri="{FF2B5EF4-FFF2-40B4-BE49-F238E27FC236}">
                  <a16:creationId xmlns:a16="http://schemas.microsoft.com/office/drawing/2014/main" id="{C8367A95-F7ED-43E1-94FD-AF36E2F4B0A3}"/>
                </a:ext>
              </a:extLst>
            </p:cNvPr>
            <p:cNvCxnSpPr/>
            <p:nvPr userDrawn="1"/>
          </p:nvCxnSpPr>
          <p:spPr bwMode="gray">
            <a:xfrm rot="5400000">
              <a:off x="4115383" y="-207505"/>
              <a:ext cx="216030"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40" name="Gerade Verbindung 16">
              <a:extLst>
                <a:ext uri="{FF2B5EF4-FFF2-40B4-BE49-F238E27FC236}">
                  <a16:creationId xmlns:a16="http://schemas.microsoft.com/office/drawing/2014/main" id="{0DD31C12-3A83-46CF-ABE6-31FD979A03D0}"/>
                </a:ext>
              </a:extLst>
            </p:cNvPr>
            <p:cNvCxnSpPr/>
            <p:nvPr userDrawn="1"/>
          </p:nvCxnSpPr>
          <p:spPr bwMode="gray">
            <a:xfrm rot="5400000">
              <a:off x="5915778" y="-207505"/>
              <a:ext cx="216030"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41" name="Gerade Verbindung 17">
              <a:extLst>
                <a:ext uri="{FF2B5EF4-FFF2-40B4-BE49-F238E27FC236}">
                  <a16:creationId xmlns:a16="http://schemas.microsoft.com/office/drawing/2014/main" id="{5C3453CE-39F5-49EE-BF5D-1EA71B56B87C}"/>
                </a:ext>
              </a:extLst>
            </p:cNvPr>
            <p:cNvCxnSpPr/>
            <p:nvPr userDrawn="1"/>
          </p:nvCxnSpPr>
          <p:spPr bwMode="gray">
            <a:xfrm rot="5400000">
              <a:off x="6059798" y="-207505"/>
              <a:ext cx="216030"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43" name="Gerade Verbindung 16">
              <a:extLst>
                <a:ext uri="{FF2B5EF4-FFF2-40B4-BE49-F238E27FC236}">
                  <a16:creationId xmlns:a16="http://schemas.microsoft.com/office/drawing/2014/main" id="{171EF9A4-7707-4839-B1CD-543D0B7E680F}"/>
                </a:ext>
              </a:extLst>
            </p:cNvPr>
            <p:cNvCxnSpPr/>
            <p:nvPr userDrawn="1"/>
          </p:nvCxnSpPr>
          <p:spPr bwMode="gray">
            <a:xfrm rot="5400000">
              <a:off x="7860193" y="-207505"/>
              <a:ext cx="216030"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44" name="Gerade Verbindung 17">
              <a:extLst>
                <a:ext uri="{FF2B5EF4-FFF2-40B4-BE49-F238E27FC236}">
                  <a16:creationId xmlns:a16="http://schemas.microsoft.com/office/drawing/2014/main" id="{02A9A5F1-EB1E-4ABF-906C-51D3F726A9D0}"/>
                </a:ext>
              </a:extLst>
            </p:cNvPr>
            <p:cNvCxnSpPr/>
            <p:nvPr userDrawn="1"/>
          </p:nvCxnSpPr>
          <p:spPr bwMode="gray">
            <a:xfrm rot="5400000">
              <a:off x="8004213" y="-207505"/>
              <a:ext cx="216030"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46" name="Gerade Verbindung 16">
              <a:extLst>
                <a:ext uri="{FF2B5EF4-FFF2-40B4-BE49-F238E27FC236}">
                  <a16:creationId xmlns:a16="http://schemas.microsoft.com/office/drawing/2014/main" id="{28EA89A9-7969-45C0-8AC0-A2F321CAEB1A}"/>
                </a:ext>
              </a:extLst>
            </p:cNvPr>
            <p:cNvCxnSpPr/>
            <p:nvPr userDrawn="1"/>
          </p:nvCxnSpPr>
          <p:spPr bwMode="gray">
            <a:xfrm rot="5400000">
              <a:off x="9804409" y="-207505"/>
              <a:ext cx="216030"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47" name="Gerade Verbindung 17">
              <a:extLst>
                <a:ext uri="{FF2B5EF4-FFF2-40B4-BE49-F238E27FC236}">
                  <a16:creationId xmlns:a16="http://schemas.microsoft.com/office/drawing/2014/main" id="{04EEFF2E-7C70-45E0-972D-543C2338B164}"/>
                </a:ext>
              </a:extLst>
            </p:cNvPr>
            <p:cNvCxnSpPr/>
            <p:nvPr userDrawn="1"/>
          </p:nvCxnSpPr>
          <p:spPr bwMode="gray">
            <a:xfrm rot="5400000">
              <a:off x="9948429" y="-207505"/>
              <a:ext cx="216030"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50" name="Gerade Verbindung 17">
              <a:extLst>
                <a:ext uri="{FF2B5EF4-FFF2-40B4-BE49-F238E27FC236}">
                  <a16:creationId xmlns:a16="http://schemas.microsoft.com/office/drawing/2014/main" id="{D74CCE9D-B9D4-422B-931F-7CA70D46498B}"/>
                </a:ext>
              </a:extLst>
            </p:cNvPr>
            <p:cNvCxnSpPr/>
            <p:nvPr userDrawn="1"/>
          </p:nvCxnSpPr>
          <p:spPr bwMode="gray">
            <a:xfrm rot="5400000">
              <a:off x="227349" y="-207505"/>
              <a:ext cx="216030"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51" name="Gerade Verbindung 17">
              <a:extLst>
                <a:ext uri="{FF2B5EF4-FFF2-40B4-BE49-F238E27FC236}">
                  <a16:creationId xmlns:a16="http://schemas.microsoft.com/office/drawing/2014/main" id="{3AD77417-17C3-415A-96F0-BA8226A13287}"/>
                </a:ext>
              </a:extLst>
            </p:cNvPr>
            <p:cNvCxnSpPr/>
            <p:nvPr userDrawn="1"/>
          </p:nvCxnSpPr>
          <p:spPr bwMode="gray">
            <a:xfrm rot="5400000">
              <a:off x="11749023" y="-207505"/>
              <a:ext cx="216030"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grpSp>
      <p:grpSp>
        <p:nvGrpSpPr>
          <p:cNvPr id="67" name="Gruppieren 66">
            <a:extLst>
              <a:ext uri="{FF2B5EF4-FFF2-40B4-BE49-F238E27FC236}">
                <a16:creationId xmlns:a16="http://schemas.microsoft.com/office/drawing/2014/main" id="{99E7E9A3-CE39-4D3F-8A29-BC0F0046564D}"/>
              </a:ext>
            </a:extLst>
          </p:cNvPr>
          <p:cNvGrpSpPr/>
          <p:nvPr userDrawn="1"/>
        </p:nvGrpSpPr>
        <p:grpSpPr bwMode="gray">
          <a:xfrm>
            <a:off x="335364" y="6957392"/>
            <a:ext cx="11521675" cy="216031"/>
            <a:chOff x="335364" y="-315520"/>
            <a:chExt cx="11521674" cy="216030"/>
          </a:xfrm>
        </p:grpSpPr>
        <p:cxnSp>
          <p:nvCxnSpPr>
            <p:cNvPr id="68" name="Gerade Verbindung 16">
              <a:extLst>
                <a:ext uri="{FF2B5EF4-FFF2-40B4-BE49-F238E27FC236}">
                  <a16:creationId xmlns:a16="http://schemas.microsoft.com/office/drawing/2014/main" id="{59897444-43E7-43B8-98DB-CB6B0C91E818}"/>
                </a:ext>
              </a:extLst>
            </p:cNvPr>
            <p:cNvCxnSpPr/>
            <p:nvPr userDrawn="1"/>
          </p:nvCxnSpPr>
          <p:spPr bwMode="gray">
            <a:xfrm rot="5400000">
              <a:off x="2027541" y="-207505"/>
              <a:ext cx="216030"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69" name="Gerade Verbindung 17">
              <a:extLst>
                <a:ext uri="{FF2B5EF4-FFF2-40B4-BE49-F238E27FC236}">
                  <a16:creationId xmlns:a16="http://schemas.microsoft.com/office/drawing/2014/main" id="{168F7CDE-0C07-4ECE-A699-0F1BD0D07AEE}"/>
                </a:ext>
              </a:extLst>
            </p:cNvPr>
            <p:cNvCxnSpPr/>
            <p:nvPr userDrawn="1"/>
          </p:nvCxnSpPr>
          <p:spPr bwMode="gray">
            <a:xfrm rot="5400000">
              <a:off x="2171561" y="-207505"/>
              <a:ext cx="216030"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70" name="Gerade Verbindung 16">
              <a:extLst>
                <a:ext uri="{FF2B5EF4-FFF2-40B4-BE49-F238E27FC236}">
                  <a16:creationId xmlns:a16="http://schemas.microsoft.com/office/drawing/2014/main" id="{BC884A74-309E-4F74-B586-B0FC62811A69}"/>
                </a:ext>
              </a:extLst>
            </p:cNvPr>
            <p:cNvCxnSpPr/>
            <p:nvPr userDrawn="1"/>
          </p:nvCxnSpPr>
          <p:spPr bwMode="gray">
            <a:xfrm rot="5400000">
              <a:off x="3971363" y="-207505"/>
              <a:ext cx="216030"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71" name="Gerade Verbindung 17">
              <a:extLst>
                <a:ext uri="{FF2B5EF4-FFF2-40B4-BE49-F238E27FC236}">
                  <a16:creationId xmlns:a16="http://schemas.microsoft.com/office/drawing/2014/main" id="{38F6535E-C8AA-44E6-BAC3-99E15108E140}"/>
                </a:ext>
              </a:extLst>
            </p:cNvPr>
            <p:cNvCxnSpPr/>
            <p:nvPr userDrawn="1"/>
          </p:nvCxnSpPr>
          <p:spPr bwMode="gray">
            <a:xfrm rot="5400000">
              <a:off x="4115383" y="-207505"/>
              <a:ext cx="216030"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72" name="Gerade Verbindung 16">
              <a:extLst>
                <a:ext uri="{FF2B5EF4-FFF2-40B4-BE49-F238E27FC236}">
                  <a16:creationId xmlns:a16="http://schemas.microsoft.com/office/drawing/2014/main" id="{BB8FC9AD-BDCA-4323-874E-EBA57D4259AF}"/>
                </a:ext>
              </a:extLst>
            </p:cNvPr>
            <p:cNvCxnSpPr/>
            <p:nvPr userDrawn="1"/>
          </p:nvCxnSpPr>
          <p:spPr bwMode="gray">
            <a:xfrm rot="5400000">
              <a:off x="5915778" y="-207505"/>
              <a:ext cx="216030"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73" name="Gerade Verbindung 17">
              <a:extLst>
                <a:ext uri="{FF2B5EF4-FFF2-40B4-BE49-F238E27FC236}">
                  <a16:creationId xmlns:a16="http://schemas.microsoft.com/office/drawing/2014/main" id="{4E16C3CC-1B24-4CD2-8211-52C5752ECC6A}"/>
                </a:ext>
              </a:extLst>
            </p:cNvPr>
            <p:cNvCxnSpPr/>
            <p:nvPr userDrawn="1"/>
          </p:nvCxnSpPr>
          <p:spPr bwMode="gray">
            <a:xfrm rot="5400000">
              <a:off x="6059798" y="-207505"/>
              <a:ext cx="216030"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74" name="Gerade Verbindung 16">
              <a:extLst>
                <a:ext uri="{FF2B5EF4-FFF2-40B4-BE49-F238E27FC236}">
                  <a16:creationId xmlns:a16="http://schemas.microsoft.com/office/drawing/2014/main" id="{6BE16CF2-8220-436D-AB05-6F9594D744E0}"/>
                </a:ext>
              </a:extLst>
            </p:cNvPr>
            <p:cNvCxnSpPr/>
            <p:nvPr userDrawn="1"/>
          </p:nvCxnSpPr>
          <p:spPr bwMode="gray">
            <a:xfrm rot="5400000">
              <a:off x="7860193" y="-207505"/>
              <a:ext cx="216030"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75" name="Gerade Verbindung 17">
              <a:extLst>
                <a:ext uri="{FF2B5EF4-FFF2-40B4-BE49-F238E27FC236}">
                  <a16:creationId xmlns:a16="http://schemas.microsoft.com/office/drawing/2014/main" id="{73A5D137-3C8F-4E1D-B888-C50C00AB83A4}"/>
                </a:ext>
              </a:extLst>
            </p:cNvPr>
            <p:cNvCxnSpPr/>
            <p:nvPr userDrawn="1"/>
          </p:nvCxnSpPr>
          <p:spPr bwMode="gray">
            <a:xfrm rot="5400000">
              <a:off x="8004213" y="-207505"/>
              <a:ext cx="216030"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76" name="Gerade Verbindung 16">
              <a:extLst>
                <a:ext uri="{FF2B5EF4-FFF2-40B4-BE49-F238E27FC236}">
                  <a16:creationId xmlns:a16="http://schemas.microsoft.com/office/drawing/2014/main" id="{09DC7ECF-5B6D-4050-B64A-01C4DC8179A1}"/>
                </a:ext>
              </a:extLst>
            </p:cNvPr>
            <p:cNvCxnSpPr/>
            <p:nvPr userDrawn="1"/>
          </p:nvCxnSpPr>
          <p:spPr bwMode="gray">
            <a:xfrm rot="5400000">
              <a:off x="9804409" y="-207505"/>
              <a:ext cx="216030"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77" name="Gerade Verbindung 17">
              <a:extLst>
                <a:ext uri="{FF2B5EF4-FFF2-40B4-BE49-F238E27FC236}">
                  <a16:creationId xmlns:a16="http://schemas.microsoft.com/office/drawing/2014/main" id="{4E7B866F-2791-4A86-884A-6EFACBDA70D9}"/>
                </a:ext>
              </a:extLst>
            </p:cNvPr>
            <p:cNvCxnSpPr/>
            <p:nvPr userDrawn="1"/>
          </p:nvCxnSpPr>
          <p:spPr bwMode="gray">
            <a:xfrm rot="5400000">
              <a:off x="9948429" y="-207505"/>
              <a:ext cx="216030"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78" name="Gerade Verbindung 17">
              <a:extLst>
                <a:ext uri="{FF2B5EF4-FFF2-40B4-BE49-F238E27FC236}">
                  <a16:creationId xmlns:a16="http://schemas.microsoft.com/office/drawing/2014/main" id="{A24CA501-EF9B-4B40-AFDE-4CBDBB8AE9D6}"/>
                </a:ext>
              </a:extLst>
            </p:cNvPr>
            <p:cNvCxnSpPr/>
            <p:nvPr userDrawn="1"/>
          </p:nvCxnSpPr>
          <p:spPr bwMode="gray">
            <a:xfrm rot="5400000">
              <a:off x="227349" y="-207505"/>
              <a:ext cx="216030"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79" name="Gerade Verbindung 17">
              <a:extLst>
                <a:ext uri="{FF2B5EF4-FFF2-40B4-BE49-F238E27FC236}">
                  <a16:creationId xmlns:a16="http://schemas.microsoft.com/office/drawing/2014/main" id="{D6D613C7-743C-4673-9AA4-39DD0E00A4B4}"/>
                </a:ext>
              </a:extLst>
            </p:cNvPr>
            <p:cNvCxnSpPr/>
            <p:nvPr userDrawn="1"/>
          </p:nvCxnSpPr>
          <p:spPr bwMode="gray">
            <a:xfrm rot="5400000">
              <a:off x="11749023" y="-207505"/>
              <a:ext cx="216030"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grpSp>
      <p:grpSp>
        <p:nvGrpSpPr>
          <p:cNvPr id="12" name="Gruppieren 11">
            <a:extLst>
              <a:ext uri="{FF2B5EF4-FFF2-40B4-BE49-F238E27FC236}">
                <a16:creationId xmlns:a16="http://schemas.microsoft.com/office/drawing/2014/main" id="{FDD32D02-24F3-4589-BF82-24D489EC4DE2}"/>
              </a:ext>
            </a:extLst>
          </p:cNvPr>
          <p:cNvGrpSpPr/>
          <p:nvPr userDrawn="1"/>
        </p:nvGrpSpPr>
        <p:grpSpPr bwMode="gray">
          <a:xfrm>
            <a:off x="-336810" y="1304766"/>
            <a:ext cx="252035" cy="5148422"/>
            <a:chOff x="-336810" y="1304764"/>
            <a:chExt cx="252035" cy="5148423"/>
          </a:xfrm>
        </p:grpSpPr>
        <p:grpSp>
          <p:nvGrpSpPr>
            <p:cNvPr id="9" name="Gruppieren 8">
              <a:extLst>
                <a:ext uri="{FF2B5EF4-FFF2-40B4-BE49-F238E27FC236}">
                  <a16:creationId xmlns:a16="http://schemas.microsoft.com/office/drawing/2014/main" id="{25601423-CEF8-4251-86F3-0B1AE8C61987}"/>
                </a:ext>
              </a:extLst>
            </p:cNvPr>
            <p:cNvGrpSpPr/>
            <p:nvPr userDrawn="1"/>
          </p:nvGrpSpPr>
          <p:grpSpPr bwMode="gray">
            <a:xfrm rot="5400000">
              <a:off x="-264800" y="3753030"/>
              <a:ext cx="144020" cy="216030"/>
              <a:chOff x="4231778" y="7109792"/>
              <a:chExt cx="144020" cy="216030"/>
            </a:xfrm>
          </p:grpSpPr>
          <p:cxnSp>
            <p:nvCxnSpPr>
              <p:cNvPr id="39" name="Gerade Verbindung 16">
                <a:extLst>
                  <a:ext uri="{FF2B5EF4-FFF2-40B4-BE49-F238E27FC236}">
                    <a16:creationId xmlns:a16="http://schemas.microsoft.com/office/drawing/2014/main" id="{CA048014-B30C-412C-A6C6-D1947860CB5A}"/>
                  </a:ext>
                </a:extLst>
              </p:cNvPr>
              <p:cNvCxnSpPr/>
              <p:nvPr userDrawn="1"/>
            </p:nvCxnSpPr>
            <p:spPr bwMode="gray">
              <a:xfrm rot="5400000">
                <a:off x="4123763" y="7217807"/>
                <a:ext cx="216030"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42" name="Gerade Verbindung 17">
                <a:extLst>
                  <a:ext uri="{FF2B5EF4-FFF2-40B4-BE49-F238E27FC236}">
                    <a16:creationId xmlns:a16="http://schemas.microsoft.com/office/drawing/2014/main" id="{3A30520D-9910-4360-935F-A25B3FB4FCD0}"/>
                  </a:ext>
                </a:extLst>
              </p:cNvPr>
              <p:cNvCxnSpPr/>
              <p:nvPr userDrawn="1"/>
            </p:nvCxnSpPr>
            <p:spPr bwMode="gray">
              <a:xfrm rot="5400000">
                <a:off x="4267783" y="7217807"/>
                <a:ext cx="216030"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grpSp>
        <p:cxnSp>
          <p:nvCxnSpPr>
            <p:cNvPr id="45" name="Gerade Verbindung 16">
              <a:extLst>
                <a:ext uri="{FF2B5EF4-FFF2-40B4-BE49-F238E27FC236}">
                  <a16:creationId xmlns:a16="http://schemas.microsoft.com/office/drawing/2014/main" id="{9CB513E0-070F-4374-AA6B-55FF1372AC59}"/>
                </a:ext>
              </a:extLst>
            </p:cNvPr>
            <p:cNvCxnSpPr/>
            <p:nvPr userDrawn="1"/>
          </p:nvCxnSpPr>
          <p:spPr bwMode="gray">
            <a:xfrm rot="10800000">
              <a:off x="-336810" y="1304764"/>
              <a:ext cx="216030"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55" name="Gerade Verbindung 16">
              <a:extLst>
                <a:ext uri="{FF2B5EF4-FFF2-40B4-BE49-F238E27FC236}">
                  <a16:creationId xmlns:a16="http://schemas.microsoft.com/office/drawing/2014/main" id="{E88BAA28-C2B6-4C33-AB29-EE0F32669049}"/>
                </a:ext>
              </a:extLst>
            </p:cNvPr>
            <p:cNvCxnSpPr/>
            <p:nvPr userDrawn="1"/>
          </p:nvCxnSpPr>
          <p:spPr bwMode="gray">
            <a:xfrm rot="10800000">
              <a:off x="-336810" y="6453187"/>
              <a:ext cx="216030"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grpSp>
      <p:grpSp>
        <p:nvGrpSpPr>
          <p:cNvPr id="11" name="Gruppieren 10">
            <a:extLst>
              <a:ext uri="{FF2B5EF4-FFF2-40B4-BE49-F238E27FC236}">
                <a16:creationId xmlns:a16="http://schemas.microsoft.com/office/drawing/2014/main" id="{E542B0F5-6B24-44A5-AAC5-68ABBBBA1EE3}"/>
              </a:ext>
            </a:extLst>
          </p:cNvPr>
          <p:cNvGrpSpPr/>
          <p:nvPr userDrawn="1"/>
        </p:nvGrpSpPr>
        <p:grpSpPr bwMode="gray">
          <a:xfrm>
            <a:off x="12300876" y="1304766"/>
            <a:ext cx="252035" cy="5148422"/>
            <a:chOff x="13512823" y="1304764"/>
            <a:chExt cx="252035" cy="5148423"/>
          </a:xfrm>
        </p:grpSpPr>
        <p:grpSp>
          <p:nvGrpSpPr>
            <p:cNvPr id="56" name="Gruppieren 55">
              <a:extLst>
                <a:ext uri="{FF2B5EF4-FFF2-40B4-BE49-F238E27FC236}">
                  <a16:creationId xmlns:a16="http://schemas.microsoft.com/office/drawing/2014/main" id="{808875E4-C879-4B0C-9539-BF47CF86ADB2}"/>
                </a:ext>
              </a:extLst>
            </p:cNvPr>
            <p:cNvGrpSpPr/>
            <p:nvPr userDrawn="1"/>
          </p:nvGrpSpPr>
          <p:grpSpPr bwMode="gray">
            <a:xfrm rot="5400000">
              <a:off x="13584833" y="3753030"/>
              <a:ext cx="144020" cy="216030"/>
              <a:chOff x="4231778" y="7109792"/>
              <a:chExt cx="144020" cy="216030"/>
            </a:xfrm>
          </p:grpSpPr>
          <p:cxnSp>
            <p:nvCxnSpPr>
              <p:cNvPr id="57" name="Gerade Verbindung 16">
                <a:extLst>
                  <a:ext uri="{FF2B5EF4-FFF2-40B4-BE49-F238E27FC236}">
                    <a16:creationId xmlns:a16="http://schemas.microsoft.com/office/drawing/2014/main" id="{DA1DB96B-B280-46B4-B2B0-8E6576D7FBA5}"/>
                  </a:ext>
                </a:extLst>
              </p:cNvPr>
              <p:cNvCxnSpPr/>
              <p:nvPr userDrawn="1"/>
            </p:nvCxnSpPr>
            <p:spPr bwMode="gray">
              <a:xfrm rot="5400000">
                <a:off x="4123763" y="7217807"/>
                <a:ext cx="216030"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58" name="Gerade Verbindung 17">
                <a:extLst>
                  <a:ext uri="{FF2B5EF4-FFF2-40B4-BE49-F238E27FC236}">
                    <a16:creationId xmlns:a16="http://schemas.microsoft.com/office/drawing/2014/main" id="{8BD1F4EC-1952-4AE1-BD3F-23FA0D291A11}"/>
                  </a:ext>
                </a:extLst>
              </p:cNvPr>
              <p:cNvCxnSpPr/>
              <p:nvPr userDrawn="1"/>
            </p:nvCxnSpPr>
            <p:spPr bwMode="gray">
              <a:xfrm rot="5400000">
                <a:off x="4267783" y="7217807"/>
                <a:ext cx="216030"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grpSp>
        <p:cxnSp>
          <p:nvCxnSpPr>
            <p:cNvPr id="59" name="Gerade Verbindung 16">
              <a:extLst>
                <a:ext uri="{FF2B5EF4-FFF2-40B4-BE49-F238E27FC236}">
                  <a16:creationId xmlns:a16="http://schemas.microsoft.com/office/drawing/2014/main" id="{14409691-7AD4-4139-9A88-3F3ECADC84BA}"/>
                </a:ext>
              </a:extLst>
            </p:cNvPr>
            <p:cNvCxnSpPr/>
            <p:nvPr userDrawn="1"/>
          </p:nvCxnSpPr>
          <p:spPr bwMode="gray">
            <a:xfrm rot="10800000">
              <a:off x="13512823" y="1304764"/>
              <a:ext cx="216030"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61" name="Gerade Verbindung 16">
              <a:extLst>
                <a:ext uri="{FF2B5EF4-FFF2-40B4-BE49-F238E27FC236}">
                  <a16:creationId xmlns:a16="http://schemas.microsoft.com/office/drawing/2014/main" id="{46219AE1-771C-4A00-9730-DAD58143D2D8}"/>
                </a:ext>
              </a:extLst>
            </p:cNvPr>
            <p:cNvCxnSpPr/>
            <p:nvPr userDrawn="1"/>
          </p:nvCxnSpPr>
          <p:spPr bwMode="gray">
            <a:xfrm rot="10800000">
              <a:off x="13512823" y="6453187"/>
              <a:ext cx="216030"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grpSp>
      <p:sp>
        <p:nvSpPr>
          <p:cNvPr id="10" name="Rechteck 9">
            <a:extLst>
              <a:ext uri="{FF2B5EF4-FFF2-40B4-BE49-F238E27FC236}">
                <a16:creationId xmlns:a16="http://schemas.microsoft.com/office/drawing/2014/main" id="{1EC80A66-9E67-4BC9-8914-1DA457ED7425}"/>
              </a:ext>
            </a:extLst>
          </p:cNvPr>
          <p:cNvSpPr/>
          <p:nvPr userDrawn="1"/>
        </p:nvSpPr>
        <p:spPr bwMode="gray">
          <a:xfrm>
            <a:off x="9123131" y="6525196"/>
            <a:ext cx="974603" cy="1441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5989" rIns="35989" rtlCol="0" anchor="ctr"/>
          <a:lstStyle/>
          <a:p>
            <a:pPr algn="ctr"/>
            <a:r>
              <a:rPr lang="en-US" sz="800" dirty="0">
                <a:solidFill>
                  <a:schemeClr val="bg2"/>
                </a:solidFill>
              </a:rPr>
              <a:t>Russia 2020</a:t>
            </a:r>
          </a:p>
        </p:txBody>
      </p:sp>
      <p:grpSp>
        <p:nvGrpSpPr>
          <p:cNvPr id="19" name="Group 18">
            <a:extLst>
              <a:ext uri="{FF2B5EF4-FFF2-40B4-BE49-F238E27FC236}">
                <a16:creationId xmlns:a16="http://schemas.microsoft.com/office/drawing/2014/main" id="{4DAEEDDA-1908-4FB5-BB34-A261BEC8D2F3}"/>
              </a:ext>
            </a:extLst>
          </p:cNvPr>
          <p:cNvGrpSpPr/>
          <p:nvPr userDrawn="1"/>
        </p:nvGrpSpPr>
        <p:grpSpPr bwMode="gray">
          <a:xfrm>
            <a:off x="-3633" y="6237314"/>
            <a:ext cx="1694652" cy="620839"/>
            <a:chOff x="-3633" y="6237312"/>
            <a:chExt cx="1694652" cy="620839"/>
          </a:xfrm>
        </p:grpSpPr>
        <p:sp>
          <p:nvSpPr>
            <p:cNvPr id="65" name="Freihandform: Form 64">
              <a:extLst>
                <a:ext uri="{FF2B5EF4-FFF2-40B4-BE49-F238E27FC236}">
                  <a16:creationId xmlns:a16="http://schemas.microsoft.com/office/drawing/2014/main" id="{C61BB77F-C651-410A-B0E8-F33A313C91C6}"/>
                </a:ext>
              </a:extLst>
            </p:cNvPr>
            <p:cNvSpPr>
              <a:spLocks/>
            </p:cNvSpPr>
            <p:nvPr userDrawn="1"/>
          </p:nvSpPr>
          <p:spPr bwMode="gray">
            <a:xfrm flipH="1">
              <a:off x="155203" y="6789615"/>
              <a:ext cx="138072" cy="68536"/>
            </a:xfrm>
            <a:custGeom>
              <a:avLst/>
              <a:gdLst>
                <a:gd name="connsiteX0" fmla="*/ 0 w 143276"/>
                <a:gd name="connsiteY0" fmla="*/ 0 h 71119"/>
                <a:gd name="connsiteX1" fmla="*/ 143276 w 143276"/>
                <a:gd name="connsiteY1" fmla="*/ 71119 h 71119"/>
                <a:gd name="connsiteX2" fmla="*/ 0 w 143276"/>
                <a:gd name="connsiteY2" fmla="*/ 71119 h 71119"/>
              </a:gdLst>
              <a:ahLst/>
              <a:cxnLst>
                <a:cxn ang="0">
                  <a:pos x="connsiteX0" y="connsiteY0"/>
                </a:cxn>
                <a:cxn ang="0">
                  <a:pos x="connsiteX1" y="connsiteY1"/>
                </a:cxn>
                <a:cxn ang="0">
                  <a:pos x="connsiteX2" y="connsiteY2"/>
                </a:cxn>
              </a:cxnLst>
              <a:rect l="l" t="t" r="r" b="b"/>
              <a:pathLst>
                <a:path w="143276" h="71119">
                  <a:moveTo>
                    <a:pt x="0" y="0"/>
                  </a:moveTo>
                  <a:lnTo>
                    <a:pt x="143276" y="71119"/>
                  </a:lnTo>
                  <a:lnTo>
                    <a:pt x="0" y="71119"/>
                  </a:lnTo>
                  <a:close/>
                </a:path>
              </a:pathLst>
            </a:custGeom>
            <a:solidFill>
              <a:srgbClr val="FCEE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sz="1799" dirty="0"/>
            </a:p>
          </p:txBody>
        </p:sp>
        <p:sp>
          <p:nvSpPr>
            <p:cNvPr id="66" name="Freeform 23">
              <a:extLst>
                <a:ext uri="{FF2B5EF4-FFF2-40B4-BE49-F238E27FC236}">
                  <a16:creationId xmlns:a16="http://schemas.microsoft.com/office/drawing/2014/main" id="{E7024FD5-C6F7-49D9-91A8-9CE95DC1A8B4}"/>
                </a:ext>
              </a:extLst>
            </p:cNvPr>
            <p:cNvSpPr>
              <a:spLocks/>
            </p:cNvSpPr>
            <p:nvPr userDrawn="1"/>
          </p:nvSpPr>
          <p:spPr bwMode="gray">
            <a:xfrm>
              <a:off x="152829" y="6622615"/>
              <a:ext cx="181493" cy="183086"/>
            </a:xfrm>
            <a:custGeom>
              <a:avLst/>
              <a:gdLst>
                <a:gd name="T0" fmla="*/ 0 w 114"/>
                <a:gd name="T1" fmla="*/ 0 h 115"/>
                <a:gd name="T2" fmla="*/ 0 w 114"/>
                <a:gd name="T3" fmla="*/ 115 h 115"/>
                <a:gd name="T4" fmla="*/ 114 w 114"/>
                <a:gd name="T5" fmla="*/ 56 h 115"/>
                <a:gd name="T6" fmla="*/ 0 w 114"/>
                <a:gd name="T7" fmla="*/ 0 h 115"/>
              </a:gdLst>
              <a:ahLst/>
              <a:cxnLst>
                <a:cxn ang="0">
                  <a:pos x="T0" y="T1"/>
                </a:cxn>
                <a:cxn ang="0">
                  <a:pos x="T2" y="T3"/>
                </a:cxn>
                <a:cxn ang="0">
                  <a:pos x="T4" y="T5"/>
                </a:cxn>
                <a:cxn ang="0">
                  <a:pos x="T6" y="T7"/>
                </a:cxn>
              </a:cxnLst>
              <a:rect l="0" t="0" r="r" b="b"/>
              <a:pathLst>
                <a:path w="114" h="115">
                  <a:moveTo>
                    <a:pt x="0" y="0"/>
                  </a:moveTo>
                  <a:lnTo>
                    <a:pt x="0" y="115"/>
                  </a:lnTo>
                  <a:lnTo>
                    <a:pt x="114" y="56"/>
                  </a:lnTo>
                  <a:lnTo>
                    <a:pt x="0" y="0"/>
                  </a:lnTo>
                  <a:close/>
                </a:path>
              </a:pathLst>
            </a:custGeom>
            <a:solidFill>
              <a:srgbClr val="FADE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p>
          </p:txBody>
        </p:sp>
        <p:sp>
          <p:nvSpPr>
            <p:cNvPr id="80" name="Freeform 24">
              <a:extLst>
                <a:ext uri="{FF2B5EF4-FFF2-40B4-BE49-F238E27FC236}">
                  <a16:creationId xmlns:a16="http://schemas.microsoft.com/office/drawing/2014/main" id="{3E0C8711-6FFA-4F46-98E4-49173219A161}"/>
                </a:ext>
              </a:extLst>
            </p:cNvPr>
            <p:cNvSpPr>
              <a:spLocks/>
            </p:cNvSpPr>
            <p:nvPr userDrawn="1"/>
          </p:nvSpPr>
          <p:spPr bwMode="gray">
            <a:xfrm flipH="1">
              <a:off x="-239" y="6486400"/>
              <a:ext cx="183086" cy="183086"/>
            </a:xfrm>
            <a:custGeom>
              <a:avLst/>
              <a:gdLst>
                <a:gd name="T0" fmla="*/ 115 w 115"/>
                <a:gd name="T1" fmla="*/ 0 h 115"/>
                <a:gd name="T2" fmla="*/ 115 w 115"/>
                <a:gd name="T3" fmla="*/ 115 h 115"/>
                <a:gd name="T4" fmla="*/ 0 w 115"/>
                <a:gd name="T5" fmla="*/ 59 h 115"/>
                <a:gd name="T6" fmla="*/ 115 w 115"/>
                <a:gd name="T7" fmla="*/ 0 h 115"/>
              </a:gdLst>
              <a:ahLst/>
              <a:cxnLst>
                <a:cxn ang="0">
                  <a:pos x="T0" y="T1"/>
                </a:cxn>
                <a:cxn ang="0">
                  <a:pos x="T2" y="T3"/>
                </a:cxn>
                <a:cxn ang="0">
                  <a:pos x="T4" y="T5"/>
                </a:cxn>
                <a:cxn ang="0">
                  <a:pos x="T6" y="T7"/>
                </a:cxn>
              </a:cxnLst>
              <a:rect l="0" t="0" r="r" b="b"/>
              <a:pathLst>
                <a:path w="115" h="115">
                  <a:moveTo>
                    <a:pt x="115" y="0"/>
                  </a:moveTo>
                  <a:lnTo>
                    <a:pt x="115" y="115"/>
                  </a:lnTo>
                  <a:lnTo>
                    <a:pt x="0" y="59"/>
                  </a:lnTo>
                  <a:lnTo>
                    <a:pt x="115" y="0"/>
                  </a:lnTo>
                  <a:close/>
                </a:path>
              </a:pathLst>
            </a:custGeom>
            <a:solidFill>
              <a:srgbClr val="FCEE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p>
          </p:txBody>
        </p:sp>
        <p:sp>
          <p:nvSpPr>
            <p:cNvPr id="81" name="Freeform 31">
              <a:extLst>
                <a:ext uri="{FF2B5EF4-FFF2-40B4-BE49-F238E27FC236}">
                  <a16:creationId xmlns:a16="http://schemas.microsoft.com/office/drawing/2014/main" id="{40967093-8AEB-4BAC-8493-34BD5F68CE37}"/>
                </a:ext>
              </a:extLst>
            </p:cNvPr>
            <p:cNvSpPr>
              <a:spLocks/>
            </p:cNvSpPr>
            <p:nvPr userDrawn="1"/>
          </p:nvSpPr>
          <p:spPr bwMode="gray">
            <a:xfrm flipH="1">
              <a:off x="76107" y="6622180"/>
              <a:ext cx="181494" cy="179901"/>
            </a:xfrm>
            <a:custGeom>
              <a:avLst/>
              <a:gdLst>
                <a:gd name="T0" fmla="*/ 114 w 114"/>
                <a:gd name="T1" fmla="*/ 0 h 113"/>
                <a:gd name="T2" fmla="*/ 114 w 114"/>
                <a:gd name="T3" fmla="*/ 113 h 113"/>
                <a:gd name="T4" fmla="*/ 0 w 114"/>
                <a:gd name="T5" fmla="*/ 57 h 113"/>
                <a:gd name="T6" fmla="*/ 114 w 114"/>
                <a:gd name="T7" fmla="*/ 0 h 113"/>
              </a:gdLst>
              <a:ahLst/>
              <a:cxnLst>
                <a:cxn ang="0">
                  <a:pos x="T0" y="T1"/>
                </a:cxn>
                <a:cxn ang="0">
                  <a:pos x="T2" y="T3"/>
                </a:cxn>
                <a:cxn ang="0">
                  <a:pos x="T4" y="T5"/>
                </a:cxn>
                <a:cxn ang="0">
                  <a:pos x="T6" y="T7"/>
                </a:cxn>
              </a:cxnLst>
              <a:rect l="0" t="0" r="r" b="b"/>
              <a:pathLst>
                <a:path w="114" h="113">
                  <a:moveTo>
                    <a:pt x="114" y="0"/>
                  </a:moveTo>
                  <a:lnTo>
                    <a:pt x="114" y="113"/>
                  </a:lnTo>
                  <a:lnTo>
                    <a:pt x="0" y="57"/>
                  </a:lnTo>
                  <a:lnTo>
                    <a:pt x="114" y="0"/>
                  </a:lnTo>
                  <a:close/>
                </a:path>
              </a:pathLst>
            </a:custGeom>
            <a:solidFill>
              <a:srgbClr val="F5BD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p>
          </p:txBody>
        </p:sp>
        <p:sp>
          <p:nvSpPr>
            <p:cNvPr id="82" name="Freeform 33">
              <a:extLst>
                <a:ext uri="{FF2B5EF4-FFF2-40B4-BE49-F238E27FC236}">
                  <a16:creationId xmlns:a16="http://schemas.microsoft.com/office/drawing/2014/main" id="{F202BFCD-3977-470B-B1F0-1AD24DCB01E2}"/>
                </a:ext>
              </a:extLst>
            </p:cNvPr>
            <p:cNvSpPr>
              <a:spLocks/>
            </p:cNvSpPr>
            <p:nvPr userDrawn="1"/>
          </p:nvSpPr>
          <p:spPr bwMode="gray">
            <a:xfrm flipH="1">
              <a:off x="111369" y="6458532"/>
              <a:ext cx="154232" cy="155586"/>
            </a:xfrm>
            <a:custGeom>
              <a:avLst/>
              <a:gdLst>
                <a:gd name="T0" fmla="*/ 0 w 114"/>
                <a:gd name="T1" fmla="*/ 115 h 115"/>
                <a:gd name="T2" fmla="*/ 0 w 114"/>
                <a:gd name="T3" fmla="*/ 0 h 115"/>
                <a:gd name="T4" fmla="*/ 114 w 114"/>
                <a:gd name="T5" fmla="*/ 58 h 115"/>
                <a:gd name="T6" fmla="*/ 0 w 114"/>
                <a:gd name="T7" fmla="*/ 115 h 115"/>
              </a:gdLst>
              <a:ahLst/>
              <a:cxnLst>
                <a:cxn ang="0">
                  <a:pos x="T0" y="T1"/>
                </a:cxn>
                <a:cxn ang="0">
                  <a:pos x="T2" y="T3"/>
                </a:cxn>
                <a:cxn ang="0">
                  <a:pos x="T4" y="T5"/>
                </a:cxn>
                <a:cxn ang="0">
                  <a:pos x="T6" y="T7"/>
                </a:cxn>
              </a:cxnLst>
              <a:rect l="0" t="0" r="r" b="b"/>
              <a:pathLst>
                <a:path w="114" h="115">
                  <a:moveTo>
                    <a:pt x="0" y="115"/>
                  </a:moveTo>
                  <a:lnTo>
                    <a:pt x="0" y="0"/>
                  </a:lnTo>
                  <a:lnTo>
                    <a:pt x="114" y="58"/>
                  </a:lnTo>
                  <a:lnTo>
                    <a:pt x="0" y="115"/>
                  </a:lnTo>
                  <a:close/>
                </a:path>
              </a:pathLst>
            </a:custGeom>
            <a:solidFill>
              <a:srgbClr val="E55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p>
          </p:txBody>
        </p:sp>
        <p:sp>
          <p:nvSpPr>
            <p:cNvPr id="83" name="Freihandform: Form 82">
              <a:extLst>
                <a:ext uri="{FF2B5EF4-FFF2-40B4-BE49-F238E27FC236}">
                  <a16:creationId xmlns:a16="http://schemas.microsoft.com/office/drawing/2014/main" id="{6102DDF1-BB7B-4872-84E6-7D277F826390}"/>
                </a:ext>
              </a:extLst>
            </p:cNvPr>
            <p:cNvSpPr>
              <a:spLocks/>
            </p:cNvSpPr>
            <p:nvPr userDrawn="1"/>
          </p:nvSpPr>
          <p:spPr bwMode="gray">
            <a:xfrm flipH="1">
              <a:off x="320396" y="6752593"/>
              <a:ext cx="195292" cy="105558"/>
            </a:xfrm>
            <a:custGeom>
              <a:avLst/>
              <a:gdLst>
                <a:gd name="connsiteX0" fmla="*/ 0 w 202653"/>
                <a:gd name="connsiteY0" fmla="*/ 0 h 109537"/>
                <a:gd name="connsiteX1" fmla="*/ 202653 w 202653"/>
                <a:gd name="connsiteY1" fmla="*/ 102224 h 109537"/>
                <a:gd name="connsiteX2" fmla="*/ 188404 w 202653"/>
                <a:gd name="connsiteY2" fmla="*/ 109537 h 109537"/>
                <a:gd name="connsiteX3" fmla="*/ 0 w 202653"/>
                <a:gd name="connsiteY3" fmla="*/ 109537 h 109537"/>
              </a:gdLst>
              <a:ahLst/>
              <a:cxnLst>
                <a:cxn ang="0">
                  <a:pos x="connsiteX0" y="connsiteY0"/>
                </a:cxn>
                <a:cxn ang="0">
                  <a:pos x="connsiteX1" y="connsiteY1"/>
                </a:cxn>
                <a:cxn ang="0">
                  <a:pos x="connsiteX2" y="connsiteY2"/>
                </a:cxn>
                <a:cxn ang="0">
                  <a:pos x="connsiteX3" y="connsiteY3"/>
                </a:cxn>
              </a:cxnLst>
              <a:rect l="l" t="t" r="r" b="b"/>
              <a:pathLst>
                <a:path w="202653" h="109537">
                  <a:moveTo>
                    <a:pt x="0" y="0"/>
                  </a:moveTo>
                  <a:lnTo>
                    <a:pt x="202653" y="102224"/>
                  </a:lnTo>
                  <a:lnTo>
                    <a:pt x="188404" y="109537"/>
                  </a:lnTo>
                  <a:lnTo>
                    <a:pt x="0" y="109537"/>
                  </a:lnTo>
                  <a:close/>
                </a:path>
              </a:pathLst>
            </a:custGeom>
            <a:solidFill>
              <a:srgbClr val="F8D6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sz="1799" dirty="0"/>
            </a:p>
          </p:txBody>
        </p:sp>
        <p:sp>
          <p:nvSpPr>
            <p:cNvPr id="84" name="Freihandform: Form 83">
              <a:extLst>
                <a:ext uri="{FF2B5EF4-FFF2-40B4-BE49-F238E27FC236}">
                  <a16:creationId xmlns:a16="http://schemas.microsoft.com/office/drawing/2014/main" id="{31FA9910-959D-4270-8987-3178915AF602}"/>
                </a:ext>
              </a:extLst>
            </p:cNvPr>
            <p:cNvSpPr>
              <a:spLocks/>
            </p:cNvSpPr>
            <p:nvPr userDrawn="1"/>
          </p:nvSpPr>
          <p:spPr bwMode="gray">
            <a:xfrm flipH="1">
              <a:off x="-3633" y="6305548"/>
              <a:ext cx="125811" cy="123623"/>
            </a:xfrm>
            <a:custGeom>
              <a:avLst/>
              <a:gdLst>
                <a:gd name="connsiteX0" fmla="*/ 130553 w 130553"/>
                <a:gd name="connsiteY0" fmla="*/ 0 h 128282"/>
                <a:gd name="connsiteX1" fmla="*/ 130553 w 130553"/>
                <a:gd name="connsiteY1" fmla="*/ 128282 h 128282"/>
                <a:gd name="connsiteX2" fmla="*/ 0 w 130553"/>
                <a:gd name="connsiteY2" fmla="*/ 64708 h 128282"/>
              </a:gdLst>
              <a:ahLst/>
              <a:cxnLst>
                <a:cxn ang="0">
                  <a:pos x="connsiteX0" y="connsiteY0"/>
                </a:cxn>
                <a:cxn ang="0">
                  <a:pos x="connsiteX1" y="connsiteY1"/>
                </a:cxn>
                <a:cxn ang="0">
                  <a:pos x="connsiteX2" y="connsiteY2"/>
                </a:cxn>
              </a:cxnLst>
              <a:rect l="l" t="t" r="r" b="b"/>
              <a:pathLst>
                <a:path w="130553" h="128282">
                  <a:moveTo>
                    <a:pt x="130553" y="0"/>
                  </a:moveTo>
                  <a:lnTo>
                    <a:pt x="130553" y="128282"/>
                  </a:lnTo>
                  <a:lnTo>
                    <a:pt x="0" y="64708"/>
                  </a:lnTo>
                  <a:close/>
                </a:path>
              </a:pathLst>
            </a:custGeom>
            <a:solidFill>
              <a:srgbClr val="FADE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sz="1799" dirty="0"/>
            </a:p>
          </p:txBody>
        </p:sp>
        <p:sp>
          <p:nvSpPr>
            <p:cNvPr id="85" name="Freeform 49">
              <a:extLst>
                <a:ext uri="{FF2B5EF4-FFF2-40B4-BE49-F238E27FC236}">
                  <a16:creationId xmlns:a16="http://schemas.microsoft.com/office/drawing/2014/main" id="{43CBFC3D-713A-4DD9-A51D-127B406B65B8}"/>
                </a:ext>
              </a:extLst>
            </p:cNvPr>
            <p:cNvSpPr>
              <a:spLocks/>
            </p:cNvSpPr>
            <p:nvPr/>
          </p:nvSpPr>
          <p:spPr bwMode="gray">
            <a:xfrm>
              <a:off x="320396" y="6702106"/>
              <a:ext cx="101809" cy="103612"/>
            </a:xfrm>
            <a:custGeom>
              <a:avLst/>
              <a:gdLst>
                <a:gd name="T0" fmla="*/ 0 w 113"/>
                <a:gd name="T1" fmla="*/ 115 h 115"/>
                <a:gd name="T2" fmla="*/ 0 w 113"/>
                <a:gd name="T3" fmla="*/ 0 h 115"/>
                <a:gd name="T4" fmla="*/ 113 w 113"/>
                <a:gd name="T5" fmla="*/ 57 h 115"/>
                <a:gd name="T6" fmla="*/ 0 w 113"/>
                <a:gd name="T7" fmla="*/ 115 h 115"/>
              </a:gdLst>
              <a:ahLst/>
              <a:cxnLst>
                <a:cxn ang="0">
                  <a:pos x="T0" y="T1"/>
                </a:cxn>
                <a:cxn ang="0">
                  <a:pos x="T2" y="T3"/>
                </a:cxn>
                <a:cxn ang="0">
                  <a:pos x="T4" y="T5"/>
                </a:cxn>
                <a:cxn ang="0">
                  <a:pos x="T6" y="T7"/>
                </a:cxn>
              </a:cxnLst>
              <a:rect l="0" t="0" r="r" b="b"/>
              <a:pathLst>
                <a:path w="113" h="115">
                  <a:moveTo>
                    <a:pt x="0" y="115"/>
                  </a:moveTo>
                  <a:lnTo>
                    <a:pt x="0" y="0"/>
                  </a:lnTo>
                  <a:lnTo>
                    <a:pt x="113" y="57"/>
                  </a:lnTo>
                  <a:lnTo>
                    <a:pt x="0" y="115"/>
                  </a:lnTo>
                  <a:close/>
                </a:path>
              </a:pathLst>
            </a:custGeom>
            <a:solidFill>
              <a:srgbClr val="EE94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sz="1799" dirty="0"/>
            </a:p>
          </p:txBody>
        </p:sp>
        <p:sp>
          <p:nvSpPr>
            <p:cNvPr id="86" name="Freihandform: Form 85">
              <a:extLst>
                <a:ext uri="{FF2B5EF4-FFF2-40B4-BE49-F238E27FC236}">
                  <a16:creationId xmlns:a16="http://schemas.microsoft.com/office/drawing/2014/main" id="{73F1E9B6-795E-4FA0-A2A7-20AB72B76393}"/>
                </a:ext>
              </a:extLst>
            </p:cNvPr>
            <p:cNvSpPr>
              <a:spLocks/>
            </p:cNvSpPr>
            <p:nvPr/>
          </p:nvSpPr>
          <p:spPr bwMode="gray">
            <a:xfrm>
              <a:off x="377" y="6794697"/>
              <a:ext cx="101809" cy="63454"/>
            </a:xfrm>
            <a:custGeom>
              <a:avLst/>
              <a:gdLst>
                <a:gd name="connsiteX0" fmla="*/ 0 w 105647"/>
                <a:gd name="connsiteY0" fmla="*/ 0 h 65846"/>
                <a:gd name="connsiteX1" fmla="*/ 0 w 105647"/>
                <a:gd name="connsiteY1" fmla="*/ 65846 h 65846"/>
                <a:gd name="connsiteX2" fmla="*/ 81186 w 105647"/>
                <a:gd name="connsiteY2" fmla="*/ 65846 h 65846"/>
                <a:gd name="connsiteX3" fmla="*/ 105647 w 105647"/>
                <a:gd name="connsiteY3" fmla="*/ 53291 h 65846"/>
              </a:gdLst>
              <a:ahLst/>
              <a:cxnLst>
                <a:cxn ang="0">
                  <a:pos x="connsiteX0" y="connsiteY0"/>
                </a:cxn>
                <a:cxn ang="0">
                  <a:pos x="connsiteX1" y="connsiteY1"/>
                </a:cxn>
                <a:cxn ang="0">
                  <a:pos x="connsiteX2" y="connsiteY2"/>
                </a:cxn>
                <a:cxn ang="0">
                  <a:pos x="connsiteX3" y="connsiteY3"/>
                </a:cxn>
              </a:cxnLst>
              <a:rect l="l" t="t" r="r" b="b"/>
              <a:pathLst>
                <a:path w="105647" h="65846">
                  <a:moveTo>
                    <a:pt x="0" y="0"/>
                  </a:moveTo>
                  <a:lnTo>
                    <a:pt x="0" y="65846"/>
                  </a:lnTo>
                  <a:lnTo>
                    <a:pt x="81186" y="65846"/>
                  </a:lnTo>
                  <a:lnTo>
                    <a:pt x="105647" y="53291"/>
                  </a:lnTo>
                  <a:close/>
                </a:path>
              </a:pathLst>
            </a:custGeom>
            <a:solidFill>
              <a:srgbClr val="F5BD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sz="1799" dirty="0"/>
            </a:p>
          </p:txBody>
        </p:sp>
        <p:sp>
          <p:nvSpPr>
            <p:cNvPr id="87" name="Freeform 49">
              <a:extLst>
                <a:ext uri="{FF2B5EF4-FFF2-40B4-BE49-F238E27FC236}">
                  <a16:creationId xmlns:a16="http://schemas.microsoft.com/office/drawing/2014/main" id="{EB1CBBF9-220C-4F86-91A4-AD53C1C518A1}"/>
                </a:ext>
              </a:extLst>
            </p:cNvPr>
            <p:cNvSpPr>
              <a:spLocks/>
            </p:cNvSpPr>
            <p:nvPr/>
          </p:nvSpPr>
          <p:spPr bwMode="gray">
            <a:xfrm>
              <a:off x="111369" y="6403442"/>
              <a:ext cx="101809" cy="103612"/>
            </a:xfrm>
            <a:custGeom>
              <a:avLst/>
              <a:gdLst>
                <a:gd name="T0" fmla="*/ 0 w 113"/>
                <a:gd name="T1" fmla="*/ 115 h 115"/>
                <a:gd name="T2" fmla="*/ 0 w 113"/>
                <a:gd name="T3" fmla="*/ 0 h 115"/>
                <a:gd name="T4" fmla="*/ 113 w 113"/>
                <a:gd name="T5" fmla="*/ 57 h 115"/>
                <a:gd name="T6" fmla="*/ 0 w 113"/>
                <a:gd name="T7" fmla="*/ 115 h 115"/>
              </a:gdLst>
              <a:ahLst/>
              <a:cxnLst>
                <a:cxn ang="0">
                  <a:pos x="T0" y="T1"/>
                </a:cxn>
                <a:cxn ang="0">
                  <a:pos x="T2" y="T3"/>
                </a:cxn>
                <a:cxn ang="0">
                  <a:pos x="T4" y="T5"/>
                </a:cxn>
                <a:cxn ang="0">
                  <a:pos x="T6" y="T7"/>
                </a:cxn>
              </a:cxnLst>
              <a:rect l="0" t="0" r="r" b="b"/>
              <a:pathLst>
                <a:path w="113" h="115">
                  <a:moveTo>
                    <a:pt x="0" y="115"/>
                  </a:moveTo>
                  <a:lnTo>
                    <a:pt x="0" y="0"/>
                  </a:lnTo>
                  <a:lnTo>
                    <a:pt x="113" y="57"/>
                  </a:lnTo>
                  <a:lnTo>
                    <a:pt x="0" y="115"/>
                  </a:lnTo>
                  <a:close/>
                </a:path>
              </a:pathLst>
            </a:custGeom>
            <a:solidFill>
              <a:srgbClr val="EE94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p>
          </p:txBody>
        </p:sp>
        <p:sp>
          <p:nvSpPr>
            <p:cNvPr id="88" name="Freihandform: Form 87">
              <a:extLst>
                <a:ext uri="{FF2B5EF4-FFF2-40B4-BE49-F238E27FC236}">
                  <a16:creationId xmlns:a16="http://schemas.microsoft.com/office/drawing/2014/main" id="{42859501-FDB9-46A4-A5CA-C7E118C0351B}"/>
                </a:ext>
              </a:extLst>
            </p:cNvPr>
            <p:cNvSpPr>
              <a:spLocks/>
            </p:cNvSpPr>
            <p:nvPr/>
          </p:nvSpPr>
          <p:spPr bwMode="gray">
            <a:xfrm>
              <a:off x="-239" y="6622180"/>
              <a:ext cx="75440" cy="179901"/>
            </a:xfrm>
            <a:custGeom>
              <a:avLst/>
              <a:gdLst>
                <a:gd name="connsiteX0" fmla="*/ 78284 w 78284"/>
                <a:gd name="connsiteY0" fmla="*/ 0 h 186682"/>
                <a:gd name="connsiteX1" fmla="*/ 0 w 78284"/>
                <a:gd name="connsiteY1" fmla="*/ 39142 h 186682"/>
                <a:gd name="connsiteX2" fmla="*/ 0 w 78284"/>
                <a:gd name="connsiteY2" fmla="*/ 148227 h 186682"/>
                <a:gd name="connsiteX3" fmla="*/ 78284 w 78284"/>
                <a:gd name="connsiteY3" fmla="*/ 186682 h 186682"/>
              </a:gdLst>
              <a:ahLst/>
              <a:cxnLst>
                <a:cxn ang="0">
                  <a:pos x="connsiteX0" y="connsiteY0"/>
                </a:cxn>
                <a:cxn ang="0">
                  <a:pos x="connsiteX1" y="connsiteY1"/>
                </a:cxn>
                <a:cxn ang="0">
                  <a:pos x="connsiteX2" y="connsiteY2"/>
                </a:cxn>
                <a:cxn ang="0">
                  <a:pos x="connsiteX3" y="connsiteY3"/>
                </a:cxn>
              </a:cxnLst>
              <a:rect l="l" t="t" r="r" b="b"/>
              <a:pathLst>
                <a:path w="78284" h="186682">
                  <a:moveTo>
                    <a:pt x="78284" y="0"/>
                  </a:moveTo>
                  <a:lnTo>
                    <a:pt x="0" y="39142"/>
                  </a:lnTo>
                  <a:lnTo>
                    <a:pt x="0" y="148227"/>
                  </a:lnTo>
                  <a:lnTo>
                    <a:pt x="78284" y="186682"/>
                  </a:lnTo>
                  <a:close/>
                </a:path>
              </a:pathLst>
            </a:custGeom>
            <a:solidFill>
              <a:srgbClr val="E86A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sz="1799" dirty="0"/>
            </a:p>
          </p:txBody>
        </p:sp>
        <p:sp>
          <p:nvSpPr>
            <p:cNvPr id="89" name="Freihandform: Form 88">
              <a:extLst>
                <a:ext uri="{FF2B5EF4-FFF2-40B4-BE49-F238E27FC236}">
                  <a16:creationId xmlns:a16="http://schemas.microsoft.com/office/drawing/2014/main" id="{83A0E568-C859-4FAB-9142-7AE33F13131A}"/>
                </a:ext>
              </a:extLst>
            </p:cNvPr>
            <p:cNvSpPr>
              <a:spLocks/>
            </p:cNvSpPr>
            <p:nvPr/>
          </p:nvSpPr>
          <p:spPr bwMode="gray">
            <a:xfrm>
              <a:off x="537353" y="6808465"/>
              <a:ext cx="98500" cy="49686"/>
            </a:xfrm>
            <a:custGeom>
              <a:avLst/>
              <a:gdLst>
                <a:gd name="connsiteX0" fmla="*/ 0 w 102213"/>
                <a:gd name="connsiteY0" fmla="*/ 0 h 51559"/>
                <a:gd name="connsiteX1" fmla="*/ 0 w 102213"/>
                <a:gd name="connsiteY1" fmla="*/ 51559 h 51559"/>
                <a:gd name="connsiteX2" fmla="*/ 102213 w 102213"/>
                <a:gd name="connsiteY2" fmla="*/ 51559 h 51559"/>
              </a:gdLst>
              <a:ahLst/>
              <a:cxnLst>
                <a:cxn ang="0">
                  <a:pos x="connsiteX0" y="connsiteY0"/>
                </a:cxn>
                <a:cxn ang="0">
                  <a:pos x="connsiteX1" y="connsiteY1"/>
                </a:cxn>
                <a:cxn ang="0">
                  <a:pos x="connsiteX2" y="connsiteY2"/>
                </a:cxn>
              </a:cxnLst>
              <a:rect l="l" t="t" r="r" b="b"/>
              <a:pathLst>
                <a:path w="102213" h="51559">
                  <a:moveTo>
                    <a:pt x="0" y="0"/>
                  </a:moveTo>
                  <a:lnTo>
                    <a:pt x="0" y="51559"/>
                  </a:lnTo>
                  <a:lnTo>
                    <a:pt x="102213" y="51559"/>
                  </a:lnTo>
                  <a:close/>
                </a:path>
              </a:pathLst>
            </a:custGeom>
            <a:solidFill>
              <a:srgbClr val="F5BD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sz="1799" dirty="0"/>
            </a:p>
          </p:txBody>
        </p:sp>
        <p:sp>
          <p:nvSpPr>
            <p:cNvPr id="90" name="Freeform 23">
              <a:extLst>
                <a:ext uri="{FF2B5EF4-FFF2-40B4-BE49-F238E27FC236}">
                  <a16:creationId xmlns:a16="http://schemas.microsoft.com/office/drawing/2014/main" id="{3BEB5887-5099-4C33-BFE1-50A97E9D3059}"/>
                </a:ext>
              </a:extLst>
            </p:cNvPr>
            <p:cNvSpPr>
              <a:spLocks/>
            </p:cNvSpPr>
            <p:nvPr userDrawn="1"/>
          </p:nvSpPr>
          <p:spPr bwMode="gray">
            <a:xfrm>
              <a:off x="758411" y="6676604"/>
              <a:ext cx="158242" cy="159631"/>
            </a:xfrm>
            <a:custGeom>
              <a:avLst/>
              <a:gdLst>
                <a:gd name="T0" fmla="*/ 0 w 114"/>
                <a:gd name="T1" fmla="*/ 0 h 115"/>
                <a:gd name="T2" fmla="*/ 0 w 114"/>
                <a:gd name="T3" fmla="*/ 115 h 115"/>
                <a:gd name="T4" fmla="*/ 114 w 114"/>
                <a:gd name="T5" fmla="*/ 56 h 115"/>
                <a:gd name="T6" fmla="*/ 0 w 114"/>
                <a:gd name="T7" fmla="*/ 0 h 115"/>
              </a:gdLst>
              <a:ahLst/>
              <a:cxnLst>
                <a:cxn ang="0">
                  <a:pos x="T0" y="T1"/>
                </a:cxn>
                <a:cxn ang="0">
                  <a:pos x="T2" y="T3"/>
                </a:cxn>
                <a:cxn ang="0">
                  <a:pos x="T4" y="T5"/>
                </a:cxn>
                <a:cxn ang="0">
                  <a:pos x="T6" y="T7"/>
                </a:cxn>
              </a:cxnLst>
              <a:rect l="0" t="0" r="r" b="b"/>
              <a:pathLst>
                <a:path w="114" h="115">
                  <a:moveTo>
                    <a:pt x="0" y="0"/>
                  </a:moveTo>
                  <a:lnTo>
                    <a:pt x="0" y="115"/>
                  </a:lnTo>
                  <a:lnTo>
                    <a:pt x="114" y="56"/>
                  </a:lnTo>
                  <a:lnTo>
                    <a:pt x="0" y="0"/>
                  </a:lnTo>
                  <a:close/>
                </a:path>
              </a:pathLst>
            </a:custGeom>
            <a:solidFill>
              <a:srgbClr val="FADE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p>
          </p:txBody>
        </p:sp>
        <p:sp>
          <p:nvSpPr>
            <p:cNvPr id="91" name="Freeform 31">
              <a:extLst>
                <a:ext uri="{FF2B5EF4-FFF2-40B4-BE49-F238E27FC236}">
                  <a16:creationId xmlns:a16="http://schemas.microsoft.com/office/drawing/2014/main" id="{7C99A540-8DBA-4348-B32E-ECE2BCB3ACB1}"/>
                </a:ext>
              </a:extLst>
            </p:cNvPr>
            <p:cNvSpPr>
              <a:spLocks/>
            </p:cNvSpPr>
            <p:nvPr userDrawn="1"/>
          </p:nvSpPr>
          <p:spPr bwMode="gray">
            <a:xfrm flipH="1">
              <a:off x="674543" y="6677992"/>
              <a:ext cx="158243" cy="156854"/>
            </a:xfrm>
            <a:custGeom>
              <a:avLst/>
              <a:gdLst>
                <a:gd name="T0" fmla="*/ 114 w 114"/>
                <a:gd name="T1" fmla="*/ 0 h 113"/>
                <a:gd name="T2" fmla="*/ 114 w 114"/>
                <a:gd name="T3" fmla="*/ 113 h 113"/>
                <a:gd name="T4" fmla="*/ 0 w 114"/>
                <a:gd name="T5" fmla="*/ 57 h 113"/>
                <a:gd name="T6" fmla="*/ 114 w 114"/>
                <a:gd name="T7" fmla="*/ 0 h 113"/>
              </a:gdLst>
              <a:ahLst/>
              <a:cxnLst>
                <a:cxn ang="0">
                  <a:pos x="T0" y="T1"/>
                </a:cxn>
                <a:cxn ang="0">
                  <a:pos x="T2" y="T3"/>
                </a:cxn>
                <a:cxn ang="0">
                  <a:pos x="T4" y="T5"/>
                </a:cxn>
                <a:cxn ang="0">
                  <a:pos x="T6" y="T7"/>
                </a:cxn>
              </a:cxnLst>
              <a:rect l="0" t="0" r="r" b="b"/>
              <a:pathLst>
                <a:path w="114" h="113">
                  <a:moveTo>
                    <a:pt x="114" y="0"/>
                  </a:moveTo>
                  <a:lnTo>
                    <a:pt x="114" y="113"/>
                  </a:lnTo>
                  <a:lnTo>
                    <a:pt x="0" y="57"/>
                  </a:lnTo>
                  <a:lnTo>
                    <a:pt x="114" y="0"/>
                  </a:lnTo>
                  <a:close/>
                </a:path>
              </a:pathLst>
            </a:custGeom>
            <a:solidFill>
              <a:srgbClr val="F5BD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p>
          </p:txBody>
        </p:sp>
        <p:sp>
          <p:nvSpPr>
            <p:cNvPr id="92" name="Freeform 49">
              <a:extLst>
                <a:ext uri="{FF2B5EF4-FFF2-40B4-BE49-F238E27FC236}">
                  <a16:creationId xmlns:a16="http://schemas.microsoft.com/office/drawing/2014/main" id="{EE346CC5-42D3-462F-B049-870869C40693}"/>
                </a:ext>
              </a:extLst>
            </p:cNvPr>
            <p:cNvSpPr>
              <a:spLocks/>
            </p:cNvSpPr>
            <p:nvPr userDrawn="1"/>
          </p:nvSpPr>
          <p:spPr bwMode="gray">
            <a:xfrm>
              <a:off x="551383" y="6702106"/>
              <a:ext cx="101809" cy="103612"/>
            </a:xfrm>
            <a:custGeom>
              <a:avLst/>
              <a:gdLst>
                <a:gd name="T0" fmla="*/ 0 w 113"/>
                <a:gd name="T1" fmla="*/ 115 h 115"/>
                <a:gd name="T2" fmla="*/ 0 w 113"/>
                <a:gd name="T3" fmla="*/ 0 h 115"/>
                <a:gd name="T4" fmla="*/ 113 w 113"/>
                <a:gd name="T5" fmla="*/ 57 h 115"/>
                <a:gd name="T6" fmla="*/ 0 w 113"/>
                <a:gd name="T7" fmla="*/ 115 h 115"/>
              </a:gdLst>
              <a:ahLst/>
              <a:cxnLst>
                <a:cxn ang="0">
                  <a:pos x="T0" y="T1"/>
                </a:cxn>
                <a:cxn ang="0">
                  <a:pos x="T2" y="T3"/>
                </a:cxn>
                <a:cxn ang="0">
                  <a:pos x="T4" y="T5"/>
                </a:cxn>
                <a:cxn ang="0">
                  <a:pos x="T6" y="T7"/>
                </a:cxn>
              </a:cxnLst>
              <a:rect l="0" t="0" r="r" b="b"/>
              <a:pathLst>
                <a:path w="113" h="115">
                  <a:moveTo>
                    <a:pt x="0" y="115"/>
                  </a:moveTo>
                  <a:lnTo>
                    <a:pt x="0" y="0"/>
                  </a:lnTo>
                  <a:lnTo>
                    <a:pt x="113" y="57"/>
                  </a:lnTo>
                  <a:lnTo>
                    <a:pt x="0" y="115"/>
                  </a:lnTo>
                  <a:close/>
                </a:path>
              </a:pathLst>
            </a:custGeom>
            <a:solidFill>
              <a:srgbClr val="E66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p>
          </p:txBody>
        </p:sp>
        <p:sp>
          <p:nvSpPr>
            <p:cNvPr id="99" name="Freihandform: Form 98">
              <a:extLst>
                <a:ext uri="{FF2B5EF4-FFF2-40B4-BE49-F238E27FC236}">
                  <a16:creationId xmlns:a16="http://schemas.microsoft.com/office/drawing/2014/main" id="{74D627D7-905A-4819-8A88-FAA8801A9234}"/>
                </a:ext>
              </a:extLst>
            </p:cNvPr>
            <p:cNvSpPr>
              <a:spLocks/>
            </p:cNvSpPr>
            <p:nvPr userDrawn="1"/>
          </p:nvSpPr>
          <p:spPr bwMode="gray">
            <a:xfrm flipH="1">
              <a:off x="876275" y="6739520"/>
              <a:ext cx="154232" cy="118480"/>
            </a:xfrm>
            <a:custGeom>
              <a:avLst/>
              <a:gdLst>
                <a:gd name="connsiteX0" fmla="*/ 0 w 154232"/>
                <a:gd name="connsiteY0" fmla="*/ 0 h 118480"/>
                <a:gd name="connsiteX1" fmla="*/ 0 w 154232"/>
                <a:gd name="connsiteY1" fmla="*/ 118480 h 118480"/>
                <a:gd name="connsiteX2" fmla="*/ 74212 w 154232"/>
                <a:gd name="connsiteY2" fmla="*/ 118480 h 118480"/>
                <a:gd name="connsiteX3" fmla="*/ 154232 w 154232"/>
                <a:gd name="connsiteY3" fmla="*/ 78470 h 118480"/>
              </a:gdLst>
              <a:ahLst/>
              <a:cxnLst>
                <a:cxn ang="0">
                  <a:pos x="connsiteX0" y="connsiteY0"/>
                </a:cxn>
                <a:cxn ang="0">
                  <a:pos x="connsiteX1" y="connsiteY1"/>
                </a:cxn>
                <a:cxn ang="0">
                  <a:pos x="connsiteX2" y="connsiteY2"/>
                </a:cxn>
                <a:cxn ang="0">
                  <a:pos x="connsiteX3" y="connsiteY3"/>
                </a:cxn>
              </a:cxnLst>
              <a:rect l="l" t="t" r="r" b="b"/>
              <a:pathLst>
                <a:path w="154232" h="118480">
                  <a:moveTo>
                    <a:pt x="0" y="0"/>
                  </a:moveTo>
                  <a:lnTo>
                    <a:pt x="0" y="118480"/>
                  </a:lnTo>
                  <a:lnTo>
                    <a:pt x="74212" y="118480"/>
                  </a:lnTo>
                  <a:lnTo>
                    <a:pt x="154232" y="78470"/>
                  </a:lnTo>
                  <a:close/>
                </a:path>
              </a:pathLst>
            </a:custGeom>
            <a:solidFill>
              <a:srgbClr val="E55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sz="1799" dirty="0"/>
            </a:p>
          </p:txBody>
        </p:sp>
        <p:sp>
          <p:nvSpPr>
            <p:cNvPr id="102" name="Freihandform: Form 101">
              <a:extLst>
                <a:ext uri="{FF2B5EF4-FFF2-40B4-BE49-F238E27FC236}">
                  <a16:creationId xmlns:a16="http://schemas.microsoft.com/office/drawing/2014/main" id="{A4AAB4C5-8A2A-41C7-9089-F26CA185ED25}"/>
                </a:ext>
              </a:extLst>
            </p:cNvPr>
            <p:cNvSpPr>
              <a:spLocks/>
            </p:cNvSpPr>
            <p:nvPr userDrawn="1"/>
          </p:nvSpPr>
          <p:spPr bwMode="gray">
            <a:xfrm>
              <a:off x="1055440" y="6781772"/>
              <a:ext cx="101809" cy="76228"/>
            </a:xfrm>
            <a:custGeom>
              <a:avLst/>
              <a:gdLst>
                <a:gd name="connsiteX0" fmla="*/ 0 w 101809"/>
                <a:gd name="connsiteY0" fmla="*/ 0 h 76228"/>
                <a:gd name="connsiteX1" fmla="*/ 101809 w 101809"/>
                <a:gd name="connsiteY1" fmla="*/ 51356 h 76228"/>
                <a:gd name="connsiteX2" fmla="*/ 53351 w 101809"/>
                <a:gd name="connsiteY2" fmla="*/ 76228 h 76228"/>
                <a:gd name="connsiteX3" fmla="*/ 0 w 101809"/>
                <a:gd name="connsiteY3" fmla="*/ 76228 h 76228"/>
              </a:gdLst>
              <a:ahLst/>
              <a:cxnLst>
                <a:cxn ang="0">
                  <a:pos x="connsiteX0" y="connsiteY0"/>
                </a:cxn>
                <a:cxn ang="0">
                  <a:pos x="connsiteX1" y="connsiteY1"/>
                </a:cxn>
                <a:cxn ang="0">
                  <a:pos x="connsiteX2" y="connsiteY2"/>
                </a:cxn>
                <a:cxn ang="0">
                  <a:pos x="connsiteX3" y="connsiteY3"/>
                </a:cxn>
              </a:cxnLst>
              <a:rect l="l" t="t" r="r" b="b"/>
              <a:pathLst>
                <a:path w="101809" h="76228">
                  <a:moveTo>
                    <a:pt x="0" y="0"/>
                  </a:moveTo>
                  <a:lnTo>
                    <a:pt x="101809" y="51356"/>
                  </a:lnTo>
                  <a:lnTo>
                    <a:pt x="53351" y="76228"/>
                  </a:lnTo>
                  <a:lnTo>
                    <a:pt x="0" y="76228"/>
                  </a:lnTo>
                  <a:close/>
                </a:path>
              </a:pathLst>
            </a:custGeom>
            <a:solidFill>
              <a:srgbClr val="EE94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sz="1799" dirty="0"/>
            </a:p>
          </p:txBody>
        </p:sp>
        <p:sp>
          <p:nvSpPr>
            <p:cNvPr id="101" name="Freihandform: Form 100">
              <a:extLst>
                <a:ext uri="{FF2B5EF4-FFF2-40B4-BE49-F238E27FC236}">
                  <a16:creationId xmlns:a16="http://schemas.microsoft.com/office/drawing/2014/main" id="{96AF4D5E-F195-4ECA-AD8C-542B9F3F74D0}"/>
                </a:ext>
              </a:extLst>
            </p:cNvPr>
            <p:cNvSpPr>
              <a:spLocks/>
            </p:cNvSpPr>
            <p:nvPr userDrawn="1"/>
          </p:nvSpPr>
          <p:spPr bwMode="gray">
            <a:xfrm flipH="1">
              <a:off x="1199454" y="6809451"/>
              <a:ext cx="72010" cy="48549"/>
            </a:xfrm>
            <a:custGeom>
              <a:avLst/>
              <a:gdLst>
                <a:gd name="connsiteX0" fmla="*/ 0 w 72010"/>
                <a:gd name="connsiteY0" fmla="*/ 0 h 48549"/>
                <a:gd name="connsiteX1" fmla="*/ 0 w 72010"/>
                <a:gd name="connsiteY1" fmla="*/ 48549 h 48549"/>
                <a:gd name="connsiteX2" fmla="*/ 48192 w 72010"/>
                <a:gd name="connsiteY2" fmla="*/ 48549 h 48549"/>
                <a:gd name="connsiteX3" fmla="*/ 72010 w 72010"/>
                <a:gd name="connsiteY3" fmla="*/ 36324 h 48549"/>
              </a:gdLst>
              <a:ahLst/>
              <a:cxnLst>
                <a:cxn ang="0">
                  <a:pos x="connsiteX0" y="connsiteY0"/>
                </a:cxn>
                <a:cxn ang="0">
                  <a:pos x="connsiteX1" y="connsiteY1"/>
                </a:cxn>
                <a:cxn ang="0">
                  <a:pos x="connsiteX2" y="connsiteY2"/>
                </a:cxn>
                <a:cxn ang="0">
                  <a:pos x="connsiteX3" y="connsiteY3"/>
                </a:cxn>
              </a:cxnLst>
              <a:rect l="l" t="t" r="r" b="b"/>
              <a:pathLst>
                <a:path w="72010" h="48549">
                  <a:moveTo>
                    <a:pt x="0" y="0"/>
                  </a:moveTo>
                  <a:lnTo>
                    <a:pt x="0" y="48549"/>
                  </a:lnTo>
                  <a:lnTo>
                    <a:pt x="48192" y="48549"/>
                  </a:lnTo>
                  <a:lnTo>
                    <a:pt x="72010" y="36324"/>
                  </a:lnTo>
                  <a:close/>
                </a:path>
              </a:pathLst>
            </a:custGeom>
            <a:solidFill>
              <a:srgbClr val="E66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sz="1799" dirty="0"/>
            </a:p>
          </p:txBody>
        </p:sp>
        <p:sp>
          <p:nvSpPr>
            <p:cNvPr id="97" name="Freeform 49">
              <a:extLst>
                <a:ext uri="{FF2B5EF4-FFF2-40B4-BE49-F238E27FC236}">
                  <a16:creationId xmlns:a16="http://schemas.microsoft.com/office/drawing/2014/main" id="{92EC5593-4929-4D0E-8A6D-F7F6A09E8F9D}"/>
                </a:ext>
              </a:extLst>
            </p:cNvPr>
            <p:cNvSpPr>
              <a:spLocks/>
            </p:cNvSpPr>
            <p:nvPr userDrawn="1"/>
          </p:nvSpPr>
          <p:spPr bwMode="gray">
            <a:xfrm flipH="1">
              <a:off x="-142" y="6237312"/>
              <a:ext cx="59375" cy="60427"/>
            </a:xfrm>
            <a:custGeom>
              <a:avLst/>
              <a:gdLst>
                <a:gd name="T0" fmla="*/ 0 w 113"/>
                <a:gd name="T1" fmla="*/ 115 h 115"/>
                <a:gd name="T2" fmla="*/ 0 w 113"/>
                <a:gd name="T3" fmla="*/ 0 h 115"/>
                <a:gd name="T4" fmla="*/ 113 w 113"/>
                <a:gd name="T5" fmla="*/ 57 h 115"/>
                <a:gd name="T6" fmla="*/ 0 w 113"/>
                <a:gd name="T7" fmla="*/ 115 h 115"/>
              </a:gdLst>
              <a:ahLst/>
              <a:cxnLst>
                <a:cxn ang="0">
                  <a:pos x="T0" y="T1"/>
                </a:cxn>
                <a:cxn ang="0">
                  <a:pos x="T2" y="T3"/>
                </a:cxn>
                <a:cxn ang="0">
                  <a:pos x="T4" y="T5"/>
                </a:cxn>
                <a:cxn ang="0">
                  <a:pos x="T6" y="T7"/>
                </a:cxn>
              </a:cxnLst>
              <a:rect l="0" t="0" r="r" b="b"/>
              <a:pathLst>
                <a:path w="113" h="115">
                  <a:moveTo>
                    <a:pt x="0" y="115"/>
                  </a:moveTo>
                  <a:lnTo>
                    <a:pt x="0" y="0"/>
                  </a:lnTo>
                  <a:lnTo>
                    <a:pt x="113" y="57"/>
                  </a:lnTo>
                  <a:lnTo>
                    <a:pt x="0" y="115"/>
                  </a:lnTo>
                  <a:close/>
                </a:path>
              </a:pathLst>
            </a:custGeom>
            <a:solidFill>
              <a:srgbClr val="EE94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p>
          </p:txBody>
        </p:sp>
        <p:sp>
          <p:nvSpPr>
            <p:cNvPr id="103" name="Freihandform: Form 102">
              <a:extLst>
                <a:ext uri="{FF2B5EF4-FFF2-40B4-BE49-F238E27FC236}">
                  <a16:creationId xmlns:a16="http://schemas.microsoft.com/office/drawing/2014/main" id="{41F61658-507A-49CA-ACC5-84C8DB8D09E2}"/>
                </a:ext>
              </a:extLst>
            </p:cNvPr>
            <p:cNvSpPr>
              <a:spLocks/>
            </p:cNvSpPr>
            <p:nvPr userDrawn="1"/>
          </p:nvSpPr>
          <p:spPr bwMode="gray">
            <a:xfrm>
              <a:off x="1270928" y="6808465"/>
              <a:ext cx="98500" cy="49686"/>
            </a:xfrm>
            <a:custGeom>
              <a:avLst/>
              <a:gdLst>
                <a:gd name="connsiteX0" fmla="*/ 0 w 102213"/>
                <a:gd name="connsiteY0" fmla="*/ 0 h 51559"/>
                <a:gd name="connsiteX1" fmla="*/ 0 w 102213"/>
                <a:gd name="connsiteY1" fmla="*/ 51559 h 51559"/>
                <a:gd name="connsiteX2" fmla="*/ 102213 w 102213"/>
                <a:gd name="connsiteY2" fmla="*/ 51559 h 51559"/>
              </a:gdLst>
              <a:ahLst/>
              <a:cxnLst>
                <a:cxn ang="0">
                  <a:pos x="connsiteX0" y="connsiteY0"/>
                </a:cxn>
                <a:cxn ang="0">
                  <a:pos x="connsiteX1" y="connsiteY1"/>
                </a:cxn>
                <a:cxn ang="0">
                  <a:pos x="connsiteX2" y="connsiteY2"/>
                </a:cxn>
              </a:cxnLst>
              <a:rect l="l" t="t" r="r" b="b"/>
              <a:pathLst>
                <a:path w="102213" h="51559">
                  <a:moveTo>
                    <a:pt x="0" y="0"/>
                  </a:moveTo>
                  <a:lnTo>
                    <a:pt x="0" y="51559"/>
                  </a:lnTo>
                  <a:lnTo>
                    <a:pt x="102213" y="51559"/>
                  </a:lnTo>
                  <a:close/>
                </a:path>
              </a:pathLst>
            </a:custGeom>
            <a:solidFill>
              <a:srgbClr val="F5BD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sz="1799" dirty="0"/>
            </a:p>
          </p:txBody>
        </p:sp>
        <p:sp>
          <p:nvSpPr>
            <p:cNvPr id="111" name="Freihandform: Form 110">
              <a:extLst>
                <a:ext uri="{FF2B5EF4-FFF2-40B4-BE49-F238E27FC236}">
                  <a16:creationId xmlns:a16="http://schemas.microsoft.com/office/drawing/2014/main" id="{875D2D32-6A6F-4FC8-BEC3-10A7FD521525}"/>
                </a:ext>
              </a:extLst>
            </p:cNvPr>
            <p:cNvSpPr>
              <a:spLocks/>
            </p:cNvSpPr>
            <p:nvPr userDrawn="1"/>
          </p:nvSpPr>
          <p:spPr bwMode="gray">
            <a:xfrm>
              <a:off x="1401254" y="6785831"/>
              <a:ext cx="143608" cy="72170"/>
            </a:xfrm>
            <a:custGeom>
              <a:avLst/>
              <a:gdLst>
                <a:gd name="connsiteX0" fmla="*/ 158243 w 158243"/>
                <a:gd name="connsiteY0" fmla="*/ 0 h 79525"/>
                <a:gd name="connsiteX1" fmla="*/ 158243 w 158243"/>
                <a:gd name="connsiteY1" fmla="*/ 79525 h 79525"/>
                <a:gd name="connsiteX2" fmla="*/ 822 w 158243"/>
                <a:gd name="connsiteY2" fmla="*/ 79525 h 79525"/>
                <a:gd name="connsiteX3" fmla="*/ 0 w 158243"/>
                <a:gd name="connsiteY3" fmla="*/ 79121 h 79525"/>
              </a:gdLst>
              <a:ahLst/>
              <a:cxnLst>
                <a:cxn ang="0">
                  <a:pos x="connsiteX0" y="connsiteY0"/>
                </a:cxn>
                <a:cxn ang="0">
                  <a:pos x="connsiteX1" y="connsiteY1"/>
                </a:cxn>
                <a:cxn ang="0">
                  <a:pos x="connsiteX2" y="connsiteY2"/>
                </a:cxn>
                <a:cxn ang="0">
                  <a:pos x="connsiteX3" y="connsiteY3"/>
                </a:cxn>
              </a:cxnLst>
              <a:rect l="l" t="t" r="r" b="b"/>
              <a:pathLst>
                <a:path w="158243" h="79525">
                  <a:moveTo>
                    <a:pt x="158243" y="0"/>
                  </a:moveTo>
                  <a:lnTo>
                    <a:pt x="158243" y="79525"/>
                  </a:lnTo>
                  <a:lnTo>
                    <a:pt x="822" y="79525"/>
                  </a:lnTo>
                  <a:lnTo>
                    <a:pt x="0" y="79121"/>
                  </a:lnTo>
                  <a:close/>
                </a:path>
              </a:pathLst>
            </a:custGeom>
            <a:solidFill>
              <a:srgbClr val="F5BD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sz="1799" dirty="0"/>
            </a:p>
          </p:txBody>
        </p:sp>
        <p:sp>
          <p:nvSpPr>
            <p:cNvPr id="106" name="Freeform 49">
              <a:extLst>
                <a:ext uri="{FF2B5EF4-FFF2-40B4-BE49-F238E27FC236}">
                  <a16:creationId xmlns:a16="http://schemas.microsoft.com/office/drawing/2014/main" id="{99D2C98E-731F-4C4C-9B23-C7B1FCDB8EF6}"/>
                </a:ext>
              </a:extLst>
            </p:cNvPr>
            <p:cNvSpPr>
              <a:spLocks/>
            </p:cNvSpPr>
            <p:nvPr userDrawn="1"/>
          </p:nvSpPr>
          <p:spPr bwMode="gray">
            <a:xfrm>
              <a:off x="1277814" y="6702106"/>
              <a:ext cx="101809" cy="103612"/>
            </a:xfrm>
            <a:custGeom>
              <a:avLst/>
              <a:gdLst>
                <a:gd name="T0" fmla="*/ 0 w 113"/>
                <a:gd name="T1" fmla="*/ 115 h 115"/>
                <a:gd name="T2" fmla="*/ 0 w 113"/>
                <a:gd name="T3" fmla="*/ 0 h 115"/>
                <a:gd name="T4" fmla="*/ 113 w 113"/>
                <a:gd name="T5" fmla="*/ 57 h 115"/>
                <a:gd name="T6" fmla="*/ 0 w 113"/>
                <a:gd name="T7" fmla="*/ 115 h 115"/>
              </a:gdLst>
              <a:ahLst/>
              <a:cxnLst>
                <a:cxn ang="0">
                  <a:pos x="T0" y="T1"/>
                </a:cxn>
                <a:cxn ang="0">
                  <a:pos x="T2" y="T3"/>
                </a:cxn>
                <a:cxn ang="0">
                  <a:pos x="T4" y="T5"/>
                </a:cxn>
                <a:cxn ang="0">
                  <a:pos x="T6" y="T7"/>
                </a:cxn>
              </a:cxnLst>
              <a:rect l="0" t="0" r="r" b="b"/>
              <a:pathLst>
                <a:path w="113" h="115">
                  <a:moveTo>
                    <a:pt x="0" y="115"/>
                  </a:moveTo>
                  <a:lnTo>
                    <a:pt x="0" y="0"/>
                  </a:lnTo>
                  <a:lnTo>
                    <a:pt x="113" y="57"/>
                  </a:lnTo>
                  <a:lnTo>
                    <a:pt x="0" y="115"/>
                  </a:lnTo>
                  <a:close/>
                </a:path>
              </a:pathLst>
            </a:custGeom>
            <a:solidFill>
              <a:srgbClr val="E66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p>
          </p:txBody>
        </p:sp>
        <p:sp>
          <p:nvSpPr>
            <p:cNvPr id="107" name="Freihandform: Form 106">
              <a:extLst>
                <a:ext uri="{FF2B5EF4-FFF2-40B4-BE49-F238E27FC236}">
                  <a16:creationId xmlns:a16="http://schemas.microsoft.com/office/drawing/2014/main" id="{C1571EF2-2B3A-4B5B-9AAC-8E8AE83C3BE9}"/>
                </a:ext>
              </a:extLst>
            </p:cNvPr>
            <p:cNvSpPr>
              <a:spLocks/>
            </p:cNvSpPr>
            <p:nvPr userDrawn="1"/>
          </p:nvSpPr>
          <p:spPr bwMode="gray">
            <a:xfrm>
              <a:off x="1631504" y="6812281"/>
              <a:ext cx="59515" cy="45719"/>
            </a:xfrm>
            <a:custGeom>
              <a:avLst/>
              <a:gdLst>
                <a:gd name="connsiteX0" fmla="*/ 0 w 154232"/>
                <a:gd name="connsiteY0" fmla="*/ 0 h 118480"/>
                <a:gd name="connsiteX1" fmla="*/ 0 w 154232"/>
                <a:gd name="connsiteY1" fmla="*/ 118480 h 118480"/>
                <a:gd name="connsiteX2" fmla="*/ 74212 w 154232"/>
                <a:gd name="connsiteY2" fmla="*/ 118480 h 118480"/>
                <a:gd name="connsiteX3" fmla="*/ 154232 w 154232"/>
                <a:gd name="connsiteY3" fmla="*/ 78470 h 118480"/>
              </a:gdLst>
              <a:ahLst/>
              <a:cxnLst>
                <a:cxn ang="0">
                  <a:pos x="connsiteX0" y="connsiteY0"/>
                </a:cxn>
                <a:cxn ang="0">
                  <a:pos x="connsiteX1" y="connsiteY1"/>
                </a:cxn>
                <a:cxn ang="0">
                  <a:pos x="connsiteX2" y="connsiteY2"/>
                </a:cxn>
                <a:cxn ang="0">
                  <a:pos x="connsiteX3" y="connsiteY3"/>
                </a:cxn>
              </a:cxnLst>
              <a:rect l="l" t="t" r="r" b="b"/>
              <a:pathLst>
                <a:path w="154232" h="118480">
                  <a:moveTo>
                    <a:pt x="0" y="0"/>
                  </a:moveTo>
                  <a:lnTo>
                    <a:pt x="0" y="118480"/>
                  </a:lnTo>
                  <a:lnTo>
                    <a:pt x="74212" y="118480"/>
                  </a:lnTo>
                  <a:lnTo>
                    <a:pt x="154232" y="78470"/>
                  </a:lnTo>
                  <a:close/>
                </a:path>
              </a:pathLst>
            </a:custGeom>
            <a:solidFill>
              <a:srgbClr val="E55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sz="1799" dirty="0"/>
            </a:p>
          </p:txBody>
        </p:sp>
        <p:sp>
          <p:nvSpPr>
            <p:cNvPr id="110" name="Freeform 49">
              <a:extLst>
                <a:ext uri="{FF2B5EF4-FFF2-40B4-BE49-F238E27FC236}">
                  <a16:creationId xmlns:a16="http://schemas.microsoft.com/office/drawing/2014/main" id="{D2AB0FCA-A40B-4458-A535-E7DA34A7CE11}"/>
                </a:ext>
              </a:extLst>
            </p:cNvPr>
            <p:cNvSpPr>
              <a:spLocks/>
            </p:cNvSpPr>
            <p:nvPr userDrawn="1"/>
          </p:nvSpPr>
          <p:spPr bwMode="gray">
            <a:xfrm>
              <a:off x="1185981" y="6686550"/>
              <a:ext cx="132380" cy="134724"/>
            </a:xfrm>
            <a:custGeom>
              <a:avLst/>
              <a:gdLst>
                <a:gd name="T0" fmla="*/ 0 w 113"/>
                <a:gd name="T1" fmla="*/ 115 h 115"/>
                <a:gd name="T2" fmla="*/ 0 w 113"/>
                <a:gd name="T3" fmla="*/ 0 h 115"/>
                <a:gd name="T4" fmla="*/ 113 w 113"/>
                <a:gd name="T5" fmla="*/ 57 h 115"/>
                <a:gd name="T6" fmla="*/ 0 w 113"/>
                <a:gd name="T7" fmla="*/ 115 h 115"/>
              </a:gdLst>
              <a:ahLst/>
              <a:cxnLst>
                <a:cxn ang="0">
                  <a:pos x="T0" y="T1"/>
                </a:cxn>
                <a:cxn ang="0">
                  <a:pos x="T2" y="T3"/>
                </a:cxn>
                <a:cxn ang="0">
                  <a:pos x="T4" y="T5"/>
                </a:cxn>
                <a:cxn ang="0">
                  <a:pos x="T6" y="T7"/>
                </a:cxn>
              </a:cxnLst>
              <a:rect l="0" t="0" r="r" b="b"/>
              <a:pathLst>
                <a:path w="113" h="115">
                  <a:moveTo>
                    <a:pt x="0" y="115"/>
                  </a:moveTo>
                  <a:lnTo>
                    <a:pt x="0" y="0"/>
                  </a:lnTo>
                  <a:lnTo>
                    <a:pt x="113" y="57"/>
                  </a:lnTo>
                  <a:lnTo>
                    <a:pt x="0" y="115"/>
                  </a:lnTo>
                  <a:close/>
                </a:path>
              </a:pathLst>
            </a:custGeom>
            <a:solidFill>
              <a:srgbClr val="F5BD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sz="1799" dirty="0"/>
            </a:p>
          </p:txBody>
        </p:sp>
        <p:sp>
          <p:nvSpPr>
            <p:cNvPr id="112" name="Freihandform: Form 111">
              <a:extLst>
                <a:ext uri="{FF2B5EF4-FFF2-40B4-BE49-F238E27FC236}">
                  <a16:creationId xmlns:a16="http://schemas.microsoft.com/office/drawing/2014/main" id="{2C38ADFD-D421-4D11-9DF9-6584820355D7}"/>
                </a:ext>
              </a:extLst>
            </p:cNvPr>
            <p:cNvSpPr>
              <a:spLocks/>
            </p:cNvSpPr>
            <p:nvPr userDrawn="1"/>
          </p:nvSpPr>
          <p:spPr bwMode="gray">
            <a:xfrm flipH="1">
              <a:off x="1473262" y="6784570"/>
              <a:ext cx="143607" cy="73430"/>
            </a:xfrm>
            <a:custGeom>
              <a:avLst/>
              <a:gdLst>
                <a:gd name="connsiteX0" fmla="*/ 0 w 158242"/>
                <a:gd name="connsiteY0" fmla="*/ 0 h 80913"/>
                <a:gd name="connsiteX1" fmla="*/ 0 w 158242"/>
                <a:gd name="connsiteY1" fmla="*/ 80913 h 80913"/>
                <a:gd name="connsiteX2" fmla="*/ 152099 w 158242"/>
                <a:gd name="connsiteY2" fmla="*/ 80913 h 80913"/>
                <a:gd name="connsiteX3" fmla="*/ 158242 w 158242"/>
                <a:gd name="connsiteY3" fmla="*/ 77734 h 80913"/>
              </a:gdLst>
              <a:ahLst/>
              <a:cxnLst>
                <a:cxn ang="0">
                  <a:pos x="connsiteX0" y="connsiteY0"/>
                </a:cxn>
                <a:cxn ang="0">
                  <a:pos x="connsiteX1" y="connsiteY1"/>
                </a:cxn>
                <a:cxn ang="0">
                  <a:pos x="connsiteX2" y="connsiteY2"/>
                </a:cxn>
                <a:cxn ang="0">
                  <a:pos x="connsiteX3" y="connsiteY3"/>
                </a:cxn>
              </a:cxnLst>
              <a:rect l="l" t="t" r="r" b="b"/>
              <a:pathLst>
                <a:path w="158242" h="80913">
                  <a:moveTo>
                    <a:pt x="0" y="0"/>
                  </a:moveTo>
                  <a:lnTo>
                    <a:pt x="0" y="80913"/>
                  </a:lnTo>
                  <a:lnTo>
                    <a:pt x="152099" y="80913"/>
                  </a:lnTo>
                  <a:lnTo>
                    <a:pt x="158242" y="77734"/>
                  </a:lnTo>
                  <a:close/>
                </a:path>
              </a:pathLst>
            </a:custGeom>
            <a:solidFill>
              <a:srgbClr val="FADE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sz="1799" dirty="0"/>
            </a:p>
          </p:txBody>
        </p:sp>
      </p:grpSp>
      <p:grpSp>
        <p:nvGrpSpPr>
          <p:cNvPr id="18" name="Group 17">
            <a:extLst>
              <a:ext uri="{FF2B5EF4-FFF2-40B4-BE49-F238E27FC236}">
                <a16:creationId xmlns:a16="http://schemas.microsoft.com/office/drawing/2014/main" id="{DD0F25F1-994E-439E-9F0E-214FC2D8E806}"/>
              </a:ext>
            </a:extLst>
          </p:cNvPr>
          <p:cNvGrpSpPr/>
          <p:nvPr userDrawn="1"/>
        </p:nvGrpSpPr>
        <p:grpSpPr bwMode="gray">
          <a:xfrm>
            <a:off x="11316189" y="296653"/>
            <a:ext cx="540459" cy="539749"/>
            <a:chOff x="11316182" y="225425"/>
            <a:chExt cx="540458" cy="539750"/>
          </a:xfrm>
        </p:grpSpPr>
        <p:sp>
          <p:nvSpPr>
            <p:cNvPr id="96" name="Rectangle 95">
              <a:extLst>
                <a:ext uri="{FF2B5EF4-FFF2-40B4-BE49-F238E27FC236}">
                  <a16:creationId xmlns:a16="http://schemas.microsoft.com/office/drawing/2014/main" id="{6FF7DBC9-B12E-45F5-B09E-ED8BD12B0086}"/>
                </a:ext>
              </a:extLst>
            </p:cNvPr>
            <p:cNvSpPr/>
            <p:nvPr userDrawn="1"/>
          </p:nvSpPr>
          <p:spPr bwMode="gray">
            <a:xfrm>
              <a:off x="11316182" y="225425"/>
              <a:ext cx="540458" cy="53927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pPr>
              <a:endParaRPr lang="en-US" sz="1799" dirty="0"/>
            </a:p>
          </p:txBody>
        </p:sp>
        <p:sp>
          <p:nvSpPr>
            <p:cNvPr id="16" name="Freeform 5">
              <a:extLst>
                <a:ext uri="{FF2B5EF4-FFF2-40B4-BE49-F238E27FC236}">
                  <a16:creationId xmlns:a16="http://schemas.microsoft.com/office/drawing/2014/main" id="{7AC077BB-7823-48DD-9B9B-6CAD3C126A55}"/>
                </a:ext>
              </a:extLst>
            </p:cNvPr>
            <p:cNvSpPr>
              <a:spLocks noEditPoints="1"/>
            </p:cNvSpPr>
            <p:nvPr userDrawn="1"/>
          </p:nvSpPr>
          <p:spPr bwMode="gray">
            <a:xfrm>
              <a:off x="11316890" y="225425"/>
              <a:ext cx="539750" cy="539750"/>
            </a:xfrm>
            <a:custGeom>
              <a:avLst/>
              <a:gdLst>
                <a:gd name="T0" fmla="*/ 4367 w 4953"/>
                <a:gd name="T1" fmla="*/ 0 h 4958"/>
                <a:gd name="T2" fmla="*/ 4259 w 4953"/>
                <a:gd name="T3" fmla="*/ 306 h 4958"/>
                <a:gd name="T4" fmla="*/ 3848 w 4953"/>
                <a:gd name="T5" fmla="*/ 933 h 4958"/>
                <a:gd name="T6" fmla="*/ 3569 w 4953"/>
                <a:gd name="T7" fmla="*/ 1378 h 4958"/>
                <a:gd name="T8" fmla="*/ 4932 w 4953"/>
                <a:gd name="T9" fmla="*/ 28 h 4958"/>
                <a:gd name="T10" fmla="*/ 4950 w 4953"/>
                <a:gd name="T11" fmla="*/ 4939 h 4958"/>
                <a:gd name="T12" fmla="*/ 1 w 4953"/>
                <a:gd name="T13" fmla="*/ 4925 h 4958"/>
                <a:gd name="T14" fmla="*/ 1737 w 4953"/>
                <a:gd name="T15" fmla="*/ 2922 h 4958"/>
                <a:gd name="T16" fmla="*/ 1566 w 4953"/>
                <a:gd name="T17" fmla="*/ 2484 h 4958"/>
                <a:gd name="T18" fmla="*/ 1470 w 4953"/>
                <a:gd name="T19" fmla="*/ 3155 h 4958"/>
                <a:gd name="T20" fmla="*/ 1300 w 4953"/>
                <a:gd name="T21" fmla="*/ 3271 h 4958"/>
                <a:gd name="T22" fmla="*/ 1020 w 4953"/>
                <a:gd name="T23" fmla="*/ 3225 h 4958"/>
                <a:gd name="T24" fmla="*/ 730 w 4953"/>
                <a:gd name="T25" fmla="*/ 2915 h 4958"/>
                <a:gd name="T26" fmla="*/ 677 w 4953"/>
                <a:gd name="T27" fmla="*/ 2749 h 4958"/>
                <a:gd name="T28" fmla="*/ 656 w 4953"/>
                <a:gd name="T29" fmla="*/ 2411 h 4958"/>
                <a:gd name="T30" fmla="*/ 796 w 4953"/>
                <a:gd name="T31" fmla="*/ 1983 h 4958"/>
                <a:gd name="T32" fmla="*/ 1162 w 4953"/>
                <a:gd name="T33" fmla="*/ 1733 h 4958"/>
                <a:gd name="T34" fmla="*/ 1577 w 4953"/>
                <a:gd name="T35" fmla="*/ 1704 h 4958"/>
                <a:gd name="T36" fmla="*/ 1555 w 4953"/>
                <a:gd name="T37" fmla="*/ 1479 h 4958"/>
                <a:gd name="T38" fmla="*/ 1064 w 4953"/>
                <a:gd name="T39" fmla="*/ 1508 h 4958"/>
                <a:gd name="T40" fmla="*/ 676 w 4953"/>
                <a:gd name="T41" fmla="*/ 1709 h 4958"/>
                <a:gd name="T42" fmla="*/ 443 w 4953"/>
                <a:gd name="T43" fmla="*/ 2059 h 4958"/>
                <a:gd name="T44" fmla="*/ 378 w 4953"/>
                <a:gd name="T45" fmla="*/ 2343 h 4958"/>
                <a:gd name="T46" fmla="*/ 419 w 4953"/>
                <a:gd name="T47" fmla="*/ 2871 h 4958"/>
                <a:gd name="T48" fmla="*/ 547 w 4953"/>
                <a:gd name="T49" fmla="*/ 3155 h 4958"/>
                <a:gd name="T50" fmla="*/ 975 w 4953"/>
                <a:gd name="T51" fmla="*/ 3451 h 4958"/>
                <a:gd name="T52" fmla="*/ 1375 w 4953"/>
                <a:gd name="T53" fmla="*/ 3490 h 4958"/>
                <a:gd name="T54" fmla="*/ 1616 w 4953"/>
                <a:gd name="T55" fmla="*/ 3432 h 4958"/>
                <a:gd name="T56" fmla="*/ 4409 w 4953"/>
                <a:gd name="T57" fmla="*/ 3491 h 4958"/>
                <a:gd name="T58" fmla="*/ 4531 w 4953"/>
                <a:gd name="T59" fmla="*/ 3324 h 4958"/>
                <a:gd name="T60" fmla="*/ 3978 w 4953"/>
                <a:gd name="T61" fmla="*/ 2711 h 4958"/>
                <a:gd name="T62" fmla="*/ 3803 w 4953"/>
                <a:gd name="T63" fmla="*/ 2423 h 4958"/>
                <a:gd name="T64" fmla="*/ 4306 w 4953"/>
                <a:gd name="T65" fmla="*/ 1869 h 4958"/>
                <a:gd name="T66" fmla="*/ 4538 w 4953"/>
                <a:gd name="T67" fmla="*/ 1505 h 4958"/>
                <a:gd name="T68" fmla="*/ 4209 w 4953"/>
                <a:gd name="T69" fmla="*/ 1612 h 4958"/>
                <a:gd name="T70" fmla="*/ 3866 w 4953"/>
                <a:gd name="T71" fmla="*/ 1992 h 4958"/>
                <a:gd name="T72" fmla="*/ 3474 w 4953"/>
                <a:gd name="T73" fmla="*/ 2497 h 4958"/>
                <a:gd name="T74" fmla="*/ 3866 w 4953"/>
                <a:gd name="T75" fmla="*/ 2953 h 4958"/>
                <a:gd name="T76" fmla="*/ 4409 w 4953"/>
                <a:gd name="T77" fmla="*/ 3491 h 4958"/>
                <a:gd name="T78" fmla="*/ 2014 w 4953"/>
                <a:gd name="T79" fmla="*/ 3444 h 4958"/>
                <a:gd name="T80" fmla="*/ 2251 w 4953"/>
                <a:gd name="T81" fmla="*/ 3382 h 4958"/>
                <a:gd name="T82" fmla="*/ 2273 w 4953"/>
                <a:gd name="T83" fmla="*/ 1988 h 4958"/>
                <a:gd name="T84" fmla="*/ 2557 w 4953"/>
                <a:gd name="T85" fmla="*/ 1715 h 4958"/>
                <a:gd name="T86" fmla="*/ 2874 w 4953"/>
                <a:gd name="T87" fmla="*/ 1623 h 4958"/>
                <a:gd name="T88" fmla="*/ 2656 w 4953"/>
                <a:gd name="T89" fmla="*/ 1468 h 4958"/>
                <a:gd name="T90" fmla="*/ 2394 w 4953"/>
                <a:gd name="T91" fmla="*/ 1508 h 4958"/>
                <a:gd name="T92" fmla="*/ 2234 w 4953"/>
                <a:gd name="T93" fmla="*/ 1585 h 4958"/>
                <a:gd name="T94" fmla="*/ 2026 w 4953"/>
                <a:gd name="T95" fmla="*/ 1888 h 4958"/>
                <a:gd name="T96" fmla="*/ 1994 w 4953"/>
                <a:gd name="T97" fmla="*/ 2735 h 4958"/>
                <a:gd name="T98" fmla="*/ 3249 w 4953"/>
                <a:gd name="T99" fmla="*/ 1473 h 4958"/>
                <a:gd name="T100" fmla="*/ 3105 w 4953"/>
                <a:gd name="T101" fmla="*/ 3328 h 4958"/>
                <a:gd name="T102" fmla="*/ 3275 w 4953"/>
                <a:gd name="T103" fmla="*/ 3469 h 4958"/>
                <a:gd name="T104" fmla="*/ 2364 w 4953"/>
                <a:gd name="T105" fmla="*/ 2568 h 4958"/>
                <a:gd name="T106" fmla="*/ 2617 w 4953"/>
                <a:gd name="T107" fmla="*/ 2450 h 4958"/>
                <a:gd name="T108" fmla="*/ 2340 w 4953"/>
                <a:gd name="T109" fmla="*/ 2460 h 49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953" h="4958">
                  <a:moveTo>
                    <a:pt x="1" y="2476"/>
                  </a:moveTo>
                  <a:cubicBezTo>
                    <a:pt x="1" y="1667"/>
                    <a:pt x="1" y="858"/>
                    <a:pt x="1" y="49"/>
                  </a:cubicBezTo>
                  <a:cubicBezTo>
                    <a:pt x="1" y="2"/>
                    <a:pt x="3" y="0"/>
                    <a:pt x="51" y="0"/>
                  </a:cubicBezTo>
                  <a:cubicBezTo>
                    <a:pt x="70" y="0"/>
                    <a:pt x="90" y="0"/>
                    <a:pt x="109" y="0"/>
                  </a:cubicBezTo>
                  <a:cubicBezTo>
                    <a:pt x="1528" y="0"/>
                    <a:pt x="2948" y="0"/>
                    <a:pt x="4367" y="0"/>
                  </a:cubicBezTo>
                  <a:cubicBezTo>
                    <a:pt x="4387" y="0"/>
                    <a:pt x="4408" y="0"/>
                    <a:pt x="4428" y="1"/>
                  </a:cubicBezTo>
                  <a:cubicBezTo>
                    <a:pt x="4437" y="1"/>
                    <a:pt x="4441" y="7"/>
                    <a:pt x="4441" y="16"/>
                  </a:cubicBezTo>
                  <a:cubicBezTo>
                    <a:pt x="4440" y="24"/>
                    <a:pt x="4439" y="32"/>
                    <a:pt x="4434" y="38"/>
                  </a:cubicBezTo>
                  <a:cubicBezTo>
                    <a:pt x="4404" y="74"/>
                    <a:pt x="4383" y="116"/>
                    <a:pt x="4356" y="155"/>
                  </a:cubicBezTo>
                  <a:cubicBezTo>
                    <a:pt x="4321" y="204"/>
                    <a:pt x="4291" y="256"/>
                    <a:pt x="4259" y="306"/>
                  </a:cubicBezTo>
                  <a:cubicBezTo>
                    <a:pt x="4234" y="344"/>
                    <a:pt x="4209" y="382"/>
                    <a:pt x="4183" y="421"/>
                  </a:cubicBezTo>
                  <a:cubicBezTo>
                    <a:pt x="4150" y="471"/>
                    <a:pt x="4116" y="522"/>
                    <a:pt x="4083" y="574"/>
                  </a:cubicBezTo>
                  <a:cubicBezTo>
                    <a:pt x="4066" y="600"/>
                    <a:pt x="4048" y="626"/>
                    <a:pt x="4031" y="653"/>
                  </a:cubicBezTo>
                  <a:cubicBezTo>
                    <a:pt x="4006" y="696"/>
                    <a:pt x="3976" y="736"/>
                    <a:pt x="3949" y="777"/>
                  </a:cubicBezTo>
                  <a:cubicBezTo>
                    <a:pt x="3915" y="829"/>
                    <a:pt x="3881" y="881"/>
                    <a:pt x="3848" y="933"/>
                  </a:cubicBezTo>
                  <a:cubicBezTo>
                    <a:pt x="3820" y="976"/>
                    <a:pt x="3792" y="1019"/>
                    <a:pt x="3764" y="1061"/>
                  </a:cubicBezTo>
                  <a:cubicBezTo>
                    <a:pt x="3729" y="1114"/>
                    <a:pt x="3695" y="1168"/>
                    <a:pt x="3660" y="1221"/>
                  </a:cubicBezTo>
                  <a:cubicBezTo>
                    <a:pt x="3639" y="1252"/>
                    <a:pt x="3620" y="1286"/>
                    <a:pt x="3596" y="1315"/>
                  </a:cubicBezTo>
                  <a:cubicBezTo>
                    <a:pt x="3584" y="1331"/>
                    <a:pt x="3576" y="1350"/>
                    <a:pt x="3566" y="1368"/>
                  </a:cubicBezTo>
                  <a:cubicBezTo>
                    <a:pt x="3565" y="1370"/>
                    <a:pt x="3567" y="1376"/>
                    <a:pt x="3569" y="1378"/>
                  </a:cubicBezTo>
                  <a:cubicBezTo>
                    <a:pt x="3571" y="1380"/>
                    <a:pt x="3577" y="1380"/>
                    <a:pt x="3579" y="1378"/>
                  </a:cubicBezTo>
                  <a:cubicBezTo>
                    <a:pt x="3585" y="1374"/>
                    <a:pt x="3591" y="1369"/>
                    <a:pt x="3596" y="1363"/>
                  </a:cubicBezTo>
                  <a:cubicBezTo>
                    <a:pt x="3776" y="1184"/>
                    <a:pt x="3955" y="1005"/>
                    <a:pt x="4134" y="826"/>
                  </a:cubicBezTo>
                  <a:cubicBezTo>
                    <a:pt x="4387" y="572"/>
                    <a:pt x="4640" y="319"/>
                    <a:pt x="4894" y="66"/>
                  </a:cubicBezTo>
                  <a:cubicBezTo>
                    <a:pt x="4907" y="53"/>
                    <a:pt x="4919" y="40"/>
                    <a:pt x="4932" y="28"/>
                  </a:cubicBezTo>
                  <a:cubicBezTo>
                    <a:pt x="4938" y="21"/>
                    <a:pt x="4946" y="24"/>
                    <a:pt x="4949" y="33"/>
                  </a:cubicBezTo>
                  <a:cubicBezTo>
                    <a:pt x="4953" y="44"/>
                    <a:pt x="4952" y="55"/>
                    <a:pt x="4952" y="67"/>
                  </a:cubicBezTo>
                  <a:cubicBezTo>
                    <a:pt x="4952" y="471"/>
                    <a:pt x="4952" y="876"/>
                    <a:pt x="4952" y="1280"/>
                  </a:cubicBezTo>
                  <a:cubicBezTo>
                    <a:pt x="4952" y="2486"/>
                    <a:pt x="4952" y="3692"/>
                    <a:pt x="4952" y="4897"/>
                  </a:cubicBezTo>
                  <a:cubicBezTo>
                    <a:pt x="4952" y="4911"/>
                    <a:pt x="4952" y="4925"/>
                    <a:pt x="4950" y="4939"/>
                  </a:cubicBezTo>
                  <a:cubicBezTo>
                    <a:pt x="4948" y="4951"/>
                    <a:pt x="4940" y="4957"/>
                    <a:pt x="4928" y="4957"/>
                  </a:cubicBezTo>
                  <a:cubicBezTo>
                    <a:pt x="4920" y="4958"/>
                    <a:pt x="4913" y="4957"/>
                    <a:pt x="4905" y="4957"/>
                  </a:cubicBezTo>
                  <a:cubicBezTo>
                    <a:pt x="3291" y="4957"/>
                    <a:pt x="1677" y="4957"/>
                    <a:pt x="63" y="4957"/>
                  </a:cubicBezTo>
                  <a:cubicBezTo>
                    <a:pt x="52" y="4957"/>
                    <a:pt x="40" y="4958"/>
                    <a:pt x="29" y="4956"/>
                  </a:cubicBezTo>
                  <a:cubicBezTo>
                    <a:pt x="9" y="4953"/>
                    <a:pt x="2" y="4945"/>
                    <a:pt x="1" y="4925"/>
                  </a:cubicBezTo>
                  <a:cubicBezTo>
                    <a:pt x="0" y="4918"/>
                    <a:pt x="1" y="4910"/>
                    <a:pt x="1" y="4902"/>
                  </a:cubicBezTo>
                  <a:cubicBezTo>
                    <a:pt x="1" y="4094"/>
                    <a:pt x="1" y="3285"/>
                    <a:pt x="1" y="2476"/>
                  </a:cubicBezTo>
                  <a:cubicBezTo>
                    <a:pt x="1" y="2476"/>
                    <a:pt x="1" y="2476"/>
                    <a:pt x="1" y="2476"/>
                  </a:cubicBezTo>
                  <a:close/>
                  <a:moveTo>
                    <a:pt x="1737" y="2922"/>
                  </a:moveTo>
                  <a:cubicBezTo>
                    <a:pt x="1737" y="2922"/>
                    <a:pt x="1737" y="2922"/>
                    <a:pt x="1737" y="2922"/>
                  </a:cubicBezTo>
                  <a:cubicBezTo>
                    <a:pt x="1737" y="2807"/>
                    <a:pt x="1737" y="2691"/>
                    <a:pt x="1737" y="2576"/>
                  </a:cubicBezTo>
                  <a:cubicBezTo>
                    <a:pt x="1737" y="2566"/>
                    <a:pt x="1737" y="2556"/>
                    <a:pt x="1737" y="2546"/>
                  </a:cubicBezTo>
                  <a:cubicBezTo>
                    <a:pt x="1735" y="2521"/>
                    <a:pt x="1711" y="2492"/>
                    <a:pt x="1686" y="2490"/>
                  </a:cubicBezTo>
                  <a:cubicBezTo>
                    <a:pt x="1665" y="2489"/>
                    <a:pt x="1643" y="2484"/>
                    <a:pt x="1622" y="2480"/>
                  </a:cubicBezTo>
                  <a:cubicBezTo>
                    <a:pt x="1603" y="2477"/>
                    <a:pt x="1584" y="2476"/>
                    <a:pt x="1566" y="2484"/>
                  </a:cubicBezTo>
                  <a:cubicBezTo>
                    <a:pt x="1555" y="2488"/>
                    <a:pt x="1543" y="2489"/>
                    <a:pt x="1532" y="2489"/>
                  </a:cubicBezTo>
                  <a:cubicBezTo>
                    <a:pt x="1518" y="2489"/>
                    <a:pt x="1508" y="2495"/>
                    <a:pt x="1497" y="2503"/>
                  </a:cubicBezTo>
                  <a:cubicBezTo>
                    <a:pt x="1478" y="2519"/>
                    <a:pt x="1469" y="2539"/>
                    <a:pt x="1470" y="2564"/>
                  </a:cubicBezTo>
                  <a:cubicBezTo>
                    <a:pt x="1471" y="2579"/>
                    <a:pt x="1470" y="2594"/>
                    <a:pt x="1470" y="2610"/>
                  </a:cubicBezTo>
                  <a:cubicBezTo>
                    <a:pt x="1470" y="2791"/>
                    <a:pt x="1470" y="2973"/>
                    <a:pt x="1470" y="3155"/>
                  </a:cubicBezTo>
                  <a:cubicBezTo>
                    <a:pt x="1470" y="3165"/>
                    <a:pt x="1470" y="3175"/>
                    <a:pt x="1470" y="3186"/>
                  </a:cubicBezTo>
                  <a:cubicBezTo>
                    <a:pt x="1470" y="3196"/>
                    <a:pt x="1467" y="3206"/>
                    <a:pt x="1460" y="3214"/>
                  </a:cubicBezTo>
                  <a:cubicBezTo>
                    <a:pt x="1444" y="3231"/>
                    <a:pt x="1429" y="3249"/>
                    <a:pt x="1403" y="3250"/>
                  </a:cubicBezTo>
                  <a:cubicBezTo>
                    <a:pt x="1396" y="3251"/>
                    <a:pt x="1387" y="3252"/>
                    <a:pt x="1381" y="3256"/>
                  </a:cubicBezTo>
                  <a:cubicBezTo>
                    <a:pt x="1356" y="3272"/>
                    <a:pt x="1328" y="3271"/>
                    <a:pt x="1300" y="3271"/>
                  </a:cubicBezTo>
                  <a:cubicBezTo>
                    <a:pt x="1269" y="3270"/>
                    <a:pt x="1238" y="3270"/>
                    <a:pt x="1208" y="3271"/>
                  </a:cubicBezTo>
                  <a:cubicBezTo>
                    <a:pt x="1188" y="3271"/>
                    <a:pt x="1169" y="3268"/>
                    <a:pt x="1151" y="3261"/>
                  </a:cubicBezTo>
                  <a:cubicBezTo>
                    <a:pt x="1132" y="3253"/>
                    <a:pt x="1113" y="3248"/>
                    <a:pt x="1092" y="3248"/>
                  </a:cubicBezTo>
                  <a:cubicBezTo>
                    <a:pt x="1083" y="3249"/>
                    <a:pt x="1073" y="3248"/>
                    <a:pt x="1066" y="3242"/>
                  </a:cubicBezTo>
                  <a:cubicBezTo>
                    <a:pt x="1052" y="3231"/>
                    <a:pt x="1037" y="3227"/>
                    <a:pt x="1020" y="3225"/>
                  </a:cubicBezTo>
                  <a:cubicBezTo>
                    <a:pt x="1015" y="3224"/>
                    <a:pt x="1010" y="3222"/>
                    <a:pt x="1006" y="3220"/>
                  </a:cubicBezTo>
                  <a:cubicBezTo>
                    <a:pt x="985" y="3203"/>
                    <a:pt x="959" y="3196"/>
                    <a:pt x="938" y="3179"/>
                  </a:cubicBezTo>
                  <a:cubicBezTo>
                    <a:pt x="915" y="3162"/>
                    <a:pt x="890" y="3146"/>
                    <a:pt x="869" y="3125"/>
                  </a:cubicBezTo>
                  <a:cubicBezTo>
                    <a:pt x="841" y="3097"/>
                    <a:pt x="815" y="3069"/>
                    <a:pt x="793" y="3035"/>
                  </a:cubicBezTo>
                  <a:cubicBezTo>
                    <a:pt x="768" y="2996"/>
                    <a:pt x="742" y="2959"/>
                    <a:pt x="730" y="2915"/>
                  </a:cubicBezTo>
                  <a:cubicBezTo>
                    <a:pt x="729" y="2911"/>
                    <a:pt x="728" y="2907"/>
                    <a:pt x="725" y="2904"/>
                  </a:cubicBezTo>
                  <a:cubicBezTo>
                    <a:pt x="714" y="2892"/>
                    <a:pt x="711" y="2878"/>
                    <a:pt x="709" y="2862"/>
                  </a:cubicBezTo>
                  <a:cubicBezTo>
                    <a:pt x="708" y="2855"/>
                    <a:pt x="704" y="2847"/>
                    <a:pt x="700" y="2841"/>
                  </a:cubicBezTo>
                  <a:cubicBezTo>
                    <a:pt x="691" y="2829"/>
                    <a:pt x="689" y="2816"/>
                    <a:pt x="689" y="2801"/>
                  </a:cubicBezTo>
                  <a:cubicBezTo>
                    <a:pt x="688" y="2783"/>
                    <a:pt x="687" y="2765"/>
                    <a:pt x="677" y="2749"/>
                  </a:cubicBezTo>
                  <a:cubicBezTo>
                    <a:pt x="667" y="2733"/>
                    <a:pt x="667" y="2716"/>
                    <a:pt x="666" y="2698"/>
                  </a:cubicBezTo>
                  <a:cubicBezTo>
                    <a:pt x="665" y="2670"/>
                    <a:pt x="667" y="2641"/>
                    <a:pt x="660" y="2614"/>
                  </a:cubicBezTo>
                  <a:cubicBezTo>
                    <a:pt x="653" y="2583"/>
                    <a:pt x="654" y="2553"/>
                    <a:pt x="654" y="2522"/>
                  </a:cubicBezTo>
                  <a:cubicBezTo>
                    <a:pt x="653" y="2494"/>
                    <a:pt x="653" y="2466"/>
                    <a:pt x="653" y="2438"/>
                  </a:cubicBezTo>
                  <a:cubicBezTo>
                    <a:pt x="654" y="2429"/>
                    <a:pt x="653" y="2419"/>
                    <a:pt x="656" y="2411"/>
                  </a:cubicBezTo>
                  <a:cubicBezTo>
                    <a:pt x="664" y="2388"/>
                    <a:pt x="664" y="2364"/>
                    <a:pt x="665" y="2339"/>
                  </a:cubicBezTo>
                  <a:cubicBezTo>
                    <a:pt x="667" y="2307"/>
                    <a:pt x="671" y="2277"/>
                    <a:pt x="681" y="2246"/>
                  </a:cubicBezTo>
                  <a:cubicBezTo>
                    <a:pt x="692" y="2214"/>
                    <a:pt x="699" y="2180"/>
                    <a:pt x="709" y="2147"/>
                  </a:cubicBezTo>
                  <a:cubicBezTo>
                    <a:pt x="718" y="2120"/>
                    <a:pt x="731" y="2096"/>
                    <a:pt x="743" y="2071"/>
                  </a:cubicBezTo>
                  <a:cubicBezTo>
                    <a:pt x="758" y="2041"/>
                    <a:pt x="778" y="2012"/>
                    <a:pt x="796" y="1983"/>
                  </a:cubicBezTo>
                  <a:cubicBezTo>
                    <a:pt x="825" y="1938"/>
                    <a:pt x="862" y="1902"/>
                    <a:pt x="901" y="1867"/>
                  </a:cubicBezTo>
                  <a:cubicBezTo>
                    <a:pt x="943" y="1829"/>
                    <a:pt x="1007" y="1796"/>
                    <a:pt x="1067" y="1771"/>
                  </a:cubicBezTo>
                  <a:cubicBezTo>
                    <a:pt x="1073" y="1769"/>
                    <a:pt x="1079" y="1765"/>
                    <a:pt x="1084" y="1761"/>
                  </a:cubicBezTo>
                  <a:cubicBezTo>
                    <a:pt x="1091" y="1756"/>
                    <a:pt x="1100" y="1752"/>
                    <a:pt x="1109" y="1752"/>
                  </a:cubicBezTo>
                  <a:cubicBezTo>
                    <a:pt x="1129" y="1752"/>
                    <a:pt x="1144" y="1739"/>
                    <a:pt x="1162" y="1733"/>
                  </a:cubicBezTo>
                  <a:cubicBezTo>
                    <a:pt x="1181" y="1727"/>
                    <a:pt x="1202" y="1728"/>
                    <a:pt x="1223" y="1725"/>
                  </a:cubicBezTo>
                  <a:cubicBezTo>
                    <a:pt x="1230" y="1724"/>
                    <a:pt x="1237" y="1720"/>
                    <a:pt x="1244" y="1717"/>
                  </a:cubicBezTo>
                  <a:cubicBezTo>
                    <a:pt x="1259" y="1710"/>
                    <a:pt x="1274" y="1708"/>
                    <a:pt x="1289" y="1708"/>
                  </a:cubicBezTo>
                  <a:cubicBezTo>
                    <a:pt x="1376" y="1707"/>
                    <a:pt x="1463" y="1701"/>
                    <a:pt x="1550" y="1704"/>
                  </a:cubicBezTo>
                  <a:cubicBezTo>
                    <a:pt x="1559" y="1704"/>
                    <a:pt x="1568" y="1704"/>
                    <a:pt x="1577" y="1704"/>
                  </a:cubicBezTo>
                  <a:cubicBezTo>
                    <a:pt x="1599" y="1702"/>
                    <a:pt x="1615" y="1689"/>
                    <a:pt x="1626" y="1672"/>
                  </a:cubicBezTo>
                  <a:cubicBezTo>
                    <a:pt x="1642" y="1645"/>
                    <a:pt x="1647" y="1615"/>
                    <a:pt x="1649" y="1584"/>
                  </a:cubicBezTo>
                  <a:cubicBezTo>
                    <a:pt x="1650" y="1554"/>
                    <a:pt x="1639" y="1529"/>
                    <a:pt x="1619" y="1508"/>
                  </a:cubicBezTo>
                  <a:cubicBezTo>
                    <a:pt x="1608" y="1495"/>
                    <a:pt x="1595" y="1481"/>
                    <a:pt x="1574" y="1484"/>
                  </a:cubicBezTo>
                  <a:cubicBezTo>
                    <a:pt x="1568" y="1484"/>
                    <a:pt x="1562" y="1481"/>
                    <a:pt x="1555" y="1479"/>
                  </a:cubicBezTo>
                  <a:cubicBezTo>
                    <a:pt x="1533" y="1475"/>
                    <a:pt x="1511" y="1468"/>
                    <a:pt x="1488" y="1467"/>
                  </a:cubicBezTo>
                  <a:cubicBezTo>
                    <a:pt x="1414" y="1463"/>
                    <a:pt x="1339" y="1465"/>
                    <a:pt x="1266" y="1477"/>
                  </a:cubicBezTo>
                  <a:cubicBezTo>
                    <a:pt x="1237" y="1482"/>
                    <a:pt x="1208" y="1484"/>
                    <a:pt x="1179" y="1485"/>
                  </a:cubicBezTo>
                  <a:cubicBezTo>
                    <a:pt x="1165" y="1485"/>
                    <a:pt x="1150" y="1484"/>
                    <a:pt x="1137" y="1491"/>
                  </a:cubicBezTo>
                  <a:cubicBezTo>
                    <a:pt x="1114" y="1502"/>
                    <a:pt x="1089" y="1504"/>
                    <a:pt x="1064" y="1508"/>
                  </a:cubicBezTo>
                  <a:cubicBezTo>
                    <a:pt x="1030" y="1514"/>
                    <a:pt x="999" y="1531"/>
                    <a:pt x="966" y="1537"/>
                  </a:cubicBezTo>
                  <a:cubicBezTo>
                    <a:pt x="944" y="1554"/>
                    <a:pt x="915" y="1553"/>
                    <a:pt x="894" y="1571"/>
                  </a:cubicBezTo>
                  <a:cubicBezTo>
                    <a:pt x="886" y="1577"/>
                    <a:pt x="873" y="1575"/>
                    <a:pt x="865" y="1580"/>
                  </a:cubicBezTo>
                  <a:cubicBezTo>
                    <a:pt x="839" y="1594"/>
                    <a:pt x="813" y="1608"/>
                    <a:pt x="789" y="1624"/>
                  </a:cubicBezTo>
                  <a:cubicBezTo>
                    <a:pt x="751" y="1651"/>
                    <a:pt x="711" y="1677"/>
                    <a:pt x="676" y="1709"/>
                  </a:cubicBezTo>
                  <a:cubicBezTo>
                    <a:pt x="619" y="1760"/>
                    <a:pt x="570" y="1818"/>
                    <a:pt x="530" y="1883"/>
                  </a:cubicBezTo>
                  <a:cubicBezTo>
                    <a:pt x="513" y="1910"/>
                    <a:pt x="495" y="1936"/>
                    <a:pt x="483" y="1966"/>
                  </a:cubicBezTo>
                  <a:cubicBezTo>
                    <a:pt x="477" y="1981"/>
                    <a:pt x="465" y="1993"/>
                    <a:pt x="464" y="2011"/>
                  </a:cubicBezTo>
                  <a:cubicBezTo>
                    <a:pt x="463" y="2015"/>
                    <a:pt x="460" y="2020"/>
                    <a:pt x="456" y="2024"/>
                  </a:cubicBezTo>
                  <a:cubicBezTo>
                    <a:pt x="447" y="2034"/>
                    <a:pt x="444" y="2046"/>
                    <a:pt x="443" y="2059"/>
                  </a:cubicBezTo>
                  <a:cubicBezTo>
                    <a:pt x="441" y="2069"/>
                    <a:pt x="438" y="2079"/>
                    <a:pt x="432" y="2087"/>
                  </a:cubicBezTo>
                  <a:cubicBezTo>
                    <a:pt x="428" y="2093"/>
                    <a:pt x="424" y="2101"/>
                    <a:pt x="424" y="2108"/>
                  </a:cubicBezTo>
                  <a:cubicBezTo>
                    <a:pt x="421" y="2134"/>
                    <a:pt x="417" y="2159"/>
                    <a:pt x="404" y="2181"/>
                  </a:cubicBezTo>
                  <a:cubicBezTo>
                    <a:pt x="400" y="2227"/>
                    <a:pt x="389" y="2272"/>
                    <a:pt x="380" y="2317"/>
                  </a:cubicBezTo>
                  <a:cubicBezTo>
                    <a:pt x="378" y="2325"/>
                    <a:pt x="378" y="2334"/>
                    <a:pt x="378" y="2343"/>
                  </a:cubicBezTo>
                  <a:cubicBezTo>
                    <a:pt x="374" y="2452"/>
                    <a:pt x="375" y="2561"/>
                    <a:pt x="378" y="2669"/>
                  </a:cubicBezTo>
                  <a:cubicBezTo>
                    <a:pt x="379" y="2695"/>
                    <a:pt x="381" y="2720"/>
                    <a:pt x="391" y="2745"/>
                  </a:cubicBezTo>
                  <a:cubicBezTo>
                    <a:pt x="396" y="2757"/>
                    <a:pt x="398" y="2769"/>
                    <a:pt x="398" y="2782"/>
                  </a:cubicBezTo>
                  <a:cubicBezTo>
                    <a:pt x="399" y="2806"/>
                    <a:pt x="400" y="2831"/>
                    <a:pt x="414" y="2852"/>
                  </a:cubicBezTo>
                  <a:cubicBezTo>
                    <a:pt x="417" y="2858"/>
                    <a:pt x="418" y="2864"/>
                    <a:pt x="419" y="2871"/>
                  </a:cubicBezTo>
                  <a:cubicBezTo>
                    <a:pt x="421" y="2895"/>
                    <a:pt x="424" y="2919"/>
                    <a:pt x="440" y="2939"/>
                  </a:cubicBezTo>
                  <a:cubicBezTo>
                    <a:pt x="443" y="2944"/>
                    <a:pt x="442" y="2952"/>
                    <a:pt x="443" y="2958"/>
                  </a:cubicBezTo>
                  <a:cubicBezTo>
                    <a:pt x="444" y="2963"/>
                    <a:pt x="444" y="2969"/>
                    <a:pt x="447" y="2972"/>
                  </a:cubicBezTo>
                  <a:cubicBezTo>
                    <a:pt x="466" y="2994"/>
                    <a:pt x="465" y="3026"/>
                    <a:pt x="484" y="3047"/>
                  </a:cubicBezTo>
                  <a:cubicBezTo>
                    <a:pt x="497" y="3088"/>
                    <a:pt x="525" y="3120"/>
                    <a:pt x="547" y="3155"/>
                  </a:cubicBezTo>
                  <a:cubicBezTo>
                    <a:pt x="576" y="3204"/>
                    <a:pt x="617" y="3243"/>
                    <a:pt x="658" y="3281"/>
                  </a:cubicBezTo>
                  <a:cubicBezTo>
                    <a:pt x="684" y="3304"/>
                    <a:pt x="708" y="3329"/>
                    <a:pt x="738" y="3346"/>
                  </a:cubicBezTo>
                  <a:cubicBezTo>
                    <a:pt x="763" y="3359"/>
                    <a:pt x="785" y="3375"/>
                    <a:pt x="810" y="3387"/>
                  </a:cubicBezTo>
                  <a:cubicBezTo>
                    <a:pt x="841" y="3402"/>
                    <a:pt x="871" y="3417"/>
                    <a:pt x="903" y="3429"/>
                  </a:cubicBezTo>
                  <a:cubicBezTo>
                    <a:pt x="927" y="3438"/>
                    <a:pt x="949" y="3449"/>
                    <a:pt x="975" y="3451"/>
                  </a:cubicBezTo>
                  <a:cubicBezTo>
                    <a:pt x="980" y="3451"/>
                    <a:pt x="986" y="3453"/>
                    <a:pt x="989" y="3456"/>
                  </a:cubicBezTo>
                  <a:cubicBezTo>
                    <a:pt x="1007" y="3470"/>
                    <a:pt x="1027" y="3470"/>
                    <a:pt x="1048" y="3470"/>
                  </a:cubicBezTo>
                  <a:cubicBezTo>
                    <a:pt x="1066" y="3471"/>
                    <a:pt x="1083" y="3473"/>
                    <a:pt x="1100" y="3478"/>
                  </a:cubicBezTo>
                  <a:cubicBezTo>
                    <a:pt x="1119" y="3484"/>
                    <a:pt x="1139" y="3491"/>
                    <a:pt x="1160" y="3491"/>
                  </a:cubicBezTo>
                  <a:cubicBezTo>
                    <a:pt x="1231" y="3491"/>
                    <a:pt x="1303" y="3491"/>
                    <a:pt x="1375" y="3490"/>
                  </a:cubicBezTo>
                  <a:cubicBezTo>
                    <a:pt x="1383" y="3490"/>
                    <a:pt x="1392" y="3487"/>
                    <a:pt x="1401" y="3486"/>
                  </a:cubicBezTo>
                  <a:cubicBezTo>
                    <a:pt x="1428" y="3484"/>
                    <a:pt x="1452" y="3470"/>
                    <a:pt x="1479" y="3471"/>
                  </a:cubicBezTo>
                  <a:cubicBezTo>
                    <a:pt x="1507" y="3471"/>
                    <a:pt x="1536" y="3471"/>
                    <a:pt x="1560" y="3453"/>
                  </a:cubicBezTo>
                  <a:cubicBezTo>
                    <a:pt x="1563" y="3450"/>
                    <a:pt x="1567" y="3449"/>
                    <a:pt x="1571" y="3449"/>
                  </a:cubicBezTo>
                  <a:cubicBezTo>
                    <a:pt x="1588" y="3448"/>
                    <a:pt x="1601" y="3438"/>
                    <a:pt x="1616" y="3432"/>
                  </a:cubicBezTo>
                  <a:cubicBezTo>
                    <a:pt x="1648" y="3419"/>
                    <a:pt x="1674" y="3399"/>
                    <a:pt x="1696" y="3374"/>
                  </a:cubicBezTo>
                  <a:cubicBezTo>
                    <a:pt x="1721" y="3347"/>
                    <a:pt x="1740" y="3315"/>
                    <a:pt x="1737" y="3275"/>
                  </a:cubicBezTo>
                  <a:cubicBezTo>
                    <a:pt x="1736" y="3266"/>
                    <a:pt x="1737" y="3257"/>
                    <a:pt x="1737" y="3248"/>
                  </a:cubicBezTo>
                  <a:cubicBezTo>
                    <a:pt x="1737" y="3139"/>
                    <a:pt x="1737" y="3031"/>
                    <a:pt x="1737" y="2922"/>
                  </a:cubicBezTo>
                  <a:close/>
                  <a:moveTo>
                    <a:pt x="4409" y="3491"/>
                  </a:moveTo>
                  <a:cubicBezTo>
                    <a:pt x="4420" y="3491"/>
                    <a:pt x="4431" y="3489"/>
                    <a:pt x="4441" y="3483"/>
                  </a:cubicBezTo>
                  <a:cubicBezTo>
                    <a:pt x="4451" y="3477"/>
                    <a:pt x="4462" y="3473"/>
                    <a:pt x="4473" y="3471"/>
                  </a:cubicBezTo>
                  <a:cubicBezTo>
                    <a:pt x="4510" y="3464"/>
                    <a:pt x="4538" y="3443"/>
                    <a:pt x="4560" y="3414"/>
                  </a:cubicBezTo>
                  <a:cubicBezTo>
                    <a:pt x="4571" y="3399"/>
                    <a:pt x="4573" y="3383"/>
                    <a:pt x="4562" y="3368"/>
                  </a:cubicBezTo>
                  <a:cubicBezTo>
                    <a:pt x="4551" y="3353"/>
                    <a:pt x="4543" y="3338"/>
                    <a:pt x="4531" y="3324"/>
                  </a:cubicBezTo>
                  <a:cubicBezTo>
                    <a:pt x="4471" y="3256"/>
                    <a:pt x="4411" y="3188"/>
                    <a:pt x="4349" y="3123"/>
                  </a:cubicBezTo>
                  <a:cubicBezTo>
                    <a:pt x="4307" y="3078"/>
                    <a:pt x="4268" y="3031"/>
                    <a:pt x="4227" y="2986"/>
                  </a:cubicBezTo>
                  <a:cubicBezTo>
                    <a:pt x="4176" y="2930"/>
                    <a:pt x="4125" y="2875"/>
                    <a:pt x="4074" y="2820"/>
                  </a:cubicBezTo>
                  <a:cubicBezTo>
                    <a:pt x="4071" y="2816"/>
                    <a:pt x="4067" y="2813"/>
                    <a:pt x="4064" y="2809"/>
                  </a:cubicBezTo>
                  <a:cubicBezTo>
                    <a:pt x="4038" y="2773"/>
                    <a:pt x="4008" y="2743"/>
                    <a:pt x="3978" y="2711"/>
                  </a:cubicBezTo>
                  <a:cubicBezTo>
                    <a:pt x="3952" y="2685"/>
                    <a:pt x="3927" y="2658"/>
                    <a:pt x="3903" y="2630"/>
                  </a:cubicBezTo>
                  <a:cubicBezTo>
                    <a:pt x="3876" y="2600"/>
                    <a:pt x="3849" y="2568"/>
                    <a:pt x="3822" y="2538"/>
                  </a:cubicBezTo>
                  <a:cubicBezTo>
                    <a:pt x="3807" y="2521"/>
                    <a:pt x="3791" y="2504"/>
                    <a:pt x="3776" y="2487"/>
                  </a:cubicBezTo>
                  <a:cubicBezTo>
                    <a:pt x="3768" y="2478"/>
                    <a:pt x="3767" y="2468"/>
                    <a:pt x="3774" y="2459"/>
                  </a:cubicBezTo>
                  <a:cubicBezTo>
                    <a:pt x="3783" y="2446"/>
                    <a:pt x="3793" y="2435"/>
                    <a:pt x="3803" y="2423"/>
                  </a:cubicBezTo>
                  <a:cubicBezTo>
                    <a:pt x="3843" y="2379"/>
                    <a:pt x="3885" y="2336"/>
                    <a:pt x="3924" y="2291"/>
                  </a:cubicBezTo>
                  <a:cubicBezTo>
                    <a:pt x="3972" y="2235"/>
                    <a:pt x="4023" y="2181"/>
                    <a:pt x="4073" y="2127"/>
                  </a:cubicBezTo>
                  <a:cubicBezTo>
                    <a:pt x="4097" y="2102"/>
                    <a:pt x="4123" y="2079"/>
                    <a:pt x="4143" y="2051"/>
                  </a:cubicBezTo>
                  <a:cubicBezTo>
                    <a:pt x="4168" y="2015"/>
                    <a:pt x="4201" y="1987"/>
                    <a:pt x="4229" y="1954"/>
                  </a:cubicBezTo>
                  <a:cubicBezTo>
                    <a:pt x="4253" y="1924"/>
                    <a:pt x="4280" y="1897"/>
                    <a:pt x="4306" y="1869"/>
                  </a:cubicBezTo>
                  <a:cubicBezTo>
                    <a:pt x="4348" y="1826"/>
                    <a:pt x="4386" y="1780"/>
                    <a:pt x="4425" y="1735"/>
                  </a:cubicBezTo>
                  <a:cubicBezTo>
                    <a:pt x="4453" y="1702"/>
                    <a:pt x="4483" y="1670"/>
                    <a:pt x="4514" y="1640"/>
                  </a:cubicBezTo>
                  <a:cubicBezTo>
                    <a:pt x="4536" y="1619"/>
                    <a:pt x="4549" y="1593"/>
                    <a:pt x="4565" y="1569"/>
                  </a:cubicBezTo>
                  <a:cubicBezTo>
                    <a:pt x="4573" y="1558"/>
                    <a:pt x="4573" y="1544"/>
                    <a:pt x="4563" y="1533"/>
                  </a:cubicBezTo>
                  <a:cubicBezTo>
                    <a:pt x="4554" y="1524"/>
                    <a:pt x="4549" y="1513"/>
                    <a:pt x="4538" y="1505"/>
                  </a:cubicBezTo>
                  <a:cubicBezTo>
                    <a:pt x="4502" y="1479"/>
                    <a:pt x="4465" y="1456"/>
                    <a:pt x="4420" y="1461"/>
                  </a:cubicBezTo>
                  <a:cubicBezTo>
                    <a:pt x="4408" y="1463"/>
                    <a:pt x="4397" y="1462"/>
                    <a:pt x="4385" y="1462"/>
                  </a:cubicBezTo>
                  <a:cubicBezTo>
                    <a:pt x="4368" y="1460"/>
                    <a:pt x="4353" y="1465"/>
                    <a:pt x="4340" y="1478"/>
                  </a:cubicBezTo>
                  <a:cubicBezTo>
                    <a:pt x="4329" y="1490"/>
                    <a:pt x="4315" y="1500"/>
                    <a:pt x="4303" y="1511"/>
                  </a:cubicBezTo>
                  <a:cubicBezTo>
                    <a:pt x="4269" y="1542"/>
                    <a:pt x="4240" y="1578"/>
                    <a:pt x="4209" y="1612"/>
                  </a:cubicBezTo>
                  <a:cubicBezTo>
                    <a:pt x="4186" y="1637"/>
                    <a:pt x="4163" y="1663"/>
                    <a:pt x="4139" y="1688"/>
                  </a:cubicBezTo>
                  <a:cubicBezTo>
                    <a:pt x="4115" y="1714"/>
                    <a:pt x="4091" y="1741"/>
                    <a:pt x="4068" y="1768"/>
                  </a:cubicBezTo>
                  <a:cubicBezTo>
                    <a:pt x="4045" y="1797"/>
                    <a:pt x="4019" y="1823"/>
                    <a:pt x="3994" y="1850"/>
                  </a:cubicBezTo>
                  <a:cubicBezTo>
                    <a:pt x="3976" y="1869"/>
                    <a:pt x="3959" y="1888"/>
                    <a:pt x="3943" y="1907"/>
                  </a:cubicBezTo>
                  <a:cubicBezTo>
                    <a:pt x="3917" y="1935"/>
                    <a:pt x="3890" y="1963"/>
                    <a:pt x="3866" y="1992"/>
                  </a:cubicBezTo>
                  <a:cubicBezTo>
                    <a:pt x="3837" y="2028"/>
                    <a:pt x="3804" y="2059"/>
                    <a:pt x="3773" y="2094"/>
                  </a:cubicBezTo>
                  <a:cubicBezTo>
                    <a:pt x="3738" y="2134"/>
                    <a:pt x="3701" y="2173"/>
                    <a:pt x="3667" y="2214"/>
                  </a:cubicBezTo>
                  <a:cubicBezTo>
                    <a:pt x="3626" y="2263"/>
                    <a:pt x="3580" y="2308"/>
                    <a:pt x="3537" y="2355"/>
                  </a:cubicBezTo>
                  <a:cubicBezTo>
                    <a:pt x="3520" y="2373"/>
                    <a:pt x="3502" y="2392"/>
                    <a:pt x="3489" y="2413"/>
                  </a:cubicBezTo>
                  <a:cubicBezTo>
                    <a:pt x="3474" y="2438"/>
                    <a:pt x="3464" y="2465"/>
                    <a:pt x="3474" y="2497"/>
                  </a:cubicBezTo>
                  <a:cubicBezTo>
                    <a:pt x="3482" y="2522"/>
                    <a:pt x="3496" y="2539"/>
                    <a:pt x="3512" y="2557"/>
                  </a:cubicBezTo>
                  <a:cubicBezTo>
                    <a:pt x="3536" y="2584"/>
                    <a:pt x="3562" y="2609"/>
                    <a:pt x="3584" y="2637"/>
                  </a:cubicBezTo>
                  <a:cubicBezTo>
                    <a:pt x="3631" y="2695"/>
                    <a:pt x="3684" y="2749"/>
                    <a:pt x="3735" y="2804"/>
                  </a:cubicBezTo>
                  <a:cubicBezTo>
                    <a:pt x="3760" y="2831"/>
                    <a:pt x="3785" y="2859"/>
                    <a:pt x="3809" y="2887"/>
                  </a:cubicBezTo>
                  <a:cubicBezTo>
                    <a:pt x="3828" y="2909"/>
                    <a:pt x="3845" y="2933"/>
                    <a:pt x="3866" y="2953"/>
                  </a:cubicBezTo>
                  <a:cubicBezTo>
                    <a:pt x="3915" y="3001"/>
                    <a:pt x="3958" y="3053"/>
                    <a:pt x="4003" y="3103"/>
                  </a:cubicBezTo>
                  <a:cubicBezTo>
                    <a:pt x="4042" y="3147"/>
                    <a:pt x="4081" y="3190"/>
                    <a:pt x="4121" y="3233"/>
                  </a:cubicBezTo>
                  <a:cubicBezTo>
                    <a:pt x="4169" y="3284"/>
                    <a:pt x="4214" y="3338"/>
                    <a:pt x="4261" y="3390"/>
                  </a:cubicBezTo>
                  <a:cubicBezTo>
                    <a:pt x="4294" y="3427"/>
                    <a:pt x="4326" y="3465"/>
                    <a:pt x="4375" y="3483"/>
                  </a:cubicBezTo>
                  <a:cubicBezTo>
                    <a:pt x="4386" y="3487"/>
                    <a:pt x="4397" y="3491"/>
                    <a:pt x="4409" y="3491"/>
                  </a:cubicBezTo>
                  <a:close/>
                  <a:moveTo>
                    <a:pt x="1994" y="2735"/>
                  </a:moveTo>
                  <a:cubicBezTo>
                    <a:pt x="1994" y="2735"/>
                    <a:pt x="1994" y="2735"/>
                    <a:pt x="1994" y="2735"/>
                  </a:cubicBezTo>
                  <a:cubicBezTo>
                    <a:pt x="1994" y="2944"/>
                    <a:pt x="1994" y="3152"/>
                    <a:pt x="1994" y="3361"/>
                  </a:cubicBezTo>
                  <a:cubicBezTo>
                    <a:pt x="1994" y="3374"/>
                    <a:pt x="1994" y="3386"/>
                    <a:pt x="1995" y="3399"/>
                  </a:cubicBezTo>
                  <a:cubicBezTo>
                    <a:pt x="1996" y="3416"/>
                    <a:pt x="2000" y="3434"/>
                    <a:pt x="2014" y="3444"/>
                  </a:cubicBezTo>
                  <a:cubicBezTo>
                    <a:pt x="2033" y="3457"/>
                    <a:pt x="2054" y="3471"/>
                    <a:pt x="2080" y="3470"/>
                  </a:cubicBezTo>
                  <a:cubicBezTo>
                    <a:pt x="2103" y="3470"/>
                    <a:pt x="2126" y="3469"/>
                    <a:pt x="2149" y="3471"/>
                  </a:cubicBezTo>
                  <a:cubicBezTo>
                    <a:pt x="2180" y="3473"/>
                    <a:pt x="2207" y="3464"/>
                    <a:pt x="2232" y="3448"/>
                  </a:cubicBezTo>
                  <a:cubicBezTo>
                    <a:pt x="2243" y="3441"/>
                    <a:pt x="2250" y="3433"/>
                    <a:pt x="2250" y="3421"/>
                  </a:cubicBezTo>
                  <a:cubicBezTo>
                    <a:pt x="2251" y="3408"/>
                    <a:pt x="2251" y="3395"/>
                    <a:pt x="2251" y="3382"/>
                  </a:cubicBezTo>
                  <a:cubicBezTo>
                    <a:pt x="2251" y="2979"/>
                    <a:pt x="2251" y="2576"/>
                    <a:pt x="2251" y="2173"/>
                  </a:cubicBezTo>
                  <a:cubicBezTo>
                    <a:pt x="2251" y="2159"/>
                    <a:pt x="2249" y="2145"/>
                    <a:pt x="2254" y="2131"/>
                  </a:cubicBezTo>
                  <a:cubicBezTo>
                    <a:pt x="2262" y="2112"/>
                    <a:pt x="2264" y="2092"/>
                    <a:pt x="2263" y="2071"/>
                  </a:cubicBezTo>
                  <a:cubicBezTo>
                    <a:pt x="2262" y="2065"/>
                    <a:pt x="2262" y="2058"/>
                    <a:pt x="2264" y="2052"/>
                  </a:cubicBezTo>
                  <a:cubicBezTo>
                    <a:pt x="2273" y="2031"/>
                    <a:pt x="2272" y="2009"/>
                    <a:pt x="2273" y="1988"/>
                  </a:cubicBezTo>
                  <a:cubicBezTo>
                    <a:pt x="2274" y="1978"/>
                    <a:pt x="2273" y="1966"/>
                    <a:pt x="2278" y="1958"/>
                  </a:cubicBezTo>
                  <a:cubicBezTo>
                    <a:pt x="2296" y="1931"/>
                    <a:pt x="2294" y="1896"/>
                    <a:pt x="2317" y="1872"/>
                  </a:cubicBezTo>
                  <a:cubicBezTo>
                    <a:pt x="2344" y="1815"/>
                    <a:pt x="2392" y="1780"/>
                    <a:pt x="2445" y="1752"/>
                  </a:cubicBezTo>
                  <a:cubicBezTo>
                    <a:pt x="2472" y="1737"/>
                    <a:pt x="2501" y="1727"/>
                    <a:pt x="2532" y="1725"/>
                  </a:cubicBezTo>
                  <a:cubicBezTo>
                    <a:pt x="2540" y="1724"/>
                    <a:pt x="2549" y="1719"/>
                    <a:pt x="2557" y="1715"/>
                  </a:cubicBezTo>
                  <a:cubicBezTo>
                    <a:pt x="2566" y="1710"/>
                    <a:pt x="2576" y="1708"/>
                    <a:pt x="2586" y="1708"/>
                  </a:cubicBezTo>
                  <a:cubicBezTo>
                    <a:pt x="2646" y="1707"/>
                    <a:pt x="2706" y="1705"/>
                    <a:pt x="2766" y="1704"/>
                  </a:cubicBezTo>
                  <a:cubicBezTo>
                    <a:pt x="2778" y="1704"/>
                    <a:pt x="2789" y="1704"/>
                    <a:pt x="2801" y="1704"/>
                  </a:cubicBezTo>
                  <a:cubicBezTo>
                    <a:pt x="2811" y="1703"/>
                    <a:pt x="2821" y="1701"/>
                    <a:pt x="2830" y="1695"/>
                  </a:cubicBezTo>
                  <a:cubicBezTo>
                    <a:pt x="2856" y="1678"/>
                    <a:pt x="2870" y="1653"/>
                    <a:pt x="2874" y="1623"/>
                  </a:cubicBezTo>
                  <a:cubicBezTo>
                    <a:pt x="2876" y="1608"/>
                    <a:pt x="2873" y="1592"/>
                    <a:pt x="2875" y="1577"/>
                  </a:cubicBezTo>
                  <a:cubicBezTo>
                    <a:pt x="2879" y="1544"/>
                    <a:pt x="2864" y="1521"/>
                    <a:pt x="2841" y="1500"/>
                  </a:cubicBezTo>
                  <a:cubicBezTo>
                    <a:pt x="2831" y="1491"/>
                    <a:pt x="2821" y="1486"/>
                    <a:pt x="2808" y="1484"/>
                  </a:cubicBezTo>
                  <a:cubicBezTo>
                    <a:pt x="2773" y="1480"/>
                    <a:pt x="2740" y="1473"/>
                    <a:pt x="2706" y="1468"/>
                  </a:cubicBezTo>
                  <a:cubicBezTo>
                    <a:pt x="2689" y="1466"/>
                    <a:pt x="2672" y="1463"/>
                    <a:pt x="2656" y="1468"/>
                  </a:cubicBezTo>
                  <a:cubicBezTo>
                    <a:pt x="2638" y="1475"/>
                    <a:pt x="2619" y="1475"/>
                    <a:pt x="2600" y="1475"/>
                  </a:cubicBezTo>
                  <a:cubicBezTo>
                    <a:pt x="2591" y="1475"/>
                    <a:pt x="2581" y="1473"/>
                    <a:pt x="2573" y="1476"/>
                  </a:cubicBezTo>
                  <a:cubicBezTo>
                    <a:pt x="2549" y="1485"/>
                    <a:pt x="2525" y="1484"/>
                    <a:pt x="2501" y="1484"/>
                  </a:cubicBezTo>
                  <a:cubicBezTo>
                    <a:pt x="2483" y="1485"/>
                    <a:pt x="2464" y="1484"/>
                    <a:pt x="2448" y="1493"/>
                  </a:cubicBezTo>
                  <a:cubicBezTo>
                    <a:pt x="2431" y="1503"/>
                    <a:pt x="2413" y="1508"/>
                    <a:pt x="2394" y="1508"/>
                  </a:cubicBezTo>
                  <a:cubicBezTo>
                    <a:pt x="2374" y="1508"/>
                    <a:pt x="2361" y="1529"/>
                    <a:pt x="2341" y="1529"/>
                  </a:cubicBezTo>
                  <a:cubicBezTo>
                    <a:pt x="2340" y="1529"/>
                    <a:pt x="2339" y="1529"/>
                    <a:pt x="2337" y="1529"/>
                  </a:cubicBezTo>
                  <a:cubicBezTo>
                    <a:pt x="2329" y="1530"/>
                    <a:pt x="2323" y="1533"/>
                    <a:pt x="2317" y="1539"/>
                  </a:cubicBezTo>
                  <a:cubicBezTo>
                    <a:pt x="2311" y="1544"/>
                    <a:pt x="2305" y="1549"/>
                    <a:pt x="2297" y="1550"/>
                  </a:cubicBezTo>
                  <a:cubicBezTo>
                    <a:pt x="2273" y="1555"/>
                    <a:pt x="2254" y="1571"/>
                    <a:pt x="2234" y="1585"/>
                  </a:cubicBezTo>
                  <a:cubicBezTo>
                    <a:pt x="2197" y="1611"/>
                    <a:pt x="2162" y="1640"/>
                    <a:pt x="2134" y="1678"/>
                  </a:cubicBezTo>
                  <a:cubicBezTo>
                    <a:pt x="2118" y="1699"/>
                    <a:pt x="2101" y="1718"/>
                    <a:pt x="2088" y="1742"/>
                  </a:cubicBezTo>
                  <a:cubicBezTo>
                    <a:pt x="2071" y="1771"/>
                    <a:pt x="2052" y="1797"/>
                    <a:pt x="2047" y="1831"/>
                  </a:cubicBezTo>
                  <a:cubicBezTo>
                    <a:pt x="2047" y="1834"/>
                    <a:pt x="2045" y="1837"/>
                    <a:pt x="2044" y="1838"/>
                  </a:cubicBezTo>
                  <a:cubicBezTo>
                    <a:pt x="2030" y="1852"/>
                    <a:pt x="2029" y="1870"/>
                    <a:pt x="2026" y="1888"/>
                  </a:cubicBezTo>
                  <a:cubicBezTo>
                    <a:pt x="2025" y="1895"/>
                    <a:pt x="2025" y="1904"/>
                    <a:pt x="2021" y="1910"/>
                  </a:cubicBezTo>
                  <a:cubicBezTo>
                    <a:pt x="2005" y="1935"/>
                    <a:pt x="2007" y="1964"/>
                    <a:pt x="2006" y="1992"/>
                  </a:cubicBezTo>
                  <a:cubicBezTo>
                    <a:pt x="2005" y="2008"/>
                    <a:pt x="2008" y="2026"/>
                    <a:pt x="2002" y="2041"/>
                  </a:cubicBezTo>
                  <a:cubicBezTo>
                    <a:pt x="1993" y="2065"/>
                    <a:pt x="1994" y="2089"/>
                    <a:pt x="1994" y="2113"/>
                  </a:cubicBezTo>
                  <a:cubicBezTo>
                    <a:pt x="1994" y="2321"/>
                    <a:pt x="1994" y="2528"/>
                    <a:pt x="1994" y="2735"/>
                  </a:cubicBezTo>
                  <a:close/>
                  <a:moveTo>
                    <a:pt x="3365" y="2472"/>
                  </a:moveTo>
                  <a:cubicBezTo>
                    <a:pt x="3365" y="2170"/>
                    <a:pt x="3365" y="1868"/>
                    <a:pt x="3365" y="1566"/>
                  </a:cubicBezTo>
                  <a:cubicBezTo>
                    <a:pt x="3365" y="1557"/>
                    <a:pt x="3366" y="1548"/>
                    <a:pt x="3365" y="1539"/>
                  </a:cubicBezTo>
                  <a:cubicBezTo>
                    <a:pt x="3364" y="1510"/>
                    <a:pt x="3346" y="1489"/>
                    <a:pt x="3317" y="1485"/>
                  </a:cubicBezTo>
                  <a:cubicBezTo>
                    <a:pt x="3295" y="1481"/>
                    <a:pt x="3271" y="1481"/>
                    <a:pt x="3249" y="1473"/>
                  </a:cubicBezTo>
                  <a:cubicBezTo>
                    <a:pt x="3245" y="1471"/>
                    <a:pt x="3239" y="1471"/>
                    <a:pt x="3234" y="1473"/>
                  </a:cubicBezTo>
                  <a:cubicBezTo>
                    <a:pt x="3212" y="1480"/>
                    <a:pt x="3189" y="1481"/>
                    <a:pt x="3166" y="1484"/>
                  </a:cubicBezTo>
                  <a:cubicBezTo>
                    <a:pt x="3142" y="1486"/>
                    <a:pt x="3128" y="1500"/>
                    <a:pt x="3117" y="1522"/>
                  </a:cubicBezTo>
                  <a:cubicBezTo>
                    <a:pt x="3107" y="1544"/>
                    <a:pt x="3105" y="1568"/>
                    <a:pt x="3105" y="1593"/>
                  </a:cubicBezTo>
                  <a:cubicBezTo>
                    <a:pt x="3106" y="2171"/>
                    <a:pt x="3106" y="2749"/>
                    <a:pt x="3105" y="3328"/>
                  </a:cubicBezTo>
                  <a:cubicBezTo>
                    <a:pt x="3105" y="3344"/>
                    <a:pt x="3106" y="3361"/>
                    <a:pt x="3105" y="3378"/>
                  </a:cubicBezTo>
                  <a:cubicBezTo>
                    <a:pt x="3103" y="3401"/>
                    <a:pt x="3118" y="3419"/>
                    <a:pt x="3126" y="3439"/>
                  </a:cubicBezTo>
                  <a:cubicBezTo>
                    <a:pt x="3127" y="3443"/>
                    <a:pt x="3133" y="3446"/>
                    <a:pt x="3137" y="3448"/>
                  </a:cubicBezTo>
                  <a:cubicBezTo>
                    <a:pt x="3164" y="3461"/>
                    <a:pt x="3191" y="3472"/>
                    <a:pt x="3222" y="3469"/>
                  </a:cubicBezTo>
                  <a:cubicBezTo>
                    <a:pt x="3239" y="3468"/>
                    <a:pt x="3258" y="3469"/>
                    <a:pt x="3275" y="3469"/>
                  </a:cubicBezTo>
                  <a:cubicBezTo>
                    <a:pt x="3291" y="3469"/>
                    <a:pt x="3305" y="3463"/>
                    <a:pt x="3319" y="3458"/>
                  </a:cubicBezTo>
                  <a:cubicBezTo>
                    <a:pt x="3357" y="3445"/>
                    <a:pt x="3366" y="3420"/>
                    <a:pt x="3366" y="3382"/>
                  </a:cubicBezTo>
                  <a:cubicBezTo>
                    <a:pt x="3365" y="3079"/>
                    <a:pt x="3365" y="2775"/>
                    <a:pt x="3365" y="2472"/>
                  </a:cubicBezTo>
                  <a:close/>
                  <a:moveTo>
                    <a:pt x="2340" y="2479"/>
                  </a:moveTo>
                  <a:cubicBezTo>
                    <a:pt x="2339" y="2534"/>
                    <a:pt x="2339" y="2534"/>
                    <a:pt x="2364" y="2568"/>
                  </a:cubicBezTo>
                  <a:cubicBezTo>
                    <a:pt x="2383" y="2595"/>
                    <a:pt x="2410" y="2615"/>
                    <a:pt x="2441" y="2620"/>
                  </a:cubicBezTo>
                  <a:cubicBezTo>
                    <a:pt x="2476" y="2626"/>
                    <a:pt x="2512" y="2629"/>
                    <a:pt x="2547" y="2605"/>
                  </a:cubicBezTo>
                  <a:cubicBezTo>
                    <a:pt x="2579" y="2582"/>
                    <a:pt x="2603" y="2558"/>
                    <a:pt x="2611" y="2520"/>
                  </a:cubicBezTo>
                  <a:cubicBezTo>
                    <a:pt x="2612" y="2517"/>
                    <a:pt x="2614" y="2513"/>
                    <a:pt x="2615" y="2510"/>
                  </a:cubicBezTo>
                  <a:cubicBezTo>
                    <a:pt x="2625" y="2490"/>
                    <a:pt x="2624" y="2470"/>
                    <a:pt x="2617" y="2450"/>
                  </a:cubicBezTo>
                  <a:cubicBezTo>
                    <a:pt x="2613" y="2441"/>
                    <a:pt x="2611" y="2430"/>
                    <a:pt x="2608" y="2421"/>
                  </a:cubicBezTo>
                  <a:cubicBezTo>
                    <a:pt x="2606" y="2415"/>
                    <a:pt x="2604" y="2408"/>
                    <a:pt x="2601" y="2404"/>
                  </a:cubicBezTo>
                  <a:cubicBezTo>
                    <a:pt x="2565" y="2360"/>
                    <a:pt x="2524" y="2331"/>
                    <a:pt x="2464" y="2335"/>
                  </a:cubicBezTo>
                  <a:cubicBezTo>
                    <a:pt x="2443" y="2336"/>
                    <a:pt x="2428" y="2346"/>
                    <a:pt x="2411" y="2353"/>
                  </a:cubicBezTo>
                  <a:cubicBezTo>
                    <a:pt x="2368" y="2372"/>
                    <a:pt x="2340" y="2414"/>
                    <a:pt x="2340" y="2460"/>
                  </a:cubicBezTo>
                  <a:cubicBezTo>
                    <a:pt x="2340" y="2467"/>
                    <a:pt x="2340" y="2473"/>
                    <a:pt x="2340" y="2479"/>
                  </a:cubicBezTo>
                  <a:close/>
                </a:path>
              </a:pathLst>
            </a:custGeom>
            <a:solidFill>
              <a:srgbClr val="E55A0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p>
          </p:txBody>
        </p:sp>
      </p:grpSp>
      <p:sp>
        <p:nvSpPr>
          <p:cNvPr id="93" name="Rechteck 92">
            <a:extLst>
              <a:ext uri="{FF2B5EF4-FFF2-40B4-BE49-F238E27FC236}">
                <a16:creationId xmlns:a16="http://schemas.microsoft.com/office/drawing/2014/main" id="{B0ADCEE4-40B0-41DD-A176-AA9B50CF6B69}"/>
              </a:ext>
            </a:extLst>
          </p:cNvPr>
          <p:cNvSpPr/>
          <p:nvPr userDrawn="1"/>
        </p:nvSpPr>
        <p:spPr bwMode="gray">
          <a:xfrm>
            <a:off x="9020317" y="6525360"/>
            <a:ext cx="288428" cy="144000"/>
          </a:xfrm>
          <a:prstGeom prst="rect">
            <a:avLst/>
          </a:prstGeom>
        </p:spPr>
        <p:txBody>
          <a:bodyPr vert="horz" lIns="0" tIns="0" rIns="0" bIns="0" rtlCol="0" anchor="ctr"/>
          <a:lstStyle/>
          <a:p>
            <a:pPr lvl="0"/>
            <a:r>
              <a:rPr lang="en-US" sz="800" noProof="0" dirty="0">
                <a:solidFill>
                  <a:schemeClr val="bg2"/>
                </a:solidFill>
              </a:rPr>
              <a:t>© GfK</a:t>
            </a:r>
            <a:endParaRPr lang="en-US" sz="800" dirty="0">
              <a:solidFill>
                <a:schemeClr val="bg2"/>
              </a:solidFill>
            </a:endParaRPr>
          </a:p>
        </p:txBody>
      </p:sp>
      <p:pic>
        <p:nvPicPr>
          <p:cNvPr id="5" name="Рисунок 4">
            <a:extLst>
              <a:ext uri="{FF2B5EF4-FFF2-40B4-BE49-F238E27FC236}">
                <a16:creationId xmlns:a16="http://schemas.microsoft.com/office/drawing/2014/main" id="{6EDD4A9F-6187-4E19-A8C0-12A4BE429F34}"/>
              </a:ext>
            </a:extLst>
          </p:cNvPr>
          <p:cNvPicPr>
            <a:picLocks noChangeAspect="1"/>
          </p:cNvPicPr>
          <p:nvPr userDrawn="1"/>
        </p:nvPicPr>
        <p:blipFill rotWithShape="1">
          <a:blip r:embed="rId16" cstate="print">
            <a:extLst>
              <a:ext uri="{28A0092B-C50C-407E-A947-70E740481C1C}">
                <a14:useLocalDpi xmlns:a14="http://schemas.microsoft.com/office/drawing/2010/main"/>
              </a:ext>
            </a:extLst>
          </a:blip>
          <a:srcRect/>
          <a:stretch/>
        </p:blipFill>
        <p:spPr>
          <a:xfrm>
            <a:off x="9648397" y="418356"/>
            <a:ext cx="1583497" cy="332591"/>
          </a:xfrm>
          <a:prstGeom prst="rect">
            <a:avLst/>
          </a:prstGeom>
        </p:spPr>
      </p:pic>
      <p:sp>
        <p:nvSpPr>
          <p:cNvPr id="94" name="Datumsplatzhalter 3">
            <a:extLst>
              <a:ext uri="{FF2B5EF4-FFF2-40B4-BE49-F238E27FC236}">
                <a16:creationId xmlns:a16="http://schemas.microsoft.com/office/drawing/2014/main" id="{0357DFB3-5A4C-4DF0-B2B4-5CB09AD379E3}"/>
              </a:ext>
            </a:extLst>
          </p:cNvPr>
          <p:cNvSpPr txBox="1">
            <a:spLocks/>
          </p:cNvSpPr>
          <p:nvPr userDrawn="1"/>
        </p:nvSpPr>
        <p:spPr bwMode="gray">
          <a:xfrm>
            <a:off x="10499893" y="6519010"/>
            <a:ext cx="612000" cy="155587"/>
          </a:xfrm>
          <a:prstGeom prst="rect">
            <a:avLst/>
          </a:prstGeom>
        </p:spPr>
        <p:txBody>
          <a:bodyPr vert="horz" lIns="0" tIns="0" rIns="0" bIns="0" rtlCol="0" anchor="ctr"/>
          <a:lstStyle>
            <a:defPPr>
              <a:defRPr lang="de-DE"/>
            </a:defPPr>
            <a:lvl1pPr marL="0" algn="r" defTabSz="914400" rtl="0" eaLnBrk="1" latinLnBrk="0" hangingPunct="1">
              <a:defRPr sz="600" kern="1200">
                <a:solidFill>
                  <a:schemeClr val="bg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DCCEC16-3C73-49A2-AB58-51F9F1A637E5}" type="datetime1">
              <a:rPr lang="en-GB" sz="800" smtClean="0"/>
              <a:pPr/>
              <a:t>26/06/2020</a:t>
            </a:fld>
            <a:endParaRPr lang="en-US" sz="800" dirty="0"/>
          </a:p>
        </p:txBody>
      </p:sp>
    </p:spTree>
    <p:extLst>
      <p:ext uri="{BB962C8B-B14F-4D97-AF65-F5344CB8AC3E}">
        <p14:creationId xmlns:p14="http://schemas.microsoft.com/office/powerpoint/2010/main" val="2256886069"/>
      </p:ext>
    </p:extLst>
  </p:cSld>
  <p:clrMap bg1="lt1" tx1="dk1" bg2="lt2" tx2="dk2" accent1="accent1" accent2="accent2" accent3="accent3" accent4="accent4" accent5="accent5" accent6="accent6" hlink="hlink" folHlink="folHlink"/>
  <p:sldLayoutIdLst>
    <p:sldLayoutId id="2147484490" r:id="rId1"/>
    <p:sldLayoutId id="2147484491" r:id="rId2"/>
    <p:sldLayoutId id="2147484492" r:id="rId3"/>
    <p:sldLayoutId id="2147484493" r:id="rId4"/>
    <p:sldLayoutId id="2147484494" r:id="rId5"/>
    <p:sldLayoutId id="2147484495" r:id="rId6"/>
    <p:sldLayoutId id="2147484496" r:id="rId7"/>
    <p:sldLayoutId id="2147484497" r:id="rId8"/>
    <p:sldLayoutId id="2147484498" r:id="rId9"/>
  </p:sldLayoutIdLst>
  <p:hf hdr="0"/>
  <p:txStyles>
    <p:titleStyle>
      <a:lvl1pPr algn="l" defTabSz="914103" rtl="0" eaLnBrk="1" latinLnBrk="0" hangingPunct="1">
        <a:lnSpc>
          <a:spcPct val="90000"/>
        </a:lnSpc>
        <a:spcBef>
          <a:spcPct val="0"/>
        </a:spcBef>
        <a:buNone/>
        <a:defRPr sz="3199" b="1" kern="1200">
          <a:solidFill>
            <a:schemeClr val="bg2"/>
          </a:solidFill>
          <a:latin typeface="+mj-lt"/>
          <a:ea typeface="+mj-ea"/>
          <a:cs typeface="+mj-cs"/>
        </a:defRPr>
      </a:lvl1pPr>
    </p:titleStyle>
    <p:bodyStyle>
      <a:lvl1pPr marL="0" indent="0" algn="l" defTabSz="914103" rtl="0" eaLnBrk="1" latinLnBrk="0" hangingPunct="1">
        <a:lnSpc>
          <a:spcPct val="90000"/>
        </a:lnSpc>
        <a:spcBef>
          <a:spcPts val="1000"/>
        </a:spcBef>
        <a:buFont typeface="Wingdings 3" panose="05040102010807070707" pitchFamily="18" charset="2"/>
        <a:buNone/>
        <a:defRPr sz="1999" kern="1200">
          <a:solidFill>
            <a:schemeClr val="bg2"/>
          </a:solidFill>
          <a:latin typeface="+mn-lt"/>
          <a:ea typeface="+mn-ea"/>
          <a:cs typeface="+mn-cs"/>
        </a:defRPr>
      </a:lvl1pPr>
      <a:lvl2pPr marL="357072" indent="-357072" algn="l" defTabSz="914103" rtl="0" eaLnBrk="1" latinLnBrk="0" hangingPunct="1">
        <a:lnSpc>
          <a:spcPct val="90000"/>
        </a:lnSpc>
        <a:spcBef>
          <a:spcPts val="500"/>
        </a:spcBef>
        <a:buClr>
          <a:schemeClr val="tx2"/>
        </a:buClr>
        <a:buFont typeface="Wingdings 3" panose="05040102010807070707" pitchFamily="18" charset="2"/>
        <a:buChar char=""/>
        <a:defRPr sz="1999" kern="1200">
          <a:solidFill>
            <a:schemeClr val="bg2"/>
          </a:solidFill>
          <a:latin typeface="+mn-lt"/>
          <a:ea typeface="+mn-ea"/>
          <a:cs typeface="+mn-cs"/>
        </a:defRPr>
      </a:lvl2pPr>
      <a:lvl3pPr marL="718905" indent="-357072" algn="l" defTabSz="914103" rtl="0" eaLnBrk="1" latinLnBrk="0" hangingPunct="1">
        <a:lnSpc>
          <a:spcPct val="90000"/>
        </a:lnSpc>
        <a:spcBef>
          <a:spcPts val="500"/>
        </a:spcBef>
        <a:buClr>
          <a:schemeClr val="tx2"/>
        </a:buClr>
        <a:buFont typeface="Wingdings 3" panose="05040102010807070707" pitchFamily="18" charset="2"/>
        <a:buChar char=""/>
        <a:defRPr sz="1999" kern="1200">
          <a:solidFill>
            <a:schemeClr val="bg2"/>
          </a:solidFill>
          <a:latin typeface="+mn-lt"/>
          <a:ea typeface="+mn-ea"/>
          <a:cs typeface="+mn-cs"/>
        </a:defRPr>
      </a:lvl3pPr>
      <a:lvl4pPr marL="1075976" indent="-357072" algn="l" defTabSz="914103" rtl="0" eaLnBrk="1" latinLnBrk="0" hangingPunct="1">
        <a:lnSpc>
          <a:spcPct val="90000"/>
        </a:lnSpc>
        <a:spcBef>
          <a:spcPts val="500"/>
        </a:spcBef>
        <a:buClr>
          <a:schemeClr val="tx2"/>
        </a:buClr>
        <a:buFont typeface="Wingdings 3" panose="05040102010807070707" pitchFamily="18" charset="2"/>
        <a:buChar char=""/>
        <a:defRPr sz="1999" kern="1200">
          <a:solidFill>
            <a:schemeClr val="bg2"/>
          </a:solidFill>
          <a:latin typeface="+mn-lt"/>
          <a:ea typeface="+mn-ea"/>
          <a:cs typeface="+mn-cs"/>
        </a:defRPr>
      </a:lvl4pPr>
      <a:lvl5pPr marL="1433047" indent="-357072" algn="l" defTabSz="914103" rtl="0" eaLnBrk="1" latinLnBrk="0" hangingPunct="1">
        <a:lnSpc>
          <a:spcPct val="90000"/>
        </a:lnSpc>
        <a:spcBef>
          <a:spcPts val="500"/>
        </a:spcBef>
        <a:buClr>
          <a:schemeClr val="tx2"/>
        </a:buClr>
        <a:buFont typeface="Wingdings 3" panose="05040102010807070707" pitchFamily="18" charset="2"/>
        <a:buChar char=""/>
        <a:defRPr sz="1999" kern="1200">
          <a:solidFill>
            <a:schemeClr val="bg2"/>
          </a:solidFill>
          <a:latin typeface="+mn-lt"/>
          <a:ea typeface="+mn-ea"/>
          <a:cs typeface="+mn-cs"/>
        </a:defRPr>
      </a:lvl5pPr>
      <a:lvl6pPr marL="2513783" indent="-228526" algn="l" defTabSz="914103" rtl="0" eaLnBrk="1" latinLnBrk="0" hangingPunct="1">
        <a:lnSpc>
          <a:spcPct val="90000"/>
        </a:lnSpc>
        <a:spcBef>
          <a:spcPts val="500"/>
        </a:spcBef>
        <a:buFont typeface="Arial"/>
        <a:buChar char="•"/>
        <a:defRPr sz="1799" kern="1200">
          <a:solidFill>
            <a:schemeClr val="tx1"/>
          </a:solidFill>
          <a:latin typeface="+mn-lt"/>
          <a:ea typeface="+mn-ea"/>
          <a:cs typeface="+mn-cs"/>
        </a:defRPr>
      </a:lvl6pPr>
      <a:lvl7pPr marL="2970834" indent="-228526" algn="l" defTabSz="914103" rtl="0" eaLnBrk="1" latinLnBrk="0" hangingPunct="1">
        <a:lnSpc>
          <a:spcPct val="90000"/>
        </a:lnSpc>
        <a:spcBef>
          <a:spcPts val="500"/>
        </a:spcBef>
        <a:buFont typeface="Arial"/>
        <a:buChar char="•"/>
        <a:defRPr sz="1799" kern="1200">
          <a:solidFill>
            <a:schemeClr val="tx1"/>
          </a:solidFill>
          <a:latin typeface="+mn-lt"/>
          <a:ea typeface="+mn-ea"/>
          <a:cs typeface="+mn-cs"/>
        </a:defRPr>
      </a:lvl7pPr>
      <a:lvl8pPr marL="3427886" indent="-228526" algn="l" defTabSz="914103" rtl="0" eaLnBrk="1" latinLnBrk="0" hangingPunct="1">
        <a:lnSpc>
          <a:spcPct val="90000"/>
        </a:lnSpc>
        <a:spcBef>
          <a:spcPts val="500"/>
        </a:spcBef>
        <a:buFont typeface="Arial"/>
        <a:buChar char="•"/>
        <a:defRPr sz="1799" kern="1200">
          <a:solidFill>
            <a:schemeClr val="tx1"/>
          </a:solidFill>
          <a:latin typeface="+mn-lt"/>
          <a:ea typeface="+mn-ea"/>
          <a:cs typeface="+mn-cs"/>
        </a:defRPr>
      </a:lvl8pPr>
      <a:lvl9pPr marL="3884937" indent="-228526" algn="l" defTabSz="914103" rtl="0" eaLnBrk="1" latinLnBrk="0" hangingPunct="1">
        <a:lnSpc>
          <a:spcPct val="90000"/>
        </a:lnSpc>
        <a:spcBef>
          <a:spcPts val="500"/>
        </a:spcBef>
        <a:buFont typeface="Arial"/>
        <a:buChar char="•"/>
        <a:defRPr sz="1799" kern="1200">
          <a:solidFill>
            <a:schemeClr val="tx1"/>
          </a:solidFill>
          <a:latin typeface="+mn-lt"/>
          <a:ea typeface="+mn-ea"/>
          <a:cs typeface="+mn-cs"/>
        </a:defRPr>
      </a:lvl9pPr>
    </p:bodyStyle>
    <p:otherStyle>
      <a:defPPr>
        <a:defRPr lang="de-DE"/>
      </a:defPPr>
      <a:lvl1pPr marL="0" algn="l" defTabSz="914103" rtl="0" eaLnBrk="1" latinLnBrk="0" hangingPunct="1">
        <a:defRPr sz="1799" kern="1200">
          <a:solidFill>
            <a:schemeClr val="tx1"/>
          </a:solidFill>
          <a:latin typeface="+mn-lt"/>
          <a:ea typeface="+mn-ea"/>
          <a:cs typeface="+mn-cs"/>
        </a:defRPr>
      </a:lvl1pPr>
      <a:lvl2pPr marL="457051" algn="l" defTabSz="914103" rtl="0" eaLnBrk="1" latinLnBrk="0" hangingPunct="1">
        <a:defRPr sz="1799" kern="1200">
          <a:solidFill>
            <a:schemeClr val="tx1"/>
          </a:solidFill>
          <a:latin typeface="+mn-lt"/>
          <a:ea typeface="+mn-ea"/>
          <a:cs typeface="+mn-cs"/>
        </a:defRPr>
      </a:lvl2pPr>
      <a:lvl3pPr marL="914103" algn="l" defTabSz="914103" rtl="0" eaLnBrk="1" latinLnBrk="0" hangingPunct="1">
        <a:defRPr sz="1799" kern="1200">
          <a:solidFill>
            <a:schemeClr val="tx1"/>
          </a:solidFill>
          <a:latin typeface="+mn-lt"/>
          <a:ea typeface="+mn-ea"/>
          <a:cs typeface="+mn-cs"/>
        </a:defRPr>
      </a:lvl3pPr>
      <a:lvl4pPr marL="1371154" algn="l" defTabSz="914103" rtl="0" eaLnBrk="1" latinLnBrk="0" hangingPunct="1">
        <a:defRPr sz="1799" kern="1200">
          <a:solidFill>
            <a:schemeClr val="tx1"/>
          </a:solidFill>
          <a:latin typeface="+mn-lt"/>
          <a:ea typeface="+mn-ea"/>
          <a:cs typeface="+mn-cs"/>
        </a:defRPr>
      </a:lvl4pPr>
      <a:lvl5pPr marL="1828206" algn="l" defTabSz="914103" rtl="0" eaLnBrk="1" latinLnBrk="0" hangingPunct="1">
        <a:defRPr sz="1799" kern="1200">
          <a:solidFill>
            <a:schemeClr val="tx1"/>
          </a:solidFill>
          <a:latin typeface="+mn-lt"/>
          <a:ea typeface="+mn-ea"/>
          <a:cs typeface="+mn-cs"/>
        </a:defRPr>
      </a:lvl5pPr>
      <a:lvl6pPr marL="2285257" algn="l" defTabSz="914103" rtl="0" eaLnBrk="1" latinLnBrk="0" hangingPunct="1">
        <a:defRPr sz="1799" kern="1200">
          <a:solidFill>
            <a:schemeClr val="tx1"/>
          </a:solidFill>
          <a:latin typeface="+mn-lt"/>
          <a:ea typeface="+mn-ea"/>
          <a:cs typeface="+mn-cs"/>
        </a:defRPr>
      </a:lvl6pPr>
      <a:lvl7pPr marL="2742308" algn="l" defTabSz="914103" rtl="0" eaLnBrk="1" latinLnBrk="0" hangingPunct="1">
        <a:defRPr sz="1799" kern="1200">
          <a:solidFill>
            <a:schemeClr val="tx1"/>
          </a:solidFill>
          <a:latin typeface="+mn-lt"/>
          <a:ea typeface="+mn-ea"/>
          <a:cs typeface="+mn-cs"/>
        </a:defRPr>
      </a:lvl7pPr>
      <a:lvl8pPr marL="3199360" algn="l" defTabSz="914103" rtl="0" eaLnBrk="1" latinLnBrk="0" hangingPunct="1">
        <a:defRPr sz="1799" kern="1200">
          <a:solidFill>
            <a:schemeClr val="tx1"/>
          </a:solidFill>
          <a:latin typeface="+mn-lt"/>
          <a:ea typeface="+mn-ea"/>
          <a:cs typeface="+mn-cs"/>
        </a:defRPr>
      </a:lvl8pPr>
      <a:lvl9pPr marL="3656411" algn="l" defTabSz="914103" rtl="0" eaLnBrk="1" latinLnBrk="0" hangingPunct="1">
        <a:defRPr sz="1799" kern="1200">
          <a:solidFill>
            <a:schemeClr val="tx1"/>
          </a:solidFill>
          <a:latin typeface="+mn-lt"/>
          <a:ea typeface="+mn-ea"/>
          <a:cs typeface="+mn-cs"/>
        </a:defRPr>
      </a:lvl9pPr>
    </p:otherStyle>
  </p:txStyles>
  <p:extLst>
    <p:ext uri="{27BBF7A9-308A-43DC-89C8-2F10F3537804}">
      <p15:sldGuideLst xmlns:p15="http://schemas.microsoft.com/office/powerpoint/2012/main">
        <p15:guide id="1" pos="7469">
          <p15:clr>
            <a:srgbClr val="F26B43"/>
          </p15:clr>
        </p15:guide>
        <p15:guide id="2" orient="horz" pos="822">
          <p15:clr>
            <a:srgbClr val="F26B43"/>
          </p15:clr>
        </p15:guide>
        <p15:guide id="3" orient="horz" pos="187">
          <p15:clr>
            <a:srgbClr val="F26B43"/>
          </p15:clr>
        </p15:guide>
        <p15:guide id="4" orient="horz" pos="4065">
          <p15:clr>
            <a:srgbClr val="F26B43"/>
          </p15:clr>
        </p15:guide>
        <p15:guide id="5" pos="211">
          <p15:clr>
            <a:srgbClr val="F26B43"/>
          </p15:clr>
        </p15:guide>
        <p15:guide id="6" orient="horz" pos="3906">
          <p15:clr>
            <a:srgbClr val="F26B43"/>
          </p15:clr>
        </p15:guide>
        <p15:guide id="7" orient="horz" pos="1117">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notesSlide" Target="../notesSlides/notesSlide1.xml"/><Relationship Id="rId1" Type="http://schemas.openxmlformats.org/officeDocument/2006/relationships/slideLayout" Target="../slideLayouts/slideLayout216.xml"/></Relationships>
</file>

<file path=ppt/slides/_rels/slide10.xml.rels><?xml version="1.0" encoding="UTF-8" standalone="yes"?>
<Relationships xmlns="http://schemas.openxmlformats.org/package/2006/relationships"><Relationship Id="rId8" Type="http://schemas.openxmlformats.org/officeDocument/2006/relationships/image" Target="../media/image11.emf"/><Relationship Id="rId13" Type="http://schemas.openxmlformats.org/officeDocument/2006/relationships/image" Target="../media/image57.png"/><Relationship Id="rId18" Type="http://schemas.openxmlformats.org/officeDocument/2006/relationships/image" Target="../media/image64.png"/><Relationship Id="rId3" Type="http://schemas.openxmlformats.org/officeDocument/2006/relationships/tags" Target="../tags/tag245.xml"/><Relationship Id="rId7" Type="http://schemas.openxmlformats.org/officeDocument/2006/relationships/oleObject" Target="../embeddings/oleObject18.bin"/><Relationship Id="rId12" Type="http://schemas.openxmlformats.org/officeDocument/2006/relationships/image" Target="../media/image55.png"/><Relationship Id="rId17" Type="http://schemas.openxmlformats.org/officeDocument/2006/relationships/image" Target="../media/image63.png"/><Relationship Id="rId2" Type="http://schemas.openxmlformats.org/officeDocument/2006/relationships/tags" Target="../tags/tag244.xml"/><Relationship Id="rId16" Type="http://schemas.openxmlformats.org/officeDocument/2006/relationships/image" Target="../media/image62.png"/><Relationship Id="rId1" Type="http://schemas.openxmlformats.org/officeDocument/2006/relationships/vmlDrawing" Target="../drawings/vmlDrawing25.vml"/><Relationship Id="rId6" Type="http://schemas.openxmlformats.org/officeDocument/2006/relationships/notesSlide" Target="../notesSlides/notesSlide9.xml"/><Relationship Id="rId11" Type="http://schemas.openxmlformats.org/officeDocument/2006/relationships/image" Target="../media/image54.png"/><Relationship Id="rId5" Type="http://schemas.openxmlformats.org/officeDocument/2006/relationships/slideLayout" Target="../slideLayouts/slideLayout421.xml"/><Relationship Id="rId15" Type="http://schemas.openxmlformats.org/officeDocument/2006/relationships/image" Target="../media/image61.png"/><Relationship Id="rId10" Type="http://schemas.openxmlformats.org/officeDocument/2006/relationships/image" Target="../media/image53.png"/><Relationship Id="rId4" Type="http://schemas.openxmlformats.org/officeDocument/2006/relationships/tags" Target="../tags/tag246.xml"/><Relationship Id="rId9" Type="http://schemas.openxmlformats.org/officeDocument/2006/relationships/chart" Target="../charts/chart2.xml"/><Relationship Id="rId14" Type="http://schemas.openxmlformats.org/officeDocument/2006/relationships/image" Target="../media/image58.png"/></Relationships>
</file>

<file path=ppt/slides/_rels/slide11.xml.rels><?xml version="1.0" encoding="UTF-8" standalone="yes"?>
<Relationships xmlns="http://schemas.openxmlformats.org/package/2006/relationships"><Relationship Id="rId8" Type="http://schemas.openxmlformats.org/officeDocument/2006/relationships/image" Target="../media/image53.png"/><Relationship Id="rId13" Type="http://schemas.openxmlformats.org/officeDocument/2006/relationships/image" Target="../media/image58.png"/><Relationship Id="rId18" Type="http://schemas.openxmlformats.org/officeDocument/2006/relationships/chart" Target="../charts/chart7.xml"/><Relationship Id="rId3" Type="http://schemas.openxmlformats.org/officeDocument/2006/relationships/tags" Target="../tags/tag248.xml"/><Relationship Id="rId21" Type="http://schemas.openxmlformats.org/officeDocument/2006/relationships/image" Target="../media/image65.png"/><Relationship Id="rId7" Type="http://schemas.openxmlformats.org/officeDocument/2006/relationships/image" Target="../media/image11.emf"/><Relationship Id="rId12" Type="http://schemas.openxmlformats.org/officeDocument/2006/relationships/image" Target="../media/image55.png"/><Relationship Id="rId17" Type="http://schemas.openxmlformats.org/officeDocument/2006/relationships/chart" Target="../charts/chart6.xml"/><Relationship Id="rId2" Type="http://schemas.openxmlformats.org/officeDocument/2006/relationships/tags" Target="../tags/tag247.xml"/><Relationship Id="rId16" Type="http://schemas.openxmlformats.org/officeDocument/2006/relationships/chart" Target="../charts/chart5.xml"/><Relationship Id="rId20" Type="http://schemas.openxmlformats.org/officeDocument/2006/relationships/chart" Target="../charts/chart9.xml"/><Relationship Id="rId1" Type="http://schemas.openxmlformats.org/officeDocument/2006/relationships/vmlDrawing" Target="../drawings/vmlDrawing26.vml"/><Relationship Id="rId6" Type="http://schemas.openxmlformats.org/officeDocument/2006/relationships/oleObject" Target="../embeddings/oleObject19.bin"/><Relationship Id="rId11" Type="http://schemas.openxmlformats.org/officeDocument/2006/relationships/image" Target="../media/image57.png"/><Relationship Id="rId5" Type="http://schemas.openxmlformats.org/officeDocument/2006/relationships/notesSlide" Target="../notesSlides/notesSlide10.xml"/><Relationship Id="rId15" Type="http://schemas.openxmlformats.org/officeDocument/2006/relationships/chart" Target="../charts/chart4.xml"/><Relationship Id="rId10" Type="http://schemas.openxmlformats.org/officeDocument/2006/relationships/image" Target="../media/image56.png"/><Relationship Id="rId19" Type="http://schemas.openxmlformats.org/officeDocument/2006/relationships/chart" Target="../charts/chart8.xml"/><Relationship Id="rId4" Type="http://schemas.openxmlformats.org/officeDocument/2006/relationships/slideLayout" Target="../slideLayouts/slideLayout449.xml"/><Relationship Id="rId9" Type="http://schemas.openxmlformats.org/officeDocument/2006/relationships/image" Target="../media/image54.png"/><Relationship Id="rId14" Type="http://schemas.openxmlformats.org/officeDocument/2006/relationships/chart" Target="../charts/chart3.xml"/></Relationships>
</file>

<file path=ppt/slides/_rels/slide12.xml.rels><?xml version="1.0" encoding="UTF-8" standalone="yes"?>
<Relationships xmlns="http://schemas.openxmlformats.org/package/2006/relationships"><Relationship Id="rId3" Type="http://schemas.openxmlformats.org/officeDocument/2006/relationships/image" Target="../media/image66.jpeg"/><Relationship Id="rId2" Type="http://schemas.openxmlformats.org/officeDocument/2006/relationships/notesSlide" Target="../notesSlides/notesSlide11.xml"/><Relationship Id="rId1" Type="http://schemas.openxmlformats.org/officeDocument/2006/relationships/slideLayout" Target="../slideLayouts/slideLayout95.xml"/></Relationships>
</file>

<file path=ppt/slides/_rels/slide13.xml.rels><?xml version="1.0" encoding="UTF-8" standalone="yes"?>
<Relationships xmlns="http://schemas.openxmlformats.org/package/2006/relationships"><Relationship Id="rId3" Type="http://schemas.openxmlformats.org/officeDocument/2006/relationships/image" Target="../media/image67.jpeg"/><Relationship Id="rId2" Type="http://schemas.openxmlformats.org/officeDocument/2006/relationships/notesSlide" Target="../notesSlides/notesSlide12.xml"/><Relationship Id="rId1" Type="http://schemas.openxmlformats.org/officeDocument/2006/relationships/slideLayout" Target="../slideLayouts/slideLayout499.xml"/></Relationships>
</file>

<file path=ppt/slides/_rels/slide14.xml.rels><?xml version="1.0" encoding="UTF-8" standalone="yes"?>
<Relationships xmlns="http://schemas.openxmlformats.org/package/2006/relationships"><Relationship Id="rId3" Type="http://schemas.openxmlformats.org/officeDocument/2006/relationships/chart" Target="../charts/chart10.xml"/><Relationship Id="rId2" Type="http://schemas.openxmlformats.org/officeDocument/2006/relationships/image" Target="../media/image68.jpeg"/><Relationship Id="rId1" Type="http://schemas.openxmlformats.org/officeDocument/2006/relationships/slideLayout" Target="../slideLayouts/slideLayout220.xml"/><Relationship Id="rId4" Type="http://schemas.openxmlformats.org/officeDocument/2006/relationships/chart" Target="../charts/chart11.xml"/></Relationships>
</file>

<file path=ppt/slides/_rels/slide15.xml.rels><?xml version="1.0" encoding="UTF-8" standalone="yes"?>
<Relationships xmlns="http://schemas.openxmlformats.org/package/2006/relationships"><Relationship Id="rId3" Type="http://schemas.openxmlformats.org/officeDocument/2006/relationships/chart" Target="../charts/chart12.xml"/><Relationship Id="rId2" Type="http://schemas.openxmlformats.org/officeDocument/2006/relationships/image" Target="../media/image69.jpeg"/><Relationship Id="rId1" Type="http://schemas.openxmlformats.org/officeDocument/2006/relationships/slideLayout" Target="../slideLayouts/slideLayout220.xml"/></Relationships>
</file>

<file path=ppt/slides/_rels/slide16.xml.rels><?xml version="1.0" encoding="UTF-8" standalone="yes"?>
<Relationships xmlns="http://schemas.openxmlformats.org/package/2006/relationships"><Relationship Id="rId3" Type="http://schemas.openxmlformats.org/officeDocument/2006/relationships/chart" Target="../charts/chart13.xml"/><Relationship Id="rId2" Type="http://schemas.openxmlformats.org/officeDocument/2006/relationships/image" Target="../media/image70.jpeg"/><Relationship Id="rId1" Type="http://schemas.openxmlformats.org/officeDocument/2006/relationships/slideLayout" Target="../slideLayouts/slideLayout220.xml"/></Relationships>
</file>

<file path=ppt/slides/_rels/slide17.xml.rels><?xml version="1.0" encoding="UTF-8" standalone="yes"?>
<Relationships xmlns="http://schemas.openxmlformats.org/package/2006/relationships"><Relationship Id="rId2" Type="http://schemas.openxmlformats.org/officeDocument/2006/relationships/image" Target="../media/image71.jpeg"/><Relationship Id="rId1" Type="http://schemas.openxmlformats.org/officeDocument/2006/relationships/slideLayout" Target="../slideLayouts/slideLayout184.xml"/></Relationships>
</file>

<file path=ppt/slides/_rels/slide18.xml.rels><?xml version="1.0" encoding="UTF-8" standalone="yes"?>
<Relationships xmlns="http://schemas.openxmlformats.org/package/2006/relationships"><Relationship Id="rId8" Type="http://schemas.openxmlformats.org/officeDocument/2006/relationships/tags" Target="../tags/tag256.xml"/><Relationship Id="rId13" Type="http://schemas.openxmlformats.org/officeDocument/2006/relationships/chart" Target="../charts/chart16.xml"/><Relationship Id="rId18" Type="http://schemas.openxmlformats.org/officeDocument/2006/relationships/image" Target="../media/image61.png"/><Relationship Id="rId3" Type="http://schemas.openxmlformats.org/officeDocument/2006/relationships/tags" Target="../tags/tag251.xml"/><Relationship Id="rId7" Type="http://schemas.openxmlformats.org/officeDocument/2006/relationships/tags" Target="../tags/tag255.xml"/><Relationship Id="rId12" Type="http://schemas.openxmlformats.org/officeDocument/2006/relationships/chart" Target="../charts/chart15.xml"/><Relationship Id="rId17" Type="http://schemas.openxmlformats.org/officeDocument/2006/relationships/image" Target="../media/image74.png"/><Relationship Id="rId2" Type="http://schemas.openxmlformats.org/officeDocument/2006/relationships/tags" Target="../tags/tag250.xml"/><Relationship Id="rId16" Type="http://schemas.openxmlformats.org/officeDocument/2006/relationships/image" Target="../media/image73.png"/><Relationship Id="rId1" Type="http://schemas.openxmlformats.org/officeDocument/2006/relationships/tags" Target="../tags/tag249.xml"/><Relationship Id="rId6" Type="http://schemas.openxmlformats.org/officeDocument/2006/relationships/tags" Target="../tags/tag254.xml"/><Relationship Id="rId11" Type="http://schemas.openxmlformats.org/officeDocument/2006/relationships/chart" Target="../charts/chart14.xml"/><Relationship Id="rId5" Type="http://schemas.openxmlformats.org/officeDocument/2006/relationships/tags" Target="../tags/tag253.xml"/><Relationship Id="rId15" Type="http://schemas.openxmlformats.org/officeDocument/2006/relationships/image" Target="../media/image72.png"/><Relationship Id="rId10" Type="http://schemas.openxmlformats.org/officeDocument/2006/relationships/slideLayout" Target="../slideLayouts/slideLayout157.xml"/><Relationship Id="rId4" Type="http://schemas.openxmlformats.org/officeDocument/2006/relationships/tags" Target="../tags/tag252.xml"/><Relationship Id="rId9" Type="http://schemas.openxmlformats.org/officeDocument/2006/relationships/tags" Target="../tags/tag257.xml"/><Relationship Id="rId14" Type="http://schemas.openxmlformats.org/officeDocument/2006/relationships/chart" Target="../charts/chart17.xml"/></Relationships>
</file>

<file path=ppt/slides/_rels/slide19.xml.rels><?xml version="1.0" encoding="UTF-8" standalone="yes"?>
<Relationships xmlns="http://schemas.openxmlformats.org/package/2006/relationships"><Relationship Id="rId8" Type="http://schemas.openxmlformats.org/officeDocument/2006/relationships/chart" Target="../charts/chart20.xml"/><Relationship Id="rId13" Type="http://schemas.openxmlformats.org/officeDocument/2006/relationships/chart" Target="../charts/chart25.xml"/><Relationship Id="rId3" Type="http://schemas.openxmlformats.org/officeDocument/2006/relationships/tags" Target="../tags/tag260.xml"/><Relationship Id="rId7" Type="http://schemas.openxmlformats.org/officeDocument/2006/relationships/chart" Target="../charts/chart19.xml"/><Relationship Id="rId12" Type="http://schemas.openxmlformats.org/officeDocument/2006/relationships/chart" Target="../charts/chart24.xml"/><Relationship Id="rId17" Type="http://schemas.openxmlformats.org/officeDocument/2006/relationships/image" Target="../media/image76.png"/><Relationship Id="rId2" Type="http://schemas.openxmlformats.org/officeDocument/2006/relationships/tags" Target="../tags/tag259.xml"/><Relationship Id="rId16" Type="http://schemas.openxmlformats.org/officeDocument/2006/relationships/image" Target="../media/image75.png"/><Relationship Id="rId1" Type="http://schemas.openxmlformats.org/officeDocument/2006/relationships/tags" Target="../tags/tag258.xml"/><Relationship Id="rId6" Type="http://schemas.openxmlformats.org/officeDocument/2006/relationships/chart" Target="../charts/chart18.xml"/><Relationship Id="rId11" Type="http://schemas.openxmlformats.org/officeDocument/2006/relationships/chart" Target="../charts/chart23.xml"/><Relationship Id="rId5" Type="http://schemas.openxmlformats.org/officeDocument/2006/relationships/slideLayout" Target="../slideLayouts/slideLayout70.xml"/><Relationship Id="rId15" Type="http://schemas.openxmlformats.org/officeDocument/2006/relationships/chart" Target="../charts/chart27.xml"/><Relationship Id="rId10" Type="http://schemas.openxmlformats.org/officeDocument/2006/relationships/chart" Target="../charts/chart22.xml"/><Relationship Id="rId4" Type="http://schemas.openxmlformats.org/officeDocument/2006/relationships/tags" Target="../tags/tag261.xml"/><Relationship Id="rId9" Type="http://schemas.openxmlformats.org/officeDocument/2006/relationships/chart" Target="../charts/chart21.xml"/><Relationship Id="rId14" Type="http://schemas.openxmlformats.org/officeDocument/2006/relationships/chart" Target="../charts/chart26.xml"/></Relationships>
</file>

<file path=ppt/slides/_rels/slide2.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image" Target="../media/image30.jpeg"/><Relationship Id="rId1" Type="http://schemas.openxmlformats.org/officeDocument/2006/relationships/slideLayout" Target="../slideLayouts/slideLayout125.xml"/><Relationship Id="rId4" Type="http://schemas.openxmlformats.org/officeDocument/2006/relationships/image" Target="../media/image32.jpeg"/></Relationships>
</file>

<file path=ppt/slides/_rels/slide20.xml.rels><?xml version="1.0" encoding="UTF-8" standalone="yes"?>
<Relationships xmlns="http://schemas.openxmlformats.org/package/2006/relationships"><Relationship Id="rId3" Type="http://schemas.openxmlformats.org/officeDocument/2006/relationships/image" Target="../media/image77.jpeg"/><Relationship Id="rId2" Type="http://schemas.openxmlformats.org/officeDocument/2006/relationships/chart" Target="../charts/chart28.xml"/><Relationship Id="rId1" Type="http://schemas.openxmlformats.org/officeDocument/2006/relationships/slideLayout" Target="../slideLayouts/slideLayout157.xml"/></Relationships>
</file>

<file path=ppt/slides/_rels/slide21.xml.rels><?xml version="1.0" encoding="UTF-8" standalone="yes"?>
<Relationships xmlns="http://schemas.openxmlformats.org/package/2006/relationships"><Relationship Id="rId2" Type="http://schemas.openxmlformats.org/officeDocument/2006/relationships/image" Target="../media/image78.tmp"/><Relationship Id="rId1" Type="http://schemas.openxmlformats.org/officeDocument/2006/relationships/slideLayout" Target="../slideLayouts/slideLayout536.xml"/></Relationships>
</file>

<file path=ppt/slides/_rels/slide22.xml.rels><?xml version="1.0" encoding="UTF-8" standalone="yes"?>
<Relationships xmlns="http://schemas.openxmlformats.org/package/2006/relationships"><Relationship Id="rId3" Type="http://schemas.openxmlformats.org/officeDocument/2006/relationships/slideLayout" Target="../slideLayouts/slideLayout186.xml"/><Relationship Id="rId2" Type="http://schemas.openxmlformats.org/officeDocument/2006/relationships/tags" Target="../tags/tag263.xml"/><Relationship Id="rId1" Type="http://schemas.openxmlformats.org/officeDocument/2006/relationships/tags" Target="../tags/tag262.xml"/><Relationship Id="rId5" Type="http://schemas.openxmlformats.org/officeDocument/2006/relationships/image" Target="../media/image79.png"/><Relationship Id="rId4" Type="http://schemas.openxmlformats.org/officeDocument/2006/relationships/chart" Target="../charts/chart29.xml"/></Relationships>
</file>

<file path=ppt/slides/_rels/slide23.xml.rels><?xml version="1.0" encoding="UTF-8" standalone="yes"?>
<Relationships xmlns="http://schemas.openxmlformats.org/package/2006/relationships"><Relationship Id="rId2" Type="http://schemas.openxmlformats.org/officeDocument/2006/relationships/image" Target="../media/image80.png"/><Relationship Id="rId1" Type="http://schemas.openxmlformats.org/officeDocument/2006/relationships/slideLayout" Target="../slideLayouts/slideLayout195.xml"/></Relationships>
</file>

<file path=ppt/slides/_rels/slide24.xml.rels><?xml version="1.0" encoding="UTF-8" standalone="yes"?>
<Relationships xmlns="http://schemas.openxmlformats.org/package/2006/relationships"><Relationship Id="rId2" Type="http://schemas.openxmlformats.org/officeDocument/2006/relationships/chart" Target="../charts/chart30.xml"/><Relationship Id="rId1" Type="http://schemas.openxmlformats.org/officeDocument/2006/relationships/slideLayout" Target="../slideLayouts/slideLayout70.xml"/></Relationships>
</file>

<file path=ppt/slides/_rels/slide25.xml.rels><?xml version="1.0" encoding="UTF-8" standalone="yes"?>
<Relationships xmlns="http://schemas.openxmlformats.org/package/2006/relationships"><Relationship Id="rId2" Type="http://schemas.openxmlformats.org/officeDocument/2006/relationships/image" Target="../media/image81.tmp"/><Relationship Id="rId1" Type="http://schemas.openxmlformats.org/officeDocument/2006/relationships/slideLayout" Target="../slideLayouts/slideLayout536.xml"/></Relationships>
</file>

<file path=ppt/slides/_rels/slide26.xml.rels><?xml version="1.0" encoding="UTF-8" standalone="yes"?>
<Relationships xmlns="http://schemas.openxmlformats.org/package/2006/relationships"><Relationship Id="rId3" Type="http://schemas.openxmlformats.org/officeDocument/2006/relationships/image" Target="../media/image82.jpeg"/><Relationship Id="rId2" Type="http://schemas.openxmlformats.org/officeDocument/2006/relationships/notesSlide" Target="../notesSlides/notesSlide13.xml"/><Relationship Id="rId1" Type="http://schemas.openxmlformats.org/officeDocument/2006/relationships/slideLayout" Target="../slideLayouts/slideLayout95.xml"/></Relationships>
</file>

<file path=ppt/slides/_rels/slide27.xml.rels><?xml version="1.0" encoding="UTF-8" standalone="yes"?>
<Relationships xmlns="http://schemas.openxmlformats.org/package/2006/relationships"><Relationship Id="rId3" Type="http://schemas.openxmlformats.org/officeDocument/2006/relationships/chart" Target="../charts/chart31.xml"/><Relationship Id="rId2" Type="http://schemas.openxmlformats.org/officeDocument/2006/relationships/slideLayout" Target="../slideLayouts/slideLayout513.xml"/><Relationship Id="rId1" Type="http://schemas.openxmlformats.org/officeDocument/2006/relationships/tags" Target="../tags/tag264.xml"/><Relationship Id="rId6" Type="http://schemas.openxmlformats.org/officeDocument/2006/relationships/image" Target="../media/image61.png"/><Relationship Id="rId5" Type="http://schemas.openxmlformats.org/officeDocument/2006/relationships/image" Target="../media/image74.png"/><Relationship Id="rId4" Type="http://schemas.openxmlformats.org/officeDocument/2006/relationships/image" Target="../media/image73.png"/></Relationships>
</file>

<file path=ppt/slides/_rels/slide28.xml.rels><?xml version="1.0" encoding="UTF-8" standalone="yes"?>
<Relationships xmlns="http://schemas.openxmlformats.org/package/2006/relationships"><Relationship Id="rId3" Type="http://schemas.openxmlformats.org/officeDocument/2006/relationships/chart" Target="../charts/chart33.xml"/><Relationship Id="rId2" Type="http://schemas.openxmlformats.org/officeDocument/2006/relationships/chart" Target="../charts/chart32.xml"/><Relationship Id="rId1" Type="http://schemas.openxmlformats.org/officeDocument/2006/relationships/slideLayout" Target="../slideLayouts/slideLayout513.xml"/><Relationship Id="rId6" Type="http://schemas.openxmlformats.org/officeDocument/2006/relationships/image" Target="../media/image61.png"/><Relationship Id="rId5" Type="http://schemas.openxmlformats.org/officeDocument/2006/relationships/image" Target="../media/image74.png"/><Relationship Id="rId4" Type="http://schemas.openxmlformats.org/officeDocument/2006/relationships/image" Target="../media/image73.png"/></Relationships>
</file>

<file path=ppt/slides/_rels/slide29.xml.rels><?xml version="1.0" encoding="UTF-8" standalone="yes"?>
<Relationships xmlns="http://schemas.openxmlformats.org/package/2006/relationships"><Relationship Id="rId2" Type="http://schemas.openxmlformats.org/officeDocument/2006/relationships/chart" Target="../charts/chart34.xml"/><Relationship Id="rId1" Type="http://schemas.openxmlformats.org/officeDocument/2006/relationships/slideLayout" Target="../slideLayouts/slideLayout513.xml"/></Relationships>
</file>

<file path=ppt/slides/_rels/slide3.xml.rels><?xml version="1.0" encoding="UTF-8" standalone="yes"?>
<Relationships xmlns="http://schemas.openxmlformats.org/package/2006/relationships"><Relationship Id="rId3" Type="http://schemas.openxmlformats.org/officeDocument/2006/relationships/image" Target="../media/image33.jpeg"/><Relationship Id="rId2" Type="http://schemas.openxmlformats.org/officeDocument/2006/relationships/notesSlide" Target="../notesSlides/notesSlide2.xml"/><Relationship Id="rId1" Type="http://schemas.openxmlformats.org/officeDocument/2006/relationships/slideLayout" Target="../slideLayouts/slideLayout95.xml"/></Relationships>
</file>

<file path=ppt/slides/_rels/slide30.xml.rels><?xml version="1.0" encoding="UTF-8" standalone="yes"?>
<Relationships xmlns="http://schemas.openxmlformats.org/package/2006/relationships"><Relationship Id="rId2" Type="http://schemas.openxmlformats.org/officeDocument/2006/relationships/chart" Target="../charts/chart35.xml"/><Relationship Id="rId1" Type="http://schemas.openxmlformats.org/officeDocument/2006/relationships/slideLayout" Target="../slideLayouts/slideLayout70.xml"/></Relationships>
</file>

<file path=ppt/slides/_rels/slide31.xml.rels><?xml version="1.0" encoding="UTF-8" standalone="yes"?>
<Relationships xmlns="http://schemas.openxmlformats.org/package/2006/relationships"><Relationship Id="rId8" Type="http://schemas.openxmlformats.org/officeDocument/2006/relationships/image" Target="../media/image88.png"/><Relationship Id="rId3" Type="http://schemas.openxmlformats.org/officeDocument/2006/relationships/image" Target="../media/image83.jpeg"/><Relationship Id="rId7" Type="http://schemas.openxmlformats.org/officeDocument/2006/relationships/image" Target="../media/image87.png"/><Relationship Id="rId2" Type="http://schemas.openxmlformats.org/officeDocument/2006/relationships/notesSlide" Target="../notesSlides/notesSlide14.xml"/><Relationship Id="rId1" Type="http://schemas.openxmlformats.org/officeDocument/2006/relationships/slideLayout" Target="../slideLayouts/slideLayout274.xml"/><Relationship Id="rId6" Type="http://schemas.openxmlformats.org/officeDocument/2006/relationships/image" Target="../media/image86.jpg"/><Relationship Id="rId5" Type="http://schemas.openxmlformats.org/officeDocument/2006/relationships/image" Target="../media/image85.jpg"/><Relationship Id="rId10" Type="http://schemas.openxmlformats.org/officeDocument/2006/relationships/image" Target="../media/image90.png"/><Relationship Id="rId4" Type="http://schemas.openxmlformats.org/officeDocument/2006/relationships/image" Target="../media/image84.jpeg"/><Relationship Id="rId9" Type="http://schemas.openxmlformats.org/officeDocument/2006/relationships/image" Target="../media/image89.jpeg"/></Relationships>
</file>

<file path=ppt/slides/_rels/slide32.xml.rels><?xml version="1.0" encoding="UTF-8" standalone="yes"?>
<Relationships xmlns="http://schemas.openxmlformats.org/package/2006/relationships"><Relationship Id="rId8" Type="http://schemas.openxmlformats.org/officeDocument/2006/relationships/image" Target="../media/image97.png"/><Relationship Id="rId3" Type="http://schemas.openxmlformats.org/officeDocument/2006/relationships/image" Target="../media/image92.jpeg"/><Relationship Id="rId7" Type="http://schemas.openxmlformats.org/officeDocument/2006/relationships/image" Target="../media/image96.png"/><Relationship Id="rId2" Type="http://schemas.openxmlformats.org/officeDocument/2006/relationships/image" Target="../media/image91.jpeg"/><Relationship Id="rId1" Type="http://schemas.openxmlformats.org/officeDocument/2006/relationships/slideLayout" Target="../slideLayouts/slideLayout275.xml"/><Relationship Id="rId6" Type="http://schemas.openxmlformats.org/officeDocument/2006/relationships/image" Target="../media/image95.jpeg"/><Relationship Id="rId5" Type="http://schemas.openxmlformats.org/officeDocument/2006/relationships/image" Target="../media/image94.jpeg"/><Relationship Id="rId4" Type="http://schemas.openxmlformats.org/officeDocument/2006/relationships/image" Target="../media/image93.jpeg"/></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542.xml"/></Relationships>
</file>

<file path=ppt/slides/_rels/slide34.xml.rels><?xml version="1.0" encoding="UTF-8" standalone="yes"?>
<Relationships xmlns="http://schemas.openxmlformats.org/package/2006/relationships"><Relationship Id="rId3" Type="http://schemas.openxmlformats.org/officeDocument/2006/relationships/image" Target="../media/image98.jpeg"/><Relationship Id="rId2" Type="http://schemas.openxmlformats.org/officeDocument/2006/relationships/slideLayout" Target="../slideLayouts/slideLayout181.xml"/><Relationship Id="rId1" Type="http://schemas.openxmlformats.org/officeDocument/2006/relationships/tags" Target="../tags/tag265.xml"/></Relationships>
</file>

<file path=ppt/slides/_rels/slide4.xml.rels><?xml version="1.0" encoding="UTF-8" standalone="yes"?>
<Relationships xmlns="http://schemas.openxmlformats.org/package/2006/relationships"><Relationship Id="rId8" Type="http://schemas.openxmlformats.org/officeDocument/2006/relationships/tags" Target="../tags/tag222.xml"/><Relationship Id="rId13" Type="http://schemas.openxmlformats.org/officeDocument/2006/relationships/tags" Target="../tags/tag227.xml"/><Relationship Id="rId18" Type="http://schemas.openxmlformats.org/officeDocument/2006/relationships/tags" Target="../tags/tag232.xml"/><Relationship Id="rId26" Type="http://schemas.openxmlformats.org/officeDocument/2006/relationships/image" Target="../media/image34.emf"/><Relationship Id="rId39" Type="http://schemas.openxmlformats.org/officeDocument/2006/relationships/image" Target="../media/image47.emf"/><Relationship Id="rId3" Type="http://schemas.openxmlformats.org/officeDocument/2006/relationships/tags" Target="../tags/tag217.xml"/><Relationship Id="rId21" Type="http://schemas.openxmlformats.org/officeDocument/2006/relationships/tags" Target="../tags/tag235.xml"/><Relationship Id="rId34" Type="http://schemas.openxmlformats.org/officeDocument/2006/relationships/image" Target="../media/image42.emf"/><Relationship Id="rId42" Type="http://schemas.openxmlformats.org/officeDocument/2006/relationships/image" Target="../media/image50.png"/><Relationship Id="rId7" Type="http://schemas.openxmlformats.org/officeDocument/2006/relationships/tags" Target="../tags/tag221.xml"/><Relationship Id="rId12" Type="http://schemas.openxmlformats.org/officeDocument/2006/relationships/tags" Target="../tags/tag226.xml"/><Relationship Id="rId17" Type="http://schemas.openxmlformats.org/officeDocument/2006/relationships/tags" Target="../tags/tag231.xml"/><Relationship Id="rId25" Type="http://schemas.openxmlformats.org/officeDocument/2006/relationships/hyperlink" Target="https://en.wikipedia.org/wiki/2019%E2%80%9320_coronavirus_pandemic" TargetMode="External"/><Relationship Id="rId33" Type="http://schemas.openxmlformats.org/officeDocument/2006/relationships/image" Target="../media/image41.emf"/><Relationship Id="rId38" Type="http://schemas.openxmlformats.org/officeDocument/2006/relationships/image" Target="../media/image46.emf"/><Relationship Id="rId2" Type="http://schemas.openxmlformats.org/officeDocument/2006/relationships/tags" Target="../tags/tag216.xml"/><Relationship Id="rId16" Type="http://schemas.openxmlformats.org/officeDocument/2006/relationships/tags" Target="../tags/tag230.xml"/><Relationship Id="rId20" Type="http://schemas.openxmlformats.org/officeDocument/2006/relationships/tags" Target="../tags/tag234.xml"/><Relationship Id="rId29" Type="http://schemas.openxmlformats.org/officeDocument/2006/relationships/image" Target="../media/image37.emf"/><Relationship Id="rId41" Type="http://schemas.openxmlformats.org/officeDocument/2006/relationships/image" Target="../media/image49.emf"/><Relationship Id="rId1" Type="http://schemas.openxmlformats.org/officeDocument/2006/relationships/tags" Target="../tags/tag215.xml"/><Relationship Id="rId6" Type="http://schemas.openxmlformats.org/officeDocument/2006/relationships/tags" Target="../tags/tag220.xml"/><Relationship Id="rId11" Type="http://schemas.openxmlformats.org/officeDocument/2006/relationships/tags" Target="../tags/tag225.xml"/><Relationship Id="rId24" Type="http://schemas.openxmlformats.org/officeDocument/2006/relationships/notesSlide" Target="../notesSlides/notesSlide3.xml"/><Relationship Id="rId32" Type="http://schemas.openxmlformats.org/officeDocument/2006/relationships/image" Target="../media/image40.emf"/><Relationship Id="rId37" Type="http://schemas.openxmlformats.org/officeDocument/2006/relationships/image" Target="../media/image45.emf"/><Relationship Id="rId40" Type="http://schemas.openxmlformats.org/officeDocument/2006/relationships/image" Target="../media/image48.emf"/><Relationship Id="rId5" Type="http://schemas.openxmlformats.org/officeDocument/2006/relationships/tags" Target="../tags/tag219.xml"/><Relationship Id="rId15" Type="http://schemas.openxmlformats.org/officeDocument/2006/relationships/tags" Target="../tags/tag229.xml"/><Relationship Id="rId23" Type="http://schemas.openxmlformats.org/officeDocument/2006/relationships/slideLayout" Target="../slideLayouts/slideLayout281.xml"/><Relationship Id="rId28" Type="http://schemas.openxmlformats.org/officeDocument/2006/relationships/image" Target="../media/image36.emf"/><Relationship Id="rId36" Type="http://schemas.openxmlformats.org/officeDocument/2006/relationships/image" Target="../media/image44.emf"/><Relationship Id="rId10" Type="http://schemas.openxmlformats.org/officeDocument/2006/relationships/tags" Target="../tags/tag224.xml"/><Relationship Id="rId19" Type="http://schemas.openxmlformats.org/officeDocument/2006/relationships/tags" Target="../tags/tag233.xml"/><Relationship Id="rId31" Type="http://schemas.openxmlformats.org/officeDocument/2006/relationships/image" Target="../media/image39.emf"/><Relationship Id="rId44" Type="http://schemas.openxmlformats.org/officeDocument/2006/relationships/image" Target="../media/image52.emf"/><Relationship Id="rId4" Type="http://schemas.openxmlformats.org/officeDocument/2006/relationships/tags" Target="../tags/tag218.xml"/><Relationship Id="rId9" Type="http://schemas.openxmlformats.org/officeDocument/2006/relationships/tags" Target="../tags/tag223.xml"/><Relationship Id="rId14" Type="http://schemas.openxmlformats.org/officeDocument/2006/relationships/tags" Target="../tags/tag228.xml"/><Relationship Id="rId22" Type="http://schemas.openxmlformats.org/officeDocument/2006/relationships/tags" Target="../tags/tag236.xml"/><Relationship Id="rId27" Type="http://schemas.openxmlformats.org/officeDocument/2006/relationships/image" Target="../media/image35.emf"/><Relationship Id="rId30" Type="http://schemas.openxmlformats.org/officeDocument/2006/relationships/image" Target="../media/image38.emf"/><Relationship Id="rId35" Type="http://schemas.openxmlformats.org/officeDocument/2006/relationships/image" Target="../media/image43.emf"/><Relationship Id="rId43" Type="http://schemas.openxmlformats.org/officeDocument/2006/relationships/image" Target="../media/image51.emf"/></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308.xml"/><Relationship Id="rId1" Type="http://schemas.openxmlformats.org/officeDocument/2006/relationships/tags" Target="../tags/tag237.xml"/></Relationships>
</file>

<file path=ppt/slides/_rels/slide6.xml.rels><?xml version="1.0" encoding="UTF-8" standalone="yes"?>
<Relationships xmlns="http://schemas.openxmlformats.org/package/2006/relationships"><Relationship Id="rId8" Type="http://schemas.openxmlformats.org/officeDocument/2006/relationships/image" Target="../media/image58.png"/><Relationship Id="rId3" Type="http://schemas.openxmlformats.org/officeDocument/2006/relationships/image" Target="../media/image53.png"/><Relationship Id="rId7" Type="http://schemas.openxmlformats.org/officeDocument/2006/relationships/image" Target="../media/image57.png"/><Relationship Id="rId2" Type="http://schemas.openxmlformats.org/officeDocument/2006/relationships/notesSlide" Target="../notesSlides/notesSlide5.xml"/><Relationship Id="rId1" Type="http://schemas.openxmlformats.org/officeDocument/2006/relationships/slideLayout" Target="../slideLayouts/slideLayout337.xml"/><Relationship Id="rId6" Type="http://schemas.openxmlformats.org/officeDocument/2006/relationships/image" Target="../media/image56.png"/><Relationship Id="rId5" Type="http://schemas.openxmlformats.org/officeDocument/2006/relationships/image" Target="../media/image55.png"/><Relationship Id="rId4" Type="http://schemas.openxmlformats.org/officeDocument/2006/relationships/image" Target="../media/image54.png"/></Relationships>
</file>

<file path=ppt/slides/_rels/slide7.xml.rels><?xml version="1.0" encoding="UTF-8" standalone="yes"?>
<Relationships xmlns="http://schemas.openxmlformats.org/package/2006/relationships"><Relationship Id="rId8" Type="http://schemas.openxmlformats.org/officeDocument/2006/relationships/image" Target="../media/image60.jpeg"/><Relationship Id="rId3" Type="http://schemas.openxmlformats.org/officeDocument/2006/relationships/tags" Target="../tags/tag239.xml"/><Relationship Id="rId7" Type="http://schemas.openxmlformats.org/officeDocument/2006/relationships/image" Target="../media/image59.emf"/><Relationship Id="rId2" Type="http://schemas.openxmlformats.org/officeDocument/2006/relationships/tags" Target="../tags/tag238.xml"/><Relationship Id="rId1" Type="http://schemas.openxmlformats.org/officeDocument/2006/relationships/vmlDrawing" Target="../drawings/vmlDrawing23.vml"/><Relationship Id="rId6" Type="http://schemas.openxmlformats.org/officeDocument/2006/relationships/oleObject" Target="../embeddings/oleObject16.bin"/><Relationship Id="rId5" Type="http://schemas.openxmlformats.org/officeDocument/2006/relationships/notesSlide" Target="../notesSlides/notesSlide6.xml"/><Relationship Id="rId4" Type="http://schemas.openxmlformats.org/officeDocument/2006/relationships/slideLayout" Target="../slideLayouts/slideLayout154.xml"/></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364.xml"/><Relationship Id="rId1" Type="http://schemas.openxmlformats.org/officeDocument/2006/relationships/tags" Target="../tags/tag240.xml"/></Relationships>
</file>

<file path=ppt/slides/_rels/slide9.xml.rels><?xml version="1.0" encoding="UTF-8" standalone="yes"?>
<Relationships xmlns="http://schemas.openxmlformats.org/package/2006/relationships"><Relationship Id="rId8" Type="http://schemas.openxmlformats.org/officeDocument/2006/relationships/oleObject" Target="../embeddings/oleObject17.bin"/><Relationship Id="rId13" Type="http://schemas.openxmlformats.org/officeDocument/2006/relationships/image" Target="../media/image57.png"/><Relationship Id="rId18" Type="http://schemas.openxmlformats.org/officeDocument/2006/relationships/image" Target="../media/image64.png"/><Relationship Id="rId3" Type="http://schemas.openxmlformats.org/officeDocument/2006/relationships/tags" Target="../tags/tag242.xml"/><Relationship Id="rId7" Type="http://schemas.openxmlformats.org/officeDocument/2006/relationships/image" Target="../media/image53.png"/><Relationship Id="rId12" Type="http://schemas.openxmlformats.org/officeDocument/2006/relationships/image" Target="../media/image55.png"/><Relationship Id="rId17" Type="http://schemas.openxmlformats.org/officeDocument/2006/relationships/image" Target="../media/image63.png"/><Relationship Id="rId2" Type="http://schemas.openxmlformats.org/officeDocument/2006/relationships/tags" Target="../tags/tag241.xml"/><Relationship Id="rId16" Type="http://schemas.openxmlformats.org/officeDocument/2006/relationships/image" Target="../media/image62.png"/><Relationship Id="rId1" Type="http://schemas.openxmlformats.org/officeDocument/2006/relationships/vmlDrawing" Target="../drawings/vmlDrawing24.vml"/><Relationship Id="rId6" Type="http://schemas.openxmlformats.org/officeDocument/2006/relationships/notesSlide" Target="../notesSlides/notesSlide8.xml"/><Relationship Id="rId11" Type="http://schemas.openxmlformats.org/officeDocument/2006/relationships/image" Target="../media/image54.png"/><Relationship Id="rId5" Type="http://schemas.openxmlformats.org/officeDocument/2006/relationships/slideLayout" Target="../slideLayouts/slideLayout393.xml"/><Relationship Id="rId15" Type="http://schemas.openxmlformats.org/officeDocument/2006/relationships/image" Target="../media/image61.png"/><Relationship Id="rId10" Type="http://schemas.openxmlformats.org/officeDocument/2006/relationships/chart" Target="../charts/chart1.xml"/><Relationship Id="rId4" Type="http://schemas.openxmlformats.org/officeDocument/2006/relationships/tags" Target="../tags/tag243.xml"/><Relationship Id="rId9" Type="http://schemas.openxmlformats.org/officeDocument/2006/relationships/image" Target="../media/image11.emf"/><Relationship Id="rId14" Type="http://schemas.openxmlformats.org/officeDocument/2006/relationships/image" Target="../media/image58.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Placeholder 9"/>
          <p:cNvPicPr>
            <a:picLocks noGrp="1" noChangeAspect="1"/>
          </p:cNvPicPr>
          <p:nvPr>
            <p:ph type="pic" sz="quarter" idx="13"/>
          </p:nvPr>
        </p:nvPicPr>
        <p:blipFill>
          <a:blip r:embed="rId3" cstate="print">
            <a:extLst>
              <a:ext uri="{28A0092B-C50C-407E-A947-70E740481C1C}">
                <a14:useLocalDpi xmlns:a14="http://schemas.microsoft.com/office/drawing/2010/main"/>
              </a:ext>
            </a:extLst>
          </a:blip>
          <a:srcRect/>
          <a:stretch/>
        </p:blipFill>
        <p:spPr>
          <a:xfrm>
            <a:off x="6767869" y="2513"/>
            <a:ext cx="5470919" cy="6855488"/>
          </a:xfrm>
        </p:spPr>
      </p:pic>
      <p:sp>
        <p:nvSpPr>
          <p:cNvPr id="2" name="Date Placeholder 1"/>
          <p:cNvSpPr>
            <a:spLocks noGrp="1"/>
          </p:cNvSpPr>
          <p:nvPr>
            <p:ph type="dt" sz="half" idx="10"/>
          </p:nvPr>
        </p:nvSpPr>
        <p:spPr/>
        <p:txBody>
          <a:bodyPr/>
          <a:lstStyle/>
          <a:p>
            <a:pPr defTabSz="1218804"/>
            <a:fld id="{6BF03B78-8E99-4D70-A653-6EEBEBDDCA96}" type="datetime5">
              <a:rPr lang="en-US">
                <a:latin typeface="Lato"/>
              </a:rPr>
              <a:pPr defTabSz="1218804"/>
              <a:t>26-Jun-20</a:t>
            </a:fld>
            <a:endParaRPr lang="en-US" dirty="0">
              <a:latin typeface="Lato"/>
            </a:endParaRPr>
          </a:p>
        </p:txBody>
      </p:sp>
      <p:sp>
        <p:nvSpPr>
          <p:cNvPr id="3" name="Footer Placeholder 2"/>
          <p:cNvSpPr>
            <a:spLocks noGrp="1"/>
          </p:cNvSpPr>
          <p:nvPr>
            <p:ph type="ftr" sz="quarter" idx="11"/>
          </p:nvPr>
        </p:nvSpPr>
        <p:spPr/>
        <p:txBody>
          <a:bodyPr/>
          <a:lstStyle/>
          <a:p>
            <a:pPr defTabSz="1218804"/>
            <a:r>
              <a:rPr lang="en-US">
                <a:latin typeface="Lato"/>
              </a:rPr>
              <a:t>Title of presentation (Insert / Header &amp; Footer / Apply to All)</a:t>
            </a:r>
            <a:endParaRPr lang="en-US" dirty="0">
              <a:latin typeface="Lato"/>
            </a:endParaRPr>
          </a:p>
        </p:txBody>
      </p:sp>
      <p:sp>
        <p:nvSpPr>
          <p:cNvPr id="4" name="Slide Number Placeholder 3"/>
          <p:cNvSpPr>
            <a:spLocks noGrp="1"/>
          </p:cNvSpPr>
          <p:nvPr>
            <p:ph type="sldNum" sz="quarter" idx="12"/>
          </p:nvPr>
        </p:nvSpPr>
        <p:spPr/>
        <p:txBody>
          <a:bodyPr/>
          <a:lstStyle/>
          <a:p>
            <a:pPr defTabSz="1218804"/>
            <a:fld id="{8E3B25F7-8D1F-44B5-B485-EE3C438CFD7B}" type="slidenum">
              <a:rPr lang="en-US">
                <a:latin typeface="Lato"/>
              </a:rPr>
              <a:pPr defTabSz="1218804"/>
              <a:t>1</a:t>
            </a:fld>
            <a:endParaRPr lang="en-US">
              <a:latin typeface="Lato"/>
            </a:endParaRPr>
          </a:p>
        </p:txBody>
      </p:sp>
      <p:sp>
        <p:nvSpPr>
          <p:cNvPr id="5" name="Title 4"/>
          <p:cNvSpPr>
            <a:spLocks noGrp="1"/>
          </p:cNvSpPr>
          <p:nvPr>
            <p:ph type="ctrTitle"/>
          </p:nvPr>
        </p:nvSpPr>
        <p:spPr>
          <a:xfrm>
            <a:off x="419352" y="1628775"/>
            <a:ext cx="4620856" cy="2236264"/>
          </a:xfrm>
        </p:spPr>
        <p:txBody>
          <a:bodyPr/>
          <a:lstStyle/>
          <a:p>
            <a:r>
              <a:rPr lang="en-US" dirty="0">
                <a:latin typeface="Lato" panose="020F0502020204030203" pitchFamily="34" charset="0"/>
                <a:ea typeface="Lato" panose="020F0502020204030203" pitchFamily="34" charset="0"/>
                <a:cs typeface="Lato" panose="020F0502020204030203" pitchFamily="34" charset="0"/>
              </a:rPr>
              <a:t>TCG</a:t>
            </a:r>
            <a:br>
              <a:rPr lang="en-US" dirty="0">
                <a:latin typeface="Lato" panose="020F0502020204030203" pitchFamily="34" charset="0"/>
                <a:ea typeface="Lato" panose="020F0502020204030203" pitchFamily="34" charset="0"/>
                <a:cs typeface="Lato" panose="020F0502020204030203" pitchFamily="34" charset="0"/>
              </a:rPr>
            </a:br>
            <a:r>
              <a:rPr lang="en-US" dirty="0">
                <a:latin typeface="Lato" panose="020F0502020204030203" pitchFamily="34" charset="0"/>
                <a:ea typeface="Lato" panose="020F0502020204030203" pitchFamily="34" charset="0"/>
                <a:cs typeface="Lato" panose="020F0502020204030203" pitchFamily="34" charset="0"/>
              </a:rPr>
              <a:t>Market Overview</a:t>
            </a:r>
          </a:p>
        </p:txBody>
      </p:sp>
      <p:sp>
        <p:nvSpPr>
          <p:cNvPr id="11" name="Текст 10">
            <a:extLst>
              <a:ext uri="{FF2B5EF4-FFF2-40B4-BE49-F238E27FC236}">
                <a16:creationId xmlns:a16="http://schemas.microsoft.com/office/drawing/2014/main" id="{EE5E6B02-04D0-4B39-84F6-B790D3EFBDB5}"/>
              </a:ext>
            </a:extLst>
          </p:cNvPr>
          <p:cNvSpPr>
            <a:spLocks noGrp="1"/>
          </p:cNvSpPr>
          <p:nvPr>
            <p:ph type="body" sz="quarter" idx="15"/>
          </p:nvPr>
        </p:nvSpPr>
        <p:spPr/>
        <p:txBody>
          <a:bodyPr/>
          <a:lstStyle/>
          <a:p>
            <a:r>
              <a:rPr lang="en-US" dirty="0"/>
              <a:t>GfK Retail</a:t>
            </a:r>
          </a:p>
        </p:txBody>
      </p:sp>
      <p:sp>
        <p:nvSpPr>
          <p:cNvPr id="13" name="Текст 12">
            <a:extLst>
              <a:ext uri="{FF2B5EF4-FFF2-40B4-BE49-F238E27FC236}">
                <a16:creationId xmlns:a16="http://schemas.microsoft.com/office/drawing/2014/main" id="{042722D1-29CA-475D-837F-150DD5C6C77C}"/>
              </a:ext>
            </a:extLst>
          </p:cNvPr>
          <p:cNvSpPr>
            <a:spLocks noGrp="1"/>
          </p:cNvSpPr>
          <p:nvPr>
            <p:ph type="body" sz="quarter" idx="14"/>
          </p:nvPr>
        </p:nvSpPr>
        <p:spPr/>
        <p:txBody>
          <a:bodyPr/>
          <a:lstStyle/>
          <a:p>
            <a:r>
              <a:rPr lang="en-US" dirty="0"/>
              <a:t>Gulnaz </a:t>
            </a:r>
            <a:r>
              <a:rPr lang="en-US" dirty="0" err="1"/>
              <a:t>Rakhmatullina</a:t>
            </a:r>
            <a:endParaRPr lang="en-US" dirty="0"/>
          </a:p>
        </p:txBody>
      </p:sp>
      <p:sp>
        <p:nvSpPr>
          <p:cNvPr id="15" name="Подзаголовок 14">
            <a:extLst>
              <a:ext uri="{FF2B5EF4-FFF2-40B4-BE49-F238E27FC236}">
                <a16:creationId xmlns:a16="http://schemas.microsoft.com/office/drawing/2014/main" id="{90116323-52F4-49DE-81F2-926BE569E029}"/>
              </a:ext>
            </a:extLst>
          </p:cNvPr>
          <p:cNvSpPr>
            <a:spLocks noGrp="1"/>
          </p:cNvSpPr>
          <p:nvPr>
            <p:ph type="subTitle" idx="1"/>
          </p:nvPr>
        </p:nvSpPr>
        <p:spPr/>
        <p:txBody>
          <a:bodyPr/>
          <a:lstStyle/>
          <a:p>
            <a:r>
              <a:rPr lang="en-US" dirty="0"/>
              <a:t>June 2020</a:t>
            </a:r>
          </a:p>
        </p:txBody>
      </p:sp>
    </p:spTree>
    <p:extLst>
      <p:ext uri="{BB962C8B-B14F-4D97-AF65-F5344CB8AC3E}">
        <p14:creationId xmlns:p14="http://schemas.microsoft.com/office/powerpoint/2010/main" val="107485128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ggetto 2" hidden="1">
            <a:extLst>
              <a:ext uri="{FF2B5EF4-FFF2-40B4-BE49-F238E27FC236}">
                <a16:creationId xmlns:a16="http://schemas.microsoft.com/office/drawing/2014/main" id="{D05BEDF1-5955-4C78-9A1D-86D7C28292BB}"/>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23671" name="Diapositiva think-cell" r:id="rId7" imgW="395" imgH="396" progId="TCLayout.ActiveDocument.1">
                  <p:embed/>
                </p:oleObj>
              </mc:Choice>
              <mc:Fallback>
                <p:oleObj name="Diapositiva think-cell" r:id="rId7" imgW="395" imgH="396" progId="TCLayout.ActiveDocument.1">
                  <p:embed/>
                  <p:pic>
                    <p:nvPicPr>
                      <p:cNvPr id="3" name="Oggetto 2" hidden="1">
                        <a:extLst>
                          <a:ext uri="{FF2B5EF4-FFF2-40B4-BE49-F238E27FC236}">
                            <a16:creationId xmlns:a16="http://schemas.microsoft.com/office/drawing/2014/main" id="{D05BEDF1-5955-4C78-9A1D-86D7C28292BB}"/>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ttangolo 1" hidden="1">
            <a:extLst>
              <a:ext uri="{FF2B5EF4-FFF2-40B4-BE49-F238E27FC236}">
                <a16:creationId xmlns:a16="http://schemas.microsoft.com/office/drawing/2014/main" id="{55DFBA0A-5F39-4534-B778-1B9FDB864AF0}"/>
              </a:ext>
            </a:extLst>
          </p:cNvPr>
          <p:cNvSpPr/>
          <p:nvPr>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25000"/>
              </a:lnSpc>
              <a:spcBef>
                <a:spcPts val="0"/>
              </a:spcBef>
              <a:spcAft>
                <a:spcPts val="0"/>
              </a:spcAft>
              <a:buClrTx/>
              <a:buSzTx/>
              <a:buFontTx/>
              <a:buNone/>
              <a:tabLst/>
              <a:defRPr/>
            </a:pPr>
            <a:endParaRPr kumimoji="0" lang="it-IT" sz="3600" b="1" i="0" u="none" strike="noStrike" kern="1200" cap="none" spc="0" normalizeH="0" baseline="0" noProof="0">
              <a:ln>
                <a:noFill/>
              </a:ln>
              <a:solidFill>
                <a:srgbClr val="FFFFFF"/>
              </a:solidFill>
              <a:effectLst/>
              <a:uLnTx/>
              <a:uFillTx/>
              <a:latin typeface="Lato Light" panose="020F0502020204030203" pitchFamily="34" charset="0"/>
              <a:ea typeface="+mn-ea"/>
              <a:cs typeface="+mn-cs"/>
              <a:sym typeface="Lato Light" panose="020F0502020204030203" pitchFamily="34" charset="0"/>
            </a:endParaRPr>
          </a:p>
        </p:txBody>
      </p:sp>
      <p:sp>
        <p:nvSpPr>
          <p:cNvPr id="41" name="Slide Number Placeholder 29">
            <a:extLst>
              <a:ext uri="{FF2B5EF4-FFF2-40B4-BE49-F238E27FC236}">
                <a16:creationId xmlns:a16="http://schemas.microsoft.com/office/drawing/2014/main" id="{DE0EA3F0-F2EC-4E45-BAEE-06936AEAA2B6}"/>
              </a:ext>
            </a:extLst>
          </p:cNvPr>
          <p:cNvSpPr txBox="1">
            <a:spLocks/>
          </p:cNvSpPr>
          <p:nvPr/>
        </p:nvSpPr>
        <p:spPr>
          <a:xfrm>
            <a:off x="11186669" y="6461671"/>
            <a:ext cx="648000" cy="133790"/>
          </a:xfrm>
          <a:prstGeom prst="rect">
            <a:avLst/>
          </a:prstGeom>
        </p:spPr>
        <p:txBody>
          <a:bodyPr vert="horz" lIns="0" tIns="0" rIns="0" bIns="0" rtlCol="0" anchor="b" anchorCtr="0"/>
          <a:lstStyle>
            <a:defPPr>
              <a:defRPr lang="en-US"/>
            </a:defPPr>
            <a:lvl1pPr marL="0" algn="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5F3E29E4-0979-4FCA-B4C5-5FC6044C982A}" type="slidenum">
              <a:rPr kumimoji="0" lang="en-US" sz="800" b="0" i="0" u="none" strike="noStrike" kern="1200" cap="none" spc="0" normalizeH="0" baseline="0" noProof="0" smtClean="0">
                <a:ln>
                  <a:noFill/>
                </a:ln>
                <a:solidFill>
                  <a:srgbClr val="414549"/>
                </a:solidFill>
                <a:effectLst/>
                <a:uLnTx/>
                <a:uFillTx/>
                <a:latin typeface="Lato"/>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800" b="0" i="0" u="none" strike="noStrike" kern="1200" cap="none" spc="0" normalizeH="0" baseline="0" noProof="0">
              <a:ln>
                <a:noFill/>
              </a:ln>
              <a:solidFill>
                <a:srgbClr val="414549"/>
              </a:solidFill>
              <a:effectLst/>
              <a:uLnTx/>
              <a:uFillTx/>
              <a:latin typeface="Lato"/>
              <a:ea typeface="+mn-ea"/>
              <a:cs typeface="+mn-cs"/>
            </a:endParaRPr>
          </a:p>
        </p:txBody>
      </p:sp>
      <p:sp>
        <p:nvSpPr>
          <p:cNvPr id="32" name="Text Box 6">
            <a:extLst>
              <a:ext uri="{FF2B5EF4-FFF2-40B4-BE49-F238E27FC236}">
                <a16:creationId xmlns:a16="http://schemas.microsoft.com/office/drawing/2014/main" id="{7F2968F7-E93D-4A13-B68B-37E9B68A188E}"/>
              </a:ext>
            </a:extLst>
          </p:cNvPr>
          <p:cNvSpPr txBox="1">
            <a:spLocks noChangeArrowheads="1"/>
          </p:cNvSpPr>
          <p:nvPr/>
        </p:nvSpPr>
        <p:spPr bwMode="auto">
          <a:xfrm>
            <a:off x="694457" y="3206101"/>
            <a:ext cx="763029" cy="276999"/>
          </a:xfrm>
          <a:prstGeom prst="rect">
            <a:avLst/>
          </a:prstGeom>
          <a:noFill/>
          <a:ln>
            <a:noFill/>
          </a:ln>
          <a:effectLst/>
        </p:spPr>
        <p:txBody>
          <a:bodyPr wrap="none" lIns="0" tIns="0" rIns="0" bIns="0" anchor="ctr">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it-IT" sz="1800" b="0" i="1" u="none" strike="noStrike" kern="1200" cap="none" spc="0" normalizeH="0" baseline="0" noProof="0">
                <a:ln>
                  <a:noFill/>
                </a:ln>
                <a:solidFill>
                  <a:srgbClr val="4D9991"/>
                </a:solidFill>
                <a:effectLst>
                  <a:outerShdw blurRad="38100" dist="38100" dir="2700000" algn="tl">
                    <a:srgbClr val="FFFFFF"/>
                  </a:outerShdw>
                </a:effectLst>
                <a:uLnTx/>
                <a:uFillTx/>
                <a:latin typeface="Lato Light"/>
                <a:ea typeface="+mn-ea"/>
                <a:cs typeface="Arial" panose="020B0604020202020204" pitchFamily="34" charset="0"/>
              </a:rPr>
              <a:t>BETTER</a:t>
            </a:r>
          </a:p>
        </p:txBody>
      </p:sp>
      <p:sp>
        <p:nvSpPr>
          <p:cNvPr id="33" name="Text Box 6">
            <a:extLst>
              <a:ext uri="{FF2B5EF4-FFF2-40B4-BE49-F238E27FC236}">
                <a16:creationId xmlns:a16="http://schemas.microsoft.com/office/drawing/2014/main" id="{5AFB3020-505A-430C-8DFD-4DA01D4694D6}"/>
              </a:ext>
            </a:extLst>
          </p:cNvPr>
          <p:cNvSpPr txBox="1">
            <a:spLocks noChangeArrowheads="1"/>
          </p:cNvSpPr>
          <p:nvPr/>
        </p:nvSpPr>
        <p:spPr bwMode="auto">
          <a:xfrm>
            <a:off x="707414" y="3783913"/>
            <a:ext cx="698909" cy="276999"/>
          </a:xfrm>
          <a:prstGeom prst="rect">
            <a:avLst/>
          </a:prstGeom>
          <a:noFill/>
          <a:ln>
            <a:noFill/>
          </a:ln>
          <a:effectLst/>
        </p:spPr>
        <p:txBody>
          <a:bodyPr wrap="none" lIns="0" tIns="0" rIns="0" bIns="0" anchor="ctr">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it-IT" sz="1800" b="0" i="1" u="none" strike="noStrike" kern="1200" cap="none" spc="0" normalizeH="0" baseline="0" noProof="0">
                <a:ln>
                  <a:noFill/>
                </a:ln>
                <a:solidFill>
                  <a:srgbClr val="E2B726"/>
                </a:solidFill>
                <a:effectLst>
                  <a:outerShdw blurRad="38100" dist="38100" dir="2700000" algn="tl">
                    <a:srgbClr val="FFFFFF"/>
                  </a:outerShdw>
                </a:effectLst>
                <a:uLnTx/>
                <a:uFillTx/>
                <a:latin typeface="Lato Light"/>
                <a:ea typeface="+mn-ea"/>
                <a:cs typeface="Arial" panose="020B0604020202020204" pitchFamily="34" charset="0"/>
              </a:rPr>
              <a:t>EQUAL</a:t>
            </a:r>
          </a:p>
        </p:txBody>
      </p:sp>
      <p:sp>
        <p:nvSpPr>
          <p:cNvPr id="34" name="Text Box 6">
            <a:extLst>
              <a:ext uri="{FF2B5EF4-FFF2-40B4-BE49-F238E27FC236}">
                <a16:creationId xmlns:a16="http://schemas.microsoft.com/office/drawing/2014/main" id="{0B910E70-88CE-4D8E-A2C0-51B5FE34A466}"/>
              </a:ext>
            </a:extLst>
          </p:cNvPr>
          <p:cNvSpPr txBox="1">
            <a:spLocks noChangeArrowheads="1"/>
          </p:cNvSpPr>
          <p:nvPr/>
        </p:nvSpPr>
        <p:spPr bwMode="auto">
          <a:xfrm>
            <a:off x="677780" y="4418328"/>
            <a:ext cx="756617" cy="276999"/>
          </a:xfrm>
          <a:prstGeom prst="rect">
            <a:avLst/>
          </a:prstGeom>
          <a:noFill/>
          <a:ln>
            <a:noFill/>
          </a:ln>
          <a:effectLst/>
        </p:spPr>
        <p:txBody>
          <a:bodyPr wrap="none" lIns="0" tIns="0" rIns="0" bIns="0" anchor="ctr">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it-IT" sz="1800" b="0" i="1" u="none" strike="noStrike" kern="1200" cap="none" spc="0" normalizeH="0" baseline="0" noProof="0">
                <a:ln>
                  <a:noFill/>
                </a:ln>
                <a:solidFill>
                  <a:srgbClr val="202D46"/>
                </a:solidFill>
                <a:effectLst>
                  <a:outerShdw blurRad="38100" dist="38100" dir="2700000" algn="tl">
                    <a:srgbClr val="FFFFFF"/>
                  </a:outerShdw>
                </a:effectLst>
                <a:uLnTx/>
                <a:uFillTx/>
                <a:latin typeface="Lato Light"/>
                <a:ea typeface="+mn-ea"/>
                <a:cs typeface="Arial" panose="020B0604020202020204" pitchFamily="34" charset="0"/>
              </a:rPr>
              <a:t>WORSE</a:t>
            </a:r>
          </a:p>
        </p:txBody>
      </p:sp>
      <p:sp>
        <p:nvSpPr>
          <p:cNvPr id="35" name="Text Box 6">
            <a:extLst>
              <a:ext uri="{FF2B5EF4-FFF2-40B4-BE49-F238E27FC236}">
                <a16:creationId xmlns:a16="http://schemas.microsoft.com/office/drawing/2014/main" id="{26E8748D-D745-4B95-BE9E-0F21C63C1A12}"/>
              </a:ext>
            </a:extLst>
          </p:cNvPr>
          <p:cNvSpPr txBox="1">
            <a:spLocks noChangeArrowheads="1"/>
          </p:cNvSpPr>
          <p:nvPr/>
        </p:nvSpPr>
        <p:spPr bwMode="auto">
          <a:xfrm>
            <a:off x="347287" y="2399331"/>
            <a:ext cx="1533048" cy="246221"/>
          </a:xfrm>
          <a:prstGeom prst="rect">
            <a:avLst/>
          </a:prstGeom>
          <a:noFill/>
          <a:ln>
            <a:noFill/>
          </a:ln>
          <a:effectLst/>
        </p:spPr>
        <p:txBody>
          <a:bodyPr wrap="none" lIns="0" tIns="0" rIns="0" bIns="0" anchor="ctr">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600" b="0" i="1" u="none" strike="noStrike" kern="1200" cap="none" spc="0" normalizeH="0" baseline="0" noProof="0">
                <a:ln>
                  <a:noFill/>
                </a:ln>
                <a:solidFill>
                  <a:srgbClr val="414549"/>
                </a:solidFill>
                <a:effectLst>
                  <a:outerShdw blurRad="38100" dist="38100" dir="2700000" algn="tl">
                    <a:srgbClr val="FFFFFF"/>
                  </a:outerShdw>
                </a:effectLst>
                <a:uLnTx/>
                <a:uFillTx/>
                <a:latin typeface="Lato Light"/>
                <a:ea typeface="+mn-ea"/>
                <a:cs typeface="Arial" panose="020B0604020202020204" pitchFamily="34" charset="0"/>
              </a:rPr>
              <a:t>∆ (better - worse)</a:t>
            </a:r>
          </a:p>
        </p:txBody>
      </p:sp>
      <p:graphicFrame>
        <p:nvGraphicFramePr>
          <p:cNvPr id="18" name="Grafico 17">
            <a:extLst>
              <a:ext uri="{FF2B5EF4-FFF2-40B4-BE49-F238E27FC236}">
                <a16:creationId xmlns:a16="http://schemas.microsoft.com/office/drawing/2014/main" id="{7E7F4695-91BA-42EB-B698-F18ECC595B89}"/>
              </a:ext>
            </a:extLst>
          </p:cNvPr>
          <p:cNvGraphicFramePr/>
          <p:nvPr/>
        </p:nvGraphicFramePr>
        <p:xfrm>
          <a:off x="595868" y="2727918"/>
          <a:ext cx="10859233" cy="2914649"/>
        </p:xfrm>
        <a:graphic>
          <a:graphicData uri="http://schemas.openxmlformats.org/drawingml/2006/chart">
            <c:chart xmlns:c="http://schemas.openxmlformats.org/drawingml/2006/chart" xmlns:r="http://schemas.openxmlformats.org/officeDocument/2006/relationships" r:id="rId9"/>
          </a:graphicData>
        </a:graphic>
      </p:graphicFrame>
      <p:sp>
        <p:nvSpPr>
          <p:cNvPr id="46" name="Text Box 6">
            <a:extLst>
              <a:ext uri="{FF2B5EF4-FFF2-40B4-BE49-F238E27FC236}">
                <a16:creationId xmlns:a16="http://schemas.microsoft.com/office/drawing/2014/main" id="{920950DF-0311-4B7A-8B69-94D5F6858E99}"/>
              </a:ext>
            </a:extLst>
          </p:cNvPr>
          <p:cNvSpPr txBox="1">
            <a:spLocks noChangeArrowheads="1"/>
          </p:cNvSpPr>
          <p:nvPr/>
        </p:nvSpPr>
        <p:spPr bwMode="auto">
          <a:xfrm>
            <a:off x="2344840" y="2566355"/>
            <a:ext cx="310984" cy="246221"/>
          </a:xfrm>
          <a:prstGeom prst="rect">
            <a:avLst/>
          </a:prstGeom>
          <a:noFill/>
          <a:ln>
            <a:noFill/>
          </a:ln>
          <a:effectLst/>
        </p:spPr>
        <p:txBody>
          <a:bodyPr wrap="none" lIns="0" tIns="0" rIns="0" bIns="0" anchor="ctr">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600" b="0" i="1" u="none" strike="noStrike" kern="1200" cap="none" spc="0" normalizeH="0" baseline="0" noProof="0">
                <a:ln>
                  <a:noFill/>
                </a:ln>
                <a:solidFill>
                  <a:srgbClr val="414549"/>
                </a:solidFill>
                <a:effectLst>
                  <a:outerShdw blurRad="38100" dist="38100" dir="2700000" algn="tl">
                    <a:srgbClr val="FFFFFF"/>
                  </a:outerShdw>
                </a:effectLst>
                <a:uLnTx/>
                <a:uFillTx/>
                <a:latin typeface="Lato Light"/>
                <a:ea typeface="+mn-ea"/>
                <a:cs typeface="Arial" panose="020B0604020202020204" pitchFamily="34" charset="0"/>
              </a:rPr>
              <a:t>-23</a:t>
            </a:r>
          </a:p>
        </p:txBody>
      </p:sp>
      <p:sp>
        <p:nvSpPr>
          <p:cNvPr id="47" name="Text Box 6">
            <a:extLst>
              <a:ext uri="{FF2B5EF4-FFF2-40B4-BE49-F238E27FC236}">
                <a16:creationId xmlns:a16="http://schemas.microsoft.com/office/drawing/2014/main" id="{91212C3D-FB09-4593-BC93-323B4554FBFB}"/>
              </a:ext>
            </a:extLst>
          </p:cNvPr>
          <p:cNvSpPr txBox="1">
            <a:spLocks noChangeArrowheads="1"/>
          </p:cNvSpPr>
          <p:nvPr/>
        </p:nvSpPr>
        <p:spPr bwMode="auto">
          <a:xfrm>
            <a:off x="3412270" y="2566355"/>
            <a:ext cx="310984" cy="246221"/>
          </a:xfrm>
          <a:prstGeom prst="rect">
            <a:avLst/>
          </a:prstGeom>
          <a:noFill/>
          <a:ln>
            <a:noFill/>
          </a:ln>
          <a:effectLst/>
        </p:spPr>
        <p:txBody>
          <a:bodyPr wrap="none" lIns="0" tIns="0" rIns="0" bIns="0" anchor="ctr">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600" b="0" i="1" u="none" strike="noStrike" kern="1200" cap="none" spc="0" normalizeH="0" baseline="0" noProof="0">
                <a:ln>
                  <a:noFill/>
                </a:ln>
                <a:solidFill>
                  <a:srgbClr val="414549"/>
                </a:solidFill>
                <a:effectLst>
                  <a:outerShdw blurRad="38100" dist="38100" dir="2700000" algn="tl">
                    <a:srgbClr val="FFFFFF"/>
                  </a:outerShdw>
                </a:effectLst>
                <a:uLnTx/>
                <a:uFillTx/>
                <a:latin typeface="Lato Light"/>
                <a:ea typeface="+mn-ea"/>
                <a:cs typeface="Arial" panose="020B0604020202020204" pitchFamily="34" charset="0"/>
              </a:rPr>
              <a:t>-21</a:t>
            </a:r>
          </a:p>
        </p:txBody>
      </p:sp>
      <p:sp>
        <p:nvSpPr>
          <p:cNvPr id="48" name="Text Box 6">
            <a:extLst>
              <a:ext uri="{FF2B5EF4-FFF2-40B4-BE49-F238E27FC236}">
                <a16:creationId xmlns:a16="http://schemas.microsoft.com/office/drawing/2014/main" id="{5A86092B-8BD7-415D-93B3-C2C75EEC5E58}"/>
              </a:ext>
            </a:extLst>
          </p:cNvPr>
          <p:cNvSpPr txBox="1">
            <a:spLocks noChangeArrowheads="1"/>
          </p:cNvSpPr>
          <p:nvPr/>
        </p:nvSpPr>
        <p:spPr bwMode="auto">
          <a:xfrm>
            <a:off x="4446007" y="2566355"/>
            <a:ext cx="310984" cy="246221"/>
          </a:xfrm>
          <a:prstGeom prst="rect">
            <a:avLst/>
          </a:prstGeom>
          <a:noFill/>
          <a:ln>
            <a:noFill/>
          </a:ln>
          <a:effectLst/>
        </p:spPr>
        <p:txBody>
          <a:bodyPr wrap="none" lIns="0" tIns="0" rIns="0" bIns="0" anchor="ctr">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600" b="0" i="1" u="none" strike="noStrike" kern="1200" cap="none" spc="0" normalizeH="0" baseline="0" noProof="0">
                <a:ln>
                  <a:noFill/>
                </a:ln>
                <a:solidFill>
                  <a:srgbClr val="414549"/>
                </a:solidFill>
                <a:effectLst>
                  <a:outerShdw blurRad="38100" dist="38100" dir="2700000" algn="tl">
                    <a:srgbClr val="FFFFFF"/>
                  </a:outerShdw>
                </a:effectLst>
                <a:uLnTx/>
                <a:uFillTx/>
                <a:latin typeface="Lato Light"/>
                <a:ea typeface="+mn-ea"/>
                <a:cs typeface="Arial" panose="020B0604020202020204" pitchFamily="34" charset="0"/>
              </a:rPr>
              <a:t>-11</a:t>
            </a:r>
          </a:p>
        </p:txBody>
      </p:sp>
      <p:sp>
        <p:nvSpPr>
          <p:cNvPr id="49" name="Text Box 6">
            <a:extLst>
              <a:ext uri="{FF2B5EF4-FFF2-40B4-BE49-F238E27FC236}">
                <a16:creationId xmlns:a16="http://schemas.microsoft.com/office/drawing/2014/main" id="{1735138E-8C25-4309-9BB2-385E1D80B803}"/>
              </a:ext>
            </a:extLst>
          </p:cNvPr>
          <p:cNvSpPr txBox="1">
            <a:spLocks noChangeArrowheads="1"/>
          </p:cNvSpPr>
          <p:nvPr/>
        </p:nvSpPr>
        <p:spPr bwMode="auto">
          <a:xfrm>
            <a:off x="5532752" y="2566355"/>
            <a:ext cx="192360" cy="246221"/>
          </a:xfrm>
          <a:prstGeom prst="rect">
            <a:avLst/>
          </a:prstGeom>
          <a:noFill/>
          <a:ln>
            <a:noFill/>
          </a:ln>
          <a:effectLst/>
        </p:spPr>
        <p:txBody>
          <a:bodyPr wrap="none" lIns="0" tIns="0" rIns="0" bIns="0" anchor="ctr">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600" b="0" i="1" u="none" strike="noStrike" kern="1200" cap="none" spc="0" normalizeH="0" baseline="0" noProof="0">
                <a:ln>
                  <a:noFill/>
                </a:ln>
                <a:solidFill>
                  <a:srgbClr val="414549"/>
                </a:solidFill>
                <a:effectLst>
                  <a:outerShdw blurRad="38100" dist="38100" dir="2700000" algn="tl">
                    <a:srgbClr val="FFFFFF"/>
                  </a:outerShdw>
                </a:effectLst>
                <a:uLnTx/>
                <a:uFillTx/>
                <a:latin typeface="Lato Light"/>
                <a:ea typeface="+mn-ea"/>
                <a:cs typeface="Arial" panose="020B0604020202020204" pitchFamily="34" charset="0"/>
              </a:rPr>
              <a:t>-3</a:t>
            </a:r>
          </a:p>
        </p:txBody>
      </p:sp>
      <p:grpSp>
        <p:nvGrpSpPr>
          <p:cNvPr id="52" name="Group 52">
            <a:extLst>
              <a:ext uri="{FF2B5EF4-FFF2-40B4-BE49-F238E27FC236}">
                <a16:creationId xmlns:a16="http://schemas.microsoft.com/office/drawing/2014/main" id="{498D6D6E-5562-461D-9180-26A94B25CB48}"/>
              </a:ext>
            </a:extLst>
          </p:cNvPr>
          <p:cNvGrpSpPr>
            <a:grpSpLocks noChangeAspect="1"/>
          </p:cNvGrpSpPr>
          <p:nvPr>
            <p:custDataLst>
              <p:tags r:id="rId4"/>
            </p:custDataLst>
          </p:nvPr>
        </p:nvGrpSpPr>
        <p:grpSpPr bwMode="auto">
          <a:xfrm>
            <a:off x="10386167" y="1799218"/>
            <a:ext cx="748803" cy="720000"/>
            <a:chOff x="423" y="-201"/>
            <a:chExt cx="4914" cy="4725"/>
          </a:xfrm>
          <a:solidFill>
            <a:srgbClr val="676A6D"/>
          </a:solidFill>
        </p:grpSpPr>
        <p:sp>
          <p:nvSpPr>
            <p:cNvPr id="53" name="Freeform 53">
              <a:extLst>
                <a:ext uri="{FF2B5EF4-FFF2-40B4-BE49-F238E27FC236}">
                  <a16:creationId xmlns:a16="http://schemas.microsoft.com/office/drawing/2014/main" id="{5D15A353-A87C-43EA-A509-26D8F57B948B}"/>
                </a:ext>
              </a:extLst>
            </p:cNvPr>
            <p:cNvSpPr>
              <a:spLocks noEditPoints="1"/>
            </p:cNvSpPr>
            <p:nvPr/>
          </p:nvSpPr>
          <p:spPr bwMode="auto">
            <a:xfrm>
              <a:off x="423" y="1311"/>
              <a:ext cx="2079" cy="2646"/>
            </a:xfrm>
            <a:custGeom>
              <a:avLst/>
              <a:gdLst>
                <a:gd name="T0" fmla="*/ 880 w 880"/>
                <a:gd name="T1" fmla="*/ 920 h 1120"/>
                <a:gd name="T2" fmla="*/ 440 w 880"/>
                <a:gd name="T3" fmla="*/ 1120 h 1120"/>
                <a:gd name="T4" fmla="*/ 0 w 880"/>
                <a:gd name="T5" fmla="*/ 920 h 1120"/>
                <a:gd name="T6" fmla="*/ 0 w 880"/>
                <a:gd name="T7" fmla="*/ 832 h 1120"/>
                <a:gd name="T8" fmla="*/ 440 w 880"/>
                <a:gd name="T9" fmla="*/ 960 h 1120"/>
                <a:gd name="T10" fmla="*/ 880 w 880"/>
                <a:gd name="T11" fmla="*/ 832 h 1120"/>
                <a:gd name="T12" fmla="*/ 880 w 880"/>
                <a:gd name="T13" fmla="*/ 920 h 1120"/>
                <a:gd name="T14" fmla="*/ 440 w 880"/>
                <a:gd name="T15" fmla="*/ 0 h 1120"/>
                <a:gd name="T16" fmla="*/ 880 w 880"/>
                <a:gd name="T17" fmla="*/ 200 h 1120"/>
                <a:gd name="T18" fmla="*/ 440 w 880"/>
                <a:gd name="T19" fmla="*/ 400 h 1120"/>
                <a:gd name="T20" fmla="*/ 0 w 880"/>
                <a:gd name="T21" fmla="*/ 200 h 1120"/>
                <a:gd name="T22" fmla="*/ 440 w 880"/>
                <a:gd name="T23" fmla="*/ 0 h 1120"/>
                <a:gd name="T24" fmla="*/ 0 w 880"/>
                <a:gd name="T25" fmla="*/ 680 h 1120"/>
                <a:gd name="T26" fmla="*/ 0 w 880"/>
                <a:gd name="T27" fmla="*/ 592 h 1120"/>
                <a:gd name="T28" fmla="*/ 440 w 880"/>
                <a:gd name="T29" fmla="*/ 720 h 1120"/>
                <a:gd name="T30" fmla="*/ 880 w 880"/>
                <a:gd name="T31" fmla="*/ 592 h 1120"/>
                <a:gd name="T32" fmla="*/ 880 w 880"/>
                <a:gd name="T33" fmla="*/ 680 h 1120"/>
                <a:gd name="T34" fmla="*/ 440 w 880"/>
                <a:gd name="T35" fmla="*/ 880 h 1120"/>
                <a:gd name="T36" fmla="*/ 0 w 880"/>
                <a:gd name="T37" fmla="*/ 680 h 1120"/>
                <a:gd name="T38" fmla="*/ 0 w 880"/>
                <a:gd name="T39" fmla="*/ 440 h 1120"/>
                <a:gd name="T40" fmla="*/ 0 w 880"/>
                <a:gd name="T41" fmla="*/ 352 h 1120"/>
                <a:gd name="T42" fmla="*/ 440 w 880"/>
                <a:gd name="T43" fmla="*/ 480 h 1120"/>
                <a:gd name="T44" fmla="*/ 880 w 880"/>
                <a:gd name="T45" fmla="*/ 352 h 1120"/>
                <a:gd name="T46" fmla="*/ 880 w 880"/>
                <a:gd name="T47" fmla="*/ 440 h 1120"/>
                <a:gd name="T48" fmla="*/ 440 w 880"/>
                <a:gd name="T49" fmla="*/ 640 h 1120"/>
                <a:gd name="T50" fmla="*/ 0 w 880"/>
                <a:gd name="T51" fmla="*/ 440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880" h="1120">
                  <a:moveTo>
                    <a:pt x="880" y="920"/>
                  </a:moveTo>
                  <a:cubicBezTo>
                    <a:pt x="880" y="1030"/>
                    <a:pt x="683" y="1120"/>
                    <a:pt x="440" y="1120"/>
                  </a:cubicBezTo>
                  <a:cubicBezTo>
                    <a:pt x="197" y="1120"/>
                    <a:pt x="0" y="1030"/>
                    <a:pt x="0" y="920"/>
                  </a:cubicBezTo>
                  <a:cubicBezTo>
                    <a:pt x="0" y="832"/>
                    <a:pt x="0" y="832"/>
                    <a:pt x="0" y="832"/>
                  </a:cubicBezTo>
                  <a:cubicBezTo>
                    <a:pt x="112" y="927"/>
                    <a:pt x="298" y="960"/>
                    <a:pt x="440" y="960"/>
                  </a:cubicBezTo>
                  <a:cubicBezTo>
                    <a:pt x="582" y="960"/>
                    <a:pt x="768" y="927"/>
                    <a:pt x="880" y="832"/>
                  </a:cubicBezTo>
                  <a:lnTo>
                    <a:pt x="880" y="920"/>
                  </a:lnTo>
                  <a:close/>
                  <a:moveTo>
                    <a:pt x="440" y="0"/>
                  </a:moveTo>
                  <a:cubicBezTo>
                    <a:pt x="683" y="0"/>
                    <a:pt x="880" y="90"/>
                    <a:pt x="880" y="200"/>
                  </a:cubicBezTo>
                  <a:cubicBezTo>
                    <a:pt x="880" y="310"/>
                    <a:pt x="683" y="400"/>
                    <a:pt x="440" y="400"/>
                  </a:cubicBezTo>
                  <a:cubicBezTo>
                    <a:pt x="197" y="400"/>
                    <a:pt x="0" y="310"/>
                    <a:pt x="0" y="200"/>
                  </a:cubicBezTo>
                  <a:cubicBezTo>
                    <a:pt x="0" y="90"/>
                    <a:pt x="197" y="0"/>
                    <a:pt x="440" y="0"/>
                  </a:cubicBezTo>
                  <a:close/>
                  <a:moveTo>
                    <a:pt x="0" y="680"/>
                  </a:moveTo>
                  <a:cubicBezTo>
                    <a:pt x="0" y="592"/>
                    <a:pt x="0" y="592"/>
                    <a:pt x="0" y="592"/>
                  </a:cubicBezTo>
                  <a:cubicBezTo>
                    <a:pt x="112" y="687"/>
                    <a:pt x="298" y="720"/>
                    <a:pt x="440" y="720"/>
                  </a:cubicBezTo>
                  <a:cubicBezTo>
                    <a:pt x="582" y="720"/>
                    <a:pt x="768" y="687"/>
                    <a:pt x="880" y="592"/>
                  </a:cubicBezTo>
                  <a:cubicBezTo>
                    <a:pt x="880" y="680"/>
                    <a:pt x="880" y="680"/>
                    <a:pt x="880" y="680"/>
                  </a:cubicBezTo>
                  <a:cubicBezTo>
                    <a:pt x="880" y="834"/>
                    <a:pt x="549" y="880"/>
                    <a:pt x="440" y="880"/>
                  </a:cubicBezTo>
                  <a:cubicBezTo>
                    <a:pt x="331" y="880"/>
                    <a:pt x="0" y="834"/>
                    <a:pt x="0" y="680"/>
                  </a:cubicBezTo>
                  <a:close/>
                  <a:moveTo>
                    <a:pt x="0" y="440"/>
                  </a:moveTo>
                  <a:cubicBezTo>
                    <a:pt x="0" y="352"/>
                    <a:pt x="0" y="352"/>
                    <a:pt x="0" y="352"/>
                  </a:cubicBezTo>
                  <a:cubicBezTo>
                    <a:pt x="112" y="447"/>
                    <a:pt x="298" y="480"/>
                    <a:pt x="440" y="480"/>
                  </a:cubicBezTo>
                  <a:cubicBezTo>
                    <a:pt x="582" y="480"/>
                    <a:pt x="768" y="447"/>
                    <a:pt x="880" y="352"/>
                  </a:cubicBezTo>
                  <a:cubicBezTo>
                    <a:pt x="880" y="440"/>
                    <a:pt x="880" y="440"/>
                    <a:pt x="880" y="440"/>
                  </a:cubicBezTo>
                  <a:cubicBezTo>
                    <a:pt x="880" y="594"/>
                    <a:pt x="549" y="640"/>
                    <a:pt x="440" y="640"/>
                  </a:cubicBezTo>
                  <a:cubicBezTo>
                    <a:pt x="331" y="640"/>
                    <a:pt x="0" y="594"/>
                    <a:pt x="0" y="440"/>
                  </a:cubicBezTo>
                  <a:close/>
                </a:path>
              </a:pathLst>
            </a:custGeom>
            <a:grpFill/>
            <a:ln>
              <a:noFill/>
            </a:ln>
            <a:extLst>
              <a:ext uri="{91240B29-F687-4F45-9708-019B960494DF}">
                <a14:hiddenLine xmlns:a14="http://schemas.microsoft.com/office/drawing/2010/main" w="9525">
                  <a:solidFill>
                    <a:schemeClr val="dk1"/>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33" b="0" i="0" u="none" strike="noStrike" kern="1200" cap="none" spc="0" normalizeH="0" baseline="0" noProof="0">
                <a:ln>
                  <a:noFill/>
                </a:ln>
                <a:solidFill>
                  <a:srgbClr val="414549"/>
                </a:solidFill>
                <a:effectLst/>
                <a:uLnTx/>
                <a:uFillTx/>
                <a:latin typeface="Lato"/>
                <a:ea typeface="+mn-ea"/>
                <a:cs typeface="+mn-cs"/>
              </a:endParaRPr>
            </a:p>
          </p:txBody>
        </p:sp>
        <p:sp>
          <p:nvSpPr>
            <p:cNvPr id="54" name="Freeform 54">
              <a:extLst>
                <a:ext uri="{FF2B5EF4-FFF2-40B4-BE49-F238E27FC236}">
                  <a16:creationId xmlns:a16="http://schemas.microsoft.com/office/drawing/2014/main" id="{C85C764D-FCBC-46DE-BD7D-28520F8784BB}"/>
                </a:ext>
              </a:extLst>
            </p:cNvPr>
            <p:cNvSpPr>
              <a:spLocks noEditPoints="1"/>
            </p:cNvSpPr>
            <p:nvPr/>
          </p:nvSpPr>
          <p:spPr bwMode="auto">
            <a:xfrm>
              <a:off x="3258" y="1311"/>
              <a:ext cx="2079" cy="3213"/>
            </a:xfrm>
            <a:custGeom>
              <a:avLst/>
              <a:gdLst>
                <a:gd name="T0" fmla="*/ 880 w 880"/>
                <a:gd name="T1" fmla="*/ 920 h 1360"/>
                <a:gd name="T2" fmla="*/ 440 w 880"/>
                <a:gd name="T3" fmla="*/ 1120 h 1360"/>
                <a:gd name="T4" fmla="*/ 0 w 880"/>
                <a:gd name="T5" fmla="*/ 920 h 1360"/>
                <a:gd name="T6" fmla="*/ 0 w 880"/>
                <a:gd name="T7" fmla="*/ 832 h 1360"/>
                <a:gd name="T8" fmla="*/ 440 w 880"/>
                <a:gd name="T9" fmla="*/ 960 h 1360"/>
                <a:gd name="T10" fmla="*/ 880 w 880"/>
                <a:gd name="T11" fmla="*/ 832 h 1360"/>
                <a:gd name="T12" fmla="*/ 880 w 880"/>
                <a:gd name="T13" fmla="*/ 920 h 1360"/>
                <a:gd name="T14" fmla="*/ 880 w 880"/>
                <a:gd name="T15" fmla="*/ 1160 h 1360"/>
                <a:gd name="T16" fmla="*/ 440 w 880"/>
                <a:gd name="T17" fmla="*/ 1360 h 1360"/>
                <a:gd name="T18" fmla="*/ 0 w 880"/>
                <a:gd name="T19" fmla="*/ 1160 h 1360"/>
                <a:gd name="T20" fmla="*/ 0 w 880"/>
                <a:gd name="T21" fmla="*/ 1072 h 1360"/>
                <a:gd name="T22" fmla="*/ 440 w 880"/>
                <a:gd name="T23" fmla="*/ 1200 h 1360"/>
                <a:gd name="T24" fmla="*/ 880 w 880"/>
                <a:gd name="T25" fmla="*/ 1072 h 1360"/>
                <a:gd name="T26" fmla="*/ 880 w 880"/>
                <a:gd name="T27" fmla="*/ 1160 h 1360"/>
                <a:gd name="T28" fmla="*/ 440 w 880"/>
                <a:gd name="T29" fmla="*/ 0 h 1360"/>
                <a:gd name="T30" fmla="*/ 880 w 880"/>
                <a:gd name="T31" fmla="*/ 200 h 1360"/>
                <a:gd name="T32" fmla="*/ 440 w 880"/>
                <a:gd name="T33" fmla="*/ 400 h 1360"/>
                <a:gd name="T34" fmla="*/ 0 w 880"/>
                <a:gd name="T35" fmla="*/ 200 h 1360"/>
                <a:gd name="T36" fmla="*/ 440 w 880"/>
                <a:gd name="T37" fmla="*/ 0 h 1360"/>
                <a:gd name="T38" fmla="*/ 0 w 880"/>
                <a:gd name="T39" fmla="*/ 680 h 1360"/>
                <a:gd name="T40" fmla="*/ 0 w 880"/>
                <a:gd name="T41" fmla="*/ 592 h 1360"/>
                <a:gd name="T42" fmla="*/ 440 w 880"/>
                <a:gd name="T43" fmla="*/ 720 h 1360"/>
                <a:gd name="T44" fmla="*/ 880 w 880"/>
                <a:gd name="T45" fmla="*/ 592 h 1360"/>
                <a:gd name="T46" fmla="*/ 880 w 880"/>
                <a:gd name="T47" fmla="*/ 680 h 1360"/>
                <a:gd name="T48" fmla="*/ 440 w 880"/>
                <a:gd name="T49" fmla="*/ 880 h 1360"/>
                <a:gd name="T50" fmla="*/ 0 w 880"/>
                <a:gd name="T51" fmla="*/ 680 h 1360"/>
                <a:gd name="T52" fmla="*/ 0 w 880"/>
                <a:gd name="T53" fmla="*/ 440 h 1360"/>
                <a:gd name="T54" fmla="*/ 0 w 880"/>
                <a:gd name="T55" fmla="*/ 352 h 1360"/>
                <a:gd name="T56" fmla="*/ 440 w 880"/>
                <a:gd name="T57" fmla="*/ 480 h 1360"/>
                <a:gd name="T58" fmla="*/ 880 w 880"/>
                <a:gd name="T59" fmla="*/ 352 h 1360"/>
                <a:gd name="T60" fmla="*/ 880 w 880"/>
                <a:gd name="T61" fmla="*/ 440 h 1360"/>
                <a:gd name="T62" fmla="*/ 440 w 880"/>
                <a:gd name="T63" fmla="*/ 640 h 1360"/>
                <a:gd name="T64" fmla="*/ 0 w 880"/>
                <a:gd name="T65" fmla="*/ 440 h 1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880" h="1360">
                  <a:moveTo>
                    <a:pt x="880" y="920"/>
                  </a:moveTo>
                  <a:cubicBezTo>
                    <a:pt x="880" y="1030"/>
                    <a:pt x="683" y="1120"/>
                    <a:pt x="440" y="1120"/>
                  </a:cubicBezTo>
                  <a:cubicBezTo>
                    <a:pt x="197" y="1120"/>
                    <a:pt x="0" y="1030"/>
                    <a:pt x="0" y="920"/>
                  </a:cubicBezTo>
                  <a:cubicBezTo>
                    <a:pt x="0" y="832"/>
                    <a:pt x="0" y="832"/>
                    <a:pt x="0" y="832"/>
                  </a:cubicBezTo>
                  <a:cubicBezTo>
                    <a:pt x="112" y="927"/>
                    <a:pt x="298" y="960"/>
                    <a:pt x="440" y="960"/>
                  </a:cubicBezTo>
                  <a:cubicBezTo>
                    <a:pt x="582" y="960"/>
                    <a:pt x="768" y="927"/>
                    <a:pt x="880" y="832"/>
                  </a:cubicBezTo>
                  <a:lnTo>
                    <a:pt x="880" y="920"/>
                  </a:lnTo>
                  <a:close/>
                  <a:moveTo>
                    <a:pt x="880" y="1160"/>
                  </a:moveTo>
                  <a:cubicBezTo>
                    <a:pt x="880" y="1270"/>
                    <a:pt x="683" y="1360"/>
                    <a:pt x="440" y="1360"/>
                  </a:cubicBezTo>
                  <a:cubicBezTo>
                    <a:pt x="197" y="1360"/>
                    <a:pt x="0" y="1270"/>
                    <a:pt x="0" y="1160"/>
                  </a:cubicBezTo>
                  <a:cubicBezTo>
                    <a:pt x="0" y="1072"/>
                    <a:pt x="0" y="1072"/>
                    <a:pt x="0" y="1072"/>
                  </a:cubicBezTo>
                  <a:cubicBezTo>
                    <a:pt x="112" y="1167"/>
                    <a:pt x="298" y="1200"/>
                    <a:pt x="440" y="1200"/>
                  </a:cubicBezTo>
                  <a:cubicBezTo>
                    <a:pt x="582" y="1200"/>
                    <a:pt x="768" y="1167"/>
                    <a:pt x="880" y="1072"/>
                  </a:cubicBezTo>
                  <a:lnTo>
                    <a:pt x="880" y="1160"/>
                  </a:lnTo>
                  <a:close/>
                  <a:moveTo>
                    <a:pt x="440" y="0"/>
                  </a:moveTo>
                  <a:cubicBezTo>
                    <a:pt x="683" y="0"/>
                    <a:pt x="880" y="90"/>
                    <a:pt x="880" y="200"/>
                  </a:cubicBezTo>
                  <a:cubicBezTo>
                    <a:pt x="880" y="310"/>
                    <a:pt x="683" y="400"/>
                    <a:pt x="440" y="400"/>
                  </a:cubicBezTo>
                  <a:cubicBezTo>
                    <a:pt x="197" y="400"/>
                    <a:pt x="0" y="310"/>
                    <a:pt x="0" y="200"/>
                  </a:cubicBezTo>
                  <a:cubicBezTo>
                    <a:pt x="0" y="90"/>
                    <a:pt x="197" y="0"/>
                    <a:pt x="440" y="0"/>
                  </a:cubicBezTo>
                  <a:close/>
                  <a:moveTo>
                    <a:pt x="0" y="680"/>
                  </a:moveTo>
                  <a:cubicBezTo>
                    <a:pt x="0" y="592"/>
                    <a:pt x="0" y="592"/>
                    <a:pt x="0" y="592"/>
                  </a:cubicBezTo>
                  <a:cubicBezTo>
                    <a:pt x="112" y="687"/>
                    <a:pt x="298" y="720"/>
                    <a:pt x="440" y="720"/>
                  </a:cubicBezTo>
                  <a:cubicBezTo>
                    <a:pt x="582" y="720"/>
                    <a:pt x="768" y="687"/>
                    <a:pt x="880" y="592"/>
                  </a:cubicBezTo>
                  <a:cubicBezTo>
                    <a:pt x="880" y="680"/>
                    <a:pt x="880" y="680"/>
                    <a:pt x="880" y="680"/>
                  </a:cubicBezTo>
                  <a:cubicBezTo>
                    <a:pt x="880" y="834"/>
                    <a:pt x="549" y="880"/>
                    <a:pt x="440" y="880"/>
                  </a:cubicBezTo>
                  <a:cubicBezTo>
                    <a:pt x="331" y="880"/>
                    <a:pt x="0" y="834"/>
                    <a:pt x="0" y="680"/>
                  </a:cubicBezTo>
                  <a:close/>
                  <a:moveTo>
                    <a:pt x="0" y="440"/>
                  </a:moveTo>
                  <a:cubicBezTo>
                    <a:pt x="0" y="352"/>
                    <a:pt x="0" y="352"/>
                    <a:pt x="0" y="352"/>
                  </a:cubicBezTo>
                  <a:cubicBezTo>
                    <a:pt x="112" y="447"/>
                    <a:pt x="298" y="480"/>
                    <a:pt x="440" y="480"/>
                  </a:cubicBezTo>
                  <a:cubicBezTo>
                    <a:pt x="582" y="480"/>
                    <a:pt x="768" y="447"/>
                    <a:pt x="880" y="352"/>
                  </a:cubicBezTo>
                  <a:cubicBezTo>
                    <a:pt x="880" y="440"/>
                    <a:pt x="880" y="440"/>
                    <a:pt x="880" y="440"/>
                  </a:cubicBezTo>
                  <a:cubicBezTo>
                    <a:pt x="880" y="594"/>
                    <a:pt x="549" y="640"/>
                    <a:pt x="440" y="640"/>
                  </a:cubicBezTo>
                  <a:cubicBezTo>
                    <a:pt x="331" y="640"/>
                    <a:pt x="0" y="594"/>
                    <a:pt x="0" y="440"/>
                  </a:cubicBezTo>
                  <a:close/>
                </a:path>
              </a:pathLst>
            </a:custGeom>
            <a:grpFill/>
            <a:ln>
              <a:noFill/>
            </a:ln>
            <a:extLst>
              <a:ext uri="{91240B29-F687-4F45-9708-019B960494DF}">
                <a14:hiddenLine xmlns:a14="http://schemas.microsoft.com/office/drawing/2010/main" w="9525">
                  <a:solidFill>
                    <a:schemeClr val="dk1"/>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33" b="0" i="0" u="none" strike="noStrike" kern="1200" cap="none" spc="0" normalizeH="0" baseline="0" noProof="0">
                <a:ln>
                  <a:noFill/>
                </a:ln>
                <a:solidFill>
                  <a:srgbClr val="414549"/>
                </a:solidFill>
                <a:effectLst/>
                <a:uLnTx/>
                <a:uFillTx/>
                <a:latin typeface="Lato"/>
                <a:ea typeface="+mn-ea"/>
                <a:cs typeface="+mn-cs"/>
              </a:endParaRPr>
            </a:p>
          </p:txBody>
        </p:sp>
        <p:sp>
          <p:nvSpPr>
            <p:cNvPr id="55" name="Freeform 55">
              <a:extLst>
                <a:ext uri="{FF2B5EF4-FFF2-40B4-BE49-F238E27FC236}">
                  <a16:creationId xmlns:a16="http://schemas.microsoft.com/office/drawing/2014/main" id="{F632295D-F479-42D6-BD49-44B49D42AFD0}"/>
                </a:ext>
              </a:extLst>
            </p:cNvPr>
            <p:cNvSpPr>
              <a:spLocks noEditPoints="1"/>
            </p:cNvSpPr>
            <p:nvPr/>
          </p:nvSpPr>
          <p:spPr bwMode="auto">
            <a:xfrm>
              <a:off x="2124" y="-201"/>
              <a:ext cx="2079" cy="3777"/>
            </a:xfrm>
            <a:custGeom>
              <a:avLst/>
              <a:gdLst>
                <a:gd name="T0" fmla="*/ 400 w 880"/>
                <a:gd name="T1" fmla="*/ 1119 h 1599"/>
                <a:gd name="T2" fmla="*/ 240 w 880"/>
                <a:gd name="T3" fmla="*/ 1098 h 1599"/>
                <a:gd name="T4" fmla="*/ 240 w 880"/>
                <a:gd name="T5" fmla="*/ 939 h 1599"/>
                <a:gd name="T6" fmla="*/ 400 w 880"/>
                <a:gd name="T7" fmla="*/ 959 h 1599"/>
                <a:gd name="T8" fmla="*/ 400 w 880"/>
                <a:gd name="T9" fmla="*/ 1119 h 1599"/>
                <a:gd name="T10" fmla="*/ 400 w 880"/>
                <a:gd name="T11" fmla="*/ 1599 h 1599"/>
                <a:gd name="T12" fmla="*/ 240 w 880"/>
                <a:gd name="T13" fmla="*/ 1578 h 1599"/>
                <a:gd name="T14" fmla="*/ 240 w 880"/>
                <a:gd name="T15" fmla="*/ 1419 h 1599"/>
                <a:gd name="T16" fmla="*/ 400 w 880"/>
                <a:gd name="T17" fmla="*/ 1439 h 1599"/>
                <a:gd name="T18" fmla="*/ 400 w 880"/>
                <a:gd name="T19" fmla="*/ 1599 h 1599"/>
                <a:gd name="T20" fmla="*/ 240 w 880"/>
                <a:gd name="T21" fmla="*/ 1179 h 1599"/>
                <a:gd name="T22" fmla="*/ 400 w 880"/>
                <a:gd name="T23" fmla="*/ 1199 h 1599"/>
                <a:gd name="T24" fmla="*/ 400 w 880"/>
                <a:gd name="T25" fmla="*/ 1358 h 1599"/>
                <a:gd name="T26" fmla="*/ 240 w 880"/>
                <a:gd name="T27" fmla="*/ 1334 h 1599"/>
                <a:gd name="T28" fmla="*/ 240 w 880"/>
                <a:gd name="T29" fmla="*/ 1179 h 1599"/>
                <a:gd name="T30" fmla="*/ 440 w 880"/>
                <a:gd name="T31" fmla="*/ 0 h 1599"/>
                <a:gd name="T32" fmla="*/ 880 w 880"/>
                <a:gd name="T33" fmla="*/ 200 h 1599"/>
                <a:gd name="T34" fmla="*/ 440 w 880"/>
                <a:gd name="T35" fmla="*/ 400 h 1599"/>
                <a:gd name="T36" fmla="*/ 0 w 880"/>
                <a:gd name="T37" fmla="*/ 200 h 1599"/>
                <a:gd name="T38" fmla="*/ 440 w 880"/>
                <a:gd name="T39" fmla="*/ 0 h 1599"/>
                <a:gd name="T40" fmla="*/ 0 w 880"/>
                <a:gd name="T41" fmla="*/ 604 h 1599"/>
                <a:gd name="T42" fmla="*/ 0 w 880"/>
                <a:gd name="T43" fmla="*/ 592 h 1599"/>
                <a:gd name="T44" fmla="*/ 32 w 880"/>
                <a:gd name="T45" fmla="*/ 616 h 1599"/>
                <a:gd name="T46" fmla="*/ 0 w 880"/>
                <a:gd name="T47" fmla="*/ 604 h 1599"/>
                <a:gd name="T48" fmla="*/ 125 w 880"/>
                <a:gd name="T49" fmla="*/ 664 h 1599"/>
                <a:gd name="T50" fmla="*/ 440 w 880"/>
                <a:gd name="T51" fmla="*/ 720 h 1599"/>
                <a:gd name="T52" fmla="*/ 450 w 880"/>
                <a:gd name="T53" fmla="*/ 720 h 1599"/>
                <a:gd name="T54" fmla="*/ 400 w 880"/>
                <a:gd name="T55" fmla="*/ 840 h 1599"/>
                <a:gd name="T56" fmla="*/ 400 w 880"/>
                <a:gd name="T57" fmla="*/ 878 h 1599"/>
                <a:gd name="T58" fmla="*/ 240 w 880"/>
                <a:gd name="T59" fmla="*/ 854 h 1599"/>
                <a:gd name="T60" fmla="*/ 240 w 880"/>
                <a:gd name="T61" fmla="*/ 840 h 1599"/>
                <a:gd name="T62" fmla="*/ 125 w 880"/>
                <a:gd name="T63" fmla="*/ 664 h 1599"/>
                <a:gd name="T64" fmla="*/ 0 w 880"/>
                <a:gd name="T65" fmla="*/ 440 h 1599"/>
                <a:gd name="T66" fmla="*/ 0 w 880"/>
                <a:gd name="T67" fmla="*/ 352 h 1599"/>
                <a:gd name="T68" fmla="*/ 440 w 880"/>
                <a:gd name="T69" fmla="*/ 480 h 1599"/>
                <a:gd name="T70" fmla="*/ 880 w 880"/>
                <a:gd name="T71" fmla="*/ 352 h 1599"/>
                <a:gd name="T72" fmla="*/ 880 w 880"/>
                <a:gd name="T73" fmla="*/ 440 h 1599"/>
                <a:gd name="T74" fmla="*/ 766 w 880"/>
                <a:gd name="T75" fmla="*/ 572 h 1599"/>
                <a:gd name="T76" fmla="*/ 586 w 880"/>
                <a:gd name="T77" fmla="*/ 625 h 1599"/>
                <a:gd name="T78" fmla="*/ 440 w 880"/>
                <a:gd name="T79" fmla="*/ 640 h 1599"/>
                <a:gd name="T80" fmla="*/ 0 w 880"/>
                <a:gd name="T81" fmla="*/ 440 h 15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880" h="1599">
                  <a:moveTo>
                    <a:pt x="400" y="1119"/>
                  </a:moveTo>
                  <a:cubicBezTo>
                    <a:pt x="343" y="1117"/>
                    <a:pt x="289" y="1110"/>
                    <a:pt x="240" y="1098"/>
                  </a:cubicBezTo>
                  <a:cubicBezTo>
                    <a:pt x="240" y="939"/>
                    <a:pt x="240" y="939"/>
                    <a:pt x="240" y="939"/>
                  </a:cubicBezTo>
                  <a:cubicBezTo>
                    <a:pt x="294" y="951"/>
                    <a:pt x="349" y="957"/>
                    <a:pt x="400" y="959"/>
                  </a:cubicBezTo>
                  <a:lnTo>
                    <a:pt x="400" y="1119"/>
                  </a:lnTo>
                  <a:close/>
                  <a:moveTo>
                    <a:pt x="400" y="1599"/>
                  </a:moveTo>
                  <a:cubicBezTo>
                    <a:pt x="343" y="1597"/>
                    <a:pt x="289" y="1590"/>
                    <a:pt x="240" y="1578"/>
                  </a:cubicBezTo>
                  <a:cubicBezTo>
                    <a:pt x="240" y="1419"/>
                    <a:pt x="240" y="1419"/>
                    <a:pt x="240" y="1419"/>
                  </a:cubicBezTo>
                  <a:cubicBezTo>
                    <a:pt x="294" y="1431"/>
                    <a:pt x="349" y="1437"/>
                    <a:pt x="400" y="1439"/>
                  </a:cubicBezTo>
                  <a:lnTo>
                    <a:pt x="400" y="1599"/>
                  </a:lnTo>
                  <a:close/>
                  <a:moveTo>
                    <a:pt x="240" y="1179"/>
                  </a:moveTo>
                  <a:cubicBezTo>
                    <a:pt x="294" y="1191"/>
                    <a:pt x="349" y="1197"/>
                    <a:pt x="400" y="1199"/>
                  </a:cubicBezTo>
                  <a:cubicBezTo>
                    <a:pt x="400" y="1358"/>
                    <a:pt x="400" y="1358"/>
                    <a:pt x="400" y="1358"/>
                  </a:cubicBezTo>
                  <a:cubicBezTo>
                    <a:pt x="356" y="1356"/>
                    <a:pt x="298" y="1348"/>
                    <a:pt x="240" y="1334"/>
                  </a:cubicBezTo>
                  <a:lnTo>
                    <a:pt x="240" y="1179"/>
                  </a:lnTo>
                  <a:close/>
                  <a:moveTo>
                    <a:pt x="440" y="0"/>
                  </a:moveTo>
                  <a:cubicBezTo>
                    <a:pt x="683" y="0"/>
                    <a:pt x="880" y="90"/>
                    <a:pt x="880" y="200"/>
                  </a:cubicBezTo>
                  <a:cubicBezTo>
                    <a:pt x="880" y="310"/>
                    <a:pt x="683" y="400"/>
                    <a:pt x="440" y="400"/>
                  </a:cubicBezTo>
                  <a:cubicBezTo>
                    <a:pt x="197" y="400"/>
                    <a:pt x="0" y="310"/>
                    <a:pt x="0" y="200"/>
                  </a:cubicBezTo>
                  <a:cubicBezTo>
                    <a:pt x="0" y="90"/>
                    <a:pt x="197" y="0"/>
                    <a:pt x="440" y="0"/>
                  </a:cubicBezTo>
                  <a:close/>
                  <a:moveTo>
                    <a:pt x="0" y="604"/>
                  </a:moveTo>
                  <a:cubicBezTo>
                    <a:pt x="0" y="592"/>
                    <a:pt x="0" y="592"/>
                    <a:pt x="0" y="592"/>
                  </a:cubicBezTo>
                  <a:cubicBezTo>
                    <a:pt x="10" y="600"/>
                    <a:pt x="21" y="608"/>
                    <a:pt x="32" y="616"/>
                  </a:cubicBezTo>
                  <a:cubicBezTo>
                    <a:pt x="22" y="612"/>
                    <a:pt x="11" y="608"/>
                    <a:pt x="0" y="604"/>
                  </a:cubicBezTo>
                  <a:close/>
                  <a:moveTo>
                    <a:pt x="125" y="664"/>
                  </a:moveTo>
                  <a:cubicBezTo>
                    <a:pt x="226" y="705"/>
                    <a:pt x="343" y="720"/>
                    <a:pt x="440" y="720"/>
                  </a:cubicBezTo>
                  <a:cubicBezTo>
                    <a:pt x="443" y="720"/>
                    <a:pt x="447" y="720"/>
                    <a:pt x="450" y="720"/>
                  </a:cubicBezTo>
                  <a:cubicBezTo>
                    <a:pt x="418" y="756"/>
                    <a:pt x="400" y="797"/>
                    <a:pt x="400" y="840"/>
                  </a:cubicBezTo>
                  <a:cubicBezTo>
                    <a:pt x="400" y="878"/>
                    <a:pt x="400" y="878"/>
                    <a:pt x="400" y="878"/>
                  </a:cubicBezTo>
                  <a:cubicBezTo>
                    <a:pt x="356" y="876"/>
                    <a:pt x="298" y="868"/>
                    <a:pt x="240" y="854"/>
                  </a:cubicBezTo>
                  <a:cubicBezTo>
                    <a:pt x="240" y="840"/>
                    <a:pt x="240" y="840"/>
                    <a:pt x="240" y="840"/>
                  </a:cubicBezTo>
                  <a:cubicBezTo>
                    <a:pt x="240" y="774"/>
                    <a:pt x="197" y="712"/>
                    <a:pt x="125" y="664"/>
                  </a:cubicBezTo>
                  <a:close/>
                  <a:moveTo>
                    <a:pt x="0" y="440"/>
                  </a:moveTo>
                  <a:cubicBezTo>
                    <a:pt x="0" y="352"/>
                    <a:pt x="0" y="352"/>
                    <a:pt x="0" y="352"/>
                  </a:cubicBezTo>
                  <a:cubicBezTo>
                    <a:pt x="112" y="447"/>
                    <a:pt x="298" y="480"/>
                    <a:pt x="440" y="480"/>
                  </a:cubicBezTo>
                  <a:cubicBezTo>
                    <a:pt x="582" y="480"/>
                    <a:pt x="768" y="447"/>
                    <a:pt x="880" y="352"/>
                  </a:cubicBezTo>
                  <a:cubicBezTo>
                    <a:pt x="880" y="440"/>
                    <a:pt x="880" y="440"/>
                    <a:pt x="880" y="440"/>
                  </a:cubicBezTo>
                  <a:cubicBezTo>
                    <a:pt x="880" y="499"/>
                    <a:pt x="832" y="542"/>
                    <a:pt x="766" y="572"/>
                  </a:cubicBezTo>
                  <a:cubicBezTo>
                    <a:pt x="700" y="584"/>
                    <a:pt x="638" y="602"/>
                    <a:pt x="586" y="625"/>
                  </a:cubicBezTo>
                  <a:cubicBezTo>
                    <a:pt x="527" y="636"/>
                    <a:pt x="473" y="640"/>
                    <a:pt x="440" y="640"/>
                  </a:cubicBezTo>
                  <a:cubicBezTo>
                    <a:pt x="331" y="640"/>
                    <a:pt x="0" y="594"/>
                    <a:pt x="0" y="440"/>
                  </a:cubicBezTo>
                  <a:close/>
                </a:path>
              </a:pathLst>
            </a:custGeom>
            <a:grpFill/>
            <a:ln>
              <a:noFill/>
            </a:ln>
            <a:extLst>
              <a:ext uri="{91240B29-F687-4F45-9708-019B960494DF}">
                <a14:hiddenLine xmlns:a14="http://schemas.microsoft.com/office/drawing/2010/main" w="9525">
                  <a:solidFill>
                    <a:schemeClr val="dk1"/>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33" b="0" i="0" u="none" strike="noStrike" kern="1200" cap="none" spc="0" normalizeH="0" baseline="0" noProof="0">
                <a:ln>
                  <a:noFill/>
                </a:ln>
                <a:solidFill>
                  <a:srgbClr val="414549"/>
                </a:solidFill>
                <a:effectLst/>
                <a:uLnTx/>
                <a:uFillTx/>
                <a:latin typeface="Lato"/>
                <a:ea typeface="+mn-ea"/>
                <a:cs typeface="+mn-cs"/>
              </a:endParaRPr>
            </a:p>
          </p:txBody>
        </p:sp>
      </p:grpSp>
      <p:pic>
        <p:nvPicPr>
          <p:cNvPr id="28" name="Image 27">
            <a:extLst>
              <a:ext uri="{FF2B5EF4-FFF2-40B4-BE49-F238E27FC236}">
                <a16:creationId xmlns:a16="http://schemas.microsoft.com/office/drawing/2014/main" id="{E7F28006-14A9-495E-9F9D-15FF18899842}"/>
              </a:ext>
            </a:extLst>
          </p:cNvPr>
          <p:cNvPicPr>
            <a:picLocks/>
          </p:cNvPicPr>
          <p:nvPr/>
        </p:nvPicPr>
        <p:blipFill>
          <a:blip r:embed="rId10"/>
          <a:stretch>
            <a:fillRect/>
          </a:stretch>
        </p:blipFill>
        <p:spPr>
          <a:xfrm>
            <a:off x="2273298" y="5419435"/>
            <a:ext cx="428400" cy="428400"/>
          </a:xfrm>
          <a:prstGeom prst="rect">
            <a:avLst/>
          </a:prstGeom>
        </p:spPr>
      </p:pic>
      <p:pic>
        <p:nvPicPr>
          <p:cNvPr id="36" name="Image 35">
            <a:extLst>
              <a:ext uri="{FF2B5EF4-FFF2-40B4-BE49-F238E27FC236}">
                <a16:creationId xmlns:a16="http://schemas.microsoft.com/office/drawing/2014/main" id="{ECF03D45-4BAC-4F50-8707-9B26B4C8455B}"/>
              </a:ext>
            </a:extLst>
          </p:cNvPr>
          <p:cNvPicPr>
            <a:picLocks/>
          </p:cNvPicPr>
          <p:nvPr/>
        </p:nvPicPr>
        <p:blipFill>
          <a:blip r:embed="rId11"/>
          <a:stretch>
            <a:fillRect/>
          </a:stretch>
        </p:blipFill>
        <p:spPr>
          <a:xfrm>
            <a:off x="3331195" y="5428367"/>
            <a:ext cx="428400" cy="428400"/>
          </a:xfrm>
          <a:prstGeom prst="rect">
            <a:avLst/>
          </a:prstGeom>
        </p:spPr>
      </p:pic>
      <p:pic>
        <p:nvPicPr>
          <p:cNvPr id="39" name="Image 38">
            <a:extLst>
              <a:ext uri="{FF2B5EF4-FFF2-40B4-BE49-F238E27FC236}">
                <a16:creationId xmlns:a16="http://schemas.microsoft.com/office/drawing/2014/main" id="{8EBC360B-59D9-4072-8124-0678E8DF0B3A}"/>
              </a:ext>
            </a:extLst>
          </p:cNvPr>
          <p:cNvPicPr>
            <a:picLocks noChangeAspect="1"/>
          </p:cNvPicPr>
          <p:nvPr/>
        </p:nvPicPr>
        <p:blipFill>
          <a:blip r:embed="rId12"/>
          <a:stretch>
            <a:fillRect/>
          </a:stretch>
        </p:blipFill>
        <p:spPr>
          <a:xfrm>
            <a:off x="5457437" y="5428367"/>
            <a:ext cx="428400" cy="428400"/>
          </a:xfrm>
          <a:prstGeom prst="rect">
            <a:avLst/>
          </a:prstGeom>
        </p:spPr>
      </p:pic>
      <p:pic>
        <p:nvPicPr>
          <p:cNvPr id="44" name="Image 43">
            <a:extLst>
              <a:ext uri="{FF2B5EF4-FFF2-40B4-BE49-F238E27FC236}">
                <a16:creationId xmlns:a16="http://schemas.microsoft.com/office/drawing/2014/main" id="{27B82ABF-AF3E-4866-BC1D-8B5A97070667}"/>
              </a:ext>
            </a:extLst>
          </p:cNvPr>
          <p:cNvPicPr>
            <a:picLocks noChangeAspect="1"/>
          </p:cNvPicPr>
          <p:nvPr/>
        </p:nvPicPr>
        <p:blipFill>
          <a:blip r:embed="rId13"/>
          <a:stretch>
            <a:fillRect/>
          </a:stretch>
        </p:blipFill>
        <p:spPr>
          <a:xfrm>
            <a:off x="4389092" y="5428367"/>
            <a:ext cx="438848" cy="428400"/>
          </a:xfrm>
          <a:prstGeom prst="rect">
            <a:avLst/>
          </a:prstGeom>
        </p:spPr>
      </p:pic>
      <p:sp>
        <p:nvSpPr>
          <p:cNvPr id="37" name="Text Box 8">
            <a:extLst>
              <a:ext uri="{FF2B5EF4-FFF2-40B4-BE49-F238E27FC236}">
                <a16:creationId xmlns:a16="http://schemas.microsoft.com/office/drawing/2014/main" id="{20D7BDB4-AC7F-44C4-8D9C-E9C24B85E8DF}"/>
              </a:ext>
            </a:extLst>
          </p:cNvPr>
          <p:cNvSpPr txBox="1">
            <a:spLocks noChangeArrowheads="1"/>
          </p:cNvSpPr>
          <p:nvPr/>
        </p:nvSpPr>
        <p:spPr bwMode="auto">
          <a:xfrm>
            <a:off x="24157" y="1636438"/>
            <a:ext cx="648898" cy="184666"/>
          </a:xfrm>
          <a:prstGeom prst="rect">
            <a:avLst/>
          </a:prstGeom>
          <a:noFill/>
          <a:ln>
            <a:noFill/>
          </a:ln>
          <a:effectLst/>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200" b="0" i="0" u="none" strike="noStrike" kern="1200" cap="none" spc="0" normalizeH="0" baseline="0" noProof="0">
                <a:ln>
                  <a:noFill/>
                </a:ln>
                <a:solidFill>
                  <a:srgbClr val="414549"/>
                </a:solidFill>
                <a:effectLst>
                  <a:outerShdw blurRad="38100" dist="38100" dir="2700000" algn="tl">
                    <a:srgbClr val="FFFFFF"/>
                  </a:outerShdw>
                </a:effectLst>
                <a:uLnTx/>
                <a:uFillTx/>
                <a:latin typeface="Lato"/>
                <a:ea typeface="+mn-ea"/>
                <a:cs typeface="Arial" panose="020B0604020202020204" pitchFamily="34" charset="0"/>
              </a:rPr>
              <a:t>In %</a:t>
            </a:r>
          </a:p>
        </p:txBody>
      </p:sp>
      <p:pic>
        <p:nvPicPr>
          <p:cNvPr id="31" name="Image 30">
            <a:extLst>
              <a:ext uri="{FF2B5EF4-FFF2-40B4-BE49-F238E27FC236}">
                <a16:creationId xmlns:a16="http://schemas.microsoft.com/office/drawing/2014/main" id="{BDFA823F-AE8A-49FE-BED0-1E3380F65910}"/>
              </a:ext>
            </a:extLst>
          </p:cNvPr>
          <p:cNvPicPr>
            <a:picLocks noChangeAspect="1"/>
          </p:cNvPicPr>
          <p:nvPr/>
        </p:nvPicPr>
        <p:blipFill>
          <a:blip r:embed="rId14"/>
          <a:stretch>
            <a:fillRect/>
          </a:stretch>
        </p:blipFill>
        <p:spPr>
          <a:xfrm>
            <a:off x="6515334" y="5419435"/>
            <a:ext cx="428400" cy="428400"/>
          </a:xfrm>
          <a:prstGeom prst="rect">
            <a:avLst/>
          </a:prstGeom>
        </p:spPr>
      </p:pic>
      <p:sp>
        <p:nvSpPr>
          <p:cNvPr id="60" name="Text Box 6">
            <a:extLst>
              <a:ext uri="{FF2B5EF4-FFF2-40B4-BE49-F238E27FC236}">
                <a16:creationId xmlns:a16="http://schemas.microsoft.com/office/drawing/2014/main" id="{0B5286E8-43D3-4D4A-AC13-8CA31AC52B13}"/>
              </a:ext>
            </a:extLst>
          </p:cNvPr>
          <p:cNvSpPr txBox="1">
            <a:spLocks noChangeArrowheads="1"/>
          </p:cNvSpPr>
          <p:nvPr/>
        </p:nvSpPr>
        <p:spPr bwMode="auto">
          <a:xfrm>
            <a:off x="6540629" y="2566355"/>
            <a:ext cx="237244" cy="246221"/>
          </a:xfrm>
          <a:prstGeom prst="rect">
            <a:avLst/>
          </a:prstGeom>
          <a:noFill/>
          <a:ln>
            <a:noFill/>
          </a:ln>
          <a:effectLst/>
        </p:spPr>
        <p:txBody>
          <a:bodyPr wrap="none" lIns="0" tIns="0" rIns="0" bIns="0" anchor="ctr">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600" b="0" i="1" u="none" strike="noStrike" kern="1200" cap="none" spc="0" normalizeH="0" baseline="0" noProof="0">
                <a:ln>
                  <a:noFill/>
                </a:ln>
                <a:solidFill>
                  <a:srgbClr val="414549"/>
                </a:solidFill>
                <a:effectLst>
                  <a:outerShdw blurRad="38100" dist="38100" dir="2700000" algn="tl">
                    <a:srgbClr val="FFFFFF"/>
                  </a:outerShdw>
                </a:effectLst>
                <a:uLnTx/>
                <a:uFillTx/>
                <a:latin typeface="Lato Light"/>
                <a:ea typeface="+mn-ea"/>
                <a:cs typeface="Arial" panose="020B0604020202020204" pitchFamily="34" charset="0"/>
              </a:rPr>
              <a:t>+4</a:t>
            </a:r>
          </a:p>
        </p:txBody>
      </p:sp>
      <p:sp>
        <p:nvSpPr>
          <p:cNvPr id="42" name="Textplatzhalter 6">
            <a:extLst>
              <a:ext uri="{FF2B5EF4-FFF2-40B4-BE49-F238E27FC236}">
                <a16:creationId xmlns:a16="http://schemas.microsoft.com/office/drawing/2014/main" id="{A5D814D0-A85C-46DC-8740-B74772EB5CEE}"/>
              </a:ext>
            </a:extLst>
          </p:cNvPr>
          <p:cNvSpPr txBox="1">
            <a:spLocks/>
          </p:cNvSpPr>
          <p:nvPr/>
        </p:nvSpPr>
        <p:spPr>
          <a:xfrm>
            <a:off x="595868" y="6548494"/>
            <a:ext cx="10090329" cy="342750"/>
          </a:xfrm>
          <a:prstGeom prst="rect">
            <a:avLst/>
          </a:prstGeom>
        </p:spPr>
        <p:txBody>
          <a:bodyPr/>
          <a:lstStyle>
            <a:lvl1pPr marL="0" marR="0" indent="0" algn="l" defTabSz="914400" rtl="0" eaLnBrk="1" fontAlgn="auto" latinLnBrk="0" hangingPunct="1">
              <a:lnSpc>
                <a:spcPct val="100000"/>
              </a:lnSpc>
              <a:spcBef>
                <a:spcPts val="300"/>
              </a:spcBef>
              <a:spcAft>
                <a:spcPts val="0"/>
              </a:spcAft>
              <a:buClrTx/>
              <a:buSzTx/>
              <a:buFont typeface="Arial" pitchFamily="34" charset="0"/>
              <a:buNone/>
              <a:tabLst/>
              <a:defRPr sz="1600" kern="1200">
                <a:solidFill>
                  <a:schemeClr val="tx1"/>
                </a:solidFill>
                <a:latin typeface="Arial" pitchFamily="34" charset="0"/>
                <a:ea typeface="+mn-ea"/>
                <a:cs typeface="Arial" pitchFamily="34" charset="0"/>
              </a:defRPr>
            </a:lvl1pPr>
            <a:lvl2pPr marL="180000" marR="0" indent="-180000"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sz="1600" kern="1200">
                <a:solidFill>
                  <a:schemeClr val="tx1"/>
                </a:solidFill>
                <a:latin typeface="Arial" pitchFamily="34" charset="0"/>
                <a:ea typeface="+mn-ea"/>
                <a:cs typeface="Arial" pitchFamily="34" charset="0"/>
              </a:defRPr>
            </a:lvl2pPr>
            <a:lvl3pPr marL="36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sz="1600" kern="1200">
                <a:solidFill>
                  <a:schemeClr val="tx1"/>
                </a:solidFill>
                <a:latin typeface="Arial" pitchFamily="34" charset="0"/>
                <a:ea typeface="+mn-ea"/>
                <a:cs typeface="Arial" pitchFamily="34" charset="0"/>
              </a:defRPr>
            </a:lvl3pPr>
            <a:lvl4pPr marL="54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sz="1600" kern="1200">
                <a:solidFill>
                  <a:schemeClr val="tx1"/>
                </a:solidFill>
                <a:latin typeface="Arial" pitchFamily="34" charset="0"/>
                <a:ea typeface="+mn-ea"/>
                <a:cs typeface="Arial" pitchFamily="34" charset="0"/>
              </a:defRPr>
            </a:lvl4pPr>
            <a:lvl5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sz="1600" kern="1200">
                <a:solidFill>
                  <a:schemeClr val="tx1"/>
                </a:solidFill>
                <a:latin typeface="Arial" pitchFamily="34" charset="0"/>
                <a:ea typeface="+mn-ea"/>
                <a:cs typeface="Arial" pitchFamily="34" charset="0"/>
              </a:defRPr>
            </a:lvl5pPr>
            <a:lvl6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sz="1600" kern="1200">
                <a:solidFill>
                  <a:schemeClr val="tx1"/>
                </a:solidFill>
                <a:latin typeface="Arial" pitchFamily="34" charset="0"/>
                <a:ea typeface="+mn-ea"/>
                <a:cs typeface="Arial" pitchFamily="34" charset="0"/>
              </a:defRPr>
            </a:lvl6pPr>
            <a:lvl7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sz="1600" kern="1200">
                <a:solidFill>
                  <a:schemeClr val="tx1"/>
                </a:solidFill>
                <a:latin typeface="Arial" pitchFamily="34" charset="0"/>
                <a:ea typeface="+mn-ea"/>
                <a:cs typeface="Arial" pitchFamily="34" charset="0"/>
              </a:defRPr>
            </a:lvl7pPr>
            <a:lvl8pPr marL="540000" indent="-180000" algn="l" defTabSz="914400" rtl="0" eaLnBrk="1" latinLnBrk="0" hangingPunct="1">
              <a:spcBef>
                <a:spcPts val="300"/>
              </a:spcBef>
              <a:spcAft>
                <a:spcPts val="0"/>
              </a:spcAft>
              <a:buFont typeface="Arial" pitchFamily="34" charset="0"/>
              <a:buChar char="•"/>
              <a:defRPr sz="1600" kern="1200">
                <a:solidFill>
                  <a:schemeClr val="tx1"/>
                </a:solidFill>
                <a:latin typeface="Arial" pitchFamily="34" charset="0"/>
                <a:ea typeface="+mn-ea"/>
                <a:cs typeface="Arial" pitchFamily="34" charset="0"/>
              </a:defRPr>
            </a:lvl8pPr>
            <a:lvl9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sz="1600" kern="1200">
                <a:solidFill>
                  <a:schemeClr val="tx1"/>
                </a:solidFill>
                <a:latin typeface="Arial" pitchFamily="34" charset="0"/>
                <a:ea typeface="+mn-ea"/>
                <a:cs typeface="Arial" pitchFamily="34" charset="0"/>
              </a:defRPr>
            </a:lvl9pPr>
          </a:lstStyle>
          <a:p>
            <a:pPr marL="0" marR="0" lvl="0" indent="0" algn="l" defTabSz="914400" rtl="0" eaLnBrk="1" fontAlgn="auto" latinLnBrk="0" hangingPunct="1">
              <a:lnSpc>
                <a:spcPct val="100000"/>
              </a:lnSpc>
              <a:spcBef>
                <a:spcPts val="300"/>
              </a:spcBef>
              <a:spcAft>
                <a:spcPts val="0"/>
              </a:spcAft>
              <a:buClrTx/>
              <a:buSzTx/>
              <a:buFont typeface="Arial" pitchFamily="34" charset="0"/>
              <a:buNone/>
              <a:tabLst/>
              <a:defRPr/>
            </a:pPr>
            <a:r>
              <a:rPr kumimoji="0" lang="en-GB" sz="900" b="0" i="0" u="none" strike="noStrike" kern="1200" cap="none" spc="0" normalizeH="0" baseline="0" noProof="0">
                <a:ln>
                  <a:noFill/>
                </a:ln>
                <a:solidFill>
                  <a:srgbClr val="414549"/>
                </a:solidFill>
                <a:effectLst/>
                <a:uLnTx/>
                <a:uFillTx/>
                <a:latin typeface="Lato"/>
                <a:ea typeface="+mn-ea"/>
                <a:cs typeface="Arial" pitchFamily="34" charset="0"/>
              </a:rPr>
              <a:t>A02. In a year’s time do you think you and your family will be financially better off or worse off than today? </a:t>
            </a:r>
            <a:endParaRPr kumimoji="0" lang="fr-FR" sz="900" b="0" i="0" u="none" strike="noStrike" kern="1200" cap="none" spc="0" normalizeH="0" baseline="0" noProof="0">
              <a:ln>
                <a:noFill/>
              </a:ln>
              <a:solidFill>
                <a:srgbClr val="414549"/>
              </a:solidFill>
              <a:effectLst/>
              <a:uLnTx/>
              <a:uFillTx/>
              <a:latin typeface="Lato"/>
              <a:ea typeface="+mn-ea"/>
              <a:cs typeface="Arial" pitchFamily="34" charset="0"/>
            </a:endParaRPr>
          </a:p>
          <a:p>
            <a:pPr marL="0" marR="0" lvl="0" indent="0" algn="l" defTabSz="914400" rtl="0" eaLnBrk="1" fontAlgn="auto" latinLnBrk="0" hangingPunct="1">
              <a:lnSpc>
                <a:spcPct val="100000"/>
              </a:lnSpc>
              <a:spcBef>
                <a:spcPts val="300"/>
              </a:spcBef>
              <a:spcAft>
                <a:spcPts val="0"/>
              </a:spcAft>
              <a:buClrTx/>
              <a:buSzTx/>
              <a:buFont typeface="Arial" pitchFamily="34" charset="0"/>
              <a:buNone/>
              <a:tabLst/>
              <a:defRPr/>
            </a:pPr>
            <a:endParaRPr kumimoji="0" lang="fr-FR" sz="900" b="0" i="0" u="none" strike="noStrike" kern="1200" cap="none" spc="0" normalizeH="0" baseline="0" noProof="0">
              <a:ln>
                <a:noFill/>
              </a:ln>
              <a:solidFill>
                <a:srgbClr val="414549"/>
              </a:solidFill>
              <a:effectLst/>
              <a:uLnTx/>
              <a:uFillTx/>
              <a:latin typeface="Lato"/>
              <a:ea typeface="+mn-ea"/>
              <a:cs typeface="Arial" pitchFamily="34" charset="0"/>
            </a:endParaRPr>
          </a:p>
          <a:p>
            <a:pPr marL="0" marR="0" lvl="0" indent="0" algn="l" defTabSz="914400" rtl="0" eaLnBrk="1" fontAlgn="auto" latinLnBrk="0" hangingPunct="1">
              <a:lnSpc>
                <a:spcPct val="100000"/>
              </a:lnSpc>
              <a:spcBef>
                <a:spcPts val="300"/>
              </a:spcBef>
              <a:spcAft>
                <a:spcPts val="0"/>
              </a:spcAft>
              <a:buClrTx/>
              <a:buSzTx/>
              <a:buFont typeface="Arial" pitchFamily="34" charset="0"/>
              <a:buNone/>
              <a:tabLst/>
              <a:defRPr/>
            </a:pPr>
            <a:endParaRPr kumimoji="0" lang="fr-FR" sz="900" b="0" i="0" u="none" strike="noStrike" kern="1200" cap="none" spc="0" normalizeH="0" baseline="0" noProof="0">
              <a:ln>
                <a:noFill/>
              </a:ln>
              <a:solidFill>
                <a:srgbClr val="414549"/>
              </a:solidFill>
              <a:effectLst/>
              <a:uLnTx/>
              <a:uFillTx/>
              <a:latin typeface="Lato"/>
              <a:ea typeface="+mn-ea"/>
              <a:cs typeface="Arial" pitchFamily="34" charset="0"/>
            </a:endParaRPr>
          </a:p>
          <a:p>
            <a:pPr marL="0" marR="0" lvl="0" indent="0" algn="l" defTabSz="914400" rtl="0" eaLnBrk="1" fontAlgn="auto" latinLnBrk="0" hangingPunct="1">
              <a:lnSpc>
                <a:spcPct val="100000"/>
              </a:lnSpc>
              <a:spcBef>
                <a:spcPts val="300"/>
              </a:spcBef>
              <a:spcAft>
                <a:spcPts val="0"/>
              </a:spcAft>
              <a:buClrTx/>
              <a:buSzTx/>
              <a:buFont typeface="Arial" pitchFamily="34" charset="0"/>
              <a:buNone/>
              <a:tabLst/>
              <a:defRPr/>
            </a:pPr>
            <a:endParaRPr kumimoji="0" lang="fr-FR" sz="900" b="0" i="0" u="none" strike="noStrike" kern="1200" cap="none" spc="0" normalizeH="0" baseline="0" noProof="0">
              <a:ln>
                <a:noFill/>
              </a:ln>
              <a:solidFill>
                <a:srgbClr val="414549"/>
              </a:solidFill>
              <a:effectLst/>
              <a:uLnTx/>
              <a:uFillTx/>
              <a:latin typeface="Lato"/>
              <a:ea typeface="+mn-ea"/>
              <a:cs typeface="Arial" pitchFamily="34" charset="0"/>
            </a:endParaRPr>
          </a:p>
        </p:txBody>
      </p:sp>
      <p:sp>
        <p:nvSpPr>
          <p:cNvPr id="66" name="Slide Number Placeholder 29">
            <a:extLst>
              <a:ext uri="{FF2B5EF4-FFF2-40B4-BE49-F238E27FC236}">
                <a16:creationId xmlns:a16="http://schemas.microsoft.com/office/drawing/2014/main" id="{00EA954A-3FB3-446C-8B58-4B2696330A29}"/>
              </a:ext>
            </a:extLst>
          </p:cNvPr>
          <p:cNvSpPr txBox="1">
            <a:spLocks/>
          </p:cNvSpPr>
          <p:nvPr/>
        </p:nvSpPr>
        <p:spPr>
          <a:xfrm>
            <a:off x="11186669" y="6461671"/>
            <a:ext cx="648000" cy="133790"/>
          </a:xfrm>
          <a:prstGeom prst="rect">
            <a:avLst/>
          </a:prstGeom>
        </p:spPr>
        <p:txBody>
          <a:bodyPr vert="horz" lIns="0" tIns="0" rIns="0" bIns="0" rtlCol="0" anchor="b" anchorCtr="0"/>
          <a:lstStyle>
            <a:defPPr>
              <a:defRPr lang="en-US"/>
            </a:defPPr>
            <a:lvl1pPr marL="0" algn="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5F3E29E4-0979-4FCA-B4C5-5FC6044C982A}" type="slidenum">
              <a:rPr kumimoji="0" lang="en-US" sz="800" b="0" i="0" u="none" strike="noStrike" kern="1200" cap="none" spc="0" normalizeH="0" baseline="0" noProof="0" smtClean="0">
                <a:ln>
                  <a:noFill/>
                </a:ln>
                <a:solidFill>
                  <a:srgbClr val="414549"/>
                </a:solidFill>
                <a:effectLst/>
                <a:uLnTx/>
                <a:uFillTx/>
                <a:latin typeface="Lato"/>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800" b="0" i="0" u="none" strike="noStrike" kern="1200" cap="none" spc="0" normalizeH="0" baseline="0" noProof="0">
              <a:ln>
                <a:noFill/>
              </a:ln>
              <a:solidFill>
                <a:srgbClr val="414549"/>
              </a:solidFill>
              <a:effectLst/>
              <a:uLnTx/>
              <a:uFillTx/>
              <a:latin typeface="Lato"/>
              <a:ea typeface="+mn-ea"/>
              <a:cs typeface="+mn-cs"/>
            </a:endParaRPr>
          </a:p>
        </p:txBody>
      </p:sp>
      <p:pic>
        <p:nvPicPr>
          <p:cNvPr id="43" name="Image 30">
            <a:extLst>
              <a:ext uri="{FF2B5EF4-FFF2-40B4-BE49-F238E27FC236}">
                <a16:creationId xmlns:a16="http://schemas.microsoft.com/office/drawing/2014/main" id="{003DAE72-9A41-41DD-855C-CD95AD367DF4}"/>
              </a:ext>
            </a:extLst>
          </p:cNvPr>
          <p:cNvPicPr>
            <a:picLocks/>
          </p:cNvPicPr>
          <p:nvPr/>
        </p:nvPicPr>
        <p:blipFill>
          <a:blip r:embed="rId15"/>
          <a:stretch>
            <a:fillRect/>
          </a:stretch>
        </p:blipFill>
        <p:spPr>
          <a:xfrm>
            <a:off x="7573231" y="5464192"/>
            <a:ext cx="428400" cy="428400"/>
          </a:xfrm>
          <a:prstGeom prst="rect">
            <a:avLst/>
          </a:prstGeom>
        </p:spPr>
      </p:pic>
      <p:pic>
        <p:nvPicPr>
          <p:cNvPr id="61" name="Image 51">
            <a:extLst>
              <a:ext uri="{FF2B5EF4-FFF2-40B4-BE49-F238E27FC236}">
                <a16:creationId xmlns:a16="http://schemas.microsoft.com/office/drawing/2014/main" id="{AFDB57CA-5651-4EA1-A968-41D25808106A}"/>
              </a:ext>
            </a:extLst>
          </p:cNvPr>
          <p:cNvPicPr>
            <a:picLocks/>
          </p:cNvPicPr>
          <p:nvPr/>
        </p:nvPicPr>
        <p:blipFill>
          <a:blip r:embed="rId16"/>
          <a:stretch>
            <a:fillRect/>
          </a:stretch>
        </p:blipFill>
        <p:spPr>
          <a:xfrm>
            <a:off x="8631128" y="5464192"/>
            <a:ext cx="428400" cy="428400"/>
          </a:xfrm>
          <a:prstGeom prst="rect">
            <a:avLst/>
          </a:prstGeom>
        </p:spPr>
      </p:pic>
      <p:pic>
        <p:nvPicPr>
          <p:cNvPr id="62" name="Image 52">
            <a:extLst>
              <a:ext uri="{FF2B5EF4-FFF2-40B4-BE49-F238E27FC236}">
                <a16:creationId xmlns:a16="http://schemas.microsoft.com/office/drawing/2014/main" id="{2A330341-0A90-4A0E-BF34-3CD748B217AD}"/>
              </a:ext>
            </a:extLst>
          </p:cNvPr>
          <p:cNvPicPr>
            <a:picLocks noChangeAspect="1"/>
          </p:cNvPicPr>
          <p:nvPr/>
        </p:nvPicPr>
        <p:blipFill>
          <a:blip r:embed="rId17"/>
          <a:stretch>
            <a:fillRect/>
          </a:stretch>
        </p:blipFill>
        <p:spPr>
          <a:xfrm>
            <a:off x="9689023" y="5464192"/>
            <a:ext cx="438848" cy="428400"/>
          </a:xfrm>
          <a:prstGeom prst="rect">
            <a:avLst/>
          </a:prstGeom>
        </p:spPr>
      </p:pic>
      <p:sp>
        <p:nvSpPr>
          <p:cNvPr id="65" name="Text Box 6">
            <a:extLst>
              <a:ext uri="{FF2B5EF4-FFF2-40B4-BE49-F238E27FC236}">
                <a16:creationId xmlns:a16="http://schemas.microsoft.com/office/drawing/2014/main" id="{34956717-2308-45AF-9957-E71BC0FC47A3}"/>
              </a:ext>
            </a:extLst>
          </p:cNvPr>
          <p:cNvSpPr txBox="1">
            <a:spLocks noChangeArrowheads="1"/>
          </p:cNvSpPr>
          <p:nvPr/>
        </p:nvSpPr>
        <p:spPr bwMode="auto">
          <a:xfrm>
            <a:off x="7593390" y="2566355"/>
            <a:ext cx="310983" cy="246221"/>
          </a:xfrm>
          <a:prstGeom prst="rect">
            <a:avLst/>
          </a:prstGeom>
          <a:noFill/>
          <a:ln>
            <a:noFill/>
          </a:ln>
          <a:effectLst/>
        </p:spPr>
        <p:txBody>
          <a:bodyPr wrap="none" lIns="0" tIns="0" rIns="0" bIns="0" anchor="ctr">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600" b="0" i="1" u="none" strike="noStrike" kern="1200" cap="none" spc="0" normalizeH="0" baseline="0" noProof="0">
                <a:ln>
                  <a:noFill/>
                </a:ln>
                <a:solidFill>
                  <a:srgbClr val="414549"/>
                </a:solidFill>
                <a:effectLst>
                  <a:outerShdw blurRad="38100" dist="38100" dir="2700000" algn="tl">
                    <a:srgbClr val="FFFFFF"/>
                  </a:outerShdw>
                </a:effectLst>
                <a:uLnTx/>
                <a:uFillTx/>
                <a:latin typeface="Lato Light"/>
                <a:ea typeface="+mn-ea"/>
                <a:cs typeface="Arial" panose="020B0604020202020204" pitchFamily="34" charset="0"/>
              </a:rPr>
              <a:t>-14</a:t>
            </a:r>
          </a:p>
        </p:txBody>
      </p:sp>
      <p:sp>
        <p:nvSpPr>
          <p:cNvPr id="67" name="Text Box 6">
            <a:extLst>
              <a:ext uri="{FF2B5EF4-FFF2-40B4-BE49-F238E27FC236}">
                <a16:creationId xmlns:a16="http://schemas.microsoft.com/office/drawing/2014/main" id="{C852B5BA-F6FC-4EC0-90E7-C974B728DAF3}"/>
              </a:ext>
            </a:extLst>
          </p:cNvPr>
          <p:cNvSpPr txBox="1">
            <a:spLocks noChangeArrowheads="1"/>
          </p:cNvSpPr>
          <p:nvPr/>
        </p:nvSpPr>
        <p:spPr bwMode="auto">
          <a:xfrm>
            <a:off x="8719890" y="2566355"/>
            <a:ext cx="192360" cy="246221"/>
          </a:xfrm>
          <a:prstGeom prst="rect">
            <a:avLst/>
          </a:prstGeom>
          <a:noFill/>
          <a:ln>
            <a:noFill/>
          </a:ln>
          <a:effectLst/>
        </p:spPr>
        <p:txBody>
          <a:bodyPr wrap="square" lIns="0" tIns="0" rIns="0" bIns="0" anchor="ctr">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600" b="0" i="1" u="none" strike="noStrike" kern="1200" cap="none" spc="0" normalizeH="0" baseline="0" noProof="0">
                <a:ln>
                  <a:noFill/>
                </a:ln>
                <a:solidFill>
                  <a:srgbClr val="414549"/>
                </a:solidFill>
                <a:effectLst>
                  <a:outerShdw blurRad="38100" dist="38100" dir="2700000" algn="tl">
                    <a:srgbClr val="FFFFFF"/>
                  </a:outerShdw>
                </a:effectLst>
                <a:uLnTx/>
                <a:uFillTx/>
                <a:latin typeface="Lato Light"/>
                <a:ea typeface="+mn-ea"/>
                <a:cs typeface="Arial" panose="020B0604020202020204" pitchFamily="34" charset="0"/>
              </a:rPr>
              <a:t>-9</a:t>
            </a:r>
          </a:p>
        </p:txBody>
      </p:sp>
      <p:sp>
        <p:nvSpPr>
          <p:cNvPr id="71" name="Text Box 6">
            <a:extLst>
              <a:ext uri="{FF2B5EF4-FFF2-40B4-BE49-F238E27FC236}">
                <a16:creationId xmlns:a16="http://schemas.microsoft.com/office/drawing/2014/main" id="{89797BB4-BE0B-440F-8A40-3605AA32CD5C}"/>
              </a:ext>
            </a:extLst>
          </p:cNvPr>
          <p:cNvSpPr txBox="1">
            <a:spLocks noChangeArrowheads="1"/>
          </p:cNvSpPr>
          <p:nvPr/>
        </p:nvSpPr>
        <p:spPr bwMode="auto">
          <a:xfrm>
            <a:off x="9654800" y="2566355"/>
            <a:ext cx="310984" cy="246221"/>
          </a:xfrm>
          <a:prstGeom prst="rect">
            <a:avLst/>
          </a:prstGeom>
          <a:noFill/>
          <a:ln>
            <a:noFill/>
          </a:ln>
          <a:effectLst/>
        </p:spPr>
        <p:txBody>
          <a:bodyPr wrap="none" lIns="0" tIns="0" rIns="0" bIns="0" anchor="ctr">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600" b="0" i="1" u="none" strike="noStrike" kern="1200" cap="none" spc="0" normalizeH="0" baseline="0" noProof="0">
                <a:ln>
                  <a:noFill/>
                </a:ln>
                <a:solidFill>
                  <a:srgbClr val="414549"/>
                </a:solidFill>
                <a:effectLst>
                  <a:outerShdw blurRad="38100" dist="38100" dir="2700000" algn="tl">
                    <a:srgbClr val="FFFFFF"/>
                  </a:outerShdw>
                </a:effectLst>
                <a:uLnTx/>
                <a:uFillTx/>
                <a:latin typeface="Lato Light"/>
                <a:ea typeface="+mn-ea"/>
                <a:cs typeface="Arial" panose="020B0604020202020204" pitchFamily="34" charset="0"/>
              </a:rPr>
              <a:t>-38</a:t>
            </a:r>
          </a:p>
        </p:txBody>
      </p:sp>
      <p:sp>
        <p:nvSpPr>
          <p:cNvPr id="76" name="Text Box 6">
            <a:extLst>
              <a:ext uri="{FF2B5EF4-FFF2-40B4-BE49-F238E27FC236}">
                <a16:creationId xmlns:a16="http://schemas.microsoft.com/office/drawing/2014/main" id="{B377DE4C-C27B-4135-A4B9-D276A064307F}"/>
              </a:ext>
            </a:extLst>
          </p:cNvPr>
          <p:cNvSpPr txBox="1">
            <a:spLocks noChangeArrowheads="1"/>
          </p:cNvSpPr>
          <p:nvPr/>
        </p:nvSpPr>
        <p:spPr bwMode="auto">
          <a:xfrm>
            <a:off x="10686197" y="2566355"/>
            <a:ext cx="310984" cy="246221"/>
          </a:xfrm>
          <a:prstGeom prst="rect">
            <a:avLst/>
          </a:prstGeom>
          <a:noFill/>
          <a:ln>
            <a:noFill/>
          </a:ln>
          <a:effectLst/>
        </p:spPr>
        <p:txBody>
          <a:bodyPr wrap="none" lIns="0" tIns="0" rIns="0" bIns="0" anchor="ctr">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600" b="0" i="1" u="none" strike="noStrike" kern="1200" cap="none" spc="0" normalizeH="0" baseline="0" noProof="0">
                <a:ln>
                  <a:noFill/>
                </a:ln>
                <a:solidFill>
                  <a:srgbClr val="414549"/>
                </a:solidFill>
                <a:effectLst>
                  <a:outerShdw blurRad="38100" dist="38100" dir="2700000" algn="tl">
                    <a:srgbClr val="FFFFFF"/>
                  </a:outerShdw>
                </a:effectLst>
                <a:uLnTx/>
                <a:uFillTx/>
                <a:latin typeface="Lato Light"/>
                <a:ea typeface="+mn-ea"/>
                <a:cs typeface="Arial" panose="020B0604020202020204" pitchFamily="34" charset="0"/>
              </a:rPr>
              <a:t>-38</a:t>
            </a:r>
          </a:p>
        </p:txBody>
      </p:sp>
      <p:pic>
        <p:nvPicPr>
          <p:cNvPr id="78" name="Рисунок 77">
            <a:extLst>
              <a:ext uri="{FF2B5EF4-FFF2-40B4-BE49-F238E27FC236}">
                <a16:creationId xmlns:a16="http://schemas.microsoft.com/office/drawing/2014/main" id="{FD5A3E24-5BF2-4908-AF32-8D70FA3022E1}"/>
              </a:ext>
            </a:extLst>
          </p:cNvPr>
          <p:cNvPicPr>
            <a:picLocks noChangeAspect="1"/>
          </p:cNvPicPr>
          <p:nvPr/>
        </p:nvPicPr>
        <p:blipFill>
          <a:blip r:embed="rId18" cstate="print">
            <a:extLst>
              <a:ext uri="{28A0092B-C50C-407E-A947-70E740481C1C}">
                <a14:useLocalDpi xmlns:a14="http://schemas.microsoft.com/office/drawing/2010/main"/>
              </a:ext>
            </a:extLst>
          </a:blip>
          <a:stretch>
            <a:fillRect/>
          </a:stretch>
        </p:blipFill>
        <p:spPr>
          <a:xfrm>
            <a:off x="10645368" y="5460592"/>
            <a:ext cx="432000" cy="432000"/>
          </a:xfrm>
          <a:prstGeom prst="rect">
            <a:avLst/>
          </a:prstGeom>
        </p:spPr>
      </p:pic>
      <p:sp>
        <p:nvSpPr>
          <p:cNvPr id="40" name="Заголовок 2">
            <a:extLst>
              <a:ext uri="{FF2B5EF4-FFF2-40B4-BE49-F238E27FC236}">
                <a16:creationId xmlns:a16="http://schemas.microsoft.com/office/drawing/2014/main" id="{13488A1C-7575-4E28-84A8-416C995B1EA4}"/>
              </a:ext>
            </a:extLst>
          </p:cNvPr>
          <p:cNvSpPr>
            <a:spLocks noGrp="1"/>
          </p:cNvSpPr>
          <p:nvPr>
            <p:ph type="title"/>
          </p:nvPr>
        </p:nvSpPr>
        <p:spPr>
          <a:xfrm>
            <a:off x="1075061" y="288923"/>
            <a:ext cx="9700939" cy="648000"/>
          </a:xfrm>
        </p:spPr>
        <p:txBody>
          <a:bodyPr/>
          <a:lstStyle/>
          <a:p>
            <a:r>
              <a:rPr lang="en-US"/>
              <a:t>Personal Economic Forecast within 1 Year</a:t>
            </a:r>
          </a:p>
        </p:txBody>
      </p:sp>
      <p:sp>
        <p:nvSpPr>
          <p:cNvPr id="45" name="Подзаголовок 7">
            <a:extLst>
              <a:ext uri="{FF2B5EF4-FFF2-40B4-BE49-F238E27FC236}">
                <a16:creationId xmlns:a16="http://schemas.microsoft.com/office/drawing/2014/main" id="{06C2324D-B58A-4D2C-B56B-B1F99D181AC7}"/>
              </a:ext>
            </a:extLst>
          </p:cNvPr>
          <p:cNvSpPr>
            <a:spLocks noGrp="1"/>
          </p:cNvSpPr>
          <p:nvPr>
            <p:ph type="subTitle" idx="13"/>
          </p:nvPr>
        </p:nvSpPr>
        <p:spPr>
          <a:xfrm>
            <a:off x="1084424" y="1020125"/>
            <a:ext cx="9816557" cy="457588"/>
          </a:xfrm>
        </p:spPr>
        <p:txBody>
          <a:bodyPr/>
          <a:lstStyle/>
          <a:p>
            <a:r>
              <a:rPr lang="en-US">
                <a:solidFill>
                  <a:schemeClr val="tx2"/>
                </a:solidFill>
                <a:ea typeface="Lato" panose="020F0502020204030203" pitchFamily="34" charset="0"/>
                <a:cs typeface="Lato" panose="020F0502020204030203" pitchFamily="34" charset="0"/>
              </a:rPr>
              <a:t>European people are quite pessimistic regarding the evolution of their </a:t>
            </a:r>
          </a:p>
          <a:p>
            <a:r>
              <a:rPr lang="en-US">
                <a:solidFill>
                  <a:schemeClr val="tx2"/>
                </a:solidFill>
                <a:ea typeface="Lato" panose="020F0502020204030203" pitchFamily="34" charset="0"/>
                <a:cs typeface="Lato" panose="020F0502020204030203" pitchFamily="34" charset="0"/>
              </a:rPr>
              <a:t>financial situation. </a:t>
            </a:r>
            <a:endParaRPr lang="ru-RU">
              <a:solidFill>
                <a:schemeClr val="tx2"/>
              </a:solidFill>
            </a:endParaRPr>
          </a:p>
        </p:txBody>
      </p:sp>
    </p:spTree>
    <p:extLst>
      <p:ext uri="{BB962C8B-B14F-4D97-AF65-F5344CB8AC3E}">
        <p14:creationId xmlns:p14="http://schemas.microsoft.com/office/powerpoint/2010/main" val="36194814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ggetto 2" hidden="1">
            <a:extLst>
              <a:ext uri="{FF2B5EF4-FFF2-40B4-BE49-F238E27FC236}">
                <a16:creationId xmlns:a16="http://schemas.microsoft.com/office/drawing/2014/main" id="{D05BEDF1-5955-4C78-9A1D-86D7C28292BB}"/>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24695" name="Diapositiva think-cell" r:id="rId6" imgW="395" imgH="396" progId="TCLayout.ActiveDocument.1">
                  <p:embed/>
                </p:oleObj>
              </mc:Choice>
              <mc:Fallback>
                <p:oleObj name="Diapositiva think-cell" r:id="rId6" imgW="395" imgH="396" progId="TCLayout.ActiveDocument.1">
                  <p:embed/>
                  <p:pic>
                    <p:nvPicPr>
                      <p:cNvPr id="3" name="Oggetto 2" hidden="1">
                        <a:extLst>
                          <a:ext uri="{FF2B5EF4-FFF2-40B4-BE49-F238E27FC236}">
                            <a16:creationId xmlns:a16="http://schemas.microsoft.com/office/drawing/2014/main" id="{D05BEDF1-5955-4C78-9A1D-86D7C28292B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ttangolo 1" hidden="1">
            <a:extLst>
              <a:ext uri="{FF2B5EF4-FFF2-40B4-BE49-F238E27FC236}">
                <a16:creationId xmlns:a16="http://schemas.microsoft.com/office/drawing/2014/main" id="{55DFBA0A-5F39-4534-B778-1B9FDB864AF0}"/>
              </a:ext>
            </a:extLst>
          </p:cNvPr>
          <p:cNvSpPr/>
          <p:nvPr>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25000"/>
              </a:lnSpc>
              <a:spcBef>
                <a:spcPts val="0"/>
              </a:spcBef>
              <a:spcAft>
                <a:spcPts val="0"/>
              </a:spcAft>
              <a:buClrTx/>
              <a:buSzTx/>
              <a:buFontTx/>
              <a:buNone/>
              <a:tabLst/>
              <a:defRPr/>
            </a:pPr>
            <a:endParaRPr kumimoji="0" lang="it-IT" sz="3600" b="1" i="0" u="none" strike="noStrike" kern="1200" cap="none" spc="0" normalizeH="0" baseline="0" noProof="0">
              <a:ln>
                <a:noFill/>
              </a:ln>
              <a:solidFill>
                <a:srgbClr val="FFFFFF"/>
              </a:solidFill>
              <a:effectLst/>
              <a:uLnTx/>
              <a:uFillTx/>
              <a:latin typeface="Lato Light" panose="020F0502020204030203" pitchFamily="34" charset="0"/>
              <a:ea typeface="+mn-ea"/>
              <a:cs typeface="+mn-cs"/>
              <a:sym typeface="Lato Light" panose="020F0502020204030203" pitchFamily="34" charset="0"/>
            </a:endParaRPr>
          </a:p>
        </p:txBody>
      </p:sp>
      <p:sp>
        <p:nvSpPr>
          <p:cNvPr id="41" name="Slide Number Placeholder 29">
            <a:extLst>
              <a:ext uri="{FF2B5EF4-FFF2-40B4-BE49-F238E27FC236}">
                <a16:creationId xmlns:a16="http://schemas.microsoft.com/office/drawing/2014/main" id="{DE0EA3F0-F2EC-4E45-BAEE-06936AEAA2B6}"/>
              </a:ext>
            </a:extLst>
          </p:cNvPr>
          <p:cNvSpPr txBox="1">
            <a:spLocks/>
          </p:cNvSpPr>
          <p:nvPr/>
        </p:nvSpPr>
        <p:spPr>
          <a:xfrm>
            <a:off x="11186669" y="6461671"/>
            <a:ext cx="648000" cy="133790"/>
          </a:xfrm>
          <a:prstGeom prst="rect">
            <a:avLst/>
          </a:prstGeom>
        </p:spPr>
        <p:txBody>
          <a:bodyPr vert="horz" lIns="0" tIns="0" rIns="0" bIns="0" rtlCol="0" anchor="b" anchorCtr="0"/>
          <a:lstStyle>
            <a:defPPr>
              <a:defRPr lang="en-US"/>
            </a:defPPr>
            <a:lvl1pPr marL="0" algn="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5F3E29E4-0979-4FCA-B4C5-5FC6044C982A}" type="slidenum">
              <a:rPr kumimoji="0" lang="en-US" sz="800" b="0" i="0" u="none" strike="noStrike" kern="1200" cap="none" spc="0" normalizeH="0" baseline="0" noProof="0" smtClean="0">
                <a:ln>
                  <a:noFill/>
                </a:ln>
                <a:solidFill>
                  <a:srgbClr val="414549"/>
                </a:solidFill>
                <a:effectLst/>
                <a:uLnTx/>
                <a:uFillTx/>
                <a:latin typeface="Lato"/>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800" b="0" i="0" u="none" strike="noStrike" kern="1200" cap="none" spc="0" normalizeH="0" baseline="0" noProof="0">
              <a:ln>
                <a:noFill/>
              </a:ln>
              <a:solidFill>
                <a:srgbClr val="414549"/>
              </a:solidFill>
              <a:effectLst/>
              <a:uLnTx/>
              <a:uFillTx/>
              <a:latin typeface="Lato"/>
              <a:ea typeface="+mn-ea"/>
              <a:cs typeface="+mn-cs"/>
            </a:endParaRPr>
          </a:p>
        </p:txBody>
      </p:sp>
      <p:sp>
        <p:nvSpPr>
          <p:cNvPr id="39" name="Text Box 8">
            <a:extLst>
              <a:ext uri="{FF2B5EF4-FFF2-40B4-BE49-F238E27FC236}">
                <a16:creationId xmlns:a16="http://schemas.microsoft.com/office/drawing/2014/main" id="{1992CD47-0D0A-4EAF-B67D-D1BF4E87DB65}"/>
              </a:ext>
            </a:extLst>
          </p:cNvPr>
          <p:cNvSpPr txBox="1">
            <a:spLocks noChangeArrowheads="1"/>
          </p:cNvSpPr>
          <p:nvPr/>
        </p:nvSpPr>
        <p:spPr bwMode="auto">
          <a:xfrm>
            <a:off x="24157" y="1636438"/>
            <a:ext cx="648898" cy="184666"/>
          </a:xfrm>
          <a:prstGeom prst="rect">
            <a:avLst/>
          </a:prstGeom>
          <a:noFill/>
          <a:ln>
            <a:noFill/>
          </a:ln>
          <a:effectLst/>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200" b="0" i="0" u="none" strike="noStrike" kern="1200" cap="none" spc="0" normalizeH="0" baseline="0" noProof="0">
                <a:ln>
                  <a:noFill/>
                </a:ln>
                <a:solidFill>
                  <a:srgbClr val="414549"/>
                </a:solidFill>
                <a:effectLst>
                  <a:outerShdw blurRad="38100" dist="38100" dir="2700000" algn="tl">
                    <a:srgbClr val="FFFFFF"/>
                  </a:outerShdw>
                </a:effectLst>
                <a:uLnTx/>
                <a:uFillTx/>
                <a:latin typeface="Lato"/>
                <a:ea typeface="+mn-ea"/>
                <a:cs typeface="Arial" panose="020B0604020202020204" pitchFamily="34" charset="0"/>
              </a:rPr>
              <a:t>In %</a:t>
            </a:r>
          </a:p>
        </p:txBody>
      </p:sp>
      <p:sp>
        <p:nvSpPr>
          <p:cNvPr id="20" name="Rettangolo 107">
            <a:extLst>
              <a:ext uri="{FF2B5EF4-FFF2-40B4-BE49-F238E27FC236}">
                <a16:creationId xmlns:a16="http://schemas.microsoft.com/office/drawing/2014/main" id="{CB1206DA-7C57-4971-AA46-88418EBB271E}"/>
              </a:ext>
            </a:extLst>
          </p:cNvPr>
          <p:cNvSpPr/>
          <p:nvPr/>
        </p:nvSpPr>
        <p:spPr>
          <a:xfrm>
            <a:off x="4178554" y="1785075"/>
            <a:ext cx="162560" cy="162000"/>
          </a:xfrm>
          <a:prstGeom prst="rect">
            <a:avLst/>
          </a:prstGeom>
          <a:solidFill>
            <a:srgbClr val="9D533F"/>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IT" sz="1200" b="0" i="0" u="none" strike="noStrike" kern="1200" cap="none" spc="0" normalizeH="0" baseline="0" noProof="0">
              <a:ln>
                <a:noFill/>
              </a:ln>
              <a:solidFill>
                <a:srgbClr val="FFFFFF"/>
              </a:solidFill>
              <a:effectLst/>
              <a:uLnTx/>
              <a:uFillTx/>
              <a:latin typeface="Lato"/>
              <a:ea typeface="+mn-ea"/>
              <a:cs typeface="+mn-cs"/>
            </a:endParaRPr>
          </a:p>
        </p:txBody>
      </p:sp>
      <p:sp>
        <p:nvSpPr>
          <p:cNvPr id="21" name="Rechteck 28">
            <a:extLst>
              <a:ext uri="{FF2B5EF4-FFF2-40B4-BE49-F238E27FC236}">
                <a16:creationId xmlns:a16="http://schemas.microsoft.com/office/drawing/2014/main" id="{EE93F296-F48A-4CB3-9A09-5027F421FF17}"/>
              </a:ext>
            </a:extLst>
          </p:cNvPr>
          <p:cNvSpPr/>
          <p:nvPr/>
        </p:nvSpPr>
        <p:spPr bwMode="gray">
          <a:xfrm>
            <a:off x="4303137" y="1708615"/>
            <a:ext cx="2050840" cy="313913"/>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300"/>
              </a:spcBef>
              <a:spcAft>
                <a:spcPts val="0"/>
              </a:spcAft>
              <a:buClrTx/>
              <a:buSzTx/>
              <a:buFontTx/>
              <a:buNone/>
              <a:tabLst/>
              <a:defRPr/>
            </a:pPr>
            <a:r>
              <a:rPr kumimoji="0" lang="en-GB" sz="1000" b="0" i="0" u="none" strike="noStrike" kern="1200" cap="none" spc="0" normalizeH="0" baseline="0" noProof="0">
                <a:ln>
                  <a:noFill/>
                </a:ln>
                <a:solidFill>
                  <a:srgbClr val="9D533F"/>
                </a:solidFill>
                <a:effectLst/>
                <a:uLnTx/>
                <a:uFillTx/>
                <a:latin typeface="Lato"/>
                <a:ea typeface="+mn-ea"/>
                <a:cs typeface="Arial" pitchFamily="34" charset="0"/>
              </a:rPr>
              <a:t>Postponed</a:t>
            </a:r>
            <a:endParaRPr kumimoji="0" lang="en-GB" sz="400" b="0" i="0" u="none" strike="noStrike" kern="1200" cap="none" spc="0" normalizeH="0" baseline="0" noProof="0">
              <a:ln>
                <a:noFill/>
              </a:ln>
              <a:solidFill>
                <a:srgbClr val="9D533F"/>
              </a:solidFill>
              <a:effectLst/>
              <a:uLnTx/>
              <a:uFillTx/>
              <a:latin typeface="Lato"/>
              <a:ea typeface="+mn-ea"/>
              <a:cs typeface="Arial" pitchFamily="34" charset="0"/>
            </a:endParaRPr>
          </a:p>
        </p:txBody>
      </p:sp>
      <p:sp>
        <p:nvSpPr>
          <p:cNvPr id="22" name="Rettangolo 19">
            <a:extLst>
              <a:ext uri="{FF2B5EF4-FFF2-40B4-BE49-F238E27FC236}">
                <a16:creationId xmlns:a16="http://schemas.microsoft.com/office/drawing/2014/main" id="{468F4409-E62B-424B-B0B2-98C9C88A609C}"/>
              </a:ext>
            </a:extLst>
          </p:cNvPr>
          <p:cNvSpPr/>
          <p:nvPr/>
        </p:nvSpPr>
        <p:spPr>
          <a:xfrm>
            <a:off x="893484" y="1768292"/>
            <a:ext cx="162560" cy="162000"/>
          </a:xfrm>
          <a:prstGeom prst="rect">
            <a:avLst/>
          </a:prstGeom>
          <a:solidFill>
            <a:srgbClr val="4D999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IT" sz="1200" b="0" i="0" u="none" strike="noStrike" kern="1200" cap="none" spc="0" normalizeH="0" baseline="0" noProof="0">
              <a:ln>
                <a:noFill/>
              </a:ln>
              <a:solidFill>
                <a:srgbClr val="FFFFFF"/>
              </a:solidFill>
              <a:effectLst/>
              <a:uLnTx/>
              <a:uFillTx/>
              <a:latin typeface="Lato"/>
              <a:ea typeface="+mn-ea"/>
              <a:cs typeface="+mn-cs"/>
            </a:endParaRPr>
          </a:p>
        </p:txBody>
      </p:sp>
      <p:sp>
        <p:nvSpPr>
          <p:cNvPr id="23" name="Rechteck 28">
            <a:extLst>
              <a:ext uri="{FF2B5EF4-FFF2-40B4-BE49-F238E27FC236}">
                <a16:creationId xmlns:a16="http://schemas.microsoft.com/office/drawing/2014/main" id="{D12B1602-2206-4F35-BCA8-CCDAE17C8485}"/>
              </a:ext>
            </a:extLst>
          </p:cNvPr>
          <p:cNvSpPr/>
          <p:nvPr/>
        </p:nvSpPr>
        <p:spPr bwMode="gray">
          <a:xfrm>
            <a:off x="1006778" y="1691832"/>
            <a:ext cx="3227338" cy="313913"/>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300"/>
              </a:spcBef>
              <a:spcAft>
                <a:spcPts val="0"/>
              </a:spcAft>
              <a:buClrTx/>
              <a:buSzTx/>
              <a:buFontTx/>
              <a:buNone/>
              <a:tabLst/>
              <a:defRPr/>
            </a:pPr>
            <a:r>
              <a:rPr kumimoji="0" lang="en-US" sz="1000" b="0" i="0" u="none" strike="noStrike" kern="1200" cap="none" spc="0" normalizeH="0" baseline="0" noProof="0">
                <a:ln>
                  <a:noFill/>
                </a:ln>
                <a:solidFill>
                  <a:srgbClr val="4D9991"/>
                </a:solidFill>
                <a:effectLst/>
                <a:uLnTx/>
                <a:uFillTx/>
                <a:latin typeface="Lato"/>
                <a:ea typeface="+mn-ea"/>
                <a:cs typeface="Arial" pitchFamily="34" charset="0"/>
              </a:rPr>
              <a:t>Will buy it in the coming weeks without postponing it </a:t>
            </a:r>
            <a:endParaRPr kumimoji="0" lang="en-US" sz="400" b="0" i="0" u="none" strike="noStrike" kern="1200" cap="none" spc="0" normalizeH="0" baseline="0" noProof="0">
              <a:ln>
                <a:noFill/>
              </a:ln>
              <a:solidFill>
                <a:srgbClr val="4D9991"/>
              </a:solidFill>
              <a:effectLst/>
              <a:uLnTx/>
              <a:uFillTx/>
              <a:latin typeface="Lato"/>
              <a:ea typeface="+mn-ea"/>
              <a:cs typeface="Arial" pitchFamily="34" charset="0"/>
            </a:endParaRPr>
          </a:p>
        </p:txBody>
      </p:sp>
      <p:graphicFrame>
        <p:nvGraphicFramePr>
          <p:cNvPr id="8" name="Tableau 7">
            <a:extLst>
              <a:ext uri="{FF2B5EF4-FFF2-40B4-BE49-F238E27FC236}">
                <a16:creationId xmlns:a16="http://schemas.microsoft.com/office/drawing/2014/main" id="{8FC88A4D-8F50-4B2B-A7E7-40B089DFD321}"/>
              </a:ext>
            </a:extLst>
          </p:cNvPr>
          <p:cNvGraphicFramePr>
            <a:graphicFrameLocks noGrp="1"/>
          </p:cNvGraphicFramePr>
          <p:nvPr/>
        </p:nvGraphicFramePr>
        <p:xfrm>
          <a:off x="190500" y="2041820"/>
          <a:ext cx="2820600" cy="4032000"/>
        </p:xfrm>
        <a:graphic>
          <a:graphicData uri="http://schemas.openxmlformats.org/drawingml/2006/table">
            <a:tbl>
              <a:tblPr/>
              <a:tblGrid>
                <a:gridCol w="2820600">
                  <a:extLst>
                    <a:ext uri="{9D8B030D-6E8A-4147-A177-3AD203B41FA5}">
                      <a16:colId xmlns:a16="http://schemas.microsoft.com/office/drawing/2014/main" val="3256377274"/>
                    </a:ext>
                  </a:extLst>
                </a:gridCol>
              </a:tblGrid>
              <a:tr h="504000">
                <a:tc>
                  <a:txBody>
                    <a:bodyPr/>
                    <a:lstStyle/>
                    <a:p>
                      <a:pPr algn="r" fontAlgn="b"/>
                      <a:r>
                        <a:rPr lang="en-US" sz="1200" b="0" i="0" u="none" strike="noStrike" noProof="0" dirty="0">
                          <a:solidFill>
                            <a:srgbClr val="000000"/>
                          </a:solidFill>
                          <a:effectLst/>
                          <a:latin typeface="+mn-lt"/>
                        </a:rPr>
                        <a:t>Small domestic appliances</a:t>
                      </a:r>
                    </a:p>
                  </a:txBody>
                  <a:tcPr marL="9525" marR="9525" marT="9525" marB="0" anchor="ctr">
                    <a:lnL>
                      <a:noFill/>
                    </a:lnL>
                    <a:lnR>
                      <a:noFill/>
                    </a:lnR>
                    <a:lnT>
                      <a:noFill/>
                    </a:lnT>
                    <a:lnB>
                      <a:noFill/>
                    </a:lnB>
                  </a:tcPr>
                </a:tc>
                <a:extLst>
                  <a:ext uri="{0D108BD9-81ED-4DB2-BD59-A6C34878D82A}">
                    <a16:rowId xmlns:a16="http://schemas.microsoft.com/office/drawing/2014/main" val="2089899223"/>
                  </a:ext>
                </a:extLst>
              </a:tr>
              <a:tr h="504000">
                <a:tc>
                  <a:txBody>
                    <a:bodyPr/>
                    <a:lstStyle/>
                    <a:p>
                      <a:pPr algn="r" fontAlgn="b"/>
                      <a:r>
                        <a:rPr lang="en-US" sz="1200" b="0" i="0" u="none" strike="noStrike" noProof="0">
                          <a:solidFill>
                            <a:srgbClr val="000000"/>
                          </a:solidFill>
                          <a:effectLst/>
                          <a:latin typeface="+mn-lt"/>
                        </a:rPr>
                        <a:t>Computer/accessories</a:t>
                      </a:r>
                    </a:p>
                  </a:txBody>
                  <a:tcPr marL="9525" marR="9525" marT="9525" marB="0" anchor="ctr">
                    <a:lnL>
                      <a:noFill/>
                    </a:lnL>
                    <a:lnR>
                      <a:noFill/>
                    </a:lnR>
                    <a:lnT>
                      <a:noFill/>
                    </a:lnT>
                    <a:lnB>
                      <a:noFill/>
                    </a:lnB>
                  </a:tcPr>
                </a:tc>
                <a:extLst>
                  <a:ext uri="{0D108BD9-81ED-4DB2-BD59-A6C34878D82A}">
                    <a16:rowId xmlns:a16="http://schemas.microsoft.com/office/drawing/2014/main" val="2431122549"/>
                  </a:ext>
                </a:extLst>
              </a:tr>
              <a:tr h="504000">
                <a:tc>
                  <a:txBody>
                    <a:bodyPr/>
                    <a:lstStyle/>
                    <a:p>
                      <a:pPr algn="r" fontAlgn="b"/>
                      <a:r>
                        <a:rPr lang="en-US" sz="1200" b="0" i="0" u="none" strike="noStrike" noProof="0">
                          <a:solidFill>
                            <a:srgbClr val="000000"/>
                          </a:solidFill>
                          <a:effectLst/>
                          <a:latin typeface="+mn-lt"/>
                        </a:rPr>
                        <a:t>Phones/mobile phone accessories</a:t>
                      </a:r>
                    </a:p>
                  </a:txBody>
                  <a:tcPr marL="9525" marR="9525" marT="9525" marB="0" anchor="ctr">
                    <a:lnL>
                      <a:noFill/>
                    </a:lnL>
                    <a:lnR>
                      <a:noFill/>
                    </a:lnR>
                    <a:lnT>
                      <a:noFill/>
                    </a:lnT>
                    <a:lnB>
                      <a:noFill/>
                    </a:lnB>
                  </a:tcPr>
                </a:tc>
                <a:extLst>
                  <a:ext uri="{0D108BD9-81ED-4DB2-BD59-A6C34878D82A}">
                    <a16:rowId xmlns:a16="http://schemas.microsoft.com/office/drawing/2014/main" val="1704853690"/>
                  </a:ext>
                </a:extLst>
              </a:tr>
              <a:tr h="504000">
                <a:tc>
                  <a:txBody>
                    <a:bodyPr/>
                    <a:lstStyle/>
                    <a:p>
                      <a:pPr algn="r" fontAlgn="b"/>
                      <a:r>
                        <a:rPr lang="en-US" sz="1200" b="0" i="0" u="none" strike="noStrike" noProof="0">
                          <a:solidFill>
                            <a:srgbClr val="000000"/>
                          </a:solidFill>
                          <a:effectLst/>
                          <a:latin typeface="+mn-lt"/>
                        </a:rPr>
                        <a:t>Large domestic appliances</a:t>
                      </a:r>
                    </a:p>
                  </a:txBody>
                  <a:tcPr marL="9525" marR="9525" marT="9525" marB="0" anchor="ctr">
                    <a:lnL>
                      <a:noFill/>
                    </a:lnL>
                    <a:lnR>
                      <a:noFill/>
                    </a:lnR>
                    <a:lnT>
                      <a:noFill/>
                    </a:lnT>
                    <a:lnB>
                      <a:noFill/>
                    </a:lnB>
                  </a:tcPr>
                </a:tc>
                <a:extLst>
                  <a:ext uri="{0D108BD9-81ED-4DB2-BD59-A6C34878D82A}">
                    <a16:rowId xmlns:a16="http://schemas.microsoft.com/office/drawing/2014/main" val="4054893419"/>
                  </a:ext>
                </a:extLst>
              </a:tr>
              <a:tr h="504000">
                <a:tc>
                  <a:txBody>
                    <a:bodyPr/>
                    <a:lstStyle/>
                    <a:p>
                      <a:pPr algn="r" fontAlgn="b"/>
                      <a:r>
                        <a:rPr lang="en-US" sz="1200" b="0" i="0" u="none" strike="noStrike" noProof="0">
                          <a:solidFill>
                            <a:srgbClr val="000000"/>
                          </a:solidFill>
                          <a:effectLst/>
                          <a:latin typeface="+mn-lt"/>
                        </a:rPr>
                        <a:t>Consumer electronics/Audio Video</a:t>
                      </a:r>
                    </a:p>
                  </a:txBody>
                  <a:tcPr marL="9525" marR="9525" marT="9525" marB="0" anchor="ctr">
                    <a:lnL>
                      <a:noFill/>
                    </a:lnL>
                    <a:lnR>
                      <a:noFill/>
                    </a:lnR>
                    <a:lnT>
                      <a:noFill/>
                    </a:lnT>
                    <a:lnB>
                      <a:noFill/>
                    </a:lnB>
                  </a:tcPr>
                </a:tc>
                <a:extLst>
                  <a:ext uri="{0D108BD9-81ED-4DB2-BD59-A6C34878D82A}">
                    <a16:rowId xmlns:a16="http://schemas.microsoft.com/office/drawing/2014/main" val="3055458317"/>
                  </a:ext>
                </a:extLst>
              </a:tr>
              <a:tr h="504000">
                <a:tc>
                  <a:txBody>
                    <a:bodyPr/>
                    <a:lstStyle/>
                    <a:p>
                      <a:pPr algn="r" fontAlgn="b"/>
                      <a:r>
                        <a:rPr lang="en-US" sz="1200" b="0" i="0" u="none" strike="noStrike" noProof="0">
                          <a:solidFill>
                            <a:srgbClr val="000000"/>
                          </a:solidFill>
                          <a:effectLst/>
                          <a:latin typeface="+mn-lt"/>
                        </a:rPr>
                        <a:t>Clothes</a:t>
                      </a:r>
                    </a:p>
                  </a:txBody>
                  <a:tcPr marL="9525" marR="9525" marT="9525" marB="0" anchor="ctr">
                    <a:lnL>
                      <a:noFill/>
                    </a:lnL>
                    <a:lnR>
                      <a:noFill/>
                    </a:lnR>
                    <a:lnT>
                      <a:noFill/>
                    </a:lnT>
                    <a:lnB>
                      <a:noFill/>
                    </a:lnB>
                  </a:tcPr>
                </a:tc>
                <a:extLst>
                  <a:ext uri="{0D108BD9-81ED-4DB2-BD59-A6C34878D82A}">
                    <a16:rowId xmlns:a16="http://schemas.microsoft.com/office/drawing/2014/main" val="450257620"/>
                  </a:ext>
                </a:extLst>
              </a:tr>
              <a:tr h="504000">
                <a:tc>
                  <a:txBody>
                    <a:bodyPr/>
                    <a:lstStyle/>
                    <a:p>
                      <a:pPr algn="r" fontAlgn="b"/>
                      <a:r>
                        <a:rPr lang="en-US" sz="1200" b="0" i="0" u="none" strike="noStrike" noProof="0" dirty="0">
                          <a:solidFill>
                            <a:srgbClr val="000000"/>
                          </a:solidFill>
                          <a:effectLst/>
                          <a:latin typeface="+mn-lt"/>
                        </a:rPr>
                        <a:t>Tickets to shows, movies, concerts, fairs, sporting events</a:t>
                      </a:r>
                    </a:p>
                  </a:txBody>
                  <a:tcPr marL="9525" marR="9525" marT="9525" marB="0" anchor="ctr">
                    <a:lnL>
                      <a:noFill/>
                    </a:lnL>
                    <a:lnR>
                      <a:noFill/>
                    </a:lnR>
                    <a:lnT>
                      <a:noFill/>
                    </a:lnT>
                    <a:lnB>
                      <a:noFill/>
                    </a:lnB>
                  </a:tcPr>
                </a:tc>
                <a:extLst>
                  <a:ext uri="{0D108BD9-81ED-4DB2-BD59-A6C34878D82A}">
                    <a16:rowId xmlns:a16="http://schemas.microsoft.com/office/drawing/2014/main" val="3041530803"/>
                  </a:ext>
                </a:extLst>
              </a:tr>
              <a:tr h="504000">
                <a:tc>
                  <a:txBody>
                    <a:bodyPr/>
                    <a:lstStyle/>
                    <a:p>
                      <a:pPr algn="r" fontAlgn="b"/>
                      <a:r>
                        <a:rPr lang="en-US" sz="1200" b="0" i="0" u="none" strike="noStrike" noProof="0" dirty="0">
                          <a:solidFill>
                            <a:srgbClr val="000000"/>
                          </a:solidFill>
                          <a:effectLst/>
                          <a:latin typeface="+mn-lt"/>
                        </a:rPr>
                        <a:t>Car</a:t>
                      </a:r>
                    </a:p>
                  </a:txBody>
                  <a:tcPr marL="9525" marR="9525" marT="9525" marB="0" anchor="ctr">
                    <a:lnL>
                      <a:noFill/>
                    </a:lnL>
                    <a:lnR>
                      <a:noFill/>
                    </a:lnR>
                    <a:lnT>
                      <a:noFill/>
                    </a:lnT>
                    <a:lnB>
                      <a:noFill/>
                    </a:lnB>
                  </a:tcPr>
                </a:tc>
                <a:extLst>
                  <a:ext uri="{0D108BD9-81ED-4DB2-BD59-A6C34878D82A}">
                    <a16:rowId xmlns:a16="http://schemas.microsoft.com/office/drawing/2014/main" val="3497543197"/>
                  </a:ext>
                </a:extLst>
              </a:tr>
            </a:tbl>
          </a:graphicData>
        </a:graphic>
      </p:graphicFrame>
      <p:pic>
        <p:nvPicPr>
          <p:cNvPr id="24" name="Image 23">
            <a:extLst>
              <a:ext uri="{FF2B5EF4-FFF2-40B4-BE49-F238E27FC236}">
                <a16:creationId xmlns:a16="http://schemas.microsoft.com/office/drawing/2014/main" id="{8D002CE1-6C72-4187-863F-A9BA9409BBCB}"/>
              </a:ext>
            </a:extLst>
          </p:cNvPr>
          <p:cNvPicPr>
            <a:picLocks/>
          </p:cNvPicPr>
          <p:nvPr/>
        </p:nvPicPr>
        <p:blipFill>
          <a:blip r:embed="rId8"/>
          <a:stretch>
            <a:fillRect/>
          </a:stretch>
        </p:blipFill>
        <p:spPr>
          <a:xfrm>
            <a:off x="4648538" y="6074095"/>
            <a:ext cx="324000" cy="324000"/>
          </a:xfrm>
          <a:prstGeom prst="rect">
            <a:avLst/>
          </a:prstGeom>
        </p:spPr>
      </p:pic>
      <p:pic>
        <p:nvPicPr>
          <p:cNvPr id="25" name="Image 24">
            <a:extLst>
              <a:ext uri="{FF2B5EF4-FFF2-40B4-BE49-F238E27FC236}">
                <a16:creationId xmlns:a16="http://schemas.microsoft.com/office/drawing/2014/main" id="{0B2A3216-6B06-441F-9E35-6983B2CB5094}"/>
              </a:ext>
            </a:extLst>
          </p:cNvPr>
          <p:cNvPicPr>
            <a:picLocks/>
          </p:cNvPicPr>
          <p:nvPr/>
        </p:nvPicPr>
        <p:blipFill>
          <a:blip r:embed="rId9"/>
          <a:stretch>
            <a:fillRect/>
          </a:stretch>
        </p:blipFill>
        <p:spPr>
          <a:xfrm>
            <a:off x="5929709" y="6083027"/>
            <a:ext cx="324000" cy="324000"/>
          </a:xfrm>
          <a:prstGeom prst="rect">
            <a:avLst/>
          </a:prstGeom>
        </p:spPr>
      </p:pic>
      <p:pic>
        <p:nvPicPr>
          <p:cNvPr id="26" name="Image 25">
            <a:extLst>
              <a:ext uri="{FF2B5EF4-FFF2-40B4-BE49-F238E27FC236}">
                <a16:creationId xmlns:a16="http://schemas.microsoft.com/office/drawing/2014/main" id="{27F45808-8784-479B-83E2-273CD8D61EEF}"/>
              </a:ext>
            </a:extLst>
          </p:cNvPr>
          <p:cNvPicPr>
            <a:picLocks noChangeAspect="1"/>
          </p:cNvPicPr>
          <p:nvPr/>
        </p:nvPicPr>
        <p:blipFill>
          <a:blip r:embed="rId10"/>
          <a:stretch>
            <a:fillRect/>
          </a:stretch>
        </p:blipFill>
        <p:spPr>
          <a:xfrm>
            <a:off x="3367367" y="6094826"/>
            <a:ext cx="324000" cy="324000"/>
          </a:xfrm>
          <a:prstGeom prst="rect">
            <a:avLst/>
          </a:prstGeom>
        </p:spPr>
      </p:pic>
      <p:pic>
        <p:nvPicPr>
          <p:cNvPr id="27" name="Image 26">
            <a:extLst>
              <a:ext uri="{FF2B5EF4-FFF2-40B4-BE49-F238E27FC236}">
                <a16:creationId xmlns:a16="http://schemas.microsoft.com/office/drawing/2014/main" id="{091F36AF-908B-4627-8E64-09BC67E0E379}"/>
              </a:ext>
            </a:extLst>
          </p:cNvPr>
          <p:cNvPicPr>
            <a:picLocks noChangeAspect="1"/>
          </p:cNvPicPr>
          <p:nvPr/>
        </p:nvPicPr>
        <p:blipFill>
          <a:blip r:embed="rId11"/>
          <a:stretch>
            <a:fillRect/>
          </a:stretch>
        </p:blipFill>
        <p:spPr>
          <a:xfrm>
            <a:off x="7210880" y="6083027"/>
            <a:ext cx="324000" cy="316286"/>
          </a:xfrm>
          <a:prstGeom prst="rect">
            <a:avLst/>
          </a:prstGeom>
        </p:spPr>
      </p:pic>
      <p:pic>
        <p:nvPicPr>
          <p:cNvPr id="28" name="Image 27">
            <a:extLst>
              <a:ext uri="{FF2B5EF4-FFF2-40B4-BE49-F238E27FC236}">
                <a16:creationId xmlns:a16="http://schemas.microsoft.com/office/drawing/2014/main" id="{57830B02-FC2E-4C45-8239-3C5B450D03D9}"/>
              </a:ext>
            </a:extLst>
          </p:cNvPr>
          <p:cNvPicPr>
            <a:picLocks noChangeAspect="1"/>
          </p:cNvPicPr>
          <p:nvPr/>
        </p:nvPicPr>
        <p:blipFill>
          <a:blip r:embed="rId12"/>
          <a:stretch>
            <a:fillRect/>
          </a:stretch>
        </p:blipFill>
        <p:spPr>
          <a:xfrm>
            <a:off x="8492051" y="6083027"/>
            <a:ext cx="324000" cy="324000"/>
          </a:xfrm>
          <a:prstGeom prst="rect">
            <a:avLst/>
          </a:prstGeom>
        </p:spPr>
      </p:pic>
      <p:pic>
        <p:nvPicPr>
          <p:cNvPr id="29" name="Image 28">
            <a:extLst>
              <a:ext uri="{FF2B5EF4-FFF2-40B4-BE49-F238E27FC236}">
                <a16:creationId xmlns:a16="http://schemas.microsoft.com/office/drawing/2014/main" id="{312A22AA-B175-4643-9257-01CCB005C354}"/>
              </a:ext>
            </a:extLst>
          </p:cNvPr>
          <p:cNvPicPr>
            <a:picLocks noChangeAspect="1"/>
          </p:cNvPicPr>
          <p:nvPr/>
        </p:nvPicPr>
        <p:blipFill>
          <a:blip r:embed="rId13"/>
          <a:stretch>
            <a:fillRect/>
          </a:stretch>
        </p:blipFill>
        <p:spPr>
          <a:xfrm>
            <a:off x="9773222" y="6083027"/>
            <a:ext cx="324000" cy="324000"/>
          </a:xfrm>
          <a:prstGeom prst="rect">
            <a:avLst/>
          </a:prstGeom>
        </p:spPr>
      </p:pic>
      <p:graphicFrame>
        <p:nvGraphicFramePr>
          <p:cNvPr id="37" name="Graphique 36">
            <a:extLst>
              <a:ext uri="{FF2B5EF4-FFF2-40B4-BE49-F238E27FC236}">
                <a16:creationId xmlns:a16="http://schemas.microsoft.com/office/drawing/2014/main" id="{0051F18B-89D2-4BD4-AF14-F76FE061A49D}"/>
              </a:ext>
            </a:extLst>
          </p:cNvPr>
          <p:cNvGraphicFramePr/>
          <p:nvPr/>
        </p:nvGraphicFramePr>
        <p:xfrm>
          <a:off x="3186934" y="1905001"/>
          <a:ext cx="1613606" cy="4300348"/>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49" name="Graphique 48">
            <a:extLst>
              <a:ext uri="{FF2B5EF4-FFF2-40B4-BE49-F238E27FC236}">
                <a16:creationId xmlns:a16="http://schemas.microsoft.com/office/drawing/2014/main" id="{E6F3051A-CD46-4152-BF94-A41798F17A7B}"/>
              </a:ext>
            </a:extLst>
          </p:cNvPr>
          <p:cNvGraphicFramePr/>
          <p:nvPr/>
        </p:nvGraphicFramePr>
        <p:xfrm>
          <a:off x="4483797" y="1905001"/>
          <a:ext cx="1613606" cy="4300348"/>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50" name="Graphique 49">
            <a:extLst>
              <a:ext uri="{FF2B5EF4-FFF2-40B4-BE49-F238E27FC236}">
                <a16:creationId xmlns:a16="http://schemas.microsoft.com/office/drawing/2014/main" id="{D2371CC9-FDF9-4FED-B225-02FED12C7433}"/>
              </a:ext>
            </a:extLst>
          </p:cNvPr>
          <p:cNvGraphicFramePr/>
          <p:nvPr/>
        </p:nvGraphicFramePr>
        <p:xfrm>
          <a:off x="5780660" y="1905001"/>
          <a:ext cx="1613606" cy="4300348"/>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51" name="Graphique 50">
            <a:extLst>
              <a:ext uri="{FF2B5EF4-FFF2-40B4-BE49-F238E27FC236}">
                <a16:creationId xmlns:a16="http://schemas.microsoft.com/office/drawing/2014/main" id="{C7F3B92A-257D-4E40-AF3F-47C534522346}"/>
              </a:ext>
            </a:extLst>
          </p:cNvPr>
          <p:cNvGraphicFramePr/>
          <p:nvPr/>
        </p:nvGraphicFramePr>
        <p:xfrm>
          <a:off x="7077523" y="1905001"/>
          <a:ext cx="1613606" cy="4300348"/>
        </p:xfrm>
        <a:graphic>
          <a:graphicData uri="http://schemas.openxmlformats.org/drawingml/2006/chart">
            <c:chart xmlns:c="http://schemas.openxmlformats.org/drawingml/2006/chart" xmlns:r="http://schemas.openxmlformats.org/officeDocument/2006/relationships" r:id="rId17"/>
          </a:graphicData>
        </a:graphic>
      </p:graphicFrame>
      <p:graphicFrame>
        <p:nvGraphicFramePr>
          <p:cNvPr id="53" name="Graphique 52">
            <a:extLst>
              <a:ext uri="{FF2B5EF4-FFF2-40B4-BE49-F238E27FC236}">
                <a16:creationId xmlns:a16="http://schemas.microsoft.com/office/drawing/2014/main" id="{29C3F9D0-A58B-4A1B-B01A-1B3BF295D382}"/>
              </a:ext>
            </a:extLst>
          </p:cNvPr>
          <p:cNvGraphicFramePr/>
          <p:nvPr/>
        </p:nvGraphicFramePr>
        <p:xfrm>
          <a:off x="8374386" y="1905001"/>
          <a:ext cx="1613606" cy="4300348"/>
        </p:xfrm>
        <a:graphic>
          <a:graphicData uri="http://schemas.openxmlformats.org/drawingml/2006/chart">
            <c:chart xmlns:c="http://schemas.openxmlformats.org/drawingml/2006/chart" xmlns:r="http://schemas.openxmlformats.org/officeDocument/2006/relationships" r:id="rId18"/>
          </a:graphicData>
        </a:graphic>
      </p:graphicFrame>
      <p:graphicFrame>
        <p:nvGraphicFramePr>
          <p:cNvPr id="54" name="Graphique 53">
            <a:extLst>
              <a:ext uri="{FF2B5EF4-FFF2-40B4-BE49-F238E27FC236}">
                <a16:creationId xmlns:a16="http://schemas.microsoft.com/office/drawing/2014/main" id="{96419BDD-9E3F-4AED-AEFA-FC05C24B80A5}"/>
              </a:ext>
            </a:extLst>
          </p:cNvPr>
          <p:cNvGraphicFramePr/>
          <p:nvPr/>
        </p:nvGraphicFramePr>
        <p:xfrm>
          <a:off x="9671249" y="1905001"/>
          <a:ext cx="1613606" cy="4300348"/>
        </p:xfrm>
        <a:graphic>
          <a:graphicData uri="http://schemas.openxmlformats.org/drawingml/2006/chart">
            <c:chart xmlns:c="http://schemas.openxmlformats.org/drawingml/2006/chart" xmlns:r="http://schemas.openxmlformats.org/officeDocument/2006/relationships" r:id="rId19"/>
          </a:graphicData>
        </a:graphic>
      </p:graphicFrame>
      <p:sp>
        <p:nvSpPr>
          <p:cNvPr id="31" name="Rectangle 30">
            <a:extLst>
              <a:ext uri="{FF2B5EF4-FFF2-40B4-BE49-F238E27FC236}">
                <a16:creationId xmlns:a16="http://schemas.microsoft.com/office/drawing/2014/main" id="{D6D206FA-3027-48AB-A122-3E6133916765}"/>
              </a:ext>
            </a:extLst>
          </p:cNvPr>
          <p:cNvSpPr/>
          <p:nvPr/>
        </p:nvSpPr>
        <p:spPr>
          <a:xfrm>
            <a:off x="748902" y="6530379"/>
            <a:ext cx="9550658" cy="246221"/>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Lato Light"/>
                <a:ea typeface="Arial" panose="020B0604020202020204" pitchFamily="34" charset="0"/>
                <a:cs typeface="+mn-cs"/>
              </a:rPr>
              <a:t>F04. </a:t>
            </a:r>
            <a:r>
              <a:rPr kumimoji="0" lang="en-US" sz="1000" b="0" i="0" u="none" strike="noStrike" kern="1200" cap="none" spc="0" normalizeH="0" baseline="0" noProof="0">
                <a:ln>
                  <a:noFill/>
                </a:ln>
                <a:solidFill>
                  <a:srgbClr val="FFFFFF">
                    <a:lumMod val="50000"/>
                  </a:srgbClr>
                </a:solidFill>
                <a:effectLst/>
                <a:uLnTx/>
                <a:uFillTx/>
                <a:latin typeface="Lato Light"/>
                <a:ea typeface="Arial" panose="020B0604020202020204" pitchFamily="34" charset="0"/>
                <a:cs typeface="+mn-cs"/>
              </a:rPr>
              <a:t>Still thinking about the coming weeks, are you postponing purchases that you had already planned to make until you understand how the situation will evolve?</a:t>
            </a:r>
            <a:endParaRPr kumimoji="0" lang="fr-FR" sz="1000" b="0" i="0" u="none" strike="noStrike" kern="1200" cap="none" spc="0" normalizeH="0" baseline="0" noProof="0">
              <a:ln>
                <a:noFill/>
              </a:ln>
              <a:solidFill>
                <a:srgbClr val="FFFFFF">
                  <a:lumMod val="50000"/>
                </a:srgbClr>
              </a:solidFill>
              <a:effectLst/>
              <a:uLnTx/>
              <a:uFillTx/>
              <a:latin typeface="Lato Light"/>
              <a:ea typeface="Times New Roman" panose="02020603050405020304" pitchFamily="18" charset="0"/>
              <a:cs typeface="+mn-cs"/>
            </a:endParaRPr>
          </a:p>
        </p:txBody>
      </p:sp>
      <p:sp>
        <p:nvSpPr>
          <p:cNvPr id="42" name="ZoneTexte 41">
            <a:extLst>
              <a:ext uri="{FF2B5EF4-FFF2-40B4-BE49-F238E27FC236}">
                <a16:creationId xmlns:a16="http://schemas.microsoft.com/office/drawing/2014/main" id="{249CCDEE-72E2-4B0B-8398-8F2DBAC67AE2}"/>
              </a:ext>
            </a:extLst>
          </p:cNvPr>
          <p:cNvSpPr txBox="1"/>
          <p:nvPr/>
        </p:nvSpPr>
        <p:spPr>
          <a:xfrm flipH="1">
            <a:off x="8178781" y="5301860"/>
            <a:ext cx="561867" cy="194876"/>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
                <a:srgbClr val="E55A00"/>
              </a:buClr>
              <a:buSzTx/>
              <a:buFontTx/>
              <a:buNone/>
              <a:tabLst/>
              <a:defRPr/>
            </a:pPr>
            <a:r>
              <a:rPr kumimoji="0" lang="en-US" sz="1000" b="0" i="0" u="none" strike="noStrike" kern="1200" cap="none" spc="0" normalizeH="0" baseline="0" noProof="0">
                <a:ln>
                  <a:noFill/>
                </a:ln>
                <a:solidFill>
                  <a:srgbClr val="00B050"/>
                </a:solidFill>
                <a:effectLst/>
                <a:uLnTx/>
                <a:uFillTx/>
                <a:latin typeface="Lato"/>
                <a:ea typeface="+mn-ea"/>
                <a:cs typeface="+mn-cs"/>
              </a:rPr>
              <a:t>+6 pts</a:t>
            </a:r>
          </a:p>
        </p:txBody>
      </p:sp>
      <p:sp>
        <p:nvSpPr>
          <p:cNvPr id="4" name="Прямоугольник 3">
            <a:extLst>
              <a:ext uri="{FF2B5EF4-FFF2-40B4-BE49-F238E27FC236}">
                <a16:creationId xmlns:a16="http://schemas.microsoft.com/office/drawing/2014/main" id="{AF820F1D-9DA2-4D6B-B329-92538FDB71A5}"/>
              </a:ext>
            </a:extLst>
          </p:cNvPr>
          <p:cNvSpPr/>
          <p:nvPr/>
        </p:nvSpPr>
        <p:spPr>
          <a:xfrm>
            <a:off x="348606" y="3574204"/>
            <a:ext cx="11736724" cy="510838"/>
          </a:xfrm>
          <a:prstGeom prst="rect">
            <a:avLst/>
          </a:prstGeom>
          <a:noFill/>
          <a:ln w="28575">
            <a:solidFill>
              <a:srgbClr val="FF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ctr" defTabSz="914400" rtl="0" eaLnBrk="1" fontAlgn="auto" latinLnBrk="0" hangingPunct="1">
              <a:lnSpc>
                <a:spcPct val="125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Lato"/>
              <a:ea typeface="+mn-ea"/>
              <a:cs typeface="+mn-cs"/>
            </a:endParaRPr>
          </a:p>
        </p:txBody>
      </p:sp>
      <p:graphicFrame>
        <p:nvGraphicFramePr>
          <p:cNvPr id="32" name="Graphique 53">
            <a:extLst>
              <a:ext uri="{FF2B5EF4-FFF2-40B4-BE49-F238E27FC236}">
                <a16:creationId xmlns:a16="http://schemas.microsoft.com/office/drawing/2014/main" id="{1D4552E4-814D-4A44-B202-C7D2388E6041}"/>
              </a:ext>
            </a:extLst>
          </p:cNvPr>
          <p:cNvGraphicFramePr/>
          <p:nvPr/>
        </p:nvGraphicFramePr>
        <p:xfrm>
          <a:off x="10968115" y="1905001"/>
          <a:ext cx="1613606" cy="4300348"/>
        </p:xfrm>
        <a:graphic>
          <a:graphicData uri="http://schemas.openxmlformats.org/drawingml/2006/chart">
            <c:chart xmlns:c="http://schemas.openxmlformats.org/drawingml/2006/chart" xmlns:r="http://schemas.openxmlformats.org/officeDocument/2006/relationships" r:id="rId20"/>
          </a:graphicData>
        </a:graphic>
      </p:graphicFrame>
      <p:sp>
        <p:nvSpPr>
          <p:cNvPr id="35" name="Заголовок 2">
            <a:extLst>
              <a:ext uri="{FF2B5EF4-FFF2-40B4-BE49-F238E27FC236}">
                <a16:creationId xmlns:a16="http://schemas.microsoft.com/office/drawing/2014/main" id="{39A336A2-0506-473C-B685-AC7497D4D01D}"/>
              </a:ext>
            </a:extLst>
          </p:cNvPr>
          <p:cNvSpPr>
            <a:spLocks noGrp="1"/>
          </p:cNvSpPr>
          <p:nvPr>
            <p:ph type="title"/>
          </p:nvPr>
        </p:nvSpPr>
        <p:spPr>
          <a:xfrm>
            <a:off x="1075061" y="288923"/>
            <a:ext cx="9700939" cy="648000"/>
          </a:xfrm>
        </p:spPr>
        <p:txBody>
          <a:bodyPr/>
          <a:lstStyle/>
          <a:p>
            <a:r>
              <a:rPr lang="en-US"/>
              <a:t>Planned vs Postponed Purchases</a:t>
            </a:r>
          </a:p>
        </p:txBody>
      </p:sp>
      <p:sp>
        <p:nvSpPr>
          <p:cNvPr id="36" name="Подзаголовок 7">
            <a:extLst>
              <a:ext uri="{FF2B5EF4-FFF2-40B4-BE49-F238E27FC236}">
                <a16:creationId xmlns:a16="http://schemas.microsoft.com/office/drawing/2014/main" id="{0748A36D-B561-4112-A9D7-F3050EC23193}"/>
              </a:ext>
            </a:extLst>
          </p:cNvPr>
          <p:cNvSpPr>
            <a:spLocks noGrp="1"/>
          </p:cNvSpPr>
          <p:nvPr>
            <p:ph type="subTitle" idx="13"/>
          </p:nvPr>
        </p:nvSpPr>
        <p:spPr>
          <a:xfrm>
            <a:off x="1084424" y="1020125"/>
            <a:ext cx="9816557" cy="457588"/>
          </a:xfrm>
        </p:spPr>
        <p:txBody>
          <a:bodyPr/>
          <a:lstStyle/>
          <a:p>
            <a:r>
              <a:rPr lang="en-US" dirty="0">
                <a:solidFill>
                  <a:schemeClr val="tx2"/>
                </a:solidFill>
                <a:ea typeface="Lato" panose="020F0502020204030203" pitchFamily="34" charset="0"/>
                <a:cs typeface="Lato" panose="020F0502020204030203" pitchFamily="34" charset="0"/>
              </a:rPr>
              <a:t>High Percentage of Consumers are postponing </a:t>
            </a:r>
            <a:r>
              <a:rPr lang="en-US">
                <a:solidFill>
                  <a:schemeClr val="tx2"/>
                </a:solidFill>
                <a:ea typeface="Lato" panose="020F0502020204030203" pitchFamily="34" charset="0"/>
                <a:cs typeface="Lato" panose="020F0502020204030203" pitchFamily="34" charset="0"/>
              </a:rPr>
              <a:t>their purchases.</a:t>
            </a:r>
            <a:endParaRPr lang="en-US" dirty="0">
              <a:solidFill>
                <a:schemeClr val="tx2"/>
              </a:solidFill>
              <a:ea typeface="Lato" panose="020F0502020204030203" pitchFamily="34" charset="0"/>
              <a:cs typeface="Lato" panose="020F0502020204030203" pitchFamily="34" charset="0"/>
            </a:endParaRPr>
          </a:p>
        </p:txBody>
      </p:sp>
      <p:pic>
        <p:nvPicPr>
          <p:cNvPr id="40" name="Рисунок 39">
            <a:extLst>
              <a:ext uri="{FF2B5EF4-FFF2-40B4-BE49-F238E27FC236}">
                <a16:creationId xmlns:a16="http://schemas.microsoft.com/office/drawing/2014/main" id="{22578269-842E-4F09-8E07-ACDCCD4DD6D8}"/>
              </a:ext>
            </a:extLst>
          </p:cNvPr>
          <p:cNvPicPr>
            <a:picLocks noChangeAspect="1"/>
          </p:cNvPicPr>
          <p:nvPr/>
        </p:nvPicPr>
        <p:blipFill>
          <a:blip r:embed="rId21" cstate="print">
            <a:extLst>
              <a:ext uri="{28A0092B-C50C-407E-A947-70E740481C1C}">
                <a14:useLocalDpi xmlns:a14="http://schemas.microsoft.com/office/drawing/2010/main"/>
              </a:ext>
            </a:extLst>
          </a:blip>
          <a:stretch>
            <a:fillRect/>
          </a:stretch>
        </p:blipFill>
        <p:spPr>
          <a:xfrm>
            <a:off x="11077345" y="6091940"/>
            <a:ext cx="324000" cy="324000"/>
          </a:xfrm>
          <a:prstGeom prst="rect">
            <a:avLst/>
          </a:prstGeom>
        </p:spPr>
      </p:pic>
      <p:sp>
        <p:nvSpPr>
          <p:cNvPr id="33" name="Прямоугольник 32">
            <a:extLst>
              <a:ext uri="{FF2B5EF4-FFF2-40B4-BE49-F238E27FC236}">
                <a16:creationId xmlns:a16="http://schemas.microsoft.com/office/drawing/2014/main" id="{B3DE3605-B95A-45E9-AA87-AA01933A6184}"/>
              </a:ext>
            </a:extLst>
          </p:cNvPr>
          <p:cNvSpPr/>
          <p:nvPr/>
        </p:nvSpPr>
        <p:spPr>
          <a:xfrm>
            <a:off x="348606" y="2057230"/>
            <a:ext cx="11736724" cy="510838"/>
          </a:xfrm>
          <a:prstGeom prst="rect">
            <a:avLst/>
          </a:prstGeom>
          <a:noFill/>
          <a:ln w="28575">
            <a:solidFill>
              <a:srgbClr val="FF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ctr" defTabSz="914400" rtl="0" eaLnBrk="1" fontAlgn="auto" latinLnBrk="0" hangingPunct="1">
              <a:lnSpc>
                <a:spcPct val="125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Lato"/>
              <a:ea typeface="+mn-ea"/>
              <a:cs typeface="+mn-cs"/>
            </a:endParaRPr>
          </a:p>
        </p:txBody>
      </p:sp>
    </p:spTree>
    <p:extLst>
      <p:ext uri="{BB962C8B-B14F-4D97-AF65-F5344CB8AC3E}">
        <p14:creationId xmlns:p14="http://schemas.microsoft.com/office/powerpoint/2010/main" val="6677758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Segnaposto immagine 8">
            <a:extLst>
              <a:ext uri="{FF2B5EF4-FFF2-40B4-BE49-F238E27FC236}">
                <a16:creationId xmlns:a16="http://schemas.microsoft.com/office/drawing/2014/main" id="{08253AE8-5AA3-4A74-86F6-44B36BCCC948}"/>
              </a:ext>
            </a:extLst>
          </p:cNvPr>
          <p:cNvPicPr>
            <a:picLocks noGrp="1" noChangeAspect="1"/>
          </p:cNvPicPr>
          <p:nvPr>
            <p:ph type="pic" sz="quarter" idx="17"/>
          </p:nvPr>
        </p:nvPicPr>
        <p:blipFill>
          <a:blip r:embed="rId3" cstate="print">
            <a:extLst>
              <a:ext uri="{28A0092B-C50C-407E-A947-70E740481C1C}">
                <a14:useLocalDpi xmlns:a14="http://schemas.microsoft.com/office/drawing/2010/main"/>
              </a:ext>
            </a:extLst>
          </a:blip>
          <a:srcRect/>
          <a:stretch/>
        </p:blipFill>
        <p:spPr>
          <a:xfrm>
            <a:off x="-1" y="0"/>
            <a:ext cx="8822478" cy="6858000"/>
          </a:xfrm>
        </p:spPr>
      </p:pic>
      <p:sp>
        <p:nvSpPr>
          <p:cNvPr id="2" name="Slide Number Placeholder 1">
            <a:extLst>
              <a:ext uri="{FF2B5EF4-FFF2-40B4-BE49-F238E27FC236}">
                <a16:creationId xmlns:a16="http://schemas.microsoft.com/office/drawing/2014/main" id="{9BA05347-969A-47BB-BE48-A7C7EF556D20}"/>
              </a:ext>
            </a:extLst>
          </p:cNvPr>
          <p:cNvSpPr>
            <a:spLocks noGrp="1"/>
          </p:cNvSpPr>
          <p:nvPr>
            <p:ph type="sldNum" sz="quarter" idx="16"/>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F3E29E4-0979-4FCA-B4C5-5FC6044C982A}" type="slidenum">
              <a:rPr kumimoji="0" lang="en-US" sz="800" b="0" i="0" u="none" strike="noStrike" kern="1200" cap="none" spc="0" normalizeH="0" baseline="0" noProof="0" smtClean="0">
                <a:ln>
                  <a:noFill/>
                </a:ln>
                <a:solidFill>
                  <a:srgbClr val="414549"/>
                </a:solidFill>
                <a:effectLst/>
                <a:uLnTx/>
                <a:uFillTx/>
                <a:latin typeface="Lato"/>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800" b="0" i="0" u="none" strike="noStrike" kern="1200" cap="none" spc="0" normalizeH="0" baseline="0" noProof="0">
              <a:ln>
                <a:noFill/>
              </a:ln>
              <a:solidFill>
                <a:srgbClr val="414549"/>
              </a:solidFill>
              <a:effectLst/>
              <a:uLnTx/>
              <a:uFillTx/>
              <a:latin typeface="Lato"/>
              <a:ea typeface="+mn-ea"/>
              <a:cs typeface="+mn-cs"/>
            </a:endParaRPr>
          </a:p>
        </p:txBody>
      </p:sp>
      <p:sp>
        <p:nvSpPr>
          <p:cNvPr id="5" name="Titel 4"/>
          <p:cNvSpPr>
            <a:spLocks noGrp="1"/>
          </p:cNvSpPr>
          <p:nvPr>
            <p:ph type="title"/>
          </p:nvPr>
        </p:nvSpPr>
        <p:spPr>
          <a:xfrm>
            <a:off x="7669115" y="3223234"/>
            <a:ext cx="3841554" cy="1632680"/>
          </a:xfrm>
        </p:spPr>
        <p:txBody>
          <a:bodyPr/>
          <a:lstStyle/>
          <a:p>
            <a:r>
              <a:rPr lang="en-US" dirty="0"/>
              <a:t>Macroeconomics </a:t>
            </a:r>
            <a:br>
              <a:rPr lang="en-US" dirty="0"/>
            </a:br>
            <a:r>
              <a:rPr lang="en-US" dirty="0"/>
              <a:t>in Russia </a:t>
            </a:r>
          </a:p>
        </p:txBody>
      </p:sp>
    </p:spTree>
    <p:extLst>
      <p:ext uri="{BB962C8B-B14F-4D97-AF65-F5344CB8AC3E}">
        <p14:creationId xmlns:p14="http://schemas.microsoft.com/office/powerpoint/2010/main" val="20657479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bg>
      <p:bgPr>
        <a:blipFill dpi="0" rotWithShape="1">
          <a:blip r:embed="rId3" cstate="print">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01022C8-63CB-4681-A09F-35455CA8F655}"/>
              </a:ext>
            </a:extLst>
          </p:cNvPr>
          <p:cNvSpPr/>
          <p:nvPr/>
        </p:nvSpPr>
        <p:spPr>
          <a:xfrm>
            <a:off x="0" y="0"/>
            <a:ext cx="12192000" cy="6858000"/>
          </a:xfrm>
          <a:prstGeom prst="rect">
            <a:avLst/>
          </a:prstGeom>
          <a:solidFill>
            <a:schemeClr val="bg2">
              <a:alpha val="3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ctr" defTabSz="914400" rtl="0" eaLnBrk="1" fontAlgn="auto" latinLnBrk="0" hangingPunct="1">
              <a:lnSpc>
                <a:spcPct val="125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Lato"/>
              <a:ea typeface="+mn-ea"/>
              <a:cs typeface="+mn-cs"/>
            </a:endParaRPr>
          </a:p>
        </p:txBody>
      </p:sp>
      <p:sp>
        <p:nvSpPr>
          <p:cNvPr id="20" name="Rectangle 12"/>
          <p:cNvSpPr>
            <a:spLocks noGrp="1" noChangeArrowheads="1"/>
          </p:cNvSpPr>
          <p:nvPr>
            <p:ph type="title"/>
          </p:nvPr>
        </p:nvSpPr>
        <p:spPr bwMode="gray">
          <a:xfrm>
            <a:off x="686717" y="1022904"/>
            <a:ext cx="5521578" cy="1059142"/>
          </a:xfrm>
        </p:spPr>
        <p:txBody>
          <a:bodyPr/>
          <a:lstStyle/>
          <a:p>
            <a:pPr>
              <a:lnSpc>
                <a:spcPts val="3400"/>
              </a:lnSpc>
            </a:pPr>
            <a:r>
              <a:rPr lang="en-US">
                <a:solidFill>
                  <a:schemeClr val="bg1"/>
                </a:solidFill>
                <a:latin typeface="+mj-lt"/>
              </a:rPr>
              <a:t>Economic </a:t>
            </a:r>
            <a:r>
              <a:rPr lang="en-US">
                <a:solidFill>
                  <a:schemeClr val="bg1"/>
                </a:solidFill>
                <a:highlight>
                  <a:srgbClr val="E55A00"/>
                </a:highlight>
                <a:latin typeface="+mj-lt"/>
              </a:rPr>
              <a:t>situation</a:t>
            </a:r>
            <a:r>
              <a:rPr lang="en-US">
                <a:solidFill>
                  <a:schemeClr val="bg1"/>
                </a:solidFill>
                <a:latin typeface="+mj-lt"/>
              </a:rPr>
              <a:t> in 2020 </a:t>
            </a:r>
            <a:br>
              <a:rPr lang="en-US">
                <a:solidFill>
                  <a:schemeClr val="bg1"/>
                </a:solidFill>
                <a:latin typeface="+mj-lt"/>
              </a:rPr>
            </a:br>
            <a:r>
              <a:rPr lang="en-US" sz="2800">
                <a:solidFill>
                  <a:schemeClr val="bg1"/>
                </a:solidFill>
                <a:latin typeface="+mj-lt"/>
              </a:rPr>
              <a:t>(March ‘20)</a:t>
            </a:r>
          </a:p>
        </p:txBody>
      </p:sp>
      <p:sp>
        <p:nvSpPr>
          <p:cNvPr id="38" name="Textplatzhalter 1"/>
          <p:cNvSpPr>
            <a:spLocks noGrp="1"/>
          </p:cNvSpPr>
          <p:nvPr>
            <p:ph type="body" sz="quarter" idx="12"/>
          </p:nvPr>
        </p:nvSpPr>
        <p:spPr bwMode="gray">
          <a:xfrm>
            <a:off x="431800" y="6405033"/>
            <a:ext cx="11328400" cy="192616"/>
          </a:xfrm>
        </p:spPr>
        <p:txBody>
          <a:bodyPr/>
          <a:lstStyle/>
          <a:p>
            <a:r>
              <a:rPr lang="en-US" sz="1067">
                <a:solidFill>
                  <a:schemeClr val="bg1"/>
                </a:solidFill>
                <a:latin typeface="+mj-lt"/>
              </a:rPr>
              <a:t>Source: </a:t>
            </a:r>
            <a:r>
              <a:rPr lang="en-US" sz="1067" err="1">
                <a:solidFill>
                  <a:schemeClr val="bg1"/>
                </a:solidFill>
                <a:latin typeface="+mj-lt"/>
              </a:rPr>
              <a:t>Rosstat</a:t>
            </a:r>
            <a:r>
              <a:rPr lang="en-US" sz="1067">
                <a:solidFill>
                  <a:schemeClr val="bg1"/>
                </a:solidFill>
                <a:latin typeface="+mj-lt"/>
              </a:rPr>
              <a:t>, Central Bank of Russia, IMF, GfK</a:t>
            </a:r>
          </a:p>
        </p:txBody>
      </p:sp>
      <p:graphicFrame>
        <p:nvGraphicFramePr>
          <p:cNvPr id="3" name="Table 3">
            <a:extLst>
              <a:ext uri="{FF2B5EF4-FFF2-40B4-BE49-F238E27FC236}">
                <a16:creationId xmlns:a16="http://schemas.microsoft.com/office/drawing/2014/main" id="{DFB1D990-9E52-4ECB-9A73-483044071817}"/>
              </a:ext>
            </a:extLst>
          </p:cNvPr>
          <p:cNvGraphicFramePr>
            <a:graphicFrameLocks noGrp="1"/>
          </p:cNvGraphicFramePr>
          <p:nvPr/>
        </p:nvGraphicFramePr>
        <p:xfrm>
          <a:off x="686717" y="2764256"/>
          <a:ext cx="10913979" cy="3335498"/>
        </p:xfrm>
        <a:graphic>
          <a:graphicData uri="http://schemas.openxmlformats.org/drawingml/2006/table">
            <a:tbl>
              <a:tblPr firstRow="1" bandRow="1">
                <a:tableStyleId>{C115FB49-3FBE-41CF-8DFC-A938FE5134F0}</a:tableStyleId>
              </a:tblPr>
              <a:tblGrid>
                <a:gridCol w="1028348">
                  <a:extLst>
                    <a:ext uri="{9D8B030D-6E8A-4147-A177-3AD203B41FA5}">
                      <a16:colId xmlns:a16="http://schemas.microsoft.com/office/drawing/2014/main" val="4281673103"/>
                    </a:ext>
                  </a:extLst>
                </a:gridCol>
                <a:gridCol w="1341910">
                  <a:extLst>
                    <a:ext uri="{9D8B030D-6E8A-4147-A177-3AD203B41FA5}">
                      <a16:colId xmlns:a16="http://schemas.microsoft.com/office/drawing/2014/main" val="344840426"/>
                    </a:ext>
                  </a:extLst>
                </a:gridCol>
                <a:gridCol w="1208738">
                  <a:extLst>
                    <a:ext uri="{9D8B030D-6E8A-4147-A177-3AD203B41FA5}">
                      <a16:colId xmlns:a16="http://schemas.microsoft.com/office/drawing/2014/main" val="3641101468"/>
                    </a:ext>
                  </a:extLst>
                </a:gridCol>
                <a:gridCol w="1174783">
                  <a:extLst>
                    <a:ext uri="{9D8B030D-6E8A-4147-A177-3AD203B41FA5}">
                      <a16:colId xmlns:a16="http://schemas.microsoft.com/office/drawing/2014/main" val="3899491596"/>
                    </a:ext>
                  </a:extLst>
                </a:gridCol>
                <a:gridCol w="1191486">
                  <a:extLst>
                    <a:ext uri="{9D8B030D-6E8A-4147-A177-3AD203B41FA5}">
                      <a16:colId xmlns:a16="http://schemas.microsoft.com/office/drawing/2014/main" val="4070399106"/>
                    </a:ext>
                  </a:extLst>
                </a:gridCol>
                <a:gridCol w="1008414">
                  <a:extLst>
                    <a:ext uri="{9D8B030D-6E8A-4147-A177-3AD203B41FA5}">
                      <a16:colId xmlns:a16="http://schemas.microsoft.com/office/drawing/2014/main" val="2737381398"/>
                    </a:ext>
                  </a:extLst>
                </a:gridCol>
                <a:gridCol w="1429559">
                  <a:extLst>
                    <a:ext uri="{9D8B030D-6E8A-4147-A177-3AD203B41FA5}">
                      <a16:colId xmlns:a16="http://schemas.microsoft.com/office/drawing/2014/main" val="28070596"/>
                    </a:ext>
                  </a:extLst>
                </a:gridCol>
                <a:gridCol w="1210641">
                  <a:extLst>
                    <a:ext uri="{9D8B030D-6E8A-4147-A177-3AD203B41FA5}">
                      <a16:colId xmlns:a16="http://schemas.microsoft.com/office/drawing/2014/main" val="1268188428"/>
                    </a:ext>
                  </a:extLst>
                </a:gridCol>
                <a:gridCol w="1320100">
                  <a:extLst>
                    <a:ext uri="{9D8B030D-6E8A-4147-A177-3AD203B41FA5}">
                      <a16:colId xmlns:a16="http://schemas.microsoft.com/office/drawing/2014/main" val="3994171511"/>
                    </a:ext>
                  </a:extLst>
                </a:gridCol>
              </a:tblGrid>
              <a:tr h="848927">
                <a:tc>
                  <a:txBody>
                    <a:bodyPr/>
                    <a:lstStyle/>
                    <a:p>
                      <a:endParaRPr lang="en-US">
                        <a:ln>
                          <a:solidFill>
                            <a:schemeClr val="bg1"/>
                          </a:solidFill>
                        </a:ln>
                        <a:solidFill>
                          <a:schemeClr val="bg1"/>
                        </a:solidFill>
                        <a:latin typeface="+mj-lt"/>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alpha val="65000"/>
                      </a:schemeClr>
                    </a:solidFill>
                  </a:tcPr>
                </a:tc>
                <a:tc>
                  <a:txBody>
                    <a:bodyPr/>
                    <a:lstStyle/>
                    <a:p>
                      <a:pPr algn="ctr"/>
                      <a:r>
                        <a:rPr lang="en-US">
                          <a:ln>
                            <a:solidFill>
                              <a:schemeClr val="bg1"/>
                            </a:solidFill>
                          </a:ln>
                          <a:solidFill>
                            <a:schemeClr val="bg1"/>
                          </a:solidFill>
                          <a:latin typeface="+mj-lt"/>
                        </a:rPr>
                        <a:t>Brent Oil</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alpha val="65000"/>
                      </a:schemeClr>
                    </a:solidFill>
                  </a:tcPr>
                </a:tc>
                <a:tc>
                  <a:txBody>
                    <a:bodyPr/>
                    <a:lstStyle/>
                    <a:p>
                      <a:pPr algn="ctr"/>
                      <a:r>
                        <a:rPr lang="en-US">
                          <a:ln>
                            <a:solidFill>
                              <a:schemeClr val="bg1"/>
                            </a:solidFill>
                          </a:ln>
                          <a:solidFill>
                            <a:schemeClr val="bg1"/>
                          </a:solidFill>
                          <a:latin typeface="+mj-lt"/>
                        </a:rPr>
                        <a:t>GDP</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alpha val="65000"/>
                      </a:schemeClr>
                    </a:solidFill>
                  </a:tcPr>
                </a:tc>
                <a:tc>
                  <a:txBody>
                    <a:bodyPr/>
                    <a:lstStyle/>
                    <a:p>
                      <a:pPr algn="ctr"/>
                      <a:r>
                        <a:rPr lang="en-US">
                          <a:ln>
                            <a:solidFill>
                              <a:schemeClr val="bg1"/>
                            </a:solidFill>
                          </a:ln>
                          <a:solidFill>
                            <a:schemeClr val="bg1"/>
                          </a:solidFill>
                          <a:latin typeface="+mj-lt"/>
                        </a:rPr>
                        <a:t>Inflation</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alpha val="65000"/>
                      </a:schemeClr>
                    </a:solidFill>
                  </a:tcPr>
                </a:tc>
                <a:tc>
                  <a:txBody>
                    <a:bodyPr/>
                    <a:lstStyle/>
                    <a:p>
                      <a:pPr algn="ctr"/>
                      <a:r>
                        <a:rPr lang="en-US">
                          <a:ln>
                            <a:solidFill>
                              <a:schemeClr val="bg1"/>
                            </a:solidFill>
                          </a:ln>
                          <a:solidFill>
                            <a:schemeClr val="bg1"/>
                          </a:solidFill>
                          <a:latin typeface="+mj-lt"/>
                        </a:rPr>
                        <a:t>Interest Rate</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alpha val="65000"/>
                      </a:schemeClr>
                    </a:solidFill>
                  </a:tcPr>
                </a:tc>
                <a:tc>
                  <a:txBody>
                    <a:bodyPr/>
                    <a:lstStyle/>
                    <a:p>
                      <a:pPr algn="ctr"/>
                      <a:r>
                        <a:rPr lang="en-US">
                          <a:ln>
                            <a:solidFill>
                              <a:schemeClr val="bg1"/>
                            </a:solidFill>
                          </a:ln>
                          <a:solidFill>
                            <a:schemeClr val="bg1"/>
                          </a:solidFill>
                          <a:latin typeface="+mj-lt"/>
                        </a:rPr>
                        <a:t>Retail</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alpha val="65000"/>
                      </a:schemeClr>
                    </a:solidFill>
                  </a:tcPr>
                </a:tc>
                <a:tc>
                  <a:txBody>
                    <a:bodyPr/>
                    <a:lstStyle/>
                    <a:p>
                      <a:pPr algn="ctr"/>
                      <a:r>
                        <a:rPr lang="en-US">
                          <a:ln>
                            <a:solidFill>
                              <a:schemeClr val="bg1"/>
                            </a:solidFill>
                          </a:ln>
                          <a:solidFill>
                            <a:schemeClr val="bg1"/>
                          </a:solidFill>
                          <a:latin typeface="+mj-lt"/>
                        </a:rPr>
                        <a:t>Real Income</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alpha val="65000"/>
                      </a:schemeClr>
                    </a:solidFill>
                  </a:tcPr>
                </a:tc>
                <a:tc>
                  <a:txBody>
                    <a:bodyPr/>
                    <a:lstStyle/>
                    <a:p>
                      <a:pPr algn="ctr"/>
                      <a:r>
                        <a:rPr lang="en-US">
                          <a:ln>
                            <a:solidFill>
                              <a:schemeClr val="bg1"/>
                            </a:solidFill>
                          </a:ln>
                          <a:solidFill>
                            <a:schemeClr val="bg1"/>
                          </a:solidFill>
                          <a:latin typeface="+mj-lt"/>
                        </a:rPr>
                        <a:t>TCG SU</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alpha val="65000"/>
                      </a:schemeClr>
                    </a:solidFill>
                  </a:tcPr>
                </a:tc>
                <a:tc>
                  <a:txBody>
                    <a:bodyPr/>
                    <a:lstStyle/>
                    <a:p>
                      <a:pPr algn="ctr"/>
                      <a:r>
                        <a:rPr lang="en-US">
                          <a:ln>
                            <a:solidFill>
                              <a:schemeClr val="bg1"/>
                            </a:solidFill>
                          </a:ln>
                          <a:solidFill>
                            <a:schemeClr val="bg1"/>
                          </a:solidFill>
                          <a:latin typeface="+mj-lt"/>
                        </a:rPr>
                        <a:t>TCG SV</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alpha val="65000"/>
                      </a:schemeClr>
                    </a:solidFill>
                  </a:tcPr>
                </a:tc>
                <a:extLst>
                  <a:ext uri="{0D108BD9-81ED-4DB2-BD59-A6C34878D82A}">
                    <a16:rowId xmlns:a16="http://schemas.microsoft.com/office/drawing/2014/main" val="3780901737"/>
                  </a:ext>
                </a:extLst>
              </a:tr>
              <a:tr h="828857">
                <a:tc>
                  <a:txBody>
                    <a:bodyPr/>
                    <a:lstStyle/>
                    <a:p>
                      <a:r>
                        <a:rPr lang="en-US" sz="2400" b="1">
                          <a:ln>
                            <a:noFill/>
                          </a:ln>
                          <a:solidFill>
                            <a:schemeClr val="bg1"/>
                          </a:solidFill>
                          <a:latin typeface="+mj-lt"/>
                        </a:rPr>
                        <a:t>2018</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alpha val="65000"/>
                      </a:schemeClr>
                    </a:solidFill>
                  </a:tcPr>
                </a:tc>
                <a:tc>
                  <a:txBody>
                    <a:bodyPr/>
                    <a:lstStyle/>
                    <a:p>
                      <a:pPr algn="ctr"/>
                      <a:r>
                        <a:rPr lang="en-US" sz="1800">
                          <a:ln>
                            <a:noFill/>
                          </a:ln>
                          <a:solidFill>
                            <a:schemeClr val="bg1"/>
                          </a:solidFill>
                          <a:latin typeface="+mj-lt"/>
                        </a:rPr>
                        <a:t>$55</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alpha val="65000"/>
                      </a:schemeClr>
                    </a:solidFill>
                  </a:tcPr>
                </a:tc>
                <a:tc>
                  <a:txBody>
                    <a:bodyPr/>
                    <a:lstStyle/>
                    <a:p>
                      <a:pPr algn="ctr"/>
                      <a:r>
                        <a:rPr lang="en-US" sz="1800">
                          <a:ln>
                            <a:noFill/>
                          </a:ln>
                          <a:solidFill>
                            <a:schemeClr val="bg1"/>
                          </a:solidFill>
                          <a:latin typeface="+mj-lt"/>
                        </a:rPr>
                        <a:t>2.3%</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alpha val="65000"/>
                      </a:schemeClr>
                    </a:solidFill>
                  </a:tcPr>
                </a:tc>
                <a:tc>
                  <a:txBody>
                    <a:bodyPr/>
                    <a:lstStyle/>
                    <a:p>
                      <a:pPr algn="ctr"/>
                      <a:r>
                        <a:rPr lang="en-US" sz="1800">
                          <a:ln>
                            <a:noFill/>
                          </a:ln>
                          <a:solidFill>
                            <a:schemeClr val="bg1"/>
                          </a:solidFill>
                          <a:latin typeface="+mj-lt"/>
                        </a:rPr>
                        <a:t>+4.3%</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alpha val="65000"/>
                      </a:schemeClr>
                    </a:solidFill>
                  </a:tcPr>
                </a:tc>
                <a:tc>
                  <a:txBody>
                    <a:bodyPr/>
                    <a:lstStyle/>
                    <a:p>
                      <a:pPr algn="ctr"/>
                      <a:r>
                        <a:rPr lang="en-US" sz="1800">
                          <a:ln>
                            <a:noFill/>
                          </a:ln>
                          <a:solidFill>
                            <a:schemeClr val="bg1"/>
                          </a:solidFill>
                          <a:latin typeface="+mj-lt"/>
                        </a:rPr>
                        <a:t>7.4%</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alpha val="65000"/>
                      </a:schemeClr>
                    </a:solidFill>
                  </a:tcPr>
                </a:tc>
                <a:tc>
                  <a:txBody>
                    <a:bodyPr/>
                    <a:lstStyle/>
                    <a:p>
                      <a:pPr algn="ctr"/>
                      <a:r>
                        <a:rPr lang="en-US" sz="1800">
                          <a:ln>
                            <a:noFill/>
                          </a:ln>
                          <a:solidFill>
                            <a:schemeClr val="bg1"/>
                          </a:solidFill>
                          <a:latin typeface="+mj-lt"/>
                        </a:rPr>
                        <a:t>+2.6%</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alpha val="65000"/>
                      </a:schemeClr>
                    </a:solidFill>
                  </a:tcPr>
                </a:tc>
                <a:tc>
                  <a:txBody>
                    <a:bodyPr/>
                    <a:lstStyle/>
                    <a:p>
                      <a:pPr algn="ctr"/>
                      <a:r>
                        <a:rPr lang="en-US" sz="1800">
                          <a:ln>
                            <a:noFill/>
                          </a:ln>
                          <a:solidFill>
                            <a:schemeClr val="bg1"/>
                          </a:solidFill>
                          <a:latin typeface="+mj-lt"/>
                        </a:rPr>
                        <a:t>-0.2%</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alpha val="65000"/>
                      </a:schemeClr>
                    </a:solidFill>
                  </a:tcPr>
                </a:tc>
                <a:tc>
                  <a:txBody>
                    <a:bodyPr/>
                    <a:lstStyle/>
                    <a:p>
                      <a:pPr algn="ctr"/>
                      <a:r>
                        <a:rPr lang="en-US" sz="1800">
                          <a:ln>
                            <a:noFill/>
                          </a:ln>
                          <a:solidFill>
                            <a:schemeClr val="bg1"/>
                          </a:solidFill>
                          <a:latin typeface="+mj-lt"/>
                        </a:rPr>
                        <a:t>+5%</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alpha val="65000"/>
                      </a:schemeClr>
                    </a:solidFill>
                  </a:tcPr>
                </a:tc>
                <a:tc>
                  <a:txBody>
                    <a:bodyPr/>
                    <a:lstStyle/>
                    <a:p>
                      <a:pPr algn="ctr"/>
                      <a:r>
                        <a:rPr lang="en-US" sz="1800">
                          <a:ln>
                            <a:noFill/>
                          </a:ln>
                          <a:solidFill>
                            <a:schemeClr val="bg1"/>
                          </a:solidFill>
                          <a:latin typeface="+mj-lt"/>
                        </a:rPr>
                        <a:t>+17%</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alpha val="65000"/>
                      </a:schemeClr>
                    </a:solidFill>
                  </a:tcPr>
                </a:tc>
                <a:extLst>
                  <a:ext uri="{0D108BD9-81ED-4DB2-BD59-A6C34878D82A}">
                    <a16:rowId xmlns:a16="http://schemas.microsoft.com/office/drawing/2014/main" val="2747901925"/>
                  </a:ext>
                </a:extLst>
              </a:tr>
              <a:tr h="828857">
                <a:tc>
                  <a:txBody>
                    <a:bodyPr/>
                    <a:lstStyle/>
                    <a:p>
                      <a:r>
                        <a:rPr lang="en-US" sz="2400" b="1">
                          <a:ln>
                            <a:noFill/>
                          </a:ln>
                          <a:solidFill>
                            <a:schemeClr val="bg1"/>
                          </a:solidFill>
                          <a:latin typeface="+mj-lt"/>
                        </a:rPr>
                        <a:t>2019</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alpha val="65000"/>
                      </a:schemeClr>
                    </a:solidFill>
                  </a:tcPr>
                </a:tc>
                <a:tc>
                  <a:txBody>
                    <a:bodyPr/>
                    <a:lstStyle/>
                    <a:p>
                      <a:pPr algn="ctr"/>
                      <a:r>
                        <a:rPr lang="en-US" sz="1800">
                          <a:ln>
                            <a:noFill/>
                          </a:ln>
                          <a:solidFill>
                            <a:schemeClr val="bg1"/>
                          </a:solidFill>
                          <a:latin typeface="+mj-lt"/>
                        </a:rPr>
                        <a:t>$65</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alpha val="65000"/>
                      </a:schemeClr>
                    </a:solidFill>
                  </a:tcPr>
                </a:tc>
                <a:tc>
                  <a:txBody>
                    <a:bodyPr/>
                    <a:lstStyle/>
                    <a:p>
                      <a:pPr algn="ctr"/>
                      <a:r>
                        <a:rPr lang="en-US" sz="1800">
                          <a:ln>
                            <a:noFill/>
                          </a:ln>
                          <a:solidFill>
                            <a:schemeClr val="bg1"/>
                          </a:solidFill>
                          <a:latin typeface="+mj-lt"/>
                        </a:rPr>
                        <a:t>1.3%</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alpha val="65000"/>
                      </a:schemeClr>
                    </a:solidFill>
                  </a:tcPr>
                </a:tc>
                <a:tc>
                  <a:txBody>
                    <a:bodyPr/>
                    <a:lstStyle/>
                    <a:p>
                      <a:pPr algn="ctr"/>
                      <a:r>
                        <a:rPr lang="en-US" sz="1800">
                          <a:ln>
                            <a:noFill/>
                          </a:ln>
                          <a:solidFill>
                            <a:schemeClr val="bg1"/>
                          </a:solidFill>
                          <a:latin typeface="+mj-lt"/>
                        </a:rPr>
                        <a:t>+3%</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alpha val="65000"/>
                      </a:schemeClr>
                    </a:solidFill>
                  </a:tcPr>
                </a:tc>
                <a:tc>
                  <a:txBody>
                    <a:bodyPr/>
                    <a:lstStyle/>
                    <a:p>
                      <a:pPr algn="ctr"/>
                      <a:r>
                        <a:rPr lang="en-US" sz="1800">
                          <a:ln>
                            <a:noFill/>
                          </a:ln>
                          <a:solidFill>
                            <a:schemeClr val="bg1"/>
                          </a:solidFill>
                          <a:latin typeface="+mj-lt"/>
                        </a:rPr>
                        <a:t>7.3%</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alpha val="65000"/>
                      </a:schemeClr>
                    </a:solidFill>
                  </a:tcPr>
                </a:tc>
                <a:tc>
                  <a:txBody>
                    <a:bodyPr/>
                    <a:lstStyle/>
                    <a:p>
                      <a:pPr algn="ctr"/>
                      <a:r>
                        <a:rPr lang="en-US" sz="1800">
                          <a:ln>
                            <a:noFill/>
                          </a:ln>
                          <a:solidFill>
                            <a:schemeClr val="bg1"/>
                          </a:solidFill>
                          <a:latin typeface="+mj-lt"/>
                        </a:rPr>
                        <a:t>+1.6%</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alpha val="65000"/>
                      </a:schemeClr>
                    </a:solidFill>
                  </a:tcPr>
                </a:tc>
                <a:tc>
                  <a:txBody>
                    <a:bodyPr/>
                    <a:lstStyle/>
                    <a:p>
                      <a:pPr algn="ctr"/>
                      <a:r>
                        <a:rPr lang="en-US" sz="1800">
                          <a:ln>
                            <a:noFill/>
                          </a:ln>
                          <a:solidFill>
                            <a:schemeClr val="bg1"/>
                          </a:solidFill>
                          <a:latin typeface="+mj-lt"/>
                        </a:rPr>
                        <a:t>+0.8%</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alpha val="65000"/>
                      </a:schemeClr>
                    </a:solidFill>
                  </a:tcPr>
                </a:tc>
                <a:tc>
                  <a:txBody>
                    <a:bodyPr/>
                    <a:lstStyle/>
                    <a:p>
                      <a:pPr algn="ctr"/>
                      <a:r>
                        <a:rPr lang="en-US" sz="1800">
                          <a:ln>
                            <a:noFill/>
                          </a:ln>
                          <a:solidFill>
                            <a:schemeClr val="bg1"/>
                          </a:solidFill>
                          <a:latin typeface="+mj-lt"/>
                        </a:rPr>
                        <a:t>+3%</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alpha val="65000"/>
                      </a:schemeClr>
                    </a:solidFill>
                  </a:tcPr>
                </a:tc>
                <a:tc>
                  <a:txBody>
                    <a:bodyPr/>
                    <a:lstStyle/>
                    <a:p>
                      <a:pPr algn="ctr"/>
                      <a:r>
                        <a:rPr lang="en-US" sz="1800">
                          <a:ln>
                            <a:noFill/>
                          </a:ln>
                          <a:solidFill>
                            <a:schemeClr val="bg1"/>
                          </a:solidFill>
                          <a:latin typeface="+mj-lt"/>
                        </a:rPr>
                        <a:t>+4%</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alpha val="65000"/>
                      </a:schemeClr>
                    </a:solidFill>
                  </a:tcPr>
                </a:tc>
                <a:extLst>
                  <a:ext uri="{0D108BD9-81ED-4DB2-BD59-A6C34878D82A}">
                    <a16:rowId xmlns:a16="http://schemas.microsoft.com/office/drawing/2014/main" val="2654659001"/>
                  </a:ext>
                </a:extLst>
              </a:tr>
              <a:tr h="828857">
                <a:tc>
                  <a:txBody>
                    <a:bodyPr/>
                    <a:lstStyle/>
                    <a:p>
                      <a:r>
                        <a:rPr lang="en-US" sz="2800" b="1">
                          <a:ln>
                            <a:noFill/>
                          </a:ln>
                          <a:solidFill>
                            <a:schemeClr val="bg1"/>
                          </a:solidFill>
                          <a:latin typeface="+mn-lt"/>
                        </a:rPr>
                        <a:t>2020</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alpha val="39000"/>
                      </a:schemeClr>
                    </a:solidFill>
                  </a:tcPr>
                </a:tc>
                <a:tc>
                  <a:txBody>
                    <a:bodyPr/>
                    <a:lstStyle/>
                    <a:p>
                      <a:pPr algn="ctr"/>
                      <a:r>
                        <a:rPr lang="en-US" sz="2000" b="1">
                          <a:ln>
                            <a:noFill/>
                          </a:ln>
                          <a:solidFill>
                            <a:schemeClr val="bg1"/>
                          </a:solidFill>
                          <a:latin typeface="+mn-lt"/>
                        </a:rPr>
                        <a:t>$</a:t>
                      </a:r>
                      <a:r>
                        <a:rPr lang="ru-RU" sz="2000" b="1">
                          <a:ln>
                            <a:noFill/>
                          </a:ln>
                          <a:solidFill>
                            <a:schemeClr val="bg1"/>
                          </a:solidFill>
                          <a:latin typeface="+mn-lt"/>
                        </a:rPr>
                        <a:t>27</a:t>
                      </a:r>
                      <a:endParaRPr lang="en-US" sz="2000" b="1">
                        <a:ln>
                          <a:noFill/>
                        </a:ln>
                        <a:solidFill>
                          <a:schemeClr val="bg1"/>
                        </a:solidFill>
                        <a:latin typeface="+mn-lt"/>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alpha val="39000"/>
                      </a:schemeClr>
                    </a:solidFill>
                  </a:tcPr>
                </a:tc>
                <a:tc>
                  <a:txBody>
                    <a:bodyPr/>
                    <a:lstStyle/>
                    <a:p>
                      <a:pPr algn="ctr"/>
                      <a:r>
                        <a:rPr lang="ru-RU" sz="2000" b="1">
                          <a:ln>
                            <a:noFill/>
                          </a:ln>
                          <a:solidFill>
                            <a:schemeClr val="bg1"/>
                          </a:solidFill>
                          <a:latin typeface="+mn-lt"/>
                        </a:rPr>
                        <a:t>- 4-6</a:t>
                      </a:r>
                      <a:r>
                        <a:rPr lang="en-US" sz="2000" b="1">
                          <a:ln>
                            <a:noFill/>
                          </a:ln>
                          <a:solidFill>
                            <a:schemeClr val="bg1"/>
                          </a:solidFill>
                          <a:latin typeface="+mn-lt"/>
                        </a:rPr>
                        <a:t>%</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alpha val="39000"/>
                      </a:schemeClr>
                    </a:solidFill>
                  </a:tcPr>
                </a:tc>
                <a:tc>
                  <a:txBody>
                    <a:bodyPr/>
                    <a:lstStyle/>
                    <a:p>
                      <a:pPr algn="ctr"/>
                      <a:r>
                        <a:rPr lang="en-US" sz="2000" b="1">
                          <a:ln>
                            <a:noFill/>
                          </a:ln>
                          <a:solidFill>
                            <a:schemeClr val="bg1"/>
                          </a:solidFill>
                          <a:latin typeface="+mn-lt"/>
                        </a:rPr>
                        <a:t>+</a:t>
                      </a:r>
                      <a:r>
                        <a:rPr lang="ru-RU" sz="2000" b="1">
                          <a:ln>
                            <a:noFill/>
                          </a:ln>
                          <a:solidFill>
                            <a:schemeClr val="bg1"/>
                          </a:solidFill>
                          <a:latin typeface="+mn-lt"/>
                        </a:rPr>
                        <a:t>4</a:t>
                      </a:r>
                      <a:r>
                        <a:rPr lang="en-US" sz="2000" b="1">
                          <a:ln>
                            <a:noFill/>
                          </a:ln>
                          <a:solidFill>
                            <a:schemeClr val="bg1"/>
                          </a:solidFill>
                          <a:latin typeface="+mn-lt"/>
                        </a:rPr>
                        <a:t>-</a:t>
                      </a:r>
                      <a:r>
                        <a:rPr lang="ru-RU" sz="2000" b="1">
                          <a:ln>
                            <a:noFill/>
                          </a:ln>
                          <a:solidFill>
                            <a:schemeClr val="bg1"/>
                          </a:solidFill>
                          <a:latin typeface="+mn-lt"/>
                        </a:rPr>
                        <a:t>5</a:t>
                      </a:r>
                      <a:r>
                        <a:rPr lang="en-US" sz="2000" b="1">
                          <a:ln>
                            <a:noFill/>
                          </a:ln>
                          <a:solidFill>
                            <a:schemeClr val="bg1"/>
                          </a:solidFill>
                          <a:latin typeface="+mn-lt"/>
                        </a:rPr>
                        <a:t>%</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alpha val="39000"/>
                      </a:schemeClr>
                    </a:solidFill>
                  </a:tcPr>
                </a:tc>
                <a:tc>
                  <a:txBody>
                    <a:bodyPr/>
                    <a:lstStyle/>
                    <a:p>
                      <a:pPr algn="ctr"/>
                      <a:r>
                        <a:rPr lang="ru-RU" sz="2000" b="1">
                          <a:ln>
                            <a:noFill/>
                          </a:ln>
                          <a:solidFill>
                            <a:schemeClr val="bg1"/>
                          </a:solidFill>
                          <a:latin typeface="+mn-lt"/>
                        </a:rPr>
                        <a:t>5.5</a:t>
                      </a:r>
                      <a:r>
                        <a:rPr lang="en-US" sz="2000" b="1">
                          <a:ln>
                            <a:noFill/>
                          </a:ln>
                          <a:solidFill>
                            <a:schemeClr val="bg1"/>
                          </a:solidFill>
                          <a:latin typeface="+mn-lt"/>
                        </a:rPr>
                        <a:t>%</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alpha val="39000"/>
                      </a:schemeClr>
                    </a:solidFill>
                  </a:tcPr>
                </a:tc>
                <a:tc>
                  <a:txBody>
                    <a:bodyPr/>
                    <a:lstStyle/>
                    <a:p>
                      <a:pPr algn="ctr"/>
                      <a:r>
                        <a:rPr lang="en-US" sz="2000" b="1">
                          <a:ln>
                            <a:noFill/>
                          </a:ln>
                          <a:solidFill>
                            <a:schemeClr val="bg1"/>
                          </a:solidFill>
                          <a:latin typeface="+mn-lt"/>
                        </a:rPr>
                        <a:t>-%</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alpha val="39000"/>
                      </a:schemeClr>
                    </a:solidFill>
                  </a:tcPr>
                </a:tc>
                <a:tc>
                  <a:txBody>
                    <a:bodyPr/>
                    <a:lstStyle/>
                    <a:p>
                      <a:pPr algn="ctr"/>
                      <a:r>
                        <a:rPr lang="ru-RU" sz="2000" b="1">
                          <a:ln>
                            <a:noFill/>
                          </a:ln>
                          <a:solidFill>
                            <a:schemeClr val="bg1"/>
                          </a:solidFill>
                          <a:latin typeface="+mn-lt"/>
                        </a:rPr>
                        <a:t>-</a:t>
                      </a:r>
                      <a:r>
                        <a:rPr lang="en-US" sz="2000" b="1">
                          <a:ln>
                            <a:noFill/>
                          </a:ln>
                          <a:solidFill>
                            <a:schemeClr val="bg1"/>
                          </a:solidFill>
                          <a:latin typeface="+mn-lt"/>
                        </a:rPr>
                        <a:t>5%</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alpha val="39000"/>
                      </a:schemeClr>
                    </a:solidFill>
                  </a:tcPr>
                </a:tc>
                <a:tc>
                  <a:txBody>
                    <a:bodyPr/>
                    <a:lstStyle/>
                    <a:p>
                      <a:pPr algn="ctr"/>
                      <a:r>
                        <a:rPr lang="en-US" sz="2000" b="1">
                          <a:ln>
                            <a:noFill/>
                          </a:ln>
                          <a:solidFill>
                            <a:schemeClr val="bg1"/>
                          </a:solidFill>
                          <a:latin typeface="+mn-lt"/>
                        </a:rPr>
                        <a:t>-%</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alpha val="39000"/>
                      </a:schemeClr>
                    </a:solidFill>
                  </a:tcPr>
                </a:tc>
                <a:tc>
                  <a:txBody>
                    <a:bodyPr/>
                    <a:lstStyle/>
                    <a:p>
                      <a:pPr algn="ctr"/>
                      <a:r>
                        <a:rPr lang="en-US" sz="2000" b="1">
                          <a:ln>
                            <a:noFill/>
                          </a:ln>
                          <a:solidFill>
                            <a:schemeClr val="bg1"/>
                          </a:solidFill>
                          <a:latin typeface="+mn-lt"/>
                        </a:rPr>
                        <a:t>-%</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alpha val="39000"/>
                      </a:schemeClr>
                    </a:solidFill>
                  </a:tcPr>
                </a:tc>
                <a:extLst>
                  <a:ext uri="{0D108BD9-81ED-4DB2-BD59-A6C34878D82A}">
                    <a16:rowId xmlns:a16="http://schemas.microsoft.com/office/drawing/2014/main" val="3917674732"/>
                  </a:ext>
                </a:extLst>
              </a:tr>
            </a:tbl>
          </a:graphicData>
        </a:graphic>
      </p:graphicFrame>
      <p:grpSp>
        <p:nvGrpSpPr>
          <p:cNvPr id="61" name="logo">
            <a:extLst>
              <a:ext uri="{FF2B5EF4-FFF2-40B4-BE49-F238E27FC236}">
                <a16:creationId xmlns:a16="http://schemas.microsoft.com/office/drawing/2014/main" id="{2D69D01C-689D-4F1D-9A34-53E180878605}"/>
              </a:ext>
            </a:extLst>
          </p:cNvPr>
          <p:cNvGrpSpPr>
            <a:grpSpLocks noChangeAspect="1"/>
          </p:cNvGrpSpPr>
          <p:nvPr/>
        </p:nvGrpSpPr>
        <p:grpSpPr bwMode="gray">
          <a:xfrm>
            <a:off x="11174018" y="401441"/>
            <a:ext cx="644225" cy="646507"/>
            <a:chOff x="2711" y="1027"/>
            <a:chExt cx="2258" cy="2266"/>
          </a:xfrm>
        </p:grpSpPr>
        <p:sp>
          <p:nvSpPr>
            <p:cNvPr id="62" name="AutoShape 3">
              <a:extLst>
                <a:ext uri="{FF2B5EF4-FFF2-40B4-BE49-F238E27FC236}">
                  <a16:creationId xmlns:a16="http://schemas.microsoft.com/office/drawing/2014/main" id="{ACF749CA-FDE2-4197-90FF-9481469C3AF9}"/>
                </a:ext>
              </a:extLst>
            </p:cNvPr>
            <p:cNvSpPr>
              <a:spLocks noChangeAspect="1" noChangeArrowheads="1" noTextEdit="1"/>
            </p:cNvSpPr>
            <p:nvPr/>
          </p:nvSpPr>
          <p:spPr bwMode="gray">
            <a:xfrm>
              <a:off x="2711" y="1027"/>
              <a:ext cx="2258" cy="22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351" b="0" i="0" u="none" strike="noStrike" kern="1200" cap="none" spc="0" normalizeH="0" baseline="0" noProof="0">
                <a:ln>
                  <a:noFill/>
                </a:ln>
                <a:solidFill>
                  <a:srgbClr val="414549"/>
                </a:solidFill>
                <a:effectLst/>
                <a:uLnTx/>
                <a:uFillTx/>
                <a:latin typeface="Lato"/>
                <a:ea typeface="+mn-ea"/>
                <a:cs typeface="+mn-cs"/>
              </a:endParaRPr>
            </a:p>
          </p:txBody>
        </p:sp>
        <p:sp>
          <p:nvSpPr>
            <p:cNvPr id="63" name="Freeform 5">
              <a:extLst>
                <a:ext uri="{FF2B5EF4-FFF2-40B4-BE49-F238E27FC236}">
                  <a16:creationId xmlns:a16="http://schemas.microsoft.com/office/drawing/2014/main" id="{4EBC2BD4-5FE6-449B-BD14-8E8013F8E4BC}"/>
                </a:ext>
              </a:extLst>
            </p:cNvPr>
            <p:cNvSpPr>
              <a:spLocks/>
            </p:cNvSpPr>
            <p:nvPr/>
          </p:nvSpPr>
          <p:spPr bwMode="gray">
            <a:xfrm>
              <a:off x="2709" y="1029"/>
              <a:ext cx="2260" cy="2262"/>
            </a:xfrm>
            <a:custGeom>
              <a:avLst/>
              <a:gdLst>
                <a:gd name="T0" fmla="*/ 2260 w 2260"/>
                <a:gd name="T1" fmla="*/ 0 h 2262"/>
                <a:gd name="T2" fmla="*/ 1612 w 2260"/>
                <a:gd name="T3" fmla="*/ 649 h 2262"/>
                <a:gd name="T4" fmla="*/ 1612 w 2260"/>
                <a:gd name="T5" fmla="*/ 649 h 2262"/>
                <a:gd name="T6" fmla="*/ 2035 w 2260"/>
                <a:gd name="T7" fmla="*/ 0 h 2262"/>
                <a:gd name="T8" fmla="*/ 0 w 2260"/>
                <a:gd name="T9" fmla="*/ 0 h 2262"/>
                <a:gd name="T10" fmla="*/ 0 w 2260"/>
                <a:gd name="T11" fmla="*/ 2262 h 2262"/>
                <a:gd name="T12" fmla="*/ 2260 w 2260"/>
                <a:gd name="T13" fmla="*/ 2262 h 2262"/>
                <a:gd name="T14" fmla="*/ 2260 w 2260"/>
                <a:gd name="T15" fmla="*/ 0 h 2262"/>
                <a:gd name="T16" fmla="*/ 2260 w 2260"/>
                <a:gd name="T17" fmla="*/ 0 h 2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0" h="2262">
                  <a:moveTo>
                    <a:pt x="2260" y="0"/>
                  </a:moveTo>
                  <a:lnTo>
                    <a:pt x="1612" y="649"/>
                  </a:lnTo>
                  <a:lnTo>
                    <a:pt x="1612" y="649"/>
                  </a:lnTo>
                  <a:lnTo>
                    <a:pt x="2035" y="0"/>
                  </a:lnTo>
                  <a:lnTo>
                    <a:pt x="0" y="0"/>
                  </a:lnTo>
                  <a:lnTo>
                    <a:pt x="0" y="2262"/>
                  </a:lnTo>
                  <a:lnTo>
                    <a:pt x="2260" y="2262"/>
                  </a:lnTo>
                  <a:lnTo>
                    <a:pt x="2260" y="0"/>
                  </a:lnTo>
                  <a:lnTo>
                    <a:pt x="2260" y="0"/>
                  </a:lnTo>
                  <a:close/>
                </a:path>
              </a:pathLst>
            </a:custGeom>
            <a:solidFill>
              <a:srgbClr val="E55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351" b="0" i="0" u="none" strike="noStrike" kern="1200" cap="none" spc="0" normalizeH="0" baseline="0" noProof="0">
                <a:ln>
                  <a:noFill/>
                </a:ln>
                <a:solidFill>
                  <a:srgbClr val="414549"/>
                </a:solidFill>
                <a:effectLst/>
                <a:uLnTx/>
                <a:uFillTx/>
                <a:latin typeface="Lato"/>
                <a:ea typeface="+mn-ea"/>
                <a:cs typeface="+mn-cs"/>
              </a:endParaRPr>
            </a:p>
          </p:txBody>
        </p:sp>
        <p:sp>
          <p:nvSpPr>
            <p:cNvPr id="64" name="Freeform 6">
              <a:extLst>
                <a:ext uri="{FF2B5EF4-FFF2-40B4-BE49-F238E27FC236}">
                  <a16:creationId xmlns:a16="http://schemas.microsoft.com/office/drawing/2014/main" id="{98A7780C-3E35-4CFD-8B83-0ADCBA1133D7}"/>
                </a:ext>
              </a:extLst>
            </p:cNvPr>
            <p:cNvSpPr>
              <a:spLocks noEditPoints="1"/>
            </p:cNvSpPr>
            <p:nvPr/>
          </p:nvSpPr>
          <p:spPr bwMode="gray">
            <a:xfrm>
              <a:off x="3623" y="1696"/>
              <a:ext cx="1167" cy="922"/>
            </a:xfrm>
            <a:custGeom>
              <a:avLst/>
              <a:gdLst>
                <a:gd name="T0" fmla="*/ 411 w 580"/>
                <a:gd name="T1" fmla="*/ 213 h 458"/>
                <a:gd name="T2" fmla="*/ 570 w 580"/>
                <a:gd name="T3" fmla="*/ 37 h 458"/>
                <a:gd name="T4" fmla="*/ 580 w 580"/>
                <a:gd name="T5" fmla="*/ 20 h 458"/>
                <a:gd name="T6" fmla="*/ 545 w 580"/>
                <a:gd name="T7" fmla="*/ 0 h 458"/>
                <a:gd name="T8" fmla="*/ 519 w 580"/>
                <a:gd name="T9" fmla="*/ 16 h 458"/>
                <a:gd name="T10" fmla="*/ 344 w 580"/>
                <a:gd name="T11" fmla="*/ 210 h 458"/>
                <a:gd name="T12" fmla="*/ 334 w 580"/>
                <a:gd name="T13" fmla="*/ 229 h 458"/>
                <a:gd name="T14" fmla="*/ 344 w 580"/>
                <a:gd name="T15" fmla="*/ 248 h 458"/>
                <a:gd name="T16" fmla="*/ 519 w 580"/>
                <a:gd name="T17" fmla="*/ 442 h 458"/>
                <a:gd name="T18" fmla="*/ 545 w 580"/>
                <a:gd name="T19" fmla="*/ 458 h 458"/>
                <a:gd name="T20" fmla="*/ 580 w 580"/>
                <a:gd name="T21" fmla="*/ 438 h 458"/>
                <a:gd name="T22" fmla="*/ 570 w 580"/>
                <a:gd name="T23" fmla="*/ 421 h 458"/>
                <a:gd name="T24" fmla="*/ 411 w 580"/>
                <a:gd name="T25" fmla="*/ 245 h 458"/>
                <a:gd name="T26" fmla="*/ 399 w 580"/>
                <a:gd name="T27" fmla="*/ 229 h 458"/>
                <a:gd name="T28" fmla="*/ 411 w 580"/>
                <a:gd name="T29" fmla="*/ 213 h 458"/>
                <a:gd name="T30" fmla="*/ 252 w 580"/>
                <a:gd name="T31" fmla="*/ 439 h 458"/>
                <a:gd name="T32" fmla="*/ 281 w 580"/>
                <a:gd name="T33" fmla="*/ 454 h 458"/>
                <a:gd name="T34" fmla="*/ 309 w 580"/>
                <a:gd name="T35" fmla="*/ 439 h 458"/>
                <a:gd name="T36" fmla="*/ 309 w 580"/>
                <a:gd name="T37" fmla="*/ 19 h 458"/>
                <a:gd name="T38" fmla="*/ 281 w 580"/>
                <a:gd name="T39" fmla="*/ 4 h 458"/>
                <a:gd name="T40" fmla="*/ 252 w 580"/>
                <a:gd name="T41" fmla="*/ 19 h 458"/>
                <a:gd name="T42" fmla="*/ 252 w 580"/>
                <a:gd name="T43" fmla="*/ 439 h 458"/>
                <a:gd name="T44" fmla="*/ 0 w 580"/>
                <a:gd name="T45" fmla="*/ 439 h 458"/>
                <a:gd name="T46" fmla="*/ 28 w 580"/>
                <a:gd name="T47" fmla="*/ 454 h 458"/>
                <a:gd name="T48" fmla="*/ 56 w 580"/>
                <a:gd name="T49" fmla="*/ 439 h 458"/>
                <a:gd name="T50" fmla="*/ 56 w 580"/>
                <a:gd name="T51" fmla="*/ 157 h 458"/>
                <a:gd name="T52" fmla="*/ 165 w 580"/>
                <a:gd name="T53" fmla="*/ 53 h 458"/>
                <a:gd name="T54" fmla="*/ 180 w 580"/>
                <a:gd name="T55" fmla="*/ 53 h 458"/>
                <a:gd name="T56" fmla="*/ 196 w 580"/>
                <a:gd name="T57" fmla="*/ 27 h 458"/>
                <a:gd name="T58" fmla="*/ 154 w 580"/>
                <a:gd name="T59" fmla="*/ 4 h 458"/>
                <a:gd name="T60" fmla="*/ 0 w 580"/>
                <a:gd name="T61" fmla="*/ 152 h 458"/>
                <a:gd name="T62" fmla="*/ 0 w 580"/>
                <a:gd name="T63" fmla="*/ 439 h 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80" h="458">
                  <a:moveTo>
                    <a:pt x="411" y="213"/>
                  </a:moveTo>
                  <a:cubicBezTo>
                    <a:pt x="570" y="37"/>
                    <a:pt x="570" y="37"/>
                    <a:pt x="570" y="37"/>
                  </a:cubicBezTo>
                  <a:cubicBezTo>
                    <a:pt x="576" y="30"/>
                    <a:pt x="580" y="25"/>
                    <a:pt x="580" y="20"/>
                  </a:cubicBezTo>
                  <a:cubicBezTo>
                    <a:pt x="580" y="10"/>
                    <a:pt x="559" y="0"/>
                    <a:pt x="545" y="0"/>
                  </a:cubicBezTo>
                  <a:cubicBezTo>
                    <a:pt x="535" y="0"/>
                    <a:pt x="526" y="8"/>
                    <a:pt x="519" y="16"/>
                  </a:cubicBezTo>
                  <a:cubicBezTo>
                    <a:pt x="344" y="210"/>
                    <a:pt x="344" y="210"/>
                    <a:pt x="344" y="210"/>
                  </a:cubicBezTo>
                  <a:cubicBezTo>
                    <a:pt x="336" y="219"/>
                    <a:pt x="334" y="224"/>
                    <a:pt x="334" y="229"/>
                  </a:cubicBezTo>
                  <a:cubicBezTo>
                    <a:pt x="334" y="234"/>
                    <a:pt x="336" y="239"/>
                    <a:pt x="344" y="248"/>
                  </a:cubicBezTo>
                  <a:cubicBezTo>
                    <a:pt x="519" y="442"/>
                    <a:pt x="519" y="442"/>
                    <a:pt x="519" y="442"/>
                  </a:cubicBezTo>
                  <a:cubicBezTo>
                    <a:pt x="526" y="450"/>
                    <a:pt x="535" y="458"/>
                    <a:pt x="545" y="458"/>
                  </a:cubicBezTo>
                  <a:cubicBezTo>
                    <a:pt x="559" y="458"/>
                    <a:pt x="580" y="448"/>
                    <a:pt x="580" y="438"/>
                  </a:cubicBezTo>
                  <a:cubicBezTo>
                    <a:pt x="580" y="433"/>
                    <a:pt x="576" y="428"/>
                    <a:pt x="570" y="421"/>
                  </a:cubicBezTo>
                  <a:cubicBezTo>
                    <a:pt x="411" y="245"/>
                    <a:pt x="411" y="245"/>
                    <a:pt x="411" y="245"/>
                  </a:cubicBezTo>
                  <a:cubicBezTo>
                    <a:pt x="403" y="236"/>
                    <a:pt x="399" y="232"/>
                    <a:pt x="399" y="229"/>
                  </a:cubicBezTo>
                  <a:cubicBezTo>
                    <a:pt x="399" y="226"/>
                    <a:pt x="403" y="222"/>
                    <a:pt x="411" y="213"/>
                  </a:cubicBezTo>
                  <a:moveTo>
                    <a:pt x="252" y="439"/>
                  </a:moveTo>
                  <a:cubicBezTo>
                    <a:pt x="252" y="449"/>
                    <a:pt x="261" y="454"/>
                    <a:pt x="281" y="454"/>
                  </a:cubicBezTo>
                  <a:cubicBezTo>
                    <a:pt x="300" y="454"/>
                    <a:pt x="309" y="449"/>
                    <a:pt x="309" y="439"/>
                  </a:cubicBezTo>
                  <a:cubicBezTo>
                    <a:pt x="309" y="19"/>
                    <a:pt x="309" y="19"/>
                    <a:pt x="309" y="19"/>
                  </a:cubicBezTo>
                  <a:cubicBezTo>
                    <a:pt x="309" y="9"/>
                    <a:pt x="300" y="4"/>
                    <a:pt x="281" y="4"/>
                  </a:cubicBezTo>
                  <a:cubicBezTo>
                    <a:pt x="261" y="4"/>
                    <a:pt x="252" y="9"/>
                    <a:pt x="252" y="19"/>
                  </a:cubicBezTo>
                  <a:lnTo>
                    <a:pt x="252" y="439"/>
                  </a:lnTo>
                  <a:close/>
                  <a:moveTo>
                    <a:pt x="0" y="439"/>
                  </a:moveTo>
                  <a:cubicBezTo>
                    <a:pt x="0" y="449"/>
                    <a:pt x="8" y="454"/>
                    <a:pt x="28" y="454"/>
                  </a:cubicBezTo>
                  <a:cubicBezTo>
                    <a:pt x="48" y="454"/>
                    <a:pt x="56" y="449"/>
                    <a:pt x="56" y="439"/>
                  </a:cubicBezTo>
                  <a:cubicBezTo>
                    <a:pt x="56" y="157"/>
                    <a:pt x="56" y="157"/>
                    <a:pt x="56" y="157"/>
                  </a:cubicBezTo>
                  <a:cubicBezTo>
                    <a:pt x="56" y="83"/>
                    <a:pt x="85" y="53"/>
                    <a:pt x="165" y="53"/>
                  </a:cubicBezTo>
                  <a:cubicBezTo>
                    <a:pt x="180" y="53"/>
                    <a:pt x="180" y="53"/>
                    <a:pt x="180" y="53"/>
                  </a:cubicBezTo>
                  <a:cubicBezTo>
                    <a:pt x="192" y="53"/>
                    <a:pt x="196" y="43"/>
                    <a:pt x="196" y="27"/>
                  </a:cubicBezTo>
                  <a:cubicBezTo>
                    <a:pt x="196" y="8"/>
                    <a:pt x="185" y="4"/>
                    <a:pt x="154" y="4"/>
                  </a:cubicBezTo>
                  <a:cubicBezTo>
                    <a:pt x="64" y="4"/>
                    <a:pt x="0" y="43"/>
                    <a:pt x="0" y="152"/>
                  </a:cubicBezTo>
                  <a:lnTo>
                    <a:pt x="0" y="43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351" b="0" i="0" u="none" strike="noStrike" kern="1200" cap="none" spc="0" normalizeH="0" baseline="0" noProof="0">
                <a:ln>
                  <a:noFill/>
                </a:ln>
                <a:solidFill>
                  <a:srgbClr val="414549"/>
                </a:solidFill>
                <a:effectLst/>
                <a:uLnTx/>
                <a:uFillTx/>
                <a:latin typeface="Lato"/>
                <a:ea typeface="+mn-ea"/>
                <a:cs typeface="+mn-cs"/>
              </a:endParaRPr>
            </a:p>
          </p:txBody>
        </p:sp>
        <p:sp>
          <p:nvSpPr>
            <p:cNvPr id="65" name="Freeform 7">
              <a:extLst>
                <a:ext uri="{FF2B5EF4-FFF2-40B4-BE49-F238E27FC236}">
                  <a16:creationId xmlns:a16="http://schemas.microsoft.com/office/drawing/2014/main" id="{A242777E-B7EC-4358-AE15-D9DE727E16E3}"/>
                </a:ext>
              </a:extLst>
            </p:cNvPr>
            <p:cNvSpPr>
              <a:spLocks/>
            </p:cNvSpPr>
            <p:nvPr/>
          </p:nvSpPr>
          <p:spPr bwMode="gray">
            <a:xfrm>
              <a:off x="2880" y="1704"/>
              <a:ext cx="618" cy="916"/>
            </a:xfrm>
            <a:custGeom>
              <a:avLst/>
              <a:gdLst>
                <a:gd name="T0" fmla="*/ 307 w 307"/>
                <a:gd name="T1" fmla="*/ 405 h 455"/>
                <a:gd name="T2" fmla="*/ 307 w 307"/>
                <a:gd name="T3" fmla="*/ 244 h 455"/>
                <a:gd name="T4" fmla="*/ 279 w 307"/>
                <a:gd name="T5" fmla="*/ 229 h 455"/>
                <a:gd name="T6" fmla="*/ 250 w 307"/>
                <a:gd name="T7" fmla="*/ 244 h 455"/>
                <a:gd name="T8" fmla="*/ 250 w 307"/>
                <a:gd name="T9" fmla="*/ 378 h 455"/>
                <a:gd name="T10" fmla="*/ 199 w 307"/>
                <a:gd name="T11" fmla="*/ 408 h 455"/>
                <a:gd name="T12" fmla="*/ 61 w 307"/>
                <a:gd name="T13" fmla="*/ 231 h 455"/>
                <a:gd name="T14" fmla="*/ 238 w 307"/>
                <a:gd name="T15" fmla="*/ 49 h 455"/>
                <a:gd name="T16" fmla="*/ 270 w 307"/>
                <a:gd name="T17" fmla="*/ 49 h 455"/>
                <a:gd name="T18" fmla="*/ 286 w 307"/>
                <a:gd name="T19" fmla="*/ 23 h 455"/>
                <a:gd name="T20" fmla="*/ 244 w 307"/>
                <a:gd name="T21" fmla="*/ 0 h 455"/>
                <a:gd name="T22" fmla="*/ 231 w 307"/>
                <a:gd name="T23" fmla="*/ 0 h 455"/>
                <a:gd name="T24" fmla="*/ 0 w 307"/>
                <a:gd name="T25" fmla="*/ 232 h 455"/>
                <a:gd name="T26" fmla="*/ 198 w 307"/>
                <a:gd name="T27" fmla="*/ 455 h 455"/>
                <a:gd name="T28" fmla="*/ 307 w 307"/>
                <a:gd name="T29" fmla="*/ 405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7" h="455">
                  <a:moveTo>
                    <a:pt x="307" y="405"/>
                  </a:moveTo>
                  <a:cubicBezTo>
                    <a:pt x="307" y="244"/>
                    <a:pt x="307" y="244"/>
                    <a:pt x="307" y="244"/>
                  </a:cubicBezTo>
                  <a:cubicBezTo>
                    <a:pt x="307" y="234"/>
                    <a:pt x="298" y="229"/>
                    <a:pt x="279" y="229"/>
                  </a:cubicBezTo>
                  <a:cubicBezTo>
                    <a:pt x="259" y="229"/>
                    <a:pt x="250" y="234"/>
                    <a:pt x="250" y="244"/>
                  </a:cubicBezTo>
                  <a:cubicBezTo>
                    <a:pt x="250" y="378"/>
                    <a:pt x="250" y="378"/>
                    <a:pt x="250" y="378"/>
                  </a:cubicBezTo>
                  <a:cubicBezTo>
                    <a:pt x="250" y="399"/>
                    <a:pt x="241" y="408"/>
                    <a:pt x="199" y="408"/>
                  </a:cubicBezTo>
                  <a:cubicBezTo>
                    <a:pt x="114" y="408"/>
                    <a:pt x="61" y="342"/>
                    <a:pt x="61" y="231"/>
                  </a:cubicBezTo>
                  <a:cubicBezTo>
                    <a:pt x="61" y="115"/>
                    <a:pt x="126" y="49"/>
                    <a:pt x="238" y="49"/>
                  </a:cubicBezTo>
                  <a:cubicBezTo>
                    <a:pt x="270" y="49"/>
                    <a:pt x="270" y="49"/>
                    <a:pt x="270" y="49"/>
                  </a:cubicBezTo>
                  <a:cubicBezTo>
                    <a:pt x="282" y="49"/>
                    <a:pt x="286" y="39"/>
                    <a:pt x="286" y="23"/>
                  </a:cubicBezTo>
                  <a:cubicBezTo>
                    <a:pt x="286" y="4"/>
                    <a:pt x="275" y="0"/>
                    <a:pt x="244" y="0"/>
                  </a:cubicBezTo>
                  <a:cubicBezTo>
                    <a:pt x="231" y="0"/>
                    <a:pt x="231" y="0"/>
                    <a:pt x="231" y="0"/>
                  </a:cubicBezTo>
                  <a:cubicBezTo>
                    <a:pt x="101" y="0"/>
                    <a:pt x="0" y="71"/>
                    <a:pt x="0" y="232"/>
                  </a:cubicBezTo>
                  <a:cubicBezTo>
                    <a:pt x="0" y="386"/>
                    <a:pt x="88" y="455"/>
                    <a:pt x="198" y="455"/>
                  </a:cubicBezTo>
                  <a:cubicBezTo>
                    <a:pt x="286" y="455"/>
                    <a:pt x="307" y="430"/>
                    <a:pt x="307" y="40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351" b="0" i="0" u="none" strike="noStrike" kern="1200" cap="none" spc="0" normalizeH="0" baseline="0" noProof="0">
                <a:ln>
                  <a:noFill/>
                </a:ln>
                <a:solidFill>
                  <a:srgbClr val="414549"/>
                </a:solidFill>
                <a:effectLst/>
                <a:uLnTx/>
                <a:uFillTx/>
                <a:latin typeface="Lato"/>
                <a:ea typeface="+mn-ea"/>
                <a:cs typeface="+mn-cs"/>
              </a:endParaRPr>
            </a:p>
          </p:txBody>
        </p:sp>
        <p:sp>
          <p:nvSpPr>
            <p:cNvPr id="66" name="Oval 8">
              <a:extLst>
                <a:ext uri="{FF2B5EF4-FFF2-40B4-BE49-F238E27FC236}">
                  <a16:creationId xmlns:a16="http://schemas.microsoft.com/office/drawing/2014/main" id="{481248BA-AF81-4687-8B01-1FDE0DD6CB78}"/>
                </a:ext>
              </a:extLst>
            </p:cNvPr>
            <p:cNvSpPr>
              <a:spLocks noChangeArrowheads="1"/>
            </p:cNvSpPr>
            <p:nvPr/>
          </p:nvSpPr>
          <p:spPr bwMode="gray">
            <a:xfrm>
              <a:off x="3778" y="2099"/>
              <a:ext cx="122" cy="12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351" b="0" i="0" u="none" strike="noStrike" kern="1200" cap="none" spc="0" normalizeH="0" baseline="0" noProof="0">
                <a:ln>
                  <a:noFill/>
                </a:ln>
                <a:solidFill>
                  <a:srgbClr val="414549"/>
                </a:solidFill>
                <a:effectLst/>
                <a:uLnTx/>
                <a:uFillTx/>
                <a:latin typeface="Lato"/>
                <a:ea typeface="+mn-ea"/>
                <a:cs typeface="+mn-cs"/>
              </a:endParaRPr>
            </a:p>
          </p:txBody>
        </p:sp>
        <p:sp>
          <p:nvSpPr>
            <p:cNvPr id="67" name="Freeform 9">
              <a:extLst>
                <a:ext uri="{FF2B5EF4-FFF2-40B4-BE49-F238E27FC236}">
                  <a16:creationId xmlns:a16="http://schemas.microsoft.com/office/drawing/2014/main" id="{939567C8-EE4A-4C64-8C49-F67B9B561C2A}"/>
                </a:ext>
              </a:extLst>
            </p:cNvPr>
            <p:cNvSpPr>
              <a:spLocks noEditPoints="1"/>
            </p:cNvSpPr>
            <p:nvPr/>
          </p:nvSpPr>
          <p:spPr bwMode="gray">
            <a:xfrm>
              <a:off x="3623" y="1696"/>
              <a:ext cx="1167" cy="922"/>
            </a:xfrm>
            <a:custGeom>
              <a:avLst/>
              <a:gdLst>
                <a:gd name="T0" fmla="*/ 411 w 580"/>
                <a:gd name="T1" fmla="*/ 213 h 458"/>
                <a:gd name="T2" fmla="*/ 570 w 580"/>
                <a:gd name="T3" fmla="*/ 37 h 458"/>
                <a:gd name="T4" fmla="*/ 580 w 580"/>
                <a:gd name="T5" fmla="*/ 20 h 458"/>
                <a:gd name="T6" fmla="*/ 545 w 580"/>
                <a:gd name="T7" fmla="*/ 0 h 458"/>
                <a:gd name="T8" fmla="*/ 519 w 580"/>
                <a:gd name="T9" fmla="*/ 16 h 458"/>
                <a:gd name="T10" fmla="*/ 344 w 580"/>
                <a:gd name="T11" fmla="*/ 210 h 458"/>
                <a:gd name="T12" fmla="*/ 334 w 580"/>
                <a:gd name="T13" fmla="*/ 229 h 458"/>
                <a:gd name="T14" fmla="*/ 344 w 580"/>
                <a:gd name="T15" fmla="*/ 248 h 458"/>
                <a:gd name="T16" fmla="*/ 519 w 580"/>
                <a:gd name="T17" fmla="*/ 442 h 458"/>
                <a:gd name="T18" fmla="*/ 545 w 580"/>
                <a:gd name="T19" fmla="*/ 458 h 458"/>
                <a:gd name="T20" fmla="*/ 580 w 580"/>
                <a:gd name="T21" fmla="*/ 438 h 458"/>
                <a:gd name="T22" fmla="*/ 570 w 580"/>
                <a:gd name="T23" fmla="*/ 421 h 458"/>
                <a:gd name="T24" fmla="*/ 411 w 580"/>
                <a:gd name="T25" fmla="*/ 245 h 458"/>
                <a:gd name="T26" fmla="*/ 399 w 580"/>
                <a:gd name="T27" fmla="*/ 229 h 458"/>
                <a:gd name="T28" fmla="*/ 411 w 580"/>
                <a:gd name="T29" fmla="*/ 213 h 458"/>
                <a:gd name="T30" fmla="*/ 252 w 580"/>
                <a:gd name="T31" fmla="*/ 439 h 458"/>
                <a:gd name="T32" fmla="*/ 281 w 580"/>
                <a:gd name="T33" fmla="*/ 454 h 458"/>
                <a:gd name="T34" fmla="*/ 309 w 580"/>
                <a:gd name="T35" fmla="*/ 439 h 458"/>
                <a:gd name="T36" fmla="*/ 309 w 580"/>
                <a:gd name="T37" fmla="*/ 19 h 458"/>
                <a:gd name="T38" fmla="*/ 281 w 580"/>
                <a:gd name="T39" fmla="*/ 4 h 458"/>
                <a:gd name="T40" fmla="*/ 252 w 580"/>
                <a:gd name="T41" fmla="*/ 19 h 458"/>
                <a:gd name="T42" fmla="*/ 252 w 580"/>
                <a:gd name="T43" fmla="*/ 439 h 458"/>
                <a:gd name="T44" fmla="*/ 0 w 580"/>
                <a:gd name="T45" fmla="*/ 439 h 458"/>
                <a:gd name="T46" fmla="*/ 28 w 580"/>
                <a:gd name="T47" fmla="*/ 454 h 458"/>
                <a:gd name="T48" fmla="*/ 56 w 580"/>
                <a:gd name="T49" fmla="*/ 439 h 458"/>
                <a:gd name="T50" fmla="*/ 56 w 580"/>
                <a:gd name="T51" fmla="*/ 157 h 458"/>
                <a:gd name="T52" fmla="*/ 165 w 580"/>
                <a:gd name="T53" fmla="*/ 53 h 458"/>
                <a:gd name="T54" fmla="*/ 180 w 580"/>
                <a:gd name="T55" fmla="*/ 53 h 458"/>
                <a:gd name="T56" fmla="*/ 196 w 580"/>
                <a:gd name="T57" fmla="*/ 27 h 458"/>
                <a:gd name="T58" fmla="*/ 154 w 580"/>
                <a:gd name="T59" fmla="*/ 4 h 458"/>
                <a:gd name="T60" fmla="*/ 0 w 580"/>
                <a:gd name="T61" fmla="*/ 152 h 458"/>
                <a:gd name="T62" fmla="*/ 0 w 580"/>
                <a:gd name="T63" fmla="*/ 439 h 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80" h="458">
                  <a:moveTo>
                    <a:pt x="411" y="213"/>
                  </a:moveTo>
                  <a:cubicBezTo>
                    <a:pt x="570" y="37"/>
                    <a:pt x="570" y="37"/>
                    <a:pt x="570" y="37"/>
                  </a:cubicBezTo>
                  <a:cubicBezTo>
                    <a:pt x="576" y="30"/>
                    <a:pt x="580" y="25"/>
                    <a:pt x="580" y="20"/>
                  </a:cubicBezTo>
                  <a:cubicBezTo>
                    <a:pt x="580" y="10"/>
                    <a:pt x="559" y="0"/>
                    <a:pt x="545" y="0"/>
                  </a:cubicBezTo>
                  <a:cubicBezTo>
                    <a:pt x="535" y="0"/>
                    <a:pt x="526" y="8"/>
                    <a:pt x="519" y="16"/>
                  </a:cubicBezTo>
                  <a:cubicBezTo>
                    <a:pt x="344" y="210"/>
                    <a:pt x="344" y="210"/>
                    <a:pt x="344" y="210"/>
                  </a:cubicBezTo>
                  <a:cubicBezTo>
                    <a:pt x="336" y="219"/>
                    <a:pt x="334" y="224"/>
                    <a:pt x="334" y="229"/>
                  </a:cubicBezTo>
                  <a:cubicBezTo>
                    <a:pt x="334" y="234"/>
                    <a:pt x="336" y="239"/>
                    <a:pt x="344" y="248"/>
                  </a:cubicBezTo>
                  <a:cubicBezTo>
                    <a:pt x="519" y="442"/>
                    <a:pt x="519" y="442"/>
                    <a:pt x="519" y="442"/>
                  </a:cubicBezTo>
                  <a:cubicBezTo>
                    <a:pt x="526" y="450"/>
                    <a:pt x="535" y="458"/>
                    <a:pt x="545" y="458"/>
                  </a:cubicBezTo>
                  <a:cubicBezTo>
                    <a:pt x="559" y="458"/>
                    <a:pt x="580" y="448"/>
                    <a:pt x="580" y="438"/>
                  </a:cubicBezTo>
                  <a:cubicBezTo>
                    <a:pt x="580" y="433"/>
                    <a:pt x="576" y="428"/>
                    <a:pt x="570" y="421"/>
                  </a:cubicBezTo>
                  <a:cubicBezTo>
                    <a:pt x="411" y="245"/>
                    <a:pt x="411" y="245"/>
                    <a:pt x="411" y="245"/>
                  </a:cubicBezTo>
                  <a:cubicBezTo>
                    <a:pt x="403" y="236"/>
                    <a:pt x="399" y="232"/>
                    <a:pt x="399" y="229"/>
                  </a:cubicBezTo>
                  <a:cubicBezTo>
                    <a:pt x="399" y="226"/>
                    <a:pt x="403" y="222"/>
                    <a:pt x="411" y="213"/>
                  </a:cubicBezTo>
                  <a:moveTo>
                    <a:pt x="252" y="439"/>
                  </a:moveTo>
                  <a:cubicBezTo>
                    <a:pt x="252" y="449"/>
                    <a:pt x="261" y="454"/>
                    <a:pt x="281" y="454"/>
                  </a:cubicBezTo>
                  <a:cubicBezTo>
                    <a:pt x="300" y="454"/>
                    <a:pt x="309" y="449"/>
                    <a:pt x="309" y="439"/>
                  </a:cubicBezTo>
                  <a:cubicBezTo>
                    <a:pt x="309" y="19"/>
                    <a:pt x="309" y="19"/>
                    <a:pt x="309" y="19"/>
                  </a:cubicBezTo>
                  <a:cubicBezTo>
                    <a:pt x="309" y="9"/>
                    <a:pt x="300" y="4"/>
                    <a:pt x="281" y="4"/>
                  </a:cubicBezTo>
                  <a:cubicBezTo>
                    <a:pt x="261" y="4"/>
                    <a:pt x="252" y="9"/>
                    <a:pt x="252" y="19"/>
                  </a:cubicBezTo>
                  <a:lnTo>
                    <a:pt x="252" y="439"/>
                  </a:lnTo>
                  <a:close/>
                  <a:moveTo>
                    <a:pt x="0" y="439"/>
                  </a:moveTo>
                  <a:cubicBezTo>
                    <a:pt x="0" y="449"/>
                    <a:pt x="8" y="454"/>
                    <a:pt x="28" y="454"/>
                  </a:cubicBezTo>
                  <a:cubicBezTo>
                    <a:pt x="48" y="454"/>
                    <a:pt x="56" y="449"/>
                    <a:pt x="56" y="439"/>
                  </a:cubicBezTo>
                  <a:cubicBezTo>
                    <a:pt x="56" y="157"/>
                    <a:pt x="56" y="157"/>
                    <a:pt x="56" y="157"/>
                  </a:cubicBezTo>
                  <a:cubicBezTo>
                    <a:pt x="56" y="83"/>
                    <a:pt x="85" y="53"/>
                    <a:pt x="165" y="53"/>
                  </a:cubicBezTo>
                  <a:cubicBezTo>
                    <a:pt x="180" y="53"/>
                    <a:pt x="180" y="53"/>
                    <a:pt x="180" y="53"/>
                  </a:cubicBezTo>
                  <a:cubicBezTo>
                    <a:pt x="192" y="53"/>
                    <a:pt x="196" y="43"/>
                    <a:pt x="196" y="27"/>
                  </a:cubicBezTo>
                  <a:cubicBezTo>
                    <a:pt x="196" y="8"/>
                    <a:pt x="185" y="4"/>
                    <a:pt x="154" y="4"/>
                  </a:cubicBezTo>
                  <a:cubicBezTo>
                    <a:pt x="64" y="4"/>
                    <a:pt x="0" y="43"/>
                    <a:pt x="0" y="152"/>
                  </a:cubicBezTo>
                  <a:lnTo>
                    <a:pt x="0" y="43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351" b="0" i="0" u="none" strike="noStrike" kern="1200" cap="none" spc="0" normalizeH="0" baseline="0" noProof="0">
                <a:ln>
                  <a:noFill/>
                </a:ln>
                <a:solidFill>
                  <a:srgbClr val="414549"/>
                </a:solidFill>
                <a:effectLst/>
                <a:uLnTx/>
                <a:uFillTx/>
                <a:latin typeface="Lato"/>
                <a:ea typeface="+mn-ea"/>
                <a:cs typeface="+mn-cs"/>
              </a:endParaRPr>
            </a:p>
          </p:txBody>
        </p:sp>
        <p:sp>
          <p:nvSpPr>
            <p:cNvPr id="68" name="Freeform 10">
              <a:extLst>
                <a:ext uri="{FF2B5EF4-FFF2-40B4-BE49-F238E27FC236}">
                  <a16:creationId xmlns:a16="http://schemas.microsoft.com/office/drawing/2014/main" id="{7AC34E96-17B0-45E1-9CC9-1935BEA15D14}"/>
                </a:ext>
              </a:extLst>
            </p:cNvPr>
            <p:cNvSpPr>
              <a:spLocks/>
            </p:cNvSpPr>
            <p:nvPr/>
          </p:nvSpPr>
          <p:spPr bwMode="gray">
            <a:xfrm>
              <a:off x="2880" y="1704"/>
              <a:ext cx="618" cy="916"/>
            </a:xfrm>
            <a:custGeom>
              <a:avLst/>
              <a:gdLst>
                <a:gd name="T0" fmla="*/ 307 w 307"/>
                <a:gd name="T1" fmla="*/ 405 h 455"/>
                <a:gd name="T2" fmla="*/ 307 w 307"/>
                <a:gd name="T3" fmla="*/ 244 h 455"/>
                <a:gd name="T4" fmla="*/ 279 w 307"/>
                <a:gd name="T5" fmla="*/ 229 h 455"/>
                <a:gd name="T6" fmla="*/ 250 w 307"/>
                <a:gd name="T7" fmla="*/ 244 h 455"/>
                <a:gd name="T8" fmla="*/ 250 w 307"/>
                <a:gd name="T9" fmla="*/ 378 h 455"/>
                <a:gd name="T10" fmla="*/ 199 w 307"/>
                <a:gd name="T11" fmla="*/ 408 h 455"/>
                <a:gd name="T12" fmla="*/ 61 w 307"/>
                <a:gd name="T13" fmla="*/ 231 h 455"/>
                <a:gd name="T14" fmla="*/ 238 w 307"/>
                <a:gd name="T15" fmla="*/ 49 h 455"/>
                <a:gd name="T16" fmla="*/ 270 w 307"/>
                <a:gd name="T17" fmla="*/ 49 h 455"/>
                <a:gd name="T18" fmla="*/ 286 w 307"/>
                <a:gd name="T19" fmla="*/ 23 h 455"/>
                <a:gd name="T20" fmla="*/ 244 w 307"/>
                <a:gd name="T21" fmla="*/ 0 h 455"/>
                <a:gd name="T22" fmla="*/ 231 w 307"/>
                <a:gd name="T23" fmla="*/ 0 h 455"/>
                <a:gd name="T24" fmla="*/ 0 w 307"/>
                <a:gd name="T25" fmla="*/ 232 h 455"/>
                <a:gd name="T26" fmla="*/ 198 w 307"/>
                <a:gd name="T27" fmla="*/ 455 h 455"/>
                <a:gd name="T28" fmla="*/ 307 w 307"/>
                <a:gd name="T29" fmla="*/ 405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7" h="455">
                  <a:moveTo>
                    <a:pt x="307" y="405"/>
                  </a:moveTo>
                  <a:cubicBezTo>
                    <a:pt x="307" y="244"/>
                    <a:pt x="307" y="244"/>
                    <a:pt x="307" y="244"/>
                  </a:cubicBezTo>
                  <a:cubicBezTo>
                    <a:pt x="307" y="234"/>
                    <a:pt x="298" y="229"/>
                    <a:pt x="279" y="229"/>
                  </a:cubicBezTo>
                  <a:cubicBezTo>
                    <a:pt x="259" y="229"/>
                    <a:pt x="250" y="234"/>
                    <a:pt x="250" y="244"/>
                  </a:cubicBezTo>
                  <a:cubicBezTo>
                    <a:pt x="250" y="378"/>
                    <a:pt x="250" y="378"/>
                    <a:pt x="250" y="378"/>
                  </a:cubicBezTo>
                  <a:cubicBezTo>
                    <a:pt x="250" y="399"/>
                    <a:pt x="241" y="408"/>
                    <a:pt x="199" y="408"/>
                  </a:cubicBezTo>
                  <a:cubicBezTo>
                    <a:pt x="114" y="408"/>
                    <a:pt x="61" y="342"/>
                    <a:pt x="61" y="231"/>
                  </a:cubicBezTo>
                  <a:cubicBezTo>
                    <a:pt x="61" y="115"/>
                    <a:pt x="126" y="49"/>
                    <a:pt x="238" y="49"/>
                  </a:cubicBezTo>
                  <a:cubicBezTo>
                    <a:pt x="270" y="49"/>
                    <a:pt x="270" y="49"/>
                    <a:pt x="270" y="49"/>
                  </a:cubicBezTo>
                  <a:cubicBezTo>
                    <a:pt x="282" y="49"/>
                    <a:pt x="286" y="39"/>
                    <a:pt x="286" y="23"/>
                  </a:cubicBezTo>
                  <a:cubicBezTo>
                    <a:pt x="286" y="4"/>
                    <a:pt x="275" y="0"/>
                    <a:pt x="244" y="0"/>
                  </a:cubicBezTo>
                  <a:cubicBezTo>
                    <a:pt x="231" y="0"/>
                    <a:pt x="231" y="0"/>
                    <a:pt x="231" y="0"/>
                  </a:cubicBezTo>
                  <a:cubicBezTo>
                    <a:pt x="101" y="0"/>
                    <a:pt x="0" y="71"/>
                    <a:pt x="0" y="232"/>
                  </a:cubicBezTo>
                  <a:cubicBezTo>
                    <a:pt x="0" y="386"/>
                    <a:pt x="88" y="455"/>
                    <a:pt x="198" y="455"/>
                  </a:cubicBezTo>
                  <a:cubicBezTo>
                    <a:pt x="286" y="455"/>
                    <a:pt x="307" y="430"/>
                    <a:pt x="307" y="40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351" b="0" i="0" u="none" strike="noStrike" kern="1200" cap="none" spc="0" normalizeH="0" baseline="0" noProof="0">
                <a:ln>
                  <a:noFill/>
                </a:ln>
                <a:solidFill>
                  <a:srgbClr val="414549"/>
                </a:solidFill>
                <a:effectLst/>
                <a:uLnTx/>
                <a:uFillTx/>
                <a:latin typeface="Lato"/>
                <a:ea typeface="+mn-ea"/>
                <a:cs typeface="+mn-cs"/>
              </a:endParaRPr>
            </a:p>
          </p:txBody>
        </p:sp>
        <p:sp>
          <p:nvSpPr>
            <p:cNvPr id="69" name="Oval 11">
              <a:extLst>
                <a:ext uri="{FF2B5EF4-FFF2-40B4-BE49-F238E27FC236}">
                  <a16:creationId xmlns:a16="http://schemas.microsoft.com/office/drawing/2014/main" id="{8B6CEB10-F60B-4DF4-8040-AC4940EE8B05}"/>
                </a:ext>
              </a:extLst>
            </p:cNvPr>
            <p:cNvSpPr>
              <a:spLocks noChangeArrowheads="1"/>
            </p:cNvSpPr>
            <p:nvPr/>
          </p:nvSpPr>
          <p:spPr bwMode="gray">
            <a:xfrm>
              <a:off x="3778" y="2099"/>
              <a:ext cx="122" cy="12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351" b="0" i="0" u="none" strike="noStrike" kern="1200" cap="none" spc="0" normalizeH="0" baseline="0" noProof="0">
                <a:ln>
                  <a:noFill/>
                </a:ln>
                <a:solidFill>
                  <a:srgbClr val="414549"/>
                </a:solidFill>
                <a:effectLst/>
                <a:uLnTx/>
                <a:uFillTx/>
                <a:latin typeface="Lato"/>
                <a:ea typeface="+mn-ea"/>
                <a:cs typeface="+mn-cs"/>
              </a:endParaRPr>
            </a:p>
          </p:txBody>
        </p:sp>
        <p:sp>
          <p:nvSpPr>
            <p:cNvPr id="70" name="Freeform 12">
              <a:extLst>
                <a:ext uri="{FF2B5EF4-FFF2-40B4-BE49-F238E27FC236}">
                  <a16:creationId xmlns:a16="http://schemas.microsoft.com/office/drawing/2014/main" id="{F1B87C4E-71C2-499B-905D-E39469584999}"/>
                </a:ext>
              </a:extLst>
            </p:cNvPr>
            <p:cNvSpPr>
              <a:spLocks/>
            </p:cNvSpPr>
            <p:nvPr/>
          </p:nvSpPr>
          <p:spPr bwMode="gray">
            <a:xfrm>
              <a:off x="4321" y="1029"/>
              <a:ext cx="648" cy="649"/>
            </a:xfrm>
            <a:custGeom>
              <a:avLst/>
              <a:gdLst>
                <a:gd name="T0" fmla="*/ 0 w 648"/>
                <a:gd name="T1" fmla="*/ 649 h 649"/>
                <a:gd name="T2" fmla="*/ 2 w 648"/>
                <a:gd name="T3" fmla="*/ 649 h 649"/>
                <a:gd name="T4" fmla="*/ 648 w 648"/>
                <a:gd name="T5" fmla="*/ 0 h 649"/>
                <a:gd name="T6" fmla="*/ 423 w 648"/>
                <a:gd name="T7" fmla="*/ 0 h 649"/>
                <a:gd name="T8" fmla="*/ 0 w 648"/>
                <a:gd name="T9" fmla="*/ 649 h 649"/>
              </a:gdLst>
              <a:ahLst/>
              <a:cxnLst>
                <a:cxn ang="0">
                  <a:pos x="T0" y="T1"/>
                </a:cxn>
                <a:cxn ang="0">
                  <a:pos x="T2" y="T3"/>
                </a:cxn>
                <a:cxn ang="0">
                  <a:pos x="T4" y="T5"/>
                </a:cxn>
                <a:cxn ang="0">
                  <a:pos x="T6" y="T7"/>
                </a:cxn>
                <a:cxn ang="0">
                  <a:pos x="T8" y="T9"/>
                </a:cxn>
              </a:cxnLst>
              <a:rect l="0" t="0" r="r" b="b"/>
              <a:pathLst>
                <a:path w="648" h="649">
                  <a:moveTo>
                    <a:pt x="0" y="649"/>
                  </a:moveTo>
                  <a:lnTo>
                    <a:pt x="2" y="649"/>
                  </a:lnTo>
                  <a:lnTo>
                    <a:pt x="648" y="0"/>
                  </a:lnTo>
                  <a:lnTo>
                    <a:pt x="423" y="0"/>
                  </a:lnTo>
                  <a:lnTo>
                    <a:pt x="0" y="64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351" b="0" i="0" u="none" strike="noStrike" kern="1200" cap="none" spc="0" normalizeH="0" baseline="0" noProof="0">
                <a:ln>
                  <a:noFill/>
                </a:ln>
                <a:solidFill>
                  <a:srgbClr val="414549"/>
                </a:solidFill>
                <a:effectLst/>
                <a:uLnTx/>
                <a:uFillTx/>
                <a:latin typeface="Lato"/>
                <a:ea typeface="+mn-ea"/>
                <a:cs typeface="+mn-cs"/>
              </a:endParaRPr>
            </a:p>
          </p:txBody>
        </p:sp>
        <p:sp>
          <p:nvSpPr>
            <p:cNvPr id="71" name="Freeform 13">
              <a:extLst>
                <a:ext uri="{FF2B5EF4-FFF2-40B4-BE49-F238E27FC236}">
                  <a16:creationId xmlns:a16="http://schemas.microsoft.com/office/drawing/2014/main" id="{C12F6F78-1A40-4E60-8461-D7F756A734FD}"/>
                </a:ext>
              </a:extLst>
            </p:cNvPr>
            <p:cNvSpPr>
              <a:spLocks/>
            </p:cNvSpPr>
            <p:nvPr/>
          </p:nvSpPr>
          <p:spPr bwMode="gray">
            <a:xfrm>
              <a:off x="4321" y="1029"/>
              <a:ext cx="648" cy="649"/>
            </a:xfrm>
            <a:custGeom>
              <a:avLst/>
              <a:gdLst>
                <a:gd name="T0" fmla="*/ 0 w 648"/>
                <a:gd name="T1" fmla="*/ 649 h 649"/>
                <a:gd name="T2" fmla="*/ 2 w 648"/>
                <a:gd name="T3" fmla="*/ 649 h 649"/>
                <a:gd name="T4" fmla="*/ 648 w 648"/>
                <a:gd name="T5" fmla="*/ 0 h 649"/>
                <a:gd name="T6" fmla="*/ 423 w 648"/>
                <a:gd name="T7" fmla="*/ 0 h 649"/>
                <a:gd name="T8" fmla="*/ 0 w 648"/>
                <a:gd name="T9" fmla="*/ 649 h 649"/>
              </a:gdLst>
              <a:ahLst/>
              <a:cxnLst>
                <a:cxn ang="0">
                  <a:pos x="T0" y="T1"/>
                </a:cxn>
                <a:cxn ang="0">
                  <a:pos x="T2" y="T3"/>
                </a:cxn>
                <a:cxn ang="0">
                  <a:pos x="T4" y="T5"/>
                </a:cxn>
                <a:cxn ang="0">
                  <a:pos x="T6" y="T7"/>
                </a:cxn>
                <a:cxn ang="0">
                  <a:pos x="T8" y="T9"/>
                </a:cxn>
              </a:cxnLst>
              <a:rect l="0" t="0" r="r" b="b"/>
              <a:pathLst>
                <a:path w="648" h="649">
                  <a:moveTo>
                    <a:pt x="0" y="649"/>
                  </a:moveTo>
                  <a:lnTo>
                    <a:pt x="2" y="649"/>
                  </a:lnTo>
                  <a:lnTo>
                    <a:pt x="648" y="0"/>
                  </a:lnTo>
                  <a:lnTo>
                    <a:pt x="423" y="0"/>
                  </a:lnTo>
                  <a:lnTo>
                    <a:pt x="0" y="64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351" b="0" i="0" u="none" strike="noStrike" kern="1200" cap="none" spc="0" normalizeH="0" baseline="0" noProof="0">
                <a:ln>
                  <a:noFill/>
                </a:ln>
                <a:solidFill>
                  <a:srgbClr val="414549"/>
                </a:solidFill>
                <a:effectLst/>
                <a:uLnTx/>
                <a:uFillTx/>
                <a:latin typeface="Lato"/>
                <a:ea typeface="+mn-ea"/>
                <a:cs typeface="+mn-cs"/>
              </a:endParaRPr>
            </a:p>
          </p:txBody>
        </p:sp>
      </p:grpSp>
    </p:spTree>
    <p:extLst>
      <p:ext uri="{BB962C8B-B14F-4D97-AF65-F5344CB8AC3E}">
        <p14:creationId xmlns:p14="http://schemas.microsoft.com/office/powerpoint/2010/main" val="1700411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Равнобедренный треугольник 13">
            <a:extLst>
              <a:ext uri="{FF2B5EF4-FFF2-40B4-BE49-F238E27FC236}">
                <a16:creationId xmlns:a16="http://schemas.microsoft.com/office/drawing/2014/main" id="{351F50AA-78A5-43F1-B73E-6D68C11C2F12}"/>
              </a:ext>
            </a:extLst>
          </p:cNvPr>
          <p:cNvSpPr/>
          <p:nvPr/>
        </p:nvSpPr>
        <p:spPr>
          <a:xfrm rot="5400000" flipH="1">
            <a:off x="4929905" y="2615113"/>
            <a:ext cx="6855884" cy="1627774"/>
          </a:xfrm>
          <a:prstGeom prst="triangle">
            <a:avLst>
              <a:gd name="adj" fmla="val 36035"/>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1978" tIns="35989" rIns="71978" bIns="35989" rtlCol="0" anchor="ctr"/>
          <a:lstStyle/>
          <a:p>
            <a:pPr algn="ctr" defTabSz="914103">
              <a:lnSpc>
                <a:spcPct val="125000"/>
              </a:lnSpc>
              <a:defRPr/>
            </a:pPr>
            <a:endParaRPr lang="ru-RU" sz="1599">
              <a:solidFill>
                <a:srgbClr val="FFFFFF"/>
              </a:solidFill>
              <a:latin typeface="Lato"/>
            </a:endParaRPr>
          </a:p>
        </p:txBody>
      </p:sp>
      <p:sp>
        <p:nvSpPr>
          <p:cNvPr id="15" name="Прямоугольник 14">
            <a:extLst>
              <a:ext uri="{FF2B5EF4-FFF2-40B4-BE49-F238E27FC236}">
                <a16:creationId xmlns:a16="http://schemas.microsoft.com/office/drawing/2014/main" id="{8E72BEAA-1735-4B20-BBE3-3967101B2DC6}"/>
              </a:ext>
            </a:extLst>
          </p:cNvPr>
          <p:cNvSpPr/>
          <p:nvPr/>
        </p:nvSpPr>
        <p:spPr>
          <a:xfrm>
            <a:off x="3386589" y="1058"/>
            <a:ext cx="4166894" cy="685588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1978" tIns="35989" rIns="71978" bIns="35989" rtlCol="0" anchor="ctr"/>
          <a:lstStyle/>
          <a:p>
            <a:pPr algn="ctr" defTabSz="914103">
              <a:lnSpc>
                <a:spcPct val="125000"/>
              </a:lnSpc>
            </a:pPr>
            <a:endParaRPr lang="ru-RU" sz="1599" dirty="0">
              <a:solidFill>
                <a:srgbClr val="FFFFFF"/>
              </a:solidFill>
              <a:latin typeface="Lato"/>
            </a:endParaRPr>
          </a:p>
        </p:txBody>
      </p:sp>
      <p:sp>
        <p:nvSpPr>
          <p:cNvPr id="2" name="Дата 1">
            <a:extLst>
              <a:ext uri="{FF2B5EF4-FFF2-40B4-BE49-F238E27FC236}">
                <a16:creationId xmlns:a16="http://schemas.microsoft.com/office/drawing/2014/main" id="{7A1034AD-E003-4AC5-B17C-6835A0E522B9}"/>
              </a:ext>
            </a:extLst>
          </p:cNvPr>
          <p:cNvSpPr>
            <a:spLocks noGrp="1"/>
          </p:cNvSpPr>
          <p:nvPr>
            <p:ph type="dt" sz="half" idx="10"/>
          </p:nvPr>
        </p:nvSpPr>
        <p:spPr/>
        <p:txBody>
          <a:bodyPr/>
          <a:lstStyle/>
          <a:p>
            <a:pPr defTabSz="914103"/>
            <a:fld id="{7630F4D0-4FCA-495D-93CB-4308FDD6CACA}" type="datetime5">
              <a:rPr lang="en-US">
                <a:latin typeface="Lato"/>
              </a:rPr>
              <a:pPr defTabSz="914103"/>
              <a:t>26-Jun-20</a:t>
            </a:fld>
            <a:endParaRPr lang="en-US" dirty="0">
              <a:latin typeface="Lato"/>
            </a:endParaRPr>
          </a:p>
        </p:txBody>
      </p:sp>
      <p:sp>
        <p:nvSpPr>
          <p:cNvPr id="3" name="Нижний колонтитул 2">
            <a:extLst>
              <a:ext uri="{FF2B5EF4-FFF2-40B4-BE49-F238E27FC236}">
                <a16:creationId xmlns:a16="http://schemas.microsoft.com/office/drawing/2014/main" id="{1FD9C866-5B6E-4DE3-AF76-AD73C155AE4A}"/>
              </a:ext>
            </a:extLst>
          </p:cNvPr>
          <p:cNvSpPr>
            <a:spLocks noGrp="1"/>
          </p:cNvSpPr>
          <p:nvPr>
            <p:ph type="ftr" sz="quarter" idx="11"/>
          </p:nvPr>
        </p:nvSpPr>
        <p:spPr/>
        <p:txBody>
          <a:bodyPr/>
          <a:lstStyle/>
          <a:p>
            <a:pPr defTabSz="914103">
              <a:buClr>
                <a:srgbClr val="E55A00"/>
              </a:buClr>
            </a:pPr>
            <a:r>
              <a:rPr lang="en-US">
                <a:latin typeface="Lato"/>
              </a:rPr>
              <a:t>Title of presentation (Insert / Header &amp; Footer / Apply to All)</a:t>
            </a:r>
            <a:endParaRPr lang="en-US" dirty="0">
              <a:latin typeface="Lato"/>
            </a:endParaRPr>
          </a:p>
        </p:txBody>
      </p:sp>
      <p:sp>
        <p:nvSpPr>
          <p:cNvPr id="4" name="Номер слайда 3">
            <a:extLst>
              <a:ext uri="{FF2B5EF4-FFF2-40B4-BE49-F238E27FC236}">
                <a16:creationId xmlns:a16="http://schemas.microsoft.com/office/drawing/2014/main" id="{827ADF5D-3664-4AB5-BC8A-DD66A2E96F38}"/>
              </a:ext>
            </a:extLst>
          </p:cNvPr>
          <p:cNvSpPr>
            <a:spLocks noGrp="1"/>
          </p:cNvSpPr>
          <p:nvPr>
            <p:ph type="sldNum" sz="quarter" idx="12"/>
          </p:nvPr>
        </p:nvSpPr>
        <p:spPr/>
        <p:txBody>
          <a:bodyPr/>
          <a:lstStyle/>
          <a:p>
            <a:pPr defTabSz="914103"/>
            <a:fld id="{8E3B25F7-8D1F-44B5-B485-EE3C438CFD7B}" type="slidenum">
              <a:rPr lang="en-US">
                <a:latin typeface="Lato"/>
              </a:rPr>
              <a:pPr defTabSz="914103"/>
              <a:t>14</a:t>
            </a:fld>
            <a:endParaRPr lang="en-US">
              <a:latin typeface="Lato"/>
            </a:endParaRPr>
          </a:p>
        </p:txBody>
      </p:sp>
      <p:pic>
        <p:nvPicPr>
          <p:cNvPr id="11" name="Рисунок 10">
            <a:extLst>
              <a:ext uri="{FF2B5EF4-FFF2-40B4-BE49-F238E27FC236}">
                <a16:creationId xmlns:a16="http://schemas.microsoft.com/office/drawing/2014/main" id="{08BDD490-A4A0-473B-A76E-F205AEFCBFA3}"/>
              </a:ext>
            </a:extLst>
          </p:cNvPr>
          <p:cNvPicPr>
            <a:picLocks noGrp="1" noChangeAspect="1"/>
          </p:cNvPicPr>
          <p:nvPr>
            <p:ph type="pic" sz="quarter" idx="13"/>
          </p:nvPr>
        </p:nvPicPr>
        <p:blipFill rotWithShape="1">
          <a:blip r:embed="rId2" cstate="print">
            <a:extLst>
              <a:ext uri="{28A0092B-C50C-407E-A947-70E740481C1C}">
                <a14:useLocalDpi xmlns:a14="http://schemas.microsoft.com/office/drawing/2010/main"/>
              </a:ext>
            </a:extLst>
          </a:blip>
          <a:srcRect l="-2445"/>
          <a:stretch/>
        </p:blipFill>
        <p:spPr>
          <a:xfrm>
            <a:off x="3377065" y="1058"/>
            <a:ext cx="8813055" cy="6855884"/>
          </a:xfrm>
        </p:spPr>
      </p:pic>
      <p:grpSp>
        <p:nvGrpSpPr>
          <p:cNvPr id="42" name="Группа 41">
            <a:extLst>
              <a:ext uri="{FF2B5EF4-FFF2-40B4-BE49-F238E27FC236}">
                <a16:creationId xmlns:a16="http://schemas.microsoft.com/office/drawing/2014/main" id="{DD4367C5-6952-4D6C-AD90-B7FAE72508E6}"/>
              </a:ext>
            </a:extLst>
          </p:cNvPr>
          <p:cNvGrpSpPr/>
          <p:nvPr/>
        </p:nvGrpSpPr>
        <p:grpSpPr>
          <a:xfrm>
            <a:off x="3386590" y="1059"/>
            <a:ext cx="5785145" cy="6855885"/>
            <a:chOff x="3385752" y="-1"/>
            <a:chExt cx="5786931" cy="6858001"/>
          </a:xfrm>
        </p:grpSpPr>
        <p:sp>
          <p:nvSpPr>
            <p:cNvPr id="43" name="Равнобедренный треугольник 42">
              <a:extLst>
                <a:ext uri="{FF2B5EF4-FFF2-40B4-BE49-F238E27FC236}">
                  <a16:creationId xmlns:a16="http://schemas.microsoft.com/office/drawing/2014/main" id="{9B9D2F99-06C9-4CD4-9DBA-1EB332D00189}"/>
                </a:ext>
              </a:extLst>
            </p:cNvPr>
            <p:cNvSpPr/>
            <p:nvPr/>
          </p:nvSpPr>
          <p:spPr>
            <a:xfrm rot="5400000" flipH="1">
              <a:off x="4929545" y="2614861"/>
              <a:ext cx="6858000" cy="1628276"/>
            </a:xfrm>
            <a:prstGeom prst="triangle">
              <a:avLst>
                <a:gd name="adj" fmla="val 36035"/>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1978" tIns="35989" rIns="71978" bIns="35989" rtlCol="0" anchor="ctr"/>
            <a:lstStyle/>
            <a:p>
              <a:pPr algn="ctr" defTabSz="914103">
                <a:lnSpc>
                  <a:spcPct val="125000"/>
                </a:lnSpc>
                <a:defRPr/>
              </a:pPr>
              <a:endParaRPr lang="ru-RU" sz="1599">
                <a:solidFill>
                  <a:srgbClr val="FFFFFF"/>
                </a:solidFill>
                <a:latin typeface="Lato"/>
              </a:endParaRPr>
            </a:p>
          </p:txBody>
        </p:sp>
        <p:sp>
          <p:nvSpPr>
            <p:cNvPr id="44" name="Прямоугольник 43">
              <a:extLst>
                <a:ext uri="{FF2B5EF4-FFF2-40B4-BE49-F238E27FC236}">
                  <a16:creationId xmlns:a16="http://schemas.microsoft.com/office/drawing/2014/main" id="{6C6D24C9-A2A9-45E2-B9C8-7DFF8F161636}"/>
                </a:ext>
              </a:extLst>
            </p:cNvPr>
            <p:cNvSpPr/>
            <p:nvPr/>
          </p:nvSpPr>
          <p:spPr>
            <a:xfrm>
              <a:off x="3385752" y="0"/>
              <a:ext cx="416818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1978" tIns="35989" rIns="71978" bIns="35989" rtlCol="0" anchor="ctr"/>
            <a:lstStyle/>
            <a:p>
              <a:pPr algn="ctr" defTabSz="914103">
                <a:lnSpc>
                  <a:spcPct val="125000"/>
                </a:lnSpc>
              </a:pPr>
              <a:endParaRPr lang="ru-RU" sz="1599" dirty="0">
                <a:solidFill>
                  <a:srgbClr val="FFFFFF"/>
                </a:solidFill>
                <a:latin typeface="Lato"/>
              </a:endParaRPr>
            </a:p>
          </p:txBody>
        </p:sp>
      </p:grpSp>
      <p:sp>
        <p:nvSpPr>
          <p:cNvPr id="5" name="Заголовок 4">
            <a:extLst>
              <a:ext uri="{FF2B5EF4-FFF2-40B4-BE49-F238E27FC236}">
                <a16:creationId xmlns:a16="http://schemas.microsoft.com/office/drawing/2014/main" id="{D56AB30A-B742-46AE-ABE0-A85BE30867C5}"/>
              </a:ext>
            </a:extLst>
          </p:cNvPr>
          <p:cNvSpPr>
            <a:spLocks noGrp="1"/>
          </p:cNvSpPr>
          <p:nvPr>
            <p:ph type="title"/>
          </p:nvPr>
        </p:nvSpPr>
        <p:spPr/>
        <p:txBody>
          <a:bodyPr/>
          <a:lstStyle/>
          <a:p>
            <a:r>
              <a:rPr lang="en-US" dirty="0"/>
              <a:t>Housing market</a:t>
            </a:r>
            <a:endParaRPr lang="ru-RU" dirty="0"/>
          </a:p>
        </p:txBody>
      </p:sp>
      <p:grpSp>
        <p:nvGrpSpPr>
          <p:cNvPr id="23" name="logo">
            <a:extLst>
              <a:ext uri="{FF2B5EF4-FFF2-40B4-BE49-F238E27FC236}">
                <a16:creationId xmlns:a16="http://schemas.microsoft.com/office/drawing/2014/main" id="{7695968F-A341-4AB5-A56C-7E9F6D2E2090}"/>
              </a:ext>
            </a:extLst>
          </p:cNvPr>
          <p:cNvGrpSpPr>
            <a:grpSpLocks noChangeAspect="1"/>
          </p:cNvGrpSpPr>
          <p:nvPr/>
        </p:nvGrpSpPr>
        <p:grpSpPr bwMode="gray">
          <a:xfrm>
            <a:off x="11172452" y="402376"/>
            <a:ext cx="644027" cy="646307"/>
            <a:chOff x="2711" y="1027"/>
            <a:chExt cx="2258" cy="2266"/>
          </a:xfrm>
        </p:grpSpPr>
        <p:sp>
          <p:nvSpPr>
            <p:cNvPr id="24" name="AutoShape 3">
              <a:extLst>
                <a:ext uri="{FF2B5EF4-FFF2-40B4-BE49-F238E27FC236}">
                  <a16:creationId xmlns:a16="http://schemas.microsoft.com/office/drawing/2014/main" id="{A9734A92-8963-4C12-AFB0-3BFB924C9DE7}"/>
                </a:ext>
              </a:extLst>
            </p:cNvPr>
            <p:cNvSpPr>
              <a:spLocks noChangeAspect="1" noChangeArrowheads="1" noTextEdit="1"/>
            </p:cNvSpPr>
            <p:nvPr/>
          </p:nvSpPr>
          <p:spPr bwMode="gray">
            <a:xfrm>
              <a:off x="2711" y="1027"/>
              <a:ext cx="2258" cy="22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12" tIns="45706" rIns="91412" bIns="45706" numCol="1" anchor="t" anchorCtr="0" compatLnSpc="1">
              <a:prstTxWarp prst="textNoShape">
                <a:avLst/>
              </a:prstTxWarp>
            </a:bodyPr>
            <a:lstStyle/>
            <a:p>
              <a:pPr defTabSz="914103"/>
              <a:endParaRPr lang="de-DE" sz="1350" dirty="0">
                <a:solidFill>
                  <a:srgbClr val="414549"/>
                </a:solidFill>
                <a:latin typeface="Lato"/>
              </a:endParaRPr>
            </a:p>
          </p:txBody>
        </p:sp>
        <p:sp>
          <p:nvSpPr>
            <p:cNvPr id="25" name="Freeform 5">
              <a:extLst>
                <a:ext uri="{FF2B5EF4-FFF2-40B4-BE49-F238E27FC236}">
                  <a16:creationId xmlns:a16="http://schemas.microsoft.com/office/drawing/2014/main" id="{500C4DFF-335B-4B9E-BFED-BFF28B2724DC}"/>
                </a:ext>
              </a:extLst>
            </p:cNvPr>
            <p:cNvSpPr>
              <a:spLocks/>
            </p:cNvSpPr>
            <p:nvPr/>
          </p:nvSpPr>
          <p:spPr bwMode="gray">
            <a:xfrm>
              <a:off x="2709" y="1029"/>
              <a:ext cx="2260" cy="2262"/>
            </a:xfrm>
            <a:custGeom>
              <a:avLst/>
              <a:gdLst>
                <a:gd name="T0" fmla="*/ 2260 w 2260"/>
                <a:gd name="T1" fmla="*/ 0 h 2262"/>
                <a:gd name="T2" fmla="*/ 1612 w 2260"/>
                <a:gd name="T3" fmla="*/ 649 h 2262"/>
                <a:gd name="T4" fmla="*/ 1612 w 2260"/>
                <a:gd name="T5" fmla="*/ 649 h 2262"/>
                <a:gd name="T6" fmla="*/ 2035 w 2260"/>
                <a:gd name="T7" fmla="*/ 0 h 2262"/>
                <a:gd name="T8" fmla="*/ 0 w 2260"/>
                <a:gd name="T9" fmla="*/ 0 h 2262"/>
                <a:gd name="T10" fmla="*/ 0 w 2260"/>
                <a:gd name="T11" fmla="*/ 2262 h 2262"/>
                <a:gd name="T12" fmla="*/ 2260 w 2260"/>
                <a:gd name="T13" fmla="*/ 2262 h 2262"/>
                <a:gd name="T14" fmla="*/ 2260 w 2260"/>
                <a:gd name="T15" fmla="*/ 0 h 2262"/>
                <a:gd name="T16" fmla="*/ 2260 w 2260"/>
                <a:gd name="T17" fmla="*/ 0 h 2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0" h="2262">
                  <a:moveTo>
                    <a:pt x="2260" y="0"/>
                  </a:moveTo>
                  <a:lnTo>
                    <a:pt x="1612" y="649"/>
                  </a:lnTo>
                  <a:lnTo>
                    <a:pt x="1612" y="649"/>
                  </a:lnTo>
                  <a:lnTo>
                    <a:pt x="2035" y="0"/>
                  </a:lnTo>
                  <a:lnTo>
                    <a:pt x="0" y="0"/>
                  </a:lnTo>
                  <a:lnTo>
                    <a:pt x="0" y="2262"/>
                  </a:lnTo>
                  <a:lnTo>
                    <a:pt x="2260" y="2262"/>
                  </a:lnTo>
                  <a:lnTo>
                    <a:pt x="2260" y="0"/>
                  </a:lnTo>
                  <a:lnTo>
                    <a:pt x="2260" y="0"/>
                  </a:lnTo>
                  <a:close/>
                </a:path>
              </a:pathLst>
            </a:custGeom>
            <a:solidFill>
              <a:srgbClr val="E55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2" tIns="45706" rIns="91412" bIns="45706" numCol="1" anchor="t" anchorCtr="0" compatLnSpc="1">
              <a:prstTxWarp prst="textNoShape">
                <a:avLst/>
              </a:prstTxWarp>
            </a:bodyPr>
            <a:lstStyle/>
            <a:p>
              <a:pPr defTabSz="914103"/>
              <a:endParaRPr lang="de-DE" sz="1350" dirty="0">
                <a:solidFill>
                  <a:srgbClr val="414549"/>
                </a:solidFill>
                <a:latin typeface="Lato"/>
              </a:endParaRPr>
            </a:p>
          </p:txBody>
        </p:sp>
        <p:sp>
          <p:nvSpPr>
            <p:cNvPr id="26" name="Freeform 6">
              <a:extLst>
                <a:ext uri="{FF2B5EF4-FFF2-40B4-BE49-F238E27FC236}">
                  <a16:creationId xmlns:a16="http://schemas.microsoft.com/office/drawing/2014/main" id="{FAE754E9-ED7B-4A08-8B8F-0C54BFE769B1}"/>
                </a:ext>
              </a:extLst>
            </p:cNvPr>
            <p:cNvSpPr>
              <a:spLocks noEditPoints="1"/>
            </p:cNvSpPr>
            <p:nvPr/>
          </p:nvSpPr>
          <p:spPr bwMode="gray">
            <a:xfrm>
              <a:off x="3623" y="1696"/>
              <a:ext cx="1167" cy="922"/>
            </a:xfrm>
            <a:custGeom>
              <a:avLst/>
              <a:gdLst>
                <a:gd name="T0" fmla="*/ 411 w 580"/>
                <a:gd name="T1" fmla="*/ 213 h 458"/>
                <a:gd name="T2" fmla="*/ 570 w 580"/>
                <a:gd name="T3" fmla="*/ 37 h 458"/>
                <a:gd name="T4" fmla="*/ 580 w 580"/>
                <a:gd name="T5" fmla="*/ 20 h 458"/>
                <a:gd name="T6" fmla="*/ 545 w 580"/>
                <a:gd name="T7" fmla="*/ 0 h 458"/>
                <a:gd name="T8" fmla="*/ 519 w 580"/>
                <a:gd name="T9" fmla="*/ 16 h 458"/>
                <a:gd name="T10" fmla="*/ 344 w 580"/>
                <a:gd name="T11" fmla="*/ 210 h 458"/>
                <a:gd name="T12" fmla="*/ 334 w 580"/>
                <a:gd name="T13" fmla="*/ 229 h 458"/>
                <a:gd name="T14" fmla="*/ 344 w 580"/>
                <a:gd name="T15" fmla="*/ 248 h 458"/>
                <a:gd name="T16" fmla="*/ 519 w 580"/>
                <a:gd name="T17" fmla="*/ 442 h 458"/>
                <a:gd name="T18" fmla="*/ 545 w 580"/>
                <a:gd name="T19" fmla="*/ 458 h 458"/>
                <a:gd name="T20" fmla="*/ 580 w 580"/>
                <a:gd name="T21" fmla="*/ 438 h 458"/>
                <a:gd name="T22" fmla="*/ 570 w 580"/>
                <a:gd name="T23" fmla="*/ 421 h 458"/>
                <a:gd name="T24" fmla="*/ 411 w 580"/>
                <a:gd name="T25" fmla="*/ 245 h 458"/>
                <a:gd name="T26" fmla="*/ 399 w 580"/>
                <a:gd name="T27" fmla="*/ 229 h 458"/>
                <a:gd name="T28" fmla="*/ 411 w 580"/>
                <a:gd name="T29" fmla="*/ 213 h 458"/>
                <a:gd name="T30" fmla="*/ 252 w 580"/>
                <a:gd name="T31" fmla="*/ 439 h 458"/>
                <a:gd name="T32" fmla="*/ 281 w 580"/>
                <a:gd name="T33" fmla="*/ 454 h 458"/>
                <a:gd name="T34" fmla="*/ 309 w 580"/>
                <a:gd name="T35" fmla="*/ 439 h 458"/>
                <a:gd name="T36" fmla="*/ 309 w 580"/>
                <a:gd name="T37" fmla="*/ 19 h 458"/>
                <a:gd name="T38" fmla="*/ 281 w 580"/>
                <a:gd name="T39" fmla="*/ 4 h 458"/>
                <a:gd name="T40" fmla="*/ 252 w 580"/>
                <a:gd name="T41" fmla="*/ 19 h 458"/>
                <a:gd name="T42" fmla="*/ 252 w 580"/>
                <a:gd name="T43" fmla="*/ 439 h 458"/>
                <a:gd name="T44" fmla="*/ 0 w 580"/>
                <a:gd name="T45" fmla="*/ 439 h 458"/>
                <a:gd name="T46" fmla="*/ 28 w 580"/>
                <a:gd name="T47" fmla="*/ 454 h 458"/>
                <a:gd name="T48" fmla="*/ 56 w 580"/>
                <a:gd name="T49" fmla="*/ 439 h 458"/>
                <a:gd name="T50" fmla="*/ 56 w 580"/>
                <a:gd name="T51" fmla="*/ 157 h 458"/>
                <a:gd name="T52" fmla="*/ 165 w 580"/>
                <a:gd name="T53" fmla="*/ 53 h 458"/>
                <a:gd name="T54" fmla="*/ 180 w 580"/>
                <a:gd name="T55" fmla="*/ 53 h 458"/>
                <a:gd name="T56" fmla="*/ 196 w 580"/>
                <a:gd name="T57" fmla="*/ 27 h 458"/>
                <a:gd name="T58" fmla="*/ 154 w 580"/>
                <a:gd name="T59" fmla="*/ 4 h 458"/>
                <a:gd name="T60" fmla="*/ 0 w 580"/>
                <a:gd name="T61" fmla="*/ 152 h 458"/>
                <a:gd name="T62" fmla="*/ 0 w 580"/>
                <a:gd name="T63" fmla="*/ 439 h 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80" h="458">
                  <a:moveTo>
                    <a:pt x="411" y="213"/>
                  </a:moveTo>
                  <a:cubicBezTo>
                    <a:pt x="570" y="37"/>
                    <a:pt x="570" y="37"/>
                    <a:pt x="570" y="37"/>
                  </a:cubicBezTo>
                  <a:cubicBezTo>
                    <a:pt x="576" y="30"/>
                    <a:pt x="580" y="25"/>
                    <a:pt x="580" y="20"/>
                  </a:cubicBezTo>
                  <a:cubicBezTo>
                    <a:pt x="580" y="10"/>
                    <a:pt x="559" y="0"/>
                    <a:pt x="545" y="0"/>
                  </a:cubicBezTo>
                  <a:cubicBezTo>
                    <a:pt x="535" y="0"/>
                    <a:pt x="526" y="8"/>
                    <a:pt x="519" y="16"/>
                  </a:cubicBezTo>
                  <a:cubicBezTo>
                    <a:pt x="344" y="210"/>
                    <a:pt x="344" y="210"/>
                    <a:pt x="344" y="210"/>
                  </a:cubicBezTo>
                  <a:cubicBezTo>
                    <a:pt x="336" y="219"/>
                    <a:pt x="334" y="224"/>
                    <a:pt x="334" y="229"/>
                  </a:cubicBezTo>
                  <a:cubicBezTo>
                    <a:pt x="334" y="234"/>
                    <a:pt x="336" y="239"/>
                    <a:pt x="344" y="248"/>
                  </a:cubicBezTo>
                  <a:cubicBezTo>
                    <a:pt x="519" y="442"/>
                    <a:pt x="519" y="442"/>
                    <a:pt x="519" y="442"/>
                  </a:cubicBezTo>
                  <a:cubicBezTo>
                    <a:pt x="526" y="450"/>
                    <a:pt x="535" y="458"/>
                    <a:pt x="545" y="458"/>
                  </a:cubicBezTo>
                  <a:cubicBezTo>
                    <a:pt x="559" y="458"/>
                    <a:pt x="580" y="448"/>
                    <a:pt x="580" y="438"/>
                  </a:cubicBezTo>
                  <a:cubicBezTo>
                    <a:pt x="580" y="433"/>
                    <a:pt x="576" y="428"/>
                    <a:pt x="570" y="421"/>
                  </a:cubicBezTo>
                  <a:cubicBezTo>
                    <a:pt x="411" y="245"/>
                    <a:pt x="411" y="245"/>
                    <a:pt x="411" y="245"/>
                  </a:cubicBezTo>
                  <a:cubicBezTo>
                    <a:pt x="403" y="236"/>
                    <a:pt x="399" y="232"/>
                    <a:pt x="399" y="229"/>
                  </a:cubicBezTo>
                  <a:cubicBezTo>
                    <a:pt x="399" y="226"/>
                    <a:pt x="403" y="222"/>
                    <a:pt x="411" y="213"/>
                  </a:cubicBezTo>
                  <a:moveTo>
                    <a:pt x="252" y="439"/>
                  </a:moveTo>
                  <a:cubicBezTo>
                    <a:pt x="252" y="449"/>
                    <a:pt x="261" y="454"/>
                    <a:pt x="281" y="454"/>
                  </a:cubicBezTo>
                  <a:cubicBezTo>
                    <a:pt x="300" y="454"/>
                    <a:pt x="309" y="449"/>
                    <a:pt x="309" y="439"/>
                  </a:cubicBezTo>
                  <a:cubicBezTo>
                    <a:pt x="309" y="19"/>
                    <a:pt x="309" y="19"/>
                    <a:pt x="309" y="19"/>
                  </a:cubicBezTo>
                  <a:cubicBezTo>
                    <a:pt x="309" y="9"/>
                    <a:pt x="300" y="4"/>
                    <a:pt x="281" y="4"/>
                  </a:cubicBezTo>
                  <a:cubicBezTo>
                    <a:pt x="261" y="4"/>
                    <a:pt x="252" y="9"/>
                    <a:pt x="252" y="19"/>
                  </a:cubicBezTo>
                  <a:lnTo>
                    <a:pt x="252" y="439"/>
                  </a:lnTo>
                  <a:close/>
                  <a:moveTo>
                    <a:pt x="0" y="439"/>
                  </a:moveTo>
                  <a:cubicBezTo>
                    <a:pt x="0" y="449"/>
                    <a:pt x="8" y="454"/>
                    <a:pt x="28" y="454"/>
                  </a:cubicBezTo>
                  <a:cubicBezTo>
                    <a:pt x="48" y="454"/>
                    <a:pt x="56" y="449"/>
                    <a:pt x="56" y="439"/>
                  </a:cubicBezTo>
                  <a:cubicBezTo>
                    <a:pt x="56" y="157"/>
                    <a:pt x="56" y="157"/>
                    <a:pt x="56" y="157"/>
                  </a:cubicBezTo>
                  <a:cubicBezTo>
                    <a:pt x="56" y="83"/>
                    <a:pt x="85" y="53"/>
                    <a:pt x="165" y="53"/>
                  </a:cubicBezTo>
                  <a:cubicBezTo>
                    <a:pt x="180" y="53"/>
                    <a:pt x="180" y="53"/>
                    <a:pt x="180" y="53"/>
                  </a:cubicBezTo>
                  <a:cubicBezTo>
                    <a:pt x="192" y="53"/>
                    <a:pt x="196" y="43"/>
                    <a:pt x="196" y="27"/>
                  </a:cubicBezTo>
                  <a:cubicBezTo>
                    <a:pt x="196" y="8"/>
                    <a:pt x="185" y="4"/>
                    <a:pt x="154" y="4"/>
                  </a:cubicBezTo>
                  <a:cubicBezTo>
                    <a:pt x="64" y="4"/>
                    <a:pt x="0" y="43"/>
                    <a:pt x="0" y="152"/>
                  </a:cubicBezTo>
                  <a:lnTo>
                    <a:pt x="0" y="43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2" tIns="45706" rIns="91412" bIns="45706" numCol="1" anchor="t" anchorCtr="0" compatLnSpc="1">
              <a:prstTxWarp prst="textNoShape">
                <a:avLst/>
              </a:prstTxWarp>
            </a:bodyPr>
            <a:lstStyle/>
            <a:p>
              <a:pPr defTabSz="914103"/>
              <a:endParaRPr lang="de-DE" sz="1350" dirty="0">
                <a:solidFill>
                  <a:srgbClr val="414549"/>
                </a:solidFill>
                <a:latin typeface="Lato"/>
              </a:endParaRPr>
            </a:p>
          </p:txBody>
        </p:sp>
        <p:sp>
          <p:nvSpPr>
            <p:cNvPr id="27" name="Freeform 7">
              <a:extLst>
                <a:ext uri="{FF2B5EF4-FFF2-40B4-BE49-F238E27FC236}">
                  <a16:creationId xmlns:a16="http://schemas.microsoft.com/office/drawing/2014/main" id="{E2872D1E-D184-480C-81D2-A7996B4CE7BA}"/>
                </a:ext>
              </a:extLst>
            </p:cNvPr>
            <p:cNvSpPr>
              <a:spLocks/>
            </p:cNvSpPr>
            <p:nvPr/>
          </p:nvSpPr>
          <p:spPr bwMode="gray">
            <a:xfrm>
              <a:off x="2880" y="1704"/>
              <a:ext cx="618" cy="916"/>
            </a:xfrm>
            <a:custGeom>
              <a:avLst/>
              <a:gdLst>
                <a:gd name="T0" fmla="*/ 307 w 307"/>
                <a:gd name="T1" fmla="*/ 405 h 455"/>
                <a:gd name="T2" fmla="*/ 307 w 307"/>
                <a:gd name="T3" fmla="*/ 244 h 455"/>
                <a:gd name="T4" fmla="*/ 279 w 307"/>
                <a:gd name="T5" fmla="*/ 229 h 455"/>
                <a:gd name="T6" fmla="*/ 250 w 307"/>
                <a:gd name="T7" fmla="*/ 244 h 455"/>
                <a:gd name="T8" fmla="*/ 250 w 307"/>
                <a:gd name="T9" fmla="*/ 378 h 455"/>
                <a:gd name="T10" fmla="*/ 199 w 307"/>
                <a:gd name="T11" fmla="*/ 408 h 455"/>
                <a:gd name="T12" fmla="*/ 61 w 307"/>
                <a:gd name="T13" fmla="*/ 231 h 455"/>
                <a:gd name="T14" fmla="*/ 238 w 307"/>
                <a:gd name="T15" fmla="*/ 49 h 455"/>
                <a:gd name="T16" fmla="*/ 270 w 307"/>
                <a:gd name="T17" fmla="*/ 49 h 455"/>
                <a:gd name="T18" fmla="*/ 286 w 307"/>
                <a:gd name="T19" fmla="*/ 23 h 455"/>
                <a:gd name="T20" fmla="*/ 244 w 307"/>
                <a:gd name="T21" fmla="*/ 0 h 455"/>
                <a:gd name="T22" fmla="*/ 231 w 307"/>
                <a:gd name="T23" fmla="*/ 0 h 455"/>
                <a:gd name="T24" fmla="*/ 0 w 307"/>
                <a:gd name="T25" fmla="*/ 232 h 455"/>
                <a:gd name="T26" fmla="*/ 198 w 307"/>
                <a:gd name="T27" fmla="*/ 455 h 455"/>
                <a:gd name="T28" fmla="*/ 307 w 307"/>
                <a:gd name="T29" fmla="*/ 405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7" h="455">
                  <a:moveTo>
                    <a:pt x="307" y="405"/>
                  </a:moveTo>
                  <a:cubicBezTo>
                    <a:pt x="307" y="244"/>
                    <a:pt x="307" y="244"/>
                    <a:pt x="307" y="244"/>
                  </a:cubicBezTo>
                  <a:cubicBezTo>
                    <a:pt x="307" y="234"/>
                    <a:pt x="298" y="229"/>
                    <a:pt x="279" y="229"/>
                  </a:cubicBezTo>
                  <a:cubicBezTo>
                    <a:pt x="259" y="229"/>
                    <a:pt x="250" y="234"/>
                    <a:pt x="250" y="244"/>
                  </a:cubicBezTo>
                  <a:cubicBezTo>
                    <a:pt x="250" y="378"/>
                    <a:pt x="250" y="378"/>
                    <a:pt x="250" y="378"/>
                  </a:cubicBezTo>
                  <a:cubicBezTo>
                    <a:pt x="250" y="399"/>
                    <a:pt x="241" y="408"/>
                    <a:pt x="199" y="408"/>
                  </a:cubicBezTo>
                  <a:cubicBezTo>
                    <a:pt x="114" y="408"/>
                    <a:pt x="61" y="342"/>
                    <a:pt x="61" y="231"/>
                  </a:cubicBezTo>
                  <a:cubicBezTo>
                    <a:pt x="61" y="115"/>
                    <a:pt x="126" y="49"/>
                    <a:pt x="238" y="49"/>
                  </a:cubicBezTo>
                  <a:cubicBezTo>
                    <a:pt x="270" y="49"/>
                    <a:pt x="270" y="49"/>
                    <a:pt x="270" y="49"/>
                  </a:cubicBezTo>
                  <a:cubicBezTo>
                    <a:pt x="282" y="49"/>
                    <a:pt x="286" y="39"/>
                    <a:pt x="286" y="23"/>
                  </a:cubicBezTo>
                  <a:cubicBezTo>
                    <a:pt x="286" y="4"/>
                    <a:pt x="275" y="0"/>
                    <a:pt x="244" y="0"/>
                  </a:cubicBezTo>
                  <a:cubicBezTo>
                    <a:pt x="231" y="0"/>
                    <a:pt x="231" y="0"/>
                    <a:pt x="231" y="0"/>
                  </a:cubicBezTo>
                  <a:cubicBezTo>
                    <a:pt x="101" y="0"/>
                    <a:pt x="0" y="71"/>
                    <a:pt x="0" y="232"/>
                  </a:cubicBezTo>
                  <a:cubicBezTo>
                    <a:pt x="0" y="386"/>
                    <a:pt x="88" y="455"/>
                    <a:pt x="198" y="455"/>
                  </a:cubicBezTo>
                  <a:cubicBezTo>
                    <a:pt x="286" y="455"/>
                    <a:pt x="307" y="430"/>
                    <a:pt x="307" y="40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2" tIns="45706" rIns="91412" bIns="45706" numCol="1" anchor="t" anchorCtr="0" compatLnSpc="1">
              <a:prstTxWarp prst="textNoShape">
                <a:avLst/>
              </a:prstTxWarp>
            </a:bodyPr>
            <a:lstStyle/>
            <a:p>
              <a:pPr defTabSz="914103"/>
              <a:endParaRPr lang="de-DE" sz="1350" dirty="0">
                <a:solidFill>
                  <a:srgbClr val="414549"/>
                </a:solidFill>
                <a:latin typeface="Lato"/>
              </a:endParaRPr>
            </a:p>
          </p:txBody>
        </p:sp>
        <p:sp>
          <p:nvSpPr>
            <p:cNvPr id="28" name="Oval 8">
              <a:extLst>
                <a:ext uri="{FF2B5EF4-FFF2-40B4-BE49-F238E27FC236}">
                  <a16:creationId xmlns:a16="http://schemas.microsoft.com/office/drawing/2014/main" id="{443A656C-C092-4DF4-8469-511FC09B9629}"/>
                </a:ext>
              </a:extLst>
            </p:cNvPr>
            <p:cNvSpPr>
              <a:spLocks noChangeArrowheads="1"/>
            </p:cNvSpPr>
            <p:nvPr/>
          </p:nvSpPr>
          <p:spPr bwMode="gray">
            <a:xfrm>
              <a:off x="3778" y="2099"/>
              <a:ext cx="122" cy="12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2" tIns="45706" rIns="91412" bIns="45706" numCol="1" anchor="t" anchorCtr="0" compatLnSpc="1">
              <a:prstTxWarp prst="textNoShape">
                <a:avLst/>
              </a:prstTxWarp>
            </a:bodyPr>
            <a:lstStyle/>
            <a:p>
              <a:pPr defTabSz="914103"/>
              <a:endParaRPr lang="de-DE" sz="1350" dirty="0">
                <a:solidFill>
                  <a:srgbClr val="414549"/>
                </a:solidFill>
                <a:latin typeface="Lato"/>
              </a:endParaRPr>
            </a:p>
          </p:txBody>
        </p:sp>
        <p:sp>
          <p:nvSpPr>
            <p:cNvPr id="29" name="Freeform 9">
              <a:extLst>
                <a:ext uri="{FF2B5EF4-FFF2-40B4-BE49-F238E27FC236}">
                  <a16:creationId xmlns:a16="http://schemas.microsoft.com/office/drawing/2014/main" id="{2925477C-6429-43E7-AFA8-8C749FA7992C}"/>
                </a:ext>
              </a:extLst>
            </p:cNvPr>
            <p:cNvSpPr>
              <a:spLocks noEditPoints="1"/>
            </p:cNvSpPr>
            <p:nvPr/>
          </p:nvSpPr>
          <p:spPr bwMode="gray">
            <a:xfrm>
              <a:off x="3623" y="1696"/>
              <a:ext cx="1167" cy="922"/>
            </a:xfrm>
            <a:custGeom>
              <a:avLst/>
              <a:gdLst>
                <a:gd name="T0" fmla="*/ 411 w 580"/>
                <a:gd name="T1" fmla="*/ 213 h 458"/>
                <a:gd name="T2" fmla="*/ 570 w 580"/>
                <a:gd name="T3" fmla="*/ 37 h 458"/>
                <a:gd name="T4" fmla="*/ 580 w 580"/>
                <a:gd name="T5" fmla="*/ 20 h 458"/>
                <a:gd name="T6" fmla="*/ 545 w 580"/>
                <a:gd name="T7" fmla="*/ 0 h 458"/>
                <a:gd name="T8" fmla="*/ 519 w 580"/>
                <a:gd name="T9" fmla="*/ 16 h 458"/>
                <a:gd name="T10" fmla="*/ 344 w 580"/>
                <a:gd name="T11" fmla="*/ 210 h 458"/>
                <a:gd name="T12" fmla="*/ 334 w 580"/>
                <a:gd name="T13" fmla="*/ 229 h 458"/>
                <a:gd name="T14" fmla="*/ 344 w 580"/>
                <a:gd name="T15" fmla="*/ 248 h 458"/>
                <a:gd name="T16" fmla="*/ 519 w 580"/>
                <a:gd name="T17" fmla="*/ 442 h 458"/>
                <a:gd name="T18" fmla="*/ 545 w 580"/>
                <a:gd name="T19" fmla="*/ 458 h 458"/>
                <a:gd name="T20" fmla="*/ 580 w 580"/>
                <a:gd name="T21" fmla="*/ 438 h 458"/>
                <a:gd name="T22" fmla="*/ 570 w 580"/>
                <a:gd name="T23" fmla="*/ 421 h 458"/>
                <a:gd name="T24" fmla="*/ 411 w 580"/>
                <a:gd name="T25" fmla="*/ 245 h 458"/>
                <a:gd name="T26" fmla="*/ 399 w 580"/>
                <a:gd name="T27" fmla="*/ 229 h 458"/>
                <a:gd name="T28" fmla="*/ 411 w 580"/>
                <a:gd name="T29" fmla="*/ 213 h 458"/>
                <a:gd name="T30" fmla="*/ 252 w 580"/>
                <a:gd name="T31" fmla="*/ 439 h 458"/>
                <a:gd name="T32" fmla="*/ 281 w 580"/>
                <a:gd name="T33" fmla="*/ 454 h 458"/>
                <a:gd name="T34" fmla="*/ 309 w 580"/>
                <a:gd name="T35" fmla="*/ 439 h 458"/>
                <a:gd name="T36" fmla="*/ 309 w 580"/>
                <a:gd name="T37" fmla="*/ 19 h 458"/>
                <a:gd name="T38" fmla="*/ 281 w 580"/>
                <a:gd name="T39" fmla="*/ 4 h 458"/>
                <a:gd name="T40" fmla="*/ 252 w 580"/>
                <a:gd name="T41" fmla="*/ 19 h 458"/>
                <a:gd name="T42" fmla="*/ 252 w 580"/>
                <a:gd name="T43" fmla="*/ 439 h 458"/>
                <a:gd name="T44" fmla="*/ 0 w 580"/>
                <a:gd name="T45" fmla="*/ 439 h 458"/>
                <a:gd name="T46" fmla="*/ 28 w 580"/>
                <a:gd name="T47" fmla="*/ 454 h 458"/>
                <a:gd name="T48" fmla="*/ 56 w 580"/>
                <a:gd name="T49" fmla="*/ 439 h 458"/>
                <a:gd name="T50" fmla="*/ 56 w 580"/>
                <a:gd name="T51" fmla="*/ 157 h 458"/>
                <a:gd name="T52" fmla="*/ 165 w 580"/>
                <a:gd name="T53" fmla="*/ 53 h 458"/>
                <a:gd name="T54" fmla="*/ 180 w 580"/>
                <a:gd name="T55" fmla="*/ 53 h 458"/>
                <a:gd name="T56" fmla="*/ 196 w 580"/>
                <a:gd name="T57" fmla="*/ 27 h 458"/>
                <a:gd name="T58" fmla="*/ 154 w 580"/>
                <a:gd name="T59" fmla="*/ 4 h 458"/>
                <a:gd name="T60" fmla="*/ 0 w 580"/>
                <a:gd name="T61" fmla="*/ 152 h 458"/>
                <a:gd name="T62" fmla="*/ 0 w 580"/>
                <a:gd name="T63" fmla="*/ 439 h 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80" h="458">
                  <a:moveTo>
                    <a:pt x="411" y="213"/>
                  </a:moveTo>
                  <a:cubicBezTo>
                    <a:pt x="570" y="37"/>
                    <a:pt x="570" y="37"/>
                    <a:pt x="570" y="37"/>
                  </a:cubicBezTo>
                  <a:cubicBezTo>
                    <a:pt x="576" y="30"/>
                    <a:pt x="580" y="25"/>
                    <a:pt x="580" y="20"/>
                  </a:cubicBezTo>
                  <a:cubicBezTo>
                    <a:pt x="580" y="10"/>
                    <a:pt x="559" y="0"/>
                    <a:pt x="545" y="0"/>
                  </a:cubicBezTo>
                  <a:cubicBezTo>
                    <a:pt x="535" y="0"/>
                    <a:pt x="526" y="8"/>
                    <a:pt x="519" y="16"/>
                  </a:cubicBezTo>
                  <a:cubicBezTo>
                    <a:pt x="344" y="210"/>
                    <a:pt x="344" y="210"/>
                    <a:pt x="344" y="210"/>
                  </a:cubicBezTo>
                  <a:cubicBezTo>
                    <a:pt x="336" y="219"/>
                    <a:pt x="334" y="224"/>
                    <a:pt x="334" y="229"/>
                  </a:cubicBezTo>
                  <a:cubicBezTo>
                    <a:pt x="334" y="234"/>
                    <a:pt x="336" y="239"/>
                    <a:pt x="344" y="248"/>
                  </a:cubicBezTo>
                  <a:cubicBezTo>
                    <a:pt x="519" y="442"/>
                    <a:pt x="519" y="442"/>
                    <a:pt x="519" y="442"/>
                  </a:cubicBezTo>
                  <a:cubicBezTo>
                    <a:pt x="526" y="450"/>
                    <a:pt x="535" y="458"/>
                    <a:pt x="545" y="458"/>
                  </a:cubicBezTo>
                  <a:cubicBezTo>
                    <a:pt x="559" y="458"/>
                    <a:pt x="580" y="448"/>
                    <a:pt x="580" y="438"/>
                  </a:cubicBezTo>
                  <a:cubicBezTo>
                    <a:pt x="580" y="433"/>
                    <a:pt x="576" y="428"/>
                    <a:pt x="570" y="421"/>
                  </a:cubicBezTo>
                  <a:cubicBezTo>
                    <a:pt x="411" y="245"/>
                    <a:pt x="411" y="245"/>
                    <a:pt x="411" y="245"/>
                  </a:cubicBezTo>
                  <a:cubicBezTo>
                    <a:pt x="403" y="236"/>
                    <a:pt x="399" y="232"/>
                    <a:pt x="399" y="229"/>
                  </a:cubicBezTo>
                  <a:cubicBezTo>
                    <a:pt x="399" y="226"/>
                    <a:pt x="403" y="222"/>
                    <a:pt x="411" y="213"/>
                  </a:cubicBezTo>
                  <a:moveTo>
                    <a:pt x="252" y="439"/>
                  </a:moveTo>
                  <a:cubicBezTo>
                    <a:pt x="252" y="449"/>
                    <a:pt x="261" y="454"/>
                    <a:pt x="281" y="454"/>
                  </a:cubicBezTo>
                  <a:cubicBezTo>
                    <a:pt x="300" y="454"/>
                    <a:pt x="309" y="449"/>
                    <a:pt x="309" y="439"/>
                  </a:cubicBezTo>
                  <a:cubicBezTo>
                    <a:pt x="309" y="19"/>
                    <a:pt x="309" y="19"/>
                    <a:pt x="309" y="19"/>
                  </a:cubicBezTo>
                  <a:cubicBezTo>
                    <a:pt x="309" y="9"/>
                    <a:pt x="300" y="4"/>
                    <a:pt x="281" y="4"/>
                  </a:cubicBezTo>
                  <a:cubicBezTo>
                    <a:pt x="261" y="4"/>
                    <a:pt x="252" y="9"/>
                    <a:pt x="252" y="19"/>
                  </a:cubicBezTo>
                  <a:lnTo>
                    <a:pt x="252" y="439"/>
                  </a:lnTo>
                  <a:close/>
                  <a:moveTo>
                    <a:pt x="0" y="439"/>
                  </a:moveTo>
                  <a:cubicBezTo>
                    <a:pt x="0" y="449"/>
                    <a:pt x="8" y="454"/>
                    <a:pt x="28" y="454"/>
                  </a:cubicBezTo>
                  <a:cubicBezTo>
                    <a:pt x="48" y="454"/>
                    <a:pt x="56" y="449"/>
                    <a:pt x="56" y="439"/>
                  </a:cubicBezTo>
                  <a:cubicBezTo>
                    <a:pt x="56" y="157"/>
                    <a:pt x="56" y="157"/>
                    <a:pt x="56" y="157"/>
                  </a:cubicBezTo>
                  <a:cubicBezTo>
                    <a:pt x="56" y="83"/>
                    <a:pt x="85" y="53"/>
                    <a:pt x="165" y="53"/>
                  </a:cubicBezTo>
                  <a:cubicBezTo>
                    <a:pt x="180" y="53"/>
                    <a:pt x="180" y="53"/>
                    <a:pt x="180" y="53"/>
                  </a:cubicBezTo>
                  <a:cubicBezTo>
                    <a:pt x="192" y="53"/>
                    <a:pt x="196" y="43"/>
                    <a:pt x="196" y="27"/>
                  </a:cubicBezTo>
                  <a:cubicBezTo>
                    <a:pt x="196" y="8"/>
                    <a:pt x="185" y="4"/>
                    <a:pt x="154" y="4"/>
                  </a:cubicBezTo>
                  <a:cubicBezTo>
                    <a:pt x="64" y="4"/>
                    <a:pt x="0" y="43"/>
                    <a:pt x="0" y="152"/>
                  </a:cubicBezTo>
                  <a:lnTo>
                    <a:pt x="0" y="43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2" tIns="45706" rIns="91412" bIns="45706" numCol="1" anchor="t" anchorCtr="0" compatLnSpc="1">
              <a:prstTxWarp prst="textNoShape">
                <a:avLst/>
              </a:prstTxWarp>
            </a:bodyPr>
            <a:lstStyle/>
            <a:p>
              <a:pPr defTabSz="914103"/>
              <a:endParaRPr lang="de-DE" sz="1350" dirty="0">
                <a:solidFill>
                  <a:srgbClr val="414549"/>
                </a:solidFill>
                <a:latin typeface="Lato"/>
              </a:endParaRPr>
            </a:p>
          </p:txBody>
        </p:sp>
        <p:sp>
          <p:nvSpPr>
            <p:cNvPr id="30" name="Freeform 10">
              <a:extLst>
                <a:ext uri="{FF2B5EF4-FFF2-40B4-BE49-F238E27FC236}">
                  <a16:creationId xmlns:a16="http://schemas.microsoft.com/office/drawing/2014/main" id="{CFBAA92C-09A4-4296-96E7-DFF4E9A5DDC2}"/>
                </a:ext>
              </a:extLst>
            </p:cNvPr>
            <p:cNvSpPr>
              <a:spLocks/>
            </p:cNvSpPr>
            <p:nvPr/>
          </p:nvSpPr>
          <p:spPr bwMode="gray">
            <a:xfrm>
              <a:off x="2880" y="1704"/>
              <a:ext cx="618" cy="916"/>
            </a:xfrm>
            <a:custGeom>
              <a:avLst/>
              <a:gdLst>
                <a:gd name="T0" fmla="*/ 307 w 307"/>
                <a:gd name="T1" fmla="*/ 405 h 455"/>
                <a:gd name="T2" fmla="*/ 307 w 307"/>
                <a:gd name="T3" fmla="*/ 244 h 455"/>
                <a:gd name="T4" fmla="*/ 279 w 307"/>
                <a:gd name="T5" fmla="*/ 229 h 455"/>
                <a:gd name="T6" fmla="*/ 250 w 307"/>
                <a:gd name="T7" fmla="*/ 244 h 455"/>
                <a:gd name="T8" fmla="*/ 250 w 307"/>
                <a:gd name="T9" fmla="*/ 378 h 455"/>
                <a:gd name="T10" fmla="*/ 199 w 307"/>
                <a:gd name="T11" fmla="*/ 408 h 455"/>
                <a:gd name="T12" fmla="*/ 61 w 307"/>
                <a:gd name="T13" fmla="*/ 231 h 455"/>
                <a:gd name="T14" fmla="*/ 238 w 307"/>
                <a:gd name="T15" fmla="*/ 49 h 455"/>
                <a:gd name="T16" fmla="*/ 270 w 307"/>
                <a:gd name="T17" fmla="*/ 49 h 455"/>
                <a:gd name="T18" fmla="*/ 286 w 307"/>
                <a:gd name="T19" fmla="*/ 23 h 455"/>
                <a:gd name="T20" fmla="*/ 244 w 307"/>
                <a:gd name="T21" fmla="*/ 0 h 455"/>
                <a:gd name="T22" fmla="*/ 231 w 307"/>
                <a:gd name="T23" fmla="*/ 0 h 455"/>
                <a:gd name="T24" fmla="*/ 0 w 307"/>
                <a:gd name="T25" fmla="*/ 232 h 455"/>
                <a:gd name="T26" fmla="*/ 198 w 307"/>
                <a:gd name="T27" fmla="*/ 455 h 455"/>
                <a:gd name="T28" fmla="*/ 307 w 307"/>
                <a:gd name="T29" fmla="*/ 405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7" h="455">
                  <a:moveTo>
                    <a:pt x="307" y="405"/>
                  </a:moveTo>
                  <a:cubicBezTo>
                    <a:pt x="307" y="244"/>
                    <a:pt x="307" y="244"/>
                    <a:pt x="307" y="244"/>
                  </a:cubicBezTo>
                  <a:cubicBezTo>
                    <a:pt x="307" y="234"/>
                    <a:pt x="298" y="229"/>
                    <a:pt x="279" y="229"/>
                  </a:cubicBezTo>
                  <a:cubicBezTo>
                    <a:pt x="259" y="229"/>
                    <a:pt x="250" y="234"/>
                    <a:pt x="250" y="244"/>
                  </a:cubicBezTo>
                  <a:cubicBezTo>
                    <a:pt x="250" y="378"/>
                    <a:pt x="250" y="378"/>
                    <a:pt x="250" y="378"/>
                  </a:cubicBezTo>
                  <a:cubicBezTo>
                    <a:pt x="250" y="399"/>
                    <a:pt x="241" y="408"/>
                    <a:pt x="199" y="408"/>
                  </a:cubicBezTo>
                  <a:cubicBezTo>
                    <a:pt x="114" y="408"/>
                    <a:pt x="61" y="342"/>
                    <a:pt x="61" y="231"/>
                  </a:cubicBezTo>
                  <a:cubicBezTo>
                    <a:pt x="61" y="115"/>
                    <a:pt x="126" y="49"/>
                    <a:pt x="238" y="49"/>
                  </a:cubicBezTo>
                  <a:cubicBezTo>
                    <a:pt x="270" y="49"/>
                    <a:pt x="270" y="49"/>
                    <a:pt x="270" y="49"/>
                  </a:cubicBezTo>
                  <a:cubicBezTo>
                    <a:pt x="282" y="49"/>
                    <a:pt x="286" y="39"/>
                    <a:pt x="286" y="23"/>
                  </a:cubicBezTo>
                  <a:cubicBezTo>
                    <a:pt x="286" y="4"/>
                    <a:pt x="275" y="0"/>
                    <a:pt x="244" y="0"/>
                  </a:cubicBezTo>
                  <a:cubicBezTo>
                    <a:pt x="231" y="0"/>
                    <a:pt x="231" y="0"/>
                    <a:pt x="231" y="0"/>
                  </a:cubicBezTo>
                  <a:cubicBezTo>
                    <a:pt x="101" y="0"/>
                    <a:pt x="0" y="71"/>
                    <a:pt x="0" y="232"/>
                  </a:cubicBezTo>
                  <a:cubicBezTo>
                    <a:pt x="0" y="386"/>
                    <a:pt x="88" y="455"/>
                    <a:pt x="198" y="455"/>
                  </a:cubicBezTo>
                  <a:cubicBezTo>
                    <a:pt x="286" y="455"/>
                    <a:pt x="307" y="430"/>
                    <a:pt x="307" y="40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2" tIns="45706" rIns="91412" bIns="45706" numCol="1" anchor="t" anchorCtr="0" compatLnSpc="1">
              <a:prstTxWarp prst="textNoShape">
                <a:avLst/>
              </a:prstTxWarp>
            </a:bodyPr>
            <a:lstStyle/>
            <a:p>
              <a:pPr defTabSz="914103"/>
              <a:endParaRPr lang="de-DE" sz="1350" dirty="0">
                <a:solidFill>
                  <a:srgbClr val="414549"/>
                </a:solidFill>
                <a:latin typeface="Lato"/>
              </a:endParaRPr>
            </a:p>
          </p:txBody>
        </p:sp>
        <p:sp>
          <p:nvSpPr>
            <p:cNvPr id="31" name="Oval 11">
              <a:extLst>
                <a:ext uri="{FF2B5EF4-FFF2-40B4-BE49-F238E27FC236}">
                  <a16:creationId xmlns:a16="http://schemas.microsoft.com/office/drawing/2014/main" id="{A122B23F-E5BD-44EF-A4CC-3A40D8C29164}"/>
                </a:ext>
              </a:extLst>
            </p:cNvPr>
            <p:cNvSpPr>
              <a:spLocks noChangeArrowheads="1"/>
            </p:cNvSpPr>
            <p:nvPr/>
          </p:nvSpPr>
          <p:spPr bwMode="gray">
            <a:xfrm>
              <a:off x="3778" y="2099"/>
              <a:ext cx="122" cy="12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2" tIns="45706" rIns="91412" bIns="45706" numCol="1" anchor="t" anchorCtr="0" compatLnSpc="1">
              <a:prstTxWarp prst="textNoShape">
                <a:avLst/>
              </a:prstTxWarp>
            </a:bodyPr>
            <a:lstStyle/>
            <a:p>
              <a:pPr defTabSz="914103"/>
              <a:endParaRPr lang="de-DE" sz="1350" dirty="0">
                <a:solidFill>
                  <a:srgbClr val="414549"/>
                </a:solidFill>
                <a:latin typeface="Lato"/>
              </a:endParaRPr>
            </a:p>
          </p:txBody>
        </p:sp>
        <p:sp>
          <p:nvSpPr>
            <p:cNvPr id="32" name="Freeform 12">
              <a:extLst>
                <a:ext uri="{FF2B5EF4-FFF2-40B4-BE49-F238E27FC236}">
                  <a16:creationId xmlns:a16="http://schemas.microsoft.com/office/drawing/2014/main" id="{9905953F-CCD9-42CB-8E88-B80E0C0758F8}"/>
                </a:ext>
              </a:extLst>
            </p:cNvPr>
            <p:cNvSpPr>
              <a:spLocks/>
            </p:cNvSpPr>
            <p:nvPr/>
          </p:nvSpPr>
          <p:spPr bwMode="gray">
            <a:xfrm>
              <a:off x="4321" y="1029"/>
              <a:ext cx="648" cy="649"/>
            </a:xfrm>
            <a:custGeom>
              <a:avLst/>
              <a:gdLst>
                <a:gd name="T0" fmla="*/ 0 w 648"/>
                <a:gd name="T1" fmla="*/ 649 h 649"/>
                <a:gd name="T2" fmla="*/ 2 w 648"/>
                <a:gd name="T3" fmla="*/ 649 h 649"/>
                <a:gd name="T4" fmla="*/ 648 w 648"/>
                <a:gd name="T5" fmla="*/ 0 h 649"/>
                <a:gd name="T6" fmla="*/ 423 w 648"/>
                <a:gd name="T7" fmla="*/ 0 h 649"/>
                <a:gd name="T8" fmla="*/ 0 w 648"/>
                <a:gd name="T9" fmla="*/ 649 h 649"/>
              </a:gdLst>
              <a:ahLst/>
              <a:cxnLst>
                <a:cxn ang="0">
                  <a:pos x="T0" y="T1"/>
                </a:cxn>
                <a:cxn ang="0">
                  <a:pos x="T2" y="T3"/>
                </a:cxn>
                <a:cxn ang="0">
                  <a:pos x="T4" y="T5"/>
                </a:cxn>
                <a:cxn ang="0">
                  <a:pos x="T6" y="T7"/>
                </a:cxn>
                <a:cxn ang="0">
                  <a:pos x="T8" y="T9"/>
                </a:cxn>
              </a:cxnLst>
              <a:rect l="0" t="0" r="r" b="b"/>
              <a:pathLst>
                <a:path w="648" h="649">
                  <a:moveTo>
                    <a:pt x="0" y="649"/>
                  </a:moveTo>
                  <a:lnTo>
                    <a:pt x="2" y="649"/>
                  </a:lnTo>
                  <a:lnTo>
                    <a:pt x="648" y="0"/>
                  </a:lnTo>
                  <a:lnTo>
                    <a:pt x="423" y="0"/>
                  </a:lnTo>
                  <a:lnTo>
                    <a:pt x="0" y="64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2" tIns="45706" rIns="91412" bIns="45706" numCol="1" anchor="t" anchorCtr="0" compatLnSpc="1">
              <a:prstTxWarp prst="textNoShape">
                <a:avLst/>
              </a:prstTxWarp>
            </a:bodyPr>
            <a:lstStyle/>
            <a:p>
              <a:pPr defTabSz="914103"/>
              <a:endParaRPr lang="de-DE" sz="1350" dirty="0">
                <a:solidFill>
                  <a:srgbClr val="414549"/>
                </a:solidFill>
                <a:latin typeface="Lato"/>
              </a:endParaRPr>
            </a:p>
          </p:txBody>
        </p:sp>
        <p:sp>
          <p:nvSpPr>
            <p:cNvPr id="33" name="Freeform 13">
              <a:extLst>
                <a:ext uri="{FF2B5EF4-FFF2-40B4-BE49-F238E27FC236}">
                  <a16:creationId xmlns:a16="http://schemas.microsoft.com/office/drawing/2014/main" id="{77FFE960-FFE7-41A8-A37E-0986E5558665}"/>
                </a:ext>
              </a:extLst>
            </p:cNvPr>
            <p:cNvSpPr>
              <a:spLocks/>
            </p:cNvSpPr>
            <p:nvPr/>
          </p:nvSpPr>
          <p:spPr bwMode="gray">
            <a:xfrm>
              <a:off x="4321" y="1029"/>
              <a:ext cx="648" cy="649"/>
            </a:xfrm>
            <a:custGeom>
              <a:avLst/>
              <a:gdLst>
                <a:gd name="T0" fmla="*/ 0 w 648"/>
                <a:gd name="T1" fmla="*/ 649 h 649"/>
                <a:gd name="T2" fmla="*/ 2 w 648"/>
                <a:gd name="T3" fmla="*/ 649 h 649"/>
                <a:gd name="T4" fmla="*/ 648 w 648"/>
                <a:gd name="T5" fmla="*/ 0 h 649"/>
                <a:gd name="T6" fmla="*/ 423 w 648"/>
                <a:gd name="T7" fmla="*/ 0 h 649"/>
                <a:gd name="T8" fmla="*/ 0 w 648"/>
                <a:gd name="T9" fmla="*/ 649 h 649"/>
              </a:gdLst>
              <a:ahLst/>
              <a:cxnLst>
                <a:cxn ang="0">
                  <a:pos x="T0" y="T1"/>
                </a:cxn>
                <a:cxn ang="0">
                  <a:pos x="T2" y="T3"/>
                </a:cxn>
                <a:cxn ang="0">
                  <a:pos x="T4" y="T5"/>
                </a:cxn>
                <a:cxn ang="0">
                  <a:pos x="T6" y="T7"/>
                </a:cxn>
                <a:cxn ang="0">
                  <a:pos x="T8" y="T9"/>
                </a:cxn>
              </a:cxnLst>
              <a:rect l="0" t="0" r="r" b="b"/>
              <a:pathLst>
                <a:path w="648" h="649">
                  <a:moveTo>
                    <a:pt x="0" y="649"/>
                  </a:moveTo>
                  <a:lnTo>
                    <a:pt x="2" y="649"/>
                  </a:lnTo>
                  <a:lnTo>
                    <a:pt x="648" y="0"/>
                  </a:lnTo>
                  <a:lnTo>
                    <a:pt x="423" y="0"/>
                  </a:lnTo>
                  <a:lnTo>
                    <a:pt x="0" y="64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12" tIns="45706" rIns="91412" bIns="45706" numCol="1" anchor="t" anchorCtr="0" compatLnSpc="1">
              <a:prstTxWarp prst="textNoShape">
                <a:avLst/>
              </a:prstTxWarp>
            </a:bodyPr>
            <a:lstStyle/>
            <a:p>
              <a:pPr defTabSz="914103"/>
              <a:endParaRPr lang="de-DE" sz="1350" dirty="0">
                <a:solidFill>
                  <a:srgbClr val="414549"/>
                </a:solidFill>
                <a:latin typeface="Lato"/>
              </a:endParaRPr>
            </a:p>
          </p:txBody>
        </p:sp>
      </p:grpSp>
      <p:graphicFrame>
        <p:nvGraphicFramePr>
          <p:cNvPr id="37" name="Диаграмма 36">
            <a:extLst>
              <a:ext uri="{FF2B5EF4-FFF2-40B4-BE49-F238E27FC236}">
                <a16:creationId xmlns:a16="http://schemas.microsoft.com/office/drawing/2014/main" id="{0D90F253-2114-42E7-AE95-2B3ED17C08D1}"/>
              </a:ext>
            </a:extLst>
          </p:cNvPr>
          <p:cNvGraphicFramePr/>
          <p:nvPr/>
        </p:nvGraphicFramePr>
        <p:xfrm>
          <a:off x="145175" y="1797324"/>
          <a:ext cx="7934463" cy="2015602"/>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8" name="Диаграмма 37">
            <a:extLst>
              <a:ext uri="{FF2B5EF4-FFF2-40B4-BE49-F238E27FC236}">
                <a16:creationId xmlns:a16="http://schemas.microsoft.com/office/drawing/2014/main" id="{2B7EE0A3-CDC8-447E-9DBC-24EBAD1F5FBA}"/>
              </a:ext>
            </a:extLst>
          </p:cNvPr>
          <p:cNvGraphicFramePr/>
          <p:nvPr/>
        </p:nvGraphicFramePr>
        <p:xfrm>
          <a:off x="145175" y="4365845"/>
          <a:ext cx="7934463" cy="2173986"/>
        </p:xfrm>
        <a:graphic>
          <a:graphicData uri="http://schemas.openxmlformats.org/drawingml/2006/chart">
            <c:chart xmlns:c="http://schemas.openxmlformats.org/drawingml/2006/chart" xmlns:r="http://schemas.openxmlformats.org/officeDocument/2006/relationships" r:id="rId4"/>
          </a:graphicData>
        </a:graphic>
      </p:graphicFrame>
      <p:sp>
        <p:nvSpPr>
          <p:cNvPr id="13" name="TextBox 12">
            <a:extLst>
              <a:ext uri="{FF2B5EF4-FFF2-40B4-BE49-F238E27FC236}">
                <a16:creationId xmlns:a16="http://schemas.microsoft.com/office/drawing/2014/main" id="{CB90C3DC-B379-4092-B74C-6A35CDD796CB}"/>
              </a:ext>
            </a:extLst>
          </p:cNvPr>
          <p:cNvSpPr txBox="1"/>
          <p:nvPr/>
        </p:nvSpPr>
        <p:spPr>
          <a:xfrm>
            <a:off x="2910538" y="1324572"/>
            <a:ext cx="3935223" cy="648000"/>
          </a:xfrm>
          <a:prstGeom prst="rect">
            <a:avLst/>
          </a:prstGeom>
          <a:noFill/>
        </p:spPr>
        <p:txBody>
          <a:bodyPr wrap="square" lIns="0" tIns="0" rIns="0" bIns="0" rtlCol="0">
            <a:noAutofit/>
          </a:bodyPr>
          <a:lstStyle/>
          <a:p>
            <a:pPr defTabSz="1218804">
              <a:lnSpc>
                <a:spcPct val="125000"/>
              </a:lnSpc>
              <a:buClr>
                <a:srgbClr val="E55A00"/>
              </a:buClr>
            </a:pPr>
            <a:r>
              <a:rPr lang="en-US" sz="2133" dirty="0">
                <a:solidFill>
                  <a:srgbClr val="414549"/>
                </a:solidFill>
                <a:latin typeface="Lato"/>
              </a:rPr>
              <a:t>Mortgage Volumes</a:t>
            </a:r>
          </a:p>
        </p:txBody>
      </p:sp>
      <p:sp>
        <p:nvSpPr>
          <p:cNvPr id="39" name="TextBox 38">
            <a:extLst>
              <a:ext uri="{FF2B5EF4-FFF2-40B4-BE49-F238E27FC236}">
                <a16:creationId xmlns:a16="http://schemas.microsoft.com/office/drawing/2014/main" id="{9CC22A6E-3B79-4958-8E11-582D02902664}"/>
              </a:ext>
            </a:extLst>
          </p:cNvPr>
          <p:cNvSpPr txBox="1"/>
          <p:nvPr/>
        </p:nvSpPr>
        <p:spPr>
          <a:xfrm>
            <a:off x="2334801" y="3819048"/>
            <a:ext cx="4933709" cy="648000"/>
          </a:xfrm>
          <a:prstGeom prst="rect">
            <a:avLst/>
          </a:prstGeom>
          <a:noFill/>
        </p:spPr>
        <p:txBody>
          <a:bodyPr wrap="square" lIns="0" tIns="0" rIns="0" bIns="0" rtlCol="0">
            <a:noAutofit/>
          </a:bodyPr>
          <a:lstStyle/>
          <a:p>
            <a:pPr defTabSz="1218804">
              <a:lnSpc>
                <a:spcPct val="125000"/>
              </a:lnSpc>
              <a:buClr>
                <a:srgbClr val="E55A00"/>
              </a:buClr>
            </a:pPr>
            <a:r>
              <a:rPr lang="en-US" sz="2133" dirty="0">
                <a:solidFill>
                  <a:srgbClr val="414549"/>
                </a:solidFill>
                <a:latin typeface="Lato"/>
              </a:rPr>
              <a:t>Volume of Housing Commissioned</a:t>
            </a:r>
          </a:p>
        </p:txBody>
      </p:sp>
    </p:spTree>
    <p:extLst>
      <p:ext uri="{BB962C8B-B14F-4D97-AF65-F5344CB8AC3E}">
        <p14:creationId xmlns:p14="http://schemas.microsoft.com/office/powerpoint/2010/main" val="38657855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Рисунок 12">
            <a:extLst>
              <a:ext uri="{FF2B5EF4-FFF2-40B4-BE49-F238E27FC236}">
                <a16:creationId xmlns:a16="http://schemas.microsoft.com/office/drawing/2014/main" id="{571AF425-DD47-423E-A351-43D6CD6D1597}"/>
              </a:ext>
            </a:extLst>
          </p:cNvPr>
          <p:cNvPicPr>
            <a:picLocks noGrp="1" noChangeAspect="1"/>
          </p:cNvPicPr>
          <p:nvPr>
            <p:ph type="pic" sz="quarter" idx="13"/>
          </p:nvPr>
        </p:nvPicPr>
        <p:blipFill rotWithShape="1">
          <a:blip r:embed="rId2" cstate="print">
            <a:extLst>
              <a:ext uri="{28A0092B-C50C-407E-A947-70E740481C1C}">
                <a14:useLocalDpi xmlns:a14="http://schemas.microsoft.com/office/drawing/2010/main"/>
              </a:ext>
            </a:extLst>
          </a:blip>
          <a:srcRect l="-48895"/>
          <a:stretch/>
        </p:blipFill>
        <p:spPr>
          <a:xfrm>
            <a:off x="3377065" y="1058"/>
            <a:ext cx="8813055" cy="6855884"/>
          </a:xfrm>
        </p:spPr>
      </p:pic>
      <p:grpSp>
        <p:nvGrpSpPr>
          <p:cNvPr id="34" name="Группа 33">
            <a:extLst>
              <a:ext uri="{FF2B5EF4-FFF2-40B4-BE49-F238E27FC236}">
                <a16:creationId xmlns:a16="http://schemas.microsoft.com/office/drawing/2014/main" id="{19420010-FCAA-46F4-9A55-90ED24D0852F}"/>
              </a:ext>
            </a:extLst>
          </p:cNvPr>
          <p:cNvGrpSpPr/>
          <p:nvPr/>
        </p:nvGrpSpPr>
        <p:grpSpPr>
          <a:xfrm>
            <a:off x="3386590" y="1059"/>
            <a:ext cx="5785145" cy="6855885"/>
            <a:chOff x="3385752" y="-1"/>
            <a:chExt cx="5786931" cy="6858001"/>
          </a:xfrm>
        </p:grpSpPr>
        <p:sp>
          <p:nvSpPr>
            <p:cNvPr id="14" name="Равнобедренный треугольник 13">
              <a:extLst>
                <a:ext uri="{FF2B5EF4-FFF2-40B4-BE49-F238E27FC236}">
                  <a16:creationId xmlns:a16="http://schemas.microsoft.com/office/drawing/2014/main" id="{351F50AA-78A5-43F1-B73E-6D68C11C2F12}"/>
                </a:ext>
              </a:extLst>
            </p:cNvPr>
            <p:cNvSpPr/>
            <p:nvPr/>
          </p:nvSpPr>
          <p:spPr>
            <a:xfrm rot="5400000" flipH="1">
              <a:off x="4929545" y="2614861"/>
              <a:ext cx="6858000" cy="1628276"/>
            </a:xfrm>
            <a:prstGeom prst="triangle">
              <a:avLst>
                <a:gd name="adj" fmla="val 36035"/>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1978" tIns="35989" rIns="71978" bIns="35989" rtlCol="0" anchor="ctr"/>
            <a:lstStyle/>
            <a:p>
              <a:pPr algn="ctr" defTabSz="914103">
                <a:lnSpc>
                  <a:spcPct val="125000"/>
                </a:lnSpc>
                <a:defRPr/>
              </a:pPr>
              <a:endParaRPr lang="ru-RU" sz="1599">
                <a:solidFill>
                  <a:srgbClr val="FFFFFF"/>
                </a:solidFill>
                <a:latin typeface="Lato"/>
              </a:endParaRPr>
            </a:p>
          </p:txBody>
        </p:sp>
        <p:sp>
          <p:nvSpPr>
            <p:cNvPr id="15" name="Прямоугольник 14">
              <a:extLst>
                <a:ext uri="{FF2B5EF4-FFF2-40B4-BE49-F238E27FC236}">
                  <a16:creationId xmlns:a16="http://schemas.microsoft.com/office/drawing/2014/main" id="{8E72BEAA-1735-4B20-BBE3-3967101B2DC6}"/>
                </a:ext>
              </a:extLst>
            </p:cNvPr>
            <p:cNvSpPr/>
            <p:nvPr/>
          </p:nvSpPr>
          <p:spPr>
            <a:xfrm>
              <a:off x="3385752" y="0"/>
              <a:ext cx="416818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1978" tIns="35989" rIns="71978" bIns="35989" rtlCol="0" anchor="ctr"/>
            <a:lstStyle/>
            <a:p>
              <a:pPr algn="ctr" defTabSz="914103">
                <a:lnSpc>
                  <a:spcPct val="125000"/>
                </a:lnSpc>
              </a:pPr>
              <a:endParaRPr lang="ru-RU" sz="1599" dirty="0">
                <a:solidFill>
                  <a:srgbClr val="FFFFFF"/>
                </a:solidFill>
                <a:latin typeface="Lato"/>
              </a:endParaRPr>
            </a:p>
          </p:txBody>
        </p:sp>
      </p:grpSp>
      <p:sp>
        <p:nvSpPr>
          <p:cNvPr id="2" name="Дата 1">
            <a:extLst>
              <a:ext uri="{FF2B5EF4-FFF2-40B4-BE49-F238E27FC236}">
                <a16:creationId xmlns:a16="http://schemas.microsoft.com/office/drawing/2014/main" id="{7A1034AD-E003-4AC5-B17C-6835A0E522B9}"/>
              </a:ext>
            </a:extLst>
          </p:cNvPr>
          <p:cNvSpPr>
            <a:spLocks noGrp="1"/>
          </p:cNvSpPr>
          <p:nvPr>
            <p:ph type="dt" sz="half" idx="10"/>
          </p:nvPr>
        </p:nvSpPr>
        <p:spPr/>
        <p:txBody>
          <a:bodyPr/>
          <a:lstStyle/>
          <a:p>
            <a:pPr defTabSz="914103"/>
            <a:fld id="{7630F4D0-4FCA-495D-93CB-4308FDD6CACA}" type="datetime5">
              <a:rPr lang="en-US">
                <a:latin typeface="Lato"/>
              </a:rPr>
              <a:pPr defTabSz="914103"/>
              <a:t>26-Jun-20</a:t>
            </a:fld>
            <a:endParaRPr lang="en-US" dirty="0">
              <a:latin typeface="Lato"/>
            </a:endParaRPr>
          </a:p>
        </p:txBody>
      </p:sp>
      <p:sp>
        <p:nvSpPr>
          <p:cNvPr id="3" name="Нижний колонтитул 2">
            <a:extLst>
              <a:ext uri="{FF2B5EF4-FFF2-40B4-BE49-F238E27FC236}">
                <a16:creationId xmlns:a16="http://schemas.microsoft.com/office/drawing/2014/main" id="{1FD9C866-5B6E-4DE3-AF76-AD73C155AE4A}"/>
              </a:ext>
            </a:extLst>
          </p:cNvPr>
          <p:cNvSpPr>
            <a:spLocks noGrp="1"/>
          </p:cNvSpPr>
          <p:nvPr>
            <p:ph type="ftr" sz="quarter" idx="11"/>
          </p:nvPr>
        </p:nvSpPr>
        <p:spPr/>
        <p:txBody>
          <a:bodyPr/>
          <a:lstStyle/>
          <a:p>
            <a:pPr defTabSz="914103">
              <a:buClr>
                <a:srgbClr val="E55A00"/>
              </a:buClr>
            </a:pPr>
            <a:r>
              <a:rPr lang="en-US">
                <a:latin typeface="Lato"/>
              </a:rPr>
              <a:t>Title of presentation (Insert / Header &amp; Footer / Apply to All)</a:t>
            </a:r>
            <a:endParaRPr lang="en-US" dirty="0">
              <a:latin typeface="Lato"/>
            </a:endParaRPr>
          </a:p>
        </p:txBody>
      </p:sp>
      <p:sp>
        <p:nvSpPr>
          <p:cNvPr id="4" name="Номер слайда 3">
            <a:extLst>
              <a:ext uri="{FF2B5EF4-FFF2-40B4-BE49-F238E27FC236}">
                <a16:creationId xmlns:a16="http://schemas.microsoft.com/office/drawing/2014/main" id="{827ADF5D-3664-4AB5-BC8A-DD66A2E96F38}"/>
              </a:ext>
            </a:extLst>
          </p:cNvPr>
          <p:cNvSpPr>
            <a:spLocks noGrp="1"/>
          </p:cNvSpPr>
          <p:nvPr>
            <p:ph type="sldNum" sz="quarter" idx="12"/>
          </p:nvPr>
        </p:nvSpPr>
        <p:spPr/>
        <p:txBody>
          <a:bodyPr/>
          <a:lstStyle/>
          <a:p>
            <a:pPr defTabSz="914103"/>
            <a:fld id="{8E3B25F7-8D1F-44B5-B485-EE3C438CFD7B}" type="slidenum">
              <a:rPr lang="en-US">
                <a:latin typeface="Lato"/>
              </a:rPr>
              <a:pPr defTabSz="914103"/>
              <a:t>15</a:t>
            </a:fld>
            <a:endParaRPr lang="en-US">
              <a:latin typeface="Lato"/>
            </a:endParaRPr>
          </a:p>
        </p:txBody>
      </p:sp>
      <p:sp>
        <p:nvSpPr>
          <p:cNvPr id="5" name="Заголовок 4">
            <a:extLst>
              <a:ext uri="{FF2B5EF4-FFF2-40B4-BE49-F238E27FC236}">
                <a16:creationId xmlns:a16="http://schemas.microsoft.com/office/drawing/2014/main" id="{D56AB30A-B742-46AE-ABE0-A85BE30867C5}"/>
              </a:ext>
            </a:extLst>
          </p:cNvPr>
          <p:cNvSpPr>
            <a:spLocks noGrp="1"/>
          </p:cNvSpPr>
          <p:nvPr>
            <p:ph type="title"/>
          </p:nvPr>
        </p:nvSpPr>
        <p:spPr/>
        <p:txBody>
          <a:bodyPr/>
          <a:lstStyle/>
          <a:p>
            <a:r>
              <a:rPr lang="en-US" dirty="0"/>
              <a:t>Consumer Loans</a:t>
            </a:r>
            <a:endParaRPr lang="ru-RU" dirty="0"/>
          </a:p>
        </p:txBody>
      </p:sp>
      <p:grpSp>
        <p:nvGrpSpPr>
          <p:cNvPr id="23" name="logo">
            <a:extLst>
              <a:ext uri="{FF2B5EF4-FFF2-40B4-BE49-F238E27FC236}">
                <a16:creationId xmlns:a16="http://schemas.microsoft.com/office/drawing/2014/main" id="{7695968F-A341-4AB5-A56C-7E9F6D2E2090}"/>
              </a:ext>
            </a:extLst>
          </p:cNvPr>
          <p:cNvGrpSpPr>
            <a:grpSpLocks noChangeAspect="1"/>
          </p:cNvGrpSpPr>
          <p:nvPr/>
        </p:nvGrpSpPr>
        <p:grpSpPr bwMode="gray">
          <a:xfrm>
            <a:off x="11172452" y="402376"/>
            <a:ext cx="644027" cy="646307"/>
            <a:chOff x="2711" y="1027"/>
            <a:chExt cx="2258" cy="2266"/>
          </a:xfrm>
        </p:grpSpPr>
        <p:sp>
          <p:nvSpPr>
            <p:cNvPr id="24" name="AutoShape 3">
              <a:extLst>
                <a:ext uri="{FF2B5EF4-FFF2-40B4-BE49-F238E27FC236}">
                  <a16:creationId xmlns:a16="http://schemas.microsoft.com/office/drawing/2014/main" id="{A9734A92-8963-4C12-AFB0-3BFB924C9DE7}"/>
                </a:ext>
              </a:extLst>
            </p:cNvPr>
            <p:cNvSpPr>
              <a:spLocks noChangeAspect="1" noChangeArrowheads="1" noTextEdit="1"/>
            </p:cNvSpPr>
            <p:nvPr/>
          </p:nvSpPr>
          <p:spPr bwMode="gray">
            <a:xfrm>
              <a:off x="2711" y="1027"/>
              <a:ext cx="2258" cy="22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12" tIns="45706" rIns="91412" bIns="45706" numCol="1" anchor="t" anchorCtr="0" compatLnSpc="1">
              <a:prstTxWarp prst="textNoShape">
                <a:avLst/>
              </a:prstTxWarp>
            </a:bodyPr>
            <a:lstStyle/>
            <a:p>
              <a:pPr defTabSz="914103"/>
              <a:endParaRPr lang="de-DE" sz="1350" dirty="0">
                <a:solidFill>
                  <a:srgbClr val="414549"/>
                </a:solidFill>
                <a:latin typeface="Lato"/>
              </a:endParaRPr>
            </a:p>
          </p:txBody>
        </p:sp>
        <p:sp>
          <p:nvSpPr>
            <p:cNvPr id="25" name="Freeform 5">
              <a:extLst>
                <a:ext uri="{FF2B5EF4-FFF2-40B4-BE49-F238E27FC236}">
                  <a16:creationId xmlns:a16="http://schemas.microsoft.com/office/drawing/2014/main" id="{500C4DFF-335B-4B9E-BFED-BFF28B2724DC}"/>
                </a:ext>
              </a:extLst>
            </p:cNvPr>
            <p:cNvSpPr>
              <a:spLocks/>
            </p:cNvSpPr>
            <p:nvPr/>
          </p:nvSpPr>
          <p:spPr bwMode="gray">
            <a:xfrm>
              <a:off x="2709" y="1029"/>
              <a:ext cx="2260" cy="2262"/>
            </a:xfrm>
            <a:custGeom>
              <a:avLst/>
              <a:gdLst>
                <a:gd name="T0" fmla="*/ 2260 w 2260"/>
                <a:gd name="T1" fmla="*/ 0 h 2262"/>
                <a:gd name="T2" fmla="*/ 1612 w 2260"/>
                <a:gd name="T3" fmla="*/ 649 h 2262"/>
                <a:gd name="T4" fmla="*/ 1612 w 2260"/>
                <a:gd name="T5" fmla="*/ 649 h 2262"/>
                <a:gd name="T6" fmla="*/ 2035 w 2260"/>
                <a:gd name="T7" fmla="*/ 0 h 2262"/>
                <a:gd name="T8" fmla="*/ 0 w 2260"/>
                <a:gd name="T9" fmla="*/ 0 h 2262"/>
                <a:gd name="T10" fmla="*/ 0 w 2260"/>
                <a:gd name="T11" fmla="*/ 2262 h 2262"/>
                <a:gd name="T12" fmla="*/ 2260 w 2260"/>
                <a:gd name="T13" fmla="*/ 2262 h 2262"/>
                <a:gd name="T14" fmla="*/ 2260 w 2260"/>
                <a:gd name="T15" fmla="*/ 0 h 2262"/>
                <a:gd name="T16" fmla="*/ 2260 w 2260"/>
                <a:gd name="T17" fmla="*/ 0 h 2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0" h="2262">
                  <a:moveTo>
                    <a:pt x="2260" y="0"/>
                  </a:moveTo>
                  <a:lnTo>
                    <a:pt x="1612" y="649"/>
                  </a:lnTo>
                  <a:lnTo>
                    <a:pt x="1612" y="649"/>
                  </a:lnTo>
                  <a:lnTo>
                    <a:pt x="2035" y="0"/>
                  </a:lnTo>
                  <a:lnTo>
                    <a:pt x="0" y="0"/>
                  </a:lnTo>
                  <a:lnTo>
                    <a:pt x="0" y="2262"/>
                  </a:lnTo>
                  <a:lnTo>
                    <a:pt x="2260" y="2262"/>
                  </a:lnTo>
                  <a:lnTo>
                    <a:pt x="2260" y="0"/>
                  </a:lnTo>
                  <a:lnTo>
                    <a:pt x="2260" y="0"/>
                  </a:lnTo>
                  <a:close/>
                </a:path>
              </a:pathLst>
            </a:custGeom>
            <a:solidFill>
              <a:srgbClr val="E55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2" tIns="45706" rIns="91412" bIns="45706" numCol="1" anchor="t" anchorCtr="0" compatLnSpc="1">
              <a:prstTxWarp prst="textNoShape">
                <a:avLst/>
              </a:prstTxWarp>
            </a:bodyPr>
            <a:lstStyle/>
            <a:p>
              <a:pPr defTabSz="914103"/>
              <a:endParaRPr lang="de-DE" sz="1350" dirty="0">
                <a:solidFill>
                  <a:srgbClr val="414549"/>
                </a:solidFill>
                <a:latin typeface="Lato"/>
              </a:endParaRPr>
            </a:p>
          </p:txBody>
        </p:sp>
        <p:sp>
          <p:nvSpPr>
            <p:cNvPr id="26" name="Freeform 6">
              <a:extLst>
                <a:ext uri="{FF2B5EF4-FFF2-40B4-BE49-F238E27FC236}">
                  <a16:creationId xmlns:a16="http://schemas.microsoft.com/office/drawing/2014/main" id="{FAE754E9-ED7B-4A08-8B8F-0C54BFE769B1}"/>
                </a:ext>
              </a:extLst>
            </p:cNvPr>
            <p:cNvSpPr>
              <a:spLocks noEditPoints="1"/>
            </p:cNvSpPr>
            <p:nvPr/>
          </p:nvSpPr>
          <p:spPr bwMode="gray">
            <a:xfrm>
              <a:off x="3623" y="1696"/>
              <a:ext cx="1167" cy="922"/>
            </a:xfrm>
            <a:custGeom>
              <a:avLst/>
              <a:gdLst>
                <a:gd name="T0" fmla="*/ 411 w 580"/>
                <a:gd name="T1" fmla="*/ 213 h 458"/>
                <a:gd name="T2" fmla="*/ 570 w 580"/>
                <a:gd name="T3" fmla="*/ 37 h 458"/>
                <a:gd name="T4" fmla="*/ 580 w 580"/>
                <a:gd name="T5" fmla="*/ 20 h 458"/>
                <a:gd name="T6" fmla="*/ 545 w 580"/>
                <a:gd name="T7" fmla="*/ 0 h 458"/>
                <a:gd name="T8" fmla="*/ 519 w 580"/>
                <a:gd name="T9" fmla="*/ 16 h 458"/>
                <a:gd name="T10" fmla="*/ 344 w 580"/>
                <a:gd name="T11" fmla="*/ 210 h 458"/>
                <a:gd name="T12" fmla="*/ 334 w 580"/>
                <a:gd name="T13" fmla="*/ 229 h 458"/>
                <a:gd name="T14" fmla="*/ 344 w 580"/>
                <a:gd name="T15" fmla="*/ 248 h 458"/>
                <a:gd name="T16" fmla="*/ 519 w 580"/>
                <a:gd name="T17" fmla="*/ 442 h 458"/>
                <a:gd name="T18" fmla="*/ 545 w 580"/>
                <a:gd name="T19" fmla="*/ 458 h 458"/>
                <a:gd name="T20" fmla="*/ 580 w 580"/>
                <a:gd name="T21" fmla="*/ 438 h 458"/>
                <a:gd name="T22" fmla="*/ 570 w 580"/>
                <a:gd name="T23" fmla="*/ 421 h 458"/>
                <a:gd name="T24" fmla="*/ 411 w 580"/>
                <a:gd name="T25" fmla="*/ 245 h 458"/>
                <a:gd name="T26" fmla="*/ 399 w 580"/>
                <a:gd name="T27" fmla="*/ 229 h 458"/>
                <a:gd name="T28" fmla="*/ 411 w 580"/>
                <a:gd name="T29" fmla="*/ 213 h 458"/>
                <a:gd name="T30" fmla="*/ 252 w 580"/>
                <a:gd name="T31" fmla="*/ 439 h 458"/>
                <a:gd name="T32" fmla="*/ 281 w 580"/>
                <a:gd name="T33" fmla="*/ 454 h 458"/>
                <a:gd name="T34" fmla="*/ 309 w 580"/>
                <a:gd name="T35" fmla="*/ 439 h 458"/>
                <a:gd name="T36" fmla="*/ 309 w 580"/>
                <a:gd name="T37" fmla="*/ 19 h 458"/>
                <a:gd name="T38" fmla="*/ 281 w 580"/>
                <a:gd name="T39" fmla="*/ 4 h 458"/>
                <a:gd name="T40" fmla="*/ 252 w 580"/>
                <a:gd name="T41" fmla="*/ 19 h 458"/>
                <a:gd name="T42" fmla="*/ 252 w 580"/>
                <a:gd name="T43" fmla="*/ 439 h 458"/>
                <a:gd name="T44" fmla="*/ 0 w 580"/>
                <a:gd name="T45" fmla="*/ 439 h 458"/>
                <a:gd name="T46" fmla="*/ 28 w 580"/>
                <a:gd name="T47" fmla="*/ 454 h 458"/>
                <a:gd name="T48" fmla="*/ 56 w 580"/>
                <a:gd name="T49" fmla="*/ 439 h 458"/>
                <a:gd name="T50" fmla="*/ 56 w 580"/>
                <a:gd name="T51" fmla="*/ 157 h 458"/>
                <a:gd name="T52" fmla="*/ 165 w 580"/>
                <a:gd name="T53" fmla="*/ 53 h 458"/>
                <a:gd name="T54" fmla="*/ 180 w 580"/>
                <a:gd name="T55" fmla="*/ 53 h 458"/>
                <a:gd name="T56" fmla="*/ 196 w 580"/>
                <a:gd name="T57" fmla="*/ 27 h 458"/>
                <a:gd name="T58" fmla="*/ 154 w 580"/>
                <a:gd name="T59" fmla="*/ 4 h 458"/>
                <a:gd name="T60" fmla="*/ 0 w 580"/>
                <a:gd name="T61" fmla="*/ 152 h 458"/>
                <a:gd name="T62" fmla="*/ 0 w 580"/>
                <a:gd name="T63" fmla="*/ 439 h 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80" h="458">
                  <a:moveTo>
                    <a:pt x="411" y="213"/>
                  </a:moveTo>
                  <a:cubicBezTo>
                    <a:pt x="570" y="37"/>
                    <a:pt x="570" y="37"/>
                    <a:pt x="570" y="37"/>
                  </a:cubicBezTo>
                  <a:cubicBezTo>
                    <a:pt x="576" y="30"/>
                    <a:pt x="580" y="25"/>
                    <a:pt x="580" y="20"/>
                  </a:cubicBezTo>
                  <a:cubicBezTo>
                    <a:pt x="580" y="10"/>
                    <a:pt x="559" y="0"/>
                    <a:pt x="545" y="0"/>
                  </a:cubicBezTo>
                  <a:cubicBezTo>
                    <a:pt x="535" y="0"/>
                    <a:pt x="526" y="8"/>
                    <a:pt x="519" y="16"/>
                  </a:cubicBezTo>
                  <a:cubicBezTo>
                    <a:pt x="344" y="210"/>
                    <a:pt x="344" y="210"/>
                    <a:pt x="344" y="210"/>
                  </a:cubicBezTo>
                  <a:cubicBezTo>
                    <a:pt x="336" y="219"/>
                    <a:pt x="334" y="224"/>
                    <a:pt x="334" y="229"/>
                  </a:cubicBezTo>
                  <a:cubicBezTo>
                    <a:pt x="334" y="234"/>
                    <a:pt x="336" y="239"/>
                    <a:pt x="344" y="248"/>
                  </a:cubicBezTo>
                  <a:cubicBezTo>
                    <a:pt x="519" y="442"/>
                    <a:pt x="519" y="442"/>
                    <a:pt x="519" y="442"/>
                  </a:cubicBezTo>
                  <a:cubicBezTo>
                    <a:pt x="526" y="450"/>
                    <a:pt x="535" y="458"/>
                    <a:pt x="545" y="458"/>
                  </a:cubicBezTo>
                  <a:cubicBezTo>
                    <a:pt x="559" y="458"/>
                    <a:pt x="580" y="448"/>
                    <a:pt x="580" y="438"/>
                  </a:cubicBezTo>
                  <a:cubicBezTo>
                    <a:pt x="580" y="433"/>
                    <a:pt x="576" y="428"/>
                    <a:pt x="570" y="421"/>
                  </a:cubicBezTo>
                  <a:cubicBezTo>
                    <a:pt x="411" y="245"/>
                    <a:pt x="411" y="245"/>
                    <a:pt x="411" y="245"/>
                  </a:cubicBezTo>
                  <a:cubicBezTo>
                    <a:pt x="403" y="236"/>
                    <a:pt x="399" y="232"/>
                    <a:pt x="399" y="229"/>
                  </a:cubicBezTo>
                  <a:cubicBezTo>
                    <a:pt x="399" y="226"/>
                    <a:pt x="403" y="222"/>
                    <a:pt x="411" y="213"/>
                  </a:cubicBezTo>
                  <a:moveTo>
                    <a:pt x="252" y="439"/>
                  </a:moveTo>
                  <a:cubicBezTo>
                    <a:pt x="252" y="449"/>
                    <a:pt x="261" y="454"/>
                    <a:pt x="281" y="454"/>
                  </a:cubicBezTo>
                  <a:cubicBezTo>
                    <a:pt x="300" y="454"/>
                    <a:pt x="309" y="449"/>
                    <a:pt x="309" y="439"/>
                  </a:cubicBezTo>
                  <a:cubicBezTo>
                    <a:pt x="309" y="19"/>
                    <a:pt x="309" y="19"/>
                    <a:pt x="309" y="19"/>
                  </a:cubicBezTo>
                  <a:cubicBezTo>
                    <a:pt x="309" y="9"/>
                    <a:pt x="300" y="4"/>
                    <a:pt x="281" y="4"/>
                  </a:cubicBezTo>
                  <a:cubicBezTo>
                    <a:pt x="261" y="4"/>
                    <a:pt x="252" y="9"/>
                    <a:pt x="252" y="19"/>
                  </a:cubicBezTo>
                  <a:lnTo>
                    <a:pt x="252" y="439"/>
                  </a:lnTo>
                  <a:close/>
                  <a:moveTo>
                    <a:pt x="0" y="439"/>
                  </a:moveTo>
                  <a:cubicBezTo>
                    <a:pt x="0" y="449"/>
                    <a:pt x="8" y="454"/>
                    <a:pt x="28" y="454"/>
                  </a:cubicBezTo>
                  <a:cubicBezTo>
                    <a:pt x="48" y="454"/>
                    <a:pt x="56" y="449"/>
                    <a:pt x="56" y="439"/>
                  </a:cubicBezTo>
                  <a:cubicBezTo>
                    <a:pt x="56" y="157"/>
                    <a:pt x="56" y="157"/>
                    <a:pt x="56" y="157"/>
                  </a:cubicBezTo>
                  <a:cubicBezTo>
                    <a:pt x="56" y="83"/>
                    <a:pt x="85" y="53"/>
                    <a:pt x="165" y="53"/>
                  </a:cubicBezTo>
                  <a:cubicBezTo>
                    <a:pt x="180" y="53"/>
                    <a:pt x="180" y="53"/>
                    <a:pt x="180" y="53"/>
                  </a:cubicBezTo>
                  <a:cubicBezTo>
                    <a:pt x="192" y="53"/>
                    <a:pt x="196" y="43"/>
                    <a:pt x="196" y="27"/>
                  </a:cubicBezTo>
                  <a:cubicBezTo>
                    <a:pt x="196" y="8"/>
                    <a:pt x="185" y="4"/>
                    <a:pt x="154" y="4"/>
                  </a:cubicBezTo>
                  <a:cubicBezTo>
                    <a:pt x="64" y="4"/>
                    <a:pt x="0" y="43"/>
                    <a:pt x="0" y="152"/>
                  </a:cubicBezTo>
                  <a:lnTo>
                    <a:pt x="0" y="43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2" tIns="45706" rIns="91412" bIns="45706" numCol="1" anchor="t" anchorCtr="0" compatLnSpc="1">
              <a:prstTxWarp prst="textNoShape">
                <a:avLst/>
              </a:prstTxWarp>
            </a:bodyPr>
            <a:lstStyle/>
            <a:p>
              <a:pPr defTabSz="914103"/>
              <a:endParaRPr lang="de-DE" sz="1350" dirty="0">
                <a:solidFill>
                  <a:srgbClr val="414549"/>
                </a:solidFill>
                <a:latin typeface="Lato"/>
              </a:endParaRPr>
            </a:p>
          </p:txBody>
        </p:sp>
        <p:sp>
          <p:nvSpPr>
            <p:cNvPr id="27" name="Freeform 7">
              <a:extLst>
                <a:ext uri="{FF2B5EF4-FFF2-40B4-BE49-F238E27FC236}">
                  <a16:creationId xmlns:a16="http://schemas.microsoft.com/office/drawing/2014/main" id="{E2872D1E-D184-480C-81D2-A7996B4CE7BA}"/>
                </a:ext>
              </a:extLst>
            </p:cNvPr>
            <p:cNvSpPr>
              <a:spLocks/>
            </p:cNvSpPr>
            <p:nvPr/>
          </p:nvSpPr>
          <p:spPr bwMode="gray">
            <a:xfrm>
              <a:off x="2880" y="1704"/>
              <a:ext cx="618" cy="916"/>
            </a:xfrm>
            <a:custGeom>
              <a:avLst/>
              <a:gdLst>
                <a:gd name="T0" fmla="*/ 307 w 307"/>
                <a:gd name="T1" fmla="*/ 405 h 455"/>
                <a:gd name="T2" fmla="*/ 307 w 307"/>
                <a:gd name="T3" fmla="*/ 244 h 455"/>
                <a:gd name="T4" fmla="*/ 279 w 307"/>
                <a:gd name="T5" fmla="*/ 229 h 455"/>
                <a:gd name="T6" fmla="*/ 250 w 307"/>
                <a:gd name="T7" fmla="*/ 244 h 455"/>
                <a:gd name="T8" fmla="*/ 250 w 307"/>
                <a:gd name="T9" fmla="*/ 378 h 455"/>
                <a:gd name="T10" fmla="*/ 199 w 307"/>
                <a:gd name="T11" fmla="*/ 408 h 455"/>
                <a:gd name="T12" fmla="*/ 61 w 307"/>
                <a:gd name="T13" fmla="*/ 231 h 455"/>
                <a:gd name="T14" fmla="*/ 238 w 307"/>
                <a:gd name="T15" fmla="*/ 49 h 455"/>
                <a:gd name="T16" fmla="*/ 270 w 307"/>
                <a:gd name="T17" fmla="*/ 49 h 455"/>
                <a:gd name="T18" fmla="*/ 286 w 307"/>
                <a:gd name="T19" fmla="*/ 23 h 455"/>
                <a:gd name="T20" fmla="*/ 244 w 307"/>
                <a:gd name="T21" fmla="*/ 0 h 455"/>
                <a:gd name="T22" fmla="*/ 231 w 307"/>
                <a:gd name="T23" fmla="*/ 0 h 455"/>
                <a:gd name="T24" fmla="*/ 0 w 307"/>
                <a:gd name="T25" fmla="*/ 232 h 455"/>
                <a:gd name="T26" fmla="*/ 198 w 307"/>
                <a:gd name="T27" fmla="*/ 455 h 455"/>
                <a:gd name="T28" fmla="*/ 307 w 307"/>
                <a:gd name="T29" fmla="*/ 405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7" h="455">
                  <a:moveTo>
                    <a:pt x="307" y="405"/>
                  </a:moveTo>
                  <a:cubicBezTo>
                    <a:pt x="307" y="244"/>
                    <a:pt x="307" y="244"/>
                    <a:pt x="307" y="244"/>
                  </a:cubicBezTo>
                  <a:cubicBezTo>
                    <a:pt x="307" y="234"/>
                    <a:pt x="298" y="229"/>
                    <a:pt x="279" y="229"/>
                  </a:cubicBezTo>
                  <a:cubicBezTo>
                    <a:pt x="259" y="229"/>
                    <a:pt x="250" y="234"/>
                    <a:pt x="250" y="244"/>
                  </a:cubicBezTo>
                  <a:cubicBezTo>
                    <a:pt x="250" y="378"/>
                    <a:pt x="250" y="378"/>
                    <a:pt x="250" y="378"/>
                  </a:cubicBezTo>
                  <a:cubicBezTo>
                    <a:pt x="250" y="399"/>
                    <a:pt x="241" y="408"/>
                    <a:pt x="199" y="408"/>
                  </a:cubicBezTo>
                  <a:cubicBezTo>
                    <a:pt x="114" y="408"/>
                    <a:pt x="61" y="342"/>
                    <a:pt x="61" y="231"/>
                  </a:cubicBezTo>
                  <a:cubicBezTo>
                    <a:pt x="61" y="115"/>
                    <a:pt x="126" y="49"/>
                    <a:pt x="238" y="49"/>
                  </a:cubicBezTo>
                  <a:cubicBezTo>
                    <a:pt x="270" y="49"/>
                    <a:pt x="270" y="49"/>
                    <a:pt x="270" y="49"/>
                  </a:cubicBezTo>
                  <a:cubicBezTo>
                    <a:pt x="282" y="49"/>
                    <a:pt x="286" y="39"/>
                    <a:pt x="286" y="23"/>
                  </a:cubicBezTo>
                  <a:cubicBezTo>
                    <a:pt x="286" y="4"/>
                    <a:pt x="275" y="0"/>
                    <a:pt x="244" y="0"/>
                  </a:cubicBezTo>
                  <a:cubicBezTo>
                    <a:pt x="231" y="0"/>
                    <a:pt x="231" y="0"/>
                    <a:pt x="231" y="0"/>
                  </a:cubicBezTo>
                  <a:cubicBezTo>
                    <a:pt x="101" y="0"/>
                    <a:pt x="0" y="71"/>
                    <a:pt x="0" y="232"/>
                  </a:cubicBezTo>
                  <a:cubicBezTo>
                    <a:pt x="0" y="386"/>
                    <a:pt x="88" y="455"/>
                    <a:pt x="198" y="455"/>
                  </a:cubicBezTo>
                  <a:cubicBezTo>
                    <a:pt x="286" y="455"/>
                    <a:pt x="307" y="430"/>
                    <a:pt x="307" y="40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2" tIns="45706" rIns="91412" bIns="45706" numCol="1" anchor="t" anchorCtr="0" compatLnSpc="1">
              <a:prstTxWarp prst="textNoShape">
                <a:avLst/>
              </a:prstTxWarp>
            </a:bodyPr>
            <a:lstStyle/>
            <a:p>
              <a:pPr defTabSz="914103"/>
              <a:endParaRPr lang="de-DE" sz="1350" dirty="0">
                <a:solidFill>
                  <a:srgbClr val="414549"/>
                </a:solidFill>
                <a:latin typeface="Lato"/>
              </a:endParaRPr>
            </a:p>
          </p:txBody>
        </p:sp>
        <p:sp>
          <p:nvSpPr>
            <p:cNvPr id="28" name="Oval 8">
              <a:extLst>
                <a:ext uri="{FF2B5EF4-FFF2-40B4-BE49-F238E27FC236}">
                  <a16:creationId xmlns:a16="http://schemas.microsoft.com/office/drawing/2014/main" id="{443A656C-C092-4DF4-8469-511FC09B9629}"/>
                </a:ext>
              </a:extLst>
            </p:cNvPr>
            <p:cNvSpPr>
              <a:spLocks noChangeArrowheads="1"/>
            </p:cNvSpPr>
            <p:nvPr/>
          </p:nvSpPr>
          <p:spPr bwMode="gray">
            <a:xfrm>
              <a:off x="3778" y="2099"/>
              <a:ext cx="122" cy="12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2" tIns="45706" rIns="91412" bIns="45706" numCol="1" anchor="t" anchorCtr="0" compatLnSpc="1">
              <a:prstTxWarp prst="textNoShape">
                <a:avLst/>
              </a:prstTxWarp>
            </a:bodyPr>
            <a:lstStyle/>
            <a:p>
              <a:pPr defTabSz="914103"/>
              <a:endParaRPr lang="de-DE" sz="1350" dirty="0">
                <a:solidFill>
                  <a:srgbClr val="414549"/>
                </a:solidFill>
                <a:latin typeface="Lato"/>
              </a:endParaRPr>
            </a:p>
          </p:txBody>
        </p:sp>
        <p:sp>
          <p:nvSpPr>
            <p:cNvPr id="29" name="Freeform 9">
              <a:extLst>
                <a:ext uri="{FF2B5EF4-FFF2-40B4-BE49-F238E27FC236}">
                  <a16:creationId xmlns:a16="http://schemas.microsoft.com/office/drawing/2014/main" id="{2925477C-6429-43E7-AFA8-8C749FA7992C}"/>
                </a:ext>
              </a:extLst>
            </p:cNvPr>
            <p:cNvSpPr>
              <a:spLocks noEditPoints="1"/>
            </p:cNvSpPr>
            <p:nvPr/>
          </p:nvSpPr>
          <p:spPr bwMode="gray">
            <a:xfrm>
              <a:off x="3623" y="1696"/>
              <a:ext cx="1167" cy="922"/>
            </a:xfrm>
            <a:custGeom>
              <a:avLst/>
              <a:gdLst>
                <a:gd name="T0" fmla="*/ 411 w 580"/>
                <a:gd name="T1" fmla="*/ 213 h 458"/>
                <a:gd name="T2" fmla="*/ 570 w 580"/>
                <a:gd name="T3" fmla="*/ 37 h 458"/>
                <a:gd name="T4" fmla="*/ 580 w 580"/>
                <a:gd name="T5" fmla="*/ 20 h 458"/>
                <a:gd name="T6" fmla="*/ 545 w 580"/>
                <a:gd name="T7" fmla="*/ 0 h 458"/>
                <a:gd name="T8" fmla="*/ 519 w 580"/>
                <a:gd name="T9" fmla="*/ 16 h 458"/>
                <a:gd name="T10" fmla="*/ 344 w 580"/>
                <a:gd name="T11" fmla="*/ 210 h 458"/>
                <a:gd name="T12" fmla="*/ 334 w 580"/>
                <a:gd name="T13" fmla="*/ 229 h 458"/>
                <a:gd name="T14" fmla="*/ 344 w 580"/>
                <a:gd name="T15" fmla="*/ 248 h 458"/>
                <a:gd name="T16" fmla="*/ 519 w 580"/>
                <a:gd name="T17" fmla="*/ 442 h 458"/>
                <a:gd name="T18" fmla="*/ 545 w 580"/>
                <a:gd name="T19" fmla="*/ 458 h 458"/>
                <a:gd name="T20" fmla="*/ 580 w 580"/>
                <a:gd name="T21" fmla="*/ 438 h 458"/>
                <a:gd name="T22" fmla="*/ 570 w 580"/>
                <a:gd name="T23" fmla="*/ 421 h 458"/>
                <a:gd name="T24" fmla="*/ 411 w 580"/>
                <a:gd name="T25" fmla="*/ 245 h 458"/>
                <a:gd name="T26" fmla="*/ 399 w 580"/>
                <a:gd name="T27" fmla="*/ 229 h 458"/>
                <a:gd name="T28" fmla="*/ 411 w 580"/>
                <a:gd name="T29" fmla="*/ 213 h 458"/>
                <a:gd name="T30" fmla="*/ 252 w 580"/>
                <a:gd name="T31" fmla="*/ 439 h 458"/>
                <a:gd name="T32" fmla="*/ 281 w 580"/>
                <a:gd name="T33" fmla="*/ 454 h 458"/>
                <a:gd name="T34" fmla="*/ 309 w 580"/>
                <a:gd name="T35" fmla="*/ 439 h 458"/>
                <a:gd name="T36" fmla="*/ 309 w 580"/>
                <a:gd name="T37" fmla="*/ 19 h 458"/>
                <a:gd name="T38" fmla="*/ 281 w 580"/>
                <a:gd name="T39" fmla="*/ 4 h 458"/>
                <a:gd name="T40" fmla="*/ 252 w 580"/>
                <a:gd name="T41" fmla="*/ 19 h 458"/>
                <a:gd name="T42" fmla="*/ 252 w 580"/>
                <a:gd name="T43" fmla="*/ 439 h 458"/>
                <a:gd name="T44" fmla="*/ 0 w 580"/>
                <a:gd name="T45" fmla="*/ 439 h 458"/>
                <a:gd name="T46" fmla="*/ 28 w 580"/>
                <a:gd name="T47" fmla="*/ 454 h 458"/>
                <a:gd name="T48" fmla="*/ 56 w 580"/>
                <a:gd name="T49" fmla="*/ 439 h 458"/>
                <a:gd name="T50" fmla="*/ 56 w 580"/>
                <a:gd name="T51" fmla="*/ 157 h 458"/>
                <a:gd name="T52" fmla="*/ 165 w 580"/>
                <a:gd name="T53" fmla="*/ 53 h 458"/>
                <a:gd name="T54" fmla="*/ 180 w 580"/>
                <a:gd name="T55" fmla="*/ 53 h 458"/>
                <a:gd name="T56" fmla="*/ 196 w 580"/>
                <a:gd name="T57" fmla="*/ 27 h 458"/>
                <a:gd name="T58" fmla="*/ 154 w 580"/>
                <a:gd name="T59" fmla="*/ 4 h 458"/>
                <a:gd name="T60" fmla="*/ 0 w 580"/>
                <a:gd name="T61" fmla="*/ 152 h 458"/>
                <a:gd name="T62" fmla="*/ 0 w 580"/>
                <a:gd name="T63" fmla="*/ 439 h 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80" h="458">
                  <a:moveTo>
                    <a:pt x="411" y="213"/>
                  </a:moveTo>
                  <a:cubicBezTo>
                    <a:pt x="570" y="37"/>
                    <a:pt x="570" y="37"/>
                    <a:pt x="570" y="37"/>
                  </a:cubicBezTo>
                  <a:cubicBezTo>
                    <a:pt x="576" y="30"/>
                    <a:pt x="580" y="25"/>
                    <a:pt x="580" y="20"/>
                  </a:cubicBezTo>
                  <a:cubicBezTo>
                    <a:pt x="580" y="10"/>
                    <a:pt x="559" y="0"/>
                    <a:pt x="545" y="0"/>
                  </a:cubicBezTo>
                  <a:cubicBezTo>
                    <a:pt x="535" y="0"/>
                    <a:pt x="526" y="8"/>
                    <a:pt x="519" y="16"/>
                  </a:cubicBezTo>
                  <a:cubicBezTo>
                    <a:pt x="344" y="210"/>
                    <a:pt x="344" y="210"/>
                    <a:pt x="344" y="210"/>
                  </a:cubicBezTo>
                  <a:cubicBezTo>
                    <a:pt x="336" y="219"/>
                    <a:pt x="334" y="224"/>
                    <a:pt x="334" y="229"/>
                  </a:cubicBezTo>
                  <a:cubicBezTo>
                    <a:pt x="334" y="234"/>
                    <a:pt x="336" y="239"/>
                    <a:pt x="344" y="248"/>
                  </a:cubicBezTo>
                  <a:cubicBezTo>
                    <a:pt x="519" y="442"/>
                    <a:pt x="519" y="442"/>
                    <a:pt x="519" y="442"/>
                  </a:cubicBezTo>
                  <a:cubicBezTo>
                    <a:pt x="526" y="450"/>
                    <a:pt x="535" y="458"/>
                    <a:pt x="545" y="458"/>
                  </a:cubicBezTo>
                  <a:cubicBezTo>
                    <a:pt x="559" y="458"/>
                    <a:pt x="580" y="448"/>
                    <a:pt x="580" y="438"/>
                  </a:cubicBezTo>
                  <a:cubicBezTo>
                    <a:pt x="580" y="433"/>
                    <a:pt x="576" y="428"/>
                    <a:pt x="570" y="421"/>
                  </a:cubicBezTo>
                  <a:cubicBezTo>
                    <a:pt x="411" y="245"/>
                    <a:pt x="411" y="245"/>
                    <a:pt x="411" y="245"/>
                  </a:cubicBezTo>
                  <a:cubicBezTo>
                    <a:pt x="403" y="236"/>
                    <a:pt x="399" y="232"/>
                    <a:pt x="399" y="229"/>
                  </a:cubicBezTo>
                  <a:cubicBezTo>
                    <a:pt x="399" y="226"/>
                    <a:pt x="403" y="222"/>
                    <a:pt x="411" y="213"/>
                  </a:cubicBezTo>
                  <a:moveTo>
                    <a:pt x="252" y="439"/>
                  </a:moveTo>
                  <a:cubicBezTo>
                    <a:pt x="252" y="449"/>
                    <a:pt x="261" y="454"/>
                    <a:pt x="281" y="454"/>
                  </a:cubicBezTo>
                  <a:cubicBezTo>
                    <a:pt x="300" y="454"/>
                    <a:pt x="309" y="449"/>
                    <a:pt x="309" y="439"/>
                  </a:cubicBezTo>
                  <a:cubicBezTo>
                    <a:pt x="309" y="19"/>
                    <a:pt x="309" y="19"/>
                    <a:pt x="309" y="19"/>
                  </a:cubicBezTo>
                  <a:cubicBezTo>
                    <a:pt x="309" y="9"/>
                    <a:pt x="300" y="4"/>
                    <a:pt x="281" y="4"/>
                  </a:cubicBezTo>
                  <a:cubicBezTo>
                    <a:pt x="261" y="4"/>
                    <a:pt x="252" y="9"/>
                    <a:pt x="252" y="19"/>
                  </a:cubicBezTo>
                  <a:lnTo>
                    <a:pt x="252" y="439"/>
                  </a:lnTo>
                  <a:close/>
                  <a:moveTo>
                    <a:pt x="0" y="439"/>
                  </a:moveTo>
                  <a:cubicBezTo>
                    <a:pt x="0" y="449"/>
                    <a:pt x="8" y="454"/>
                    <a:pt x="28" y="454"/>
                  </a:cubicBezTo>
                  <a:cubicBezTo>
                    <a:pt x="48" y="454"/>
                    <a:pt x="56" y="449"/>
                    <a:pt x="56" y="439"/>
                  </a:cubicBezTo>
                  <a:cubicBezTo>
                    <a:pt x="56" y="157"/>
                    <a:pt x="56" y="157"/>
                    <a:pt x="56" y="157"/>
                  </a:cubicBezTo>
                  <a:cubicBezTo>
                    <a:pt x="56" y="83"/>
                    <a:pt x="85" y="53"/>
                    <a:pt x="165" y="53"/>
                  </a:cubicBezTo>
                  <a:cubicBezTo>
                    <a:pt x="180" y="53"/>
                    <a:pt x="180" y="53"/>
                    <a:pt x="180" y="53"/>
                  </a:cubicBezTo>
                  <a:cubicBezTo>
                    <a:pt x="192" y="53"/>
                    <a:pt x="196" y="43"/>
                    <a:pt x="196" y="27"/>
                  </a:cubicBezTo>
                  <a:cubicBezTo>
                    <a:pt x="196" y="8"/>
                    <a:pt x="185" y="4"/>
                    <a:pt x="154" y="4"/>
                  </a:cubicBezTo>
                  <a:cubicBezTo>
                    <a:pt x="64" y="4"/>
                    <a:pt x="0" y="43"/>
                    <a:pt x="0" y="152"/>
                  </a:cubicBezTo>
                  <a:lnTo>
                    <a:pt x="0" y="43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2" tIns="45706" rIns="91412" bIns="45706" numCol="1" anchor="t" anchorCtr="0" compatLnSpc="1">
              <a:prstTxWarp prst="textNoShape">
                <a:avLst/>
              </a:prstTxWarp>
            </a:bodyPr>
            <a:lstStyle/>
            <a:p>
              <a:pPr defTabSz="914103"/>
              <a:endParaRPr lang="de-DE" sz="1350" dirty="0">
                <a:solidFill>
                  <a:srgbClr val="414549"/>
                </a:solidFill>
                <a:latin typeface="Lato"/>
              </a:endParaRPr>
            </a:p>
          </p:txBody>
        </p:sp>
        <p:sp>
          <p:nvSpPr>
            <p:cNvPr id="30" name="Freeform 10">
              <a:extLst>
                <a:ext uri="{FF2B5EF4-FFF2-40B4-BE49-F238E27FC236}">
                  <a16:creationId xmlns:a16="http://schemas.microsoft.com/office/drawing/2014/main" id="{CFBAA92C-09A4-4296-96E7-DFF4E9A5DDC2}"/>
                </a:ext>
              </a:extLst>
            </p:cNvPr>
            <p:cNvSpPr>
              <a:spLocks/>
            </p:cNvSpPr>
            <p:nvPr/>
          </p:nvSpPr>
          <p:spPr bwMode="gray">
            <a:xfrm>
              <a:off x="2880" y="1704"/>
              <a:ext cx="618" cy="916"/>
            </a:xfrm>
            <a:custGeom>
              <a:avLst/>
              <a:gdLst>
                <a:gd name="T0" fmla="*/ 307 w 307"/>
                <a:gd name="T1" fmla="*/ 405 h 455"/>
                <a:gd name="T2" fmla="*/ 307 w 307"/>
                <a:gd name="T3" fmla="*/ 244 h 455"/>
                <a:gd name="T4" fmla="*/ 279 w 307"/>
                <a:gd name="T5" fmla="*/ 229 h 455"/>
                <a:gd name="T6" fmla="*/ 250 w 307"/>
                <a:gd name="T7" fmla="*/ 244 h 455"/>
                <a:gd name="T8" fmla="*/ 250 w 307"/>
                <a:gd name="T9" fmla="*/ 378 h 455"/>
                <a:gd name="T10" fmla="*/ 199 w 307"/>
                <a:gd name="T11" fmla="*/ 408 h 455"/>
                <a:gd name="T12" fmla="*/ 61 w 307"/>
                <a:gd name="T13" fmla="*/ 231 h 455"/>
                <a:gd name="T14" fmla="*/ 238 w 307"/>
                <a:gd name="T15" fmla="*/ 49 h 455"/>
                <a:gd name="T16" fmla="*/ 270 w 307"/>
                <a:gd name="T17" fmla="*/ 49 h 455"/>
                <a:gd name="T18" fmla="*/ 286 w 307"/>
                <a:gd name="T19" fmla="*/ 23 h 455"/>
                <a:gd name="T20" fmla="*/ 244 w 307"/>
                <a:gd name="T21" fmla="*/ 0 h 455"/>
                <a:gd name="T22" fmla="*/ 231 w 307"/>
                <a:gd name="T23" fmla="*/ 0 h 455"/>
                <a:gd name="T24" fmla="*/ 0 w 307"/>
                <a:gd name="T25" fmla="*/ 232 h 455"/>
                <a:gd name="T26" fmla="*/ 198 w 307"/>
                <a:gd name="T27" fmla="*/ 455 h 455"/>
                <a:gd name="T28" fmla="*/ 307 w 307"/>
                <a:gd name="T29" fmla="*/ 405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7" h="455">
                  <a:moveTo>
                    <a:pt x="307" y="405"/>
                  </a:moveTo>
                  <a:cubicBezTo>
                    <a:pt x="307" y="244"/>
                    <a:pt x="307" y="244"/>
                    <a:pt x="307" y="244"/>
                  </a:cubicBezTo>
                  <a:cubicBezTo>
                    <a:pt x="307" y="234"/>
                    <a:pt x="298" y="229"/>
                    <a:pt x="279" y="229"/>
                  </a:cubicBezTo>
                  <a:cubicBezTo>
                    <a:pt x="259" y="229"/>
                    <a:pt x="250" y="234"/>
                    <a:pt x="250" y="244"/>
                  </a:cubicBezTo>
                  <a:cubicBezTo>
                    <a:pt x="250" y="378"/>
                    <a:pt x="250" y="378"/>
                    <a:pt x="250" y="378"/>
                  </a:cubicBezTo>
                  <a:cubicBezTo>
                    <a:pt x="250" y="399"/>
                    <a:pt x="241" y="408"/>
                    <a:pt x="199" y="408"/>
                  </a:cubicBezTo>
                  <a:cubicBezTo>
                    <a:pt x="114" y="408"/>
                    <a:pt x="61" y="342"/>
                    <a:pt x="61" y="231"/>
                  </a:cubicBezTo>
                  <a:cubicBezTo>
                    <a:pt x="61" y="115"/>
                    <a:pt x="126" y="49"/>
                    <a:pt x="238" y="49"/>
                  </a:cubicBezTo>
                  <a:cubicBezTo>
                    <a:pt x="270" y="49"/>
                    <a:pt x="270" y="49"/>
                    <a:pt x="270" y="49"/>
                  </a:cubicBezTo>
                  <a:cubicBezTo>
                    <a:pt x="282" y="49"/>
                    <a:pt x="286" y="39"/>
                    <a:pt x="286" y="23"/>
                  </a:cubicBezTo>
                  <a:cubicBezTo>
                    <a:pt x="286" y="4"/>
                    <a:pt x="275" y="0"/>
                    <a:pt x="244" y="0"/>
                  </a:cubicBezTo>
                  <a:cubicBezTo>
                    <a:pt x="231" y="0"/>
                    <a:pt x="231" y="0"/>
                    <a:pt x="231" y="0"/>
                  </a:cubicBezTo>
                  <a:cubicBezTo>
                    <a:pt x="101" y="0"/>
                    <a:pt x="0" y="71"/>
                    <a:pt x="0" y="232"/>
                  </a:cubicBezTo>
                  <a:cubicBezTo>
                    <a:pt x="0" y="386"/>
                    <a:pt x="88" y="455"/>
                    <a:pt x="198" y="455"/>
                  </a:cubicBezTo>
                  <a:cubicBezTo>
                    <a:pt x="286" y="455"/>
                    <a:pt x="307" y="430"/>
                    <a:pt x="307" y="40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2" tIns="45706" rIns="91412" bIns="45706" numCol="1" anchor="t" anchorCtr="0" compatLnSpc="1">
              <a:prstTxWarp prst="textNoShape">
                <a:avLst/>
              </a:prstTxWarp>
            </a:bodyPr>
            <a:lstStyle/>
            <a:p>
              <a:pPr defTabSz="914103"/>
              <a:endParaRPr lang="de-DE" sz="1350" dirty="0">
                <a:solidFill>
                  <a:srgbClr val="414549"/>
                </a:solidFill>
                <a:latin typeface="Lato"/>
              </a:endParaRPr>
            </a:p>
          </p:txBody>
        </p:sp>
        <p:sp>
          <p:nvSpPr>
            <p:cNvPr id="31" name="Oval 11">
              <a:extLst>
                <a:ext uri="{FF2B5EF4-FFF2-40B4-BE49-F238E27FC236}">
                  <a16:creationId xmlns:a16="http://schemas.microsoft.com/office/drawing/2014/main" id="{A122B23F-E5BD-44EF-A4CC-3A40D8C29164}"/>
                </a:ext>
              </a:extLst>
            </p:cNvPr>
            <p:cNvSpPr>
              <a:spLocks noChangeArrowheads="1"/>
            </p:cNvSpPr>
            <p:nvPr/>
          </p:nvSpPr>
          <p:spPr bwMode="gray">
            <a:xfrm>
              <a:off x="3778" y="2099"/>
              <a:ext cx="122" cy="12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2" tIns="45706" rIns="91412" bIns="45706" numCol="1" anchor="t" anchorCtr="0" compatLnSpc="1">
              <a:prstTxWarp prst="textNoShape">
                <a:avLst/>
              </a:prstTxWarp>
            </a:bodyPr>
            <a:lstStyle/>
            <a:p>
              <a:pPr defTabSz="914103"/>
              <a:endParaRPr lang="de-DE" sz="1350" dirty="0">
                <a:solidFill>
                  <a:srgbClr val="414549"/>
                </a:solidFill>
                <a:latin typeface="Lato"/>
              </a:endParaRPr>
            </a:p>
          </p:txBody>
        </p:sp>
        <p:sp>
          <p:nvSpPr>
            <p:cNvPr id="32" name="Freeform 12">
              <a:extLst>
                <a:ext uri="{FF2B5EF4-FFF2-40B4-BE49-F238E27FC236}">
                  <a16:creationId xmlns:a16="http://schemas.microsoft.com/office/drawing/2014/main" id="{9905953F-CCD9-42CB-8E88-B80E0C0758F8}"/>
                </a:ext>
              </a:extLst>
            </p:cNvPr>
            <p:cNvSpPr>
              <a:spLocks/>
            </p:cNvSpPr>
            <p:nvPr/>
          </p:nvSpPr>
          <p:spPr bwMode="gray">
            <a:xfrm>
              <a:off x="4321" y="1029"/>
              <a:ext cx="648" cy="649"/>
            </a:xfrm>
            <a:custGeom>
              <a:avLst/>
              <a:gdLst>
                <a:gd name="T0" fmla="*/ 0 w 648"/>
                <a:gd name="T1" fmla="*/ 649 h 649"/>
                <a:gd name="T2" fmla="*/ 2 w 648"/>
                <a:gd name="T3" fmla="*/ 649 h 649"/>
                <a:gd name="T4" fmla="*/ 648 w 648"/>
                <a:gd name="T5" fmla="*/ 0 h 649"/>
                <a:gd name="T6" fmla="*/ 423 w 648"/>
                <a:gd name="T7" fmla="*/ 0 h 649"/>
                <a:gd name="T8" fmla="*/ 0 w 648"/>
                <a:gd name="T9" fmla="*/ 649 h 649"/>
              </a:gdLst>
              <a:ahLst/>
              <a:cxnLst>
                <a:cxn ang="0">
                  <a:pos x="T0" y="T1"/>
                </a:cxn>
                <a:cxn ang="0">
                  <a:pos x="T2" y="T3"/>
                </a:cxn>
                <a:cxn ang="0">
                  <a:pos x="T4" y="T5"/>
                </a:cxn>
                <a:cxn ang="0">
                  <a:pos x="T6" y="T7"/>
                </a:cxn>
                <a:cxn ang="0">
                  <a:pos x="T8" y="T9"/>
                </a:cxn>
              </a:cxnLst>
              <a:rect l="0" t="0" r="r" b="b"/>
              <a:pathLst>
                <a:path w="648" h="649">
                  <a:moveTo>
                    <a:pt x="0" y="649"/>
                  </a:moveTo>
                  <a:lnTo>
                    <a:pt x="2" y="649"/>
                  </a:lnTo>
                  <a:lnTo>
                    <a:pt x="648" y="0"/>
                  </a:lnTo>
                  <a:lnTo>
                    <a:pt x="423" y="0"/>
                  </a:lnTo>
                  <a:lnTo>
                    <a:pt x="0" y="64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2" tIns="45706" rIns="91412" bIns="45706" numCol="1" anchor="t" anchorCtr="0" compatLnSpc="1">
              <a:prstTxWarp prst="textNoShape">
                <a:avLst/>
              </a:prstTxWarp>
            </a:bodyPr>
            <a:lstStyle/>
            <a:p>
              <a:pPr defTabSz="914103"/>
              <a:endParaRPr lang="de-DE" sz="1350" dirty="0">
                <a:solidFill>
                  <a:srgbClr val="414549"/>
                </a:solidFill>
                <a:latin typeface="Lato"/>
              </a:endParaRPr>
            </a:p>
          </p:txBody>
        </p:sp>
        <p:sp>
          <p:nvSpPr>
            <p:cNvPr id="33" name="Freeform 13">
              <a:extLst>
                <a:ext uri="{FF2B5EF4-FFF2-40B4-BE49-F238E27FC236}">
                  <a16:creationId xmlns:a16="http://schemas.microsoft.com/office/drawing/2014/main" id="{77FFE960-FFE7-41A8-A37E-0986E5558665}"/>
                </a:ext>
              </a:extLst>
            </p:cNvPr>
            <p:cNvSpPr>
              <a:spLocks/>
            </p:cNvSpPr>
            <p:nvPr/>
          </p:nvSpPr>
          <p:spPr bwMode="gray">
            <a:xfrm>
              <a:off x="4321" y="1029"/>
              <a:ext cx="648" cy="649"/>
            </a:xfrm>
            <a:custGeom>
              <a:avLst/>
              <a:gdLst>
                <a:gd name="T0" fmla="*/ 0 w 648"/>
                <a:gd name="T1" fmla="*/ 649 h 649"/>
                <a:gd name="T2" fmla="*/ 2 w 648"/>
                <a:gd name="T3" fmla="*/ 649 h 649"/>
                <a:gd name="T4" fmla="*/ 648 w 648"/>
                <a:gd name="T5" fmla="*/ 0 h 649"/>
                <a:gd name="T6" fmla="*/ 423 w 648"/>
                <a:gd name="T7" fmla="*/ 0 h 649"/>
                <a:gd name="T8" fmla="*/ 0 w 648"/>
                <a:gd name="T9" fmla="*/ 649 h 649"/>
              </a:gdLst>
              <a:ahLst/>
              <a:cxnLst>
                <a:cxn ang="0">
                  <a:pos x="T0" y="T1"/>
                </a:cxn>
                <a:cxn ang="0">
                  <a:pos x="T2" y="T3"/>
                </a:cxn>
                <a:cxn ang="0">
                  <a:pos x="T4" y="T5"/>
                </a:cxn>
                <a:cxn ang="0">
                  <a:pos x="T6" y="T7"/>
                </a:cxn>
                <a:cxn ang="0">
                  <a:pos x="T8" y="T9"/>
                </a:cxn>
              </a:cxnLst>
              <a:rect l="0" t="0" r="r" b="b"/>
              <a:pathLst>
                <a:path w="648" h="649">
                  <a:moveTo>
                    <a:pt x="0" y="649"/>
                  </a:moveTo>
                  <a:lnTo>
                    <a:pt x="2" y="649"/>
                  </a:lnTo>
                  <a:lnTo>
                    <a:pt x="648" y="0"/>
                  </a:lnTo>
                  <a:lnTo>
                    <a:pt x="423" y="0"/>
                  </a:lnTo>
                  <a:lnTo>
                    <a:pt x="0" y="64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12" tIns="45706" rIns="91412" bIns="45706" numCol="1" anchor="t" anchorCtr="0" compatLnSpc="1">
              <a:prstTxWarp prst="textNoShape">
                <a:avLst/>
              </a:prstTxWarp>
            </a:bodyPr>
            <a:lstStyle/>
            <a:p>
              <a:pPr defTabSz="914103"/>
              <a:endParaRPr lang="de-DE" sz="1350" dirty="0">
                <a:solidFill>
                  <a:srgbClr val="414549"/>
                </a:solidFill>
                <a:latin typeface="Lato"/>
              </a:endParaRPr>
            </a:p>
          </p:txBody>
        </p:sp>
      </p:grpSp>
      <p:sp>
        <p:nvSpPr>
          <p:cNvPr id="9" name="Прямоугольник 8">
            <a:extLst>
              <a:ext uri="{FF2B5EF4-FFF2-40B4-BE49-F238E27FC236}">
                <a16:creationId xmlns:a16="http://schemas.microsoft.com/office/drawing/2014/main" id="{E064281F-0028-4C33-BDF7-F4606E87310A}"/>
              </a:ext>
            </a:extLst>
          </p:cNvPr>
          <p:cNvSpPr/>
          <p:nvPr/>
        </p:nvSpPr>
        <p:spPr>
          <a:xfrm>
            <a:off x="7708942" y="4465994"/>
            <a:ext cx="1015625" cy="2221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1978" tIns="35989" rIns="71978" bIns="35989" rtlCol="0" anchor="ctr"/>
          <a:lstStyle/>
          <a:p>
            <a:pPr algn="ctr" defTabSz="914103">
              <a:lnSpc>
                <a:spcPct val="125000"/>
              </a:lnSpc>
            </a:pPr>
            <a:endParaRPr lang="ru-RU" sz="1599" dirty="0">
              <a:solidFill>
                <a:srgbClr val="FFFFFF"/>
              </a:solidFill>
              <a:latin typeface="Lato"/>
            </a:endParaRPr>
          </a:p>
        </p:txBody>
      </p:sp>
      <p:graphicFrame>
        <p:nvGraphicFramePr>
          <p:cNvPr id="35" name="Диаграмма 34">
            <a:extLst>
              <a:ext uri="{FF2B5EF4-FFF2-40B4-BE49-F238E27FC236}">
                <a16:creationId xmlns:a16="http://schemas.microsoft.com/office/drawing/2014/main" id="{5D5BFF22-1BEC-4FEC-BBE6-2A814FE079ED}"/>
              </a:ext>
            </a:extLst>
          </p:cNvPr>
          <p:cNvGraphicFramePr/>
          <p:nvPr/>
        </p:nvGraphicFramePr>
        <p:xfrm>
          <a:off x="439069" y="2181247"/>
          <a:ext cx="7907718" cy="4029896"/>
        </p:xfrm>
        <a:graphic>
          <a:graphicData uri="http://schemas.openxmlformats.org/drawingml/2006/chart">
            <c:chart xmlns:c="http://schemas.openxmlformats.org/drawingml/2006/chart" xmlns:r="http://schemas.openxmlformats.org/officeDocument/2006/relationships" r:id="rId3"/>
          </a:graphicData>
        </a:graphic>
      </p:graphicFrame>
      <p:sp>
        <p:nvSpPr>
          <p:cNvPr id="37" name="TextBox 36">
            <a:extLst>
              <a:ext uri="{FF2B5EF4-FFF2-40B4-BE49-F238E27FC236}">
                <a16:creationId xmlns:a16="http://schemas.microsoft.com/office/drawing/2014/main" id="{8F0DF09E-9BF3-43DB-8A3F-5F2E4A140082}"/>
              </a:ext>
            </a:extLst>
          </p:cNvPr>
          <p:cNvSpPr txBox="1"/>
          <p:nvPr/>
        </p:nvSpPr>
        <p:spPr>
          <a:xfrm>
            <a:off x="3210849" y="1701341"/>
            <a:ext cx="3935223" cy="648000"/>
          </a:xfrm>
          <a:prstGeom prst="rect">
            <a:avLst/>
          </a:prstGeom>
          <a:noFill/>
        </p:spPr>
        <p:txBody>
          <a:bodyPr wrap="square" lIns="0" tIns="0" rIns="0" bIns="0" rtlCol="0">
            <a:noAutofit/>
          </a:bodyPr>
          <a:lstStyle/>
          <a:p>
            <a:pPr defTabSz="1218804">
              <a:lnSpc>
                <a:spcPct val="125000"/>
              </a:lnSpc>
              <a:buClr>
                <a:srgbClr val="E55A00"/>
              </a:buClr>
            </a:pPr>
            <a:r>
              <a:rPr lang="en-US" sz="2133" dirty="0">
                <a:solidFill>
                  <a:srgbClr val="414549"/>
                </a:solidFill>
                <a:latin typeface="Lato"/>
              </a:rPr>
              <a:t>Consumer Loans Volumes</a:t>
            </a:r>
          </a:p>
        </p:txBody>
      </p:sp>
    </p:spTree>
    <p:extLst>
      <p:ext uri="{BB962C8B-B14F-4D97-AF65-F5344CB8AC3E}">
        <p14:creationId xmlns:p14="http://schemas.microsoft.com/office/powerpoint/2010/main" val="27476086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Равнобедренный треугольник 13">
            <a:extLst>
              <a:ext uri="{FF2B5EF4-FFF2-40B4-BE49-F238E27FC236}">
                <a16:creationId xmlns:a16="http://schemas.microsoft.com/office/drawing/2014/main" id="{351F50AA-78A5-43F1-B73E-6D68C11C2F12}"/>
              </a:ext>
            </a:extLst>
          </p:cNvPr>
          <p:cNvSpPr/>
          <p:nvPr/>
        </p:nvSpPr>
        <p:spPr>
          <a:xfrm rot="5400000" flipH="1">
            <a:off x="4929905" y="2615113"/>
            <a:ext cx="6855884" cy="1627774"/>
          </a:xfrm>
          <a:prstGeom prst="triangle">
            <a:avLst>
              <a:gd name="adj" fmla="val 36035"/>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1978" tIns="35989" rIns="71978" bIns="35989" rtlCol="0" anchor="ctr"/>
          <a:lstStyle/>
          <a:p>
            <a:pPr algn="ctr" defTabSz="914103">
              <a:lnSpc>
                <a:spcPct val="125000"/>
              </a:lnSpc>
              <a:defRPr/>
            </a:pPr>
            <a:endParaRPr lang="ru-RU" sz="1599">
              <a:solidFill>
                <a:srgbClr val="FFFFFF"/>
              </a:solidFill>
              <a:latin typeface="Lato"/>
            </a:endParaRPr>
          </a:p>
        </p:txBody>
      </p:sp>
      <p:sp>
        <p:nvSpPr>
          <p:cNvPr id="15" name="Прямоугольник 14">
            <a:extLst>
              <a:ext uri="{FF2B5EF4-FFF2-40B4-BE49-F238E27FC236}">
                <a16:creationId xmlns:a16="http://schemas.microsoft.com/office/drawing/2014/main" id="{8E72BEAA-1735-4B20-BBE3-3967101B2DC6}"/>
              </a:ext>
            </a:extLst>
          </p:cNvPr>
          <p:cNvSpPr/>
          <p:nvPr/>
        </p:nvSpPr>
        <p:spPr>
          <a:xfrm>
            <a:off x="3386589" y="1058"/>
            <a:ext cx="4166894" cy="685588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1978" tIns="35989" rIns="71978" bIns="35989" rtlCol="0" anchor="ctr"/>
          <a:lstStyle/>
          <a:p>
            <a:pPr algn="ctr" defTabSz="914103">
              <a:lnSpc>
                <a:spcPct val="125000"/>
              </a:lnSpc>
            </a:pPr>
            <a:endParaRPr lang="ru-RU" sz="1599" dirty="0">
              <a:solidFill>
                <a:srgbClr val="FFFFFF"/>
              </a:solidFill>
              <a:latin typeface="Lato"/>
            </a:endParaRPr>
          </a:p>
        </p:txBody>
      </p:sp>
      <p:sp>
        <p:nvSpPr>
          <p:cNvPr id="2" name="Дата 1">
            <a:extLst>
              <a:ext uri="{FF2B5EF4-FFF2-40B4-BE49-F238E27FC236}">
                <a16:creationId xmlns:a16="http://schemas.microsoft.com/office/drawing/2014/main" id="{7A1034AD-E003-4AC5-B17C-6835A0E522B9}"/>
              </a:ext>
            </a:extLst>
          </p:cNvPr>
          <p:cNvSpPr>
            <a:spLocks noGrp="1"/>
          </p:cNvSpPr>
          <p:nvPr>
            <p:ph type="dt" sz="half" idx="10"/>
          </p:nvPr>
        </p:nvSpPr>
        <p:spPr/>
        <p:txBody>
          <a:bodyPr/>
          <a:lstStyle/>
          <a:p>
            <a:pPr defTabSz="914103"/>
            <a:fld id="{7630F4D0-4FCA-495D-93CB-4308FDD6CACA}" type="datetime5">
              <a:rPr lang="en-US">
                <a:latin typeface="Lato"/>
              </a:rPr>
              <a:pPr defTabSz="914103"/>
              <a:t>26-Jun-20</a:t>
            </a:fld>
            <a:endParaRPr lang="en-US" dirty="0">
              <a:latin typeface="Lato"/>
            </a:endParaRPr>
          </a:p>
        </p:txBody>
      </p:sp>
      <p:sp>
        <p:nvSpPr>
          <p:cNvPr id="3" name="Нижний колонтитул 2">
            <a:extLst>
              <a:ext uri="{FF2B5EF4-FFF2-40B4-BE49-F238E27FC236}">
                <a16:creationId xmlns:a16="http://schemas.microsoft.com/office/drawing/2014/main" id="{1FD9C866-5B6E-4DE3-AF76-AD73C155AE4A}"/>
              </a:ext>
            </a:extLst>
          </p:cNvPr>
          <p:cNvSpPr>
            <a:spLocks noGrp="1"/>
          </p:cNvSpPr>
          <p:nvPr>
            <p:ph type="ftr" sz="quarter" idx="11"/>
          </p:nvPr>
        </p:nvSpPr>
        <p:spPr/>
        <p:txBody>
          <a:bodyPr/>
          <a:lstStyle/>
          <a:p>
            <a:pPr defTabSz="914103">
              <a:buClr>
                <a:srgbClr val="E55A00"/>
              </a:buClr>
            </a:pPr>
            <a:r>
              <a:rPr lang="en-US">
                <a:latin typeface="Lato"/>
              </a:rPr>
              <a:t>Title of presentation (Insert / Header &amp; Footer / Apply to All)</a:t>
            </a:r>
            <a:endParaRPr lang="en-US" dirty="0">
              <a:latin typeface="Lato"/>
            </a:endParaRPr>
          </a:p>
        </p:txBody>
      </p:sp>
      <p:sp>
        <p:nvSpPr>
          <p:cNvPr id="4" name="Номер слайда 3">
            <a:extLst>
              <a:ext uri="{FF2B5EF4-FFF2-40B4-BE49-F238E27FC236}">
                <a16:creationId xmlns:a16="http://schemas.microsoft.com/office/drawing/2014/main" id="{827ADF5D-3664-4AB5-BC8A-DD66A2E96F38}"/>
              </a:ext>
            </a:extLst>
          </p:cNvPr>
          <p:cNvSpPr>
            <a:spLocks noGrp="1"/>
          </p:cNvSpPr>
          <p:nvPr>
            <p:ph type="sldNum" sz="quarter" idx="12"/>
          </p:nvPr>
        </p:nvSpPr>
        <p:spPr/>
        <p:txBody>
          <a:bodyPr/>
          <a:lstStyle/>
          <a:p>
            <a:pPr defTabSz="914103"/>
            <a:fld id="{8E3B25F7-8D1F-44B5-B485-EE3C438CFD7B}" type="slidenum">
              <a:rPr lang="en-US">
                <a:latin typeface="Lato"/>
              </a:rPr>
              <a:pPr defTabSz="914103"/>
              <a:t>16</a:t>
            </a:fld>
            <a:endParaRPr lang="en-US">
              <a:latin typeface="Lato"/>
            </a:endParaRPr>
          </a:p>
        </p:txBody>
      </p:sp>
      <p:pic>
        <p:nvPicPr>
          <p:cNvPr id="41" name="Рисунок 40">
            <a:extLst>
              <a:ext uri="{FF2B5EF4-FFF2-40B4-BE49-F238E27FC236}">
                <a16:creationId xmlns:a16="http://schemas.microsoft.com/office/drawing/2014/main" id="{7121E1D1-F386-41BA-A94F-8F2BFE18D3CA}"/>
              </a:ext>
            </a:extLst>
          </p:cNvPr>
          <p:cNvPicPr>
            <a:picLocks noGrp="1" noChangeAspect="1"/>
          </p:cNvPicPr>
          <p:nvPr>
            <p:ph type="pic" sz="quarter" idx="13"/>
          </p:nvPr>
        </p:nvPicPr>
        <p:blipFill rotWithShape="1">
          <a:blip r:embed="rId2" cstate="print">
            <a:extLst>
              <a:ext uri="{28A0092B-C50C-407E-A947-70E740481C1C}">
                <a14:useLocalDpi xmlns:a14="http://schemas.microsoft.com/office/drawing/2010/main"/>
              </a:ext>
            </a:extLst>
          </a:blip>
          <a:srcRect l="-79032"/>
          <a:stretch/>
        </p:blipFill>
        <p:spPr>
          <a:xfrm>
            <a:off x="3377065" y="1058"/>
            <a:ext cx="8813055" cy="6855884"/>
          </a:xfrm>
        </p:spPr>
      </p:pic>
      <p:grpSp>
        <p:nvGrpSpPr>
          <p:cNvPr id="42" name="Группа 41">
            <a:extLst>
              <a:ext uri="{FF2B5EF4-FFF2-40B4-BE49-F238E27FC236}">
                <a16:creationId xmlns:a16="http://schemas.microsoft.com/office/drawing/2014/main" id="{75E11E3F-1E5A-4323-99D7-5B28CA7149F0}"/>
              </a:ext>
            </a:extLst>
          </p:cNvPr>
          <p:cNvGrpSpPr/>
          <p:nvPr/>
        </p:nvGrpSpPr>
        <p:grpSpPr>
          <a:xfrm>
            <a:off x="3386590" y="1059"/>
            <a:ext cx="5785145" cy="6855885"/>
            <a:chOff x="3385752" y="-1"/>
            <a:chExt cx="5786931" cy="6858001"/>
          </a:xfrm>
        </p:grpSpPr>
        <p:sp>
          <p:nvSpPr>
            <p:cNvPr id="43" name="Равнобедренный треугольник 42">
              <a:extLst>
                <a:ext uri="{FF2B5EF4-FFF2-40B4-BE49-F238E27FC236}">
                  <a16:creationId xmlns:a16="http://schemas.microsoft.com/office/drawing/2014/main" id="{9E621F70-426D-4F5B-8045-681B6C7672EB}"/>
                </a:ext>
              </a:extLst>
            </p:cNvPr>
            <p:cNvSpPr/>
            <p:nvPr/>
          </p:nvSpPr>
          <p:spPr>
            <a:xfrm rot="5400000" flipH="1">
              <a:off x="4929545" y="2614861"/>
              <a:ext cx="6858000" cy="1628276"/>
            </a:xfrm>
            <a:prstGeom prst="triangle">
              <a:avLst>
                <a:gd name="adj" fmla="val 36035"/>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1978" tIns="35989" rIns="71978" bIns="35989" rtlCol="0" anchor="ctr"/>
            <a:lstStyle/>
            <a:p>
              <a:pPr algn="ctr" defTabSz="914103">
                <a:lnSpc>
                  <a:spcPct val="125000"/>
                </a:lnSpc>
                <a:defRPr/>
              </a:pPr>
              <a:endParaRPr lang="ru-RU" sz="1599">
                <a:solidFill>
                  <a:srgbClr val="FFFFFF"/>
                </a:solidFill>
                <a:latin typeface="Lato"/>
              </a:endParaRPr>
            </a:p>
          </p:txBody>
        </p:sp>
        <p:sp>
          <p:nvSpPr>
            <p:cNvPr id="44" name="Прямоугольник 43">
              <a:extLst>
                <a:ext uri="{FF2B5EF4-FFF2-40B4-BE49-F238E27FC236}">
                  <a16:creationId xmlns:a16="http://schemas.microsoft.com/office/drawing/2014/main" id="{C4AEBD61-F5C2-48D9-B1BC-A6E93DC1499B}"/>
                </a:ext>
              </a:extLst>
            </p:cNvPr>
            <p:cNvSpPr/>
            <p:nvPr/>
          </p:nvSpPr>
          <p:spPr>
            <a:xfrm>
              <a:off x="3385752" y="0"/>
              <a:ext cx="416818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1978" tIns="35989" rIns="71978" bIns="35989" rtlCol="0" anchor="ctr"/>
            <a:lstStyle/>
            <a:p>
              <a:pPr algn="ctr" defTabSz="914103">
                <a:lnSpc>
                  <a:spcPct val="125000"/>
                </a:lnSpc>
              </a:pPr>
              <a:endParaRPr lang="ru-RU" sz="1599" dirty="0">
                <a:solidFill>
                  <a:srgbClr val="FFFFFF"/>
                </a:solidFill>
                <a:latin typeface="Lato"/>
              </a:endParaRPr>
            </a:p>
          </p:txBody>
        </p:sp>
      </p:grpSp>
      <p:grpSp>
        <p:nvGrpSpPr>
          <p:cNvPr id="23" name="logo">
            <a:extLst>
              <a:ext uri="{FF2B5EF4-FFF2-40B4-BE49-F238E27FC236}">
                <a16:creationId xmlns:a16="http://schemas.microsoft.com/office/drawing/2014/main" id="{7695968F-A341-4AB5-A56C-7E9F6D2E2090}"/>
              </a:ext>
            </a:extLst>
          </p:cNvPr>
          <p:cNvGrpSpPr>
            <a:grpSpLocks noChangeAspect="1"/>
          </p:cNvGrpSpPr>
          <p:nvPr/>
        </p:nvGrpSpPr>
        <p:grpSpPr bwMode="gray">
          <a:xfrm>
            <a:off x="11172452" y="402376"/>
            <a:ext cx="644027" cy="646307"/>
            <a:chOff x="2711" y="1027"/>
            <a:chExt cx="2258" cy="2266"/>
          </a:xfrm>
        </p:grpSpPr>
        <p:sp>
          <p:nvSpPr>
            <p:cNvPr id="24" name="AutoShape 3">
              <a:extLst>
                <a:ext uri="{FF2B5EF4-FFF2-40B4-BE49-F238E27FC236}">
                  <a16:creationId xmlns:a16="http://schemas.microsoft.com/office/drawing/2014/main" id="{A9734A92-8963-4C12-AFB0-3BFB924C9DE7}"/>
                </a:ext>
              </a:extLst>
            </p:cNvPr>
            <p:cNvSpPr>
              <a:spLocks noChangeAspect="1" noChangeArrowheads="1" noTextEdit="1"/>
            </p:cNvSpPr>
            <p:nvPr/>
          </p:nvSpPr>
          <p:spPr bwMode="gray">
            <a:xfrm>
              <a:off x="2711" y="1027"/>
              <a:ext cx="2258" cy="22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12" tIns="45706" rIns="91412" bIns="45706" numCol="1" anchor="t" anchorCtr="0" compatLnSpc="1">
              <a:prstTxWarp prst="textNoShape">
                <a:avLst/>
              </a:prstTxWarp>
            </a:bodyPr>
            <a:lstStyle/>
            <a:p>
              <a:pPr defTabSz="914103"/>
              <a:endParaRPr lang="de-DE" sz="1350" dirty="0">
                <a:solidFill>
                  <a:srgbClr val="414549"/>
                </a:solidFill>
                <a:latin typeface="Lato"/>
              </a:endParaRPr>
            </a:p>
          </p:txBody>
        </p:sp>
        <p:sp>
          <p:nvSpPr>
            <p:cNvPr id="25" name="Freeform 5">
              <a:extLst>
                <a:ext uri="{FF2B5EF4-FFF2-40B4-BE49-F238E27FC236}">
                  <a16:creationId xmlns:a16="http://schemas.microsoft.com/office/drawing/2014/main" id="{500C4DFF-335B-4B9E-BFED-BFF28B2724DC}"/>
                </a:ext>
              </a:extLst>
            </p:cNvPr>
            <p:cNvSpPr>
              <a:spLocks/>
            </p:cNvSpPr>
            <p:nvPr/>
          </p:nvSpPr>
          <p:spPr bwMode="gray">
            <a:xfrm>
              <a:off x="2709" y="1029"/>
              <a:ext cx="2260" cy="2262"/>
            </a:xfrm>
            <a:custGeom>
              <a:avLst/>
              <a:gdLst>
                <a:gd name="T0" fmla="*/ 2260 w 2260"/>
                <a:gd name="T1" fmla="*/ 0 h 2262"/>
                <a:gd name="T2" fmla="*/ 1612 w 2260"/>
                <a:gd name="T3" fmla="*/ 649 h 2262"/>
                <a:gd name="T4" fmla="*/ 1612 w 2260"/>
                <a:gd name="T5" fmla="*/ 649 h 2262"/>
                <a:gd name="T6" fmla="*/ 2035 w 2260"/>
                <a:gd name="T7" fmla="*/ 0 h 2262"/>
                <a:gd name="T8" fmla="*/ 0 w 2260"/>
                <a:gd name="T9" fmla="*/ 0 h 2262"/>
                <a:gd name="T10" fmla="*/ 0 w 2260"/>
                <a:gd name="T11" fmla="*/ 2262 h 2262"/>
                <a:gd name="T12" fmla="*/ 2260 w 2260"/>
                <a:gd name="T13" fmla="*/ 2262 h 2262"/>
                <a:gd name="T14" fmla="*/ 2260 w 2260"/>
                <a:gd name="T15" fmla="*/ 0 h 2262"/>
                <a:gd name="T16" fmla="*/ 2260 w 2260"/>
                <a:gd name="T17" fmla="*/ 0 h 2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0" h="2262">
                  <a:moveTo>
                    <a:pt x="2260" y="0"/>
                  </a:moveTo>
                  <a:lnTo>
                    <a:pt x="1612" y="649"/>
                  </a:lnTo>
                  <a:lnTo>
                    <a:pt x="1612" y="649"/>
                  </a:lnTo>
                  <a:lnTo>
                    <a:pt x="2035" y="0"/>
                  </a:lnTo>
                  <a:lnTo>
                    <a:pt x="0" y="0"/>
                  </a:lnTo>
                  <a:lnTo>
                    <a:pt x="0" y="2262"/>
                  </a:lnTo>
                  <a:lnTo>
                    <a:pt x="2260" y="2262"/>
                  </a:lnTo>
                  <a:lnTo>
                    <a:pt x="2260" y="0"/>
                  </a:lnTo>
                  <a:lnTo>
                    <a:pt x="2260" y="0"/>
                  </a:lnTo>
                  <a:close/>
                </a:path>
              </a:pathLst>
            </a:custGeom>
            <a:solidFill>
              <a:srgbClr val="E55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2" tIns="45706" rIns="91412" bIns="45706" numCol="1" anchor="t" anchorCtr="0" compatLnSpc="1">
              <a:prstTxWarp prst="textNoShape">
                <a:avLst/>
              </a:prstTxWarp>
            </a:bodyPr>
            <a:lstStyle/>
            <a:p>
              <a:pPr defTabSz="914103"/>
              <a:endParaRPr lang="de-DE" sz="1350" dirty="0">
                <a:solidFill>
                  <a:srgbClr val="414549"/>
                </a:solidFill>
                <a:latin typeface="Lato"/>
              </a:endParaRPr>
            </a:p>
          </p:txBody>
        </p:sp>
        <p:sp>
          <p:nvSpPr>
            <p:cNvPr id="26" name="Freeform 6">
              <a:extLst>
                <a:ext uri="{FF2B5EF4-FFF2-40B4-BE49-F238E27FC236}">
                  <a16:creationId xmlns:a16="http://schemas.microsoft.com/office/drawing/2014/main" id="{FAE754E9-ED7B-4A08-8B8F-0C54BFE769B1}"/>
                </a:ext>
              </a:extLst>
            </p:cNvPr>
            <p:cNvSpPr>
              <a:spLocks noEditPoints="1"/>
            </p:cNvSpPr>
            <p:nvPr/>
          </p:nvSpPr>
          <p:spPr bwMode="gray">
            <a:xfrm>
              <a:off x="3623" y="1696"/>
              <a:ext cx="1167" cy="922"/>
            </a:xfrm>
            <a:custGeom>
              <a:avLst/>
              <a:gdLst>
                <a:gd name="T0" fmla="*/ 411 w 580"/>
                <a:gd name="T1" fmla="*/ 213 h 458"/>
                <a:gd name="T2" fmla="*/ 570 w 580"/>
                <a:gd name="T3" fmla="*/ 37 h 458"/>
                <a:gd name="T4" fmla="*/ 580 w 580"/>
                <a:gd name="T5" fmla="*/ 20 h 458"/>
                <a:gd name="T6" fmla="*/ 545 w 580"/>
                <a:gd name="T7" fmla="*/ 0 h 458"/>
                <a:gd name="T8" fmla="*/ 519 w 580"/>
                <a:gd name="T9" fmla="*/ 16 h 458"/>
                <a:gd name="T10" fmla="*/ 344 w 580"/>
                <a:gd name="T11" fmla="*/ 210 h 458"/>
                <a:gd name="T12" fmla="*/ 334 w 580"/>
                <a:gd name="T13" fmla="*/ 229 h 458"/>
                <a:gd name="T14" fmla="*/ 344 w 580"/>
                <a:gd name="T15" fmla="*/ 248 h 458"/>
                <a:gd name="T16" fmla="*/ 519 w 580"/>
                <a:gd name="T17" fmla="*/ 442 h 458"/>
                <a:gd name="T18" fmla="*/ 545 w 580"/>
                <a:gd name="T19" fmla="*/ 458 h 458"/>
                <a:gd name="T20" fmla="*/ 580 w 580"/>
                <a:gd name="T21" fmla="*/ 438 h 458"/>
                <a:gd name="T22" fmla="*/ 570 w 580"/>
                <a:gd name="T23" fmla="*/ 421 h 458"/>
                <a:gd name="T24" fmla="*/ 411 w 580"/>
                <a:gd name="T25" fmla="*/ 245 h 458"/>
                <a:gd name="T26" fmla="*/ 399 w 580"/>
                <a:gd name="T27" fmla="*/ 229 h 458"/>
                <a:gd name="T28" fmla="*/ 411 w 580"/>
                <a:gd name="T29" fmla="*/ 213 h 458"/>
                <a:gd name="T30" fmla="*/ 252 w 580"/>
                <a:gd name="T31" fmla="*/ 439 h 458"/>
                <a:gd name="T32" fmla="*/ 281 w 580"/>
                <a:gd name="T33" fmla="*/ 454 h 458"/>
                <a:gd name="T34" fmla="*/ 309 w 580"/>
                <a:gd name="T35" fmla="*/ 439 h 458"/>
                <a:gd name="T36" fmla="*/ 309 w 580"/>
                <a:gd name="T37" fmla="*/ 19 h 458"/>
                <a:gd name="T38" fmla="*/ 281 w 580"/>
                <a:gd name="T39" fmla="*/ 4 h 458"/>
                <a:gd name="T40" fmla="*/ 252 w 580"/>
                <a:gd name="T41" fmla="*/ 19 h 458"/>
                <a:gd name="T42" fmla="*/ 252 w 580"/>
                <a:gd name="T43" fmla="*/ 439 h 458"/>
                <a:gd name="T44" fmla="*/ 0 w 580"/>
                <a:gd name="T45" fmla="*/ 439 h 458"/>
                <a:gd name="T46" fmla="*/ 28 w 580"/>
                <a:gd name="T47" fmla="*/ 454 h 458"/>
                <a:gd name="T48" fmla="*/ 56 w 580"/>
                <a:gd name="T49" fmla="*/ 439 h 458"/>
                <a:gd name="T50" fmla="*/ 56 w 580"/>
                <a:gd name="T51" fmla="*/ 157 h 458"/>
                <a:gd name="T52" fmla="*/ 165 w 580"/>
                <a:gd name="T53" fmla="*/ 53 h 458"/>
                <a:gd name="T54" fmla="*/ 180 w 580"/>
                <a:gd name="T55" fmla="*/ 53 h 458"/>
                <a:gd name="T56" fmla="*/ 196 w 580"/>
                <a:gd name="T57" fmla="*/ 27 h 458"/>
                <a:gd name="T58" fmla="*/ 154 w 580"/>
                <a:gd name="T59" fmla="*/ 4 h 458"/>
                <a:gd name="T60" fmla="*/ 0 w 580"/>
                <a:gd name="T61" fmla="*/ 152 h 458"/>
                <a:gd name="T62" fmla="*/ 0 w 580"/>
                <a:gd name="T63" fmla="*/ 439 h 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80" h="458">
                  <a:moveTo>
                    <a:pt x="411" y="213"/>
                  </a:moveTo>
                  <a:cubicBezTo>
                    <a:pt x="570" y="37"/>
                    <a:pt x="570" y="37"/>
                    <a:pt x="570" y="37"/>
                  </a:cubicBezTo>
                  <a:cubicBezTo>
                    <a:pt x="576" y="30"/>
                    <a:pt x="580" y="25"/>
                    <a:pt x="580" y="20"/>
                  </a:cubicBezTo>
                  <a:cubicBezTo>
                    <a:pt x="580" y="10"/>
                    <a:pt x="559" y="0"/>
                    <a:pt x="545" y="0"/>
                  </a:cubicBezTo>
                  <a:cubicBezTo>
                    <a:pt x="535" y="0"/>
                    <a:pt x="526" y="8"/>
                    <a:pt x="519" y="16"/>
                  </a:cubicBezTo>
                  <a:cubicBezTo>
                    <a:pt x="344" y="210"/>
                    <a:pt x="344" y="210"/>
                    <a:pt x="344" y="210"/>
                  </a:cubicBezTo>
                  <a:cubicBezTo>
                    <a:pt x="336" y="219"/>
                    <a:pt x="334" y="224"/>
                    <a:pt x="334" y="229"/>
                  </a:cubicBezTo>
                  <a:cubicBezTo>
                    <a:pt x="334" y="234"/>
                    <a:pt x="336" y="239"/>
                    <a:pt x="344" y="248"/>
                  </a:cubicBezTo>
                  <a:cubicBezTo>
                    <a:pt x="519" y="442"/>
                    <a:pt x="519" y="442"/>
                    <a:pt x="519" y="442"/>
                  </a:cubicBezTo>
                  <a:cubicBezTo>
                    <a:pt x="526" y="450"/>
                    <a:pt x="535" y="458"/>
                    <a:pt x="545" y="458"/>
                  </a:cubicBezTo>
                  <a:cubicBezTo>
                    <a:pt x="559" y="458"/>
                    <a:pt x="580" y="448"/>
                    <a:pt x="580" y="438"/>
                  </a:cubicBezTo>
                  <a:cubicBezTo>
                    <a:pt x="580" y="433"/>
                    <a:pt x="576" y="428"/>
                    <a:pt x="570" y="421"/>
                  </a:cubicBezTo>
                  <a:cubicBezTo>
                    <a:pt x="411" y="245"/>
                    <a:pt x="411" y="245"/>
                    <a:pt x="411" y="245"/>
                  </a:cubicBezTo>
                  <a:cubicBezTo>
                    <a:pt x="403" y="236"/>
                    <a:pt x="399" y="232"/>
                    <a:pt x="399" y="229"/>
                  </a:cubicBezTo>
                  <a:cubicBezTo>
                    <a:pt x="399" y="226"/>
                    <a:pt x="403" y="222"/>
                    <a:pt x="411" y="213"/>
                  </a:cubicBezTo>
                  <a:moveTo>
                    <a:pt x="252" y="439"/>
                  </a:moveTo>
                  <a:cubicBezTo>
                    <a:pt x="252" y="449"/>
                    <a:pt x="261" y="454"/>
                    <a:pt x="281" y="454"/>
                  </a:cubicBezTo>
                  <a:cubicBezTo>
                    <a:pt x="300" y="454"/>
                    <a:pt x="309" y="449"/>
                    <a:pt x="309" y="439"/>
                  </a:cubicBezTo>
                  <a:cubicBezTo>
                    <a:pt x="309" y="19"/>
                    <a:pt x="309" y="19"/>
                    <a:pt x="309" y="19"/>
                  </a:cubicBezTo>
                  <a:cubicBezTo>
                    <a:pt x="309" y="9"/>
                    <a:pt x="300" y="4"/>
                    <a:pt x="281" y="4"/>
                  </a:cubicBezTo>
                  <a:cubicBezTo>
                    <a:pt x="261" y="4"/>
                    <a:pt x="252" y="9"/>
                    <a:pt x="252" y="19"/>
                  </a:cubicBezTo>
                  <a:lnTo>
                    <a:pt x="252" y="439"/>
                  </a:lnTo>
                  <a:close/>
                  <a:moveTo>
                    <a:pt x="0" y="439"/>
                  </a:moveTo>
                  <a:cubicBezTo>
                    <a:pt x="0" y="449"/>
                    <a:pt x="8" y="454"/>
                    <a:pt x="28" y="454"/>
                  </a:cubicBezTo>
                  <a:cubicBezTo>
                    <a:pt x="48" y="454"/>
                    <a:pt x="56" y="449"/>
                    <a:pt x="56" y="439"/>
                  </a:cubicBezTo>
                  <a:cubicBezTo>
                    <a:pt x="56" y="157"/>
                    <a:pt x="56" y="157"/>
                    <a:pt x="56" y="157"/>
                  </a:cubicBezTo>
                  <a:cubicBezTo>
                    <a:pt x="56" y="83"/>
                    <a:pt x="85" y="53"/>
                    <a:pt x="165" y="53"/>
                  </a:cubicBezTo>
                  <a:cubicBezTo>
                    <a:pt x="180" y="53"/>
                    <a:pt x="180" y="53"/>
                    <a:pt x="180" y="53"/>
                  </a:cubicBezTo>
                  <a:cubicBezTo>
                    <a:pt x="192" y="53"/>
                    <a:pt x="196" y="43"/>
                    <a:pt x="196" y="27"/>
                  </a:cubicBezTo>
                  <a:cubicBezTo>
                    <a:pt x="196" y="8"/>
                    <a:pt x="185" y="4"/>
                    <a:pt x="154" y="4"/>
                  </a:cubicBezTo>
                  <a:cubicBezTo>
                    <a:pt x="64" y="4"/>
                    <a:pt x="0" y="43"/>
                    <a:pt x="0" y="152"/>
                  </a:cubicBezTo>
                  <a:lnTo>
                    <a:pt x="0" y="43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2" tIns="45706" rIns="91412" bIns="45706" numCol="1" anchor="t" anchorCtr="0" compatLnSpc="1">
              <a:prstTxWarp prst="textNoShape">
                <a:avLst/>
              </a:prstTxWarp>
            </a:bodyPr>
            <a:lstStyle/>
            <a:p>
              <a:pPr defTabSz="914103"/>
              <a:endParaRPr lang="de-DE" sz="1350" dirty="0">
                <a:solidFill>
                  <a:srgbClr val="414549"/>
                </a:solidFill>
                <a:latin typeface="Lato"/>
              </a:endParaRPr>
            </a:p>
          </p:txBody>
        </p:sp>
        <p:sp>
          <p:nvSpPr>
            <p:cNvPr id="27" name="Freeform 7">
              <a:extLst>
                <a:ext uri="{FF2B5EF4-FFF2-40B4-BE49-F238E27FC236}">
                  <a16:creationId xmlns:a16="http://schemas.microsoft.com/office/drawing/2014/main" id="{E2872D1E-D184-480C-81D2-A7996B4CE7BA}"/>
                </a:ext>
              </a:extLst>
            </p:cNvPr>
            <p:cNvSpPr>
              <a:spLocks/>
            </p:cNvSpPr>
            <p:nvPr/>
          </p:nvSpPr>
          <p:spPr bwMode="gray">
            <a:xfrm>
              <a:off x="2880" y="1704"/>
              <a:ext cx="618" cy="916"/>
            </a:xfrm>
            <a:custGeom>
              <a:avLst/>
              <a:gdLst>
                <a:gd name="T0" fmla="*/ 307 w 307"/>
                <a:gd name="T1" fmla="*/ 405 h 455"/>
                <a:gd name="T2" fmla="*/ 307 w 307"/>
                <a:gd name="T3" fmla="*/ 244 h 455"/>
                <a:gd name="T4" fmla="*/ 279 w 307"/>
                <a:gd name="T5" fmla="*/ 229 h 455"/>
                <a:gd name="T6" fmla="*/ 250 w 307"/>
                <a:gd name="T7" fmla="*/ 244 h 455"/>
                <a:gd name="T8" fmla="*/ 250 w 307"/>
                <a:gd name="T9" fmla="*/ 378 h 455"/>
                <a:gd name="T10" fmla="*/ 199 w 307"/>
                <a:gd name="T11" fmla="*/ 408 h 455"/>
                <a:gd name="T12" fmla="*/ 61 w 307"/>
                <a:gd name="T13" fmla="*/ 231 h 455"/>
                <a:gd name="T14" fmla="*/ 238 w 307"/>
                <a:gd name="T15" fmla="*/ 49 h 455"/>
                <a:gd name="T16" fmla="*/ 270 w 307"/>
                <a:gd name="T17" fmla="*/ 49 h 455"/>
                <a:gd name="T18" fmla="*/ 286 w 307"/>
                <a:gd name="T19" fmla="*/ 23 h 455"/>
                <a:gd name="T20" fmla="*/ 244 w 307"/>
                <a:gd name="T21" fmla="*/ 0 h 455"/>
                <a:gd name="T22" fmla="*/ 231 w 307"/>
                <a:gd name="T23" fmla="*/ 0 h 455"/>
                <a:gd name="T24" fmla="*/ 0 w 307"/>
                <a:gd name="T25" fmla="*/ 232 h 455"/>
                <a:gd name="T26" fmla="*/ 198 w 307"/>
                <a:gd name="T27" fmla="*/ 455 h 455"/>
                <a:gd name="T28" fmla="*/ 307 w 307"/>
                <a:gd name="T29" fmla="*/ 405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7" h="455">
                  <a:moveTo>
                    <a:pt x="307" y="405"/>
                  </a:moveTo>
                  <a:cubicBezTo>
                    <a:pt x="307" y="244"/>
                    <a:pt x="307" y="244"/>
                    <a:pt x="307" y="244"/>
                  </a:cubicBezTo>
                  <a:cubicBezTo>
                    <a:pt x="307" y="234"/>
                    <a:pt x="298" y="229"/>
                    <a:pt x="279" y="229"/>
                  </a:cubicBezTo>
                  <a:cubicBezTo>
                    <a:pt x="259" y="229"/>
                    <a:pt x="250" y="234"/>
                    <a:pt x="250" y="244"/>
                  </a:cubicBezTo>
                  <a:cubicBezTo>
                    <a:pt x="250" y="378"/>
                    <a:pt x="250" y="378"/>
                    <a:pt x="250" y="378"/>
                  </a:cubicBezTo>
                  <a:cubicBezTo>
                    <a:pt x="250" y="399"/>
                    <a:pt x="241" y="408"/>
                    <a:pt x="199" y="408"/>
                  </a:cubicBezTo>
                  <a:cubicBezTo>
                    <a:pt x="114" y="408"/>
                    <a:pt x="61" y="342"/>
                    <a:pt x="61" y="231"/>
                  </a:cubicBezTo>
                  <a:cubicBezTo>
                    <a:pt x="61" y="115"/>
                    <a:pt x="126" y="49"/>
                    <a:pt x="238" y="49"/>
                  </a:cubicBezTo>
                  <a:cubicBezTo>
                    <a:pt x="270" y="49"/>
                    <a:pt x="270" y="49"/>
                    <a:pt x="270" y="49"/>
                  </a:cubicBezTo>
                  <a:cubicBezTo>
                    <a:pt x="282" y="49"/>
                    <a:pt x="286" y="39"/>
                    <a:pt x="286" y="23"/>
                  </a:cubicBezTo>
                  <a:cubicBezTo>
                    <a:pt x="286" y="4"/>
                    <a:pt x="275" y="0"/>
                    <a:pt x="244" y="0"/>
                  </a:cubicBezTo>
                  <a:cubicBezTo>
                    <a:pt x="231" y="0"/>
                    <a:pt x="231" y="0"/>
                    <a:pt x="231" y="0"/>
                  </a:cubicBezTo>
                  <a:cubicBezTo>
                    <a:pt x="101" y="0"/>
                    <a:pt x="0" y="71"/>
                    <a:pt x="0" y="232"/>
                  </a:cubicBezTo>
                  <a:cubicBezTo>
                    <a:pt x="0" y="386"/>
                    <a:pt x="88" y="455"/>
                    <a:pt x="198" y="455"/>
                  </a:cubicBezTo>
                  <a:cubicBezTo>
                    <a:pt x="286" y="455"/>
                    <a:pt x="307" y="430"/>
                    <a:pt x="307" y="40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2" tIns="45706" rIns="91412" bIns="45706" numCol="1" anchor="t" anchorCtr="0" compatLnSpc="1">
              <a:prstTxWarp prst="textNoShape">
                <a:avLst/>
              </a:prstTxWarp>
            </a:bodyPr>
            <a:lstStyle/>
            <a:p>
              <a:pPr defTabSz="914103"/>
              <a:endParaRPr lang="de-DE" sz="1350" dirty="0">
                <a:solidFill>
                  <a:srgbClr val="414549"/>
                </a:solidFill>
                <a:latin typeface="Lato"/>
              </a:endParaRPr>
            </a:p>
          </p:txBody>
        </p:sp>
        <p:sp>
          <p:nvSpPr>
            <p:cNvPr id="28" name="Oval 8">
              <a:extLst>
                <a:ext uri="{FF2B5EF4-FFF2-40B4-BE49-F238E27FC236}">
                  <a16:creationId xmlns:a16="http://schemas.microsoft.com/office/drawing/2014/main" id="{443A656C-C092-4DF4-8469-511FC09B9629}"/>
                </a:ext>
              </a:extLst>
            </p:cNvPr>
            <p:cNvSpPr>
              <a:spLocks noChangeArrowheads="1"/>
            </p:cNvSpPr>
            <p:nvPr/>
          </p:nvSpPr>
          <p:spPr bwMode="gray">
            <a:xfrm>
              <a:off x="3778" y="2099"/>
              <a:ext cx="122" cy="12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2" tIns="45706" rIns="91412" bIns="45706" numCol="1" anchor="t" anchorCtr="0" compatLnSpc="1">
              <a:prstTxWarp prst="textNoShape">
                <a:avLst/>
              </a:prstTxWarp>
            </a:bodyPr>
            <a:lstStyle/>
            <a:p>
              <a:pPr defTabSz="914103"/>
              <a:endParaRPr lang="de-DE" sz="1350" dirty="0">
                <a:solidFill>
                  <a:srgbClr val="414549"/>
                </a:solidFill>
                <a:latin typeface="Lato"/>
              </a:endParaRPr>
            </a:p>
          </p:txBody>
        </p:sp>
        <p:sp>
          <p:nvSpPr>
            <p:cNvPr id="29" name="Freeform 9">
              <a:extLst>
                <a:ext uri="{FF2B5EF4-FFF2-40B4-BE49-F238E27FC236}">
                  <a16:creationId xmlns:a16="http://schemas.microsoft.com/office/drawing/2014/main" id="{2925477C-6429-43E7-AFA8-8C749FA7992C}"/>
                </a:ext>
              </a:extLst>
            </p:cNvPr>
            <p:cNvSpPr>
              <a:spLocks noEditPoints="1"/>
            </p:cNvSpPr>
            <p:nvPr/>
          </p:nvSpPr>
          <p:spPr bwMode="gray">
            <a:xfrm>
              <a:off x="3623" y="1696"/>
              <a:ext cx="1167" cy="922"/>
            </a:xfrm>
            <a:custGeom>
              <a:avLst/>
              <a:gdLst>
                <a:gd name="T0" fmla="*/ 411 w 580"/>
                <a:gd name="T1" fmla="*/ 213 h 458"/>
                <a:gd name="T2" fmla="*/ 570 w 580"/>
                <a:gd name="T3" fmla="*/ 37 h 458"/>
                <a:gd name="T4" fmla="*/ 580 w 580"/>
                <a:gd name="T5" fmla="*/ 20 h 458"/>
                <a:gd name="T6" fmla="*/ 545 w 580"/>
                <a:gd name="T7" fmla="*/ 0 h 458"/>
                <a:gd name="T8" fmla="*/ 519 w 580"/>
                <a:gd name="T9" fmla="*/ 16 h 458"/>
                <a:gd name="T10" fmla="*/ 344 w 580"/>
                <a:gd name="T11" fmla="*/ 210 h 458"/>
                <a:gd name="T12" fmla="*/ 334 w 580"/>
                <a:gd name="T13" fmla="*/ 229 h 458"/>
                <a:gd name="T14" fmla="*/ 344 w 580"/>
                <a:gd name="T15" fmla="*/ 248 h 458"/>
                <a:gd name="T16" fmla="*/ 519 w 580"/>
                <a:gd name="T17" fmla="*/ 442 h 458"/>
                <a:gd name="T18" fmla="*/ 545 w 580"/>
                <a:gd name="T19" fmla="*/ 458 h 458"/>
                <a:gd name="T20" fmla="*/ 580 w 580"/>
                <a:gd name="T21" fmla="*/ 438 h 458"/>
                <a:gd name="T22" fmla="*/ 570 w 580"/>
                <a:gd name="T23" fmla="*/ 421 h 458"/>
                <a:gd name="T24" fmla="*/ 411 w 580"/>
                <a:gd name="T25" fmla="*/ 245 h 458"/>
                <a:gd name="T26" fmla="*/ 399 w 580"/>
                <a:gd name="T27" fmla="*/ 229 h 458"/>
                <a:gd name="T28" fmla="*/ 411 w 580"/>
                <a:gd name="T29" fmla="*/ 213 h 458"/>
                <a:gd name="T30" fmla="*/ 252 w 580"/>
                <a:gd name="T31" fmla="*/ 439 h 458"/>
                <a:gd name="T32" fmla="*/ 281 w 580"/>
                <a:gd name="T33" fmla="*/ 454 h 458"/>
                <a:gd name="T34" fmla="*/ 309 w 580"/>
                <a:gd name="T35" fmla="*/ 439 h 458"/>
                <a:gd name="T36" fmla="*/ 309 w 580"/>
                <a:gd name="T37" fmla="*/ 19 h 458"/>
                <a:gd name="T38" fmla="*/ 281 w 580"/>
                <a:gd name="T39" fmla="*/ 4 h 458"/>
                <a:gd name="T40" fmla="*/ 252 w 580"/>
                <a:gd name="T41" fmla="*/ 19 h 458"/>
                <a:gd name="T42" fmla="*/ 252 w 580"/>
                <a:gd name="T43" fmla="*/ 439 h 458"/>
                <a:gd name="T44" fmla="*/ 0 w 580"/>
                <a:gd name="T45" fmla="*/ 439 h 458"/>
                <a:gd name="T46" fmla="*/ 28 w 580"/>
                <a:gd name="T47" fmla="*/ 454 h 458"/>
                <a:gd name="T48" fmla="*/ 56 w 580"/>
                <a:gd name="T49" fmla="*/ 439 h 458"/>
                <a:gd name="T50" fmla="*/ 56 w 580"/>
                <a:gd name="T51" fmla="*/ 157 h 458"/>
                <a:gd name="T52" fmla="*/ 165 w 580"/>
                <a:gd name="T53" fmla="*/ 53 h 458"/>
                <a:gd name="T54" fmla="*/ 180 w 580"/>
                <a:gd name="T55" fmla="*/ 53 h 458"/>
                <a:gd name="T56" fmla="*/ 196 w 580"/>
                <a:gd name="T57" fmla="*/ 27 h 458"/>
                <a:gd name="T58" fmla="*/ 154 w 580"/>
                <a:gd name="T59" fmla="*/ 4 h 458"/>
                <a:gd name="T60" fmla="*/ 0 w 580"/>
                <a:gd name="T61" fmla="*/ 152 h 458"/>
                <a:gd name="T62" fmla="*/ 0 w 580"/>
                <a:gd name="T63" fmla="*/ 439 h 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80" h="458">
                  <a:moveTo>
                    <a:pt x="411" y="213"/>
                  </a:moveTo>
                  <a:cubicBezTo>
                    <a:pt x="570" y="37"/>
                    <a:pt x="570" y="37"/>
                    <a:pt x="570" y="37"/>
                  </a:cubicBezTo>
                  <a:cubicBezTo>
                    <a:pt x="576" y="30"/>
                    <a:pt x="580" y="25"/>
                    <a:pt x="580" y="20"/>
                  </a:cubicBezTo>
                  <a:cubicBezTo>
                    <a:pt x="580" y="10"/>
                    <a:pt x="559" y="0"/>
                    <a:pt x="545" y="0"/>
                  </a:cubicBezTo>
                  <a:cubicBezTo>
                    <a:pt x="535" y="0"/>
                    <a:pt x="526" y="8"/>
                    <a:pt x="519" y="16"/>
                  </a:cubicBezTo>
                  <a:cubicBezTo>
                    <a:pt x="344" y="210"/>
                    <a:pt x="344" y="210"/>
                    <a:pt x="344" y="210"/>
                  </a:cubicBezTo>
                  <a:cubicBezTo>
                    <a:pt x="336" y="219"/>
                    <a:pt x="334" y="224"/>
                    <a:pt x="334" y="229"/>
                  </a:cubicBezTo>
                  <a:cubicBezTo>
                    <a:pt x="334" y="234"/>
                    <a:pt x="336" y="239"/>
                    <a:pt x="344" y="248"/>
                  </a:cubicBezTo>
                  <a:cubicBezTo>
                    <a:pt x="519" y="442"/>
                    <a:pt x="519" y="442"/>
                    <a:pt x="519" y="442"/>
                  </a:cubicBezTo>
                  <a:cubicBezTo>
                    <a:pt x="526" y="450"/>
                    <a:pt x="535" y="458"/>
                    <a:pt x="545" y="458"/>
                  </a:cubicBezTo>
                  <a:cubicBezTo>
                    <a:pt x="559" y="458"/>
                    <a:pt x="580" y="448"/>
                    <a:pt x="580" y="438"/>
                  </a:cubicBezTo>
                  <a:cubicBezTo>
                    <a:pt x="580" y="433"/>
                    <a:pt x="576" y="428"/>
                    <a:pt x="570" y="421"/>
                  </a:cubicBezTo>
                  <a:cubicBezTo>
                    <a:pt x="411" y="245"/>
                    <a:pt x="411" y="245"/>
                    <a:pt x="411" y="245"/>
                  </a:cubicBezTo>
                  <a:cubicBezTo>
                    <a:pt x="403" y="236"/>
                    <a:pt x="399" y="232"/>
                    <a:pt x="399" y="229"/>
                  </a:cubicBezTo>
                  <a:cubicBezTo>
                    <a:pt x="399" y="226"/>
                    <a:pt x="403" y="222"/>
                    <a:pt x="411" y="213"/>
                  </a:cubicBezTo>
                  <a:moveTo>
                    <a:pt x="252" y="439"/>
                  </a:moveTo>
                  <a:cubicBezTo>
                    <a:pt x="252" y="449"/>
                    <a:pt x="261" y="454"/>
                    <a:pt x="281" y="454"/>
                  </a:cubicBezTo>
                  <a:cubicBezTo>
                    <a:pt x="300" y="454"/>
                    <a:pt x="309" y="449"/>
                    <a:pt x="309" y="439"/>
                  </a:cubicBezTo>
                  <a:cubicBezTo>
                    <a:pt x="309" y="19"/>
                    <a:pt x="309" y="19"/>
                    <a:pt x="309" y="19"/>
                  </a:cubicBezTo>
                  <a:cubicBezTo>
                    <a:pt x="309" y="9"/>
                    <a:pt x="300" y="4"/>
                    <a:pt x="281" y="4"/>
                  </a:cubicBezTo>
                  <a:cubicBezTo>
                    <a:pt x="261" y="4"/>
                    <a:pt x="252" y="9"/>
                    <a:pt x="252" y="19"/>
                  </a:cubicBezTo>
                  <a:lnTo>
                    <a:pt x="252" y="439"/>
                  </a:lnTo>
                  <a:close/>
                  <a:moveTo>
                    <a:pt x="0" y="439"/>
                  </a:moveTo>
                  <a:cubicBezTo>
                    <a:pt x="0" y="449"/>
                    <a:pt x="8" y="454"/>
                    <a:pt x="28" y="454"/>
                  </a:cubicBezTo>
                  <a:cubicBezTo>
                    <a:pt x="48" y="454"/>
                    <a:pt x="56" y="449"/>
                    <a:pt x="56" y="439"/>
                  </a:cubicBezTo>
                  <a:cubicBezTo>
                    <a:pt x="56" y="157"/>
                    <a:pt x="56" y="157"/>
                    <a:pt x="56" y="157"/>
                  </a:cubicBezTo>
                  <a:cubicBezTo>
                    <a:pt x="56" y="83"/>
                    <a:pt x="85" y="53"/>
                    <a:pt x="165" y="53"/>
                  </a:cubicBezTo>
                  <a:cubicBezTo>
                    <a:pt x="180" y="53"/>
                    <a:pt x="180" y="53"/>
                    <a:pt x="180" y="53"/>
                  </a:cubicBezTo>
                  <a:cubicBezTo>
                    <a:pt x="192" y="53"/>
                    <a:pt x="196" y="43"/>
                    <a:pt x="196" y="27"/>
                  </a:cubicBezTo>
                  <a:cubicBezTo>
                    <a:pt x="196" y="8"/>
                    <a:pt x="185" y="4"/>
                    <a:pt x="154" y="4"/>
                  </a:cubicBezTo>
                  <a:cubicBezTo>
                    <a:pt x="64" y="4"/>
                    <a:pt x="0" y="43"/>
                    <a:pt x="0" y="152"/>
                  </a:cubicBezTo>
                  <a:lnTo>
                    <a:pt x="0" y="43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2" tIns="45706" rIns="91412" bIns="45706" numCol="1" anchor="t" anchorCtr="0" compatLnSpc="1">
              <a:prstTxWarp prst="textNoShape">
                <a:avLst/>
              </a:prstTxWarp>
            </a:bodyPr>
            <a:lstStyle/>
            <a:p>
              <a:pPr defTabSz="914103"/>
              <a:endParaRPr lang="de-DE" sz="1350" dirty="0">
                <a:solidFill>
                  <a:srgbClr val="414549"/>
                </a:solidFill>
                <a:latin typeface="Lato"/>
              </a:endParaRPr>
            </a:p>
          </p:txBody>
        </p:sp>
        <p:sp>
          <p:nvSpPr>
            <p:cNvPr id="30" name="Freeform 10">
              <a:extLst>
                <a:ext uri="{FF2B5EF4-FFF2-40B4-BE49-F238E27FC236}">
                  <a16:creationId xmlns:a16="http://schemas.microsoft.com/office/drawing/2014/main" id="{CFBAA92C-09A4-4296-96E7-DFF4E9A5DDC2}"/>
                </a:ext>
              </a:extLst>
            </p:cNvPr>
            <p:cNvSpPr>
              <a:spLocks/>
            </p:cNvSpPr>
            <p:nvPr/>
          </p:nvSpPr>
          <p:spPr bwMode="gray">
            <a:xfrm>
              <a:off x="2880" y="1704"/>
              <a:ext cx="618" cy="916"/>
            </a:xfrm>
            <a:custGeom>
              <a:avLst/>
              <a:gdLst>
                <a:gd name="T0" fmla="*/ 307 w 307"/>
                <a:gd name="T1" fmla="*/ 405 h 455"/>
                <a:gd name="T2" fmla="*/ 307 w 307"/>
                <a:gd name="T3" fmla="*/ 244 h 455"/>
                <a:gd name="T4" fmla="*/ 279 w 307"/>
                <a:gd name="T5" fmla="*/ 229 h 455"/>
                <a:gd name="T6" fmla="*/ 250 w 307"/>
                <a:gd name="T7" fmla="*/ 244 h 455"/>
                <a:gd name="T8" fmla="*/ 250 w 307"/>
                <a:gd name="T9" fmla="*/ 378 h 455"/>
                <a:gd name="T10" fmla="*/ 199 w 307"/>
                <a:gd name="T11" fmla="*/ 408 h 455"/>
                <a:gd name="T12" fmla="*/ 61 w 307"/>
                <a:gd name="T13" fmla="*/ 231 h 455"/>
                <a:gd name="T14" fmla="*/ 238 w 307"/>
                <a:gd name="T15" fmla="*/ 49 h 455"/>
                <a:gd name="T16" fmla="*/ 270 w 307"/>
                <a:gd name="T17" fmla="*/ 49 h 455"/>
                <a:gd name="T18" fmla="*/ 286 w 307"/>
                <a:gd name="T19" fmla="*/ 23 h 455"/>
                <a:gd name="T20" fmla="*/ 244 w 307"/>
                <a:gd name="T21" fmla="*/ 0 h 455"/>
                <a:gd name="T22" fmla="*/ 231 w 307"/>
                <a:gd name="T23" fmla="*/ 0 h 455"/>
                <a:gd name="T24" fmla="*/ 0 w 307"/>
                <a:gd name="T25" fmla="*/ 232 h 455"/>
                <a:gd name="T26" fmla="*/ 198 w 307"/>
                <a:gd name="T27" fmla="*/ 455 h 455"/>
                <a:gd name="T28" fmla="*/ 307 w 307"/>
                <a:gd name="T29" fmla="*/ 405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7" h="455">
                  <a:moveTo>
                    <a:pt x="307" y="405"/>
                  </a:moveTo>
                  <a:cubicBezTo>
                    <a:pt x="307" y="244"/>
                    <a:pt x="307" y="244"/>
                    <a:pt x="307" y="244"/>
                  </a:cubicBezTo>
                  <a:cubicBezTo>
                    <a:pt x="307" y="234"/>
                    <a:pt x="298" y="229"/>
                    <a:pt x="279" y="229"/>
                  </a:cubicBezTo>
                  <a:cubicBezTo>
                    <a:pt x="259" y="229"/>
                    <a:pt x="250" y="234"/>
                    <a:pt x="250" y="244"/>
                  </a:cubicBezTo>
                  <a:cubicBezTo>
                    <a:pt x="250" y="378"/>
                    <a:pt x="250" y="378"/>
                    <a:pt x="250" y="378"/>
                  </a:cubicBezTo>
                  <a:cubicBezTo>
                    <a:pt x="250" y="399"/>
                    <a:pt x="241" y="408"/>
                    <a:pt x="199" y="408"/>
                  </a:cubicBezTo>
                  <a:cubicBezTo>
                    <a:pt x="114" y="408"/>
                    <a:pt x="61" y="342"/>
                    <a:pt x="61" y="231"/>
                  </a:cubicBezTo>
                  <a:cubicBezTo>
                    <a:pt x="61" y="115"/>
                    <a:pt x="126" y="49"/>
                    <a:pt x="238" y="49"/>
                  </a:cubicBezTo>
                  <a:cubicBezTo>
                    <a:pt x="270" y="49"/>
                    <a:pt x="270" y="49"/>
                    <a:pt x="270" y="49"/>
                  </a:cubicBezTo>
                  <a:cubicBezTo>
                    <a:pt x="282" y="49"/>
                    <a:pt x="286" y="39"/>
                    <a:pt x="286" y="23"/>
                  </a:cubicBezTo>
                  <a:cubicBezTo>
                    <a:pt x="286" y="4"/>
                    <a:pt x="275" y="0"/>
                    <a:pt x="244" y="0"/>
                  </a:cubicBezTo>
                  <a:cubicBezTo>
                    <a:pt x="231" y="0"/>
                    <a:pt x="231" y="0"/>
                    <a:pt x="231" y="0"/>
                  </a:cubicBezTo>
                  <a:cubicBezTo>
                    <a:pt x="101" y="0"/>
                    <a:pt x="0" y="71"/>
                    <a:pt x="0" y="232"/>
                  </a:cubicBezTo>
                  <a:cubicBezTo>
                    <a:pt x="0" y="386"/>
                    <a:pt x="88" y="455"/>
                    <a:pt x="198" y="455"/>
                  </a:cubicBezTo>
                  <a:cubicBezTo>
                    <a:pt x="286" y="455"/>
                    <a:pt x="307" y="430"/>
                    <a:pt x="307" y="40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2" tIns="45706" rIns="91412" bIns="45706" numCol="1" anchor="t" anchorCtr="0" compatLnSpc="1">
              <a:prstTxWarp prst="textNoShape">
                <a:avLst/>
              </a:prstTxWarp>
            </a:bodyPr>
            <a:lstStyle/>
            <a:p>
              <a:pPr defTabSz="914103"/>
              <a:endParaRPr lang="de-DE" sz="1350" dirty="0">
                <a:solidFill>
                  <a:srgbClr val="414549"/>
                </a:solidFill>
                <a:latin typeface="Lato"/>
              </a:endParaRPr>
            </a:p>
          </p:txBody>
        </p:sp>
        <p:sp>
          <p:nvSpPr>
            <p:cNvPr id="31" name="Oval 11">
              <a:extLst>
                <a:ext uri="{FF2B5EF4-FFF2-40B4-BE49-F238E27FC236}">
                  <a16:creationId xmlns:a16="http://schemas.microsoft.com/office/drawing/2014/main" id="{A122B23F-E5BD-44EF-A4CC-3A40D8C29164}"/>
                </a:ext>
              </a:extLst>
            </p:cNvPr>
            <p:cNvSpPr>
              <a:spLocks noChangeArrowheads="1"/>
            </p:cNvSpPr>
            <p:nvPr/>
          </p:nvSpPr>
          <p:spPr bwMode="gray">
            <a:xfrm>
              <a:off x="3778" y="2099"/>
              <a:ext cx="122" cy="12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2" tIns="45706" rIns="91412" bIns="45706" numCol="1" anchor="t" anchorCtr="0" compatLnSpc="1">
              <a:prstTxWarp prst="textNoShape">
                <a:avLst/>
              </a:prstTxWarp>
            </a:bodyPr>
            <a:lstStyle/>
            <a:p>
              <a:pPr defTabSz="914103"/>
              <a:endParaRPr lang="de-DE" sz="1350" dirty="0">
                <a:solidFill>
                  <a:srgbClr val="414549"/>
                </a:solidFill>
                <a:latin typeface="Lato"/>
              </a:endParaRPr>
            </a:p>
          </p:txBody>
        </p:sp>
        <p:sp>
          <p:nvSpPr>
            <p:cNvPr id="32" name="Freeform 12">
              <a:extLst>
                <a:ext uri="{FF2B5EF4-FFF2-40B4-BE49-F238E27FC236}">
                  <a16:creationId xmlns:a16="http://schemas.microsoft.com/office/drawing/2014/main" id="{9905953F-CCD9-42CB-8E88-B80E0C0758F8}"/>
                </a:ext>
              </a:extLst>
            </p:cNvPr>
            <p:cNvSpPr>
              <a:spLocks/>
            </p:cNvSpPr>
            <p:nvPr/>
          </p:nvSpPr>
          <p:spPr bwMode="gray">
            <a:xfrm>
              <a:off x="4321" y="1029"/>
              <a:ext cx="648" cy="649"/>
            </a:xfrm>
            <a:custGeom>
              <a:avLst/>
              <a:gdLst>
                <a:gd name="T0" fmla="*/ 0 w 648"/>
                <a:gd name="T1" fmla="*/ 649 h 649"/>
                <a:gd name="T2" fmla="*/ 2 w 648"/>
                <a:gd name="T3" fmla="*/ 649 h 649"/>
                <a:gd name="T4" fmla="*/ 648 w 648"/>
                <a:gd name="T5" fmla="*/ 0 h 649"/>
                <a:gd name="T6" fmla="*/ 423 w 648"/>
                <a:gd name="T7" fmla="*/ 0 h 649"/>
                <a:gd name="T8" fmla="*/ 0 w 648"/>
                <a:gd name="T9" fmla="*/ 649 h 649"/>
              </a:gdLst>
              <a:ahLst/>
              <a:cxnLst>
                <a:cxn ang="0">
                  <a:pos x="T0" y="T1"/>
                </a:cxn>
                <a:cxn ang="0">
                  <a:pos x="T2" y="T3"/>
                </a:cxn>
                <a:cxn ang="0">
                  <a:pos x="T4" y="T5"/>
                </a:cxn>
                <a:cxn ang="0">
                  <a:pos x="T6" y="T7"/>
                </a:cxn>
                <a:cxn ang="0">
                  <a:pos x="T8" y="T9"/>
                </a:cxn>
              </a:cxnLst>
              <a:rect l="0" t="0" r="r" b="b"/>
              <a:pathLst>
                <a:path w="648" h="649">
                  <a:moveTo>
                    <a:pt x="0" y="649"/>
                  </a:moveTo>
                  <a:lnTo>
                    <a:pt x="2" y="649"/>
                  </a:lnTo>
                  <a:lnTo>
                    <a:pt x="648" y="0"/>
                  </a:lnTo>
                  <a:lnTo>
                    <a:pt x="423" y="0"/>
                  </a:lnTo>
                  <a:lnTo>
                    <a:pt x="0" y="64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2" tIns="45706" rIns="91412" bIns="45706" numCol="1" anchor="t" anchorCtr="0" compatLnSpc="1">
              <a:prstTxWarp prst="textNoShape">
                <a:avLst/>
              </a:prstTxWarp>
            </a:bodyPr>
            <a:lstStyle/>
            <a:p>
              <a:pPr defTabSz="914103"/>
              <a:endParaRPr lang="de-DE" sz="1350" dirty="0">
                <a:solidFill>
                  <a:srgbClr val="414549"/>
                </a:solidFill>
                <a:latin typeface="Lato"/>
              </a:endParaRPr>
            </a:p>
          </p:txBody>
        </p:sp>
        <p:sp>
          <p:nvSpPr>
            <p:cNvPr id="33" name="Freeform 13">
              <a:extLst>
                <a:ext uri="{FF2B5EF4-FFF2-40B4-BE49-F238E27FC236}">
                  <a16:creationId xmlns:a16="http://schemas.microsoft.com/office/drawing/2014/main" id="{77FFE960-FFE7-41A8-A37E-0986E5558665}"/>
                </a:ext>
              </a:extLst>
            </p:cNvPr>
            <p:cNvSpPr>
              <a:spLocks/>
            </p:cNvSpPr>
            <p:nvPr/>
          </p:nvSpPr>
          <p:spPr bwMode="gray">
            <a:xfrm>
              <a:off x="4321" y="1029"/>
              <a:ext cx="648" cy="649"/>
            </a:xfrm>
            <a:custGeom>
              <a:avLst/>
              <a:gdLst>
                <a:gd name="T0" fmla="*/ 0 w 648"/>
                <a:gd name="T1" fmla="*/ 649 h 649"/>
                <a:gd name="T2" fmla="*/ 2 w 648"/>
                <a:gd name="T3" fmla="*/ 649 h 649"/>
                <a:gd name="T4" fmla="*/ 648 w 648"/>
                <a:gd name="T5" fmla="*/ 0 h 649"/>
                <a:gd name="T6" fmla="*/ 423 w 648"/>
                <a:gd name="T7" fmla="*/ 0 h 649"/>
                <a:gd name="T8" fmla="*/ 0 w 648"/>
                <a:gd name="T9" fmla="*/ 649 h 649"/>
              </a:gdLst>
              <a:ahLst/>
              <a:cxnLst>
                <a:cxn ang="0">
                  <a:pos x="T0" y="T1"/>
                </a:cxn>
                <a:cxn ang="0">
                  <a:pos x="T2" y="T3"/>
                </a:cxn>
                <a:cxn ang="0">
                  <a:pos x="T4" y="T5"/>
                </a:cxn>
                <a:cxn ang="0">
                  <a:pos x="T6" y="T7"/>
                </a:cxn>
                <a:cxn ang="0">
                  <a:pos x="T8" y="T9"/>
                </a:cxn>
              </a:cxnLst>
              <a:rect l="0" t="0" r="r" b="b"/>
              <a:pathLst>
                <a:path w="648" h="649">
                  <a:moveTo>
                    <a:pt x="0" y="649"/>
                  </a:moveTo>
                  <a:lnTo>
                    <a:pt x="2" y="649"/>
                  </a:lnTo>
                  <a:lnTo>
                    <a:pt x="648" y="0"/>
                  </a:lnTo>
                  <a:lnTo>
                    <a:pt x="423" y="0"/>
                  </a:lnTo>
                  <a:lnTo>
                    <a:pt x="0" y="64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12" tIns="45706" rIns="91412" bIns="45706" numCol="1" anchor="t" anchorCtr="0" compatLnSpc="1">
              <a:prstTxWarp prst="textNoShape">
                <a:avLst/>
              </a:prstTxWarp>
            </a:bodyPr>
            <a:lstStyle/>
            <a:p>
              <a:pPr defTabSz="914103"/>
              <a:endParaRPr lang="de-DE" sz="1350" dirty="0">
                <a:solidFill>
                  <a:srgbClr val="414549"/>
                </a:solidFill>
                <a:latin typeface="Lato"/>
              </a:endParaRPr>
            </a:p>
          </p:txBody>
        </p:sp>
      </p:grpSp>
      <p:graphicFrame>
        <p:nvGraphicFramePr>
          <p:cNvPr id="45" name="Диаграмма 44">
            <a:extLst>
              <a:ext uri="{FF2B5EF4-FFF2-40B4-BE49-F238E27FC236}">
                <a16:creationId xmlns:a16="http://schemas.microsoft.com/office/drawing/2014/main" id="{617BAF02-4E8F-4263-8C6E-CEFC9D32E596}"/>
              </a:ext>
            </a:extLst>
          </p:cNvPr>
          <p:cNvGraphicFramePr/>
          <p:nvPr/>
        </p:nvGraphicFramePr>
        <p:xfrm>
          <a:off x="433118" y="2277227"/>
          <a:ext cx="7646520" cy="3614360"/>
        </p:xfrm>
        <a:graphic>
          <a:graphicData uri="http://schemas.openxmlformats.org/drawingml/2006/chart">
            <c:chart xmlns:c="http://schemas.openxmlformats.org/drawingml/2006/chart" xmlns:r="http://schemas.openxmlformats.org/officeDocument/2006/relationships" r:id="rId3"/>
          </a:graphicData>
        </a:graphic>
      </p:graphicFrame>
      <p:sp>
        <p:nvSpPr>
          <p:cNvPr id="11" name="Заголовок 10">
            <a:extLst>
              <a:ext uri="{FF2B5EF4-FFF2-40B4-BE49-F238E27FC236}">
                <a16:creationId xmlns:a16="http://schemas.microsoft.com/office/drawing/2014/main" id="{65E98BDE-F02A-4250-A816-E9672778F70A}"/>
              </a:ext>
            </a:extLst>
          </p:cNvPr>
          <p:cNvSpPr>
            <a:spLocks noGrp="1"/>
          </p:cNvSpPr>
          <p:nvPr>
            <p:ph type="title"/>
          </p:nvPr>
        </p:nvSpPr>
        <p:spPr/>
        <p:txBody>
          <a:bodyPr/>
          <a:lstStyle/>
          <a:p>
            <a:r>
              <a:rPr lang="en-US" dirty="0"/>
              <a:t>Consumer Purchasing Power</a:t>
            </a:r>
          </a:p>
        </p:txBody>
      </p:sp>
      <p:sp>
        <p:nvSpPr>
          <p:cNvPr id="46" name="TextBox 45">
            <a:extLst>
              <a:ext uri="{FF2B5EF4-FFF2-40B4-BE49-F238E27FC236}">
                <a16:creationId xmlns:a16="http://schemas.microsoft.com/office/drawing/2014/main" id="{3AD1B590-2480-4FB3-9E8E-0DD3E0A5D507}"/>
              </a:ext>
            </a:extLst>
          </p:cNvPr>
          <p:cNvSpPr txBox="1"/>
          <p:nvPr/>
        </p:nvSpPr>
        <p:spPr>
          <a:xfrm>
            <a:off x="3210849" y="1857246"/>
            <a:ext cx="3935223" cy="648000"/>
          </a:xfrm>
          <a:prstGeom prst="rect">
            <a:avLst/>
          </a:prstGeom>
          <a:noFill/>
        </p:spPr>
        <p:txBody>
          <a:bodyPr wrap="square" lIns="0" tIns="0" rIns="0" bIns="0" rtlCol="0">
            <a:noAutofit/>
          </a:bodyPr>
          <a:lstStyle/>
          <a:p>
            <a:pPr defTabSz="1218804">
              <a:lnSpc>
                <a:spcPct val="125000"/>
              </a:lnSpc>
              <a:buClr>
                <a:srgbClr val="E55A00"/>
              </a:buClr>
            </a:pPr>
            <a:r>
              <a:rPr lang="en-US" sz="2133" dirty="0">
                <a:solidFill>
                  <a:srgbClr val="414549"/>
                </a:solidFill>
                <a:latin typeface="Lato"/>
              </a:rPr>
              <a:t>Real incomes vs Inflation</a:t>
            </a:r>
          </a:p>
        </p:txBody>
      </p:sp>
    </p:spTree>
    <p:extLst>
      <p:ext uri="{BB962C8B-B14F-4D97-AF65-F5344CB8AC3E}">
        <p14:creationId xmlns:p14="http://schemas.microsoft.com/office/powerpoint/2010/main" val="10871010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Рисунок 11" descr="Изображение выглядит как внешний, здание, дорога, улица&#10;&#10;Автоматически созданное описание">
            <a:extLst>
              <a:ext uri="{FF2B5EF4-FFF2-40B4-BE49-F238E27FC236}">
                <a16:creationId xmlns:a16="http://schemas.microsoft.com/office/drawing/2014/main" id="{F92D88C8-5CE3-42F3-A62C-0A5E1BEF0187}"/>
              </a:ext>
            </a:extLst>
          </p:cNvPr>
          <p:cNvPicPr>
            <a:picLocks noGrp="1" noChangeAspect="1"/>
          </p:cNvPicPr>
          <p:nvPr>
            <p:ph type="pic" sz="quarter" idx="17"/>
          </p:nvPr>
        </p:nvPicPr>
        <p:blipFill>
          <a:blip r:embed="rId2" cstate="screen">
            <a:extLst>
              <a:ext uri="{28A0092B-C50C-407E-A947-70E740481C1C}">
                <a14:useLocalDpi xmlns:a14="http://schemas.microsoft.com/office/drawing/2010/main"/>
              </a:ext>
            </a:extLst>
          </a:blip>
          <a:srcRect/>
          <a:stretch>
            <a:fillRect/>
          </a:stretch>
        </p:blipFill>
        <p:spPr/>
      </p:pic>
      <p:sp>
        <p:nvSpPr>
          <p:cNvPr id="2" name="Дата 1">
            <a:extLst>
              <a:ext uri="{FF2B5EF4-FFF2-40B4-BE49-F238E27FC236}">
                <a16:creationId xmlns:a16="http://schemas.microsoft.com/office/drawing/2014/main" id="{929E0AAB-93F4-43EB-BBB6-27929220ACD2}"/>
              </a:ext>
            </a:extLst>
          </p:cNvPr>
          <p:cNvSpPr>
            <a:spLocks noGrp="1"/>
          </p:cNvSpPr>
          <p:nvPr>
            <p:ph type="dt" sz="half" idx="1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C19292-71B2-4BF0-8023-C669B9188137}" type="datetime5">
              <a:rPr kumimoji="0" lang="en-US" sz="800" b="0" i="0" u="none" strike="noStrike" kern="1200" cap="none" spc="0" normalizeH="0" baseline="0" noProof="0" smtClean="0">
                <a:ln>
                  <a:noFill/>
                </a:ln>
                <a:solidFill>
                  <a:srgbClr val="FFFFFF"/>
                </a:solidFill>
                <a:effectLst/>
                <a:uLnTx/>
                <a:uFillTx/>
                <a:latin typeface="Lato"/>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Jun-20</a:t>
            </a:fld>
            <a:endParaRPr kumimoji="0" lang="en-US" sz="800" b="0" i="0" u="none" strike="noStrike" kern="1200" cap="none" spc="0" normalizeH="0" baseline="0" noProof="0" dirty="0">
              <a:ln>
                <a:noFill/>
              </a:ln>
              <a:solidFill>
                <a:srgbClr val="FFFFFF"/>
              </a:solidFill>
              <a:effectLst/>
              <a:uLnTx/>
              <a:uFillTx/>
              <a:latin typeface="Lato"/>
              <a:ea typeface="+mn-ea"/>
              <a:cs typeface="+mn-cs"/>
            </a:endParaRPr>
          </a:p>
        </p:txBody>
      </p:sp>
      <p:sp>
        <p:nvSpPr>
          <p:cNvPr id="3" name="Нижний колонтитул 2">
            <a:extLst>
              <a:ext uri="{FF2B5EF4-FFF2-40B4-BE49-F238E27FC236}">
                <a16:creationId xmlns:a16="http://schemas.microsoft.com/office/drawing/2014/main" id="{118A78A3-CC33-4914-9CA6-0796D27B4734}"/>
              </a:ext>
            </a:extLst>
          </p:cNvPr>
          <p:cNvSpPr>
            <a:spLocks noGrp="1"/>
          </p:cNvSpPr>
          <p:nvPr>
            <p:ph type="ftr" sz="quarter" idx="15"/>
          </p:nvPr>
        </p:nvSpPr>
        <p:spPr/>
        <p:txBody>
          <a:bodyPr/>
          <a:lstStyle/>
          <a:p>
            <a:pPr marL="144000" marR="0" lvl="0" indent="-144000" algn="l" defTabSz="914400" rtl="0" eaLnBrk="1" fontAlgn="auto" latinLnBrk="0" hangingPunct="1">
              <a:lnSpc>
                <a:spcPct val="100000"/>
              </a:lnSpc>
              <a:spcBef>
                <a:spcPts val="0"/>
              </a:spcBef>
              <a:spcAft>
                <a:spcPts val="0"/>
              </a:spcAft>
              <a:buClr>
                <a:srgbClr val="E55A00"/>
              </a:buClr>
              <a:buSzTx/>
              <a:buFont typeface="Wingdings" panose="05000000000000000000" pitchFamily="2" charset="2"/>
              <a:buChar char="§"/>
              <a:tabLst/>
              <a:defRPr/>
            </a:pPr>
            <a:r>
              <a:rPr kumimoji="0" lang="en-US" sz="800" b="0" i="0" u="none" strike="noStrike" kern="1200" cap="none" spc="0" normalizeH="0" baseline="0" noProof="0">
                <a:ln>
                  <a:noFill/>
                </a:ln>
                <a:solidFill>
                  <a:srgbClr val="FFFFFF"/>
                </a:solidFill>
                <a:effectLst/>
                <a:uLnTx/>
                <a:uFillTx/>
                <a:latin typeface="Lato"/>
                <a:ea typeface="+mn-ea"/>
                <a:cs typeface="+mn-cs"/>
              </a:rPr>
              <a:t>Title of presentation (Insert / Header &amp; Footer / Apply to All)</a:t>
            </a:r>
            <a:endParaRPr kumimoji="0" lang="en-US" sz="800" b="0" i="0" u="none" strike="noStrike" kern="1200" cap="none" spc="0" normalizeH="0" baseline="0" noProof="0" dirty="0">
              <a:ln>
                <a:noFill/>
              </a:ln>
              <a:solidFill>
                <a:srgbClr val="FFFFFF"/>
              </a:solidFill>
              <a:effectLst/>
              <a:uLnTx/>
              <a:uFillTx/>
              <a:latin typeface="Lato"/>
              <a:ea typeface="+mn-ea"/>
              <a:cs typeface="+mn-cs"/>
            </a:endParaRPr>
          </a:p>
        </p:txBody>
      </p:sp>
      <p:sp>
        <p:nvSpPr>
          <p:cNvPr id="4" name="Номер слайда 3">
            <a:extLst>
              <a:ext uri="{FF2B5EF4-FFF2-40B4-BE49-F238E27FC236}">
                <a16:creationId xmlns:a16="http://schemas.microsoft.com/office/drawing/2014/main" id="{75FB188D-6F7D-406C-A437-D3F113CF9EA8}"/>
              </a:ext>
            </a:extLst>
          </p:cNvPr>
          <p:cNvSpPr>
            <a:spLocks noGrp="1"/>
          </p:cNvSpPr>
          <p:nvPr>
            <p:ph type="sldNum" sz="quarter" idx="16"/>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F3E29E4-0979-4FCA-B4C5-5FC6044C982A}" type="slidenum">
              <a:rPr kumimoji="0" lang="en-US" sz="800" b="0" i="0" u="none" strike="noStrike" kern="1200" cap="none" spc="0" normalizeH="0" baseline="0" noProof="0" smtClean="0">
                <a:ln>
                  <a:noFill/>
                </a:ln>
                <a:solidFill>
                  <a:srgbClr val="414549"/>
                </a:solidFill>
                <a:effectLst/>
                <a:uLnTx/>
                <a:uFillTx/>
                <a:latin typeface="Lato"/>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800" b="0" i="0" u="none" strike="noStrike" kern="1200" cap="none" spc="0" normalizeH="0" baseline="0" noProof="0">
              <a:ln>
                <a:noFill/>
              </a:ln>
              <a:solidFill>
                <a:srgbClr val="414549"/>
              </a:solidFill>
              <a:effectLst/>
              <a:uLnTx/>
              <a:uFillTx/>
              <a:latin typeface="Lato"/>
              <a:ea typeface="+mn-ea"/>
              <a:cs typeface="+mn-cs"/>
            </a:endParaRPr>
          </a:p>
        </p:txBody>
      </p:sp>
      <p:sp>
        <p:nvSpPr>
          <p:cNvPr id="9" name="Заголовок 8">
            <a:extLst>
              <a:ext uri="{FF2B5EF4-FFF2-40B4-BE49-F238E27FC236}">
                <a16:creationId xmlns:a16="http://schemas.microsoft.com/office/drawing/2014/main" id="{533508D6-FD98-4FA6-8685-A5BC2AD4E903}"/>
              </a:ext>
            </a:extLst>
          </p:cNvPr>
          <p:cNvSpPr>
            <a:spLocks noGrp="1"/>
          </p:cNvSpPr>
          <p:nvPr>
            <p:ph type="title"/>
          </p:nvPr>
        </p:nvSpPr>
        <p:spPr/>
        <p:txBody>
          <a:bodyPr/>
          <a:lstStyle/>
          <a:p>
            <a:r>
              <a:rPr lang="en-US" dirty="0"/>
              <a:t>Impact of COVID-19 on TCG Industry</a:t>
            </a:r>
            <a:endParaRPr lang="ru-RU" dirty="0"/>
          </a:p>
        </p:txBody>
      </p:sp>
    </p:spTree>
    <p:extLst>
      <p:ext uri="{BB962C8B-B14F-4D97-AF65-F5344CB8AC3E}">
        <p14:creationId xmlns:p14="http://schemas.microsoft.com/office/powerpoint/2010/main" val="17865229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3" name="Diagramm 121">
            <a:extLst>
              <a:ext uri="{FF2B5EF4-FFF2-40B4-BE49-F238E27FC236}">
                <a16:creationId xmlns:a16="http://schemas.microsoft.com/office/drawing/2014/main" id="{840E8658-42A1-44F0-A286-4FC918416872}"/>
              </a:ext>
            </a:extLst>
          </p:cNvPr>
          <p:cNvGraphicFramePr/>
          <p:nvPr>
            <p:custDataLst>
              <p:tags r:id="rId1"/>
            </p:custDataLst>
            <p:extLst>
              <p:ext uri="{D42A27DB-BD31-4B8C-83A1-F6EECF244321}">
                <p14:modId xmlns:p14="http://schemas.microsoft.com/office/powerpoint/2010/main" val="3568521947"/>
              </p:ext>
            </p:extLst>
          </p:nvPr>
        </p:nvGraphicFramePr>
        <p:xfrm>
          <a:off x="529099" y="1766772"/>
          <a:ext cx="5407871" cy="2254547"/>
        </p:xfrm>
        <a:graphic>
          <a:graphicData uri="http://schemas.openxmlformats.org/drawingml/2006/chart">
            <c:chart xmlns:c="http://schemas.openxmlformats.org/drawingml/2006/chart" xmlns:r="http://schemas.openxmlformats.org/officeDocument/2006/relationships" r:id="rId11"/>
          </a:graphicData>
        </a:graphic>
      </p:graphicFrame>
      <p:sp>
        <p:nvSpPr>
          <p:cNvPr id="4" name="Slide Number Placeholder 3"/>
          <p:cNvSpPr>
            <a:spLocks noGrp="1"/>
          </p:cNvSpPr>
          <p:nvPr>
            <p:ph type="sldNum" sz="quarter" idx="16"/>
          </p:nvPr>
        </p:nvSpPr>
        <p:spPr/>
        <p:txBody>
          <a:bodyPr/>
          <a:lstStyle/>
          <a:p>
            <a:pPr marL="0" marR="0" lvl="0" indent="0" algn="r" defTabSz="914103" rtl="0" eaLnBrk="1" fontAlgn="auto" latinLnBrk="0" hangingPunct="1">
              <a:lnSpc>
                <a:spcPct val="100000"/>
              </a:lnSpc>
              <a:spcBef>
                <a:spcPts val="0"/>
              </a:spcBef>
              <a:spcAft>
                <a:spcPts val="0"/>
              </a:spcAft>
              <a:buClrTx/>
              <a:buSzTx/>
              <a:buFontTx/>
              <a:buNone/>
              <a:tabLst/>
              <a:defRPr/>
            </a:pPr>
            <a:fld id="{5F3E29E4-0979-4FCA-B4C5-5FC6044C982A}" type="slidenum">
              <a:rPr kumimoji="0" lang="en-US" sz="800" b="0" i="0" u="none" strike="noStrike" kern="1200" cap="none" spc="0" normalizeH="0" baseline="0" noProof="0">
                <a:ln>
                  <a:noFill/>
                </a:ln>
                <a:solidFill>
                  <a:srgbClr val="414549"/>
                </a:solidFill>
                <a:effectLst/>
                <a:uLnTx/>
                <a:uFillTx/>
                <a:latin typeface="Lato"/>
                <a:ea typeface="+mn-ea"/>
                <a:cs typeface="+mn-cs"/>
              </a:rPr>
              <a:pPr marL="0" marR="0" lvl="0" indent="0" algn="r" defTabSz="914103" rtl="0" eaLnBrk="1" fontAlgn="auto" latinLnBrk="0" hangingPunct="1">
                <a:lnSpc>
                  <a:spcPct val="100000"/>
                </a:lnSpc>
                <a:spcBef>
                  <a:spcPts val="0"/>
                </a:spcBef>
                <a:spcAft>
                  <a:spcPts val="0"/>
                </a:spcAft>
                <a:buClrTx/>
                <a:buSzTx/>
                <a:buFontTx/>
                <a:buNone/>
                <a:tabLst/>
                <a:defRPr/>
              </a:pPr>
              <a:t>18</a:t>
            </a:fld>
            <a:endParaRPr kumimoji="0" lang="en-US" sz="800" b="0" i="0" u="none" strike="noStrike" kern="1200" cap="none" spc="0" normalizeH="0" baseline="0" noProof="0">
              <a:ln>
                <a:noFill/>
              </a:ln>
              <a:solidFill>
                <a:srgbClr val="414549"/>
              </a:solidFill>
              <a:effectLst/>
              <a:uLnTx/>
              <a:uFillTx/>
              <a:latin typeface="Lato"/>
              <a:ea typeface="+mn-ea"/>
              <a:cs typeface="+mn-cs"/>
            </a:endParaRPr>
          </a:p>
        </p:txBody>
      </p:sp>
      <p:sp>
        <p:nvSpPr>
          <p:cNvPr id="8" name="Title 7"/>
          <p:cNvSpPr>
            <a:spLocks noGrp="1"/>
          </p:cNvSpPr>
          <p:nvPr>
            <p:ph type="title"/>
          </p:nvPr>
        </p:nvSpPr>
        <p:spPr>
          <a:xfrm>
            <a:off x="975046" y="289892"/>
            <a:ext cx="9707175" cy="647800"/>
          </a:xfrm>
        </p:spPr>
        <p:txBody>
          <a:bodyPr/>
          <a:lstStyle/>
          <a:p>
            <a:r>
              <a:rPr lang="en-US" dirty="0"/>
              <a:t>Beginning of lockdown in Europe</a:t>
            </a:r>
          </a:p>
        </p:txBody>
      </p:sp>
      <p:sp>
        <p:nvSpPr>
          <p:cNvPr id="18" name="Pfeil: nach unten 12">
            <a:extLst>
              <a:ext uri="{FF2B5EF4-FFF2-40B4-BE49-F238E27FC236}">
                <a16:creationId xmlns:a16="http://schemas.microsoft.com/office/drawing/2014/main" id="{BE37418D-D6A2-4F0E-8BB1-B0BD27B089AF}"/>
              </a:ext>
            </a:extLst>
          </p:cNvPr>
          <p:cNvSpPr/>
          <p:nvPr/>
        </p:nvSpPr>
        <p:spPr>
          <a:xfrm>
            <a:off x="4560304" y="4509379"/>
            <a:ext cx="184774" cy="372620"/>
          </a:xfrm>
          <a:prstGeom prst="downArrow">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1978" tIns="35989" rIns="71978" bIns="35989" rtlCol="0" anchor="ctr"/>
          <a:lstStyle/>
          <a:p>
            <a:pPr marL="0" marR="0" lvl="0" indent="0" algn="ctr" defTabSz="914103" rtl="0" eaLnBrk="1" fontAlgn="auto" latinLnBrk="0" hangingPunct="1">
              <a:lnSpc>
                <a:spcPct val="125000"/>
              </a:lnSpc>
              <a:spcBef>
                <a:spcPts val="0"/>
              </a:spcBef>
              <a:spcAft>
                <a:spcPts val="0"/>
              </a:spcAft>
              <a:buClrTx/>
              <a:buSzTx/>
              <a:buFontTx/>
              <a:buNone/>
              <a:tabLst/>
              <a:defRPr/>
            </a:pPr>
            <a:endParaRPr kumimoji="0" lang="de-DE" sz="1599" b="0" i="0" u="none" strike="noStrike" kern="1200" cap="none" spc="0" normalizeH="0" baseline="0" noProof="0" dirty="0">
              <a:ln>
                <a:noFill/>
              </a:ln>
              <a:solidFill>
                <a:srgbClr val="FFFFFF"/>
              </a:solidFill>
              <a:effectLst/>
              <a:uLnTx/>
              <a:uFillTx/>
              <a:latin typeface="Lato"/>
              <a:ea typeface="+mn-ea"/>
              <a:cs typeface="+mn-cs"/>
            </a:endParaRPr>
          </a:p>
        </p:txBody>
      </p:sp>
      <p:sp>
        <p:nvSpPr>
          <p:cNvPr id="19" name="Textfeld 20">
            <a:extLst>
              <a:ext uri="{FF2B5EF4-FFF2-40B4-BE49-F238E27FC236}">
                <a16:creationId xmlns:a16="http://schemas.microsoft.com/office/drawing/2014/main" id="{26568FA1-1C30-443A-8A43-E3A76D9B3F59}"/>
              </a:ext>
            </a:extLst>
          </p:cNvPr>
          <p:cNvSpPr txBox="1"/>
          <p:nvPr/>
        </p:nvSpPr>
        <p:spPr>
          <a:xfrm>
            <a:off x="4850654" y="4319325"/>
            <a:ext cx="1329967" cy="271864"/>
          </a:xfrm>
          <a:prstGeom prst="rect">
            <a:avLst/>
          </a:prstGeom>
          <a:noFill/>
        </p:spPr>
        <p:txBody>
          <a:bodyPr wrap="square" lIns="0" tIns="0" rIns="0" bIns="0" rtlCol="0">
            <a:noAutofit/>
          </a:bodyPr>
          <a:lstStyle/>
          <a:p>
            <a:pPr marL="0" marR="0" lvl="0" indent="0" algn="l" defTabSz="914103" rtl="0" eaLnBrk="1" fontAlgn="auto" latinLnBrk="0" hangingPunct="1">
              <a:lnSpc>
                <a:spcPct val="100000"/>
              </a:lnSpc>
              <a:spcBef>
                <a:spcPts val="0"/>
              </a:spcBef>
              <a:spcAft>
                <a:spcPts val="0"/>
              </a:spcAft>
              <a:buClr>
                <a:srgbClr val="E55A00"/>
              </a:buClr>
              <a:buSzTx/>
              <a:buFontTx/>
              <a:buNone/>
              <a:tabLst/>
              <a:defRPr/>
            </a:pPr>
            <a:r>
              <a:rPr kumimoji="0" lang="en-US" sz="1200" b="0" i="0" u="none" strike="noStrike" kern="1200" cap="none" spc="0" normalizeH="0" baseline="0" noProof="0" dirty="0">
                <a:ln>
                  <a:noFill/>
                </a:ln>
                <a:solidFill>
                  <a:srgbClr val="E55A00"/>
                </a:solidFill>
                <a:effectLst/>
                <a:uLnTx/>
                <a:uFillTx/>
                <a:latin typeface="Lato"/>
                <a:ea typeface="+mn-ea"/>
                <a:cs typeface="+mn-cs"/>
              </a:rPr>
              <a:t>Lockdown</a:t>
            </a:r>
            <a:r>
              <a:rPr kumimoji="0" lang="ru-RU" sz="1200" b="0" i="0" u="none" strike="noStrike" kern="1200" cap="none" spc="0" normalizeH="0" baseline="0" noProof="0" dirty="0">
                <a:ln>
                  <a:noFill/>
                </a:ln>
                <a:solidFill>
                  <a:srgbClr val="E55A00"/>
                </a:solidFill>
                <a:effectLst/>
                <a:uLnTx/>
                <a:uFillTx/>
                <a:latin typeface="Lato"/>
                <a:ea typeface="+mn-ea"/>
                <a:cs typeface="+mn-cs"/>
              </a:rPr>
              <a:t> </a:t>
            </a:r>
            <a:r>
              <a:rPr kumimoji="0" lang="de-DE" sz="1200" b="0" i="0" u="none" strike="noStrike" kern="1200" cap="none" spc="0" normalizeH="0" baseline="0" noProof="0" dirty="0">
                <a:ln>
                  <a:noFill/>
                </a:ln>
                <a:solidFill>
                  <a:srgbClr val="E55A00"/>
                </a:solidFill>
                <a:effectLst/>
                <a:uLnTx/>
                <a:uFillTx/>
                <a:latin typeface="Lato"/>
                <a:ea typeface="+mn-ea"/>
                <a:cs typeface="+mn-cs"/>
              </a:rPr>
              <a:t>week12</a:t>
            </a:r>
          </a:p>
        </p:txBody>
      </p:sp>
      <p:sp>
        <p:nvSpPr>
          <p:cNvPr id="23" name="Pfeil: nach unten 12">
            <a:extLst>
              <a:ext uri="{FF2B5EF4-FFF2-40B4-BE49-F238E27FC236}">
                <a16:creationId xmlns:a16="http://schemas.microsoft.com/office/drawing/2014/main" id="{DBED484E-A638-4A2D-B9FE-39E4D21F8C4B}"/>
              </a:ext>
            </a:extLst>
          </p:cNvPr>
          <p:cNvSpPr/>
          <p:nvPr/>
        </p:nvSpPr>
        <p:spPr>
          <a:xfrm>
            <a:off x="4288452" y="2466483"/>
            <a:ext cx="184774" cy="372620"/>
          </a:xfrm>
          <a:prstGeom prst="downArrow">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1978" tIns="35989" rIns="71978" bIns="35989" rtlCol="0" anchor="ctr"/>
          <a:lstStyle/>
          <a:p>
            <a:pPr marL="0" marR="0" lvl="0" indent="0" algn="ctr" defTabSz="914103" rtl="0" eaLnBrk="1" fontAlgn="auto" latinLnBrk="0" hangingPunct="1">
              <a:lnSpc>
                <a:spcPct val="125000"/>
              </a:lnSpc>
              <a:spcBef>
                <a:spcPts val="0"/>
              </a:spcBef>
              <a:spcAft>
                <a:spcPts val="0"/>
              </a:spcAft>
              <a:buClrTx/>
              <a:buSzTx/>
              <a:buFontTx/>
              <a:buNone/>
              <a:tabLst/>
              <a:defRPr/>
            </a:pPr>
            <a:endParaRPr kumimoji="0" lang="de-DE" sz="1599" b="0" i="0" u="none" strike="noStrike" kern="1200" cap="none" spc="0" normalizeH="0" baseline="0" noProof="0" dirty="0">
              <a:ln>
                <a:noFill/>
              </a:ln>
              <a:solidFill>
                <a:srgbClr val="FFFFFF"/>
              </a:solidFill>
              <a:effectLst/>
              <a:uLnTx/>
              <a:uFillTx/>
              <a:latin typeface="Lato"/>
              <a:ea typeface="+mn-ea"/>
              <a:cs typeface="+mn-cs"/>
            </a:endParaRPr>
          </a:p>
        </p:txBody>
      </p:sp>
      <p:graphicFrame>
        <p:nvGraphicFramePr>
          <p:cNvPr id="32" name="Diagramm 74">
            <a:extLst>
              <a:ext uri="{FF2B5EF4-FFF2-40B4-BE49-F238E27FC236}">
                <a16:creationId xmlns:a16="http://schemas.microsoft.com/office/drawing/2014/main" id="{77031F64-9A94-4126-AAD6-4CC2E859B3F7}"/>
              </a:ext>
            </a:extLst>
          </p:cNvPr>
          <p:cNvGraphicFramePr/>
          <p:nvPr>
            <p:custDataLst>
              <p:tags r:id="rId2"/>
            </p:custDataLst>
            <p:extLst>
              <p:ext uri="{D42A27DB-BD31-4B8C-83A1-F6EECF244321}">
                <p14:modId xmlns:p14="http://schemas.microsoft.com/office/powerpoint/2010/main" val="4055177856"/>
              </p:ext>
            </p:extLst>
          </p:nvPr>
        </p:nvGraphicFramePr>
        <p:xfrm>
          <a:off x="529099" y="4119200"/>
          <a:ext cx="5407871" cy="2104986"/>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4" name="Diagramm 121">
            <a:extLst>
              <a:ext uri="{FF2B5EF4-FFF2-40B4-BE49-F238E27FC236}">
                <a16:creationId xmlns:a16="http://schemas.microsoft.com/office/drawing/2014/main" id="{1C2D3184-847B-4346-AE45-6952E0AEE2E3}"/>
              </a:ext>
            </a:extLst>
          </p:cNvPr>
          <p:cNvGraphicFramePr/>
          <p:nvPr>
            <p:custDataLst>
              <p:tags r:id="rId3"/>
            </p:custDataLst>
          </p:nvPr>
        </p:nvGraphicFramePr>
        <p:xfrm>
          <a:off x="6464190" y="1792213"/>
          <a:ext cx="5015967" cy="2254547"/>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35" name="Diagramm 121">
            <a:extLst>
              <a:ext uri="{FF2B5EF4-FFF2-40B4-BE49-F238E27FC236}">
                <a16:creationId xmlns:a16="http://schemas.microsoft.com/office/drawing/2014/main" id="{F15BAA5B-7992-402C-86B7-4C97AC1595D4}"/>
              </a:ext>
            </a:extLst>
          </p:cNvPr>
          <p:cNvGraphicFramePr/>
          <p:nvPr>
            <p:custDataLst>
              <p:tags r:id="rId4"/>
            </p:custDataLst>
            <p:extLst>
              <p:ext uri="{D42A27DB-BD31-4B8C-83A1-F6EECF244321}">
                <p14:modId xmlns:p14="http://schemas.microsoft.com/office/powerpoint/2010/main" val="312573998"/>
              </p:ext>
            </p:extLst>
          </p:nvPr>
        </p:nvGraphicFramePr>
        <p:xfrm>
          <a:off x="6464190" y="4173819"/>
          <a:ext cx="5015967" cy="2254547"/>
        </p:xfrm>
        <a:graphic>
          <a:graphicData uri="http://schemas.openxmlformats.org/drawingml/2006/chart">
            <c:chart xmlns:c="http://schemas.openxmlformats.org/drawingml/2006/chart" xmlns:r="http://schemas.openxmlformats.org/officeDocument/2006/relationships" r:id="rId14"/>
          </a:graphicData>
        </a:graphic>
      </p:graphicFrame>
      <p:sp>
        <p:nvSpPr>
          <p:cNvPr id="37" name="Rectangle 19">
            <a:extLst>
              <a:ext uri="{FF2B5EF4-FFF2-40B4-BE49-F238E27FC236}">
                <a16:creationId xmlns:a16="http://schemas.microsoft.com/office/drawing/2014/main" id="{7448DAAF-A5F6-4D45-944B-3C8E75241DA9}"/>
              </a:ext>
            </a:extLst>
          </p:cNvPr>
          <p:cNvSpPr>
            <a:spLocks noChangeArrowheads="1"/>
          </p:cNvSpPr>
          <p:nvPr>
            <p:custDataLst>
              <p:tags r:id="rId5"/>
            </p:custDataLst>
          </p:nvPr>
        </p:nvSpPr>
        <p:spPr bwMode="auto">
          <a:xfrm>
            <a:off x="1968815" y="2316729"/>
            <a:ext cx="1583687" cy="383924"/>
          </a:xfrm>
          <a:prstGeom prst="rect">
            <a:avLst/>
          </a:prstGeom>
          <a:noFill/>
          <a:ln>
            <a:noFill/>
          </a:ln>
        </p:spPr>
        <p:txBody>
          <a:bodyPr vert="horz" wrap="square" lIns="0" tIns="60941" rIns="0" bIns="95970" numCol="1" anchor="b" anchorCtr="0" compatLnSpc="1">
            <a:prstTxWarp prst="textNoShape">
              <a:avLst/>
            </a:prstTxWarp>
          </a:bodyPr>
          <a:lstStyle/>
          <a:p>
            <a:pPr marL="0" marR="0" lvl="0" indent="0" algn="r" defTabSz="1218804"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E55A00"/>
                </a:solidFill>
                <a:effectLst/>
                <a:uLnTx/>
                <a:uFillTx/>
                <a:latin typeface="Lato"/>
                <a:ea typeface="+mn-ea"/>
                <a:cs typeface="+mn-cs"/>
              </a:rPr>
              <a:t>Start of initial lockdowns week 8</a:t>
            </a:r>
          </a:p>
        </p:txBody>
      </p:sp>
      <p:sp>
        <p:nvSpPr>
          <p:cNvPr id="38" name="Rectangle 19">
            <a:extLst>
              <a:ext uri="{FF2B5EF4-FFF2-40B4-BE49-F238E27FC236}">
                <a16:creationId xmlns:a16="http://schemas.microsoft.com/office/drawing/2014/main" id="{09CB66CB-5D37-460E-8CC0-88149B0BB239}"/>
              </a:ext>
            </a:extLst>
          </p:cNvPr>
          <p:cNvSpPr>
            <a:spLocks noChangeArrowheads="1"/>
          </p:cNvSpPr>
          <p:nvPr>
            <p:custDataLst>
              <p:tags r:id="rId6"/>
            </p:custDataLst>
          </p:nvPr>
        </p:nvSpPr>
        <p:spPr bwMode="auto">
          <a:xfrm>
            <a:off x="3065993" y="2132468"/>
            <a:ext cx="1583687" cy="383924"/>
          </a:xfrm>
          <a:prstGeom prst="rect">
            <a:avLst/>
          </a:prstGeom>
          <a:noFill/>
          <a:ln>
            <a:noFill/>
          </a:ln>
        </p:spPr>
        <p:txBody>
          <a:bodyPr vert="horz" wrap="square" lIns="0" tIns="60941" rIns="0" bIns="95970" numCol="1" anchor="b" anchorCtr="0" compatLnSpc="1">
            <a:prstTxWarp prst="textNoShape">
              <a:avLst/>
            </a:prstTxWarp>
          </a:bodyPr>
          <a:lstStyle/>
          <a:p>
            <a:pPr marL="0" marR="0" lvl="0" indent="0" algn="r" defTabSz="1218804" rtl="0" eaLnBrk="1" fontAlgn="auto" latinLnBrk="0" hangingPunct="1">
              <a:lnSpc>
                <a:spcPct val="100000"/>
              </a:lnSpc>
              <a:spcBef>
                <a:spcPts val="0"/>
              </a:spcBef>
              <a:spcAft>
                <a:spcPts val="0"/>
              </a:spcAft>
              <a:buClrTx/>
              <a:buSzTx/>
              <a:buFontTx/>
              <a:buNone/>
              <a:tabLst/>
              <a:defRPr/>
            </a:pPr>
            <a:r>
              <a:rPr lang="en-US" sz="1200" b="1" dirty="0">
                <a:solidFill>
                  <a:srgbClr val="E55A00"/>
                </a:solidFill>
                <a:latin typeface="Lato"/>
              </a:rPr>
              <a:t>L</a:t>
            </a:r>
            <a:r>
              <a:rPr kumimoji="0" lang="en-US" sz="1200" b="1" i="0" u="none" strike="noStrike" kern="1200" cap="none" spc="0" normalizeH="0" baseline="0" noProof="0" dirty="0" err="1">
                <a:ln>
                  <a:noFill/>
                </a:ln>
                <a:solidFill>
                  <a:srgbClr val="E55A00"/>
                </a:solidFill>
                <a:effectLst/>
                <a:uLnTx/>
                <a:uFillTx/>
                <a:latin typeface="Lato"/>
                <a:ea typeface="+mn-ea"/>
                <a:cs typeface="+mn-cs"/>
              </a:rPr>
              <a:t>ockdown</a:t>
            </a:r>
            <a:r>
              <a:rPr kumimoji="0" lang="en-US" sz="1200" b="1" i="0" u="none" strike="noStrike" kern="1200" cap="none" spc="0" normalizeH="0" baseline="0" noProof="0" dirty="0">
                <a:ln>
                  <a:noFill/>
                </a:ln>
                <a:solidFill>
                  <a:srgbClr val="E55A00"/>
                </a:solidFill>
                <a:effectLst/>
                <a:uLnTx/>
                <a:uFillTx/>
                <a:latin typeface="Lato"/>
                <a:ea typeface="+mn-ea"/>
                <a:cs typeface="+mn-cs"/>
              </a:rPr>
              <a:t> </a:t>
            </a:r>
          </a:p>
          <a:p>
            <a:pPr marL="0" marR="0" lvl="0" indent="0" algn="r" defTabSz="1218804"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E55A00"/>
                </a:solidFill>
                <a:effectLst/>
                <a:uLnTx/>
                <a:uFillTx/>
                <a:latin typeface="Lato"/>
                <a:ea typeface="+mn-ea"/>
                <a:cs typeface="+mn-cs"/>
              </a:rPr>
              <a:t> week 11</a:t>
            </a:r>
          </a:p>
        </p:txBody>
      </p:sp>
      <p:sp>
        <p:nvSpPr>
          <p:cNvPr id="39" name="Rectangle 19">
            <a:extLst>
              <a:ext uri="{FF2B5EF4-FFF2-40B4-BE49-F238E27FC236}">
                <a16:creationId xmlns:a16="http://schemas.microsoft.com/office/drawing/2014/main" id="{588B4BAB-43E4-4734-B2FA-0E5834F9DC11}"/>
              </a:ext>
            </a:extLst>
          </p:cNvPr>
          <p:cNvSpPr>
            <a:spLocks noChangeArrowheads="1"/>
          </p:cNvSpPr>
          <p:nvPr>
            <p:custDataLst>
              <p:tags r:id="rId7"/>
            </p:custDataLst>
          </p:nvPr>
        </p:nvSpPr>
        <p:spPr bwMode="auto">
          <a:xfrm>
            <a:off x="8857203" y="2144679"/>
            <a:ext cx="1583687" cy="383924"/>
          </a:xfrm>
          <a:prstGeom prst="rect">
            <a:avLst/>
          </a:prstGeom>
          <a:noFill/>
          <a:ln>
            <a:noFill/>
          </a:ln>
        </p:spPr>
        <p:txBody>
          <a:bodyPr vert="horz" wrap="square" lIns="0" tIns="60941" rIns="0" bIns="95970" numCol="1" anchor="b" anchorCtr="0" compatLnSpc="1">
            <a:prstTxWarp prst="textNoShape">
              <a:avLst/>
            </a:prstTxWarp>
          </a:bodyPr>
          <a:lstStyle/>
          <a:p>
            <a:pPr marL="0" marR="0" lvl="0" indent="0" algn="r" defTabSz="1218804" rtl="0" eaLnBrk="1" fontAlgn="auto" latinLnBrk="0" hangingPunct="1">
              <a:lnSpc>
                <a:spcPct val="100000"/>
              </a:lnSpc>
              <a:spcBef>
                <a:spcPts val="0"/>
              </a:spcBef>
              <a:spcAft>
                <a:spcPts val="0"/>
              </a:spcAft>
              <a:buClrTx/>
              <a:buSzTx/>
              <a:buFontTx/>
              <a:buNone/>
              <a:tabLst/>
              <a:defRPr/>
            </a:pPr>
            <a:r>
              <a:rPr lang="en-US" sz="1200" b="1" dirty="0">
                <a:solidFill>
                  <a:srgbClr val="E55A00"/>
                </a:solidFill>
                <a:latin typeface="Lato"/>
              </a:rPr>
              <a:t>L</a:t>
            </a:r>
            <a:r>
              <a:rPr kumimoji="0" lang="en-US" sz="1200" b="1" i="0" u="none" strike="noStrike" kern="1200" cap="none" spc="0" normalizeH="0" baseline="0" noProof="0" dirty="0" err="1">
                <a:ln>
                  <a:noFill/>
                </a:ln>
                <a:solidFill>
                  <a:srgbClr val="E55A00"/>
                </a:solidFill>
                <a:effectLst/>
                <a:uLnTx/>
                <a:uFillTx/>
                <a:latin typeface="Lato"/>
                <a:ea typeface="+mn-ea"/>
                <a:cs typeface="+mn-cs"/>
              </a:rPr>
              <a:t>ockdown</a:t>
            </a:r>
            <a:r>
              <a:rPr kumimoji="0" lang="en-US" sz="1200" b="1" i="0" u="none" strike="noStrike" kern="1200" cap="none" spc="0" normalizeH="0" baseline="0" noProof="0" dirty="0">
                <a:ln>
                  <a:noFill/>
                </a:ln>
                <a:solidFill>
                  <a:srgbClr val="E55A00"/>
                </a:solidFill>
                <a:effectLst/>
                <a:uLnTx/>
                <a:uFillTx/>
                <a:latin typeface="Lato"/>
                <a:ea typeface="+mn-ea"/>
                <a:cs typeface="+mn-cs"/>
              </a:rPr>
              <a:t> </a:t>
            </a:r>
            <a:br>
              <a:rPr kumimoji="0" lang="en-US" sz="1200" b="1" i="0" u="none" strike="noStrike" kern="1200" cap="none" spc="0" normalizeH="0" baseline="0" noProof="0" dirty="0">
                <a:ln>
                  <a:noFill/>
                </a:ln>
                <a:solidFill>
                  <a:srgbClr val="E55A00"/>
                </a:solidFill>
                <a:effectLst/>
                <a:uLnTx/>
                <a:uFillTx/>
                <a:latin typeface="Lato"/>
                <a:ea typeface="+mn-ea"/>
                <a:cs typeface="+mn-cs"/>
              </a:rPr>
            </a:br>
            <a:r>
              <a:rPr kumimoji="0" lang="en-US" sz="1200" b="1" i="0" u="none" strike="noStrike" kern="1200" cap="none" spc="0" normalizeH="0" baseline="0" noProof="0" dirty="0">
                <a:ln>
                  <a:noFill/>
                </a:ln>
                <a:solidFill>
                  <a:srgbClr val="E55A00"/>
                </a:solidFill>
                <a:effectLst/>
                <a:uLnTx/>
                <a:uFillTx/>
                <a:latin typeface="Lato"/>
                <a:ea typeface="+mn-ea"/>
                <a:cs typeface="+mn-cs"/>
              </a:rPr>
              <a:t>week 13</a:t>
            </a:r>
          </a:p>
        </p:txBody>
      </p:sp>
      <p:sp>
        <p:nvSpPr>
          <p:cNvPr id="40" name="Rectangle 19">
            <a:extLst>
              <a:ext uri="{FF2B5EF4-FFF2-40B4-BE49-F238E27FC236}">
                <a16:creationId xmlns:a16="http://schemas.microsoft.com/office/drawing/2014/main" id="{D71A1629-6A72-4294-9A5B-5CF75366C88D}"/>
              </a:ext>
            </a:extLst>
          </p:cNvPr>
          <p:cNvSpPr>
            <a:spLocks noChangeArrowheads="1"/>
          </p:cNvSpPr>
          <p:nvPr>
            <p:custDataLst>
              <p:tags r:id="rId8"/>
            </p:custDataLst>
          </p:nvPr>
        </p:nvSpPr>
        <p:spPr bwMode="auto">
          <a:xfrm>
            <a:off x="9621362" y="4039971"/>
            <a:ext cx="1583687" cy="383924"/>
          </a:xfrm>
          <a:prstGeom prst="rect">
            <a:avLst/>
          </a:prstGeom>
          <a:noFill/>
          <a:ln>
            <a:noFill/>
          </a:ln>
        </p:spPr>
        <p:txBody>
          <a:bodyPr vert="horz" wrap="square" lIns="0" tIns="60941" rIns="0" bIns="95970" numCol="1" anchor="b" anchorCtr="0" compatLnSpc="1">
            <a:prstTxWarp prst="textNoShape">
              <a:avLst/>
            </a:prstTxWarp>
          </a:bodyPr>
          <a:lstStyle/>
          <a:p>
            <a:pPr marL="0" marR="0" lvl="0" indent="0" algn="r" defTabSz="1218804" rtl="0" eaLnBrk="1" fontAlgn="auto" latinLnBrk="0" hangingPunct="1">
              <a:lnSpc>
                <a:spcPct val="100000"/>
              </a:lnSpc>
              <a:spcBef>
                <a:spcPts val="0"/>
              </a:spcBef>
              <a:spcAft>
                <a:spcPts val="0"/>
              </a:spcAft>
              <a:buClrTx/>
              <a:buSzTx/>
              <a:buFontTx/>
              <a:buNone/>
              <a:tabLst/>
              <a:defRPr/>
            </a:pPr>
            <a:r>
              <a:rPr lang="en-US" sz="1200" b="1" dirty="0">
                <a:solidFill>
                  <a:srgbClr val="E55A00"/>
                </a:solidFill>
                <a:latin typeface="Lato"/>
              </a:rPr>
              <a:t>L</a:t>
            </a:r>
            <a:r>
              <a:rPr kumimoji="0" lang="en-US" sz="1200" b="1" i="0" u="none" strike="noStrike" kern="1200" cap="none" spc="0" normalizeH="0" baseline="0" noProof="0" dirty="0" err="1">
                <a:ln>
                  <a:noFill/>
                </a:ln>
                <a:solidFill>
                  <a:srgbClr val="E55A00"/>
                </a:solidFill>
                <a:effectLst/>
                <a:uLnTx/>
                <a:uFillTx/>
                <a:latin typeface="Lato"/>
                <a:ea typeface="+mn-ea"/>
                <a:cs typeface="+mn-cs"/>
              </a:rPr>
              <a:t>ockdown</a:t>
            </a:r>
            <a:r>
              <a:rPr kumimoji="0" lang="en-US" sz="1200" b="1" i="0" u="none" strike="noStrike" kern="1200" cap="none" spc="0" normalizeH="0" baseline="0" noProof="0" dirty="0">
                <a:ln>
                  <a:noFill/>
                </a:ln>
                <a:solidFill>
                  <a:srgbClr val="E55A00"/>
                </a:solidFill>
                <a:effectLst/>
                <a:uLnTx/>
                <a:uFillTx/>
                <a:latin typeface="Lato"/>
                <a:ea typeface="+mn-ea"/>
                <a:cs typeface="+mn-cs"/>
              </a:rPr>
              <a:t> </a:t>
            </a:r>
          </a:p>
          <a:p>
            <a:pPr marL="0" marR="0" lvl="0" indent="0" algn="r" defTabSz="1218804"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err="1">
                <a:ln>
                  <a:noFill/>
                </a:ln>
                <a:solidFill>
                  <a:srgbClr val="E55A00"/>
                </a:solidFill>
                <a:effectLst/>
                <a:uLnTx/>
                <a:uFillTx/>
                <a:latin typeface="Lato"/>
                <a:ea typeface="+mn-ea"/>
                <a:cs typeface="+mn-cs"/>
              </a:rPr>
              <a:t>iweek</a:t>
            </a:r>
            <a:r>
              <a:rPr kumimoji="0" lang="en-US" sz="1200" b="1" i="0" u="none" strike="noStrike" kern="1200" cap="none" spc="0" normalizeH="0" baseline="0" noProof="0" dirty="0">
                <a:ln>
                  <a:noFill/>
                </a:ln>
                <a:solidFill>
                  <a:srgbClr val="E55A00"/>
                </a:solidFill>
                <a:effectLst/>
                <a:uLnTx/>
                <a:uFillTx/>
                <a:latin typeface="Lato"/>
                <a:ea typeface="+mn-ea"/>
                <a:cs typeface="+mn-cs"/>
              </a:rPr>
              <a:t> 14</a:t>
            </a:r>
          </a:p>
        </p:txBody>
      </p:sp>
      <p:sp>
        <p:nvSpPr>
          <p:cNvPr id="41" name="Pfeil: nach unten 12">
            <a:extLst>
              <a:ext uri="{FF2B5EF4-FFF2-40B4-BE49-F238E27FC236}">
                <a16:creationId xmlns:a16="http://schemas.microsoft.com/office/drawing/2014/main" id="{376EA104-BC16-498D-A649-5245AC2763AA}"/>
              </a:ext>
            </a:extLst>
          </p:cNvPr>
          <p:cNvSpPr/>
          <p:nvPr/>
        </p:nvSpPr>
        <p:spPr>
          <a:xfrm>
            <a:off x="3220131" y="2740400"/>
            <a:ext cx="184774" cy="372620"/>
          </a:xfrm>
          <a:prstGeom prst="downArrow">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1978" tIns="35989" rIns="71978" bIns="35989" rtlCol="0" anchor="ctr"/>
          <a:lstStyle/>
          <a:p>
            <a:pPr marL="0" marR="0" lvl="0" indent="0" algn="ctr" defTabSz="914103" rtl="0" eaLnBrk="1" fontAlgn="auto" latinLnBrk="0" hangingPunct="1">
              <a:lnSpc>
                <a:spcPct val="125000"/>
              </a:lnSpc>
              <a:spcBef>
                <a:spcPts val="0"/>
              </a:spcBef>
              <a:spcAft>
                <a:spcPts val="0"/>
              </a:spcAft>
              <a:buClrTx/>
              <a:buSzTx/>
              <a:buFontTx/>
              <a:buNone/>
              <a:tabLst/>
              <a:defRPr/>
            </a:pPr>
            <a:endParaRPr kumimoji="0" lang="de-DE" sz="1599" b="0" i="0" u="none" strike="noStrike" kern="1200" cap="none" spc="0" normalizeH="0" baseline="0" noProof="0" dirty="0">
              <a:ln>
                <a:noFill/>
              </a:ln>
              <a:solidFill>
                <a:srgbClr val="FFFFFF"/>
              </a:solidFill>
              <a:effectLst/>
              <a:uLnTx/>
              <a:uFillTx/>
              <a:latin typeface="Lato"/>
              <a:ea typeface="+mn-ea"/>
              <a:cs typeface="+mn-cs"/>
            </a:endParaRPr>
          </a:p>
        </p:txBody>
      </p:sp>
      <p:sp>
        <p:nvSpPr>
          <p:cNvPr id="42" name="Pfeil: nach unten 12">
            <a:extLst>
              <a:ext uri="{FF2B5EF4-FFF2-40B4-BE49-F238E27FC236}">
                <a16:creationId xmlns:a16="http://schemas.microsoft.com/office/drawing/2014/main" id="{21465ACD-DAAC-46EE-86AA-FC9317235364}"/>
              </a:ext>
            </a:extLst>
          </p:cNvPr>
          <p:cNvSpPr/>
          <p:nvPr/>
        </p:nvSpPr>
        <p:spPr>
          <a:xfrm>
            <a:off x="10768164" y="4388811"/>
            <a:ext cx="184774" cy="372620"/>
          </a:xfrm>
          <a:prstGeom prst="downArrow">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1978" tIns="35989" rIns="71978" bIns="35989" rtlCol="0" anchor="ctr"/>
          <a:lstStyle/>
          <a:p>
            <a:pPr marL="0" marR="0" lvl="0" indent="0" algn="ctr" defTabSz="914103" rtl="0" eaLnBrk="1" fontAlgn="auto" latinLnBrk="0" hangingPunct="1">
              <a:lnSpc>
                <a:spcPct val="125000"/>
              </a:lnSpc>
              <a:spcBef>
                <a:spcPts val="0"/>
              </a:spcBef>
              <a:spcAft>
                <a:spcPts val="0"/>
              </a:spcAft>
              <a:buClrTx/>
              <a:buSzTx/>
              <a:buFontTx/>
              <a:buNone/>
              <a:tabLst/>
              <a:defRPr/>
            </a:pPr>
            <a:endParaRPr kumimoji="0" lang="de-DE" sz="1599" b="0" i="0" u="none" strike="noStrike" kern="1200" cap="none" spc="0" normalizeH="0" baseline="0" noProof="0" dirty="0">
              <a:ln>
                <a:noFill/>
              </a:ln>
              <a:solidFill>
                <a:srgbClr val="FFFFFF"/>
              </a:solidFill>
              <a:effectLst/>
              <a:uLnTx/>
              <a:uFillTx/>
              <a:latin typeface="Lato"/>
              <a:ea typeface="+mn-ea"/>
              <a:cs typeface="+mn-cs"/>
            </a:endParaRPr>
          </a:p>
        </p:txBody>
      </p:sp>
      <p:sp>
        <p:nvSpPr>
          <p:cNvPr id="43" name="Pfeil: nach unten 12">
            <a:extLst>
              <a:ext uri="{FF2B5EF4-FFF2-40B4-BE49-F238E27FC236}">
                <a16:creationId xmlns:a16="http://schemas.microsoft.com/office/drawing/2014/main" id="{8061D869-F13F-4DA5-B27F-394E59FC10E9}"/>
              </a:ext>
            </a:extLst>
          </p:cNvPr>
          <p:cNvSpPr/>
          <p:nvPr/>
        </p:nvSpPr>
        <p:spPr>
          <a:xfrm>
            <a:off x="10497447" y="2136072"/>
            <a:ext cx="184774" cy="372620"/>
          </a:xfrm>
          <a:prstGeom prst="downArrow">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1978" tIns="35989" rIns="71978" bIns="35989" rtlCol="0" anchor="ctr"/>
          <a:lstStyle/>
          <a:p>
            <a:pPr marL="0" marR="0" lvl="0" indent="0" algn="ctr" defTabSz="914103" rtl="0" eaLnBrk="1" fontAlgn="auto" latinLnBrk="0" hangingPunct="1">
              <a:lnSpc>
                <a:spcPct val="125000"/>
              </a:lnSpc>
              <a:spcBef>
                <a:spcPts val="0"/>
              </a:spcBef>
              <a:spcAft>
                <a:spcPts val="0"/>
              </a:spcAft>
              <a:buClrTx/>
              <a:buSzTx/>
              <a:buFontTx/>
              <a:buNone/>
              <a:tabLst/>
              <a:defRPr/>
            </a:pPr>
            <a:endParaRPr kumimoji="0" lang="de-DE" sz="1599" b="0" i="0" u="none" strike="noStrike" kern="1200" cap="none" spc="0" normalizeH="0" baseline="0" noProof="0" dirty="0">
              <a:ln>
                <a:noFill/>
              </a:ln>
              <a:solidFill>
                <a:srgbClr val="FFFFFF"/>
              </a:solidFill>
              <a:effectLst/>
              <a:uLnTx/>
              <a:uFillTx/>
              <a:latin typeface="Lato"/>
              <a:ea typeface="+mn-ea"/>
              <a:cs typeface="+mn-cs"/>
            </a:endParaRPr>
          </a:p>
        </p:txBody>
      </p:sp>
      <p:sp>
        <p:nvSpPr>
          <p:cNvPr id="44" name="Rectangle 19">
            <a:extLst>
              <a:ext uri="{FF2B5EF4-FFF2-40B4-BE49-F238E27FC236}">
                <a16:creationId xmlns:a16="http://schemas.microsoft.com/office/drawing/2014/main" id="{4F720B56-04F9-4285-8B99-6B8F8E0694AC}"/>
              </a:ext>
            </a:extLst>
          </p:cNvPr>
          <p:cNvSpPr>
            <a:spLocks noChangeArrowheads="1"/>
          </p:cNvSpPr>
          <p:nvPr>
            <p:custDataLst>
              <p:tags r:id="rId9"/>
            </p:custDataLst>
          </p:nvPr>
        </p:nvSpPr>
        <p:spPr bwMode="auto">
          <a:xfrm>
            <a:off x="913567" y="1386131"/>
            <a:ext cx="6286773" cy="383924"/>
          </a:xfrm>
          <a:prstGeom prst="rect">
            <a:avLst/>
          </a:prstGeom>
          <a:noFill/>
          <a:ln>
            <a:noFill/>
          </a:ln>
        </p:spPr>
        <p:txBody>
          <a:bodyPr vert="horz" wrap="square" lIns="0" tIns="60941" rIns="0" bIns="95970" numCol="1" anchor="b" anchorCtr="0" compatLnSpc="1">
            <a:prstTxWarp prst="textNoShape">
              <a:avLst/>
            </a:prstTxWarp>
          </a:bodyPr>
          <a:lstStyle/>
          <a:p>
            <a:pPr marL="0" marR="0" lvl="0" indent="0" algn="l" defTabSz="1218804" rtl="0" eaLnBrk="1" fontAlgn="auto" latinLnBrk="0" hangingPunct="1">
              <a:lnSpc>
                <a:spcPct val="100000"/>
              </a:lnSpc>
              <a:spcBef>
                <a:spcPts val="0"/>
              </a:spcBef>
              <a:spcAft>
                <a:spcPts val="0"/>
              </a:spcAft>
              <a:buClrTx/>
              <a:buSzTx/>
              <a:buFontTx/>
              <a:buNone/>
              <a:tabLst/>
              <a:defRPr/>
            </a:pPr>
            <a:r>
              <a:rPr kumimoji="0" lang="de-DE" sz="1466" b="0" i="0" u="none" strike="noStrike" kern="1200" cap="none" spc="0" normalizeH="0" baseline="0" noProof="0" dirty="0">
                <a:ln>
                  <a:noFill/>
                </a:ln>
                <a:solidFill>
                  <a:srgbClr val="414549"/>
                </a:solidFill>
                <a:effectLst/>
                <a:uLnTx/>
                <a:uFillTx/>
                <a:latin typeface="Lato"/>
                <a:ea typeface="+mn-ea"/>
                <a:cs typeface="+mn-cs"/>
              </a:rPr>
              <a:t>Index: 2019 </a:t>
            </a:r>
            <a:r>
              <a:rPr kumimoji="0" lang="de-DE" sz="1466" b="0" i="0" u="none" strike="noStrike" kern="1200" cap="none" spc="0" normalizeH="0" baseline="0" noProof="0" dirty="0" err="1">
                <a:ln>
                  <a:noFill/>
                </a:ln>
                <a:solidFill>
                  <a:srgbClr val="414549"/>
                </a:solidFill>
                <a:effectLst/>
                <a:uLnTx/>
                <a:uFillTx/>
                <a:latin typeface="Lato"/>
                <a:ea typeface="+mn-ea"/>
                <a:cs typeface="+mn-cs"/>
              </a:rPr>
              <a:t>average</a:t>
            </a:r>
            <a:r>
              <a:rPr kumimoji="0" lang="de-DE" sz="1466" b="0" i="0" u="none" strike="noStrike" kern="1200" cap="none" spc="0" normalizeH="0" baseline="0" noProof="0" dirty="0">
                <a:ln>
                  <a:noFill/>
                </a:ln>
                <a:solidFill>
                  <a:srgbClr val="414549"/>
                </a:solidFill>
                <a:effectLst/>
                <a:uLnTx/>
                <a:uFillTx/>
                <a:latin typeface="Lato"/>
                <a:ea typeface="+mn-ea"/>
                <a:cs typeface="+mn-cs"/>
              </a:rPr>
              <a:t> </a:t>
            </a:r>
            <a:r>
              <a:rPr kumimoji="0" lang="de-DE" sz="1466" b="0" i="0" u="none" strike="noStrike" kern="1200" cap="none" spc="0" normalizeH="0" baseline="0" noProof="0" dirty="0" err="1">
                <a:ln>
                  <a:noFill/>
                </a:ln>
                <a:solidFill>
                  <a:srgbClr val="414549"/>
                </a:solidFill>
                <a:effectLst/>
                <a:uLnTx/>
                <a:uFillTx/>
                <a:latin typeface="Lato"/>
                <a:ea typeface="+mn-ea"/>
                <a:cs typeface="+mn-cs"/>
              </a:rPr>
              <a:t>weekly</a:t>
            </a:r>
            <a:r>
              <a:rPr kumimoji="0" lang="de-DE" sz="1466" b="0" i="0" u="none" strike="noStrike" kern="1200" cap="none" spc="0" normalizeH="0" baseline="0" noProof="0" dirty="0">
                <a:ln>
                  <a:noFill/>
                </a:ln>
                <a:solidFill>
                  <a:srgbClr val="414549"/>
                </a:solidFill>
                <a:effectLst/>
                <a:uLnTx/>
                <a:uFillTx/>
                <a:latin typeface="Lato"/>
                <a:ea typeface="+mn-ea"/>
                <a:cs typeface="+mn-cs"/>
              </a:rPr>
              <a:t> </a:t>
            </a:r>
            <a:r>
              <a:rPr kumimoji="0" lang="de-DE" sz="1466" b="0" i="0" u="none" strike="noStrike" kern="1200" cap="none" spc="0" normalizeH="0" baseline="0" noProof="0" dirty="0" err="1">
                <a:ln>
                  <a:noFill/>
                </a:ln>
                <a:solidFill>
                  <a:srgbClr val="414549"/>
                </a:solidFill>
                <a:effectLst/>
                <a:uLnTx/>
                <a:uFillTx/>
                <a:latin typeface="Lato"/>
                <a:ea typeface="+mn-ea"/>
                <a:cs typeface="+mn-cs"/>
              </a:rPr>
              <a:t>turnover</a:t>
            </a:r>
            <a:r>
              <a:rPr kumimoji="0" lang="de-DE" sz="1466" b="0" i="0" u="none" strike="noStrike" kern="1200" cap="none" spc="0" normalizeH="0" baseline="0" noProof="0" dirty="0">
                <a:ln>
                  <a:noFill/>
                </a:ln>
                <a:solidFill>
                  <a:srgbClr val="414549"/>
                </a:solidFill>
                <a:effectLst/>
                <a:uLnTx/>
                <a:uFillTx/>
                <a:latin typeface="Lato"/>
                <a:ea typeface="+mn-ea"/>
                <a:cs typeface="+mn-cs"/>
              </a:rPr>
              <a:t> in EUR = 100</a:t>
            </a:r>
          </a:p>
        </p:txBody>
      </p:sp>
      <p:pic>
        <p:nvPicPr>
          <p:cNvPr id="25" name="Рисунок 24">
            <a:extLst>
              <a:ext uri="{FF2B5EF4-FFF2-40B4-BE49-F238E27FC236}">
                <a16:creationId xmlns:a16="http://schemas.microsoft.com/office/drawing/2014/main" id="{01117C1F-DFAC-4E1E-8D01-FF15E14CB514}"/>
              </a:ext>
            </a:extLst>
          </p:cNvPr>
          <p:cNvPicPr>
            <a:picLocks noChangeAspect="1"/>
          </p:cNvPicPr>
          <p:nvPr/>
        </p:nvPicPr>
        <p:blipFill>
          <a:blip r:embed="rId15" cstate="screen">
            <a:extLst>
              <a:ext uri="{28A0092B-C50C-407E-A947-70E740481C1C}">
                <a14:useLocalDpi xmlns:a14="http://schemas.microsoft.com/office/drawing/2010/main"/>
              </a:ext>
            </a:extLst>
          </a:blip>
          <a:stretch>
            <a:fillRect/>
          </a:stretch>
        </p:blipFill>
        <p:spPr>
          <a:xfrm>
            <a:off x="633289" y="1628468"/>
            <a:ext cx="504000" cy="504000"/>
          </a:xfrm>
          <a:prstGeom prst="rect">
            <a:avLst/>
          </a:prstGeom>
        </p:spPr>
      </p:pic>
      <p:pic>
        <p:nvPicPr>
          <p:cNvPr id="26" name="Рисунок 25">
            <a:extLst>
              <a:ext uri="{FF2B5EF4-FFF2-40B4-BE49-F238E27FC236}">
                <a16:creationId xmlns:a16="http://schemas.microsoft.com/office/drawing/2014/main" id="{D013368D-D535-4684-9751-C0052A9FB010}"/>
              </a:ext>
            </a:extLst>
          </p:cNvPr>
          <p:cNvPicPr>
            <a:picLocks noChangeAspect="1"/>
          </p:cNvPicPr>
          <p:nvPr/>
        </p:nvPicPr>
        <p:blipFill>
          <a:blip r:embed="rId16" cstate="screen">
            <a:extLst>
              <a:ext uri="{28A0092B-C50C-407E-A947-70E740481C1C}">
                <a14:useLocalDpi xmlns:a14="http://schemas.microsoft.com/office/drawing/2010/main"/>
              </a:ext>
            </a:extLst>
          </a:blip>
          <a:stretch>
            <a:fillRect/>
          </a:stretch>
        </p:blipFill>
        <p:spPr>
          <a:xfrm>
            <a:off x="6531659" y="3979933"/>
            <a:ext cx="504000" cy="504000"/>
          </a:xfrm>
          <a:prstGeom prst="rect">
            <a:avLst/>
          </a:prstGeom>
        </p:spPr>
      </p:pic>
      <p:pic>
        <p:nvPicPr>
          <p:cNvPr id="28" name="Рисунок 27">
            <a:extLst>
              <a:ext uri="{FF2B5EF4-FFF2-40B4-BE49-F238E27FC236}">
                <a16:creationId xmlns:a16="http://schemas.microsoft.com/office/drawing/2014/main" id="{E66472FE-8426-41FD-A2E0-DDF5E360C4EF}"/>
              </a:ext>
            </a:extLst>
          </p:cNvPr>
          <p:cNvPicPr>
            <a:picLocks noChangeAspect="1"/>
          </p:cNvPicPr>
          <p:nvPr/>
        </p:nvPicPr>
        <p:blipFill>
          <a:blip r:embed="rId17" cstate="screen">
            <a:extLst>
              <a:ext uri="{28A0092B-C50C-407E-A947-70E740481C1C}">
                <a14:useLocalDpi xmlns:a14="http://schemas.microsoft.com/office/drawing/2010/main"/>
              </a:ext>
            </a:extLst>
          </a:blip>
          <a:stretch>
            <a:fillRect/>
          </a:stretch>
        </p:blipFill>
        <p:spPr>
          <a:xfrm>
            <a:off x="711843" y="3997188"/>
            <a:ext cx="504000" cy="504000"/>
          </a:xfrm>
          <a:prstGeom prst="rect">
            <a:avLst/>
          </a:prstGeom>
        </p:spPr>
      </p:pic>
      <p:pic>
        <p:nvPicPr>
          <p:cNvPr id="29" name="Image 42">
            <a:extLst>
              <a:ext uri="{FF2B5EF4-FFF2-40B4-BE49-F238E27FC236}">
                <a16:creationId xmlns:a16="http://schemas.microsoft.com/office/drawing/2014/main" id="{AC9CF991-C676-421C-8407-EE7F85288320}"/>
              </a:ext>
            </a:extLst>
          </p:cNvPr>
          <p:cNvPicPr>
            <a:picLocks/>
          </p:cNvPicPr>
          <p:nvPr/>
        </p:nvPicPr>
        <p:blipFill>
          <a:blip r:embed="rId18"/>
          <a:stretch>
            <a:fillRect/>
          </a:stretch>
        </p:blipFill>
        <p:spPr>
          <a:xfrm>
            <a:off x="6531659" y="1628468"/>
            <a:ext cx="504000" cy="504000"/>
          </a:xfrm>
          <a:prstGeom prst="rect">
            <a:avLst/>
          </a:prstGeom>
        </p:spPr>
      </p:pic>
    </p:spTree>
    <p:extLst>
      <p:ext uri="{BB962C8B-B14F-4D97-AF65-F5344CB8AC3E}">
        <p14:creationId xmlns:p14="http://schemas.microsoft.com/office/powerpoint/2010/main" val="39171179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Диаграмма 14">
            <a:extLst>
              <a:ext uri="{FF2B5EF4-FFF2-40B4-BE49-F238E27FC236}">
                <a16:creationId xmlns:a16="http://schemas.microsoft.com/office/drawing/2014/main" id="{A8616E53-EBF9-4E6D-905E-AEDA6C92A19C}"/>
              </a:ext>
            </a:extLst>
          </p:cNvPr>
          <p:cNvGraphicFramePr/>
          <p:nvPr>
            <p:extLst>
              <p:ext uri="{D42A27DB-BD31-4B8C-83A1-F6EECF244321}">
                <p14:modId xmlns:p14="http://schemas.microsoft.com/office/powerpoint/2010/main" val="379843049"/>
              </p:ext>
            </p:extLst>
          </p:nvPr>
        </p:nvGraphicFramePr>
        <p:xfrm>
          <a:off x="732138" y="2094025"/>
          <a:ext cx="5363861" cy="115910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6" name="Диаграмма 15">
            <a:extLst>
              <a:ext uri="{FF2B5EF4-FFF2-40B4-BE49-F238E27FC236}">
                <a16:creationId xmlns:a16="http://schemas.microsoft.com/office/drawing/2014/main" id="{CABEFD4F-A97E-4820-BE05-1B04A37EF278}"/>
              </a:ext>
            </a:extLst>
          </p:cNvPr>
          <p:cNvGraphicFramePr/>
          <p:nvPr>
            <p:extLst>
              <p:ext uri="{D42A27DB-BD31-4B8C-83A1-F6EECF244321}">
                <p14:modId xmlns:p14="http://schemas.microsoft.com/office/powerpoint/2010/main" val="886631306"/>
              </p:ext>
            </p:extLst>
          </p:nvPr>
        </p:nvGraphicFramePr>
        <p:xfrm>
          <a:off x="5992702" y="1961685"/>
          <a:ext cx="5363861" cy="1159101"/>
        </p:xfrm>
        <a:graphic>
          <a:graphicData uri="http://schemas.openxmlformats.org/drawingml/2006/chart">
            <c:chart xmlns:c="http://schemas.openxmlformats.org/drawingml/2006/chart" xmlns:r="http://schemas.openxmlformats.org/officeDocument/2006/relationships" r:id="rId7"/>
          </a:graphicData>
        </a:graphic>
      </p:graphicFrame>
      <p:sp>
        <p:nvSpPr>
          <p:cNvPr id="5" name="Номер слайда 4">
            <a:extLst>
              <a:ext uri="{FF2B5EF4-FFF2-40B4-BE49-F238E27FC236}">
                <a16:creationId xmlns:a16="http://schemas.microsoft.com/office/drawing/2014/main" id="{72F60F0F-566A-478C-833B-B86E3B9E8CFB}"/>
              </a:ext>
            </a:extLst>
          </p:cNvPr>
          <p:cNvSpPr>
            <a:spLocks noGrp="1"/>
          </p:cNvSpPr>
          <p:nvPr>
            <p:ph type="sldNum" sz="quarter" idx="16"/>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F3E29E4-0979-4FCA-B4C5-5FC6044C982A}" type="slidenum">
              <a:rPr kumimoji="0" lang="en-US" sz="800" b="0" i="0" u="none" strike="noStrike" kern="1200" cap="none" spc="0" normalizeH="0" baseline="0" noProof="0" smtClean="0">
                <a:ln>
                  <a:noFill/>
                </a:ln>
                <a:solidFill>
                  <a:srgbClr val="414549"/>
                </a:solidFill>
                <a:effectLst/>
                <a:uLnTx/>
                <a:uFillTx/>
                <a:latin typeface="Lato"/>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800" b="0" i="0" u="none" strike="noStrike" kern="1200" cap="none" spc="0" normalizeH="0" baseline="0" noProof="0">
              <a:ln>
                <a:noFill/>
              </a:ln>
              <a:solidFill>
                <a:srgbClr val="414549"/>
              </a:solidFill>
              <a:effectLst/>
              <a:uLnTx/>
              <a:uFillTx/>
              <a:latin typeface="Lato"/>
              <a:ea typeface="+mn-ea"/>
              <a:cs typeface="+mn-cs"/>
            </a:endParaRPr>
          </a:p>
        </p:txBody>
      </p:sp>
      <p:sp>
        <p:nvSpPr>
          <p:cNvPr id="41" name="Заголовок 2">
            <a:extLst>
              <a:ext uri="{FF2B5EF4-FFF2-40B4-BE49-F238E27FC236}">
                <a16:creationId xmlns:a16="http://schemas.microsoft.com/office/drawing/2014/main" id="{49192C4C-3002-4DDC-A949-97819ACE07B1}"/>
              </a:ext>
            </a:extLst>
          </p:cNvPr>
          <p:cNvSpPr>
            <a:spLocks noGrp="1"/>
          </p:cNvSpPr>
          <p:nvPr>
            <p:ph type="title"/>
          </p:nvPr>
        </p:nvSpPr>
        <p:spPr>
          <a:xfrm>
            <a:off x="1075061" y="288923"/>
            <a:ext cx="9700939" cy="648000"/>
          </a:xfrm>
        </p:spPr>
        <p:txBody>
          <a:bodyPr/>
          <a:lstStyle/>
          <a:p>
            <a:r>
              <a:rPr lang="en-US" dirty="0"/>
              <a:t>Market Dynamics by Main Product Groups</a:t>
            </a:r>
          </a:p>
        </p:txBody>
      </p:sp>
      <p:sp>
        <p:nvSpPr>
          <p:cNvPr id="42" name="Подзаголовок 7">
            <a:extLst>
              <a:ext uri="{FF2B5EF4-FFF2-40B4-BE49-F238E27FC236}">
                <a16:creationId xmlns:a16="http://schemas.microsoft.com/office/drawing/2014/main" id="{518A16F0-6144-4BFB-9ED0-453E05F09D9F}"/>
              </a:ext>
            </a:extLst>
          </p:cNvPr>
          <p:cNvSpPr>
            <a:spLocks noGrp="1"/>
          </p:cNvSpPr>
          <p:nvPr>
            <p:ph type="subTitle" idx="13"/>
          </p:nvPr>
        </p:nvSpPr>
        <p:spPr>
          <a:xfrm>
            <a:off x="1084424" y="1020125"/>
            <a:ext cx="9816557" cy="457588"/>
          </a:xfrm>
        </p:spPr>
        <p:txBody>
          <a:bodyPr/>
          <a:lstStyle/>
          <a:p>
            <a:r>
              <a:rPr lang="en-US" dirty="0">
                <a:solidFill>
                  <a:schemeClr val="tx2"/>
                </a:solidFill>
                <a:ea typeface="Lato" panose="020F0502020204030203" pitchFamily="34" charset="0"/>
                <a:cs typeface="Lato" panose="020F0502020204030203" pitchFamily="34" charset="0"/>
              </a:rPr>
              <a:t>Cooling and Smartphones had the most drastic sales drop in April.</a:t>
            </a:r>
          </a:p>
        </p:txBody>
      </p:sp>
      <p:cxnSp>
        <p:nvCxnSpPr>
          <p:cNvPr id="19" name="Straight Connector 24">
            <a:extLst>
              <a:ext uri="{FF2B5EF4-FFF2-40B4-BE49-F238E27FC236}">
                <a16:creationId xmlns:a16="http://schemas.microsoft.com/office/drawing/2014/main" id="{620D7F7F-F2BE-4863-AEE0-D3438EC48094}"/>
              </a:ext>
            </a:extLst>
          </p:cNvPr>
          <p:cNvCxnSpPr/>
          <p:nvPr/>
        </p:nvCxnSpPr>
        <p:spPr>
          <a:xfrm>
            <a:off x="6096000" y="2094026"/>
            <a:ext cx="0" cy="4482956"/>
          </a:xfrm>
          <a:prstGeom prst="line">
            <a:avLst/>
          </a:prstGeom>
          <a:ln w="6350">
            <a:solidFill>
              <a:schemeClr val="tx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23" name="Диаграмма 22">
            <a:extLst>
              <a:ext uri="{FF2B5EF4-FFF2-40B4-BE49-F238E27FC236}">
                <a16:creationId xmlns:a16="http://schemas.microsoft.com/office/drawing/2014/main" id="{07800E36-9C31-4119-AE3A-DCF0B9879D0B}"/>
              </a:ext>
            </a:extLst>
          </p:cNvPr>
          <p:cNvGraphicFramePr/>
          <p:nvPr/>
        </p:nvGraphicFramePr>
        <p:xfrm>
          <a:off x="732138" y="2888742"/>
          <a:ext cx="5363861" cy="1159101"/>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24" name="Диаграмма 23">
            <a:extLst>
              <a:ext uri="{FF2B5EF4-FFF2-40B4-BE49-F238E27FC236}">
                <a16:creationId xmlns:a16="http://schemas.microsoft.com/office/drawing/2014/main" id="{503B50F8-237C-454B-A3DF-0744F692A20C}"/>
              </a:ext>
            </a:extLst>
          </p:cNvPr>
          <p:cNvGraphicFramePr/>
          <p:nvPr>
            <p:extLst>
              <p:ext uri="{D42A27DB-BD31-4B8C-83A1-F6EECF244321}">
                <p14:modId xmlns:p14="http://schemas.microsoft.com/office/powerpoint/2010/main" val="1310359540"/>
              </p:ext>
            </p:extLst>
          </p:nvPr>
        </p:nvGraphicFramePr>
        <p:xfrm>
          <a:off x="5992702" y="2888742"/>
          <a:ext cx="5363861" cy="1159101"/>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5" name="Диаграмма 24">
            <a:extLst>
              <a:ext uri="{FF2B5EF4-FFF2-40B4-BE49-F238E27FC236}">
                <a16:creationId xmlns:a16="http://schemas.microsoft.com/office/drawing/2014/main" id="{2135D420-DEC5-4734-B159-6DABECDC42AC}"/>
              </a:ext>
            </a:extLst>
          </p:cNvPr>
          <p:cNvGraphicFramePr/>
          <p:nvPr/>
        </p:nvGraphicFramePr>
        <p:xfrm>
          <a:off x="732138" y="3936292"/>
          <a:ext cx="5363861" cy="1159101"/>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6" name="Диаграмма 25">
            <a:extLst>
              <a:ext uri="{FF2B5EF4-FFF2-40B4-BE49-F238E27FC236}">
                <a16:creationId xmlns:a16="http://schemas.microsoft.com/office/drawing/2014/main" id="{18F2894B-93F6-47C8-AE24-C2DAB5D19FE1}"/>
              </a:ext>
            </a:extLst>
          </p:cNvPr>
          <p:cNvGraphicFramePr/>
          <p:nvPr>
            <p:extLst>
              <p:ext uri="{D42A27DB-BD31-4B8C-83A1-F6EECF244321}">
                <p14:modId xmlns:p14="http://schemas.microsoft.com/office/powerpoint/2010/main" val="1121769052"/>
              </p:ext>
            </p:extLst>
          </p:nvPr>
        </p:nvGraphicFramePr>
        <p:xfrm>
          <a:off x="5992702" y="3767845"/>
          <a:ext cx="5363861" cy="1159101"/>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7" name="Диаграмма 26">
            <a:extLst>
              <a:ext uri="{FF2B5EF4-FFF2-40B4-BE49-F238E27FC236}">
                <a16:creationId xmlns:a16="http://schemas.microsoft.com/office/drawing/2014/main" id="{FD4F31A3-34DD-4923-A41F-2D5A340400A7}"/>
              </a:ext>
            </a:extLst>
          </p:cNvPr>
          <p:cNvGraphicFramePr/>
          <p:nvPr/>
        </p:nvGraphicFramePr>
        <p:xfrm>
          <a:off x="732138" y="4876624"/>
          <a:ext cx="5363861" cy="1159101"/>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8" name="Диаграмма 27">
            <a:extLst>
              <a:ext uri="{FF2B5EF4-FFF2-40B4-BE49-F238E27FC236}">
                <a16:creationId xmlns:a16="http://schemas.microsoft.com/office/drawing/2014/main" id="{31BA1DB7-DF23-4227-81FD-396ACA096F60}"/>
              </a:ext>
            </a:extLst>
          </p:cNvPr>
          <p:cNvGraphicFramePr/>
          <p:nvPr>
            <p:extLst>
              <p:ext uri="{D42A27DB-BD31-4B8C-83A1-F6EECF244321}">
                <p14:modId xmlns:p14="http://schemas.microsoft.com/office/powerpoint/2010/main" val="4392094"/>
              </p:ext>
            </p:extLst>
          </p:nvPr>
        </p:nvGraphicFramePr>
        <p:xfrm>
          <a:off x="5992702" y="4359251"/>
          <a:ext cx="5363861" cy="1159101"/>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9" name="Диаграмма 28">
            <a:extLst>
              <a:ext uri="{FF2B5EF4-FFF2-40B4-BE49-F238E27FC236}">
                <a16:creationId xmlns:a16="http://schemas.microsoft.com/office/drawing/2014/main" id="{B76292DC-F479-4A7C-B449-C496B5385FF5}"/>
              </a:ext>
            </a:extLst>
          </p:cNvPr>
          <p:cNvGraphicFramePr/>
          <p:nvPr/>
        </p:nvGraphicFramePr>
        <p:xfrm>
          <a:off x="732138" y="5445545"/>
          <a:ext cx="5363861" cy="1159101"/>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30" name="Диаграмма 29">
            <a:extLst>
              <a:ext uri="{FF2B5EF4-FFF2-40B4-BE49-F238E27FC236}">
                <a16:creationId xmlns:a16="http://schemas.microsoft.com/office/drawing/2014/main" id="{04B81937-BB19-40EF-9C39-CCC9B17F8224}"/>
              </a:ext>
            </a:extLst>
          </p:cNvPr>
          <p:cNvGraphicFramePr/>
          <p:nvPr>
            <p:extLst>
              <p:ext uri="{D42A27DB-BD31-4B8C-83A1-F6EECF244321}">
                <p14:modId xmlns:p14="http://schemas.microsoft.com/office/powerpoint/2010/main" val="1404032622"/>
              </p:ext>
            </p:extLst>
          </p:nvPr>
        </p:nvGraphicFramePr>
        <p:xfrm>
          <a:off x="5992702" y="5445545"/>
          <a:ext cx="5363861" cy="1159101"/>
        </p:xfrm>
        <a:graphic>
          <a:graphicData uri="http://schemas.openxmlformats.org/drawingml/2006/chart">
            <c:chart xmlns:c="http://schemas.openxmlformats.org/drawingml/2006/chart" xmlns:r="http://schemas.openxmlformats.org/officeDocument/2006/relationships" r:id="rId15"/>
          </a:graphicData>
        </a:graphic>
      </p:graphicFrame>
      <p:cxnSp>
        <p:nvCxnSpPr>
          <p:cNvPr id="4" name="Прямая соединительная линия 3">
            <a:extLst>
              <a:ext uri="{FF2B5EF4-FFF2-40B4-BE49-F238E27FC236}">
                <a16:creationId xmlns:a16="http://schemas.microsoft.com/office/drawing/2014/main" id="{A22DDF3D-2F8F-4B29-8733-6E53AC59C484}"/>
              </a:ext>
            </a:extLst>
          </p:cNvPr>
          <p:cNvCxnSpPr>
            <a:cxnSpLocks/>
          </p:cNvCxnSpPr>
          <p:nvPr/>
        </p:nvCxnSpPr>
        <p:spPr>
          <a:xfrm flipV="1">
            <a:off x="872217" y="3557224"/>
            <a:ext cx="5120484" cy="1"/>
          </a:xfrm>
          <a:prstGeom prst="line">
            <a:avLst/>
          </a:prstGeom>
          <a:ln w="63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31" name="Прямая соединительная линия 30">
            <a:extLst>
              <a:ext uri="{FF2B5EF4-FFF2-40B4-BE49-F238E27FC236}">
                <a16:creationId xmlns:a16="http://schemas.microsoft.com/office/drawing/2014/main" id="{57402B05-1884-459C-A473-7DEA15341B9C}"/>
              </a:ext>
            </a:extLst>
          </p:cNvPr>
          <p:cNvCxnSpPr>
            <a:cxnSpLocks/>
          </p:cNvCxnSpPr>
          <p:nvPr/>
        </p:nvCxnSpPr>
        <p:spPr>
          <a:xfrm flipV="1">
            <a:off x="872217" y="4604046"/>
            <a:ext cx="5120484" cy="1"/>
          </a:xfrm>
          <a:prstGeom prst="line">
            <a:avLst/>
          </a:prstGeom>
          <a:ln w="63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32" name="Прямая соединительная линия 31">
            <a:extLst>
              <a:ext uri="{FF2B5EF4-FFF2-40B4-BE49-F238E27FC236}">
                <a16:creationId xmlns:a16="http://schemas.microsoft.com/office/drawing/2014/main" id="{28EC5B88-F77D-444D-99BF-00311E08EB18}"/>
              </a:ext>
            </a:extLst>
          </p:cNvPr>
          <p:cNvCxnSpPr>
            <a:cxnSpLocks/>
          </p:cNvCxnSpPr>
          <p:nvPr/>
        </p:nvCxnSpPr>
        <p:spPr>
          <a:xfrm flipV="1">
            <a:off x="872217" y="5193785"/>
            <a:ext cx="5120484" cy="1"/>
          </a:xfrm>
          <a:prstGeom prst="line">
            <a:avLst/>
          </a:prstGeom>
          <a:ln w="63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33" name="Прямая соединительная линия 32">
            <a:extLst>
              <a:ext uri="{FF2B5EF4-FFF2-40B4-BE49-F238E27FC236}">
                <a16:creationId xmlns:a16="http://schemas.microsoft.com/office/drawing/2014/main" id="{47BA435C-80E5-4EC3-B36B-D192106EF10B}"/>
              </a:ext>
            </a:extLst>
          </p:cNvPr>
          <p:cNvCxnSpPr>
            <a:cxnSpLocks/>
          </p:cNvCxnSpPr>
          <p:nvPr/>
        </p:nvCxnSpPr>
        <p:spPr>
          <a:xfrm flipV="1">
            <a:off x="872217" y="6117665"/>
            <a:ext cx="5120484" cy="1"/>
          </a:xfrm>
          <a:prstGeom prst="line">
            <a:avLst/>
          </a:prstGeom>
          <a:ln w="63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34" name="Прямая соединительная линия 33">
            <a:extLst>
              <a:ext uri="{FF2B5EF4-FFF2-40B4-BE49-F238E27FC236}">
                <a16:creationId xmlns:a16="http://schemas.microsoft.com/office/drawing/2014/main" id="{65817AD5-258B-417A-AE2A-E5AF5B0332DF}"/>
              </a:ext>
            </a:extLst>
          </p:cNvPr>
          <p:cNvCxnSpPr>
            <a:cxnSpLocks/>
          </p:cNvCxnSpPr>
          <p:nvPr/>
        </p:nvCxnSpPr>
        <p:spPr>
          <a:xfrm flipV="1">
            <a:off x="6138044" y="3557292"/>
            <a:ext cx="5120484" cy="1"/>
          </a:xfrm>
          <a:prstGeom prst="line">
            <a:avLst/>
          </a:prstGeom>
          <a:ln w="63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35" name="Прямая соединительная линия 34">
            <a:extLst>
              <a:ext uri="{FF2B5EF4-FFF2-40B4-BE49-F238E27FC236}">
                <a16:creationId xmlns:a16="http://schemas.microsoft.com/office/drawing/2014/main" id="{A3CF1A08-5751-4DD0-B45C-F0472330953D}"/>
              </a:ext>
            </a:extLst>
          </p:cNvPr>
          <p:cNvCxnSpPr>
            <a:cxnSpLocks/>
          </p:cNvCxnSpPr>
          <p:nvPr/>
        </p:nvCxnSpPr>
        <p:spPr>
          <a:xfrm flipV="1">
            <a:off x="6138044" y="4599971"/>
            <a:ext cx="5120484" cy="1"/>
          </a:xfrm>
          <a:prstGeom prst="line">
            <a:avLst/>
          </a:prstGeom>
          <a:ln w="63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36" name="Прямая соединительная линия 35">
            <a:extLst>
              <a:ext uri="{FF2B5EF4-FFF2-40B4-BE49-F238E27FC236}">
                <a16:creationId xmlns:a16="http://schemas.microsoft.com/office/drawing/2014/main" id="{BA03136C-3905-425C-B0EB-62BF7EF04912}"/>
              </a:ext>
            </a:extLst>
          </p:cNvPr>
          <p:cNvCxnSpPr>
            <a:cxnSpLocks/>
          </p:cNvCxnSpPr>
          <p:nvPr/>
        </p:nvCxnSpPr>
        <p:spPr>
          <a:xfrm flipV="1">
            <a:off x="6138044" y="5190728"/>
            <a:ext cx="5120484" cy="1"/>
          </a:xfrm>
          <a:prstGeom prst="line">
            <a:avLst/>
          </a:prstGeom>
          <a:ln w="63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37" name="Прямая соединительная линия 36">
            <a:extLst>
              <a:ext uri="{FF2B5EF4-FFF2-40B4-BE49-F238E27FC236}">
                <a16:creationId xmlns:a16="http://schemas.microsoft.com/office/drawing/2014/main" id="{BBC56298-0E9B-4E08-885B-BD4F6A86E232}"/>
              </a:ext>
            </a:extLst>
          </p:cNvPr>
          <p:cNvCxnSpPr>
            <a:cxnSpLocks/>
          </p:cNvCxnSpPr>
          <p:nvPr/>
        </p:nvCxnSpPr>
        <p:spPr>
          <a:xfrm flipV="1">
            <a:off x="6138044" y="6107018"/>
            <a:ext cx="5120484" cy="1"/>
          </a:xfrm>
          <a:prstGeom prst="line">
            <a:avLst/>
          </a:prstGeom>
          <a:ln w="63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pic>
        <p:nvPicPr>
          <p:cNvPr id="39" name="Picture 15" descr="Image result for eu flag icon">
            <a:extLst>
              <a:ext uri="{FF2B5EF4-FFF2-40B4-BE49-F238E27FC236}">
                <a16:creationId xmlns:a16="http://schemas.microsoft.com/office/drawing/2014/main" id="{2C3A2C7E-D128-4E4C-BC62-660F3F0AED93}"/>
              </a:ext>
            </a:extLst>
          </p:cNvPr>
          <p:cNvPicPr>
            <a:picLocks noChangeAspect="1" noChangeArrowheads="1"/>
          </p:cNvPicPr>
          <p:nvPr/>
        </p:nvPicPr>
        <p:blipFill>
          <a:blip r:embed="rId16" cstate="print">
            <a:extLst>
              <a:ext uri="{28A0092B-C50C-407E-A947-70E740481C1C}">
                <a14:useLocalDpi xmlns:a14="http://schemas.microsoft.com/office/drawing/2010/main"/>
              </a:ext>
            </a:extLst>
          </a:blip>
          <a:srcRect/>
          <a:stretch>
            <a:fillRect/>
          </a:stretch>
        </p:blipFill>
        <p:spPr bwMode="auto">
          <a:xfrm>
            <a:off x="1262408" y="1617425"/>
            <a:ext cx="404519" cy="404519"/>
          </a:xfrm>
          <a:prstGeom prst="rect">
            <a:avLst/>
          </a:prstGeom>
          <a:noFill/>
          <a:extLst>
            <a:ext uri="{909E8E84-426E-40DD-AFC4-6F175D3DCCD1}">
              <a14:hiddenFill xmlns:a14="http://schemas.microsoft.com/office/drawing/2010/main">
                <a:solidFill>
                  <a:srgbClr val="FFFFFF"/>
                </a:solidFill>
              </a14:hiddenFill>
            </a:ext>
          </a:extLst>
        </p:spPr>
      </p:pic>
      <p:sp>
        <p:nvSpPr>
          <p:cNvPr id="77" name="Freeform 30">
            <a:extLst>
              <a:ext uri="{FF2B5EF4-FFF2-40B4-BE49-F238E27FC236}">
                <a16:creationId xmlns:a16="http://schemas.microsoft.com/office/drawing/2014/main" id="{603F8058-01A8-4F57-BD6B-F4D726BC9B95}"/>
              </a:ext>
            </a:extLst>
          </p:cNvPr>
          <p:cNvSpPr>
            <a:spLocks noChangeAspect="1" noEditPoints="1"/>
          </p:cNvSpPr>
          <p:nvPr>
            <p:custDataLst>
              <p:tags r:id="rId1"/>
            </p:custDataLst>
          </p:nvPr>
        </p:nvSpPr>
        <p:spPr bwMode="auto">
          <a:xfrm>
            <a:off x="275172" y="2435164"/>
            <a:ext cx="567812" cy="576823"/>
          </a:xfrm>
          <a:custGeom>
            <a:avLst/>
            <a:gdLst>
              <a:gd name="T0" fmla="*/ 1680 w 2080"/>
              <a:gd name="T1" fmla="*/ 1713 h 2113"/>
              <a:gd name="T2" fmla="*/ 1840 w 2080"/>
              <a:gd name="T3" fmla="*/ 1713 h 2113"/>
              <a:gd name="T4" fmla="*/ 388 w 2080"/>
              <a:gd name="T5" fmla="*/ 5 h 2113"/>
              <a:gd name="T6" fmla="*/ 920 w 2080"/>
              <a:gd name="T7" fmla="*/ 393 h 2113"/>
              <a:gd name="T8" fmla="*/ 1738 w 2080"/>
              <a:gd name="T9" fmla="*/ 0 h 2113"/>
              <a:gd name="T10" fmla="*/ 1105 w 2080"/>
              <a:gd name="T11" fmla="*/ 517 h 2113"/>
              <a:gd name="T12" fmla="*/ 2080 w 2080"/>
              <a:gd name="T13" fmla="*/ 553 h 2113"/>
              <a:gd name="T14" fmla="*/ 1920 w 2080"/>
              <a:gd name="T15" fmla="*/ 2033 h 2113"/>
              <a:gd name="T16" fmla="*/ 1600 w 2080"/>
              <a:gd name="T17" fmla="*/ 2113 h 2113"/>
              <a:gd name="T18" fmla="*/ 480 w 2080"/>
              <a:gd name="T19" fmla="*/ 2033 h 2113"/>
              <a:gd name="T20" fmla="*/ 160 w 2080"/>
              <a:gd name="T21" fmla="*/ 2113 h 2113"/>
              <a:gd name="T22" fmla="*/ 0 w 2080"/>
              <a:gd name="T23" fmla="*/ 2033 h 2113"/>
              <a:gd name="T24" fmla="*/ 724 w 2080"/>
              <a:gd name="T25" fmla="*/ 553 h 2113"/>
              <a:gd name="T26" fmla="*/ 332 w 2080"/>
              <a:gd name="T27" fmla="*/ 61 h 2113"/>
              <a:gd name="T28" fmla="*/ 1760 w 2080"/>
              <a:gd name="T29" fmla="*/ 1393 h 2113"/>
              <a:gd name="T30" fmla="*/ 1760 w 2080"/>
              <a:gd name="T31" fmla="*/ 1553 h 2113"/>
              <a:gd name="T32" fmla="*/ 1760 w 2080"/>
              <a:gd name="T33" fmla="*/ 1393 h 2113"/>
              <a:gd name="T34" fmla="*/ 1600 w 2080"/>
              <a:gd name="T35" fmla="*/ 1233 h 2113"/>
              <a:gd name="T36" fmla="*/ 1920 w 2080"/>
              <a:gd name="T37" fmla="*/ 1153 h 2113"/>
              <a:gd name="T38" fmla="*/ 1600 w 2080"/>
              <a:gd name="T39" fmla="*/ 993 h 2113"/>
              <a:gd name="T40" fmla="*/ 1920 w 2080"/>
              <a:gd name="T41" fmla="*/ 1073 h 2113"/>
              <a:gd name="T42" fmla="*/ 1600 w 2080"/>
              <a:gd name="T43" fmla="*/ 993 h 2113"/>
              <a:gd name="T44" fmla="*/ 1600 w 2080"/>
              <a:gd name="T45" fmla="*/ 913 h 2113"/>
              <a:gd name="T46" fmla="*/ 1920 w 2080"/>
              <a:gd name="T47" fmla="*/ 833 h 2113"/>
              <a:gd name="T48" fmla="*/ 400 w 2080"/>
              <a:gd name="T49" fmla="*/ 713 h 2113"/>
              <a:gd name="T50" fmla="*/ 160 w 2080"/>
              <a:gd name="T51" fmla="*/ 1633 h 2113"/>
              <a:gd name="T52" fmla="*/ 1280 w 2080"/>
              <a:gd name="T53" fmla="*/ 1873 h 2113"/>
              <a:gd name="T54" fmla="*/ 1520 w 2080"/>
              <a:gd name="T55" fmla="*/ 953 h 2113"/>
              <a:gd name="T56" fmla="*/ 400 w 2080"/>
              <a:gd name="T57" fmla="*/ 713 h 2113"/>
              <a:gd name="T58" fmla="*/ 1440 w 2080"/>
              <a:gd name="T59" fmla="*/ 953 h 2113"/>
              <a:gd name="T60" fmla="*/ 1280 w 2080"/>
              <a:gd name="T61" fmla="*/ 1793 h 2113"/>
              <a:gd name="T62" fmla="*/ 240 w 2080"/>
              <a:gd name="T63" fmla="*/ 1633 h 2113"/>
              <a:gd name="T64" fmla="*/ 400 w 2080"/>
              <a:gd name="T65" fmla="*/ 793 h 2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080" h="2113">
                <a:moveTo>
                  <a:pt x="1760" y="1633"/>
                </a:moveTo>
                <a:cubicBezTo>
                  <a:pt x="1716" y="1633"/>
                  <a:pt x="1680" y="1669"/>
                  <a:pt x="1680" y="1713"/>
                </a:cubicBezTo>
                <a:cubicBezTo>
                  <a:pt x="1680" y="1757"/>
                  <a:pt x="1716" y="1793"/>
                  <a:pt x="1760" y="1793"/>
                </a:cubicBezTo>
                <a:cubicBezTo>
                  <a:pt x="1804" y="1793"/>
                  <a:pt x="1840" y="1757"/>
                  <a:pt x="1840" y="1713"/>
                </a:cubicBezTo>
                <a:cubicBezTo>
                  <a:pt x="1840" y="1669"/>
                  <a:pt x="1804" y="1633"/>
                  <a:pt x="1760" y="1633"/>
                </a:cubicBezTo>
                <a:close/>
                <a:moveTo>
                  <a:pt x="388" y="5"/>
                </a:moveTo>
                <a:cubicBezTo>
                  <a:pt x="810" y="426"/>
                  <a:pt x="810" y="426"/>
                  <a:pt x="810" y="426"/>
                </a:cubicBezTo>
                <a:cubicBezTo>
                  <a:pt x="841" y="405"/>
                  <a:pt x="879" y="393"/>
                  <a:pt x="920" y="393"/>
                </a:cubicBezTo>
                <a:cubicBezTo>
                  <a:pt x="975" y="393"/>
                  <a:pt x="1025" y="415"/>
                  <a:pt x="1061" y="451"/>
                </a:cubicBezTo>
                <a:cubicBezTo>
                  <a:pt x="1738" y="0"/>
                  <a:pt x="1738" y="0"/>
                  <a:pt x="1738" y="0"/>
                </a:cubicBezTo>
                <a:cubicBezTo>
                  <a:pt x="1782" y="66"/>
                  <a:pt x="1782" y="66"/>
                  <a:pt x="1782" y="66"/>
                </a:cubicBezTo>
                <a:cubicBezTo>
                  <a:pt x="1105" y="517"/>
                  <a:pt x="1105" y="517"/>
                  <a:pt x="1105" y="517"/>
                </a:cubicBezTo>
                <a:cubicBezTo>
                  <a:pt x="1110" y="529"/>
                  <a:pt x="1114" y="541"/>
                  <a:pt x="1116" y="553"/>
                </a:cubicBezTo>
                <a:cubicBezTo>
                  <a:pt x="2080" y="553"/>
                  <a:pt x="2080" y="553"/>
                  <a:pt x="2080" y="553"/>
                </a:cubicBezTo>
                <a:cubicBezTo>
                  <a:pt x="2080" y="2033"/>
                  <a:pt x="2080" y="2033"/>
                  <a:pt x="2080" y="2033"/>
                </a:cubicBezTo>
                <a:cubicBezTo>
                  <a:pt x="1920" y="2033"/>
                  <a:pt x="1920" y="2033"/>
                  <a:pt x="1920" y="2033"/>
                </a:cubicBezTo>
                <a:cubicBezTo>
                  <a:pt x="1920" y="2113"/>
                  <a:pt x="1920" y="2113"/>
                  <a:pt x="1920" y="2113"/>
                </a:cubicBezTo>
                <a:cubicBezTo>
                  <a:pt x="1813" y="2113"/>
                  <a:pt x="1707" y="2113"/>
                  <a:pt x="1600" y="2113"/>
                </a:cubicBezTo>
                <a:cubicBezTo>
                  <a:pt x="1600" y="2033"/>
                  <a:pt x="1600" y="2033"/>
                  <a:pt x="1600" y="2033"/>
                </a:cubicBezTo>
                <a:cubicBezTo>
                  <a:pt x="480" y="2033"/>
                  <a:pt x="480" y="2033"/>
                  <a:pt x="480" y="2033"/>
                </a:cubicBezTo>
                <a:cubicBezTo>
                  <a:pt x="480" y="2113"/>
                  <a:pt x="480" y="2113"/>
                  <a:pt x="480" y="2113"/>
                </a:cubicBezTo>
                <a:cubicBezTo>
                  <a:pt x="160" y="2113"/>
                  <a:pt x="160" y="2113"/>
                  <a:pt x="160" y="2113"/>
                </a:cubicBezTo>
                <a:cubicBezTo>
                  <a:pt x="160" y="2033"/>
                  <a:pt x="160" y="2033"/>
                  <a:pt x="160" y="2033"/>
                </a:cubicBezTo>
                <a:cubicBezTo>
                  <a:pt x="0" y="2033"/>
                  <a:pt x="0" y="2033"/>
                  <a:pt x="0" y="2033"/>
                </a:cubicBezTo>
                <a:cubicBezTo>
                  <a:pt x="0" y="553"/>
                  <a:pt x="0" y="553"/>
                  <a:pt x="0" y="553"/>
                </a:cubicBezTo>
                <a:cubicBezTo>
                  <a:pt x="724" y="553"/>
                  <a:pt x="724" y="553"/>
                  <a:pt x="724" y="553"/>
                </a:cubicBezTo>
                <a:cubicBezTo>
                  <a:pt x="729" y="527"/>
                  <a:pt x="739" y="504"/>
                  <a:pt x="753" y="483"/>
                </a:cubicBezTo>
                <a:cubicBezTo>
                  <a:pt x="332" y="61"/>
                  <a:pt x="332" y="61"/>
                  <a:pt x="332" y="61"/>
                </a:cubicBezTo>
                <a:lnTo>
                  <a:pt x="388" y="5"/>
                </a:lnTo>
                <a:close/>
                <a:moveTo>
                  <a:pt x="1760" y="1393"/>
                </a:moveTo>
                <a:cubicBezTo>
                  <a:pt x="1716" y="1393"/>
                  <a:pt x="1680" y="1429"/>
                  <a:pt x="1680" y="1473"/>
                </a:cubicBezTo>
                <a:cubicBezTo>
                  <a:pt x="1680" y="1517"/>
                  <a:pt x="1716" y="1553"/>
                  <a:pt x="1760" y="1553"/>
                </a:cubicBezTo>
                <a:cubicBezTo>
                  <a:pt x="1804" y="1553"/>
                  <a:pt x="1840" y="1517"/>
                  <a:pt x="1840" y="1473"/>
                </a:cubicBezTo>
                <a:cubicBezTo>
                  <a:pt x="1840" y="1429"/>
                  <a:pt x="1804" y="1393"/>
                  <a:pt x="1760" y="1393"/>
                </a:cubicBezTo>
                <a:close/>
                <a:moveTo>
                  <a:pt x="1600" y="1153"/>
                </a:moveTo>
                <a:cubicBezTo>
                  <a:pt x="1600" y="1233"/>
                  <a:pt x="1600" y="1233"/>
                  <a:pt x="1600" y="1233"/>
                </a:cubicBezTo>
                <a:cubicBezTo>
                  <a:pt x="1920" y="1233"/>
                  <a:pt x="1920" y="1233"/>
                  <a:pt x="1920" y="1233"/>
                </a:cubicBezTo>
                <a:cubicBezTo>
                  <a:pt x="1920" y="1153"/>
                  <a:pt x="1920" y="1153"/>
                  <a:pt x="1920" y="1153"/>
                </a:cubicBezTo>
                <a:lnTo>
                  <a:pt x="1600" y="1153"/>
                </a:lnTo>
                <a:close/>
                <a:moveTo>
                  <a:pt x="1600" y="993"/>
                </a:moveTo>
                <a:cubicBezTo>
                  <a:pt x="1600" y="1073"/>
                  <a:pt x="1600" y="1073"/>
                  <a:pt x="1600" y="1073"/>
                </a:cubicBezTo>
                <a:cubicBezTo>
                  <a:pt x="1920" y="1073"/>
                  <a:pt x="1920" y="1073"/>
                  <a:pt x="1920" y="1073"/>
                </a:cubicBezTo>
                <a:cubicBezTo>
                  <a:pt x="1920" y="993"/>
                  <a:pt x="1920" y="993"/>
                  <a:pt x="1920" y="993"/>
                </a:cubicBezTo>
                <a:lnTo>
                  <a:pt x="1600" y="993"/>
                </a:lnTo>
                <a:close/>
                <a:moveTo>
                  <a:pt x="1600" y="833"/>
                </a:moveTo>
                <a:cubicBezTo>
                  <a:pt x="1600" y="913"/>
                  <a:pt x="1600" y="913"/>
                  <a:pt x="1600" y="913"/>
                </a:cubicBezTo>
                <a:cubicBezTo>
                  <a:pt x="1920" y="913"/>
                  <a:pt x="1920" y="913"/>
                  <a:pt x="1920" y="913"/>
                </a:cubicBezTo>
                <a:cubicBezTo>
                  <a:pt x="1920" y="833"/>
                  <a:pt x="1920" y="833"/>
                  <a:pt x="1920" y="833"/>
                </a:cubicBezTo>
                <a:lnTo>
                  <a:pt x="1600" y="833"/>
                </a:lnTo>
                <a:close/>
                <a:moveTo>
                  <a:pt x="400" y="713"/>
                </a:moveTo>
                <a:cubicBezTo>
                  <a:pt x="268" y="713"/>
                  <a:pt x="160" y="821"/>
                  <a:pt x="160" y="953"/>
                </a:cubicBezTo>
                <a:cubicBezTo>
                  <a:pt x="160" y="1633"/>
                  <a:pt x="160" y="1633"/>
                  <a:pt x="160" y="1633"/>
                </a:cubicBezTo>
                <a:cubicBezTo>
                  <a:pt x="160" y="1765"/>
                  <a:pt x="268" y="1873"/>
                  <a:pt x="400" y="1873"/>
                </a:cubicBezTo>
                <a:cubicBezTo>
                  <a:pt x="1280" y="1873"/>
                  <a:pt x="1280" y="1873"/>
                  <a:pt x="1280" y="1873"/>
                </a:cubicBezTo>
                <a:cubicBezTo>
                  <a:pt x="1412" y="1873"/>
                  <a:pt x="1520" y="1765"/>
                  <a:pt x="1520" y="1633"/>
                </a:cubicBezTo>
                <a:cubicBezTo>
                  <a:pt x="1520" y="953"/>
                  <a:pt x="1520" y="953"/>
                  <a:pt x="1520" y="953"/>
                </a:cubicBezTo>
                <a:cubicBezTo>
                  <a:pt x="1520" y="821"/>
                  <a:pt x="1412" y="713"/>
                  <a:pt x="1280" y="713"/>
                </a:cubicBezTo>
                <a:lnTo>
                  <a:pt x="400" y="713"/>
                </a:lnTo>
                <a:close/>
                <a:moveTo>
                  <a:pt x="1280" y="793"/>
                </a:moveTo>
                <a:cubicBezTo>
                  <a:pt x="1368" y="793"/>
                  <a:pt x="1440" y="865"/>
                  <a:pt x="1440" y="953"/>
                </a:cubicBezTo>
                <a:cubicBezTo>
                  <a:pt x="1440" y="1633"/>
                  <a:pt x="1440" y="1633"/>
                  <a:pt x="1440" y="1633"/>
                </a:cubicBezTo>
                <a:cubicBezTo>
                  <a:pt x="1440" y="1721"/>
                  <a:pt x="1368" y="1793"/>
                  <a:pt x="1280" y="1793"/>
                </a:cubicBezTo>
                <a:cubicBezTo>
                  <a:pt x="400" y="1793"/>
                  <a:pt x="400" y="1793"/>
                  <a:pt x="400" y="1793"/>
                </a:cubicBezTo>
                <a:cubicBezTo>
                  <a:pt x="312" y="1793"/>
                  <a:pt x="240" y="1721"/>
                  <a:pt x="240" y="1633"/>
                </a:cubicBezTo>
                <a:cubicBezTo>
                  <a:pt x="240" y="953"/>
                  <a:pt x="240" y="953"/>
                  <a:pt x="240" y="953"/>
                </a:cubicBezTo>
                <a:cubicBezTo>
                  <a:pt x="240" y="865"/>
                  <a:pt x="312" y="793"/>
                  <a:pt x="400" y="793"/>
                </a:cubicBezTo>
                <a:lnTo>
                  <a:pt x="1280" y="793"/>
                </a:lnTo>
                <a:close/>
              </a:path>
            </a:pathLst>
          </a:custGeom>
          <a:solidFill>
            <a:schemeClr val="tx1">
              <a:lumMod val="60000"/>
              <a:lumOff val="40000"/>
            </a:schemeClr>
          </a:solidFill>
          <a:ln>
            <a:noFill/>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33" b="0" i="0" u="none" strike="noStrike" kern="1200" cap="none" spc="0" normalizeH="0" baseline="0" noProof="1">
              <a:ln>
                <a:noFill/>
              </a:ln>
              <a:solidFill>
                <a:srgbClr val="414549"/>
              </a:solidFill>
              <a:effectLst/>
              <a:uLnTx/>
              <a:uFillTx/>
              <a:latin typeface="Lato"/>
              <a:ea typeface="+mn-ea"/>
              <a:cs typeface="+mn-cs"/>
            </a:endParaRPr>
          </a:p>
        </p:txBody>
      </p:sp>
      <p:sp>
        <p:nvSpPr>
          <p:cNvPr id="78" name="Freeform 102">
            <a:extLst>
              <a:ext uri="{FF2B5EF4-FFF2-40B4-BE49-F238E27FC236}">
                <a16:creationId xmlns:a16="http://schemas.microsoft.com/office/drawing/2014/main" id="{6D7A31C8-010F-4A57-8283-BEADB5C9870D}"/>
              </a:ext>
            </a:extLst>
          </p:cNvPr>
          <p:cNvSpPr>
            <a:spLocks noChangeAspect="1" noEditPoints="1"/>
          </p:cNvSpPr>
          <p:nvPr>
            <p:custDataLst>
              <p:tags r:id="rId2"/>
            </p:custDataLst>
          </p:nvPr>
        </p:nvSpPr>
        <p:spPr bwMode="auto">
          <a:xfrm>
            <a:off x="275172" y="4154052"/>
            <a:ext cx="567812" cy="446114"/>
          </a:xfrm>
          <a:custGeom>
            <a:avLst/>
            <a:gdLst>
              <a:gd name="T0" fmla="*/ 2240 w 2240"/>
              <a:gd name="T1" fmla="*/ 1360 h 1760"/>
              <a:gd name="T2" fmla="*/ 2240 w 2240"/>
              <a:gd name="T3" fmla="*/ 1560 h 1760"/>
              <a:gd name="T4" fmla="*/ 2040 w 2240"/>
              <a:gd name="T5" fmla="*/ 1760 h 1760"/>
              <a:gd name="T6" fmla="*/ 200 w 2240"/>
              <a:gd name="T7" fmla="*/ 1760 h 1760"/>
              <a:gd name="T8" fmla="*/ 0 w 2240"/>
              <a:gd name="T9" fmla="*/ 1560 h 1760"/>
              <a:gd name="T10" fmla="*/ 0 w 2240"/>
              <a:gd name="T11" fmla="*/ 1360 h 1760"/>
              <a:gd name="T12" fmla="*/ 2240 w 2240"/>
              <a:gd name="T13" fmla="*/ 1360 h 1760"/>
              <a:gd name="T14" fmla="*/ 160 w 2240"/>
              <a:gd name="T15" fmla="*/ 1280 h 1760"/>
              <a:gd name="T16" fmla="*/ 160 w 2240"/>
              <a:gd name="T17" fmla="*/ 120 h 1760"/>
              <a:gd name="T18" fmla="*/ 280 w 2240"/>
              <a:gd name="T19" fmla="*/ 0 h 1760"/>
              <a:gd name="T20" fmla="*/ 1960 w 2240"/>
              <a:gd name="T21" fmla="*/ 0 h 1760"/>
              <a:gd name="T22" fmla="*/ 2080 w 2240"/>
              <a:gd name="T23" fmla="*/ 120 h 1760"/>
              <a:gd name="T24" fmla="*/ 2080 w 2240"/>
              <a:gd name="T25" fmla="*/ 1280 h 1760"/>
              <a:gd name="T26" fmla="*/ 2000 w 2240"/>
              <a:gd name="T27" fmla="*/ 1280 h 1760"/>
              <a:gd name="T28" fmla="*/ 2000 w 2240"/>
              <a:gd name="T29" fmla="*/ 120 h 1760"/>
              <a:gd name="T30" fmla="*/ 1960 w 2240"/>
              <a:gd name="T31" fmla="*/ 80 h 1760"/>
              <a:gd name="T32" fmla="*/ 280 w 2240"/>
              <a:gd name="T33" fmla="*/ 80 h 1760"/>
              <a:gd name="T34" fmla="*/ 240 w 2240"/>
              <a:gd name="T35" fmla="*/ 120 h 1760"/>
              <a:gd name="T36" fmla="*/ 240 w 2240"/>
              <a:gd name="T37" fmla="*/ 1280 h 1760"/>
              <a:gd name="T38" fmla="*/ 160 w 2240"/>
              <a:gd name="T39" fmla="*/ 1280 h 1760"/>
              <a:gd name="T40" fmla="*/ 960 w 2240"/>
              <a:gd name="T41" fmla="*/ 1600 h 1760"/>
              <a:gd name="T42" fmla="*/ 1280 w 2240"/>
              <a:gd name="T43" fmla="*/ 1600 h 1760"/>
              <a:gd name="T44" fmla="*/ 1320 w 2240"/>
              <a:gd name="T45" fmla="*/ 1560 h 1760"/>
              <a:gd name="T46" fmla="*/ 1280 w 2240"/>
              <a:gd name="T47" fmla="*/ 1520 h 1760"/>
              <a:gd name="T48" fmla="*/ 960 w 2240"/>
              <a:gd name="T49" fmla="*/ 1520 h 1760"/>
              <a:gd name="T50" fmla="*/ 920 w 2240"/>
              <a:gd name="T51" fmla="*/ 1560 h 1760"/>
              <a:gd name="T52" fmla="*/ 960 w 2240"/>
              <a:gd name="T53" fmla="*/ 1600 h 1760"/>
              <a:gd name="T54" fmla="*/ 320 w 2240"/>
              <a:gd name="T55" fmla="*/ 1280 h 1760"/>
              <a:gd name="T56" fmla="*/ 320 w 2240"/>
              <a:gd name="T57" fmla="*/ 160 h 1760"/>
              <a:gd name="T58" fmla="*/ 1920 w 2240"/>
              <a:gd name="T59" fmla="*/ 160 h 1760"/>
              <a:gd name="T60" fmla="*/ 1920 w 2240"/>
              <a:gd name="T61" fmla="*/ 1280 h 1760"/>
              <a:gd name="T62" fmla="*/ 320 w 2240"/>
              <a:gd name="T63" fmla="*/ 1280 h 17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240" h="1760">
                <a:moveTo>
                  <a:pt x="2240" y="1360"/>
                </a:moveTo>
                <a:cubicBezTo>
                  <a:pt x="2240" y="1560"/>
                  <a:pt x="2240" y="1560"/>
                  <a:pt x="2240" y="1560"/>
                </a:cubicBezTo>
                <a:cubicBezTo>
                  <a:pt x="2240" y="1670"/>
                  <a:pt x="2150" y="1760"/>
                  <a:pt x="2040" y="1760"/>
                </a:cubicBezTo>
                <a:cubicBezTo>
                  <a:pt x="200" y="1760"/>
                  <a:pt x="200" y="1760"/>
                  <a:pt x="200" y="1760"/>
                </a:cubicBezTo>
                <a:cubicBezTo>
                  <a:pt x="90" y="1760"/>
                  <a:pt x="0" y="1670"/>
                  <a:pt x="0" y="1560"/>
                </a:cubicBezTo>
                <a:cubicBezTo>
                  <a:pt x="0" y="1360"/>
                  <a:pt x="0" y="1360"/>
                  <a:pt x="0" y="1360"/>
                </a:cubicBezTo>
                <a:cubicBezTo>
                  <a:pt x="747" y="1360"/>
                  <a:pt x="1493" y="1360"/>
                  <a:pt x="2240" y="1360"/>
                </a:cubicBezTo>
                <a:close/>
                <a:moveTo>
                  <a:pt x="160" y="1280"/>
                </a:moveTo>
                <a:cubicBezTo>
                  <a:pt x="160" y="120"/>
                  <a:pt x="160" y="120"/>
                  <a:pt x="160" y="120"/>
                </a:cubicBezTo>
                <a:cubicBezTo>
                  <a:pt x="160" y="54"/>
                  <a:pt x="214" y="0"/>
                  <a:pt x="280" y="0"/>
                </a:cubicBezTo>
                <a:cubicBezTo>
                  <a:pt x="1960" y="0"/>
                  <a:pt x="1960" y="0"/>
                  <a:pt x="1960" y="0"/>
                </a:cubicBezTo>
                <a:cubicBezTo>
                  <a:pt x="2026" y="0"/>
                  <a:pt x="2080" y="54"/>
                  <a:pt x="2080" y="120"/>
                </a:cubicBezTo>
                <a:cubicBezTo>
                  <a:pt x="2080" y="1280"/>
                  <a:pt x="2080" y="1280"/>
                  <a:pt x="2080" y="1280"/>
                </a:cubicBezTo>
                <a:cubicBezTo>
                  <a:pt x="2000" y="1280"/>
                  <a:pt x="2000" y="1280"/>
                  <a:pt x="2000" y="1280"/>
                </a:cubicBezTo>
                <a:cubicBezTo>
                  <a:pt x="2000" y="120"/>
                  <a:pt x="2000" y="120"/>
                  <a:pt x="2000" y="120"/>
                </a:cubicBezTo>
                <a:cubicBezTo>
                  <a:pt x="2000" y="98"/>
                  <a:pt x="1982" y="80"/>
                  <a:pt x="1960" y="80"/>
                </a:cubicBezTo>
                <a:cubicBezTo>
                  <a:pt x="280" y="80"/>
                  <a:pt x="280" y="80"/>
                  <a:pt x="280" y="80"/>
                </a:cubicBezTo>
                <a:cubicBezTo>
                  <a:pt x="258" y="80"/>
                  <a:pt x="240" y="98"/>
                  <a:pt x="240" y="120"/>
                </a:cubicBezTo>
                <a:cubicBezTo>
                  <a:pt x="240" y="1280"/>
                  <a:pt x="240" y="1280"/>
                  <a:pt x="240" y="1280"/>
                </a:cubicBezTo>
                <a:lnTo>
                  <a:pt x="160" y="1280"/>
                </a:lnTo>
                <a:close/>
                <a:moveTo>
                  <a:pt x="960" y="1600"/>
                </a:moveTo>
                <a:cubicBezTo>
                  <a:pt x="1280" y="1600"/>
                  <a:pt x="1280" y="1600"/>
                  <a:pt x="1280" y="1600"/>
                </a:cubicBezTo>
                <a:cubicBezTo>
                  <a:pt x="1302" y="1600"/>
                  <a:pt x="1320" y="1582"/>
                  <a:pt x="1320" y="1560"/>
                </a:cubicBezTo>
                <a:cubicBezTo>
                  <a:pt x="1320" y="1538"/>
                  <a:pt x="1302" y="1520"/>
                  <a:pt x="1280" y="1520"/>
                </a:cubicBezTo>
                <a:cubicBezTo>
                  <a:pt x="960" y="1520"/>
                  <a:pt x="960" y="1520"/>
                  <a:pt x="960" y="1520"/>
                </a:cubicBezTo>
                <a:cubicBezTo>
                  <a:pt x="938" y="1520"/>
                  <a:pt x="920" y="1538"/>
                  <a:pt x="920" y="1560"/>
                </a:cubicBezTo>
                <a:cubicBezTo>
                  <a:pt x="920" y="1582"/>
                  <a:pt x="938" y="1600"/>
                  <a:pt x="960" y="1600"/>
                </a:cubicBezTo>
                <a:close/>
                <a:moveTo>
                  <a:pt x="320" y="1280"/>
                </a:moveTo>
                <a:cubicBezTo>
                  <a:pt x="320" y="160"/>
                  <a:pt x="320" y="160"/>
                  <a:pt x="320" y="160"/>
                </a:cubicBezTo>
                <a:cubicBezTo>
                  <a:pt x="1920" y="160"/>
                  <a:pt x="1920" y="160"/>
                  <a:pt x="1920" y="160"/>
                </a:cubicBezTo>
                <a:cubicBezTo>
                  <a:pt x="1920" y="1280"/>
                  <a:pt x="1920" y="1280"/>
                  <a:pt x="1920" y="1280"/>
                </a:cubicBezTo>
                <a:lnTo>
                  <a:pt x="320" y="1280"/>
                </a:lnTo>
                <a:close/>
              </a:path>
            </a:pathLst>
          </a:custGeom>
          <a:solidFill>
            <a:schemeClr val="tx1">
              <a:lumMod val="60000"/>
              <a:lumOff val="40000"/>
            </a:schemeClr>
          </a:solidFill>
          <a:ln>
            <a:noFill/>
          </a:ln>
        </p:spPr>
        <p:txBody>
          <a:bodyPr vert="horz" wrap="square" lIns="91440" tIns="45720" rIns="91440" bIns="144000" numCol="1" anchor="ctr" anchorCtr="0" compatLnSpc="1">
            <a:prstTxWarp prst="textNoShape">
              <a:avLst/>
            </a:prstTxWarp>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dirty="0">
              <a:ln>
                <a:noFill/>
              </a:ln>
              <a:solidFill>
                <a:srgbClr val="FFFFFF"/>
              </a:solidFill>
              <a:effectLst/>
              <a:uLnTx/>
              <a:uFillTx/>
              <a:latin typeface="Lato Bold" panose="020F0502020204030203" pitchFamily="34" charset="0"/>
              <a:ea typeface="Lato Bold" panose="020F0502020204030203" pitchFamily="34" charset="0"/>
              <a:cs typeface="Lato Bold" panose="020F0502020204030203" pitchFamily="34" charset="0"/>
            </a:endParaRPr>
          </a:p>
        </p:txBody>
      </p:sp>
      <p:sp>
        <p:nvSpPr>
          <p:cNvPr id="79" name="Freeform 121">
            <a:extLst>
              <a:ext uri="{FF2B5EF4-FFF2-40B4-BE49-F238E27FC236}">
                <a16:creationId xmlns:a16="http://schemas.microsoft.com/office/drawing/2014/main" id="{607542CE-90AF-4DEB-AFC4-4A88A9A37F51}"/>
              </a:ext>
            </a:extLst>
          </p:cNvPr>
          <p:cNvSpPr>
            <a:spLocks noEditPoints="1"/>
          </p:cNvSpPr>
          <p:nvPr/>
        </p:nvSpPr>
        <p:spPr bwMode="auto">
          <a:xfrm>
            <a:off x="374617" y="3247146"/>
            <a:ext cx="368922" cy="510587"/>
          </a:xfrm>
          <a:custGeom>
            <a:avLst/>
            <a:gdLst>
              <a:gd name="T0" fmla="*/ 1240 w 1440"/>
              <a:gd name="T1" fmla="*/ 0 h 2120"/>
              <a:gd name="T2" fmla="*/ 200 w 1440"/>
              <a:gd name="T3" fmla="*/ 0 h 2120"/>
              <a:gd name="T4" fmla="*/ 0 w 1440"/>
              <a:gd name="T5" fmla="*/ 200 h 2120"/>
              <a:gd name="T6" fmla="*/ 0 w 1440"/>
              <a:gd name="T7" fmla="*/ 1920 h 2120"/>
              <a:gd name="T8" fmla="*/ 200 w 1440"/>
              <a:gd name="T9" fmla="*/ 2120 h 2120"/>
              <a:gd name="T10" fmla="*/ 1240 w 1440"/>
              <a:gd name="T11" fmla="*/ 2120 h 2120"/>
              <a:gd name="T12" fmla="*/ 1440 w 1440"/>
              <a:gd name="T13" fmla="*/ 1920 h 2120"/>
              <a:gd name="T14" fmla="*/ 1440 w 1440"/>
              <a:gd name="T15" fmla="*/ 200 h 2120"/>
              <a:gd name="T16" fmla="*/ 1240 w 1440"/>
              <a:gd name="T17" fmla="*/ 0 h 2120"/>
              <a:gd name="T18" fmla="*/ 600 w 1440"/>
              <a:gd name="T19" fmla="*/ 160 h 2120"/>
              <a:gd name="T20" fmla="*/ 840 w 1440"/>
              <a:gd name="T21" fmla="*/ 160 h 2120"/>
              <a:gd name="T22" fmla="*/ 880 w 1440"/>
              <a:gd name="T23" fmla="*/ 200 h 2120"/>
              <a:gd name="T24" fmla="*/ 840 w 1440"/>
              <a:gd name="T25" fmla="*/ 240 h 2120"/>
              <a:gd name="T26" fmla="*/ 600 w 1440"/>
              <a:gd name="T27" fmla="*/ 240 h 2120"/>
              <a:gd name="T28" fmla="*/ 560 w 1440"/>
              <a:gd name="T29" fmla="*/ 200 h 2120"/>
              <a:gd name="T30" fmla="*/ 600 w 1440"/>
              <a:gd name="T31" fmla="*/ 160 h 2120"/>
              <a:gd name="T32" fmla="*/ 721 w 1440"/>
              <a:gd name="T33" fmla="*/ 1999 h 2120"/>
              <a:gd name="T34" fmla="*/ 601 w 1440"/>
              <a:gd name="T35" fmla="*/ 1879 h 2120"/>
              <a:gd name="T36" fmla="*/ 721 w 1440"/>
              <a:gd name="T37" fmla="*/ 1759 h 2120"/>
              <a:gd name="T38" fmla="*/ 841 w 1440"/>
              <a:gd name="T39" fmla="*/ 1879 h 2120"/>
              <a:gd name="T40" fmla="*/ 721 w 1440"/>
              <a:gd name="T41" fmla="*/ 1999 h 2120"/>
              <a:gd name="T42" fmla="*/ 1240 w 1440"/>
              <a:gd name="T43" fmla="*/ 1680 h 2120"/>
              <a:gd name="T44" fmla="*/ 200 w 1440"/>
              <a:gd name="T45" fmla="*/ 1680 h 2120"/>
              <a:gd name="T46" fmla="*/ 200 w 1440"/>
              <a:gd name="T47" fmla="*/ 360 h 2120"/>
              <a:gd name="T48" fmla="*/ 1240 w 1440"/>
              <a:gd name="T49" fmla="*/ 360 h 2120"/>
              <a:gd name="T50" fmla="*/ 1240 w 1440"/>
              <a:gd name="T51" fmla="*/ 1680 h 2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440" h="2120">
                <a:moveTo>
                  <a:pt x="1240" y="0"/>
                </a:moveTo>
                <a:cubicBezTo>
                  <a:pt x="200" y="0"/>
                  <a:pt x="200" y="0"/>
                  <a:pt x="200" y="0"/>
                </a:cubicBezTo>
                <a:cubicBezTo>
                  <a:pt x="90" y="0"/>
                  <a:pt x="0" y="90"/>
                  <a:pt x="0" y="200"/>
                </a:cubicBezTo>
                <a:cubicBezTo>
                  <a:pt x="0" y="1920"/>
                  <a:pt x="0" y="1920"/>
                  <a:pt x="0" y="1920"/>
                </a:cubicBezTo>
                <a:cubicBezTo>
                  <a:pt x="0" y="2030"/>
                  <a:pt x="90" y="2120"/>
                  <a:pt x="200" y="2120"/>
                </a:cubicBezTo>
                <a:cubicBezTo>
                  <a:pt x="1240" y="2120"/>
                  <a:pt x="1240" y="2120"/>
                  <a:pt x="1240" y="2120"/>
                </a:cubicBezTo>
                <a:cubicBezTo>
                  <a:pt x="1350" y="2120"/>
                  <a:pt x="1440" y="2030"/>
                  <a:pt x="1440" y="1920"/>
                </a:cubicBezTo>
                <a:cubicBezTo>
                  <a:pt x="1440" y="200"/>
                  <a:pt x="1440" y="200"/>
                  <a:pt x="1440" y="200"/>
                </a:cubicBezTo>
                <a:cubicBezTo>
                  <a:pt x="1440" y="90"/>
                  <a:pt x="1350" y="0"/>
                  <a:pt x="1240" y="0"/>
                </a:cubicBezTo>
                <a:close/>
                <a:moveTo>
                  <a:pt x="600" y="160"/>
                </a:moveTo>
                <a:cubicBezTo>
                  <a:pt x="840" y="160"/>
                  <a:pt x="840" y="160"/>
                  <a:pt x="840" y="160"/>
                </a:cubicBezTo>
                <a:cubicBezTo>
                  <a:pt x="862" y="160"/>
                  <a:pt x="880" y="178"/>
                  <a:pt x="880" y="200"/>
                </a:cubicBezTo>
                <a:cubicBezTo>
                  <a:pt x="880" y="222"/>
                  <a:pt x="862" y="240"/>
                  <a:pt x="840" y="240"/>
                </a:cubicBezTo>
                <a:cubicBezTo>
                  <a:pt x="600" y="240"/>
                  <a:pt x="600" y="240"/>
                  <a:pt x="600" y="240"/>
                </a:cubicBezTo>
                <a:cubicBezTo>
                  <a:pt x="578" y="240"/>
                  <a:pt x="560" y="222"/>
                  <a:pt x="560" y="200"/>
                </a:cubicBezTo>
                <a:cubicBezTo>
                  <a:pt x="560" y="178"/>
                  <a:pt x="578" y="160"/>
                  <a:pt x="600" y="160"/>
                </a:cubicBezTo>
                <a:close/>
                <a:moveTo>
                  <a:pt x="721" y="1999"/>
                </a:moveTo>
                <a:cubicBezTo>
                  <a:pt x="654" y="1999"/>
                  <a:pt x="601" y="1945"/>
                  <a:pt x="601" y="1879"/>
                </a:cubicBezTo>
                <a:cubicBezTo>
                  <a:pt x="601" y="1813"/>
                  <a:pt x="654" y="1759"/>
                  <a:pt x="721" y="1759"/>
                </a:cubicBezTo>
                <a:cubicBezTo>
                  <a:pt x="787" y="1759"/>
                  <a:pt x="841" y="1813"/>
                  <a:pt x="841" y="1879"/>
                </a:cubicBezTo>
                <a:cubicBezTo>
                  <a:pt x="841" y="1945"/>
                  <a:pt x="787" y="1999"/>
                  <a:pt x="721" y="1999"/>
                </a:cubicBezTo>
                <a:close/>
                <a:moveTo>
                  <a:pt x="1240" y="1680"/>
                </a:moveTo>
                <a:cubicBezTo>
                  <a:pt x="200" y="1680"/>
                  <a:pt x="200" y="1680"/>
                  <a:pt x="200" y="1680"/>
                </a:cubicBezTo>
                <a:cubicBezTo>
                  <a:pt x="200" y="360"/>
                  <a:pt x="200" y="360"/>
                  <a:pt x="200" y="360"/>
                </a:cubicBezTo>
                <a:cubicBezTo>
                  <a:pt x="1240" y="360"/>
                  <a:pt x="1240" y="360"/>
                  <a:pt x="1240" y="360"/>
                </a:cubicBezTo>
                <a:lnTo>
                  <a:pt x="1240" y="1680"/>
                </a:lnTo>
                <a:close/>
              </a:path>
            </a:pathLst>
          </a:custGeom>
          <a:solidFill>
            <a:schemeClr val="tx1">
              <a:lumMod val="60000"/>
              <a:lumOff val="40000"/>
            </a:schemeClr>
          </a:solidFill>
          <a:ln>
            <a:noFill/>
          </a:ln>
        </p:spPr>
        <p:txBody>
          <a:bodyPr vert="horz" wrap="square" lIns="162560" tIns="81280" rIns="162560" bIns="812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srgbClr val="414549"/>
              </a:solidFill>
              <a:effectLst/>
              <a:uLnTx/>
              <a:uFillTx/>
              <a:latin typeface="Lato"/>
              <a:ea typeface="+mn-ea"/>
              <a:cs typeface="+mn-cs"/>
            </a:endParaRPr>
          </a:p>
        </p:txBody>
      </p:sp>
      <p:grpSp>
        <p:nvGrpSpPr>
          <p:cNvPr id="83" name="Group 156">
            <a:extLst>
              <a:ext uri="{FF2B5EF4-FFF2-40B4-BE49-F238E27FC236}">
                <a16:creationId xmlns:a16="http://schemas.microsoft.com/office/drawing/2014/main" id="{3DFEA4B9-0C14-4FC9-B03E-AB7CEE132395}"/>
              </a:ext>
            </a:extLst>
          </p:cNvPr>
          <p:cNvGrpSpPr>
            <a:grpSpLocks noChangeAspect="1"/>
          </p:cNvGrpSpPr>
          <p:nvPr>
            <p:custDataLst>
              <p:tags r:id="rId3"/>
            </p:custDataLst>
          </p:nvPr>
        </p:nvGrpSpPr>
        <p:grpSpPr bwMode="auto">
          <a:xfrm>
            <a:off x="387161" y="4830648"/>
            <a:ext cx="343834" cy="657681"/>
            <a:chOff x="1647" y="-295"/>
            <a:chExt cx="2468" cy="4911"/>
          </a:xfrm>
          <a:solidFill>
            <a:schemeClr val="tx1">
              <a:lumMod val="60000"/>
              <a:lumOff val="40000"/>
            </a:schemeClr>
          </a:solidFill>
        </p:grpSpPr>
        <p:sp>
          <p:nvSpPr>
            <p:cNvPr id="84" name="Freeform 157">
              <a:extLst>
                <a:ext uri="{FF2B5EF4-FFF2-40B4-BE49-F238E27FC236}">
                  <a16:creationId xmlns:a16="http://schemas.microsoft.com/office/drawing/2014/main" id="{5E00D605-998D-4FFD-AFED-5EC372F58501}"/>
                </a:ext>
              </a:extLst>
            </p:cNvPr>
            <p:cNvSpPr>
              <a:spLocks noEditPoints="1"/>
            </p:cNvSpPr>
            <p:nvPr/>
          </p:nvSpPr>
          <p:spPr bwMode="auto">
            <a:xfrm>
              <a:off x="1647" y="-295"/>
              <a:ext cx="2468" cy="1467"/>
            </a:xfrm>
            <a:custGeom>
              <a:avLst/>
              <a:gdLst>
                <a:gd name="T0" fmla="*/ 1045 w 1045"/>
                <a:gd name="T1" fmla="*/ 197 h 621"/>
                <a:gd name="T2" fmla="*/ 945 w 1045"/>
                <a:gd name="T3" fmla="*/ 0 h 621"/>
                <a:gd name="T4" fmla="*/ 100 w 1045"/>
                <a:gd name="T5" fmla="*/ 0 h 621"/>
                <a:gd name="T6" fmla="*/ 0 w 1045"/>
                <a:gd name="T7" fmla="*/ 197 h 621"/>
                <a:gd name="T8" fmla="*/ 0 w 1045"/>
                <a:gd name="T9" fmla="*/ 621 h 621"/>
                <a:gd name="T10" fmla="*/ 1045 w 1045"/>
                <a:gd name="T11" fmla="*/ 621 h 621"/>
                <a:gd name="T12" fmla="*/ 1045 w 1045"/>
                <a:gd name="T13" fmla="*/ 197 h 621"/>
                <a:gd name="T14" fmla="*/ 127 w 1045"/>
                <a:gd name="T15" fmla="*/ 508 h 621"/>
                <a:gd name="T16" fmla="*/ 114 w 1045"/>
                <a:gd name="T17" fmla="*/ 519 h 621"/>
                <a:gd name="T18" fmla="*/ 100 w 1045"/>
                <a:gd name="T19" fmla="*/ 508 h 621"/>
                <a:gd name="T20" fmla="*/ 100 w 1045"/>
                <a:gd name="T21" fmla="*/ 346 h 621"/>
                <a:gd name="T22" fmla="*/ 114 w 1045"/>
                <a:gd name="T23" fmla="*/ 335 h 621"/>
                <a:gd name="T24" fmla="*/ 127 w 1045"/>
                <a:gd name="T25" fmla="*/ 346 h 621"/>
                <a:gd name="T26" fmla="*/ 127 w 1045"/>
                <a:gd name="T27" fmla="*/ 508 h 6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45" h="621">
                  <a:moveTo>
                    <a:pt x="1045" y="197"/>
                  </a:moveTo>
                  <a:cubicBezTo>
                    <a:pt x="1045" y="88"/>
                    <a:pt x="1000" y="0"/>
                    <a:pt x="945" y="0"/>
                  </a:cubicBezTo>
                  <a:cubicBezTo>
                    <a:pt x="100" y="0"/>
                    <a:pt x="100" y="0"/>
                    <a:pt x="100" y="0"/>
                  </a:cubicBezTo>
                  <a:cubicBezTo>
                    <a:pt x="45" y="0"/>
                    <a:pt x="0" y="88"/>
                    <a:pt x="0" y="197"/>
                  </a:cubicBezTo>
                  <a:cubicBezTo>
                    <a:pt x="0" y="621"/>
                    <a:pt x="0" y="621"/>
                    <a:pt x="0" y="621"/>
                  </a:cubicBezTo>
                  <a:cubicBezTo>
                    <a:pt x="1045" y="621"/>
                    <a:pt x="1045" y="621"/>
                    <a:pt x="1045" y="621"/>
                  </a:cubicBezTo>
                  <a:cubicBezTo>
                    <a:pt x="1045" y="197"/>
                    <a:pt x="1045" y="197"/>
                    <a:pt x="1045" y="197"/>
                  </a:cubicBezTo>
                  <a:close/>
                  <a:moveTo>
                    <a:pt x="127" y="508"/>
                  </a:moveTo>
                  <a:cubicBezTo>
                    <a:pt x="127" y="514"/>
                    <a:pt x="121" y="519"/>
                    <a:pt x="114" y="519"/>
                  </a:cubicBezTo>
                  <a:cubicBezTo>
                    <a:pt x="106" y="519"/>
                    <a:pt x="100" y="514"/>
                    <a:pt x="100" y="508"/>
                  </a:cubicBezTo>
                  <a:cubicBezTo>
                    <a:pt x="100" y="346"/>
                    <a:pt x="100" y="346"/>
                    <a:pt x="100" y="346"/>
                  </a:cubicBezTo>
                  <a:cubicBezTo>
                    <a:pt x="100" y="340"/>
                    <a:pt x="106" y="335"/>
                    <a:pt x="114" y="335"/>
                  </a:cubicBezTo>
                  <a:cubicBezTo>
                    <a:pt x="121" y="335"/>
                    <a:pt x="127" y="340"/>
                    <a:pt x="127" y="346"/>
                  </a:cubicBezTo>
                  <a:lnTo>
                    <a:pt x="127" y="50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845" tIns="60923" rIns="121845" bIns="60923" numCol="1" anchor="t" anchorCtr="0" compatLnSpc="1">
              <a:prstTxWarp prst="textNoShape">
                <a:avLst/>
              </a:prstTxWarp>
            </a:bodyPr>
            <a:lstStyle/>
            <a:p>
              <a:pPr marL="0" marR="0" lvl="0" indent="0" algn="l" defTabSz="1217599" rtl="0" eaLnBrk="1" fontAlgn="auto" latinLnBrk="0" hangingPunct="1">
                <a:lnSpc>
                  <a:spcPct val="100000"/>
                </a:lnSpc>
                <a:spcBef>
                  <a:spcPts val="0"/>
                </a:spcBef>
                <a:spcAft>
                  <a:spcPts val="0"/>
                </a:spcAft>
                <a:buClrTx/>
                <a:buSzTx/>
                <a:buFontTx/>
                <a:buNone/>
                <a:tabLst/>
                <a:defRPr/>
              </a:pPr>
              <a:endParaRPr kumimoji="0" lang="en-US" sz="2398"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85" name="Freeform 158">
              <a:extLst>
                <a:ext uri="{FF2B5EF4-FFF2-40B4-BE49-F238E27FC236}">
                  <a16:creationId xmlns:a16="http://schemas.microsoft.com/office/drawing/2014/main" id="{10AA4634-1F0C-4AD9-83DD-074DA726E003}"/>
                </a:ext>
              </a:extLst>
            </p:cNvPr>
            <p:cNvSpPr>
              <a:spLocks noEditPoints="1"/>
            </p:cNvSpPr>
            <p:nvPr/>
          </p:nvSpPr>
          <p:spPr bwMode="auto">
            <a:xfrm>
              <a:off x="1647" y="1359"/>
              <a:ext cx="2468" cy="3257"/>
            </a:xfrm>
            <a:custGeom>
              <a:avLst/>
              <a:gdLst>
                <a:gd name="T0" fmla="*/ 0 w 1045"/>
                <a:gd name="T1" fmla="*/ 0 h 1379"/>
                <a:gd name="T2" fmla="*/ 0 w 1045"/>
                <a:gd name="T3" fmla="*/ 1116 h 1379"/>
                <a:gd name="T4" fmla="*/ 100 w 1045"/>
                <a:gd name="T5" fmla="*/ 1313 h 1379"/>
                <a:gd name="T6" fmla="*/ 100 w 1045"/>
                <a:gd name="T7" fmla="*/ 1379 h 1379"/>
                <a:gd name="T8" fmla="*/ 172 w 1045"/>
                <a:gd name="T9" fmla="*/ 1379 h 1379"/>
                <a:gd name="T10" fmla="*/ 172 w 1045"/>
                <a:gd name="T11" fmla="*/ 1313 h 1379"/>
                <a:gd name="T12" fmla="*/ 873 w 1045"/>
                <a:gd name="T13" fmla="*/ 1313 h 1379"/>
                <a:gd name="T14" fmla="*/ 873 w 1045"/>
                <a:gd name="T15" fmla="*/ 1379 h 1379"/>
                <a:gd name="T16" fmla="*/ 945 w 1045"/>
                <a:gd name="T17" fmla="*/ 1379 h 1379"/>
                <a:gd name="T18" fmla="*/ 945 w 1045"/>
                <a:gd name="T19" fmla="*/ 1313 h 1379"/>
                <a:gd name="T20" fmla="*/ 1045 w 1045"/>
                <a:gd name="T21" fmla="*/ 1116 h 1379"/>
                <a:gd name="T22" fmla="*/ 1045 w 1045"/>
                <a:gd name="T23" fmla="*/ 0 h 1379"/>
                <a:gd name="T24" fmla="*/ 0 w 1045"/>
                <a:gd name="T25" fmla="*/ 0 h 1379"/>
                <a:gd name="T26" fmla="*/ 127 w 1045"/>
                <a:gd name="T27" fmla="*/ 276 h 1379"/>
                <a:gd name="T28" fmla="*/ 114 w 1045"/>
                <a:gd name="T29" fmla="*/ 287 h 1379"/>
                <a:gd name="T30" fmla="*/ 100 w 1045"/>
                <a:gd name="T31" fmla="*/ 276 h 1379"/>
                <a:gd name="T32" fmla="*/ 100 w 1045"/>
                <a:gd name="T33" fmla="*/ 114 h 1379"/>
                <a:gd name="T34" fmla="*/ 114 w 1045"/>
                <a:gd name="T35" fmla="*/ 103 h 1379"/>
                <a:gd name="T36" fmla="*/ 127 w 1045"/>
                <a:gd name="T37" fmla="*/ 114 h 1379"/>
                <a:gd name="T38" fmla="*/ 127 w 1045"/>
                <a:gd name="T39" fmla="*/ 276 h 13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045" h="1379">
                  <a:moveTo>
                    <a:pt x="0" y="0"/>
                  </a:moveTo>
                  <a:cubicBezTo>
                    <a:pt x="0" y="1116"/>
                    <a:pt x="0" y="1116"/>
                    <a:pt x="0" y="1116"/>
                  </a:cubicBezTo>
                  <a:cubicBezTo>
                    <a:pt x="0" y="1224"/>
                    <a:pt x="45" y="1313"/>
                    <a:pt x="100" y="1313"/>
                  </a:cubicBezTo>
                  <a:cubicBezTo>
                    <a:pt x="100" y="1379"/>
                    <a:pt x="100" y="1379"/>
                    <a:pt x="100" y="1379"/>
                  </a:cubicBezTo>
                  <a:cubicBezTo>
                    <a:pt x="172" y="1379"/>
                    <a:pt x="172" y="1379"/>
                    <a:pt x="172" y="1379"/>
                  </a:cubicBezTo>
                  <a:cubicBezTo>
                    <a:pt x="172" y="1313"/>
                    <a:pt x="172" y="1313"/>
                    <a:pt x="172" y="1313"/>
                  </a:cubicBezTo>
                  <a:cubicBezTo>
                    <a:pt x="873" y="1313"/>
                    <a:pt x="873" y="1313"/>
                    <a:pt x="873" y="1313"/>
                  </a:cubicBezTo>
                  <a:cubicBezTo>
                    <a:pt x="873" y="1379"/>
                    <a:pt x="873" y="1379"/>
                    <a:pt x="873" y="1379"/>
                  </a:cubicBezTo>
                  <a:cubicBezTo>
                    <a:pt x="945" y="1379"/>
                    <a:pt x="945" y="1379"/>
                    <a:pt x="945" y="1379"/>
                  </a:cubicBezTo>
                  <a:cubicBezTo>
                    <a:pt x="945" y="1313"/>
                    <a:pt x="945" y="1313"/>
                    <a:pt x="945" y="1313"/>
                  </a:cubicBezTo>
                  <a:cubicBezTo>
                    <a:pt x="1000" y="1313"/>
                    <a:pt x="1045" y="1224"/>
                    <a:pt x="1045" y="1116"/>
                  </a:cubicBezTo>
                  <a:cubicBezTo>
                    <a:pt x="1045" y="0"/>
                    <a:pt x="1045" y="0"/>
                    <a:pt x="1045" y="0"/>
                  </a:cubicBezTo>
                  <a:lnTo>
                    <a:pt x="0" y="0"/>
                  </a:lnTo>
                  <a:close/>
                  <a:moveTo>
                    <a:pt x="127" y="276"/>
                  </a:moveTo>
                  <a:cubicBezTo>
                    <a:pt x="127" y="282"/>
                    <a:pt x="121" y="287"/>
                    <a:pt x="114" y="287"/>
                  </a:cubicBezTo>
                  <a:cubicBezTo>
                    <a:pt x="106" y="287"/>
                    <a:pt x="100" y="282"/>
                    <a:pt x="100" y="276"/>
                  </a:cubicBezTo>
                  <a:cubicBezTo>
                    <a:pt x="100" y="114"/>
                    <a:pt x="100" y="114"/>
                    <a:pt x="100" y="114"/>
                  </a:cubicBezTo>
                  <a:cubicBezTo>
                    <a:pt x="100" y="108"/>
                    <a:pt x="106" y="103"/>
                    <a:pt x="114" y="103"/>
                  </a:cubicBezTo>
                  <a:cubicBezTo>
                    <a:pt x="121" y="103"/>
                    <a:pt x="127" y="108"/>
                    <a:pt x="127" y="114"/>
                  </a:cubicBezTo>
                  <a:lnTo>
                    <a:pt x="127" y="2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845" tIns="60923" rIns="121845" bIns="60923" numCol="1" anchor="t" anchorCtr="0" compatLnSpc="1">
              <a:prstTxWarp prst="textNoShape">
                <a:avLst/>
              </a:prstTxWarp>
            </a:bodyPr>
            <a:lstStyle/>
            <a:p>
              <a:pPr marL="0" marR="0" lvl="0" indent="0" algn="l" defTabSz="1217599" rtl="0" eaLnBrk="1" fontAlgn="auto" latinLnBrk="0" hangingPunct="1">
                <a:lnSpc>
                  <a:spcPct val="100000"/>
                </a:lnSpc>
                <a:spcBef>
                  <a:spcPts val="0"/>
                </a:spcBef>
                <a:spcAft>
                  <a:spcPts val="0"/>
                </a:spcAft>
                <a:buClrTx/>
                <a:buSzTx/>
                <a:buFontTx/>
                <a:buNone/>
                <a:tabLst/>
                <a:defRPr/>
              </a:pPr>
              <a:endParaRPr kumimoji="0" lang="en-US" sz="2398" b="0" i="0" u="none" strike="noStrike" kern="1200" cap="none" spc="0" normalizeH="0" baseline="0" noProof="0">
                <a:ln>
                  <a:noFill/>
                </a:ln>
                <a:solidFill>
                  <a:srgbClr val="000000"/>
                </a:solidFill>
                <a:effectLst/>
                <a:uLnTx/>
                <a:uFillTx/>
                <a:latin typeface="Arial" panose="020B0604020202020204"/>
                <a:ea typeface="+mn-ea"/>
                <a:cs typeface="+mn-cs"/>
              </a:endParaRPr>
            </a:p>
          </p:txBody>
        </p:sp>
      </p:grpSp>
      <p:grpSp>
        <p:nvGrpSpPr>
          <p:cNvPr id="87" name="Group 32">
            <a:extLst>
              <a:ext uri="{FF2B5EF4-FFF2-40B4-BE49-F238E27FC236}">
                <a16:creationId xmlns:a16="http://schemas.microsoft.com/office/drawing/2014/main" id="{F8CC85F9-EA6E-4D5C-9396-EFB259DE1291}"/>
              </a:ext>
            </a:extLst>
          </p:cNvPr>
          <p:cNvGrpSpPr>
            <a:grpSpLocks noChangeAspect="1"/>
          </p:cNvGrpSpPr>
          <p:nvPr>
            <p:custDataLst>
              <p:tags r:id="rId4"/>
            </p:custDataLst>
          </p:nvPr>
        </p:nvGrpSpPr>
        <p:grpSpPr bwMode="auto">
          <a:xfrm>
            <a:off x="404971" y="5558555"/>
            <a:ext cx="308214" cy="818892"/>
            <a:chOff x="2212" y="-294"/>
            <a:chExt cx="1339" cy="4906"/>
          </a:xfrm>
          <a:solidFill>
            <a:schemeClr val="tx1">
              <a:lumMod val="60000"/>
              <a:lumOff val="40000"/>
            </a:schemeClr>
          </a:solidFill>
        </p:grpSpPr>
        <p:sp>
          <p:nvSpPr>
            <p:cNvPr id="89" name="Freeform 33">
              <a:extLst>
                <a:ext uri="{FF2B5EF4-FFF2-40B4-BE49-F238E27FC236}">
                  <a16:creationId xmlns:a16="http://schemas.microsoft.com/office/drawing/2014/main" id="{EA72EDF7-FAF1-4D1F-843A-E0A1EAB269B4}"/>
                </a:ext>
              </a:extLst>
            </p:cNvPr>
            <p:cNvSpPr>
              <a:spLocks/>
            </p:cNvSpPr>
            <p:nvPr/>
          </p:nvSpPr>
          <p:spPr bwMode="auto">
            <a:xfrm>
              <a:off x="2212" y="4220"/>
              <a:ext cx="1339" cy="392"/>
            </a:xfrm>
            <a:custGeom>
              <a:avLst/>
              <a:gdLst>
                <a:gd name="T0" fmla="*/ 490 w 567"/>
                <a:gd name="T1" fmla="*/ 66 h 166"/>
                <a:gd name="T2" fmla="*/ 438 w 567"/>
                <a:gd name="T3" fmla="*/ 66 h 166"/>
                <a:gd name="T4" fmla="*/ 438 w 567"/>
                <a:gd name="T5" fmla="*/ 50 h 166"/>
                <a:gd name="T6" fmla="*/ 361 w 567"/>
                <a:gd name="T7" fmla="*/ 0 h 166"/>
                <a:gd name="T8" fmla="*/ 340 w 567"/>
                <a:gd name="T9" fmla="*/ 0 h 166"/>
                <a:gd name="T10" fmla="*/ 303 w 567"/>
                <a:gd name="T11" fmla="*/ 32 h 166"/>
                <a:gd name="T12" fmla="*/ 264 w 567"/>
                <a:gd name="T13" fmla="*/ 32 h 166"/>
                <a:gd name="T14" fmla="*/ 228 w 567"/>
                <a:gd name="T15" fmla="*/ 0 h 166"/>
                <a:gd name="T16" fmla="*/ 206 w 567"/>
                <a:gd name="T17" fmla="*/ 0 h 166"/>
                <a:gd name="T18" fmla="*/ 129 w 567"/>
                <a:gd name="T19" fmla="*/ 50 h 166"/>
                <a:gd name="T20" fmla="*/ 129 w 567"/>
                <a:gd name="T21" fmla="*/ 66 h 166"/>
                <a:gd name="T22" fmla="*/ 77 w 567"/>
                <a:gd name="T23" fmla="*/ 66 h 166"/>
                <a:gd name="T24" fmla="*/ 0 w 567"/>
                <a:gd name="T25" fmla="*/ 116 h 166"/>
                <a:gd name="T26" fmla="*/ 0 w 567"/>
                <a:gd name="T27" fmla="*/ 149 h 166"/>
                <a:gd name="T28" fmla="*/ 26 w 567"/>
                <a:gd name="T29" fmla="*/ 166 h 166"/>
                <a:gd name="T30" fmla="*/ 541 w 567"/>
                <a:gd name="T31" fmla="*/ 166 h 166"/>
                <a:gd name="T32" fmla="*/ 567 w 567"/>
                <a:gd name="T33" fmla="*/ 149 h 166"/>
                <a:gd name="T34" fmla="*/ 567 w 567"/>
                <a:gd name="T35" fmla="*/ 116 h 166"/>
                <a:gd name="T36" fmla="*/ 490 w 567"/>
                <a:gd name="T37" fmla="*/ 66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67" h="166">
                  <a:moveTo>
                    <a:pt x="490" y="66"/>
                  </a:moveTo>
                  <a:cubicBezTo>
                    <a:pt x="438" y="66"/>
                    <a:pt x="438" y="66"/>
                    <a:pt x="438" y="66"/>
                  </a:cubicBezTo>
                  <a:cubicBezTo>
                    <a:pt x="438" y="50"/>
                    <a:pt x="438" y="50"/>
                    <a:pt x="438" y="50"/>
                  </a:cubicBezTo>
                  <a:cubicBezTo>
                    <a:pt x="438" y="22"/>
                    <a:pt x="403" y="0"/>
                    <a:pt x="361" y="0"/>
                  </a:cubicBezTo>
                  <a:cubicBezTo>
                    <a:pt x="340" y="0"/>
                    <a:pt x="340" y="0"/>
                    <a:pt x="340" y="0"/>
                  </a:cubicBezTo>
                  <a:cubicBezTo>
                    <a:pt x="337" y="18"/>
                    <a:pt x="322" y="32"/>
                    <a:pt x="303" y="32"/>
                  </a:cubicBezTo>
                  <a:cubicBezTo>
                    <a:pt x="264" y="32"/>
                    <a:pt x="264" y="32"/>
                    <a:pt x="264" y="32"/>
                  </a:cubicBezTo>
                  <a:cubicBezTo>
                    <a:pt x="245" y="32"/>
                    <a:pt x="230" y="18"/>
                    <a:pt x="228" y="0"/>
                  </a:cubicBezTo>
                  <a:cubicBezTo>
                    <a:pt x="206" y="0"/>
                    <a:pt x="206" y="0"/>
                    <a:pt x="206" y="0"/>
                  </a:cubicBezTo>
                  <a:cubicBezTo>
                    <a:pt x="164" y="0"/>
                    <a:pt x="129" y="22"/>
                    <a:pt x="129" y="50"/>
                  </a:cubicBezTo>
                  <a:cubicBezTo>
                    <a:pt x="129" y="66"/>
                    <a:pt x="129" y="66"/>
                    <a:pt x="129" y="66"/>
                  </a:cubicBezTo>
                  <a:cubicBezTo>
                    <a:pt x="77" y="66"/>
                    <a:pt x="77" y="66"/>
                    <a:pt x="77" y="66"/>
                  </a:cubicBezTo>
                  <a:cubicBezTo>
                    <a:pt x="35" y="66"/>
                    <a:pt x="0" y="89"/>
                    <a:pt x="0" y="116"/>
                  </a:cubicBezTo>
                  <a:cubicBezTo>
                    <a:pt x="0" y="149"/>
                    <a:pt x="0" y="149"/>
                    <a:pt x="0" y="149"/>
                  </a:cubicBezTo>
                  <a:cubicBezTo>
                    <a:pt x="0" y="159"/>
                    <a:pt x="12" y="166"/>
                    <a:pt x="26" y="166"/>
                  </a:cubicBezTo>
                  <a:cubicBezTo>
                    <a:pt x="541" y="166"/>
                    <a:pt x="541" y="166"/>
                    <a:pt x="541" y="166"/>
                  </a:cubicBezTo>
                  <a:cubicBezTo>
                    <a:pt x="555" y="166"/>
                    <a:pt x="567" y="159"/>
                    <a:pt x="567" y="149"/>
                  </a:cubicBezTo>
                  <a:cubicBezTo>
                    <a:pt x="567" y="116"/>
                    <a:pt x="567" y="116"/>
                    <a:pt x="567" y="116"/>
                  </a:cubicBezTo>
                  <a:cubicBezTo>
                    <a:pt x="567" y="89"/>
                    <a:pt x="532" y="66"/>
                    <a:pt x="490" y="6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845" tIns="60923" rIns="121845" bIns="60923" numCol="1" anchor="t" anchorCtr="0" compatLnSpc="1">
              <a:prstTxWarp prst="textNoShape">
                <a:avLst/>
              </a:prstTxWarp>
            </a:bodyPr>
            <a:lstStyle/>
            <a:p>
              <a:pPr marL="0" marR="0" lvl="0" indent="0" algn="l" defTabSz="1217599" rtl="0" eaLnBrk="1" fontAlgn="auto" latinLnBrk="0" hangingPunct="1">
                <a:lnSpc>
                  <a:spcPct val="100000"/>
                </a:lnSpc>
                <a:spcBef>
                  <a:spcPts val="0"/>
                </a:spcBef>
                <a:spcAft>
                  <a:spcPts val="0"/>
                </a:spcAft>
                <a:buClrTx/>
                <a:buSzTx/>
                <a:buFontTx/>
                <a:buNone/>
                <a:tabLst/>
                <a:defRPr/>
              </a:pPr>
              <a:endParaRPr kumimoji="0" lang="en-US" sz="2398"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90" name="Freeform 34">
              <a:extLst>
                <a:ext uri="{FF2B5EF4-FFF2-40B4-BE49-F238E27FC236}">
                  <a16:creationId xmlns:a16="http://schemas.microsoft.com/office/drawing/2014/main" id="{53C9FA50-FA0C-4F0A-B96E-B8901AF3BBCA}"/>
                </a:ext>
              </a:extLst>
            </p:cNvPr>
            <p:cNvSpPr>
              <a:spLocks/>
            </p:cNvSpPr>
            <p:nvPr/>
          </p:nvSpPr>
          <p:spPr bwMode="auto">
            <a:xfrm>
              <a:off x="2796" y="3804"/>
              <a:ext cx="172" cy="444"/>
            </a:xfrm>
            <a:custGeom>
              <a:avLst/>
              <a:gdLst>
                <a:gd name="T0" fmla="*/ 17 w 73"/>
                <a:gd name="T1" fmla="*/ 188 h 188"/>
                <a:gd name="T2" fmla="*/ 56 w 73"/>
                <a:gd name="T3" fmla="*/ 188 h 188"/>
                <a:gd name="T4" fmla="*/ 73 w 73"/>
                <a:gd name="T5" fmla="*/ 172 h 188"/>
                <a:gd name="T6" fmla="*/ 73 w 73"/>
                <a:gd name="T7" fmla="*/ 0 h 188"/>
                <a:gd name="T8" fmla="*/ 0 w 73"/>
                <a:gd name="T9" fmla="*/ 0 h 188"/>
                <a:gd name="T10" fmla="*/ 0 w 73"/>
                <a:gd name="T11" fmla="*/ 172 h 188"/>
                <a:gd name="T12" fmla="*/ 17 w 73"/>
                <a:gd name="T13" fmla="*/ 188 h 188"/>
              </a:gdLst>
              <a:ahLst/>
              <a:cxnLst>
                <a:cxn ang="0">
                  <a:pos x="T0" y="T1"/>
                </a:cxn>
                <a:cxn ang="0">
                  <a:pos x="T2" y="T3"/>
                </a:cxn>
                <a:cxn ang="0">
                  <a:pos x="T4" y="T5"/>
                </a:cxn>
                <a:cxn ang="0">
                  <a:pos x="T6" y="T7"/>
                </a:cxn>
                <a:cxn ang="0">
                  <a:pos x="T8" y="T9"/>
                </a:cxn>
                <a:cxn ang="0">
                  <a:pos x="T10" y="T11"/>
                </a:cxn>
                <a:cxn ang="0">
                  <a:pos x="T12" y="T13"/>
                </a:cxn>
              </a:cxnLst>
              <a:rect l="0" t="0" r="r" b="b"/>
              <a:pathLst>
                <a:path w="73" h="188">
                  <a:moveTo>
                    <a:pt x="17" y="188"/>
                  </a:moveTo>
                  <a:cubicBezTo>
                    <a:pt x="56" y="188"/>
                    <a:pt x="56" y="188"/>
                    <a:pt x="56" y="188"/>
                  </a:cubicBezTo>
                  <a:cubicBezTo>
                    <a:pt x="65" y="188"/>
                    <a:pt x="73" y="181"/>
                    <a:pt x="73" y="172"/>
                  </a:cubicBezTo>
                  <a:cubicBezTo>
                    <a:pt x="73" y="0"/>
                    <a:pt x="73" y="0"/>
                    <a:pt x="73" y="0"/>
                  </a:cubicBezTo>
                  <a:cubicBezTo>
                    <a:pt x="0" y="0"/>
                    <a:pt x="0" y="0"/>
                    <a:pt x="0" y="0"/>
                  </a:cubicBezTo>
                  <a:cubicBezTo>
                    <a:pt x="0" y="172"/>
                    <a:pt x="0" y="172"/>
                    <a:pt x="0" y="172"/>
                  </a:cubicBezTo>
                  <a:cubicBezTo>
                    <a:pt x="0" y="181"/>
                    <a:pt x="8" y="188"/>
                    <a:pt x="17" y="1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845" tIns="60923" rIns="121845" bIns="60923" numCol="1" anchor="t" anchorCtr="0" compatLnSpc="1">
              <a:prstTxWarp prst="textNoShape">
                <a:avLst/>
              </a:prstTxWarp>
            </a:bodyPr>
            <a:lstStyle/>
            <a:p>
              <a:pPr marL="0" marR="0" lvl="0" indent="0" algn="l" defTabSz="1217599" rtl="0" eaLnBrk="1" fontAlgn="auto" latinLnBrk="0" hangingPunct="1">
                <a:lnSpc>
                  <a:spcPct val="100000"/>
                </a:lnSpc>
                <a:spcBef>
                  <a:spcPts val="0"/>
                </a:spcBef>
                <a:spcAft>
                  <a:spcPts val="0"/>
                </a:spcAft>
                <a:buClrTx/>
                <a:buSzTx/>
                <a:buFontTx/>
                <a:buNone/>
                <a:tabLst/>
                <a:defRPr/>
              </a:pPr>
              <a:endParaRPr kumimoji="0" lang="en-US" sz="2398"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91" name="Freeform 35">
              <a:extLst>
                <a:ext uri="{FF2B5EF4-FFF2-40B4-BE49-F238E27FC236}">
                  <a16:creationId xmlns:a16="http://schemas.microsoft.com/office/drawing/2014/main" id="{D2E437DC-EC32-4A84-9D4A-8C0B85AAAB3D}"/>
                </a:ext>
              </a:extLst>
            </p:cNvPr>
            <p:cNvSpPr>
              <a:spLocks/>
            </p:cNvSpPr>
            <p:nvPr/>
          </p:nvSpPr>
          <p:spPr bwMode="auto">
            <a:xfrm>
              <a:off x="2460" y="1295"/>
              <a:ext cx="843" cy="2041"/>
            </a:xfrm>
            <a:custGeom>
              <a:avLst/>
              <a:gdLst>
                <a:gd name="T0" fmla="*/ 49 w 357"/>
                <a:gd name="T1" fmla="*/ 864 h 864"/>
                <a:gd name="T2" fmla="*/ 67 w 357"/>
                <a:gd name="T3" fmla="*/ 864 h 864"/>
                <a:gd name="T4" fmla="*/ 67 w 357"/>
                <a:gd name="T5" fmla="*/ 286 h 864"/>
                <a:gd name="T6" fmla="*/ 128 w 357"/>
                <a:gd name="T7" fmla="*/ 217 h 864"/>
                <a:gd name="T8" fmla="*/ 229 w 357"/>
                <a:gd name="T9" fmla="*/ 217 h 864"/>
                <a:gd name="T10" fmla="*/ 290 w 357"/>
                <a:gd name="T11" fmla="*/ 286 h 864"/>
                <a:gd name="T12" fmla="*/ 290 w 357"/>
                <a:gd name="T13" fmla="*/ 864 h 864"/>
                <a:gd name="T14" fmla="*/ 308 w 357"/>
                <a:gd name="T15" fmla="*/ 864 h 864"/>
                <a:gd name="T16" fmla="*/ 357 w 357"/>
                <a:gd name="T17" fmla="*/ 815 h 864"/>
                <a:gd name="T18" fmla="*/ 357 w 357"/>
                <a:gd name="T19" fmla="*/ 113 h 864"/>
                <a:gd name="T20" fmla="*/ 308 w 357"/>
                <a:gd name="T21" fmla="*/ 65 h 864"/>
                <a:gd name="T22" fmla="*/ 283 w 357"/>
                <a:gd name="T23" fmla="*/ 65 h 864"/>
                <a:gd name="T24" fmla="*/ 283 w 357"/>
                <a:gd name="T25" fmla="*/ 37 h 864"/>
                <a:gd name="T26" fmla="*/ 236 w 357"/>
                <a:gd name="T27" fmla="*/ 0 h 864"/>
                <a:gd name="T28" fmla="*/ 121 w 357"/>
                <a:gd name="T29" fmla="*/ 0 h 864"/>
                <a:gd name="T30" fmla="*/ 74 w 357"/>
                <a:gd name="T31" fmla="*/ 37 h 864"/>
                <a:gd name="T32" fmla="*/ 74 w 357"/>
                <a:gd name="T33" fmla="*/ 65 h 864"/>
                <a:gd name="T34" fmla="*/ 49 w 357"/>
                <a:gd name="T35" fmla="*/ 65 h 864"/>
                <a:gd name="T36" fmla="*/ 0 w 357"/>
                <a:gd name="T37" fmla="*/ 113 h 864"/>
                <a:gd name="T38" fmla="*/ 0 w 357"/>
                <a:gd name="T39" fmla="*/ 815 h 864"/>
                <a:gd name="T40" fmla="*/ 49 w 357"/>
                <a:gd name="T41" fmla="*/ 864 h 8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57" h="864">
                  <a:moveTo>
                    <a:pt x="49" y="864"/>
                  </a:moveTo>
                  <a:cubicBezTo>
                    <a:pt x="67" y="864"/>
                    <a:pt x="67" y="864"/>
                    <a:pt x="67" y="864"/>
                  </a:cubicBezTo>
                  <a:cubicBezTo>
                    <a:pt x="67" y="286"/>
                    <a:pt x="67" y="286"/>
                    <a:pt x="67" y="286"/>
                  </a:cubicBezTo>
                  <a:cubicBezTo>
                    <a:pt x="67" y="248"/>
                    <a:pt x="94" y="217"/>
                    <a:pt x="128" y="217"/>
                  </a:cubicBezTo>
                  <a:cubicBezTo>
                    <a:pt x="229" y="217"/>
                    <a:pt x="229" y="217"/>
                    <a:pt x="229" y="217"/>
                  </a:cubicBezTo>
                  <a:cubicBezTo>
                    <a:pt x="263" y="217"/>
                    <a:pt x="290" y="248"/>
                    <a:pt x="290" y="286"/>
                  </a:cubicBezTo>
                  <a:cubicBezTo>
                    <a:pt x="290" y="864"/>
                    <a:pt x="290" y="864"/>
                    <a:pt x="290" y="864"/>
                  </a:cubicBezTo>
                  <a:cubicBezTo>
                    <a:pt x="308" y="864"/>
                    <a:pt x="308" y="864"/>
                    <a:pt x="308" y="864"/>
                  </a:cubicBezTo>
                  <a:cubicBezTo>
                    <a:pt x="335" y="864"/>
                    <a:pt x="357" y="842"/>
                    <a:pt x="357" y="815"/>
                  </a:cubicBezTo>
                  <a:cubicBezTo>
                    <a:pt x="357" y="113"/>
                    <a:pt x="357" y="113"/>
                    <a:pt x="357" y="113"/>
                  </a:cubicBezTo>
                  <a:cubicBezTo>
                    <a:pt x="357" y="86"/>
                    <a:pt x="335" y="65"/>
                    <a:pt x="308" y="65"/>
                  </a:cubicBezTo>
                  <a:cubicBezTo>
                    <a:pt x="283" y="65"/>
                    <a:pt x="283" y="65"/>
                    <a:pt x="283" y="65"/>
                  </a:cubicBezTo>
                  <a:cubicBezTo>
                    <a:pt x="283" y="37"/>
                    <a:pt x="283" y="37"/>
                    <a:pt x="283" y="37"/>
                  </a:cubicBezTo>
                  <a:cubicBezTo>
                    <a:pt x="283" y="16"/>
                    <a:pt x="262" y="0"/>
                    <a:pt x="236" y="0"/>
                  </a:cubicBezTo>
                  <a:cubicBezTo>
                    <a:pt x="121" y="0"/>
                    <a:pt x="121" y="0"/>
                    <a:pt x="121" y="0"/>
                  </a:cubicBezTo>
                  <a:cubicBezTo>
                    <a:pt x="95" y="0"/>
                    <a:pt x="74" y="16"/>
                    <a:pt x="74" y="37"/>
                  </a:cubicBezTo>
                  <a:cubicBezTo>
                    <a:pt x="74" y="65"/>
                    <a:pt x="74" y="65"/>
                    <a:pt x="74" y="65"/>
                  </a:cubicBezTo>
                  <a:cubicBezTo>
                    <a:pt x="49" y="65"/>
                    <a:pt x="49" y="65"/>
                    <a:pt x="49" y="65"/>
                  </a:cubicBezTo>
                  <a:cubicBezTo>
                    <a:pt x="22" y="65"/>
                    <a:pt x="0" y="86"/>
                    <a:pt x="0" y="113"/>
                  </a:cubicBezTo>
                  <a:cubicBezTo>
                    <a:pt x="0" y="815"/>
                    <a:pt x="0" y="815"/>
                    <a:pt x="0" y="815"/>
                  </a:cubicBezTo>
                  <a:cubicBezTo>
                    <a:pt x="0" y="842"/>
                    <a:pt x="22" y="864"/>
                    <a:pt x="49" y="86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845" tIns="60923" rIns="121845" bIns="60923" numCol="1" anchor="t" anchorCtr="0" compatLnSpc="1">
              <a:prstTxWarp prst="textNoShape">
                <a:avLst/>
              </a:prstTxWarp>
            </a:bodyPr>
            <a:lstStyle/>
            <a:p>
              <a:pPr marL="0" marR="0" lvl="0" indent="0" algn="l" defTabSz="1217599" rtl="0" eaLnBrk="1" fontAlgn="auto" latinLnBrk="0" hangingPunct="1">
                <a:lnSpc>
                  <a:spcPct val="100000"/>
                </a:lnSpc>
                <a:spcBef>
                  <a:spcPts val="0"/>
                </a:spcBef>
                <a:spcAft>
                  <a:spcPts val="0"/>
                </a:spcAft>
                <a:buClrTx/>
                <a:buSzTx/>
                <a:buFontTx/>
                <a:buNone/>
                <a:tabLst/>
                <a:defRPr/>
              </a:pPr>
              <a:endParaRPr kumimoji="0" lang="en-US" sz="2398"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92" name="Freeform 36">
              <a:extLst>
                <a:ext uri="{FF2B5EF4-FFF2-40B4-BE49-F238E27FC236}">
                  <a16:creationId xmlns:a16="http://schemas.microsoft.com/office/drawing/2014/main" id="{D3281A7C-1D90-45F0-8EC3-235FFA00E5D0}"/>
                </a:ext>
              </a:extLst>
            </p:cNvPr>
            <p:cNvSpPr>
              <a:spLocks/>
            </p:cNvSpPr>
            <p:nvPr/>
          </p:nvSpPr>
          <p:spPr bwMode="auto">
            <a:xfrm>
              <a:off x="2737" y="-294"/>
              <a:ext cx="290" cy="1542"/>
            </a:xfrm>
            <a:custGeom>
              <a:avLst/>
              <a:gdLst>
                <a:gd name="T0" fmla="*/ 6 w 123"/>
                <a:gd name="T1" fmla="*/ 84 h 653"/>
                <a:gd name="T2" fmla="*/ 25 w 123"/>
                <a:gd name="T3" fmla="*/ 198 h 653"/>
                <a:gd name="T4" fmla="*/ 25 w 123"/>
                <a:gd name="T5" fmla="*/ 653 h 653"/>
                <a:gd name="T6" fmla="*/ 98 w 123"/>
                <a:gd name="T7" fmla="*/ 653 h 653"/>
                <a:gd name="T8" fmla="*/ 98 w 123"/>
                <a:gd name="T9" fmla="*/ 198 h 653"/>
                <a:gd name="T10" fmla="*/ 117 w 123"/>
                <a:gd name="T11" fmla="*/ 84 h 653"/>
                <a:gd name="T12" fmla="*/ 122 w 123"/>
                <a:gd name="T13" fmla="*/ 57 h 653"/>
                <a:gd name="T14" fmla="*/ 123 w 123"/>
                <a:gd name="T15" fmla="*/ 38 h 653"/>
                <a:gd name="T16" fmla="*/ 112 w 123"/>
                <a:gd name="T17" fmla="*/ 0 h 653"/>
                <a:gd name="T18" fmla="*/ 11 w 123"/>
                <a:gd name="T19" fmla="*/ 0 h 653"/>
                <a:gd name="T20" fmla="*/ 0 w 123"/>
                <a:gd name="T21" fmla="*/ 38 h 653"/>
                <a:gd name="T22" fmla="*/ 1 w 123"/>
                <a:gd name="T23" fmla="*/ 57 h 653"/>
                <a:gd name="T24" fmla="*/ 6 w 123"/>
                <a:gd name="T25" fmla="*/ 84 h 6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3" h="653">
                  <a:moveTo>
                    <a:pt x="6" y="84"/>
                  </a:moveTo>
                  <a:cubicBezTo>
                    <a:pt x="25" y="198"/>
                    <a:pt x="25" y="198"/>
                    <a:pt x="25" y="198"/>
                  </a:cubicBezTo>
                  <a:cubicBezTo>
                    <a:pt x="25" y="653"/>
                    <a:pt x="25" y="653"/>
                    <a:pt x="25" y="653"/>
                  </a:cubicBezTo>
                  <a:cubicBezTo>
                    <a:pt x="98" y="653"/>
                    <a:pt x="98" y="653"/>
                    <a:pt x="98" y="653"/>
                  </a:cubicBezTo>
                  <a:cubicBezTo>
                    <a:pt x="98" y="198"/>
                    <a:pt x="98" y="198"/>
                    <a:pt x="98" y="198"/>
                  </a:cubicBezTo>
                  <a:cubicBezTo>
                    <a:pt x="117" y="84"/>
                    <a:pt x="117" y="84"/>
                    <a:pt x="117" y="84"/>
                  </a:cubicBezTo>
                  <a:cubicBezTo>
                    <a:pt x="122" y="57"/>
                    <a:pt x="122" y="57"/>
                    <a:pt x="122" y="57"/>
                  </a:cubicBezTo>
                  <a:cubicBezTo>
                    <a:pt x="123" y="51"/>
                    <a:pt x="123" y="44"/>
                    <a:pt x="123" y="38"/>
                  </a:cubicBezTo>
                  <a:cubicBezTo>
                    <a:pt x="123" y="17"/>
                    <a:pt x="118" y="0"/>
                    <a:pt x="112" y="0"/>
                  </a:cubicBezTo>
                  <a:cubicBezTo>
                    <a:pt x="11" y="0"/>
                    <a:pt x="11" y="0"/>
                    <a:pt x="11" y="0"/>
                  </a:cubicBezTo>
                  <a:cubicBezTo>
                    <a:pt x="5" y="0"/>
                    <a:pt x="0" y="17"/>
                    <a:pt x="0" y="38"/>
                  </a:cubicBezTo>
                  <a:cubicBezTo>
                    <a:pt x="0" y="45"/>
                    <a:pt x="0" y="51"/>
                    <a:pt x="1" y="57"/>
                  </a:cubicBezTo>
                  <a:lnTo>
                    <a:pt x="6" y="8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845" tIns="60923" rIns="121845" bIns="60923" numCol="1" anchor="t" anchorCtr="0" compatLnSpc="1">
              <a:prstTxWarp prst="textNoShape">
                <a:avLst/>
              </a:prstTxWarp>
            </a:bodyPr>
            <a:lstStyle/>
            <a:p>
              <a:pPr marL="0" marR="0" lvl="0" indent="0" algn="l" defTabSz="1217599" rtl="0" eaLnBrk="1" fontAlgn="auto" latinLnBrk="0" hangingPunct="1">
                <a:lnSpc>
                  <a:spcPct val="100000"/>
                </a:lnSpc>
                <a:spcBef>
                  <a:spcPts val="0"/>
                </a:spcBef>
                <a:spcAft>
                  <a:spcPts val="0"/>
                </a:spcAft>
                <a:buClrTx/>
                <a:buSzTx/>
                <a:buFontTx/>
                <a:buNone/>
                <a:tabLst/>
                <a:defRPr/>
              </a:pPr>
              <a:endParaRPr kumimoji="0" lang="en-US" sz="2398"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93" name="Freeform 37">
              <a:extLst>
                <a:ext uri="{FF2B5EF4-FFF2-40B4-BE49-F238E27FC236}">
                  <a16:creationId xmlns:a16="http://schemas.microsoft.com/office/drawing/2014/main" id="{DCAD8C0F-C79E-4CFA-8D90-FF06278F7338}"/>
                </a:ext>
              </a:extLst>
            </p:cNvPr>
            <p:cNvSpPr>
              <a:spLocks noEditPoints="1"/>
            </p:cNvSpPr>
            <p:nvPr/>
          </p:nvSpPr>
          <p:spPr bwMode="auto">
            <a:xfrm>
              <a:off x="2666" y="1855"/>
              <a:ext cx="432" cy="1902"/>
            </a:xfrm>
            <a:custGeom>
              <a:avLst/>
              <a:gdLst>
                <a:gd name="T0" fmla="*/ 183 w 183"/>
                <a:gd name="T1" fmla="*/ 756 h 805"/>
                <a:gd name="T2" fmla="*/ 183 w 183"/>
                <a:gd name="T3" fmla="*/ 49 h 805"/>
                <a:gd name="T4" fmla="*/ 142 w 183"/>
                <a:gd name="T5" fmla="*/ 0 h 805"/>
                <a:gd name="T6" fmla="*/ 41 w 183"/>
                <a:gd name="T7" fmla="*/ 0 h 805"/>
                <a:gd name="T8" fmla="*/ 0 w 183"/>
                <a:gd name="T9" fmla="*/ 49 h 805"/>
                <a:gd name="T10" fmla="*/ 0 w 183"/>
                <a:gd name="T11" fmla="*/ 756 h 805"/>
                <a:gd name="T12" fmla="*/ 41 w 183"/>
                <a:gd name="T13" fmla="*/ 805 h 805"/>
                <a:gd name="T14" fmla="*/ 142 w 183"/>
                <a:gd name="T15" fmla="*/ 805 h 805"/>
                <a:gd name="T16" fmla="*/ 183 w 183"/>
                <a:gd name="T17" fmla="*/ 756 h 805"/>
                <a:gd name="T18" fmla="*/ 92 w 183"/>
                <a:gd name="T19" fmla="*/ 279 h 805"/>
                <a:gd name="T20" fmla="*/ 45 w 183"/>
                <a:gd name="T21" fmla="*/ 232 h 805"/>
                <a:gd name="T22" fmla="*/ 92 w 183"/>
                <a:gd name="T23" fmla="*/ 186 h 805"/>
                <a:gd name="T24" fmla="*/ 138 w 183"/>
                <a:gd name="T25" fmla="*/ 232 h 805"/>
                <a:gd name="T26" fmla="*/ 92 w 183"/>
                <a:gd name="T27" fmla="*/ 279 h 8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83" h="805">
                  <a:moveTo>
                    <a:pt x="183" y="756"/>
                  </a:moveTo>
                  <a:cubicBezTo>
                    <a:pt x="183" y="49"/>
                    <a:pt x="183" y="49"/>
                    <a:pt x="183" y="49"/>
                  </a:cubicBezTo>
                  <a:cubicBezTo>
                    <a:pt x="183" y="22"/>
                    <a:pt x="165" y="0"/>
                    <a:pt x="142" y="0"/>
                  </a:cubicBezTo>
                  <a:cubicBezTo>
                    <a:pt x="41" y="0"/>
                    <a:pt x="41" y="0"/>
                    <a:pt x="41" y="0"/>
                  </a:cubicBezTo>
                  <a:cubicBezTo>
                    <a:pt x="18" y="0"/>
                    <a:pt x="0" y="22"/>
                    <a:pt x="0" y="49"/>
                  </a:cubicBezTo>
                  <a:cubicBezTo>
                    <a:pt x="0" y="756"/>
                    <a:pt x="0" y="756"/>
                    <a:pt x="0" y="756"/>
                  </a:cubicBezTo>
                  <a:cubicBezTo>
                    <a:pt x="0" y="783"/>
                    <a:pt x="18" y="805"/>
                    <a:pt x="41" y="805"/>
                  </a:cubicBezTo>
                  <a:cubicBezTo>
                    <a:pt x="142" y="805"/>
                    <a:pt x="142" y="805"/>
                    <a:pt x="142" y="805"/>
                  </a:cubicBezTo>
                  <a:cubicBezTo>
                    <a:pt x="165" y="805"/>
                    <a:pt x="183" y="783"/>
                    <a:pt x="183" y="756"/>
                  </a:cubicBezTo>
                  <a:close/>
                  <a:moveTo>
                    <a:pt x="92" y="279"/>
                  </a:moveTo>
                  <a:cubicBezTo>
                    <a:pt x="66" y="279"/>
                    <a:pt x="45" y="258"/>
                    <a:pt x="45" y="232"/>
                  </a:cubicBezTo>
                  <a:cubicBezTo>
                    <a:pt x="45" y="207"/>
                    <a:pt x="66" y="186"/>
                    <a:pt x="92" y="186"/>
                  </a:cubicBezTo>
                  <a:cubicBezTo>
                    <a:pt x="117" y="186"/>
                    <a:pt x="138" y="207"/>
                    <a:pt x="138" y="232"/>
                  </a:cubicBezTo>
                  <a:cubicBezTo>
                    <a:pt x="138" y="258"/>
                    <a:pt x="117" y="279"/>
                    <a:pt x="92" y="27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845" tIns="60923" rIns="121845" bIns="60923" numCol="1" anchor="t" anchorCtr="0" compatLnSpc="1">
              <a:prstTxWarp prst="textNoShape">
                <a:avLst/>
              </a:prstTxWarp>
            </a:bodyPr>
            <a:lstStyle/>
            <a:p>
              <a:pPr marL="0" marR="0" lvl="0" indent="0" algn="l" defTabSz="1217599" rtl="0" eaLnBrk="1" fontAlgn="auto" latinLnBrk="0" hangingPunct="1">
                <a:lnSpc>
                  <a:spcPct val="100000"/>
                </a:lnSpc>
                <a:spcBef>
                  <a:spcPts val="0"/>
                </a:spcBef>
                <a:spcAft>
                  <a:spcPts val="0"/>
                </a:spcAft>
                <a:buClrTx/>
                <a:buSzTx/>
                <a:buFontTx/>
                <a:buNone/>
                <a:tabLst/>
                <a:defRPr/>
              </a:pPr>
              <a:endParaRPr kumimoji="0" lang="en-US" sz="2398"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94" name="Oval 38">
              <a:extLst>
                <a:ext uri="{FF2B5EF4-FFF2-40B4-BE49-F238E27FC236}">
                  <a16:creationId xmlns:a16="http://schemas.microsoft.com/office/drawing/2014/main" id="{144837B6-5355-48A8-9CFA-D2798FAC33F4}"/>
                </a:ext>
              </a:extLst>
            </p:cNvPr>
            <p:cNvSpPr>
              <a:spLocks noChangeArrowheads="1"/>
            </p:cNvSpPr>
            <p:nvPr/>
          </p:nvSpPr>
          <p:spPr bwMode="auto">
            <a:xfrm>
              <a:off x="2836" y="2356"/>
              <a:ext cx="92" cy="9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845" tIns="60923" rIns="121845" bIns="60923" numCol="1" anchor="t" anchorCtr="0" compatLnSpc="1">
              <a:prstTxWarp prst="textNoShape">
                <a:avLst/>
              </a:prstTxWarp>
            </a:bodyPr>
            <a:lstStyle/>
            <a:p>
              <a:pPr marL="0" marR="0" lvl="0" indent="0" algn="l" defTabSz="1217599" rtl="0" eaLnBrk="1" fontAlgn="auto" latinLnBrk="0" hangingPunct="1">
                <a:lnSpc>
                  <a:spcPct val="100000"/>
                </a:lnSpc>
                <a:spcBef>
                  <a:spcPts val="0"/>
                </a:spcBef>
                <a:spcAft>
                  <a:spcPts val="0"/>
                </a:spcAft>
                <a:buClrTx/>
                <a:buSzTx/>
                <a:buFontTx/>
                <a:buNone/>
                <a:tabLst/>
                <a:defRPr/>
              </a:pPr>
              <a:endParaRPr kumimoji="0" lang="en-US" sz="2398" b="0" i="0" u="none" strike="noStrike" kern="1200" cap="none" spc="0" normalizeH="0" baseline="0" noProof="0">
                <a:ln>
                  <a:noFill/>
                </a:ln>
                <a:solidFill>
                  <a:srgbClr val="000000"/>
                </a:solidFill>
                <a:effectLst/>
                <a:uLnTx/>
                <a:uFillTx/>
                <a:latin typeface="Arial" panose="020B0604020202020204"/>
                <a:ea typeface="+mn-ea"/>
                <a:cs typeface="+mn-cs"/>
              </a:endParaRPr>
            </a:p>
          </p:txBody>
        </p:sp>
      </p:grpSp>
      <p:sp>
        <p:nvSpPr>
          <p:cNvPr id="40" name="Текст 4">
            <a:extLst>
              <a:ext uri="{FF2B5EF4-FFF2-40B4-BE49-F238E27FC236}">
                <a16:creationId xmlns:a16="http://schemas.microsoft.com/office/drawing/2014/main" id="{193CFBA8-9B34-4291-98A3-6A023D1539D3}"/>
              </a:ext>
            </a:extLst>
          </p:cNvPr>
          <p:cNvSpPr txBox="1">
            <a:spLocks/>
          </p:cNvSpPr>
          <p:nvPr/>
        </p:nvSpPr>
        <p:spPr bwMode="gray">
          <a:xfrm>
            <a:off x="431371" y="6509666"/>
            <a:ext cx="11328400" cy="192616"/>
          </a:xfrm>
          <a:prstGeom prst="rect">
            <a:avLst/>
          </a:prstGeom>
        </p:spPr>
        <p:txBody>
          <a:bodyPr vert="horz" lIns="0" tIns="0" rIns="0" bIns="36000" rtlCol="0" anchor="b" anchorCtr="0">
            <a:noAutofit/>
          </a:bodyPr>
          <a:lstStyle>
            <a:lvl1pPr marL="0" marR="0" indent="0" algn="l" defTabSz="1219170" rtl="0" eaLnBrk="1" fontAlgn="auto" latinLnBrk="0" hangingPunct="1">
              <a:lnSpc>
                <a:spcPct val="100000"/>
              </a:lnSpc>
              <a:spcBef>
                <a:spcPts val="0"/>
              </a:spcBef>
              <a:spcAft>
                <a:spcPts val="0"/>
              </a:spcAft>
              <a:buClrTx/>
              <a:buSzTx/>
              <a:buFont typeface="Arial" pitchFamily="34" charset="0"/>
              <a:buNone/>
              <a:tabLst/>
              <a:defRPr lang="de-DE" sz="1067" kern="1200" baseline="0" noProof="0" smtClean="0">
                <a:solidFill>
                  <a:schemeClr val="bg2"/>
                </a:solidFill>
                <a:latin typeface="Arial" pitchFamily="34" charset="0"/>
                <a:ea typeface="+mn-ea"/>
                <a:cs typeface="Arial" pitchFamily="34" charset="0"/>
              </a:defRPr>
            </a:lvl1pPr>
            <a:lvl2pPr marL="0" indent="0" algn="l" defTabSz="914400" rtl="0" eaLnBrk="1" latinLnBrk="0" hangingPunct="1">
              <a:lnSpc>
                <a:spcPct val="100000"/>
              </a:lnSpc>
              <a:spcBef>
                <a:spcPts val="0"/>
              </a:spcBef>
              <a:buClr>
                <a:schemeClr val="tx2"/>
              </a:buClr>
              <a:buFont typeface="Arial" panose="020B0604020202020204" pitchFamily="34" charset="0"/>
              <a:buNone/>
              <a:defRPr lang="de-DE" sz="1067" kern="1200" baseline="0" noProof="0" smtClean="0">
                <a:solidFill>
                  <a:schemeClr val="bg2"/>
                </a:solidFill>
                <a:latin typeface="Arial" pitchFamily="34" charset="0"/>
                <a:ea typeface="+mn-ea"/>
                <a:cs typeface="Arial" pitchFamily="34" charset="0"/>
              </a:defRPr>
            </a:lvl2pPr>
            <a:lvl3pPr marL="0" indent="0" algn="l" defTabSz="914400" rtl="0" eaLnBrk="1" latinLnBrk="0" hangingPunct="1">
              <a:lnSpc>
                <a:spcPct val="100000"/>
              </a:lnSpc>
              <a:spcBef>
                <a:spcPts val="0"/>
              </a:spcBef>
              <a:buClr>
                <a:schemeClr val="tx2"/>
              </a:buClr>
              <a:buFont typeface="Wingdings" panose="05000000000000000000" pitchFamily="2" charset="2"/>
              <a:buNone/>
              <a:defRPr lang="de-DE" sz="1067" kern="1200" baseline="0" noProof="0" smtClean="0">
                <a:solidFill>
                  <a:schemeClr val="bg2"/>
                </a:solidFill>
                <a:latin typeface="Arial" pitchFamily="34" charset="0"/>
                <a:ea typeface="+mn-ea"/>
                <a:cs typeface="Arial" pitchFamily="34" charset="0"/>
              </a:defRPr>
            </a:lvl3pPr>
            <a:lvl4pPr marL="0" indent="0" algn="l" defTabSz="914400" rtl="0" eaLnBrk="1" latinLnBrk="0" hangingPunct="1">
              <a:lnSpc>
                <a:spcPct val="100000"/>
              </a:lnSpc>
              <a:spcBef>
                <a:spcPts val="0"/>
              </a:spcBef>
              <a:buClr>
                <a:schemeClr val="tx2"/>
              </a:buClr>
              <a:buFont typeface="Lato" panose="020F0502020204030203" pitchFamily="34" charset="0"/>
              <a:buNone/>
              <a:defRPr lang="de-DE" sz="1067" kern="1200" baseline="0" noProof="0" smtClean="0">
                <a:solidFill>
                  <a:schemeClr val="bg2"/>
                </a:solidFill>
                <a:latin typeface="Arial" pitchFamily="34" charset="0"/>
                <a:ea typeface="+mn-ea"/>
                <a:cs typeface="Arial" pitchFamily="34" charset="0"/>
              </a:defRPr>
            </a:lvl4pPr>
            <a:lvl5pPr marL="0" indent="0" algn="l" defTabSz="914400" rtl="0" eaLnBrk="1" latinLnBrk="0" hangingPunct="1">
              <a:lnSpc>
                <a:spcPct val="100000"/>
              </a:lnSpc>
              <a:spcBef>
                <a:spcPts val="0"/>
              </a:spcBef>
              <a:buClr>
                <a:schemeClr val="tx2"/>
              </a:buClr>
              <a:buFont typeface="Wingdings" panose="05000000000000000000" pitchFamily="2" charset="2"/>
              <a:buNone/>
              <a:defRPr lang="de-DE" sz="1067" kern="1200" baseline="0" noProof="0" smtClean="0">
                <a:solidFill>
                  <a:schemeClr val="bg2"/>
                </a:solidFill>
                <a:latin typeface="Arial" pitchFamily="34" charset="0"/>
                <a:ea typeface="+mn-ea"/>
                <a:cs typeface="Arial" pitchFamily="34" charset="0"/>
              </a:defRPr>
            </a:lvl5pPr>
            <a:lvl6pPr marL="0" indent="0" algn="l" defTabSz="914400" rtl="0" eaLnBrk="1" latinLnBrk="0" hangingPunct="1">
              <a:lnSpc>
                <a:spcPct val="100000"/>
              </a:lnSpc>
              <a:spcBef>
                <a:spcPts val="0"/>
              </a:spcBef>
              <a:buFont typeface="Arial" panose="020B0604020202020204" pitchFamily="34" charset="0"/>
              <a:buNone/>
              <a:defRPr lang="de-DE" sz="1067" kern="1200" baseline="0" noProof="0" smtClean="0">
                <a:solidFill>
                  <a:schemeClr val="bg2"/>
                </a:solidFill>
                <a:latin typeface="Arial" pitchFamily="34" charset="0"/>
                <a:ea typeface="+mn-ea"/>
                <a:cs typeface="Arial" pitchFamily="34" charset="0"/>
              </a:defRPr>
            </a:lvl6pPr>
            <a:lvl7pPr marL="0" indent="0" algn="l" defTabSz="914400" rtl="0" eaLnBrk="1" latinLnBrk="0" hangingPunct="1">
              <a:lnSpc>
                <a:spcPct val="100000"/>
              </a:lnSpc>
              <a:spcBef>
                <a:spcPts val="0"/>
              </a:spcBef>
              <a:buFont typeface="Arial" panose="020B0604020202020204" pitchFamily="34" charset="0"/>
              <a:buNone/>
              <a:defRPr lang="de-DE" sz="1067" kern="1200" baseline="0" noProof="0" dirty="0" smtClean="0">
                <a:solidFill>
                  <a:schemeClr val="bg2"/>
                </a:solidFill>
                <a:latin typeface="Arial" pitchFamily="34" charset="0"/>
                <a:ea typeface="+mn-ea"/>
                <a:cs typeface="Arial" pitchFamily="34" charset="0"/>
              </a:defRPr>
            </a:lvl7pPr>
            <a:lvl8pPr marL="0" indent="0" algn="l" defTabSz="914400" rtl="0" eaLnBrk="1" latinLnBrk="0" hangingPunct="1">
              <a:lnSpc>
                <a:spcPct val="100000"/>
              </a:lnSpc>
              <a:spcBef>
                <a:spcPts val="0"/>
              </a:spcBef>
              <a:buFont typeface="Arial" panose="020B0604020202020204" pitchFamily="34" charset="0"/>
              <a:buNone/>
              <a:defRPr lang="de-DE" sz="1067" kern="1200" baseline="0" noProof="0" smtClean="0">
                <a:solidFill>
                  <a:schemeClr val="bg2"/>
                </a:solidFill>
                <a:latin typeface="Arial" pitchFamily="34" charset="0"/>
                <a:ea typeface="+mn-ea"/>
                <a:cs typeface="Arial" pitchFamily="34" charset="0"/>
              </a:defRPr>
            </a:lvl8pPr>
            <a:lvl9pPr marL="0" indent="0" algn="l" defTabSz="914400" rtl="0" eaLnBrk="1" latinLnBrk="0" hangingPunct="1">
              <a:lnSpc>
                <a:spcPct val="100000"/>
              </a:lnSpc>
              <a:spcBef>
                <a:spcPts val="0"/>
              </a:spcBef>
              <a:buFont typeface="Arial" panose="020B0604020202020204" pitchFamily="34" charset="0"/>
              <a:buNone/>
              <a:defRPr lang="de-DE" sz="1067" kern="1200" baseline="0" noProof="0" smtClean="0">
                <a:solidFill>
                  <a:schemeClr val="bg2"/>
                </a:solidFill>
                <a:latin typeface="Arial" pitchFamily="34" charset="0"/>
                <a:ea typeface="+mn-ea"/>
                <a:cs typeface="Arial" pitchFamily="34" charset="0"/>
              </a:defRPr>
            </a:lvl9pPr>
          </a:lstStyle>
          <a:p>
            <a:pPr marL="0" marR="0" lvl="0" indent="0" algn="l" defTabSz="1219170" rtl="0" eaLnBrk="1" fontAlgn="auto" latinLnBrk="0" hangingPunct="1">
              <a:lnSpc>
                <a:spcPct val="100000"/>
              </a:lnSpc>
              <a:spcBef>
                <a:spcPts val="0"/>
              </a:spcBef>
              <a:spcAft>
                <a:spcPts val="0"/>
              </a:spcAft>
              <a:buClrTx/>
              <a:buSzTx/>
              <a:buFont typeface="Arial" pitchFamily="34" charset="0"/>
              <a:buNone/>
              <a:tabLst/>
              <a:defRPr/>
            </a:pPr>
            <a:r>
              <a:rPr kumimoji="0" lang="en-US" sz="1067" b="0" i="0" u="none" strike="noStrike" kern="1200" cap="none" spc="0" normalizeH="0" baseline="0" noProof="0" dirty="0">
                <a:ln>
                  <a:noFill/>
                </a:ln>
                <a:solidFill>
                  <a:schemeClr val="tx1">
                    <a:lumMod val="75000"/>
                  </a:schemeClr>
                </a:solidFill>
                <a:effectLst/>
                <a:uLnTx/>
                <a:uFillTx/>
                <a:latin typeface="Arial" pitchFamily="34" charset="0"/>
                <a:ea typeface="+mn-ea"/>
                <a:cs typeface="Arial" pitchFamily="34" charset="0"/>
              </a:rPr>
              <a:t>Source: GfK POS *Europe incl. Eastern Europe and Turkey; All Figures are in Sales EUR, unless specified ; </a:t>
            </a:r>
          </a:p>
        </p:txBody>
      </p:sp>
      <p:sp>
        <p:nvSpPr>
          <p:cNvPr id="43" name="Прямоугольник 42">
            <a:extLst>
              <a:ext uri="{FF2B5EF4-FFF2-40B4-BE49-F238E27FC236}">
                <a16:creationId xmlns:a16="http://schemas.microsoft.com/office/drawing/2014/main" id="{2E6BAB3E-8B54-4ED6-92BD-44421044A640}"/>
              </a:ext>
            </a:extLst>
          </p:cNvPr>
          <p:cNvSpPr/>
          <p:nvPr/>
        </p:nvSpPr>
        <p:spPr>
          <a:xfrm>
            <a:off x="1612950" y="1611642"/>
            <a:ext cx="4720395"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Arial" pitchFamily="34" charset="0"/>
                <a:ea typeface="+mn-ea"/>
                <a:cs typeface="Arial" pitchFamily="34" charset="0"/>
              </a:rPr>
              <a:t>Sales Value (EUR) Growth to Previous Year </a:t>
            </a:r>
            <a:endParaRPr kumimoji="0" lang="en-US" sz="1800" b="0" i="0" u="none" strike="noStrike" kern="1200" cap="none" spc="0" normalizeH="0" baseline="0" noProof="0" dirty="0">
              <a:ln>
                <a:noFill/>
              </a:ln>
              <a:solidFill>
                <a:srgbClr val="414549"/>
              </a:solidFill>
              <a:effectLst/>
              <a:uLnTx/>
              <a:uFillTx/>
              <a:latin typeface="Lato"/>
              <a:ea typeface="+mn-ea"/>
              <a:cs typeface="+mn-cs"/>
            </a:endParaRPr>
          </a:p>
        </p:txBody>
      </p:sp>
      <p:sp>
        <p:nvSpPr>
          <p:cNvPr id="44" name="Прямоугольник 43">
            <a:extLst>
              <a:ext uri="{FF2B5EF4-FFF2-40B4-BE49-F238E27FC236}">
                <a16:creationId xmlns:a16="http://schemas.microsoft.com/office/drawing/2014/main" id="{59359F35-2C30-42F1-8DF8-FC153A43E56E}"/>
              </a:ext>
            </a:extLst>
          </p:cNvPr>
          <p:cNvSpPr/>
          <p:nvPr/>
        </p:nvSpPr>
        <p:spPr>
          <a:xfrm>
            <a:off x="6922535" y="1611642"/>
            <a:ext cx="4528034"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Arial" pitchFamily="34" charset="0"/>
                <a:ea typeface="+mn-ea"/>
                <a:cs typeface="Arial" pitchFamily="34" charset="0"/>
              </a:rPr>
              <a:t>Sales Value (LC) Growth to Previous Year </a:t>
            </a:r>
            <a:endParaRPr kumimoji="0" lang="en-US" sz="1800" b="0" i="0" u="none" strike="noStrike" kern="1200" cap="none" spc="0" normalizeH="0" baseline="0" noProof="0" dirty="0">
              <a:ln>
                <a:noFill/>
              </a:ln>
              <a:solidFill>
                <a:srgbClr val="414549"/>
              </a:solidFill>
              <a:effectLst/>
              <a:uLnTx/>
              <a:uFillTx/>
              <a:latin typeface="Lato"/>
              <a:ea typeface="+mn-ea"/>
              <a:cs typeface="+mn-cs"/>
            </a:endParaRPr>
          </a:p>
        </p:txBody>
      </p:sp>
      <p:pic>
        <p:nvPicPr>
          <p:cNvPr id="45" name="Рисунок 44">
            <a:extLst>
              <a:ext uri="{FF2B5EF4-FFF2-40B4-BE49-F238E27FC236}">
                <a16:creationId xmlns:a16="http://schemas.microsoft.com/office/drawing/2014/main" id="{9346C034-6E59-45B9-9BA8-3C16AAB276A9}"/>
              </a:ext>
            </a:extLst>
          </p:cNvPr>
          <p:cNvPicPr>
            <a:picLocks noChangeAspect="1"/>
          </p:cNvPicPr>
          <p:nvPr/>
        </p:nvPicPr>
        <p:blipFill>
          <a:blip r:embed="rId17" cstate="print">
            <a:extLst>
              <a:ext uri="{28A0092B-C50C-407E-A947-70E740481C1C}">
                <a14:useLocalDpi xmlns:a14="http://schemas.microsoft.com/office/drawing/2010/main"/>
              </a:ext>
            </a:extLst>
          </a:blip>
          <a:stretch>
            <a:fillRect/>
          </a:stretch>
        </p:blipFill>
        <p:spPr>
          <a:xfrm>
            <a:off x="6557584" y="1620825"/>
            <a:ext cx="364951" cy="364951"/>
          </a:xfrm>
          <a:prstGeom prst="rect">
            <a:avLst/>
          </a:prstGeom>
        </p:spPr>
      </p:pic>
    </p:spTree>
    <p:extLst>
      <p:ext uri="{BB962C8B-B14F-4D97-AF65-F5344CB8AC3E}">
        <p14:creationId xmlns:p14="http://schemas.microsoft.com/office/powerpoint/2010/main" val="40723811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ymbol zastępczy numeru slajdu 3">
            <a:extLst>
              <a:ext uri="{FF2B5EF4-FFF2-40B4-BE49-F238E27FC236}">
                <a16:creationId xmlns:a16="http://schemas.microsoft.com/office/drawing/2014/main" id="{CF4D9045-E55C-411B-80F1-E5F00AD7F859}"/>
              </a:ext>
            </a:extLst>
          </p:cNvPr>
          <p:cNvSpPr>
            <a:spLocks noGrp="1"/>
          </p:cNvSpPr>
          <p:nvPr>
            <p:ph type="sldNum" sz="quarter" idx="16"/>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F3E29E4-0979-4FCA-B4C5-5FC6044C982A}" type="slidenum">
              <a:rPr kumimoji="0" lang="en-GB" sz="1200" b="0" i="0" u="none" strike="noStrike" kern="1200" cap="none" spc="0" normalizeH="0" baseline="0" noProof="0" smtClean="0">
                <a:ln>
                  <a:noFill/>
                </a:ln>
                <a:solidFill>
                  <a:srgbClr val="414549"/>
                </a:solidFill>
                <a:effectLst/>
                <a:uLnTx/>
                <a:uFillTx/>
                <a:latin typeface="Lato"/>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GB" sz="1200" b="0" i="0" u="none" strike="noStrike" kern="1200" cap="none" spc="0" normalizeH="0" baseline="0" noProof="0" dirty="0">
              <a:ln>
                <a:noFill/>
              </a:ln>
              <a:solidFill>
                <a:srgbClr val="414549"/>
              </a:solidFill>
              <a:effectLst/>
              <a:uLnTx/>
              <a:uFillTx/>
              <a:latin typeface="Lato"/>
              <a:ea typeface="+mn-ea"/>
              <a:cs typeface="+mn-cs"/>
            </a:endParaRPr>
          </a:p>
        </p:txBody>
      </p:sp>
      <p:sp>
        <p:nvSpPr>
          <p:cNvPr id="5" name="Tytuł 4">
            <a:extLst>
              <a:ext uri="{FF2B5EF4-FFF2-40B4-BE49-F238E27FC236}">
                <a16:creationId xmlns:a16="http://schemas.microsoft.com/office/drawing/2014/main" id="{6D2655FC-0307-4DD5-A9BF-411ED9A1F1E0}"/>
              </a:ext>
            </a:extLst>
          </p:cNvPr>
          <p:cNvSpPr>
            <a:spLocks noGrp="1"/>
          </p:cNvSpPr>
          <p:nvPr>
            <p:ph type="title"/>
          </p:nvPr>
        </p:nvSpPr>
        <p:spPr>
          <a:xfrm>
            <a:off x="1075061" y="251598"/>
            <a:ext cx="7910158" cy="648000"/>
          </a:xfrm>
        </p:spPr>
        <p:txBody>
          <a:bodyPr/>
          <a:lstStyle/>
          <a:p>
            <a:r>
              <a:rPr lang="en-GB" dirty="0"/>
              <a:t>Table of contents</a:t>
            </a:r>
          </a:p>
        </p:txBody>
      </p:sp>
      <p:sp>
        <p:nvSpPr>
          <p:cNvPr id="7" name="pole tekstowe 6">
            <a:extLst>
              <a:ext uri="{FF2B5EF4-FFF2-40B4-BE49-F238E27FC236}">
                <a16:creationId xmlns:a16="http://schemas.microsoft.com/office/drawing/2014/main" id="{5BD0457D-5A1D-43F9-A823-A03C28917768}"/>
              </a:ext>
            </a:extLst>
          </p:cNvPr>
          <p:cNvSpPr txBox="1"/>
          <p:nvPr/>
        </p:nvSpPr>
        <p:spPr>
          <a:xfrm>
            <a:off x="1014099" y="1473122"/>
            <a:ext cx="7780421" cy="3528017"/>
          </a:xfrm>
          <a:prstGeom prst="rect">
            <a:avLst/>
          </a:prstGeom>
          <a:noFill/>
        </p:spPr>
        <p:txBody>
          <a:bodyPr wrap="square" lIns="0" tIns="0" rIns="0" bIns="0" rtlCol="0">
            <a:spAutoFit/>
          </a:bodyPr>
          <a:lstStyle/>
          <a:p>
            <a:pPr marL="457200" marR="0" lvl="0" indent="-457200" algn="l" defTabSz="914400" rtl="0" eaLnBrk="1" fontAlgn="auto" latinLnBrk="0" hangingPunct="1">
              <a:lnSpc>
                <a:spcPct val="250000"/>
              </a:lnSpc>
              <a:spcBef>
                <a:spcPts val="0"/>
              </a:spcBef>
              <a:spcAft>
                <a:spcPts val="0"/>
              </a:spcAft>
              <a:buClr>
                <a:srgbClr val="85280F"/>
              </a:buClr>
              <a:buSzTx/>
              <a:buFont typeface="+mj-lt"/>
              <a:buAutoNum type="arabicPeriod"/>
              <a:tabLst/>
              <a:defRPr/>
            </a:pPr>
            <a:r>
              <a:rPr lang="en-US" sz="2400" dirty="0">
                <a:solidFill>
                  <a:srgbClr val="414549"/>
                </a:solidFill>
                <a:latin typeface="Lato"/>
              </a:rPr>
              <a:t>COVID-19  </a:t>
            </a:r>
            <a:endParaRPr kumimoji="0" lang="en-US" sz="2400" b="0" i="0" u="none" strike="noStrike" kern="1200" cap="none" spc="0" normalizeH="0" baseline="0" noProof="0" dirty="0">
              <a:ln>
                <a:noFill/>
              </a:ln>
              <a:solidFill>
                <a:srgbClr val="414549"/>
              </a:solidFill>
              <a:effectLst/>
              <a:uLnTx/>
              <a:uFillTx/>
              <a:latin typeface="Lato"/>
              <a:ea typeface="+mn-ea"/>
              <a:cs typeface="+mn-cs"/>
            </a:endParaRPr>
          </a:p>
          <a:p>
            <a:pPr marL="457200" marR="0" lvl="0" indent="-457200" algn="l" defTabSz="914400" rtl="0" eaLnBrk="1" fontAlgn="auto" latinLnBrk="0" hangingPunct="1">
              <a:lnSpc>
                <a:spcPct val="250000"/>
              </a:lnSpc>
              <a:spcBef>
                <a:spcPts val="0"/>
              </a:spcBef>
              <a:spcAft>
                <a:spcPts val="0"/>
              </a:spcAft>
              <a:buClr>
                <a:srgbClr val="85280F"/>
              </a:buClr>
              <a:buSzTx/>
              <a:buFont typeface="+mj-lt"/>
              <a:buAutoNum type="arabicPeriod"/>
              <a:tabLst/>
              <a:defRPr/>
            </a:pPr>
            <a:r>
              <a:rPr lang="en-US" sz="2400" dirty="0">
                <a:solidFill>
                  <a:srgbClr val="414549"/>
                </a:solidFill>
                <a:latin typeface="Lato"/>
              </a:rPr>
              <a:t>Macroeconomics in Russia</a:t>
            </a:r>
            <a:endParaRPr kumimoji="0" lang="en-US" sz="2400" b="0" i="0" u="none" strike="noStrike" kern="1200" cap="none" spc="0" normalizeH="0" baseline="0" noProof="0" dirty="0">
              <a:ln>
                <a:noFill/>
              </a:ln>
              <a:solidFill>
                <a:srgbClr val="414549"/>
              </a:solidFill>
              <a:effectLst/>
              <a:uLnTx/>
              <a:uFillTx/>
              <a:latin typeface="Lato"/>
              <a:ea typeface="+mn-ea"/>
              <a:cs typeface="+mn-cs"/>
            </a:endParaRPr>
          </a:p>
          <a:p>
            <a:pPr marL="457200" marR="0" lvl="0" indent="-457200" algn="l" defTabSz="914400" rtl="0" eaLnBrk="1" fontAlgn="auto" latinLnBrk="0" hangingPunct="1">
              <a:lnSpc>
                <a:spcPct val="250000"/>
              </a:lnSpc>
              <a:spcBef>
                <a:spcPts val="0"/>
              </a:spcBef>
              <a:spcAft>
                <a:spcPts val="0"/>
              </a:spcAft>
              <a:buClr>
                <a:srgbClr val="85280F"/>
              </a:buClr>
              <a:buSzTx/>
              <a:buFont typeface="+mj-lt"/>
              <a:buAutoNum type="arabicPeriod"/>
              <a:tabLst/>
              <a:defRPr/>
            </a:pPr>
            <a:r>
              <a:rPr kumimoji="0" lang="en-US" sz="2400" b="0" i="0" u="none" strike="noStrike" kern="1200" cap="none" spc="0" normalizeH="0" baseline="0" noProof="0" dirty="0">
                <a:ln>
                  <a:noFill/>
                </a:ln>
                <a:solidFill>
                  <a:srgbClr val="414549"/>
                </a:solidFill>
                <a:effectLst/>
                <a:uLnTx/>
                <a:uFillTx/>
                <a:latin typeface="Lato"/>
                <a:ea typeface="+mn-ea"/>
                <a:cs typeface="+mn-cs"/>
              </a:rPr>
              <a:t>Impact of COVID-19 on TCG Market</a:t>
            </a:r>
          </a:p>
          <a:p>
            <a:pPr marL="457200" marR="0" lvl="0" indent="-457200" algn="l" defTabSz="914400" rtl="0" eaLnBrk="1" fontAlgn="auto" latinLnBrk="0" hangingPunct="1">
              <a:lnSpc>
                <a:spcPct val="250000"/>
              </a:lnSpc>
              <a:spcBef>
                <a:spcPts val="0"/>
              </a:spcBef>
              <a:spcAft>
                <a:spcPts val="0"/>
              </a:spcAft>
              <a:buClr>
                <a:srgbClr val="85280F"/>
              </a:buClr>
              <a:buSzTx/>
              <a:buFont typeface="+mj-lt"/>
              <a:buAutoNum type="arabicPeriod"/>
              <a:tabLst/>
              <a:defRPr/>
            </a:pPr>
            <a:r>
              <a:rPr lang="en-US" sz="2400" dirty="0">
                <a:solidFill>
                  <a:srgbClr val="414549"/>
                </a:solidFill>
                <a:latin typeface="Lato"/>
              </a:rPr>
              <a:t>Future outlook</a:t>
            </a:r>
            <a:endParaRPr kumimoji="0" lang="en-US" sz="2400" b="0" i="0" u="none" strike="noStrike" kern="1200" cap="none" spc="0" normalizeH="0" baseline="0" noProof="0" dirty="0">
              <a:ln>
                <a:noFill/>
              </a:ln>
              <a:solidFill>
                <a:srgbClr val="414549"/>
              </a:solidFill>
              <a:effectLst/>
              <a:uLnTx/>
              <a:uFillTx/>
              <a:latin typeface="Lato"/>
              <a:ea typeface="+mn-ea"/>
              <a:cs typeface="+mn-cs"/>
            </a:endParaRPr>
          </a:p>
        </p:txBody>
      </p:sp>
      <p:pic>
        <p:nvPicPr>
          <p:cNvPr id="20" name="Symbol zastępczy obrazu 7">
            <a:extLst>
              <a:ext uri="{FF2B5EF4-FFF2-40B4-BE49-F238E27FC236}">
                <a16:creationId xmlns:a16="http://schemas.microsoft.com/office/drawing/2014/main" id="{3C34D637-681B-4F2E-B4B4-E892C32FE534}"/>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9276774" y="2955633"/>
            <a:ext cx="1708622" cy="1708622"/>
          </a:xfrm>
          <a:prstGeom prst="ellipse">
            <a:avLst/>
          </a:prstGeom>
          <a:ln w="63500" cap="rnd">
            <a:solidFill>
              <a:srgbClr val="333333"/>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pic>
        <p:nvPicPr>
          <p:cNvPr id="6" name="Symbol zastępczy obrazu 7">
            <a:extLst>
              <a:ext uri="{FF2B5EF4-FFF2-40B4-BE49-F238E27FC236}">
                <a16:creationId xmlns:a16="http://schemas.microsoft.com/office/drawing/2014/main" id="{EAEDC504-DAEB-4FB4-BDAA-C43B39A72BED}"/>
              </a:ext>
            </a:extLst>
          </p:cNvPr>
          <p:cNvPicPr>
            <a:picLocks noChangeAspect="1"/>
          </p:cNvPicPr>
          <p:nvPr/>
        </p:nvPicPr>
        <p:blipFill>
          <a:blip r:embed="rId3" cstate="print">
            <a:extLst>
              <a:ext uri="{28A0092B-C50C-407E-A947-70E740481C1C}">
                <a14:useLocalDpi xmlns:a14="http://schemas.microsoft.com/office/drawing/2010/main"/>
              </a:ext>
            </a:extLst>
          </a:blip>
          <a:srcRect/>
          <a:stretch/>
        </p:blipFill>
        <p:spPr>
          <a:xfrm>
            <a:off x="6096000" y="1473122"/>
            <a:ext cx="1613175" cy="1481115"/>
          </a:xfrm>
          <a:prstGeom prst="ellipse">
            <a:avLst/>
          </a:prstGeom>
          <a:ln w="63500" cap="rnd">
            <a:solidFill>
              <a:srgbClr val="333333"/>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pic>
        <p:nvPicPr>
          <p:cNvPr id="8" name="Symbol zastępczy obrazu 7">
            <a:extLst>
              <a:ext uri="{FF2B5EF4-FFF2-40B4-BE49-F238E27FC236}">
                <a16:creationId xmlns:a16="http://schemas.microsoft.com/office/drawing/2014/main" id="{BEBC282A-02FD-4444-A31B-CAE05CA2C011}"/>
              </a:ext>
            </a:extLst>
          </p:cNvPr>
          <p:cNvPicPr>
            <a:picLocks noChangeAspect="1"/>
          </p:cNvPicPr>
          <p:nvPr/>
        </p:nvPicPr>
        <p:blipFill>
          <a:blip r:embed="rId4" cstate="print">
            <a:extLst>
              <a:ext uri="{28A0092B-C50C-407E-A947-70E740481C1C}">
                <a14:useLocalDpi xmlns:a14="http://schemas.microsoft.com/office/drawing/2010/main"/>
              </a:ext>
            </a:extLst>
          </a:blip>
          <a:srcRect/>
          <a:stretch/>
        </p:blipFill>
        <p:spPr>
          <a:xfrm>
            <a:off x="6621805" y="4188938"/>
            <a:ext cx="1708622" cy="1481114"/>
          </a:xfrm>
          <a:prstGeom prst="ellipse">
            <a:avLst/>
          </a:prstGeom>
          <a:ln w="63500" cap="rnd">
            <a:solidFill>
              <a:srgbClr val="333333"/>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spTree>
    <p:extLst>
      <p:ext uri="{BB962C8B-B14F-4D97-AF65-F5344CB8AC3E}">
        <p14:creationId xmlns:p14="http://schemas.microsoft.com/office/powerpoint/2010/main" val="32331425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Диаграмма 12">
            <a:extLst>
              <a:ext uri="{FF2B5EF4-FFF2-40B4-BE49-F238E27FC236}">
                <a16:creationId xmlns:a16="http://schemas.microsoft.com/office/drawing/2014/main" id="{622BCF0A-25A0-4F68-8515-078FB5FF27E7}"/>
              </a:ext>
            </a:extLst>
          </p:cNvPr>
          <p:cNvGraphicFramePr/>
          <p:nvPr>
            <p:extLst>
              <p:ext uri="{D42A27DB-BD31-4B8C-83A1-F6EECF244321}">
                <p14:modId xmlns:p14="http://schemas.microsoft.com/office/powerpoint/2010/main" val="3278423843"/>
              </p:ext>
            </p:extLst>
          </p:nvPr>
        </p:nvGraphicFramePr>
        <p:xfrm>
          <a:off x="192089" y="2474286"/>
          <a:ext cx="5903912" cy="3737828"/>
        </p:xfrm>
        <a:graphic>
          <a:graphicData uri="http://schemas.openxmlformats.org/drawingml/2006/chart">
            <c:chart xmlns:c="http://schemas.openxmlformats.org/drawingml/2006/chart" xmlns:r="http://schemas.openxmlformats.org/officeDocument/2006/relationships" r:id="rId2"/>
          </a:graphicData>
        </a:graphic>
      </p:graphicFrame>
      <p:sp>
        <p:nvSpPr>
          <p:cNvPr id="4" name="Slide Number Placeholder 3"/>
          <p:cNvSpPr>
            <a:spLocks noGrp="1"/>
          </p:cNvSpPr>
          <p:nvPr>
            <p:ph type="sldNum" sz="quarter" idx="16"/>
          </p:nvPr>
        </p:nvSpPr>
        <p:spPr/>
        <p:txBody>
          <a:bodyPr/>
          <a:lstStyle/>
          <a:p>
            <a:pPr marL="0" marR="0" lvl="0" indent="0" algn="r" defTabSz="914103" rtl="0" eaLnBrk="1" fontAlgn="auto" latinLnBrk="0" hangingPunct="1">
              <a:lnSpc>
                <a:spcPct val="100000"/>
              </a:lnSpc>
              <a:spcBef>
                <a:spcPts val="0"/>
              </a:spcBef>
              <a:spcAft>
                <a:spcPts val="0"/>
              </a:spcAft>
              <a:buClrTx/>
              <a:buSzTx/>
              <a:buFontTx/>
              <a:buNone/>
              <a:tabLst/>
              <a:defRPr/>
            </a:pPr>
            <a:fld id="{5F3E29E4-0979-4FCA-B4C5-5FC6044C982A}" type="slidenum">
              <a:rPr kumimoji="0" lang="en-US" sz="800" b="0" i="0" u="none" strike="noStrike" kern="1200" cap="none" spc="0" normalizeH="0" baseline="0" noProof="0">
                <a:ln>
                  <a:noFill/>
                </a:ln>
                <a:solidFill>
                  <a:srgbClr val="414549"/>
                </a:solidFill>
                <a:effectLst/>
                <a:uLnTx/>
                <a:uFillTx/>
                <a:latin typeface="Lato"/>
                <a:ea typeface="+mn-ea"/>
                <a:cs typeface="+mn-cs"/>
              </a:rPr>
              <a:pPr marL="0" marR="0" lvl="0" indent="0" algn="r" defTabSz="914103" rtl="0" eaLnBrk="1" fontAlgn="auto" latinLnBrk="0" hangingPunct="1">
                <a:lnSpc>
                  <a:spcPct val="100000"/>
                </a:lnSpc>
                <a:spcBef>
                  <a:spcPts val="0"/>
                </a:spcBef>
                <a:spcAft>
                  <a:spcPts val="0"/>
                </a:spcAft>
                <a:buClrTx/>
                <a:buSzTx/>
                <a:buFontTx/>
                <a:buNone/>
                <a:tabLst/>
                <a:defRPr/>
              </a:pPr>
              <a:t>20</a:t>
            </a:fld>
            <a:endParaRPr kumimoji="0" lang="en-US" sz="800" b="0" i="0" u="none" strike="noStrike" kern="1200" cap="none" spc="0" normalizeH="0" baseline="0" noProof="0">
              <a:ln>
                <a:noFill/>
              </a:ln>
              <a:solidFill>
                <a:srgbClr val="414549"/>
              </a:solidFill>
              <a:effectLst/>
              <a:uLnTx/>
              <a:uFillTx/>
              <a:latin typeface="Lato"/>
              <a:ea typeface="+mn-ea"/>
              <a:cs typeface="+mn-cs"/>
            </a:endParaRPr>
          </a:p>
        </p:txBody>
      </p:sp>
      <p:sp>
        <p:nvSpPr>
          <p:cNvPr id="21" name="Textfeld 19">
            <a:extLst>
              <a:ext uri="{FF2B5EF4-FFF2-40B4-BE49-F238E27FC236}">
                <a16:creationId xmlns:a16="http://schemas.microsoft.com/office/drawing/2014/main" id="{D1BE6EB5-6F23-4504-825B-982372097596}"/>
              </a:ext>
            </a:extLst>
          </p:cNvPr>
          <p:cNvSpPr txBox="1"/>
          <p:nvPr/>
        </p:nvSpPr>
        <p:spPr>
          <a:xfrm>
            <a:off x="1589370" y="1939542"/>
            <a:ext cx="5554816" cy="489891"/>
          </a:xfrm>
          <a:prstGeom prst="rect">
            <a:avLst/>
          </a:prstGeom>
          <a:noFill/>
        </p:spPr>
        <p:txBody>
          <a:bodyPr wrap="square" lIns="35989" tIns="0" rIns="0" bIns="0" rtlCol="0">
            <a:noAutofit/>
          </a:bodyPr>
          <a:lstStyle/>
          <a:p>
            <a:pPr marL="0" marR="0" lvl="0" indent="0" algn="l" defTabSz="914103" rtl="0" eaLnBrk="1" fontAlgn="auto" latinLnBrk="0" hangingPunct="1">
              <a:lnSpc>
                <a:spcPct val="125000"/>
              </a:lnSpc>
              <a:spcBef>
                <a:spcPts val="0"/>
              </a:spcBef>
              <a:spcAft>
                <a:spcPts val="0"/>
              </a:spcAft>
              <a:buClr>
                <a:srgbClr val="E55A00"/>
              </a:buClr>
              <a:buSzTx/>
              <a:buFontTx/>
              <a:buNone/>
              <a:tabLst/>
              <a:defRPr/>
            </a:pPr>
            <a:r>
              <a:rPr kumimoji="0" lang="en-US" sz="1200" b="0" i="0" u="none" strike="noStrike" kern="1200" cap="none" spc="0" normalizeH="0" baseline="0" noProof="0" dirty="0">
                <a:ln>
                  <a:noFill/>
                </a:ln>
                <a:solidFill>
                  <a:srgbClr val="414549"/>
                </a:solidFill>
                <a:effectLst/>
                <a:uLnTx/>
                <a:uFillTx/>
                <a:latin typeface="Lato"/>
                <a:ea typeface="+mn-ea"/>
                <a:cs typeface="+mn-cs"/>
              </a:rPr>
              <a:t>Dynamics of sales of TCG products Sales value% to previous year</a:t>
            </a:r>
          </a:p>
        </p:txBody>
      </p:sp>
      <p:sp>
        <p:nvSpPr>
          <p:cNvPr id="22" name="Pfeil: nach unten 12">
            <a:extLst>
              <a:ext uri="{FF2B5EF4-FFF2-40B4-BE49-F238E27FC236}">
                <a16:creationId xmlns:a16="http://schemas.microsoft.com/office/drawing/2014/main" id="{4088694B-1182-4444-87EB-D672A8B0446F}"/>
              </a:ext>
            </a:extLst>
          </p:cNvPr>
          <p:cNvSpPr/>
          <p:nvPr/>
        </p:nvSpPr>
        <p:spPr>
          <a:xfrm>
            <a:off x="5833082" y="2439613"/>
            <a:ext cx="262918" cy="1522787"/>
          </a:xfrm>
          <a:prstGeom prst="downArrow">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1978" tIns="35989" rIns="71978" bIns="35989" rtlCol="0" anchor="ctr"/>
          <a:lstStyle/>
          <a:p>
            <a:pPr marL="0" marR="0" lvl="0" indent="0" algn="ctr" defTabSz="914103" rtl="0" eaLnBrk="1" fontAlgn="auto" latinLnBrk="0" hangingPunct="1">
              <a:lnSpc>
                <a:spcPct val="125000"/>
              </a:lnSpc>
              <a:spcBef>
                <a:spcPts val="0"/>
              </a:spcBef>
              <a:spcAft>
                <a:spcPts val="0"/>
              </a:spcAft>
              <a:buClrTx/>
              <a:buSzTx/>
              <a:buFontTx/>
              <a:buNone/>
              <a:tabLst/>
              <a:defRPr/>
            </a:pPr>
            <a:endParaRPr kumimoji="0" lang="de-DE" sz="1599" b="0" i="0" u="none" strike="noStrike" kern="1200" cap="none" spc="0" normalizeH="0" baseline="0" noProof="0" dirty="0">
              <a:ln>
                <a:noFill/>
              </a:ln>
              <a:solidFill>
                <a:srgbClr val="FFFFFF"/>
              </a:solidFill>
              <a:effectLst/>
              <a:uLnTx/>
              <a:uFillTx/>
              <a:latin typeface="Lato"/>
              <a:ea typeface="+mn-ea"/>
              <a:cs typeface="+mn-cs"/>
            </a:endParaRPr>
          </a:p>
        </p:txBody>
      </p:sp>
      <p:sp>
        <p:nvSpPr>
          <p:cNvPr id="28" name="Textfeld 20">
            <a:extLst>
              <a:ext uri="{FF2B5EF4-FFF2-40B4-BE49-F238E27FC236}">
                <a16:creationId xmlns:a16="http://schemas.microsoft.com/office/drawing/2014/main" id="{AA61A295-6B42-425B-9FE5-BFA56A1E0495}"/>
              </a:ext>
            </a:extLst>
          </p:cNvPr>
          <p:cNvSpPr txBox="1"/>
          <p:nvPr/>
        </p:nvSpPr>
        <p:spPr>
          <a:xfrm>
            <a:off x="5162441" y="2218500"/>
            <a:ext cx="1386659" cy="230897"/>
          </a:xfrm>
          <a:prstGeom prst="rect">
            <a:avLst/>
          </a:prstGeom>
          <a:noFill/>
        </p:spPr>
        <p:txBody>
          <a:bodyPr wrap="square" lIns="0" tIns="0" rIns="0" bIns="0" rtlCol="0">
            <a:noAutofit/>
          </a:bodyPr>
          <a:lstStyle/>
          <a:p>
            <a:pPr marL="0" marR="0" lvl="0" indent="0" algn="ctr" defTabSz="914103" rtl="0" eaLnBrk="1" fontAlgn="auto" latinLnBrk="0" hangingPunct="1">
              <a:lnSpc>
                <a:spcPct val="125000"/>
              </a:lnSpc>
              <a:spcBef>
                <a:spcPts val="0"/>
              </a:spcBef>
              <a:spcAft>
                <a:spcPts val="0"/>
              </a:spcAft>
              <a:buClr>
                <a:srgbClr val="E55A00"/>
              </a:buClr>
              <a:buSzTx/>
              <a:buFontTx/>
              <a:buNone/>
              <a:tabLst/>
              <a:defRPr/>
            </a:pPr>
            <a:r>
              <a:rPr kumimoji="0" lang="en-US" sz="1200" b="0" i="0" u="none" strike="noStrike" kern="1200" cap="none" spc="0" normalizeH="0" baseline="0" noProof="0" dirty="0">
                <a:ln>
                  <a:noFill/>
                </a:ln>
                <a:solidFill>
                  <a:srgbClr val="E55A00"/>
                </a:solidFill>
                <a:effectLst/>
                <a:uLnTx/>
                <a:uFillTx/>
                <a:latin typeface="Lato"/>
                <a:ea typeface="+mn-ea"/>
                <a:cs typeface="+mn-cs"/>
              </a:rPr>
              <a:t>Lockdown</a:t>
            </a:r>
            <a:r>
              <a:rPr kumimoji="0" lang="ru-RU" sz="1200" b="0" i="0" u="none" strike="noStrike" kern="1200" cap="none" spc="0" normalizeH="0" baseline="0" noProof="0" dirty="0">
                <a:ln>
                  <a:noFill/>
                </a:ln>
                <a:solidFill>
                  <a:srgbClr val="E55A00"/>
                </a:solidFill>
                <a:effectLst/>
                <a:uLnTx/>
                <a:uFillTx/>
                <a:latin typeface="Lato"/>
                <a:ea typeface="+mn-ea"/>
                <a:cs typeface="+mn-cs"/>
              </a:rPr>
              <a:t> </a:t>
            </a:r>
            <a:r>
              <a:rPr kumimoji="0" lang="de-DE" sz="1200" b="0" i="0" u="none" strike="noStrike" kern="1200" cap="none" spc="0" normalizeH="0" baseline="0" noProof="0" dirty="0">
                <a:ln>
                  <a:noFill/>
                </a:ln>
                <a:solidFill>
                  <a:srgbClr val="E55A00"/>
                </a:solidFill>
                <a:effectLst/>
                <a:uLnTx/>
                <a:uFillTx/>
                <a:latin typeface="Lato"/>
                <a:ea typeface="+mn-ea"/>
                <a:cs typeface="+mn-cs"/>
              </a:rPr>
              <a:t>CW</a:t>
            </a:r>
            <a:r>
              <a:rPr kumimoji="0" lang="ru-RU" sz="1200" b="0" i="0" u="none" strike="noStrike" kern="1200" cap="none" spc="0" normalizeH="0" baseline="0" noProof="0" dirty="0">
                <a:ln>
                  <a:noFill/>
                </a:ln>
                <a:solidFill>
                  <a:srgbClr val="E55A00"/>
                </a:solidFill>
                <a:effectLst/>
                <a:uLnTx/>
                <a:uFillTx/>
                <a:latin typeface="Lato"/>
                <a:ea typeface="+mn-ea"/>
                <a:cs typeface="+mn-cs"/>
              </a:rPr>
              <a:t>14</a:t>
            </a:r>
            <a:endParaRPr kumimoji="0" lang="de-DE" sz="1200" b="0" i="0" u="none" strike="noStrike" kern="1200" cap="none" spc="0" normalizeH="0" baseline="0" noProof="0" dirty="0">
              <a:ln>
                <a:noFill/>
              </a:ln>
              <a:solidFill>
                <a:srgbClr val="E55A00"/>
              </a:solidFill>
              <a:effectLst/>
              <a:uLnTx/>
              <a:uFillTx/>
              <a:latin typeface="Lato"/>
              <a:ea typeface="+mn-ea"/>
              <a:cs typeface="+mn-cs"/>
            </a:endParaRPr>
          </a:p>
        </p:txBody>
      </p:sp>
      <p:sp>
        <p:nvSpPr>
          <p:cNvPr id="29" name="Pfeil: nach unten 12">
            <a:extLst>
              <a:ext uri="{FF2B5EF4-FFF2-40B4-BE49-F238E27FC236}">
                <a16:creationId xmlns:a16="http://schemas.microsoft.com/office/drawing/2014/main" id="{5C6C3027-143D-4C5B-970A-3AC851DD8A34}"/>
              </a:ext>
            </a:extLst>
          </p:cNvPr>
          <p:cNvSpPr/>
          <p:nvPr/>
        </p:nvSpPr>
        <p:spPr>
          <a:xfrm>
            <a:off x="4854889" y="2471385"/>
            <a:ext cx="184774" cy="372620"/>
          </a:xfrm>
          <a:prstGeom prst="downArrow">
            <a:avLst/>
          </a:prstGeom>
          <a:solidFill>
            <a:srgbClr val="6D816D"/>
          </a:solidFill>
          <a:ln>
            <a:noFill/>
          </a:ln>
        </p:spPr>
        <p:style>
          <a:lnRef idx="2">
            <a:schemeClr val="accent1">
              <a:shade val="50000"/>
            </a:schemeClr>
          </a:lnRef>
          <a:fillRef idx="1">
            <a:schemeClr val="accent1"/>
          </a:fillRef>
          <a:effectRef idx="0">
            <a:schemeClr val="accent1"/>
          </a:effectRef>
          <a:fontRef idx="minor">
            <a:schemeClr val="lt1"/>
          </a:fontRef>
        </p:style>
        <p:txBody>
          <a:bodyPr lIns="71978" tIns="35989" rIns="71978" bIns="35989" rtlCol="0" anchor="ctr"/>
          <a:lstStyle/>
          <a:p>
            <a:pPr marL="0" marR="0" lvl="0" indent="0" algn="ctr" defTabSz="914103" rtl="0" eaLnBrk="1" fontAlgn="auto" latinLnBrk="0" hangingPunct="1">
              <a:lnSpc>
                <a:spcPct val="125000"/>
              </a:lnSpc>
              <a:spcBef>
                <a:spcPts val="0"/>
              </a:spcBef>
              <a:spcAft>
                <a:spcPts val="0"/>
              </a:spcAft>
              <a:buClrTx/>
              <a:buSzTx/>
              <a:buFontTx/>
              <a:buNone/>
              <a:tabLst/>
              <a:defRPr/>
            </a:pPr>
            <a:endParaRPr kumimoji="0" lang="de-DE" sz="1599" b="0" i="0" u="none" strike="noStrike" kern="1200" cap="none" spc="0" normalizeH="0" baseline="0" noProof="0" dirty="0">
              <a:ln>
                <a:noFill/>
              </a:ln>
              <a:solidFill>
                <a:srgbClr val="FFFFFF"/>
              </a:solidFill>
              <a:effectLst/>
              <a:uLnTx/>
              <a:uFillTx/>
              <a:latin typeface="Lato"/>
              <a:ea typeface="+mn-ea"/>
              <a:cs typeface="+mn-cs"/>
            </a:endParaRPr>
          </a:p>
        </p:txBody>
      </p:sp>
      <p:sp>
        <p:nvSpPr>
          <p:cNvPr id="30" name="Textfeld 20">
            <a:extLst>
              <a:ext uri="{FF2B5EF4-FFF2-40B4-BE49-F238E27FC236}">
                <a16:creationId xmlns:a16="http://schemas.microsoft.com/office/drawing/2014/main" id="{44FEBB2A-04D9-46CA-A1A5-B96F49F83603}"/>
              </a:ext>
            </a:extLst>
          </p:cNvPr>
          <p:cNvSpPr txBox="1"/>
          <p:nvPr/>
        </p:nvSpPr>
        <p:spPr>
          <a:xfrm>
            <a:off x="3397916" y="2232564"/>
            <a:ext cx="1386659" cy="461793"/>
          </a:xfrm>
          <a:prstGeom prst="rect">
            <a:avLst/>
          </a:prstGeom>
          <a:noFill/>
        </p:spPr>
        <p:txBody>
          <a:bodyPr wrap="square" lIns="0" tIns="0" rIns="0" bIns="0" rtlCol="0">
            <a:noAutofit/>
          </a:bodyPr>
          <a:lstStyle/>
          <a:p>
            <a:pPr marL="0" marR="0" lvl="0" indent="0" algn="r" defTabSz="914103" rtl="0" eaLnBrk="1" fontAlgn="auto" latinLnBrk="0" hangingPunct="1">
              <a:lnSpc>
                <a:spcPct val="100000"/>
              </a:lnSpc>
              <a:spcBef>
                <a:spcPts val="0"/>
              </a:spcBef>
              <a:spcAft>
                <a:spcPts val="0"/>
              </a:spcAft>
              <a:buClr>
                <a:srgbClr val="E55A00"/>
              </a:buClr>
              <a:buSzTx/>
              <a:buFontTx/>
              <a:buNone/>
              <a:tabLst/>
              <a:defRPr/>
            </a:pPr>
            <a:r>
              <a:rPr kumimoji="0" lang="en-US" sz="1200" b="0" i="0" u="none" strike="noStrike" kern="1200" cap="none" spc="0" normalizeH="0" baseline="0" noProof="0" dirty="0">
                <a:ln>
                  <a:noFill/>
                </a:ln>
                <a:solidFill>
                  <a:srgbClr val="496249"/>
                </a:solidFill>
                <a:effectLst/>
                <a:uLnTx/>
                <a:uFillTx/>
                <a:latin typeface="Lato"/>
                <a:ea typeface="+mn-ea"/>
                <a:cs typeface="+mn-cs"/>
              </a:rPr>
              <a:t>Ruble devaluation</a:t>
            </a:r>
            <a:r>
              <a:rPr kumimoji="0" lang="ru-RU" sz="1200" b="0" i="0" u="none" strike="noStrike" kern="1200" cap="none" spc="0" normalizeH="0" baseline="0" noProof="0" dirty="0">
                <a:ln>
                  <a:noFill/>
                </a:ln>
                <a:solidFill>
                  <a:srgbClr val="496249"/>
                </a:solidFill>
                <a:effectLst/>
                <a:uLnTx/>
                <a:uFillTx/>
                <a:latin typeface="Lato"/>
                <a:ea typeface="+mn-ea"/>
                <a:cs typeface="+mn-cs"/>
              </a:rPr>
              <a:t> </a:t>
            </a:r>
            <a:r>
              <a:rPr kumimoji="0" lang="en-US" sz="1200" b="0" i="0" u="none" strike="noStrike" kern="1200" cap="none" spc="0" normalizeH="0" baseline="0" noProof="0" dirty="0">
                <a:ln>
                  <a:noFill/>
                </a:ln>
                <a:solidFill>
                  <a:srgbClr val="496249"/>
                </a:solidFill>
                <a:effectLst/>
                <a:uLnTx/>
                <a:uFillTx/>
                <a:latin typeface="Lato"/>
                <a:ea typeface="+mn-ea"/>
                <a:cs typeface="+mn-cs"/>
              </a:rPr>
              <a:t>CW11</a:t>
            </a:r>
            <a:endParaRPr kumimoji="0" lang="de-DE" sz="1200" b="0" i="0" u="none" strike="noStrike" kern="1200" cap="none" spc="0" normalizeH="0" baseline="0" noProof="0" dirty="0">
              <a:ln>
                <a:noFill/>
              </a:ln>
              <a:solidFill>
                <a:srgbClr val="496249"/>
              </a:solidFill>
              <a:effectLst/>
              <a:uLnTx/>
              <a:uFillTx/>
              <a:latin typeface="Lato"/>
              <a:ea typeface="+mn-ea"/>
              <a:cs typeface="+mn-cs"/>
            </a:endParaRPr>
          </a:p>
        </p:txBody>
      </p:sp>
      <p:pic>
        <p:nvPicPr>
          <p:cNvPr id="7" name="Рисунок 6"/>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6737640" y="2169779"/>
            <a:ext cx="4815731" cy="3439843"/>
          </a:xfrm>
          <a:prstGeom prst="rect">
            <a:avLst/>
          </a:prstGeom>
          <a:effectLst>
            <a:outerShdw blurRad="50800" dist="127000" dir="8100000" algn="tr" rotWithShape="0">
              <a:prstClr val="black">
                <a:alpha val="40000"/>
              </a:prstClr>
            </a:outerShdw>
          </a:effectLst>
        </p:spPr>
      </p:pic>
      <p:sp>
        <p:nvSpPr>
          <p:cNvPr id="16" name="Заголовок 2">
            <a:extLst>
              <a:ext uri="{FF2B5EF4-FFF2-40B4-BE49-F238E27FC236}">
                <a16:creationId xmlns:a16="http://schemas.microsoft.com/office/drawing/2014/main" id="{4B325C09-69EA-46FB-8754-5118573E1647}"/>
              </a:ext>
            </a:extLst>
          </p:cNvPr>
          <p:cNvSpPr>
            <a:spLocks noGrp="1"/>
          </p:cNvSpPr>
          <p:nvPr>
            <p:ph type="title"/>
          </p:nvPr>
        </p:nvSpPr>
        <p:spPr>
          <a:xfrm>
            <a:off x="1075061" y="288923"/>
            <a:ext cx="9700939" cy="648000"/>
          </a:xfrm>
        </p:spPr>
        <p:txBody>
          <a:bodyPr/>
          <a:lstStyle/>
          <a:p>
            <a:r>
              <a:rPr lang="en-US" dirty="0"/>
              <a:t>Pre-lockdown period in Russia</a:t>
            </a:r>
          </a:p>
        </p:txBody>
      </p:sp>
      <p:sp>
        <p:nvSpPr>
          <p:cNvPr id="17" name="Подзаголовок 7">
            <a:extLst>
              <a:ext uri="{FF2B5EF4-FFF2-40B4-BE49-F238E27FC236}">
                <a16:creationId xmlns:a16="http://schemas.microsoft.com/office/drawing/2014/main" id="{4419D389-DF5F-4E9C-88C6-78B15EA77951}"/>
              </a:ext>
            </a:extLst>
          </p:cNvPr>
          <p:cNvSpPr>
            <a:spLocks noGrp="1"/>
          </p:cNvSpPr>
          <p:nvPr>
            <p:ph type="subTitle" idx="13"/>
          </p:nvPr>
        </p:nvSpPr>
        <p:spPr>
          <a:xfrm>
            <a:off x="1084424" y="1020125"/>
            <a:ext cx="9816557" cy="457588"/>
          </a:xfrm>
        </p:spPr>
        <p:txBody>
          <a:bodyPr/>
          <a:lstStyle/>
          <a:p>
            <a:r>
              <a:rPr lang="en-US" dirty="0">
                <a:solidFill>
                  <a:schemeClr val="tx2"/>
                </a:solidFill>
                <a:ea typeface="Lato" panose="020F0502020204030203" pitchFamily="34" charset="0"/>
                <a:cs typeface="Lato" panose="020F0502020204030203" pitchFamily="34" charset="0"/>
              </a:rPr>
              <a:t>Ruble weakening resulted in increased demand for TCG products.</a:t>
            </a:r>
          </a:p>
        </p:txBody>
      </p:sp>
      <p:sp>
        <p:nvSpPr>
          <p:cNvPr id="14" name="Текст 4">
            <a:extLst>
              <a:ext uri="{FF2B5EF4-FFF2-40B4-BE49-F238E27FC236}">
                <a16:creationId xmlns:a16="http://schemas.microsoft.com/office/drawing/2014/main" id="{1D765EA6-091F-447C-92E3-713D342B6A29}"/>
              </a:ext>
            </a:extLst>
          </p:cNvPr>
          <p:cNvSpPr txBox="1">
            <a:spLocks/>
          </p:cNvSpPr>
          <p:nvPr/>
        </p:nvSpPr>
        <p:spPr bwMode="gray">
          <a:xfrm>
            <a:off x="431371" y="6509666"/>
            <a:ext cx="11328400" cy="192616"/>
          </a:xfrm>
          <a:prstGeom prst="rect">
            <a:avLst/>
          </a:prstGeom>
        </p:spPr>
        <p:txBody>
          <a:bodyPr vert="horz" lIns="0" tIns="0" rIns="0" bIns="36000" rtlCol="0" anchor="b" anchorCtr="0">
            <a:noAutofit/>
          </a:bodyPr>
          <a:lstStyle>
            <a:lvl1pPr marL="0" marR="0" indent="0" algn="l" defTabSz="1219170" rtl="0" eaLnBrk="1" fontAlgn="auto" latinLnBrk="0" hangingPunct="1">
              <a:lnSpc>
                <a:spcPct val="100000"/>
              </a:lnSpc>
              <a:spcBef>
                <a:spcPts val="0"/>
              </a:spcBef>
              <a:spcAft>
                <a:spcPts val="0"/>
              </a:spcAft>
              <a:buClrTx/>
              <a:buSzTx/>
              <a:buFont typeface="Arial" pitchFamily="34" charset="0"/>
              <a:buNone/>
              <a:tabLst/>
              <a:defRPr lang="de-DE" sz="1067" kern="1200" baseline="0" noProof="0" smtClean="0">
                <a:solidFill>
                  <a:schemeClr val="bg2"/>
                </a:solidFill>
                <a:latin typeface="Arial" pitchFamily="34" charset="0"/>
                <a:ea typeface="+mn-ea"/>
                <a:cs typeface="Arial" pitchFamily="34" charset="0"/>
              </a:defRPr>
            </a:lvl1pPr>
            <a:lvl2pPr marL="0" indent="0" algn="l" defTabSz="914400" rtl="0" eaLnBrk="1" latinLnBrk="0" hangingPunct="1">
              <a:lnSpc>
                <a:spcPct val="100000"/>
              </a:lnSpc>
              <a:spcBef>
                <a:spcPts val="0"/>
              </a:spcBef>
              <a:buClr>
                <a:schemeClr val="tx2"/>
              </a:buClr>
              <a:buFont typeface="Arial" panose="020B0604020202020204" pitchFamily="34" charset="0"/>
              <a:buNone/>
              <a:defRPr lang="de-DE" sz="1067" kern="1200" baseline="0" noProof="0" smtClean="0">
                <a:solidFill>
                  <a:schemeClr val="bg2"/>
                </a:solidFill>
                <a:latin typeface="Arial" pitchFamily="34" charset="0"/>
                <a:ea typeface="+mn-ea"/>
                <a:cs typeface="Arial" pitchFamily="34" charset="0"/>
              </a:defRPr>
            </a:lvl2pPr>
            <a:lvl3pPr marL="0" indent="0" algn="l" defTabSz="914400" rtl="0" eaLnBrk="1" latinLnBrk="0" hangingPunct="1">
              <a:lnSpc>
                <a:spcPct val="100000"/>
              </a:lnSpc>
              <a:spcBef>
                <a:spcPts val="0"/>
              </a:spcBef>
              <a:buClr>
                <a:schemeClr val="tx2"/>
              </a:buClr>
              <a:buFont typeface="Wingdings" panose="05000000000000000000" pitchFamily="2" charset="2"/>
              <a:buNone/>
              <a:defRPr lang="de-DE" sz="1067" kern="1200" baseline="0" noProof="0" smtClean="0">
                <a:solidFill>
                  <a:schemeClr val="bg2"/>
                </a:solidFill>
                <a:latin typeface="Arial" pitchFamily="34" charset="0"/>
                <a:ea typeface="+mn-ea"/>
                <a:cs typeface="Arial" pitchFamily="34" charset="0"/>
              </a:defRPr>
            </a:lvl3pPr>
            <a:lvl4pPr marL="0" indent="0" algn="l" defTabSz="914400" rtl="0" eaLnBrk="1" latinLnBrk="0" hangingPunct="1">
              <a:lnSpc>
                <a:spcPct val="100000"/>
              </a:lnSpc>
              <a:spcBef>
                <a:spcPts val="0"/>
              </a:spcBef>
              <a:buClr>
                <a:schemeClr val="tx2"/>
              </a:buClr>
              <a:buFont typeface="Lato" panose="020F0502020204030203" pitchFamily="34" charset="0"/>
              <a:buNone/>
              <a:defRPr lang="de-DE" sz="1067" kern="1200" baseline="0" noProof="0" smtClean="0">
                <a:solidFill>
                  <a:schemeClr val="bg2"/>
                </a:solidFill>
                <a:latin typeface="Arial" pitchFamily="34" charset="0"/>
                <a:ea typeface="+mn-ea"/>
                <a:cs typeface="Arial" pitchFamily="34" charset="0"/>
              </a:defRPr>
            </a:lvl4pPr>
            <a:lvl5pPr marL="0" indent="0" algn="l" defTabSz="914400" rtl="0" eaLnBrk="1" latinLnBrk="0" hangingPunct="1">
              <a:lnSpc>
                <a:spcPct val="100000"/>
              </a:lnSpc>
              <a:spcBef>
                <a:spcPts val="0"/>
              </a:spcBef>
              <a:buClr>
                <a:schemeClr val="tx2"/>
              </a:buClr>
              <a:buFont typeface="Wingdings" panose="05000000000000000000" pitchFamily="2" charset="2"/>
              <a:buNone/>
              <a:defRPr lang="de-DE" sz="1067" kern="1200" baseline="0" noProof="0" smtClean="0">
                <a:solidFill>
                  <a:schemeClr val="bg2"/>
                </a:solidFill>
                <a:latin typeface="Arial" pitchFamily="34" charset="0"/>
                <a:ea typeface="+mn-ea"/>
                <a:cs typeface="Arial" pitchFamily="34" charset="0"/>
              </a:defRPr>
            </a:lvl5pPr>
            <a:lvl6pPr marL="0" indent="0" algn="l" defTabSz="914400" rtl="0" eaLnBrk="1" latinLnBrk="0" hangingPunct="1">
              <a:lnSpc>
                <a:spcPct val="100000"/>
              </a:lnSpc>
              <a:spcBef>
                <a:spcPts val="0"/>
              </a:spcBef>
              <a:buFont typeface="Arial" panose="020B0604020202020204" pitchFamily="34" charset="0"/>
              <a:buNone/>
              <a:defRPr lang="de-DE" sz="1067" kern="1200" baseline="0" noProof="0" smtClean="0">
                <a:solidFill>
                  <a:schemeClr val="bg2"/>
                </a:solidFill>
                <a:latin typeface="Arial" pitchFamily="34" charset="0"/>
                <a:ea typeface="+mn-ea"/>
                <a:cs typeface="Arial" pitchFamily="34" charset="0"/>
              </a:defRPr>
            </a:lvl6pPr>
            <a:lvl7pPr marL="0" indent="0" algn="l" defTabSz="914400" rtl="0" eaLnBrk="1" latinLnBrk="0" hangingPunct="1">
              <a:lnSpc>
                <a:spcPct val="100000"/>
              </a:lnSpc>
              <a:spcBef>
                <a:spcPts val="0"/>
              </a:spcBef>
              <a:buFont typeface="Arial" panose="020B0604020202020204" pitchFamily="34" charset="0"/>
              <a:buNone/>
              <a:defRPr lang="de-DE" sz="1067" kern="1200" baseline="0" noProof="0" dirty="0" smtClean="0">
                <a:solidFill>
                  <a:schemeClr val="bg2"/>
                </a:solidFill>
                <a:latin typeface="Arial" pitchFamily="34" charset="0"/>
                <a:ea typeface="+mn-ea"/>
                <a:cs typeface="Arial" pitchFamily="34" charset="0"/>
              </a:defRPr>
            </a:lvl7pPr>
            <a:lvl8pPr marL="0" indent="0" algn="l" defTabSz="914400" rtl="0" eaLnBrk="1" latinLnBrk="0" hangingPunct="1">
              <a:lnSpc>
                <a:spcPct val="100000"/>
              </a:lnSpc>
              <a:spcBef>
                <a:spcPts val="0"/>
              </a:spcBef>
              <a:buFont typeface="Arial" panose="020B0604020202020204" pitchFamily="34" charset="0"/>
              <a:buNone/>
              <a:defRPr lang="de-DE" sz="1067" kern="1200" baseline="0" noProof="0" smtClean="0">
                <a:solidFill>
                  <a:schemeClr val="bg2"/>
                </a:solidFill>
                <a:latin typeface="Arial" pitchFamily="34" charset="0"/>
                <a:ea typeface="+mn-ea"/>
                <a:cs typeface="Arial" pitchFamily="34" charset="0"/>
              </a:defRPr>
            </a:lvl8pPr>
            <a:lvl9pPr marL="0" indent="0" algn="l" defTabSz="914400" rtl="0" eaLnBrk="1" latinLnBrk="0" hangingPunct="1">
              <a:lnSpc>
                <a:spcPct val="100000"/>
              </a:lnSpc>
              <a:spcBef>
                <a:spcPts val="0"/>
              </a:spcBef>
              <a:buFont typeface="Arial" panose="020B0604020202020204" pitchFamily="34" charset="0"/>
              <a:buNone/>
              <a:defRPr lang="de-DE" sz="1067" kern="1200" baseline="0" noProof="0" smtClean="0">
                <a:solidFill>
                  <a:schemeClr val="bg2"/>
                </a:solidFill>
                <a:latin typeface="Arial" pitchFamily="34" charset="0"/>
                <a:ea typeface="+mn-ea"/>
                <a:cs typeface="Arial" pitchFamily="34" charset="0"/>
              </a:defRPr>
            </a:lvl9pPr>
          </a:lstStyle>
          <a:p>
            <a:pPr marL="0" marR="0" lvl="0" indent="0" algn="l" defTabSz="1219170" rtl="0" eaLnBrk="1" fontAlgn="auto" latinLnBrk="0" hangingPunct="1">
              <a:lnSpc>
                <a:spcPct val="100000"/>
              </a:lnSpc>
              <a:spcBef>
                <a:spcPts val="0"/>
              </a:spcBef>
              <a:spcAft>
                <a:spcPts val="0"/>
              </a:spcAft>
              <a:buClrTx/>
              <a:buSzTx/>
              <a:buFont typeface="Arial" pitchFamily="34" charset="0"/>
              <a:buNone/>
              <a:tabLst/>
              <a:defRPr/>
            </a:pPr>
            <a:r>
              <a:rPr kumimoji="0" lang="en-US" sz="1067" b="0" i="0" u="none" strike="noStrike" kern="1200" cap="none" spc="0" normalizeH="0" baseline="0" noProof="0" dirty="0">
                <a:ln>
                  <a:noFill/>
                </a:ln>
                <a:solidFill>
                  <a:schemeClr val="tx1">
                    <a:lumMod val="75000"/>
                  </a:schemeClr>
                </a:solidFill>
                <a:effectLst/>
                <a:uLnTx/>
                <a:uFillTx/>
                <a:latin typeface="Arial" pitchFamily="34" charset="0"/>
                <a:ea typeface="+mn-ea"/>
                <a:cs typeface="Arial" pitchFamily="34" charset="0"/>
              </a:rPr>
              <a:t>Source: GfK POS </a:t>
            </a:r>
          </a:p>
        </p:txBody>
      </p:sp>
    </p:spTree>
    <p:extLst>
      <p:ext uri="{BB962C8B-B14F-4D97-AF65-F5344CB8AC3E}">
        <p14:creationId xmlns:p14="http://schemas.microsoft.com/office/powerpoint/2010/main" val="1427417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p:cNvPicPr>
          <p:nvPr/>
        </p:nvPicPr>
        <p:blipFill>
          <a:blip r:embed="rId2">
            <a:extLst>
              <a:ext uri="{28A0092B-C50C-407E-A947-70E740481C1C}">
                <a14:useLocalDpi xmlns:a14="http://schemas.microsoft.com/office/drawing/2010/main"/>
              </a:ext>
            </a:extLst>
          </a:blip>
          <a:stretch>
            <a:fillRect/>
          </a:stretch>
        </p:blipFill>
        <p:spPr>
          <a:xfrm>
            <a:off x="1881" y="-1"/>
            <a:ext cx="12188238" cy="6858001"/>
          </a:xfrm>
          <a:prstGeom prst="rect">
            <a:avLst/>
          </a:prstGeom>
          <a:ln>
            <a:noFill/>
          </a:ln>
        </p:spPr>
      </p:pic>
      <p:sp>
        <p:nvSpPr>
          <p:cNvPr id="3" name="RCI_QVW_ID_002" hidden="1"/>
          <p:cNvSpPr txBox="1"/>
          <p:nvPr/>
        </p:nvSpPr>
        <p:spPr>
          <a:xfrm>
            <a:off x="1882" y="-1"/>
            <a:ext cx="639919" cy="112788"/>
          </a:xfrm>
          <a:prstGeom prst="rect">
            <a:avLst/>
          </a:prstGeom>
          <a:noFill/>
        </p:spPr>
        <p:txBody>
          <a:bodyPr vert="horz" wrap="none" rtlCol="0">
            <a:spAutoFit/>
          </a:bodyPr>
          <a:lstStyle/>
          <a:p>
            <a:pPr defTabSz="1218804"/>
            <a:r>
              <a:rPr lang="de-DE" sz="133">
                <a:solidFill>
                  <a:srgbClr val="FFFFFF"/>
                </a:solidFill>
                <a:latin typeface="Arial"/>
              </a:rPr>
              <a:t>PRJ 243677 - RG 5504594 - RP 37962725 - ID 572019887</a:t>
            </a:r>
          </a:p>
        </p:txBody>
      </p:sp>
      <p:sp>
        <p:nvSpPr>
          <p:cNvPr id="4" name="RCI_QVW_ChartName_003" hidden="1"/>
          <p:cNvSpPr txBox="1"/>
          <p:nvPr/>
        </p:nvSpPr>
        <p:spPr>
          <a:xfrm>
            <a:off x="1881" y="-1"/>
            <a:ext cx="264816" cy="112788"/>
          </a:xfrm>
          <a:prstGeom prst="rect">
            <a:avLst/>
          </a:prstGeom>
          <a:noFill/>
        </p:spPr>
        <p:txBody>
          <a:bodyPr vert="horz" wrap="none" rtlCol="0">
            <a:spAutoFit/>
          </a:bodyPr>
          <a:lstStyle/>
          <a:p>
            <a:pPr defTabSz="1218804"/>
            <a:r>
              <a:rPr lang="de-DE" sz="133">
                <a:solidFill>
                  <a:srgbClr val="FFFFFF"/>
                </a:solidFill>
                <a:latin typeface="Arial"/>
              </a:rPr>
              <a:t>TH1 / SH1</a:t>
            </a:r>
          </a:p>
        </p:txBody>
      </p:sp>
      <p:sp>
        <p:nvSpPr>
          <p:cNvPr id="5" name="RCI_QVW_ChartFile_004" hidden="1"/>
          <p:cNvSpPr txBox="1"/>
          <p:nvPr/>
        </p:nvSpPr>
        <p:spPr>
          <a:xfrm>
            <a:off x="1882" y="-1"/>
            <a:ext cx="184731" cy="112788"/>
          </a:xfrm>
          <a:prstGeom prst="rect">
            <a:avLst/>
          </a:prstGeom>
          <a:noFill/>
        </p:spPr>
        <p:txBody>
          <a:bodyPr vert="horz" wrap="none" rtlCol="0">
            <a:spAutoFit/>
          </a:bodyPr>
          <a:lstStyle/>
          <a:p>
            <a:pPr defTabSz="1218804"/>
            <a:endParaRPr lang="de-DE" sz="133">
              <a:solidFill>
                <a:srgbClr val="FFFFFF"/>
              </a:solidFill>
              <a:latin typeface="Arial"/>
            </a:endParaRPr>
          </a:p>
        </p:txBody>
      </p:sp>
      <p:sp>
        <p:nvSpPr>
          <p:cNvPr id="6" name="RCI_QVW_ExportDateTime_005" hidden="1"/>
          <p:cNvSpPr txBox="1"/>
          <p:nvPr/>
        </p:nvSpPr>
        <p:spPr>
          <a:xfrm>
            <a:off x="1881" y="-1"/>
            <a:ext cx="346570" cy="112788"/>
          </a:xfrm>
          <a:prstGeom prst="rect">
            <a:avLst/>
          </a:prstGeom>
          <a:noFill/>
        </p:spPr>
        <p:txBody>
          <a:bodyPr vert="horz" wrap="none" rtlCol="0">
            <a:spAutoFit/>
          </a:bodyPr>
          <a:lstStyle/>
          <a:p>
            <a:pPr defTabSz="1218804"/>
            <a:r>
              <a:rPr lang="de-DE" sz="133">
                <a:solidFill>
                  <a:srgbClr val="FFFFFF"/>
                </a:solidFill>
                <a:latin typeface="Arial"/>
              </a:rPr>
              <a:t>2020-06-22 17:13:16</a:t>
            </a:r>
          </a:p>
        </p:txBody>
      </p:sp>
      <p:sp>
        <p:nvSpPr>
          <p:cNvPr id="7" name="RCI_QVW_ChartType_006" hidden="1"/>
          <p:cNvSpPr txBox="1"/>
          <p:nvPr/>
        </p:nvSpPr>
        <p:spPr>
          <a:xfrm>
            <a:off x="1882" y="-1"/>
            <a:ext cx="184731" cy="112788"/>
          </a:xfrm>
          <a:prstGeom prst="rect">
            <a:avLst/>
          </a:prstGeom>
          <a:noFill/>
        </p:spPr>
        <p:txBody>
          <a:bodyPr vert="horz" wrap="none" rtlCol="0">
            <a:spAutoFit/>
          </a:bodyPr>
          <a:lstStyle/>
          <a:p>
            <a:pPr defTabSz="1218804"/>
            <a:endParaRPr lang="de-DE" sz="133">
              <a:solidFill>
                <a:srgbClr val="FFFFFF"/>
              </a:solidFill>
              <a:latin typeface="Arial"/>
            </a:endParaRPr>
          </a:p>
        </p:txBody>
      </p:sp>
      <p:sp>
        <p:nvSpPr>
          <p:cNvPr id="8" name="RCI_QVW_Left1_007" hidden="1"/>
          <p:cNvSpPr txBox="1"/>
          <p:nvPr/>
        </p:nvSpPr>
        <p:spPr>
          <a:xfrm>
            <a:off x="1882" y="-1"/>
            <a:ext cx="184731" cy="112788"/>
          </a:xfrm>
          <a:prstGeom prst="rect">
            <a:avLst/>
          </a:prstGeom>
          <a:noFill/>
        </p:spPr>
        <p:txBody>
          <a:bodyPr vert="horz" wrap="none" rtlCol="0">
            <a:spAutoFit/>
          </a:bodyPr>
          <a:lstStyle/>
          <a:p>
            <a:pPr defTabSz="1218804"/>
            <a:endParaRPr lang="de-DE" sz="133">
              <a:solidFill>
                <a:srgbClr val="FFFFFF"/>
              </a:solidFill>
              <a:latin typeface="Arial"/>
            </a:endParaRPr>
          </a:p>
        </p:txBody>
      </p:sp>
      <p:sp>
        <p:nvSpPr>
          <p:cNvPr id="9" name="RCI_QVW_Left2_008" hidden="1"/>
          <p:cNvSpPr txBox="1"/>
          <p:nvPr/>
        </p:nvSpPr>
        <p:spPr>
          <a:xfrm>
            <a:off x="1881" y="-1"/>
            <a:ext cx="357790" cy="112788"/>
          </a:xfrm>
          <a:prstGeom prst="rect">
            <a:avLst/>
          </a:prstGeom>
          <a:noFill/>
        </p:spPr>
        <p:txBody>
          <a:bodyPr vert="horz" wrap="none" rtlCol="0">
            <a:spAutoFit/>
          </a:bodyPr>
          <a:lstStyle/>
          <a:p>
            <a:pPr defTabSz="1218804"/>
            <a:r>
              <a:rPr lang="de-DE" sz="133">
                <a:solidFill>
                  <a:srgbClr val="FFFFFF"/>
                </a:solidFill>
                <a:latin typeface="Arial"/>
              </a:rPr>
              <a:t>Sales Value &lt;LC&gt; Mio.</a:t>
            </a:r>
          </a:p>
        </p:txBody>
      </p:sp>
      <p:sp>
        <p:nvSpPr>
          <p:cNvPr id="10" name="RCI_QVW_Left3_009" hidden="1"/>
          <p:cNvSpPr txBox="1"/>
          <p:nvPr/>
        </p:nvSpPr>
        <p:spPr>
          <a:xfrm>
            <a:off x="1881" y="-1"/>
            <a:ext cx="319318" cy="112788"/>
          </a:xfrm>
          <a:prstGeom prst="rect">
            <a:avLst/>
          </a:prstGeom>
          <a:noFill/>
        </p:spPr>
        <p:txBody>
          <a:bodyPr vert="horz" wrap="none" rtlCol="0">
            <a:spAutoFit/>
          </a:bodyPr>
          <a:lstStyle/>
          <a:p>
            <a:pPr defTabSz="1218804"/>
            <a:r>
              <a:rPr lang="de-DE" sz="133">
                <a:solidFill>
                  <a:srgbClr val="FFFFFF"/>
                </a:solidFill>
                <a:latin typeface="Arial"/>
              </a:rPr>
              <a:t>W01/20 - W23/20</a:t>
            </a:r>
          </a:p>
        </p:txBody>
      </p:sp>
      <p:sp>
        <p:nvSpPr>
          <p:cNvPr id="11" name="RCI_QVW_Right1_010" hidden="1"/>
          <p:cNvSpPr txBox="1"/>
          <p:nvPr/>
        </p:nvSpPr>
        <p:spPr>
          <a:xfrm>
            <a:off x="1882" y="-1"/>
            <a:ext cx="184731" cy="112788"/>
          </a:xfrm>
          <a:prstGeom prst="rect">
            <a:avLst/>
          </a:prstGeom>
          <a:noFill/>
        </p:spPr>
        <p:txBody>
          <a:bodyPr vert="horz" wrap="none" rtlCol="0">
            <a:spAutoFit/>
          </a:bodyPr>
          <a:lstStyle/>
          <a:p>
            <a:pPr defTabSz="1218804"/>
            <a:endParaRPr lang="de-DE" sz="133">
              <a:solidFill>
                <a:srgbClr val="FFFFFF"/>
              </a:solidFill>
              <a:latin typeface="Arial"/>
            </a:endParaRPr>
          </a:p>
        </p:txBody>
      </p:sp>
      <p:sp>
        <p:nvSpPr>
          <p:cNvPr id="12" name="RCI_QVW_Right2_011" hidden="1"/>
          <p:cNvSpPr txBox="1"/>
          <p:nvPr/>
        </p:nvSpPr>
        <p:spPr>
          <a:xfrm>
            <a:off x="1882" y="-1"/>
            <a:ext cx="184731" cy="112788"/>
          </a:xfrm>
          <a:prstGeom prst="rect">
            <a:avLst/>
          </a:prstGeom>
          <a:noFill/>
        </p:spPr>
        <p:txBody>
          <a:bodyPr vert="horz" wrap="none" rtlCol="0">
            <a:spAutoFit/>
          </a:bodyPr>
          <a:lstStyle/>
          <a:p>
            <a:pPr defTabSz="1218804"/>
            <a:endParaRPr lang="de-DE" sz="133">
              <a:solidFill>
                <a:srgbClr val="FFFFFF"/>
              </a:solidFill>
              <a:latin typeface="Arial"/>
            </a:endParaRPr>
          </a:p>
        </p:txBody>
      </p:sp>
      <p:sp>
        <p:nvSpPr>
          <p:cNvPr id="13" name="RCI_QVW_Right3_012" hidden="1"/>
          <p:cNvSpPr txBox="1"/>
          <p:nvPr/>
        </p:nvSpPr>
        <p:spPr>
          <a:xfrm>
            <a:off x="1881" y="-1"/>
            <a:ext cx="336952" cy="112788"/>
          </a:xfrm>
          <a:prstGeom prst="rect">
            <a:avLst/>
          </a:prstGeom>
          <a:noFill/>
        </p:spPr>
        <p:txBody>
          <a:bodyPr vert="horz" wrap="none" rtlCol="0">
            <a:spAutoFit/>
          </a:bodyPr>
          <a:lstStyle/>
          <a:p>
            <a:pPr defTabSz="1218804"/>
            <a:r>
              <a:rPr lang="de-DE" sz="133">
                <a:solidFill>
                  <a:srgbClr val="FFFFFF"/>
                </a:solidFill>
                <a:latin typeface="Arial"/>
              </a:rPr>
              <a:t>Russia Panelmarket</a:t>
            </a:r>
          </a:p>
        </p:txBody>
      </p:sp>
      <p:sp>
        <p:nvSpPr>
          <p:cNvPr id="14" name="RCI_QVW_REPName_013" hidden="1"/>
          <p:cNvSpPr txBox="1"/>
          <p:nvPr/>
        </p:nvSpPr>
        <p:spPr>
          <a:xfrm>
            <a:off x="1882" y="-1"/>
            <a:ext cx="184731" cy="112788"/>
          </a:xfrm>
          <a:prstGeom prst="rect">
            <a:avLst/>
          </a:prstGeom>
          <a:noFill/>
        </p:spPr>
        <p:txBody>
          <a:bodyPr vert="horz" wrap="none" rtlCol="0">
            <a:spAutoFit/>
          </a:bodyPr>
          <a:lstStyle/>
          <a:p>
            <a:pPr defTabSz="1218804"/>
            <a:endParaRPr lang="de-DE" sz="133">
              <a:solidFill>
                <a:srgbClr val="FFFFFF"/>
              </a:solidFill>
              <a:latin typeface="Arial"/>
            </a:endParaRPr>
          </a:p>
        </p:txBody>
      </p:sp>
      <p:sp>
        <p:nvSpPr>
          <p:cNvPr id="15" name="RCI_QVW_SHName_014" hidden="1"/>
          <p:cNvSpPr txBox="1"/>
          <p:nvPr/>
        </p:nvSpPr>
        <p:spPr>
          <a:xfrm>
            <a:off x="1882" y="-1"/>
            <a:ext cx="184731" cy="112788"/>
          </a:xfrm>
          <a:prstGeom prst="rect">
            <a:avLst/>
          </a:prstGeom>
          <a:noFill/>
        </p:spPr>
        <p:txBody>
          <a:bodyPr vert="horz" wrap="none" rtlCol="0">
            <a:spAutoFit/>
          </a:bodyPr>
          <a:lstStyle/>
          <a:p>
            <a:pPr defTabSz="1218804"/>
            <a:endParaRPr lang="de-DE" sz="133">
              <a:solidFill>
                <a:srgbClr val="FFFFFF"/>
              </a:solidFill>
              <a:latin typeface="Arial"/>
            </a:endParaRPr>
          </a:p>
        </p:txBody>
      </p:sp>
      <p:sp>
        <p:nvSpPr>
          <p:cNvPr id="16" name="RCI_QVW_THName_015" hidden="1"/>
          <p:cNvSpPr txBox="1"/>
          <p:nvPr/>
        </p:nvSpPr>
        <p:spPr>
          <a:xfrm>
            <a:off x="1882" y="-1"/>
            <a:ext cx="184731" cy="112788"/>
          </a:xfrm>
          <a:prstGeom prst="rect">
            <a:avLst/>
          </a:prstGeom>
          <a:noFill/>
        </p:spPr>
        <p:txBody>
          <a:bodyPr vert="horz" wrap="none" rtlCol="0">
            <a:spAutoFit/>
          </a:bodyPr>
          <a:lstStyle/>
          <a:p>
            <a:pPr defTabSz="1218804"/>
            <a:endParaRPr lang="de-DE" sz="133">
              <a:solidFill>
                <a:srgbClr val="FFFFFF"/>
              </a:solidFill>
              <a:latin typeface="Arial"/>
            </a:endParaRPr>
          </a:p>
        </p:txBody>
      </p:sp>
      <p:sp>
        <p:nvSpPr>
          <p:cNvPr id="19" name="TextBox 18">
            <a:extLst>
              <a:ext uri="{FF2B5EF4-FFF2-40B4-BE49-F238E27FC236}">
                <a16:creationId xmlns:a16="http://schemas.microsoft.com/office/drawing/2014/main" id="{6ACDFF91-332F-4A8C-9B82-246124E804FB}"/>
              </a:ext>
            </a:extLst>
          </p:cNvPr>
          <p:cNvSpPr txBox="1"/>
          <p:nvPr/>
        </p:nvSpPr>
        <p:spPr>
          <a:xfrm>
            <a:off x="3417100" y="2336386"/>
            <a:ext cx="2405270" cy="427382"/>
          </a:xfrm>
          <a:prstGeom prst="rect">
            <a:avLst/>
          </a:prstGeom>
          <a:noFill/>
        </p:spPr>
        <p:txBody>
          <a:bodyPr wrap="none" lIns="0" tIns="0" rIns="0" bIns="0" rtlCol="0" anchor="ctr">
            <a:noAutofit/>
          </a:bodyPr>
          <a:lstStyle/>
          <a:p>
            <a:pPr>
              <a:lnSpc>
                <a:spcPct val="125000"/>
              </a:lnSpc>
              <a:buClr>
                <a:srgbClr val="E55A00"/>
              </a:buClr>
              <a:defRPr/>
            </a:pPr>
            <a:r>
              <a:rPr lang="en-US" sz="1600" dirty="0">
                <a:solidFill>
                  <a:srgbClr val="E55A00"/>
                </a:solidFill>
                <a:latin typeface="Lato"/>
              </a:rPr>
              <a:t>Beginning of Lockdown</a:t>
            </a:r>
            <a:endParaRPr lang="ru-RU" sz="1600" dirty="0">
              <a:solidFill>
                <a:srgbClr val="E55A00"/>
              </a:solidFill>
              <a:latin typeface="Lato"/>
            </a:endParaRPr>
          </a:p>
        </p:txBody>
      </p:sp>
      <p:sp>
        <p:nvSpPr>
          <p:cNvPr id="20" name="TextBox 19">
            <a:extLst>
              <a:ext uri="{FF2B5EF4-FFF2-40B4-BE49-F238E27FC236}">
                <a16:creationId xmlns:a16="http://schemas.microsoft.com/office/drawing/2014/main" id="{51C210FB-99C7-4E88-94D3-33B528F80C24}"/>
              </a:ext>
            </a:extLst>
          </p:cNvPr>
          <p:cNvSpPr txBox="1"/>
          <p:nvPr/>
        </p:nvSpPr>
        <p:spPr>
          <a:xfrm>
            <a:off x="3580461" y="2550078"/>
            <a:ext cx="914400" cy="914400"/>
          </a:xfrm>
          <a:prstGeom prst="rect">
            <a:avLst/>
          </a:prstGeom>
          <a:noFill/>
        </p:spPr>
        <p:txBody>
          <a:bodyPr wrap="none" lIns="0" tIns="0" rIns="0" bIns="0" rtlCol="0" anchor="ctr">
            <a:noAutofit/>
          </a:bodyPr>
          <a:lstStyle/>
          <a:p>
            <a:pPr algn="ctr">
              <a:lnSpc>
                <a:spcPct val="125000"/>
              </a:lnSpc>
              <a:buClr>
                <a:srgbClr val="E55A00"/>
              </a:buClr>
              <a:defRPr/>
            </a:pPr>
            <a:r>
              <a:rPr lang="ru-RU" sz="3200" dirty="0">
                <a:solidFill>
                  <a:srgbClr val="E55A00"/>
                </a:solidFill>
                <a:latin typeface="Lato"/>
              </a:rPr>
              <a:t>-76.7</a:t>
            </a:r>
            <a:r>
              <a:rPr lang="ru-RU" sz="2000" b="1" dirty="0">
                <a:solidFill>
                  <a:srgbClr val="E55A00"/>
                </a:solidFill>
                <a:latin typeface="Lato"/>
              </a:rPr>
              <a:t>%</a:t>
            </a:r>
            <a:endParaRPr lang="ru-RU" sz="3200" b="1" dirty="0">
              <a:solidFill>
                <a:srgbClr val="E55A00"/>
              </a:solidFill>
              <a:latin typeface="Lato"/>
            </a:endParaRPr>
          </a:p>
        </p:txBody>
      </p:sp>
      <p:sp>
        <p:nvSpPr>
          <p:cNvPr id="21" name="TextBox 20">
            <a:extLst>
              <a:ext uri="{FF2B5EF4-FFF2-40B4-BE49-F238E27FC236}">
                <a16:creationId xmlns:a16="http://schemas.microsoft.com/office/drawing/2014/main" id="{867C7D1B-1AA0-41C9-9A6C-D0CC3133C37C}"/>
              </a:ext>
            </a:extLst>
          </p:cNvPr>
          <p:cNvSpPr txBox="1"/>
          <p:nvPr/>
        </p:nvSpPr>
        <p:spPr>
          <a:xfrm>
            <a:off x="10153983" y="1894371"/>
            <a:ext cx="914400" cy="914400"/>
          </a:xfrm>
          <a:prstGeom prst="rect">
            <a:avLst/>
          </a:prstGeom>
          <a:noFill/>
        </p:spPr>
        <p:txBody>
          <a:bodyPr wrap="none" lIns="0" tIns="0" rIns="0" bIns="0" rtlCol="0" anchor="ctr">
            <a:noAutofit/>
          </a:bodyPr>
          <a:lstStyle/>
          <a:p>
            <a:pPr algn="ctr">
              <a:lnSpc>
                <a:spcPct val="125000"/>
              </a:lnSpc>
              <a:buClr>
                <a:srgbClr val="E55A00"/>
              </a:buClr>
              <a:defRPr/>
            </a:pPr>
            <a:r>
              <a:rPr lang="ru-RU" sz="3200" dirty="0">
                <a:solidFill>
                  <a:srgbClr val="E55A00"/>
                </a:solidFill>
                <a:latin typeface="Lato"/>
              </a:rPr>
              <a:t>+63.2</a:t>
            </a:r>
            <a:r>
              <a:rPr lang="ru-RU" sz="2000" b="1" dirty="0">
                <a:solidFill>
                  <a:srgbClr val="E55A00"/>
                </a:solidFill>
                <a:latin typeface="Lato"/>
              </a:rPr>
              <a:t>%</a:t>
            </a:r>
            <a:endParaRPr lang="ru-RU" sz="3200" b="1" dirty="0">
              <a:solidFill>
                <a:srgbClr val="E55A00"/>
              </a:solidFill>
              <a:latin typeface="Lato"/>
            </a:endParaRPr>
          </a:p>
        </p:txBody>
      </p:sp>
      <p:sp>
        <p:nvSpPr>
          <p:cNvPr id="23" name="Прямоугольник 22">
            <a:extLst>
              <a:ext uri="{FF2B5EF4-FFF2-40B4-BE49-F238E27FC236}">
                <a16:creationId xmlns:a16="http://schemas.microsoft.com/office/drawing/2014/main" id="{6E256762-63B2-4607-95A6-2CBDD24B5620}"/>
              </a:ext>
            </a:extLst>
          </p:cNvPr>
          <p:cNvSpPr/>
          <p:nvPr/>
        </p:nvSpPr>
        <p:spPr bwMode="auto">
          <a:xfrm>
            <a:off x="0" y="0"/>
            <a:ext cx="11988800" cy="1669143"/>
          </a:xfrm>
          <a:prstGeom prst="rect">
            <a:avLst/>
          </a:prstGeom>
          <a:solidFill>
            <a:schemeClr val="bg1"/>
          </a:solid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600" b="0" i="0" u="none" strike="noStrike" cap="none" normalizeH="0" baseline="0">
              <a:ln>
                <a:noFill/>
              </a:ln>
              <a:solidFill>
                <a:schemeClr val="tx1"/>
              </a:solidFill>
              <a:effectLst/>
              <a:latin typeface="Arial" charset="0"/>
            </a:endParaRPr>
          </a:p>
        </p:txBody>
      </p:sp>
      <p:sp>
        <p:nvSpPr>
          <p:cNvPr id="26" name="Заголовок 2">
            <a:extLst>
              <a:ext uri="{FF2B5EF4-FFF2-40B4-BE49-F238E27FC236}">
                <a16:creationId xmlns:a16="http://schemas.microsoft.com/office/drawing/2014/main" id="{E1CAF1EE-EAC5-44A9-A40F-C57F2D975A69}"/>
              </a:ext>
            </a:extLst>
          </p:cNvPr>
          <p:cNvSpPr txBox="1">
            <a:spLocks/>
          </p:cNvSpPr>
          <p:nvPr/>
        </p:nvSpPr>
        <p:spPr>
          <a:xfrm>
            <a:off x="1075061" y="288923"/>
            <a:ext cx="9700939" cy="648000"/>
          </a:xfrm>
          <a:prstGeom prst="rect">
            <a:avLst/>
          </a:prstGeom>
        </p:spPr>
        <p:txBody>
          <a:bodyPr vert="horz" lIns="0" tIns="0" rIns="0" bIns="0" rtlCol="0" anchor="t">
            <a:noAutofit/>
          </a:bodyPr>
          <a:lstStyle>
            <a:lvl1pPr algn="l" defTabSz="914103" rtl="0" eaLnBrk="1" latinLnBrk="0" hangingPunct="1">
              <a:lnSpc>
                <a:spcPct val="100000"/>
              </a:lnSpc>
              <a:spcBef>
                <a:spcPct val="0"/>
              </a:spcBef>
              <a:buNone/>
              <a:defRPr sz="3599" kern="1200">
                <a:solidFill>
                  <a:schemeClr val="tx1"/>
                </a:solidFill>
                <a:latin typeface="+mj-lt"/>
                <a:ea typeface="+mj-ea"/>
                <a:cs typeface="+mj-cs"/>
              </a:defRPr>
            </a:lvl1pPr>
          </a:lstStyle>
          <a:p>
            <a:pPr marL="0" marR="0" lvl="0" indent="0" algn="l" defTabSz="914103" rtl="0" eaLnBrk="1" fontAlgn="auto" latinLnBrk="0" hangingPunct="1">
              <a:lnSpc>
                <a:spcPct val="100000"/>
              </a:lnSpc>
              <a:spcBef>
                <a:spcPct val="0"/>
              </a:spcBef>
              <a:spcAft>
                <a:spcPts val="0"/>
              </a:spcAft>
              <a:buClrTx/>
              <a:buSzTx/>
              <a:buFontTx/>
              <a:buNone/>
              <a:tabLst/>
              <a:defRPr/>
            </a:pPr>
            <a:r>
              <a:rPr lang="en-US" dirty="0">
                <a:solidFill>
                  <a:srgbClr val="414549"/>
                </a:solidFill>
                <a:latin typeface="Lato Light"/>
              </a:rPr>
              <a:t>Beginning of lockdown</a:t>
            </a:r>
            <a:r>
              <a:rPr kumimoji="0" lang="en-US" sz="3599" b="0" i="0" u="none" strike="noStrike" kern="1200" cap="none" spc="0" normalizeH="0" baseline="0" noProof="0" dirty="0">
                <a:ln>
                  <a:noFill/>
                </a:ln>
                <a:solidFill>
                  <a:srgbClr val="414549"/>
                </a:solidFill>
                <a:effectLst/>
                <a:uLnTx/>
                <a:uFillTx/>
                <a:latin typeface="Lato Light"/>
                <a:ea typeface="+mj-ea"/>
                <a:cs typeface="+mj-cs"/>
              </a:rPr>
              <a:t> in Russia</a:t>
            </a:r>
          </a:p>
        </p:txBody>
      </p:sp>
      <p:sp>
        <p:nvSpPr>
          <p:cNvPr id="27" name="Подзаголовок 7">
            <a:extLst>
              <a:ext uri="{FF2B5EF4-FFF2-40B4-BE49-F238E27FC236}">
                <a16:creationId xmlns:a16="http://schemas.microsoft.com/office/drawing/2014/main" id="{69732706-6D68-4664-97ED-874A6A01E50B}"/>
              </a:ext>
            </a:extLst>
          </p:cNvPr>
          <p:cNvSpPr txBox="1">
            <a:spLocks/>
          </p:cNvSpPr>
          <p:nvPr/>
        </p:nvSpPr>
        <p:spPr>
          <a:xfrm>
            <a:off x="1084424" y="1020125"/>
            <a:ext cx="9816557" cy="457588"/>
          </a:xfrm>
          <a:prstGeom prst="rect">
            <a:avLst/>
          </a:prstGeom>
        </p:spPr>
        <p:txBody>
          <a:bodyPr vert="horz" wrap="none" lIns="0" tIns="0" rIns="0" bIns="0" rtlCol="0">
            <a:noAutofit/>
          </a:bodyPr>
          <a:lstStyle>
            <a:lvl1pPr marL="0" indent="0" algn="l" defTabSz="914103" rtl="0" eaLnBrk="1" latinLnBrk="0" hangingPunct="1">
              <a:lnSpc>
                <a:spcPct val="110000"/>
              </a:lnSpc>
              <a:spcBef>
                <a:spcPts val="0"/>
              </a:spcBef>
              <a:buClr>
                <a:schemeClr val="tx2"/>
              </a:buClr>
              <a:buFont typeface="Wingdings" panose="05000000000000000000" pitchFamily="2" charset="2"/>
              <a:buNone/>
              <a:defRPr sz="2399" kern="1200" baseline="0">
                <a:solidFill>
                  <a:schemeClr val="tx1"/>
                </a:solidFill>
                <a:latin typeface="+mn-lt"/>
                <a:ea typeface="+mn-ea"/>
                <a:cs typeface="+mn-cs"/>
              </a:defRPr>
            </a:lvl1pPr>
            <a:lvl2pPr marL="457051" indent="0" algn="ctr" defTabSz="914103" rtl="0" eaLnBrk="1" latinLnBrk="0" hangingPunct="1">
              <a:lnSpc>
                <a:spcPct val="110000"/>
              </a:lnSpc>
              <a:spcBef>
                <a:spcPts val="600"/>
              </a:spcBef>
              <a:buClr>
                <a:schemeClr val="tx2"/>
              </a:buClr>
              <a:buFont typeface="Wingdings" panose="05000000000000000000" pitchFamily="2" charset="2"/>
              <a:buNone/>
              <a:defRPr sz="1999" kern="1200">
                <a:solidFill>
                  <a:schemeClr val="tx1"/>
                </a:solidFill>
                <a:latin typeface="+mn-lt"/>
                <a:ea typeface="+mn-ea"/>
                <a:cs typeface="+mn-cs"/>
              </a:defRPr>
            </a:lvl2pPr>
            <a:lvl3pPr marL="914103" indent="0" algn="ctr" defTabSz="914103" rtl="0" eaLnBrk="1" latinLnBrk="0" hangingPunct="1">
              <a:lnSpc>
                <a:spcPct val="110000"/>
              </a:lnSpc>
              <a:spcBef>
                <a:spcPts val="600"/>
              </a:spcBef>
              <a:buClr>
                <a:schemeClr val="tx2"/>
              </a:buClr>
              <a:buFont typeface="Wingdings" panose="05000000000000000000" pitchFamily="2" charset="2"/>
              <a:buNone/>
              <a:defRPr sz="1799" kern="1200">
                <a:solidFill>
                  <a:schemeClr val="tx1"/>
                </a:solidFill>
                <a:latin typeface="+mn-lt"/>
                <a:ea typeface="+mn-ea"/>
                <a:cs typeface="+mn-cs"/>
              </a:defRPr>
            </a:lvl3pPr>
            <a:lvl4pPr marL="1371154" indent="0" algn="ctr" defTabSz="914103" rtl="0" eaLnBrk="1" latinLnBrk="0" hangingPunct="1">
              <a:lnSpc>
                <a:spcPct val="110000"/>
              </a:lnSpc>
              <a:spcBef>
                <a:spcPts val="600"/>
              </a:spcBef>
              <a:buClr>
                <a:schemeClr val="tx2"/>
              </a:buClr>
              <a:buFont typeface="Lato" panose="020F0502020204030203" pitchFamily="34" charset="0"/>
              <a:buNone/>
              <a:defRPr sz="1599" kern="1200">
                <a:solidFill>
                  <a:schemeClr val="tx1"/>
                </a:solidFill>
                <a:latin typeface="+mn-lt"/>
                <a:ea typeface="+mn-ea"/>
                <a:cs typeface="+mn-cs"/>
              </a:defRPr>
            </a:lvl4pPr>
            <a:lvl5pPr marL="1828206" indent="0" algn="ctr" defTabSz="914103" rtl="0" eaLnBrk="1" latinLnBrk="0" hangingPunct="1">
              <a:lnSpc>
                <a:spcPct val="110000"/>
              </a:lnSpc>
              <a:spcBef>
                <a:spcPts val="600"/>
              </a:spcBef>
              <a:buClr>
                <a:schemeClr val="tx2"/>
              </a:buClr>
              <a:buFont typeface="Wingdings" panose="05000000000000000000" pitchFamily="2" charset="2"/>
              <a:buNone/>
              <a:defRPr sz="1599" kern="1200">
                <a:solidFill>
                  <a:schemeClr val="tx1"/>
                </a:solidFill>
                <a:latin typeface="+mn-lt"/>
                <a:ea typeface="+mn-ea"/>
                <a:cs typeface="+mn-cs"/>
              </a:defRPr>
            </a:lvl5pPr>
            <a:lvl6pPr marL="2285257" indent="0" algn="ctr" defTabSz="914103" rtl="0" eaLnBrk="1" latinLnBrk="0" hangingPunct="1">
              <a:lnSpc>
                <a:spcPct val="110000"/>
              </a:lnSpc>
              <a:spcBef>
                <a:spcPts val="600"/>
              </a:spcBef>
              <a:buClr>
                <a:schemeClr val="tx2"/>
              </a:buClr>
              <a:buFont typeface="Wingdings" panose="05000000000000000000" pitchFamily="2" charset="2"/>
              <a:buNone/>
              <a:defRPr sz="1599" kern="1200">
                <a:solidFill>
                  <a:schemeClr val="tx1"/>
                </a:solidFill>
                <a:latin typeface="+mn-lt"/>
                <a:ea typeface="+mn-ea"/>
                <a:cs typeface="+mn-cs"/>
              </a:defRPr>
            </a:lvl6pPr>
            <a:lvl7pPr marL="2742308" indent="0" algn="ctr" defTabSz="914103" rtl="0" eaLnBrk="1" latinLnBrk="0" hangingPunct="1">
              <a:lnSpc>
                <a:spcPct val="110000"/>
              </a:lnSpc>
              <a:spcBef>
                <a:spcPts val="600"/>
              </a:spcBef>
              <a:buClr>
                <a:schemeClr val="tx2"/>
              </a:buClr>
              <a:buFont typeface="Wingdings" panose="05000000000000000000" pitchFamily="2" charset="2"/>
              <a:buNone/>
              <a:defRPr sz="1599" kern="1200">
                <a:solidFill>
                  <a:schemeClr val="tx1"/>
                </a:solidFill>
                <a:latin typeface="+mn-lt"/>
                <a:ea typeface="+mn-ea"/>
                <a:cs typeface="+mn-cs"/>
              </a:defRPr>
            </a:lvl7pPr>
            <a:lvl8pPr marL="3199360" indent="0" algn="ctr" defTabSz="914103" rtl="0" eaLnBrk="1" latinLnBrk="0" hangingPunct="1">
              <a:lnSpc>
                <a:spcPct val="110000"/>
              </a:lnSpc>
              <a:spcBef>
                <a:spcPts val="600"/>
              </a:spcBef>
              <a:buClr>
                <a:schemeClr val="tx2"/>
              </a:buClr>
              <a:buFont typeface="Wingdings" panose="05000000000000000000" pitchFamily="2" charset="2"/>
              <a:buNone/>
              <a:defRPr sz="1599" kern="1200">
                <a:solidFill>
                  <a:schemeClr val="tx1"/>
                </a:solidFill>
                <a:latin typeface="+mn-lt"/>
                <a:ea typeface="+mn-ea"/>
                <a:cs typeface="+mn-cs"/>
              </a:defRPr>
            </a:lvl8pPr>
            <a:lvl9pPr marL="3656411" indent="0" algn="ctr" defTabSz="914103" rtl="0" eaLnBrk="1" latinLnBrk="0" hangingPunct="1">
              <a:lnSpc>
                <a:spcPct val="110000"/>
              </a:lnSpc>
              <a:spcBef>
                <a:spcPts val="600"/>
              </a:spcBef>
              <a:buClr>
                <a:schemeClr val="tx2"/>
              </a:buClr>
              <a:buFont typeface="Wingdings" panose="05000000000000000000" pitchFamily="2" charset="2"/>
              <a:buNone/>
              <a:defRPr sz="1599" kern="1200">
                <a:solidFill>
                  <a:schemeClr val="tx1"/>
                </a:solidFill>
                <a:latin typeface="+mn-lt"/>
                <a:ea typeface="+mn-ea"/>
                <a:cs typeface="+mn-cs"/>
              </a:defRPr>
            </a:lvl9pPr>
          </a:lstStyle>
          <a:p>
            <a:pPr marL="0" marR="0" lvl="0" indent="0" algn="l" defTabSz="914103" rtl="0" eaLnBrk="1" fontAlgn="auto" latinLnBrk="0" hangingPunct="1">
              <a:lnSpc>
                <a:spcPct val="110000"/>
              </a:lnSpc>
              <a:spcBef>
                <a:spcPts val="0"/>
              </a:spcBef>
              <a:spcAft>
                <a:spcPts val="0"/>
              </a:spcAft>
              <a:buClr>
                <a:srgbClr val="E55A00"/>
              </a:buClr>
              <a:buSzTx/>
              <a:buFont typeface="Wingdings" panose="05000000000000000000" pitchFamily="2" charset="2"/>
              <a:buNone/>
              <a:tabLst/>
              <a:defRPr/>
            </a:pPr>
            <a:r>
              <a:rPr lang="en-US" dirty="0">
                <a:solidFill>
                  <a:srgbClr val="E55A00"/>
                </a:solidFill>
                <a:latin typeface="Lato"/>
                <a:ea typeface="Lato" panose="020F0502020204030203" pitchFamily="34" charset="0"/>
                <a:cs typeface="Lato" panose="020F0502020204030203" pitchFamily="34" charset="0"/>
              </a:rPr>
              <a:t>Week 14 was the shocking week both for Offline and Online.</a:t>
            </a:r>
            <a:endParaRPr kumimoji="0" lang="en-US" sz="2399" b="0" i="0" u="none" strike="noStrike" kern="1200" cap="none" spc="0" normalizeH="0" baseline="0" noProof="0" dirty="0">
              <a:ln>
                <a:noFill/>
              </a:ln>
              <a:solidFill>
                <a:srgbClr val="E55A00"/>
              </a:solidFill>
              <a:effectLst/>
              <a:uLnTx/>
              <a:uFillTx/>
              <a:latin typeface="Lato"/>
              <a:ea typeface="Lato" panose="020F0502020204030203" pitchFamily="34" charset="0"/>
              <a:cs typeface="Lato" panose="020F0502020204030203" pitchFamily="34" charset="0"/>
            </a:endParaRPr>
          </a:p>
        </p:txBody>
      </p:sp>
      <p:sp>
        <p:nvSpPr>
          <p:cNvPr id="28" name="shp1">
            <a:extLst>
              <a:ext uri="{FF2B5EF4-FFF2-40B4-BE49-F238E27FC236}">
                <a16:creationId xmlns:a16="http://schemas.microsoft.com/office/drawing/2014/main" id="{81E95387-A9D4-4BD4-980D-FD88DEE9EE9B}"/>
              </a:ext>
            </a:extLst>
          </p:cNvPr>
          <p:cNvSpPr/>
          <p:nvPr/>
        </p:nvSpPr>
        <p:spPr>
          <a:xfrm>
            <a:off x="192088" y="1"/>
            <a:ext cx="215900" cy="1449388"/>
          </a:xfrm>
          <a:prstGeom prst="rect">
            <a:avLst/>
          </a:prstGeom>
          <a:solidFill>
            <a:srgbClr val="414549"/>
          </a:solidFill>
          <a:ln w="12700" cap="flat" cmpd="sng" algn="ctr">
            <a:noFill/>
            <a:prstDash val="solid"/>
            <a:miter lim="800000"/>
          </a:ln>
          <a:effectLst/>
        </p:spPr>
        <p:txBody>
          <a:bodyPr lIns="0" tIns="0" rIns="0" bIns="0" rtlCol="0" anchor="ctr"/>
          <a:lstStyle/>
          <a:p>
            <a:pPr algn="ctr">
              <a:defRPr/>
            </a:pPr>
            <a:endParaRPr lang="de-DE" sz="1351" kern="0">
              <a:solidFill>
                <a:srgbClr val="FFFFFF"/>
              </a:solidFill>
              <a:latin typeface="Lato"/>
            </a:endParaRPr>
          </a:p>
        </p:txBody>
      </p:sp>
    </p:spTree>
    <p:extLst>
      <p:ext uri="{BB962C8B-B14F-4D97-AF65-F5344CB8AC3E}">
        <p14:creationId xmlns:p14="http://schemas.microsoft.com/office/powerpoint/2010/main" val="41173949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Номер слайда 3">
            <a:extLst>
              <a:ext uri="{FF2B5EF4-FFF2-40B4-BE49-F238E27FC236}">
                <a16:creationId xmlns:a16="http://schemas.microsoft.com/office/drawing/2014/main" id="{F5886B3A-7A22-4684-AF4E-A9A7D5753209}"/>
              </a:ext>
            </a:extLst>
          </p:cNvPr>
          <p:cNvSpPr>
            <a:spLocks noGrp="1"/>
          </p:cNvSpPr>
          <p:nvPr>
            <p:ph type="sldNum" sz="quarter" idx="16"/>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F3E29E4-0979-4FCA-B4C5-5FC6044C982A}" type="slidenum">
              <a:rPr kumimoji="0" lang="en-US" sz="800" b="0" i="0" u="none" strike="noStrike" kern="1200" cap="none" spc="0" normalizeH="0" baseline="0" noProof="0" smtClean="0">
                <a:ln>
                  <a:noFill/>
                </a:ln>
                <a:solidFill>
                  <a:srgbClr val="414549"/>
                </a:solidFill>
                <a:effectLst/>
                <a:uLnTx/>
                <a:uFillTx/>
                <a:latin typeface="Lato"/>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800" b="0" i="0" u="none" strike="noStrike" kern="1200" cap="none" spc="0" normalizeH="0" baseline="0" noProof="0">
              <a:ln>
                <a:noFill/>
              </a:ln>
              <a:solidFill>
                <a:srgbClr val="414549"/>
              </a:solidFill>
              <a:effectLst/>
              <a:uLnTx/>
              <a:uFillTx/>
              <a:latin typeface="Lato"/>
              <a:ea typeface="+mn-ea"/>
              <a:cs typeface="+mn-cs"/>
            </a:endParaRPr>
          </a:p>
        </p:txBody>
      </p:sp>
      <p:grpSp>
        <p:nvGrpSpPr>
          <p:cNvPr id="41" name="Группа 40">
            <a:extLst>
              <a:ext uri="{FF2B5EF4-FFF2-40B4-BE49-F238E27FC236}">
                <a16:creationId xmlns:a16="http://schemas.microsoft.com/office/drawing/2014/main" id="{7D347865-9A95-415D-99FE-DB573B529F8C}"/>
              </a:ext>
            </a:extLst>
          </p:cNvPr>
          <p:cNvGrpSpPr/>
          <p:nvPr/>
        </p:nvGrpSpPr>
        <p:grpSpPr>
          <a:xfrm>
            <a:off x="2998164" y="2514750"/>
            <a:ext cx="788999" cy="1144911"/>
            <a:chOff x="3406173" y="4600557"/>
            <a:chExt cx="788999" cy="1144911"/>
          </a:xfrm>
        </p:grpSpPr>
        <p:grpSp>
          <p:nvGrpSpPr>
            <p:cNvPr id="42" name="Группа 41">
              <a:extLst>
                <a:ext uri="{FF2B5EF4-FFF2-40B4-BE49-F238E27FC236}">
                  <a16:creationId xmlns:a16="http://schemas.microsoft.com/office/drawing/2014/main" id="{E6678C13-8048-4B52-9BDC-4F2B3F9B4A96}"/>
                </a:ext>
              </a:extLst>
            </p:cNvPr>
            <p:cNvGrpSpPr/>
            <p:nvPr/>
          </p:nvGrpSpPr>
          <p:grpSpPr>
            <a:xfrm>
              <a:off x="3441037" y="4600557"/>
              <a:ext cx="719270" cy="806357"/>
              <a:chOff x="4688101" y="1751493"/>
              <a:chExt cx="719270" cy="806357"/>
            </a:xfrm>
            <a:solidFill>
              <a:srgbClr val="A2AD00"/>
            </a:solidFill>
          </p:grpSpPr>
          <p:sp>
            <p:nvSpPr>
              <p:cNvPr id="44" name="Freeform 9">
                <a:extLst>
                  <a:ext uri="{FF2B5EF4-FFF2-40B4-BE49-F238E27FC236}">
                    <a16:creationId xmlns:a16="http://schemas.microsoft.com/office/drawing/2014/main" id="{878A2EDD-A438-4476-B917-B0AA5FCA73C1}"/>
                  </a:ext>
                </a:extLst>
              </p:cNvPr>
              <p:cNvSpPr>
                <a:spLocks/>
              </p:cNvSpPr>
              <p:nvPr/>
            </p:nvSpPr>
            <p:spPr bwMode="gray">
              <a:xfrm flipH="1">
                <a:off x="4979906" y="1751493"/>
                <a:ext cx="427465" cy="704062"/>
              </a:xfrm>
              <a:custGeom>
                <a:avLst/>
                <a:gdLst>
                  <a:gd name="T0" fmla="*/ 719 w 719"/>
                  <a:gd name="T1" fmla="*/ 392 h 1176"/>
                  <a:gd name="T2" fmla="*/ 438 w 719"/>
                  <a:gd name="T3" fmla="*/ 223 h 1176"/>
                  <a:gd name="T4" fmla="*/ 337 w 719"/>
                  <a:gd name="T5" fmla="*/ 523 h 1176"/>
                  <a:gd name="T6" fmla="*/ 55 w 719"/>
                  <a:gd name="T7" fmla="*/ 785 h 1176"/>
                  <a:gd name="T8" fmla="*/ 0 w 719"/>
                  <a:gd name="T9" fmla="*/ 813 h 1176"/>
                  <a:gd name="T10" fmla="*/ 320 w 719"/>
                  <a:gd name="T11" fmla="*/ 819 h 1176"/>
                  <a:gd name="T12" fmla="*/ 398 w 719"/>
                  <a:gd name="T13" fmla="*/ 581 h 1176"/>
                  <a:gd name="T14" fmla="*/ 491 w 719"/>
                  <a:gd name="T15" fmla="*/ 300 h 1176"/>
                  <a:gd name="T16" fmla="*/ 587 w 719"/>
                  <a:gd name="T17" fmla="*/ 263 h 1176"/>
                  <a:gd name="T18" fmla="*/ 655 w 719"/>
                  <a:gd name="T19" fmla="*/ 407 h 1176"/>
                  <a:gd name="T20" fmla="*/ 719 w 719"/>
                  <a:gd name="T21" fmla="*/ 392 h 1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19" h="1176">
                    <a:moveTo>
                      <a:pt x="719" y="392"/>
                    </a:moveTo>
                    <a:cubicBezTo>
                      <a:pt x="719" y="392"/>
                      <a:pt x="598" y="0"/>
                      <a:pt x="438" y="223"/>
                    </a:cubicBezTo>
                    <a:cubicBezTo>
                      <a:pt x="337" y="523"/>
                      <a:pt x="337" y="523"/>
                      <a:pt x="337" y="523"/>
                    </a:cubicBezTo>
                    <a:cubicBezTo>
                      <a:pt x="337" y="523"/>
                      <a:pt x="218" y="1123"/>
                      <a:pt x="55" y="785"/>
                    </a:cubicBezTo>
                    <a:cubicBezTo>
                      <a:pt x="0" y="813"/>
                      <a:pt x="0" y="813"/>
                      <a:pt x="0" y="813"/>
                    </a:cubicBezTo>
                    <a:cubicBezTo>
                      <a:pt x="0" y="813"/>
                      <a:pt x="169" y="1176"/>
                      <a:pt x="320" y="819"/>
                    </a:cubicBezTo>
                    <a:cubicBezTo>
                      <a:pt x="398" y="581"/>
                      <a:pt x="398" y="581"/>
                      <a:pt x="398" y="581"/>
                    </a:cubicBezTo>
                    <a:cubicBezTo>
                      <a:pt x="491" y="300"/>
                      <a:pt x="491" y="300"/>
                      <a:pt x="491" y="300"/>
                    </a:cubicBezTo>
                    <a:cubicBezTo>
                      <a:pt x="491" y="300"/>
                      <a:pt x="539" y="170"/>
                      <a:pt x="587" y="263"/>
                    </a:cubicBezTo>
                    <a:cubicBezTo>
                      <a:pt x="655" y="407"/>
                      <a:pt x="655" y="407"/>
                      <a:pt x="655" y="407"/>
                    </a:cubicBezTo>
                    <a:lnTo>
                      <a:pt x="719" y="392"/>
                    </a:lnTo>
                    <a:close/>
                  </a:path>
                </a:pathLst>
              </a:custGeom>
              <a:solidFill>
                <a:srgbClr val="F23C3C"/>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414549"/>
                  </a:solidFill>
                  <a:effectLst/>
                  <a:uLnTx/>
                  <a:uFillTx/>
                  <a:latin typeface="Lato"/>
                  <a:ea typeface="+mn-ea"/>
                  <a:cs typeface="+mn-cs"/>
                </a:endParaRPr>
              </a:p>
            </p:txBody>
          </p:sp>
          <p:sp>
            <p:nvSpPr>
              <p:cNvPr id="45" name="Freeform 11">
                <a:extLst>
                  <a:ext uri="{FF2B5EF4-FFF2-40B4-BE49-F238E27FC236}">
                    <a16:creationId xmlns:a16="http://schemas.microsoft.com/office/drawing/2014/main" id="{D4EC7193-4696-4742-B509-D853E1F04C80}"/>
                  </a:ext>
                </a:extLst>
              </p:cNvPr>
              <p:cNvSpPr>
                <a:spLocks noChangeAspect="1" noEditPoints="1"/>
              </p:cNvSpPr>
              <p:nvPr>
                <p:custDataLst>
                  <p:tags r:id="rId2"/>
                </p:custDataLst>
              </p:nvPr>
            </p:nvSpPr>
            <p:spPr bwMode="auto">
              <a:xfrm rot="1735801">
                <a:off x="4688101" y="1953966"/>
                <a:ext cx="394286" cy="603884"/>
              </a:xfrm>
              <a:custGeom>
                <a:avLst/>
                <a:gdLst>
                  <a:gd name="T0" fmla="*/ 400 w 1280"/>
                  <a:gd name="T1" fmla="*/ 0 h 1960"/>
                  <a:gd name="T2" fmla="*/ 600 w 1280"/>
                  <a:gd name="T3" fmla="*/ 0 h 1960"/>
                  <a:gd name="T4" fmla="*/ 600 w 1280"/>
                  <a:gd name="T5" fmla="*/ 640 h 1960"/>
                  <a:gd name="T6" fmla="*/ 0 w 1280"/>
                  <a:gd name="T7" fmla="*/ 640 h 1960"/>
                  <a:gd name="T8" fmla="*/ 0 w 1280"/>
                  <a:gd name="T9" fmla="*/ 400 h 1960"/>
                  <a:gd name="T10" fmla="*/ 400 w 1280"/>
                  <a:gd name="T11" fmla="*/ 0 h 1960"/>
                  <a:gd name="T12" fmla="*/ 680 w 1280"/>
                  <a:gd name="T13" fmla="*/ 0 h 1960"/>
                  <a:gd name="T14" fmla="*/ 880 w 1280"/>
                  <a:gd name="T15" fmla="*/ 0 h 1960"/>
                  <a:gd name="T16" fmla="*/ 1280 w 1280"/>
                  <a:gd name="T17" fmla="*/ 400 h 1960"/>
                  <a:gd name="T18" fmla="*/ 1280 w 1280"/>
                  <a:gd name="T19" fmla="*/ 640 h 1960"/>
                  <a:gd name="T20" fmla="*/ 680 w 1280"/>
                  <a:gd name="T21" fmla="*/ 640 h 1960"/>
                  <a:gd name="T22" fmla="*/ 680 w 1280"/>
                  <a:gd name="T23" fmla="*/ 0 h 1960"/>
                  <a:gd name="T24" fmla="*/ 1280 w 1280"/>
                  <a:gd name="T25" fmla="*/ 720 h 1960"/>
                  <a:gd name="T26" fmla="*/ 1280 w 1280"/>
                  <a:gd name="T27" fmla="*/ 1320 h 1960"/>
                  <a:gd name="T28" fmla="*/ 640 w 1280"/>
                  <a:gd name="T29" fmla="*/ 1960 h 1960"/>
                  <a:gd name="T30" fmla="*/ 0 w 1280"/>
                  <a:gd name="T31" fmla="*/ 1320 h 1960"/>
                  <a:gd name="T32" fmla="*/ 0 w 1280"/>
                  <a:gd name="T33" fmla="*/ 720 h 1960"/>
                  <a:gd name="T34" fmla="*/ 1280 w 1280"/>
                  <a:gd name="T35" fmla="*/ 720 h 19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80" h="1960">
                    <a:moveTo>
                      <a:pt x="400" y="0"/>
                    </a:moveTo>
                    <a:cubicBezTo>
                      <a:pt x="600" y="0"/>
                      <a:pt x="600" y="0"/>
                      <a:pt x="600" y="0"/>
                    </a:cubicBezTo>
                    <a:cubicBezTo>
                      <a:pt x="600" y="640"/>
                      <a:pt x="600" y="640"/>
                      <a:pt x="600" y="640"/>
                    </a:cubicBezTo>
                    <a:cubicBezTo>
                      <a:pt x="0" y="640"/>
                      <a:pt x="0" y="640"/>
                      <a:pt x="0" y="640"/>
                    </a:cubicBezTo>
                    <a:cubicBezTo>
                      <a:pt x="0" y="400"/>
                      <a:pt x="0" y="400"/>
                      <a:pt x="0" y="400"/>
                    </a:cubicBezTo>
                    <a:cubicBezTo>
                      <a:pt x="0" y="179"/>
                      <a:pt x="179" y="0"/>
                      <a:pt x="400" y="0"/>
                    </a:cubicBezTo>
                    <a:close/>
                    <a:moveTo>
                      <a:pt x="680" y="0"/>
                    </a:moveTo>
                    <a:cubicBezTo>
                      <a:pt x="880" y="0"/>
                      <a:pt x="880" y="0"/>
                      <a:pt x="880" y="0"/>
                    </a:cubicBezTo>
                    <a:cubicBezTo>
                      <a:pt x="1101" y="0"/>
                      <a:pt x="1280" y="179"/>
                      <a:pt x="1280" y="400"/>
                    </a:cubicBezTo>
                    <a:cubicBezTo>
                      <a:pt x="1280" y="640"/>
                      <a:pt x="1280" y="640"/>
                      <a:pt x="1280" y="640"/>
                    </a:cubicBezTo>
                    <a:cubicBezTo>
                      <a:pt x="680" y="640"/>
                      <a:pt x="680" y="640"/>
                      <a:pt x="680" y="640"/>
                    </a:cubicBezTo>
                    <a:lnTo>
                      <a:pt x="680" y="0"/>
                    </a:lnTo>
                    <a:close/>
                    <a:moveTo>
                      <a:pt x="1280" y="720"/>
                    </a:moveTo>
                    <a:cubicBezTo>
                      <a:pt x="1280" y="1320"/>
                      <a:pt x="1280" y="1320"/>
                      <a:pt x="1280" y="1320"/>
                    </a:cubicBezTo>
                    <a:cubicBezTo>
                      <a:pt x="1280" y="1674"/>
                      <a:pt x="994" y="1960"/>
                      <a:pt x="640" y="1960"/>
                    </a:cubicBezTo>
                    <a:cubicBezTo>
                      <a:pt x="286" y="1960"/>
                      <a:pt x="0" y="1674"/>
                      <a:pt x="0" y="1320"/>
                    </a:cubicBezTo>
                    <a:cubicBezTo>
                      <a:pt x="0" y="720"/>
                      <a:pt x="0" y="720"/>
                      <a:pt x="0" y="720"/>
                    </a:cubicBezTo>
                    <a:lnTo>
                      <a:pt x="1280" y="720"/>
                    </a:lnTo>
                    <a:close/>
                  </a:path>
                </a:pathLst>
              </a:custGeom>
              <a:solidFill>
                <a:srgbClr val="F23C3C"/>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414549"/>
                  </a:solidFill>
                  <a:effectLst/>
                  <a:uLnTx/>
                  <a:uFillTx/>
                  <a:latin typeface="Lato"/>
                  <a:ea typeface="+mn-ea"/>
                  <a:cs typeface="+mn-cs"/>
                </a:endParaRPr>
              </a:p>
            </p:txBody>
          </p:sp>
        </p:grpSp>
        <p:sp>
          <p:nvSpPr>
            <p:cNvPr id="43" name="TextBox 42">
              <a:extLst>
                <a:ext uri="{FF2B5EF4-FFF2-40B4-BE49-F238E27FC236}">
                  <a16:creationId xmlns:a16="http://schemas.microsoft.com/office/drawing/2014/main" id="{253DFE1A-20AF-4AE9-8B81-E85096254C0D}"/>
                </a:ext>
              </a:extLst>
            </p:cNvPr>
            <p:cNvSpPr txBox="1"/>
            <p:nvPr/>
          </p:nvSpPr>
          <p:spPr>
            <a:xfrm>
              <a:off x="3406173" y="5406914"/>
              <a:ext cx="788999" cy="338554"/>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F23C3C"/>
                  </a:solidFill>
                  <a:effectLst/>
                  <a:uLnTx/>
                  <a:uFillTx/>
                  <a:latin typeface="Lato"/>
                  <a:ea typeface="+mn-ea"/>
                  <a:cs typeface="+mn-cs"/>
                </a:rPr>
                <a:t>Online</a:t>
              </a:r>
              <a:endParaRPr kumimoji="0" lang="ru-RU" sz="1600" b="0" i="0" u="none" strike="noStrike" kern="1200" cap="none" spc="0" normalizeH="0" baseline="0" noProof="0" dirty="0">
                <a:ln>
                  <a:noFill/>
                </a:ln>
                <a:solidFill>
                  <a:srgbClr val="F23C3C"/>
                </a:solidFill>
                <a:effectLst/>
                <a:uLnTx/>
                <a:uFillTx/>
                <a:latin typeface="Lato"/>
                <a:ea typeface="+mn-ea"/>
                <a:cs typeface="+mn-cs"/>
              </a:endParaRPr>
            </a:p>
          </p:txBody>
        </p:sp>
      </p:grpSp>
      <p:grpSp>
        <p:nvGrpSpPr>
          <p:cNvPr id="46" name="Группа 45">
            <a:extLst>
              <a:ext uri="{FF2B5EF4-FFF2-40B4-BE49-F238E27FC236}">
                <a16:creationId xmlns:a16="http://schemas.microsoft.com/office/drawing/2014/main" id="{1F3ABE2F-2846-4644-83A7-6F2027E25D8B}"/>
              </a:ext>
            </a:extLst>
          </p:cNvPr>
          <p:cNvGrpSpPr/>
          <p:nvPr/>
        </p:nvGrpSpPr>
        <p:grpSpPr>
          <a:xfrm>
            <a:off x="2903602" y="4714145"/>
            <a:ext cx="813044" cy="1001587"/>
            <a:chOff x="4571857" y="2045887"/>
            <a:chExt cx="813044" cy="1001587"/>
          </a:xfrm>
        </p:grpSpPr>
        <p:sp>
          <p:nvSpPr>
            <p:cNvPr id="47" name="Freeform 38">
              <a:extLst>
                <a:ext uri="{FF2B5EF4-FFF2-40B4-BE49-F238E27FC236}">
                  <a16:creationId xmlns:a16="http://schemas.microsoft.com/office/drawing/2014/main" id="{204FAB18-0A40-4C54-BC6E-DDBC5733897E}"/>
                </a:ext>
              </a:extLst>
            </p:cNvPr>
            <p:cNvSpPr>
              <a:spLocks noChangeAspect="1" noEditPoints="1"/>
            </p:cNvSpPr>
            <p:nvPr>
              <p:custDataLst>
                <p:tags r:id="rId1"/>
              </p:custDataLst>
            </p:nvPr>
          </p:nvSpPr>
          <p:spPr bwMode="auto">
            <a:xfrm>
              <a:off x="4649195" y="2045887"/>
              <a:ext cx="658368" cy="684000"/>
            </a:xfrm>
            <a:custGeom>
              <a:avLst/>
              <a:gdLst>
                <a:gd name="T0" fmla="*/ 1281 w 2044"/>
                <a:gd name="T1" fmla="*/ 146 h 2124"/>
                <a:gd name="T2" fmla="*/ 1340 w 2044"/>
                <a:gd name="T3" fmla="*/ 237 h 2124"/>
                <a:gd name="T4" fmla="*/ 1329 w 2044"/>
                <a:gd name="T5" fmla="*/ 284 h 2124"/>
                <a:gd name="T6" fmla="*/ 509 w 2044"/>
                <a:gd name="T7" fmla="*/ 284 h 2124"/>
                <a:gd name="T8" fmla="*/ 558 w 2044"/>
                <a:gd name="T9" fmla="*/ 64 h 2124"/>
                <a:gd name="T10" fmla="*/ 643 w 2044"/>
                <a:gd name="T11" fmla="*/ 5 h 2124"/>
                <a:gd name="T12" fmla="*/ 1281 w 2044"/>
                <a:gd name="T13" fmla="*/ 146 h 2124"/>
                <a:gd name="T14" fmla="*/ 411 w 2044"/>
                <a:gd name="T15" fmla="*/ 1744 h 2124"/>
                <a:gd name="T16" fmla="*/ 524 w 2044"/>
                <a:gd name="T17" fmla="*/ 1924 h 2124"/>
                <a:gd name="T18" fmla="*/ 324 w 2044"/>
                <a:gd name="T19" fmla="*/ 2124 h 2124"/>
                <a:gd name="T20" fmla="*/ 124 w 2044"/>
                <a:gd name="T21" fmla="*/ 1924 h 2124"/>
                <a:gd name="T22" fmla="*/ 237 w 2044"/>
                <a:gd name="T23" fmla="*/ 1744 h 2124"/>
                <a:gd name="T24" fmla="*/ 124 w 2044"/>
                <a:gd name="T25" fmla="*/ 1744 h 2124"/>
                <a:gd name="T26" fmla="*/ 124 w 2044"/>
                <a:gd name="T27" fmla="*/ 1624 h 2124"/>
                <a:gd name="T28" fmla="*/ 1454 w 2044"/>
                <a:gd name="T29" fmla="*/ 1624 h 2124"/>
                <a:gd name="T30" fmla="*/ 1510 w 2044"/>
                <a:gd name="T31" fmla="*/ 1588 h 2124"/>
                <a:gd name="T32" fmla="*/ 1499 w 2044"/>
                <a:gd name="T33" fmla="*/ 1524 h 2124"/>
                <a:gd name="T34" fmla="*/ 1320 w 2044"/>
                <a:gd name="T35" fmla="*/ 1324 h 2124"/>
                <a:gd name="T36" fmla="*/ 487 w 2044"/>
                <a:gd name="T37" fmla="*/ 1324 h 2124"/>
                <a:gd name="T38" fmla="*/ 262 w 2044"/>
                <a:gd name="T39" fmla="*/ 1166 h 2124"/>
                <a:gd name="T40" fmla="*/ 9 w 2044"/>
                <a:gd name="T41" fmla="*/ 471 h 2124"/>
                <a:gd name="T42" fmla="*/ 18 w 2044"/>
                <a:gd name="T43" fmla="*/ 398 h 2124"/>
                <a:gd name="T44" fmla="*/ 84 w 2044"/>
                <a:gd name="T45" fmla="*/ 364 h 2124"/>
                <a:gd name="T46" fmla="*/ 1564 w 2044"/>
                <a:gd name="T47" fmla="*/ 364 h 2124"/>
                <a:gd name="T48" fmla="*/ 1602 w 2044"/>
                <a:gd name="T49" fmla="*/ 235 h 2124"/>
                <a:gd name="T50" fmla="*/ 1774 w 2044"/>
                <a:gd name="T51" fmla="*/ 104 h 2124"/>
                <a:gd name="T52" fmla="*/ 2044 w 2044"/>
                <a:gd name="T53" fmla="*/ 104 h 2124"/>
                <a:gd name="T54" fmla="*/ 2044 w 2044"/>
                <a:gd name="T55" fmla="*/ 224 h 2124"/>
                <a:gd name="T56" fmla="*/ 1774 w 2044"/>
                <a:gd name="T57" fmla="*/ 224 h 2124"/>
                <a:gd name="T58" fmla="*/ 1717 w 2044"/>
                <a:gd name="T59" fmla="*/ 268 h 2124"/>
                <a:gd name="T60" fmla="*/ 1431 w 2044"/>
                <a:gd name="T61" fmla="*/ 1269 h 2124"/>
                <a:gd name="T62" fmla="*/ 1588 w 2044"/>
                <a:gd name="T63" fmla="*/ 1444 h 2124"/>
                <a:gd name="T64" fmla="*/ 1619 w 2044"/>
                <a:gd name="T65" fmla="*/ 1637 h 2124"/>
                <a:gd name="T66" fmla="*/ 1454 w 2044"/>
                <a:gd name="T67" fmla="*/ 1744 h 2124"/>
                <a:gd name="T68" fmla="*/ 1451 w 2044"/>
                <a:gd name="T69" fmla="*/ 1744 h 2124"/>
                <a:gd name="T70" fmla="*/ 1564 w 2044"/>
                <a:gd name="T71" fmla="*/ 1924 h 2124"/>
                <a:gd name="T72" fmla="*/ 1364 w 2044"/>
                <a:gd name="T73" fmla="*/ 2124 h 2124"/>
                <a:gd name="T74" fmla="*/ 1164 w 2044"/>
                <a:gd name="T75" fmla="*/ 1924 h 2124"/>
                <a:gd name="T76" fmla="*/ 1277 w 2044"/>
                <a:gd name="T77" fmla="*/ 1744 h 2124"/>
                <a:gd name="T78" fmla="*/ 411 w 2044"/>
                <a:gd name="T79" fmla="*/ 1744 h 2124"/>
                <a:gd name="T80" fmla="*/ 1276 w 2044"/>
                <a:gd name="T81" fmla="*/ 524 h 2124"/>
                <a:gd name="T82" fmla="*/ 456 w 2044"/>
                <a:gd name="T83" fmla="*/ 524 h 2124"/>
                <a:gd name="T84" fmla="*/ 366 w 2044"/>
                <a:gd name="T85" fmla="*/ 931 h 2124"/>
                <a:gd name="T86" fmla="*/ 424 w 2044"/>
                <a:gd name="T87" fmla="*/ 1022 h 2124"/>
                <a:gd name="T88" fmla="*/ 1062 w 2044"/>
                <a:gd name="T89" fmla="*/ 1163 h 2124"/>
                <a:gd name="T90" fmla="*/ 1147 w 2044"/>
                <a:gd name="T91" fmla="*/ 1104 h 2124"/>
                <a:gd name="T92" fmla="*/ 1276 w 2044"/>
                <a:gd name="T93" fmla="*/ 524 h 2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044" h="2124">
                  <a:moveTo>
                    <a:pt x="1281" y="146"/>
                  </a:moveTo>
                  <a:cubicBezTo>
                    <a:pt x="1322" y="155"/>
                    <a:pt x="1349" y="196"/>
                    <a:pt x="1340" y="237"/>
                  </a:cubicBezTo>
                  <a:cubicBezTo>
                    <a:pt x="1329" y="284"/>
                    <a:pt x="1329" y="284"/>
                    <a:pt x="1329" y="284"/>
                  </a:cubicBezTo>
                  <a:cubicBezTo>
                    <a:pt x="509" y="284"/>
                    <a:pt x="509" y="284"/>
                    <a:pt x="509" y="284"/>
                  </a:cubicBezTo>
                  <a:cubicBezTo>
                    <a:pt x="558" y="64"/>
                    <a:pt x="558" y="64"/>
                    <a:pt x="558" y="64"/>
                  </a:cubicBezTo>
                  <a:cubicBezTo>
                    <a:pt x="567" y="25"/>
                    <a:pt x="604" y="0"/>
                    <a:pt x="643" y="5"/>
                  </a:cubicBezTo>
                  <a:lnTo>
                    <a:pt x="1281" y="146"/>
                  </a:lnTo>
                  <a:close/>
                  <a:moveTo>
                    <a:pt x="411" y="1744"/>
                  </a:moveTo>
                  <a:cubicBezTo>
                    <a:pt x="478" y="1776"/>
                    <a:pt x="524" y="1845"/>
                    <a:pt x="524" y="1924"/>
                  </a:cubicBezTo>
                  <a:cubicBezTo>
                    <a:pt x="524" y="2034"/>
                    <a:pt x="434" y="2124"/>
                    <a:pt x="324" y="2124"/>
                  </a:cubicBezTo>
                  <a:cubicBezTo>
                    <a:pt x="214" y="2124"/>
                    <a:pt x="124" y="2034"/>
                    <a:pt x="124" y="1924"/>
                  </a:cubicBezTo>
                  <a:cubicBezTo>
                    <a:pt x="124" y="1845"/>
                    <a:pt x="170" y="1776"/>
                    <a:pt x="237" y="1744"/>
                  </a:cubicBezTo>
                  <a:cubicBezTo>
                    <a:pt x="124" y="1744"/>
                    <a:pt x="124" y="1744"/>
                    <a:pt x="124" y="1744"/>
                  </a:cubicBezTo>
                  <a:cubicBezTo>
                    <a:pt x="124" y="1624"/>
                    <a:pt x="124" y="1624"/>
                    <a:pt x="124" y="1624"/>
                  </a:cubicBezTo>
                  <a:cubicBezTo>
                    <a:pt x="1454" y="1624"/>
                    <a:pt x="1454" y="1624"/>
                    <a:pt x="1454" y="1624"/>
                  </a:cubicBezTo>
                  <a:cubicBezTo>
                    <a:pt x="1480" y="1624"/>
                    <a:pt x="1499" y="1611"/>
                    <a:pt x="1510" y="1588"/>
                  </a:cubicBezTo>
                  <a:cubicBezTo>
                    <a:pt x="1520" y="1566"/>
                    <a:pt x="1516" y="1542"/>
                    <a:pt x="1499" y="1524"/>
                  </a:cubicBezTo>
                  <a:cubicBezTo>
                    <a:pt x="1320" y="1324"/>
                    <a:pt x="1320" y="1324"/>
                    <a:pt x="1320" y="1324"/>
                  </a:cubicBezTo>
                  <a:cubicBezTo>
                    <a:pt x="487" y="1324"/>
                    <a:pt x="487" y="1324"/>
                    <a:pt x="487" y="1324"/>
                  </a:cubicBezTo>
                  <a:cubicBezTo>
                    <a:pt x="385" y="1324"/>
                    <a:pt x="296" y="1262"/>
                    <a:pt x="262" y="1166"/>
                  </a:cubicBezTo>
                  <a:cubicBezTo>
                    <a:pt x="9" y="471"/>
                    <a:pt x="9" y="471"/>
                    <a:pt x="9" y="471"/>
                  </a:cubicBezTo>
                  <a:cubicBezTo>
                    <a:pt x="0" y="446"/>
                    <a:pt x="4" y="420"/>
                    <a:pt x="18" y="398"/>
                  </a:cubicBezTo>
                  <a:cubicBezTo>
                    <a:pt x="34" y="376"/>
                    <a:pt x="57" y="364"/>
                    <a:pt x="84" y="364"/>
                  </a:cubicBezTo>
                  <a:cubicBezTo>
                    <a:pt x="1564" y="364"/>
                    <a:pt x="1564" y="364"/>
                    <a:pt x="1564" y="364"/>
                  </a:cubicBezTo>
                  <a:cubicBezTo>
                    <a:pt x="1602" y="235"/>
                    <a:pt x="1602" y="235"/>
                    <a:pt x="1602" y="235"/>
                  </a:cubicBezTo>
                  <a:cubicBezTo>
                    <a:pt x="1624" y="157"/>
                    <a:pt x="1694" y="104"/>
                    <a:pt x="1774" y="104"/>
                  </a:cubicBezTo>
                  <a:cubicBezTo>
                    <a:pt x="2044" y="104"/>
                    <a:pt x="2044" y="104"/>
                    <a:pt x="2044" y="104"/>
                  </a:cubicBezTo>
                  <a:cubicBezTo>
                    <a:pt x="2044" y="224"/>
                    <a:pt x="2044" y="224"/>
                    <a:pt x="2044" y="224"/>
                  </a:cubicBezTo>
                  <a:cubicBezTo>
                    <a:pt x="1774" y="224"/>
                    <a:pt x="1774" y="224"/>
                    <a:pt x="1774" y="224"/>
                  </a:cubicBezTo>
                  <a:cubicBezTo>
                    <a:pt x="1747" y="224"/>
                    <a:pt x="1724" y="241"/>
                    <a:pt x="1717" y="268"/>
                  </a:cubicBezTo>
                  <a:cubicBezTo>
                    <a:pt x="1431" y="1269"/>
                    <a:pt x="1431" y="1269"/>
                    <a:pt x="1431" y="1269"/>
                  </a:cubicBezTo>
                  <a:cubicBezTo>
                    <a:pt x="1588" y="1444"/>
                    <a:pt x="1588" y="1444"/>
                    <a:pt x="1588" y="1444"/>
                  </a:cubicBezTo>
                  <a:cubicBezTo>
                    <a:pt x="1636" y="1497"/>
                    <a:pt x="1648" y="1572"/>
                    <a:pt x="1619" y="1637"/>
                  </a:cubicBezTo>
                  <a:cubicBezTo>
                    <a:pt x="1590" y="1703"/>
                    <a:pt x="1526" y="1744"/>
                    <a:pt x="1454" y="1744"/>
                  </a:cubicBezTo>
                  <a:cubicBezTo>
                    <a:pt x="1451" y="1744"/>
                    <a:pt x="1451" y="1744"/>
                    <a:pt x="1451" y="1744"/>
                  </a:cubicBezTo>
                  <a:cubicBezTo>
                    <a:pt x="1518" y="1776"/>
                    <a:pt x="1564" y="1845"/>
                    <a:pt x="1564" y="1924"/>
                  </a:cubicBezTo>
                  <a:cubicBezTo>
                    <a:pt x="1564" y="2034"/>
                    <a:pt x="1474" y="2124"/>
                    <a:pt x="1364" y="2124"/>
                  </a:cubicBezTo>
                  <a:cubicBezTo>
                    <a:pt x="1254" y="2124"/>
                    <a:pt x="1164" y="2034"/>
                    <a:pt x="1164" y="1924"/>
                  </a:cubicBezTo>
                  <a:cubicBezTo>
                    <a:pt x="1164" y="1845"/>
                    <a:pt x="1210" y="1776"/>
                    <a:pt x="1277" y="1744"/>
                  </a:cubicBezTo>
                  <a:lnTo>
                    <a:pt x="411" y="1744"/>
                  </a:lnTo>
                  <a:close/>
                  <a:moveTo>
                    <a:pt x="1276" y="524"/>
                  </a:moveTo>
                  <a:cubicBezTo>
                    <a:pt x="456" y="524"/>
                    <a:pt x="456" y="524"/>
                    <a:pt x="456" y="524"/>
                  </a:cubicBezTo>
                  <a:cubicBezTo>
                    <a:pt x="366" y="931"/>
                    <a:pt x="366" y="931"/>
                    <a:pt x="366" y="931"/>
                  </a:cubicBezTo>
                  <a:cubicBezTo>
                    <a:pt x="357" y="972"/>
                    <a:pt x="383" y="1013"/>
                    <a:pt x="424" y="1022"/>
                  </a:cubicBezTo>
                  <a:cubicBezTo>
                    <a:pt x="1062" y="1163"/>
                    <a:pt x="1062" y="1163"/>
                    <a:pt x="1062" y="1163"/>
                  </a:cubicBezTo>
                  <a:cubicBezTo>
                    <a:pt x="1102" y="1168"/>
                    <a:pt x="1139" y="1143"/>
                    <a:pt x="1147" y="1104"/>
                  </a:cubicBezTo>
                  <a:lnTo>
                    <a:pt x="1276" y="524"/>
                  </a:lnTo>
                  <a:close/>
                </a:path>
              </a:pathLst>
            </a:custGeom>
            <a:solidFill>
              <a:srgbClr val="7F7F7F"/>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414549"/>
                </a:solidFill>
                <a:effectLst/>
                <a:uLnTx/>
                <a:uFillTx/>
                <a:latin typeface="Lato"/>
                <a:ea typeface="+mn-ea"/>
                <a:cs typeface="+mn-cs"/>
              </a:endParaRPr>
            </a:p>
          </p:txBody>
        </p:sp>
        <p:sp>
          <p:nvSpPr>
            <p:cNvPr id="48" name="TextBox 47">
              <a:extLst>
                <a:ext uri="{FF2B5EF4-FFF2-40B4-BE49-F238E27FC236}">
                  <a16:creationId xmlns:a16="http://schemas.microsoft.com/office/drawing/2014/main" id="{74A57FFA-7A69-49C0-8C7F-AFC221861356}"/>
                </a:ext>
              </a:extLst>
            </p:cNvPr>
            <p:cNvSpPr txBox="1"/>
            <p:nvPr/>
          </p:nvSpPr>
          <p:spPr>
            <a:xfrm>
              <a:off x="4571857" y="2708920"/>
              <a:ext cx="813044" cy="338554"/>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7F7F7F"/>
                  </a:solidFill>
                  <a:effectLst/>
                  <a:uLnTx/>
                  <a:uFillTx/>
                  <a:latin typeface="Lato"/>
                  <a:ea typeface="+mn-ea"/>
                  <a:cs typeface="+mn-cs"/>
                </a:rPr>
                <a:t>Offline</a:t>
              </a:r>
              <a:endParaRPr kumimoji="0" lang="ru-RU" sz="1600" b="0" i="0" u="none" strike="noStrike" kern="1200" cap="none" spc="0" normalizeH="0" baseline="0" noProof="0" dirty="0">
                <a:ln>
                  <a:noFill/>
                </a:ln>
                <a:solidFill>
                  <a:srgbClr val="7F7F7F"/>
                </a:solidFill>
                <a:effectLst/>
                <a:uLnTx/>
                <a:uFillTx/>
                <a:latin typeface="Lato"/>
                <a:ea typeface="+mn-ea"/>
                <a:cs typeface="+mn-cs"/>
              </a:endParaRPr>
            </a:p>
          </p:txBody>
        </p:sp>
      </p:grpSp>
      <p:grpSp>
        <p:nvGrpSpPr>
          <p:cNvPr id="49" name="Группа 48">
            <a:extLst>
              <a:ext uri="{FF2B5EF4-FFF2-40B4-BE49-F238E27FC236}">
                <a16:creationId xmlns:a16="http://schemas.microsoft.com/office/drawing/2014/main" id="{0FB97D95-E532-4840-9684-9F72EE2F8E50}"/>
              </a:ext>
            </a:extLst>
          </p:cNvPr>
          <p:cNvGrpSpPr/>
          <p:nvPr/>
        </p:nvGrpSpPr>
        <p:grpSpPr>
          <a:xfrm>
            <a:off x="191002" y="2240868"/>
            <a:ext cx="2891732" cy="3888413"/>
            <a:chOff x="412622" y="2240868"/>
            <a:chExt cx="2891732" cy="3888413"/>
          </a:xfrm>
        </p:grpSpPr>
        <p:graphicFrame>
          <p:nvGraphicFramePr>
            <p:cNvPr id="50" name="Диаграмма 49">
              <a:extLst>
                <a:ext uri="{FF2B5EF4-FFF2-40B4-BE49-F238E27FC236}">
                  <a16:creationId xmlns:a16="http://schemas.microsoft.com/office/drawing/2014/main" id="{91AC6ADD-635C-4089-9883-D8D4B9FC2E22}"/>
                </a:ext>
              </a:extLst>
            </p:cNvPr>
            <p:cNvGraphicFramePr/>
            <p:nvPr/>
          </p:nvGraphicFramePr>
          <p:xfrm>
            <a:off x="412622" y="2240868"/>
            <a:ext cx="2891732" cy="3888413"/>
          </p:xfrm>
          <a:graphic>
            <a:graphicData uri="http://schemas.openxmlformats.org/drawingml/2006/chart">
              <c:chart xmlns:c="http://schemas.openxmlformats.org/drawingml/2006/chart" xmlns:r="http://schemas.openxmlformats.org/officeDocument/2006/relationships" r:id="rId4"/>
            </a:graphicData>
          </a:graphic>
        </p:graphicFrame>
        <p:sp>
          <p:nvSpPr>
            <p:cNvPr id="51" name="TextBox 50">
              <a:extLst>
                <a:ext uri="{FF2B5EF4-FFF2-40B4-BE49-F238E27FC236}">
                  <a16:creationId xmlns:a16="http://schemas.microsoft.com/office/drawing/2014/main" id="{A37C404A-9351-4E49-89F7-48278D119DD7}"/>
                </a:ext>
              </a:extLst>
            </p:cNvPr>
            <p:cNvSpPr txBox="1"/>
            <p:nvPr/>
          </p:nvSpPr>
          <p:spPr bwMode="gray">
            <a:xfrm>
              <a:off x="1674887" y="5193196"/>
              <a:ext cx="352661" cy="215444"/>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40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Lato"/>
                  <a:ea typeface="+mn-ea"/>
                  <a:cs typeface="Arial" pitchFamily="34" charset="0"/>
                </a:rPr>
                <a:t>6</a:t>
              </a:r>
              <a:r>
                <a:rPr kumimoji="0" lang="ru-RU" sz="1400" b="0" i="0" u="none" strike="noStrike" kern="1200" cap="none" spc="0" normalizeH="0" baseline="0" noProof="0" dirty="0">
                  <a:ln>
                    <a:noFill/>
                  </a:ln>
                  <a:solidFill>
                    <a:srgbClr val="FFFFFF"/>
                  </a:solidFill>
                  <a:effectLst/>
                  <a:uLnTx/>
                  <a:uFillTx/>
                  <a:latin typeface="Lato"/>
                  <a:ea typeface="+mn-ea"/>
                  <a:cs typeface="Arial" pitchFamily="34" charset="0"/>
                </a:rPr>
                <a:t>0%</a:t>
              </a:r>
              <a:endParaRPr kumimoji="0" lang="ru-RU" sz="1100" b="0" i="0" u="none" strike="noStrike" kern="1200" cap="none" spc="0" normalizeH="0" baseline="0" noProof="0" dirty="0">
                <a:ln>
                  <a:noFill/>
                </a:ln>
                <a:solidFill>
                  <a:srgbClr val="FFFFFF"/>
                </a:solidFill>
                <a:effectLst/>
                <a:uLnTx/>
                <a:uFillTx/>
                <a:latin typeface="Lato"/>
                <a:ea typeface="+mn-ea"/>
                <a:cs typeface="Arial" pitchFamily="34" charset="0"/>
              </a:endParaRPr>
            </a:p>
          </p:txBody>
        </p:sp>
        <p:sp>
          <p:nvSpPr>
            <p:cNvPr id="52" name="TextBox 51">
              <a:extLst>
                <a:ext uri="{FF2B5EF4-FFF2-40B4-BE49-F238E27FC236}">
                  <a16:creationId xmlns:a16="http://schemas.microsoft.com/office/drawing/2014/main" id="{38A50289-814D-4E17-BC6D-0A7B7D99170C}"/>
                </a:ext>
              </a:extLst>
            </p:cNvPr>
            <p:cNvSpPr txBox="1"/>
            <p:nvPr/>
          </p:nvSpPr>
          <p:spPr bwMode="gray">
            <a:xfrm>
              <a:off x="2488586" y="3249547"/>
              <a:ext cx="352661" cy="215444"/>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400"/>
                </a:spcBef>
                <a:spcAft>
                  <a:spcPts val="0"/>
                </a:spcAft>
                <a:buClrTx/>
                <a:buSzTx/>
                <a:buFontTx/>
                <a:buNone/>
                <a:tabLst/>
                <a:defRPr/>
              </a:pPr>
              <a:r>
                <a:rPr kumimoji="0" lang="ru-RU" sz="1400" b="0" i="0" u="none" strike="noStrike" kern="1200" cap="none" spc="0" normalizeH="0" baseline="0" noProof="0" dirty="0">
                  <a:ln>
                    <a:noFill/>
                  </a:ln>
                  <a:solidFill>
                    <a:srgbClr val="FFFFFF"/>
                  </a:solidFill>
                  <a:effectLst/>
                  <a:uLnTx/>
                  <a:uFillTx/>
                  <a:latin typeface="Lato"/>
                  <a:ea typeface="+mn-ea"/>
                  <a:cs typeface="Arial" pitchFamily="34" charset="0"/>
                </a:rPr>
                <a:t>40%</a:t>
              </a:r>
              <a:endParaRPr kumimoji="0" lang="ru-RU" sz="1100" b="0" i="0" u="none" strike="noStrike" kern="1200" cap="none" spc="0" normalizeH="0" baseline="0" noProof="0" dirty="0">
                <a:ln>
                  <a:noFill/>
                </a:ln>
                <a:solidFill>
                  <a:srgbClr val="FFFFFF"/>
                </a:solidFill>
                <a:effectLst/>
                <a:uLnTx/>
                <a:uFillTx/>
                <a:latin typeface="Lato"/>
                <a:ea typeface="+mn-ea"/>
                <a:cs typeface="Arial" pitchFamily="34" charset="0"/>
              </a:endParaRPr>
            </a:p>
          </p:txBody>
        </p:sp>
      </p:grpSp>
      <p:sp>
        <p:nvSpPr>
          <p:cNvPr id="53" name="TextBox 52">
            <a:extLst>
              <a:ext uri="{FF2B5EF4-FFF2-40B4-BE49-F238E27FC236}">
                <a16:creationId xmlns:a16="http://schemas.microsoft.com/office/drawing/2014/main" id="{770499C2-6904-43F4-8655-03893AA09EFE}"/>
              </a:ext>
            </a:extLst>
          </p:cNvPr>
          <p:cNvSpPr txBox="1"/>
          <p:nvPr/>
        </p:nvSpPr>
        <p:spPr bwMode="gray">
          <a:xfrm>
            <a:off x="2483341" y="2206950"/>
            <a:ext cx="660437" cy="369332"/>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400"/>
              </a:spcBef>
              <a:spcAft>
                <a:spcPts val="0"/>
              </a:spcAft>
              <a:buClrTx/>
              <a:buSzTx/>
              <a:buFontTx/>
              <a:buNone/>
              <a:tabLst/>
              <a:defRPr/>
            </a:pPr>
            <a:r>
              <a:rPr kumimoji="0" lang="en-US" sz="2400" b="1" i="0" u="none" strike="noStrike" kern="1200" cap="none" spc="0" normalizeH="0" baseline="0" noProof="0" dirty="0">
                <a:ln>
                  <a:noFill/>
                </a:ln>
                <a:solidFill>
                  <a:srgbClr val="F23C3C"/>
                </a:solidFill>
                <a:effectLst/>
                <a:uLnTx/>
                <a:uFillTx/>
                <a:latin typeface="Lato"/>
                <a:ea typeface="+mn-ea"/>
                <a:cs typeface="Arial" pitchFamily="34" charset="0"/>
              </a:rPr>
              <a:t>+</a:t>
            </a:r>
            <a:r>
              <a:rPr kumimoji="0" lang="ru-RU" sz="2400" b="1" i="0" u="none" strike="noStrike" kern="1200" cap="none" spc="0" normalizeH="0" baseline="0" noProof="0" dirty="0">
                <a:ln>
                  <a:noFill/>
                </a:ln>
                <a:solidFill>
                  <a:srgbClr val="F23C3C"/>
                </a:solidFill>
                <a:effectLst/>
                <a:uLnTx/>
                <a:uFillTx/>
                <a:latin typeface="Lato"/>
                <a:ea typeface="+mn-ea"/>
                <a:cs typeface="Arial" pitchFamily="34" charset="0"/>
              </a:rPr>
              <a:t>74</a:t>
            </a:r>
            <a:r>
              <a:rPr kumimoji="0" lang="ru-RU" sz="1200" b="1" i="0" u="none" strike="noStrike" kern="1200" cap="none" spc="0" normalizeH="0" baseline="0" noProof="0" dirty="0">
                <a:ln>
                  <a:noFill/>
                </a:ln>
                <a:solidFill>
                  <a:srgbClr val="F23C3C"/>
                </a:solidFill>
                <a:effectLst/>
                <a:uLnTx/>
                <a:uFillTx/>
                <a:latin typeface="Lato"/>
                <a:ea typeface="+mn-ea"/>
                <a:cs typeface="Arial" pitchFamily="34" charset="0"/>
              </a:rPr>
              <a:t>%</a:t>
            </a:r>
            <a:endParaRPr kumimoji="0" lang="ru-RU" sz="1800" b="1" i="0" u="none" strike="noStrike" kern="1200" cap="none" spc="0" normalizeH="0" baseline="0" noProof="0" dirty="0">
              <a:ln>
                <a:noFill/>
              </a:ln>
              <a:solidFill>
                <a:srgbClr val="F23C3C"/>
              </a:solidFill>
              <a:effectLst/>
              <a:uLnTx/>
              <a:uFillTx/>
              <a:latin typeface="Lato"/>
              <a:ea typeface="+mn-ea"/>
              <a:cs typeface="Arial" pitchFamily="34" charset="0"/>
            </a:endParaRPr>
          </a:p>
        </p:txBody>
      </p:sp>
      <p:sp>
        <p:nvSpPr>
          <p:cNvPr id="54" name="TextBox 53">
            <a:extLst>
              <a:ext uri="{FF2B5EF4-FFF2-40B4-BE49-F238E27FC236}">
                <a16:creationId xmlns:a16="http://schemas.microsoft.com/office/drawing/2014/main" id="{E27886C3-4366-4763-83E9-5712918FC14C}"/>
              </a:ext>
            </a:extLst>
          </p:cNvPr>
          <p:cNvSpPr txBox="1"/>
          <p:nvPr/>
        </p:nvSpPr>
        <p:spPr bwMode="gray">
          <a:xfrm>
            <a:off x="2567432" y="5841268"/>
            <a:ext cx="597921" cy="369332"/>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400"/>
              </a:spcBef>
              <a:spcAft>
                <a:spcPts val="0"/>
              </a:spcAft>
              <a:buClrTx/>
              <a:buSzTx/>
              <a:buFontTx/>
              <a:buNone/>
              <a:tabLst/>
              <a:defRPr/>
            </a:pPr>
            <a:r>
              <a:rPr kumimoji="0" lang="en-US" sz="2400" b="1" i="0" u="none" strike="noStrike" kern="1200" cap="none" spc="0" normalizeH="0" baseline="0" noProof="0" dirty="0">
                <a:ln>
                  <a:noFill/>
                </a:ln>
                <a:solidFill>
                  <a:srgbClr val="7F7F7F"/>
                </a:solidFill>
                <a:effectLst/>
                <a:uLnTx/>
                <a:uFillTx/>
                <a:latin typeface="Lato"/>
                <a:ea typeface="+mn-ea"/>
                <a:cs typeface="Arial" pitchFamily="34" charset="0"/>
              </a:rPr>
              <a:t>-</a:t>
            </a:r>
            <a:r>
              <a:rPr kumimoji="0" lang="ru-RU" sz="2400" b="1" i="0" u="none" strike="noStrike" kern="1200" cap="none" spc="0" normalizeH="0" baseline="0" noProof="0" dirty="0">
                <a:ln>
                  <a:noFill/>
                </a:ln>
                <a:solidFill>
                  <a:srgbClr val="7F7F7F"/>
                </a:solidFill>
                <a:effectLst/>
                <a:uLnTx/>
                <a:uFillTx/>
                <a:latin typeface="Lato"/>
                <a:ea typeface="+mn-ea"/>
                <a:cs typeface="Arial" pitchFamily="34" charset="0"/>
              </a:rPr>
              <a:t>11</a:t>
            </a:r>
            <a:r>
              <a:rPr kumimoji="0" lang="ru-RU" sz="1200" b="1" i="0" u="none" strike="noStrike" kern="1200" cap="none" spc="0" normalizeH="0" baseline="0" noProof="0" dirty="0">
                <a:ln>
                  <a:noFill/>
                </a:ln>
                <a:solidFill>
                  <a:srgbClr val="7F7F7F"/>
                </a:solidFill>
                <a:effectLst/>
                <a:uLnTx/>
                <a:uFillTx/>
                <a:latin typeface="Lato"/>
                <a:ea typeface="+mn-ea"/>
                <a:cs typeface="Arial" pitchFamily="34" charset="0"/>
              </a:rPr>
              <a:t>%</a:t>
            </a:r>
            <a:endParaRPr kumimoji="0" lang="ru-RU" sz="1800" b="1" i="0" u="none" strike="noStrike" kern="1200" cap="none" spc="0" normalizeH="0" baseline="0" noProof="0" dirty="0">
              <a:ln>
                <a:noFill/>
              </a:ln>
              <a:solidFill>
                <a:srgbClr val="7F7F7F"/>
              </a:solidFill>
              <a:effectLst/>
              <a:uLnTx/>
              <a:uFillTx/>
              <a:latin typeface="Lato"/>
              <a:ea typeface="+mn-ea"/>
              <a:cs typeface="Arial" pitchFamily="34" charset="0"/>
            </a:endParaRPr>
          </a:p>
        </p:txBody>
      </p:sp>
      <p:sp>
        <p:nvSpPr>
          <p:cNvPr id="55" name="Овал 54">
            <a:extLst>
              <a:ext uri="{FF2B5EF4-FFF2-40B4-BE49-F238E27FC236}">
                <a16:creationId xmlns:a16="http://schemas.microsoft.com/office/drawing/2014/main" id="{65640436-C9AE-4105-BA68-88DB3895CD5C}"/>
              </a:ext>
            </a:extLst>
          </p:cNvPr>
          <p:cNvSpPr/>
          <p:nvPr/>
        </p:nvSpPr>
        <p:spPr>
          <a:xfrm>
            <a:off x="2758718" y="2564904"/>
            <a:ext cx="180000" cy="180000"/>
          </a:xfrm>
          <a:prstGeom prst="ellipse">
            <a:avLst/>
          </a:prstGeom>
          <a:solidFill>
            <a:srgbClr val="F23C3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FFFFFF"/>
              </a:solidFill>
              <a:effectLst/>
              <a:uLnTx/>
              <a:uFillTx/>
              <a:latin typeface="Lato"/>
              <a:ea typeface="+mn-ea"/>
              <a:cs typeface="+mn-cs"/>
            </a:endParaRPr>
          </a:p>
        </p:txBody>
      </p:sp>
      <p:cxnSp>
        <p:nvCxnSpPr>
          <p:cNvPr id="56" name="Прямая соединительная линия 55">
            <a:extLst>
              <a:ext uri="{FF2B5EF4-FFF2-40B4-BE49-F238E27FC236}">
                <a16:creationId xmlns:a16="http://schemas.microsoft.com/office/drawing/2014/main" id="{40D91D79-45DD-4D5E-AB4B-D3BA03068055}"/>
              </a:ext>
            </a:extLst>
          </p:cNvPr>
          <p:cNvCxnSpPr/>
          <p:nvPr/>
        </p:nvCxnSpPr>
        <p:spPr>
          <a:xfrm flipH="1">
            <a:off x="1982945" y="2663216"/>
            <a:ext cx="213815" cy="429769"/>
          </a:xfrm>
          <a:prstGeom prst="line">
            <a:avLst/>
          </a:prstGeom>
          <a:ln>
            <a:solidFill>
              <a:srgbClr val="F23C3C"/>
            </a:solidFill>
          </a:ln>
        </p:spPr>
        <p:style>
          <a:lnRef idx="1">
            <a:schemeClr val="accent1"/>
          </a:lnRef>
          <a:fillRef idx="0">
            <a:schemeClr val="accent1"/>
          </a:fillRef>
          <a:effectRef idx="0">
            <a:schemeClr val="accent1"/>
          </a:effectRef>
          <a:fontRef idx="minor">
            <a:schemeClr val="tx1"/>
          </a:fontRef>
        </p:style>
      </p:cxnSp>
      <p:cxnSp>
        <p:nvCxnSpPr>
          <p:cNvPr id="57" name="Прямая соединительная линия 56">
            <a:extLst>
              <a:ext uri="{FF2B5EF4-FFF2-40B4-BE49-F238E27FC236}">
                <a16:creationId xmlns:a16="http://schemas.microsoft.com/office/drawing/2014/main" id="{8CDFCAD6-A9A1-47DA-8110-C0724CC4947A}"/>
              </a:ext>
            </a:extLst>
          </p:cNvPr>
          <p:cNvCxnSpPr/>
          <p:nvPr/>
        </p:nvCxnSpPr>
        <p:spPr>
          <a:xfrm>
            <a:off x="2196760" y="2663216"/>
            <a:ext cx="633946" cy="0"/>
          </a:xfrm>
          <a:prstGeom prst="line">
            <a:avLst/>
          </a:prstGeom>
          <a:ln>
            <a:solidFill>
              <a:srgbClr val="F23C3C"/>
            </a:solidFill>
          </a:ln>
        </p:spPr>
        <p:style>
          <a:lnRef idx="1">
            <a:schemeClr val="accent1"/>
          </a:lnRef>
          <a:fillRef idx="0">
            <a:schemeClr val="accent1"/>
          </a:fillRef>
          <a:effectRef idx="0">
            <a:schemeClr val="accent1"/>
          </a:effectRef>
          <a:fontRef idx="minor">
            <a:schemeClr val="tx1"/>
          </a:fontRef>
        </p:style>
      </p:cxnSp>
      <p:sp>
        <p:nvSpPr>
          <p:cNvPr id="58" name="Овал 57">
            <a:extLst>
              <a:ext uri="{FF2B5EF4-FFF2-40B4-BE49-F238E27FC236}">
                <a16:creationId xmlns:a16="http://schemas.microsoft.com/office/drawing/2014/main" id="{DFF03524-C7D7-4D98-92B9-FA424EE9406F}"/>
              </a:ext>
            </a:extLst>
          </p:cNvPr>
          <p:cNvSpPr/>
          <p:nvPr/>
        </p:nvSpPr>
        <p:spPr>
          <a:xfrm>
            <a:off x="2724736" y="5661241"/>
            <a:ext cx="180000" cy="180000"/>
          </a:xfrm>
          <a:prstGeom prst="ellipse">
            <a:avLst/>
          </a:prstGeom>
          <a:solidFill>
            <a:srgbClr val="7F7F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ru-RU" sz="1800" b="0" i="0" u="none" strike="noStrike" kern="1200" cap="none" spc="0" normalizeH="0" baseline="0" noProof="0" dirty="0">
              <a:ln>
                <a:noFill/>
              </a:ln>
              <a:solidFill>
                <a:srgbClr val="FFFFFF"/>
              </a:solidFill>
              <a:effectLst/>
              <a:uLnTx/>
              <a:uFillTx/>
              <a:latin typeface="Lato"/>
              <a:ea typeface="+mn-ea"/>
              <a:cs typeface="+mn-cs"/>
            </a:endParaRPr>
          </a:p>
        </p:txBody>
      </p:sp>
      <p:cxnSp>
        <p:nvCxnSpPr>
          <p:cNvPr id="59" name="Прямая соединительная линия 58">
            <a:extLst>
              <a:ext uri="{FF2B5EF4-FFF2-40B4-BE49-F238E27FC236}">
                <a16:creationId xmlns:a16="http://schemas.microsoft.com/office/drawing/2014/main" id="{FD4BBFD0-49D4-45FA-9E14-1E29013ACEB3}"/>
              </a:ext>
            </a:extLst>
          </p:cNvPr>
          <p:cNvCxnSpPr/>
          <p:nvPr/>
        </p:nvCxnSpPr>
        <p:spPr>
          <a:xfrm>
            <a:off x="1735509" y="5446356"/>
            <a:ext cx="377187" cy="304885"/>
          </a:xfrm>
          <a:prstGeom prst="line">
            <a:avLst/>
          </a:prstGeom>
          <a:ln>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60" name="Прямая соединительная линия 59">
            <a:extLst>
              <a:ext uri="{FF2B5EF4-FFF2-40B4-BE49-F238E27FC236}">
                <a16:creationId xmlns:a16="http://schemas.microsoft.com/office/drawing/2014/main" id="{B963B0A4-E0BB-41AD-B8E6-28032A5FCA30}"/>
              </a:ext>
            </a:extLst>
          </p:cNvPr>
          <p:cNvCxnSpPr/>
          <p:nvPr/>
        </p:nvCxnSpPr>
        <p:spPr>
          <a:xfrm>
            <a:off x="2112696" y="5751241"/>
            <a:ext cx="638592" cy="0"/>
          </a:xfrm>
          <a:prstGeom prst="line">
            <a:avLst/>
          </a:prstGeom>
          <a:ln>
            <a:solidFill>
              <a:srgbClr val="7F7F7F"/>
            </a:solidFill>
          </a:ln>
        </p:spPr>
        <p:style>
          <a:lnRef idx="1">
            <a:schemeClr val="accent1"/>
          </a:lnRef>
          <a:fillRef idx="0">
            <a:schemeClr val="accent1"/>
          </a:fillRef>
          <a:effectRef idx="0">
            <a:schemeClr val="accent1"/>
          </a:effectRef>
          <a:fontRef idx="minor">
            <a:schemeClr val="tx1"/>
          </a:fontRef>
        </p:style>
      </p:cxnSp>
      <p:sp>
        <p:nvSpPr>
          <p:cNvPr id="61" name="Текст 7">
            <a:extLst>
              <a:ext uri="{FF2B5EF4-FFF2-40B4-BE49-F238E27FC236}">
                <a16:creationId xmlns:a16="http://schemas.microsoft.com/office/drawing/2014/main" id="{2B5DAF4E-9A59-49AF-938B-BD6D08EEC6C2}"/>
              </a:ext>
            </a:extLst>
          </p:cNvPr>
          <p:cNvSpPr txBox="1">
            <a:spLocks/>
          </p:cNvSpPr>
          <p:nvPr/>
        </p:nvSpPr>
        <p:spPr>
          <a:xfrm>
            <a:off x="1011612" y="4075466"/>
            <a:ext cx="1217695" cy="360000"/>
          </a:xfrm>
          <a:prstGeom prst="rect">
            <a:avLst/>
          </a:prstGeom>
        </p:spPr>
        <p:txBody>
          <a:bodyPr vert="horz" wrap="none" lIns="0" tIns="0" rIns="0" bIns="0" rtlCol="0" anchor="ctr" anchorCtr="0"/>
          <a:lstStyle>
            <a:defPPr>
              <a:defRPr lang="en-US"/>
            </a:defPPr>
            <a:lvl1pPr marL="0" algn="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1" dirty="0">
                <a:solidFill>
                  <a:srgbClr val="414549"/>
                </a:solidFill>
                <a:latin typeface="Lato"/>
              </a:rPr>
              <a:t>W1-w23</a:t>
            </a:r>
            <a:r>
              <a:rPr kumimoji="0" lang="ru-RU" sz="1400" b="1" i="0" u="none" strike="noStrike" kern="1200" cap="none" spc="0" normalizeH="0" baseline="0" noProof="0" dirty="0">
                <a:ln>
                  <a:noFill/>
                </a:ln>
                <a:solidFill>
                  <a:srgbClr val="414549"/>
                </a:solidFill>
                <a:effectLst/>
                <a:uLnTx/>
                <a:uFillTx/>
                <a:latin typeface="Lato"/>
                <a:ea typeface="+mn-ea"/>
                <a:cs typeface="+mn-cs"/>
              </a:rPr>
              <a:t> 2020</a:t>
            </a:r>
          </a:p>
        </p:txBody>
      </p:sp>
      <p:pic>
        <p:nvPicPr>
          <p:cNvPr id="9" name="Рисунок 8">
            <a:extLst>
              <a:ext uri="{FF2B5EF4-FFF2-40B4-BE49-F238E27FC236}">
                <a16:creationId xmlns:a16="http://schemas.microsoft.com/office/drawing/2014/main" id="{87F331F7-65E6-4778-9B8B-2CAA04200FE1}"/>
              </a:ext>
            </a:extLst>
          </p:cNvPr>
          <p:cNvPicPr>
            <a:picLocks noChangeAspect="1"/>
          </p:cNvPicPr>
          <p:nvPr/>
        </p:nvPicPr>
        <p:blipFill>
          <a:blip r:embed="rId5"/>
          <a:stretch>
            <a:fillRect/>
          </a:stretch>
        </p:blipFill>
        <p:spPr>
          <a:xfrm>
            <a:off x="3760762" y="1929013"/>
            <a:ext cx="8162717" cy="4652906"/>
          </a:xfrm>
          <a:prstGeom prst="rect">
            <a:avLst/>
          </a:prstGeom>
        </p:spPr>
      </p:pic>
      <p:sp>
        <p:nvSpPr>
          <p:cNvPr id="35" name="Стрелка: вниз 34">
            <a:extLst>
              <a:ext uri="{FF2B5EF4-FFF2-40B4-BE49-F238E27FC236}">
                <a16:creationId xmlns:a16="http://schemas.microsoft.com/office/drawing/2014/main" id="{A0F1F7A4-7F57-4D31-97E4-300DDA4DFC4E}"/>
              </a:ext>
            </a:extLst>
          </p:cNvPr>
          <p:cNvSpPr/>
          <p:nvPr/>
        </p:nvSpPr>
        <p:spPr>
          <a:xfrm>
            <a:off x="8402018" y="3859026"/>
            <a:ext cx="427463" cy="792880"/>
          </a:xfrm>
          <a:prstGeom prst="downArrow">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ctr" defTabSz="914400" rtl="0" eaLnBrk="1" fontAlgn="auto" latinLnBrk="0" hangingPunct="1">
              <a:lnSpc>
                <a:spcPct val="125000"/>
              </a:lnSpc>
              <a:spcBef>
                <a:spcPts val="0"/>
              </a:spcBef>
              <a:spcAft>
                <a:spcPts val="0"/>
              </a:spcAft>
              <a:buClrTx/>
              <a:buSzTx/>
              <a:buFontTx/>
              <a:buNone/>
              <a:tabLst/>
              <a:defRPr/>
            </a:pPr>
            <a:endParaRPr kumimoji="0" lang="ru-RU" sz="1600" b="0" i="0" u="none" strike="noStrike" kern="1200" cap="none" spc="0" normalizeH="0" baseline="0" noProof="0" dirty="0">
              <a:ln>
                <a:noFill/>
              </a:ln>
              <a:solidFill>
                <a:srgbClr val="FFFFFF"/>
              </a:solidFill>
              <a:effectLst/>
              <a:uLnTx/>
              <a:uFillTx/>
              <a:latin typeface="Lato"/>
              <a:ea typeface="+mn-ea"/>
              <a:cs typeface="+mn-cs"/>
            </a:endParaRPr>
          </a:p>
        </p:txBody>
      </p:sp>
      <p:sp>
        <p:nvSpPr>
          <p:cNvPr id="36" name="TextBox 35">
            <a:extLst>
              <a:ext uri="{FF2B5EF4-FFF2-40B4-BE49-F238E27FC236}">
                <a16:creationId xmlns:a16="http://schemas.microsoft.com/office/drawing/2014/main" id="{3BC2C8DE-4790-4087-82E6-4ECB7A23C35D}"/>
              </a:ext>
            </a:extLst>
          </p:cNvPr>
          <p:cNvSpPr txBox="1"/>
          <p:nvPr/>
        </p:nvSpPr>
        <p:spPr>
          <a:xfrm>
            <a:off x="8158549" y="3092985"/>
            <a:ext cx="914400" cy="914400"/>
          </a:xfrm>
          <a:prstGeom prst="rect">
            <a:avLst/>
          </a:prstGeom>
          <a:noFill/>
        </p:spPr>
        <p:txBody>
          <a:bodyPr wrap="none" lIns="0" tIns="0" rIns="0" bIns="0" rtlCol="0" anchor="ctr">
            <a:noAutofit/>
          </a:bodyPr>
          <a:lstStyle/>
          <a:p>
            <a:pPr marL="0" marR="0" lvl="0" indent="0" algn="ctr" defTabSz="914400" rtl="0" eaLnBrk="1" fontAlgn="auto" latinLnBrk="0" hangingPunct="1">
              <a:lnSpc>
                <a:spcPct val="125000"/>
              </a:lnSpc>
              <a:spcBef>
                <a:spcPts val="0"/>
              </a:spcBef>
              <a:spcAft>
                <a:spcPts val="0"/>
              </a:spcAft>
              <a:buClr>
                <a:srgbClr val="E55A00"/>
              </a:buClr>
              <a:buSzTx/>
              <a:buFontTx/>
              <a:buNone/>
              <a:tabLst/>
              <a:defRPr/>
            </a:pPr>
            <a:r>
              <a:rPr kumimoji="0" lang="ru-RU" sz="3200" b="0" i="0" u="none" strike="noStrike" kern="1200" cap="none" spc="0" normalizeH="0" baseline="0" noProof="0" dirty="0">
                <a:ln>
                  <a:noFill/>
                </a:ln>
                <a:solidFill>
                  <a:srgbClr val="000000"/>
                </a:solidFill>
                <a:effectLst/>
                <a:uLnTx/>
                <a:uFillTx/>
                <a:latin typeface="Lato"/>
                <a:ea typeface="+mn-ea"/>
                <a:cs typeface="+mn-cs"/>
              </a:rPr>
              <a:t>-39.1</a:t>
            </a:r>
            <a:r>
              <a:rPr kumimoji="0" lang="ru-RU" sz="2000" b="1" i="0" u="none" strike="noStrike" kern="1200" cap="none" spc="0" normalizeH="0" baseline="0" noProof="0" dirty="0">
                <a:ln>
                  <a:noFill/>
                </a:ln>
                <a:solidFill>
                  <a:srgbClr val="000000"/>
                </a:solidFill>
                <a:effectLst/>
                <a:uLnTx/>
                <a:uFillTx/>
                <a:latin typeface="Lato"/>
                <a:ea typeface="+mn-ea"/>
                <a:cs typeface="+mn-cs"/>
              </a:rPr>
              <a:t>%</a:t>
            </a:r>
            <a:endParaRPr kumimoji="0" lang="ru-RU" sz="3200" b="1" i="0" u="none" strike="noStrike" kern="1200" cap="none" spc="0" normalizeH="0" baseline="0" noProof="0" dirty="0">
              <a:ln>
                <a:noFill/>
              </a:ln>
              <a:solidFill>
                <a:srgbClr val="000000"/>
              </a:solidFill>
              <a:effectLst/>
              <a:uLnTx/>
              <a:uFillTx/>
              <a:latin typeface="Lato"/>
              <a:ea typeface="+mn-ea"/>
              <a:cs typeface="+mn-cs"/>
            </a:endParaRPr>
          </a:p>
        </p:txBody>
      </p:sp>
      <p:sp>
        <p:nvSpPr>
          <p:cNvPr id="37" name="Стрелка: вниз 36">
            <a:extLst>
              <a:ext uri="{FF2B5EF4-FFF2-40B4-BE49-F238E27FC236}">
                <a16:creationId xmlns:a16="http://schemas.microsoft.com/office/drawing/2014/main" id="{93D2AD4F-B409-4F6D-A929-E92E0EF19AA2}"/>
              </a:ext>
            </a:extLst>
          </p:cNvPr>
          <p:cNvSpPr/>
          <p:nvPr/>
        </p:nvSpPr>
        <p:spPr>
          <a:xfrm flipV="1">
            <a:off x="11452648" y="2659535"/>
            <a:ext cx="427463" cy="603686"/>
          </a:xfrm>
          <a:prstGeom prst="downArrow">
            <a:avLst/>
          </a:prstGeom>
          <a:solidFill>
            <a:srgbClr val="2F9748"/>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ctr" defTabSz="914400" rtl="0" eaLnBrk="1" fontAlgn="auto" latinLnBrk="0" hangingPunct="1">
              <a:lnSpc>
                <a:spcPct val="125000"/>
              </a:lnSpc>
              <a:spcBef>
                <a:spcPts val="0"/>
              </a:spcBef>
              <a:spcAft>
                <a:spcPts val="0"/>
              </a:spcAft>
              <a:buClrTx/>
              <a:buSzTx/>
              <a:buFontTx/>
              <a:buNone/>
              <a:tabLst/>
              <a:defRPr/>
            </a:pPr>
            <a:endParaRPr kumimoji="0" lang="ru-RU" sz="1600" b="0" i="0" u="none" strike="noStrike" kern="1200" cap="none" spc="0" normalizeH="0" baseline="0" noProof="0" dirty="0">
              <a:ln>
                <a:noFill/>
              </a:ln>
              <a:solidFill>
                <a:srgbClr val="FFFFFF"/>
              </a:solidFill>
              <a:effectLst/>
              <a:uLnTx/>
              <a:uFillTx/>
              <a:latin typeface="Lato"/>
              <a:ea typeface="+mn-ea"/>
              <a:cs typeface="+mn-cs"/>
            </a:endParaRPr>
          </a:p>
        </p:txBody>
      </p:sp>
      <p:sp>
        <p:nvSpPr>
          <p:cNvPr id="38" name="TextBox 37">
            <a:extLst>
              <a:ext uri="{FF2B5EF4-FFF2-40B4-BE49-F238E27FC236}">
                <a16:creationId xmlns:a16="http://schemas.microsoft.com/office/drawing/2014/main" id="{C1BA6AB9-7D2C-470B-A9AB-31C750756AF9}"/>
              </a:ext>
            </a:extLst>
          </p:cNvPr>
          <p:cNvSpPr txBox="1"/>
          <p:nvPr/>
        </p:nvSpPr>
        <p:spPr>
          <a:xfrm>
            <a:off x="11209179" y="1934416"/>
            <a:ext cx="914400" cy="914400"/>
          </a:xfrm>
          <a:prstGeom prst="rect">
            <a:avLst/>
          </a:prstGeom>
          <a:noFill/>
        </p:spPr>
        <p:txBody>
          <a:bodyPr wrap="none" lIns="0" tIns="0" rIns="0" bIns="0" rtlCol="0" anchor="ctr">
            <a:noAutofit/>
          </a:bodyPr>
          <a:lstStyle/>
          <a:p>
            <a:pPr marL="0" marR="0" lvl="0" indent="0" algn="ctr" defTabSz="914400" rtl="0" eaLnBrk="1" fontAlgn="auto" latinLnBrk="0" hangingPunct="1">
              <a:lnSpc>
                <a:spcPct val="125000"/>
              </a:lnSpc>
              <a:spcBef>
                <a:spcPts val="0"/>
              </a:spcBef>
              <a:spcAft>
                <a:spcPts val="0"/>
              </a:spcAft>
              <a:buClr>
                <a:srgbClr val="E55A00"/>
              </a:buClr>
              <a:buSzTx/>
              <a:buFontTx/>
              <a:buNone/>
              <a:tabLst/>
              <a:defRPr/>
            </a:pPr>
            <a:r>
              <a:rPr kumimoji="0" lang="en-US" sz="2400" b="0" i="0" u="none" strike="noStrike" kern="1200" cap="none" spc="0" normalizeH="0" baseline="0" noProof="0" dirty="0">
                <a:ln>
                  <a:noFill/>
                </a:ln>
                <a:solidFill>
                  <a:srgbClr val="2F9748"/>
                </a:solidFill>
                <a:effectLst/>
                <a:uLnTx/>
                <a:uFillTx/>
                <a:latin typeface="Lato"/>
                <a:ea typeface="+mn-ea"/>
                <a:cs typeface="+mn-cs"/>
              </a:rPr>
              <a:t>+22</a:t>
            </a:r>
            <a:r>
              <a:rPr kumimoji="0" lang="ru-RU" sz="2400" b="0" i="0" u="none" strike="noStrike" kern="1200" cap="none" spc="0" normalizeH="0" baseline="0" noProof="0" dirty="0">
                <a:ln>
                  <a:noFill/>
                </a:ln>
                <a:solidFill>
                  <a:srgbClr val="2F9748"/>
                </a:solidFill>
                <a:effectLst/>
                <a:uLnTx/>
                <a:uFillTx/>
                <a:latin typeface="Lato"/>
                <a:ea typeface="+mn-ea"/>
                <a:cs typeface="+mn-cs"/>
              </a:rPr>
              <a:t>.</a:t>
            </a:r>
            <a:r>
              <a:rPr kumimoji="0" lang="en-US" sz="2400" b="0" i="0" u="none" strike="noStrike" kern="1200" cap="none" spc="0" normalizeH="0" baseline="0" noProof="0" dirty="0">
                <a:ln>
                  <a:noFill/>
                </a:ln>
                <a:solidFill>
                  <a:srgbClr val="2F9748"/>
                </a:solidFill>
                <a:effectLst/>
                <a:uLnTx/>
                <a:uFillTx/>
                <a:latin typeface="Lato"/>
                <a:ea typeface="+mn-ea"/>
                <a:cs typeface="+mn-cs"/>
              </a:rPr>
              <a:t>5</a:t>
            </a:r>
            <a:r>
              <a:rPr kumimoji="0" lang="ru-RU" sz="1600" b="1" i="0" u="none" strike="noStrike" kern="1200" cap="none" spc="0" normalizeH="0" baseline="0" noProof="0" dirty="0">
                <a:ln>
                  <a:noFill/>
                </a:ln>
                <a:solidFill>
                  <a:srgbClr val="2F9748"/>
                </a:solidFill>
                <a:effectLst/>
                <a:uLnTx/>
                <a:uFillTx/>
                <a:latin typeface="Lato"/>
                <a:ea typeface="+mn-ea"/>
                <a:cs typeface="+mn-cs"/>
              </a:rPr>
              <a:t>%</a:t>
            </a:r>
            <a:endParaRPr kumimoji="0" lang="ru-RU" sz="2400" b="1" i="0" u="none" strike="noStrike" kern="1200" cap="none" spc="0" normalizeH="0" baseline="0" noProof="0" dirty="0">
              <a:ln>
                <a:noFill/>
              </a:ln>
              <a:solidFill>
                <a:srgbClr val="2F9748"/>
              </a:solidFill>
              <a:effectLst/>
              <a:uLnTx/>
              <a:uFillTx/>
              <a:latin typeface="Lato"/>
              <a:ea typeface="+mn-ea"/>
              <a:cs typeface="+mn-cs"/>
            </a:endParaRPr>
          </a:p>
        </p:txBody>
      </p:sp>
      <p:sp>
        <p:nvSpPr>
          <p:cNvPr id="39" name="Заголовок 2">
            <a:extLst>
              <a:ext uri="{FF2B5EF4-FFF2-40B4-BE49-F238E27FC236}">
                <a16:creationId xmlns:a16="http://schemas.microsoft.com/office/drawing/2014/main" id="{319DDDF0-06AC-43A9-B677-01831A2568C8}"/>
              </a:ext>
            </a:extLst>
          </p:cNvPr>
          <p:cNvSpPr>
            <a:spLocks noGrp="1"/>
          </p:cNvSpPr>
          <p:nvPr>
            <p:ph type="title"/>
          </p:nvPr>
        </p:nvSpPr>
        <p:spPr>
          <a:xfrm>
            <a:off x="1075061" y="288923"/>
            <a:ext cx="9700939" cy="648000"/>
          </a:xfrm>
        </p:spPr>
        <p:txBody>
          <a:bodyPr/>
          <a:lstStyle/>
          <a:p>
            <a:r>
              <a:rPr lang="en-US" dirty="0"/>
              <a:t>Development of Online</a:t>
            </a:r>
          </a:p>
        </p:txBody>
      </p:sp>
      <p:sp>
        <p:nvSpPr>
          <p:cNvPr id="40" name="Подзаголовок 7">
            <a:extLst>
              <a:ext uri="{FF2B5EF4-FFF2-40B4-BE49-F238E27FC236}">
                <a16:creationId xmlns:a16="http://schemas.microsoft.com/office/drawing/2014/main" id="{99CC175F-9D98-4B98-B500-2890E26685FA}"/>
              </a:ext>
            </a:extLst>
          </p:cNvPr>
          <p:cNvSpPr>
            <a:spLocks noGrp="1"/>
          </p:cNvSpPr>
          <p:nvPr>
            <p:ph type="subTitle" idx="13"/>
          </p:nvPr>
        </p:nvSpPr>
        <p:spPr>
          <a:xfrm>
            <a:off x="1084424" y="1020125"/>
            <a:ext cx="9816557" cy="457588"/>
          </a:xfrm>
        </p:spPr>
        <p:txBody>
          <a:bodyPr/>
          <a:lstStyle/>
          <a:p>
            <a:r>
              <a:rPr lang="en-US" dirty="0">
                <a:solidFill>
                  <a:schemeClr val="tx2"/>
                </a:solidFill>
                <a:ea typeface="Lato" panose="020F0502020204030203" pitchFamily="34" charset="0"/>
                <a:cs typeface="Lato" panose="020F0502020204030203" pitchFamily="34" charset="0"/>
              </a:rPr>
              <a:t>During w14 the share on online reached its maximum.</a:t>
            </a:r>
          </a:p>
        </p:txBody>
      </p:sp>
      <p:sp>
        <p:nvSpPr>
          <p:cNvPr id="33" name="Текст 4">
            <a:extLst>
              <a:ext uri="{FF2B5EF4-FFF2-40B4-BE49-F238E27FC236}">
                <a16:creationId xmlns:a16="http://schemas.microsoft.com/office/drawing/2014/main" id="{0F2C967E-5272-446A-AF5D-17CCF4109028}"/>
              </a:ext>
            </a:extLst>
          </p:cNvPr>
          <p:cNvSpPr txBox="1">
            <a:spLocks/>
          </p:cNvSpPr>
          <p:nvPr/>
        </p:nvSpPr>
        <p:spPr bwMode="gray">
          <a:xfrm>
            <a:off x="431371" y="6509666"/>
            <a:ext cx="11328400" cy="192616"/>
          </a:xfrm>
          <a:prstGeom prst="rect">
            <a:avLst/>
          </a:prstGeom>
        </p:spPr>
        <p:txBody>
          <a:bodyPr vert="horz" lIns="0" tIns="0" rIns="0" bIns="36000" rtlCol="0" anchor="b" anchorCtr="0">
            <a:noAutofit/>
          </a:bodyPr>
          <a:lstStyle>
            <a:lvl1pPr marL="0" marR="0" indent="0" algn="l" defTabSz="1219170" rtl="0" eaLnBrk="1" fontAlgn="auto" latinLnBrk="0" hangingPunct="1">
              <a:lnSpc>
                <a:spcPct val="100000"/>
              </a:lnSpc>
              <a:spcBef>
                <a:spcPts val="0"/>
              </a:spcBef>
              <a:spcAft>
                <a:spcPts val="0"/>
              </a:spcAft>
              <a:buClrTx/>
              <a:buSzTx/>
              <a:buFont typeface="Arial" pitchFamily="34" charset="0"/>
              <a:buNone/>
              <a:tabLst/>
              <a:defRPr lang="de-DE" sz="1067" kern="1200" baseline="0" noProof="0" smtClean="0">
                <a:solidFill>
                  <a:schemeClr val="bg2"/>
                </a:solidFill>
                <a:latin typeface="Arial" pitchFamily="34" charset="0"/>
                <a:ea typeface="+mn-ea"/>
                <a:cs typeface="Arial" pitchFamily="34" charset="0"/>
              </a:defRPr>
            </a:lvl1pPr>
            <a:lvl2pPr marL="0" indent="0" algn="l" defTabSz="914400" rtl="0" eaLnBrk="1" latinLnBrk="0" hangingPunct="1">
              <a:lnSpc>
                <a:spcPct val="100000"/>
              </a:lnSpc>
              <a:spcBef>
                <a:spcPts val="0"/>
              </a:spcBef>
              <a:buClr>
                <a:schemeClr val="tx2"/>
              </a:buClr>
              <a:buFont typeface="Arial" panose="020B0604020202020204" pitchFamily="34" charset="0"/>
              <a:buNone/>
              <a:defRPr lang="de-DE" sz="1067" kern="1200" baseline="0" noProof="0" smtClean="0">
                <a:solidFill>
                  <a:schemeClr val="bg2"/>
                </a:solidFill>
                <a:latin typeface="Arial" pitchFamily="34" charset="0"/>
                <a:ea typeface="+mn-ea"/>
                <a:cs typeface="Arial" pitchFamily="34" charset="0"/>
              </a:defRPr>
            </a:lvl2pPr>
            <a:lvl3pPr marL="0" indent="0" algn="l" defTabSz="914400" rtl="0" eaLnBrk="1" latinLnBrk="0" hangingPunct="1">
              <a:lnSpc>
                <a:spcPct val="100000"/>
              </a:lnSpc>
              <a:spcBef>
                <a:spcPts val="0"/>
              </a:spcBef>
              <a:buClr>
                <a:schemeClr val="tx2"/>
              </a:buClr>
              <a:buFont typeface="Wingdings" panose="05000000000000000000" pitchFamily="2" charset="2"/>
              <a:buNone/>
              <a:defRPr lang="de-DE" sz="1067" kern="1200" baseline="0" noProof="0" smtClean="0">
                <a:solidFill>
                  <a:schemeClr val="bg2"/>
                </a:solidFill>
                <a:latin typeface="Arial" pitchFamily="34" charset="0"/>
                <a:ea typeface="+mn-ea"/>
                <a:cs typeface="Arial" pitchFamily="34" charset="0"/>
              </a:defRPr>
            </a:lvl3pPr>
            <a:lvl4pPr marL="0" indent="0" algn="l" defTabSz="914400" rtl="0" eaLnBrk="1" latinLnBrk="0" hangingPunct="1">
              <a:lnSpc>
                <a:spcPct val="100000"/>
              </a:lnSpc>
              <a:spcBef>
                <a:spcPts val="0"/>
              </a:spcBef>
              <a:buClr>
                <a:schemeClr val="tx2"/>
              </a:buClr>
              <a:buFont typeface="Lato" panose="020F0502020204030203" pitchFamily="34" charset="0"/>
              <a:buNone/>
              <a:defRPr lang="de-DE" sz="1067" kern="1200" baseline="0" noProof="0" smtClean="0">
                <a:solidFill>
                  <a:schemeClr val="bg2"/>
                </a:solidFill>
                <a:latin typeface="Arial" pitchFamily="34" charset="0"/>
                <a:ea typeface="+mn-ea"/>
                <a:cs typeface="Arial" pitchFamily="34" charset="0"/>
              </a:defRPr>
            </a:lvl4pPr>
            <a:lvl5pPr marL="0" indent="0" algn="l" defTabSz="914400" rtl="0" eaLnBrk="1" latinLnBrk="0" hangingPunct="1">
              <a:lnSpc>
                <a:spcPct val="100000"/>
              </a:lnSpc>
              <a:spcBef>
                <a:spcPts val="0"/>
              </a:spcBef>
              <a:buClr>
                <a:schemeClr val="tx2"/>
              </a:buClr>
              <a:buFont typeface="Wingdings" panose="05000000000000000000" pitchFamily="2" charset="2"/>
              <a:buNone/>
              <a:defRPr lang="de-DE" sz="1067" kern="1200" baseline="0" noProof="0" smtClean="0">
                <a:solidFill>
                  <a:schemeClr val="bg2"/>
                </a:solidFill>
                <a:latin typeface="Arial" pitchFamily="34" charset="0"/>
                <a:ea typeface="+mn-ea"/>
                <a:cs typeface="Arial" pitchFamily="34" charset="0"/>
              </a:defRPr>
            </a:lvl5pPr>
            <a:lvl6pPr marL="0" indent="0" algn="l" defTabSz="914400" rtl="0" eaLnBrk="1" latinLnBrk="0" hangingPunct="1">
              <a:lnSpc>
                <a:spcPct val="100000"/>
              </a:lnSpc>
              <a:spcBef>
                <a:spcPts val="0"/>
              </a:spcBef>
              <a:buFont typeface="Arial" panose="020B0604020202020204" pitchFamily="34" charset="0"/>
              <a:buNone/>
              <a:defRPr lang="de-DE" sz="1067" kern="1200" baseline="0" noProof="0" smtClean="0">
                <a:solidFill>
                  <a:schemeClr val="bg2"/>
                </a:solidFill>
                <a:latin typeface="Arial" pitchFamily="34" charset="0"/>
                <a:ea typeface="+mn-ea"/>
                <a:cs typeface="Arial" pitchFamily="34" charset="0"/>
              </a:defRPr>
            </a:lvl6pPr>
            <a:lvl7pPr marL="0" indent="0" algn="l" defTabSz="914400" rtl="0" eaLnBrk="1" latinLnBrk="0" hangingPunct="1">
              <a:lnSpc>
                <a:spcPct val="100000"/>
              </a:lnSpc>
              <a:spcBef>
                <a:spcPts val="0"/>
              </a:spcBef>
              <a:buFont typeface="Arial" panose="020B0604020202020204" pitchFamily="34" charset="0"/>
              <a:buNone/>
              <a:defRPr lang="de-DE" sz="1067" kern="1200" baseline="0" noProof="0" dirty="0" smtClean="0">
                <a:solidFill>
                  <a:schemeClr val="bg2"/>
                </a:solidFill>
                <a:latin typeface="Arial" pitchFamily="34" charset="0"/>
                <a:ea typeface="+mn-ea"/>
                <a:cs typeface="Arial" pitchFamily="34" charset="0"/>
              </a:defRPr>
            </a:lvl7pPr>
            <a:lvl8pPr marL="0" indent="0" algn="l" defTabSz="914400" rtl="0" eaLnBrk="1" latinLnBrk="0" hangingPunct="1">
              <a:lnSpc>
                <a:spcPct val="100000"/>
              </a:lnSpc>
              <a:spcBef>
                <a:spcPts val="0"/>
              </a:spcBef>
              <a:buFont typeface="Arial" panose="020B0604020202020204" pitchFamily="34" charset="0"/>
              <a:buNone/>
              <a:defRPr lang="de-DE" sz="1067" kern="1200" baseline="0" noProof="0" smtClean="0">
                <a:solidFill>
                  <a:schemeClr val="bg2"/>
                </a:solidFill>
                <a:latin typeface="Arial" pitchFamily="34" charset="0"/>
                <a:ea typeface="+mn-ea"/>
                <a:cs typeface="Arial" pitchFamily="34" charset="0"/>
              </a:defRPr>
            </a:lvl8pPr>
            <a:lvl9pPr marL="0" indent="0" algn="l" defTabSz="914400" rtl="0" eaLnBrk="1" latinLnBrk="0" hangingPunct="1">
              <a:lnSpc>
                <a:spcPct val="100000"/>
              </a:lnSpc>
              <a:spcBef>
                <a:spcPts val="0"/>
              </a:spcBef>
              <a:buFont typeface="Arial" panose="020B0604020202020204" pitchFamily="34" charset="0"/>
              <a:buNone/>
              <a:defRPr lang="de-DE" sz="1067" kern="1200" baseline="0" noProof="0" smtClean="0">
                <a:solidFill>
                  <a:schemeClr val="bg2"/>
                </a:solidFill>
                <a:latin typeface="Arial" pitchFamily="34" charset="0"/>
                <a:ea typeface="+mn-ea"/>
                <a:cs typeface="Arial" pitchFamily="34" charset="0"/>
              </a:defRPr>
            </a:lvl9pPr>
          </a:lstStyle>
          <a:p>
            <a:pPr marL="0" marR="0" lvl="0" indent="0" algn="l" defTabSz="1219170" rtl="0" eaLnBrk="1" fontAlgn="auto" latinLnBrk="0" hangingPunct="1">
              <a:lnSpc>
                <a:spcPct val="100000"/>
              </a:lnSpc>
              <a:spcBef>
                <a:spcPts val="0"/>
              </a:spcBef>
              <a:spcAft>
                <a:spcPts val="0"/>
              </a:spcAft>
              <a:buClrTx/>
              <a:buSzTx/>
              <a:buFont typeface="Arial" pitchFamily="34" charset="0"/>
              <a:buNone/>
              <a:tabLst/>
              <a:defRPr/>
            </a:pPr>
            <a:r>
              <a:rPr kumimoji="0" lang="en-US" sz="1067" b="0" i="0" u="none" strike="noStrike" kern="1200" cap="none" spc="0" normalizeH="0" baseline="0" noProof="0" dirty="0">
                <a:ln>
                  <a:noFill/>
                </a:ln>
                <a:solidFill>
                  <a:schemeClr val="tx1">
                    <a:lumMod val="75000"/>
                  </a:schemeClr>
                </a:solidFill>
                <a:effectLst/>
                <a:uLnTx/>
                <a:uFillTx/>
                <a:latin typeface="Arial" pitchFamily="34" charset="0"/>
                <a:ea typeface="+mn-ea"/>
                <a:cs typeface="Arial" pitchFamily="34" charset="0"/>
              </a:rPr>
              <a:t>Source: GfK POS </a:t>
            </a:r>
          </a:p>
        </p:txBody>
      </p:sp>
    </p:spTree>
    <p:extLst>
      <p:ext uri="{BB962C8B-B14F-4D97-AF65-F5344CB8AC3E}">
        <p14:creationId xmlns:p14="http://schemas.microsoft.com/office/powerpoint/2010/main" val="20711488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grpId="0" nodeType="clickEffect">
                                  <p:stCondLst>
                                    <p:cond delay="0"/>
                                  </p:stCondLst>
                                  <p:childTnLst>
                                    <p:set>
                                      <p:cBhvr>
                                        <p:cTn id="6" dur="1" fill="hold">
                                          <p:stCondLst>
                                            <p:cond delay="0"/>
                                          </p:stCondLst>
                                        </p:cTn>
                                        <p:tgtEl>
                                          <p:spTgt spid="35"/>
                                        </p:tgtEl>
                                        <p:attrNameLst>
                                          <p:attrName>style.visibility</p:attrName>
                                        </p:attrNameLst>
                                      </p:cBhvr>
                                      <p:to>
                                        <p:strVal val="visible"/>
                                      </p:to>
                                    </p:set>
                                    <p:animEffect transition="in" filter="wipe(up)">
                                      <p:cBhvr>
                                        <p:cTn id="7" dur="500"/>
                                        <p:tgtEl>
                                          <p:spTgt spid="35"/>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6"/>
                                        </p:tgtEl>
                                        <p:attrNameLst>
                                          <p:attrName>style.visibility</p:attrName>
                                        </p:attrNameLst>
                                      </p:cBhvr>
                                      <p:to>
                                        <p:strVal val="visible"/>
                                      </p:to>
                                    </p:set>
                                    <p:animEffect transition="in" filter="fade">
                                      <p:cBhvr>
                                        <p:cTn id="10" dur="500"/>
                                        <p:tgtEl>
                                          <p:spTgt spid="36"/>
                                        </p:tgtEl>
                                      </p:cBhvr>
                                    </p:animEffect>
                                  </p:childTnLst>
                                </p:cTn>
                              </p:par>
                            </p:childTnLst>
                          </p:cTn>
                        </p:par>
                        <p:par>
                          <p:cTn id="11" fill="hold">
                            <p:stCondLst>
                              <p:cond delay="500"/>
                            </p:stCondLst>
                            <p:childTnLst>
                              <p:par>
                                <p:cTn id="12" presetID="10" presetClass="entr" presetSubtype="0" fill="hold" grpId="0" nodeType="afterEffect">
                                  <p:stCondLst>
                                    <p:cond delay="0"/>
                                  </p:stCondLst>
                                  <p:childTnLst>
                                    <p:set>
                                      <p:cBhvr>
                                        <p:cTn id="13" dur="1" fill="hold">
                                          <p:stCondLst>
                                            <p:cond delay="0"/>
                                          </p:stCondLst>
                                        </p:cTn>
                                        <p:tgtEl>
                                          <p:spTgt spid="37"/>
                                        </p:tgtEl>
                                        <p:attrNameLst>
                                          <p:attrName>style.visibility</p:attrName>
                                        </p:attrNameLst>
                                      </p:cBhvr>
                                      <p:to>
                                        <p:strVal val="visible"/>
                                      </p:to>
                                    </p:set>
                                    <p:animEffect transition="in" filter="fade">
                                      <p:cBhvr>
                                        <p:cTn id="14" dur="500"/>
                                        <p:tgtEl>
                                          <p:spTgt spid="37"/>
                                        </p:tgtEl>
                                      </p:cBhvr>
                                    </p:animEffect>
                                  </p:childTnLst>
                                </p:cTn>
                              </p:par>
                              <p:par>
                                <p:cTn id="15" presetID="10" presetClass="entr" presetSubtype="0" fill="hold" grpId="0" nodeType="withEffect">
                                  <p:stCondLst>
                                    <p:cond delay="0"/>
                                  </p:stCondLst>
                                  <p:childTnLst>
                                    <p:set>
                                      <p:cBhvr>
                                        <p:cTn id="16" dur="1" fill="hold">
                                          <p:stCondLst>
                                            <p:cond delay="0"/>
                                          </p:stCondLst>
                                        </p:cTn>
                                        <p:tgtEl>
                                          <p:spTgt spid="38"/>
                                        </p:tgtEl>
                                        <p:attrNameLst>
                                          <p:attrName>style.visibility</p:attrName>
                                        </p:attrNameLst>
                                      </p:cBhvr>
                                      <p:to>
                                        <p:strVal val="visible"/>
                                      </p:to>
                                    </p:set>
                                    <p:animEffect transition="in" filter="fade">
                                      <p:cBhvr>
                                        <p:cTn id="17" dur="500"/>
                                        <p:tgtEl>
                                          <p:spTgt spid="3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5" grpId="0" animBg="1"/>
      <p:bldP spid="36" grpId="0"/>
      <p:bldP spid="37" grpId="0" animBg="1"/>
      <p:bldP spid="38" grpId="0"/>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Номер слайда 3">
            <a:extLst>
              <a:ext uri="{FF2B5EF4-FFF2-40B4-BE49-F238E27FC236}">
                <a16:creationId xmlns:a16="http://schemas.microsoft.com/office/drawing/2014/main" id="{B2DBA739-E2B2-4297-AF75-6818E687AD5E}"/>
              </a:ext>
            </a:extLst>
          </p:cNvPr>
          <p:cNvSpPr>
            <a:spLocks noGrp="1"/>
          </p:cNvSpPr>
          <p:nvPr>
            <p:ph type="sldNum" sz="quarter" idx="16"/>
          </p:nvPr>
        </p:nvSpPr>
        <p:spPr>
          <a:xfrm>
            <a:off x="11186669" y="6461671"/>
            <a:ext cx="648000" cy="133790"/>
          </a:xfrm>
        </p:spPr>
        <p:txBody>
          <a:bodyPr anchor="b">
            <a:normAutofit/>
          </a:bodyPr>
          <a:lstStyle/>
          <a:p>
            <a:pPr marL="0" marR="0" lvl="0" indent="0" algn="r" defTabSz="914400" rtl="0" eaLnBrk="1" fontAlgn="auto" latinLnBrk="0" hangingPunct="1">
              <a:lnSpc>
                <a:spcPct val="100000"/>
              </a:lnSpc>
              <a:spcBef>
                <a:spcPts val="0"/>
              </a:spcBef>
              <a:spcAft>
                <a:spcPts val="600"/>
              </a:spcAft>
              <a:buClrTx/>
              <a:buSzTx/>
              <a:buFontTx/>
              <a:buNone/>
              <a:tabLst/>
              <a:defRPr/>
            </a:pPr>
            <a:fld id="{5F3E29E4-0979-4FCA-B4C5-5FC6044C982A}" type="slidenum">
              <a:rPr kumimoji="0" lang="en-US" sz="800" b="0" i="0" u="none" strike="noStrike" kern="1200" cap="none" spc="0" normalizeH="0" baseline="0" noProof="0" smtClean="0">
                <a:ln>
                  <a:noFill/>
                </a:ln>
                <a:solidFill>
                  <a:srgbClr val="414549"/>
                </a:solidFill>
                <a:effectLst/>
                <a:uLnTx/>
                <a:uFillTx/>
                <a:latin typeface="Lato"/>
                <a:ea typeface="+mn-ea"/>
                <a:cs typeface="+mn-cs"/>
              </a:rPr>
              <a:pPr marL="0" marR="0" lvl="0" indent="0" algn="r" defTabSz="914400" rtl="0" eaLnBrk="1" fontAlgn="auto" latinLnBrk="0" hangingPunct="1">
                <a:lnSpc>
                  <a:spcPct val="100000"/>
                </a:lnSpc>
                <a:spcBef>
                  <a:spcPts val="0"/>
                </a:spcBef>
                <a:spcAft>
                  <a:spcPts val="600"/>
                </a:spcAft>
                <a:buClrTx/>
                <a:buSzTx/>
                <a:buFontTx/>
                <a:buNone/>
                <a:tabLst/>
                <a:defRPr/>
              </a:pPr>
              <a:t>23</a:t>
            </a:fld>
            <a:endParaRPr kumimoji="0" lang="en-US" sz="800" b="0" i="0" u="none" strike="noStrike" kern="1200" cap="none" spc="0" normalizeH="0" baseline="0" noProof="0">
              <a:ln>
                <a:noFill/>
              </a:ln>
              <a:solidFill>
                <a:srgbClr val="414549"/>
              </a:solidFill>
              <a:effectLst/>
              <a:uLnTx/>
              <a:uFillTx/>
              <a:latin typeface="Lato"/>
              <a:ea typeface="+mn-ea"/>
              <a:cs typeface="+mn-cs"/>
            </a:endParaRPr>
          </a:p>
        </p:txBody>
      </p:sp>
      <p:pic>
        <p:nvPicPr>
          <p:cNvPr id="7" name="Рисунок 6">
            <a:extLst>
              <a:ext uri="{FF2B5EF4-FFF2-40B4-BE49-F238E27FC236}">
                <a16:creationId xmlns:a16="http://schemas.microsoft.com/office/drawing/2014/main" id="{B0D381AB-F6FD-463B-AED9-59BBCEC117AC}"/>
              </a:ext>
            </a:extLst>
          </p:cNvPr>
          <p:cNvPicPr>
            <a:picLocks noChangeAspect="1"/>
          </p:cNvPicPr>
          <p:nvPr/>
        </p:nvPicPr>
        <p:blipFill>
          <a:blip r:embed="rId2"/>
          <a:stretch>
            <a:fillRect/>
          </a:stretch>
        </p:blipFill>
        <p:spPr>
          <a:xfrm>
            <a:off x="404224" y="1629617"/>
            <a:ext cx="11218308" cy="4599506"/>
          </a:xfrm>
          <a:prstGeom prst="rect">
            <a:avLst/>
          </a:prstGeom>
          <a:noFill/>
        </p:spPr>
      </p:pic>
      <p:sp>
        <p:nvSpPr>
          <p:cNvPr id="14" name="TextBox 13">
            <a:extLst>
              <a:ext uri="{FF2B5EF4-FFF2-40B4-BE49-F238E27FC236}">
                <a16:creationId xmlns:a16="http://schemas.microsoft.com/office/drawing/2014/main" id="{E0070A56-4B7B-43F8-B0D9-D2C09F1F39F0}"/>
              </a:ext>
            </a:extLst>
          </p:cNvPr>
          <p:cNvSpPr txBox="1"/>
          <p:nvPr/>
        </p:nvSpPr>
        <p:spPr>
          <a:xfrm>
            <a:off x="8702306" y="1183234"/>
            <a:ext cx="2405270" cy="427382"/>
          </a:xfrm>
          <a:prstGeom prst="rect">
            <a:avLst/>
          </a:prstGeom>
          <a:noFill/>
        </p:spPr>
        <p:txBody>
          <a:bodyPr wrap="none" lIns="0" tIns="0" rIns="0" bIns="0" rtlCol="0" anchor="ctr">
            <a:noAutofit/>
          </a:bodyPr>
          <a:lstStyle/>
          <a:p>
            <a:pPr marL="0" marR="0" lvl="0" indent="0" algn="ctr" defTabSz="914400" rtl="0" eaLnBrk="1" fontAlgn="auto" latinLnBrk="0" hangingPunct="1">
              <a:lnSpc>
                <a:spcPct val="125000"/>
              </a:lnSpc>
              <a:spcBef>
                <a:spcPts val="0"/>
              </a:spcBef>
              <a:spcAft>
                <a:spcPts val="0"/>
              </a:spcAft>
              <a:buClr>
                <a:srgbClr val="E55A00"/>
              </a:buClr>
              <a:buSzTx/>
              <a:buFontTx/>
              <a:buNone/>
              <a:tabLst/>
              <a:defRPr/>
            </a:pPr>
            <a:r>
              <a:rPr lang="en-US" sz="1600" dirty="0">
                <a:solidFill>
                  <a:srgbClr val="000000"/>
                </a:solidFill>
                <a:latin typeface="Lato"/>
              </a:rPr>
              <a:t>Lockdown</a:t>
            </a:r>
            <a:endParaRPr kumimoji="0" lang="ru-RU" sz="1600" b="0" i="0" u="none" strike="noStrike" kern="1200" cap="none" spc="0" normalizeH="0" baseline="0" noProof="0" dirty="0">
              <a:ln>
                <a:noFill/>
              </a:ln>
              <a:solidFill>
                <a:srgbClr val="000000"/>
              </a:solidFill>
              <a:effectLst/>
              <a:uLnTx/>
              <a:uFillTx/>
              <a:latin typeface="Lato"/>
              <a:ea typeface="+mn-ea"/>
              <a:cs typeface="+mn-cs"/>
            </a:endParaRPr>
          </a:p>
        </p:txBody>
      </p:sp>
      <p:sp>
        <p:nvSpPr>
          <p:cNvPr id="9" name="Прямоугольник 8">
            <a:extLst>
              <a:ext uri="{FF2B5EF4-FFF2-40B4-BE49-F238E27FC236}">
                <a16:creationId xmlns:a16="http://schemas.microsoft.com/office/drawing/2014/main" id="{0D731126-14BE-40EC-BD4C-6DB1246DECFC}"/>
              </a:ext>
            </a:extLst>
          </p:cNvPr>
          <p:cNvSpPr/>
          <p:nvPr/>
        </p:nvSpPr>
        <p:spPr>
          <a:xfrm>
            <a:off x="8383978" y="1610616"/>
            <a:ext cx="2802691" cy="4618507"/>
          </a:xfrm>
          <a:prstGeom prst="rect">
            <a:avLst/>
          </a:prstGeom>
          <a:noFill/>
          <a:ln w="38100">
            <a:solidFill>
              <a:srgbClr val="FF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US" sz="1600" dirty="0"/>
          </a:p>
        </p:txBody>
      </p:sp>
      <p:sp>
        <p:nvSpPr>
          <p:cNvPr id="17" name="Заголовок 2">
            <a:extLst>
              <a:ext uri="{FF2B5EF4-FFF2-40B4-BE49-F238E27FC236}">
                <a16:creationId xmlns:a16="http://schemas.microsoft.com/office/drawing/2014/main" id="{B878D043-8940-46FB-A41B-17B8BD913D9C}"/>
              </a:ext>
            </a:extLst>
          </p:cNvPr>
          <p:cNvSpPr>
            <a:spLocks noGrp="1"/>
          </p:cNvSpPr>
          <p:nvPr>
            <p:ph type="title"/>
          </p:nvPr>
        </p:nvSpPr>
        <p:spPr>
          <a:xfrm>
            <a:off x="1075061" y="288923"/>
            <a:ext cx="9700939" cy="648000"/>
          </a:xfrm>
        </p:spPr>
        <p:txBody>
          <a:bodyPr/>
          <a:lstStyle/>
          <a:p>
            <a:r>
              <a:rPr lang="en-US" dirty="0"/>
              <a:t>Development of Channels</a:t>
            </a:r>
          </a:p>
        </p:txBody>
      </p:sp>
      <p:sp>
        <p:nvSpPr>
          <p:cNvPr id="18" name="Подзаголовок 7">
            <a:extLst>
              <a:ext uri="{FF2B5EF4-FFF2-40B4-BE49-F238E27FC236}">
                <a16:creationId xmlns:a16="http://schemas.microsoft.com/office/drawing/2014/main" id="{D759F6C2-EABA-4D6A-84B8-7D01E9EAF58F}"/>
              </a:ext>
            </a:extLst>
          </p:cNvPr>
          <p:cNvSpPr>
            <a:spLocks noGrp="1"/>
          </p:cNvSpPr>
          <p:nvPr>
            <p:ph type="subTitle" idx="13"/>
          </p:nvPr>
        </p:nvSpPr>
        <p:spPr>
          <a:xfrm>
            <a:off x="1084424" y="1020125"/>
            <a:ext cx="9816557" cy="457588"/>
          </a:xfrm>
        </p:spPr>
        <p:txBody>
          <a:bodyPr/>
          <a:lstStyle/>
          <a:p>
            <a:r>
              <a:rPr lang="en-US" dirty="0">
                <a:solidFill>
                  <a:schemeClr val="tx2"/>
                </a:solidFill>
                <a:ea typeface="Lato" panose="020F0502020204030203" pitchFamily="34" charset="0"/>
                <a:cs typeface="Lato" panose="020F0502020204030203" pitchFamily="34" charset="0"/>
              </a:rPr>
              <a:t>Pure Players and Nat. Chains Online-the most developing channels.</a:t>
            </a:r>
          </a:p>
        </p:txBody>
      </p:sp>
      <p:sp>
        <p:nvSpPr>
          <p:cNvPr id="11" name="Текст 4">
            <a:extLst>
              <a:ext uri="{FF2B5EF4-FFF2-40B4-BE49-F238E27FC236}">
                <a16:creationId xmlns:a16="http://schemas.microsoft.com/office/drawing/2014/main" id="{DA877213-5734-467B-B5C1-5433B46FD61A}"/>
              </a:ext>
            </a:extLst>
          </p:cNvPr>
          <p:cNvSpPr txBox="1">
            <a:spLocks/>
          </p:cNvSpPr>
          <p:nvPr/>
        </p:nvSpPr>
        <p:spPr bwMode="gray">
          <a:xfrm>
            <a:off x="431371" y="6509666"/>
            <a:ext cx="11328400" cy="192616"/>
          </a:xfrm>
          <a:prstGeom prst="rect">
            <a:avLst/>
          </a:prstGeom>
        </p:spPr>
        <p:txBody>
          <a:bodyPr vert="horz" lIns="0" tIns="0" rIns="0" bIns="36000" rtlCol="0" anchor="b" anchorCtr="0">
            <a:noAutofit/>
          </a:bodyPr>
          <a:lstStyle>
            <a:lvl1pPr marL="0" marR="0" indent="0" algn="l" defTabSz="1219170" rtl="0" eaLnBrk="1" fontAlgn="auto" latinLnBrk="0" hangingPunct="1">
              <a:lnSpc>
                <a:spcPct val="100000"/>
              </a:lnSpc>
              <a:spcBef>
                <a:spcPts val="0"/>
              </a:spcBef>
              <a:spcAft>
                <a:spcPts val="0"/>
              </a:spcAft>
              <a:buClrTx/>
              <a:buSzTx/>
              <a:buFont typeface="Arial" pitchFamily="34" charset="0"/>
              <a:buNone/>
              <a:tabLst/>
              <a:defRPr lang="de-DE" sz="1067" kern="1200" baseline="0" noProof="0" smtClean="0">
                <a:solidFill>
                  <a:schemeClr val="bg2"/>
                </a:solidFill>
                <a:latin typeface="Arial" pitchFamily="34" charset="0"/>
                <a:ea typeface="+mn-ea"/>
                <a:cs typeface="Arial" pitchFamily="34" charset="0"/>
              </a:defRPr>
            </a:lvl1pPr>
            <a:lvl2pPr marL="0" indent="0" algn="l" defTabSz="914400" rtl="0" eaLnBrk="1" latinLnBrk="0" hangingPunct="1">
              <a:lnSpc>
                <a:spcPct val="100000"/>
              </a:lnSpc>
              <a:spcBef>
                <a:spcPts val="0"/>
              </a:spcBef>
              <a:buClr>
                <a:schemeClr val="tx2"/>
              </a:buClr>
              <a:buFont typeface="Arial" panose="020B0604020202020204" pitchFamily="34" charset="0"/>
              <a:buNone/>
              <a:defRPr lang="de-DE" sz="1067" kern="1200" baseline="0" noProof="0" smtClean="0">
                <a:solidFill>
                  <a:schemeClr val="bg2"/>
                </a:solidFill>
                <a:latin typeface="Arial" pitchFamily="34" charset="0"/>
                <a:ea typeface="+mn-ea"/>
                <a:cs typeface="Arial" pitchFamily="34" charset="0"/>
              </a:defRPr>
            </a:lvl2pPr>
            <a:lvl3pPr marL="0" indent="0" algn="l" defTabSz="914400" rtl="0" eaLnBrk="1" latinLnBrk="0" hangingPunct="1">
              <a:lnSpc>
                <a:spcPct val="100000"/>
              </a:lnSpc>
              <a:spcBef>
                <a:spcPts val="0"/>
              </a:spcBef>
              <a:buClr>
                <a:schemeClr val="tx2"/>
              </a:buClr>
              <a:buFont typeface="Wingdings" panose="05000000000000000000" pitchFamily="2" charset="2"/>
              <a:buNone/>
              <a:defRPr lang="de-DE" sz="1067" kern="1200" baseline="0" noProof="0" smtClean="0">
                <a:solidFill>
                  <a:schemeClr val="bg2"/>
                </a:solidFill>
                <a:latin typeface="Arial" pitchFamily="34" charset="0"/>
                <a:ea typeface="+mn-ea"/>
                <a:cs typeface="Arial" pitchFamily="34" charset="0"/>
              </a:defRPr>
            </a:lvl3pPr>
            <a:lvl4pPr marL="0" indent="0" algn="l" defTabSz="914400" rtl="0" eaLnBrk="1" latinLnBrk="0" hangingPunct="1">
              <a:lnSpc>
                <a:spcPct val="100000"/>
              </a:lnSpc>
              <a:spcBef>
                <a:spcPts val="0"/>
              </a:spcBef>
              <a:buClr>
                <a:schemeClr val="tx2"/>
              </a:buClr>
              <a:buFont typeface="Lato" panose="020F0502020204030203" pitchFamily="34" charset="0"/>
              <a:buNone/>
              <a:defRPr lang="de-DE" sz="1067" kern="1200" baseline="0" noProof="0" smtClean="0">
                <a:solidFill>
                  <a:schemeClr val="bg2"/>
                </a:solidFill>
                <a:latin typeface="Arial" pitchFamily="34" charset="0"/>
                <a:ea typeface="+mn-ea"/>
                <a:cs typeface="Arial" pitchFamily="34" charset="0"/>
              </a:defRPr>
            </a:lvl4pPr>
            <a:lvl5pPr marL="0" indent="0" algn="l" defTabSz="914400" rtl="0" eaLnBrk="1" latinLnBrk="0" hangingPunct="1">
              <a:lnSpc>
                <a:spcPct val="100000"/>
              </a:lnSpc>
              <a:spcBef>
                <a:spcPts val="0"/>
              </a:spcBef>
              <a:buClr>
                <a:schemeClr val="tx2"/>
              </a:buClr>
              <a:buFont typeface="Wingdings" panose="05000000000000000000" pitchFamily="2" charset="2"/>
              <a:buNone/>
              <a:defRPr lang="de-DE" sz="1067" kern="1200" baseline="0" noProof="0" smtClean="0">
                <a:solidFill>
                  <a:schemeClr val="bg2"/>
                </a:solidFill>
                <a:latin typeface="Arial" pitchFamily="34" charset="0"/>
                <a:ea typeface="+mn-ea"/>
                <a:cs typeface="Arial" pitchFamily="34" charset="0"/>
              </a:defRPr>
            </a:lvl5pPr>
            <a:lvl6pPr marL="0" indent="0" algn="l" defTabSz="914400" rtl="0" eaLnBrk="1" latinLnBrk="0" hangingPunct="1">
              <a:lnSpc>
                <a:spcPct val="100000"/>
              </a:lnSpc>
              <a:spcBef>
                <a:spcPts val="0"/>
              </a:spcBef>
              <a:buFont typeface="Arial" panose="020B0604020202020204" pitchFamily="34" charset="0"/>
              <a:buNone/>
              <a:defRPr lang="de-DE" sz="1067" kern="1200" baseline="0" noProof="0" smtClean="0">
                <a:solidFill>
                  <a:schemeClr val="bg2"/>
                </a:solidFill>
                <a:latin typeface="Arial" pitchFamily="34" charset="0"/>
                <a:ea typeface="+mn-ea"/>
                <a:cs typeface="Arial" pitchFamily="34" charset="0"/>
              </a:defRPr>
            </a:lvl6pPr>
            <a:lvl7pPr marL="0" indent="0" algn="l" defTabSz="914400" rtl="0" eaLnBrk="1" latinLnBrk="0" hangingPunct="1">
              <a:lnSpc>
                <a:spcPct val="100000"/>
              </a:lnSpc>
              <a:spcBef>
                <a:spcPts val="0"/>
              </a:spcBef>
              <a:buFont typeface="Arial" panose="020B0604020202020204" pitchFamily="34" charset="0"/>
              <a:buNone/>
              <a:defRPr lang="de-DE" sz="1067" kern="1200" baseline="0" noProof="0" dirty="0" smtClean="0">
                <a:solidFill>
                  <a:schemeClr val="bg2"/>
                </a:solidFill>
                <a:latin typeface="Arial" pitchFamily="34" charset="0"/>
                <a:ea typeface="+mn-ea"/>
                <a:cs typeface="Arial" pitchFamily="34" charset="0"/>
              </a:defRPr>
            </a:lvl7pPr>
            <a:lvl8pPr marL="0" indent="0" algn="l" defTabSz="914400" rtl="0" eaLnBrk="1" latinLnBrk="0" hangingPunct="1">
              <a:lnSpc>
                <a:spcPct val="100000"/>
              </a:lnSpc>
              <a:spcBef>
                <a:spcPts val="0"/>
              </a:spcBef>
              <a:buFont typeface="Arial" panose="020B0604020202020204" pitchFamily="34" charset="0"/>
              <a:buNone/>
              <a:defRPr lang="de-DE" sz="1067" kern="1200" baseline="0" noProof="0" smtClean="0">
                <a:solidFill>
                  <a:schemeClr val="bg2"/>
                </a:solidFill>
                <a:latin typeface="Arial" pitchFamily="34" charset="0"/>
                <a:ea typeface="+mn-ea"/>
                <a:cs typeface="Arial" pitchFamily="34" charset="0"/>
              </a:defRPr>
            </a:lvl8pPr>
            <a:lvl9pPr marL="0" indent="0" algn="l" defTabSz="914400" rtl="0" eaLnBrk="1" latinLnBrk="0" hangingPunct="1">
              <a:lnSpc>
                <a:spcPct val="100000"/>
              </a:lnSpc>
              <a:spcBef>
                <a:spcPts val="0"/>
              </a:spcBef>
              <a:buFont typeface="Arial" panose="020B0604020202020204" pitchFamily="34" charset="0"/>
              <a:buNone/>
              <a:defRPr lang="de-DE" sz="1067" kern="1200" baseline="0" noProof="0" smtClean="0">
                <a:solidFill>
                  <a:schemeClr val="bg2"/>
                </a:solidFill>
                <a:latin typeface="Arial" pitchFamily="34" charset="0"/>
                <a:ea typeface="+mn-ea"/>
                <a:cs typeface="Arial" pitchFamily="34" charset="0"/>
              </a:defRPr>
            </a:lvl9pPr>
          </a:lstStyle>
          <a:p>
            <a:pPr marL="0" marR="0" lvl="0" indent="0" algn="l" defTabSz="1219170" rtl="0" eaLnBrk="1" fontAlgn="auto" latinLnBrk="0" hangingPunct="1">
              <a:lnSpc>
                <a:spcPct val="100000"/>
              </a:lnSpc>
              <a:spcBef>
                <a:spcPts val="0"/>
              </a:spcBef>
              <a:spcAft>
                <a:spcPts val="0"/>
              </a:spcAft>
              <a:buClrTx/>
              <a:buSzTx/>
              <a:buFont typeface="Arial" pitchFamily="34" charset="0"/>
              <a:buNone/>
              <a:tabLst/>
              <a:defRPr/>
            </a:pPr>
            <a:r>
              <a:rPr kumimoji="0" lang="en-US" sz="1067" b="0" i="0" u="none" strike="noStrike" kern="1200" cap="none" spc="0" normalizeH="0" baseline="0" noProof="0" dirty="0">
                <a:ln>
                  <a:noFill/>
                </a:ln>
                <a:solidFill>
                  <a:schemeClr val="tx1">
                    <a:lumMod val="75000"/>
                  </a:schemeClr>
                </a:solidFill>
                <a:effectLst/>
                <a:uLnTx/>
                <a:uFillTx/>
                <a:latin typeface="Arial" pitchFamily="34" charset="0"/>
                <a:ea typeface="+mn-ea"/>
                <a:cs typeface="Arial" pitchFamily="34" charset="0"/>
              </a:rPr>
              <a:t>Source: GfK POS </a:t>
            </a:r>
          </a:p>
        </p:txBody>
      </p:sp>
    </p:spTree>
    <p:extLst>
      <p:ext uri="{BB962C8B-B14F-4D97-AF65-F5344CB8AC3E}">
        <p14:creationId xmlns:p14="http://schemas.microsoft.com/office/powerpoint/2010/main" val="3458168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Номер слайда 4">
            <a:extLst>
              <a:ext uri="{FF2B5EF4-FFF2-40B4-BE49-F238E27FC236}">
                <a16:creationId xmlns:a16="http://schemas.microsoft.com/office/drawing/2014/main" id="{72F60F0F-566A-478C-833B-B86E3B9E8CFB}"/>
              </a:ext>
            </a:extLst>
          </p:cNvPr>
          <p:cNvSpPr>
            <a:spLocks noGrp="1"/>
          </p:cNvSpPr>
          <p:nvPr>
            <p:ph type="sldNum" sz="quarter" idx="16"/>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F3E29E4-0979-4FCA-B4C5-5FC6044C982A}" type="slidenum">
              <a:rPr kumimoji="0" lang="en-US" sz="800" b="0" i="0" u="none" strike="noStrike" kern="1200" cap="none" spc="0" normalizeH="0" baseline="0" noProof="0" smtClean="0">
                <a:ln>
                  <a:noFill/>
                </a:ln>
                <a:solidFill>
                  <a:srgbClr val="414549"/>
                </a:solidFill>
                <a:effectLst/>
                <a:uLnTx/>
                <a:uFillTx/>
                <a:latin typeface="Lato"/>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800" b="0" i="0" u="none" strike="noStrike" kern="1200" cap="none" spc="0" normalizeH="0" baseline="0" noProof="0">
              <a:ln>
                <a:noFill/>
              </a:ln>
              <a:solidFill>
                <a:srgbClr val="414549"/>
              </a:solidFill>
              <a:effectLst/>
              <a:uLnTx/>
              <a:uFillTx/>
              <a:latin typeface="Lato"/>
              <a:ea typeface="+mn-ea"/>
              <a:cs typeface="+mn-cs"/>
            </a:endParaRPr>
          </a:p>
        </p:txBody>
      </p:sp>
      <p:graphicFrame>
        <p:nvGraphicFramePr>
          <p:cNvPr id="9" name="Диаграмма 8">
            <a:extLst>
              <a:ext uri="{FF2B5EF4-FFF2-40B4-BE49-F238E27FC236}">
                <a16:creationId xmlns:a16="http://schemas.microsoft.com/office/drawing/2014/main" id="{7C60E9B9-C140-4264-901C-41F6D229F94D}"/>
              </a:ext>
            </a:extLst>
          </p:cNvPr>
          <p:cNvGraphicFramePr/>
          <p:nvPr>
            <p:extLst>
              <p:ext uri="{D42A27DB-BD31-4B8C-83A1-F6EECF244321}">
                <p14:modId xmlns:p14="http://schemas.microsoft.com/office/powerpoint/2010/main" val="897217456"/>
              </p:ext>
            </p:extLst>
          </p:nvPr>
        </p:nvGraphicFramePr>
        <p:xfrm>
          <a:off x="192088" y="2184001"/>
          <a:ext cx="11319606" cy="4411460"/>
        </p:xfrm>
        <a:graphic>
          <a:graphicData uri="http://schemas.openxmlformats.org/drawingml/2006/chart">
            <c:chart xmlns:c="http://schemas.openxmlformats.org/drawingml/2006/chart" xmlns:r="http://schemas.openxmlformats.org/officeDocument/2006/relationships" r:id="rId2"/>
          </a:graphicData>
        </a:graphic>
      </p:graphicFrame>
      <p:sp>
        <p:nvSpPr>
          <p:cNvPr id="41" name="Заголовок 2">
            <a:extLst>
              <a:ext uri="{FF2B5EF4-FFF2-40B4-BE49-F238E27FC236}">
                <a16:creationId xmlns:a16="http://schemas.microsoft.com/office/drawing/2014/main" id="{49192C4C-3002-4DDC-A949-97819ACE07B1}"/>
              </a:ext>
            </a:extLst>
          </p:cNvPr>
          <p:cNvSpPr>
            <a:spLocks noGrp="1"/>
          </p:cNvSpPr>
          <p:nvPr>
            <p:ph type="title"/>
          </p:nvPr>
        </p:nvSpPr>
        <p:spPr>
          <a:xfrm>
            <a:off x="1075061" y="288923"/>
            <a:ext cx="9700939" cy="648000"/>
          </a:xfrm>
        </p:spPr>
        <p:txBody>
          <a:bodyPr/>
          <a:lstStyle/>
          <a:p>
            <a:r>
              <a:rPr lang="en-US" dirty="0"/>
              <a:t>MDA/SDA Main Product Groups</a:t>
            </a:r>
          </a:p>
        </p:txBody>
      </p:sp>
      <p:sp>
        <p:nvSpPr>
          <p:cNvPr id="42" name="Подзаголовок 7">
            <a:extLst>
              <a:ext uri="{FF2B5EF4-FFF2-40B4-BE49-F238E27FC236}">
                <a16:creationId xmlns:a16="http://schemas.microsoft.com/office/drawing/2014/main" id="{518A16F0-6144-4BFB-9ED0-453E05F09D9F}"/>
              </a:ext>
            </a:extLst>
          </p:cNvPr>
          <p:cNvSpPr>
            <a:spLocks noGrp="1"/>
          </p:cNvSpPr>
          <p:nvPr>
            <p:ph type="subTitle" idx="13"/>
          </p:nvPr>
        </p:nvSpPr>
        <p:spPr>
          <a:xfrm>
            <a:off x="1084424" y="1020125"/>
            <a:ext cx="9816557" cy="457588"/>
          </a:xfrm>
        </p:spPr>
        <p:txBody>
          <a:bodyPr/>
          <a:lstStyle/>
          <a:p>
            <a:r>
              <a:rPr lang="en-US" dirty="0">
                <a:solidFill>
                  <a:schemeClr val="tx2"/>
                </a:solidFill>
                <a:ea typeface="Lato" panose="020F0502020204030203" pitchFamily="34" charset="0"/>
                <a:cs typeface="Lato" panose="020F0502020204030203" pitchFamily="34" charset="0"/>
              </a:rPr>
              <a:t>W14-drop of sales of all main product groups.</a:t>
            </a:r>
          </a:p>
        </p:txBody>
      </p:sp>
      <p:sp>
        <p:nvSpPr>
          <p:cNvPr id="21" name="Прямоугольник: скругленные углы 20">
            <a:extLst>
              <a:ext uri="{FF2B5EF4-FFF2-40B4-BE49-F238E27FC236}">
                <a16:creationId xmlns:a16="http://schemas.microsoft.com/office/drawing/2014/main" id="{0AE3FAB5-A687-4077-8791-D42B0C00C35F}"/>
              </a:ext>
            </a:extLst>
          </p:cNvPr>
          <p:cNvSpPr/>
          <p:nvPr/>
        </p:nvSpPr>
        <p:spPr>
          <a:xfrm>
            <a:off x="6379540" y="5101953"/>
            <a:ext cx="3450466" cy="1344586"/>
          </a:xfrm>
          <a:prstGeom prst="roundRect">
            <a:avLst/>
          </a:prstGeom>
          <a:solidFill>
            <a:schemeClr val="bg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ctr" defTabSz="914400" rtl="0" eaLnBrk="1" fontAlgn="auto" latinLnBrk="0" hangingPunct="1">
              <a:lnSpc>
                <a:spcPct val="125000"/>
              </a:lnSpc>
              <a:spcBef>
                <a:spcPts val="0"/>
              </a:spcBef>
              <a:spcAft>
                <a:spcPts val="0"/>
              </a:spcAft>
              <a:buClrTx/>
              <a:buSzTx/>
              <a:buFontTx/>
              <a:buNone/>
              <a:tabLst/>
              <a:defRPr/>
            </a:pPr>
            <a:endParaRPr kumimoji="0" lang="ru-RU" sz="1600" b="0" i="0" u="none" strike="noStrike" kern="1200" cap="none" spc="0" normalizeH="0" baseline="0" noProof="0" dirty="0">
              <a:ln>
                <a:noFill/>
              </a:ln>
              <a:solidFill>
                <a:srgbClr val="FFFFFF"/>
              </a:solidFill>
              <a:effectLst/>
              <a:uLnTx/>
              <a:uFillTx/>
              <a:latin typeface="Lato"/>
              <a:ea typeface="+mn-ea"/>
              <a:cs typeface="+mn-cs"/>
            </a:endParaRPr>
          </a:p>
        </p:txBody>
      </p:sp>
      <p:sp>
        <p:nvSpPr>
          <p:cNvPr id="23" name="TextBox 22">
            <a:extLst>
              <a:ext uri="{FF2B5EF4-FFF2-40B4-BE49-F238E27FC236}">
                <a16:creationId xmlns:a16="http://schemas.microsoft.com/office/drawing/2014/main" id="{F5BBF89F-DC1D-40E8-9EA9-B3B1BA19EC27}"/>
              </a:ext>
            </a:extLst>
          </p:cNvPr>
          <p:cNvSpPr txBox="1"/>
          <p:nvPr/>
        </p:nvSpPr>
        <p:spPr>
          <a:xfrm>
            <a:off x="6533147" y="5295067"/>
            <a:ext cx="3017253" cy="842576"/>
          </a:xfrm>
          <a:prstGeom prst="rect">
            <a:avLst/>
          </a:prstGeom>
          <a:noFill/>
        </p:spPr>
        <p:txBody>
          <a:bodyPr wrap="square" lIns="0" tIns="0" rIns="0" bIns="0" rtlCol="0">
            <a:noAutofit/>
          </a:bodyPr>
          <a:lstStyle/>
          <a:p>
            <a:pPr marL="0" marR="0" lvl="0" indent="0" algn="ctr" defTabSz="914400" rtl="0" eaLnBrk="1" fontAlgn="auto" latinLnBrk="0" hangingPunct="1">
              <a:lnSpc>
                <a:spcPct val="125000"/>
              </a:lnSpc>
              <a:spcBef>
                <a:spcPts val="0"/>
              </a:spcBef>
              <a:spcAft>
                <a:spcPts val="0"/>
              </a:spcAft>
              <a:buClr>
                <a:srgbClr val="E55A00"/>
              </a:buClr>
              <a:buSzTx/>
              <a:buFontTx/>
              <a:buNone/>
              <a:tabLst/>
              <a:defRPr/>
            </a:pPr>
            <a:endParaRPr kumimoji="0" lang="en-US" sz="1600" b="0" i="0" u="none" strike="noStrike" kern="1200" cap="none" spc="0" normalizeH="0" baseline="0" noProof="0" dirty="0">
              <a:ln>
                <a:noFill/>
              </a:ln>
              <a:solidFill>
                <a:srgbClr val="000000"/>
              </a:solidFill>
              <a:effectLst/>
              <a:uLnTx/>
              <a:uFillTx/>
              <a:latin typeface="Lato"/>
              <a:ea typeface="+mn-ea"/>
              <a:cs typeface="+mn-cs"/>
            </a:endParaRPr>
          </a:p>
          <a:p>
            <a:pPr marL="0" marR="0" lvl="0" indent="0" algn="ctr" defTabSz="914400" rtl="0" eaLnBrk="1" fontAlgn="auto" latinLnBrk="0" hangingPunct="1">
              <a:lnSpc>
                <a:spcPct val="125000"/>
              </a:lnSpc>
              <a:spcBef>
                <a:spcPts val="0"/>
              </a:spcBef>
              <a:spcAft>
                <a:spcPts val="0"/>
              </a:spcAft>
              <a:buClr>
                <a:srgbClr val="E55A00"/>
              </a:buClr>
              <a:buSzTx/>
              <a:buFontTx/>
              <a:buNone/>
              <a:tabLst/>
              <a:defRPr/>
            </a:pPr>
            <a:r>
              <a:rPr kumimoji="0" lang="en-US" sz="1600" b="0" i="0" u="none" strike="noStrike" kern="1200" cap="none" spc="0" normalizeH="0" baseline="0" noProof="0" dirty="0">
                <a:ln>
                  <a:noFill/>
                </a:ln>
                <a:solidFill>
                  <a:srgbClr val="000000"/>
                </a:solidFill>
                <a:effectLst/>
                <a:uLnTx/>
                <a:uFillTx/>
                <a:latin typeface="Lato"/>
                <a:ea typeface="+mn-ea"/>
                <a:cs typeface="+mn-cs"/>
              </a:rPr>
              <a:t>W1-W23 2020</a:t>
            </a:r>
          </a:p>
          <a:p>
            <a:pPr marL="0" marR="0" lvl="0" indent="0" algn="ctr" defTabSz="914400" rtl="0" eaLnBrk="1" fontAlgn="auto" latinLnBrk="0" hangingPunct="1">
              <a:lnSpc>
                <a:spcPct val="125000"/>
              </a:lnSpc>
              <a:spcBef>
                <a:spcPts val="0"/>
              </a:spcBef>
              <a:spcAft>
                <a:spcPts val="0"/>
              </a:spcAft>
              <a:buClr>
                <a:srgbClr val="E55A00"/>
              </a:buClr>
              <a:buSzTx/>
              <a:buFontTx/>
              <a:buNone/>
              <a:tabLst/>
              <a:defRPr/>
            </a:pPr>
            <a:r>
              <a:rPr kumimoji="0" lang="en-US" sz="2800" b="0" i="0" u="none" strike="noStrike" kern="1200" cap="none" spc="0" normalizeH="0" baseline="0" noProof="0" dirty="0">
                <a:ln>
                  <a:noFill/>
                </a:ln>
                <a:solidFill>
                  <a:srgbClr val="000000"/>
                </a:solidFill>
                <a:effectLst/>
                <a:uLnTx/>
                <a:uFillTx/>
                <a:latin typeface="Lato"/>
                <a:ea typeface="+mn-ea"/>
                <a:cs typeface="+mn-cs"/>
              </a:rPr>
              <a:t>+13,9%</a:t>
            </a:r>
            <a:r>
              <a:rPr kumimoji="0" lang="ru-RU" sz="2800" b="0" i="0" u="none" strike="noStrike" kern="1200" cap="none" spc="0" normalizeH="0" baseline="0" noProof="0" dirty="0">
                <a:ln>
                  <a:noFill/>
                </a:ln>
                <a:solidFill>
                  <a:srgbClr val="000000"/>
                </a:solidFill>
                <a:effectLst/>
                <a:uLnTx/>
                <a:uFillTx/>
                <a:latin typeface="Lato"/>
                <a:ea typeface="+mn-ea"/>
                <a:cs typeface="+mn-cs"/>
              </a:rPr>
              <a:t> </a:t>
            </a:r>
          </a:p>
        </p:txBody>
      </p:sp>
      <p:sp>
        <p:nvSpPr>
          <p:cNvPr id="24" name="TextBox 23">
            <a:extLst>
              <a:ext uri="{FF2B5EF4-FFF2-40B4-BE49-F238E27FC236}">
                <a16:creationId xmlns:a16="http://schemas.microsoft.com/office/drawing/2014/main" id="{8415CFA4-CCC8-4289-A17D-A52F9DA84B8F}"/>
              </a:ext>
            </a:extLst>
          </p:cNvPr>
          <p:cNvSpPr txBox="1"/>
          <p:nvPr/>
        </p:nvSpPr>
        <p:spPr>
          <a:xfrm>
            <a:off x="6911536" y="5140368"/>
            <a:ext cx="2226647" cy="309398"/>
          </a:xfrm>
          <a:prstGeom prst="rect">
            <a:avLst/>
          </a:prstGeom>
          <a:noFill/>
        </p:spPr>
        <p:txBody>
          <a:bodyPr wrap="square" lIns="0" tIns="0" rIns="0" bIns="0" rtlCol="0">
            <a:noAutofit/>
          </a:bodyPr>
          <a:lstStyle/>
          <a:p>
            <a:pPr marL="0" marR="0" lvl="0" indent="0" algn="ctr" defTabSz="914400" rtl="0" eaLnBrk="1" fontAlgn="auto" latinLnBrk="0" hangingPunct="1">
              <a:lnSpc>
                <a:spcPct val="125000"/>
              </a:lnSpc>
              <a:spcBef>
                <a:spcPts val="0"/>
              </a:spcBef>
              <a:spcAft>
                <a:spcPts val="0"/>
              </a:spcAft>
              <a:buClr>
                <a:srgbClr val="E55A00"/>
              </a:buClr>
              <a:buSzTx/>
              <a:buFontTx/>
              <a:buNone/>
              <a:tabLst/>
              <a:defRPr/>
            </a:pPr>
            <a:r>
              <a:rPr lang="en-US" sz="2000" dirty="0">
                <a:solidFill>
                  <a:srgbClr val="000000"/>
                </a:solidFill>
                <a:latin typeface="Lato"/>
              </a:rPr>
              <a:t>MDA+SDA</a:t>
            </a:r>
            <a:r>
              <a:rPr kumimoji="0" lang="en-US" sz="2000" b="0" i="0" u="none" strike="noStrike" kern="1200" cap="none" spc="0" normalizeH="0" baseline="0" noProof="0" dirty="0">
                <a:ln>
                  <a:noFill/>
                </a:ln>
                <a:solidFill>
                  <a:srgbClr val="000000"/>
                </a:solidFill>
                <a:effectLst/>
                <a:uLnTx/>
                <a:uFillTx/>
                <a:latin typeface="Lato"/>
                <a:ea typeface="+mn-ea"/>
                <a:cs typeface="+mn-cs"/>
              </a:rPr>
              <a:t> Total</a:t>
            </a:r>
          </a:p>
        </p:txBody>
      </p:sp>
      <p:sp>
        <p:nvSpPr>
          <p:cNvPr id="2" name="TextBox 1">
            <a:extLst>
              <a:ext uri="{FF2B5EF4-FFF2-40B4-BE49-F238E27FC236}">
                <a16:creationId xmlns:a16="http://schemas.microsoft.com/office/drawing/2014/main" id="{9D15CA1A-5E80-4DC3-A1A3-0EAC80FDBF55}"/>
              </a:ext>
            </a:extLst>
          </p:cNvPr>
          <p:cNvSpPr txBox="1"/>
          <p:nvPr/>
        </p:nvSpPr>
        <p:spPr>
          <a:xfrm>
            <a:off x="5618747" y="2346158"/>
            <a:ext cx="914400" cy="914400"/>
          </a:xfrm>
          <a:prstGeom prst="rect">
            <a:avLst/>
          </a:prstGeom>
          <a:noFill/>
        </p:spPr>
        <p:txBody>
          <a:bodyPr wrap="none" lIns="0" tIns="0" rIns="0" bIns="0" rtlCol="0">
            <a:noAutofit/>
          </a:bodyPr>
          <a:lstStyle/>
          <a:p>
            <a:pPr marL="252000" marR="0" lvl="0" indent="-252000" algn="l" defTabSz="914400" rtl="0" eaLnBrk="1" fontAlgn="auto" latinLnBrk="0" hangingPunct="1">
              <a:lnSpc>
                <a:spcPct val="125000"/>
              </a:lnSpc>
              <a:spcBef>
                <a:spcPts val="0"/>
              </a:spcBef>
              <a:spcAft>
                <a:spcPts val="0"/>
              </a:spcAft>
              <a:buClr>
                <a:srgbClr val="E55A00"/>
              </a:buClr>
              <a:buSzTx/>
              <a:buFont typeface="Wingdings" panose="05000000000000000000" pitchFamily="2" charset="2"/>
              <a:buChar char="§"/>
              <a:tabLst/>
              <a:defRPr/>
            </a:pPr>
            <a:endParaRPr kumimoji="0" lang="en-US" sz="1600" b="0" i="0" u="none" strike="noStrike" kern="1200" cap="none" spc="0" normalizeH="0" baseline="0" noProof="0" dirty="0" err="1">
              <a:ln>
                <a:noFill/>
              </a:ln>
              <a:solidFill>
                <a:srgbClr val="414549"/>
              </a:solidFill>
              <a:effectLst/>
              <a:uLnTx/>
              <a:uFillTx/>
              <a:latin typeface="Lato"/>
              <a:ea typeface="+mn-ea"/>
              <a:cs typeface="+mn-cs"/>
            </a:endParaRPr>
          </a:p>
        </p:txBody>
      </p:sp>
      <p:sp>
        <p:nvSpPr>
          <p:cNvPr id="3" name="Прямоугольник 2">
            <a:extLst>
              <a:ext uri="{FF2B5EF4-FFF2-40B4-BE49-F238E27FC236}">
                <a16:creationId xmlns:a16="http://schemas.microsoft.com/office/drawing/2014/main" id="{20717F0B-F1C4-4CCE-9253-D7943BD302AA}"/>
              </a:ext>
            </a:extLst>
          </p:cNvPr>
          <p:cNvSpPr/>
          <p:nvPr/>
        </p:nvSpPr>
        <p:spPr>
          <a:xfrm>
            <a:off x="4225049" y="1548925"/>
            <a:ext cx="4015073"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Arial" pitchFamily="34" charset="0"/>
                <a:ea typeface="+mn-ea"/>
                <a:cs typeface="Arial" pitchFamily="34" charset="0"/>
              </a:rPr>
              <a:t>Sales Value Growth to Previous Year </a:t>
            </a:r>
            <a:endParaRPr kumimoji="0" lang="en-US" sz="1800" b="0" i="0" u="none" strike="noStrike" kern="1200" cap="none" spc="0" normalizeH="0" baseline="0" noProof="0" dirty="0">
              <a:ln>
                <a:noFill/>
              </a:ln>
              <a:solidFill>
                <a:srgbClr val="414549"/>
              </a:solidFill>
              <a:effectLst/>
              <a:uLnTx/>
              <a:uFillTx/>
              <a:latin typeface="Lato"/>
              <a:ea typeface="+mn-ea"/>
              <a:cs typeface="+mn-cs"/>
            </a:endParaRPr>
          </a:p>
        </p:txBody>
      </p:sp>
      <p:sp>
        <p:nvSpPr>
          <p:cNvPr id="11" name="Текст 4">
            <a:extLst>
              <a:ext uri="{FF2B5EF4-FFF2-40B4-BE49-F238E27FC236}">
                <a16:creationId xmlns:a16="http://schemas.microsoft.com/office/drawing/2014/main" id="{9DD88870-D5BE-4BC3-8A46-2A50A753E00B}"/>
              </a:ext>
            </a:extLst>
          </p:cNvPr>
          <p:cNvSpPr txBox="1">
            <a:spLocks/>
          </p:cNvSpPr>
          <p:nvPr/>
        </p:nvSpPr>
        <p:spPr bwMode="gray">
          <a:xfrm>
            <a:off x="431371" y="6509666"/>
            <a:ext cx="11328400" cy="192616"/>
          </a:xfrm>
          <a:prstGeom prst="rect">
            <a:avLst/>
          </a:prstGeom>
        </p:spPr>
        <p:txBody>
          <a:bodyPr vert="horz" lIns="0" tIns="0" rIns="0" bIns="36000" rtlCol="0" anchor="b" anchorCtr="0">
            <a:noAutofit/>
          </a:bodyPr>
          <a:lstStyle>
            <a:lvl1pPr marL="0" marR="0" indent="0" algn="l" defTabSz="1219170" rtl="0" eaLnBrk="1" fontAlgn="auto" latinLnBrk="0" hangingPunct="1">
              <a:lnSpc>
                <a:spcPct val="100000"/>
              </a:lnSpc>
              <a:spcBef>
                <a:spcPts val="0"/>
              </a:spcBef>
              <a:spcAft>
                <a:spcPts val="0"/>
              </a:spcAft>
              <a:buClrTx/>
              <a:buSzTx/>
              <a:buFont typeface="Arial" pitchFamily="34" charset="0"/>
              <a:buNone/>
              <a:tabLst/>
              <a:defRPr lang="de-DE" sz="1067" kern="1200" baseline="0" noProof="0" smtClean="0">
                <a:solidFill>
                  <a:schemeClr val="bg2"/>
                </a:solidFill>
                <a:latin typeface="Arial" pitchFamily="34" charset="0"/>
                <a:ea typeface="+mn-ea"/>
                <a:cs typeface="Arial" pitchFamily="34" charset="0"/>
              </a:defRPr>
            </a:lvl1pPr>
            <a:lvl2pPr marL="0" indent="0" algn="l" defTabSz="914400" rtl="0" eaLnBrk="1" latinLnBrk="0" hangingPunct="1">
              <a:lnSpc>
                <a:spcPct val="100000"/>
              </a:lnSpc>
              <a:spcBef>
                <a:spcPts val="0"/>
              </a:spcBef>
              <a:buClr>
                <a:schemeClr val="tx2"/>
              </a:buClr>
              <a:buFont typeface="Arial" panose="020B0604020202020204" pitchFamily="34" charset="0"/>
              <a:buNone/>
              <a:defRPr lang="de-DE" sz="1067" kern="1200" baseline="0" noProof="0" smtClean="0">
                <a:solidFill>
                  <a:schemeClr val="bg2"/>
                </a:solidFill>
                <a:latin typeface="Arial" pitchFamily="34" charset="0"/>
                <a:ea typeface="+mn-ea"/>
                <a:cs typeface="Arial" pitchFamily="34" charset="0"/>
              </a:defRPr>
            </a:lvl2pPr>
            <a:lvl3pPr marL="0" indent="0" algn="l" defTabSz="914400" rtl="0" eaLnBrk="1" latinLnBrk="0" hangingPunct="1">
              <a:lnSpc>
                <a:spcPct val="100000"/>
              </a:lnSpc>
              <a:spcBef>
                <a:spcPts val="0"/>
              </a:spcBef>
              <a:buClr>
                <a:schemeClr val="tx2"/>
              </a:buClr>
              <a:buFont typeface="Wingdings" panose="05000000000000000000" pitchFamily="2" charset="2"/>
              <a:buNone/>
              <a:defRPr lang="de-DE" sz="1067" kern="1200" baseline="0" noProof="0" smtClean="0">
                <a:solidFill>
                  <a:schemeClr val="bg2"/>
                </a:solidFill>
                <a:latin typeface="Arial" pitchFamily="34" charset="0"/>
                <a:ea typeface="+mn-ea"/>
                <a:cs typeface="Arial" pitchFamily="34" charset="0"/>
              </a:defRPr>
            </a:lvl3pPr>
            <a:lvl4pPr marL="0" indent="0" algn="l" defTabSz="914400" rtl="0" eaLnBrk="1" latinLnBrk="0" hangingPunct="1">
              <a:lnSpc>
                <a:spcPct val="100000"/>
              </a:lnSpc>
              <a:spcBef>
                <a:spcPts val="0"/>
              </a:spcBef>
              <a:buClr>
                <a:schemeClr val="tx2"/>
              </a:buClr>
              <a:buFont typeface="Lato" panose="020F0502020204030203" pitchFamily="34" charset="0"/>
              <a:buNone/>
              <a:defRPr lang="de-DE" sz="1067" kern="1200" baseline="0" noProof="0" smtClean="0">
                <a:solidFill>
                  <a:schemeClr val="bg2"/>
                </a:solidFill>
                <a:latin typeface="Arial" pitchFamily="34" charset="0"/>
                <a:ea typeface="+mn-ea"/>
                <a:cs typeface="Arial" pitchFamily="34" charset="0"/>
              </a:defRPr>
            </a:lvl4pPr>
            <a:lvl5pPr marL="0" indent="0" algn="l" defTabSz="914400" rtl="0" eaLnBrk="1" latinLnBrk="0" hangingPunct="1">
              <a:lnSpc>
                <a:spcPct val="100000"/>
              </a:lnSpc>
              <a:spcBef>
                <a:spcPts val="0"/>
              </a:spcBef>
              <a:buClr>
                <a:schemeClr val="tx2"/>
              </a:buClr>
              <a:buFont typeface="Wingdings" panose="05000000000000000000" pitchFamily="2" charset="2"/>
              <a:buNone/>
              <a:defRPr lang="de-DE" sz="1067" kern="1200" baseline="0" noProof="0" smtClean="0">
                <a:solidFill>
                  <a:schemeClr val="bg2"/>
                </a:solidFill>
                <a:latin typeface="Arial" pitchFamily="34" charset="0"/>
                <a:ea typeface="+mn-ea"/>
                <a:cs typeface="Arial" pitchFamily="34" charset="0"/>
              </a:defRPr>
            </a:lvl5pPr>
            <a:lvl6pPr marL="0" indent="0" algn="l" defTabSz="914400" rtl="0" eaLnBrk="1" latinLnBrk="0" hangingPunct="1">
              <a:lnSpc>
                <a:spcPct val="100000"/>
              </a:lnSpc>
              <a:spcBef>
                <a:spcPts val="0"/>
              </a:spcBef>
              <a:buFont typeface="Arial" panose="020B0604020202020204" pitchFamily="34" charset="0"/>
              <a:buNone/>
              <a:defRPr lang="de-DE" sz="1067" kern="1200" baseline="0" noProof="0" smtClean="0">
                <a:solidFill>
                  <a:schemeClr val="bg2"/>
                </a:solidFill>
                <a:latin typeface="Arial" pitchFamily="34" charset="0"/>
                <a:ea typeface="+mn-ea"/>
                <a:cs typeface="Arial" pitchFamily="34" charset="0"/>
              </a:defRPr>
            </a:lvl6pPr>
            <a:lvl7pPr marL="0" indent="0" algn="l" defTabSz="914400" rtl="0" eaLnBrk="1" latinLnBrk="0" hangingPunct="1">
              <a:lnSpc>
                <a:spcPct val="100000"/>
              </a:lnSpc>
              <a:spcBef>
                <a:spcPts val="0"/>
              </a:spcBef>
              <a:buFont typeface="Arial" panose="020B0604020202020204" pitchFamily="34" charset="0"/>
              <a:buNone/>
              <a:defRPr lang="de-DE" sz="1067" kern="1200" baseline="0" noProof="0" dirty="0" smtClean="0">
                <a:solidFill>
                  <a:schemeClr val="bg2"/>
                </a:solidFill>
                <a:latin typeface="Arial" pitchFamily="34" charset="0"/>
                <a:ea typeface="+mn-ea"/>
                <a:cs typeface="Arial" pitchFamily="34" charset="0"/>
              </a:defRPr>
            </a:lvl7pPr>
            <a:lvl8pPr marL="0" indent="0" algn="l" defTabSz="914400" rtl="0" eaLnBrk="1" latinLnBrk="0" hangingPunct="1">
              <a:lnSpc>
                <a:spcPct val="100000"/>
              </a:lnSpc>
              <a:spcBef>
                <a:spcPts val="0"/>
              </a:spcBef>
              <a:buFont typeface="Arial" panose="020B0604020202020204" pitchFamily="34" charset="0"/>
              <a:buNone/>
              <a:defRPr lang="de-DE" sz="1067" kern="1200" baseline="0" noProof="0" smtClean="0">
                <a:solidFill>
                  <a:schemeClr val="bg2"/>
                </a:solidFill>
                <a:latin typeface="Arial" pitchFamily="34" charset="0"/>
                <a:ea typeface="+mn-ea"/>
                <a:cs typeface="Arial" pitchFamily="34" charset="0"/>
              </a:defRPr>
            </a:lvl8pPr>
            <a:lvl9pPr marL="0" indent="0" algn="l" defTabSz="914400" rtl="0" eaLnBrk="1" latinLnBrk="0" hangingPunct="1">
              <a:lnSpc>
                <a:spcPct val="100000"/>
              </a:lnSpc>
              <a:spcBef>
                <a:spcPts val="0"/>
              </a:spcBef>
              <a:buFont typeface="Arial" panose="020B0604020202020204" pitchFamily="34" charset="0"/>
              <a:buNone/>
              <a:defRPr lang="de-DE" sz="1067" kern="1200" baseline="0" noProof="0" smtClean="0">
                <a:solidFill>
                  <a:schemeClr val="bg2"/>
                </a:solidFill>
                <a:latin typeface="Arial" pitchFamily="34" charset="0"/>
                <a:ea typeface="+mn-ea"/>
                <a:cs typeface="Arial" pitchFamily="34" charset="0"/>
              </a:defRPr>
            </a:lvl9pPr>
          </a:lstStyle>
          <a:p>
            <a:pPr marL="0" marR="0" lvl="0" indent="0" algn="l" defTabSz="1219170" rtl="0" eaLnBrk="1" fontAlgn="auto" latinLnBrk="0" hangingPunct="1">
              <a:lnSpc>
                <a:spcPct val="100000"/>
              </a:lnSpc>
              <a:spcBef>
                <a:spcPts val="0"/>
              </a:spcBef>
              <a:spcAft>
                <a:spcPts val="0"/>
              </a:spcAft>
              <a:buClrTx/>
              <a:buSzTx/>
              <a:buFont typeface="Arial" pitchFamily="34" charset="0"/>
              <a:buNone/>
              <a:tabLst/>
              <a:defRPr/>
            </a:pPr>
            <a:r>
              <a:rPr kumimoji="0" lang="en-US" sz="1067" b="0" i="0" u="none" strike="noStrike" kern="1200" cap="none" spc="0" normalizeH="0" baseline="0" noProof="0" dirty="0">
                <a:ln>
                  <a:noFill/>
                </a:ln>
                <a:solidFill>
                  <a:schemeClr val="tx1">
                    <a:lumMod val="75000"/>
                  </a:schemeClr>
                </a:solidFill>
                <a:effectLst/>
                <a:uLnTx/>
                <a:uFillTx/>
                <a:latin typeface="Arial" pitchFamily="34" charset="0"/>
                <a:ea typeface="+mn-ea"/>
                <a:cs typeface="Arial" pitchFamily="34" charset="0"/>
              </a:rPr>
              <a:t>Source: GfK POS </a:t>
            </a:r>
          </a:p>
        </p:txBody>
      </p:sp>
    </p:spTree>
    <p:extLst>
      <p:ext uri="{BB962C8B-B14F-4D97-AF65-F5344CB8AC3E}">
        <p14:creationId xmlns:p14="http://schemas.microsoft.com/office/powerpoint/2010/main" val="34829421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Прямоугольник 20">
            <a:extLst>
              <a:ext uri="{FF2B5EF4-FFF2-40B4-BE49-F238E27FC236}">
                <a16:creationId xmlns:a16="http://schemas.microsoft.com/office/drawing/2014/main" id="{A6E3801B-E2F7-4648-AB82-BB5D0AB88E94}"/>
              </a:ext>
            </a:extLst>
          </p:cNvPr>
          <p:cNvSpPr/>
          <p:nvPr/>
        </p:nvSpPr>
        <p:spPr>
          <a:xfrm>
            <a:off x="9390743" y="2008627"/>
            <a:ext cx="1161143" cy="4618507"/>
          </a:xfrm>
          <a:prstGeom prst="rect">
            <a:avLst/>
          </a:prstGeom>
          <a:noFill/>
          <a:ln w="38100">
            <a:solidFill>
              <a:srgbClr val="FF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US" sz="1600" dirty="0"/>
          </a:p>
        </p:txBody>
      </p:sp>
      <p:pic>
        <p:nvPicPr>
          <p:cNvPr id="2" name="Picture 1"/>
          <p:cNvPicPr>
            <a:picLocks/>
          </p:cNvPicPr>
          <p:nvPr/>
        </p:nvPicPr>
        <p:blipFill>
          <a:blip r:embed="rId2">
            <a:extLst>
              <a:ext uri="{28A0092B-C50C-407E-A947-70E740481C1C}">
                <a14:useLocalDpi xmlns:a14="http://schemas.microsoft.com/office/drawing/2010/main"/>
              </a:ext>
            </a:extLst>
          </a:blip>
          <a:stretch>
            <a:fillRect/>
          </a:stretch>
        </p:blipFill>
        <p:spPr>
          <a:xfrm>
            <a:off x="1881" y="-1"/>
            <a:ext cx="12188238" cy="6858001"/>
          </a:xfrm>
          <a:prstGeom prst="rect">
            <a:avLst/>
          </a:prstGeom>
        </p:spPr>
      </p:pic>
      <p:sp>
        <p:nvSpPr>
          <p:cNvPr id="3" name="RCI_QVW_ID_002" hidden="1"/>
          <p:cNvSpPr txBox="1"/>
          <p:nvPr/>
        </p:nvSpPr>
        <p:spPr>
          <a:xfrm>
            <a:off x="1882" y="-1"/>
            <a:ext cx="639919" cy="112788"/>
          </a:xfrm>
          <a:prstGeom prst="rect">
            <a:avLst/>
          </a:prstGeom>
          <a:noFill/>
        </p:spPr>
        <p:txBody>
          <a:bodyPr vert="horz" wrap="none" rtlCol="0">
            <a:spAutoFit/>
          </a:bodyPr>
          <a:lstStyle/>
          <a:p>
            <a:pPr defTabSz="1218804"/>
            <a:r>
              <a:rPr lang="de-DE" sz="133">
                <a:solidFill>
                  <a:srgbClr val="FFFFFF"/>
                </a:solidFill>
                <a:latin typeface="Arial"/>
              </a:rPr>
              <a:t>PRJ 243677 - RG 5504594 - RP 38343097 - ID 575342037</a:t>
            </a:r>
          </a:p>
        </p:txBody>
      </p:sp>
      <p:sp>
        <p:nvSpPr>
          <p:cNvPr id="4" name="RCI_QVW_ChartName_003" hidden="1"/>
          <p:cNvSpPr txBox="1"/>
          <p:nvPr/>
        </p:nvSpPr>
        <p:spPr>
          <a:xfrm>
            <a:off x="1881" y="-1"/>
            <a:ext cx="264816" cy="112788"/>
          </a:xfrm>
          <a:prstGeom prst="rect">
            <a:avLst/>
          </a:prstGeom>
          <a:noFill/>
        </p:spPr>
        <p:txBody>
          <a:bodyPr vert="horz" wrap="none" rtlCol="0">
            <a:spAutoFit/>
          </a:bodyPr>
          <a:lstStyle/>
          <a:p>
            <a:pPr defTabSz="1218804"/>
            <a:r>
              <a:rPr lang="de-DE" sz="133">
                <a:solidFill>
                  <a:srgbClr val="FFFFFF"/>
                </a:solidFill>
                <a:latin typeface="Arial"/>
              </a:rPr>
              <a:t>TH1 / SH1</a:t>
            </a:r>
          </a:p>
        </p:txBody>
      </p:sp>
      <p:sp>
        <p:nvSpPr>
          <p:cNvPr id="5" name="RCI_QVW_ChartFile_004" hidden="1"/>
          <p:cNvSpPr txBox="1"/>
          <p:nvPr/>
        </p:nvSpPr>
        <p:spPr>
          <a:xfrm>
            <a:off x="1882" y="-1"/>
            <a:ext cx="184731" cy="112788"/>
          </a:xfrm>
          <a:prstGeom prst="rect">
            <a:avLst/>
          </a:prstGeom>
          <a:noFill/>
        </p:spPr>
        <p:txBody>
          <a:bodyPr vert="horz" wrap="none" rtlCol="0">
            <a:spAutoFit/>
          </a:bodyPr>
          <a:lstStyle/>
          <a:p>
            <a:pPr defTabSz="1218804"/>
            <a:endParaRPr lang="de-DE" sz="133">
              <a:solidFill>
                <a:srgbClr val="FFFFFF"/>
              </a:solidFill>
              <a:latin typeface="Arial"/>
            </a:endParaRPr>
          </a:p>
        </p:txBody>
      </p:sp>
      <p:sp>
        <p:nvSpPr>
          <p:cNvPr id="6" name="RCI_QVW_ExportDateTime_005" hidden="1"/>
          <p:cNvSpPr txBox="1"/>
          <p:nvPr/>
        </p:nvSpPr>
        <p:spPr>
          <a:xfrm>
            <a:off x="1881" y="-1"/>
            <a:ext cx="346570" cy="112788"/>
          </a:xfrm>
          <a:prstGeom prst="rect">
            <a:avLst/>
          </a:prstGeom>
          <a:noFill/>
        </p:spPr>
        <p:txBody>
          <a:bodyPr vert="horz" wrap="none" rtlCol="0">
            <a:spAutoFit/>
          </a:bodyPr>
          <a:lstStyle/>
          <a:p>
            <a:pPr defTabSz="1218804"/>
            <a:r>
              <a:rPr lang="de-DE" sz="133">
                <a:solidFill>
                  <a:srgbClr val="FFFFFF"/>
                </a:solidFill>
                <a:latin typeface="Arial"/>
              </a:rPr>
              <a:t>2020-06-23 16:41:54</a:t>
            </a:r>
          </a:p>
        </p:txBody>
      </p:sp>
      <p:sp>
        <p:nvSpPr>
          <p:cNvPr id="7" name="RCI_QVW_ChartType_006" hidden="1"/>
          <p:cNvSpPr txBox="1"/>
          <p:nvPr/>
        </p:nvSpPr>
        <p:spPr>
          <a:xfrm>
            <a:off x="1882" y="-1"/>
            <a:ext cx="184731" cy="112788"/>
          </a:xfrm>
          <a:prstGeom prst="rect">
            <a:avLst/>
          </a:prstGeom>
          <a:noFill/>
        </p:spPr>
        <p:txBody>
          <a:bodyPr vert="horz" wrap="none" rtlCol="0">
            <a:spAutoFit/>
          </a:bodyPr>
          <a:lstStyle/>
          <a:p>
            <a:pPr defTabSz="1218804"/>
            <a:endParaRPr lang="de-DE" sz="133">
              <a:solidFill>
                <a:srgbClr val="FFFFFF"/>
              </a:solidFill>
              <a:latin typeface="Arial"/>
            </a:endParaRPr>
          </a:p>
        </p:txBody>
      </p:sp>
      <p:sp>
        <p:nvSpPr>
          <p:cNvPr id="8" name="RCI_QVW_Left1_007" hidden="1"/>
          <p:cNvSpPr txBox="1"/>
          <p:nvPr/>
        </p:nvSpPr>
        <p:spPr>
          <a:xfrm>
            <a:off x="1881" y="-1"/>
            <a:ext cx="603050" cy="112788"/>
          </a:xfrm>
          <a:prstGeom prst="rect">
            <a:avLst/>
          </a:prstGeom>
          <a:noFill/>
        </p:spPr>
        <p:txBody>
          <a:bodyPr vert="horz" wrap="none" rtlCol="0">
            <a:spAutoFit/>
          </a:bodyPr>
          <a:lstStyle/>
          <a:p>
            <a:pPr defTabSz="1218804"/>
            <a:r>
              <a:rPr lang="en-US" sz="133">
                <a:solidFill>
                  <a:srgbClr val="FFFFFF"/>
                </a:solidFill>
                <a:latin typeface="Arial"/>
              </a:rPr>
              <a:t>Major Domestic Appliances, Small Domestic Appliances</a:t>
            </a:r>
            <a:endParaRPr lang="de-DE" sz="133">
              <a:solidFill>
                <a:srgbClr val="FFFFFF"/>
              </a:solidFill>
              <a:latin typeface="Arial"/>
            </a:endParaRPr>
          </a:p>
        </p:txBody>
      </p:sp>
      <p:sp>
        <p:nvSpPr>
          <p:cNvPr id="9" name="RCI_QVW_Left2_008" hidden="1"/>
          <p:cNvSpPr txBox="1"/>
          <p:nvPr/>
        </p:nvSpPr>
        <p:spPr>
          <a:xfrm>
            <a:off x="1882" y="-1"/>
            <a:ext cx="184731" cy="112788"/>
          </a:xfrm>
          <a:prstGeom prst="rect">
            <a:avLst/>
          </a:prstGeom>
          <a:noFill/>
        </p:spPr>
        <p:txBody>
          <a:bodyPr vert="horz" wrap="none" rtlCol="0">
            <a:spAutoFit/>
          </a:bodyPr>
          <a:lstStyle/>
          <a:p>
            <a:pPr defTabSz="1218804"/>
            <a:endParaRPr lang="de-DE" sz="133">
              <a:solidFill>
                <a:srgbClr val="FFFFFF"/>
              </a:solidFill>
              <a:latin typeface="Arial"/>
            </a:endParaRPr>
          </a:p>
        </p:txBody>
      </p:sp>
      <p:sp>
        <p:nvSpPr>
          <p:cNvPr id="10" name="RCI_QVW_Left3_009" hidden="1"/>
          <p:cNvSpPr txBox="1"/>
          <p:nvPr/>
        </p:nvSpPr>
        <p:spPr>
          <a:xfrm>
            <a:off x="1881" y="-1"/>
            <a:ext cx="316112" cy="112788"/>
          </a:xfrm>
          <a:prstGeom prst="rect">
            <a:avLst/>
          </a:prstGeom>
          <a:noFill/>
        </p:spPr>
        <p:txBody>
          <a:bodyPr vert="horz" wrap="none" rtlCol="0">
            <a:spAutoFit/>
          </a:bodyPr>
          <a:lstStyle/>
          <a:p>
            <a:pPr defTabSz="1218804"/>
            <a:r>
              <a:rPr lang="de-DE" sz="133">
                <a:solidFill>
                  <a:srgbClr val="FFFFFF"/>
                </a:solidFill>
                <a:latin typeface="Arial"/>
              </a:rPr>
              <a:t>2019 - YTD 2020</a:t>
            </a:r>
          </a:p>
        </p:txBody>
      </p:sp>
      <p:sp>
        <p:nvSpPr>
          <p:cNvPr id="11" name="RCI_QVW_Right1_010" hidden="1"/>
          <p:cNvSpPr txBox="1"/>
          <p:nvPr/>
        </p:nvSpPr>
        <p:spPr>
          <a:xfrm>
            <a:off x="1882" y="-1"/>
            <a:ext cx="184731" cy="112788"/>
          </a:xfrm>
          <a:prstGeom prst="rect">
            <a:avLst/>
          </a:prstGeom>
          <a:noFill/>
        </p:spPr>
        <p:txBody>
          <a:bodyPr vert="horz" wrap="none" rtlCol="0">
            <a:spAutoFit/>
          </a:bodyPr>
          <a:lstStyle/>
          <a:p>
            <a:pPr defTabSz="1218804"/>
            <a:endParaRPr lang="de-DE" sz="133">
              <a:solidFill>
                <a:srgbClr val="FFFFFF"/>
              </a:solidFill>
              <a:latin typeface="Arial"/>
            </a:endParaRPr>
          </a:p>
        </p:txBody>
      </p:sp>
      <p:sp>
        <p:nvSpPr>
          <p:cNvPr id="12" name="RCI_QVW_Right2_011" hidden="1"/>
          <p:cNvSpPr txBox="1"/>
          <p:nvPr/>
        </p:nvSpPr>
        <p:spPr>
          <a:xfrm>
            <a:off x="1882" y="-1"/>
            <a:ext cx="184731" cy="112788"/>
          </a:xfrm>
          <a:prstGeom prst="rect">
            <a:avLst/>
          </a:prstGeom>
          <a:noFill/>
        </p:spPr>
        <p:txBody>
          <a:bodyPr vert="horz" wrap="none" rtlCol="0">
            <a:spAutoFit/>
          </a:bodyPr>
          <a:lstStyle/>
          <a:p>
            <a:pPr defTabSz="1218804"/>
            <a:endParaRPr lang="de-DE" sz="133">
              <a:solidFill>
                <a:srgbClr val="FFFFFF"/>
              </a:solidFill>
              <a:latin typeface="Arial"/>
            </a:endParaRPr>
          </a:p>
        </p:txBody>
      </p:sp>
      <p:sp>
        <p:nvSpPr>
          <p:cNvPr id="13" name="RCI_QVW_Right3_012" hidden="1"/>
          <p:cNvSpPr txBox="1"/>
          <p:nvPr/>
        </p:nvSpPr>
        <p:spPr>
          <a:xfrm>
            <a:off x="1881" y="-1"/>
            <a:ext cx="336952" cy="112788"/>
          </a:xfrm>
          <a:prstGeom prst="rect">
            <a:avLst/>
          </a:prstGeom>
          <a:noFill/>
        </p:spPr>
        <p:txBody>
          <a:bodyPr vert="horz" wrap="none" rtlCol="0">
            <a:spAutoFit/>
          </a:bodyPr>
          <a:lstStyle/>
          <a:p>
            <a:pPr defTabSz="1218804"/>
            <a:r>
              <a:rPr lang="de-DE" sz="133">
                <a:solidFill>
                  <a:srgbClr val="FFFFFF"/>
                </a:solidFill>
                <a:latin typeface="Arial"/>
              </a:rPr>
              <a:t>Russia Panelmarket</a:t>
            </a:r>
          </a:p>
        </p:txBody>
      </p:sp>
      <p:sp>
        <p:nvSpPr>
          <p:cNvPr id="14" name="RCI_QVW_REPName_013" hidden="1"/>
          <p:cNvSpPr txBox="1"/>
          <p:nvPr/>
        </p:nvSpPr>
        <p:spPr>
          <a:xfrm>
            <a:off x="1882" y="-1"/>
            <a:ext cx="184731" cy="112788"/>
          </a:xfrm>
          <a:prstGeom prst="rect">
            <a:avLst/>
          </a:prstGeom>
          <a:noFill/>
        </p:spPr>
        <p:txBody>
          <a:bodyPr vert="horz" wrap="none" rtlCol="0">
            <a:spAutoFit/>
          </a:bodyPr>
          <a:lstStyle/>
          <a:p>
            <a:pPr defTabSz="1218804"/>
            <a:endParaRPr lang="de-DE" sz="133">
              <a:solidFill>
                <a:srgbClr val="FFFFFF"/>
              </a:solidFill>
              <a:latin typeface="Arial"/>
            </a:endParaRPr>
          </a:p>
        </p:txBody>
      </p:sp>
      <p:sp>
        <p:nvSpPr>
          <p:cNvPr id="15" name="RCI_QVW_SHName_014" hidden="1"/>
          <p:cNvSpPr txBox="1"/>
          <p:nvPr/>
        </p:nvSpPr>
        <p:spPr>
          <a:xfrm>
            <a:off x="1882" y="-1"/>
            <a:ext cx="184731" cy="112788"/>
          </a:xfrm>
          <a:prstGeom prst="rect">
            <a:avLst/>
          </a:prstGeom>
          <a:noFill/>
        </p:spPr>
        <p:txBody>
          <a:bodyPr vert="horz" wrap="none" rtlCol="0">
            <a:spAutoFit/>
          </a:bodyPr>
          <a:lstStyle/>
          <a:p>
            <a:pPr defTabSz="1218804"/>
            <a:endParaRPr lang="de-DE" sz="133">
              <a:solidFill>
                <a:srgbClr val="FFFFFF"/>
              </a:solidFill>
              <a:latin typeface="Arial"/>
            </a:endParaRPr>
          </a:p>
        </p:txBody>
      </p:sp>
      <p:sp>
        <p:nvSpPr>
          <p:cNvPr id="16" name="RCI_QVW_THName_015" hidden="1"/>
          <p:cNvSpPr txBox="1"/>
          <p:nvPr/>
        </p:nvSpPr>
        <p:spPr>
          <a:xfrm>
            <a:off x="1882" y="-1"/>
            <a:ext cx="184731" cy="112788"/>
          </a:xfrm>
          <a:prstGeom prst="rect">
            <a:avLst/>
          </a:prstGeom>
          <a:noFill/>
        </p:spPr>
        <p:txBody>
          <a:bodyPr vert="horz" wrap="none" rtlCol="0">
            <a:spAutoFit/>
          </a:bodyPr>
          <a:lstStyle/>
          <a:p>
            <a:pPr defTabSz="1218804"/>
            <a:endParaRPr lang="de-DE" sz="133">
              <a:solidFill>
                <a:srgbClr val="FFFFFF"/>
              </a:solidFill>
              <a:latin typeface="Arial"/>
            </a:endParaRPr>
          </a:p>
        </p:txBody>
      </p:sp>
      <p:sp>
        <p:nvSpPr>
          <p:cNvPr id="17" name="Прямоугольник 16">
            <a:extLst>
              <a:ext uri="{FF2B5EF4-FFF2-40B4-BE49-F238E27FC236}">
                <a16:creationId xmlns:a16="http://schemas.microsoft.com/office/drawing/2014/main" id="{39C6F0CF-AC78-4A8A-87F0-ABBEB18E543B}"/>
              </a:ext>
            </a:extLst>
          </p:cNvPr>
          <p:cNvSpPr/>
          <p:nvPr/>
        </p:nvSpPr>
        <p:spPr bwMode="auto">
          <a:xfrm>
            <a:off x="0" y="0"/>
            <a:ext cx="11988800" cy="1669143"/>
          </a:xfrm>
          <a:prstGeom prst="rect">
            <a:avLst/>
          </a:prstGeom>
          <a:solidFill>
            <a:schemeClr val="bg1"/>
          </a:solid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600" b="0" i="0" u="none" strike="noStrike" cap="none" normalizeH="0" baseline="0">
              <a:ln>
                <a:noFill/>
              </a:ln>
              <a:solidFill>
                <a:schemeClr val="tx1"/>
              </a:solidFill>
              <a:effectLst/>
              <a:latin typeface="Arial" charset="0"/>
            </a:endParaRPr>
          </a:p>
        </p:txBody>
      </p:sp>
      <p:sp>
        <p:nvSpPr>
          <p:cNvPr id="18" name="shp1">
            <a:extLst>
              <a:ext uri="{FF2B5EF4-FFF2-40B4-BE49-F238E27FC236}">
                <a16:creationId xmlns:a16="http://schemas.microsoft.com/office/drawing/2014/main" id="{B1EA9226-7BC8-480A-B510-5D1F15645496}"/>
              </a:ext>
            </a:extLst>
          </p:cNvPr>
          <p:cNvSpPr/>
          <p:nvPr/>
        </p:nvSpPr>
        <p:spPr>
          <a:xfrm>
            <a:off x="192088" y="1"/>
            <a:ext cx="215900" cy="1449388"/>
          </a:xfrm>
          <a:prstGeom prst="rect">
            <a:avLst/>
          </a:prstGeom>
          <a:solidFill>
            <a:srgbClr val="414549"/>
          </a:solidFill>
          <a:ln w="12700" cap="flat" cmpd="sng" algn="ctr">
            <a:noFill/>
            <a:prstDash val="solid"/>
            <a:miter lim="800000"/>
          </a:ln>
          <a:effectLst/>
        </p:spPr>
        <p:txBody>
          <a:bodyPr lIns="0" tIns="0" rIns="0" bIns="0" rtlCol="0" anchor="ctr"/>
          <a:lstStyle/>
          <a:p>
            <a:pPr algn="ctr">
              <a:defRPr/>
            </a:pPr>
            <a:endParaRPr lang="de-DE" sz="1351" kern="0">
              <a:solidFill>
                <a:srgbClr val="FFFFFF"/>
              </a:solidFill>
              <a:latin typeface="Lato"/>
            </a:endParaRPr>
          </a:p>
        </p:txBody>
      </p:sp>
      <p:sp>
        <p:nvSpPr>
          <p:cNvPr id="19" name="Заголовок 2">
            <a:extLst>
              <a:ext uri="{FF2B5EF4-FFF2-40B4-BE49-F238E27FC236}">
                <a16:creationId xmlns:a16="http://schemas.microsoft.com/office/drawing/2014/main" id="{0252D7B5-3093-417D-A463-F1FF05909FC3}"/>
              </a:ext>
            </a:extLst>
          </p:cNvPr>
          <p:cNvSpPr txBox="1">
            <a:spLocks/>
          </p:cNvSpPr>
          <p:nvPr/>
        </p:nvSpPr>
        <p:spPr>
          <a:xfrm>
            <a:off x="1075061" y="288923"/>
            <a:ext cx="9700939" cy="648000"/>
          </a:xfrm>
          <a:prstGeom prst="rect">
            <a:avLst/>
          </a:prstGeom>
        </p:spPr>
        <p:txBody>
          <a:bodyPr vert="horz" lIns="0" tIns="0" rIns="0" bIns="0" rtlCol="0" anchor="t">
            <a:noAutofit/>
          </a:bodyPr>
          <a:lstStyle>
            <a:lvl1pPr algn="l" defTabSz="914400" rtl="0" eaLnBrk="1" latinLnBrk="0" hangingPunct="1">
              <a:lnSpc>
                <a:spcPct val="100000"/>
              </a:lnSpc>
              <a:spcBef>
                <a:spcPct val="0"/>
              </a:spcBef>
              <a:buNone/>
              <a:defRPr sz="3600"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3600" b="0" i="0" u="none" strike="noStrike" kern="1200" cap="none" spc="0" normalizeH="0" baseline="0" noProof="0" dirty="0">
                <a:ln>
                  <a:noFill/>
                </a:ln>
                <a:solidFill>
                  <a:srgbClr val="414549"/>
                </a:solidFill>
                <a:effectLst/>
                <a:uLnTx/>
                <a:uFillTx/>
                <a:latin typeface="Lato Light"/>
                <a:ea typeface="+mj-ea"/>
                <a:cs typeface="+mj-cs"/>
              </a:rPr>
              <a:t>MDA+SDA Growth Dynamics</a:t>
            </a:r>
          </a:p>
        </p:txBody>
      </p:sp>
      <p:sp>
        <p:nvSpPr>
          <p:cNvPr id="20" name="Подзаголовок 7">
            <a:extLst>
              <a:ext uri="{FF2B5EF4-FFF2-40B4-BE49-F238E27FC236}">
                <a16:creationId xmlns:a16="http://schemas.microsoft.com/office/drawing/2014/main" id="{CD745900-C78D-4008-BBB0-A4DFCF148C21}"/>
              </a:ext>
            </a:extLst>
          </p:cNvPr>
          <p:cNvSpPr txBox="1">
            <a:spLocks/>
          </p:cNvSpPr>
          <p:nvPr/>
        </p:nvSpPr>
        <p:spPr>
          <a:xfrm>
            <a:off x="1084424" y="1020125"/>
            <a:ext cx="9816557" cy="457588"/>
          </a:xfrm>
          <a:prstGeom prst="rect">
            <a:avLst/>
          </a:prstGeom>
        </p:spPr>
        <p:txBody>
          <a:bodyPr vert="horz" wrap="none" lIns="0" tIns="0" rIns="0" bIns="0" rtlCol="0">
            <a:noAutofit/>
          </a:bodyPr>
          <a:lstStyle>
            <a:lvl1pPr marL="0" indent="0" algn="l" defTabSz="914400" rtl="0" eaLnBrk="1" latinLnBrk="0" hangingPunct="1">
              <a:lnSpc>
                <a:spcPct val="110000"/>
              </a:lnSpc>
              <a:spcBef>
                <a:spcPts val="0"/>
              </a:spcBef>
              <a:buClr>
                <a:schemeClr val="tx2"/>
              </a:buClr>
              <a:buFont typeface="Wingdings" panose="05000000000000000000" pitchFamily="2" charset="2"/>
              <a:buNone/>
              <a:defRPr sz="2400" kern="1200">
                <a:solidFill>
                  <a:schemeClr val="tx1"/>
                </a:solidFill>
                <a:latin typeface="+mn-lt"/>
                <a:ea typeface="+mn-ea"/>
                <a:cs typeface="+mn-cs"/>
              </a:defRPr>
            </a:lvl1pPr>
            <a:lvl2pPr marL="457200" indent="0" algn="ctr" defTabSz="914400" rtl="0" eaLnBrk="1" latinLnBrk="0" hangingPunct="1">
              <a:lnSpc>
                <a:spcPct val="110000"/>
              </a:lnSpc>
              <a:spcBef>
                <a:spcPts val="600"/>
              </a:spcBef>
              <a:buClr>
                <a:schemeClr val="tx2"/>
              </a:buClr>
              <a:buFont typeface="Wingdings" panose="05000000000000000000" pitchFamily="2" charset="2"/>
              <a:buNone/>
              <a:defRPr sz="2000" kern="1200">
                <a:solidFill>
                  <a:schemeClr val="tx1"/>
                </a:solidFill>
                <a:latin typeface="+mn-lt"/>
                <a:ea typeface="+mn-ea"/>
                <a:cs typeface="+mn-cs"/>
              </a:defRPr>
            </a:lvl2pPr>
            <a:lvl3pPr marL="914400" indent="0" algn="ctr" defTabSz="914400" rtl="0" eaLnBrk="1" latinLnBrk="0" hangingPunct="1">
              <a:lnSpc>
                <a:spcPct val="110000"/>
              </a:lnSpc>
              <a:spcBef>
                <a:spcPts val="600"/>
              </a:spcBef>
              <a:buClr>
                <a:schemeClr val="tx2"/>
              </a:buClr>
              <a:buFont typeface="Wingdings" panose="05000000000000000000" pitchFamily="2" charset="2"/>
              <a:buNone/>
              <a:defRPr sz="1800" kern="1200">
                <a:solidFill>
                  <a:schemeClr val="tx1"/>
                </a:solidFill>
                <a:latin typeface="+mn-lt"/>
                <a:ea typeface="+mn-ea"/>
                <a:cs typeface="+mn-cs"/>
              </a:defRPr>
            </a:lvl3pPr>
            <a:lvl4pPr marL="1371600" indent="0" algn="ctr" defTabSz="914400" rtl="0" eaLnBrk="1" latinLnBrk="0" hangingPunct="1">
              <a:lnSpc>
                <a:spcPct val="110000"/>
              </a:lnSpc>
              <a:spcBef>
                <a:spcPts val="600"/>
              </a:spcBef>
              <a:buClr>
                <a:schemeClr val="tx2"/>
              </a:buClr>
              <a:buFont typeface="Lato" panose="020F0502020204030203" pitchFamily="34" charset="0"/>
              <a:buNone/>
              <a:defRPr sz="1600" kern="1200">
                <a:solidFill>
                  <a:schemeClr val="tx1"/>
                </a:solidFill>
                <a:latin typeface="+mn-lt"/>
                <a:ea typeface="+mn-ea"/>
                <a:cs typeface="+mn-cs"/>
              </a:defRPr>
            </a:lvl4pPr>
            <a:lvl5pPr marL="1828800" indent="0" algn="ctr" defTabSz="914400" rtl="0" eaLnBrk="1" latinLnBrk="0" hangingPunct="1">
              <a:lnSpc>
                <a:spcPct val="110000"/>
              </a:lnSpc>
              <a:spcBef>
                <a:spcPts val="600"/>
              </a:spcBef>
              <a:buClr>
                <a:schemeClr val="tx2"/>
              </a:buClr>
              <a:buFont typeface="Wingdings" panose="05000000000000000000" pitchFamily="2" charset="2"/>
              <a:buNone/>
              <a:defRPr sz="1600" kern="1200">
                <a:solidFill>
                  <a:schemeClr val="tx1"/>
                </a:solidFill>
                <a:latin typeface="+mn-lt"/>
                <a:ea typeface="+mn-ea"/>
                <a:cs typeface="+mn-cs"/>
              </a:defRPr>
            </a:lvl5pPr>
            <a:lvl6pPr marL="2286000" indent="0" algn="ctr" defTabSz="914400" rtl="0" eaLnBrk="1" latinLnBrk="0" hangingPunct="1">
              <a:lnSpc>
                <a:spcPct val="110000"/>
              </a:lnSpc>
              <a:spcBef>
                <a:spcPts val="600"/>
              </a:spcBef>
              <a:buClr>
                <a:schemeClr val="tx2"/>
              </a:buClr>
              <a:buFont typeface="Wingdings" panose="05000000000000000000" pitchFamily="2" charset="2"/>
              <a:buNone/>
              <a:defRPr sz="1600" kern="1200">
                <a:solidFill>
                  <a:schemeClr val="tx1"/>
                </a:solidFill>
                <a:latin typeface="+mn-lt"/>
                <a:ea typeface="+mn-ea"/>
                <a:cs typeface="+mn-cs"/>
              </a:defRPr>
            </a:lvl6pPr>
            <a:lvl7pPr marL="2743200" indent="0" algn="ctr" defTabSz="914400" rtl="0" eaLnBrk="1" latinLnBrk="0" hangingPunct="1">
              <a:lnSpc>
                <a:spcPct val="110000"/>
              </a:lnSpc>
              <a:spcBef>
                <a:spcPts val="600"/>
              </a:spcBef>
              <a:buClr>
                <a:schemeClr val="tx2"/>
              </a:buClr>
              <a:buFont typeface="Wingdings" panose="05000000000000000000" pitchFamily="2" charset="2"/>
              <a:buNone/>
              <a:defRPr sz="1600" kern="1200">
                <a:solidFill>
                  <a:schemeClr val="tx1"/>
                </a:solidFill>
                <a:latin typeface="+mn-lt"/>
                <a:ea typeface="+mn-ea"/>
                <a:cs typeface="+mn-cs"/>
              </a:defRPr>
            </a:lvl7pPr>
            <a:lvl8pPr marL="3200400" indent="0" algn="ctr" defTabSz="914400" rtl="0" eaLnBrk="1" latinLnBrk="0" hangingPunct="1">
              <a:lnSpc>
                <a:spcPct val="110000"/>
              </a:lnSpc>
              <a:spcBef>
                <a:spcPts val="600"/>
              </a:spcBef>
              <a:buClr>
                <a:schemeClr val="tx2"/>
              </a:buClr>
              <a:buFont typeface="Wingdings" panose="05000000000000000000" pitchFamily="2" charset="2"/>
              <a:buNone/>
              <a:defRPr sz="1600" kern="1200">
                <a:solidFill>
                  <a:schemeClr val="tx1"/>
                </a:solidFill>
                <a:latin typeface="+mn-lt"/>
                <a:ea typeface="+mn-ea"/>
                <a:cs typeface="+mn-cs"/>
              </a:defRPr>
            </a:lvl8pPr>
            <a:lvl9pPr marL="3657600" indent="0" algn="ctr" defTabSz="914400" rtl="0" eaLnBrk="1" latinLnBrk="0" hangingPunct="1">
              <a:lnSpc>
                <a:spcPct val="110000"/>
              </a:lnSpc>
              <a:spcBef>
                <a:spcPts val="600"/>
              </a:spcBef>
              <a:buClr>
                <a:schemeClr val="tx2"/>
              </a:buClr>
              <a:buFont typeface="Wingdings" panose="05000000000000000000" pitchFamily="2" charset="2"/>
              <a:buNone/>
              <a:defRPr sz="1600" kern="1200">
                <a:solidFill>
                  <a:schemeClr val="tx1"/>
                </a:solidFill>
                <a:latin typeface="+mn-lt"/>
                <a:ea typeface="+mn-ea"/>
                <a:cs typeface="+mn-cs"/>
              </a:defRPr>
            </a:lvl9pPr>
          </a:lstStyle>
          <a:p>
            <a:pPr marL="0" marR="0" lvl="0" indent="0" algn="l" defTabSz="914400" rtl="0" eaLnBrk="1" fontAlgn="auto" latinLnBrk="0" hangingPunct="1">
              <a:lnSpc>
                <a:spcPct val="110000"/>
              </a:lnSpc>
              <a:spcBef>
                <a:spcPts val="0"/>
              </a:spcBef>
              <a:spcAft>
                <a:spcPts val="0"/>
              </a:spcAft>
              <a:buClr>
                <a:srgbClr val="E55A00"/>
              </a:buClr>
              <a:buSzTx/>
              <a:buFont typeface="Wingdings" panose="05000000000000000000" pitchFamily="2" charset="2"/>
              <a:buNone/>
              <a:tabLst/>
              <a:defRPr/>
            </a:pPr>
            <a:r>
              <a:rPr lang="en-US" dirty="0">
                <a:solidFill>
                  <a:srgbClr val="E55A00"/>
                </a:solidFill>
                <a:latin typeface="Lato"/>
                <a:ea typeface="Lato" panose="020F0502020204030203" pitchFamily="34" charset="0"/>
                <a:cs typeface="Lato" panose="020F0502020204030203" pitchFamily="34" charset="0"/>
              </a:rPr>
              <a:t>Lockdown resulted in negative sales for Majority, but not all Product Groups</a:t>
            </a:r>
            <a:r>
              <a:rPr kumimoji="0" lang="en-US" sz="2400" b="0" i="0" u="none" strike="noStrike" kern="1200" cap="none" spc="0" normalizeH="0" baseline="0" noProof="0" dirty="0">
                <a:ln>
                  <a:noFill/>
                </a:ln>
                <a:solidFill>
                  <a:srgbClr val="E55A00"/>
                </a:solidFill>
                <a:effectLst/>
                <a:uLnTx/>
                <a:uFillTx/>
                <a:latin typeface="Lato"/>
                <a:ea typeface="Lato" panose="020F0502020204030203" pitchFamily="34" charset="0"/>
                <a:cs typeface="Lato" panose="020F0502020204030203" pitchFamily="34" charset="0"/>
              </a:rPr>
              <a:t>.</a:t>
            </a:r>
          </a:p>
        </p:txBody>
      </p:sp>
    </p:spTree>
    <p:extLst>
      <p:ext uri="{BB962C8B-B14F-4D97-AF65-F5344CB8AC3E}">
        <p14:creationId xmlns:p14="http://schemas.microsoft.com/office/powerpoint/2010/main" val="266245785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2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animBg="1"/>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Segnaposto immagine 8">
            <a:extLst>
              <a:ext uri="{FF2B5EF4-FFF2-40B4-BE49-F238E27FC236}">
                <a16:creationId xmlns:a16="http://schemas.microsoft.com/office/drawing/2014/main" id="{08253AE8-5AA3-4A74-86F6-44B36BCCC948}"/>
              </a:ext>
            </a:extLst>
          </p:cNvPr>
          <p:cNvPicPr>
            <a:picLocks noGrp="1" noChangeAspect="1"/>
          </p:cNvPicPr>
          <p:nvPr>
            <p:ph type="pic" sz="quarter" idx="17"/>
          </p:nvPr>
        </p:nvPicPr>
        <p:blipFill>
          <a:blip r:embed="rId3" cstate="print">
            <a:extLst>
              <a:ext uri="{28A0092B-C50C-407E-A947-70E740481C1C}">
                <a14:useLocalDpi xmlns:a14="http://schemas.microsoft.com/office/drawing/2010/main"/>
              </a:ext>
            </a:extLst>
          </a:blip>
          <a:srcRect/>
          <a:stretch/>
        </p:blipFill>
        <p:spPr>
          <a:xfrm>
            <a:off x="-1" y="0"/>
            <a:ext cx="8822478" cy="6858000"/>
          </a:xfrm>
        </p:spPr>
      </p:pic>
      <p:sp>
        <p:nvSpPr>
          <p:cNvPr id="2" name="Slide Number Placeholder 1">
            <a:extLst>
              <a:ext uri="{FF2B5EF4-FFF2-40B4-BE49-F238E27FC236}">
                <a16:creationId xmlns:a16="http://schemas.microsoft.com/office/drawing/2014/main" id="{9BA05347-969A-47BB-BE48-A7C7EF556D20}"/>
              </a:ext>
            </a:extLst>
          </p:cNvPr>
          <p:cNvSpPr>
            <a:spLocks noGrp="1"/>
          </p:cNvSpPr>
          <p:nvPr>
            <p:ph type="sldNum" sz="quarter" idx="16"/>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F3E29E4-0979-4FCA-B4C5-5FC6044C982A}" type="slidenum">
              <a:rPr kumimoji="0" lang="en-US" sz="800" b="0" i="0" u="none" strike="noStrike" kern="1200" cap="none" spc="0" normalizeH="0" baseline="0" noProof="0" smtClean="0">
                <a:ln>
                  <a:noFill/>
                </a:ln>
                <a:solidFill>
                  <a:srgbClr val="414549"/>
                </a:solidFill>
                <a:effectLst/>
                <a:uLnTx/>
                <a:uFillTx/>
                <a:latin typeface="Lato"/>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800" b="0" i="0" u="none" strike="noStrike" kern="1200" cap="none" spc="0" normalizeH="0" baseline="0" noProof="0">
              <a:ln>
                <a:noFill/>
              </a:ln>
              <a:solidFill>
                <a:srgbClr val="414549"/>
              </a:solidFill>
              <a:effectLst/>
              <a:uLnTx/>
              <a:uFillTx/>
              <a:latin typeface="Lato"/>
              <a:ea typeface="+mn-ea"/>
              <a:cs typeface="+mn-cs"/>
            </a:endParaRPr>
          </a:p>
        </p:txBody>
      </p:sp>
      <p:sp>
        <p:nvSpPr>
          <p:cNvPr id="5" name="Titel 4"/>
          <p:cNvSpPr>
            <a:spLocks noGrp="1"/>
          </p:cNvSpPr>
          <p:nvPr>
            <p:ph type="title"/>
          </p:nvPr>
        </p:nvSpPr>
        <p:spPr>
          <a:xfrm>
            <a:off x="7669115" y="2693844"/>
            <a:ext cx="3841554" cy="1632680"/>
          </a:xfrm>
        </p:spPr>
        <p:txBody>
          <a:bodyPr/>
          <a:lstStyle/>
          <a:p>
            <a:r>
              <a:rPr lang="en-US"/>
              <a:t>Future Outlook </a:t>
            </a:r>
          </a:p>
        </p:txBody>
      </p:sp>
    </p:spTree>
    <p:extLst>
      <p:ext uri="{BB962C8B-B14F-4D97-AF65-F5344CB8AC3E}">
        <p14:creationId xmlns:p14="http://schemas.microsoft.com/office/powerpoint/2010/main" val="28036189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Номер слайда 3"/>
          <p:cNvSpPr>
            <a:spLocks noGrp="1"/>
          </p:cNvSpPr>
          <p:nvPr>
            <p:ph type="sldNum" sz="quarter" idx="16"/>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F3E29E4-0979-4FCA-B4C5-5FC6044C982A}" type="slidenum">
              <a:rPr kumimoji="0" lang="en-US" sz="800" b="0" i="0" u="none" strike="noStrike" kern="1200" cap="none" spc="0" normalizeH="0" baseline="0" noProof="0" smtClean="0">
                <a:ln>
                  <a:noFill/>
                </a:ln>
                <a:solidFill>
                  <a:srgbClr val="414549"/>
                </a:solidFill>
                <a:effectLst/>
                <a:uLnTx/>
                <a:uFillTx/>
                <a:latin typeface="Lato"/>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800" b="0" i="0" u="none" strike="noStrike" kern="1200" cap="none" spc="0" normalizeH="0" baseline="0" noProof="0">
              <a:ln>
                <a:noFill/>
              </a:ln>
              <a:solidFill>
                <a:srgbClr val="414549"/>
              </a:solidFill>
              <a:effectLst/>
              <a:uLnTx/>
              <a:uFillTx/>
              <a:latin typeface="Lato"/>
              <a:ea typeface="+mn-ea"/>
              <a:cs typeface="+mn-cs"/>
            </a:endParaRPr>
          </a:p>
        </p:txBody>
      </p:sp>
      <p:sp>
        <p:nvSpPr>
          <p:cNvPr id="12" name="Freeform 46">
            <a:extLst>
              <a:ext uri="{FF2B5EF4-FFF2-40B4-BE49-F238E27FC236}">
                <a16:creationId xmlns:a16="http://schemas.microsoft.com/office/drawing/2014/main" id="{DE190AB3-EA05-4E93-BE7B-7DA782ECB17D}"/>
              </a:ext>
            </a:extLst>
          </p:cNvPr>
          <p:cNvSpPr>
            <a:spLocks noChangeAspect="1" noEditPoints="1"/>
          </p:cNvSpPr>
          <p:nvPr>
            <p:custDataLst>
              <p:tags r:id="rId1"/>
            </p:custDataLst>
          </p:nvPr>
        </p:nvSpPr>
        <p:spPr bwMode="auto">
          <a:xfrm>
            <a:off x="7370020" y="3431678"/>
            <a:ext cx="3181867" cy="2011851"/>
          </a:xfrm>
          <a:custGeom>
            <a:avLst/>
            <a:gdLst>
              <a:gd name="T0" fmla="*/ 640 w 2160"/>
              <a:gd name="T1" fmla="*/ 480 h 1280"/>
              <a:gd name="T2" fmla="*/ 640 w 2160"/>
              <a:gd name="T3" fmla="*/ 0 h 1280"/>
              <a:gd name="T4" fmla="*/ 1520 w 2160"/>
              <a:gd name="T5" fmla="*/ 0 h 1280"/>
              <a:gd name="T6" fmla="*/ 1520 w 2160"/>
              <a:gd name="T7" fmla="*/ 480 h 1280"/>
              <a:gd name="T8" fmla="*/ 2160 w 2160"/>
              <a:gd name="T9" fmla="*/ 480 h 1280"/>
              <a:gd name="T10" fmla="*/ 2160 w 2160"/>
              <a:gd name="T11" fmla="*/ 1280 h 1280"/>
              <a:gd name="T12" fmla="*/ 0 w 2160"/>
              <a:gd name="T13" fmla="*/ 1280 h 1280"/>
              <a:gd name="T14" fmla="*/ 0 w 2160"/>
              <a:gd name="T15" fmla="*/ 480 h 1280"/>
              <a:gd name="T16" fmla="*/ 640 w 2160"/>
              <a:gd name="T17" fmla="*/ 480 h 1280"/>
              <a:gd name="T18" fmla="*/ 1000 w 2160"/>
              <a:gd name="T19" fmla="*/ 160 h 1280"/>
              <a:gd name="T20" fmla="*/ 1000 w 2160"/>
              <a:gd name="T21" fmla="*/ 240 h 1280"/>
              <a:gd name="T22" fmla="*/ 1080 w 2160"/>
              <a:gd name="T23" fmla="*/ 240 h 1280"/>
              <a:gd name="T24" fmla="*/ 1080 w 2160"/>
              <a:gd name="T25" fmla="*/ 680 h 1280"/>
              <a:gd name="T26" fmla="*/ 1160 w 2160"/>
              <a:gd name="T27" fmla="*/ 680 h 1280"/>
              <a:gd name="T28" fmla="*/ 1160 w 2160"/>
              <a:gd name="T29" fmla="*/ 160 h 1280"/>
              <a:gd name="T30" fmla="*/ 1000 w 2160"/>
              <a:gd name="T31" fmla="*/ 160 h 1280"/>
              <a:gd name="T32" fmla="*/ 1960 w 2160"/>
              <a:gd name="T33" fmla="*/ 980 h 1280"/>
              <a:gd name="T34" fmla="*/ 1918 w 2160"/>
              <a:gd name="T35" fmla="*/ 881 h 1280"/>
              <a:gd name="T36" fmla="*/ 1918 w 2160"/>
              <a:gd name="T37" fmla="*/ 881 h 1280"/>
              <a:gd name="T38" fmla="*/ 1917 w 2160"/>
              <a:gd name="T39" fmla="*/ 880 h 1280"/>
              <a:gd name="T40" fmla="*/ 1918 w 2160"/>
              <a:gd name="T41" fmla="*/ 879 h 1280"/>
              <a:gd name="T42" fmla="*/ 1918 w 2160"/>
              <a:gd name="T43" fmla="*/ 879 h 1280"/>
              <a:gd name="T44" fmla="*/ 1960 w 2160"/>
              <a:gd name="T45" fmla="*/ 780 h 1280"/>
              <a:gd name="T46" fmla="*/ 1820 w 2160"/>
              <a:gd name="T47" fmla="*/ 640 h 1280"/>
              <a:gd name="T48" fmla="*/ 1686 w 2160"/>
              <a:gd name="T49" fmla="*/ 640 h 1280"/>
              <a:gd name="T50" fmla="*/ 1546 w 2160"/>
              <a:gd name="T51" fmla="*/ 780 h 1280"/>
              <a:gd name="T52" fmla="*/ 1626 w 2160"/>
              <a:gd name="T53" fmla="*/ 780 h 1280"/>
              <a:gd name="T54" fmla="*/ 1686 w 2160"/>
              <a:gd name="T55" fmla="*/ 720 h 1280"/>
              <a:gd name="T56" fmla="*/ 1820 w 2160"/>
              <a:gd name="T57" fmla="*/ 720 h 1280"/>
              <a:gd name="T58" fmla="*/ 1880 w 2160"/>
              <a:gd name="T59" fmla="*/ 780 h 1280"/>
              <a:gd name="T60" fmla="*/ 1862 w 2160"/>
              <a:gd name="T61" fmla="*/ 823 h 1280"/>
              <a:gd name="T62" fmla="*/ 1820 w 2160"/>
              <a:gd name="T63" fmla="*/ 840 h 1280"/>
              <a:gd name="T64" fmla="*/ 1753 w 2160"/>
              <a:gd name="T65" fmla="*/ 840 h 1280"/>
              <a:gd name="T66" fmla="*/ 1753 w 2160"/>
              <a:gd name="T67" fmla="*/ 920 h 1280"/>
              <a:gd name="T68" fmla="*/ 1820 w 2160"/>
              <a:gd name="T69" fmla="*/ 920 h 1280"/>
              <a:gd name="T70" fmla="*/ 1880 w 2160"/>
              <a:gd name="T71" fmla="*/ 980 h 1280"/>
              <a:gd name="T72" fmla="*/ 1820 w 2160"/>
              <a:gd name="T73" fmla="*/ 1040 h 1280"/>
              <a:gd name="T74" fmla="*/ 1686 w 2160"/>
              <a:gd name="T75" fmla="*/ 1040 h 1280"/>
              <a:gd name="T76" fmla="*/ 1626 w 2160"/>
              <a:gd name="T77" fmla="*/ 980 h 1280"/>
              <a:gd name="T78" fmla="*/ 1546 w 2160"/>
              <a:gd name="T79" fmla="*/ 980 h 1280"/>
              <a:gd name="T80" fmla="*/ 1686 w 2160"/>
              <a:gd name="T81" fmla="*/ 1120 h 1280"/>
              <a:gd name="T82" fmla="*/ 1820 w 2160"/>
              <a:gd name="T83" fmla="*/ 1120 h 1280"/>
              <a:gd name="T84" fmla="*/ 1960 w 2160"/>
              <a:gd name="T85" fmla="*/ 980 h 1280"/>
              <a:gd name="T86" fmla="*/ 200 w 2160"/>
              <a:gd name="T87" fmla="*/ 780 h 1280"/>
              <a:gd name="T88" fmla="*/ 280 w 2160"/>
              <a:gd name="T89" fmla="*/ 780 h 1280"/>
              <a:gd name="T90" fmla="*/ 340 w 2160"/>
              <a:gd name="T91" fmla="*/ 720 h 1280"/>
              <a:gd name="T92" fmla="*/ 473 w 2160"/>
              <a:gd name="T93" fmla="*/ 720 h 1280"/>
              <a:gd name="T94" fmla="*/ 533 w 2160"/>
              <a:gd name="T95" fmla="*/ 780 h 1280"/>
              <a:gd name="T96" fmla="*/ 490 w 2160"/>
              <a:gd name="T97" fmla="*/ 838 h 1280"/>
              <a:gd name="T98" fmla="*/ 300 w 2160"/>
              <a:gd name="T99" fmla="*/ 895 h 1280"/>
              <a:gd name="T100" fmla="*/ 200 w 2160"/>
              <a:gd name="T101" fmla="*/ 1029 h 1280"/>
              <a:gd name="T102" fmla="*/ 200 w 2160"/>
              <a:gd name="T103" fmla="*/ 1120 h 1280"/>
              <a:gd name="T104" fmla="*/ 606 w 2160"/>
              <a:gd name="T105" fmla="*/ 1120 h 1280"/>
              <a:gd name="T106" fmla="*/ 606 w 2160"/>
              <a:gd name="T107" fmla="*/ 1040 h 1280"/>
              <a:gd name="T108" fmla="*/ 280 w 2160"/>
              <a:gd name="T109" fmla="*/ 1040 h 1280"/>
              <a:gd name="T110" fmla="*/ 280 w 2160"/>
              <a:gd name="T111" fmla="*/ 1029 h 1280"/>
              <a:gd name="T112" fmla="*/ 322 w 2160"/>
              <a:gd name="T113" fmla="*/ 971 h 1280"/>
              <a:gd name="T114" fmla="*/ 513 w 2160"/>
              <a:gd name="T115" fmla="*/ 914 h 1280"/>
              <a:gd name="T116" fmla="*/ 613 w 2160"/>
              <a:gd name="T117" fmla="*/ 780 h 1280"/>
              <a:gd name="T118" fmla="*/ 473 w 2160"/>
              <a:gd name="T119" fmla="*/ 640 h 1280"/>
              <a:gd name="T120" fmla="*/ 340 w 2160"/>
              <a:gd name="T121" fmla="*/ 640 h 1280"/>
              <a:gd name="T122" fmla="*/ 200 w 2160"/>
              <a:gd name="T123" fmla="*/ 780 h 1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160" h="1280">
                <a:moveTo>
                  <a:pt x="640" y="480"/>
                </a:moveTo>
                <a:cubicBezTo>
                  <a:pt x="640" y="0"/>
                  <a:pt x="640" y="0"/>
                  <a:pt x="640" y="0"/>
                </a:cubicBezTo>
                <a:cubicBezTo>
                  <a:pt x="1520" y="0"/>
                  <a:pt x="1520" y="0"/>
                  <a:pt x="1520" y="0"/>
                </a:cubicBezTo>
                <a:cubicBezTo>
                  <a:pt x="1520" y="480"/>
                  <a:pt x="1520" y="480"/>
                  <a:pt x="1520" y="480"/>
                </a:cubicBezTo>
                <a:cubicBezTo>
                  <a:pt x="2160" y="480"/>
                  <a:pt x="2160" y="480"/>
                  <a:pt x="2160" y="480"/>
                </a:cubicBezTo>
                <a:cubicBezTo>
                  <a:pt x="2160" y="1280"/>
                  <a:pt x="2160" y="1280"/>
                  <a:pt x="2160" y="1280"/>
                </a:cubicBezTo>
                <a:cubicBezTo>
                  <a:pt x="0" y="1280"/>
                  <a:pt x="0" y="1280"/>
                  <a:pt x="0" y="1280"/>
                </a:cubicBezTo>
                <a:cubicBezTo>
                  <a:pt x="0" y="480"/>
                  <a:pt x="0" y="480"/>
                  <a:pt x="0" y="480"/>
                </a:cubicBezTo>
                <a:lnTo>
                  <a:pt x="640" y="480"/>
                </a:lnTo>
                <a:close/>
                <a:moveTo>
                  <a:pt x="1000" y="160"/>
                </a:moveTo>
                <a:cubicBezTo>
                  <a:pt x="1000" y="240"/>
                  <a:pt x="1000" y="240"/>
                  <a:pt x="1000" y="240"/>
                </a:cubicBezTo>
                <a:cubicBezTo>
                  <a:pt x="1080" y="240"/>
                  <a:pt x="1080" y="240"/>
                  <a:pt x="1080" y="240"/>
                </a:cubicBezTo>
                <a:cubicBezTo>
                  <a:pt x="1080" y="680"/>
                  <a:pt x="1080" y="680"/>
                  <a:pt x="1080" y="680"/>
                </a:cubicBezTo>
                <a:cubicBezTo>
                  <a:pt x="1160" y="680"/>
                  <a:pt x="1160" y="680"/>
                  <a:pt x="1160" y="680"/>
                </a:cubicBezTo>
                <a:cubicBezTo>
                  <a:pt x="1160" y="160"/>
                  <a:pt x="1160" y="160"/>
                  <a:pt x="1160" y="160"/>
                </a:cubicBezTo>
                <a:lnTo>
                  <a:pt x="1000" y="160"/>
                </a:lnTo>
                <a:close/>
                <a:moveTo>
                  <a:pt x="1960" y="980"/>
                </a:moveTo>
                <a:cubicBezTo>
                  <a:pt x="1960" y="942"/>
                  <a:pt x="1944" y="907"/>
                  <a:pt x="1918" y="881"/>
                </a:cubicBezTo>
                <a:cubicBezTo>
                  <a:pt x="1918" y="881"/>
                  <a:pt x="1918" y="881"/>
                  <a:pt x="1918" y="881"/>
                </a:cubicBezTo>
                <a:cubicBezTo>
                  <a:pt x="1917" y="880"/>
                  <a:pt x="1917" y="880"/>
                  <a:pt x="1917" y="880"/>
                </a:cubicBezTo>
                <a:cubicBezTo>
                  <a:pt x="1918" y="879"/>
                  <a:pt x="1918" y="879"/>
                  <a:pt x="1918" y="879"/>
                </a:cubicBezTo>
                <a:cubicBezTo>
                  <a:pt x="1918" y="879"/>
                  <a:pt x="1918" y="879"/>
                  <a:pt x="1918" y="879"/>
                </a:cubicBezTo>
                <a:cubicBezTo>
                  <a:pt x="1944" y="854"/>
                  <a:pt x="1960" y="819"/>
                  <a:pt x="1960" y="780"/>
                </a:cubicBezTo>
                <a:cubicBezTo>
                  <a:pt x="1960" y="703"/>
                  <a:pt x="1897" y="640"/>
                  <a:pt x="1820" y="640"/>
                </a:cubicBezTo>
                <a:cubicBezTo>
                  <a:pt x="1686" y="640"/>
                  <a:pt x="1686" y="640"/>
                  <a:pt x="1686" y="640"/>
                </a:cubicBezTo>
                <a:cubicBezTo>
                  <a:pt x="1609" y="640"/>
                  <a:pt x="1546" y="703"/>
                  <a:pt x="1546" y="780"/>
                </a:cubicBezTo>
                <a:cubicBezTo>
                  <a:pt x="1626" y="780"/>
                  <a:pt x="1626" y="780"/>
                  <a:pt x="1626" y="780"/>
                </a:cubicBezTo>
                <a:cubicBezTo>
                  <a:pt x="1626" y="747"/>
                  <a:pt x="1653" y="720"/>
                  <a:pt x="1686" y="720"/>
                </a:cubicBezTo>
                <a:cubicBezTo>
                  <a:pt x="1820" y="720"/>
                  <a:pt x="1820" y="720"/>
                  <a:pt x="1820" y="720"/>
                </a:cubicBezTo>
                <a:cubicBezTo>
                  <a:pt x="1853" y="720"/>
                  <a:pt x="1880" y="747"/>
                  <a:pt x="1880" y="780"/>
                </a:cubicBezTo>
                <a:cubicBezTo>
                  <a:pt x="1880" y="797"/>
                  <a:pt x="1873" y="812"/>
                  <a:pt x="1862" y="823"/>
                </a:cubicBezTo>
                <a:cubicBezTo>
                  <a:pt x="1851" y="833"/>
                  <a:pt x="1836" y="840"/>
                  <a:pt x="1820" y="840"/>
                </a:cubicBezTo>
                <a:cubicBezTo>
                  <a:pt x="1753" y="840"/>
                  <a:pt x="1753" y="840"/>
                  <a:pt x="1753" y="840"/>
                </a:cubicBezTo>
                <a:cubicBezTo>
                  <a:pt x="1753" y="920"/>
                  <a:pt x="1753" y="920"/>
                  <a:pt x="1753" y="920"/>
                </a:cubicBezTo>
                <a:cubicBezTo>
                  <a:pt x="1820" y="920"/>
                  <a:pt x="1820" y="920"/>
                  <a:pt x="1820" y="920"/>
                </a:cubicBezTo>
                <a:cubicBezTo>
                  <a:pt x="1853" y="920"/>
                  <a:pt x="1880" y="947"/>
                  <a:pt x="1880" y="980"/>
                </a:cubicBezTo>
                <a:cubicBezTo>
                  <a:pt x="1880" y="1013"/>
                  <a:pt x="1853" y="1040"/>
                  <a:pt x="1820" y="1040"/>
                </a:cubicBezTo>
                <a:cubicBezTo>
                  <a:pt x="1686" y="1040"/>
                  <a:pt x="1686" y="1040"/>
                  <a:pt x="1686" y="1040"/>
                </a:cubicBezTo>
                <a:cubicBezTo>
                  <a:pt x="1653" y="1040"/>
                  <a:pt x="1626" y="1013"/>
                  <a:pt x="1626" y="980"/>
                </a:cubicBezTo>
                <a:cubicBezTo>
                  <a:pt x="1546" y="980"/>
                  <a:pt x="1546" y="980"/>
                  <a:pt x="1546" y="980"/>
                </a:cubicBezTo>
                <a:cubicBezTo>
                  <a:pt x="1546" y="1057"/>
                  <a:pt x="1609" y="1120"/>
                  <a:pt x="1686" y="1120"/>
                </a:cubicBezTo>
                <a:cubicBezTo>
                  <a:pt x="1820" y="1120"/>
                  <a:pt x="1820" y="1120"/>
                  <a:pt x="1820" y="1120"/>
                </a:cubicBezTo>
                <a:cubicBezTo>
                  <a:pt x="1897" y="1120"/>
                  <a:pt x="1960" y="1057"/>
                  <a:pt x="1960" y="980"/>
                </a:cubicBezTo>
                <a:close/>
                <a:moveTo>
                  <a:pt x="200" y="780"/>
                </a:moveTo>
                <a:cubicBezTo>
                  <a:pt x="280" y="780"/>
                  <a:pt x="280" y="780"/>
                  <a:pt x="280" y="780"/>
                </a:cubicBezTo>
                <a:cubicBezTo>
                  <a:pt x="280" y="747"/>
                  <a:pt x="306" y="720"/>
                  <a:pt x="340" y="720"/>
                </a:cubicBezTo>
                <a:cubicBezTo>
                  <a:pt x="473" y="720"/>
                  <a:pt x="473" y="720"/>
                  <a:pt x="473" y="720"/>
                </a:cubicBezTo>
                <a:cubicBezTo>
                  <a:pt x="506" y="720"/>
                  <a:pt x="533" y="747"/>
                  <a:pt x="533" y="780"/>
                </a:cubicBezTo>
                <a:cubicBezTo>
                  <a:pt x="533" y="807"/>
                  <a:pt x="516" y="830"/>
                  <a:pt x="490" y="838"/>
                </a:cubicBezTo>
                <a:cubicBezTo>
                  <a:pt x="300" y="895"/>
                  <a:pt x="300" y="895"/>
                  <a:pt x="300" y="895"/>
                </a:cubicBezTo>
                <a:cubicBezTo>
                  <a:pt x="240" y="913"/>
                  <a:pt x="200" y="967"/>
                  <a:pt x="200" y="1029"/>
                </a:cubicBezTo>
                <a:cubicBezTo>
                  <a:pt x="200" y="1120"/>
                  <a:pt x="200" y="1120"/>
                  <a:pt x="200" y="1120"/>
                </a:cubicBezTo>
                <a:cubicBezTo>
                  <a:pt x="606" y="1120"/>
                  <a:pt x="606" y="1120"/>
                  <a:pt x="606" y="1120"/>
                </a:cubicBezTo>
                <a:cubicBezTo>
                  <a:pt x="606" y="1040"/>
                  <a:pt x="606" y="1040"/>
                  <a:pt x="606" y="1040"/>
                </a:cubicBezTo>
                <a:cubicBezTo>
                  <a:pt x="280" y="1040"/>
                  <a:pt x="280" y="1040"/>
                  <a:pt x="280" y="1040"/>
                </a:cubicBezTo>
                <a:cubicBezTo>
                  <a:pt x="280" y="1029"/>
                  <a:pt x="280" y="1029"/>
                  <a:pt x="280" y="1029"/>
                </a:cubicBezTo>
                <a:cubicBezTo>
                  <a:pt x="280" y="1002"/>
                  <a:pt x="296" y="979"/>
                  <a:pt x="322" y="971"/>
                </a:cubicBezTo>
                <a:cubicBezTo>
                  <a:pt x="513" y="914"/>
                  <a:pt x="513" y="914"/>
                  <a:pt x="513" y="914"/>
                </a:cubicBezTo>
                <a:cubicBezTo>
                  <a:pt x="573" y="896"/>
                  <a:pt x="613" y="843"/>
                  <a:pt x="613" y="780"/>
                </a:cubicBezTo>
                <a:cubicBezTo>
                  <a:pt x="613" y="703"/>
                  <a:pt x="550" y="640"/>
                  <a:pt x="473" y="640"/>
                </a:cubicBezTo>
                <a:cubicBezTo>
                  <a:pt x="340" y="640"/>
                  <a:pt x="340" y="640"/>
                  <a:pt x="340" y="640"/>
                </a:cubicBezTo>
                <a:cubicBezTo>
                  <a:pt x="262" y="640"/>
                  <a:pt x="200" y="703"/>
                  <a:pt x="200" y="780"/>
                </a:cubicBezTo>
                <a:close/>
              </a:path>
            </a:pathLst>
          </a:custGeom>
          <a:solidFill>
            <a:srgbClr val="C00000"/>
          </a:solidFill>
          <a:ln>
            <a:noFill/>
          </a:ln>
          <a:effectLst>
            <a:outerShdw blurRad="50800" dist="127000" dir="13140000" algn="ctr" rotWithShape="0">
              <a:srgbClr val="000000">
                <a:alpha val="43137"/>
              </a:srgbClr>
            </a:outerShdw>
          </a:effectLst>
          <a:scene3d>
            <a:camera prst="orthographicFront">
              <a:rot lat="0" lon="0" rev="0"/>
            </a:camera>
            <a:lightRig rig="threePt" dir="t">
              <a:rot lat="0" lon="0" rev="0"/>
            </a:lightRig>
          </a:scene3d>
          <a:sp3d z="1270000"/>
        </p:spPr>
        <p:txBody>
          <a:bodyPr vert="horz" wrap="square" lIns="121920" tIns="60960" rIns="121920" bIns="60960" numCol="1" anchor="t" anchorCtr="0" compatLnSpc="1">
            <a:prstTxWarp prst="textNoShape">
              <a:avLst/>
            </a:prstTxWarp>
          </a:bodyPr>
          <a:lstStyle/>
          <a:p>
            <a:endParaRPr lang="en-US" sz="2400" noProof="1"/>
          </a:p>
        </p:txBody>
      </p:sp>
      <p:graphicFrame>
        <p:nvGraphicFramePr>
          <p:cNvPr id="19" name="Диаграмма 18">
            <a:extLst>
              <a:ext uri="{FF2B5EF4-FFF2-40B4-BE49-F238E27FC236}">
                <a16:creationId xmlns:a16="http://schemas.microsoft.com/office/drawing/2014/main" id="{7BAAA10B-43F3-409A-9A28-45B2EE3718B4}"/>
              </a:ext>
            </a:extLst>
          </p:cNvPr>
          <p:cNvGraphicFramePr/>
          <p:nvPr>
            <p:extLst>
              <p:ext uri="{D42A27DB-BD31-4B8C-83A1-F6EECF244321}">
                <p14:modId xmlns:p14="http://schemas.microsoft.com/office/powerpoint/2010/main" val="2938232914"/>
              </p:ext>
            </p:extLst>
          </p:nvPr>
        </p:nvGraphicFramePr>
        <p:xfrm>
          <a:off x="544840" y="2262775"/>
          <a:ext cx="5471332" cy="3630554"/>
        </p:xfrm>
        <a:graphic>
          <a:graphicData uri="http://schemas.openxmlformats.org/drawingml/2006/chart">
            <c:chart xmlns:c="http://schemas.openxmlformats.org/drawingml/2006/chart" xmlns:r="http://schemas.openxmlformats.org/officeDocument/2006/relationships" r:id="rId3"/>
          </a:graphicData>
        </a:graphic>
      </p:graphicFrame>
      <p:sp>
        <p:nvSpPr>
          <p:cNvPr id="20" name="TextBox 19">
            <a:extLst>
              <a:ext uri="{FF2B5EF4-FFF2-40B4-BE49-F238E27FC236}">
                <a16:creationId xmlns:a16="http://schemas.microsoft.com/office/drawing/2014/main" id="{2DAC3960-96BB-4451-BF7D-1DA742A37ACE}"/>
              </a:ext>
            </a:extLst>
          </p:cNvPr>
          <p:cNvSpPr txBox="1"/>
          <p:nvPr/>
        </p:nvSpPr>
        <p:spPr>
          <a:xfrm>
            <a:off x="1495248" y="1872341"/>
            <a:ext cx="4470400" cy="506546"/>
          </a:xfrm>
          <a:prstGeom prst="rect">
            <a:avLst/>
          </a:prstGeom>
          <a:noFill/>
        </p:spPr>
        <p:txBody>
          <a:bodyPr wrap="square" lIns="0" tIns="0" rIns="0" bIns="0" rtlCol="0">
            <a:noAutofit/>
          </a:bodyPr>
          <a:lstStyle/>
          <a:p>
            <a:pPr>
              <a:lnSpc>
                <a:spcPct val="125000"/>
              </a:lnSpc>
              <a:buClr>
                <a:schemeClr val="tx2"/>
              </a:buClr>
            </a:pPr>
            <a:r>
              <a:rPr lang="en-US" sz="1600" dirty="0"/>
              <a:t>Impact of COVID-19 on Sales of Top Retailers</a:t>
            </a:r>
          </a:p>
        </p:txBody>
      </p:sp>
      <p:sp>
        <p:nvSpPr>
          <p:cNvPr id="21" name="TextBox 20">
            <a:extLst>
              <a:ext uri="{FF2B5EF4-FFF2-40B4-BE49-F238E27FC236}">
                <a16:creationId xmlns:a16="http://schemas.microsoft.com/office/drawing/2014/main" id="{D88A3956-72D1-435D-8EDB-A7CF09FF29CD}"/>
              </a:ext>
            </a:extLst>
          </p:cNvPr>
          <p:cNvSpPr txBox="1"/>
          <p:nvPr/>
        </p:nvSpPr>
        <p:spPr>
          <a:xfrm>
            <a:off x="7090230" y="1872341"/>
            <a:ext cx="4470400" cy="506546"/>
          </a:xfrm>
          <a:prstGeom prst="rect">
            <a:avLst/>
          </a:prstGeom>
          <a:noFill/>
        </p:spPr>
        <p:txBody>
          <a:bodyPr wrap="square" lIns="0" tIns="0" rIns="0" bIns="0" rtlCol="0">
            <a:noAutofit/>
          </a:bodyPr>
          <a:lstStyle/>
          <a:p>
            <a:pPr algn="ctr">
              <a:lnSpc>
                <a:spcPct val="125000"/>
              </a:lnSpc>
              <a:buClr>
                <a:schemeClr val="tx2"/>
              </a:buClr>
            </a:pPr>
            <a:r>
              <a:rPr lang="en-US" sz="1600" dirty="0"/>
              <a:t>Top Actions made during the Lockdown</a:t>
            </a:r>
          </a:p>
          <a:p>
            <a:pPr algn="ctr">
              <a:lnSpc>
                <a:spcPct val="125000"/>
              </a:lnSpc>
              <a:buClr>
                <a:schemeClr val="tx2"/>
              </a:buClr>
            </a:pPr>
            <a:r>
              <a:rPr lang="en-US" sz="1600" dirty="0"/>
              <a:t>(3 countries total)</a:t>
            </a:r>
          </a:p>
        </p:txBody>
      </p:sp>
      <p:cxnSp>
        <p:nvCxnSpPr>
          <p:cNvPr id="22" name="Straight Connector 24">
            <a:extLst>
              <a:ext uri="{FF2B5EF4-FFF2-40B4-BE49-F238E27FC236}">
                <a16:creationId xmlns:a16="http://schemas.microsoft.com/office/drawing/2014/main" id="{FC32C8BD-CDD7-4197-8CFC-D39C8E3457C8}"/>
              </a:ext>
            </a:extLst>
          </p:cNvPr>
          <p:cNvCxnSpPr/>
          <p:nvPr/>
        </p:nvCxnSpPr>
        <p:spPr>
          <a:xfrm>
            <a:off x="6096000" y="2094026"/>
            <a:ext cx="0" cy="4482956"/>
          </a:xfrm>
          <a:prstGeom prst="line">
            <a:avLst/>
          </a:prstGeom>
          <a:ln w="6350">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23" name="TextBox 22">
            <a:extLst>
              <a:ext uri="{FF2B5EF4-FFF2-40B4-BE49-F238E27FC236}">
                <a16:creationId xmlns:a16="http://schemas.microsoft.com/office/drawing/2014/main" id="{0E2E63E7-AD92-4F5D-A3AA-EE7433DB4D83}"/>
              </a:ext>
            </a:extLst>
          </p:cNvPr>
          <p:cNvSpPr txBox="1"/>
          <p:nvPr/>
        </p:nvSpPr>
        <p:spPr>
          <a:xfrm>
            <a:off x="7738928" y="2763120"/>
            <a:ext cx="2444050" cy="408999"/>
          </a:xfrm>
          <a:prstGeom prst="rect">
            <a:avLst/>
          </a:prstGeom>
          <a:noFill/>
        </p:spPr>
        <p:txBody>
          <a:bodyPr wrap="square" lIns="0" tIns="0" rIns="0" bIns="0" rtlCol="0">
            <a:noAutofit/>
          </a:bodyPr>
          <a:lstStyle/>
          <a:p>
            <a:pPr>
              <a:lnSpc>
                <a:spcPct val="125000"/>
              </a:lnSpc>
              <a:buClr>
                <a:schemeClr val="tx2"/>
              </a:buClr>
            </a:pPr>
            <a:r>
              <a:rPr lang="en-US" sz="1600" dirty="0"/>
              <a:t>Safety/sanitary measures</a:t>
            </a:r>
          </a:p>
        </p:txBody>
      </p:sp>
      <p:sp>
        <p:nvSpPr>
          <p:cNvPr id="24" name="TextBox 23">
            <a:extLst>
              <a:ext uri="{FF2B5EF4-FFF2-40B4-BE49-F238E27FC236}">
                <a16:creationId xmlns:a16="http://schemas.microsoft.com/office/drawing/2014/main" id="{ADC8188A-860B-4004-8F9A-B49D8C93C369}"/>
              </a:ext>
            </a:extLst>
          </p:cNvPr>
          <p:cNvSpPr txBox="1"/>
          <p:nvPr/>
        </p:nvSpPr>
        <p:spPr>
          <a:xfrm>
            <a:off x="5965648" y="3513157"/>
            <a:ext cx="2444050" cy="408999"/>
          </a:xfrm>
          <a:prstGeom prst="rect">
            <a:avLst/>
          </a:prstGeom>
          <a:noFill/>
        </p:spPr>
        <p:txBody>
          <a:bodyPr wrap="square" lIns="0" tIns="0" rIns="0" bIns="0" rtlCol="0">
            <a:noAutofit/>
          </a:bodyPr>
          <a:lstStyle/>
          <a:p>
            <a:pPr algn="ctr">
              <a:lnSpc>
                <a:spcPct val="125000"/>
              </a:lnSpc>
              <a:buClr>
                <a:schemeClr val="tx2"/>
              </a:buClr>
            </a:pPr>
            <a:r>
              <a:rPr lang="en-US" sz="1600" dirty="0"/>
              <a:t>Layoff/reducing hours</a:t>
            </a:r>
          </a:p>
          <a:p>
            <a:pPr algn="ctr">
              <a:lnSpc>
                <a:spcPct val="125000"/>
              </a:lnSpc>
              <a:buClr>
                <a:schemeClr val="tx2"/>
              </a:buClr>
            </a:pPr>
            <a:r>
              <a:rPr lang="en-US" sz="1600" dirty="0"/>
              <a:t> of employees</a:t>
            </a:r>
          </a:p>
        </p:txBody>
      </p:sp>
      <p:sp>
        <p:nvSpPr>
          <p:cNvPr id="25" name="TextBox 24">
            <a:extLst>
              <a:ext uri="{FF2B5EF4-FFF2-40B4-BE49-F238E27FC236}">
                <a16:creationId xmlns:a16="http://schemas.microsoft.com/office/drawing/2014/main" id="{943E406A-01EB-433F-AB5D-C4FD93305920}"/>
              </a:ext>
            </a:extLst>
          </p:cNvPr>
          <p:cNvSpPr txBox="1"/>
          <p:nvPr/>
        </p:nvSpPr>
        <p:spPr>
          <a:xfrm>
            <a:off x="9472485" y="3528349"/>
            <a:ext cx="2444050" cy="408999"/>
          </a:xfrm>
          <a:prstGeom prst="rect">
            <a:avLst/>
          </a:prstGeom>
          <a:noFill/>
        </p:spPr>
        <p:txBody>
          <a:bodyPr wrap="square" lIns="0" tIns="0" rIns="0" bIns="0" rtlCol="0">
            <a:noAutofit/>
          </a:bodyPr>
          <a:lstStyle/>
          <a:p>
            <a:pPr algn="ctr">
              <a:lnSpc>
                <a:spcPct val="125000"/>
              </a:lnSpc>
              <a:buClr>
                <a:schemeClr val="tx2"/>
              </a:buClr>
            </a:pPr>
            <a:r>
              <a:rPr lang="en-US" sz="1600" dirty="0"/>
              <a:t>Online development</a:t>
            </a:r>
          </a:p>
        </p:txBody>
      </p:sp>
      <p:pic>
        <p:nvPicPr>
          <p:cNvPr id="16" name="Рисунок 15">
            <a:extLst>
              <a:ext uri="{FF2B5EF4-FFF2-40B4-BE49-F238E27FC236}">
                <a16:creationId xmlns:a16="http://schemas.microsoft.com/office/drawing/2014/main" id="{1C8D4BB8-3EEC-4FBF-9A41-0C652293DF49}"/>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97873" y="2745000"/>
            <a:ext cx="684000" cy="684000"/>
          </a:xfrm>
          <a:prstGeom prst="rect">
            <a:avLst/>
          </a:prstGeom>
        </p:spPr>
      </p:pic>
      <p:pic>
        <p:nvPicPr>
          <p:cNvPr id="17" name="Рисунок 16">
            <a:extLst>
              <a:ext uri="{FF2B5EF4-FFF2-40B4-BE49-F238E27FC236}">
                <a16:creationId xmlns:a16="http://schemas.microsoft.com/office/drawing/2014/main" id="{60A521D1-2C13-41FA-9E3E-FFB5D80BE956}"/>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215873" y="4612698"/>
            <a:ext cx="648000" cy="648000"/>
          </a:xfrm>
          <a:prstGeom prst="rect">
            <a:avLst/>
          </a:prstGeom>
        </p:spPr>
      </p:pic>
      <p:pic>
        <p:nvPicPr>
          <p:cNvPr id="26" name="Image 42">
            <a:extLst>
              <a:ext uri="{FF2B5EF4-FFF2-40B4-BE49-F238E27FC236}">
                <a16:creationId xmlns:a16="http://schemas.microsoft.com/office/drawing/2014/main" id="{9E036A28-47A1-4DF9-8686-F87FB7B6645E}"/>
              </a:ext>
            </a:extLst>
          </p:cNvPr>
          <p:cNvPicPr>
            <a:picLocks/>
          </p:cNvPicPr>
          <p:nvPr/>
        </p:nvPicPr>
        <p:blipFill>
          <a:blip r:embed="rId6"/>
          <a:stretch>
            <a:fillRect/>
          </a:stretch>
        </p:blipFill>
        <p:spPr>
          <a:xfrm>
            <a:off x="275465" y="3732849"/>
            <a:ext cx="576000" cy="576000"/>
          </a:xfrm>
          <a:prstGeom prst="rect">
            <a:avLst/>
          </a:prstGeom>
        </p:spPr>
      </p:pic>
      <p:sp>
        <p:nvSpPr>
          <p:cNvPr id="27" name="Заголовок 2">
            <a:extLst>
              <a:ext uri="{FF2B5EF4-FFF2-40B4-BE49-F238E27FC236}">
                <a16:creationId xmlns:a16="http://schemas.microsoft.com/office/drawing/2014/main" id="{F89C40E9-2613-4E40-85B5-34113803DCD5}"/>
              </a:ext>
            </a:extLst>
          </p:cNvPr>
          <p:cNvSpPr>
            <a:spLocks noGrp="1"/>
          </p:cNvSpPr>
          <p:nvPr>
            <p:ph type="title"/>
          </p:nvPr>
        </p:nvSpPr>
        <p:spPr>
          <a:xfrm>
            <a:off x="1075061" y="288923"/>
            <a:ext cx="9700939" cy="648000"/>
          </a:xfrm>
        </p:spPr>
        <p:txBody>
          <a:bodyPr/>
          <a:lstStyle/>
          <a:p>
            <a:r>
              <a:rPr lang="en-US" dirty="0"/>
              <a:t>Impact of Lockdown on Retailers</a:t>
            </a:r>
          </a:p>
        </p:txBody>
      </p:sp>
      <p:sp>
        <p:nvSpPr>
          <p:cNvPr id="28" name="Подзаголовок 7">
            <a:extLst>
              <a:ext uri="{FF2B5EF4-FFF2-40B4-BE49-F238E27FC236}">
                <a16:creationId xmlns:a16="http://schemas.microsoft.com/office/drawing/2014/main" id="{AFDF419C-2E42-49E4-B7E0-E51B86F82869}"/>
              </a:ext>
            </a:extLst>
          </p:cNvPr>
          <p:cNvSpPr>
            <a:spLocks noGrp="1"/>
          </p:cNvSpPr>
          <p:nvPr>
            <p:ph type="subTitle" idx="13"/>
          </p:nvPr>
        </p:nvSpPr>
        <p:spPr>
          <a:xfrm>
            <a:off x="1084424" y="1020125"/>
            <a:ext cx="9816557" cy="457588"/>
          </a:xfrm>
        </p:spPr>
        <p:txBody>
          <a:bodyPr/>
          <a:lstStyle/>
          <a:p>
            <a:r>
              <a:rPr lang="en-US" dirty="0">
                <a:solidFill>
                  <a:schemeClr val="tx2"/>
                </a:solidFill>
                <a:ea typeface="Lato" panose="020F0502020204030203" pitchFamily="34" charset="0"/>
                <a:cs typeface="Lato" panose="020F0502020204030203" pitchFamily="34" charset="0"/>
              </a:rPr>
              <a:t>Russia and UK, had more negative impact of lockdown on retailers.</a:t>
            </a:r>
          </a:p>
        </p:txBody>
      </p:sp>
      <p:sp>
        <p:nvSpPr>
          <p:cNvPr id="18" name="Текст 4">
            <a:extLst>
              <a:ext uri="{FF2B5EF4-FFF2-40B4-BE49-F238E27FC236}">
                <a16:creationId xmlns:a16="http://schemas.microsoft.com/office/drawing/2014/main" id="{26AE8A6B-A582-4169-8DDF-1F9144B029D7}"/>
              </a:ext>
            </a:extLst>
          </p:cNvPr>
          <p:cNvSpPr txBox="1">
            <a:spLocks/>
          </p:cNvSpPr>
          <p:nvPr/>
        </p:nvSpPr>
        <p:spPr bwMode="gray">
          <a:xfrm>
            <a:off x="431371" y="6509666"/>
            <a:ext cx="11328400" cy="192616"/>
          </a:xfrm>
          <a:prstGeom prst="rect">
            <a:avLst/>
          </a:prstGeom>
        </p:spPr>
        <p:txBody>
          <a:bodyPr vert="horz" lIns="0" tIns="0" rIns="0" bIns="36000" rtlCol="0" anchor="b" anchorCtr="0">
            <a:noAutofit/>
          </a:bodyPr>
          <a:lstStyle>
            <a:lvl1pPr marL="0" marR="0" indent="0" algn="l" defTabSz="1219170" rtl="0" eaLnBrk="1" fontAlgn="auto" latinLnBrk="0" hangingPunct="1">
              <a:lnSpc>
                <a:spcPct val="100000"/>
              </a:lnSpc>
              <a:spcBef>
                <a:spcPts val="0"/>
              </a:spcBef>
              <a:spcAft>
                <a:spcPts val="0"/>
              </a:spcAft>
              <a:buClrTx/>
              <a:buSzTx/>
              <a:buFont typeface="Arial" pitchFamily="34" charset="0"/>
              <a:buNone/>
              <a:tabLst/>
              <a:defRPr lang="de-DE" sz="1067" kern="1200" baseline="0" noProof="0" smtClean="0">
                <a:solidFill>
                  <a:schemeClr val="bg2"/>
                </a:solidFill>
                <a:latin typeface="Arial" pitchFamily="34" charset="0"/>
                <a:ea typeface="+mn-ea"/>
                <a:cs typeface="Arial" pitchFamily="34" charset="0"/>
              </a:defRPr>
            </a:lvl1pPr>
            <a:lvl2pPr marL="0" indent="0" algn="l" defTabSz="914400" rtl="0" eaLnBrk="1" latinLnBrk="0" hangingPunct="1">
              <a:lnSpc>
                <a:spcPct val="100000"/>
              </a:lnSpc>
              <a:spcBef>
                <a:spcPts val="0"/>
              </a:spcBef>
              <a:buClr>
                <a:schemeClr val="tx2"/>
              </a:buClr>
              <a:buFont typeface="Arial" panose="020B0604020202020204" pitchFamily="34" charset="0"/>
              <a:buNone/>
              <a:defRPr lang="de-DE" sz="1067" kern="1200" baseline="0" noProof="0" smtClean="0">
                <a:solidFill>
                  <a:schemeClr val="bg2"/>
                </a:solidFill>
                <a:latin typeface="Arial" pitchFamily="34" charset="0"/>
                <a:ea typeface="+mn-ea"/>
                <a:cs typeface="Arial" pitchFamily="34" charset="0"/>
              </a:defRPr>
            </a:lvl2pPr>
            <a:lvl3pPr marL="0" indent="0" algn="l" defTabSz="914400" rtl="0" eaLnBrk="1" latinLnBrk="0" hangingPunct="1">
              <a:lnSpc>
                <a:spcPct val="100000"/>
              </a:lnSpc>
              <a:spcBef>
                <a:spcPts val="0"/>
              </a:spcBef>
              <a:buClr>
                <a:schemeClr val="tx2"/>
              </a:buClr>
              <a:buFont typeface="Wingdings" panose="05000000000000000000" pitchFamily="2" charset="2"/>
              <a:buNone/>
              <a:defRPr lang="de-DE" sz="1067" kern="1200" baseline="0" noProof="0" smtClean="0">
                <a:solidFill>
                  <a:schemeClr val="bg2"/>
                </a:solidFill>
                <a:latin typeface="Arial" pitchFamily="34" charset="0"/>
                <a:ea typeface="+mn-ea"/>
                <a:cs typeface="Arial" pitchFamily="34" charset="0"/>
              </a:defRPr>
            </a:lvl3pPr>
            <a:lvl4pPr marL="0" indent="0" algn="l" defTabSz="914400" rtl="0" eaLnBrk="1" latinLnBrk="0" hangingPunct="1">
              <a:lnSpc>
                <a:spcPct val="100000"/>
              </a:lnSpc>
              <a:spcBef>
                <a:spcPts val="0"/>
              </a:spcBef>
              <a:buClr>
                <a:schemeClr val="tx2"/>
              </a:buClr>
              <a:buFont typeface="Lato" panose="020F0502020204030203" pitchFamily="34" charset="0"/>
              <a:buNone/>
              <a:defRPr lang="de-DE" sz="1067" kern="1200" baseline="0" noProof="0" smtClean="0">
                <a:solidFill>
                  <a:schemeClr val="bg2"/>
                </a:solidFill>
                <a:latin typeface="Arial" pitchFamily="34" charset="0"/>
                <a:ea typeface="+mn-ea"/>
                <a:cs typeface="Arial" pitchFamily="34" charset="0"/>
              </a:defRPr>
            </a:lvl4pPr>
            <a:lvl5pPr marL="0" indent="0" algn="l" defTabSz="914400" rtl="0" eaLnBrk="1" latinLnBrk="0" hangingPunct="1">
              <a:lnSpc>
                <a:spcPct val="100000"/>
              </a:lnSpc>
              <a:spcBef>
                <a:spcPts val="0"/>
              </a:spcBef>
              <a:buClr>
                <a:schemeClr val="tx2"/>
              </a:buClr>
              <a:buFont typeface="Wingdings" panose="05000000000000000000" pitchFamily="2" charset="2"/>
              <a:buNone/>
              <a:defRPr lang="de-DE" sz="1067" kern="1200" baseline="0" noProof="0" smtClean="0">
                <a:solidFill>
                  <a:schemeClr val="bg2"/>
                </a:solidFill>
                <a:latin typeface="Arial" pitchFamily="34" charset="0"/>
                <a:ea typeface="+mn-ea"/>
                <a:cs typeface="Arial" pitchFamily="34" charset="0"/>
              </a:defRPr>
            </a:lvl5pPr>
            <a:lvl6pPr marL="0" indent="0" algn="l" defTabSz="914400" rtl="0" eaLnBrk="1" latinLnBrk="0" hangingPunct="1">
              <a:lnSpc>
                <a:spcPct val="100000"/>
              </a:lnSpc>
              <a:spcBef>
                <a:spcPts val="0"/>
              </a:spcBef>
              <a:buFont typeface="Arial" panose="020B0604020202020204" pitchFamily="34" charset="0"/>
              <a:buNone/>
              <a:defRPr lang="de-DE" sz="1067" kern="1200" baseline="0" noProof="0" smtClean="0">
                <a:solidFill>
                  <a:schemeClr val="bg2"/>
                </a:solidFill>
                <a:latin typeface="Arial" pitchFamily="34" charset="0"/>
                <a:ea typeface="+mn-ea"/>
                <a:cs typeface="Arial" pitchFamily="34" charset="0"/>
              </a:defRPr>
            </a:lvl6pPr>
            <a:lvl7pPr marL="0" indent="0" algn="l" defTabSz="914400" rtl="0" eaLnBrk="1" latinLnBrk="0" hangingPunct="1">
              <a:lnSpc>
                <a:spcPct val="100000"/>
              </a:lnSpc>
              <a:spcBef>
                <a:spcPts val="0"/>
              </a:spcBef>
              <a:buFont typeface="Arial" panose="020B0604020202020204" pitchFamily="34" charset="0"/>
              <a:buNone/>
              <a:defRPr lang="de-DE" sz="1067" kern="1200" baseline="0" noProof="0" dirty="0" smtClean="0">
                <a:solidFill>
                  <a:schemeClr val="bg2"/>
                </a:solidFill>
                <a:latin typeface="Arial" pitchFamily="34" charset="0"/>
                <a:ea typeface="+mn-ea"/>
                <a:cs typeface="Arial" pitchFamily="34" charset="0"/>
              </a:defRPr>
            </a:lvl7pPr>
            <a:lvl8pPr marL="0" indent="0" algn="l" defTabSz="914400" rtl="0" eaLnBrk="1" latinLnBrk="0" hangingPunct="1">
              <a:lnSpc>
                <a:spcPct val="100000"/>
              </a:lnSpc>
              <a:spcBef>
                <a:spcPts val="0"/>
              </a:spcBef>
              <a:buFont typeface="Arial" panose="020B0604020202020204" pitchFamily="34" charset="0"/>
              <a:buNone/>
              <a:defRPr lang="de-DE" sz="1067" kern="1200" baseline="0" noProof="0" smtClean="0">
                <a:solidFill>
                  <a:schemeClr val="bg2"/>
                </a:solidFill>
                <a:latin typeface="Arial" pitchFamily="34" charset="0"/>
                <a:ea typeface="+mn-ea"/>
                <a:cs typeface="Arial" pitchFamily="34" charset="0"/>
              </a:defRPr>
            </a:lvl8pPr>
            <a:lvl9pPr marL="0" indent="0" algn="l" defTabSz="914400" rtl="0" eaLnBrk="1" latinLnBrk="0" hangingPunct="1">
              <a:lnSpc>
                <a:spcPct val="100000"/>
              </a:lnSpc>
              <a:spcBef>
                <a:spcPts val="0"/>
              </a:spcBef>
              <a:buFont typeface="Arial" panose="020B0604020202020204" pitchFamily="34" charset="0"/>
              <a:buNone/>
              <a:defRPr lang="de-DE" sz="1067" kern="1200" baseline="0" noProof="0" smtClean="0">
                <a:solidFill>
                  <a:schemeClr val="bg2"/>
                </a:solidFill>
                <a:latin typeface="Arial" pitchFamily="34" charset="0"/>
                <a:ea typeface="+mn-ea"/>
                <a:cs typeface="Arial" pitchFamily="34" charset="0"/>
              </a:defRPr>
            </a:lvl9pPr>
          </a:lstStyle>
          <a:p>
            <a:pPr marL="0" marR="0" lvl="0" indent="0" algn="l" defTabSz="1219170" rtl="0" eaLnBrk="1" fontAlgn="auto" latinLnBrk="0" hangingPunct="1">
              <a:lnSpc>
                <a:spcPct val="100000"/>
              </a:lnSpc>
              <a:spcBef>
                <a:spcPts val="0"/>
              </a:spcBef>
              <a:spcAft>
                <a:spcPts val="0"/>
              </a:spcAft>
              <a:buClrTx/>
              <a:buSzTx/>
              <a:buFont typeface="Arial" pitchFamily="34" charset="0"/>
              <a:buNone/>
              <a:tabLst/>
              <a:defRPr/>
            </a:pPr>
            <a:r>
              <a:rPr kumimoji="0" lang="en-US" sz="1067" b="0" i="0" u="none" strike="noStrike" kern="1200" cap="none" spc="0" normalizeH="0" baseline="0" noProof="0" dirty="0">
                <a:ln>
                  <a:noFill/>
                </a:ln>
                <a:solidFill>
                  <a:schemeClr val="tx1">
                    <a:lumMod val="75000"/>
                  </a:schemeClr>
                </a:solidFill>
                <a:effectLst/>
                <a:uLnTx/>
                <a:uFillTx/>
                <a:latin typeface="Arial" pitchFamily="34" charset="0"/>
                <a:ea typeface="+mn-ea"/>
                <a:cs typeface="Arial" pitchFamily="34" charset="0"/>
              </a:rPr>
              <a:t>Source: GfK </a:t>
            </a:r>
            <a:r>
              <a:rPr lang="en-US" dirty="0">
                <a:solidFill>
                  <a:schemeClr val="tx1">
                    <a:lumMod val="75000"/>
                  </a:schemeClr>
                </a:solidFill>
              </a:rPr>
              <a:t>Retail  Top Executives COVID-19 Survey   </a:t>
            </a:r>
            <a:r>
              <a:rPr kumimoji="0" lang="en-US" sz="1067" b="0" i="0" u="none" strike="noStrike" kern="1200" cap="none" spc="0" normalizeH="0" baseline="0" noProof="0" dirty="0">
                <a:ln>
                  <a:noFill/>
                </a:ln>
                <a:solidFill>
                  <a:schemeClr val="tx1">
                    <a:lumMod val="75000"/>
                  </a:schemeClr>
                </a:solidFill>
                <a:effectLst/>
                <a:uLnTx/>
                <a:uFillTx/>
                <a:latin typeface="Arial" pitchFamily="34" charset="0"/>
                <a:ea typeface="+mn-ea"/>
                <a:cs typeface="Arial" pitchFamily="34" charset="0"/>
              </a:rPr>
              <a:t> </a:t>
            </a:r>
          </a:p>
        </p:txBody>
      </p:sp>
    </p:spTree>
    <p:extLst>
      <p:ext uri="{BB962C8B-B14F-4D97-AF65-F5344CB8AC3E}">
        <p14:creationId xmlns:p14="http://schemas.microsoft.com/office/powerpoint/2010/main" val="38485851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2"/>
                                        </p:tgtEl>
                                        <p:attrNameLst>
                                          <p:attrName>style.visibility</p:attrName>
                                        </p:attrNameLst>
                                      </p:cBhvr>
                                      <p:to>
                                        <p:strVal val="visible"/>
                                      </p:to>
                                    </p:set>
                                    <p:animEffect transition="in" filter="fade">
                                      <p:cBhvr>
                                        <p:cTn id="7" dur="500"/>
                                        <p:tgtEl>
                                          <p:spTgt spid="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Диаграмма 15">
            <a:extLst>
              <a:ext uri="{FF2B5EF4-FFF2-40B4-BE49-F238E27FC236}">
                <a16:creationId xmlns:a16="http://schemas.microsoft.com/office/drawing/2014/main" id="{FD6EF8C6-D55E-4629-8977-7ED1F1010757}"/>
              </a:ext>
            </a:extLst>
          </p:cNvPr>
          <p:cNvGraphicFramePr/>
          <p:nvPr>
            <p:extLst>
              <p:ext uri="{D42A27DB-BD31-4B8C-83A1-F6EECF244321}">
                <p14:modId xmlns:p14="http://schemas.microsoft.com/office/powerpoint/2010/main" val="843222254"/>
              </p:ext>
            </p:extLst>
          </p:nvPr>
        </p:nvGraphicFramePr>
        <p:xfrm>
          <a:off x="6591873" y="1865878"/>
          <a:ext cx="5439707" cy="4507086"/>
        </p:xfrm>
        <a:graphic>
          <a:graphicData uri="http://schemas.openxmlformats.org/drawingml/2006/chart">
            <c:chart xmlns:c="http://schemas.openxmlformats.org/drawingml/2006/chart" xmlns:r="http://schemas.openxmlformats.org/officeDocument/2006/relationships" r:id="rId2"/>
          </a:graphicData>
        </a:graphic>
      </p:graphicFrame>
      <p:sp>
        <p:nvSpPr>
          <p:cNvPr id="4" name="Номер слайда 3"/>
          <p:cNvSpPr>
            <a:spLocks noGrp="1"/>
          </p:cNvSpPr>
          <p:nvPr>
            <p:ph type="sldNum" sz="quarter" idx="16"/>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F3E29E4-0979-4FCA-B4C5-5FC6044C982A}" type="slidenum">
              <a:rPr kumimoji="0" lang="en-US" sz="800" b="0" i="0" u="none" strike="noStrike" kern="1200" cap="none" spc="0" normalizeH="0" baseline="0" noProof="0" smtClean="0">
                <a:ln>
                  <a:noFill/>
                </a:ln>
                <a:solidFill>
                  <a:srgbClr val="414549"/>
                </a:solidFill>
                <a:effectLst/>
                <a:uLnTx/>
                <a:uFillTx/>
                <a:latin typeface="Lato"/>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800" b="0" i="0" u="none" strike="noStrike" kern="1200" cap="none" spc="0" normalizeH="0" baseline="0" noProof="0">
              <a:ln>
                <a:noFill/>
              </a:ln>
              <a:solidFill>
                <a:srgbClr val="414549"/>
              </a:solidFill>
              <a:effectLst/>
              <a:uLnTx/>
              <a:uFillTx/>
              <a:latin typeface="Lato"/>
              <a:ea typeface="+mn-ea"/>
              <a:cs typeface="+mn-cs"/>
            </a:endParaRPr>
          </a:p>
        </p:txBody>
      </p:sp>
      <p:graphicFrame>
        <p:nvGraphicFramePr>
          <p:cNvPr id="19" name="Диаграмма 18">
            <a:extLst>
              <a:ext uri="{FF2B5EF4-FFF2-40B4-BE49-F238E27FC236}">
                <a16:creationId xmlns:a16="http://schemas.microsoft.com/office/drawing/2014/main" id="{7BAAA10B-43F3-409A-9A28-45B2EE3718B4}"/>
              </a:ext>
            </a:extLst>
          </p:cNvPr>
          <p:cNvGraphicFramePr/>
          <p:nvPr>
            <p:extLst>
              <p:ext uri="{D42A27DB-BD31-4B8C-83A1-F6EECF244321}">
                <p14:modId xmlns:p14="http://schemas.microsoft.com/office/powerpoint/2010/main" val="392807684"/>
              </p:ext>
            </p:extLst>
          </p:nvPr>
        </p:nvGraphicFramePr>
        <p:xfrm>
          <a:off x="544840" y="2262775"/>
          <a:ext cx="5471332" cy="3630554"/>
        </p:xfrm>
        <a:graphic>
          <a:graphicData uri="http://schemas.openxmlformats.org/drawingml/2006/chart">
            <c:chart xmlns:c="http://schemas.openxmlformats.org/drawingml/2006/chart" xmlns:r="http://schemas.openxmlformats.org/officeDocument/2006/relationships" r:id="rId3"/>
          </a:graphicData>
        </a:graphic>
      </p:graphicFrame>
      <p:sp>
        <p:nvSpPr>
          <p:cNvPr id="20" name="TextBox 19">
            <a:extLst>
              <a:ext uri="{FF2B5EF4-FFF2-40B4-BE49-F238E27FC236}">
                <a16:creationId xmlns:a16="http://schemas.microsoft.com/office/drawing/2014/main" id="{2DAC3960-96BB-4451-BF7D-1DA742A37ACE}"/>
              </a:ext>
            </a:extLst>
          </p:cNvPr>
          <p:cNvSpPr txBox="1"/>
          <p:nvPr/>
        </p:nvSpPr>
        <p:spPr>
          <a:xfrm>
            <a:off x="1205950" y="1756229"/>
            <a:ext cx="5157189" cy="506546"/>
          </a:xfrm>
          <a:prstGeom prst="rect">
            <a:avLst/>
          </a:prstGeom>
          <a:noFill/>
        </p:spPr>
        <p:txBody>
          <a:bodyPr wrap="square" lIns="0" tIns="0" rIns="0" bIns="0" rtlCol="0">
            <a:noAutofit/>
          </a:bodyPr>
          <a:lstStyle/>
          <a:p>
            <a:pPr marL="0" marR="0" lvl="0" indent="0" algn="l" defTabSz="914400" rtl="0" eaLnBrk="1" fontAlgn="auto" latinLnBrk="0" hangingPunct="1">
              <a:lnSpc>
                <a:spcPct val="125000"/>
              </a:lnSpc>
              <a:spcBef>
                <a:spcPts val="0"/>
              </a:spcBef>
              <a:spcAft>
                <a:spcPts val="0"/>
              </a:spcAft>
              <a:buClr>
                <a:srgbClr val="E55A00"/>
              </a:buClr>
              <a:buSzTx/>
              <a:buFontTx/>
              <a:buNone/>
              <a:tabLst/>
              <a:defRPr/>
            </a:pPr>
            <a:r>
              <a:rPr lang="en-US" sz="1600" dirty="0">
                <a:solidFill>
                  <a:srgbClr val="414549"/>
                </a:solidFill>
                <a:latin typeface="Lato"/>
              </a:rPr>
              <a:t>When the market will get back to pre-COVID level?</a:t>
            </a:r>
            <a:endParaRPr kumimoji="0" lang="en-US" sz="1600" b="0" i="0" u="none" strike="noStrike" kern="1200" cap="none" spc="0" normalizeH="0" baseline="0" noProof="0" dirty="0">
              <a:ln>
                <a:noFill/>
              </a:ln>
              <a:solidFill>
                <a:srgbClr val="414549"/>
              </a:solidFill>
              <a:effectLst/>
              <a:uLnTx/>
              <a:uFillTx/>
              <a:latin typeface="Lato"/>
              <a:ea typeface="+mn-ea"/>
              <a:cs typeface="+mn-cs"/>
            </a:endParaRPr>
          </a:p>
        </p:txBody>
      </p:sp>
      <p:sp>
        <p:nvSpPr>
          <p:cNvPr id="21" name="TextBox 20">
            <a:extLst>
              <a:ext uri="{FF2B5EF4-FFF2-40B4-BE49-F238E27FC236}">
                <a16:creationId xmlns:a16="http://schemas.microsoft.com/office/drawing/2014/main" id="{D88A3956-72D1-435D-8EDB-A7CF09FF29CD}"/>
              </a:ext>
            </a:extLst>
          </p:cNvPr>
          <p:cNvSpPr txBox="1"/>
          <p:nvPr/>
        </p:nvSpPr>
        <p:spPr>
          <a:xfrm>
            <a:off x="7024249" y="1679345"/>
            <a:ext cx="5157189" cy="506546"/>
          </a:xfrm>
          <a:prstGeom prst="rect">
            <a:avLst/>
          </a:prstGeom>
          <a:noFill/>
        </p:spPr>
        <p:txBody>
          <a:bodyPr wrap="square" lIns="0" tIns="0" rIns="0" bIns="0" rtlCol="0">
            <a:noAutofit/>
          </a:bodyPr>
          <a:lstStyle/>
          <a:p>
            <a:pPr marL="0" marR="0" lvl="0" indent="0" algn="ctr" defTabSz="914400" rtl="0" eaLnBrk="1" fontAlgn="auto" latinLnBrk="0" hangingPunct="1">
              <a:lnSpc>
                <a:spcPct val="125000"/>
              </a:lnSpc>
              <a:spcBef>
                <a:spcPts val="0"/>
              </a:spcBef>
              <a:spcAft>
                <a:spcPts val="0"/>
              </a:spcAft>
              <a:buClr>
                <a:srgbClr val="E55A00"/>
              </a:buClr>
              <a:buSzTx/>
              <a:buFontTx/>
              <a:buNone/>
              <a:tabLst/>
              <a:defRPr/>
            </a:pPr>
            <a:r>
              <a:rPr lang="en-US" sz="1600" dirty="0">
                <a:solidFill>
                  <a:srgbClr val="414549"/>
                </a:solidFill>
                <a:latin typeface="Lato"/>
              </a:rPr>
              <a:t>Expected </a:t>
            </a:r>
            <a:r>
              <a:rPr lang="ru-RU" sz="1600" dirty="0">
                <a:solidFill>
                  <a:srgbClr val="414549"/>
                </a:solidFill>
                <a:latin typeface="Lato"/>
              </a:rPr>
              <a:t>2020 </a:t>
            </a:r>
            <a:r>
              <a:rPr lang="en-US" sz="1600" dirty="0">
                <a:solidFill>
                  <a:srgbClr val="414549"/>
                </a:solidFill>
                <a:latin typeface="Lato"/>
              </a:rPr>
              <a:t>Market Growth by Country</a:t>
            </a:r>
            <a:endParaRPr lang="ru-RU" sz="1600" dirty="0">
              <a:solidFill>
                <a:srgbClr val="414549"/>
              </a:solidFill>
              <a:latin typeface="Lato"/>
            </a:endParaRPr>
          </a:p>
          <a:p>
            <a:pPr marL="0" marR="0" lvl="0" indent="0" algn="ctr" defTabSz="914400" rtl="0" eaLnBrk="1" fontAlgn="auto" latinLnBrk="0" hangingPunct="1">
              <a:lnSpc>
                <a:spcPct val="125000"/>
              </a:lnSpc>
              <a:spcBef>
                <a:spcPts val="0"/>
              </a:spcBef>
              <a:spcAft>
                <a:spcPts val="0"/>
              </a:spcAft>
              <a:buClr>
                <a:srgbClr val="E55A00"/>
              </a:buClr>
              <a:buSzTx/>
              <a:buFontTx/>
              <a:buNone/>
              <a:tabLst/>
              <a:defRPr/>
            </a:pPr>
            <a:r>
              <a:rPr lang="en-US" sz="1600" dirty="0">
                <a:solidFill>
                  <a:srgbClr val="414549"/>
                </a:solidFill>
                <a:latin typeface="Lato"/>
              </a:rPr>
              <a:t> </a:t>
            </a:r>
            <a:endParaRPr kumimoji="0" lang="en-US" sz="1600" b="0" i="0" u="none" strike="noStrike" kern="1200" cap="none" spc="0" normalizeH="0" baseline="0" noProof="0" dirty="0">
              <a:ln>
                <a:noFill/>
              </a:ln>
              <a:solidFill>
                <a:srgbClr val="414549"/>
              </a:solidFill>
              <a:effectLst/>
              <a:uLnTx/>
              <a:uFillTx/>
              <a:latin typeface="Lato"/>
              <a:ea typeface="+mn-ea"/>
              <a:cs typeface="+mn-cs"/>
            </a:endParaRPr>
          </a:p>
        </p:txBody>
      </p:sp>
      <p:cxnSp>
        <p:nvCxnSpPr>
          <p:cNvPr id="22" name="Straight Connector 24">
            <a:extLst>
              <a:ext uri="{FF2B5EF4-FFF2-40B4-BE49-F238E27FC236}">
                <a16:creationId xmlns:a16="http://schemas.microsoft.com/office/drawing/2014/main" id="{FC32C8BD-CDD7-4197-8CFC-D39C8E3457C8}"/>
              </a:ext>
            </a:extLst>
          </p:cNvPr>
          <p:cNvCxnSpPr/>
          <p:nvPr/>
        </p:nvCxnSpPr>
        <p:spPr>
          <a:xfrm>
            <a:off x="6096000" y="2094026"/>
            <a:ext cx="0" cy="4482956"/>
          </a:xfrm>
          <a:prstGeom prst="line">
            <a:avLst/>
          </a:prstGeom>
          <a:ln w="6350">
            <a:solidFill>
              <a:schemeClr val="tx1"/>
            </a:solidFill>
            <a:prstDash val="dash"/>
          </a:ln>
        </p:spPr>
        <p:style>
          <a:lnRef idx="1">
            <a:schemeClr val="accent1"/>
          </a:lnRef>
          <a:fillRef idx="0">
            <a:schemeClr val="accent1"/>
          </a:fillRef>
          <a:effectRef idx="0">
            <a:schemeClr val="accent1"/>
          </a:effectRef>
          <a:fontRef idx="minor">
            <a:schemeClr val="tx1"/>
          </a:fontRef>
        </p:style>
      </p:cxnSp>
      <p:pic>
        <p:nvPicPr>
          <p:cNvPr id="13" name="Рисунок 12">
            <a:extLst>
              <a:ext uri="{FF2B5EF4-FFF2-40B4-BE49-F238E27FC236}">
                <a16:creationId xmlns:a16="http://schemas.microsoft.com/office/drawing/2014/main" id="{659E62FF-EA74-4869-ABB2-F25F7D53167E}"/>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97873" y="2745000"/>
            <a:ext cx="684000" cy="684000"/>
          </a:xfrm>
          <a:prstGeom prst="rect">
            <a:avLst/>
          </a:prstGeom>
        </p:spPr>
      </p:pic>
      <p:pic>
        <p:nvPicPr>
          <p:cNvPr id="14" name="Рисунок 13">
            <a:extLst>
              <a:ext uri="{FF2B5EF4-FFF2-40B4-BE49-F238E27FC236}">
                <a16:creationId xmlns:a16="http://schemas.microsoft.com/office/drawing/2014/main" id="{E3A2DF59-40B3-4A96-995F-B28968736BC7}"/>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215873" y="4612698"/>
            <a:ext cx="648000" cy="648000"/>
          </a:xfrm>
          <a:prstGeom prst="rect">
            <a:avLst/>
          </a:prstGeom>
        </p:spPr>
      </p:pic>
      <p:pic>
        <p:nvPicPr>
          <p:cNvPr id="15" name="Image 42">
            <a:extLst>
              <a:ext uri="{FF2B5EF4-FFF2-40B4-BE49-F238E27FC236}">
                <a16:creationId xmlns:a16="http://schemas.microsoft.com/office/drawing/2014/main" id="{A55F6775-2219-4FF5-A8E9-0CF286162186}"/>
              </a:ext>
            </a:extLst>
          </p:cNvPr>
          <p:cNvPicPr>
            <a:picLocks/>
          </p:cNvPicPr>
          <p:nvPr/>
        </p:nvPicPr>
        <p:blipFill>
          <a:blip r:embed="rId6"/>
          <a:stretch>
            <a:fillRect/>
          </a:stretch>
        </p:blipFill>
        <p:spPr>
          <a:xfrm>
            <a:off x="275465" y="3732849"/>
            <a:ext cx="576000" cy="576000"/>
          </a:xfrm>
          <a:prstGeom prst="rect">
            <a:avLst/>
          </a:prstGeom>
        </p:spPr>
      </p:pic>
      <p:sp>
        <p:nvSpPr>
          <p:cNvPr id="18" name="Заголовок 2">
            <a:extLst>
              <a:ext uri="{FF2B5EF4-FFF2-40B4-BE49-F238E27FC236}">
                <a16:creationId xmlns:a16="http://schemas.microsoft.com/office/drawing/2014/main" id="{230E80B9-7EC6-41A4-81E2-6318CACE11D9}"/>
              </a:ext>
            </a:extLst>
          </p:cNvPr>
          <p:cNvSpPr>
            <a:spLocks noGrp="1"/>
          </p:cNvSpPr>
          <p:nvPr>
            <p:ph type="title"/>
          </p:nvPr>
        </p:nvSpPr>
        <p:spPr>
          <a:xfrm>
            <a:off x="1075061" y="288923"/>
            <a:ext cx="9700939" cy="648000"/>
          </a:xfrm>
        </p:spPr>
        <p:txBody>
          <a:bodyPr/>
          <a:lstStyle/>
          <a:p>
            <a:r>
              <a:rPr lang="en-US" dirty="0"/>
              <a:t>Future Outlook by Retailers</a:t>
            </a:r>
          </a:p>
        </p:txBody>
      </p:sp>
      <p:sp>
        <p:nvSpPr>
          <p:cNvPr id="23" name="Подзаголовок 7">
            <a:extLst>
              <a:ext uri="{FF2B5EF4-FFF2-40B4-BE49-F238E27FC236}">
                <a16:creationId xmlns:a16="http://schemas.microsoft.com/office/drawing/2014/main" id="{83E71CDA-ED0B-454F-A8F2-E8BEA0A361D3}"/>
              </a:ext>
            </a:extLst>
          </p:cNvPr>
          <p:cNvSpPr>
            <a:spLocks noGrp="1"/>
          </p:cNvSpPr>
          <p:nvPr>
            <p:ph type="subTitle" idx="13"/>
          </p:nvPr>
        </p:nvSpPr>
        <p:spPr>
          <a:xfrm>
            <a:off x="1084424" y="1020125"/>
            <a:ext cx="9816557" cy="457588"/>
          </a:xfrm>
        </p:spPr>
        <p:txBody>
          <a:bodyPr/>
          <a:lstStyle/>
          <a:p>
            <a:r>
              <a:rPr lang="en-US" dirty="0">
                <a:solidFill>
                  <a:schemeClr val="tx2"/>
                </a:solidFill>
                <a:ea typeface="Lato" panose="020F0502020204030203" pitchFamily="34" charset="0"/>
                <a:cs typeface="Lato" panose="020F0502020204030203" pitchFamily="34" charset="0"/>
              </a:rPr>
              <a:t>Russian retailers have more negative market expectations.</a:t>
            </a:r>
          </a:p>
        </p:txBody>
      </p:sp>
      <p:sp>
        <p:nvSpPr>
          <p:cNvPr id="17" name="Текст 4">
            <a:extLst>
              <a:ext uri="{FF2B5EF4-FFF2-40B4-BE49-F238E27FC236}">
                <a16:creationId xmlns:a16="http://schemas.microsoft.com/office/drawing/2014/main" id="{590D5901-C549-456B-B101-B8FD5B7D885C}"/>
              </a:ext>
            </a:extLst>
          </p:cNvPr>
          <p:cNvSpPr txBox="1">
            <a:spLocks/>
          </p:cNvSpPr>
          <p:nvPr/>
        </p:nvSpPr>
        <p:spPr bwMode="gray">
          <a:xfrm>
            <a:off x="431371" y="6509666"/>
            <a:ext cx="11328400" cy="192616"/>
          </a:xfrm>
          <a:prstGeom prst="rect">
            <a:avLst/>
          </a:prstGeom>
        </p:spPr>
        <p:txBody>
          <a:bodyPr vert="horz" lIns="0" tIns="0" rIns="0" bIns="36000" rtlCol="0" anchor="b" anchorCtr="0">
            <a:noAutofit/>
          </a:bodyPr>
          <a:lstStyle>
            <a:lvl1pPr marL="0" marR="0" indent="0" algn="l" defTabSz="1219170" rtl="0" eaLnBrk="1" fontAlgn="auto" latinLnBrk="0" hangingPunct="1">
              <a:lnSpc>
                <a:spcPct val="100000"/>
              </a:lnSpc>
              <a:spcBef>
                <a:spcPts val="0"/>
              </a:spcBef>
              <a:spcAft>
                <a:spcPts val="0"/>
              </a:spcAft>
              <a:buClrTx/>
              <a:buSzTx/>
              <a:buFont typeface="Arial" pitchFamily="34" charset="0"/>
              <a:buNone/>
              <a:tabLst/>
              <a:defRPr lang="de-DE" sz="1067" kern="1200" baseline="0" noProof="0" smtClean="0">
                <a:solidFill>
                  <a:schemeClr val="bg2"/>
                </a:solidFill>
                <a:latin typeface="Arial" pitchFamily="34" charset="0"/>
                <a:ea typeface="+mn-ea"/>
                <a:cs typeface="Arial" pitchFamily="34" charset="0"/>
              </a:defRPr>
            </a:lvl1pPr>
            <a:lvl2pPr marL="0" indent="0" algn="l" defTabSz="914400" rtl="0" eaLnBrk="1" latinLnBrk="0" hangingPunct="1">
              <a:lnSpc>
                <a:spcPct val="100000"/>
              </a:lnSpc>
              <a:spcBef>
                <a:spcPts val="0"/>
              </a:spcBef>
              <a:buClr>
                <a:schemeClr val="tx2"/>
              </a:buClr>
              <a:buFont typeface="Arial" panose="020B0604020202020204" pitchFamily="34" charset="0"/>
              <a:buNone/>
              <a:defRPr lang="de-DE" sz="1067" kern="1200" baseline="0" noProof="0" smtClean="0">
                <a:solidFill>
                  <a:schemeClr val="bg2"/>
                </a:solidFill>
                <a:latin typeface="Arial" pitchFamily="34" charset="0"/>
                <a:ea typeface="+mn-ea"/>
                <a:cs typeface="Arial" pitchFamily="34" charset="0"/>
              </a:defRPr>
            </a:lvl2pPr>
            <a:lvl3pPr marL="0" indent="0" algn="l" defTabSz="914400" rtl="0" eaLnBrk="1" latinLnBrk="0" hangingPunct="1">
              <a:lnSpc>
                <a:spcPct val="100000"/>
              </a:lnSpc>
              <a:spcBef>
                <a:spcPts val="0"/>
              </a:spcBef>
              <a:buClr>
                <a:schemeClr val="tx2"/>
              </a:buClr>
              <a:buFont typeface="Wingdings" panose="05000000000000000000" pitchFamily="2" charset="2"/>
              <a:buNone/>
              <a:defRPr lang="de-DE" sz="1067" kern="1200" baseline="0" noProof="0" smtClean="0">
                <a:solidFill>
                  <a:schemeClr val="bg2"/>
                </a:solidFill>
                <a:latin typeface="Arial" pitchFamily="34" charset="0"/>
                <a:ea typeface="+mn-ea"/>
                <a:cs typeface="Arial" pitchFamily="34" charset="0"/>
              </a:defRPr>
            </a:lvl3pPr>
            <a:lvl4pPr marL="0" indent="0" algn="l" defTabSz="914400" rtl="0" eaLnBrk="1" latinLnBrk="0" hangingPunct="1">
              <a:lnSpc>
                <a:spcPct val="100000"/>
              </a:lnSpc>
              <a:spcBef>
                <a:spcPts val="0"/>
              </a:spcBef>
              <a:buClr>
                <a:schemeClr val="tx2"/>
              </a:buClr>
              <a:buFont typeface="Lato" panose="020F0502020204030203" pitchFamily="34" charset="0"/>
              <a:buNone/>
              <a:defRPr lang="de-DE" sz="1067" kern="1200" baseline="0" noProof="0" smtClean="0">
                <a:solidFill>
                  <a:schemeClr val="bg2"/>
                </a:solidFill>
                <a:latin typeface="Arial" pitchFamily="34" charset="0"/>
                <a:ea typeface="+mn-ea"/>
                <a:cs typeface="Arial" pitchFamily="34" charset="0"/>
              </a:defRPr>
            </a:lvl4pPr>
            <a:lvl5pPr marL="0" indent="0" algn="l" defTabSz="914400" rtl="0" eaLnBrk="1" latinLnBrk="0" hangingPunct="1">
              <a:lnSpc>
                <a:spcPct val="100000"/>
              </a:lnSpc>
              <a:spcBef>
                <a:spcPts val="0"/>
              </a:spcBef>
              <a:buClr>
                <a:schemeClr val="tx2"/>
              </a:buClr>
              <a:buFont typeface="Wingdings" panose="05000000000000000000" pitchFamily="2" charset="2"/>
              <a:buNone/>
              <a:defRPr lang="de-DE" sz="1067" kern="1200" baseline="0" noProof="0" smtClean="0">
                <a:solidFill>
                  <a:schemeClr val="bg2"/>
                </a:solidFill>
                <a:latin typeface="Arial" pitchFamily="34" charset="0"/>
                <a:ea typeface="+mn-ea"/>
                <a:cs typeface="Arial" pitchFamily="34" charset="0"/>
              </a:defRPr>
            </a:lvl5pPr>
            <a:lvl6pPr marL="0" indent="0" algn="l" defTabSz="914400" rtl="0" eaLnBrk="1" latinLnBrk="0" hangingPunct="1">
              <a:lnSpc>
                <a:spcPct val="100000"/>
              </a:lnSpc>
              <a:spcBef>
                <a:spcPts val="0"/>
              </a:spcBef>
              <a:buFont typeface="Arial" panose="020B0604020202020204" pitchFamily="34" charset="0"/>
              <a:buNone/>
              <a:defRPr lang="de-DE" sz="1067" kern="1200" baseline="0" noProof="0" smtClean="0">
                <a:solidFill>
                  <a:schemeClr val="bg2"/>
                </a:solidFill>
                <a:latin typeface="Arial" pitchFamily="34" charset="0"/>
                <a:ea typeface="+mn-ea"/>
                <a:cs typeface="Arial" pitchFamily="34" charset="0"/>
              </a:defRPr>
            </a:lvl6pPr>
            <a:lvl7pPr marL="0" indent="0" algn="l" defTabSz="914400" rtl="0" eaLnBrk="1" latinLnBrk="0" hangingPunct="1">
              <a:lnSpc>
                <a:spcPct val="100000"/>
              </a:lnSpc>
              <a:spcBef>
                <a:spcPts val="0"/>
              </a:spcBef>
              <a:buFont typeface="Arial" panose="020B0604020202020204" pitchFamily="34" charset="0"/>
              <a:buNone/>
              <a:defRPr lang="de-DE" sz="1067" kern="1200" baseline="0" noProof="0" dirty="0" smtClean="0">
                <a:solidFill>
                  <a:schemeClr val="bg2"/>
                </a:solidFill>
                <a:latin typeface="Arial" pitchFamily="34" charset="0"/>
                <a:ea typeface="+mn-ea"/>
                <a:cs typeface="Arial" pitchFamily="34" charset="0"/>
              </a:defRPr>
            </a:lvl7pPr>
            <a:lvl8pPr marL="0" indent="0" algn="l" defTabSz="914400" rtl="0" eaLnBrk="1" latinLnBrk="0" hangingPunct="1">
              <a:lnSpc>
                <a:spcPct val="100000"/>
              </a:lnSpc>
              <a:spcBef>
                <a:spcPts val="0"/>
              </a:spcBef>
              <a:buFont typeface="Arial" panose="020B0604020202020204" pitchFamily="34" charset="0"/>
              <a:buNone/>
              <a:defRPr lang="de-DE" sz="1067" kern="1200" baseline="0" noProof="0" smtClean="0">
                <a:solidFill>
                  <a:schemeClr val="bg2"/>
                </a:solidFill>
                <a:latin typeface="Arial" pitchFamily="34" charset="0"/>
                <a:ea typeface="+mn-ea"/>
                <a:cs typeface="Arial" pitchFamily="34" charset="0"/>
              </a:defRPr>
            </a:lvl8pPr>
            <a:lvl9pPr marL="0" indent="0" algn="l" defTabSz="914400" rtl="0" eaLnBrk="1" latinLnBrk="0" hangingPunct="1">
              <a:lnSpc>
                <a:spcPct val="100000"/>
              </a:lnSpc>
              <a:spcBef>
                <a:spcPts val="0"/>
              </a:spcBef>
              <a:buFont typeface="Arial" panose="020B0604020202020204" pitchFamily="34" charset="0"/>
              <a:buNone/>
              <a:defRPr lang="de-DE" sz="1067" kern="1200" baseline="0" noProof="0" smtClean="0">
                <a:solidFill>
                  <a:schemeClr val="bg2"/>
                </a:solidFill>
                <a:latin typeface="Arial" pitchFamily="34" charset="0"/>
                <a:ea typeface="+mn-ea"/>
                <a:cs typeface="Arial" pitchFamily="34" charset="0"/>
              </a:defRPr>
            </a:lvl9pPr>
          </a:lstStyle>
          <a:p>
            <a:pPr marL="0" marR="0" lvl="0" indent="0" algn="l" defTabSz="1219170" rtl="0" eaLnBrk="1" fontAlgn="auto" latinLnBrk="0" hangingPunct="1">
              <a:lnSpc>
                <a:spcPct val="100000"/>
              </a:lnSpc>
              <a:spcBef>
                <a:spcPts val="0"/>
              </a:spcBef>
              <a:spcAft>
                <a:spcPts val="0"/>
              </a:spcAft>
              <a:buClrTx/>
              <a:buSzTx/>
              <a:buFont typeface="Arial" pitchFamily="34" charset="0"/>
              <a:buNone/>
              <a:tabLst/>
              <a:defRPr/>
            </a:pPr>
            <a:r>
              <a:rPr kumimoji="0" lang="en-US" sz="1067" b="0" i="0" u="none" strike="noStrike" kern="1200" cap="none" spc="0" normalizeH="0" baseline="0" noProof="0" dirty="0">
                <a:ln>
                  <a:noFill/>
                </a:ln>
                <a:solidFill>
                  <a:schemeClr val="tx1">
                    <a:lumMod val="75000"/>
                  </a:schemeClr>
                </a:solidFill>
                <a:effectLst/>
                <a:uLnTx/>
                <a:uFillTx/>
                <a:latin typeface="Arial" pitchFamily="34" charset="0"/>
                <a:ea typeface="+mn-ea"/>
                <a:cs typeface="Arial" pitchFamily="34" charset="0"/>
              </a:rPr>
              <a:t>Source: GfK </a:t>
            </a:r>
            <a:r>
              <a:rPr lang="en-US" dirty="0">
                <a:solidFill>
                  <a:schemeClr val="tx1">
                    <a:lumMod val="75000"/>
                  </a:schemeClr>
                </a:solidFill>
              </a:rPr>
              <a:t>Retail  Top Executives COVID-19 Survey </a:t>
            </a:r>
            <a:r>
              <a:rPr kumimoji="0" lang="en-US" sz="1067" b="0" i="0" u="none" strike="noStrike" kern="1200" cap="none" spc="0" normalizeH="0" baseline="0" noProof="0" dirty="0">
                <a:ln>
                  <a:noFill/>
                </a:ln>
                <a:solidFill>
                  <a:schemeClr val="tx1">
                    <a:lumMod val="75000"/>
                  </a:schemeClr>
                </a:solidFill>
                <a:effectLst/>
                <a:uLnTx/>
                <a:uFillTx/>
                <a:latin typeface="Arial" pitchFamily="34" charset="0"/>
                <a:ea typeface="+mn-ea"/>
                <a:cs typeface="Arial" pitchFamily="34" charset="0"/>
              </a:rPr>
              <a:t> </a:t>
            </a:r>
          </a:p>
        </p:txBody>
      </p:sp>
    </p:spTree>
    <p:extLst>
      <p:ext uri="{BB962C8B-B14F-4D97-AF65-F5344CB8AC3E}">
        <p14:creationId xmlns:p14="http://schemas.microsoft.com/office/powerpoint/2010/main" val="17318968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2"/>
                                        </p:tgtEl>
                                        <p:attrNameLst>
                                          <p:attrName>style.visibility</p:attrName>
                                        </p:attrNameLst>
                                      </p:cBhvr>
                                      <p:to>
                                        <p:strVal val="visible"/>
                                      </p:to>
                                    </p:set>
                                    <p:animEffect transition="in" filter="fade">
                                      <p:cBhvr>
                                        <p:cTn id="7" dur="500"/>
                                        <p:tgtEl>
                                          <p:spTgt spid="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Номер слайда 3"/>
          <p:cNvSpPr>
            <a:spLocks noGrp="1"/>
          </p:cNvSpPr>
          <p:nvPr>
            <p:ph type="sldNum" sz="quarter" idx="16"/>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F3E29E4-0979-4FCA-B4C5-5FC6044C982A}" type="slidenum">
              <a:rPr kumimoji="0" lang="en-US" sz="800" b="0" i="0" u="none" strike="noStrike" kern="1200" cap="none" spc="0" normalizeH="0" baseline="0" noProof="0" smtClean="0">
                <a:ln>
                  <a:noFill/>
                </a:ln>
                <a:solidFill>
                  <a:srgbClr val="414549"/>
                </a:solidFill>
                <a:effectLst/>
                <a:uLnTx/>
                <a:uFillTx/>
                <a:latin typeface="Lato"/>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800" b="0" i="0" u="none" strike="noStrike" kern="1200" cap="none" spc="0" normalizeH="0" baseline="0" noProof="0">
              <a:ln>
                <a:noFill/>
              </a:ln>
              <a:solidFill>
                <a:srgbClr val="414549"/>
              </a:solidFill>
              <a:effectLst/>
              <a:uLnTx/>
              <a:uFillTx/>
              <a:latin typeface="Lato"/>
              <a:ea typeface="+mn-ea"/>
              <a:cs typeface="+mn-cs"/>
            </a:endParaRPr>
          </a:p>
        </p:txBody>
      </p:sp>
      <p:graphicFrame>
        <p:nvGraphicFramePr>
          <p:cNvPr id="12" name="Диаграмма 11">
            <a:extLst>
              <a:ext uri="{FF2B5EF4-FFF2-40B4-BE49-F238E27FC236}">
                <a16:creationId xmlns:a16="http://schemas.microsoft.com/office/drawing/2014/main" id="{1E43A409-718A-4DC6-B62F-385262B99199}"/>
              </a:ext>
            </a:extLst>
          </p:cNvPr>
          <p:cNvGraphicFramePr/>
          <p:nvPr>
            <p:extLst>
              <p:ext uri="{D42A27DB-BD31-4B8C-83A1-F6EECF244321}">
                <p14:modId xmlns:p14="http://schemas.microsoft.com/office/powerpoint/2010/main" val="774360821"/>
              </p:ext>
            </p:extLst>
          </p:nvPr>
        </p:nvGraphicFramePr>
        <p:xfrm>
          <a:off x="451085" y="1640114"/>
          <a:ext cx="11289830" cy="4821557"/>
        </p:xfrm>
        <a:graphic>
          <a:graphicData uri="http://schemas.openxmlformats.org/drawingml/2006/chart">
            <c:chart xmlns:c="http://schemas.openxmlformats.org/drawingml/2006/chart" xmlns:r="http://schemas.openxmlformats.org/officeDocument/2006/relationships" r:id="rId2"/>
          </a:graphicData>
        </a:graphic>
      </p:graphicFrame>
      <p:sp>
        <p:nvSpPr>
          <p:cNvPr id="11" name="Заголовок 2">
            <a:extLst>
              <a:ext uri="{FF2B5EF4-FFF2-40B4-BE49-F238E27FC236}">
                <a16:creationId xmlns:a16="http://schemas.microsoft.com/office/drawing/2014/main" id="{F30E5BD8-FE9C-4722-91C7-8CAE9D7CB7A7}"/>
              </a:ext>
            </a:extLst>
          </p:cNvPr>
          <p:cNvSpPr>
            <a:spLocks noGrp="1"/>
          </p:cNvSpPr>
          <p:nvPr>
            <p:ph type="title"/>
          </p:nvPr>
        </p:nvSpPr>
        <p:spPr>
          <a:xfrm>
            <a:off x="1075061" y="288923"/>
            <a:ext cx="9700939" cy="648000"/>
          </a:xfrm>
        </p:spPr>
        <p:txBody>
          <a:bodyPr/>
          <a:lstStyle/>
          <a:p>
            <a:r>
              <a:rPr lang="en-US" dirty="0"/>
              <a:t>Consumer Behavior Expectations of Retailers</a:t>
            </a:r>
          </a:p>
        </p:txBody>
      </p:sp>
      <p:sp>
        <p:nvSpPr>
          <p:cNvPr id="13" name="Подзаголовок 7">
            <a:extLst>
              <a:ext uri="{FF2B5EF4-FFF2-40B4-BE49-F238E27FC236}">
                <a16:creationId xmlns:a16="http://schemas.microsoft.com/office/drawing/2014/main" id="{7550A9E2-DAE2-4B5F-871A-A0763AB67A10}"/>
              </a:ext>
            </a:extLst>
          </p:cNvPr>
          <p:cNvSpPr>
            <a:spLocks noGrp="1"/>
          </p:cNvSpPr>
          <p:nvPr>
            <p:ph type="subTitle" idx="13"/>
          </p:nvPr>
        </p:nvSpPr>
        <p:spPr>
          <a:xfrm>
            <a:off x="1084424" y="1020125"/>
            <a:ext cx="9816557" cy="457588"/>
          </a:xfrm>
        </p:spPr>
        <p:txBody>
          <a:bodyPr/>
          <a:lstStyle/>
          <a:p>
            <a:r>
              <a:rPr lang="en-US" dirty="0">
                <a:solidFill>
                  <a:schemeClr val="tx2"/>
                </a:solidFill>
                <a:ea typeface="Lato" panose="020F0502020204030203" pitchFamily="34" charset="0"/>
                <a:cs typeface="Lato" panose="020F0502020204030203" pitchFamily="34" charset="0"/>
              </a:rPr>
              <a:t>Retailers expect significant shifts in consumer behavior (Russia, UK, Germany).</a:t>
            </a:r>
          </a:p>
        </p:txBody>
      </p:sp>
      <p:sp>
        <p:nvSpPr>
          <p:cNvPr id="6" name="Текст 4">
            <a:extLst>
              <a:ext uri="{FF2B5EF4-FFF2-40B4-BE49-F238E27FC236}">
                <a16:creationId xmlns:a16="http://schemas.microsoft.com/office/drawing/2014/main" id="{5E0996E1-E0E5-4F94-9D68-63D5F197CF69}"/>
              </a:ext>
            </a:extLst>
          </p:cNvPr>
          <p:cNvSpPr txBox="1">
            <a:spLocks/>
          </p:cNvSpPr>
          <p:nvPr/>
        </p:nvSpPr>
        <p:spPr bwMode="gray">
          <a:xfrm>
            <a:off x="431371" y="6509666"/>
            <a:ext cx="11328400" cy="192616"/>
          </a:xfrm>
          <a:prstGeom prst="rect">
            <a:avLst/>
          </a:prstGeom>
        </p:spPr>
        <p:txBody>
          <a:bodyPr vert="horz" lIns="0" tIns="0" rIns="0" bIns="36000" rtlCol="0" anchor="b" anchorCtr="0">
            <a:noAutofit/>
          </a:bodyPr>
          <a:lstStyle>
            <a:lvl1pPr marL="0" marR="0" indent="0" algn="l" defTabSz="1219170" rtl="0" eaLnBrk="1" fontAlgn="auto" latinLnBrk="0" hangingPunct="1">
              <a:lnSpc>
                <a:spcPct val="100000"/>
              </a:lnSpc>
              <a:spcBef>
                <a:spcPts val="0"/>
              </a:spcBef>
              <a:spcAft>
                <a:spcPts val="0"/>
              </a:spcAft>
              <a:buClrTx/>
              <a:buSzTx/>
              <a:buFont typeface="Arial" pitchFamily="34" charset="0"/>
              <a:buNone/>
              <a:tabLst/>
              <a:defRPr lang="de-DE" sz="1067" kern="1200" baseline="0" noProof="0" smtClean="0">
                <a:solidFill>
                  <a:schemeClr val="bg2"/>
                </a:solidFill>
                <a:latin typeface="Arial" pitchFamily="34" charset="0"/>
                <a:ea typeface="+mn-ea"/>
                <a:cs typeface="Arial" pitchFamily="34" charset="0"/>
              </a:defRPr>
            </a:lvl1pPr>
            <a:lvl2pPr marL="0" indent="0" algn="l" defTabSz="914400" rtl="0" eaLnBrk="1" latinLnBrk="0" hangingPunct="1">
              <a:lnSpc>
                <a:spcPct val="100000"/>
              </a:lnSpc>
              <a:spcBef>
                <a:spcPts val="0"/>
              </a:spcBef>
              <a:buClr>
                <a:schemeClr val="tx2"/>
              </a:buClr>
              <a:buFont typeface="Arial" panose="020B0604020202020204" pitchFamily="34" charset="0"/>
              <a:buNone/>
              <a:defRPr lang="de-DE" sz="1067" kern="1200" baseline="0" noProof="0" smtClean="0">
                <a:solidFill>
                  <a:schemeClr val="bg2"/>
                </a:solidFill>
                <a:latin typeface="Arial" pitchFamily="34" charset="0"/>
                <a:ea typeface="+mn-ea"/>
                <a:cs typeface="Arial" pitchFamily="34" charset="0"/>
              </a:defRPr>
            </a:lvl2pPr>
            <a:lvl3pPr marL="0" indent="0" algn="l" defTabSz="914400" rtl="0" eaLnBrk="1" latinLnBrk="0" hangingPunct="1">
              <a:lnSpc>
                <a:spcPct val="100000"/>
              </a:lnSpc>
              <a:spcBef>
                <a:spcPts val="0"/>
              </a:spcBef>
              <a:buClr>
                <a:schemeClr val="tx2"/>
              </a:buClr>
              <a:buFont typeface="Wingdings" panose="05000000000000000000" pitchFamily="2" charset="2"/>
              <a:buNone/>
              <a:defRPr lang="de-DE" sz="1067" kern="1200" baseline="0" noProof="0" smtClean="0">
                <a:solidFill>
                  <a:schemeClr val="bg2"/>
                </a:solidFill>
                <a:latin typeface="Arial" pitchFamily="34" charset="0"/>
                <a:ea typeface="+mn-ea"/>
                <a:cs typeface="Arial" pitchFamily="34" charset="0"/>
              </a:defRPr>
            </a:lvl3pPr>
            <a:lvl4pPr marL="0" indent="0" algn="l" defTabSz="914400" rtl="0" eaLnBrk="1" latinLnBrk="0" hangingPunct="1">
              <a:lnSpc>
                <a:spcPct val="100000"/>
              </a:lnSpc>
              <a:spcBef>
                <a:spcPts val="0"/>
              </a:spcBef>
              <a:buClr>
                <a:schemeClr val="tx2"/>
              </a:buClr>
              <a:buFont typeface="Lato" panose="020F0502020204030203" pitchFamily="34" charset="0"/>
              <a:buNone/>
              <a:defRPr lang="de-DE" sz="1067" kern="1200" baseline="0" noProof="0" smtClean="0">
                <a:solidFill>
                  <a:schemeClr val="bg2"/>
                </a:solidFill>
                <a:latin typeface="Arial" pitchFamily="34" charset="0"/>
                <a:ea typeface="+mn-ea"/>
                <a:cs typeface="Arial" pitchFamily="34" charset="0"/>
              </a:defRPr>
            </a:lvl4pPr>
            <a:lvl5pPr marL="0" indent="0" algn="l" defTabSz="914400" rtl="0" eaLnBrk="1" latinLnBrk="0" hangingPunct="1">
              <a:lnSpc>
                <a:spcPct val="100000"/>
              </a:lnSpc>
              <a:spcBef>
                <a:spcPts val="0"/>
              </a:spcBef>
              <a:buClr>
                <a:schemeClr val="tx2"/>
              </a:buClr>
              <a:buFont typeface="Wingdings" panose="05000000000000000000" pitchFamily="2" charset="2"/>
              <a:buNone/>
              <a:defRPr lang="de-DE" sz="1067" kern="1200" baseline="0" noProof="0" smtClean="0">
                <a:solidFill>
                  <a:schemeClr val="bg2"/>
                </a:solidFill>
                <a:latin typeface="Arial" pitchFamily="34" charset="0"/>
                <a:ea typeface="+mn-ea"/>
                <a:cs typeface="Arial" pitchFamily="34" charset="0"/>
              </a:defRPr>
            </a:lvl5pPr>
            <a:lvl6pPr marL="0" indent="0" algn="l" defTabSz="914400" rtl="0" eaLnBrk="1" latinLnBrk="0" hangingPunct="1">
              <a:lnSpc>
                <a:spcPct val="100000"/>
              </a:lnSpc>
              <a:spcBef>
                <a:spcPts val="0"/>
              </a:spcBef>
              <a:buFont typeface="Arial" panose="020B0604020202020204" pitchFamily="34" charset="0"/>
              <a:buNone/>
              <a:defRPr lang="de-DE" sz="1067" kern="1200" baseline="0" noProof="0" smtClean="0">
                <a:solidFill>
                  <a:schemeClr val="bg2"/>
                </a:solidFill>
                <a:latin typeface="Arial" pitchFamily="34" charset="0"/>
                <a:ea typeface="+mn-ea"/>
                <a:cs typeface="Arial" pitchFamily="34" charset="0"/>
              </a:defRPr>
            </a:lvl6pPr>
            <a:lvl7pPr marL="0" indent="0" algn="l" defTabSz="914400" rtl="0" eaLnBrk="1" latinLnBrk="0" hangingPunct="1">
              <a:lnSpc>
                <a:spcPct val="100000"/>
              </a:lnSpc>
              <a:spcBef>
                <a:spcPts val="0"/>
              </a:spcBef>
              <a:buFont typeface="Arial" panose="020B0604020202020204" pitchFamily="34" charset="0"/>
              <a:buNone/>
              <a:defRPr lang="de-DE" sz="1067" kern="1200" baseline="0" noProof="0" dirty="0" smtClean="0">
                <a:solidFill>
                  <a:schemeClr val="bg2"/>
                </a:solidFill>
                <a:latin typeface="Arial" pitchFamily="34" charset="0"/>
                <a:ea typeface="+mn-ea"/>
                <a:cs typeface="Arial" pitchFamily="34" charset="0"/>
              </a:defRPr>
            </a:lvl7pPr>
            <a:lvl8pPr marL="0" indent="0" algn="l" defTabSz="914400" rtl="0" eaLnBrk="1" latinLnBrk="0" hangingPunct="1">
              <a:lnSpc>
                <a:spcPct val="100000"/>
              </a:lnSpc>
              <a:spcBef>
                <a:spcPts val="0"/>
              </a:spcBef>
              <a:buFont typeface="Arial" panose="020B0604020202020204" pitchFamily="34" charset="0"/>
              <a:buNone/>
              <a:defRPr lang="de-DE" sz="1067" kern="1200" baseline="0" noProof="0" smtClean="0">
                <a:solidFill>
                  <a:schemeClr val="bg2"/>
                </a:solidFill>
                <a:latin typeface="Arial" pitchFamily="34" charset="0"/>
                <a:ea typeface="+mn-ea"/>
                <a:cs typeface="Arial" pitchFamily="34" charset="0"/>
              </a:defRPr>
            </a:lvl8pPr>
            <a:lvl9pPr marL="0" indent="0" algn="l" defTabSz="914400" rtl="0" eaLnBrk="1" latinLnBrk="0" hangingPunct="1">
              <a:lnSpc>
                <a:spcPct val="100000"/>
              </a:lnSpc>
              <a:spcBef>
                <a:spcPts val="0"/>
              </a:spcBef>
              <a:buFont typeface="Arial" panose="020B0604020202020204" pitchFamily="34" charset="0"/>
              <a:buNone/>
              <a:defRPr lang="de-DE" sz="1067" kern="1200" baseline="0" noProof="0" smtClean="0">
                <a:solidFill>
                  <a:schemeClr val="bg2"/>
                </a:solidFill>
                <a:latin typeface="Arial" pitchFamily="34" charset="0"/>
                <a:ea typeface="+mn-ea"/>
                <a:cs typeface="Arial" pitchFamily="34" charset="0"/>
              </a:defRPr>
            </a:lvl9pPr>
          </a:lstStyle>
          <a:p>
            <a:pPr marL="0" marR="0" lvl="0" indent="0" algn="l" defTabSz="1219170" rtl="0" eaLnBrk="1" fontAlgn="auto" latinLnBrk="0" hangingPunct="1">
              <a:lnSpc>
                <a:spcPct val="100000"/>
              </a:lnSpc>
              <a:spcBef>
                <a:spcPts val="0"/>
              </a:spcBef>
              <a:spcAft>
                <a:spcPts val="0"/>
              </a:spcAft>
              <a:buClrTx/>
              <a:buSzTx/>
              <a:buFont typeface="Arial" pitchFamily="34" charset="0"/>
              <a:buNone/>
              <a:tabLst/>
              <a:defRPr/>
            </a:pPr>
            <a:r>
              <a:rPr kumimoji="0" lang="en-US" sz="1067" b="0" i="0" u="none" strike="noStrike" kern="1200" cap="none" spc="0" normalizeH="0" baseline="0" noProof="0" dirty="0">
                <a:ln>
                  <a:noFill/>
                </a:ln>
                <a:solidFill>
                  <a:schemeClr val="tx1">
                    <a:lumMod val="75000"/>
                  </a:schemeClr>
                </a:solidFill>
                <a:effectLst/>
                <a:uLnTx/>
                <a:uFillTx/>
                <a:latin typeface="Arial" pitchFamily="34" charset="0"/>
                <a:ea typeface="+mn-ea"/>
                <a:cs typeface="Arial" pitchFamily="34" charset="0"/>
              </a:rPr>
              <a:t>Source: GfK </a:t>
            </a:r>
            <a:r>
              <a:rPr lang="en-US" dirty="0">
                <a:solidFill>
                  <a:schemeClr val="tx1">
                    <a:lumMod val="75000"/>
                  </a:schemeClr>
                </a:solidFill>
              </a:rPr>
              <a:t>Retail  Top Executives COVID-19 Survey </a:t>
            </a:r>
            <a:r>
              <a:rPr kumimoji="0" lang="en-US" sz="1067" b="0" i="0" u="none" strike="noStrike" kern="1200" cap="none" spc="0" normalizeH="0" baseline="0" noProof="0" dirty="0">
                <a:ln>
                  <a:noFill/>
                </a:ln>
                <a:solidFill>
                  <a:schemeClr val="tx1">
                    <a:lumMod val="75000"/>
                  </a:schemeClr>
                </a:solidFill>
                <a:effectLst/>
                <a:uLnTx/>
                <a:uFillTx/>
                <a:latin typeface="Arial" pitchFamily="34" charset="0"/>
                <a:ea typeface="+mn-ea"/>
                <a:cs typeface="Arial" pitchFamily="34" charset="0"/>
              </a:rPr>
              <a:t> </a:t>
            </a:r>
          </a:p>
        </p:txBody>
      </p:sp>
    </p:spTree>
    <p:extLst>
      <p:ext uri="{BB962C8B-B14F-4D97-AF65-F5344CB8AC3E}">
        <p14:creationId xmlns:p14="http://schemas.microsoft.com/office/powerpoint/2010/main" val="10834994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Segnaposto immagine 8">
            <a:extLst>
              <a:ext uri="{FF2B5EF4-FFF2-40B4-BE49-F238E27FC236}">
                <a16:creationId xmlns:a16="http://schemas.microsoft.com/office/drawing/2014/main" id="{08253AE8-5AA3-4A74-86F6-44B36BCCC948}"/>
              </a:ext>
            </a:extLst>
          </p:cNvPr>
          <p:cNvPicPr>
            <a:picLocks noGrp="1" noChangeAspect="1"/>
          </p:cNvPicPr>
          <p:nvPr>
            <p:ph type="pic" sz="quarter" idx="17"/>
          </p:nvPr>
        </p:nvPicPr>
        <p:blipFill>
          <a:blip r:embed="rId3" cstate="print">
            <a:extLst>
              <a:ext uri="{28A0092B-C50C-407E-A947-70E740481C1C}">
                <a14:useLocalDpi xmlns:a14="http://schemas.microsoft.com/office/drawing/2010/main"/>
              </a:ext>
            </a:extLst>
          </a:blip>
          <a:srcRect/>
          <a:stretch/>
        </p:blipFill>
        <p:spPr>
          <a:xfrm>
            <a:off x="-1" y="0"/>
            <a:ext cx="8822478" cy="6858000"/>
          </a:xfrm>
        </p:spPr>
      </p:pic>
      <p:sp>
        <p:nvSpPr>
          <p:cNvPr id="2" name="Slide Number Placeholder 1">
            <a:extLst>
              <a:ext uri="{FF2B5EF4-FFF2-40B4-BE49-F238E27FC236}">
                <a16:creationId xmlns:a16="http://schemas.microsoft.com/office/drawing/2014/main" id="{9BA05347-969A-47BB-BE48-A7C7EF556D20}"/>
              </a:ext>
            </a:extLst>
          </p:cNvPr>
          <p:cNvSpPr>
            <a:spLocks noGrp="1"/>
          </p:cNvSpPr>
          <p:nvPr>
            <p:ph type="sldNum" sz="quarter" idx="16"/>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F3E29E4-0979-4FCA-B4C5-5FC6044C982A}" type="slidenum">
              <a:rPr kumimoji="0" lang="en-US" sz="800" b="0" i="0" u="none" strike="noStrike" kern="1200" cap="none" spc="0" normalizeH="0" baseline="0" noProof="0" smtClean="0">
                <a:ln>
                  <a:noFill/>
                </a:ln>
                <a:solidFill>
                  <a:srgbClr val="414549"/>
                </a:solidFill>
                <a:effectLst/>
                <a:uLnTx/>
                <a:uFillTx/>
                <a:latin typeface="Lato"/>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800" b="0" i="0" u="none" strike="noStrike" kern="1200" cap="none" spc="0" normalizeH="0" baseline="0" noProof="0">
              <a:ln>
                <a:noFill/>
              </a:ln>
              <a:solidFill>
                <a:srgbClr val="414549"/>
              </a:solidFill>
              <a:effectLst/>
              <a:uLnTx/>
              <a:uFillTx/>
              <a:latin typeface="Lato"/>
              <a:ea typeface="+mn-ea"/>
              <a:cs typeface="+mn-cs"/>
            </a:endParaRPr>
          </a:p>
        </p:txBody>
      </p:sp>
      <p:sp>
        <p:nvSpPr>
          <p:cNvPr id="5" name="Titel 4"/>
          <p:cNvSpPr>
            <a:spLocks noGrp="1"/>
          </p:cNvSpPr>
          <p:nvPr>
            <p:ph type="title"/>
          </p:nvPr>
        </p:nvSpPr>
        <p:spPr>
          <a:xfrm>
            <a:off x="7669115" y="3223234"/>
            <a:ext cx="3841554" cy="1632680"/>
          </a:xfrm>
        </p:spPr>
        <p:txBody>
          <a:bodyPr/>
          <a:lstStyle/>
          <a:p>
            <a:r>
              <a:rPr lang="en-US"/>
              <a:t>COVID-19 </a:t>
            </a:r>
          </a:p>
        </p:txBody>
      </p:sp>
    </p:spTree>
    <p:extLst>
      <p:ext uri="{BB962C8B-B14F-4D97-AF65-F5344CB8AC3E}">
        <p14:creationId xmlns:p14="http://schemas.microsoft.com/office/powerpoint/2010/main" val="40447618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Номер слайда 4">
            <a:extLst>
              <a:ext uri="{FF2B5EF4-FFF2-40B4-BE49-F238E27FC236}">
                <a16:creationId xmlns:a16="http://schemas.microsoft.com/office/drawing/2014/main" id="{72F60F0F-566A-478C-833B-B86E3B9E8CFB}"/>
              </a:ext>
            </a:extLst>
          </p:cNvPr>
          <p:cNvSpPr>
            <a:spLocks noGrp="1"/>
          </p:cNvSpPr>
          <p:nvPr>
            <p:ph type="sldNum" sz="quarter" idx="16"/>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F3E29E4-0979-4FCA-B4C5-5FC6044C982A}" type="slidenum">
              <a:rPr kumimoji="0" lang="en-US" sz="800" b="0" i="0" u="none" strike="noStrike" kern="1200" cap="none" spc="0" normalizeH="0" baseline="0" noProof="0" smtClean="0">
                <a:ln>
                  <a:noFill/>
                </a:ln>
                <a:solidFill>
                  <a:srgbClr val="414549"/>
                </a:solidFill>
                <a:effectLst/>
                <a:uLnTx/>
                <a:uFillTx/>
                <a:latin typeface="Lato"/>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US" sz="800" b="0" i="0" u="none" strike="noStrike" kern="1200" cap="none" spc="0" normalizeH="0" baseline="0" noProof="0">
              <a:ln>
                <a:noFill/>
              </a:ln>
              <a:solidFill>
                <a:srgbClr val="414549"/>
              </a:solidFill>
              <a:effectLst/>
              <a:uLnTx/>
              <a:uFillTx/>
              <a:latin typeface="Lato"/>
              <a:ea typeface="+mn-ea"/>
              <a:cs typeface="+mn-cs"/>
            </a:endParaRPr>
          </a:p>
        </p:txBody>
      </p:sp>
      <p:graphicFrame>
        <p:nvGraphicFramePr>
          <p:cNvPr id="9" name="Диаграмма 8">
            <a:extLst>
              <a:ext uri="{FF2B5EF4-FFF2-40B4-BE49-F238E27FC236}">
                <a16:creationId xmlns:a16="http://schemas.microsoft.com/office/drawing/2014/main" id="{7C60E9B9-C140-4264-901C-41F6D229F94D}"/>
              </a:ext>
            </a:extLst>
          </p:cNvPr>
          <p:cNvGraphicFramePr/>
          <p:nvPr>
            <p:extLst>
              <p:ext uri="{D42A27DB-BD31-4B8C-83A1-F6EECF244321}">
                <p14:modId xmlns:p14="http://schemas.microsoft.com/office/powerpoint/2010/main" val="3173202296"/>
              </p:ext>
            </p:extLst>
          </p:nvPr>
        </p:nvGraphicFramePr>
        <p:xfrm>
          <a:off x="192088" y="2184001"/>
          <a:ext cx="11319606" cy="4411460"/>
        </p:xfrm>
        <a:graphic>
          <a:graphicData uri="http://schemas.openxmlformats.org/drawingml/2006/chart">
            <c:chart xmlns:c="http://schemas.openxmlformats.org/drawingml/2006/chart" xmlns:r="http://schemas.openxmlformats.org/officeDocument/2006/relationships" r:id="rId2"/>
          </a:graphicData>
        </a:graphic>
      </p:graphicFrame>
      <p:sp>
        <p:nvSpPr>
          <p:cNvPr id="41" name="Заголовок 2">
            <a:extLst>
              <a:ext uri="{FF2B5EF4-FFF2-40B4-BE49-F238E27FC236}">
                <a16:creationId xmlns:a16="http://schemas.microsoft.com/office/drawing/2014/main" id="{49192C4C-3002-4DDC-A949-97819ACE07B1}"/>
              </a:ext>
            </a:extLst>
          </p:cNvPr>
          <p:cNvSpPr>
            <a:spLocks noGrp="1"/>
          </p:cNvSpPr>
          <p:nvPr>
            <p:ph type="title"/>
          </p:nvPr>
        </p:nvSpPr>
        <p:spPr>
          <a:xfrm>
            <a:off x="1075061" y="288923"/>
            <a:ext cx="9700939" cy="648000"/>
          </a:xfrm>
        </p:spPr>
        <p:txBody>
          <a:bodyPr/>
          <a:lstStyle/>
          <a:p>
            <a:r>
              <a:rPr lang="en-US" dirty="0" err="1"/>
              <a:t>Whats</a:t>
            </a:r>
            <a:r>
              <a:rPr lang="en-US" dirty="0"/>
              <a:t> Next?</a:t>
            </a:r>
          </a:p>
        </p:txBody>
      </p:sp>
      <p:sp>
        <p:nvSpPr>
          <p:cNvPr id="42" name="Подзаголовок 7">
            <a:extLst>
              <a:ext uri="{FF2B5EF4-FFF2-40B4-BE49-F238E27FC236}">
                <a16:creationId xmlns:a16="http://schemas.microsoft.com/office/drawing/2014/main" id="{518A16F0-6144-4BFB-9ED0-453E05F09D9F}"/>
              </a:ext>
            </a:extLst>
          </p:cNvPr>
          <p:cNvSpPr>
            <a:spLocks noGrp="1"/>
          </p:cNvSpPr>
          <p:nvPr>
            <p:ph type="subTitle" idx="13"/>
          </p:nvPr>
        </p:nvSpPr>
        <p:spPr>
          <a:xfrm>
            <a:off x="1084424" y="1020125"/>
            <a:ext cx="9816557" cy="457588"/>
          </a:xfrm>
        </p:spPr>
        <p:txBody>
          <a:bodyPr/>
          <a:lstStyle/>
          <a:p>
            <a:r>
              <a:rPr lang="en-US" dirty="0">
                <a:solidFill>
                  <a:schemeClr val="tx2"/>
                </a:solidFill>
                <a:ea typeface="Lato" panose="020F0502020204030203" pitchFamily="34" charset="0"/>
                <a:cs typeface="Lato" panose="020F0502020204030203" pitchFamily="34" charset="0"/>
              </a:rPr>
              <a:t>Starting w17-the market in the flat zone, then-slight increase of sales.</a:t>
            </a:r>
          </a:p>
        </p:txBody>
      </p:sp>
      <p:sp>
        <p:nvSpPr>
          <p:cNvPr id="3" name="Прямоугольник 2">
            <a:extLst>
              <a:ext uri="{FF2B5EF4-FFF2-40B4-BE49-F238E27FC236}">
                <a16:creationId xmlns:a16="http://schemas.microsoft.com/office/drawing/2014/main" id="{20717F0B-F1C4-4CCE-9253-D7943BD302AA}"/>
              </a:ext>
            </a:extLst>
          </p:cNvPr>
          <p:cNvSpPr/>
          <p:nvPr/>
        </p:nvSpPr>
        <p:spPr>
          <a:xfrm>
            <a:off x="4225049" y="1548925"/>
            <a:ext cx="4015073"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Arial" pitchFamily="34" charset="0"/>
                <a:ea typeface="+mn-ea"/>
                <a:cs typeface="Arial" pitchFamily="34" charset="0"/>
              </a:rPr>
              <a:t>Sales Value Growth to Previous Year </a:t>
            </a:r>
            <a:endParaRPr kumimoji="0" lang="en-US" sz="1800" b="0" i="0" u="none" strike="noStrike" kern="1200" cap="none" spc="0" normalizeH="0" baseline="0" noProof="0" dirty="0">
              <a:ln>
                <a:noFill/>
              </a:ln>
              <a:solidFill>
                <a:srgbClr val="414549"/>
              </a:solidFill>
              <a:effectLst/>
              <a:uLnTx/>
              <a:uFillTx/>
              <a:latin typeface="Lato"/>
              <a:ea typeface="+mn-ea"/>
              <a:cs typeface="+mn-cs"/>
            </a:endParaRPr>
          </a:p>
        </p:txBody>
      </p:sp>
      <p:sp>
        <p:nvSpPr>
          <p:cNvPr id="11" name="Овал 10">
            <a:extLst>
              <a:ext uri="{FF2B5EF4-FFF2-40B4-BE49-F238E27FC236}">
                <a16:creationId xmlns:a16="http://schemas.microsoft.com/office/drawing/2014/main" id="{656CE23E-7835-454A-83BE-0BB90B9E3A03}"/>
              </a:ext>
            </a:extLst>
          </p:cNvPr>
          <p:cNvSpPr/>
          <p:nvPr/>
        </p:nvSpPr>
        <p:spPr>
          <a:xfrm>
            <a:off x="6772970" y="5093075"/>
            <a:ext cx="468000" cy="432000"/>
          </a:xfrm>
          <a:prstGeom prst="ellipse">
            <a:avLst/>
          </a:prstGeom>
          <a:noFill/>
          <a:ln>
            <a:solidFill>
              <a:srgbClr val="B00016"/>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ru-RU" sz="1600" dirty="0"/>
          </a:p>
        </p:txBody>
      </p:sp>
      <p:sp>
        <p:nvSpPr>
          <p:cNvPr id="12" name="Овал 11">
            <a:extLst>
              <a:ext uri="{FF2B5EF4-FFF2-40B4-BE49-F238E27FC236}">
                <a16:creationId xmlns:a16="http://schemas.microsoft.com/office/drawing/2014/main" id="{3E763FF4-E900-415D-AB93-05ADB08C79CB}"/>
              </a:ext>
            </a:extLst>
          </p:cNvPr>
          <p:cNvSpPr/>
          <p:nvPr/>
        </p:nvSpPr>
        <p:spPr>
          <a:xfrm>
            <a:off x="11000210" y="5093075"/>
            <a:ext cx="468000" cy="432000"/>
          </a:xfrm>
          <a:prstGeom prst="ellipse">
            <a:avLst/>
          </a:prstGeom>
          <a:no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ru-RU" sz="1600" dirty="0"/>
          </a:p>
        </p:txBody>
      </p:sp>
      <p:cxnSp>
        <p:nvCxnSpPr>
          <p:cNvPr id="13" name="Прямая со стрелкой 12">
            <a:extLst>
              <a:ext uri="{FF2B5EF4-FFF2-40B4-BE49-F238E27FC236}">
                <a16:creationId xmlns:a16="http://schemas.microsoft.com/office/drawing/2014/main" id="{EF8D7FC4-530D-4D11-B329-0C072BF3232C}"/>
              </a:ext>
            </a:extLst>
          </p:cNvPr>
          <p:cNvCxnSpPr>
            <a:cxnSpLocks/>
          </p:cNvCxnSpPr>
          <p:nvPr/>
        </p:nvCxnSpPr>
        <p:spPr>
          <a:xfrm>
            <a:off x="11247228" y="3788229"/>
            <a:ext cx="0" cy="1304846"/>
          </a:xfrm>
          <a:prstGeom prst="straightConnector1">
            <a:avLst/>
          </a:prstGeom>
          <a:ln w="28575">
            <a:solidFill>
              <a:srgbClr val="2F9748"/>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14" name="Прямая со стрелкой 13">
            <a:extLst>
              <a:ext uri="{FF2B5EF4-FFF2-40B4-BE49-F238E27FC236}">
                <a16:creationId xmlns:a16="http://schemas.microsoft.com/office/drawing/2014/main" id="{59B4E995-C127-4965-AB53-668F838FAFA3}"/>
              </a:ext>
            </a:extLst>
          </p:cNvPr>
          <p:cNvCxnSpPr>
            <a:cxnSpLocks/>
          </p:cNvCxnSpPr>
          <p:nvPr/>
        </p:nvCxnSpPr>
        <p:spPr>
          <a:xfrm>
            <a:off x="7026871" y="3905075"/>
            <a:ext cx="0" cy="1188000"/>
          </a:xfrm>
          <a:prstGeom prst="straightConnector1">
            <a:avLst/>
          </a:prstGeom>
          <a:ln w="28575">
            <a:solidFill>
              <a:srgbClr val="B00016"/>
            </a:solidFill>
            <a:prstDash val="dash"/>
            <a:tailEnd type="triangle"/>
          </a:ln>
        </p:spPr>
        <p:style>
          <a:lnRef idx="1">
            <a:schemeClr val="accent1"/>
          </a:lnRef>
          <a:fillRef idx="0">
            <a:schemeClr val="accent1"/>
          </a:fillRef>
          <a:effectRef idx="0">
            <a:schemeClr val="accent1"/>
          </a:effectRef>
          <a:fontRef idx="minor">
            <a:schemeClr val="tx1"/>
          </a:fontRef>
        </p:style>
      </p:cxnSp>
      <p:grpSp>
        <p:nvGrpSpPr>
          <p:cNvPr id="16" name="Группа 15">
            <a:extLst>
              <a:ext uri="{FF2B5EF4-FFF2-40B4-BE49-F238E27FC236}">
                <a16:creationId xmlns:a16="http://schemas.microsoft.com/office/drawing/2014/main" id="{72D1E716-576B-4DE7-9BD5-D9585A122FC1}"/>
              </a:ext>
            </a:extLst>
          </p:cNvPr>
          <p:cNvGrpSpPr/>
          <p:nvPr/>
        </p:nvGrpSpPr>
        <p:grpSpPr>
          <a:xfrm>
            <a:off x="7240970" y="2052498"/>
            <a:ext cx="3450466" cy="1344586"/>
            <a:chOff x="2842591" y="3823762"/>
            <a:chExt cx="3450466" cy="1344586"/>
          </a:xfrm>
        </p:grpSpPr>
        <p:sp>
          <p:nvSpPr>
            <p:cNvPr id="17" name="Прямоугольник: скругленные углы 16">
              <a:extLst>
                <a:ext uri="{FF2B5EF4-FFF2-40B4-BE49-F238E27FC236}">
                  <a16:creationId xmlns:a16="http://schemas.microsoft.com/office/drawing/2014/main" id="{236402E2-D2C9-4444-BDF1-DB9F77F25429}"/>
                </a:ext>
              </a:extLst>
            </p:cNvPr>
            <p:cNvSpPr/>
            <p:nvPr/>
          </p:nvSpPr>
          <p:spPr>
            <a:xfrm>
              <a:off x="2842591" y="3823762"/>
              <a:ext cx="3450466" cy="1344586"/>
            </a:xfrm>
            <a:prstGeom prst="roundRect">
              <a:avLst/>
            </a:prstGeom>
            <a:solidFill>
              <a:schemeClr val="bg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ru-RU" sz="1600" dirty="0"/>
            </a:p>
          </p:txBody>
        </p:sp>
        <p:sp>
          <p:nvSpPr>
            <p:cNvPr id="18" name="TextBox 17">
              <a:extLst>
                <a:ext uri="{FF2B5EF4-FFF2-40B4-BE49-F238E27FC236}">
                  <a16:creationId xmlns:a16="http://schemas.microsoft.com/office/drawing/2014/main" id="{99C6E338-D79D-408C-9BB3-35DCC16CFA9E}"/>
                </a:ext>
              </a:extLst>
            </p:cNvPr>
            <p:cNvSpPr txBox="1"/>
            <p:nvPr/>
          </p:nvSpPr>
          <p:spPr>
            <a:xfrm>
              <a:off x="3070001" y="4038590"/>
              <a:ext cx="3063008" cy="842576"/>
            </a:xfrm>
            <a:prstGeom prst="rect">
              <a:avLst/>
            </a:prstGeom>
            <a:noFill/>
          </p:spPr>
          <p:txBody>
            <a:bodyPr wrap="square" lIns="0" tIns="0" rIns="0" bIns="0" rtlCol="0">
              <a:noAutofit/>
            </a:bodyPr>
            <a:lstStyle/>
            <a:p>
              <a:pPr algn="ctr">
                <a:lnSpc>
                  <a:spcPct val="125000"/>
                </a:lnSpc>
                <a:buClr>
                  <a:schemeClr val="tx2"/>
                </a:buClr>
              </a:pPr>
              <a:r>
                <a:rPr lang="en-US" sz="1600" dirty="0">
                  <a:solidFill>
                    <a:schemeClr val="bg2"/>
                  </a:solidFill>
                </a:rPr>
                <a:t>YTD Growth (w1-w23 2020)</a:t>
              </a:r>
            </a:p>
            <a:p>
              <a:pPr algn="ctr">
                <a:lnSpc>
                  <a:spcPct val="125000"/>
                </a:lnSpc>
                <a:buClr>
                  <a:schemeClr val="tx2"/>
                </a:buClr>
              </a:pPr>
              <a:r>
                <a:rPr lang="en-US" sz="3200" dirty="0">
                  <a:solidFill>
                    <a:schemeClr val="bg2"/>
                  </a:solidFill>
                </a:rPr>
                <a:t>+11%</a:t>
              </a:r>
              <a:r>
                <a:rPr lang="ru-RU" sz="3200" dirty="0">
                  <a:solidFill>
                    <a:schemeClr val="bg2"/>
                  </a:solidFill>
                </a:rPr>
                <a:t> </a:t>
              </a:r>
            </a:p>
          </p:txBody>
        </p:sp>
      </p:grpSp>
      <p:sp>
        <p:nvSpPr>
          <p:cNvPr id="15" name="Текст 4">
            <a:extLst>
              <a:ext uri="{FF2B5EF4-FFF2-40B4-BE49-F238E27FC236}">
                <a16:creationId xmlns:a16="http://schemas.microsoft.com/office/drawing/2014/main" id="{96B79D39-9141-4454-BADC-8D59A09FD561}"/>
              </a:ext>
            </a:extLst>
          </p:cNvPr>
          <p:cNvSpPr txBox="1">
            <a:spLocks/>
          </p:cNvSpPr>
          <p:nvPr/>
        </p:nvSpPr>
        <p:spPr bwMode="gray">
          <a:xfrm>
            <a:off x="431371" y="6509666"/>
            <a:ext cx="11328400" cy="192616"/>
          </a:xfrm>
          <a:prstGeom prst="rect">
            <a:avLst/>
          </a:prstGeom>
        </p:spPr>
        <p:txBody>
          <a:bodyPr vert="horz" lIns="0" tIns="0" rIns="0" bIns="36000" rtlCol="0" anchor="b" anchorCtr="0">
            <a:noAutofit/>
          </a:bodyPr>
          <a:lstStyle>
            <a:lvl1pPr marL="0" marR="0" indent="0" algn="l" defTabSz="1219170" rtl="0" eaLnBrk="1" fontAlgn="auto" latinLnBrk="0" hangingPunct="1">
              <a:lnSpc>
                <a:spcPct val="100000"/>
              </a:lnSpc>
              <a:spcBef>
                <a:spcPts val="0"/>
              </a:spcBef>
              <a:spcAft>
                <a:spcPts val="0"/>
              </a:spcAft>
              <a:buClrTx/>
              <a:buSzTx/>
              <a:buFont typeface="Arial" pitchFamily="34" charset="0"/>
              <a:buNone/>
              <a:tabLst/>
              <a:defRPr lang="de-DE" sz="1067" kern="1200" baseline="0" noProof="0" smtClean="0">
                <a:solidFill>
                  <a:schemeClr val="bg2"/>
                </a:solidFill>
                <a:latin typeface="Arial" pitchFamily="34" charset="0"/>
                <a:ea typeface="+mn-ea"/>
                <a:cs typeface="Arial" pitchFamily="34" charset="0"/>
              </a:defRPr>
            </a:lvl1pPr>
            <a:lvl2pPr marL="0" indent="0" algn="l" defTabSz="914400" rtl="0" eaLnBrk="1" latinLnBrk="0" hangingPunct="1">
              <a:lnSpc>
                <a:spcPct val="100000"/>
              </a:lnSpc>
              <a:spcBef>
                <a:spcPts val="0"/>
              </a:spcBef>
              <a:buClr>
                <a:schemeClr val="tx2"/>
              </a:buClr>
              <a:buFont typeface="Arial" panose="020B0604020202020204" pitchFamily="34" charset="0"/>
              <a:buNone/>
              <a:defRPr lang="de-DE" sz="1067" kern="1200" baseline="0" noProof="0" smtClean="0">
                <a:solidFill>
                  <a:schemeClr val="bg2"/>
                </a:solidFill>
                <a:latin typeface="Arial" pitchFamily="34" charset="0"/>
                <a:ea typeface="+mn-ea"/>
                <a:cs typeface="Arial" pitchFamily="34" charset="0"/>
              </a:defRPr>
            </a:lvl2pPr>
            <a:lvl3pPr marL="0" indent="0" algn="l" defTabSz="914400" rtl="0" eaLnBrk="1" latinLnBrk="0" hangingPunct="1">
              <a:lnSpc>
                <a:spcPct val="100000"/>
              </a:lnSpc>
              <a:spcBef>
                <a:spcPts val="0"/>
              </a:spcBef>
              <a:buClr>
                <a:schemeClr val="tx2"/>
              </a:buClr>
              <a:buFont typeface="Wingdings" panose="05000000000000000000" pitchFamily="2" charset="2"/>
              <a:buNone/>
              <a:defRPr lang="de-DE" sz="1067" kern="1200" baseline="0" noProof="0" smtClean="0">
                <a:solidFill>
                  <a:schemeClr val="bg2"/>
                </a:solidFill>
                <a:latin typeface="Arial" pitchFamily="34" charset="0"/>
                <a:ea typeface="+mn-ea"/>
                <a:cs typeface="Arial" pitchFamily="34" charset="0"/>
              </a:defRPr>
            </a:lvl3pPr>
            <a:lvl4pPr marL="0" indent="0" algn="l" defTabSz="914400" rtl="0" eaLnBrk="1" latinLnBrk="0" hangingPunct="1">
              <a:lnSpc>
                <a:spcPct val="100000"/>
              </a:lnSpc>
              <a:spcBef>
                <a:spcPts val="0"/>
              </a:spcBef>
              <a:buClr>
                <a:schemeClr val="tx2"/>
              </a:buClr>
              <a:buFont typeface="Lato" panose="020F0502020204030203" pitchFamily="34" charset="0"/>
              <a:buNone/>
              <a:defRPr lang="de-DE" sz="1067" kern="1200" baseline="0" noProof="0" smtClean="0">
                <a:solidFill>
                  <a:schemeClr val="bg2"/>
                </a:solidFill>
                <a:latin typeface="Arial" pitchFamily="34" charset="0"/>
                <a:ea typeface="+mn-ea"/>
                <a:cs typeface="Arial" pitchFamily="34" charset="0"/>
              </a:defRPr>
            </a:lvl4pPr>
            <a:lvl5pPr marL="0" indent="0" algn="l" defTabSz="914400" rtl="0" eaLnBrk="1" latinLnBrk="0" hangingPunct="1">
              <a:lnSpc>
                <a:spcPct val="100000"/>
              </a:lnSpc>
              <a:spcBef>
                <a:spcPts val="0"/>
              </a:spcBef>
              <a:buClr>
                <a:schemeClr val="tx2"/>
              </a:buClr>
              <a:buFont typeface="Wingdings" panose="05000000000000000000" pitchFamily="2" charset="2"/>
              <a:buNone/>
              <a:defRPr lang="de-DE" sz="1067" kern="1200" baseline="0" noProof="0" smtClean="0">
                <a:solidFill>
                  <a:schemeClr val="bg2"/>
                </a:solidFill>
                <a:latin typeface="Arial" pitchFamily="34" charset="0"/>
                <a:ea typeface="+mn-ea"/>
                <a:cs typeface="Arial" pitchFamily="34" charset="0"/>
              </a:defRPr>
            </a:lvl5pPr>
            <a:lvl6pPr marL="0" indent="0" algn="l" defTabSz="914400" rtl="0" eaLnBrk="1" latinLnBrk="0" hangingPunct="1">
              <a:lnSpc>
                <a:spcPct val="100000"/>
              </a:lnSpc>
              <a:spcBef>
                <a:spcPts val="0"/>
              </a:spcBef>
              <a:buFont typeface="Arial" panose="020B0604020202020204" pitchFamily="34" charset="0"/>
              <a:buNone/>
              <a:defRPr lang="de-DE" sz="1067" kern="1200" baseline="0" noProof="0" smtClean="0">
                <a:solidFill>
                  <a:schemeClr val="bg2"/>
                </a:solidFill>
                <a:latin typeface="Arial" pitchFamily="34" charset="0"/>
                <a:ea typeface="+mn-ea"/>
                <a:cs typeface="Arial" pitchFamily="34" charset="0"/>
              </a:defRPr>
            </a:lvl6pPr>
            <a:lvl7pPr marL="0" indent="0" algn="l" defTabSz="914400" rtl="0" eaLnBrk="1" latinLnBrk="0" hangingPunct="1">
              <a:lnSpc>
                <a:spcPct val="100000"/>
              </a:lnSpc>
              <a:spcBef>
                <a:spcPts val="0"/>
              </a:spcBef>
              <a:buFont typeface="Arial" panose="020B0604020202020204" pitchFamily="34" charset="0"/>
              <a:buNone/>
              <a:defRPr lang="de-DE" sz="1067" kern="1200" baseline="0" noProof="0" dirty="0" smtClean="0">
                <a:solidFill>
                  <a:schemeClr val="bg2"/>
                </a:solidFill>
                <a:latin typeface="Arial" pitchFamily="34" charset="0"/>
                <a:ea typeface="+mn-ea"/>
                <a:cs typeface="Arial" pitchFamily="34" charset="0"/>
              </a:defRPr>
            </a:lvl7pPr>
            <a:lvl8pPr marL="0" indent="0" algn="l" defTabSz="914400" rtl="0" eaLnBrk="1" latinLnBrk="0" hangingPunct="1">
              <a:lnSpc>
                <a:spcPct val="100000"/>
              </a:lnSpc>
              <a:spcBef>
                <a:spcPts val="0"/>
              </a:spcBef>
              <a:buFont typeface="Arial" panose="020B0604020202020204" pitchFamily="34" charset="0"/>
              <a:buNone/>
              <a:defRPr lang="de-DE" sz="1067" kern="1200" baseline="0" noProof="0" smtClean="0">
                <a:solidFill>
                  <a:schemeClr val="bg2"/>
                </a:solidFill>
                <a:latin typeface="Arial" pitchFamily="34" charset="0"/>
                <a:ea typeface="+mn-ea"/>
                <a:cs typeface="Arial" pitchFamily="34" charset="0"/>
              </a:defRPr>
            </a:lvl8pPr>
            <a:lvl9pPr marL="0" indent="0" algn="l" defTabSz="914400" rtl="0" eaLnBrk="1" latinLnBrk="0" hangingPunct="1">
              <a:lnSpc>
                <a:spcPct val="100000"/>
              </a:lnSpc>
              <a:spcBef>
                <a:spcPts val="0"/>
              </a:spcBef>
              <a:buFont typeface="Arial" panose="020B0604020202020204" pitchFamily="34" charset="0"/>
              <a:buNone/>
              <a:defRPr lang="de-DE" sz="1067" kern="1200" baseline="0" noProof="0" smtClean="0">
                <a:solidFill>
                  <a:schemeClr val="bg2"/>
                </a:solidFill>
                <a:latin typeface="Arial" pitchFamily="34" charset="0"/>
                <a:ea typeface="+mn-ea"/>
                <a:cs typeface="Arial" pitchFamily="34" charset="0"/>
              </a:defRPr>
            </a:lvl9pPr>
          </a:lstStyle>
          <a:p>
            <a:pPr marL="0" marR="0" lvl="0" indent="0" algn="l" defTabSz="1219170" rtl="0" eaLnBrk="1" fontAlgn="auto" latinLnBrk="0" hangingPunct="1">
              <a:lnSpc>
                <a:spcPct val="100000"/>
              </a:lnSpc>
              <a:spcBef>
                <a:spcPts val="0"/>
              </a:spcBef>
              <a:spcAft>
                <a:spcPts val="0"/>
              </a:spcAft>
              <a:buClrTx/>
              <a:buSzTx/>
              <a:buFont typeface="Arial" pitchFamily="34" charset="0"/>
              <a:buNone/>
              <a:tabLst/>
              <a:defRPr/>
            </a:pPr>
            <a:r>
              <a:rPr kumimoji="0" lang="en-US" sz="1067" b="0" i="0" u="none" strike="noStrike" kern="1200" cap="none" spc="0" normalizeH="0" baseline="0" noProof="0" dirty="0">
                <a:ln>
                  <a:noFill/>
                </a:ln>
                <a:solidFill>
                  <a:schemeClr val="tx1">
                    <a:lumMod val="75000"/>
                  </a:schemeClr>
                </a:solidFill>
                <a:effectLst/>
                <a:uLnTx/>
                <a:uFillTx/>
                <a:latin typeface="Arial" pitchFamily="34" charset="0"/>
                <a:ea typeface="+mn-ea"/>
                <a:cs typeface="Arial" pitchFamily="34" charset="0"/>
              </a:rPr>
              <a:t>Source: GfK POS </a:t>
            </a:r>
          </a:p>
        </p:txBody>
      </p:sp>
    </p:spTree>
    <p:extLst>
      <p:ext uri="{BB962C8B-B14F-4D97-AF65-F5344CB8AC3E}">
        <p14:creationId xmlns:p14="http://schemas.microsoft.com/office/powerpoint/2010/main" val="26528604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Рисунок 17"/>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6365417" y="2629899"/>
            <a:ext cx="891266" cy="1436538"/>
          </a:xfrm>
          <a:prstGeom prst="rect">
            <a:avLst/>
          </a:prstGeom>
        </p:spPr>
      </p:pic>
      <p:sp>
        <p:nvSpPr>
          <p:cNvPr id="5" name="Блок-схема: ссылка на другую страницу 4"/>
          <p:cNvSpPr/>
          <p:nvPr/>
        </p:nvSpPr>
        <p:spPr bwMode="gray">
          <a:xfrm>
            <a:off x="348736" y="1360752"/>
            <a:ext cx="5991625" cy="959810"/>
          </a:xfrm>
          <a:prstGeom prst="flowChartOffpageConnector">
            <a:avLst/>
          </a:prstGeom>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21882" tIns="60941" rIns="121882" bIns="60941" numCol="1" spcCol="0" rtlCol="0" fromWordArt="0" anchor="ctr" anchorCtr="0" forceAA="0" compatLnSpc="1">
            <a:prstTxWarp prst="textNoShape">
              <a:avLst/>
            </a:prstTxWarp>
            <a:noAutofit/>
          </a:bodyPr>
          <a:lstStyle/>
          <a:p>
            <a:pPr marL="0" marR="0" lvl="0" indent="0" algn="ctr" defTabSz="1218804" rtl="0" eaLnBrk="1" fontAlgn="auto" latinLnBrk="0" hangingPunct="1">
              <a:lnSpc>
                <a:spcPct val="100000"/>
              </a:lnSpc>
              <a:spcBef>
                <a:spcPts val="400"/>
              </a:spcBef>
              <a:spcAft>
                <a:spcPts val="0"/>
              </a:spcAft>
              <a:buClrTx/>
              <a:buSzTx/>
              <a:buFontTx/>
              <a:buNone/>
              <a:tabLst/>
              <a:defRPr/>
            </a:pPr>
            <a:r>
              <a:rPr kumimoji="0" lang="en-US" sz="1999" b="0" i="0" u="none" strike="noStrike" kern="1200" cap="none" spc="0" normalizeH="0" baseline="0" noProof="0" dirty="0">
                <a:ln>
                  <a:noFill/>
                </a:ln>
                <a:solidFill>
                  <a:srgbClr val="FFFFFF"/>
                </a:solidFill>
                <a:effectLst/>
                <a:uLnTx/>
                <a:uFillTx/>
                <a:latin typeface="Arial" pitchFamily="34" charset="0"/>
                <a:ea typeface="+mn-ea"/>
                <a:cs typeface="Arial" pitchFamily="34" charset="0"/>
              </a:rPr>
              <a:t>Personal care</a:t>
            </a:r>
          </a:p>
        </p:txBody>
      </p:sp>
      <p:sp>
        <p:nvSpPr>
          <p:cNvPr id="7" name="Блок-схема: ссылка на другую страницу 6"/>
          <p:cNvSpPr/>
          <p:nvPr/>
        </p:nvSpPr>
        <p:spPr bwMode="gray">
          <a:xfrm>
            <a:off x="6357780" y="1361629"/>
            <a:ext cx="5593064" cy="959810"/>
          </a:xfrm>
          <a:prstGeom prst="flowChartOffpageConnector">
            <a:avLst/>
          </a:prstGeom>
          <a:ln/>
        </p:spPr>
        <p:style>
          <a:lnRef idx="1">
            <a:schemeClr val="accent3"/>
          </a:lnRef>
          <a:fillRef idx="3">
            <a:schemeClr val="accent3"/>
          </a:fillRef>
          <a:effectRef idx="2">
            <a:schemeClr val="accent3"/>
          </a:effectRef>
          <a:fontRef idx="minor">
            <a:schemeClr val="lt1"/>
          </a:fontRef>
        </p:style>
        <p:txBody>
          <a:bodyPr rot="0" spcFirstLastPara="0" vertOverflow="overflow" horzOverflow="overflow" vert="horz" wrap="square" lIns="121882" tIns="60941" rIns="121882" bIns="60941" numCol="1" spcCol="0" rtlCol="0" fromWordArt="0" anchor="ctr" anchorCtr="0" forceAA="0" compatLnSpc="1">
            <a:prstTxWarp prst="textNoShape">
              <a:avLst/>
            </a:prstTxWarp>
            <a:noAutofit/>
          </a:bodyPr>
          <a:lstStyle/>
          <a:p>
            <a:pPr marL="0" marR="0" lvl="0" indent="0" algn="ctr" defTabSz="1218804" rtl="0" eaLnBrk="1" fontAlgn="auto" latinLnBrk="0" hangingPunct="1">
              <a:lnSpc>
                <a:spcPct val="100000"/>
              </a:lnSpc>
              <a:spcBef>
                <a:spcPts val="400"/>
              </a:spcBef>
              <a:spcAft>
                <a:spcPts val="0"/>
              </a:spcAft>
              <a:buClrTx/>
              <a:buSzTx/>
              <a:buFontTx/>
              <a:buNone/>
              <a:tabLst/>
              <a:defRPr/>
            </a:pPr>
            <a:r>
              <a:rPr kumimoji="0" lang="en-US" sz="2133" b="0" i="0" u="none" strike="noStrike" kern="1200" cap="none" spc="0" normalizeH="0" baseline="0" noProof="0" dirty="0">
                <a:ln>
                  <a:noFill/>
                </a:ln>
                <a:solidFill>
                  <a:srgbClr val="FFFFFF"/>
                </a:solidFill>
                <a:effectLst/>
                <a:uLnTx/>
                <a:uFillTx/>
                <a:latin typeface="Arial" pitchFamily="34" charset="0"/>
                <a:ea typeface="+mn-ea"/>
                <a:cs typeface="Arial" pitchFamily="34" charset="0"/>
              </a:rPr>
              <a:t>Home Comfort &amp; Kitchen</a:t>
            </a:r>
          </a:p>
        </p:txBody>
      </p:sp>
      <p:sp>
        <p:nvSpPr>
          <p:cNvPr id="8" name="TextBox 7"/>
          <p:cNvSpPr txBox="1"/>
          <p:nvPr/>
        </p:nvSpPr>
        <p:spPr bwMode="gray">
          <a:xfrm>
            <a:off x="381680" y="2371994"/>
            <a:ext cx="1261067" cy="410241"/>
          </a:xfrm>
          <a:prstGeom prst="rect">
            <a:avLst/>
          </a:prstGeom>
          <a:noFill/>
        </p:spPr>
        <p:txBody>
          <a:bodyPr wrap="square" lIns="0" tIns="0" rIns="0" bIns="0" rtlCol="0">
            <a:spAutoFit/>
          </a:bodyPr>
          <a:lstStyle/>
          <a:p>
            <a:pPr marL="0" marR="0" lvl="0" indent="0" algn="ctr" defTabSz="1218804" rtl="0" eaLnBrk="1" fontAlgn="auto" latinLnBrk="0" hangingPunct="1">
              <a:lnSpc>
                <a:spcPct val="100000"/>
              </a:lnSpc>
              <a:spcBef>
                <a:spcPts val="0"/>
              </a:spcBef>
              <a:spcAft>
                <a:spcPts val="0"/>
              </a:spcAft>
              <a:buClrTx/>
              <a:buSzTx/>
              <a:buFontTx/>
              <a:buNone/>
              <a:tabLst/>
              <a:defRPr/>
            </a:pPr>
            <a:r>
              <a:rPr kumimoji="0" lang="en-US" sz="1333" b="0" i="0" u="none" strike="noStrike" kern="1200" cap="none" spc="0" normalizeH="0" baseline="0" noProof="0" dirty="0">
                <a:ln>
                  <a:noFill/>
                </a:ln>
                <a:solidFill>
                  <a:srgbClr val="000000"/>
                </a:solidFill>
                <a:effectLst/>
                <a:uLnTx/>
                <a:uFillTx/>
                <a:latin typeface="Arial" pitchFamily="34" charset="0"/>
                <a:ea typeface="+mn-ea"/>
                <a:cs typeface="Arial" pitchFamily="34" charset="0"/>
              </a:rPr>
              <a:t>Multi grooming kit</a:t>
            </a:r>
            <a:endParaRPr kumimoji="0" lang="ru-RU" sz="1333" b="0" i="0" u="none" strike="noStrike" kern="1200" cap="none" spc="0" normalizeH="0" baseline="0" noProof="0" dirty="0">
              <a:ln>
                <a:noFill/>
              </a:ln>
              <a:solidFill>
                <a:srgbClr val="000000"/>
              </a:solidFill>
              <a:effectLst/>
              <a:uLnTx/>
              <a:uFillTx/>
              <a:latin typeface="Arial" pitchFamily="34" charset="0"/>
              <a:ea typeface="+mn-ea"/>
              <a:cs typeface="Arial" pitchFamily="34" charset="0"/>
            </a:endParaRPr>
          </a:p>
        </p:txBody>
      </p:sp>
      <p:sp>
        <p:nvSpPr>
          <p:cNvPr id="9" name="TextBox 8"/>
          <p:cNvSpPr txBox="1"/>
          <p:nvPr/>
        </p:nvSpPr>
        <p:spPr bwMode="gray">
          <a:xfrm>
            <a:off x="1811843" y="2371994"/>
            <a:ext cx="1354479" cy="410241"/>
          </a:xfrm>
          <a:prstGeom prst="rect">
            <a:avLst/>
          </a:prstGeom>
          <a:noFill/>
        </p:spPr>
        <p:txBody>
          <a:bodyPr wrap="square" lIns="0" tIns="0" rIns="0" bIns="0" rtlCol="0">
            <a:spAutoFit/>
          </a:bodyPr>
          <a:lstStyle/>
          <a:p>
            <a:pPr marL="0" marR="0" lvl="0" indent="0" algn="ctr" defTabSz="1218804" rtl="0" eaLnBrk="1" fontAlgn="auto" latinLnBrk="0" hangingPunct="1">
              <a:lnSpc>
                <a:spcPct val="100000"/>
              </a:lnSpc>
              <a:spcBef>
                <a:spcPts val="400"/>
              </a:spcBef>
              <a:spcAft>
                <a:spcPts val="0"/>
              </a:spcAft>
              <a:buClrTx/>
              <a:buSzTx/>
              <a:buFontTx/>
              <a:buNone/>
              <a:tabLst/>
              <a:defRPr/>
            </a:pPr>
            <a:r>
              <a:rPr kumimoji="0" lang="en-US" sz="1333" b="0" i="0" u="none" strike="noStrike" kern="1200" cap="none" spc="0" normalizeH="0" baseline="0" noProof="0" dirty="0">
                <a:ln>
                  <a:noFill/>
                </a:ln>
                <a:solidFill>
                  <a:srgbClr val="000000"/>
                </a:solidFill>
                <a:effectLst/>
                <a:uLnTx/>
                <a:uFillTx/>
                <a:latin typeface="Arial" pitchFamily="34" charset="0"/>
                <a:ea typeface="+mn-ea"/>
                <a:cs typeface="Arial" pitchFamily="34" charset="0"/>
              </a:rPr>
              <a:t> Males’ hybrid shaver &amp; trimmer</a:t>
            </a:r>
            <a:endParaRPr kumimoji="0" lang="ru-RU" sz="1333" b="0" i="0" u="none" strike="noStrike" kern="1200" cap="none" spc="0" normalizeH="0" baseline="0" noProof="0" dirty="0" err="1">
              <a:ln>
                <a:noFill/>
              </a:ln>
              <a:solidFill>
                <a:srgbClr val="000000"/>
              </a:solidFill>
              <a:effectLst/>
              <a:uLnTx/>
              <a:uFillTx/>
              <a:latin typeface="Arial" pitchFamily="34" charset="0"/>
              <a:ea typeface="+mn-ea"/>
              <a:cs typeface="Arial" pitchFamily="34" charset="0"/>
            </a:endParaRPr>
          </a:p>
        </p:txBody>
      </p:sp>
      <p:sp>
        <p:nvSpPr>
          <p:cNvPr id="14" name="TextBox 13"/>
          <p:cNvSpPr txBox="1"/>
          <p:nvPr/>
        </p:nvSpPr>
        <p:spPr bwMode="gray">
          <a:xfrm>
            <a:off x="9318260" y="2371994"/>
            <a:ext cx="1181865" cy="410241"/>
          </a:xfrm>
          <a:prstGeom prst="rect">
            <a:avLst/>
          </a:prstGeom>
          <a:noFill/>
        </p:spPr>
        <p:txBody>
          <a:bodyPr wrap="square" lIns="0" tIns="0" rIns="0" bIns="0" rtlCol="0">
            <a:spAutoFit/>
          </a:bodyPr>
          <a:lstStyle/>
          <a:p>
            <a:pPr marL="0" marR="0" lvl="0" indent="0" algn="ctr" defTabSz="1218804" rtl="0" eaLnBrk="1" fontAlgn="auto" latinLnBrk="0" hangingPunct="1">
              <a:lnSpc>
                <a:spcPct val="100000"/>
              </a:lnSpc>
              <a:spcBef>
                <a:spcPts val="400"/>
              </a:spcBef>
              <a:spcAft>
                <a:spcPts val="0"/>
              </a:spcAft>
              <a:buClrTx/>
              <a:buSzTx/>
              <a:buFontTx/>
              <a:buNone/>
              <a:tabLst/>
              <a:defRPr/>
            </a:pPr>
            <a:r>
              <a:rPr kumimoji="0" lang="en-US" sz="1333" b="0" i="0" u="none" strike="noStrike" kern="1200" cap="none" spc="0" normalizeH="0" baseline="0" noProof="0" dirty="0">
                <a:ln>
                  <a:noFill/>
                </a:ln>
                <a:solidFill>
                  <a:srgbClr val="000000"/>
                </a:solidFill>
                <a:effectLst/>
                <a:uLnTx/>
                <a:uFillTx/>
                <a:latin typeface="Arial" pitchFamily="34" charset="0"/>
                <a:ea typeface="+mn-ea"/>
                <a:cs typeface="Arial" pitchFamily="34" charset="0"/>
              </a:rPr>
              <a:t>Garment steamers</a:t>
            </a:r>
            <a:endParaRPr kumimoji="0" lang="ru-RU" sz="1333" b="0" i="0" u="none" strike="noStrike" kern="1200" cap="none" spc="0" normalizeH="0" baseline="0" noProof="0" dirty="0">
              <a:ln>
                <a:noFill/>
              </a:ln>
              <a:solidFill>
                <a:srgbClr val="000000"/>
              </a:solidFill>
              <a:effectLst/>
              <a:uLnTx/>
              <a:uFillTx/>
              <a:latin typeface="Arial" pitchFamily="34" charset="0"/>
              <a:ea typeface="+mn-ea"/>
              <a:cs typeface="Arial" pitchFamily="34" charset="0"/>
            </a:endParaRPr>
          </a:p>
        </p:txBody>
      </p:sp>
      <p:sp>
        <p:nvSpPr>
          <p:cNvPr id="15" name="TextBox 14"/>
          <p:cNvSpPr txBox="1"/>
          <p:nvPr/>
        </p:nvSpPr>
        <p:spPr bwMode="gray">
          <a:xfrm>
            <a:off x="7643747" y="2371994"/>
            <a:ext cx="1181865" cy="205121"/>
          </a:xfrm>
          <a:prstGeom prst="rect">
            <a:avLst/>
          </a:prstGeom>
          <a:noFill/>
        </p:spPr>
        <p:txBody>
          <a:bodyPr wrap="square" lIns="0" tIns="0" rIns="0" bIns="0" rtlCol="0">
            <a:spAutoFit/>
          </a:bodyPr>
          <a:lstStyle/>
          <a:p>
            <a:pPr marL="0" marR="0" lvl="0" indent="0" algn="ctr" defTabSz="1218804" rtl="0" eaLnBrk="1" fontAlgn="auto" latinLnBrk="0" hangingPunct="1">
              <a:lnSpc>
                <a:spcPct val="100000"/>
              </a:lnSpc>
              <a:spcBef>
                <a:spcPts val="400"/>
              </a:spcBef>
              <a:spcAft>
                <a:spcPts val="0"/>
              </a:spcAft>
              <a:buClrTx/>
              <a:buSzTx/>
              <a:buFontTx/>
              <a:buNone/>
              <a:tabLst/>
              <a:defRPr/>
            </a:pPr>
            <a:r>
              <a:rPr kumimoji="0" lang="en-US" sz="1333" b="0" i="0" u="none" strike="noStrike" kern="1200" cap="none" spc="0" normalizeH="0" baseline="0" noProof="0" dirty="0">
                <a:ln>
                  <a:noFill/>
                </a:ln>
                <a:solidFill>
                  <a:srgbClr val="000000"/>
                </a:solidFill>
                <a:effectLst/>
                <a:uLnTx/>
                <a:uFillTx/>
                <a:latin typeface="Arial" pitchFamily="34" charset="0"/>
                <a:ea typeface="+mn-ea"/>
                <a:cs typeface="Arial" pitchFamily="34" charset="0"/>
              </a:rPr>
              <a:t>Robot</a:t>
            </a:r>
            <a:endParaRPr kumimoji="0" lang="ru-RU" sz="1333" b="0" i="0" u="none" strike="noStrike" kern="1200" cap="none" spc="0" normalizeH="0" baseline="0" noProof="0" dirty="0" err="1">
              <a:ln>
                <a:noFill/>
              </a:ln>
              <a:solidFill>
                <a:srgbClr val="000000"/>
              </a:solidFill>
              <a:effectLst/>
              <a:uLnTx/>
              <a:uFillTx/>
              <a:latin typeface="Arial" pitchFamily="34" charset="0"/>
              <a:ea typeface="+mn-ea"/>
              <a:cs typeface="Arial" pitchFamily="34" charset="0"/>
            </a:endParaRPr>
          </a:p>
        </p:txBody>
      </p:sp>
      <p:sp>
        <p:nvSpPr>
          <p:cNvPr id="16" name="TextBox 15"/>
          <p:cNvSpPr txBox="1"/>
          <p:nvPr/>
        </p:nvSpPr>
        <p:spPr bwMode="gray">
          <a:xfrm>
            <a:off x="6202546" y="2371994"/>
            <a:ext cx="1323168" cy="205121"/>
          </a:xfrm>
          <a:prstGeom prst="rect">
            <a:avLst/>
          </a:prstGeom>
          <a:noFill/>
        </p:spPr>
        <p:txBody>
          <a:bodyPr wrap="square" lIns="0" tIns="0" rIns="0" bIns="0" rtlCol="0">
            <a:spAutoFit/>
          </a:bodyPr>
          <a:lstStyle/>
          <a:p>
            <a:pPr marL="0" marR="0" lvl="0" indent="0" algn="ctr" defTabSz="1218804" rtl="0" eaLnBrk="1" fontAlgn="auto" latinLnBrk="0" hangingPunct="1">
              <a:lnSpc>
                <a:spcPct val="100000"/>
              </a:lnSpc>
              <a:spcBef>
                <a:spcPts val="400"/>
              </a:spcBef>
              <a:spcAft>
                <a:spcPts val="0"/>
              </a:spcAft>
              <a:buClrTx/>
              <a:buSzTx/>
              <a:buFontTx/>
              <a:buNone/>
              <a:tabLst/>
              <a:defRPr/>
            </a:pPr>
            <a:r>
              <a:rPr kumimoji="0" lang="en-US" sz="1333" b="0" i="0" u="none" strike="noStrike" kern="1200" cap="none" spc="0" normalizeH="0" baseline="0" noProof="0" dirty="0">
                <a:ln>
                  <a:noFill/>
                </a:ln>
                <a:solidFill>
                  <a:srgbClr val="000000"/>
                </a:solidFill>
                <a:effectLst/>
                <a:uLnTx/>
                <a:uFillTx/>
                <a:latin typeface="Arial" pitchFamily="34" charset="0"/>
                <a:ea typeface="+mn-ea"/>
                <a:cs typeface="Arial" pitchFamily="34" charset="0"/>
              </a:rPr>
              <a:t>Handstick</a:t>
            </a:r>
            <a:endParaRPr kumimoji="0" lang="ru-RU" sz="1333" b="0" i="0" u="none" strike="noStrike" kern="1200" cap="none" spc="0" normalizeH="0" baseline="0" noProof="0" dirty="0">
              <a:ln>
                <a:noFill/>
              </a:ln>
              <a:solidFill>
                <a:srgbClr val="000000"/>
              </a:solidFill>
              <a:effectLst/>
              <a:uLnTx/>
              <a:uFillTx/>
              <a:latin typeface="Arial" pitchFamily="34" charset="0"/>
              <a:ea typeface="+mn-ea"/>
              <a:cs typeface="Arial" pitchFamily="34" charset="0"/>
            </a:endParaRPr>
          </a:p>
        </p:txBody>
      </p:sp>
      <p:sp>
        <p:nvSpPr>
          <p:cNvPr id="21" name="TextBox 20"/>
          <p:cNvSpPr txBox="1"/>
          <p:nvPr/>
        </p:nvSpPr>
        <p:spPr bwMode="gray">
          <a:xfrm>
            <a:off x="4760333" y="2371994"/>
            <a:ext cx="1187434" cy="205121"/>
          </a:xfrm>
          <a:prstGeom prst="rect">
            <a:avLst/>
          </a:prstGeom>
          <a:noFill/>
        </p:spPr>
        <p:txBody>
          <a:bodyPr wrap="square" lIns="0" tIns="0" rIns="0" bIns="0" rtlCol="0">
            <a:spAutoFit/>
          </a:bodyPr>
          <a:lstStyle/>
          <a:p>
            <a:pPr marL="0" marR="0" lvl="0" indent="0" algn="ctr" defTabSz="1218804" rtl="0" eaLnBrk="1" fontAlgn="auto" latinLnBrk="0" hangingPunct="1">
              <a:lnSpc>
                <a:spcPct val="100000"/>
              </a:lnSpc>
              <a:spcBef>
                <a:spcPts val="400"/>
              </a:spcBef>
              <a:spcAft>
                <a:spcPts val="0"/>
              </a:spcAft>
              <a:buClrTx/>
              <a:buSzTx/>
              <a:buFontTx/>
              <a:buNone/>
              <a:tabLst/>
              <a:defRPr/>
            </a:pPr>
            <a:r>
              <a:rPr kumimoji="0" lang="en-US" sz="1333" b="0" i="0" u="none" strike="noStrike" kern="1200" cap="none" spc="0" normalizeH="0" baseline="0" noProof="0" dirty="0">
                <a:ln>
                  <a:noFill/>
                </a:ln>
                <a:solidFill>
                  <a:srgbClr val="000000"/>
                </a:solidFill>
                <a:effectLst/>
                <a:uLnTx/>
                <a:uFillTx/>
                <a:latin typeface="Arial" pitchFamily="34" charset="0"/>
                <a:ea typeface="+mn-ea"/>
                <a:cs typeface="Arial" pitchFamily="34" charset="0"/>
              </a:rPr>
              <a:t>Hair </a:t>
            </a:r>
            <a:r>
              <a:rPr kumimoji="0" lang="en-US" sz="1333" b="0" i="0" u="none" strike="noStrike" kern="1200" cap="none" spc="0" normalizeH="0" baseline="0" noProof="0" dirty="0" err="1">
                <a:ln>
                  <a:noFill/>
                </a:ln>
                <a:solidFill>
                  <a:srgbClr val="000000"/>
                </a:solidFill>
                <a:effectLst/>
                <a:uLnTx/>
                <a:uFillTx/>
                <a:latin typeface="Arial" pitchFamily="34" charset="0"/>
                <a:ea typeface="+mn-ea"/>
                <a:cs typeface="Arial" pitchFamily="34" charset="0"/>
              </a:rPr>
              <a:t>Stylers</a:t>
            </a:r>
            <a:endParaRPr kumimoji="0" lang="ru-RU" sz="1333" b="0" i="0" u="none" strike="noStrike" kern="1200" cap="none" spc="0" normalizeH="0" baseline="0" noProof="0" dirty="0" err="1">
              <a:ln>
                <a:noFill/>
              </a:ln>
              <a:solidFill>
                <a:srgbClr val="000000"/>
              </a:solidFill>
              <a:effectLst/>
              <a:uLnTx/>
              <a:uFillTx/>
              <a:latin typeface="Arial" pitchFamily="34" charset="0"/>
              <a:ea typeface="+mn-ea"/>
              <a:cs typeface="Arial" pitchFamily="34" charset="0"/>
            </a:endParaRPr>
          </a:p>
        </p:txBody>
      </p:sp>
      <p:sp>
        <p:nvSpPr>
          <p:cNvPr id="25" name="Заголовок 1"/>
          <p:cNvSpPr txBox="1">
            <a:spLocks/>
          </p:cNvSpPr>
          <p:nvPr/>
        </p:nvSpPr>
        <p:spPr bwMode="gray">
          <a:xfrm>
            <a:off x="497030" y="261626"/>
            <a:ext cx="8574396" cy="767903"/>
          </a:xfrm>
          <a:prstGeom prst="rect">
            <a:avLst/>
          </a:prstGeom>
        </p:spPr>
        <p:txBody>
          <a:bodyPr vert="horz" lIns="0" tIns="0" rIns="0" bIns="0" rtlCol="0" anchor="ctr" anchorCtr="0">
            <a:noAutofit/>
          </a:bodyPr>
          <a:lstStyle>
            <a:lvl1pPr algn="l" defTabSz="914400" rtl="0" eaLnBrk="1" latinLnBrk="0" hangingPunct="1">
              <a:spcBef>
                <a:spcPct val="0"/>
              </a:spcBef>
              <a:buNone/>
              <a:defRPr sz="1800" kern="1200">
                <a:solidFill>
                  <a:schemeClr val="tx1"/>
                </a:solidFill>
                <a:latin typeface="Arial" pitchFamily="34" charset="0"/>
                <a:ea typeface="+mj-ea"/>
                <a:cs typeface="+mj-cs"/>
              </a:defRPr>
            </a:lvl1pPr>
          </a:lstStyle>
          <a:p>
            <a:pPr marL="0" marR="0" lvl="0" indent="0" algn="l" defTabSz="1218804" rtl="0" eaLnBrk="1" fontAlgn="auto" latinLnBrk="0" hangingPunct="1">
              <a:lnSpc>
                <a:spcPct val="100000"/>
              </a:lnSpc>
              <a:spcBef>
                <a:spcPct val="0"/>
              </a:spcBef>
              <a:spcAft>
                <a:spcPts val="0"/>
              </a:spcAft>
              <a:buClrTx/>
              <a:buSzTx/>
              <a:buFontTx/>
              <a:buNone/>
              <a:tabLst/>
              <a:defRPr/>
            </a:pPr>
            <a:r>
              <a:rPr kumimoji="0" lang="en-US" sz="3600" b="0" i="0" u="none" strike="noStrike" kern="1200" cap="none" spc="0" normalizeH="0" baseline="0" noProof="0" dirty="0">
                <a:ln>
                  <a:noFill/>
                </a:ln>
                <a:solidFill>
                  <a:srgbClr val="000000"/>
                </a:solidFill>
                <a:effectLst/>
                <a:uLnTx/>
                <a:uFillTx/>
                <a:latin typeface="Lato Light"/>
                <a:ea typeface="+mj-ea"/>
                <a:cs typeface="+mj-cs"/>
              </a:rPr>
              <a:t>Growth drivers SDA Market</a:t>
            </a:r>
            <a:endParaRPr kumimoji="0" lang="ru-RU" sz="3600" b="0" i="0" u="none" strike="noStrike" kern="1200" cap="none" spc="0" normalizeH="0" baseline="0" noProof="0" dirty="0">
              <a:ln>
                <a:noFill/>
              </a:ln>
              <a:solidFill>
                <a:srgbClr val="000000"/>
              </a:solidFill>
              <a:effectLst/>
              <a:uLnTx/>
              <a:uFillTx/>
              <a:latin typeface="Lato Light"/>
              <a:ea typeface="+mj-ea"/>
              <a:cs typeface="+mj-cs"/>
            </a:endParaRPr>
          </a:p>
        </p:txBody>
      </p:sp>
      <p:cxnSp>
        <p:nvCxnSpPr>
          <p:cNvPr id="3" name="Прямая соединительная линия 2"/>
          <p:cNvCxnSpPr/>
          <p:nvPr/>
        </p:nvCxnSpPr>
        <p:spPr>
          <a:xfrm>
            <a:off x="1671235" y="4019766"/>
            <a:ext cx="0" cy="2558325"/>
          </a:xfrm>
          <a:prstGeom prst="line">
            <a:avLst/>
          </a:prstGeom>
          <a:ln w="9525" cap="flat" cmpd="sng" algn="ctr">
            <a:solidFill>
              <a:schemeClr val="bg2">
                <a:lumMod val="40000"/>
                <a:lumOff val="60000"/>
              </a:schemeClr>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27" name="Прямая соединительная линия 26"/>
          <p:cNvCxnSpPr/>
          <p:nvPr/>
        </p:nvCxnSpPr>
        <p:spPr>
          <a:xfrm>
            <a:off x="3240217" y="4053451"/>
            <a:ext cx="13944" cy="2535815"/>
          </a:xfrm>
          <a:prstGeom prst="line">
            <a:avLst/>
          </a:prstGeom>
          <a:ln w="9525" cap="flat" cmpd="sng" algn="ctr">
            <a:solidFill>
              <a:schemeClr val="bg2">
                <a:lumMod val="40000"/>
                <a:lumOff val="60000"/>
              </a:schemeClr>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28" name="Прямая соединительная линия 27"/>
          <p:cNvCxnSpPr/>
          <p:nvPr/>
        </p:nvCxnSpPr>
        <p:spPr>
          <a:xfrm>
            <a:off x="4544227" y="4016712"/>
            <a:ext cx="0" cy="2558325"/>
          </a:xfrm>
          <a:prstGeom prst="line">
            <a:avLst/>
          </a:prstGeom>
          <a:ln w="9525" cap="flat" cmpd="sng" algn="ctr">
            <a:solidFill>
              <a:schemeClr val="bg2">
                <a:lumMod val="40000"/>
                <a:lumOff val="60000"/>
              </a:schemeClr>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29" name="Прямая соединительная линия 28"/>
          <p:cNvCxnSpPr/>
          <p:nvPr/>
        </p:nvCxnSpPr>
        <p:spPr>
          <a:xfrm>
            <a:off x="5887191" y="4028059"/>
            <a:ext cx="0" cy="2558325"/>
          </a:xfrm>
          <a:prstGeom prst="line">
            <a:avLst/>
          </a:prstGeom>
          <a:ln w="9525" cap="flat" cmpd="sng" algn="ctr">
            <a:solidFill>
              <a:schemeClr val="bg2">
                <a:lumMod val="40000"/>
                <a:lumOff val="60000"/>
              </a:schemeClr>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30" name="Прямая соединительная линия 29"/>
          <p:cNvCxnSpPr/>
          <p:nvPr/>
        </p:nvCxnSpPr>
        <p:spPr>
          <a:xfrm>
            <a:off x="7525713" y="4004016"/>
            <a:ext cx="0" cy="2558325"/>
          </a:xfrm>
          <a:prstGeom prst="line">
            <a:avLst/>
          </a:prstGeom>
          <a:ln w="9525" cap="flat" cmpd="sng" algn="ctr">
            <a:solidFill>
              <a:schemeClr val="bg2">
                <a:lumMod val="40000"/>
                <a:lumOff val="60000"/>
              </a:schemeClr>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31" name="Прямая соединительная линия 30"/>
          <p:cNvCxnSpPr/>
          <p:nvPr/>
        </p:nvCxnSpPr>
        <p:spPr>
          <a:xfrm>
            <a:off x="9239033" y="4004016"/>
            <a:ext cx="0" cy="2558325"/>
          </a:xfrm>
          <a:prstGeom prst="line">
            <a:avLst/>
          </a:prstGeom>
          <a:ln w="9525" cap="flat" cmpd="sng" algn="ctr">
            <a:solidFill>
              <a:schemeClr val="bg2">
                <a:lumMod val="40000"/>
                <a:lumOff val="60000"/>
              </a:schemeClr>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pic>
        <p:nvPicPr>
          <p:cNvPr id="4" name="Рисунок 3"/>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1800826" y="2846971"/>
            <a:ext cx="1327677" cy="1178690"/>
          </a:xfrm>
          <a:prstGeom prst="rect">
            <a:avLst/>
          </a:prstGeom>
        </p:spPr>
      </p:pic>
      <p:pic>
        <p:nvPicPr>
          <p:cNvPr id="20" name="Рисунок 19"/>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312298" y="2850188"/>
            <a:ext cx="1466167" cy="1168379"/>
          </a:xfrm>
          <a:prstGeom prst="rect">
            <a:avLst/>
          </a:prstGeom>
        </p:spPr>
      </p:pic>
      <p:pic>
        <p:nvPicPr>
          <p:cNvPr id="22" name="Рисунок 21"/>
          <p:cNvPicPr>
            <a:picLocks noChangeAspect="1"/>
          </p:cNvPicPr>
          <p:nvPr/>
        </p:nvPicPr>
        <p:blipFill>
          <a:blip r:embed="rId6">
            <a:extLst>
              <a:ext uri="{28A0092B-C50C-407E-A947-70E740481C1C}">
                <a14:useLocalDpi xmlns:a14="http://schemas.microsoft.com/office/drawing/2010/main"/>
              </a:ext>
            </a:extLst>
          </a:blip>
          <a:stretch>
            <a:fillRect/>
          </a:stretch>
        </p:blipFill>
        <p:spPr>
          <a:xfrm>
            <a:off x="7643748" y="2880621"/>
            <a:ext cx="1308545" cy="1017758"/>
          </a:xfrm>
          <a:prstGeom prst="rect">
            <a:avLst/>
          </a:prstGeom>
        </p:spPr>
      </p:pic>
      <p:graphicFrame>
        <p:nvGraphicFramePr>
          <p:cNvPr id="32" name="Таблица 31"/>
          <p:cNvGraphicFramePr>
            <a:graphicFrameLocks noGrp="1"/>
          </p:cNvGraphicFramePr>
          <p:nvPr>
            <p:extLst>
              <p:ext uri="{D42A27DB-BD31-4B8C-83A1-F6EECF244321}">
                <p14:modId xmlns:p14="http://schemas.microsoft.com/office/powerpoint/2010/main" val="1889995073"/>
              </p:ext>
            </p:extLst>
          </p:nvPr>
        </p:nvGraphicFramePr>
        <p:xfrm>
          <a:off x="297273" y="4169481"/>
          <a:ext cx="11653570" cy="2365555"/>
        </p:xfrm>
        <a:graphic>
          <a:graphicData uri="http://schemas.openxmlformats.org/drawingml/2006/table">
            <a:tbl>
              <a:tblPr firstRow="1" bandRow="1">
                <a:tableStyleId>{5C22544A-7EE6-4342-B048-85BDC9FD1C3A}</a:tableStyleId>
              </a:tblPr>
              <a:tblGrid>
                <a:gridCol w="1294069">
                  <a:extLst>
                    <a:ext uri="{9D8B030D-6E8A-4147-A177-3AD203B41FA5}">
                      <a16:colId xmlns:a16="http://schemas.microsoft.com/office/drawing/2014/main" val="3798218426"/>
                    </a:ext>
                  </a:extLst>
                </a:gridCol>
                <a:gridCol w="1625228">
                  <a:extLst>
                    <a:ext uri="{9D8B030D-6E8A-4147-A177-3AD203B41FA5}">
                      <a16:colId xmlns:a16="http://schemas.microsoft.com/office/drawing/2014/main" val="3056305793"/>
                    </a:ext>
                  </a:extLst>
                </a:gridCol>
                <a:gridCol w="1348762">
                  <a:extLst>
                    <a:ext uri="{9D8B030D-6E8A-4147-A177-3AD203B41FA5}">
                      <a16:colId xmlns:a16="http://schemas.microsoft.com/office/drawing/2014/main" val="618648050"/>
                    </a:ext>
                  </a:extLst>
                </a:gridCol>
                <a:gridCol w="1351815">
                  <a:extLst>
                    <a:ext uri="{9D8B030D-6E8A-4147-A177-3AD203B41FA5}">
                      <a16:colId xmlns:a16="http://schemas.microsoft.com/office/drawing/2014/main" val="3111286347"/>
                    </a:ext>
                  </a:extLst>
                </a:gridCol>
                <a:gridCol w="1622177">
                  <a:extLst>
                    <a:ext uri="{9D8B030D-6E8A-4147-A177-3AD203B41FA5}">
                      <a16:colId xmlns:a16="http://schemas.microsoft.com/office/drawing/2014/main" val="449598861"/>
                    </a:ext>
                  </a:extLst>
                </a:gridCol>
                <a:gridCol w="1532055">
                  <a:extLst>
                    <a:ext uri="{9D8B030D-6E8A-4147-A177-3AD203B41FA5}">
                      <a16:colId xmlns:a16="http://schemas.microsoft.com/office/drawing/2014/main" val="1322215827"/>
                    </a:ext>
                  </a:extLst>
                </a:gridCol>
                <a:gridCol w="1532055">
                  <a:extLst>
                    <a:ext uri="{9D8B030D-6E8A-4147-A177-3AD203B41FA5}">
                      <a16:colId xmlns:a16="http://schemas.microsoft.com/office/drawing/2014/main" val="790522851"/>
                    </a:ext>
                  </a:extLst>
                </a:gridCol>
                <a:gridCol w="1347409">
                  <a:extLst>
                    <a:ext uri="{9D8B030D-6E8A-4147-A177-3AD203B41FA5}">
                      <a16:colId xmlns:a16="http://schemas.microsoft.com/office/drawing/2014/main" val="3676918088"/>
                    </a:ext>
                  </a:extLst>
                </a:gridCol>
              </a:tblGrid>
              <a:tr h="74003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400" b="1" i="0" kern="1200" dirty="0">
                          <a:solidFill>
                            <a:srgbClr val="0070C0"/>
                          </a:solidFill>
                          <a:latin typeface="+mn-lt"/>
                          <a:ea typeface="+mn-ea"/>
                          <a:cs typeface="+mn-cs"/>
                        </a:rPr>
                        <a:t>6</a:t>
                      </a:r>
                    </a:p>
                  </a:txBody>
                  <a:tcPr marL="121882" marR="121882" marT="60941" marB="60941">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2400" b="1" i="0" kern="1200" dirty="0">
                          <a:solidFill>
                            <a:srgbClr val="0070C0"/>
                          </a:solidFill>
                          <a:latin typeface="+mn-lt"/>
                          <a:ea typeface="+mn-ea"/>
                          <a:cs typeface="+mn-cs"/>
                        </a:rPr>
                        <a:t>3</a:t>
                      </a:r>
                      <a:endParaRPr lang="ru-RU" sz="2400" b="1" i="0" kern="1200" dirty="0">
                        <a:solidFill>
                          <a:srgbClr val="0070C0"/>
                        </a:solidFill>
                        <a:latin typeface="+mn-lt"/>
                        <a:ea typeface="+mn-ea"/>
                        <a:cs typeface="+mn-cs"/>
                      </a:endParaRPr>
                    </a:p>
                  </a:txBody>
                  <a:tcPr marL="121882" marR="121882" marT="60941" marB="60941">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2400" b="1" i="0" kern="1200" dirty="0">
                          <a:solidFill>
                            <a:srgbClr val="0070C0"/>
                          </a:solidFill>
                          <a:latin typeface="+mn-lt"/>
                          <a:ea typeface="+mn-ea"/>
                          <a:cs typeface="+mn-cs"/>
                        </a:rPr>
                        <a:t>6</a:t>
                      </a:r>
                      <a:endParaRPr lang="ru-RU" sz="2400" b="1" i="0" kern="1200" dirty="0">
                        <a:solidFill>
                          <a:srgbClr val="0070C0"/>
                        </a:solidFill>
                        <a:latin typeface="+mn-lt"/>
                        <a:ea typeface="+mn-ea"/>
                        <a:cs typeface="+mn-cs"/>
                      </a:endParaRPr>
                    </a:p>
                  </a:txBody>
                  <a:tcPr marL="121882" marR="121882" marT="60941" marB="60941">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2400" b="1" i="0" kern="1200" dirty="0">
                          <a:solidFill>
                            <a:srgbClr val="0070C0"/>
                          </a:solidFill>
                          <a:latin typeface="+mn-lt"/>
                          <a:ea typeface="+mn-ea"/>
                          <a:cs typeface="+mn-cs"/>
                        </a:rPr>
                        <a:t>32</a:t>
                      </a:r>
                      <a:endParaRPr lang="ru-RU" sz="2400" b="1" i="0" kern="1200" dirty="0">
                        <a:solidFill>
                          <a:srgbClr val="0070C0"/>
                        </a:solidFill>
                        <a:latin typeface="+mn-lt"/>
                        <a:ea typeface="+mn-ea"/>
                        <a:cs typeface="+mn-cs"/>
                      </a:endParaRPr>
                    </a:p>
                  </a:txBody>
                  <a:tcPr marL="121882" marR="121882" marT="60941" marB="60941">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2400" b="1" i="0" kern="1200" dirty="0">
                          <a:solidFill>
                            <a:srgbClr val="0070C0"/>
                          </a:solidFill>
                          <a:latin typeface="+mn-lt"/>
                          <a:ea typeface="+mn-ea"/>
                          <a:cs typeface="+mn-cs"/>
                        </a:rPr>
                        <a:t>47</a:t>
                      </a:r>
                      <a:endParaRPr lang="ru-RU" sz="2400" b="1" i="0" kern="1200" dirty="0">
                        <a:solidFill>
                          <a:srgbClr val="0070C0"/>
                        </a:solidFill>
                        <a:latin typeface="+mn-lt"/>
                        <a:ea typeface="+mn-ea"/>
                        <a:cs typeface="+mn-cs"/>
                      </a:endParaRPr>
                    </a:p>
                  </a:txBody>
                  <a:tcPr marL="121882" marR="121882" marT="60941" marB="60941">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2400" b="1" i="0" kern="1200" dirty="0">
                          <a:solidFill>
                            <a:srgbClr val="0070C0"/>
                          </a:solidFill>
                          <a:latin typeface="+mn-lt"/>
                          <a:ea typeface="+mn-ea"/>
                          <a:cs typeface="+mn-cs"/>
                        </a:rPr>
                        <a:t>37</a:t>
                      </a:r>
                      <a:endParaRPr lang="ru-RU" sz="2400" b="1" i="0" kern="1200" dirty="0">
                        <a:solidFill>
                          <a:srgbClr val="0070C0"/>
                        </a:solidFill>
                        <a:latin typeface="+mn-lt"/>
                        <a:ea typeface="+mn-ea"/>
                        <a:cs typeface="+mn-cs"/>
                      </a:endParaRPr>
                    </a:p>
                  </a:txBody>
                  <a:tcPr marL="121882" marR="121882" marT="60941" marB="60941">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2400" b="1" i="0" kern="1200" dirty="0">
                          <a:solidFill>
                            <a:srgbClr val="0070C0"/>
                          </a:solidFill>
                          <a:latin typeface="+mn-lt"/>
                          <a:ea typeface="+mn-ea"/>
                          <a:cs typeface="+mn-cs"/>
                        </a:rPr>
                        <a:t>9</a:t>
                      </a:r>
                      <a:endParaRPr lang="ru-RU" sz="2400" b="1" i="0" kern="1200" dirty="0">
                        <a:solidFill>
                          <a:srgbClr val="0070C0"/>
                        </a:solidFill>
                        <a:latin typeface="+mn-lt"/>
                        <a:ea typeface="+mn-ea"/>
                        <a:cs typeface="+mn-cs"/>
                      </a:endParaRPr>
                    </a:p>
                  </a:txBody>
                  <a:tcPr marL="121882" marR="121882" marT="60941" marB="60941">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2400" b="1" i="0" kern="1200" dirty="0">
                          <a:solidFill>
                            <a:srgbClr val="0070C0"/>
                          </a:solidFill>
                          <a:latin typeface="+mn-lt"/>
                          <a:ea typeface="+mn-ea"/>
                          <a:cs typeface="+mn-cs"/>
                        </a:rPr>
                        <a:t>64</a:t>
                      </a:r>
                      <a:endParaRPr lang="ru-RU" sz="2400" b="1" i="0" kern="1200" dirty="0">
                        <a:solidFill>
                          <a:srgbClr val="0070C0"/>
                        </a:solidFill>
                        <a:latin typeface="+mn-lt"/>
                        <a:ea typeface="+mn-ea"/>
                        <a:cs typeface="+mn-cs"/>
                      </a:endParaRPr>
                    </a:p>
                  </a:txBody>
                  <a:tcPr marL="121882" marR="121882" marT="60941" marB="60941">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24313798"/>
                  </a:ext>
                </a:extLst>
              </a:tr>
              <a:tr h="833075">
                <a:tc>
                  <a:txBody>
                    <a:bodyPr/>
                    <a:lstStyle/>
                    <a:p>
                      <a:pPr algn="ctr"/>
                      <a:r>
                        <a:rPr lang="en-US" sz="2400" kern="1200" dirty="0">
                          <a:solidFill>
                            <a:srgbClr val="00B050"/>
                          </a:solidFill>
                          <a:latin typeface="+mn-lt"/>
                          <a:ea typeface="+mn-ea"/>
                          <a:cs typeface="+mn-cs"/>
                        </a:rPr>
                        <a:t>+25%</a:t>
                      </a:r>
                      <a:endParaRPr lang="ru-RU" sz="2400" kern="1200" dirty="0">
                        <a:solidFill>
                          <a:srgbClr val="00B050"/>
                        </a:solidFill>
                        <a:latin typeface="+mn-lt"/>
                        <a:ea typeface="+mn-ea"/>
                        <a:cs typeface="+mn-cs"/>
                      </a:endParaRPr>
                    </a:p>
                  </a:txBody>
                  <a:tcPr marL="121882" marR="121882" marT="60941" marB="60941">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ru-RU" sz="2400" kern="1200" dirty="0">
                          <a:solidFill>
                            <a:srgbClr val="00B050"/>
                          </a:solidFill>
                          <a:latin typeface="+mn-lt"/>
                          <a:ea typeface="+mn-ea"/>
                          <a:cs typeface="+mn-cs"/>
                        </a:rPr>
                        <a:t>+</a:t>
                      </a:r>
                      <a:r>
                        <a:rPr lang="en-US" sz="2400" kern="1200" dirty="0">
                          <a:solidFill>
                            <a:srgbClr val="00B050"/>
                          </a:solidFill>
                          <a:latin typeface="+mn-lt"/>
                          <a:ea typeface="+mn-ea"/>
                          <a:cs typeface="+mn-cs"/>
                        </a:rPr>
                        <a:t>7</a:t>
                      </a:r>
                      <a:r>
                        <a:rPr lang="ru-RU" sz="2400" kern="1200" dirty="0">
                          <a:solidFill>
                            <a:srgbClr val="00B050"/>
                          </a:solidFill>
                          <a:latin typeface="+mn-lt"/>
                          <a:ea typeface="+mn-ea"/>
                          <a:cs typeface="+mn-cs"/>
                        </a:rPr>
                        <a:t>%</a:t>
                      </a:r>
                    </a:p>
                  </a:txBody>
                  <a:tcPr marL="121882" marR="121882" marT="60941" marB="60941">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2400" kern="1200" dirty="0">
                          <a:solidFill>
                            <a:srgbClr val="00B050"/>
                          </a:solidFill>
                          <a:latin typeface="+mn-lt"/>
                          <a:ea typeface="+mn-ea"/>
                          <a:cs typeface="+mn-cs"/>
                        </a:rPr>
                        <a:t>+54%</a:t>
                      </a:r>
                      <a:endParaRPr lang="ru-RU" sz="2400" kern="1200" dirty="0">
                        <a:solidFill>
                          <a:srgbClr val="00B050"/>
                        </a:solidFill>
                        <a:latin typeface="+mn-lt"/>
                        <a:ea typeface="+mn-ea"/>
                        <a:cs typeface="+mn-cs"/>
                      </a:endParaRPr>
                    </a:p>
                  </a:txBody>
                  <a:tcPr marL="121882" marR="121882" marT="60941" marB="60941">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2400" kern="1200" dirty="0">
                          <a:solidFill>
                            <a:srgbClr val="00B050"/>
                          </a:solidFill>
                          <a:latin typeface="+mn-lt"/>
                          <a:ea typeface="+mn-ea"/>
                          <a:cs typeface="+mn-cs"/>
                        </a:rPr>
                        <a:t>+46%</a:t>
                      </a:r>
                      <a:endParaRPr lang="ru-RU" sz="2400" kern="1200" dirty="0">
                        <a:solidFill>
                          <a:srgbClr val="00B050"/>
                        </a:solidFill>
                        <a:latin typeface="+mn-lt"/>
                        <a:ea typeface="+mn-ea"/>
                        <a:cs typeface="+mn-cs"/>
                      </a:endParaRPr>
                    </a:p>
                  </a:txBody>
                  <a:tcPr marL="121882" marR="121882" marT="60941" marB="60941">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ru-RU" sz="2400" kern="1200" dirty="0">
                          <a:solidFill>
                            <a:srgbClr val="00B050"/>
                          </a:solidFill>
                          <a:latin typeface="+mn-lt"/>
                          <a:ea typeface="+mn-ea"/>
                          <a:cs typeface="+mn-cs"/>
                        </a:rPr>
                        <a:t>+</a:t>
                      </a:r>
                      <a:r>
                        <a:rPr lang="en-US" sz="2400" kern="1200" dirty="0">
                          <a:solidFill>
                            <a:srgbClr val="00B050"/>
                          </a:solidFill>
                          <a:latin typeface="+mn-lt"/>
                          <a:ea typeface="+mn-ea"/>
                          <a:cs typeface="+mn-cs"/>
                        </a:rPr>
                        <a:t>51</a:t>
                      </a:r>
                      <a:r>
                        <a:rPr lang="ru-RU" sz="2400" kern="1200" dirty="0">
                          <a:solidFill>
                            <a:srgbClr val="00B050"/>
                          </a:solidFill>
                          <a:latin typeface="+mn-lt"/>
                          <a:ea typeface="+mn-ea"/>
                          <a:cs typeface="+mn-cs"/>
                        </a:rPr>
                        <a:t>%</a:t>
                      </a:r>
                    </a:p>
                  </a:txBody>
                  <a:tcPr marL="121882" marR="121882" marT="60941" marB="60941">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ru-RU" sz="2400" kern="1200" dirty="0">
                          <a:solidFill>
                            <a:srgbClr val="00B050"/>
                          </a:solidFill>
                          <a:latin typeface="+mn-lt"/>
                          <a:ea typeface="+mn-ea"/>
                          <a:cs typeface="+mn-cs"/>
                        </a:rPr>
                        <a:t>+</a:t>
                      </a:r>
                      <a:r>
                        <a:rPr lang="en-US" sz="2400" kern="1200" dirty="0">
                          <a:solidFill>
                            <a:srgbClr val="00B050"/>
                          </a:solidFill>
                          <a:latin typeface="+mn-lt"/>
                          <a:ea typeface="+mn-ea"/>
                          <a:cs typeface="+mn-cs"/>
                        </a:rPr>
                        <a:t>87</a:t>
                      </a:r>
                      <a:r>
                        <a:rPr lang="ru-RU" sz="2400" kern="1200" dirty="0">
                          <a:solidFill>
                            <a:srgbClr val="00B050"/>
                          </a:solidFill>
                          <a:latin typeface="+mn-lt"/>
                          <a:ea typeface="+mn-ea"/>
                          <a:cs typeface="+mn-cs"/>
                        </a:rPr>
                        <a:t>%</a:t>
                      </a:r>
                    </a:p>
                  </a:txBody>
                  <a:tcPr marL="121882" marR="121882" marT="60941" marB="60941">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ru-RU" sz="2400" kern="1200" dirty="0">
                          <a:solidFill>
                            <a:srgbClr val="00B050"/>
                          </a:solidFill>
                          <a:latin typeface="+mn-lt"/>
                          <a:ea typeface="+mn-ea"/>
                          <a:cs typeface="+mn-cs"/>
                        </a:rPr>
                        <a:t>+</a:t>
                      </a:r>
                      <a:r>
                        <a:rPr lang="en-US" sz="2400" kern="1200" dirty="0">
                          <a:solidFill>
                            <a:srgbClr val="00B050"/>
                          </a:solidFill>
                          <a:latin typeface="+mn-lt"/>
                          <a:ea typeface="+mn-ea"/>
                          <a:cs typeface="+mn-cs"/>
                        </a:rPr>
                        <a:t>27</a:t>
                      </a:r>
                      <a:r>
                        <a:rPr lang="ru-RU" sz="2400" kern="1200" dirty="0">
                          <a:solidFill>
                            <a:srgbClr val="00B050"/>
                          </a:solidFill>
                          <a:latin typeface="+mn-lt"/>
                          <a:ea typeface="+mn-ea"/>
                          <a:cs typeface="+mn-cs"/>
                        </a:rPr>
                        <a:t>%</a:t>
                      </a:r>
                    </a:p>
                  </a:txBody>
                  <a:tcPr marL="121882" marR="121882" marT="60941" marB="60941">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ru-RU" sz="2400" kern="1200" dirty="0">
                          <a:solidFill>
                            <a:srgbClr val="00B050"/>
                          </a:solidFill>
                          <a:latin typeface="+mn-lt"/>
                          <a:ea typeface="+mn-ea"/>
                          <a:cs typeface="+mn-cs"/>
                        </a:rPr>
                        <a:t>+</a:t>
                      </a:r>
                      <a:r>
                        <a:rPr lang="en-US" sz="2400" kern="1200" dirty="0">
                          <a:solidFill>
                            <a:srgbClr val="00B050"/>
                          </a:solidFill>
                          <a:latin typeface="+mn-lt"/>
                          <a:ea typeface="+mn-ea"/>
                          <a:cs typeface="+mn-cs"/>
                        </a:rPr>
                        <a:t>34</a:t>
                      </a:r>
                      <a:r>
                        <a:rPr lang="ru-RU" sz="2400" kern="1200" dirty="0">
                          <a:solidFill>
                            <a:srgbClr val="00B050"/>
                          </a:solidFill>
                          <a:latin typeface="+mn-lt"/>
                          <a:ea typeface="+mn-ea"/>
                          <a:cs typeface="+mn-cs"/>
                        </a:rPr>
                        <a:t>%</a:t>
                      </a:r>
                    </a:p>
                  </a:txBody>
                  <a:tcPr marL="121882" marR="121882" marT="60941" marB="60941">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45623723"/>
                  </a:ext>
                </a:extLst>
              </a:tr>
              <a:tr h="774614">
                <a:tc>
                  <a:txBody>
                    <a:bodyPr/>
                    <a:lstStyle/>
                    <a:p>
                      <a:pPr marL="0" indent="0" algn="ctr" defTabSz="914400" rtl="0" eaLnBrk="1" latinLnBrk="0" hangingPunct="1"/>
                      <a:r>
                        <a:rPr lang="en-US" sz="1100" b="1" i="0" kern="1200" dirty="0">
                          <a:solidFill>
                            <a:srgbClr val="7030A0"/>
                          </a:solidFill>
                          <a:latin typeface="+mn-lt"/>
                          <a:ea typeface="+mn-ea"/>
                          <a:cs typeface="+mn-cs"/>
                        </a:rPr>
                        <a:t>BRAUN</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1" i="0" kern="1200" dirty="0">
                          <a:solidFill>
                            <a:srgbClr val="7030A0"/>
                          </a:solidFill>
                          <a:latin typeface="+mn-lt"/>
                          <a:ea typeface="+mn-ea"/>
                          <a:cs typeface="+mn-cs"/>
                        </a:rPr>
                        <a:t>PHILIPS</a:t>
                      </a:r>
                    </a:p>
                    <a:p>
                      <a:pPr marL="0" indent="0" algn="ctr" defTabSz="914400" rtl="0" eaLnBrk="1" latinLnBrk="0" hangingPunct="1"/>
                      <a:r>
                        <a:rPr lang="en-US" sz="1100" b="1" i="0" kern="1200" dirty="0">
                          <a:solidFill>
                            <a:srgbClr val="7030A0"/>
                          </a:solidFill>
                          <a:latin typeface="+mn-lt"/>
                          <a:ea typeface="+mn-ea"/>
                          <a:cs typeface="+mn-cs"/>
                        </a:rPr>
                        <a:t>REMINGTON</a:t>
                      </a:r>
                    </a:p>
                  </a:txBody>
                  <a:tcPr marL="121882" marR="121882" marT="60941" marB="60941">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defTabSz="914400" rtl="0" eaLnBrk="1" latinLnBrk="0" hangingPunct="1"/>
                      <a:r>
                        <a:rPr lang="en-US" sz="1100" b="1" i="0" kern="1200" dirty="0">
                          <a:solidFill>
                            <a:srgbClr val="7030A0"/>
                          </a:solidFill>
                          <a:latin typeface="+mn-lt"/>
                          <a:ea typeface="+mn-ea"/>
                          <a:cs typeface="+mn-cs"/>
                        </a:rPr>
                        <a:t>PHILIPS</a:t>
                      </a:r>
                    </a:p>
                    <a:p>
                      <a:pPr marL="0" indent="0" algn="ctr" defTabSz="914400" rtl="0" eaLnBrk="1" latinLnBrk="0" hangingPunct="1"/>
                      <a:r>
                        <a:rPr lang="en-US" sz="1100" b="1" i="0" kern="1200" dirty="0">
                          <a:solidFill>
                            <a:srgbClr val="7030A0"/>
                          </a:solidFill>
                          <a:latin typeface="+mn-lt"/>
                          <a:ea typeface="+mn-ea"/>
                          <a:cs typeface="+mn-cs"/>
                        </a:rPr>
                        <a:t>ROWENTA</a:t>
                      </a:r>
                    </a:p>
                  </a:txBody>
                  <a:tcPr marL="121882" marR="121882" marT="60941" marB="60941">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b="1" i="0" kern="1200" dirty="0">
                          <a:solidFill>
                            <a:srgbClr val="7030A0"/>
                          </a:solidFill>
                          <a:latin typeface="+mn-lt"/>
                          <a:ea typeface="+mn-ea"/>
                          <a:cs typeface="+mn-cs"/>
                        </a:rPr>
                        <a:t>REVYLINE</a:t>
                      </a:r>
                    </a:p>
                    <a:p>
                      <a:pPr algn="ctr"/>
                      <a:r>
                        <a:rPr lang="en-US" sz="1100" b="1" i="0" kern="1200" dirty="0">
                          <a:solidFill>
                            <a:srgbClr val="7030A0"/>
                          </a:solidFill>
                          <a:latin typeface="+mn-lt"/>
                          <a:ea typeface="+mn-ea"/>
                          <a:cs typeface="+mn-cs"/>
                        </a:rPr>
                        <a:t>B.WELL</a:t>
                      </a:r>
                    </a:p>
                    <a:p>
                      <a:pPr algn="ctr"/>
                      <a:r>
                        <a:rPr lang="en-US" sz="1100" b="1" i="0" kern="1200" dirty="0">
                          <a:solidFill>
                            <a:srgbClr val="7030A0"/>
                          </a:solidFill>
                          <a:latin typeface="+mn-lt"/>
                          <a:ea typeface="+mn-ea"/>
                          <a:cs typeface="+mn-cs"/>
                        </a:rPr>
                        <a:t>WATERPIK</a:t>
                      </a:r>
                    </a:p>
                    <a:p>
                      <a:pPr algn="ctr"/>
                      <a:endParaRPr lang="en-US" sz="1100" b="1" i="0" kern="1200" dirty="0">
                        <a:solidFill>
                          <a:srgbClr val="7030A0"/>
                        </a:solidFill>
                        <a:latin typeface="+mn-lt"/>
                        <a:ea typeface="+mn-ea"/>
                        <a:cs typeface="+mn-cs"/>
                      </a:endParaRPr>
                    </a:p>
                  </a:txBody>
                  <a:tcPr marL="121882" marR="121882" marT="60941" marB="60941">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b="1" i="0" kern="1200" dirty="0">
                          <a:solidFill>
                            <a:srgbClr val="7030A0"/>
                          </a:solidFill>
                          <a:latin typeface="+mn-lt"/>
                          <a:ea typeface="+mn-ea"/>
                          <a:cs typeface="+mn-cs"/>
                        </a:rPr>
                        <a:t>ROWENTA</a:t>
                      </a:r>
                    </a:p>
                    <a:p>
                      <a:pPr algn="ctr"/>
                      <a:r>
                        <a:rPr lang="en-US" sz="1100" b="1" i="0" kern="1200" dirty="0">
                          <a:solidFill>
                            <a:srgbClr val="7030A0"/>
                          </a:solidFill>
                          <a:latin typeface="+mn-lt"/>
                          <a:ea typeface="+mn-ea"/>
                          <a:cs typeface="+mn-cs"/>
                        </a:rPr>
                        <a:t>DYSON</a:t>
                      </a:r>
                    </a:p>
                    <a:p>
                      <a:pPr algn="ctr"/>
                      <a:r>
                        <a:rPr lang="en-US" sz="1100" b="1" i="0" kern="1200" dirty="0">
                          <a:solidFill>
                            <a:srgbClr val="7030A0"/>
                          </a:solidFill>
                          <a:latin typeface="+mn-lt"/>
                          <a:ea typeface="+mn-ea"/>
                          <a:cs typeface="+mn-cs"/>
                        </a:rPr>
                        <a:t>PHILIPS</a:t>
                      </a:r>
                    </a:p>
                  </a:txBody>
                  <a:tcPr marL="121882" marR="121882" marT="60941" marB="60941">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b="1" i="0" kern="1200" dirty="0">
                          <a:solidFill>
                            <a:srgbClr val="7030A0"/>
                          </a:solidFill>
                          <a:latin typeface="+mn-lt"/>
                          <a:ea typeface="+mn-ea"/>
                          <a:cs typeface="+mn-cs"/>
                        </a:rPr>
                        <a:t>DYSON</a:t>
                      </a:r>
                    </a:p>
                    <a:p>
                      <a:pPr algn="ctr"/>
                      <a:r>
                        <a:rPr lang="en-US" sz="1100" b="1" i="0" kern="1200" dirty="0">
                          <a:solidFill>
                            <a:srgbClr val="7030A0"/>
                          </a:solidFill>
                          <a:latin typeface="+mn-lt"/>
                          <a:ea typeface="+mn-ea"/>
                          <a:cs typeface="+mn-cs"/>
                        </a:rPr>
                        <a:t>TEFAL</a:t>
                      </a:r>
                    </a:p>
                    <a:p>
                      <a:pPr algn="ctr"/>
                      <a:r>
                        <a:rPr lang="en-US" sz="1100" b="1" i="0" kern="1200" dirty="0">
                          <a:solidFill>
                            <a:srgbClr val="7030A0"/>
                          </a:solidFill>
                          <a:latin typeface="+mn-lt"/>
                          <a:ea typeface="+mn-ea"/>
                          <a:cs typeface="+mn-cs"/>
                        </a:rPr>
                        <a:t>BOSCH</a:t>
                      </a:r>
                    </a:p>
                  </a:txBody>
                  <a:tcPr marL="121882" marR="121882" marT="60941" marB="60941">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b="1" i="0" kern="1200" dirty="0">
                          <a:solidFill>
                            <a:srgbClr val="7030A0"/>
                          </a:solidFill>
                          <a:latin typeface="+mn-lt"/>
                          <a:ea typeface="+mn-ea"/>
                          <a:cs typeface="+mn-cs"/>
                        </a:rPr>
                        <a:t>MI</a:t>
                      </a:r>
                    </a:p>
                    <a:p>
                      <a:pPr algn="ctr"/>
                      <a:r>
                        <a:rPr lang="en-US" sz="1100" b="1" i="0" kern="1200" dirty="0">
                          <a:solidFill>
                            <a:srgbClr val="7030A0"/>
                          </a:solidFill>
                          <a:latin typeface="+mn-lt"/>
                          <a:ea typeface="+mn-ea"/>
                          <a:cs typeface="+mn-cs"/>
                        </a:rPr>
                        <a:t>ROBOROCK</a:t>
                      </a:r>
                    </a:p>
                    <a:p>
                      <a:pPr algn="ctr"/>
                      <a:r>
                        <a:rPr lang="en-US" sz="1100" b="1" i="0" kern="1200" dirty="0">
                          <a:solidFill>
                            <a:srgbClr val="7030A0"/>
                          </a:solidFill>
                          <a:latin typeface="+mn-lt"/>
                          <a:ea typeface="+mn-ea"/>
                          <a:cs typeface="+mn-cs"/>
                        </a:rPr>
                        <a:t>IROBOT</a:t>
                      </a:r>
                    </a:p>
                  </a:txBody>
                  <a:tcPr marL="121882" marR="121882" marT="60941" marB="60941">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b="1" i="0" kern="1200" dirty="0">
                          <a:solidFill>
                            <a:srgbClr val="7030A0"/>
                          </a:solidFill>
                          <a:latin typeface="+mn-lt"/>
                          <a:ea typeface="+mn-ea"/>
                          <a:cs typeface="+mn-cs"/>
                        </a:rPr>
                        <a:t>PHILIPS</a:t>
                      </a:r>
                    </a:p>
                    <a:p>
                      <a:pPr algn="ctr"/>
                      <a:r>
                        <a:rPr lang="en-US" sz="1100" b="1" i="0" kern="1200" dirty="0">
                          <a:solidFill>
                            <a:srgbClr val="7030A0"/>
                          </a:solidFill>
                          <a:latin typeface="+mn-lt"/>
                          <a:ea typeface="+mn-ea"/>
                          <a:cs typeface="+mn-cs"/>
                        </a:rPr>
                        <a:t>TEFAL</a:t>
                      </a:r>
                    </a:p>
                    <a:p>
                      <a:pPr algn="ctr"/>
                      <a:r>
                        <a:rPr lang="en-US" sz="1100" b="1" i="0" kern="1200" dirty="0">
                          <a:solidFill>
                            <a:srgbClr val="7030A0"/>
                          </a:solidFill>
                          <a:latin typeface="+mn-lt"/>
                          <a:ea typeface="+mn-ea"/>
                          <a:cs typeface="+mn-cs"/>
                        </a:rPr>
                        <a:t>KITFORT</a:t>
                      </a:r>
                    </a:p>
                  </a:txBody>
                  <a:tcPr marL="121882" marR="121882" marT="60941" marB="60941">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b="1" i="0" kern="1200" dirty="0">
                          <a:solidFill>
                            <a:srgbClr val="7030A0"/>
                          </a:solidFill>
                          <a:latin typeface="+mn-lt"/>
                          <a:ea typeface="+mn-ea"/>
                          <a:cs typeface="+mn-cs"/>
                        </a:rPr>
                        <a:t>DELONGHI</a:t>
                      </a:r>
                    </a:p>
                    <a:p>
                      <a:pPr algn="ctr"/>
                      <a:r>
                        <a:rPr lang="en-US" sz="1100" b="1" i="0" kern="1200" dirty="0">
                          <a:solidFill>
                            <a:srgbClr val="7030A0"/>
                          </a:solidFill>
                          <a:latin typeface="+mn-lt"/>
                          <a:ea typeface="+mn-ea"/>
                          <a:cs typeface="+mn-cs"/>
                        </a:rPr>
                        <a:t>PHILIPS</a:t>
                      </a:r>
                    </a:p>
                    <a:p>
                      <a:pPr algn="ctr"/>
                      <a:r>
                        <a:rPr lang="en-US" sz="1100" b="1" i="0" kern="1200" dirty="0">
                          <a:solidFill>
                            <a:srgbClr val="7030A0"/>
                          </a:solidFill>
                          <a:latin typeface="+mn-lt"/>
                          <a:ea typeface="+mn-ea"/>
                          <a:cs typeface="+mn-cs"/>
                        </a:rPr>
                        <a:t>KRUPS</a:t>
                      </a:r>
                    </a:p>
                  </a:txBody>
                  <a:tcPr marL="121882" marR="121882" marT="60941" marB="60941">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55186324"/>
                  </a:ext>
                </a:extLst>
              </a:tr>
            </a:tbl>
          </a:graphicData>
        </a:graphic>
      </p:graphicFrame>
      <p:sp>
        <p:nvSpPr>
          <p:cNvPr id="33" name="TextBox 32"/>
          <p:cNvSpPr txBox="1"/>
          <p:nvPr/>
        </p:nvSpPr>
        <p:spPr bwMode="gray">
          <a:xfrm>
            <a:off x="3200981" y="2371994"/>
            <a:ext cx="1354479" cy="410241"/>
          </a:xfrm>
          <a:prstGeom prst="rect">
            <a:avLst/>
          </a:prstGeom>
          <a:noFill/>
        </p:spPr>
        <p:txBody>
          <a:bodyPr wrap="square" lIns="0" tIns="0" rIns="0" bIns="0" rtlCol="0">
            <a:spAutoFit/>
          </a:bodyPr>
          <a:lstStyle/>
          <a:p>
            <a:pPr marL="0" marR="0" lvl="0" indent="0" algn="ctr" defTabSz="1218804" rtl="0" eaLnBrk="1" fontAlgn="auto" latinLnBrk="0" hangingPunct="1">
              <a:lnSpc>
                <a:spcPct val="100000"/>
              </a:lnSpc>
              <a:spcBef>
                <a:spcPts val="400"/>
              </a:spcBef>
              <a:spcAft>
                <a:spcPts val="0"/>
              </a:spcAft>
              <a:buClrTx/>
              <a:buSzTx/>
              <a:buFontTx/>
              <a:buNone/>
              <a:tabLst/>
              <a:defRPr/>
            </a:pPr>
            <a:r>
              <a:rPr kumimoji="0" lang="en-US" sz="1333" b="0" i="0" u="none" strike="noStrike" kern="1200" cap="none" spc="0" normalizeH="0" baseline="0" noProof="0" dirty="0">
                <a:ln>
                  <a:noFill/>
                </a:ln>
                <a:solidFill>
                  <a:srgbClr val="000000"/>
                </a:solidFill>
                <a:effectLst/>
                <a:uLnTx/>
                <a:uFillTx/>
                <a:latin typeface="Arial" pitchFamily="34" charset="0"/>
                <a:ea typeface="+mn-ea"/>
                <a:cs typeface="Arial" pitchFamily="34" charset="0"/>
              </a:rPr>
              <a:t> Dental care Waterjet </a:t>
            </a:r>
            <a:endParaRPr kumimoji="0" lang="ru-RU" sz="1333" b="0" i="0" u="none" strike="noStrike" kern="1200" cap="none" spc="0" normalizeH="0" baseline="0" noProof="0" dirty="0" err="1">
              <a:ln>
                <a:noFill/>
              </a:ln>
              <a:solidFill>
                <a:srgbClr val="000000"/>
              </a:solidFill>
              <a:effectLst/>
              <a:uLnTx/>
              <a:uFillTx/>
              <a:latin typeface="Arial" pitchFamily="34" charset="0"/>
              <a:ea typeface="+mn-ea"/>
              <a:cs typeface="Arial" pitchFamily="34" charset="0"/>
            </a:endParaRPr>
          </a:p>
        </p:txBody>
      </p:sp>
      <p:sp>
        <p:nvSpPr>
          <p:cNvPr id="34" name="TextBox 33"/>
          <p:cNvSpPr txBox="1"/>
          <p:nvPr/>
        </p:nvSpPr>
        <p:spPr bwMode="gray">
          <a:xfrm>
            <a:off x="10692149" y="2371994"/>
            <a:ext cx="1181865" cy="410241"/>
          </a:xfrm>
          <a:prstGeom prst="rect">
            <a:avLst/>
          </a:prstGeom>
          <a:noFill/>
        </p:spPr>
        <p:txBody>
          <a:bodyPr wrap="square" lIns="0" tIns="0" rIns="0" bIns="0" rtlCol="0">
            <a:spAutoFit/>
          </a:bodyPr>
          <a:lstStyle/>
          <a:p>
            <a:pPr marL="0" marR="0" lvl="0" indent="0" algn="ctr" defTabSz="1218804" rtl="0" eaLnBrk="1" fontAlgn="auto" latinLnBrk="0" hangingPunct="1">
              <a:lnSpc>
                <a:spcPct val="100000"/>
              </a:lnSpc>
              <a:spcBef>
                <a:spcPts val="400"/>
              </a:spcBef>
              <a:spcAft>
                <a:spcPts val="0"/>
              </a:spcAft>
              <a:buClrTx/>
              <a:buSzTx/>
              <a:buFontTx/>
              <a:buNone/>
              <a:tabLst/>
              <a:defRPr/>
            </a:pPr>
            <a:r>
              <a:rPr kumimoji="0" lang="en-US" sz="1333" b="0" i="0" u="none" strike="noStrike" kern="1200" cap="none" spc="0" normalizeH="0" baseline="0" noProof="0" dirty="0">
                <a:ln>
                  <a:noFill/>
                </a:ln>
                <a:solidFill>
                  <a:srgbClr val="000000"/>
                </a:solidFill>
                <a:effectLst/>
                <a:uLnTx/>
                <a:uFillTx/>
                <a:latin typeface="Arial" pitchFamily="34" charset="0"/>
                <a:ea typeface="+mn-ea"/>
                <a:cs typeface="Arial" pitchFamily="34" charset="0"/>
              </a:rPr>
              <a:t>Hot Beverage Makers</a:t>
            </a:r>
            <a:endParaRPr kumimoji="0" lang="ru-RU" sz="1333" b="0" i="0" u="none" strike="noStrike" kern="1200" cap="none" spc="0" normalizeH="0" baseline="0" noProof="0" dirty="0">
              <a:ln>
                <a:noFill/>
              </a:ln>
              <a:solidFill>
                <a:srgbClr val="000000"/>
              </a:solidFill>
              <a:effectLst/>
              <a:uLnTx/>
              <a:uFillTx/>
              <a:latin typeface="Arial" pitchFamily="34" charset="0"/>
              <a:ea typeface="+mn-ea"/>
              <a:cs typeface="Arial" pitchFamily="34" charset="0"/>
            </a:endParaRPr>
          </a:p>
        </p:txBody>
      </p:sp>
      <p:pic>
        <p:nvPicPr>
          <p:cNvPr id="2" name="Рисунок 1"/>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9602011" y="2868797"/>
            <a:ext cx="992755" cy="1252688"/>
          </a:xfrm>
          <a:prstGeom prst="rect">
            <a:avLst/>
          </a:prstGeom>
        </p:spPr>
      </p:pic>
      <p:pic>
        <p:nvPicPr>
          <p:cNvPr id="13" name="Рисунок 12"/>
          <p:cNvPicPr>
            <a:picLocks noChangeAspect="1"/>
          </p:cNvPicPr>
          <p:nvPr/>
        </p:nvPicPr>
        <p:blipFill rotWithShape="1">
          <a:blip r:embed="rId8" cstate="print">
            <a:extLst>
              <a:ext uri="{28A0092B-C50C-407E-A947-70E740481C1C}">
                <a14:useLocalDpi xmlns:a14="http://schemas.microsoft.com/office/drawing/2010/main"/>
              </a:ext>
            </a:extLst>
          </a:blip>
          <a:srcRect/>
          <a:stretch/>
        </p:blipFill>
        <p:spPr>
          <a:xfrm>
            <a:off x="3652160" y="2838691"/>
            <a:ext cx="487727" cy="1263657"/>
          </a:xfrm>
          <a:prstGeom prst="rect">
            <a:avLst/>
          </a:prstGeom>
        </p:spPr>
      </p:pic>
      <p:cxnSp>
        <p:nvCxnSpPr>
          <p:cNvPr id="35" name="Прямая соединительная линия 34"/>
          <p:cNvCxnSpPr/>
          <p:nvPr/>
        </p:nvCxnSpPr>
        <p:spPr>
          <a:xfrm>
            <a:off x="10516250" y="4026975"/>
            <a:ext cx="0" cy="2558325"/>
          </a:xfrm>
          <a:prstGeom prst="line">
            <a:avLst/>
          </a:prstGeom>
          <a:ln w="9525" cap="flat" cmpd="sng" algn="ctr">
            <a:solidFill>
              <a:schemeClr val="bg2">
                <a:lumMod val="40000"/>
                <a:lumOff val="60000"/>
              </a:schemeClr>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17" name="AutoShape 2" descr="ÐÐ°ÑÑÐ¸Ð½ÐºÐ¸ Ð¿Ð¾ Ð·Ð°Ð¿ÑÐ¾ÑÑ Ð½Ð°Ð¿Ð¾Ð»ÑÐ½ÑÐµ Ð²ÐµÑÑ ÑÐ¼Ð½ÑÐµ"/>
          <p:cNvSpPr>
            <a:spLocks noChangeAspect="1" noChangeArrowheads="1"/>
          </p:cNvSpPr>
          <p:nvPr/>
        </p:nvSpPr>
        <p:spPr bwMode="auto">
          <a:xfrm>
            <a:off x="209250" y="-192558"/>
            <a:ext cx="406275" cy="406276"/>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121882" tIns="60941" rIns="121882" bIns="60941" numCol="1" anchor="t" anchorCtr="0" compatLnSpc="1">
            <a:prstTxWarp prst="textNoShape">
              <a:avLst/>
            </a:prstTxWarp>
          </a:bodyPr>
          <a:lstStyle/>
          <a:p>
            <a:pPr marL="0" marR="0" lvl="0" indent="0" algn="l" defTabSz="1218804" rtl="0" eaLnBrk="1" fontAlgn="auto" latinLnBrk="0" hangingPunct="1">
              <a:lnSpc>
                <a:spcPct val="100000"/>
              </a:lnSpc>
              <a:spcBef>
                <a:spcPts val="0"/>
              </a:spcBef>
              <a:spcAft>
                <a:spcPts val="0"/>
              </a:spcAft>
              <a:buClrTx/>
              <a:buSzTx/>
              <a:buFontTx/>
              <a:buNone/>
              <a:tabLst/>
              <a:defRPr/>
            </a:pPr>
            <a:endParaRPr kumimoji="0" lang="ru-RU" sz="2399" b="0" i="0" u="none" strike="noStrike" kern="1200" cap="none" spc="0" normalizeH="0" baseline="0" noProof="0">
              <a:ln>
                <a:noFill/>
              </a:ln>
              <a:solidFill>
                <a:srgbClr val="000000"/>
              </a:solidFill>
              <a:effectLst/>
              <a:uLnTx/>
              <a:uFillTx/>
              <a:latin typeface="Arial"/>
              <a:ea typeface="+mn-ea"/>
              <a:cs typeface="+mn-cs"/>
            </a:endParaRPr>
          </a:p>
        </p:txBody>
      </p:sp>
      <p:pic>
        <p:nvPicPr>
          <p:cNvPr id="5122" name="Picture 2" descr="Coffee maker Polaris PCM 4011DV - prices, reviews, specifications ...">
            <a:extLst>
              <a:ext uri="{FF2B5EF4-FFF2-40B4-BE49-F238E27FC236}">
                <a16:creationId xmlns:a16="http://schemas.microsoft.com/office/drawing/2014/main" id="{C8A10563-3D3A-4218-A05B-10EC18C7F991}"/>
              </a:ext>
            </a:extLst>
          </p:cNvPr>
          <p:cNvPicPr>
            <a:picLocks noChangeAspect="1" noChangeArrowheads="1"/>
          </p:cNvPicPr>
          <p:nvPr/>
        </p:nvPicPr>
        <p:blipFill>
          <a:blip r:embed="rId9">
            <a:extLst>
              <a:ext uri="{28A0092B-C50C-407E-A947-70E740481C1C}">
                <a14:useLocalDpi xmlns:a14="http://schemas.microsoft.com/office/drawing/2010/main"/>
              </a:ext>
            </a:extLst>
          </a:blip>
          <a:srcRect/>
          <a:stretch>
            <a:fillRect/>
          </a:stretch>
        </p:blipFill>
        <p:spPr bwMode="auto">
          <a:xfrm>
            <a:off x="10609862" y="2845705"/>
            <a:ext cx="1213777" cy="1213777"/>
          </a:xfrm>
          <a:prstGeom prst="rect">
            <a:avLst/>
          </a:prstGeom>
          <a:noFill/>
          <a:extLst>
            <a:ext uri="{909E8E84-426E-40DD-AFC4-6F175D3DCCD1}">
              <a14:hiddenFill xmlns:a14="http://schemas.microsoft.com/office/drawing/2010/main">
                <a:solidFill>
                  <a:srgbClr val="FFFFFF"/>
                </a:solidFill>
              </a14:hiddenFill>
            </a:ext>
          </a:extLst>
        </p:spPr>
      </p:pic>
      <p:pic>
        <p:nvPicPr>
          <p:cNvPr id="10" name="Рисунок 9">
            <a:extLst>
              <a:ext uri="{FF2B5EF4-FFF2-40B4-BE49-F238E27FC236}">
                <a16:creationId xmlns:a16="http://schemas.microsoft.com/office/drawing/2014/main" id="{0B57676D-1398-4382-9CD4-0C4426A108AB}"/>
              </a:ext>
            </a:extLst>
          </p:cNvPr>
          <p:cNvPicPr>
            <a:picLocks noChangeAspect="1"/>
          </p:cNvPicPr>
          <p:nvPr/>
        </p:nvPicPr>
        <p:blipFill>
          <a:blip r:embed="rId10"/>
          <a:stretch>
            <a:fillRect/>
          </a:stretch>
        </p:blipFill>
        <p:spPr>
          <a:xfrm>
            <a:off x="4728242" y="3014845"/>
            <a:ext cx="1002478" cy="989171"/>
          </a:xfrm>
          <a:prstGeom prst="rect">
            <a:avLst/>
          </a:prstGeom>
        </p:spPr>
      </p:pic>
      <p:sp>
        <p:nvSpPr>
          <p:cNvPr id="36" name="Inhaltsplatzhalter 17">
            <a:extLst>
              <a:ext uri="{FF2B5EF4-FFF2-40B4-BE49-F238E27FC236}">
                <a16:creationId xmlns:a16="http://schemas.microsoft.com/office/drawing/2014/main" id="{7FF9B55D-8588-429B-A473-6B63ED281961}"/>
              </a:ext>
            </a:extLst>
          </p:cNvPr>
          <p:cNvSpPr txBox="1">
            <a:spLocks/>
          </p:cNvSpPr>
          <p:nvPr/>
        </p:nvSpPr>
        <p:spPr bwMode="gray">
          <a:xfrm>
            <a:off x="461721" y="905205"/>
            <a:ext cx="8926396" cy="480485"/>
          </a:xfrm>
          <a:prstGeom prst="rect">
            <a:avLst/>
          </a:prstGeom>
        </p:spPr>
        <p:txBody>
          <a:bodyPr>
            <a:normAutofit fontScale="92500"/>
          </a:bodyPr>
          <a:lstStyle>
            <a:lvl1pPr marL="0" indent="0" algn="l" defTabSz="914400" rtl="0" eaLnBrk="1" latinLnBrk="0" hangingPunct="1">
              <a:spcBef>
                <a:spcPts val="600"/>
              </a:spcBef>
              <a:spcAft>
                <a:spcPts val="0"/>
              </a:spcAft>
              <a:buFont typeface="Arial" pitchFamily="34" charset="0"/>
              <a:buNone/>
              <a:defRPr sz="1800" kern="1200">
                <a:solidFill>
                  <a:schemeClr val="tx2"/>
                </a:solidFill>
                <a:latin typeface="Arial" pitchFamily="34" charset="0"/>
                <a:ea typeface="+mn-ea"/>
                <a:cs typeface="Arial" pitchFamily="34" charset="0"/>
              </a:defRPr>
            </a:lvl1pPr>
            <a:lvl2pPr marL="0" indent="0" algn="l" defTabSz="914400" rtl="0" eaLnBrk="1" latinLnBrk="0" hangingPunct="1">
              <a:spcBef>
                <a:spcPts val="600"/>
              </a:spcBef>
              <a:spcAft>
                <a:spcPts val="0"/>
              </a:spcAft>
              <a:buFont typeface="Arial" pitchFamily="34" charset="0"/>
              <a:buNone/>
              <a:defRPr sz="1600" kern="1200">
                <a:solidFill>
                  <a:schemeClr val="tx1"/>
                </a:solidFill>
                <a:latin typeface="Arial" pitchFamily="34" charset="0"/>
                <a:ea typeface="+mn-ea"/>
                <a:cs typeface="Arial" pitchFamily="34" charset="0"/>
              </a:defRPr>
            </a:lvl2pPr>
            <a:lvl3pPr marL="180975" indent="-180975" algn="l" defTabSz="914400" rtl="0" eaLnBrk="1" latinLnBrk="0" hangingPunct="1">
              <a:spcBef>
                <a:spcPts val="300"/>
              </a:spcBef>
              <a:spcAft>
                <a:spcPts val="0"/>
              </a:spcAft>
              <a:buFont typeface="Arial" pitchFamily="34" charset="0"/>
              <a:buChar char="•"/>
              <a:defRPr sz="1600" kern="1200">
                <a:solidFill>
                  <a:schemeClr val="tx1"/>
                </a:solidFill>
                <a:latin typeface="Arial" pitchFamily="34" charset="0"/>
                <a:ea typeface="+mn-ea"/>
                <a:cs typeface="Arial" pitchFamily="34" charset="0"/>
              </a:defRPr>
            </a:lvl3pPr>
            <a:lvl4pPr marL="360000" indent="-180975" algn="l" defTabSz="914400" rtl="0" eaLnBrk="1" latinLnBrk="0" hangingPunct="1">
              <a:spcBef>
                <a:spcPts val="300"/>
              </a:spcBef>
              <a:spcAft>
                <a:spcPts val="0"/>
              </a:spcAft>
              <a:buFont typeface="Arial" pitchFamily="34" charset="0"/>
              <a:buChar char="•"/>
              <a:defRPr sz="1600" kern="1200">
                <a:solidFill>
                  <a:schemeClr val="tx1"/>
                </a:solidFill>
                <a:latin typeface="Arial" pitchFamily="34" charset="0"/>
                <a:ea typeface="+mn-ea"/>
                <a:cs typeface="Arial" pitchFamily="34" charset="0"/>
              </a:defRPr>
            </a:lvl4pPr>
            <a:lvl5pPr marL="540000" indent="-180975" algn="l" defTabSz="914400" rtl="0" eaLnBrk="1" latinLnBrk="0" hangingPunct="1">
              <a:spcBef>
                <a:spcPts val="300"/>
              </a:spcBef>
              <a:spcAft>
                <a:spcPts val="0"/>
              </a:spcAft>
              <a:buFont typeface="Arial" pitchFamily="34" charset="0"/>
              <a:buChar char="•"/>
              <a:defRPr sz="1600" b="0" kern="1200" baseline="0">
                <a:solidFill>
                  <a:schemeClr val="tx1"/>
                </a:solidFill>
                <a:latin typeface="Arial" pitchFamily="34" charset="0"/>
                <a:ea typeface="+mn-ea"/>
                <a:cs typeface="Arial" pitchFamily="34" charset="0"/>
              </a:defRPr>
            </a:lvl5pPr>
            <a:lvl6pPr marL="540000" indent="-180975" algn="l" defTabSz="914400" rtl="0" eaLnBrk="1" latinLnBrk="0" hangingPunct="1">
              <a:spcBef>
                <a:spcPts val="300"/>
              </a:spcBef>
              <a:spcAft>
                <a:spcPts val="0"/>
              </a:spcAft>
              <a:buFont typeface="Arial" pitchFamily="34" charset="0"/>
              <a:buChar char="•"/>
              <a:defRPr sz="1600" kern="1200">
                <a:solidFill>
                  <a:schemeClr val="tx1"/>
                </a:solidFill>
                <a:latin typeface="Arial" pitchFamily="34" charset="0"/>
                <a:ea typeface="+mn-ea"/>
                <a:cs typeface="Arial" pitchFamily="34" charset="0"/>
              </a:defRPr>
            </a:lvl6pPr>
            <a:lvl7pPr marL="540000" indent="-180975" algn="l" defTabSz="914400" rtl="0" eaLnBrk="1" latinLnBrk="0" hangingPunct="1">
              <a:spcBef>
                <a:spcPts val="300"/>
              </a:spcBef>
              <a:spcAft>
                <a:spcPts val="0"/>
              </a:spcAft>
              <a:buFont typeface="Arial" pitchFamily="34" charset="0"/>
              <a:buChar char="•"/>
              <a:defRPr sz="1600" kern="1200">
                <a:solidFill>
                  <a:schemeClr val="tx1"/>
                </a:solidFill>
                <a:latin typeface="Arial" pitchFamily="34" charset="0"/>
                <a:ea typeface="+mn-ea"/>
                <a:cs typeface="Arial" pitchFamily="34" charset="0"/>
              </a:defRPr>
            </a:lvl7pPr>
            <a:lvl8pPr marL="542925" indent="-180975" algn="l" defTabSz="914400" rtl="0" eaLnBrk="1" latinLnBrk="0" hangingPunct="1">
              <a:spcBef>
                <a:spcPts val="300"/>
              </a:spcBef>
              <a:spcAft>
                <a:spcPts val="0"/>
              </a:spcAft>
              <a:buFont typeface="Arial" pitchFamily="34" charset="0"/>
              <a:buChar char="•"/>
              <a:defRPr sz="1600" kern="1200">
                <a:solidFill>
                  <a:schemeClr val="tx1"/>
                </a:solidFill>
                <a:latin typeface="Arial" pitchFamily="34" charset="0"/>
                <a:ea typeface="+mn-ea"/>
                <a:cs typeface="Arial" pitchFamily="34" charset="0"/>
              </a:defRPr>
            </a:lvl8pPr>
            <a:lvl9pPr marL="540000" indent="-180975" algn="l" defTabSz="914400" rtl="0" eaLnBrk="1" latinLnBrk="0" hangingPunct="1">
              <a:spcBef>
                <a:spcPts val="300"/>
              </a:spcBef>
              <a:spcAft>
                <a:spcPts val="0"/>
              </a:spcAft>
              <a:buFont typeface="Arial" pitchFamily="34" charset="0"/>
              <a:buChar char="•"/>
              <a:defRPr sz="1600" kern="1200">
                <a:solidFill>
                  <a:schemeClr val="tx1"/>
                </a:solidFill>
                <a:latin typeface="Arial" pitchFamily="34" charset="0"/>
                <a:ea typeface="+mn-ea"/>
                <a:cs typeface="Arial" pitchFamily="34" charset="0"/>
              </a:defRPr>
            </a:lvl9pPr>
          </a:lstStyle>
          <a:p>
            <a:pPr marL="0" marR="0" lvl="0" indent="0" algn="l" defTabSz="1218804" rtl="0" eaLnBrk="1" fontAlgn="auto" latinLnBrk="0" hangingPunct="1">
              <a:lnSpc>
                <a:spcPct val="100000"/>
              </a:lnSpc>
              <a:spcBef>
                <a:spcPts val="800"/>
              </a:spcBef>
              <a:spcAft>
                <a:spcPts val="0"/>
              </a:spcAft>
              <a:buClrTx/>
              <a:buSzTx/>
              <a:buFont typeface="Arial" pitchFamily="34" charset="0"/>
              <a:buNone/>
              <a:tabLst/>
              <a:defRPr/>
            </a:pPr>
            <a:r>
              <a:rPr kumimoji="0" lang="en-US" sz="2399" b="0" i="0" u="none" strike="noStrike" kern="1200" cap="none" spc="0" normalizeH="0" baseline="0" noProof="0" dirty="0">
                <a:ln>
                  <a:noFill/>
                </a:ln>
                <a:solidFill>
                  <a:srgbClr val="E55A00"/>
                </a:solidFill>
                <a:effectLst/>
                <a:uLnTx/>
                <a:uFillTx/>
                <a:latin typeface="Arial" pitchFamily="34" charset="0"/>
                <a:ea typeface="+mn-ea"/>
                <a:cs typeface="Arial" pitchFamily="34" charset="0"/>
              </a:rPr>
              <a:t>Mio LC| </a:t>
            </a:r>
            <a:r>
              <a:rPr kumimoji="0" lang="en-US" sz="2399" b="0" i="0" u="none" strike="noStrike" kern="1200" cap="none" spc="0" normalizeH="0" baseline="0" noProof="0" dirty="0">
                <a:ln>
                  <a:noFill/>
                </a:ln>
                <a:solidFill>
                  <a:srgbClr val="00B050"/>
                </a:solidFill>
                <a:effectLst/>
                <a:uLnTx/>
                <a:uFillTx/>
                <a:latin typeface="Arial" pitchFamily="34" charset="0"/>
                <a:ea typeface="+mn-ea"/>
                <a:cs typeface="Arial" pitchFamily="34" charset="0"/>
              </a:rPr>
              <a:t>Growth</a:t>
            </a:r>
            <a:r>
              <a:rPr kumimoji="0" lang="en-US" sz="2399" b="0" i="0" u="none" strike="noStrike" kern="1200" cap="none" spc="0" normalizeH="0" baseline="0" noProof="0" dirty="0">
                <a:ln>
                  <a:noFill/>
                </a:ln>
                <a:solidFill>
                  <a:srgbClr val="E55A00"/>
                </a:solidFill>
                <a:effectLst/>
                <a:uLnTx/>
                <a:uFillTx/>
                <a:latin typeface="Arial" pitchFamily="34" charset="0"/>
                <a:ea typeface="+mn-ea"/>
                <a:cs typeface="Arial" pitchFamily="34" charset="0"/>
              </a:rPr>
              <a:t> LC</a:t>
            </a:r>
            <a:r>
              <a:rPr kumimoji="0" lang="en-US" sz="1599" b="1" i="0" u="none" strike="noStrike" kern="1200" cap="none" spc="0" normalizeH="0" baseline="0" noProof="0" dirty="0">
                <a:ln>
                  <a:noFill/>
                </a:ln>
                <a:solidFill>
                  <a:srgbClr val="00B050"/>
                </a:solidFill>
                <a:effectLst/>
                <a:uLnTx/>
                <a:uFillTx/>
                <a:latin typeface="Arial" pitchFamily="34" charset="0"/>
                <a:ea typeface="+mn-ea"/>
                <a:cs typeface="Arial" pitchFamily="34" charset="0"/>
              </a:rPr>
              <a:t> </a:t>
            </a:r>
            <a:r>
              <a:rPr kumimoji="0" lang="en-US" sz="2399" b="0" i="0" u="none" strike="noStrike" kern="1200" cap="none" spc="0" normalizeH="0" baseline="0" noProof="0" dirty="0">
                <a:ln>
                  <a:noFill/>
                </a:ln>
                <a:solidFill>
                  <a:srgbClr val="E55A00"/>
                </a:solidFill>
                <a:effectLst/>
                <a:uLnTx/>
                <a:uFillTx/>
                <a:latin typeface="Arial" pitchFamily="34" charset="0"/>
                <a:ea typeface="+mn-ea"/>
                <a:cs typeface="Arial" pitchFamily="34" charset="0"/>
              </a:rPr>
              <a:t>| </a:t>
            </a:r>
            <a:r>
              <a:rPr kumimoji="0" lang="en-US" sz="2399" b="0" i="0" u="none" strike="noStrike" kern="1200" cap="none" spc="0" normalizeH="0" baseline="0" noProof="0" dirty="0">
                <a:ln>
                  <a:noFill/>
                </a:ln>
                <a:solidFill>
                  <a:srgbClr val="7030A0"/>
                </a:solidFill>
                <a:effectLst/>
                <a:uLnTx/>
                <a:uFillTx/>
                <a:latin typeface="Arial" pitchFamily="34" charset="0"/>
                <a:ea typeface="+mn-ea"/>
                <a:cs typeface="Arial" pitchFamily="34" charset="0"/>
              </a:rPr>
              <a:t>Top</a:t>
            </a:r>
            <a:r>
              <a:rPr kumimoji="0" lang="en-US" sz="2399" b="0" i="0" u="none" strike="noStrike" kern="1200" cap="none" spc="0" normalizeH="0" baseline="0" noProof="0" dirty="0">
                <a:ln>
                  <a:noFill/>
                </a:ln>
                <a:solidFill>
                  <a:srgbClr val="E55A00"/>
                </a:solidFill>
                <a:effectLst/>
                <a:uLnTx/>
                <a:uFillTx/>
                <a:latin typeface="Arial" pitchFamily="34" charset="0"/>
                <a:ea typeface="+mn-ea"/>
                <a:cs typeface="Arial" pitchFamily="34" charset="0"/>
              </a:rPr>
              <a:t> 3 brands| Jan-</a:t>
            </a:r>
            <a:r>
              <a:rPr kumimoji="0" lang="ru-RU" sz="2399" b="0" i="0" u="none" strike="noStrike" kern="1200" cap="none" spc="0" normalizeH="0" baseline="0" noProof="0" dirty="0">
                <a:ln>
                  <a:noFill/>
                </a:ln>
                <a:solidFill>
                  <a:srgbClr val="E55A00"/>
                </a:solidFill>
                <a:effectLst/>
                <a:uLnTx/>
                <a:uFillTx/>
                <a:latin typeface="Arial" pitchFamily="34" charset="0"/>
                <a:ea typeface="+mn-ea"/>
                <a:cs typeface="Arial" pitchFamily="34" charset="0"/>
              </a:rPr>
              <a:t> </a:t>
            </a:r>
            <a:r>
              <a:rPr kumimoji="0" lang="en-US" sz="2399" b="0" i="0" u="none" strike="noStrike" kern="1200" cap="none" spc="0" normalizeH="0" baseline="0" noProof="0" dirty="0">
                <a:ln>
                  <a:noFill/>
                </a:ln>
                <a:solidFill>
                  <a:srgbClr val="E55A00"/>
                </a:solidFill>
                <a:effectLst/>
                <a:uLnTx/>
                <a:uFillTx/>
                <a:latin typeface="Arial" pitchFamily="34" charset="0"/>
                <a:ea typeface="+mn-ea"/>
                <a:cs typeface="Arial" pitchFamily="34" charset="0"/>
              </a:rPr>
              <a:t>Apr 2020 vs. Jan-Apr 2019</a:t>
            </a:r>
            <a:endParaRPr kumimoji="0" lang="ru-RU" sz="2399" b="0" i="0" u="none" strike="noStrike" kern="1200" cap="none" spc="0" normalizeH="0" baseline="0" noProof="0" dirty="0">
              <a:ln>
                <a:noFill/>
              </a:ln>
              <a:solidFill>
                <a:srgbClr val="E55A00"/>
              </a:solidFill>
              <a:effectLst/>
              <a:uLnTx/>
              <a:uFillTx/>
              <a:latin typeface="Arial" pitchFamily="34" charset="0"/>
              <a:ea typeface="+mn-ea"/>
              <a:cs typeface="Arial" pitchFamily="34" charset="0"/>
            </a:endParaRPr>
          </a:p>
        </p:txBody>
      </p:sp>
    </p:spTree>
    <p:extLst>
      <p:ext uri="{BB962C8B-B14F-4D97-AF65-F5344CB8AC3E}">
        <p14:creationId xmlns:p14="http://schemas.microsoft.com/office/powerpoint/2010/main" val="25931068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Рисунок 9"/>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3704771" y="2688271"/>
            <a:ext cx="1269641" cy="1414743"/>
          </a:xfrm>
          <a:prstGeom prst="rect">
            <a:avLst/>
          </a:prstGeom>
        </p:spPr>
      </p:pic>
      <p:pic>
        <p:nvPicPr>
          <p:cNvPr id="2" name="Рисунок 1"/>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1815564" y="2834650"/>
            <a:ext cx="1533344" cy="1175818"/>
          </a:xfrm>
          <a:prstGeom prst="rect">
            <a:avLst/>
          </a:prstGeom>
        </p:spPr>
      </p:pic>
      <p:pic>
        <p:nvPicPr>
          <p:cNvPr id="20" name="Рисунок 19"/>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590645" y="2811163"/>
            <a:ext cx="1284470" cy="1284470"/>
          </a:xfrm>
          <a:prstGeom prst="rect">
            <a:avLst/>
          </a:prstGeom>
        </p:spPr>
      </p:pic>
      <p:sp>
        <p:nvSpPr>
          <p:cNvPr id="5" name="Блок-схема: ссылка на другую страницу 4"/>
          <p:cNvSpPr/>
          <p:nvPr/>
        </p:nvSpPr>
        <p:spPr bwMode="gray">
          <a:xfrm>
            <a:off x="410487" y="1348943"/>
            <a:ext cx="6112946" cy="953352"/>
          </a:xfrm>
          <a:prstGeom prst="flowChartOffpageConnector">
            <a:avLst/>
          </a:prstGeom>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21882" tIns="60941" rIns="121882" bIns="60941" numCol="1" spcCol="0" rtlCol="0" fromWordArt="0" anchor="ctr" anchorCtr="0" forceAA="0" compatLnSpc="1">
            <a:prstTxWarp prst="textNoShape">
              <a:avLst/>
            </a:prstTxWarp>
            <a:noAutofit/>
          </a:bodyPr>
          <a:lstStyle/>
          <a:p>
            <a:pPr marL="0" marR="0" lvl="0" indent="0" algn="ctr" defTabSz="1218804" rtl="0" eaLnBrk="1" fontAlgn="auto" latinLnBrk="0" hangingPunct="1">
              <a:lnSpc>
                <a:spcPct val="100000"/>
              </a:lnSpc>
              <a:spcBef>
                <a:spcPts val="400"/>
              </a:spcBef>
              <a:spcAft>
                <a:spcPts val="0"/>
              </a:spcAft>
              <a:buClrTx/>
              <a:buSzTx/>
              <a:buFontTx/>
              <a:buNone/>
              <a:tabLst/>
              <a:defRPr/>
            </a:pPr>
            <a:r>
              <a:rPr kumimoji="0" lang="en-US" sz="1999" b="0" i="0" u="none" strike="noStrike" kern="1200" cap="none" spc="0" normalizeH="0" baseline="0" noProof="0" dirty="0">
                <a:ln>
                  <a:noFill/>
                </a:ln>
                <a:solidFill>
                  <a:srgbClr val="FFFFFF"/>
                </a:solidFill>
                <a:effectLst/>
                <a:uLnTx/>
                <a:uFillTx/>
                <a:latin typeface="Arial" pitchFamily="34" charset="0"/>
                <a:ea typeface="+mn-ea"/>
                <a:cs typeface="Arial" pitchFamily="34" charset="0"/>
              </a:rPr>
              <a:t>Capacity</a:t>
            </a:r>
          </a:p>
        </p:txBody>
      </p:sp>
      <p:sp>
        <p:nvSpPr>
          <p:cNvPr id="6" name="Блок-схема: ссылка на другую страницу 5"/>
          <p:cNvSpPr/>
          <p:nvPr/>
        </p:nvSpPr>
        <p:spPr bwMode="gray">
          <a:xfrm>
            <a:off x="6553876" y="1341223"/>
            <a:ext cx="5082898" cy="947609"/>
          </a:xfrm>
          <a:prstGeom prst="flowChartOffpageConnector">
            <a:avLst/>
          </a:prstGeom>
          <a:solidFill>
            <a:schemeClr val="accent3"/>
          </a:solidFill>
          <a:ln>
            <a:solidFill>
              <a:schemeClr val="accent3"/>
            </a:solidFill>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882" tIns="60941" rIns="121882" bIns="60941" numCol="1" spcCol="0" rtlCol="0" fromWordArt="0" anchor="ctr" anchorCtr="0" forceAA="0" compatLnSpc="1">
            <a:prstTxWarp prst="textNoShape">
              <a:avLst/>
            </a:prstTxWarp>
            <a:noAutofit/>
          </a:bodyPr>
          <a:lstStyle/>
          <a:p>
            <a:pPr marL="0" marR="0" lvl="0" indent="0" algn="ctr" defTabSz="1218804" rtl="0" eaLnBrk="1" fontAlgn="auto" latinLnBrk="0" hangingPunct="1">
              <a:lnSpc>
                <a:spcPct val="100000"/>
              </a:lnSpc>
              <a:spcBef>
                <a:spcPts val="400"/>
              </a:spcBef>
              <a:spcAft>
                <a:spcPts val="0"/>
              </a:spcAft>
              <a:buClrTx/>
              <a:buSzTx/>
              <a:buFontTx/>
              <a:buNone/>
              <a:tabLst/>
              <a:defRPr/>
            </a:pPr>
            <a:r>
              <a:rPr kumimoji="0" lang="en-US" sz="1999" b="0" i="0" u="none" strike="noStrike" kern="1200" cap="none" spc="0" normalizeH="0" baseline="0" noProof="0" dirty="0">
                <a:ln>
                  <a:noFill/>
                </a:ln>
                <a:solidFill>
                  <a:srgbClr val="FFFFFF"/>
                </a:solidFill>
                <a:effectLst/>
                <a:uLnTx/>
                <a:uFillTx/>
                <a:latin typeface="Arial" pitchFamily="34" charset="0"/>
                <a:ea typeface="+mn-ea"/>
                <a:cs typeface="Arial" pitchFamily="34" charset="0"/>
              </a:rPr>
              <a:t>Multi-functionality</a:t>
            </a:r>
            <a:endParaRPr kumimoji="0" lang="ru-RU" sz="1200" b="0" i="0" u="none" strike="noStrike" kern="1200" cap="none" spc="0" normalizeH="0" baseline="0" noProof="0" dirty="0">
              <a:ln>
                <a:noFill/>
              </a:ln>
              <a:solidFill>
                <a:srgbClr val="FFFFFF"/>
              </a:solidFill>
              <a:effectLst/>
              <a:uLnTx/>
              <a:uFillTx/>
              <a:latin typeface="Arial" pitchFamily="34" charset="0"/>
              <a:ea typeface="+mn-ea"/>
              <a:cs typeface="Arial" pitchFamily="34" charset="0"/>
            </a:endParaRPr>
          </a:p>
        </p:txBody>
      </p:sp>
      <p:sp>
        <p:nvSpPr>
          <p:cNvPr id="8" name="TextBox 7"/>
          <p:cNvSpPr txBox="1"/>
          <p:nvPr/>
        </p:nvSpPr>
        <p:spPr bwMode="gray">
          <a:xfrm>
            <a:off x="530867" y="2348100"/>
            <a:ext cx="1553427" cy="369332"/>
          </a:xfrm>
          <a:prstGeom prst="rect">
            <a:avLst/>
          </a:prstGeom>
          <a:noFill/>
        </p:spPr>
        <p:txBody>
          <a:bodyPr wrap="square" lIns="0" tIns="0" rIns="0" bIns="0" rtlCol="0">
            <a:spAutoFit/>
          </a:bodyPr>
          <a:lstStyle/>
          <a:p>
            <a:pPr marL="0" marR="0" lvl="0" indent="0" algn="ctr" defTabSz="1218804"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Washing machines: </a:t>
            </a:r>
            <a:r>
              <a:rPr kumimoji="0" lang="en-US" sz="1200" b="1" i="0" u="none" strike="noStrike" kern="1200" cap="none" spc="0" normalizeH="0" baseline="0" noProof="0" dirty="0">
                <a:ln>
                  <a:noFill/>
                </a:ln>
                <a:solidFill>
                  <a:srgbClr val="000000"/>
                </a:solidFill>
                <a:effectLst/>
                <a:uLnTx/>
                <a:uFillTx/>
                <a:latin typeface="Arial"/>
                <a:ea typeface="+mn-ea"/>
                <a:cs typeface="+mn-cs"/>
              </a:rPr>
              <a:t>loading </a:t>
            </a:r>
            <a:r>
              <a:rPr kumimoji="0" lang="ru-RU" sz="1200" b="1" i="0" u="none" strike="noStrike" kern="1200" cap="none" spc="0" normalizeH="0" baseline="0" noProof="0" dirty="0">
                <a:ln>
                  <a:noFill/>
                </a:ln>
                <a:solidFill>
                  <a:srgbClr val="000000"/>
                </a:solidFill>
                <a:effectLst/>
                <a:uLnTx/>
                <a:uFillTx/>
                <a:latin typeface="Arial"/>
                <a:ea typeface="+mn-ea"/>
                <a:cs typeface="+mn-cs"/>
              </a:rPr>
              <a:t>9</a:t>
            </a:r>
            <a:r>
              <a:rPr kumimoji="0" lang="en-US" sz="1200" b="1" i="0" u="none" strike="noStrike" kern="1200" cap="none" spc="0" normalizeH="0" baseline="0" noProof="0" dirty="0">
                <a:ln>
                  <a:noFill/>
                </a:ln>
                <a:solidFill>
                  <a:srgbClr val="000000"/>
                </a:solidFill>
                <a:effectLst/>
                <a:uLnTx/>
                <a:uFillTx/>
                <a:latin typeface="Arial"/>
                <a:ea typeface="+mn-ea"/>
                <a:cs typeface="+mn-cs"/>
              </a:rPr>
              <a:t>+</a:t>
            </a:r>
            <a:endParaRPr kumimoji="0" lang="ru-RU" sz="1200" b="1" i="0" u="none" strike="noStrike" kern="1200" cap="none" spc="0" normalizeH="0" baseline="0" noProof="0" dirty="0">
              <a:ln>
                <a:noFill/>
              </a:ln>
              <a:solidFill>
                <a:srgbClr val="000000"/>
              </a:solidFill>
              <a:effectLst/>
              <a:uLnTx/>
              <a:uFillTx/>
              <a:latin typeface="Arial"/>
              <a:ea typeface="+mn-ea"/>
              <a:cs typeface="+mn-cs"/>
            </a:endParaRPr>
          </a:p>
        </p:txBody>
      </p:sp>
      <p:sp>
        <p:nvSpPr>
          <p:cNvPr id="9" name="TextBox 8"/>
          <p:cNvSpPr txBox="1"/>
          <p:nvPr/>
        </p:nvSpPr>
        <p:spPr bwMode="gray">
          <a:xfrm>
            <a:off x="2043460" y="2319468"/>
            <a:ext cx="1489927" cy="369332"/>
          </a:xfrm>
          <a:prstGeom prst="rect">
            <a:avLst/>
          </a:prstGeom>
          <a:noFill/>
        </p:spPr>
        <p:txBody>
          <a:bodyPr wrap="square" lIns="0" tIns="0" rIns="0" bIns="0" rtlCol="0">
            <a:spAutoFit/>
          </a:bodyPr>
          <a:lstStyle/>
          <a:p>
            <a:pPr marL="0" marR="0" lvl="0" indent="0" algn="ctr" defTabSz="1218804"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pitchFamily="34" charset="0"/>
                <a:ea typeface="+mn-ea"/>
                <a:cs typeface="Arial" pitchFamily="34" charset="0"/>
              </a:rPr>
              <a:t> </a:t>
            </a:r>
            <a:r>
              <a:rPr kumimoji="0" lang="en-US" sz="1200" b="0" i="0" u="none" strike="noStrike" kern="1200" cap="none" spc="0" normalizeH="0" baseline="0" noProof="0" dirty="0">
                <a:ln>
                  <a:noFill/>
                </a:ln>
                <a:solidFill>
                  <a:srgbClr val="000000"/>
                </a:solidFill>
                <a:effectLst/>
                <a:uLnTx/>
                <a:uFillTx/>
                <a:latin typeface="Arial"/>
                <a:ea typeface="+mn-ea"/>
                <a:cs typeface="+mn-cs"/>
              </a:rPr>
              <a:t>Built in cooking: </a:t>
            </a:r>
            <a:br>
              <a:rPr kumimoji="0" lang="en-US" sz="1200" b="0" i="0" u="none" strike="noStrike" kern="1200" cap="none" spc="0" normalizeH="0" baseline="0" noProof="0" dirty="0">
                <a:ln>
                  <a:noFill/>
                </a:ln>
                <a:solidFill>
                  <a:srgbClr val="000000"/>
                </a:solidFill>
                <a:effectLst/>
                <a:uLnTx/>
                <a:uFillTx/>
                <a:latin typeface="Arial"/>
                <a:ea typeface="+mn-ea"/>
                <a:cs typeface="+mn-cs"/>
              </a:rPr>
            </a:br>
            <a:r>
              <a:rPr kumimoji="0" lang="en-US" sz="1200" b="1" i="0" u="none" strike="noStrike" kern="1200" cap="none" spc="0" normalizeH="0" baseline="0" noProof="0" dirty="0">
                <a:ln>
                  <a:noFill/>
                </a:ln>
                <a:solidFill>
                  <a:srgbClr val="000000"/>
                </a:solidFill>
                <a:effectLst/>
                <a:uLnTx/>
                <a:uFillTx/>
                <a:latin typeface="Arial"/>
                <a:ea typeface="+mn-ea"/>
                <a:cs typeface="+mn-cs"/>
              </a:rPr>
              <a:t>oven volume 70+ </a:t>
            </a:r>
            <a:r>
              <a:rPr kumimoji="0" lang="en-US" sz="1200" b="1" i="0" u="none" strike="noStrike" kern="1200" cap="none" spc="0" normalizeH="0" baseline="0" noProof="0" dirty="0" err="1">
                <a:ln>
                  <a:noFill/>
                </a:ln>
                <a:solidFill>
                  <a:srgbClr val="000000"/>
                </a:solidFill>
                <a:effectLst/>
                <a:uLnTx/>
                <a:uFillTx/>
                <a:latin typeface="Arial"/>
                <a:ea typeface="+mn-ea"/>
                <a:cs typeface="+mn-cs"/>
              </a:rPr>
              <a:t>lt</a:t>
            </a:r>
            <a:endParaRPr kumimoji="0" lang="ru-RU" sz="1200" b="1" i="0" u="none" strike="noStrike" kern="1200" cap="none" spc="0" normalizeH="0" baseline="0" noProof="0" dirty="0">
              <a:ln>
                <a:noFill/>
              </a:ln>
              <a:solidFill>
                <a:srgbClr val="000000"/>
              </a:solidFill>
              <a:effectLst/>
              <a:uLnTx/>
              <a:uFillTx/>
              <a:latin typeface="Arial"/>
              <a:ea typeface="+mn-ea"/>
              <a:cs typeface="+mn-cs"/>
            </a:endParaRPr>
          </a:p>
        </p:txBody>
      </p:sp>
      <p:sp>
        <p:nvSpPr>
          <p:cNvPr id="13" name="TextBox 12"/>
          <p:cNvSpPr txBox="1"/>
          <p:nvPr/>
        </p:nvSpPr>
        <p:spPr bwMode="gray">
          <a:xfrm>
            <a:off x="6795630" y="2324089"/>
            <a:ext cx="1300051" cy="553998"/>
          </a:xfrm>
          <a:prstGeom prst="rect">
            <a:avLst/>
          </a:prstGeom>
          <a:noFill/>
        </p:spPr>
        <p:txBody>
          <a:bodyPr wrap="square" lIns="0" tIns="0" rIns="0" bIns="0" rtlCol="0">
            <a:spAutoFit/>
          </a:bodyPr>
          <a:lstStyle/>
          <a:p>
            <a:pPr marL="0" marR="0" lvl="0" indent="0" algn="ctr" defTabSz="1218804"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Washing machines:</a:t>
            </a:r>
            <a:r>
              <a:rPr kumimoji="0" lang="en-US" sz="1200" b="1" i="0" u="none" strike="noStrike" kern="1200" cap="none" spc="0" normalizeH="0" baseline="0" noProof="0" dirty="0">
                <a:ln>
                  <a:noFill/>
                </a:ln>
                <a:solidFill>
                  <a:srgbClr val="000000"/>
                </a:solidFill>
                <a:effectLst/>
                <a:uLnTx/>
                <a:uFillTx/>
                <a:latin typeface="Arial"/>
                <a:ea typeface="+mn-ea"/>
                <a:cs typeface="+mn-cs"/>
              </a:rPr>
              <a:t> wash-dry function</a:t>
            </a:r>
            <a:endParaRPr kumimoji="0" lang="ru-RU" sz="1200" b="1" i="0" u="none" strike="noStrike" kern="1200" cap="none" spc="0" normalizeH="0" baseline="0" noProof="0" dirty="0">
              <a:ln>
                <a:noFill/>
              </a:ln>
              <a:solidFill>
                <a:srgbClr val="000000"/>
              </a:solidFill>
              <a:effectLst/>
              <a:uLnTx/>
              <a:uFillTx/>
              <a:latin typeface="Arial"/>
              <a:ea typeface="+mn-ea"/>
              <a:cs typeface="+mn-cs"/>
            </a:endParaRPr>
          </a:p>
        </p:txBody>
      </p:sp>
      <p:sp>
        <p:nvSpPr>
          <p:cNvPr id="15" name="TextBox 14"/>
          <p:cNvSpPr txBox="1"/>
          <p:nvPr/>
        </p:nvSpPr>
        <p:spPr bwMode="gray">
          <a:xfrm>
            <a:off x="10150653" y="2339979"/>
            <a:ext cx="1300051" cy="184666"/>
          </a:xfrm>
          <a:prstGeom prst="rect">
            <a:avLst/>
          </a:prstGeom>
          <a:noFill/>
        </p:spPr>
        <p:txBody>
          <a:bodyPr wrap="square" lIns="0" tIns="0" rIns="0" bIns="0" rtlCol="0">
            <a:spAutoFit/>
          </a:bodyPr>
          <a:lstStyle/>
          <a:p>
            <a:pPr marL="0" marR="0" lvl="0" indent="0" algn="ctr" defTabSz="1218804"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Tumble dryers</a:t>
            </a:r>
            <a:endParaRPr kumimoji="0" lang="ru-RU" sz="1200" b="1" i="0" u="none" strike="noStrike" kern="1200" cap="none" spc="0" normalizeH="0" baseline="0" noProof="0" dirty="0">
              <a:ln>
                <a:noFill/>
              </a:ln>
              <a:solidFill>
                <a:srgbClr val="000000"/>
              </a:solidFill>
              <a:effectLst/>
              <a:uLnTx/>
              <a:uFillTx/>
              <a:latin typeface="Arial"/>
              <a:ea typeface="+mn-ea"/>
              <a:cs typeface="+mn-cs"/>
            </a:endParaRPr>
          </a:p>
        </p:txBody>
      </p:sp>
      <p:sp>
        <p:nvSpPr>
          <p:cNvPr id="16" name="TextBox 15"/>
          <p:cNvSpPr txBox="1"/>
          <p:nvPr/>
        </p:nvSpPr>
        <p:spPr bwMode="gray">
          <a:xfrm>
            <a:off x="8367875" y="2354200"/>
            <a:ext cx="1455484" cy="369332"/>
          </a:xfrm>
          <a:prstGeom prst="rect">
            <a:avLst/>
          </a:prstGeom>
          <a:noFill/>
        </p:spPr>
        <p:txBody>
          <a:bodyPr wrap="square" lIns="0" tIns="0" rIns="0" bIns="0" rtlCol="0">
            <a:spAutoFit/>
          </a:bodyPr>
          <a:lstStyle/>
          <a:p>
            <a:pPr marL="0" marR="0" lvl="0" indent="0" algn="ctr" defTabSz="1218804"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Built in hobs:</a:t>
            </a:r>
            <a:br>
              <a:rPr kumimoji="0" lang="en-US" sz="1200" b="0" i="0" u="none" strike="noStrike" kern="1200" cap="none" spc="0" normalizeH="0" baseline="0" noProof="0" dirty="0">
                <a:ln>
                  <a:noFill/>
                </a:ln>
                <a:solidFill>
                  <a:srgbClr val="000000"/>
                </a:solidFill>
                <a:effectLst/>
                <a:uLnTx/>
                <a:uFillTx/>
                <a:latin typeface="Arial"/>
                <a:ea typeface="+mn-ea"/>
                <a:cs typeface="+mn-cs"/>
              </a:rPr>
            </a:br>
            <a:r>
              <a:rPr kumimoji="0" lang="en-US" sz="1200" b="1" i="0" u="none" strike="noStrike" kern="1200" cap="none" spc="0" normalizeH="0" baseline="0" noProof="0" dirty="0">
                <a:ln>
                  <a:noFill/>
                </a:ln>
                <a:solidFill>
                  <a:srgbClr val="000000"/>
                </a:solidFill>
                <a:effectLst/>
                <a:uLnTx/>
                <a:uFillTx/>
                <a:latin typeface="Arial"/>
                <a:ea typeface="+mn-ea"/>
                <a:cs typeface="+mn-cs"/>
              </a:rPr>
              <a:t> built-in extractor</a:t>
            </a:r>
            <a:endParaRPr kumimoji="0" lang="ru-RU" sz="1200" b="1" i="0" u="none" strike="noStrike" kern="1200" cap="none" spc="0" normalizeH="0" baseline="0" noProof="0" dirty="0">
              <a:ln>
                <a:noFill/>
              </a:ln>
              <a:solidFill>
                <a:srgbClr val="000000"/>
              </a:solidFill>
              <a:effectLst/>
              <a:uLnTx/>
              <a:uFillTx/>
              <a:latin typeface="Arial"/>
              <a:ea typeface="+mn-ea"/>
              <a:cs typeface="+mn-cs"/>
            </a:endParaRPr>
          </a:p>
        </p:txBody>
      </p:sp>
      <p:sp>
        <p:nvSpPr>
          <p:cNvPr id="21" name="TextBox 20"/>
          <p:cNvSpPr txBox="1"/>
          <p:nvPr/>
        </p:nvSpPr>
        <p:spPr bwMode="gray">
          <a:xfrm>
            <a:off x="3623840" y="2361832"/>
            <a:ext cx="1306177" cy="553998"/>
          </a:xfrm>
          <a:prstGeom prst="rect">
            <a:avLst/>
          </a:prstGeom>
          <a:noFill/>
        </p:spPr>
        <p:txBody>
          <a:bodyPr wrap="square" lIns="0" tIns="0" rIns="0" bIns="0" rtlCol="0">
            <a:spAutoFit/>
          </a:bodyPr>
          <a:lstStyle/>
          <a:p>
            <a:pPr marL="0" marR="0" lvl="0" indent="0" algn="ctr" defTabSz="1218804" rtl="0" eaLnBrk="1" fontAlgn="auto" latinLnBrk="0" hangingPunct="1">
              <a:lnSpc>
                <a:spcPct val="100000"/>
              </a:lnSpc>
              <a:spcBef>
                <a:spcPts val="40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Dishwashers:</a:t>
            </a:r>
            <a:br>
              <a:rPr kumimoji="0" lang="en-US" sz="1200" b="0" i="0" u="none" strike="noStrike" kern="1200" cap="none" spc="0" normalizeH="0" baseline="0" noProof="0" dirty="0">
                <a:ln>
                  <a:noFill/>
                </a:ln>
                <a:solidFill>
                  <a:srgbClr val="000000"/>
                </a:solidFill>
                <a:effectLst/>
                <a:uLnTx/>
                <a:uFillTx/>
                <a:latin typeface="Arial"/>
                <a:ea typeface="+mn-ea"/>
                <a:cs typeface="+mn-cs"/>
              </a:rPr>
            </a:br>
            <a:r>
              <a:rPr kumimoji="0" lang="en-US" sz="1200" b="0" i="0" u="none" strike="noStrike" kern="1200" cap="none" spc="0" normalizeH="0" baseline="0" noProof="0" dirty="0">
                <a:ln>
                  <a:noFill/>
                </a:ln>
                <a:solidFill>
                  <a:srgbClr val="000000"/>
                </a:solidFill>
                <a:effectLst/>
                <a:uLnTx/>
                <a:uFillTx/>
                <a:latin typeface="Arial"/>
                <a:ea typeface="+mn-ea"/>
                <a:cs typeface="+mn-cs"/>
              </a:rPr>
              <a:t>Built in with 3</a:t>
            </a:r>
            <a:r>
              <a:rPr kumimoji="0" lang="en-US" sz="1200" b="0" i="0" u="none" strike="noStrike" kern="1200" cap="none" spc="0" normalizeH="0" baseline="30000" noProof="0" dirty="0">
                <a:ln>
                  <a:noFill/>
                </a:ln>
                <a:solidFill>
                  <a:srgbClr val="000000"/>
                </a:solidFill>
                <a:effectLst/>
                <a:uLnTx/>
                <a:uFillTx/>
                <a:latin typeface="Arial"/>
                <a:ea typeface="+mn-ea"/>
                <a:cs typeface="+mn-cs"/>
              </a:rPr>
              <a:t>rd</a:t>
            </a:r>
            <a:r>
              <a:rPr kumimoji="0" lang="en-US" sz="1200" b="0" i="0" u="none" strike="noStrike" kern="1200" cap="none" spc="0" normalizeH="0" baseline="0" noProof="0" dirty="0">
                <a:ln>
                  <a:noFill/>
                </a:ln>
                <a:solidFill>
                  <a:srgbClr val="000000"/>
                </a:solidFill>
                <a:effectLst/>
                <a:uLnTx/>
                <a:uFillTx/>
                <a:latin typeface="Arial"/>
                <a:ea typeface="+mn-ea"/>
                <a:cs typeface="+mn-cs"/>
              </a:rPr>
              <a:t> </a:t>
            </a:r>
            <a:r>
              <a:rPr kumimoji="0" lang="en-US" sz="1200" b="1" i="0" u="none" strike="noStrike" kern="1200" cap="none" spc="0" normalizeH="0" baseline="0" noProof="0" dirty="0">
                <a:ln>
                  <a:noFill/>
                </a:ln>
                <a:solidFill>
                  <a:srgbClr val="000000"/>
                </a:solidFill>
                <a:effectLst/>
                <a:uLnTx/>
                <a:uFillTx/>
                <a:latin typeface="Arial"/>
                <a:ea typeface="+mn-ea"/>
                <a:cs typeface="+mn-cs"/>
              </a:rPr>
              <a:t> rack</a:t>
            </a:r>
            <a:endParaRPr kumimoji="0" lang="ru-RU" sz="1200" b="1" i="0" u="none" strike="noStrike" kern="1200" cap="none" spc="0" normalizeH="0" baseline="0" noProof="0" dirty="0">
              <a:ln>
                <a:noFill/>
              </a:ln>
              <a:solidFill>
                <a:srgbClr val="000000"/>
              </a:solidFill>
              <a:effectLst/>
              <a:uLnTx/>
              <a:uFillTx/>
              <a:latin typeface="Arial"/>
              <a:ea typeface="+mn-ea"/>
              <a:cs typeface="+mn-cs"/>
            </a:endParaRPr>
          </a:p>
        </p:txBody>
      </p:sp>
      <p:sp>
        <p:nvSpPr>
          <p:cNvPr id="25" name="Заголовок 1"/>
          <p:cNvSpPr txBox="1">
            <a:spLocks/>
          </p:cNvSpPr>
          <p:nvPr/>
        </p:nvSpPr>
        <p:spPr bwMode="gray">
          <a:xfrm>
            <a:off x="497030" y="261626"/>
            <a:ext cx="8574396" cy="767903"/>
          </a:xfrm>
          <a:prstGeom prst="rect">
            <a:avLst/>
          </a:prstGeom>
        </p:spPr>
        <p:txBody>
          <a:bodyPr vert="horz" lIns="0" tIns="0" rIns="0" bIns="0" rtlCol="0" anchor="ctr" anchorCtr="0">
            <a:noAutofit/>
          </a:bodyPr>
          <a:lstStyle>
            <a:lvl1pPr algn="l" defTabSz="914400" rtl="0" eaLnBrk="1" latinLnBrk="0" hangingPunct="1">
              <a:spcBef>
                <a:spcPct val="0"/>
              </a:spcBef>
              <a:buNone/>
              <a:defRPr sz="1800" kern="1200">
                <a:solidFill>
                  <a:schemeClr val="tx1"/>
                </a:solidFill>
                <a:latin typeface="Arial" pitchFamily="34" charset="0"/>
                <a:ea typeface="+mj-ea"/>
                <a:cs typeface="+mj-cs"/>
              </a:defRPr>
            </a:lvl1pPr>
          </a:lstStyle>
          <a:p>
            <a:pPr marL="0" marR="0" lvl="0" indent="0" algn="l" defTabSz="1218804" rtl="0" eaLnBrk="1" fontAlgn="auto" latinLnBrk="0" hangingPunct="1">
              <a:lnSpc>
                <a:spcPct val="100000"/>
              </a:lnSpc>
              <a:spcBef>
                <a:spcPct val="0"/>
              </a:spcBef>
              <a:spcAft>
                <a:spcPts val="0"/>
              </a:spcAft>
              <a:buClrTx/>
              <a:buSzTx/>
              <a:buFontTx/>
              <a:buNone/>
              <a:tabLst/>
              <a:defRPr/>
            </a:pPr>
            <a:r>
              <a:rPr kumimoji="0" lang="en-US" sz="3600" b="0" i="0" u="none" strike="noStrike" kern="1200" cap="none" spc="0" normalizeH="0" baseline="0" noProof="0" dirty="0">
                <a:ln>
                  <a:noFill/>
                </a:ln>
                <a:solidFill>
                  <a:srgbClr val="000000"/>
                </a:solidFill>
                <a:effectLst/>
                <a:uLnTx/>
                <a:uFillTx/>
                <a:latin typeface="Lato Light"/>
                <a:ea typeface="+mj-ea"/>
                <a:cs typeface="+mj-cs"/>
              </a:rPr>
              <a:t>Growth drivers MDA Market</a:t>
            </a:r>
            <a:endParaRPr kumimoji="0" lang="ru-RU" sz="3600" b="0" i="0" u="none" strike="noStrike" kern="1200" cap="none" spc="0" normalizeH="0" baseline="0" noProof="0" dirty="0">
              <a:ln>
                <a:noFill/>
              </a:ln>
              <a:solidFill>
                <a:srgbClr val="000000"/>
              </a:solidFill>
              <a:effectLst/>
              <a:uLnTx/>
              <a:uFillTx/>
              <a:latin typeface="Lato Light"/>
              <a:ea typeface="+mj-ea"/>
              <a:cs typeface="+mj-cs"/>
            </a:endParaRPr>
          </a:p>
        </p:txBody>
      </p:sp>
      <p:cxnSp>
        <p:nvCxnSpPr>
          <p:cNvPr id="3" name="Прямая соединительная линия 2"/>
          <p:cNvCxnSpPr/>
          <p:nvPr/>
        </p:nvCxnSpPr>
        <p:spPr>
          <a:xfrm>
            <a:off x="1725033" y="4250319"/>
            <a:ext cx="0" cy="2325750"/>
          </a:xfrm>
          <a:prstGeom prst="line">
            <a:avLst/>
          </a:prstGeom>
          <a:ln w="9525" cap="flat" cmpd="sng" algn="ctr">
            <a:solidFill>
              <a:schemeClr val="bg2">
                <a:lumMod val="40000"/>
                <a:lumOff val="60000"/>
              </a:schemeClr>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27" name="Прямая соединительная линия 26"/>
          <p:cNvCxnSpPr/>
          <p:nvPr/>
        </p:nvCxnSpPr>
        <p:spPr>
          <a:xfrm>
            <a:off x="3522533" y="4174028"/>
            <a:ext cx="0" cy="2325750"/>
          </a:xfrm>
          <a:prstGeom prst="line">
            <a:avLst/>
          </a:prstGeom>
          <a:ln w="9525" cap="flat" cmpd="sng" algn="ctr">
            <a:solidFill>
              <a:schemeClr val="bg2">
                <a:lumMod val="40000"/>
                <a:lumOff val="60000"/>
              </a:schemeClr>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28" name="Прямая соединительная линия 27"/>
          <p:cNvCxnSpPr/>
          <p:nvPr/>
        </p:nvCxnSpPr>
        <p:spPr>
          <a:xfrm>
            <a:off x="5096159" y="4190323"/>
            <a:ext cx="0" cy="2325750"/>
          </a:xfrm>
          <a:prstGeom prst="line">
            <a:avLst/>
          </a:prstGeom>
          <a:ln w="9525" cap="flat" cmpd="sng" algn="ctr">
            <a:solidFill>
              <a:schemeClr val="bg2">
                <a:lumMod val="40000"/>
                <a:lumOff val="60000"/>
              </a:schemeClr>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29" name="Прямая соединительная линия 28"/>
          <p:cNvCxnSpPr/>
          <p:nvPr/>
        </p:nvCxnSpPr>
        <p:spPr>
          <a:xfrm>
            <a:off x="6700381" y="4162968"/>
            <a:ext cx="0" cy="2391262"/>
          </a:xfrm>
          <a:prstGeom prst="line">
            <a:avLst/>
          </a:prstGeom>
          <a:ln w="9525" cap="flat" cmpd="sng" algn="ctr">
            <a:solidFill>
              <a:schemeClr val="bg2">
                <a:lumMod val="40000"/>
                <a:lumOff val="60000"/>
              </a:schemeClr>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31" name="Прямая соединительная линия 30"/>
          <p:cNvCxnSpPr/>
          <p:nvPr/>
        </p:nvCxnSpPr>
        <p:spPr>
          <a:xfrm>
            <a:off x="9792596" y="4213576"/>
            <a:ext cx="0" cy="2325750"/>
          </a:xfrm>
          <a:prstGeom prst="line">
            <a:avLst/>
          </a:prstGeom>
          <a:ln w="9525" cap="flat" cmpd="sng" algn="ctr">
            <a:solidFill>
              <a:schemeClr val="bg2">
                <a:lumMod val="40000"/>
                <a:lumOff val="60000"/>
              </a:schemeClr>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pic>
        <p:nvPicPr>
          <p:cNvPr id="4" name="Рисунок 3"/>
          <p:cNvPicPr>
            <a:picLocks noChangeAspect="1"/>
          </p:cNvPicPr>
          <p:nvPr/>
        </p:nvPicPr>
        <p:blipFill rotWithShape="1">
          <a:blip r:embed="rId5" cstate="print">
            <a:extLst>
              <a:ext uri="{28A0092B-C50C-407E-A947-70E740481C1C}">
                <a14:useLocalDpi xmlns:a14="http://schemas.microsoft.com/office/drawing/2010/main"/>
              </a:ext>
            </a:extLst>
          </a:blip>
          <a:srcRect/>
          <a:stretch/>
        </p:blipFill>
        <p:spPr>
          <a:xfrm>
            <a:off x="8348518" y="2842134"/>
            <a:ext cx="1479594" cy="1083551"/>
          </a:xfrm>
          <a:prstGeom prst="rect">
            <a:avLst/>
          </a:prstGeom>
        </p:spPr>
      </p:pic>
      <p:pic>
        <p:nvPicPr>
          <p:cNvPr id="22" name="Рисунок 21"/>
          <p:cNvPicPr>
            <a:picLocks noChangeAspect="1"/>
          </p:cNvPicPr>
          <p:nvPr/>
        </p:nvPicPr>
        <p:blipFill rotWithShape="1">
          <a:blip r:embed="rId6" cstate="print">
            <a:extLst>
              <a:ext uri="{28A0092B-C50C-407E-A947-70E740481C1C}">
                <a14:useLocalDpi xmlns:a14="http://schemas.microsoft.com/office/drawing/2010/main"/>
              </a:ext>
            </a:extLst>
          </a:blip>
          <a:srcRect/>
          <a:stretch/>
        </p:blipFill>
        <p:spPr>
          <a:xfrm>
            <a:off x="6722373" y="2841441"/>
            <a:ext cx="1416463" cy="1098854"/>
          </a:xfrm>
          <a:prstGeom prst="rect">
            <a:avLst/>
          </a:prstGeom>
        </p:spPr>
      </p:pic>
      <p:graphicFrame>
        <p:nvGraphicFramePr>
          <p:cNvPr id="24" name="Таблица 23"/>
          <p:cNvGraphicFramePr>
            <a:graphicFrameLocks noGrp="1"/>
          </p:cNvGraphicFramePr>
          <p:nvPr>
            <p:extLst>
              <p:ext uri="{D42A27DB-BD31-4B8C-83A1-F6EECF244321}">
                <p14:modId xmlns:p14="http://schemas.microsoft.com/office/powerpoint/2010/main" val="2909969938"/>
              </p:ext>
            </p:extLst>
          </p:nvPr>
        </p:nvGraphicFramePr>
        <p:xfrm>
          <a:off x="536901" y="4484145"/>
          <a:ext cx="11246378" cy="2463697"/>
        </p:xfrm>
        <a:graphic>
          <a:graphicData uri="http://schemas.openxmlformats.org/drawingml/2006/table">
            <a:tbl>
              <a:tblPr firstRow="1" bandRow="1">
                <a:tableStyleId>{5C22544A-7EE6-4342-B048-85BDC9FD1C3A}</a:tableStyleId>
              </a:tblPr>
              <a:tblGrid>
                <a:gridCol w="1299647">
                  <a:extLst>
                    <a:ext uri="{9D8B030D-6E8A-4147-A177-3AD203B41FA5}">
                      <a16:colId xmlns:a16="http://schemas.microsoft.com/office/drawing/2014/main" val="3798218426"/>
                    </a:ext>
                  </a:extLst>
                </a:gridCol>
                <a:gridCol w="1630323">
                  <a:extLst>
                    <a:ext uri="{9D8B030D-6E8A-4147-A177-3AD203B41FA5}">
                      <a16:colId xmlns:a16="http://schemas.microsoft.com/office/drawing/2014/main" val="3056305793"/>
                    </a:ext>
                  </a:extLst>
                </a:gridCol>
                <a:gridCol w="1554817">
                  <a:extLst>
                    <a:ext uri="{9D8B030D-6E8A-4147-A177-3AD203B41FA5}">
                      <a16:colId xmlns:a16="http://schemas.microsoft.com/office/drawing/2014/main" val="618648050"/>
                    </a:ext>
                  </a:extLst>
                </a:gridCol>
                <a:gridCol w="1636650">
                  <a:extLst>
                    <a:ext uri="{9D8B030D-6E8A-4147-A177-3AD203B41FA5}">
                      <a16:colId xmlns:a16="http://schemas.microsoft.com/office/drawing/2014/main" val="3111286347"/>
                    </a:ext>
                  </a:extLst>
                </a:gridCol>
                <a:gridCol w="1554817">
                  <a:extLst>
                    <a:ext uri="{9D8B030D-6E8A-4147-A177-3AD203B41FA5}">
                      <a16:colId xmlns:a16="http://schemas.microsoft.com/office/drawing/2014/main" val="449598861"/>
                    </a:ext>
                  </a:extLst>
                </a:gridCol>
                <a:gridCol w="1785062">
                  <a:extLst>
                    <a:ext uri="{9D8B030D-6E8A-4147-A177-3AD203B41FA5}">
                      <a16:colId xmlns:a16="http://schemas.microsoft.com/office/drawing/2014/main" val="1322215827"/>
                    </a:ext>
                  </a:extLst>
                </a:gridCol>
                <a:gridCol w="1785062">
                  <a:extLst>
                    <a:ext uri="{9D8B030D-6E8A-4147-A177-3AD203B41FA5}">
                      <a16:colId xmlns:a16="http://schemas.microsoft.com/office/drawing/2014/main" val="2074522379"/>
                    </a:ext>
                  </a:extLst>
                </a:gridCol>
              </a:tblGrid>
              <a:tr h="514005">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400" b="1" i="0" kern="1200" dirty="0">
                          <a:solidFill>
                            <a:schemeClr val="tx2"/>
                          </a:solidFill>
                          <a:latin typeface="+mn-lt"/>
                          <a:ea typeface="+mn-ea"/>
                          <a:cs typeface="+mn-cs"/>
                        </a:rPr>
                        <a:t>20</a:t>
                      </a:r>
                    </a:p>
                  </a:txBody>
                  <a:tcPr marL="121882" marR="121882" marT="60941" marB="60941">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ru-RU" sz="2400" b="1" i="0" kern="1200" dirty="0">
                          <a:solidFill>
                            <a:schemeClr val="tx2"/>
                          </a:solidFill>
                          <a:latin typeface="+mn-lt"/>
                          <a:ea typeface="+mn-ea"/>
                          <a:cs typeface="+mn-cs"/>
                        </a:rPr>
                        <a:t>45</a:t>
                      </a:r>
                    </a:p>
                  </a:txBody>
                  <a:tcPr marL="121882" marR="121882" marT="60941" marB="60941">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ru-RU" sz="2400" b="1" i="0" kern="1200" dirty="0">
                          <a:solidFill>
                            <a:schemeClr val="tx2"/>
                          </a:solidFill>
                          <a:latin typeface="+mn-lt"/>
                          <a:ea typeface="+mn-ea"/>
                          <a:cs typeface="+mn-cs"/>
                        </a:rPr>
                        <a:t>37</a:t>
                      </a:r>
                    </a:p>
                  </a:txBody>
                  <a:tcPr marL="121882" marR="121882" marT="60941" marB="60941">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ru-RU" sz="2400" b="1" i="0" kern="1200" dirty="0">
                          <a:solidFill>
                            <a:schemeClr val="tx2"/>
                          </a:solidFill>
                          <a:latin typeface="+mn-lt"/>
                          <a:ea typeface="+mn-ea"/>
                          <a:cs typeface="+mn-cs"/>
                        </a:rPr>
                        <a:t>19</a:t>
                      </a:r>
                    </a:p>
                  </a:txBody>
                  <a:tcPr marL="121882" marR="121882" marT="60941" marB="60941">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2400" b="1" i="0" kern="1200" dirty="0">
                          <a:solidFill>
                            <a:schemeClr val="tx2"/>
                          </a:solidFill>
                          <a:latin typeface="+mn-lt"/>
                          <a:ea typeface="+mn-ea"/>
                          <a:cs typeface="+mn-cs"/>
                        </a:rPr>
                        <a:t>2</a:t>
                      </a:r>
                      <a:r>
                        <a:rPr lang="ru-RU" sz="2400" b="1" i="0" kern="1200" dirty="0">
                          <a:solidFill>
                            <a:schemeClr val="tx2"/>
                          </a:solidFill>
                          <a:latin typeface="+mn-lt"/>
                          <a:ea typeface="+mn-ea"/>
                          <a:cs typeface="+mn-cs"/>
                        </a:rPr>
                        <a:t>2</a:t>
                      </a:r>
                    </a:p>
                  </a:txBody>
                  <a:tcPr marL="121882" marR="121882" marT="60941" marB="60941">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2400" b="1" i="0" kern="1200" dirty="0">
                          <a:solidFill>
                            <a:schemeClr val="tx2"/>
                          </a:solidFill>
                          <a:latin typeface="+mn-lt"/>
                          <a:ea typeface="+mn-ea"/>
                          <a:cs typeface="+mn-cs"/>
                        </a:rPr>
                        <a:t>&lt;1</a:t>
                      </a:r>
                      <a:endParaRPr lang="ru-RU" sz="2400" b="1" i="0" kern="1200" dirty="0">
                        <a:solidFill>
                          <a:schemeClr val="tx2"/>
                        </a:solidFill>
                        <a:latin typeface="+mn-lt"/>
                        <a:ea typeface="+mn-ea"/>
                        <a:cs typeface="+mn-cs"/>
                      </a:endParaRPr>
                    </a:p>
                  </a:txBody>
                  <a:tcPr marL="121882" marR="121882" marT="60941" marB="60941">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ru-RU" sz="2400" b="1" i="0" kern="1200" dirty="0">
                          <a:solidFill>
                            <a:schemeClr val="tx2"/>
                          </a:solidFill>
                          <a:latin typeface="+mn-lt"/>
                          <a:ea typeface="+mn-ea"/>
                          <a:cs typeface="+mn-cs"/>
                        </a:rPr>
                        <a:t>13</a:t>
                      </a:r>
                    </a:p>
                  </a:txBody>
                  <a:tcPr marL="121882" marR="121882" marT="60941" marB="60941">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24313798"/>
                  </a:ext>
                </a:extLst>
              </a:tr>
              <a:tr h="578625">
                <a:tc>
                  <a:txBody>
                    <a:bodyPr/>
                    <a:lstStyle/>
                    <a:p>
                      <a:pPr algn="ctr"/>
                      <a:r>
                        <a:rPr lang="en-US" sz="2400" kern="1200" dirty="0">
                          <a:solidFill>
                            <a:srgbClr val="00B050"/>
                          </a:solidFill>
                          <a:latin typeface="+mn-lt"/>
                          <a:ea typeface="+mn-ea"/>
                          <a:cs typeface="+mn-cs"/>
                        </a:rPr>
                        <a:t>+86%</a:t>
                      </a:r>
                      <a:endParaRPr lang="ru-RU" sz="2400" kern="1200" dirty="0">
                        <a:solidFill>
                          <a:srgbClr val="00B050"/>
                        </a:solidFill>
                        <a:latin typeface="+mn-lt"/>
                        <a:ea typeface="+mn-ea"/>
                        <a:cs typeface="+mn-cs"/>
                      </a:endParaRPr>
                    </a:p>
                  </a:txBody>
                  <a:tcPr marL="121882" marR="121882" marT="60941" marB="60941">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ru-RU" sz="2400" kern="1200" dirty="0">
                          <a:solidFill>
                            <a:srgbClr val="00B050"/>
                          </a:solidFill>
                          <a:latin typeface="+mn-lt"/>
                          <a:ea typeface="+mn-ea"/>
                          <a:cs typeface="+mn-cs"/>
                        </a:rPr>
                        <a:t>+44%</a:t>
                      </a:r>
                    </a:p>
                  </a:txBody>
                  <a:tcPr marL="121882" marR="121882" marT="60941" marB="60941">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ru-RU" sz="2400" kern="1200" dirty="0">
                          <a:solidFill>
                            <a:srgbClr val="00B050"/>
                          </a:solidFill>
                          <a:latin typeface="+mn-lt"/>
                          <a:ea typeface="+mn-ea"/>
                          <a:cs typeface="+mn-cs"/>
                        </a:rPr>
                        <a:t>+69</a:t>
                      </a:r>
                      <a:r>
                        <a:rPr lang="en-US" sz="2400" kern="1200" dirty="0">
                          <a:solidFill>
                            <a:srgbClr val="00B050"/>
                          </a:solidFill>
                          <a:latin typeface="+mn-lt"/>
                          <a:ea typeface="+mn-ea"/>
                          <a:cs typeface="+mn-cs"/>
                        </a:rPr>
                        <a:t>%</a:t>
                      </a:r>
                      <a:endParaRPr lang="ru-RU" sz="2400" kern="1200" dirty="0">
                        <a:solidFill>
                          <a:srgbClr val="00B050"/>
                        </a:solidFill>
                        <a:latin typeface="+mn-lt"/>
                        <a:ea typeface="+mn-ea"/>
                        <a:cs typeface="+mn-cs"/>
                      </a:endParaRPr>
                    </a:p>
                  </a:txBody>
                  <a:tcPr marL="121882" marR="121882" marT="60941" marB="60941">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ru-RU" sz="2400" kern="1200" dirty="0">
                          <a:solidFill>
                            <a:srgbClr val="00B050"/>
                          </a:solidFill>
                          <a:latin typeface="+mn-lt"/>
                          <a:ea typeface="+mn-ea"/>
                          <a:cs typeface="+mn-cs"/>
                        </a:rPr>
                        <a:t>+50%</a:t>
                      </a:r>
                    </a:p>
                  </a:txBody>
                  <a:tcPr marL="121882" marR="121882" marT="60941" marB="60941">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2400" kern="1200" dirty="0">
                          <a:solidFill>
                            <a:srgbClr val="00B050"/>
                          </a:solidFill>
                          <a:latin typeface="+mn-lt"/>
                          <a:ea typeface="+mn-ea"/>
                          <a:cs typeface="+mn-cs"/>
                        </a:rPr>
                        <a:t>+</a:t>
                      </a:r>
                      <a:r>
                        <a:rPr lang="ru-RU" sz="2400" kern="1200" dirty="0">
                          <a:solidFill>
                            <a:srgbClr val="00B050"/>
                          </a:solidFill>
                          <a:latin typeface="+mn-lt"/>
                          <a:ea typeface="+mn-ea"/>
                          <a:cs typeface="+mn-cs"/>
                        </a:rPr>
                        <a:t>76</a:t>
                      </a:r>
                      <a:r>
                        <a:rPr lang="en-US" sz="2400" kern="1200" dirty="0">
                          <a:solidFill>
                            <a:srgbClr val="00B050"/>
                          </a:solidFill>
                          <a:latin typeface="+mn-lt"/>
                          <a:ea typeface="+mn-ea"/>
                          <a:cs typeface="+mn-cs"/>
                        </a:rPr>
                        <a:t>%</a:t>
                      </a:r>
                      <a:endParaRPr lang="ru-RU" sz="2400" kern="1200" dirty="0">
                        <a:solidFill>
                          <a:srgbClr val="00B050"/>
                        </a:solidFill>
                        <a:latin typeface="+mn-lt"/>
                        <a:ea typeface="+mn-ea"/>
                        <a:cs typeface="+mn-cs"/>
                      </a:endParaRPr>
                    </a:p>
                  </a:txBody>
                  <a:tcPr marL="121882" marR="121882" marT="60941" marB="60941">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ru-RU" sz="2400" kern="1200" dirty="0">
                          <a:solidFill>
                            <a:srgbClr val="00B050"/>
                          </a:solidFill>
                          <a:latin typeface="+mn-lt"/>
                          <a:ea typeface="+mn-ea"/>
                          <a:cs typeface="+mn-cs"/>
                        </a:rPr>
                        <a:t>+232%</a:t>
                      </a:r>
                    </a:p>
                  </a:txBody>
                  <a:tcPr marL="121882" marR="121882" marT="60941" marB="60941">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2400" kern="1200" dirty="0">
                          <a:solidFill>
                            <a:srgbClr val="00B050"/>
                          </a:solidFill>
                          <a:latin typeface="+mn-lt"/>
                          <a:ea typeface="+mn-ea"/>
                          <a:cs typeface="+mn-cs"/>
                        </a:rPr>
                        <a:t>+</a:t>
                      </a:r>
                      <a:r>
                        <a:rPr lang="ru-RU" sz="2400" kern="1200" dirty="0">
                          <a:solidFill>
                            <a:srgbClr val="00B050"/>
                          </a:solidFill>
                          <a:latin typeface="+mn-lt"/>
                          <a:ea typeface="+mn-ea"/>
                          <a:cs typeface="+mn-cs"/>
                        </a:rPr>
                        <a:t>84</a:t>
                      </a:r>
                      <a:r>
                        <a:rPr lang="en-US" sz="2400" kern="1200" dirty="0">
                          <a:solidFill>
                            <a:srgbClr val="00B050"/>
                          </a:solidFill>
                          <a:latin typeface="+mn-lt"/>
                          <a:ea typeface="+mn-ea"/>
                          <a:cs typeface="+mn-cs"/>
                        </a:rPr>
                        <a:t>%</a:t>
                      </a:r>
                      <a:endParaRPr lang="ru-RU" sz="2400" kern="1200" dirty="0">
                        <a:solidFill>
                          <a:srgbClr val="00B050"/>
                        </a:solidFill>
                        <a:latin typeface="+mn-lt"/>
                        <a:ea typeface="+mn-ea"/>
                        <a:cs typeface="+mn-cs"/>
                      </a:endParaRPr>
                    </a:p>
                  </a:txBody>
                  <a:tcPr marL="121882" marR="121882" marT="60941" marB="60941">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45623723"/>
                  </a:ext>
                </a:extLst>
              </a:tr>
              <a:tr h="578625">
                <a:tc>
                  <a:txBody>
                    <a:bodyPr/>
                    <a:lstStyle/>
                    <a:p>
                      <a:pPr algn="ctr"/>
                      <a:r>
                        <a:rPr lang="en-US" sz="2400" kern="1200" dirty="0">
                          <a:solidFill>
                            <a:srgbClr val="00B0F0"/>
                          </a:solidFill>
                          <a:latin typeface="+mn-lt"/>
                          <a:ea typeface="+mn-ea"/>
                          <a:cs typeface="+mn-cs"/>
                        </a:rPr>
                        <a:t>7%</a:t>
                      </a:r>
                      <a:endParaRPr lang="ru-RU" sz="2400" kern="1200" dirty="0">
                        <a:solidFill>
                          <a:srgbClr val="00B0F0"/>
                        </a:solidFill>
                        <a:latin typeface="+mn-lt"/>
                        <a:ea typeface="+mn-ea"/>
                        <a:cs typeface="+mn-cs"/>
                      </a:endParaRPr>
                    </a:p>
                  </a:txBody>
                  <a:tcPr marL="121882" marR="121882" marT="60941" marB="60941">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ru-RU" sz="2400" kern="1200" dirty="0">
                          <a:solidFill>
                            <a:srgbClr val="00B0F0"/>
                          </a:solidFill>
                          <a:latin typeface="+mn-lt"/>
                          <a:ea typeface="+mn-ea"/>
                          <a:cs typeface="+mn-cs"/>
                        </a:rPr>
                        <a:t>44%</a:t>
                      </a:r>
                    </a:p>
                  </a:txBody>
                  <a:tcPr marL="121882" marR="121882" marT="60941" marB="60941">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ru-RU" sz="2400" kern="1200" dirty="0">
                          <a:solidFill>
                            <a:srgbClr val="00B0F0"/>
                          </a:solidFill>
                          <a:latin typeface="+mn-lt"/>
                          <a:ea typeface="+mn-ea"/>
                          <a:cs typeface="+mn-cs"/>
                        </a:rPr>
                        <a:t>38%</a:t>
                      </a:r>
                    </a:p>
                  </a:txBody>
                  <a:tcPr marL="121882" marR="121882" marT="60941" marB="60941">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ru-RU" sz="2400" kern="1200" dirty="0">
                          <a:solidFill>
                            <a:srgbClr val="00B0F0"/>
                          </a:solidFill>
                          <a:latin typeface="+mn-lt"/>
                          <a:ea typeface="+mn-ea"/>
                          <a:cs typeface="+mn-cs"/>
                        </a:rPr>
                        <a:t>6%</a:t>
                      </a:r>
                    </a:p>
                  </a:txBody>
                  <a:tcPr marL="121882" marR="121882" marT="60941" marB="60941">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ru-RU" sz="2400" kern="1200" dirty="0">
                          <a:solidFill>
                            <a:srgbClr val="00B0F0"/>
                          </a:solidFill>
                          <a:latin typeface="+mn-lt"/>
                          <a:ea typeface="+mn-ea"/>
                          <a:cs typeface="+mn-cs"/>
                        </a:rPr>
                        <a:t>7%</a:t>
                      </a:r>
                    </a:p>
                  </a:txBody>
                  <a:tcPr marL="121882" marR="121882" marT="60941" marB="60941">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ru-RU" sz="2400" kern="1200" dirty="0">
                          <a:solidFill>
                            <a:srgbClr val="00B0F0"/>
                          </a:solidFill>
                          <a:latin typeface="+mn-lt"/>
                          <a:ea typeface="+mn-ea"/>
                          <a:cs typeface="+mn-cs"/>
                        </a:rPr>
                        <a:t>0,3</a:t>
                      </a:r>
                    </a:p>
                  </a:txBody>
                  <a:tcPr marL="121882" marR="121882" marT="60941" marB="60941">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2400" kern="1200" dirty="0">
                          <a:solidFill>
                            <a:srgbClr val="00B0F0"/>
                          </a:solidFill>
                          <a:latin typeface="+mn-lt"/>
                          <a:ea typeface="+mn-ea"/>
                          <a:cs typeface="+mn-cs"/>
                        </a:rPr>
                        <a:t>N/A</a:t>
                      </a:r>
                      <a:endParaRPr lang="ru-RU" sz="2400" kern="1200" dirty="0">
                        <a:solidFill>
                          <a:srgbClr val="00B0F0"/>
                        </a:solidFill>
                        <a:latin typeface="+mn-lt"/>
                        <a:ea typeface="+mn-ea"/>
                        <a:cs typeface="+mn-cs"/>
                      </a:endParaRPr>
                    </a:p>
                  </a:txBody>
                  <a:tcPr marL="121882" marR="121882" marT="60941" marB="60941">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90637862"/>
                  </a:ext>
                </a:extLst>
              </a:tr>
              <a:tr h="771922">
                <a:tc>
                  <a:txBody>
                    <a:bodyPr/>
                    <a:lstStyle/>
                    <a:p>
                      <a:pPr marL="0" indent="0" algn="ctr" defTabSz="914400" rtl="0" eaLnBrk="1" latinLnBrk="0" hangingPunct="1"/>
                      <a:r>
                        <a:rPr lang="en-US" sz="1100" b="1" i="0" kern="1200" dirty="0">
                          <a:solidFill>
                            <a:srgbClr val="7030A0"/>
                          </a:solidFill>
                          <a:latin typeface="+mn-lt"/>
                          <a:ea typeface="+mn-ea"/>
                          <a:cs typeface="+mn-cs"/>
                        </a:rPr>
                        <a:t>LG</a:t>
                      </a:r>
                      <a:endParaRPr lang="ru-RU" sz="1100" b="1" i="0" kern="1200" dirty="0">
                        <a:solidFill>
                          <a:srgbClr val="7030A0"/>
                        </a:solidFill>
                        <a:latin typeface="+mn-lt"/>
                        <a:ea typeface="+mn-ea"/>
                        <a:cs typeface="+mn-cs"/>
                      </a:endParaRPr>
                    </a:p>
                    <a:p>
                      <a:pPr marL="0" indent="0" algn="ctr" defTabSz="914400" rtl="0" eaLnBrk="1" latinLnBrk="0" hangingPunct="1"/>
                      <a:r>
                        <a:rPr lang="en-US" sz="1100" b="1" i="0" kern="1200" dirty="0">
                          <a:solidFill>
                            <a:srgbClr val="7030A0"/>
                          </a:solidFill>
                          <a:latin typeface="+mn-lt"/>
                          <a:ea typeface="+mn-ea"/>
                          <a:cs typeface="+mn-cs"/>
                        </a:rPr>
                        <a:t>BOSCH</a:t>
                      </a:r>
                    </a:p>
                    <a:p>
                      <a:pPr marL="0" indent="0" algn="ctr" defTabSz="914400" rtl="0" eaLnBrk="1" latinLnBrk="0" hangingPunct="1"/>
                      <a:r>
                        <a:rPr lang="en-US" sz="1100" b="1" i="0" kern="1200" dirty="0">
                          <a:solidFill>
                            <a:srgbClr val="7030A0"/>
                          </a:solidFill>
                          <a:latin typeface="+mn-lt"/>
                          <a:ea typeface="+mn-ea"/>
                          <a:cs typeface="+mn-cs"/>
                        </a:rPr>
                        <a:t>SAMSUNG</a:t>
                      </a:r>
                    </a:p>
                    <a:p>
                      <a:pPr marL="0" indent="0" algn="ctr" defTabSz="914400" rtl="0" eaLnBrk="1" latinLnBrk="0" hangingPunct="1"/>
                      <a:endParaRPr lang="en-US" sz="1100" b="1" i="0" kern="1200" dirty="0">
                        <a:solidFill>
                          <a:srgbClr val="7030A0"/>
                        </a:solidFill>
                        <a:latin typeface="+mn-lt"/>
                        <a:ea typeface="+mn-ea"/>
                        <a:cs typeface="+mn-cs"/>
                      </a:endParaRPr>
                    </a:p>
                  </a:txBody>
                  <a:tcPr marL="121882" marR="121882" marT="60941" marB="60941">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defTabSz="914400" rtl="0" eaLnBrk="1" latinLnBrk="0" hangingPunct="1"/>
                      <a:r>
                        <a:rPr lang="en-US" sz="1100" b="1" i="0" kern="1200" dirty="0">
                          <a:solidFill>
                            <a:srgbClr val="7030A0"/>
                          </a:solidFill>
                          <a:latin typeface="+mn-lt"/>
                          <a:ea typeface="+mn-ea"/>
                          <a:cs typeface="+mn-cs"/>
                        </a:rPr>
                        <a:t>GORENJE</a:t>
                      </a:r>
                    </a:p>
                    <a:p>
                      <a:pPr marL="0" indent="0" algn="ctr" defTabSz="914400" rtl="0" eaLnBrk="1" latinLnBrk="0" hangingPunct="1"/>
                      <a:r>
                        <a:rPr lang="en-US" sz="1100" b="1" i="0" kern="1200" dirty="0">
                          <a:solidFill>
                            <a:srgbClr val="7030A0"/>
                          </a:solidFill>
                          <a:latin typeface="+mn-lt"/>
                          <a:ea typeface="+mn-ea"/>
                          <a:cs typeface="+mn-cs"/>
                        </a:rPr>
                        <a:t>BOSCH</a:t>
                      </a:r>
                    </a:p>
                    <a:p>
                      <a:pPr marL="0" indent="0" algn="ctr" defTabSz="914400" rtl="0" eaLnBrk="1" latinLnBrk="0" hangingPunct="1"/>
                      <a:r>
                        <a:rPr lang="en-US" sz="1100" b="1" i="0" kern="1200" dirty="0">
                          <a:solidFill>
                            <a:srgbClr val="7030A0"/>
                          </a:solidFill>
                          <a:latin typeface="+mn-lt"/>
                          <a:ea typeface="+mn-ea"/>
                          <a:cs typeface="+mn-cs"/>
                        </a:rPr>
                        <a:t>ELECTROLUX</a:t>
                      </a:r>
                    </a:p>
                  </a:txBody>
                  <a:tcPr marL="121882" marR="121882" marT="60941" marB="60941">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b="1" i="0" kern="1200" dirty="0">
                          <a:solidFill>
                            <a:srgbClr val="7030A0"/>
                          </a:solidFill>
                          <a:latin typeface="+mn-lt"/>
                          <a:ea typeface="+mn-ea"/>
                          <a:cs typeface="+mn-cs"/>
                        </a:rPr>
                        <a:t>BOSCH</a:t>
                      </a:r>
                    </a:p>
                    <a:p>
                      <a:pPr algn="ctr"/>
                      <a:r>
                        <a:rPr lang="en-US" sz="1100" b="1" i="0" kern="1200" dirty="0">
                          <a:solidFill>
                            <a:srgbClr val="7030A0"/>
                          </a:solidFill>
                          <a:latin typeface="+mn-lt"/>
                          <a:ea typeface="+mn-ea"/>
                          <a:cs typeface="+mn-cs"/>
                        </a:rPr>
                        <a:t>ELECTROLUX</a:t>
                      </a:r>
                    </a:p>
                    <a:p>
                      <a:pPr algn="ctr"/>
                      <a:r>
                        <a:rPr lang="en-US" sz="1100" b="1" i="0" kern="1200" dirty="0">
                          <a:solidFill>
                            <a:srgbClr val="7030A0"/>
                          </a:solidFill>
                          <a:latin typeface="+mn-lt"/>
                          <a:ea typeface="+mn-ea"/>
                          <a:cs typeface="+mn-cs"/>
                        </a:rPr>
                        <a:t>MIDEA</a:t>
                      </a:r>
                    </a:p>
                  </a:txBody>
                  <a:tcPr marL="121882" marR="121882" marT="60941" marB="60941">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b="1" i="0" kern="1200" dirty="0">
                          <a:solidFill>
                            <a:srgbClr val="7030A0"/>
                          </a:solidFill>
                          <a:latin typeface="+mn-lt"/>
                          <a:ea typeface="+mn-ea"/>
                          <a:cs typeface="+mn-cs"/>
                        </a:rPr>
                        <a:t>HAIER</a:t>
                      </a:r>
                    </a:p>
                    <a:p>
                      <a:pPr algn="ctr"/>
                      <a:r>
                        <a:rPr lang="en-US" sz="1100" b="1" i="0" kern="1200" dirty="0">
                          <a:solidFill>
                            <a:srgbClr val="7030A0"/>
                          </a:solidFill>
                          <a:latin typeface="+mn-lt"/>
                          <a:ea typeface="+mn-ea"/>
                          <a:cs typeface="+mn-cs"/>
                        </a:rPr>
                        <a:t>SAMSUNG</a:t>
                      </a:r>
                    </a:p>
                    <a:p>
                      <a:pPr algn="ctr"/>
                      <a:r>
                        <a:rPr lang="en-US" sz="1100" b="1" i="0" kern="1200" dirty="0">
                          <a:solidFill>
                            <a:srgbClr val="7030A0"/>
                          </a:solidFill>
                          <a:latin typeface="+mn-lt"/>
                          <a:ea typeface="+mn-ea"/>
                          <a:cs typeface="+mn-cs"/>
                        </a:rPr>
                        <a:t>LG</a:t>
                      </a:r>
                    </a:p>
                  </a:txBody>
                  <a:tcPr marL="121882" marR="121882" marT="60941" marB="60941">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b="1" i="0" kern="1200" dirty="0">
                          <a:solidFill>
                            <a:srgbClr val="7030A0"/>
                          </a:solidFill>
                          <a:latin typeface="+mn-lt"/>
                          <a:ea typeface="+mn-ea"/>
                          <a:cs typeface="+mn-cs"/>
                        </a:rPr>
                        <a:t>LG</a:t>
                      </a:r>
                    </a:p>
                    <a:p>
                      <a:pPr algn="ctr"/>
                      <a:r>
                        <a:rPr lang="en-US" sz="1100" b="1" i="0" kern="1200" dirty="0">
                          <a:solidFill>
                            <a:srgbClr val="7030A0"/>
                          </a:solidFill>
                          <a:latin typeface="+mn-lt"/>
                          <a:ea typeface="+mn-ea"/>
                          <a:cs typeface="+mn-cs"/>
                        </a:rPr>
                        <a:t>SAMSUNG</a:t>
                      </a:r>
                    </a:p>
                    <a:p>
                      <a:pPr algn="ctr"/>
                      <a:r>
                        <a:rPr lang="en-US" sz="1100" b="1" i="0" kern="1200" dirty="0">
                          <a:solidFill>
                            <a:srgbClr val="7030A0"/>
                          </a:solidFill>
                          <a:latin typeface="+mn-lt"/>
                          <a:ea typeface="+mn-ea"/>
                          <a:cs typeface="+mn-cs"/>
                        </a:rPr>
                        <a:t>ELECTROLUX</a:t>
                      </a:r>
                    </a:p>
                  </a:txBody>
                  <a:tcPr marL="121882" marR="121882" marT="60941" marB="60941">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b="1" i="0" kern="1200" dirty="0">
                          <a:solidFill>
                            <a:srgbClr val="7030A0"/>
                          </a:solidFill>
                          <a:latin typeface="+mn-lt"/>
                          <a:ea typeface="+mn-ea"/>
                          <a:cs typeface="+mn-cs"/>
                        </a:rPr>
                        <a:t>ELICA</a:t>
                      </a:r>
                    </a:p>
                    <a:p>
                      <a:pPr algn="ctr"/>
                      <a:r>
                        <a:rPr lang="en-US" sz="1100" b="1" i="0" kern="1200" dirty="0">
                          <a:solidFill>
                            <a:srgbClr val="7030A0"/>
                          </a:solidFill>
                          <a:latin typeface="+mn-lt"/>
                          <a:ea typeface="+mn-ea"/>
                          <a:cs typeface="+mn-cs"/>
                        </a:rPr>
                        <a:t>MIELE</a:t>
                      </a:r>
                      <a:endParaRPr lang="ru-RU" sz="1100" b="1" i="0" kern="1200" dirty="0">
                        <a:solidFill>
                          <a:srgbClr val="7030A0"/>
                        </a:solidFill>
                        <a:latin typeface="+mn-lt"/>
                        <a:ea typeface="+mn-ea"/>
                        <a:cs typeface="+mn-cs"/>
                      </a:endParaRPr>
                    </a:p>
                    <a:p>
                      <a:pPr algn="ctr"/>
                      <a:endParaRPr lang="ru-RU" sz="1100" b="1" i="0" kern="1200" dirty="0">
                        <a:solidFill>
                          <a:srgbClr val="7030A0"/>
                        </a:solidFill>
                        <a:latin typeface="+mn-lt"/>
                        <a:ea typeface="+mn-ea"/>
                        <a:cs typeface="+mn-cs"/>
                      </a:endParaRPr>
                    </a:p>
                  </a:txBody>
                  <a:tcPr marL="121882" marR="121882" marT="60941" marB="60941">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b="1" i="0" kern="1200" dirty="0">
                          <a:solidFill>
                            <a:srgbClr val="7030A0"/>
                          </a:solidFill>
                          <a:latin typeface="+mn-lt"/>
                          <a:ea typeface="+mn-ea"/>
                          <a:cs typeface="+mn-cs"/>
                        </a:rPr>
                        <a:t>MIELE</a:t>
                      </a:r>
                    </a:p>
                    <a:p>
                      <a:pPr algn="ctr"/>
                      <a:r>
                        <a:rPr lang="en-US" sz="1100" b="1" i="0" kern="1200" dirty="0">
                          <a:solidFill>
                            <a:srgbClr val="7030A0"/>
                          </a:solidFill>
                          <a:latin typeface="+mn-lt"/>
                          <a:ea typeface="+mn-ea"/>
                          <a:cs typeface="+mn-cs"/>
                        </a:rPr>
                        <a:t>BOSCH</a:t>
                      </a:r>
                    </a:p>
                    <a:p>
                      <a:pPr algn="ctr"/>
                      <a:r>
                        <a:rPr lang="en-US" sz="1100" b="1" i="0" kern="1200" dirty="0">
                          <a:solidFill>
                            <a:srgbClr val="7030A0"/>
                          </a:solidFill>
                          <a:latin typeface="+mn-lt"/>
                          <a:ea typeface="+mn-ea"/>
                          <a:cs typeface="+mn-cs"/>
                        </a:rPr>
                        <a:t>ELECTROLUX</a:t>
                      </a:r>
                      <a:endParaRPr lang="ru-RU" sz="1100" b="1" i="0" kern="1200" dirty="0">
                        <a:solidFill>
                          <a:srgbClr val="7030A0"/>
                        </a:solidFill>
                        <a:latin typeface="+mn-lt"/>
                        <a:ea typeface="+mn-ea"/>
                        <a:cs typeface="+mn-cs"/>
                      </a:endParaRPr>
                    </a:p>
                  </a:txBody>
                  <a:tcPr marL="121882" marR="121882" marT="60941" marB="60941">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55186324"/>
                  </a:ext>
                </a:extLst>
              </a:tr>
            </a:tbl>
          </a:graphicData>
        </a:graphic>
      </p:graphicFrame>
      <p:cxnSp>
        <p:nvCxnSpPr>
          <p:cNvPr id="30" name="Прямая соединительная линия 29"/>
          <p:cNvCxnSpPr/>
          <p:nvPr/>
        </p:nvCxnSpPr>
        <p:spPr>
          <a:xfrm>
            <a:off x="8111345" y="4194221"/>
            <a:ext cx="0" cy="2391262"/>
          </a:xfrm>
          <a:prstGeom prst="line">
            <a:avLst/>
          </a:prstGeom>
          <a:ln w="9525" cap="flat" cmpd="sng" algn="ctr">
            <a:solidFill>
              <a:schemeClr val="bg2">
                <a:lumMod val="40000"/>
                <a:lumOff val="60000"/>
              </a:schemeClr>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33" name="TextBox 32"/>
          <p:cNvSpPr txBox="1"/>
          <p:nvPr/>
        </p:nvSpPr>
        <p:spPr bwMode="gray">
          <a:xfrm>
            <a:off x="5217258" y="2331185"/>
            <a:ext cx="1306177" cy="369332"/>
          </a:xfrm>
          <a:prstGeom prst="rect">
            <a:avLst/>
          </a:prstGeom>
          <a:noFill/>
        </p:spPr>
        <p:txBody>
          <a:bodyPr wrap="square" lIns="0" tIns="0" rIns="0" bIns="0" rtlCol="0">
            <a:spAutoFit/>
          </a:bodyPr>
          <a:lstStyle/>
          <a:p>
            <a:pPr marL="0" marR="0" lvl="0" indent="0" algn="ctr" defTabSz="1218804" rtl="0" eaLnBrk="1" fontAlgn="auto" latinLnBrk="0" hangingPunct="1">
              <a:lnSpc>
                <a:spcPct val="100000"/>
              </a:lnSpc>
              <a:spcBef>
                <a:spcPts val="40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Cooling:</a:t>
            </a:r>
            <a:br>
              <a:rPr kumimoji="0" lang="en-US" sz="1200" b="0" i="0" u="none" strike="noStrike" kern="1200" cap="none" spc="0" normalizeH="0" baseline="0" noProof="0" dirty="0">
                <a:ln>
                  <a:noFill/>
                </a:ln>
                <a:solidFill>
                  <a:srgbClr val="000000"/>
                </a:solidFill>
                <a:effectLst/>
                <a:uLnTx/>
                <a:uFillTx/>
                <a:latin typeface="Arial"/>
                <a:ea typeface="+mn-ea"/>
                <a:cs typeface="+mn-cs"/>
              </a:rPr>
            </a:br>
            <a:r>
              <a:rPr kumimoji="0" lang="en-US" sz="1200" b="1" i="0" u="none" strike="noStrike" kern="1200" cap="none" spc="0" normalizeH="0" baseline="0" noProof="0" dirty="0">
                <a:ln>
                  <a:noFill/>
                </a:ln>
                <a:solidFill>
                  <a:srgbClr val="000000"/>
                </a:solidFill>
                <a:effectLst/>
                <a:uLnTx/>
                <a:uFillTx/>
                <a:latin typeface="Arial"/>
                <a:ea typeface="+mn-ea"/>
                <a:cs typeface="+mn-cs"/>
              </a:rPr>
              <a:t>3+doors</a:t>
            </a:r>
            <a:endParaRPr kumimoji="0" lang="ru-RU" sz="1200" b="1" i="0" u="none" strike="noStrike" kern="1200" cap="none" spc="0" normalizeH="0" baseline="0" noProof="0" dirty="0">
              <a:ln>
                <a:noFill/>
              </a:ln>
              <a:solidFill>
                <a:srgbClr val="000000"/>
              </a:solidFill>
              <a:effectLst/>
              <a:uLnTx/>
              <a:uFillTx/>
              <a:latin typeface="Arial"/>
              <a:ea typeface="+mn-ea"/>
              <a:cs typeface="+mn-cs"/>
            </a:endParaRPr>
          </a:p>
        </p:txBody>
      </p:sp>
      <p:pic>
        <p:nvPicPr>
          <p:cNvPr id="7" name="Рисунок 6"/>
          <p:cNvPicPr>
            <a:picLocks noChangeAspect="1"/>
          </p:cNvPicPr>
          <p:nvPr/>
        </p:nvPicPr>
        <p:blipFill>
          <a:blip r:embed="rId7"/>
          <a:stretch>
            <a:fillRect/>
          </a:stretch>
        </p:blipFill>
        <p:spPr>
          <a:xfrm>
            <a:off x="10118513" y="2724218"/>
            <a:ext cx="1332191" cy="1332191"/>
          </a:xfrm>
          <a:prstGeom prst="rect">
            <a:avLst/>
          </a:prstGeom>
        </p:spPr>
      </p:pic>
      <p:pic>
        <p:nvPicPr>
          <p:cNvPr id="11" name="Рисунок 10"/>
          <p:cNvPicPr>
            <a:picLocks noChangeAspect="1"/>
          </p:cNvPicPr>
          <p:nvPr/>
        </p:nvPicPr>
        <p:blipFill>
          <a:blip r:embed="rId8"/>
          <a:stretch>
            <a:fillRect/>
          </a:stretch>
        </p:blipFill>
        <p:spPr>
          <a:xfrm>
            <a:off x="5198772" y="2742435"/>
            <a:ext cx="1433322" cy="1433322"/>
          </a:xfrm>
          <a:prstGeom prst="rect">
            <a:avLst/>
          </a:prstGeom>
        </p:spPr>
      </p:pic>
      <p:sp>
        <p:nvSpPr>
          <p:cNvPr id="32" name="Inhaltsplatzhalter 17">
            <a:extLst>
              <a:ext uri="{FF2B5EF4-FFF2-40B4-BE49-F238E27FC236}">
                <a16:creationId xmlns:a16="http://schemas.microsoft.com/office/drawing/2014/main" id="{E73F2902-C94E-4CDE-A733-FFC13E0ED34E}"/>
              </a:ext>
            </a:extLst>
          </p:cNvPr>
          <p:cNvSpPr txBox="1">
            <a:spLocks/>
          </p:cNvSpPr>
          <p:nvPr/>
        </p:nvSpPr>
        <p:spPr bwMode="gray">
          <a:xfrm>
            <a:off x="461721" y="905205"/>
            <a:ext cx="8926396" cy="480485"/>
          </a:xfrm>
          <a:prstGeom prst="rect">
            <a:avLst/>
          </a:prstGeom>
        </p:spPr>
        <p:txBody>
          <a:bodyPr>
            <a:normAutofit fontScale="70000" lnSpcReduction="20000"/>
          </a:bodyPr>
          <a:lstStyle>
            <a:lvl1pPr marL="0" indent="0" algn="l" defTabSz="914400" rtl="0" eaLnBrk="1" latinLnBrk="0" hangingPunct="1">
              <a:spcBef>
                <a:spcPts val="600"/>
              </a:spcBef>
              <a:spcAft>
                <a:spcPts val="0"/>
              </a:spcAft>
              <a:buFont typeface="Arial" pitchFamily="34" charset="0"/>
              <a:buNone/>
              <a:defRPr sz="1800" kern="1200">
                <a:solidFill>
                  <a:schemeClr val="tx2"/>
                </a:solidFill>
                <a:latin typeface="Arial" pitchFamily="34" charset="0"/>
                <a:ea typeface="+mn-ea"/>
                <a:cs typeface="Arial" pitchFamily="34" charset="0"/>
              </a:defRPr>
            </a:lvl1pPr>
            <a:lvl2pPr marL="0" indent="0" algn="l" defTabSz="914400" rtl="0" eaLnBrk="1" latinLnBrk="0" hangingPunct="1">
              <a:spcBef>
                <a:spcPts val="600"/>
              </a:spcBef>
              <a:spcAft>
                <a:spcPts val="0"/>
              </a:spcAft>
              <a:buFont typeface="Arial" pitchFamily="34" charset="0"/>
              <a:buNone/>
              <a:defRPr sz="1600" kern="1200">
                <a:solidFill>
                  <a:schemeClr val="tx1"/>
                </a:solidFill>
                <a:latin typeface="Arial" pitchFamily="34" charset="0"/>
                <a:ea typeface="+mn-ea"/>
                <a:cs typeface="Arial" pitchFamily="34" charset="0"/>
              </a:defRPr>
            </a:lvl2pPr>
            <a:lvl3pPr marL="180975" indent="-180975" algn="l" defTabSz="914400" rtl="0" eaLnBrk="1" latinLnBrk="0" hangingPunct="1">
              <a:spcBef>
                <a:spcPts val="300"/>
              </a:spcBef>
              <a:spcAft>
                <a:spcPts val="0"/>
              </a:spcAft>
              <a:buFont typeface="Arial" pitchFamily="34" charset="0"/>
              <a:buChar char="•"/>
              <a:defRPr sz="1600" kern="1200">
                <a:solidFill>
                  <a:schemeClr val="tx1"/>
                </a:solidFill>
                <a:latin typeface="Arial" pitchFamily="34" charset="0"/>
                <a:ea typeface="+mn-ea"/>
                <a:cs typeface="Arial" pitchFamily="34" charset="0"/>
              </a:defRPr>
            </a:lvl3pPr>
            <a:lvl4pPr marL="360000" indent="-180975" algn="l" defTabSz="914400" rtl="0" eaLnBrk="1" latinLnBrk="0" hangingPunct="1">
              <a:spcBef>
                <a:spcPts val="300"/>
              </a:spcBef>
              <a:spcAft>
                <a:spcPts val="0"/>
              </a:spcAft>
              <a:buFont typeface="Arial" pitchFamily="34" charset="0"/>
              <a:buChar char="•"/>
              <a:defRPr sz="1600" kern="1200">
                <a:solidFill>
                  <a:schemeClr val="tx1"/>
                </a:solidFill>
                <a:latin typeface="Arial" pitchFamily="34" charset="0"/>
                <a:ea typeface="+mn-ea"/>
                <a:cs typeface="Arial" pitchFamily="34" charset="0"/>
              </a:defRPr>
            </a:lvl4pPr>
            <a:lvl5pPr marL="540000" indent="-180975" algn="l" defTabSz="914400" rtl="0" eaLnBrk="1" latinLnBrk="0" hangingPunct="1">
              <a:spcBef>
                <a:spcPts val="300"/>
              </a:spcBef>
              <a:spcAft>
                <a:spcPts val="0"/>
              </a:spcAft>
              <a:buFont typeface="Arial" pitchFamily="34" charset="0"/>
              <a:buChar char="•"/>
              <a:defRPr sz="1600" b="0" kern="1200" baseline="0">
                <a:solidFill>
                  <a:schemeClr val="tx1"/>
                </a:solidFill>
                <a:latin typeface="Arial" pitchFamily="34" charset="0"/>
                <a:ea typeface="+mn-ea"/>
                <a:cs typeface="Arial" pitchFamily="34" charset="0"/>
              </a:defRPr>
            </a:lvl5pPr>
            <a:lvl6pPr marL="540000" indent="-180975" algn="l" defTabSz="914400" rtl="0" eaLnBrk="1" latinLnBrk="0" hangingPunct="1">
              <a:spcBef>
                <a:spcPts val="300"/>
              </a:spcBef>
              <a:spcAft>
                <a:spcPts val="0"/>
              </a:spcAft>
              <a:buFont typeface="Arial" pitchFamily="34" charset="0"/>
              <a:buChar char="•"/>
              <a:defRPr sz="1600" kern="1200">
                <a:solidFill>
                  <a:schemeClr val="tx1"/>
                </a:solidFill>
                <a:latin typeface="Arial" pitchFamily="34" charset="0"/>
                <a:ea typeface="+mn-ea"/>
                <a:cs typeface="Arial" pitchFamily="34" charset="0"/>
              </a:defRPr>
            </a:lvl6pPr>
            <a:lvl7pPr marL="540000" indent="-180975" algn="l" defTabSz="914400" rtl="0" eaLnBrk="1" latinLnBrk="0" hangingPunct="1">
              <a:spcBef>
                <a:spcPts val="300"/>
              </a:spcBef>
              <a:spcAft>
                <a:spcPts val="0"/>
              </a:spcAft>
              <a:buFont typeface="Arial" pitchFamily="34" charset="0"/>
              <a:buChar char="•"/>
              <a:defRPr sz="1600" kern="1200">
                <a:solidFill>
                  <a:schemeClr val="tx1"/>
                </a:solidFill>
                <a:latin typeface="Arial" pitchFamily="34" charset="0"/>
                <a:ea typeface="+mn-ea"/>
                <a:cs typeface="Arial" pitchFamily="34" charset="0"/>
              </a:defRPr>
            </a:lvl7pPr>
            <a:lvl8pPr marL="542925" indent="-180975" algn="l" defTabSz="914400" rtl="0" eaLnBrk="1" latinLnBrk="0" hangingPunct="1">
              <a:spcBef>
                <a:spcPts val="300"/>
              </a:spcBef>
              <a:spcAft>
                <a:spcPts val="0"/>
              </a:spcAft>
              <a:buFont typeface="Arial" pitchFamily="34" charset="0"/>
              <a:buChar char="•"/>
              <a:defRPr sz="1600" kern="1200">
                <a:solidFill>
                  <a:schemeClr val="tx1"/>
                </a:solidFill>
                <a:latin typeface="Arial" pitchFamily="34" charset="0"/>
                <a:ea typeface="+mn-ea"/>
                <a:cs typeface="Arial" pitchFamily="34" charset="0"/>
              </a:defRPr>
            </a:lvl8pPr>
            <a:lvl9pPr marL="540000" indent="-180975" algn="l" defTabSz="914400" rtl="0" eaLnBrk="1" latinLnBrk="0" hangingPunct="1">
              <a:spcBef>
                <a:spcPts val="300"/>
              </a:spcBef>
              <a:spcAft>
                <a:spcPts val="0"/>
              </a:spcAft>
              <a:buFont typeface="Arial" pitchFamily="34" charset="0"/>
              <a:buChar char="•"/>
              <a:defRPr sz="1600" kern="1200">
                <a:solidFill>
                  <a:schemeClr val="tx1"/>
                </a:solidFill>
                <a:latin typeface="Arial" pitchFamily="34" charset="0"/>
                <a:ea typeface="+mn-ea"/>
                <a:cs typeface="Arial" pitchFamily="34" charset="0"/>
              </a:defRPr>
            </a:lvl9pPr>
          </a:lstStyle>
          <a:p>
            <a:pPr lvl="0" defTabSz="1218804">
              <a:spcBef>
                <a:spcPts val="800"/>
              </a:spcBef>
              <a:defRPr/>
            </a:pPr>
            <a:r>
              <a:rPr kumimoji="0" lang="en-US" sz="2399" b="0" i="0" u="none" strike="noStrike" kern="1200" cap="none" spc="0" normalizeH="0" baseline="0" noProof="0" dirty="0">
                <a:ln>
                  <a:noFill/>
                </a:ln>
                <a:solidFill>
                  <a:srgbClr val="E55A00"/>
                </a:solidFill>
                <a:effectLst/>
                <a:uLnTx/>
                <a:uFillTx/>
                <a:latin typeface="Arial" pitchFamily="34" charset="0"/>
                <a:ea typeface="+mn-ea"/>
                <a:cs typeface="Arial" pitchFamily="34" charset="0"/>
              </a:rPr>
              <a:t>Mio LC| </a:t>
            </a:r>
            <a:r>
              <a:rPr kumimoji="0" lang="en-US" sz="2399" b="0" i="0" u="none" strike="noStrike" kern="1200" cap="none" spc="0" normalizeH="0" baseline="0" noProof="0" dirty="0">
                <a:ln>
                  <a:noFill/>
                </a:ln>
                <a:solidFill>
                  <a:srgbClr val="00B050"/>
                </a:solidFill>
                <a:effectLst/>
                <a:uLnTx/>
                <a:uFillTx/>
                <a:latin typeface="Arial" pitchFamily="34" charset="0"/>
                <a:ea typeface="+mn-ea"/>
                <a:cs typeface="Arial" pitchFamily="34" charset="0"/>
              </a:rPr>
              <a:t>Growth</a:t>
            </a:r>
            <a:r>
              <a:rPr kumimoji="0" lang="en-US" sz="2399" b="0" i="0" u="none" strike="noStrike" kern="1200" cap="none" spc="0" normalizeH="0" baseline="0" noProof="0" dirty="0">
                <a:ln>
                  <a:noFill/>
                </a:ln>
                <a:solidFill>
                  <a:srgbClr val="E55A00"/>
                </a:solidFill>
                <a:effectLst/>
                <a:uLnTx/>
                <a:uFillTx/>
                <a:latin typeface="Arial" pitchFamily="34" charset="0"/>
                <a:ea typeface="+mn-ea"/>
                <a:cs typeface="Arial" pitchFamily="34" charset="0"/>
              </a:rPr>
              <a:t> LC</a:t>
            </a:r>
            <a:r>
              <a:rPr kumimoji="0" lang="en-US" sz="1599" b="1" i="0" u="none" strike="noStrike" kern="1200" cap="none" spc="0" normalizeH="0" baseline="0" noProof="0" dirty="0">
                <a:ln>
                  <a:noFill/>
                </a:ln>
                <a:solidFill>
                  <a:srgbClr val="00B050"/>
                </a:solidFill>
                <a:effectLst/>
                <a:uLnTx/>
                <a:uFillTx/>
                <a:latin typeface="Arial" pitchFamily="34" charset="0"/>
                <a:ea typeface="+mn-ea"/>
                <a:cs typeface="Arial" pitchFamily="34" charset="0"/>
              </a:rPr>
              <a:t> </a:t>
            </a:r>
            <a:r>
              <a:rPr kumimoji="0" lang="en-US" sz="2399" b="0" i="0" u="none" strike="noStrike" kern="1200" cap="none" spc="0" normalizeH="0" baseline="0" noProof="0" dirty="0">
                <a:ln>
                  <a:noFill/>
                </a:ln>
                <a:solidFill>
                  <a:srgbClr val="E55A00"/>
                </a:solidFill>
                <a:effectLst/>
                <a:uLnTx/>
                <a:uFillTx/>
                <a:latin typeface="Arial" pitchFamily="34" charset="0"/>
                <a:ea typeface="+mn-ea"/>
                <a:cs typeface="Arial" pitchFamily="34" charset="0"/>
              </a:rPr>
              <a:t>| </a:t>
            </a:r>
            <a:r>
              <a:rPr kumimoji="0" lang="en-US" sz="2399" b="0" i="0" u="none" strike="noStrike" kern="1200" cap="none" spc="0" normalizeH="0" baseline="0" noProof="0" dirty="0">
                <a:ln>
                  <a:noFill/>
                </a:ln>
                <a:solidFill>
                  <a:srgbClr val="7030A0"/>
                </a:solidFill>
                <a:effectLst/>
                <a:uLnTx/>
                <a:uFillTx/>
                <a:latin typeface="Arial" pitchFamily="34" charset="0"/>
                <a:ea typeface="+mn-ea"/>
                <a:cs typeface="Arial" pitchFamily="34" charset="0"/>
              </a:rPr>
              <a:t>Top</a:t>
            </a:r>
            <a:r>
              <a:rPr kumimoji="0" lang="en-US" sz="2399" b="0" i="0" u="none" strike="noStrike" kern="1200" cap="none" spc="0" normalizeH="0" baseline="0" noProof="0" dirty="0">
                <a:ln>
                  <a:noFill/>
                </a:ln>
                <a:solidFill>
                  <a:srgbClr val="E55A00"/>
                </a:solidFill>
                <a:effectLst/>
                <a:uLnTx/>
                <a:uFillTx/>
                <a:latin typeface="Arial" pitchFamily="34" charset="0"/>
                <a:ea typeface="+mn-ea"/>
                <a:cs typeface="Arial" pitchFamily="34" charset="0"/>
              </a:rPr>
              <a:t> 3 brands| </a:t>
            </a:r>
            <a:r>
              <a:rPr lang="en-US" sz="2399" dirty="0">
                <a:solidFill>
                  <a:srgbClr val="00B0F0"/>
                </a:solidFill>
              </a:rPr>
              <a:t>Share within PG</a:t>
            </a:r>
            <a:r>
              <a:rPr lang="en-US" sz="2399" dirty="0">
                <a:solidFill>
                  <a:srgbClr val="E55A00"/>
                </a:solidFill>
              </a:rPr>
              <a:t>| Jan-</a:t>
            </a:r>
            <a:r>
              <a:rPr kumimoji="0" lang="ru-RU" sz="2399" b="0" i="0" u="none" strike="noStrike" kern="1200" cap="none" spc="0" normalizeH="0" baseline="0" noProof="0" dirty="0">
                <a:ln>
                  <a:noFill/>
                </a:ln>
                <a:solidFill>
                  <a:srgbClr val="E55A00"/>
                </a:solidFill>
                <a:effectLst/>
                <a:uLnTx/>
                <a:uFillTx/>
                <a:latin typeface="Arial" pitchFamily="34" charset="0"/>
                <a:ea typeface="+mn-ea"/>
                <a:cs typeface="Arial" pitchFamily="34" charset="0"/>
              </a:rPr>
              <a:t> </a:t>
            </a:r>
            <a:r>
              <a:rPr kumimoji="0" lang="en-US" sz="2399" b="0" i="0" u="none" strike="noStrike" kern="1200" cap="none" spc="0" normalizeH="0" baseline="0" noProof="0" dirty="0">
                <a:ln>
                  <a:noFill/>
                </a:ln>
                <a:solidFill>
                  <a:srgbClr val="E55A00"/>
                </a:solidFill>
                <a:effectLst/>
                <a:uLnTx/>
                <a:uFillTx/>
                <a:latin typeface="Arial" pitchFamily="34" charset="0"/>
                <a:ea typeface="+mn-ea"/>
                <a:cs typeface="Arial" pitchFamily="34" charset="0"/>
              </a:rPr>
              <a:t>Apr 2020 vs. Jan-Apr 2019</a:t>
            </a:r>
            <a:endParaRPr kumimoji="0" lang="ru-RU" sz="2399" b="0" i="0" u="none" strike="noStrike" kern="1200" cap="none" spc="0" normalizeH="0" baseline="0" noProof="0" dirty="0">
              <a:ln>
                <a:noFill/>
              </a:ln>
              <a:solidFill>
                <a:srgbClr val="E55A00"/>
              </a:solidFill>
              <a:effectLst/>
              <a:uLnTx/>
              <a:uFillTx/>
              <a:latin typeface="Arial" pitchFamily="34" charset="0"/>
              <a:ea typeface="+mn-ea"/>
              <a:cs typeface="Arial" pitchFamily="34" charset="0"/>
            </a:endParaRPr>
          </a:p>
        </p:txBody>
      </p:sp>
    </p:spTree>
    <p:extLst>
      <p:ext uri="{BB962C8B-B14F-4D97-AF65-F5344CB8AC3E}">
        <p14:creationId xmlns:p14="http://schemas.microsoft.com/office/powerpoint/2010/main" val="4957395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16"/>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F3E29E4-0979-4FCA-B4C5-5FC6044C982A}" type="slidenum">
              <a:rPr kumimoji="0" lang="en-US" sz="800" b="0" i="0" u="none" strike="noStrike" kern="1200" cap="none" spc="0" normalizeH="0" baseline="0" noProof="0" smtClean="0">
                <a:ln>
                  <a:noFill/>
                </a:ln>
                <a:solidFill>
                  <a:srgbClr val="414549"/>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US" sz="800" b="0" i="0" u="none" strike="noStrike" kern="1200" cap="none" spc="0" normalizeH="0" baseline="0" noProof="0">
              <a:ln>
                <a:noFill/>
              </a:ln>
              <a:solidFill>
                <a:srgbClr val="414549"/>
              </a:solidFill>
              <a:effectLst/>
              <a:uLnTx/>
              <a:uFillTx/>
              <a:latin typeface="Arial"/>
              <a:ea typeface="+mn-ea"/>
              <a:cs typeface="+mn-cs"/>
            </a:endParaRPr>
          </a:p>
        </p:txBody>
      </p:sp>
      <p:sp>
        <p:nvSpPr>
          <p:cNvPr id="10" name="Заголовок 2">
            <a:extLst>
              <a:ext uri="{FF2B5EF4-FFF2-40B4-BE49-F238E27FC236}">
                <a16:creationId xmlns:a16="http://schemas.microsoft.com/office/drawing/2014/main" id="{FAD2D4C9-74C0-406C-B027-B8F2CD16FB16}"/>
              </a:ext>
            </a:extLst>
          </p:cNvPr>
          <p:cNvSpPr txBox="1">
            <a:spLocks/>
          </p:cNvSpPr>
          <p:nvPr/>
        </p:nvSpPr>
        <p:spPr bwMode="gray">
          <a:xfrm>
            <a:off x="1075061" y="288923"/>
            <a:ext cx="9700939" cy="648000"/>
          </a:xfrm>
          <a:prstGeom prst="rect">
            <a:avLst/>
          </a:prstGeom>
        </p:spPr>
        <p:txBody>
          <a:bodyPr vert="horz" lIns="0" tIns="0" rIns="0" bIns="0" rtlCol="0" anchor="t">
            <a:noAutofit/>
          </a:bodyPr>
          <a:lstStyle>
            <a:lvl1pPr algn="l" defTabSz="914400" rtl="0" eaLnBrk="1" latinLnBrk="0" hangingPunct="1">
              <a:lnSpc>
                <a:spcPct val="100000"/>
              </a:lnSpc>
              <a:spcBef>
                <a:spcPct val="0"/>
              </a:spcBef>
              <a:buNone/>
              <a:defRPr sz="3600"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3600" b="0" i="0" u="none" strike="noStrike" kern="1200" cap="none" spc="0" normalizeH="0" baseline="0" noProof="0" dirty="0">
                <a:ln>
                  <a:noFill/>
                </a:ln>
                <a:solidFill>
                  <a:srgbClr val="414549"/>
                </a:solidFill>
                <a:effectLst/>
                <a:uLnTx/>
                <a:uFillTx/>
                <a:latin typeface="Lato Light"/>
                <a:ea typeface="+mj-ea"/>
                <a:cs typeface="+mj-cs"/>
              </a:rPr>
              <a:t>Conclusion</a:t>
            </a:r>
          </a:p>
        </p:txBody>
      </p:sp>
      <p:sp>
        <p:nvSpPr>
          <p:cNvPr id="2" name="TextBox 1">
            <a:extLst>
              <a:ext uri="{FF2B5EF4-FFF2-40B4-BE49-F238E27FC236}">
                <a16:creationId xmlns:a16="http://schemas.microsoft.com/office/drawing/2014/main" id="{572DB63A-D30F-49A3-9D4D-B3CD10FB9A0A}"/>
              </a:ext>
            </a:extLst>
          </p:cNvPr>
          <p:cNvSpPr txBox="1"/>
          <p:nvPr/>
        </p:nvSpPr>
        <p:spPr>
          <a:xfrm>
            <a:off x="584461" y="1197258"/>
            <a:ext cx="10803118" cy="4917500"/>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285750" marR="0" lvl="0" indent="-285750" algn="l" defTabSz="914400" rtl="0" eaLnBrk="1" fontAlgn="auto" latinLnBrk="0" hangingPunct="1">
              <a:lnSpc>
                <a:spcPct val="150000"/>
              </a:lnSpc>
              <a:spcBef>
                <a:spcPts val="0"/>
              </a:spcBef>
              <a:spcAft>
                <a:spcPts val="0"/>
              </a:spcAft>
              <a:buClr>
                <a:srgbClr val="E55A00"/>
              </a:buClr>
              <a:buSzTx/>
              <a:buFont typeface="Wingdings"/>
              <a:buChar char="§"/>
              <a:tabLst/>
              <a:defRPr/>
            </a:pPr>
            <a:r>
              <a:rPr lang="en-GB" sz="2400" dirty="0">
                <a:solidFill>
                  <a:srgbClr val="414549"/>
                </a:solidFill>
                <a:latin typeface="Arial"/>
                <a:ea typeface="+mn-lt"/>
                <a:cs typeface="Arial"/>
              </a:rPr>
              <a:t>Despite all challenges, the T</a:t>
            </a:r>
            <a:r>
              <a:rPr lang="en-US" sz="2400" dirty="0">
                <a:solidFill>
                  <a:srgbClr val="414549"/>
                </a:solidFill>
                <a:latin typeface="Arial"/>
                <a:ea typeface="+mn-lt"/>
                <a:cs typeface="Arial"/>
              </a:rPr>
              <a:t>CG </a:t>
            </a:r>
            <a:r>
              <a:rPr lang="en-GB" sz="2400" dirty="0">
                <a:solidFill>
                  <a:srgbClr val="414549"/>
                </a:solidFill>
                <a:latin typeface="Arial"/>
                <a:ea typeface="+mn-lt"/>
                <a:cs typeface="Arial"/>
              </a:rPr>
              <a:t>market demonstrates growth +11%(w1-w23), +14% for Home &amp; Lifestyle sector</a:t>
            </a:r>
          </a:p>
          <a:p>
            <a:pPr marL="285750" marR="0" lvl="0" indent="-285750" algn="l" defTabSz="914400" rtl="0" eaLnBrk="1" fontAlgn="auto" latinLnBrk="0" hangingPunct="1">
              <a:lnSpc>
                <a:spcPct val="150000"/>
              </a:lnSpc>
              <a:spcBef>
                <a:spcPts val="0"/>
              </a:spcBef>
              <a:spcAft>
                <a:spcPts val="0"/>
              </a:spcAft>
              <a:buClr>
                <a:srgbClr val="E55A00"/>
              </a:buClr>
              <a:buSzTx/>
              <a:buFont typeface="Wingdings"/>
              <a:buChar char="§"/>
              <a:tabLst/>
              <a:defRPr/>
            </a:pPr>
            <a:r>
              <a:rPr lang="en-GB" sz="2400" dirty="0">
                <a:solidFill>
                  <a:srgbClr val="414549"/>
                </a:solidFill>
                <a:latin typeface="Arial"/>
                <a:ea typeface="+mn-lt"/>
                <a:cs typeface="Arial"/>
              </a:rPr>
              <a:t>Lockdown had more significant impact on smaller players, some of which will not recover-the market will become more consolidated</a:t>
            </a:r>
          </a:p>
          <a:p>
            <a:pPr marL="285750" marR="0" lvl="0" indent="-285750" algn="l" defTabSz="914400" rtl="0" eaLnBrk="1" fontAlgn="auto" latinLnBrk="0" hangingPunct="1">
              <a:lnSpc>
                <a:spcPct val="150000"/>
              </a:lnSpc>
              <a:spcBef>
                <a:spcPts val="0"/>
              </a:spcBef>
              <a:spcAft>
                <a:spcPts val="0"/>
              </a:spcAft>
              <a:buClr>
                <a:srgbClr val="E55A00"/>
              </a:buClr>
              <a:buSzTx/>
              <a:buFont typeface="Wingdings"/>
              <a:buChar char="§"/>
              <a:tabLst/>
              <a:defRPr/>
            </a:pPr>
            <a:r>
              <a:rPr lang="en-GB" sz="2400" dirty="0">
                <a:solidFill>
                  <a:srgbClr val="414549"/>
                </a:solidFill>
                <a:latin typeface="Arial"/>
                <a:ea typeface="+mn-lt"/>
                <a:cs typeface="Arial"/>
              </a:rPr>
              <a:t>Retailers will continue to develop online by improving the website, delivery, online marketing, and presence on marketplaces-online share will increase</a:t>
            </a:r>
          </a:p>
          <a:p>
            <a:pPr marL="285750" marR="0" lvl="0" indent="-285750" algn="l" defTabSz="914400" rtl="0" eaLnBrk="1" fontAlgn="auto" latinLnBrk="0" hangingPunct="1">
              <a:lnSpc>
                <a:spcPct val="150000"/>
              </a:lnSpc>
              <a:spcBef>
                <a:spcPts val="0"/>
              </a:spcBef>
              <a:spcAft>
                <a:spcPts val="0"/>
              </a:spcAft>
              <a:buClr>
                <a:srgbClr val="E55A00"/>
              </a:buClr>
              <a:buSzTx/>
              <a:buFont typeface="Wingdings"/>
              <a:buChar char="§"/>
              <a:tabLst/>
              <a:defRPr/>
            </a:pPr>
            <a:r>
              <a:rPr lang="en-GB" sz="2400" dirty="0">
                <a:solidFill>
                  <a:srgbClr val="414549"/>
                </a:solidFill>
                <a:latin typeface="Arial"/>
                <a:ea typeface="+mn-lt"/>
                <a:cs typeface="Arial"/>
              </a:rPr>
              <a:t>Consumer has changed and became even more demanding, rational and digital-importance of right touchpoints, omnichannel and providing value for money  </a:t>
            </a:r>
            <a:endParaRPr kumimoji="0" lang="en-GB" sz="2400" b="0" i="0" u="none" strike="noStrike" kern="1200" cap="none" spc="0" normalizeH="0" baseline="0" noProof="0" dirty="0">
              <a:ln>
                <a:noFill/>
              </a:ln>
              <a:solidFill>
                <a:srgbClr val="414549"/>
              </a:solidFill>
              <a:effectLst/>
              <a:uLnTx/>
              <a:uFillTx/>
              <a:latin typeface="Arial"/>
              <a:ea typeface="+mn-lt"/>
              <a:cs typeface="Arial"/>
            </a:endParaRPr>
          </a:p>
        </p:txBody>
      </p:sp>
    </p:spTree>
    <p:extLst>
      <p:ext uri="{BB962C8B-B14F-4D97-AF65-F5344CB8AC3E}">
        <p14:creationId xmlns:p14="http://schemas.microsoft.com/office/powerpoint/2010/main" val="27814832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2">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2">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2">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build="p"/>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Bildplatzhalter 10">
            <a:extLst>
              <a:ext uri="{FF2B5EF4-FFF2-40B4-BE49-F238E27FC236}">
                <a16:creationId xmlns:a16="http://schemas.microsoft.com/office/drawing/2014/main" id="{283654CD-505C-4681-8A43-F73E18FFE50A}"/>
              </a:ext>
            </a:extLst>
          </p:cNvPr>
          <p:cNvPicPr>
            <a:picLocks noGrp="1" noChangeAspect="1"/>
          </p:cNvPicPr>
          <p:nvPr>
            <p:ph type="pic" sz="quarter" idx="13"/>
          </p:nvPr>
        </p:nvPicPr>
        <p:blipFill>
          <a:blip r:embed="rId3" cstate="screen">
            <a:extLst>
              <a:ext uri="{28A0092B-C50C-407E-A947-70E740481C1C}">
                <a14:useLocalDpi xmlns:a14="http://schemas.microsoft.com/office/drawing/2010/main"/>
              </a:ext>
            </a:extLst>
          </a:blip>
          <a:srcRect/>
          <a:stretch>
            <a:fillRect/>
          </a:stretch>
        </p:blipFill>
        <p:spPr/>
      </p:pic>
      <p:sp>
        <p:nvSpPr>
          <p:cNvPr id="3" name="Datumsplatzhalter 2">
            <a:extLst>
              <a:ext uri="{FF2B5EF4-FFF2-40B4-BE49-F238E27FC236}">
                <a16:creationId xmlns:a16="http://schemas.microsoft.com/office/drawing/2014/main" id="{DC3DFC93-B8E1-4761-A65F-B4F372E31713}"/>
              </a:ext>
            </a:extLst>
          </p:cNvPr>
          <p:cNvSpPr>
            <a:spLocks noGrp="1"/>
          </p:cNvSpPr>
          <p:nvPr>
            <p:ph type="dt" sz="half"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6D08F88-38D2-4786-82D6-89211B05083D}" type="datetime5">
              <a:rPr kumimoji="0" lang="en-US" sz="100" b="0" i="0" u="none" strike="noStrike" kern="1200" cap="none" spc="0" normalizeH="0" baseline="0" noProof="0" smtClean="0">
                <a:ln>
                  <a:noFill/>
                </a:ln>
                <a:noFill/>
                <a:effectLst/>
                <a:uLnTx/>
                <a:uFillTx/>
                <a:latin typeface="Lato"/>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Jun-20</a:t>
            </a:fld>
            <a:endParaRPr kumimoji="0" lang="en-US" sz="100" b="0" i="0" u="none" strike="noStrike" kern="1200" cap="none" spc="0" normalizeH="0" baseline="0" noProof="0" dirty="0">
              <a:ln>
                <a:noFill/>
              </a:ln>
              <a:noFill/>
              <a:effectLst/>
              <a:uLnTx/>
              <a:uFillTx/>
              <a:latin typeface="Lato"/>
              <a:ea typeface="+mn-ea"/>
              <a:cs typeface="+mn-cs"/>
            </a:endParaRPr>
          </a:p>
        </p:txBody>
      </p:sp>
      <p:sp>
        <p:nvSpPr>
          <p:cNvPr id="4" name="Fußzeilenplatzhalter 3">
            <a:extLst>
              <a:ext uri="{FF2B5EF4-FFF2-40B4-BE49-F238E27FC236}">
                <a16:creationId xmlns:a16="http://schemas.microsoft.com/office/drawing/2014/main" id="{9C3DD7C3-C709-4C73-8358-65360AB76557}"/>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
                <a:srgbClr val="E55A00"/>
              </a:buClr>
              <a:buSzTx/>
              <a:buFont typeface="Wingdings" panose="05000000000000000000" pitchFamily="2" charset="2"/>
              <a:buNone/>
              <a:tabLst/>
              <a:defRPr/>
            </a:pPr>
            <a:r>
              <a:rPr kumimoji="0" lang="en-US" sz="100" b="0" i="0" u="none" strike="noStrike" kern="1200" cap="none" spc="0" normalizeH="0" baseline="0" noProof="0">
                <a:ln>
                  <a:noFill/>
                </a:ln>
                <a:noFill/>
                <a:effectLst/>
                <a:uLnTx/>
                <a:uFillTx/>
                <a:latin typeface="Lato"/>
                <a:ea typeface="+mn-ea"/>
                <a:cs typeface="+mn-cs"/>
              </a:rPr>
              <a:t>Title of presentation (Insert / Header &amp; Footer / Apply to All)</a:t>
            </a:r>
            <a:endParaRPr kumimoji="0" lang="en-US" sz="100" b="0" i="0" u="none" strike="noStrike" kern="1200" cap="none" spc="0" normalizeH="0" baseline="0" noProof="0" dirty="0">
              <a:ln>
                <a:noFill/>
              </a:ln>
              <a:noFill/>
              <a:effectLst/>
              <a:uLnTx/>
              <a:uFillTx/>
              <a:latin typeface="Lato"/>
              <a:ea typeface="+mn-ea"/>
              <a:cs typeface="+mn-cs"/>
            </a:endParaRPr>
          </a:p>
        </p:txBody>
      </p:sp>
      <p:sp>
        <p:nvSpPr>
          <p:cNvPr id="5" name="Foliennummernplatzhalter 4">
            <a:extLst>
              <a:ext uri="{FF2B5EF4-FFF2-40B4-BE49-F238E27FC236}">
                <a16:creationId xmlns:a16="http://schemas.microsoft.com/office/drawing/2014/main" id="{7724FC6D-4FB3-4980-90B0-39890752473A}"/>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E3B25F7-8D1F-44B5-B485-EE3C438CFD7B}" type="slidenum">
              <a:rPr kumimoji="0" lang="en-US" sz="100" b="0" i="0" u="none" strike="noStrike" kern="1200" cap="none" spc="0" normalizeH="0" baseline="0" noProof="0" smtClean="0">
                <a:ln>
                  <a:noFill/>
                </a:ln>
                <a:noFill/>
                <a:effectLst/>
                <a:uLnTx/>
                <a:uFillTx/>
                <a:latin typeface="Lato"/>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US" sz="100" b="0" i="0" u="none" strike="noStrike" kern="1200" cap="none" spc="0" normalizeH="0" baseline="0" noProof="0">
              <a:ln>
                <a:noFill/>
              </a:ln>
              <a:noFill/>
              <a:effectLst/>
              <a:uLnTx/>
              <a:uFillTx/>
              <a:latin typeface="Lato"/>
              <a:ea typeface="+mn-ea"/>
              <a:cs typeface="+mn-cs"/>
            </a:endParaRPr>
          </a:p>
        </p:txBody>
      </p:sp>
      <p:sp>
        <p:nvSpPr>
          <p:cNvPr id="13" name="Freihandform: Form 12">
            <a:extLst>
              <a:ext uri="{FF2B5EF4-FFF2-40B4-BE49-F238E27FC236}">
                <a16:creationId xmlns:a16="http://schemas.microsoft.com/office/drawing/2014/main" id="{DE50B04B-53FB-4AE7-B906-BBCEC682BFAD}"/>
              </a:ext>
            </a:extLst>
          </p:cNvPr>
          <p:cNvSpPr/>
          <p:nvPr/>
        </p:nvSpPr>
        <p:spPr>
          <a:xfrm>
            <a:off x="3377616" y="0"/>
            <a:ext cx="8812344" cy="6866387"/>
          </a:xfrm>
          <a:custGeom>
            <a:avLst/>
            <a:gdLst>
              <a:gd name="connsiteX0" fmla="*/ 0 w 8426450"/>
              <a:gd name="connsiteY0" fmla="*/ 2317750 h 2317750"/>
              <a:gd name="connsiteX1" fmla="*/ 1187450 w 8426450"/>
              <a:gd name="connsiteY1" fmla="*/ 304800 h 2317750"/>
              <a:gd name="connsiteX2" fmla="*/ 1104900 w 8426450"/>
              <a:gd name="connsiteY2" fmla="*/ 44450 h 2317750"/>
              <a:gd name="connsiteX3" fmla="*/ 8420100 w 8426450"/>
              <a:gd name="connsiteY3" fmla="*/ 0 h 2317750"/>
              <a:gd name="connsiteX4" fmla="*/ 8426450 w 8426450"/>
              <a:gd name="connsiteY4" fmla="*/ 2311400 h 2317750"/>
              <a:gd name="connsiteX5" fmla="*/ 0 w 8426450"/>
              <a:gd name="connsiteY5" fmla="*/ 2317750 h 2317750"/>
              <a:gd name="connsiteX0" fmla="*/ 86337 w 8512787"/>
              <a:gd name="connsiteY0" fmla="*/ 2317750 h 2317750"/>
              <a:gd name="connsiteX1" fmla="*/ 1273787 w 8512787"/>
              <a:gd name="connsiteY1" fmla="*/ 304800 h 2317750"/>
              <a:gd name="connsiteX2" fmla="*/ 0 w 8512787"/>
              <a:gd name="connsiteY2" fmla="*/ 1922 h 2317750"/>
              <a:gd name="connsiteX3" fmla="*/ 8506437 w 8512787"/>
              <a:gd name="connsiteY3" fmla="*/ 0 h 2317750"/>
              <a:gd name="connsiteX4" fmla="*/ 8512787 w 8512787"/>
              <a:gd name="connsiteY4" fmla="*/ 2311400 h 2317750"/>
              <a:gd name="connsiteX5" fmla="*/ 86337 w 8512787"/>
              <a:gd name="connsiteY5" fmla="*/ 2317750 h 2317750"/>
              <a:gd name="connsiteX0" fmla="*/ 86337 w 8512787"/>
              <a:gd name="connsiteY0" fmla="*/ 2317750 h 2317750"/>
              <a:gd name="connsiteX1" fmla="*/ 1290565 w 8512787"/>
              <a:gd name="connsiteY1" fmla="*/ 1404845 h 2317750"/>
              <a:gd name="connsiteX2" fmla="*/ 0 w 8512787"/>
              <a:gd name="connsiteY2" fmla="*/ 1922 h 2317750"/>
              <a:gd name="connsiteX3" fmla="*/ 8506437 w 8512787"/>
              <a:gd name="connsiteY3" fmla="*/ 0 h 2317750"/>
              <a:gd name="connsiteX4" fmla="*/ 8512787 w 8512787"/>
              <a:gd name="connsiteY4" fmla="*/ 2311400 h 2317750"/>
              <a:gd name="connsiteX5" fmla="*/ 86337 w 8512787"/>
              <a:gd name="connsiteY5" fmla="*/ 2317750 h 2317750"/>
              <a:gd name="connsiteX0" fmla="*/ 61170 w 8487620"/>
              <a:gd name="connsiteY0" fmla="*/ 2317750 h 2317750"/>
              <a:gd name="connsiteX1" fmla="*/ 1265398 w 8487620"/>
              <a:gd name="connsiteY1" fmla="*/ 1404845 h 2317750"/>
              <a:gd name="connsiteX2" fmla="*/ 0 w 8487620"/>
              <a:gd name="connsiteY2" fmla="*/ 1922 h 2317750"/>
              <a:gd name="connsiteX3" fmla="*/ 8481270 w 8487620"/>
              <a:gd name="connsiteY3" fmla="*/ 0 h 2317750"/>
              <a:gd name="connsiteX4" fmla="*/ 8487620 w 8487620"/>
              <a:gd name="connsiteY4" fmla="*/ 2311400 h 2317750"/>
              <a:gd name="connsiteX5" fmla="*/ 61170 w 8487620"/>
              <a:gd name="connsiteY5" fmla="*/ 2317750 h 2317750"/>
              <a:gd name="connsiteX0" fmla="*/ 0 w 8812344"/>
              <a:gd name="connsiteY0" fmla="*/ 2320585 h 2320585"/>
              <a:gd name="connsiteX1" fmla="*/ 1590122 w 8812344"/>
              <a:gd name="connsiteY1" fmla="*/ 1404845 h 2320585"/>
              <a:gd name="connsiteX2" fmla="*/ 324724 w 8812344"/>
              <a:gd name="connsiteY2" fmla="*/ 1922 h 2320585"/>
              <a:gd name="connsiteX3" fmla="*/ 8805994 w 8812344"/>
              <a:gd name="connsiteY3" fmla="*/ 0 h 2320585"/>
              <a:gd name="connsiteX4" fmla="*/ 8812344 w 8812344"/>
              <a:gd name="connsiteY4" fmla="*/ 2311400 h 2320585"/>
              <a:gd name="connsiteX5" fmla="*/ 0 w 8812344"/>
              <a:gd name="connsiteY5" fmla="*/ 2320585 h 2320585"/>
              <a:gd name="connsiteX0" fmla="*/ 0 w 8812344"/>
              <a:gd name="connsiteY0" fmla="*/ 2320585 h 2320585"/>
              <a:gd name="connsiteX1" fmla="*/ 1590122 w 8812344"/>
              <a:gd name="connsiteY1" fmla="*/ 1404845 h 2320585"/>
              <a:gd name="connsiteX2" fmla="*/ 324724 w 8812344"/>
              <a:gd name="connsiteY2" fmla="*/ 1922 h 2320585"/>
              <a:gd name="connsiteX3" fmla="*/ 8805994 w 8812344"/>
              <a:gd name="connsiteY3" fmla="*/ 0 h 2320585"/>
              <a:gd name="connsiteX4" fmla="*/ 8812344 w 8812344"/>
              <a:gd name="connsiteY4" fmla="*/ 2311400 h 2320585"/>
              <a:gd name="connsiteX5" fmla="*/ 0 w 8812344"/>
              <a:gd name="connsiteY5" fmla="*/ 2320585 h 2320585"/>
              <a:gd name="connsiteX0" fmla="*/ 0 w 8812344"/>
              <a:gd name="connsiteY0" fmla="*/ 2320585 h 2320585"/>
              <a:gd name="connsiteX1" fmla="*/ 1590122 w 8812344"/>
              <a:gd name="connsiteY1" fmla="*/ 1404845 h 2320585"/>
              <a:gd name="connsiteX2" fmla="*/ 1479610 w 8812344"/>
              <a:gd name="connsiteY2" fmla="*/ 1290002 h 2320585"/>
              <a:gd name="connsiteX3" fmla="*/ 324724 w 8812344"/>
              <a:gd name="connsiteY3" fmla="*/ 1922 h 2320585"/>
              <a:gd name="connsiteX4" fmla="*/ 8805994 w 8812344"/>
              <a:gd name="connsiteY4" fmla="*/ 0 h 2320585"/>
              <a:gd name="connsiteX5" fmla="*/ 8812344 w 8812344"/>
              <a:gd name="connsiteY5" fmla="*/ 2311400 h 2320585"/>
              <a:gd name="connsiteX6" fmla="*/ 0 w 8812344"/>
              <a:gd name="connsiteY6" fmla="*/ 2320585 h 23205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812344" h="2320585">
                <a:moveTo>
                  <a:pt x="0" y="2320585"/>
                </a:moveTo>
                <a:lnTo>
                  <a:pt x="1590122" y="1404845"/>
                </a:lnTo>
                <a:cubicBezTo>
                  <a:pt x="1547692" y="1361839"/>
                  <a:pt x="1522040" y="1333008"/>
                  <a:pt x="1479610" y="1290002"/>
                </a:cubicBezTo>
                <a:lnTo>
                  <a:pt x="324724" y="1922"/>
                </a:lnTo>
                <a:lnTo>
                  <a:pt x="8805994" y="0"/>
                </a:lnTo>
                <a:cubicBezTo>
                  <a:pt x="8808111" y="770467"/>
                  <a:pt x="8810227" y="1540933"/>
                  <a:pt x="8812344" y="2311400"/>
                </a:cubicBezTo>
                <a:lnTo>
                  <a:pt x="0" y="2320585"/>
                </a:lnTo>
                <a:close/>
              </a:path>
            </a:pathLst>
          </a:custGeom>
          <a:solidFill>
            <a:schemeClr val="accent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r" defTabSz="914400" rtl="0" eaLnBrk="1" fontAlgn="auto" latinLnBrk="0" hangingPunct="1">
              <a:lnSpc>
                <a:spcPct val="125000"/>
              </a:lnSpc>
              <a:spcBef>
                <a:spcPts val="0"/>
              </a:spcBef>
              <a:spcAft>
                <a:spcPts val="0"/>
              </a:spcAft>
              <a:buClrTx/>
              <a:buSzTx/>
              <a:buFontTx/>
              <a:buNone/>
              <a:tabLst/>
              <a:defRPr/>
            </a:pPr>
            <a:endParaRPr kumimoji="0" lang="de-DE" sz="4000" b="0" i="0" u="none" strike="noStrike" kern="1200" cap="none" spc="0" normalizeH="0" baseline="0" noProof="0" dirty="0">
              <a:ln>
                <a:noFill/>
              </a:ln>
              <a:solidFill>
                <a:srgbClr val="FFFFFF"/>
              </a:solidFill>
              <a:effectLst/>
              <a:uLnTx/>
              <a:uFillTx/>
              <a:latin typeface="Lato"/>
              <a:ea typeface="+mn-ea"/>
              <a:cs typeface="+mn-cs"/>
            </a:endParaRPr>
          </a:p>
          <a:p>
            <a:pPr marL="0" marR="0" lvl="0" indent="0" algn="r" defTabSz="914400" rtl="0" eaLnBrk="1" fontAlgn="auto" latinLnBrk="0" hangingPunct="1">
              <a:lnSpc>
                <a:spcPct val="125000"/>
              </a:lnSpc>
              <a:spcBef>
                <a:spcPts val="0"/>
              </a:spcBef>
              <a:spcAft>
                <a:spcPts val="0"/>
              </a:spcAft>
              <a:buClrTx/>
              <a:buSzTx/>
              <a:buFontTx/>
              <a:buNone/>
              <a:tabLst/>
              <a:defRPr/>
            </a:pPr>
            <a:endParaRPr kumimoji="0" lang="de-DE" sz="4000" b="0" i="0" u="none" strike="noStrike" kern="1200" cap="none" spc="0" normalizeH="0" baseline="0" noProof="0" dirty="0">
              <a:ln>
                <a:noFill/>
              </a:ln>
              <a:solidFill>
                <a:srgbClr val="FFFFFF"/>
              </a:solidFill>
              <a:effectLst/>
              <a:uLnTx/>
              <a:uFillTx/>
              <a:latin typeface="Lato"/>
              <a:ea typeface="+mn-ea"/>
              <a:cs typeface="+mn-cs"/>
            </a:endParaRPr>
          </a:p>
          <a:p>
            <a:pPr marL="0" marR="0" lvl="0" indent="0" algn="r" defTabSz="914400" rtl="0" eaLnBrk="1" fontAlgn="auto" latinLnBrk="0" hangingPunct="1">
              <a:lnSpc>
                <a:spcPct val="125000"/>
              </a:lnSpc>
              <a:spcBef>
                <a:spcPts val="0"/>
              </a:spcBef>
              <a:spcAft>
                <a:spcPts val="0"/>
              </a:spcAft>
              <a:buClrTx/>
              <a:buSzTx/>
              <a:buFontTx/>
              <a:buNone/>
              <a:tabLst/>
              <a:defRPr/>
            </a:pPr>
            <a:endParaRPr kumimoji="0" lang="de-DE" sz="4000" b="0" i="0" u="none" strike="noStrike" kern="1200" cap="none" spc="0" normalizeH="0" baseline="0" noProof="0" dirty="0">
              <a:ln>
                <a:noFill/>
              </a:ln>
              <a:solidFill>
                <a:srgbClr val="FFFFFF"/>
              </a:solidFill>
              <a:effectLst/>
              <a:uLnTx/>
              <a:uFillTx/>
              <a:latin typeface="Lato"/>
              <a:ea typeface="+mn-ea"/>
              <a:cs typeface="+mn-cs"/>
            </a:endParaRPr>
          </a:p>
          <a:p>
            <a:pPr marL="0" marR="0" lvl="0" indent="0" algn="r" defTabSz="914400" rtl="0" eaLnBrk="1" fontAlgn="auto" latinLnBrk="0" hangingPunct="1">
              <a:lnSpc>
                <a:spcPct val="125000"/>
              </a:lnSpc>
              <a:spcBef>
                <a:spcPts val="0"/>
              </a:spcBef>
              <a:spcAft>
                <a:spcPts val="0"/>
              </a:spcAft>
              <a:buClrTx/>
              <a:buSzTx/>
              <a:buFontTx/>
              <a:buNone/>
              <a:tabLst/>
              <a:defRPr/>
            </a:pPr>
            <a:endParaRPr kumimoji="0" lang="de-DE" sz="4000" b="0" i="0" u="none" strike="noStrike" kern="1200" cap="none" spc="0" normalizeH="0" baseline="0" noProof="0" dirty="0">
              <a:ln>
                <a:noFill/>
              </a:ln>
              <a:solidFill>
                <a:srgbClr val="FFFFFF"/>
              </a:solidFill>
              <a:effectLst/>
              <a:uLnTx/>
              <a:uFillTx/>
              <a:latin typeface="Lato"/>
              <a:ea typeface="+mn-ea"/>
              <a:cs typeface="+mn-cs"/>
            </a:endParaRPr>
          </a:p>
          <a:p>
            <a:pPr marL="0" marR="0" lvl="0" indent="0" algn="r" defTabSz="914400" rtl="0" eaLnBrk="1" fontAlgn="auto" latinLnBrk="0" hangingPunct="1">
              <a:lnSpc>
                <a:spcPct val="125000"/>
              </a:lnSpc>
              <a:spcBef>
                <a:spcPts val="0"/>
              </a:spcBef>
              <a:spcAft>
                <a:spcPts val="0"/>
              </a:spcAft>
              <a:buClrTx/>
              <a:buSzTx/>
              <a:buFontTx/>
              <a:buNone/>
              <a:tabLst/>
              <a:defRPr/>
            </a:pPr>
            <a:endParaRPr kumimoji="0" lang="de-DE" sz="4000" b="0" i="0" u="none" strike="noStrike" kern="1200" cap="none" spc="0" normalizeH="0" baseline="0" noProof="0" dirty="0">
              <a:ln>
                <a:noFill/>
              </a:ln>
              <a:solidFill>
                <a:srgbClr val="FFFFFF"/>
              </a:solidFill>
              <a:effectLst/>
              <a:uLnTx/>
              <a:uFillTx/>
              <a:latin typeface="Lato"/>
              <a:ea typeface="+mn-ea"/>
              <a:cs typeface="+mn-cs"/>
            </a:endParaRPr>
          </a:p>
        </p:txBody>
      </p:sp>
      <p:grpSp>
        <p:nvGrpSpPr>
          <p:cNvPr id="22" name="Gruppieren 80">
            <a:extLst>
              <a:ext uri="{FF2B5EF4-FFF2-40B4-BE49-F238E27FC236}">
                <a16:creationId xmlns:a16="http://schemas.microsoft.com/office/drawing/2014/main" id="{1168EF60-5011-4003-AD68-98845C1E0496}"/>
              </a:ext>
            </a:extLst>
          </p:cNvPr>
          <p:cNvGrpSpPr/>
          <p:nvPr/>
        </p:nvGrpSpPr>
        <p:grpSpPr>
          <a:xfrm>
            <a:off x="412969" y="5382458"/>
            <a:ext cx="171180" cy="171180"/>
            <a:chOff x="3392092" y="1841122"/>
            <a:chExt cx="646508" cy="646508"/>
          </a:xfrm>
        </p:grpSpPr>
        <p:sp>
          <p:nvSpPr>
            <p:cNvPr id="23" name="Rechteck 14">
              <a:extLst>
                <a:ext uri="{FF2B5EF4-FFF2-40B4-BE49-F238E27FC236}">
                  <a16:creationId xmlns:a16="http://schemas.microsoft.com/office/drawing/2014/main" id="{02B81A07-A768-413A-AE27-B6C928D3F360}"/>
                </a:ext>
              </a:extLst>
            </p:cNvPr>
            <p:cNvSpPr>
              <a:spLocks noChangeAspect="1"/>
            </p:cNvSpPr>
            <p:nvPr/>
          </p:nvSpPr>
          <p:spPr bwMode="gray">
            <a:xfrm>
              <a:off x="3392092" y="1841122"/>
              <a:ext cx="646508" cy="646508"/>
            </a:xfrm>
            <a:prstGeom prst="rect">
              <a:avLst/>
            </a:prstGeom>
            <a:solidFill>
              <a:srgbClr val="E55A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0"/>
                </a:spcAft>
                <a:buClrTx/>
                <a:buSzTx/>
                <a:buFontTx/>
                <a:buNone/>
                <a:tabLst/>
                <a:defRPr/>
              </a:pPr>
              <a:endParaRPr kumimoji="0" lang="en-US" sz="1200" b="0" i="0" u="none" strike="noStrike" kern="1200" cap="none" spc="0" normalizeH="0" baseline="0" noProof="0" dirty="0">
                <a:ln>
                  <a:noFill/>
                </a:ln>
                <a:solidFill>
                  <a:srgbClr val="414549"/>
                </a:solidFill>
                <a:effectLst/>
                <a:uLnTx/>
                <a:uFillTx/>
                <a:latin typeface="Arial" pitchFamily="34" charset="0"/>
                <a:ea typeface="+mn-ea"/>
                <a:cs typeface="Arial" pitchFamily="34" charset="0"/>
              </a:endParaRPr>
            </a:p>
          </p:txBody>
        </p:sp>
        <p:sp>
          <p:nvSpPr>
            <p:cNvPr id="24" name="Freeform 67">
              <a:extLst>
                <a:ext uri="{FF2B5EF4-FFF2-40B4-BE49-F238E27FC236}">
                  <a16:creationId xmlns:a16="http://schemas.microsoft.com/office/drawing/2014/main" id="{CF90E76A-ACF7-4B08-9C53-4625CBD6A276}"/>
                </a:ext>
              </a:extLst>
            </p:cNvPr>
            <p:cNvSpPr>
              <a:spLocks noChangeAspect="1"/>
            </p:cNvSpPr>
            <p:nvPr/>
          </p:nvSpPr>
          <p:spPr bwMode="auto">
            <a:xfrm>
              <a:off x="3546638" y="1970424"/>
              <a:ext cx="337415" cy="387905"/>
            </a:xfrm>
            <a:custGeom>
              <a:avLst/>
              <a:gdLst>
                <a:gd name="T0" fmla="*/ 573 w 1624"/>
                <a:gd name="T1" fmla="*/ 1257 h 1867"/>
                <a:gd name="T2" fmla="*/ 662 w 1624"/>
                <a:gd name="T3" fmla="*/ 1288 h 1867"/>
                <a:gd name="T4" fmla="*/ 938 w 1624"/>
                <a:gd name="T5" fmla="*/ 1051 h 1867"/>
                <a:gd name="T6" fmla="*/ 1106 w 1624"/>
                <a:gd name="T7" fmla="*/ 731 h 1867"/>
                <a:gd name="T8" fmla="*/ 1059 w 1624"/>
                <a:gd name="T9" fmla="*/ 645 h 1867"/>
                <a:gd name="T10" fmla="*/ 1001 w 1624"/>
                <a:gd name="T11" fmla="*/ 613 h 1867"/>
                <a:gd name="T12" fmla="*/ 924 w 1624"/>
                <a:gd name="T13" fmla="*/ 432 h 1867"/>
                <a:gd name="T14" fmla="*/ 1114 w 1624"/>
                <a:gd name="T15" fmla="*/ 81 h 1867"/>
                <a:gd name="T16" fmla="*/ 1287 w 1624"/>
                <a:gd name="T17" fmla="*/ 35 h 1867"/>
                <a:gd name="T18" fmla="*/ 1350 w 1624"/>
                <a:gd name="T19" fmla="*/ 69 h 1867"/>
                <a:gd name="T20" fmla="*/ 1527 w 1624"/>
                <a:gd name="T21" fmla="*/ 235 h 1867"/>
                <a:gd name="T22" fmla="*/ 1583 w 1624"/>
                <a:gd name="T23" fmla="*/ 555 h 1867"/>
                <a:gd name="T24" fmla="*/ 1172 w 1624"/>
                <a:gd name="T25" fmla="*/ 1253 h 1867"/>
                <a:gd name="T26" fmla="*/ 586 w 1624"/>
                <a:gd name="T27" fmla="*/ 1803 h 1867"/>
                <a:gd name="T28" fmla="*/ 269 w 1624"/>
                <a:gd name="T29" fmla="*/ 1807 h 1867"/>
                <a:gd name="T30" fmla="*/ 33 w 1624"/>
                <a:gd name="T31" fmla="*/ 1602 h 1867"/>
                <a:gd name="T32" fmla="*/ 2 w 1624"/>
                <a:gd name="T33" fmla="*/ 1508 h 1867"/>
                <a:gd name="T34" fmla="*/ 45 w 1624"/>
                <a:gd name="T35" fmla="*/ 1421 h 1867"/>
                <a:gd name="T36" fmla="*/ 346 w 1624"/>
                <a:gd name="T37" fmla="*/ 1158 h 1867"/>
                <a:gd name="T38" fmla="*/ 448 w 1624"/>
                <a:gd name="T39" fmla="*/ 1145 h 1867"/>
                <a:gd name="T40" fmla="*/ 573 w 1624"/>
                <a:gd name="T41" fmla="*/ 1257 h 18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24" h="1867">
                  <a:moveTo>
                    <a:pt x="573" y="1257"/>
                  </a:moveTo>
                  <a:cubicBezTo>
                    <a:pt x="592" y="1282"/>
                    <a:pt x="630" y="1303"/>
                    <a:pt x="662" y="1288"/>
                  </a:cubicBezTo>
                  <a:cubicBezTo>
                    <a:pt x="753" y="1245"/>
                    <a:pt x="854" y="1156"/>
                    <a:pt x="938" y="1051"/>
                  </a:cubicBezTo>
                  <a:cubicBezTo>
                    <a:pt x="1020" y="948"/>
                    <a:pt x="1084" y="831"/>
                    <a:pt x="1106" y="731"/>
                  </a:cubicBezTo>
                  <a:cubicBezTo>
                    <a:pt x="1113" y="696"/>
                    <a:pt x="1089" y="661"/>
                    <a:pt x="1059" y="645"/>
                  </a:cubicBezTo>
                  <a:cubicBezTo>
                    <a:pt x="1001" y="613"/>
                    <a:pt x="1001" y="613"/>
                    <a:pt x="1001" y="613"/>
                  </a:cubicBezTo>
                  <a:cubicBezTo>
                    <a:pt x="942" y="580"/>
                    <a:pt x="888" y="499"/>
                    <a:pt x="924" y="432"/>
                  </a:cubicBezTo>
                  <a:cubicBezTo>
                    <a:pt x="1114" y="81"/>
                    <a:pt x="1114" y="81"/>
                    <a:pt x="1114" y="81"/>
                  </a:cubicBezTo>
                  <a:cubicBezTo>
                    <a:pt x="1150" y="16"/>
                    <a:pt x="1224" y="0"/>
                    <a:pt x="1287" y="35"/>
                  </a:cubicBezTo>
                  <a:cubicBezTo>
                    <a:pt x="1350" y="69"/>
                    <a:pt x="1350" y="69"/>
                    <a:pt x="1350" y="69"/>
                  </a:cubicBezTo>
                  <a:cubicBezTo>
                    <a:pt x="1415" y="105"/>
                    <a:pt x="1479" y="165"/>
                    <a:pt x="1527" y="235"/>
                  </a:cubicBezTo>
                  <a:cubicBezTo>
                    <a:pt x="1593" y="332"/>
                    <a:pt x="1624" y="442"/>
                    <a:pt x="1583" y="555"/>
                  </a:cubicBezTo>
                  <a:cubicBezTo>
                    <a:pt x="1500" y="781"/>
                    <a:pt x="1351" y="1030"/>
                    <a:pt x="1172" y="1253"/>
                  </a:cubicBezTo>
                  <a:cubicBezTo>
                    <a:pt x="994" y="1477"/>
                    <a:pt x="786" y="1676"/>
                    <a:pt x="586" y="1803"/>
                  </a:cubicBezTo>
                  <a:cubicBezTo>
                    <a:pt x="486" y="1867"/>
                    <a:pt x="375" y="1856"/>
                    <a:pt x="269" y="1807"/>
                  </a:cubicBezTo>
                  <a:cubicBezTo>
                    <a:pt x="157" y="1755"/>
                    <a:pt x="106" y="1695"/>
                    <a:pt x="33" y="1602"/>
                  </a:cubicBezTo>
                  <a:cubicBezTo>
                    <a:pt x="11" y="1573"/>
                    <a:pt x="0" y="1540"/>
                    <a:pt x="2" y="1508"/>
                  </a:cubicBezTo>
                  <a:cubicBezTo>
                    <a:pt x="4" y="1475"/>
                    <a:pt x="18" y="1444"/>
                    <a:pt x="45" y="1421"/>
                  </a:cubicBezTo>
                  <a:cubicBezTo>
                    <a:pt x="70" y="1399"/>
                    <a:pt x="346" y="1158"/>
                    <a:pt x="346" y="1158"/>
                  </a:cubicBezTo>
                  <a:cubicBezTo>
                    <a:pt x="376" y="1134"/>
                    <a:pt x="413" y="1133"/>
                    <a:pt x="448" y="1145"/>
                  </a:cubicBezTo>
                  <a:cubicBezTo>
                    <a:pt x="510" y="1166"/>
                    <a:pt x="536" y="1210"/>
                    <a:pt x="573" y="1257"/>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414549"/>
                </a:solidFill>
                <a:effectLst/>
                <a:uLnTx/>
                <a:uFillTx/>
                <a:latin typeface="Lato"/>
                <a:ea typeface="+mn-ea"/>
                <a:cs typeface="+mn-cs"/>
              </a:endParaRPr>
            </a:p>
          </p:txBody>
        </p:sp>
      </p:grpSp>
      <p:grpSp>
        <p:nvGrpSpPr>
          <p:cNvPr id="25" name="Group 3">
            <a:extLst>
              <a:ext uri="{FF2B5EF4-FFF2-40B4-BE49-F238E27FC236}">
                <a16:creationId xmlns:a16="http://schemas.microsoft.com/office/drawing/2014/main" id="{02A406E9-3C04-4181-BFA3-D116BA28CFE0}"/>
              </a:ext>
            </a:extLst>
          </p:cNvPr>
          <p:cNvGrpSpPr>
            <a:grpSpLocks noChangeAspect="1"/>
          </p:cNvGrpSpPr>
          <p:nvPr>
            <p:custDataLst>
              <p:tags r:id="rId1"/>
            </p:custDataLst>
          </p:nvPr>
        </p:nvGrpSpPr>
        <p:grpSpPr>
          <a:xfrm>
            <a:off x="412970" y="5645815"/>
            <a:ext cx="171180" cy="171180"/>
            <a:chOff x="328396" y="5313940"/>
            <a:chExt cx="720000" cy="720000"/>
          </a:xfrm>
        </p:grpSpPr>
        <p:sp>
          <p:nvSpPr>
            <p:cNvPr id="26" name="Rectangle 4">
              <a:extLst>
                <a:ext uri="{FF2B5EF4-FFF2-40B4-BE49-F238E27FC236}">
                  <a16:creationId xmlns:a16="http://schemas.microsoft.com/office/drawing/2014/main" id="{75FE05E0-6E80-469D-BE26-8CFCC2B17C5E}"/>
                </a:ext>
              </a:extLst>
            </p:cNvPr>
            <p:cNvSpPr/>
            <p:nvPr/>
          </p:nvSpPr>
          <p:spPr bwMode="gray">
            <a:xfrm>
              <a:off x="328396" y="5313940"/>
              <a:ext cx="720000" cy="720000"/>
            </a:xfrm>
            <a:prstGeom prst="rect">
              <a:avLst/>
            </a:prstGeom>
            <a:solidFill>
              <a:srgbClr val="E55A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0"/>
                </a:spcAft>
                <a:buClrTx/>
                <a:buSzTx/>
                <a:buFontTx/>
                <a:buNone/>
                <a:tabLst/>
                <a:defRPr/>
              </a:pPr>
              <a:endParaRPr kumimoji="0" lang="en-US" sz="1200" b="0" i="0" u="none" strike="noStrike" kern="1200" cap="none" spc="0" normalizeH="0" baseline="0" noProof="0" dirty="0">
                <a:ln>
                  <a:noFill/>
                </a:ln>
                <a:solidFill>
                  <a:srgbClr val="414549"/>
                </a:solidFill>
                <a:effectLst/>
                <a:uLnTx/>
                <a:uFillTx/>
                <a:latin typeface="Arial" pitchFamily="34" charset="0"/>
                <a:ea typeface="+mn-ea"/>
                <a:cs typeface="Arial" pitchFamily="34" charset="0"/>
              </a:endParaRPr>
            </a:p>
          </p:txBody>
        </p:sp>
        <p:sp>
          <p:nvSpPr>
            <p:cNvPr id="27" name="Freeform 76">
              <a:extLst>
                <a:ext uri="{FF2B5EF4-FFF2-40B4-BE49-F238E27FC236}">
                  <a16:creationId xmlns:a16="http://schemas.microsoft.com/office/drawing/2014/main" id="{F36B2FD6-7786-4750-9DC4-171B3BD2FEF3}"/>
                </a:ext>
              </a:extLst>
            </p:cNvPr>
            <p:cNvSpPr>
              <a:spLocks noChangeAspect="1" noEditPoints="1"/>
            </p:cNvSpPr>
            <p:nvPr/>
          </p:nvSpPr>
          <p:spPr bwMode="auto">
            <a:xfrm>
              <a:off x="456202" y="5509222"/>
              <a:ext cx="504000" cy="329436"/>
            </a:xfrm>
            <a:custGeom>
              <a:avLst/>
              <a:gdLst>
                <a:gd name="T0" fmla="*/ 0 w 2080"/>
                <a:gd name="T1" fmla="*/ 65 h 1360"/>
                <a:gd name="T2" fmla="*/ 0 w 2080"/>
                <a:gd name="T3" fmla="*/ 0 h 1360"/>
                <a:gd name="T4" fmla="*/ 2080 w 2080"/>
                <a:gd name="T5" fmla="*/ 0 h 1360"/>
                <a:gd name="T6" fmla="*/ 2080 w 2080"/>
                <a:gd name="T7" fmla="*/ 65 h 1360"/>
                <a:gd name="T8" fmla="*/ 1089 w 2080"/>
                <a:gd name="T9" fmla="*/ 862 h 1360"/>
                <a:gd name="T10" fmla="*/ 991 w 2080"/>
                <a:gd name="T11" fmla="*/ 862 h 1360"/>
                <a:gd name="T12" fmla="*/ 0 w 2080"/>
                <a:gd name="T13" fmla="*/ 65 h 1360"/>
                <a:gd name="T14" fmla="*/ 1139 w 2080"/>
                <a:gd name="T15" fmla="*/ 924 h 1360"/>
                <a:gd name="T16" fmla="*/ 1282 w 2080"/>
                <a:gd name="T17" fmla="*/ 810 h 1360"/>
                <a:gd name="T18" fmla="*/ 2076 w 2080"/>
                <a:gd name="T19" fmla="*/ 1360 h 1360"/>
                <a:gd name="T20" fmla="*/ 4 w 2080"/>
                <a:gd name="T21" fmla="*/ 1360 h 1360"/>
                <a:gd name="T22" fmla="*/ 798 w 2080"/>
                <a:gd name="T23" fmla="*/ 810 h 1360"/>
                <a:gd name="T24" fmla="*/ 941 w 2080"/>
                <a:gd name="T25" fmla="*/ 924 h 1360"/>
                <a:gd name="T26" fmla="*/ 1139 w 2080"/>
                <a:gd name="T27" fmla="*/ 924 h 1360"/>
                <a:gd name="T28" fmla="*/ 2 w 2080"/>
                <a:gd name="T29" fmla="*/ 137 h 1360"/>
                <a:gd name="T30" fmla="*/ 42 w 2080"/>
                <a:gd name="T31" fmla="*/ 201 h 1360"/>
                <a:gd name="T32" fmla="*/ 734 w 2080"/>
                <a:gd name="T33" fmla="*/ 758 h 1360"/>
                <a:gd name="T34" fmla="*/ 0 w 2080"/>
                <a:gd name="T35" fmla="*/ 1266 h 1360"/>
                <a:gd name="T36" fmla="*/ 0 w 2080"/>
                <a:gd name="T37" fmla="*/ 135 h 1360"/>
                <a:gd name="T38" fmla="*/ 2 w 2080"/>
                <a:gd name="T39" fmla="*/ 137 h 1360"/>
                <a:gd name="T40" fmla="*/ 2080 w 2080"/>
                <a:gd name="T41" fmla="*/ 136 h 1360"/>
                <a:gd name="T42" fmla="*/ 2080 w 2080"/>
                <a:gd name="T43" fmla="*/ 1265 h 1360"/>
                <a:gd name="T44" fmla="*/ 1346 w 2080"/>
                <a:gd name="T45" fmla="*/ 758 h 1360"/>
                <a:gd name="T46" fmla="*/ 2038 w 2080"/>
                <a:gd name="T47" fmla="*/ 201 h 1360"/>
                <a:gd name="T48" fmla="*/ 2080 w 2080"/>
                <a:gd name="T49" fmla="*/ 136 h 1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080" h="1360">
                  <a:moveTo>
                    <a:pt x="0" y="65"/>
                  </a:moveTo>
                  <a:cubicBezTo>
                    <a:pt x="0" y="0"/>
                    <a:pt x="0" y="0"/>
                    <a:pt x="0" y="0"/>
                  </a:cubicBezTo>
                  <a:cubicBezTo>
                    <a:pt x="2080" y="0"/>
                    <a:pt x="2080" y="0"/>
                    <a:pt x="2080" y="0"/>
                  </a:cubicBezTo>
                  <a:cubicBezTo>
                    <a:pt x="2080" y="65"/>
                    <a:pt x="2080" y="65"/>
                    <a:pt x="2080" y="65"/>
                  </a:cubicBezTo>
                  <a:cubicBezTo>
                    <a:pt x="1089" y="862"/>
                    <a:pt x="1089" y="862"/>
                    <a:pt x="1089" y="862"/>
                  </a:cubicBezTo>
                  <a:cubicBezTo>
                    <a:pt x="1060" y="886"/>
                    <a:pt x="1020" y="886"/>
                    <a:pt x="991" y="862"/>
                  </a:cubicBezTo>
                  <a:lnTo>
                    <a:pt x="0" y="65"/>
                  </a:lnTo>
                  <a:close/>
                  <a:moveTo>
                    <a:pt x="1139" y="924"/>
                  </a:moveTo>
                  <a:cubicBezTo>
                    <a:pt x="1282" y="810"/>
                    <a:pt x="1282" y="810"/>
                    <a:pt x="1282" y="810"/>
                  </a:cubicBezTo>
                  <a:cubicBezTo>
                    <a:pt x="2076" y="1360"/>
                    <a:pt x="2076" y="1360"/>
                    <a:pt x="2076" y="1360"/>
                  </a:cubicBezTo>
                  <a:cubicBezTo>
                    <a:pt x="4" y="1360"/>
                    <a:pt x="4" y="1360"/>
                    <a:pt x="4" y="1360"/>
                  </a:cubicBezTo>
                  <a:cubicBezTo>
                    <a:pt x="798" y="810"/>
                    <a:pt x="798" y="810"/>
                    <a:pt x="798" y="810"/>
                  </a:cubicBezTo>
                  <a:cubicBezTo>
                    <a:pt x="941" y="924"/>
                    <a:pt x="941" y="924"/>
                    <a:pt x="941" y="924"/>
                  </a:cubicBezTo>
                  <a:cubicBezTo>
                    <a:pt x="1000" y="972"/>
                    <a:pt x="1080" y="972"/>
                    <a:pt x="1139" y="924"/>
                  </a:cubicBezTo>
                  <a:close/>
                  <a:moveTo>
                    <a:pt x="2" y="137"/>
                  </a:moveTo>
                  <a:cubicBezTo>
                    <a:pt x="8" y="163"/>
                    <a:pt x="22" y="185"/>
                    <a:pt x="42" y="201"/>
                  </a:cubicBezTo>
                  <a:cubicBezTo>
                    <a:pt x="734" y="758"/>
                    <a:pt x="734" y="758"/>
                    <a:pt x="734" y="758"/>
                  </a:cubicBezTo>
                  <a:cubicBezTo>
                    <a:pt x="0" y="1266"/>
                    <a:pt x="0" y="1266"/>
                    <a:pt x="0" y="1266"/>
                  </a:cubicBezTo>
                  <a:cubicBezTo>
                    <a:pt x="0" y="135"/>
                    <a:pt x="0" y="135"/>
                    <a:pt x="0" y="135"/>
                  </a:cubicBezTo>
                  <a:lnTo>
                    <a:pt x="2" y="137"/>
                  </a:lnTo>
                  <a:close/>
                  <a:moveTo>
                    <a:pt x="2080" y="136"/>
                  </a:moveTo>
                  <a:cubicBezTo>
                    <a:pt x="2080" y="1265"/>
                    <a:pt x="2080" y="1265"/>
                    <a:pt x="2080" y="1265"/>
                  </a:cubicBezTo>
                  <a:cubicBezTo>
                    <a:pt x="1346" y="758"/>
                    <a:pt x="1346" y="758"/>
                    <a:pt x="1346" y="758"/>
                  </a:cubicBezTo>
                  <a:cubicBezTo>
                    <a:pt x="2038" y="201"/>
                    <a:pt x="2038" y="201"/>
                    <a:pt x="2038" y="201"/>
                  </a:cubicBezTo>
                  <a:cubicBezTo>
                    <a:pt x="2060" y="182"/>
                    <a:pt x="2072" y="162"/>
                    <a:pt x="2080" y="13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14549"/>
                </a:solidFill>
                <a:effectLst/>
                <a:uLnTx/>
                <a:uFillTx/>
                <a:latin typeface="Lato"/>
                <a:ea typeface="+mn-ea"/>
                <a:cs typeface="+mn-cs"/>
              </a:endParaRPr>
            </a:p>
          </p:txBody>
        </p:sp>
      </p:grpSp>
      <p:sp>
        <p:nvSpPr>
          <p:cNvPr id="28" name="Text Placeholder 5">
            <a:extLst>
              <a:ext uri="{FF2B5EF4-FFF2-40B4-BE49-F238E27FC236}">
                <a16:creationId xmlns:a16="http://schemas.microsoft.com/office/drawing/2014/main" id="{D13130FC-2EA4-4F99-90DE-CB0CE0855A24}"/>
              </a:ext>
            </a:extLst>
          </p:cNvPr>
          <p:cNvSpPr txBox="1">
            <a:spLocks/>
          </p:cNvSpPr>
          <p:nvPr/>
        </p:nvSpPr>
        <p:spPr>
          <a:xfrm>
            <a:off x="412968" y="4199866"/>
            <a:ext cx="3127673" cy="995178"/>
          </a:xfrm>
          <a:prstGeom prst="rect">
            <a:avLst/>
          </a:prstGeom>
        </p:spPr>
        <p:txBody>
          <a:bodyPr lIns="0" tIns="0" rIns="0" bIns="0" anchor="ctr" anchorCtr="0"/>
          <a:lstStyle>
            <a:lvl1pPr marL="0" indent="0" algn="l" defTabSz="914400" rtl="0" eaLnBrk="1" latinLnBrk="0" hangingPunct="1">
              <a:lnSpc>
                <a:spcPct val="100000"/>
              </a:lnSpc>
              <a:spcBef>
                <a:spcPts val="1000"/>
              </a:spcBef>
              <a:buClr>
                <a:schemeClr val="tx2"/>
              </a:buClr>
              <a:buFont typeface="Wingdings" panose="05000000000000000000" pitchFamily="2" charset="2"/>
              <a:buNone/>
              <a:defRPr sz="1000" kern="1200" baseline="0">
                <a:solidFill>
                  <a:schemeClr val="tx1"/>
                </a:solidFill>
                <a:latin typeface="+mn-lt"/>
                <a:ea typeface="+mn-ea"/>
                <a:cs typeface="+mn-cs"/>
              </a:defRPr>
            </a:lvl1pPr>
            <a:lvl2pPr marL="0" indent="0" algn="l" defTabSz="914400" rtl="0" eaLnBrk="1" latinLnBrk="0" hangingPunct="1">
              <a:lnSpc>
                <a:spcPct val="100000"/>
              </a:lnSpc>
              <a:spcBef>
                <a:spcPts val="600"/>
              </a:spcBef>
              <a:buClr>
                <a:schemeClr val="tx2"/>
              </a:buClr>
              <a:buFont typeface="Wingdings" panose="05000000000000000000" pitchFamily="2" charset="2"/>
              <a:buNone/>
              <a:defRPr sz="1000" kern="1200">
                <a:solidFill>
                  <a:schemeClr val="tx1"/>
                </a:solidFill>
                <a:latin typeface="+mn-lt"/>
                <a:ea typeface="+mn-ea"/>
                <a:cs typeface="+mn-cs"/>
              </a:defRPr>
            </a:lvl2pPr>
            <a:lvl3pPr marL="0" indent="0" algn="l" defTabSz="914400" rtl="0" eaLnBrk="1" latinLnBrk="0" hangingPunct="1">
              <a:lnSpc>
                <a:spcPct val="100000"/>
              </a:lnSpc>
              <a:spcBef>
                <a:spcPts val="600"/>
              </a:spcBef>
              <a:buClr>
                <a:schemeClr val="tx2"/>
              </a:buClr>
              <a:buFont typeface="Wingdings" panose="05000000000000000000" pitchFamily="2" charset="2"/>
              <a:buNone/>
              <a:defRPr sz="1000" kern="1200">
                <a:solidFill>
                  <a:schemeClr val="tx1"/>
                </a:solidFill>
                <a:latin typeface="+mn-lt"/>
                <a:ea typeface="+mn-ea"/>
                <a:cs typeface="+mn-cs"/>
              </a:defRPr>
            </a:lvl3pPr>
            <a:lvl4pPr marL="0" indent="0" algn="l" defTabSz="914400" rtl="0" eaLnBrk="1" latinLnBrk="0" hangingPunct="1">
              <a:lnSpc>
                <a:spcPct val="100000"/>
              </a:lnSpc>
              <a:spcBef>
                <a:spcPts val="600"/>
              </a:spcBef>
              <a:buClr>
                <a:schemeClr val="tx2"/>
              </a:buClr>
              <a:buFont typeface="Lato" panose="020F0502020204030203" pitchFamily="34" charset="0"/>
              <a:buNone/>
              <a:defRPr sz="1000" kern="1200">
                <a:solidFill>
                  <a:schemeClr val="tx1"/>
                </a:solidFill>
                <a:latin typeface="+mn-lt"/>
                <a:ea typeface="+mn-ea"/>
                <a:cs typeface="+mn-cs"/>
              </a:defRPr>
            </a:lvl4pPr>
            <a:lvl5pPr marL="0" indent="0" algn="l" defTabSz="914400" rtl="0" eaLnBrk="1" latinLnBrk="0" hangingPunct="1">
              <a:lnSpc>
                <a:spcPct val="100000"/>
              </a:lnSpc>
              <a:spcBef>
                <a:spcPts val="600"/>
              </a:spcBef>
              <a:buClr>
                <a:schemeClr val="tx2"/>
              </a:buClr>
              <a:buFont typeface="Wingdings" panose="05000000000000000000" pitchFamily="2" charset="2"/>
              <a:buNone/>
              <a:defRPr sz="10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0"/>
              </a:spcAft>
              <a:buClr>
                <a:srgbClr val="E55A00"/>
              </a:buClr>
              <a:buSzTx/>
              <a:buFont typeface="Wingdings" panose="05000000000000000000" pitchFamily="2" charset="2"/>
              <a:buNone/>
              <a:tabLst/>
              <a:defRPr/>
            </a:pPr>
            <a:r>
              <a:rPr lang="en-US" sz="2400" b="1" dirty="0">
                <a:solidFill>
                  <a:srgbClr val="E55A00"/>
                </a:solidFill>
                <a:latin typeface="Lato"/>
              </a:rPr>
              <a:t>Gulnaz </a:t>
            </a:r>
            <a:r>
              <a:rPr lang="en-US" sz="2400" b="1" dirty="0" err="1">
                <a:solidFill>
                  <a:srgbClr val="E55A00"/>
                </a:solidFill>
                <a:latin typeface="Lato"/>
              </a:rPr>
              <a:t>Rakhmatullina</a:t>
            </a:r>
            <a:endParaRPr lang="en-US" sz="1400" b="1" dirty="0">
              <a:solidFill>
                <a:srgbClr val="414549"/>
              </a:solidFill>
              <a:latin typeface="Lato"/>
            </a:endParaRPr>
          </a:p>
          <a:p>
            <a:pPr marL="0" marR="0" lvl="0" indent="0" algn="l" defTabSz="914400" rtl="0" eaLnBrk="1" fontAlgn="auto" latinLnBrk="0" hangingPunct="1">
              <a:lnSpc>
                <a:spcPct val="100000"/>
              </a:lnSpc>
              <a:spcBef>
                <a:spcPts val="1000"/>
              </a:spcBef>
              <a:spcAft>
                <a:spcPts val="0"/>
              </a:spcAft>
              <a:buClr>
                <a:srgbClr val="E55A00"/>
              </a:buClr>
              <a:buSzTx/>
              <a:buFont typeface="Wingdings" panose="05000000000000000000" pitchFamily="2" charset="2"/>
              <a:buNone/>
              <a:tabLst/>
              <a:defRPr/>
            </a:pPr>
            <a:r>
              <a:rPr kumimoji="0" lang="en-US" sz="1400" b="1" i="0" u="none" strike="noStrike" kern="1200" cap="none" spc="0" normalizeH="0" baseline="0" noProof="0" dirty="0">
                <a:ln>
                  <a:noFill/>
                </a:ln>
                <a:solidFill>
                  <a:srgbClr val="414549"/>
                </a:solidFill>
                <a:effectLst/>
                <a:uLnTx/>
                <a:uFillTx/>
                <a:latin typeface="Lato"/>
                <a:ea typeface="+mn-ea"/>
                <a:cs typeface="+mn-cs"/>
              </a:rPr>
              <a:t>Retail Engagement Manager </a:t>
            </a:r>
            <a:r>
              <a:rPr kumimoji="0" lang="en-US" sz="1400" b="1" i="0" u="none" strike="noStrike" kern="1200" cap="none" spc="0" normalizeH="0" baseline="0" noProof="0" dirty="0" err="1">
                <a:ln>
                  <a:noFill/>
                </a:ln>
                <a:solidFill>
                  <a:srgbClr val="414549"/>
                </a:solidFill>
                <a:effectLst/>
                <a:uLnTx/>
                <a:uFillTx/>
                <a:latin typeface="Lato"/>
                <a:ea typeface="+mn-ea"/>
                <a:cs typeface="+mn-cs"/>
              </a:rPr>
              <a:t>Central&amp;Northern</a:t>
            </a:r>
            <a:r>
              <a:rPr kumimoji="0" lang="en-US" sz="1400" b="1" i="0" u="none" strike="noStrike" kern="1200" cap="none" spc="0" normalizeH="0" baseline="0" noProof="0" dirty="0">
                <a:ln>
                  <a:noFill/>
                </a:ln>
                <a:solidFill>
                  <a:srgbClr val="414549"/>
                </a:solidFill>
                <a:effectLst/>
                <a:uLnTx/>
                <a:uFillTx/>
                <a:latin typeface="Lato"/>
                <a:ea typeface="+mn-ea"/>
                <a:cs typeface="+mn-cs"/>
              </a:rPr>
              <a:t> Europe/Russia</a:t>
            </a:r>
          </a:p>
        </p:txBody>
      </p:sp>
      <p:sp>
        <p:nvSpPr>
          <p:cNvPr id="29" name="Text Placeholder 5">
            <a:extLst>
              <a:ext uri="{FF2B5EF4-FFF2-40B4-BE49-F238E27FC236}">
                <a16:creationId xmlns:a16="http://schemas.microsoft.com/office/drawing/2014/main" id="{6925D388-97BC-46B9-A625-F599C302E5B8}"/>
              </a:ext>
            </a:extLst>
          </p:cNvPr>
          <p:cNvSpPr txBox="1">
            <a:spLocks/>
          </p:cNvSpPr>
          <p:nvPr/>
        </p:nvSpPr>
        <p:spPr>
          <a:xfrm>
            <a:off x="657852" y="5371868"/>
            <a:ext cx="2218307" cy="192360"/>
          </a:xfrm>
          <a:prstGeom prst="rect">
            <a:avLst/>
          </a:prstGeom>
        </p:spPr>
        <p:txBody>
          <a:bodyPr lIns="0" tIns="0" rIns="0" bIns="0" anchor="ctr" anchorCtr="0"/>
          <a:lstStyle>
            <a:lvl1pPr marL="0" indent="0" algn="l" defTabSz="914400" rtl="0" eaLnBrk="1" latinLnBrk="0" hangingPunct="1">
              <a:lnSpc>
                <a:spcPct val="100000"/>
              </a:lnSpc>
              <a:spcBef>
                <a:spcPts val="1000"/>
              </a:spcBef>
              <a:buClr>
                <a:schemeClr val="tx2"/>
              </a:buClr>
              <a:buFont typeface="Wingdings" panose="05000000000000000000" pitchFamily="2" charset="2"/>
              <a:buNone/>
              <a:defRPr sz="1000" kern="1200" baseline="0">
                <a:solidFill>
                  <a:schemeClr val="tx1"/>
                </a:solidFill>
                <a:latin typeface="+mn-lt"/>
                <a:ea typeface="+mn-ea"/>
                <a:cs typeface="+mn-cs"/>
              </a:defRPr>
            </a:lvl1pPr>
            <a:lvl2pPr marL="0" indent="0" algn="l" defTabSz="914400" rtl="0" eaLnBrk="1" latinLnBrk="0" hangingPunct="1">
              <a:lnSpc>
                <a:spcPct val="100000"/>
              </a:lnSpc>
              <a:spcBef>
                <a:spcPts val="600"/>
              </a:spcBef>
              <a:buClr>
                <a:schemeClr val="tx2"/>
              </a:buClr>
              <a:buFont typeface="Wingdings" panose="05000000000000000000" pitchFamily="2" charset="2"/>
              <a:buNone/>
              <a:defRPr sz="1000" kern="1200">
                <a:solidFill>
                  <a:schemeClr val="tx1"/>
                </a:solidFill>
                <a:latin typeface="+mn-lt"/>
                <a:ea typeface="+mn-ea"/>
                <a:cs typeface="+mn-cs"/>
              </a:defRPr>
            </a:lvl2pPr>
            <a:lvl3pPr marL="0" indent="0" algn="l" defTabSz="914400" rtl="0" eaLnBrk="1" latinLnBrk="0" hangingPunct="1">
              <a:lnSpc>
                <a:spcPct val="100000"/>
              </a:lnSpc>
              <a:spcBef>
                <a:spcPts val="600"/>
              </a:spcBef>
              <a:buClr>
                <a:schemeClr val="tx2"/>
              </a:buClr>
              <a:buFont typeface="Wingdings" panose="05000000000000000000" pitchFamily="2" charset="2"/>
              <a:buNone/>
              <a:defRPr sz="1000" kern="1200">
                <a:solidFill>
                  <a:schemeClr val="tx1"/>
                </a:solidFill>
                <a:latin typeface="+mn-lt"/>
                <a:ea typeface="+mn-ea"/>
                <a:cs typeface="+mn-cs"/>
              </a:defRPr>
            </a:lvl3pPr>
            <a:lvl4pPr marL="0" indent="0" algn="l" defTabSz="914400" rtl="0" eaLnBrk="1" latinLnBrk="0" hangingPunct="1">
              <a:lnSpc>
                <a:spcPct val="100000"/>
              </a:lnSpc>
              <a:spcBef>
                <a:spcPts val="600"/>
              </a:spcBef>
              <a:buClr>
                <a:schemeClr val="tx2"/>
              </a:buClr>
              <a:buFont typeface="Lato" panose="020F0502020204030203" pitchFamily="34" charset="0"/>
              <a:buNone/>
              <a:defRPr sz="1000" kern="1200">
                <a:solidFill>
                  <a:schemeClr val="tx1"/>
                </a:solidFill>
                <a:latin typeface="+mn-lt"/>
                <a:ea typeface="+mn-ea"/>
                <a:cs typeface="+mn-cs"/>
              </a:defRPr>
            </a:lvl4pPr>
            <a:lvl5pPr marL="0" indent="0" algn="l" defTabSz="914400" rtl="0" eaLnBrk="1" latinLnBrk="0" hangingPunct="1">
              <a:lnSpc>
                <a:spcPct val="100000"/>
              </a:lnSpc>
              <a:spcBef>
                <a:spcPts val="600"/>
              </a:spcBef>
              <a:buClr>
                <a:schemeClr val="tx2"/>
              </a:buClr>
              <a:buFont typeface="Wingdings" panose="05000000000000000000" pitchFamily="2" charset="2"/>
              <a:buNone/>
              <a:defRPr sz="10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0"/>
              </a:spcAft>
              <a:buClr>
                <a:srgbClr val="E55A00"/>
              </a:buClr>
              <a:buSzTx/>
              <a:buFont typeface="Wingdings" panose="05000000000000000000" pitchFamily="2" charset="2"/>
              <a:buNone/>
              <a:tabLst/>
              <a:defRPr/>
            </a:pPr>
            <a:r>
              <a:rPr kumimoji="0" lang="ru-RU" sz="1400" b="0" i="0" u="none" strike="noStrike" kern="1200" cap="none" spc="0" normalizeH="0" baseline="0" noProof="0" dirty="0">
                <a:ln>
                  <a:noFill/>
                </a:ln>
                <a:solidFill>
                  <a:srgbClr val="414549"/>
                </a:solidFill>
                <a:effectLst/>
                <a:uLnTx/>
                <a:uFillTx/>
                <a:latin typeface="Lato"/>
                <a:ea typeface="+mn-ea"/>
                <a:cs typeface="+mn-cs"/>
              </a:rPr>
              <a:t>+7 9</a:t>
            </a:r>
            <a:r>
              <a:rPr kumimoji="0" lang="en-US" sz="1400" b="0" i="0" u="none" strike="noStrike" kern="1200" cap="none" spc="0" normalizeH="0" baseline="0" noProof="0" dirty="0">
                <a:ln>
                  <a:noFill/>
                </a:ln>
                <a:solidFill>
                  <a:srgbClr val="414549"/>
                </a:solidFill>
                <a:effectLst/>
                <a:uLnTx/>
                <a:uFillTx/>
                <a:latin typeface="Lato"/>
                <a:ea typeface="+mn-ea"/>
                <a:cs typeface="+mn-cs"/>
              </a:rPr>
              <a:t>77 310 8005</a:t>
            </a:r>
            <a:endParaRPr kumimoji="0" lang="ru-RU" sz="1400" b="0" i="0" u="none" strike="noStrike" kern="1200" cap="none" spc="0" normalizeH="0" baseline="0" noProof="0" dirty="0">
              <a:ln>
                <a:noFill/>
              </a:ln>
              <a:solidFill>
                <a:srgbClr val="414549"/>
              </a:solidFill>
              <a:effectLst/>
              <a:uLnTx/>
              <a:uFillTx/>
              <a:latin typeface="Lato"/>
              <a:ea typeface="+mn-ea"/>
              <a:cs typeface="+mn-cs"/>
            </a:endParaRPr>
          </a:p>
        </p:txBody>
      </p:sp>
      <p:sp>
        <p:nvSpPr>
          <p:cNvPr id="30" name="Text Placeholder 5">
            <a:extLst>
              <a:ext uri="{FF2B5EF4-FFF2-40B4-BE49-F238E27FC236}">
                <a16:creationId xmlns:a16="http://schemas.microsoft.com/office/drawing/2014/main" id="{3C79AFBD-2072-4911-99E8-950323249850}"/>
              </a:ext>
            </a:extLst>
          </p:cNvPr>
          <p:cNvSpPr txBox="1">
            <a:spLocks/>
          </p:cNvSpPr>
          <p:nvPr/>
        </p:nvSpPr>
        <p:spPr>
          <a:xfrm>
            <a:off x="657852" y="5635225"/>
            <a:ext cx="2440190" cy="192360"/>
          </a:xfrm>
          <a:prstGeom prst="rect">
            <a:avLst/>
          </a:prstGeom>
        </p:spPr>
        <p:txBody>
          <a:bodyPr lIns="0" tIns="0" rIns="0" bIns="0" anchor="ctr" anchorCtr="0"/>
          <a:lstStyle>
            <a:lvl1pPr marL="0" indent="0" algn="l" defTabSz="914400" rtl="0" eaLnBrk="1" latinLnBrk="0" hangingPunct="1">
              <a:lnSpc>
                <a:spcPct val="100000"/>
              </a:lnSpc>
              <a:spcBef>
                <a:spcPts val="1000"/>
              </a:spcBef>
              <a:buClr>
                <a:schemeClr val="tx2"/>
              </a:buClr>
              <a:buFont typeface="Wingdings" panose="05000000000000000000" pitchFamily="2" charset="2"/>
              <a:buNone/>
              <a:defRPr sz="1000" kern="1200" baseline="0">
                <a:solidFill>
                  <a:schemeClr val="tx1"/>
                </a:solidFill>
                <a:latin typeface="+mn-lt"/>
                <a:ea typeface="+mn-ea"/>
                <a:cs typeface="+mn-cs"/>
              </a:defRPr>
            </a:lvl1pPr>
            <a:lvl2pPr marL="0" indent="0" algn="l" defTabSz="914400" rtl="0" eaLnBrk="1" latinLnBrk="0" hangingPunct="1">
              <a:lnSpc>
                <a:spcPct val="100000"/>
              </a:lnSpc>
              <a:spcBef>
                <a:spcPts val="600"/>
              </a:spcBef>
              <a:buClr>
                <a:schemeClr val="tx2"/>
              </a:buClr>
              <a:buFont typeface="Wingdings" panose="05000000000000000000" pitchFamily="2" charset="2"/>
              <a:buNone/>
              <a:defRPr sz="1000" kern="1200">
                <a:solidFill>
                  <a:schemeClr val="tx1"/>
                </a:solidFill>
                <a:latin typeface="+mn-lt"/>
                <a:ea typeface="+mn-ea"/>
                <a:cs typeface="+mn-cs"/>
              </a:defRPr>
            </a:lvl2pPr>
            <a:lvl3pPr marL="0" indent="0" algn="l" defTabSz="914400" rtl="0" eaLnBrk="1" latinLnBrk="0" hangingPunct="1">
              <a:lnSpc>
                <a:spcPct val="100000"/>
              </a:lnSpc>
              <a:spcBef>
                <a:spcPts val="600"/>
              </a:spcBef>
              <a:buClr>
                <a:schemeClr val="tx2"/>
              </a:buClr>
              <a:buFont typeface="Wingdings" panose="05000000000000000000" pitchFamily="2" charset="2"/>
              <a:buNone/>
              <a:defRPr sz="1000" kern="1200">
                <a:solidFill>
                  <a:schemeClr val="tx1"/>
                </a:solidFill>
                <a:latin typeface="+mn-lt"/>
                <a:ea typeface="+mn-ea"/>
                <a:cs typeface="+mn-cs"/>
              </a:defRPr>
            </a:lvl3pPr>
            <a:lvl4pPr marL="0" indent="0" algn="l" defTabSz="914400" rtl="0" eaLnBrk="1" latinLnBrk="0" hangingPunct="1">
              <a:lnSpc>
                <a:spcPct val="100000"/>
              </a:lnSpc>
              <a:spcBef>
                <a:spcPts val="600"/>
              </a:spcBef>
              <a:buClr>
                <a:schemeClr val="tx2"/>
              </a:buClr>
              <a:buFont typeface="Lato" panose="020F0502020204030203" pitchFamily="34" charset="0"/>
              <a:buNone/>
              <a:defRPr sz="1000" kern="1200">
                <a:solidFill>
                  <a:schemeClr val="tx1"/>
                </a:solidFill>
                <a:latin typeface="+mn-lt"/>
                <a:ea typeface="+mn-ea"/>
                <a:cs typeface="+mn-cs"/>
              </a:defRPr>
            </a:lvl4pPr>
            <a:lvl5pPr marL="0" indent="0" algn="l" defTabSz="914400" rtl="0" eaLnBrk="1" latinLnBrk="0" hangingPunct="1">
              <a:lnSpc>
                <a:spcPct val="100000"/>
              </a:lnSpc>
              <a:spcBef>
                <a:spcPts val="600"/>
              </a:spcBef>
              <a:buClr>
                <a:schemeClr val="tx2"/>
              </a:buClr>
              <a:buFont typeface="Wingdings" panose="05000000000000000000" pitchFamily="2" charset="2"/>
              <a:buNone/>
              <a:defRPr sz="10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0"/>
              </a:spcAft>
              <a:buClr>
                <a:srgbClr val="E55A00"/>
              </a:buClr>
              <a:buSzTx/>
              <a:buFont typeface="Wingdings" panose="05000000000000000000" pitchFamily="2" charset="2"/>
              <a:buNone/>
              <a:tabLst/>
              <a:defRPr/>
            </a:pPr>
            <a:r>
              <a:rPr lang="en-US" sz="1400" dirty="0" err="1">
                <a:solidFill>
                  <a:srgbClr val="414549"/>
                </a:solidFill>
                <a:latin typeface="Lato"/>
              </a:rPr>
              <a:t>Gulnaz.Rahmatullina</a:t>
            </a:r>
            <a:r>
              <a:rPr kumimoji="0" lang="en-US" sz="1400" b="0" i="0" u="none" strike="noStrike" kern="1200" cap="none" spc="0" normalizeH="0" baseline="0" noProof="0" dirty="0">
                <a:ln>
                  <a:noFill/>
                </a:ln>
                <a:solidFill>
                  <a:srgbClr val="414549"/>
                </a:solidFill>
                <a:effectLst/>
                <a:uLnTx/>
                <a:uFillTx/>
                <a:latin typeface="Lato"/>
                <a:ea typeface="+mn-ea"/>
                <a:cs typeface="+mn-cs"/>
              </a:rPr>
              <a:t>@gfk.com</a:t>
            </a:r>
          </a:p>
        </p:txBody>
      </p:sp>
      <p:sp>
        <p:nvSpPr>
          <p:cNvPr id="7" name="Прямоугольник 6">
            <a:extLst>
              <a:ext uri="{FF2B5EF4-FFF2-40B4-BE49-F238E27FC236}">
                <a16:creationId xmlns:a16="http://schemas.microsoft.com/office/drawing/2014/main" id="{9CE92EB3-7FBD-48A7-BF07-6EEC59073EEE}"/>
              </a:ext>
            </a:extLst>
          </p:cNvPr>
          <p:cNvSpPr/>
          <p:nvPr/>
        </p:nvSpPr>
        <p:spPr>
          <a:xfrm>
            <a:off x="8244072" y="5130064"/>
            <a:ext cx="3137398" cy="778675"/>
          </a:xfrm>
          <a:prstGeom prst="rect">
            <a:avLst/>
          </a:prstGeom>
        </p:spPr>
        <p:txBody>
          <a:bodyPr wrap="none">
            <a:spAutoFit/>
          </a:bodyPr>
          <a:lstStyle/>
          <a:p>
            <a:pPr marL="0" marR="0" lvl="0" indent="0" algn="r" defTabSz="914400" rtl="0" eaLnBrk="1" fontAlgn="auto" latinLnBrk="0" hangingPunct="1">
              <a:lnSpc>
                <a:spcPct val="125000"/>
              </a:lnSpc>
              <a:spcBef>
                <a:spcPts val="0"/>
              </a:spcBef>
              <a:spcAft>
                <a:spcPts val="0"/>
              </a:spcAft>
              <a:buClrTx/>
              <a:buSzTx/>
              <a:buFontTx/>
              <a:buNone/>
              <a:tabLst/>
              <a:defRPr/>
            </a:pPr>
            <a:r>
              <a:rPr lang="en-US" sz="4000" dirty="0">
                <a:solidFill>
                  <a:srgbClr val="FFFFFF"/>
                </a:solidFill>
                <a:latin typeface="Lato"/>
              </a:rPr>
              <a:t>Thank You</a:t>
            </a:r>
            <a:r>
              <a:rPr kumimoji="0" lang="en-US" sz="4000" b="0" i="0" u="none" strike="noStrike" kern="1200" cap="none" spc="0" normalizeH="0" baseline="0" noProof="0" dirty="0">
                <a:ln>
                  <a:noFill/>
                </a:ln>
                <a:solidFill>
                  <a:srgbClr val="FFFFFF"/>
                </a:solidFill>
                <a:effectLst/>
                <a:uLnTx/>
                <a:uFillTx/>
                <a:latin typeface="Lato"/>
                <a:ea typeface="+mn-ea"/>
                <a:cs typeface="+mn-cs"/>
              </a:rPr>
              <a:t>!   </a:t>
            </a:r>
            <a:endParaRPr kumimoji="0" lang="de-DE" sz="2000" b="0" i="0" u="none" strike="noStrike" kern="1200" cap="none" spc="0" normalizeH="0" baseline="0" noProof="0" dirty="0">
              <a:ln>
                <a:noFill/>
              </a:ln>
              <a:solidFill>
                <a:srgbClr val="FFFFFF"/>
              </a:solidFill>
              <a:effectLst/>
              <a:uLnTx/>
              <a:uFillTx/>
              <a:latin typeface="Lato"/>
              <a:ea typeface="+mn-ea"/>
              <a:cs typeface="+mn-cs"/>
            </a:endParaRPr>
          </a:p>
        </p:txBody>
      </p:sp>
    </p:spTree>
    <p:extLst>
      <p:ext uri="{BB962C8B-B14F-4D97-AF65-F5344CB8AC3E}">
        <p14:creationId xmlns:p14="http://schemas.microsoft.com/office/powerpoint/2010/main" val="35685880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5815A4D9-E428-4156-A266-6D54A6E32539}"/>
              </a:ext>
            </a:extLst>
          </p:cNvPr>
          <p:cNvSpPr>
            <a:spLocks noGrp="1"/>
          </p:cNvSpPr>
          <p:nvPr>
            <p:ph type="dt" sz="half" idx="1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CDD32BD-FF9D-4DB4-9F41-CD2C0ACD21D9}" type="datetime5">
              <a:rPr kumimoji="0" lang="en-US" sz="800" b="0" i="0" u="none" strike="noStrike" kern="1200" cap="none" spc="0" normalizeH="0" baseline="0" noProof="0" smtClean="0">
                <a:ln>
                  <a:noFill/>
                </a:ln>
                <a:solidFill>
                  <a:srgbClr val="414549"/>
                </a:solidFill>
                <a:effectLst/>
                <a:uLnTx/>
                <a:uFillTx/>
                <a:latin typeface="Lato"/>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Jun-20</a:t>
            </a:fld>
            <a:endParaRPr kumimoji="0" lang="en-US" sz="800" b="0" i="0" u="none" strike="noStrike" kern="1200" cap="none" spc="0" normalizeH="0" baseline="0" noProof="0">
              <a:ln>
                <a:noFill/>
              </a:ln>
              <a:solidFill>
                <a:srgbClr val="414549"/>
              </a:solidFill>
              <a:effectLst/>
              <a:uLnTx/>
              <a:uFillTx/>
              <a:latin typeface="Lato"/>
              <a:ea typeface="+mn-ea"/>
              <a:cs typeface="+mn-cs"/>
            </a:endParaRPr>
          </a:p>
        </p:txBody>
      </p:sp>
      <p:sp>
        <p:nvSpPr>
          <p:cNvPr id="7" name="Text Placeholder 6">
            <a:extLst>
              <a:ext uri="{FF2B5EF4-FFF2-40B4-BE49-F238E27FC236}">
                <a16:creationId xmlns:a16="http://schemas.microsoft.com/office/drawing/2014/main" id="{1F232792-876E-489C-A1E1-E42FD345A9A1}"/>
              </a:ext>
            </a:extLst>
          </p:cNvPr>
          <p:cNvSpPr>
            <a:spLocks noGrp="1"/>
          </p:cNvSpPr>
          <p:nvPr>
            <p:ph type="body" sz="quarter" idx="17"/>
          </p:nvPr>
        </p:nvSpPr>
        <p:spPr>
          <a:xfrm>
            <a:off x="1719305" y="6307665"/>
            <a:ext cx="8162717" cy="133200"/>
          </a:xfrm>
        </p:spPr>
        <p:txBody>
          <a:bodyPr/>
          <a:lstStyle/>
          <a:p>
            <a:r>
              <a:rPr lang="fr-CH"/>
              <a:t>Source : Wikipedia, article on </a:t>
            </a:r>
            <a:r>
              <a:rPr lang="en-GB" i="1">
                <a:hlinkClick r:id="rId25"/>
              </a:rPr>
              <a:t>2019–20 coronavirus pandemic</a:t>
            </a:r>
            <a:endParaRPr lang="en-GB" i="1"/>
          </a:p>
        </p:txBody>
      </p:sp>
      <p:grpSp>
        <p:nvGrpSpPr>
          <p:cNvPr id="40" name="Group 39">
            <a:extLst>
              <a:ext uri="{FF2B5EF4-FFF2-40B4-BE49-F238E27FC236}">
                <a16:creationId xmlns:a16="http://schemas.microsoft.com/office/drawing/2014/main" id="{19A03F85-B5BE-4804-A07A-6BA8AA29B98F}"/>
              </a:ext>
            </a:extLst>
          </p:cNvPr>
          <p:cNvGrpSpPr/>
          <p:nvPr/>
        </p:nvGrpSpPr>
        <p:grpSpPr>
          <a:xfrm>
            <a:off x="1319648" y="4464921"/>
            <a:ext cx="6639786" cy="359924"/>
            <a:chOff x="1045877" y="3815091"/>
            <a:chExt cx="5400000" cy="359924"/>
          </a:xfrm>
        </p:grpSpPr>
        <p:sp>
          <p:nvSpPr>
            <p:cNvPr id="41" name="Rectangle 40">
              <a:extLst>
                <a:ext uri="{FF2B5EF4-FFF2-40B4-BE49-F238E27FC236}">
                  <a16:creationId xmlns:a16="http://schemas.microsoft.com/office/drawing/2014/main" id="{626E554F-2594-46D1-8392-1AC8AF9EA809}"/>
                </a:ext>
              </a:extLst>
            </p:cNvPr>
            <p:cNvSpPr/>
            <p:nvPr/>
          </p:nvSpPr>
          <p:spPr>
            <a:xfrm>
              <a:off x="1045877" y="3815091"/>
              <a:ext cx="1080000" cy="359924"/>
            </a:xfrm>
            <a:prstGeom prst="rect">
              <a:avLst/>
            </a:prstGeom>
            <a:solidFill>
              <a:srgbClr val="B3B5B6"/>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ctr"/>
            <a:lstStyle/>
            <a:p>
              <a:pPr marL="0" marR="0" lvl="0" indent="0" algn="ctr" defTabSz="914400" rtl="0" eaLnBrk="1" fontAlgn="auto" latinLnBrk="0" hangingPunct="1">
                <a:lnSpc>
                  <a:spcPct val="125000"/>
                </a:lnSpc>
                <a:spcBef>
                  <a:spcPts val="0"/>
                </a:spcBef>
                <a:spcAft>
                  <a:spcPts val="0"/>
                </a:spcAft>
                <a:buClrTx/>
                <a:buSzTx/>
                <a:buFontTx/>
                <a:buNone/>
                <a:tabLst/>
                <a:defRPr/>
              </a:pPr>
              <a:r>
                <a:rPr kumimoji="0" lang="en-US" sz="1600" b="0" i="0" u="none" strike="noStrike" kern="1200" cap="none" spc="0" normalizeH="0" baseline="0" noProof="0">
                  <a:ln>
                    <a:noFill/>
                  </a:ln>
                  <a:solidFill>
                    <a:srgbClr val="FFFFFF"/>
                  </a:solidFill>
                  <a:effectLst/>
                  <a:uLnTx/>
                  <a:uFillTx/>
                  <a:latin typeface="Lato"/>
                  <a:ea typeface="+mn-ea"/>
                  <a:cs typeface="+mn-cs"/>
                </a:rPr>
                <a:t>JAN</a:t>
              </a:r>
            </a:p>
          </p:txBody>
        </p:sp>
        <p:sp>
          <p:nvSpPr>
            <p:cNvPr id="42" name="Rectangle 41">
              <a:extLst>
                <a:ext uri="{FF2B5EF4-FFF2-40B4-BE49-F238E27FC236}">
                  <a16:creationId xmlns:a16="http://schemas.microsoft.com/office/drawing/2014/main" id="{02794463-AF75-445F-B958-93EB9314432C}"/>
                </a:ext>
              </a:extLst>
            </p:cNvPr>
            <p:cNvSpPr/>
            <p:nvPr/>
          </p:nvSpPr>
          <p:spPr>
            <a:xfrm>
              <a:off x="2125877" y="3815091"/>
              <a:ext cx="1080000" cy="359924"/>
            </a:xfrm>
            <a:prstGeom prst="rect">
              <a:avLst/>
            </a:prstGeom>
            <a:solidFill>
              <a:srgbClr val="B3B5B6"/>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ctr"/>
            <a:lstStyle/>
            <a:p>
              <a:pPr marL="0" marR="0" lvl="0" indent="0" algn="ctr" defTabSz="914400" rtl="0" eaLnBrk="1" fontAlgn="auto" latinLnBrk="0" hangingPunct="1">
                <a:lnSpc>
                  <a:spcPct val="125000"/>
                </a:lnSpc>
                <a:spcBef>
                  <a:spcPts val="0"/>
                </a:spcBef>
                <a:spcAft>
                  <a:spcPts val="0"/>
                </a:spcAft>
                <a:buClrTx/>
                <a:buSzTx/>
                <a:buFontTx/>
                <a:buNone/>
                <a:tabLst/>
                <a:defRPr/>
              </a:pPr>
              <a:r>
                <a:rPr kumimoji="0" lang="en-US" sz="1600" b="0" i="0" u="none" strike="noStrike" kern="1200" cap="none" spc="0" normalizeH="0" baseline="0" noProof="0">
                  <a:ln>
                    <a:noFill/>
                  </a:ln>
                  <a:solidFill>
                    <a:srgbClr val="FFFFFF"/>
                  </a:solidFill>
                  <a:effectLst/>
                  <a:uLnTx/>
                  <a:uFillTx/>
                  <a:latin typeface="Lato"/>
                  <a:ea typeface="+mn-ea"/>
                  <a:cs typeface="+mn-cs"/>
                </a:rPr>
                <a:t>FEB</a:t>
              </a:r>
            </a:p>
          </p:txBody>
        </p:sp>
        <p:sp>
          <p:nvSpPr>
            <p:cNvPr id="43" name="Rectangle 42">
              <a:extLst>
                <a:ext uri="{FF2B5EF4-FFF2-40B4-BE49-F238E27FC236}">
                  <a16:creationId xmlns:a16="http://schemas.microsoft.com/office/drawing/2014/main" id="{6B1104F6-54AC-4881-9116-5CEB9612B4CD}"/>
                </a:ext>
              </a:extLst>
            </p:cNvPr>
            <p:cNvSpPr/>
            <p:nvPr/>
          </p:nvSpPr>
          <p:spPr>
            <a:xfrm>
              <a:off x="3205877" y="3815091"/>
              <a:ext cx="1080000" cy="359924"/>
            </a:xfrm>
            <a:prstGeom prst="rect">
              <a:avLst/>
            </a:prstGeom>
            <a:solidFill>
              <a:srgbClr val="B3B5B6"/>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ctr"/>
            <a:lstStyle/>
            <a:p>
              <a:pPr marL="0" marR="0" lvl="0" indent="0" algn="ctr" defTabSz="914400" rtl="0" eaLnBrk="1" fontAlgn="auto" latinLnBrk="0" hangingPunct="1">
                <a:lnSpc>
                  <a:spcPct val="125000"/>
                </a:lnSpc>
                <a:spcBef>
                  <a:spcPts val="0"/>
                </a:spcBef>
                <a:spcAft>
                  <a:spcPts val="0"/>
                </a:spcAft>
                <a:buClrTx/>
                <a:buSzTx/>
                <a:buFontTx/>
                <a:buNone/>
                <a:tabLst/>
                <a:defRPr/>
              </a:pPr>
              <a:r>
                <a:rPr kumimoji="0" lang="en-US" sz="1600" b="0" i="0" u="none" strike="noStrike" kern="1200" cap="none" spc="0" normalizeH="0" baseline="0" noProof="0">
                  <a:ln>
                    <a:noFill/>
                  </a:ln>
                  <a:solidFill>
                    <a:srgbClr val="FFFFFF"/>
                  </a:solidFill>
                  <a:effectLst/>
                  <a:uLnTx/>
                  <a:uFillTx/>
                  <a:latin typeface="Lato"/>
                  <a:ea typeface="+mn-ea"/>
                  <a:cs typeface="+mn-cs"/>
                </a:rPr>
                <a:t>MAR</a:t>
              </a:r>
            </a:p>
          </p:txBody>
        </p:sp>
        <p:sp>
          <p:nvSpPr>
            <p:cNvPr id="44" name="Rectangle 43">
              <a:extLst>
                <a:ext uri="{FF2B5EF4-FFF2-40B4-BE49-F238E27FC236}">
                  <a16:creationId xmlns:a16="http://schemas.microsoft.com/office/drawing/2014/main" id="{9B13D493-71A2-4CAA-A151-49BD2A7B77AC}"/>
                </a:ext>
              </a:extLst>
            </p:cNvPr>
            <p:cNvSpPr/>
            <p:nvPr/>
          </p:nvSpPr>
          <p:spPr>
            <a:xfrm>
              <a:off x="4285877" y="3815091"/>
              <a:ext cx="1080000" cy="359924"/>
            </a:xfrm>
            <a:prstGeom prst="rect">
              <a:avLst/>
            </a:prstGeom>
            <a:solidFill>
              <a:schemeClr val="accent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ctr"/>
            <a:lstStyle/>
            <a:p>
              <a:pPr marL="0" marR="0" lvl="0" indent="0" algn="ctr" defTabSz="914400" rtl="0" eaLnBrk="1" fontAlgn="auto" latinLnBrk="0" hangingPunct="1">
                <a:lnSpc>
                  <a:spcPct val="125000"/>
                </a:lnSpc>
                <a:spcBef>
                  <a:spcPts val="0"/>
                </a:spcBef>
                <a:spcAft>
                  <a:spcPts val="0"/>
                </a:spcAft>
                <a:buClrTx/>
                <a:buSzTx/>
                <a:buFontTx/>
                <a:buNone/>
                <a:tabLst/>
                <a:defRPr/>
              </a:pPr>
              <a:r>
                <a:rPr kumimoji="0" lang="en-US" sz="1600" b="0" i="0" u="none" strike="noStrike" kern="1200" cap="none" spc="0" normalizeH="0" baseline="0" noProof="0">
                  <a:ln>
                    <a:noFill/>
                  </a:ln>
                  <a:solidFill>
                    <a:srgbClr val="FFFFFF"/>
                  </a:solidFill>
                  <a:effectLst/>
                  <a:uLnTx/>
                  <a:uFillTx/>
                  <a:latin typeface="Lato"/>
                  <a:ea typeface="+mn-ea"/>
                  <a:cs typeface="+mn-cs"/>
                </a:rPr>
                <a:t>APR</a:t>
              </a:r>
            </a:p>
          </p:txBody>
        </p:sp>
        <p:sp>
          <p:nvSpPr>
            <p:cNvPr id="45" name="Rectangle 44">
              <a:extLst>
                <a:ext uri="{FF2B5EF4-FFF2-40B4-BE49-F238E27FC236}">
                  <a16:creationId xmlns:a16="http://schemas.microsoft.com/office/drawing/2014/main" id="{096D91B8-C4A1-40E2-A8C1-4B07C03F0095}"/>
                </a:ext>
              </a:extLst>
            </p:cNvPr>
            <p:cNvSpPr/>
            <p:nvPr/>
          </p:nvSpPr>
          <p:spPr>
            <a:xfrm>
              <a:off x="5365877" y="3815091"/>
              <a:ext cx="1080000" cy="359924"/>
            </a:xfrm>
            <a:prstGeom prst="rect">
              <a:avLst/>
            </a:prstGeom>
            <a:solidFill>
              <a:srgbClr val="B3B5B6"/>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ctr"/>
            <a:lstStyle/>
            <a:p>
              <a:pPr marL="0" marR="0" lvl="0" indent="0" algn="ctr" defTabSz="914400" rtl="0" eaLnBrk="1" fontAlgn="auto" latinLnBrk="0" hangingPunct="1">
                <a:lnSpc>
                  <a:spcPct val="125000"/>
                </a:lnSpc>
                <a:spcBef>
                  <a:spcPts val="0"/>
                </a:spcBef>
                <a:spcAft>
                  <a:spcPts val="0"/>
                </a:spcAft>
                <a:buClrTx/>
                <a:buSzTx/>
                <a:buFontTx/>
                <a:buNone/>
                <a:tabLst/>
                <a:defRPr/>
              </a:pPr>
              <a:r>
                <a:rPr kumimoji="0" lang="en-US" sz="1600" b="0" i="0" u="none" strike="noStrike" kern="1200" cap="none" spc="0" normalizeH="0" baseline="0" noProof="0">
                  <a:ln>
                    <a:noFill/>
                  </a:ln>
                  <a:solidFill>
                    <a:srgbClr val="FFFFFF"/>
                  </a:solidFill>
                  <a:effectLst/>
                  <a:uLnTx/>
                  <a:uFillTx/>
                  <a:latin typeface="Lato"/>
                  <a:ea typeface="+mn-ea"/>
                  <a:cs typeface="+mn-cs"/>
                </a:rPr>
                <a:t>MAY</a:t>
              </a:r>
            </a:p>
          </p:txBody>
        </p:sp>
      </p:grpSp>
      <p:sp>
        <p:nvSpPr>
          <p:cNvPr id="53" name="TextBox 52">
            <a:extLst>
              <a:ext uri="{FF2B5EF4-FFF2-40B4-BE49-F238E27FC236}">
                <a16:creationId xmlns:a16="http://schemas.microsoft.com/office/drawing/2014/main" id="{5AC020EE-0FA6-4BFD-AB33-66EB48EA4EE1}"/>
              </a:ext>
            </a:extLst>
          </p:cNvPr>
          <p:cNvSpPr txBox="1"/>
          <p:nvPr/>
        </p:nvSpPr>
        <p:spPr>
          <a:xfrm>
            <a:off x="953600" y="2237067"/>
            <a:ext cx="1106623" cy="950438"/>
          </a:xfrm>
          <a:prstGeom prst="rect">
            <a:avLst/>
          </a:prstGeom>
          <a:noFill/>
        </p:spPr>
        <p:txBody>
          <a:bodyPr wrap="square" lIns="72000" tIns="0" rIns="0" bIns="0" rtlCol="0">
            <a:noAutofit/>
          </a:bodyPr>
          <a:lstStyle/>
          <a:p>
            <a:pPr marL="0" marR="0" lvl="0" indent="0" algn="l" defTabSz="914400" rtl="0" eaLnBrk="1" fontAlgn="auto" latinLnBrk="0" hangingPunct="1">
              <a:lnSpc>
                <a:spcPct val="125000"/>
              </a:lnSpc>
              <a:spcBef>
                <a:spcPts val="0"/>
              </a:spcBef>
              <a:spcAft>
                <a:spcPts val="0"/>
              </a:spcAft>
              <a:buClr>
                <a:srgbClr val="E55A00"/>
              </a:buClr>
              <a:buSzTx/>
              <a:buFontTx/>
              <a:buNone/>
              <a:tabLst/>
              <a:defRPr/>
            </a:pPr>
            <a:r>
              <a:rPr kumimoji="0" lang="en-US" sz="1100" b="1" i="0" u="none" strike="noStrike" kern="1200" cap="none" spc="0" normalizeH="0" baseline="0" noProof="0">
                <a:ln>
                  <a:noFill/>
                </a:ln>
                <a:solidFill>
                  <a:srgbClr val="414549"/>
                </a:solidFill>
                <a:effectLst/>
                <a:uLnTx/>
                <a:uFillTx/>
                <a:latin typeface="Lato"/>
                <a:ea typeface="+mn-ea"/>
                <a:cs typeface="+mn-cs"/>
              </a:rPr>
              <a:t>31/12 2019</a:t>
            </a:r>
          </a:p>
          <a:p>
            <a:pPr marL="0" marR="0" lvl="0" indent="0" algn="l" defTabSz="914400" rtl="0" eaLnBrk="1" fontAlgn="auto" latinLnBrk="0" hangingPunct="1">
              <a:lnSpc>
                <a:spcPct val="125000"/>
              </a:lnSpc>
              <a:spcBef>
                <a:spcPts val="0"/>
              </a:spcBef>
              <a:spcAft>
                <a:spcPts val="0"/>
              </a:spcAft>
              <a:buClr>
                <a:srgbClr val="E55A00"/>
              </a:buClr>
              <a:buSzTx/>
              <a:buFontTx/>
              <a:buNone/>
              <a:tabLst/>
              <a:defRPr/>
            </a:pPr>
            <a:r>
              <a:rPr kumimoji="0" lang="en-US" sz="1100" b="0" i="0" u="none" strike="noStrike" kern="1200" cap="none" spc="0" normalizeH="0" baseline="0" noProof="0">
                <a:ln>
                  <a:noFill/>
                </a:ln>
                <a:solidFill>
                  <a:srgbClr val="414549"/>
                </a:solidFill>
                <a:effectLst/>
                <a:uLnTx/>
                <a:uFillTx/>
                <a:latin typeface="Lato"/>
                <a:ea typeface="+mn-ea"/>
                <a:cs typeface="+mn-cs"/>
              </a:rPr>
              <a:t>First reported cluster in Wuhan, China</a:t>
            </a:r>
          </a:p>
        </p:txBody>
      </p:sp>
      <p:sp>
        <p:nvSpPr>
          <p:cNvPr id="65" name="TextBox 64">
            <a:extLst>
              <a:ext uri="{FF2B5EF4-FFF2-40B4-BE49-F238E27FC236}">
                <a16:creationId xmlns:a16="http://schemas.microsoft.com/office/drawing/2014/main" id="{7687F799-FDFD-42F9-8C28-648B27BCE461}"/>
              </a:ext>
            </a:extLst>
          </p:cNvPr>
          <p:cNvSpPr txBox="1"/>
          <p:nvPr/>
        </p:nvSpPr>
        <p:spPr>
          <a:xfrm>
            <a:off x="1753878" y="5609849"/>
            <a:ext cx="1293858" cy="1056628"/>
          </a:xfrm>
          <a:prstGeom prst="rect">
            <a:avLst/>
          </a:prstGeom>
          <a:noFill/>
        </p:spPr>
        <p:txBody>
          <a:bodyPr wrap="square" lIns="72000" tIns="0" rIns="0" bIns="0" rtlCol="0">
            <a:noAutofit/>
          </a:bodyPr>
          <a:lstStyle/>
          <a:p>
            <a:pPr marL="0" marR="0" lvl="0" indent="0" algn="l" defTabSz="914400" rtl="0" eaLnBrk="1" fontAlgn="auto" latinLnBrk="0" hangingPunct="1">
              <a:lnSpc>
                <a:spcPct val="125000"/>
              </a:lnSpc>
              <a:spcBef>
                <a:spcPts val="0"/>
              </a:spcBef>
              <a:spcAft>
                <a:spcPts val="0"/>
              </a:spcAft>
              <a:buClr>
                <a:srgbClr val="E55A00"/>
              </a:buClr>
              <a:buSzTx/>
              <a:buFontTx/>
              <a:buNone/>
              <a:tabLst/>
              <a:defRPr/>
            </a:pPr>
            <a:r>
              <a:rPr kumimoji="0" lang="en-US" sz="1100" b="1" i="0" u="none" strike="noStrike" kern="1200" cap="none" spc="0" normalizeH="0" baseline="0" noProof="0">
                <a:ln>
                  <a:noFill/>
                </a:ln>
                <a:solidFill>
                  <a:srgbClr val="414549"/>
                </a:solidFill>
                <a:effectLst/>
                <a:uLnTx/>
                <a:uFillTx/>
                <a:latin typeface="Lato"/>
                <a:ea typeface="+mn-ea"/>
                <a:cs typeface="+mn-cs"/>
              </a:rPr>
              <a:t>23/1 2020</a:t>
            </a:r>
          </a:p>
          <a:p>
            <a:pPr marL="0" marR="0" lvl="0" indent="0" algn="l" defTabSz="914400" rtl="0" eaLnBrk="1" fontAlgn="auto" latinLnBrk="0" hangingPunct="1">
              <a:lnSpc>
                <a:spcPct val="125000"/>
              </a:lnSpc>
              <a:spcBef>
                <a:spcPts val="0"/>
              </a:spcBef>
              <a:spcAft>
                <a:spcPts val="0"/>
              </a:spcAft>
              <a:buClr>
                <a:srgbClr val="E55A00"/>
              </a:buClr>
              <a:buSzTx/>
              <a:buFontTx/>
              <a:buNone/>
              <a:tabLst/>
              <a:defRPr/>
            </a:pPr>
            <a:r>
              <a:rPr kumimoji="0" lang="en-US" sz="1100" b="0" i="0" u="none" strike="noStrike" kern="1200" cap="none" spc="0" normalizeH="0" baseline="0" noProof="0">
                <a:ln>
                  <a:noFill/>
                </a:ln>
                <a:solidFill>
                  <a:srgbClr val="414549"/>
                </a:solidFill>
                <a:effectLst/>
                <a:uLnTx/>
                <a:uFillTx/>
                <a:latin typeface="Lato"/>
                <a:ea typeface="+mn-ea"/>
                <a:cs typeface="+mn-cs"/>
              </a:rPr>
              <a:t>57mio people lockdown in China</a:t>
            </a:r>
          </a:p>
        </p:txBody>
      </p:sp>
      <p:sp>
        <p:nvSpPr>
          <p:cNvPr id="69" name="Freeform 7">
            <a:extLst>
              <a:ext uri="{FF2B5EF4-FFF2-40B4-BE49-F238E27FC236}">
                <a16:creationId xmlns:a16="http://schemas.microsoft.com/office/drawing/2014/main" id="{A1D14664-8200-496C-A9D6-EA02DF2773A9}"/>
              </a:ext>
            </a:extLst>
          </p:cNvPr>
          <p:cNvSpPr>
            <a:spLocks/>
          </p:cNvSpPr>
          <p:nvPr>
            <p:custDataLst>
              <p:tags r:id="rId1"/>
            </p:custDataLst>
          </p:nvPr>
        </p:nvSpPr>
        <p:spPr bwMode="gray">
          <a:xfrm rot="16200000" flipV="1">
            <a:off x="4314073" y="2762210"/>
            <a:ext cx="112239" cy="1645924"/>
          </a:xfrm>
          <a:custGeom>
            <a:avLst/>
            <a:gdLst>
              <a:gd name="connsiteX0" fmla="*/ 0 w 925128"/>
              <a:gd name="connsiteY0" fmla="*/ 1466588 h 2735263"/>
              <a:gd name="connsiteX1" fmla="*/ 24353 w 925128"/>
              <a:gd name="connsiteY1" fmla="*/ 0 h 2735263"/>
              <a:gd name="connsiteX2" fmla="*/ 781128 w 925128"/>
              <a:gd name="connsiteY2" fmla="*/ 0 h 2735263"/>
              <a:gd name="connsiteX3" fmla="*/ 781128 w 925128"/>
              <a:gd name="connsiteY3" fmla="*/ 1289897 h 2735263"/>
              <a:gd name="connsiteX4" fmla="*/ 925128 w 925128"/>
              <a:gd name="connsiteY4" fmla="*/ 1365032 h 2735263"/>
              <a:gd name="connsiteX5" fmla="*/ 781128 w 925128"/>
              <a:gd name="connsiteY5" fmla="*/ 1434387 h 2735263"/>
              <a:gd name="connsiteX6" fmla="*/ 781128 w 925128"/>
              <a:gd name="connsiteY6" fmla="*/ 2735263 h 2735263"/>
              <a:gd name="connsiteX7" fmla="*/ 62840 w 925128"/>
              <a:gd name="connsiteY7" fmla="*/ 2735263 h 2735263"/>
              <a:gd name="connsiteX8" fmla="*/ 91440 w 925128"/>
              <a:gd name="connsiteY8" fmla="*/ 1558028 h 2735263"/>
              <a:gd name="connsiteX0" fmla="*/ 0 w 925128"/>
              <a:gd name="connsiteY0" fmla="*/ 1466588 h 2735263"/>
              <a:gd name="connsiteX1" fmla="*/ 24353 w 925128"/>
              <a:gd name="connsiteY1" fmla="*/ 0 h 2735263"/>
              <a:gd name="connsiteX2" fmla="*/ 781128 w 925128"/>
              <a:gd name="connsiteY2" fmla="*/ 0 h 2735263"/>
              <a:gd name="connsiteX3" fmla="*/ 781128 w 925128"/>
              <a:gd name="connsiteY3" fmla="*/ 1289897 h 2735263"/>
              <a:gd name="connsiteX4" fmla="*/ 925128 w 925128"/>
              <a:gd name="connsiteY4" fmla="*/ 1365032 h 2735263"/>
              <a:gd name="connsiteX5" fmla="*/ 781128 w 925128"/>
              <a:gd name="connsiteY5" fmla="*/ 1434387 h 2735263"/>
              <a:gd name="connsiteX6" fmla="*/ 781128 w 925128"/>
              <a:gd name="connsiteY6" fmla="*/ 2735263 h 2735263"/>
              <a:gd name="connsiteX7" fmla="*/ 62840 w 925128"/>
              <a:gd name="connsiteY7" fmla="*/ 2735263 h 2735263"/>
              <a:gd name="connsiteX0" fmla="*/ 0 w 900775"/>
              <a:gd name="connsiteY0" fmla="*/ 0 h 2735263"/>
              <a:gd name="connsiteX1" fmla="*/ 756775 w 900775"/>
              <a:gd name="connsiteY1" fmla="*/ 0 h 2735263"/>
              <a:gd name="connsiteX2" fmla="*/ 756775 w 900775"/>
              <a:gd name="connsiteY2" fmla="*/ 1289897 h 2735263"/>
              <a:gd name="connsiteX3" fmla="*/ 900775 w 900775"/>
              <a:gd name="connsiteY3" fmla="*/ 1365032 h 2735263"/>
              <a:gd name="connsiteX4" fmla="*/ 756775 w 900775"/>
              <a:gd name="connsiteY4" fmla="*/ 1434387 h 2735263"/>
              <a:gd name="connsiteX5" fmla="*/ 756775 w 900775"/>
              <a:gd name="connsiteY5" fmla="*/ 2735263 h 2735263"/>
              <a:gd name="connsiteX6" fmla="*/ 38487 w 900775"/>
              <a:gd name="connsiteY6" fmla="*/ 2735263 h 2735263"/>
              <a:gd name="connsiteX0" fmla="*/ 0 w 900775"/>
              <a:gd name="connsiteY0" fmla="*/ 0 h 2735263"/>
              <a:gd name="connsiteX1" fmla="*/ 756775 w 900775"/>
              <a:gd name="connsiteY1" fmla="*/ 0 h 2735263"/>
              <a:gd name="connsiteX2" fmla="*/ 756775 w 900775"/>
              <a:gd name="connsiteY2" fmla="*/ 1289897 h 2735263"/>
              <a:gd name="connsiteX3" fmla="*/ 900775 w 900775"/>
              <a:gd name="connsiteY3" fmla="*/ 1365032 h 2735263"/>
              <a:gd name="connsiteX4" fmla="*/ 756775 w 900775"/>
              <a:gd name="connsiteY4" fmla="*/ 1434387 h 2735263"/>
              <a:gd name="connsiteX5" fmla="*/ 756775 w 900775"/>
              <a:gd name="connsiteY5" fmla="*/ 2735263 h 2735263"/>
              <a:gd name="connsiteX0" fmla="*/ 0 w 144000"/>
              <a:gd name="connsiteY0" fmla="*/ 0 h 2735263"/>
              <a:gd name="connsiteX1" fmla="*/ 0 w 144000"/>
              <a:gd name="connsiteY1" fmla="*/ 1289897 h 2735263"/>
              <a:gd name="connsiteX2" fmla="*/ 144000 w 144000"/>
              <a:gd name="connsiteY2" fmla="*/ 1365032 h 2735263"/>
              <a:gd name="connsiteX3" fmla="*/ 0 w 144000"/>
              <a:gd name="connsiteY3" fmla="*/ 1434387 h 2735263"/>
              <a:gd name="connsiteX4" fmla="*/ 0 w 144000"/>
              <a:gd name="connsiteY4" fmla="*/ 2735263 h 2735263"/>
              <a:gd name="connsiteX0" fmla="*/ 0 w 144000"/>
              <a:gd name="connsiteY0" fmla="*/ 0 h 3361055"/>
              <a:gd name="connsiteX1" fmla="*/ 0 w 144000"/>
              <a:gd name="connsiteY1" fmla="*/ 1289897 h 3361055"/>
              <a:gd name="connsiteX2" fmla="*/ 144000 w 144000"/>
              <a:gd name="connsiteY2" fmla="*/ 1365032 h 3361055"/>
              <a:gd name="connsiteX3" fmla="*/ 0 w 144000"/>
              <a:gd name="connsiteY3" fmla="*/ 1434387 h 3361055"/>
              <a:gd name="connsiteX4" fmla="*/ 0 w 144000"/>
              <a:gd name="connsiteY4" fmla="*/ 3361055 h 3361055"/>
              <a:gd name="connsiteX0" fmla="*/ 0 w 144000"/>
              <a:gd name="connsiteY0" fmla="*/ 0 h 3991104"/>
              <a:gd name="connsiteX1" fmla="*/ 0 w 144000"/>
              <a:gd name="connsiteY1" fmla="*/ 1919946 h 3991104"/>
              <a:gd name="connsiteX2" fmla="*/ 144000 w 144000"/>
              <a:gd name="connsiteY2" fmla="*/ 1995081 h 3991104"/>
              <a:gd name="connsiteX3" fmla="*/ 0 w 144000"/>
              <a:gd name="connsiteY3" fmla="*/ 2064436 h 3991104"/>
              <a:gd name="connsiteX4" fmla="*/ 0 w 144000"/>
              <a:gd name="connsiteY4" fmla="*/ 3991104 h 39911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000" h="3991104">
                <a:moveTo>
                  <a:pt x="0" y="0"/>
                </a:moveTo>
                <a:lnTo>
                  <a:pt x="0" y="1919946"/>
                </a:lnTo>
                <a:lnTo>
                  <a:pt x="144000" y="1995081"/>
                </a:lnTo>
                <a:lnTo>
                  <a:pt x="0" y="2064436"/>
                </a:lnTo>
                <a:lnTo>
                  <a:pt x="0" y="3991104"/>
                </a:lnTo>
              </a:path>
            </a:pathLst>
          </a:custGeom>
          <a:noFill/>
          <a:ln w="9525" cap="flat">
            <a:solidFill>
              <a:schemeClr val="tx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Lato"/>
              <a:ea typeface="+mn-ea"/>
              <a:cs typeface="+mn-cs"/>
            </a:endParaRPr>
          </a:p>
        </p:txBody>
      </p:sp>
      <p:sp>
        <p:nvSpPr>
          <p:cNvPr id="70" name="TextBox 69">
            <a:extLst>
              <a:ext uri="{FF2B5EF4-FFF2-40B4-BE49-F238E27FC236}">
                <a16:creationId xmlns:a16="http://schemas.microsoft.com/office/drawing/2014/main" id="{513D8B14-3EB0-41F7-B63C-0772E94F4449}"/>
              </a:ext>
            </a:extLst>
          </p:cNvPr>
          <p:cNvSpPr txBox="1"/>
          <p:nvPr/>
        </p:nvSpPr>
        <p:spPr>
          <a:xfrm>
            <a:off x="3542084" y="2509594"/>
            <a:ext cx="2007244" cy="1056628"/>
          </a:xfrm>
          <a:prstGeom prst="rect">
            <a:avLst/>
          </a:prstGeom>
          <a:noFill/>
        </p:spPr>
        <p:txBody>
          <a:bodyPr wrap="square" lIns="72000" tIns="0" rIns="0" bIns="0" rtlCol="0">
            <a:noAutofit/>
          </a:bodyPr>
          <a:lstStyle/>
          <a:p>
            <a:pPr marL="0" marR="0" lvl="0" indent="0" algn="l" defTabSz="914400" rtl="0" eaLnBrk="1" fontAlgn="auto" latinLnBrk="0" hangingPunct="1">
              <a:lnSpc>
                <a:spcPct val="125000"/>
              </a:lnSpc>
              <a:spcBef>
                <a:spcPts val="0"/>
              </a:spcBef>
              <a:spcAft>
                <a:spcPts val="0"/>
              </a:spcAft>
              <a:buClr>
                <a:srgbClr val="E55A00"/>
              </a:buClr>
              <a:buSzTx/>
              <a:buFontTx/>
              <a:buNone/>
              <a:tabLst/>
              <a:defRPr/>
            </a:pPr>
            <a:r>
              <a:rPr kumimoji="0" lang="en-US" sz="1100" b="1" i="0" u="none" strike="noStrike" kern="1200" cap="none" spc="0" normalizeH="0" baseline="0" noProof="0">
                <a:ln>
                  <a:noFill/>
                </a:ln>
                <a:solidFill>
                  <a:srgbClr val="414549"/>
                </a:solidFill>
                <a:effectLst/>
                <a:uLnTx/>
                <a:uFillTx/>
                <a:latin typeface="Lato"/>
                <a:ea typeface="+mn-ea"/>
                <a:cs typeface="+mn-cs"/>
              </a:rPr>
              <a:t>End-Feb to mid March</a:t>
            </a:r>
            <a:endParaRPr kumimoji="0" lang="en-US" sz="1100" b="0" i="0" u="none" strike="noStrike" kern="1200" cap="none" spc="0" normalizeH="0" baseline="0" noProof="0">
              <a:ln>
                <a:noFill/>
              </a:ln>
              <a:solidFill>
                <a:srgbClr val="414549"/>
              </a:solidFill>
              <a:effectLst/>
              <a:uLnTx/>
              <a:uFillTx/>
              <a:latin typeface="Lato"/>
              <a:ea typeface="+mn-ea"/>
              <a:cs typeface="+mn-cs"/>
            </a:endParaRPr>
          </a:p>
          <a:p>
            <a:pPr marL="0" marR="0" lvl="0" indent="0" algn="l" defTabSz="914400" rtl="0" eaLnBrk="1" fontAlgn="auto" latinLnBrk="0" hangingPunct="1">
              <a:lnSpc>
                <a:spcPct val="125000"/>
              </a:lnSpc>
              <a:spcBef>
                <a:spcPts val="0"/>
              </a:spcBef>
              <a:spcAft>
                <a:spcPts val="0"/>
              </a:spcAft>
              <a:buClr>
                <a:srgbClr val="E55A00"/>
              </a:buClr>
              <a:buSzTx/>
              <a:buFontTx/>
              <a:buNone/>
              <a:tabLst/>
              <a:defRPr/>
            </a:pPr>
            <a:r>
              <a:rPr kumimoji="0" lang="en-US" sz="1100" b="0" i="0" u="none" strike="noStrike" kern="1200" cap="none" spc="0" normalizeH="0" baseline="0" noProof="0">
                <a:ln>
                  <a:noFill/>
                </a:ln>
                <a:solidFill>
                  <a:srgbClr val="414549"/>
                </a:solidFill>
                <a:effectLst/>
                <a:uLnTx/>
                <a:uFillTx/>
                <a:latin typeface="Lato"/>
                <a:ea typeface="+mn-ea"/>
                <a:cs typeface="+mn-cs"/>
              </a:rPr>
              <a:t>As the epidemic progresses, more and more countries introduce social distancing policies</a:t>
            </a:r>
          </a:p>
        </p:txBody>
      </p:sp>
      <p:pic>
        <p:nvPicPr>
          <p:cNvPr id="71" name="Picture 15">
            <a:extLst>
              <a:ext uri="{FF2B5EF4-FFF2-40B4-BE49-F238E27FC236}">
                <a16:creationId xmlns:a16="http://schemas.microsoft.com/office/drawing/2014/main" id="{E5E79409-B615-434B-A229-B2BE567F479C}"/>
              </a:ext>
            </a:extLst>
          </p:cNvPr>
          <p:cNvPicPr>
            <a:picLocks noChangeAspect="1" noChangeArrowheads="1"/>
          </p:cNvPicPr>
          <p:nvPr>
            <p:custDataLst>
              <p:tags r:id="rId2"/>
            </p:custDataLst>
          </p:nvPr>
        </p:nvPicPr>
        <p:blipFill>
          <a:blip r:embed="rId26" cstate="email">
            <a:extLst>
              <a:ext uri="{28A0092B-C50C-407E-A947-70E740481C1C}">
                <a14:useLocalDpi xmlns:a14="http://schemas.microsoft.com/office/drawing/2010/main"/>
              </a:ext>
            </a:extLst>
          </a:blip>
          <a:srcRect/>
          <a:stretch>
            <a:fillRect/>
          </a:stretch>
        </p:blipFill>
        <p:spPr bwMode="gray">
          <a:xfrm>
            <a:off x="3246672" y="4255980"/>
            <a:ext cx="300560" cy="20037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72" name="Picture 24">
            <a:extLst>
              <a:ext uri="{FF2B5EF4-FFF2-40B4-BE49-F238E27FC236}">
                <a16:creationId xmlns:a16="http://schemas.microsoft.com/office/drawing/2014/main" id="{A94C4A8A-87BB-4D66-8669-6DA0AC117871}"/>
              </a:ext>
            </a:extLst>
          </p:cNvPr>
          <p:cNvPicPr>
            <a:picLocks noChangeAspect="1" noChangeArrowheads="1"/>
          </p:cNvPicPr>
          <p:nvPr>
            <p:custDataLst>
              <p:tags r:id="rId3"/>
            </p:custDataLst>
          </p:nvPr>
        </p:nvPicPr>
        <p:blipFill>
          <a:blip r:embed="rId27" cstate="email">
            <a:extLst>
              <a:ext uri="{28A0092B-C50C-407E-A947-70E740481C1C}">
                <a14:useLocalDpi xmlns:a14="http://schemas.microsoft.com/office/drawing/2010/main"/>
              </a:ext>
            </a:extLst>
          </a:blip>
          <a:srcRect/>
          <a:stretch>
            <a:fillRect/>
          </a:stretch>
        </p:blipFill>
        <p:spPr bwMode="gray">
          <a:xfrm>
            <a:off x="3558544" y="4249598"/>
            <a:ext cx="319704" cy="2131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73" name="Picture 14">
            <a:extLst>
              <a:ext uri="{FF2B5EF4-FFF2-40B4-BE49-F238E27FC236}">
                <a16:creationId xmlns:a16="http://schemas.microsoft.com/office/drawing/2014/main" id="{330A9BF2-0FC8-401F-99C9-66330D4B0022}"/>
              </a:ext>
            </a:extLst>
          </p:cNvPr>
          <p:cNvPicPr>
            <a:picLocks noChangeAspect="1" noChangeArrowheads="1"/>
          </p:cNvPicPr>
          <p:nvPr>
            <p:custDataLst>
              <p:tags r:id="rId4"/>
            </p:custDataLst>
          </p:nvPr>
        </p:nvPicPr>
        <p:blipFill>
          <a:blip r:embed="rId28" cstate="email">
            <a:extLst>
              <a:ext uri="{28A0092B-C50C-407E-A947-70E740481C1C}">
                <a14:useLocalDpi xmlns:a14="http://schemas.microsoft.com/office/drawing/2010/main"/>
              </a:ext>
            </a:extLst>
          </a:blip>
          <a:srcRect/>
          <a:stretch>
            <a:fillRect/>
          </a:stretch>
        </p:blipFill>
        <p:spPr bwMode="gray">
          <a:xfrm>
            <a:off x="3502526" y="3978895"/>
            <a:ext cx="319704" cy="2131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74" name="Picture 20">
            <a:extLst>
              <a:ext uri="{FF2B5EF4-FFF2-40B4-BE49-F238E27FC236}">
                <a16:creationId xmlns:a16="http://schemas.microsoft.com/office/drawing/2014/main" id="{1608866F-1173-4C41-9848-F627BC420DB4}"/>
              </a:ext>
            </a:extLst>
          </p:cNvPr>
          <p:cNvPicPr>
            <a:picLocks noChangeAspect="1" noChangeArrowheads="1"/>
          </p:cNvPicPr>
          <p:nvPr>
            <p:custDataLst>
              <p:tags r:id="rId5"/>
            </p:custDataLst>
          </p:nvPr>
        </p:nvPicPr>
        <p:blipFill>
          <a:blip r:embed="rId29" cstate="email">
            <a:extLst>
              <a:ext uri="{28A0092B-C50C-407E-A947-70E740481C1C}">
                <a14:useLocalDpi xmlns:a14="http://schemas.microsoft.com/office/drawing/2010/main"/>
              </a:ext>
            </a:extLst>
          </a:blip>
          <a:srcRect/>
          <a:stretch>
            <a:fillRect/>
          </a:stretch>
        </p:blipFill>
        <p:spPr bwMode="gray">
          <a:xfrm>
            <a:off x="3889560" y="4248713"/>
            <a:ext cx="322361" cy="21490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75" name="Picture 16">
            <a:extLst>
              <a:ext uri="{FF2B5EF4-FFF2-40B4-BE49-F238E27FC236}">
                <a16:creationId xmlns:a16="http://schemas.microsoft.com/office/drawing/2014/main" id="{6C33BC43-6EF2-44B1-86F0-133C1DFFEA39}"/>
              </a:ext>
            </a:extLst>
          </p:cNvPr>
          <p:cNvPicPr>
            <a:picLocks noChangeAspect="1" noChangeArrowheads="1"/>
          </p:cNvPicPr>
          <p:nvPr>
            <p:custDataLst>
              <p:tags r:id="rId6"/>
            </p:custDataLst>
          </p:nvPr>
        </p:nvPicPr>
        <p:blipFill>
          <a:blip r:embed="rId30" cstate="email">
            <a:extLst>
              <a:ext uri="{28A0092B-C50C-407E-A947-70E740481C1C}">
                <a14:useLocalDpi xmlns:a14="http://schemas.microsoft.com/office/drawing/2010/main"/>
              </a:ext>
            </a:extLst>
          </a:blip>
          <a:srcRect/>
          <a:stretch>
            <a:fillRect/>
          </a:stretch>
        </p:blipFill>
        <p:spPr bwMode="gray">
          <a:xfrm>
            <a:off x="3848920" y="3974662"/>
            <a:ext cx="332405" cy="2216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76" name="Picture 18">
            <a:extLst>
              <a:ext uri="{FF2B5EF4-FFF2-40B4-BE49-F238E27FC236}">
                <a16:creationId xmlns:a16="http://schemas.microsoft.com/office/drawing/2014/main" id="{E40333B5-316D-496F-B60C-AAE44383890D}"/>
              </a:ext>
            </a:extLst>
          </p:cNvPr>
          <p:cNvPicPr>
            <a:picLocks noChangeAspect="1" noChangeArrowheads="1"/>
          </p:cNvPicPr>
          <p:nvPr>
            <p:custDataLst>
              <p:tags r:id="rId7"/>
            </p:custDataLst>
          </p:nvPr>
        </p:nvPicPr>
        <p:blipFill>
          <a:blip r:embed="rId31" cstate="email">
            <a:extLst>
              <a:ext uri="{28A0092B-C50C-407E-A947-70E740481C1C}">
                <a14:useLocalDpi xmlns:a14="http://schemas.microsoft.com/office/drawing/2010/main"/>
              </a:ext>
            </a:extLst>
          </a:blip>
          <a:srcRect/>
          <a:stretch>
            <a:fillRect/>
          </a:stretch>
        </p:blipFill>
        <p:spPr bwMode="gray">
          <a:xfrm>
            <a:off x="4117196" y="3713588"/>
            <a:ext cx="332404" cy="22160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77" name="Picture 6">
            <a:extLst>
              <a:ext uri="{FF2B5EF4-FFF2-40B4-BE49-F238E27FC236}">
                <a16:creationId xmlns:a16="http://schemas.microsoft.com/office/drawing/2014/main" id="{F0031137-0635-4939-8567-0ACCBF9AECF4}"/>
              </a:ext>
            </a:extLst>
          </p:cNvPr>
          <p:cNvPicPr>
            <a:picLocks noChangeAspect="1" noChangeArrowheads="1"/>
          </p:cNvPicPr>
          <p:nvPr>
            <p:custDataLst>
              <p:tags r:id="rId8"/>
            </p:custDataLst>
          </p:nvPr>
        </p:nvPicPr>
        <p:blipFill>
          <a:blip r:embed="rId32" cstate="email">
            <a:extLst>
              <a:ext uri="{28A0092B-C50C-407E-A947-70E740481C1C}">
                <a14:useLocalDpi xmlns:a14="http://schemas.microsoft.com/office/drawing/2010/main"/>
              </a:ext>
            </a:extLst>
          </a:blip>
          <a:srcRect/>
          <a:stretch>
            <a:fillRect/>
          </a:stretch>
        </p:blipFill>
        <p:spPr bwMode="gray">
          <a:xfrm>
            <a:off x="4223233" y="4247639"/>
            <a:ext cx="325583" cy="21705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78" name="Picture 13">
            <a:extLst>
              <a:ext uri="{FF2B5EF4-FFF2-40B4-BE49-F238E27FC236}">
                <a16:creationId xmlns:a16="http://schemas.microsoft.com/office/drawing/2014/main" id="{797339BD-9436-4542-BBE8-080183B82406}"/>
              </a:ext>
            </a:extLst>
          </p:cNvPr>
          <p:cNvPicPr>
            <a:picLocks noChangeAspect="1" noChangeArrowheads="1"/>
          </p:cNvPicPr>
          <p:nvPr>
            <p:custDataLst>
              <p:tags r:id="rId9"/>
            </p:custDataLst>
          </p:nvPr>
        </p:nvPicPr>
        <p:blipFill>
          <a:blip r:embed="rId33" cstate="email">
            <a:extLst>
              <a:ext uri="{28A0092B-C50C-407E-A947-70E740481C1C}">
                <a14:useLocalDpi xmlns:a14="http://schemas.microsoft.com/office/drawing/2010/main"/>
              </a:ext>
            </a:extLst>
          </a:blip>
          <a:srcRect/>
          <a:stretch>
            <a:fillRect/>
          </a:stretch>
        </p:blipFill>
        <p:spPr bwMode="gray">
          <a:xfrm>
            <a:off x="4560128" y="4244478"/>
            <a:ext cx="335066" cy="2233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79" name="Picture 21">
            <a:extLst>
              <a:ext uri="{FF2B5EF4-FFF2-40B4-BE49-F238E27FC236}">
                <a16:creationId xmlns:a16="http://schemas.microsoft.com/office/drawing/2014/main" id="{CACC4999-91E3-4253-8582-568EEFA3B7ED}"/>
              </a:ext>
            </a:extLst>
          </p:cNvPr>
          <p:cNvPicPr>
            <a:picLocks noChangeAspect="1" noChangeArrowheads="1"/>
          </p:cNvPicPr>
          <p:nvPr>
            <p:custDataLst>
              <p:tags r:id="rId10"/>
            </p:custDataLst>
          </p:nvPr>
        </p:nvPicPr>
        <p:blipFill>
          <a:blip r:embed="rId34" cstate="email">
            <a:extLst>
              <a:ext uri="{28A0092B-C50C-407E-A947-70E740481C1C}">
                <a14:useLocalDpi xmlns:a14="http://schemas.microsoft.com/office/drawing/2010/main"/>
              </a:ext>
            </a:extLst>
          </a:blip>
          <a:srcRect/>
          <a:stretch>
            <a:fillRect/>
          </a:stretch>
        </p:blipFill>
        <p:spPr bwMode="gray">
          <a:xfrm>
            <a:off x="4541549" y="3967461"/>
            <a:ext cx="354008" cy="23600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0" name="Picture 22">
            <a:extLst>
              <a:ext uri="{FF2B5EF4-FFF2-40B4-BE49-F238E27FC236}">
                <a16:creationId xmlns:a16="http://schemas.microsoft.com/office/drawing/2014/main" id="{1E97BC46-0985-4A85-82E5-C05A5402CE24}"/>
              </a:ext>
            </a:extLst>
          </p:cNvPr>
          <p:cNvPicPr>
            <a:picLocks noChangeAspect="1" noChangeArrowheads="1"/>
          </p:cNvPicPr>
          <p:nvPr>
            <p:custDataLst>
              <p:tags r:id="rId11"/>
            </p:custDataLst>
          </p:nvPr>
        </p:nvPicPr>
        <p:blipFill>
          <a:blip r:embed="rId35" cstate="email">
            <a:extLst>
              <a:ext uri="{28A0092B-C50C-407E-A947-70E740481C1C}">
                <a14:useLocalDpi xmlns:a14="http://schemas.microsoft.com/office/drawing/2010/main"/>
              </a:ext>
            </a:extLst>
          </a:blip>
          <a:srcRect/>
          <a:stretch>
            <a:fillRect/>
          </a:stretch>
        </p:blipFill>
        <p:spPr bwMode="gray">
          <a:xfrm>
            <a:off x="4488390" y="3699867"/>
            <a:ext cx="327021" cy="2180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1" name="Picture 16">
            <a:extLst>
              <a:ext uri="{FF2B5EF4-FFF2-40B4-BE49-F238E27FC236}">
                <a16:creationId xmlns:a16="http://schemas.microsoft.com/office/drawing/2014/main" id="{C816D2B8-1C4A-4D97-AF0A-9A55672C2BB5}"/>
              </a:ext>
            </a:extLst>
          </p:cNvPr>
          <p:cNvPicPr>
            <a:picLocks noChangeAspect="1" noChangeArrowheads="1"/>
          </p:cNvPicPr>
          <p:nvPr>
            <p:custDataLst>
              <p:tags r:id="rId12"/>
            </p:custDataLst>
          </p:nvPr>
        </p:nvPicPr>
        <p:blipFill>
          <a:blip r:embed="rId36" cstate="email">
            <a:extLst>
              <a:ext uri="{28A0092B-C50C-407E-A947-70E740481C1C}">
                <a14:useLocalDpi xmlns:a14="http://schemas.microsoft.com/office/drawing/2010/main"/>
              </a:ext>
            </a:extLst>
          </a:blip>
          <a:srcRect/>
          <a:stretch>
            <a:fillRect/>
          </a:stretch>
        </p:blipFill>
        <p:spPr bwMode="gray">
          <a:xfrm>
            <a:off x="4191138" y="3976456"/>
            <a:ext cx="327021" cy="2180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2" name="Picture 5">
            <a:extLst>
              <a:ext uri="{FF2B5EF4-FFF2-40B4-BE49-F238E27FC236}">
                <a16:creationId xmlns:a16="http://schemas.microsoft.com/office/drawing/2014/main" id="{87DC3747-10E0-47D7-A49F-FA741ABDA679}"/>
              </a:ext>
            </a:extLst>
          </p:cNvPr>
          <p:cNvPicPr>
            <a:picLocks noChangeAspect="1" noChangeArrowheads="1"/>
          </p:cNvPicPr>
          <p:nvPr>
            <p:custDataLst>
              <p:tags r:id="rId13"/>
            </p:custDataLst>
          </p:nvPr>
        </p:nvPicPr>
        <p:blipFill>
          <a:blip r:embed="rId37" cstate="email">
            <a:extLst>
              <a:ext uri="{28A0092B-C50C-407E-A947-70E740481C1C}">
                <a14:useLocalDpi xmlns:a14="http://schemas.microsoft.com/office/drawing/2010/main"/>
              </a:ext>
            </a:extLst>
          </a:blip>
          <a:srcRect/>
          <a:stretch>
            <a:fillRect/>
          </a:stretch>
        </p:blipFill>
        <p:spPr bwMode="gray">
          <a:xfrm>
            <a:off x="4858092" y="3697528"/>
            <a:ext cx="335064" cy="2233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3" name="Picture 6">
            <a:extLst>
              <a:ext uri="{FF2B5EF4-FFF2-40B4-BE49-F238E27FC236}">
                <a16:creationId xmlns:a16="http://schemas.microsoft.com/office/drawing/2014/main" id="{D087EB84-2FE0-45F1-BC77-BE3E5CEAF7F0}"/>
              </a:ext>
            </a:extLst>
          </p:cNvPr>
          <p:cNvPicPr>
            <a:picLocks noChangeAspect="1" noChangeArrowheads="1"/>
          </p:cNvPicPr>
          <p:nvPr>
            <p:custDataLst>
              <p:tags r:id="rId14"/>
            </p:custDataLst>
          </p:nvPr>
        </p:nvPicPr>
        <p:blipFill>
          <a:blip r:embed="rId38" cstate="email">
            <a:extLst>
              <a:ext uri="{28A0092B-C50C-407E-A947-70E740481C1C}">
                <a14:useLocalDpi xmlns:a14="http://schemas.microsoft.com/office/drawing/2010/main"/>
              </a:ext>
            </a:extLst>
          </a:blip>
          <a:srcRect/>
          <a:stretch>
            <a:fillRect/>
          </a:stretch>
        </p:blipFill>
        <p:spPr bwMode="gray">
          <a:xfrm>
            <a:off x="4906504" y="4252080"/>
            <a:ext cx="312259" cy="20817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5" name="TextBox 84">
            <a:extLst>
              <a:ext uri="{FF2B5EF4-FFF2-40B4-BE49-F238E27FC236}">
                <a16:creationId xmlns:a16="http://schemas.microsoft.com/office/drawing/2014/main" id="{069E0FA1-EE80-4771-B237-95697CAD4B89}"/>
              </a:ext>
            </a:extLst>
          </p:cNvPr>
          <p:cNvSpPr txBox="1"/>
          <p:nvPr/>
        </p:nvSpPr>
        <p:spPr>
          <a:xfrm>
            <a:off x="4760001" y="1627289"/>
            <a:ext cx="3126130" cy="1056628"/>
          </a:xfrm>
          <a:prstGeom prst="rect">
            <a:avLst/>
          </a:prstGeom>
          <a:noFill/>
        </p:spPr>
        <p:txBody>
          <a:bodyPr wrap="square" lIns="72000" tIns="0" rIns="0" bIns="0" rtlCol="0">
            <a:noAutofit/>
          </a:bodyPr>
          <a:lstStyle/>
          <a:p>
            <a:pPr marL="0" marR="0" lvl="0" indent="0" algn="l" defTabSz="914400" rtl="0" eaLnBrk="1" fontAlgn="auto" latinLnBrk="0" hangingPunct="1">
              <a:lnSpc>
                <a:spcPct val="125000"/>
              </a:lnSpc>
              <a:spcBef>
                <a:spcPts val="0"/>
              </a:spcBef>
              <a:spcAft>
                <a:spcPts val="0"/>
              </a:spcAft>
              <a:buClr>
                <a:srgbClr val="E55A00"/>
              </a:buClr>
              <a:buSzTx/>
              <a:buFontTx/>
              <a:buNone/>
              <a:tabLst/>
              <a:defRPr/>
            </a:pPr>
            <a:r>
              <a:rPr kumimoji="0" lang="en-US" sz="1100" b="1" i="0" u="none" strike="noStrike" kern="1200" cap="none" spc="0" normalizeH="0" baseline="0" noProof="0">
                <a:ln>
                  <a:noFill/>
                </a:ln>
                <a:solidFill>
                  <a:srgbClr val="414549"/>
                </a:solidFill>
                <a:effectLst/>
                <a:uLnTx/>
                <a:uFillTx/>
                <a:latin typeface="Lato"/>
                <a:ea typeface="+mn-ea"/>
                <a:cs typeface="+mn-cs"/>
              </a:rPr>
              <a:t>1st week of April</a:t>
            </a:r>
          </a:p>
          <a:p>
            <a:pPr marL="0" marR="0" lvl="0" indent="0" algn="l" defTabSz="914400" rtl="0" eaLnBrk="1" fontAlgn="auto" latinLnBrk="0" hangingPunct="1">
              <a:lnSpc>
                <a:spcPct val="125000"/>
              </a:lnSpc>
              <a:spcBef>
                <a:spcPts val="0"/>
              </a:spcBef>
              <a:spcAft>
                <a:spcPts val="0"/>
              </a:spcAft>
              <a:buClr>
                <a:srgbClr val="E55A00"/>
              </a:buClr>
              <a:buSzTx/>
              <a:buFontTx/>
              <a:buNone/>
              <a:tabLst/>
              <a:defRPr/>
            </a:pPr>
            <a:r>
              <a:rPr kumimoji="0" lang="en-US" sz="1100" b="0" i="0" u="none" strike="noStrike" kern="1200" cap="none" spc="0" normalizeH="0" baseline="0" noProof="0">
                <a:ln>
                  <a:noFill/>
                </a:ln>
                <a:solidFill>
                  <a:srgbClr val="414549"/>
                </a:solidFill>
                <a:effectLst/>
                <a:uLnTx/>
                <a:uFillTx/>
                <a:latin typeface="Lato"/>
                <a:ea typeface="+mn-ea"/>
                <a:cs typeface="+mn-cs"/>
              </a:rPr>
              <a:t>Most countries in the world have implemented new policies, travel bans, and lockdowns. </a:t>
            </a:r>
            <a:endParaRPr kumimoji="0" lang="en-US" sz="1400" b="0" i="0" u="none" strike="noStrike" kern="1200" cap="none" spc="0" normalizeH="0" baseline="0" noProof="0">
              <a:ln>
                <a:noFill/>
              </a:ln>
              <a:solidFill>
                <a:srgbClr val="414549"/>
              </a:solidFill>
              <a:effectLst/>
              <a:uLnTx/>
              <a:uFillTx/>
              <a:latin typeface="Lato"/>
              <a:ea typeface="+mn-ea"/>
              <a:cs typeface="+mn-cs"/>
            </a:endParaRPr>
          </a:p>
        </p:txBody>
      </p:sp>
      <p:pic>
        <p:nvPicPr>
          <p:cNvPr id="86" name="Picture 12">
            <a:extLst>
              <a:ext uri="{FF2B5EF4-FFF2-40B4-BE49-F238E27FC236}">
                <a16:creationId xmlns:a16="http://schemas.microsoft.com/office/drawing/2014/main" id="{04953EDC-169C-447B-96EC-FDD631EE32FB}"/>
              </a:ext>
            </a:extLst>
          </p:cNvPr>
          <p:cNvPicPr>
            <a:picLocks noChangeAspect="1" noChangeArrowheads="1"/>
          </p:cNvPicPr>
          <p:nvPr>
            <p:custDataLst>
              <p:tags r:id="rId15"/>
            </p:custDataLst>
          </p:nvPr>
        </p:nvPicPr>
        <p:blipFill>
          <a:blip r:embed="rId39" cstate="email">
            <a:extLst>
              <a:ext uri="{28A0092B-C50C-407E-A947-70E740481C1C}">
                <a14:useLocalDpi xmlns:a14="http://schemas.microsoft.com/office/drawing/2010/main"/>
              </a:ext>
            </a:extLst>
          </a:blip>
          <a:srcRect/>
          <a:stretch>
            <a:fillRect/>
          </a:stretch>
        </p:blipFill>
        <p:spPr bwMode="gray">
          <a:xfrm>
            <a:off x="4916922" y="3973775"/>
            <a:ext cx="335066" cy="2233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7" name="TextBox 86">
            <a:extLst>
              <a:ext uri="{FF2B5EF4-FFF2-40B4-BE49-F238E27FC236}">
                <a16:creationId xmlns:a16="http://schemas.microsoft.com/office/drawing/2014/main" id="{819AD3E7-7D15-4CDF-9D12-AA68F5E75509}"/>
              </a:ext>
            </a:extLst>
          </p:cNvPr>
          <p:cNvSpPr txBox="1"/>
          <p:nvPr/>
        </p:nvSpPr>
        <p:spPr>
          <a:xfrm>
            <a:off x="4980603" y="5554934"/>
            <a:ext cx="1106424" cy="1056628"/>
          </a:xfrm>
          <a:prstGeom prst="rect">
            <a:avLst/>
          </a:prstGeom>
          <a:noFill/>
        </p:spPr>
        <p:txBody>
          <a:bodyPr wrap="square" lIns="72000" tIns="0" rIns="0" bIns="0" rtlCol="0">
            <a:noAutofit/>
          </a:bodyPr>
          <a:lstStyle>
            <a:defPPr>
              <a:defRPr lang="en-US"/>
            </a:defPPr>
            <a:lvl1pPr>
              <a:lnSpc>
                <a:spcPct val="125000"/>
              </a:lnSpc>
              <a:buClr>
                <a:schemeClr val="tx2"/>
              </a:buClr>
              <a:defRPr sz="1100" b="1"/>
            </a:lvl1pPr>
          </a:lstStyle>
          <a:p>
            <a:pPr marL="0" marR="0" lvl="0" indent="0" algn="l" defTabSz="914400" rtl="0" eaLnBrk="1" fontAlgn="auto" latinLnBrk="0" hangingPunct="1">
              <a:lnSpc>
                <a:spcPct val="125000"/>
              </a:lnSpc>
              <a:spcBef>
                <a:spcPts val="0"/>
              </a:spcBef>
              <a:spcAft>
                <a:spcPts val="0"/>
              </a:spcAft>
              <a:buClr>
                <a:srgbClr val="E55A00"/>
              </a:buClr>
              <a:buSzTx/>
              <a:buFontTx/>
              <a:buNone/>
              <a:tabLst/>
              <a:defRPr/>
            </a:pPr>
            <a:r>
              <a:rPr kumimoji="0" lang="en-US" sz="1100" b="1" i="0" u="none" strike="noStrike" kern="1200" cap="none" spc="0" normalizeH="0" baseline="0" noProof="0">
                <a:ln>
                  <a:noFill/>
                </a:ln>
                <a:solidFill>
                  <a:srgbClr val="414549"/>
                </a:solidFill>
                <a:effectLst/>
                <a:uLnTx/>
                <a:uFillTx/>
                <a:latin typeface="Lato"/>
                <a:ea typeface="+mn-ea"/>
                <a:cs typeface="+mn-cs"/>
              </a:rPr>
              <a:t>8/4 2020</a:t>
            </a:r>
          </a:p>
          <a:p>
            <a:pPr marL="0" marR="0" lvl="0" indent="0" algn="l" defTabSz="914400" rtl="0" eaLnBrk="1" fontAlgn="auto" latinLnBrk="0" hangingPunct="1">
              <a:lnSpc>
                <a:spcPct val="125000"/>
              </a:lnSpc>
              <a:spcBef>
                <a:spcPts val="0"/>
              </a:spcBef>
              <a:spcAft>
                <a:spcPts val="0"/>
              </a:spcAft>
              <a:buClr>
                <a:srgbClr val="E55A00"/>
              </a:buClr>
              <a:buSzTx/>
              <a:buFontTx/>
              <a:buNone/>
              <a:tabLst/>
              <a:defRPr/>
            </a:pPr>
            <a:r>
              <a:rPr kumimoji="0" lang="en-US" sz="1100" b="0" i="0" u="none" strike="noStrike" kern="1200" cap="none" spc="0" normalizeH="0" baseline="0" noProof="0">
                <a:ln>
                  <a:noFill/>
                </a:ln>
                <a:solidFill>
                  <a:srgbClr val="414549"/>
                </a:solidFill>
                <a:effectLst/>
                <a:uLnTx/>
                <a:uFillTx/>
                <a:latin typeface="Lato"/>
                <a:ea typeface="+mn-ea"/>
                <a:cs typeface="+mn-cs"/>
              </a:rPr>
              <a:t>Wuhan ends lockdown</a:t>
            </a:r>
          </a:p>
        </p:txBody>
      </p:sp>
      <p:sp>
        <p:nvSpPr>
          <p:cNvPr id="88" name="TextBox 87">
            <a:extLst>
              <a:ext uri="{FF2B5EF4-FFF2-40B4-BE49-F238E27FC236}">
                <a16:creationId xmlns:a16="http://schemas.microsoft.com/office/drawing/2014/main" id="{68E2CBA1-B06A-4901-992F-3CF2A354F31F}"/>
              </a:ext>
            </a:extLst>
          </p:cNvPr>
          <p:cNvSpPr txBox="1"/>
          <p:nvPr/>
        </p:nvSpPr>
        <p:spPr>
          <a:xfrm>
            <a:off x="5837917" y="2971948"/>
            <a:ext cx="2281055" cy="1056628"/>
          </a:xfrm>
          <a:prstGeom prst="rect">
            <a:avLst/>
          </a:prstGeom>
          <a:noFill/>
        </p:spPr>
        <p:txBody>
          <a:bodyPr wrap="square" lIns="72000" tIns="0" rIns="0" bIns="0" rtlCol="0">
            <a:noAutofit/>
          </a:bodyPr>
          <a:lstStyle/>
          <a:p>
            <a:pPr marL="0" marR="0" lvl="0" indent="0" algn="l" defTabSz="914400" rtl="0" eaLnBrk="1" fontAlgn="auto" latinLnBrk="0" hangingPunct="1">
              <a:lnSpc>
                <a:spcPct val="125000"/>
              </a:lnSpc>
              <a:spcBef>
                <a:spcPts val="0"/>
              </a:spcBef>
              <a:spcAft>
                <a:spcPts val="0"/>
              </a:spcAft>
              <a:buClr>
                <a:srgbClr val="E55A00"/>
              </a:buClr>
              <a:buSzTx/>
              <a:buFontTx/>
              <a:buNone/>
              <a:tabLst/>
              <a:defRPr/>
            </a:pPr>
            <a:r>
              <a:rPr kumimoji="0" lang="en-US" sz="1100" b="1" i="0" u="none" strike="noStrike" kern="1200" cap="none" spc="0" normalizeH="0" baseline="0" noProof="0">
                <a:ln>
                  <a:noFill/>
                </a:ln>
                <a:solidFill>
                  <a:srgbClr val="414549"/>
                </a:solidFill>
                <a:effectLst/>
                <a:uLnTx/>
                <a:uFillTx/>
                <a:latin typeface="Lato"/>
                <a:ea typeface="+mn-ea"/>
                <a:cs typeface="+mn-cs"/>
              </a:rPr>
              <a:t>End-April</a:t>
            </a:r>
          </a:p>
          <a:p>
            <a:pPr marL="0" marR="0" lvl="0" indent="0" algn="l" defTabSz="914400" rtl="0" eaLnBrk="1" fontAlgn="auto" latinLnBrk="0" hangingPunct="1">
              <a:lnSpc>
                <a:spcPct val="125000"/>
              </a:lnSpc>
              <a:spcBef>
                <a:spcPts val="0"/>
              </a:spcBef>
              <a:spcAft>
                <a:spcPts val="0"/>
              </a:spcAft>
              <a:buClr>
                <a:srgbClr val="E55A00"/>
              </a:buClr>
              <a:buSzTx/>
              <a:buFontTx/>
              <a:buNone/>
              <a:tabLst/>
              <a:defRPr/>
            </a:pPr>
            <a:r>
              <a:rPr kumimoji="0" lang="en-US" sz="1100" b="0" i="0" u="none" strike="noStrike" kern="1200" cap="none" spc="0" normalizeH="0" baseline="0" noProof="0">
                <a:ln>
                  <a:noFill/>
                </a:ln>
                <a:solidFill>
                  <a:srgbClr val="414549"/>
                </a:solidFill>
                <a:effectLst/>
                <a:uLnTx/>
                <a:uFillTx/>
                <a:latin typeface="Lato"/>
                <a:ea typeface="+mn-ea"/>
                <a:cs typeface="+mn-cs"/>
              </a:rPr>
              <a:t>First European countries (Austria, Denmark,…) plan to lighten lockdown measures</a:t>
            </a:r>
          </a:p>
        </p:txBody>
      </p:sp>
      <p:cxnSp>
        <p:nvCxnSpPr>
          <p:cNvPr id="54" name="Gerade Verbindung 573">
            <a:extLst>
              <a:ext uri="{FF2B5EF4-FFF2-40B4-BE49-F238E27FC236}">
                <a16:creationId xmlns:a16="http://schemas.microsoft.com/office/drawing/2014/main" id="{EEB05B99-86A7-4385-9897-8F0B6C14AEA6}"/>
              </a:ext>
            </a:extLst>
          </p:cNvPr>
          <p:cNvCxnSpPr>
            <a:cxnSpLocks noChangeShapeType="1"/>
          </p:cNvCxnSpPr>
          <p:nvPr/>
        </p:nvCxnSpPr>
        <p:spPr bwMode="auto">
          <a:xfrm rot="10800000">
            <a:off x="2279811" y="4824845"/>
            <a:ext cx="0" cy="720000"/>
          </a:xfrm>
          <a:prstGeom prst="line">
            <a:avLst/>
          </a:prstGeom>
          <a:noFill/>
          <a:ln w="12700" cap="rnd" algn="ctr">
            <a:solidFill>
              <a:schemeClr val="tx1"/>
            </a:solidFill>
            <a:miter lim="800000"/>
            <a:headEnd type="none" w="lg" len="med"/>
            <a:tailEnd type="oval" w="sm" len="sm"/>
          </a:ln>
          <a:extLst>
            <a:ext uri="{909E8E84-426E-40DD-AFC4-6F175D3DCCD1}">
              <a14:hiddenFill xmlns:a14="http://schemas.microsoft.com/office/drawing/2010/main">
                <a:noFill/>
              </a14:hiddenFill>
            </a:ext>
          </a:extLst>
        </p:spPr>
      </p:cxnSp>
      <p:cxnSp>
        <p:nvCxnSpPr>
          <p:cNvPr id="56" name="Gerade Verbindung 573">
            <a:extLst>
              <a:ext uri="{FF2B5EF4-FFF2-40B4-BE49-F238E27FC236}">
                <a16:creationId xmlns:a16="http://schemas.microsoft.com/office/drawing/2014/main" id="{19F520FC-9B35-43ED-B4EC-188258A337C2}"/>
              </a:ext>
            </a:extLst>
          </p:cNvPr>
          <p:cNvCxnSpPr>
            <a:cxnSpLocks noChangeShapeType="1"/>
          </p:cNvCxnSpPr>
          <p:nvPr/>
        </p:nvCxnSpPr>
        <p:spPr bwMode="auto">
          <a:xfrm>
            <a:off x="1286835" y="3187505"/>
            <a:ext cx="0" cy="1254200"/>
          </a:xfrm>
          <a:prstGeom prst="line">
            <a:avLst/>
          </a:prstGeom>
          <a:noFill/>
          <a:ln w="12700" cap="rnd" algn="ctr">
            <a:solidFill>
              <a:schemeClr val="tx1"/>
            </a:solidFill>
            <a:miter lim="800000"/>
            <a:headEnd type="none" w="lg" len="med"/>
            <a:tailEnd type="oval" w="sm" len="sm"/>
          </a:ln>
          <a:extLst>
            <a:ext uri="{909E8E84-426E-40DD-AFC4-6F175D3DCCD1}">
              <a14:hiddenFill xmlns:a14="http://schemas.microsoft.com/office/drawing/2010/main">
                <a:noFill/>
              </a14:hiddenFill>
            </a:ext>
          </a:extLst>
        </p:spPr>
      </p:cxnSp>
      <p:cxnSp>
        <p:nvCxnSpPr>
          <p:cNvPr id="57" name="Gerade Verbindung 573">
            <a:extLst>
              <a:ext uri="{FF2B5EF4-FFF2-40B4-BE49-F238E27FC236}">
                <a16:creationId xmlns:a16="http://schemas.microsoft.com/office/drawing/2014/main" id="{77A0B8F7-C993-4D3A-91D3-D1CD3A28A1A0}"/>
              </a:ext>
            </a:extLst>
          </p:cNvPr>
          <p:cNvCxnSpPr>
            <a:cxnSpLocks noChangeShapeType="1"/>
          </p:cNvCxnSpPr>
          <p:nvPr/>
        </p:nvCxnSpPr>
        <p:spPr bwMode="auto">
          <a:xfrm>
            <a:off x="5534730" y="2343342"/>
            <a:ext cx="14598" cy="2131906"/>
          </a:xfrm>
          <a:prstGeom prst="line">
            <a:avLst/>
          </a:prstGeom>
          <a:noFill/>
          <a:ln w="12700" cap="rnd" algn="ctr">
            <a:solidFill>
              <a:schemeClr val="tx1"/>
            </a:solidFill>
            <a:miter lim="800000"/>
            <a:headEnd type="none" w="lg" len="med"/>
            <a:tailEnd type="oval" w="sm" len="sm"/>
          </a:ln>
          <a:extLst>
            <a:ext uri="{909E8E84-426E-40DD-AFC4-6F175D3DCCD1}">
              <a14:hiddenFill xmlns:a14="http://schemas.microsoft.com/office/drawing/2010/main">
                <a:noFill/>
              </a14:hiddenFill>
            </a:ext>
          </a:extLst>
        </p:spPr>
      </p:cxnSp>
      <p:cxnSp>
        <p:nvCxnSpPr>
          <p:cNvPr id="58" name="Gerade Verbindung 573">
            <a:extLst>
              <a:ext uri="{FF2B5EF4-FFF2-40B4-BE49-F238E27FC236}">
                <a16:creationId xmlns:a16="http://schemas.microsoft.com/office/drawing/2014/main" id="{4FBD2146-8F5C-48EF-BE76-2A1A57979BD6}"/>
              </a:ext>
            </a:extLst>
          </p:cNvPr>
          <p:cNvCxnSpPr>
            <a:cxnSpLocks noChangeShapeType="1"/>
          </p:cNvCxnSpPr>
          <p:nvPr/>
        </p:nvCxnSpPr>
        <p:spPr bwMode="auto">
          <a:xfrm rot="10800000">
            <a:off x="5358486" y="4824845"/>
            <a:ext cx="0" cy="720000"/>
          </a:xfrm>
          <a:prstGeom prst="line">
            <a:avLst/>
          </a:prstGeom>
          <a:noFill/>
          <a:ln w="12700" cap="rnd" algn="ctr">
            <a:solidFill>
              <a:schemeClr val="tx1"/>
            </a:solidFill>
            <a:miter lim="800000"/>
            <a:headEnd type="none" w="lg" len="med"/>
            <a:tailEnd type="oval" w="sm" len="sm"/>
          </a:ln>
          <a:extLst>
            <a:ext uri="{909E8E84-426E-40DD-AFC4-6F175D3DCCD1}">
              <a14:hiddenFill xmlns:a14="http://schemas.microsoft.com/office/drawing/2010/main">
                <a:noFill/>
              </a14:hiddenFill>
            </a:ext>
          </a:extLst>
        </p:spPr>
      </p:cxnSp>
      <p:cxnSp>
        <p:nvCxnSpPr>
          <p:cNvPr id="59" name="Gerade Verbindung 573">
            <a:extLst>
              <a:ext uri="{FF2B5EF4-FFF2-40B4-BE49-F238E27FC236}">
                <a16:creationId xmlns:a16="http://schemas.microsoft.com/office/drawing/2014/main" id="{CA3E3B10-6C12-4554-ADB0-D85E102831DD}"/>
              </a:ext>
            </a:extLst>
          </p:cNvPr>
          <p:cNvCxnSpPr>
            <a:cxnSpLocks noChangeShapeType="1"/>
          </p:cNvCxnSpPr>
          <p:nvPr/>
        </p:nvCxnSpPr>
        <p:spPr bwMode="auto">
          <a:xfrm>
            <a:off x="5945834" y="3808874"/>
            <a:ext cx="0" cy="666374"/>
          </a:xfrm>
          <a:prstGeom prst="line">
            <a:avLst/>
          </a:prstGeom>
          <a:noFill/>
          <a:ln w="12700" cap="rnd" algn="ctr">
            <a:solidFill>
              <a:schemeClr val="tx1"/>
            </a:solidFill>
            <a:miter lim="800000"/>
            <a:headEnd type="none" w="lg" len="med"/>
            <a:tailEnd type="oval" w="sm" len="sm"/>
          </a:ln>
          <a:extLst>
            <a:ext uri="{909E8E84-426E-40DD-AFC4-6F175D3DCCD1}">
              <a14:hiddenFill xmlns:a14="http://schemas.microsoft.com/office/drawing/2010/main">
                <a:noFill/>
              </a14:hiddenFill>
            </a:ext>
          </a:extLst>
        </p:spPr>
      </p:cxnSp>
      <p:sp>
        <p:nvSpPr>
          <p:cNvPr id="49" name="Espace réservé du pied de page 2">
            <a:extLst>
              <a:ext uri="{FF2B5EF4-FFF2-40B4-BE49-F238E27FC236}">
                <a16:creationId xmlns:a16="http://schemas.microsoft.com/office/drawing/2014/main" id="{FD76B73E-B739-4F5D-9A7F-E563D14D6003}"/>
              </a:ext>
            </a:extLst>
          </p:cNvPr>
          <p:cNvSpPr>
            <a:spLocks noGrp="1"/>
          </p:cNvSpPr>
          <p:nvPr>
            <p:ph type="ftr" sz="quarter" idx="15"/>
          </p:nvPr>
        </p:nvSpPr>
        <p:spPr>
          <a:xfrm>
            <a:off x="1177999" y="6308304"/>
            <a:ext cx="8162717" cy="358173"/>
          </a:xfrm>
        </p:spPr>
        <p:txBody>
          <a:bodyPr/>
          <a:lstStyle/>
          <a:p>
            <a:pPr marL="144000" marR="0" lvl="0" indent="-144000" algn="l" defTabSz="914400" rtl="0" eaLnBrk="1" fontAlgn="auto" latinLnBrk="0" hangingPunct="1">
              <a:lnSpc>
                <a:spcPct val="100000"/>
              </a:lnSpc>
              <a:spcBef>
                <a:spcPts val="0"/>
              </a:spcBef>
              <a:spcAft>
                <a:spcPts val="0"/>
              </a:spcAft>
              <a:buClr>
                <a:srgbClr val="E55A00"/>
              </a:buClr>
              <a:buSzTx/>
              <a:buFont typeface="Wingdings" panose="05000000000000000000" pitchFamily="2" charset="2"/>
              <a:buChar char="§"/>
              <a:tabLst/>
              <a:defRPr/>
            </a:pPr>
            <a:r>
              <a:rPr kumimoji="0" lang="en-US" sz="800" b="0" i="0" u="none" strike="noStrike" kern="1200" cap="none" spc="0" normalizeH="0" baseline="0" noProof="0">
                <a:ln>
                  <a:noFill/>
                </a:ln>
                <a:solidFill>
                  <a:srgbClr val="414549"/>
                </a:solidFill>
                <a:effectLst/>
                <a:uLnTx/>
                <a:uFillTx/>
                <a:latin typeface="Lato"/>
                <a:ea typeface="+mn-ea"/>
                <a:cs typeface="+mn-cs"/>
              </a:rPr>
              <a:t>Coronavirus Consumer Pulse</a:t>
            </a:r>
          </a:p>
        </p:txBody>
      </p:sp>
      <p:pic>
        <p:nvPicPr>
          <p:cNvPr id="50" name="Picture 18">
            <a:extLst>
              <a:ext uri="{FF2B5EF4-FFF2-40B4-BE49-F238E27FC236}">
                <a16:creationId xmlns:a16="http://schemas.microsoft.com/office/drawing/2014/main" id="{318D4AB6-9717-4CCF-9302-2441A5A50D3A}"/>
              </a:ext>
            </a:extLst>
          </p:cNvPr>
          <p:cNvPicPr>
            <a:picLocks noChangeAspect="1" noChangeArrowheads="1"/>
          </p:cNvPicPr>
          <p:nvPr>
            <p:custDataLst>
              <p:tags r:id="rId16"/>
            </p:custDataLst>
          </p:nvPr>
        </p:nvPicPr>
        <p:blipFill>
          <a:blip r:embed="rId31" cstate="print">
            <a:extLst>
              <a:ext uri="{28A0092B-C50C-407E-A947-70E740481C1C}">
                <a14:useLocalDpi xmlns:a14="http://schemas.microsoft.com/office/drawing/2010/main"/>
              </a:ext>
            </a:extLst>
          </a:blip>
          <a:srcRect/>
          <a:stretch>
            <a:fillRect/>
          </a:stretch>
        </p:blipFill>
        <p:spPr bwMode="gray">
          <a:xfrm>
            <a:off x="9132369" y="2239601"/>
            <a:ext cx="446913" cy="29794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1" name="Picture 16">
            <a:extLst>
              <a:ext uri="{FF2B5EF4-FFF2-40B4-BE49-F238E27FC236}">
                <a16:creationId xmlns:a16="http://schemas.microsoft.com/office/drawing/2014/main" id="{A707A040-9992-4CD4-AF44-68CB02A559C4}"/>
              </a:ext>
            </a:extLst>
          </p:cNvPr>
          <p:cNvPicPr>
            <a:picLocks noChangeAspect="1" noChangeArrowheads="1"/>
          </p:cNvPicPr>
          <p:nvPr>
            <p:custDataLst>
              <p:tags r:id="rId17"/>
            </p:custDataLst>
          </p:nvPr>
        </p:nvPicPr>
        <p:blipFill>
          <a:blip r:embed="rId36" cstate="print">
            <a:extLst>
              <a:ext uri="{28A0092B-C50C-407E-A947-70E740481C1C}">
                <a14:useLocalDpi xmlns:a14="http://schemas.microsoft.com/office/drawing/2010/main"/>
              </a:ext>
            </a:extLst>
          </a:blip>
          <a:srcRect/>
          <a:stretch>
            <a:fillRect/>
          </a:stretch>
        </p:blipFill>
        <p:spPr bwMode="gray">
          <a:xfrm>
            <a:off x="9132370" y="2663962"/>
            <a:ext cx="427256" cy="2848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2" name="Picture 99">
            <a:extLst>
              <a:ext uri="{FF2B5EF4-FFF2-40B4-BE49-F238E27FC236}">
                <a16:creationId xmlns:a16="http://schemas.microsoft.com/office/drawing/2014/main" id="{8658C632-1391-4CEE-AB41-D7366810D04E}"/>
              </a:ext>
            </a:extLst>
          </p:cNvPr>
          <p:cNvPicPr>
            <a:picLocks noChangeAspect="1" noChangeArrowheads="1"/>
          </p:cNvPicPr>
          <p:nvPr>
            <p:custDataLst>
              <p:tags r:id="rId18"/>
            </p:custDataLst>
          </p:nvPr>
        </p:nvPicPr>
        <p:blipFill>
          <a:blip r:embed="rId40" cstate="print">
            <a:extLst>
              <a:ext uri="{28A0092B-C50C-407E-A947-70E740481C1C}">
                <a14:useLocalDpi xmlns:a14="http://schemas.microsoft.com/office/drawing/2010/main"/>
              </a:ext>
            </a:extLst>
          </a:blip>
          <a:srcRect/>
          <a:stretch>
            <a:fillRect/>
          </a:stretch>
        </p:blipFill>
        <p:spPr bwMode="gray">
          <a:xfrm>
            <a:off x="9132370" y="3890938"/>
            <a:ext cx="427256" cy="2848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5" name="Picture 13">
            <a:extLst>
              <a:ext uri="{FF2B5EF4-FFF2-40B4-BE49-F238E27FC236}">
                <a16:creationId xmlns:a16="http://schemas.microsoft.com/office/drawing/2014/main" id="{2F747462-84FD-4AF6-B645-095EBE41FC20}"/>
              </a:ext>
            </a:extLst>
          </p:cNvPr>
          <p:cNvPicPr>
            <a:picLocks noChangeAspect="1" noChangeArrowheads="1"/>
          </p:cNvPicPr>
          <p:nvPr>
            <p:custDataLst>
              <p:tags r:id="rId19"/>
            </p:custDataLst>
          </p:nvPr>
        </p:nvPicPr>
        <p:blipFill>
          <a:blip r:embed="rId41" cstate="print">
            <a:extLst>
              <a:ext uri="{28A0092B-C50C-407E-A947-70E740481C1C}">
                <a14:useLocalDpi xmlns:a14="http://schemas.microsoft.com/office/drawing/2010/main"/>
              </a:ext>
            </a:extLst>
          </a:blip>
          <a:srcRect/>
          <a:stretch>
            <a:fillRect/>
          </a:stretch>
        </p:blipFill>
        <p:spPr bwMode="gray">
          <a:xfrm>
            <a:off x="9132370" y="3485987"/>
            <a:ext cx="427256" cy="2848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1" name="Picture 6">
            <a:extLst>
              <a:ext uri="{FF2B5EF4-FFF2-40B4-BE49-F238E27FC236}">
                <a16:creationId xmlns:a16="http://schemas.microsoft.com/office/drawing/2014/main" id="{88476F12-6650-4882-A0AC-85485F03F846}"/>
              </a:ext>
            </a:extLst>
          </p:cNvPr>
          <p:cNvPicPr>
            <a:picLocks noChangeAspect="1" noChangeArrowheads="1"/>
          </p:cNvPicPr>
          <p:nvPr>
            <p:custDataLst>
              <p:tags r:id="rId20"/>
            </p:custDataLst>
          </p:nvPr>
        </p:nvPicPr>
        <p:blipFill>
          <a:blip r:embed="rId32" cstate="print">
            <a:extLst>
              <a:ext uri="{28A0092B-C50C-407E-A947-70E740481C1C}">
                <a14:useLocalDpi xmlns:a14="http://schemas.microsoft.com/office/drawing/2010/main"/>
              </a:ext>
            </a:extLst>
          </a:blip>
          <a:srcRect/>
          <a:stretch>
            <a:fillRect/>
          </a:stretch>
        </p:blipFill>
        <p:spPr bwMode="gray">
          <a:xfrm>
            <a:off x="9132370" y="3058536"/>
            <a:ext cx="427256" cy="2848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2" name="Picture 5">
            <a:extLst>
              <a:ext uri="{FF2B5EF4-FFF2-40B4-BE49-F238E27FC236}">
                <a16:creationId xmlns:a16="http://schemas.microsoft.com/office/drawing/2014/main" id="{7A9E5654-8567-47C8-BF99-C21AD3AE013A}"/>
              </a:ext>
            </a:extLst>
          </p:cNvPr>
          <p:cNvPicPr>
            <a:picLocks noChangeAspect="1" noChangeArrowheads="1"/>
          </p:cNvPicPr>
          <p:nvPr>
            <p:custDataLst>
              <p:tags r:id="rId21"/>
            </p:custDataLst>
          </p:nvPr>
        </p:nvPicPr>
        <p:blipFill>
          <a:blip r:embed="rId37" cstate="print">
            <a:extLst>
              <a:ext uri="{28A0092B-C50C-407E-A947-70E740481C1C}">
                <a14:useLocalDpi xmlns:a14="http://schemas.microsoft.com/office/drawing/2010/main"/>
              </a:ext>
            </a:extLst>
          </a:blip>
          <a:srcRect/>
          <a:stretch>
            <a:fillRect/>
          </a:stretch>
        </p:blipFill>
        <p:spPr bwMode="gray">
          <a:xfrm>
            <a:off x="9131419" y="4776614"/>
            <a:ext cx="408018" cy="2720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3" name="Picture 22">
            <a:extLst>
              <a:ext uri="{FF2B5EF4-FFF2-40B4-BE49-F238E27FC236}">
                <a16:creationId xmlns:a16="http://schemas.microsoft.com/office/drawing/2014/main" id="{1D045A59-F403-4F8B-B23D-403DC588C5C8}"/>
              </a:ext>
            </a:extLst>
          </p:cNvPr>
          <p:cNvPicPr>
            <a:picLocks noChangeAspect="1" noChangeArrowheads="1"/>
          </p:cNvPicPr>
          <p:nvPr>
            <p:custDataLst>
              <p:tags r:id="rId22"/>
            </p:custDataLst>
          </p:nvPr>
        </p:nvPicPr>
        <p:blipFill>
          <a:blip r:embed="rId35" cstate="print">
            <a:extLst>
              <a:ext uri="{28A0092B-C50C-407E-A947-70E740481C1C}">
                <a14:useLocalDpi xmlns:a14="http://schemas.microsoft.com/office/drawing/2010/main"/>
              </a:ext>
            </a:extLst>
          </a:blip>
          <a:srcRect/>
          <a:stretch>
            <a:fillRect/>
          </a:stretch>
        </p:blipFill>
        <p:spPr bwMode="gray">
          <a:xfrm>
            <a:off x="9131419" y="4310687"/>
            <a:ext cx="408018" cy="2720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4" name="Image 63">
            <a:extLst>
              <a:ext uri="{FF2B5EF4-FFF2-40B4-BE49-F238E27FC236}">
                <a16:creationId xmlns:a16="http://schemas.microsoft.com/office/drawing/2014/main" id="{B568F980-E779-425A-AE75-52609E269BD8}"/>
              </a:ext>
            </a:extLst>
          </p:cNvPr>
          <p:cNvPicPr>
            <a:picLocks noChangeAspect="1"/>
          </p:cNvPicPr>
          <p:nvPr/>
        </p:nvPicPr>
        <p:blipFill>
          <a:blip r:embed="rId42" cstate="print">
            <a:extLst>
              <a:ext uri="{28A0092B-C50C-407E-A947-70E740481C1C}">
                <a14:useLocalDpi xmlns:a14="http://schemas.microsoft.com/office/drawing/2010/main"/>
              </a:ext>
            </a:extLst>
          </a:blip>
          <a:stretch>
            <a:fillRect/>
          </a:stretch>
        </p:blipFill>
        <p:spPr>
          <a:xfrm>
            <a:off x="9131419" y="5619420"/>
            <a:ext cx="451325" cy="300336"/>
          </a:xfrm>
          <a:prstGeom prst="rect">
            <a:avLst/>
          </a:prstGeom>
        </p:spPr>
      </p:pic>
      <p:sp>
        <p:nvSpPr>
          <p:cNvPr id="66" name="TextBox 84">
            <a:extLst>
              <a:ext uri="{FF2B5EF4-FFF2-40B4-BE49-F238E27FC236}">
                <a16:creationId xmlns:a16="http://schemas.microsoft.com/office/drawing/2014/main" id="{1C18593E-7B60-41DB-A922-92411833AA1A}"/>
              </a:ext>
            </a:extLst>
          </p:cNvPr>
          <p:cNvSpPr txBox="1"/>
          <p:nvPr/>
        </p:nvSpPr>
        <p:spPr>
          <a:xfrm>
            <a:off x="8993310" y="1622777"/>
            <a:ext cx="2250638" cy="372348"/>
          </a:xfrm>
          <a:prstGeom prst="rect">
            <a:avLst/>
          </a:prstGeom>
          <a:noFill/>
        </p:spPr>
        <p:txBody>
          <a:bodyPr wrap="square" lIns="72000" tIns="0" rIns="0" bIns="0" rtlCol="0">
            <a:noAutofit/>
          </a:bodyPr>
          <a:lstStyle/>
          <a:p>
            <a:pPr marL="0" marR="0" lvl="0" indent="0" algn="l" defTabSz="914400" rtl="0" eaLnBrk="1" fontAlgn="auto" latinLnBrk="0" hangingPunct="1">
              <a:lnSpc>
                <a:spcPct val="125000"/>
              </a:lnSpc>
              <a:spcBef>
                <a:spcPts val="0"/>
              </a:spcBef>
              <a:spcAft>
                <a:spcPts val="0"/>
              </a:spcAft>
              <a:buClr>
                <a:srgbClr val="E55A00"/>
              </a:buClr>
              <a:buSzTx/>
              <a:buFontTx/>
              <a:buNone/>
              <a:tabLst/>
              <a:defRPr/>
            </a:pPr>
            <a:r>
              <a:rPr kumimoji="0" lang="en-US" sz="1400" b="0" i="0" u="none" strike="noStrike" kern="1200" cap="none" spc="0" normalizeH="0" baseline="0" noProof="0">
                <a:ln>
                  <a:noFill/>
                </a:ln>
                <a:solidFill>
                  <a:srgbClr val="414549"/>
                </a:solidFill>
                <a:effectLst/>
                <a:uLnTx/>
                <a:uFillTx/>
                <a:latin typeface="Lato"/>
                <a:ea typeface="+mn-ea"/>
                <a:cs typeface="+mn-cs"/>
              </a:rPr>
              <a:t>Lockdowns measures implementation  </a:t>
            </a:r>
            <a:endParaRPr kumimoji="0" lang="en-US" sz="1800" b="0" i="0" u="none" strike="noStrike" kern="1200" cap="none" spc="0" normalizeH="0" baseline="0" noProof="0">
              <a:ln>
                <a:noFill/>
              </a:ln>
              <a:solidFill>
                <a:srgbClr val="414549"/>
              </a:solidFill>
              <a:effectLst/>
              <a:uLnTx/>
              <a:uFillTx/>
              <a:latin typeface="Lato"/>
              <a:ea typeface="+mn-ea"/>
              <a:cs typeface="+mn-cs"/>
            </a:endParaRPr>
          </a:p>
        </p:txBody>
      </p:sp>
      <p:sp>
        <p:nvSpPr>
          <p:cNvPr id="67" name="TextBox 84">
            <a:extLst>
              <a:ext uri="{FF2B5EF4-FFF2-40B4-BE49-F238E27FC236}">
                <a16:creationId xmlns:a16="http://schemas.microsoft.com/office/drawing/2014/main" id="{7F02A191-6DC9-44E7-B4D7-B712D906006B}"/>
              </a:ext>
            </a:extLst>
          </p:cNvPr>
          <p:cNvSpPr txBox="1"/>
          <p:nvPr/>
        </p:nvSpPr>
        <p:spPr>
          <a:xfrm>
            <a:off x="9654086" y="2293488"/>
            <a:ext cx="2250638" cy="372348"/>
          </a:xfrm>
          <a:prstGeom prst="rect">
            <a:avLst/>
          </a:prstGeom>
          <a:noFill/>
        </p:spPr>
        <p:txBody>
          <a:bodyPr wrap="square" lIns="72000" tIns="0" rIns="0" bIns="0" rtlCol="0">
            <a:noAutofit/>
          </a:bodyPr>
          <a:lstStyle/>
          <a:p>
            <a:pPr marL="0" marR="0" lvl="0" indent="0" algn="l" defTabSz="914400" rtl="0" eaLnBrk="1" fontAlgn="auto" latinLnBrk="0" hangingPunct="1">
              <a:lnSpc>
                <a:spcPct val="125000"/>
              </a:lnSpc>
              <a:spcBef>
                <a:spcPts val="0"/>
              </a:spcBef>
              <a:spcAft>
                <a:spcPts val="0"/>
              </a:spcAft>
              <a:buClr>
                <a:srgbClr val="E55A00"/>
              </a:buClr>
              <a:buSzTx/>
              <a:buFontTx/>
              <a:buNone/>
              <a:tabLst/>
              <a:defRPr/>
            </a:pPr>
            <a:r>
              <a:rPr kumimoji="0" lang="en-US" sz="1100" b="0" i="0" u="none" strike="noStrike" kern="1200" cap="none" spc="0" normalizeH="0" baseline="0" noProof="0">
                <a:ln>
                  <a:noFill/>
                </a:ln>
                <a:solidFill>
                  <a:srgbClr val="414549"/>
                </a:solidFill>
                <a:effectLst/>
                <a:uLnTx/>
                <a:uFillTx/>
                <a:latin typeface="Lato"/>
                <a:ea typeface="+mn-ea"/>
                <a:cs typeface="+mn-cs"/>
              </a:rPr>
              <a:t>10</a:t>
            </a:r>
            <a:r>
              <a:rPr kumimoji="0" lang="en-US" sz="1100" b="0" i="0" u="none" strike="noStrike" kern="1200" cap="none" spc="0" normalizeH="0" baseline="30000" noProof="0">
                <a:ln>
                  <a:noFill/>
                </a:ln>
                <a:solidFill>
                  <a:srgbClr val="414549"/>
                </a:solidFill>
                <a:effectLst/>
                <a:uLnTx/>
                <a:uFillTx/>
                <a:latin typeface="Lato"/>
                <a:ea typeface="+mn-ea"/>
                <a:cs typeface="+mn-cs"/>
              </a:rPr>
              <a:t>th</a:t>
            </a:r>
            <a:r>
              <a:rPr kumimoji="0" lang="en-US" sz="1100" b="0" i="0" u="none" strike="noStrike" kern="1200" cap="none" spc="0" normalizeH="0" baseline="0" noProof="0">
                <a:ln>
                  <a:noFill/>
                </a:ln>
                <a:solidFill>
                  <a:srgbClr val="414549"/>
                </a:solidFill>
                <a:effectLst/>
                <a:uLnTx/>
                <a:uFillTx/>
                <a:latin typeface="Lato"/>
                <a:ea typeface="+mn-ea"/>
                <a:cs typeface="+mn-cs"/>
              </a:rPr>
              <a:t> of March</a:t>
            </a:r>
            <a:endParaRPr kumimoji="0" lang="en-US" sz="1400" b="0" i="0" u="none" strike="noStrike" kern="1200" cap="none" spc="0" normalizeH="0" baseline="0" noProof="0">
              <a:ln>
                <a:noFill/>
              </a:ln>
              <a:solidFill>
                <a:srgbClr val="414549"/>
              </a:solidFill>
              <a:effectLst/>
              <a:uLnTx/>
              <a:uFillTx/>
              <a:latin typeface="Lato"/>
              <a:ea typeface="+mn-ea"/>
              <a:cs typeface="+mn-cs"/>
            </a:endParaRPr>
          </a:p>
        </p:txBody>
      </p:sp>
      <p:sp>
        <p:nvSpPr>
          <p:cNvPr id="68" name="TextBox 84">
            <a:extLst>
              <a:ext uri="{FF2B5EF4-FFF2-40B4-BE49-F238E27FC236}">
                <a16:creationId xmlns:a16="http://schemas.microsoft.com/office/drawing/2014/main" id="{AC1B6A68-A003-499B-8829-8764D08E1CEF}"/>
              </a:ext>
            </a:extLst>
          </p:cNvPr>
          <p:cNvSpPr txBox="1"/>
          <p:nvPr/>
        </p:nvSpPr>
        <p:spPr>
          <a:xfrm>
            <a:off x="9654086" y="2701212"/>
            <a:ext cx="2250638" cy="372348"/>
          </a:xfrm>
          <a:prstGeom prst="rect">
            <a:avLst/>
          </a:prstGeom>
          <a:noFill/>
        </p:spPr>
        <p:txBody>
          <a:bodyPr wrap="square" lIns="72000" tIns="0" rIns="0" bIns="0" rtlCol="0">
            <a:noAutofit/>
          </a:bodyPr>
          <a:lstStyle/>
          <a:p>
            <a:pPr marL="0" marR="0" lvl="0" indent="0" algn="l" defTabSz="914400" rtl="0" eaLnBrk="1" fontAlgn="auto" latinLnBrk="0" hangingPunct="1">
              <a:lnSpc>
                <a:spcPct val="125000"/>
              </a:lnSpc>
              <a:spcBef>
                <a:spcPts val="0"/>
              </a:spcBef>
              <a:spcAft>
                <a:spcPts val="0"/>
              </a:spcAft>
              <a:buClr>
                <a:srgbClr val="E55A00"/>
              </a:buClr>
              <a:buSzTx/>
              <a:buFontTx/>
              <a:buNone/>
              <a:tabLst/>
              <a:defRPr/>
            </a:pPr>
            <a:r>
              <a:rPr kumimoji="0" lang="en-US" sz="1100" b="0" i="0" u="none" strike="noStrike" kern="1200" cap="none" spc="0" normalizeH="0" baseline="0" noProof="0">
                <a:ln>
                  <a:noFill/>
                </a:ln>
                <a:solidFill>
                  <a:srgbClr val="414549"/>
                </a:solidFill>
                <a:effectLst/>
                <a:uLnTx/>
                <a:uFillTx/>
                <a:latin typeface="Lato"/>
                <a:ea typeface="+mn-ea"/>
                <a:cs typeface="+mn-cs"/>
              </a:rPr>
              <a:t>17</a:t>
            </a:r>
            <a:r>
              <a:rPr kumimoji="0" lang="en-US" sz="1100" b="0" i="0" u="none" strike="noStrike" kern="1200" cap="none" spc="0" normalizeH="0" baseline="30000" noProof="0">
                <a:ln>
                  <a:noFill/>
                </a:ln>
                <a:solidFill>
                  <a:srgbClr val="414549"/>
                </a:solidFill>
                <a:effectLst/>
                <a:uLnTx/>
                <a:uFillTx/>
                <a:latin typeface="Lato"/>
                <a:ea typeface="+mn-ea"/>
                <a:cs typeface="+mn-cs"/>
              </a:rPr>
              <a:t>th</a:t>
            </a:r>
            <a:r>
              <a:rPr kumimoji="0" lang="en-US" sz="1100" b="0" i="0" u="none" strike="noStrike" kern="1200" cap="none" spc="0" normalizeH="0" baseline="0" noProof="0">
                <a:ln>
                  <a:noFill/>
                </a:ln>
                <a:solidFill>
                  <a:srgbClr val="414549"/>
                </a:solidFill>
                <a:effectLst/>
                <a:uLnTx/>
                <a:uFillTx/>
                <a:latin typeface="Lato"/>
                <a:ea typeface="+mn-ea"/>
                <a:cs typeface="+mn-cs"/>
              </a:rPr>
              <a:t> of March</a:t>
            </a:r>
            <a:endParaRPr kumimoji="0" lang="en-US" sz="1400" b="0" i="0" u="none" strike="noStrike" kern="1200" cap="none" spc="0" normalizeH="0" baseline="0" noProof="0">
              <a:ln>
                <a:noFill/>
              </a:ln>
              <a:solidFill>
                <a:srgbClr val="414549"/>
              </a:solidFill>
              <a:effectLst/>
              <a:uLnTx/>
              <a:uFillTx/>
              <a:latin typeface="Lato"/>
              <a:ea typeface="+mn-ea"/>
              <a:cs typeface="+mn-cs"/>
            </a:endParaRPr>
          </a:p>
        </p:txBody>
      </p:sp>
      <p:sp>
        <p:nvSpPr>
          <p:cNvPr id="84" name="TextBox 84">
            <a:extLst>
              <a:ext uri="{FF2B5EF4-FFF2-40B4-BE49-F238E27FC236}">
                <a16:creationId xmlns:a16="http://schemas.microsoft.com/office/drawing/2014/main" id="{15DFE1A0-A2A8-4DB3-B67B-B15ABE0F4F61}"/>
              </a:ext>
            </a:extLst>
          </p:cNvPr>
          <p:cNvSpPr txBox="1"/>
          <p:nvPr/>
        </p:nvSpPr>
        <p:spPr>
          <a:xfrm>
            <a:off x="9654086" y="3104115"/>
            <a:ext cx="2250638" cy="372348"/>
          </a:xfrm>
          <a:prstGeom prst="rect">
            <a:avLst/>
          </a:prstGeom>
          <a:noFill/>
        </p:spPr>
        <p:txBody>
          <a:bodyPr wrap="square" lIns="72000" tIns="0" rIns="0" bIns="0" rtlCol="0">
            <a:noAutofit/>
          </a:bodyPr>
          <a:lstStyle/>
          <a:p>
            <a:pPr marL="0" marR="0" lvl="0" indent="0" algn="l" defTabSz="914400" rtl="0" eaLnBrk="1" fontAlgn="auto" latinLnBrk="0" hangingPunct="1">
              <a:lnSpc>
                <a:spcPct val="125000"/>
              </a:lnSpc>
              <a:spcBef>
                <a:spcPts val="0"/>
              </a:spcBef>
              <a:spcAft>
                <a:spcPts val="0"/>
              </a:spcAft>
              <a:buClr>
                <a:srgbClr val="E55A00"/>
              </a:buClr>
              <a:buSzTx/>
              <a:buFontTx/>
              <a:buNone/>
              <a:tabLst/>
              <a:defRPr/>
            </a:pPr>
            <a:r>
              <a:rPr kumimoji="0" lang="en-US" sz="1100" b="0" i="0" u="none" strike="noStrike" kern="1200" cap="none" spc="0" normalizeH="0" baseline="0" noProof="0">
                <a:ln>
                  <a:noFill/>
                </a:ln>
                <a:solidFill>
                  <a:srgbClr val="414549"/>
                </a:solidFill>
                <a:effectLst/>
                <a:uLnTx/>
                <a:uFillTx/>
                <a:latin typeface="Lato"/>
                <a:ea typeface="+mn-ea"/>
                <a:cs typeface="+mn-cs"/>
              </a:rPr>
              <a:t>14</a:t>
            </a:r>
            <a:r>
              <a:rPr kumimoji="0" lang="en-US" sz="1100" b="0" i="0" u="none" strike="noStrike" kern="1200" cap="none" spc="0" normalizeH="0" baseline="30000" noProof="0">
                <a:ln>
                  <a:noFill/>
                </a:ln>
                <a:solidFill>
                  <a:srgbClr val="414549"/>
                </a:solidFill>
                <a:effectLst/>
                <a:uLnTx/>
                <a:uFillTx/>
                <a:latin typeface="Lato"/>
                <a:ea typeface="+mn-ea"/>
                <a:cs typeface="+mn-cs"/>
              </a:rPr>
              <a:t>th</a:t>
            </a:r>
            <a:r>
              <a:rPr kumimoji="0" lang="en-US" sz="1100" b="0" i="0" u="none" strike="noStrike" kern="1200" cap="none" spc="0" normalizeH="0" baseline="0" noProof="0">
                <a:ln>
                  <a:noFill/>
                </a:ln>
                <a:solidFill>
                  <a:srgbClr val="414549"/>
                </a:solidFill>
                <a:effectLst/>
                <a:uLnTx/>
                <a:uFillTx/>
                <a:latin typeface="Lato"/>
                <a:ea typeface="+mn-ea"/>
                <a:cs typeface="+mn-cs"/>
              </a:rPr>
              <a:t> of March</a:t>
            </a:r>
            <a:endParaRPr kumimoji="0" lang="en-US" sz="1400" b="0" i="0" u="none" strike="noStrike" kern="1200" cap="none" spc="0" normalizeH="0" baseline="0" noProof="0">
              <a:ln>
                <a:noFill/>
              </a:ln>
              <a:solidFill>
                <a:srgbClr val="414549"/>
              </a:solidFill>
              <a:effectLst/>
              <a:uLnTx/>
              <a:uFillTx/>
              <a:latin typeface="Lato"/>
              <a:ea typeface="+mn-ea"/>
              <a:cs typeface="+mn-cs"/>
            </a:endParaRPr>
          </a:p>
        </p:txBody>
      </p:sp>
      <p:sp>
        <p:nvSpPr>
          <p:cNvPr id="89" name="TextBox 84">
            <a:extLst>
              <a:ext uri="{FF2B5EF4-FFF2-40B4-BE49-F238E27FC236}">
                <a16:creationId xmlns:a16="http://schemas.microsoft.com/office/drawing/2014/main" id="{4EE92DC4-1180-4A0E-9243-0D12D7E65696}"/>
              </a:ext>
            </a:extLst>
          </p:cNvPr>
          <p:cNvSpPr txBox="1"/>
          <p:nvPr/>
        </p:nvSpPr>
        <p:spPr>
          <a:xfrm>
            <a:off x="9654086" y="5688962"/>
            <a:ext cx="2250638" cy="372348"/>
          </a:xfrm>
          <a:prstGeom prst="rect">
            <a:avLst/>
          </a:prstGeom>
          <a:noFill/>
        </p:spPr>
        <p:txBody>
          <a:bodyPr wrap="square" lIns="72000" tIns="0" rIns="0" bIns="0" rtlCol="0">
            <a:noAutofit/>
          </a:bodyPr>
          <a:lstStyle/>
          <a:p>
            <a:pPr marL="0" marR="0" lvl="0" indent="0" algn="l" defTabSz="914400" rtl="0" eaLnBrk="1" fontAlgn="auto" latinLnBrk="0" hangingPunct="1">
              <a:lnSpc>
                <a:spcPct val="125000"/>
              </a:lnSpc>
              <a:spcBef>
                <a:spcPts val="0"/>
              </a:spcBef>
              <a:spcAft>
                <a:spcPts val="0"/>
              </a:spcAft>
              <a:buClr>
                <a:srgbClr val="E55A00"/>
              </a:buClr>
              <a:buSzTx/>
              <a:buFontTx/>
              <a:buNone/>
              <a:tabLst/>
              <a:defRPr/>
            </a:pPr>
            <a:r>
              <a:rPr kumimoji="0" lang="en-US" sz="1100" b="0" i="0" u="none" strike="noStrike" kern="1200" cap="none" spc="0" normalizeH="0" baseline="0" noProof="0">
                <a:ln>
                  <a:noFill/>
                </a:ln>
                <a:solidFill>
                  <a:srgbClr val="414549"/>
                </a:solidFill>
                <a:effectLst/>
                <a:uLnTx/>
                <a:uFillTx/>
                <a:latin typeface="Lato"/>
                <a:ea typeface="+mn-ea"/>
                <a:cs typeface="+mn-cs"/>
              </a:rPr>
              <a:t>16</a:t>
            </a:r>
            <a:r>
              <a:rPr kumimoji="0" lang="en-US" sz="1100" b="0" i="0" u="none" strike="noStrike" kern="1200" cap="none" spc="0" normalizeH="0" baseline="30000" noProof="0">
                <a:ln>
                  <a:noFill/>
                </a:ln>
                <a:solidFill>
                  <a:srgbClr val="414549"/>
                </a:solidFill>
                <a:effectLst/>
                <a:uLnTx/>
                <a:uFillTx/>
                <a:latin typeface="Lato"/>
                <a:ea typeface="+mn-ea"/>
                <a:cs typeface="+mn-cs"/>
              </a:rPr>
              <a:t>th</a:t>
            </a:r>
            <a:r>
              <a:rPr kumimoji="0" lang="en-US" sz="1100" b="0" i="0" u="none" strike="noStrike" kern="1200" cap="none" spc="0" normalizeH="0" baseline="0" noProof="0">
                <a:ln>
                  <a:noFill/>
                </a:ln>
                <a:solidFill>
                  <a:srgbClr val="414549"/>
                </a:solidFill>
                <a:effectLst/>
                <a:uLnTx/>
                <a:uFillTx/>
                <a:latin typeface="Lato"/>
                <a:ea typeface="+mn-ea"/>
                <a:cs typeface="+mn-cs"/>
              </a:rPr>
              <a:t> of March</a:t>
            </a:r>
            <a:endParaRPr kumimoji="0" lang="en-US" sz="1400" b="0" i="0" u="none" strike="noStrike" kern="1200" cap="none" spc="0" normalizeH="0" baseline="0" noProof="0">
              <a:ln>
                <a:noFill/>
              </a:ln>
              <a:solidFill>
                <a:srgbClr val="414549"/>
              </a:solidFill>
              <a:effectLst/>
              <a:uLnTx/>
              <a:uFillTx/>
              <a:latin typeface="Lato"/>
              <a:ea typeface="+mn-ea"/>
              <a:cs typeface="+mn-cs"/>
            </a:endParaRPr>
          </a:p>
        </p:txBody>
      </p:sp>
      <p:sp>
        <p:nvSpPr>
          <p:cNvPr id="90" name="TextBox 84">
            <a:extLst>
              <a:ext uri="{FF2B5EF4-FFF2-40B4-BE49-F238E27FC236}">
                <a16:creationId xmlns:a16="http://schemas.microsoft.com/office/drawing/2014/main" id="{AD68EB76-DB02-4E5F-9F5A-5A92A199F350}"/>
              </a:ext>
            </a:extLst>
          </p:cNvPr>
          <p:cNvSpPr txBox="1"/>
          <p:nvPr/>
        </p:nvSpPr>
        <p:spPr>
          <a:xfrm>
            <a:off x="9654086" y="3938339"/>
            <a:ext cx="2250638" cy="372348"/>
          </a:xfrm>
          <a:prstGeom prst="rect">
            <a:avLst/>
          </a:prstGeom>
          <a:noFill/>
        </p:spPr>
        <p:txBody>
          <a:bodyPr wrap="square" lIns="72000" tIns="0" rIns="0" bIns="0" rtlCol="0">
            <a:noAutofit/>
          </a:bodyPr>
          <a:lstStyle/>
          <a:p>
            <a:pPr marL="0" marR="0" lvl="0" indent="0" algn="l" defTabSz="914400" rtl="0" eaLnBrk="1" fontAlgn="auto" latinLnBrk="0" hangingPunct="1">
              <a:lnSpc>
                <a:spcPct val="125000"/>
              </a:lnSpc>
              <a:spcBef>
                <a:spcPts val="0"/>
              </a:spcBef>
              <a:spcAft>
                <a:spcPts val="0"/>
              </a:spcAft>
              <a:buClr>
                <a:srgbClr val="E55A00"/>
              </a:buClr>
              <a:buSzTx/>
              <a:buFontTx/>
              <a:buNone/>
              <a:tabLst/>
              <a:defRPr/>
            </a:pPr>
            <a:r>
              <a:rPr kumimoji="0" lang="en-US" sz="1100" b="0" i="0" u="none" strike="noStrike" kern="1200" cap="none" spc="0" normalizeH="0" baseline="0" noProof="0">
                <a:ln>
                  <a:noFill/>
                </a:ln>
                <a:solidFill>
                  <a:srgbClr val="414549"/>
                </a:solidFill>
                <a:effectLst/>
                <a:uLnTx/>
                <a:uFillTx/>
                <a:latin typeface="Lato"/>
                <a:ea typeface="+mn-ea"/>
                <a:cs typeface="+mn-cs"/>
              </a:rPr>
              <a:t>18</a:t>
            </a:r>
            <a:r>
              <a:rPr kumimoji="0" lang="en-US" sz="1100" b="0" i="0" u="none" strike="noStrike" kern="1200" cap="none" spc="0" normalizeH="0" baseline="30000" noProof="0">
                <a:ln>
                  <a:noFill/>
                </a:ln>
                <a:solidFill>
                  <a:srgbClr val="414549"/>
                </a:solidFill>
                <a:effectLst/>
                <a:uLnTx/>
                <a:uFillTx/>
                <a:latin typeface="Lato"/>
                <a:ea typeface="+mn-ea"/>
                <a:cs typeface="+mn-cs"/>
              </a:rPr>
              <a:t>th</a:t>
            </a:r>
            <a:r>
              <a:rPr kumimoji="0" lang="en-US" sz="1100" b="0" i="0" u="none" strike="noStrike" kern="1200" cap="none" spc="0" normalizeH="0" baseline="0" noProof="0">
                <a:ln>
                  <a:noFill/>
                </a:ln>
                <a:solidFill>
                  <a:srgbClr val="414549"/>
                </a:solidFill>
                <a:effectLst/>
                <a:uLnTx/>
                <a:uFillTx/>
                <a:latin typeface="Lato"/>
                <a:ea typeface="+mn-ea"/>
                <a:cs typeface="+mn-cs"/>
              </a:rPr>
              <a:t> of March</a:t>
            </a:r>
            <a:endParaRPr kumimoji="0" lang="en-US" sz="1400" b="0" i="0" u="none" strike="noStrike" kern="1200" cap="none" spc="0" normalizeH="0" baseline="0" noProof="0">
              <a:ln>
                <a:noFill/>
              </a:ln>
              <a:solidFill>
                <a:srgbClr val="414549"/>
              </a:solidFill>
              <a:effectLst/>
              <a:uLnTx/>
              <a:uFillTx/>
              <a:latin typeface="Lato"/>
              <a:ea typeface="+mn-ea"/>
              <a:cs typeface="+mn-cs"/>
            </a:endParaRPr>
          </a:p>
        </p:txBody>
      </p:sp>
      <p:sp>
        <p:nvSpPr>
          <p:cNvPr id="91" name="TextBox 84">
            <a:extLst>
              <a:ext uri="{FF2B5EF4-FFF2-40B4-BE49-F238E27FC236}">
                <a16:creationId xmlns:a16="http://schemas.microsoft.com/office/drawing/2014/main" id="{34B9AE3C-077D-44DE-8432-093ADAE685F0}"/>
              </a:ext>
            </a:extLst>
          </p:cNvPr>
          <p:cNvSpPr txBox="1"/>
          <p:nvPr/>
        </p:nvSpPr>
        <p:spPr>
          <a:xfrm>
            <a:off x="9654086" y="4350636"/>
            <a:ext cx="2250638" cy="372348"/>
          </a:xfrm>
          <a:prstGeom prst="rect">
            <a:avLst/>
          </a:prstGeom>
          <a:noFill/>
        </p:spPr>
        <p:txBody>
          <a:bodyPr wrap="square" lIns="72000" tIns="0" rIns="0" bIns="0" rtlCol="0">
            <a:noAutofit/>
          </a:bodyPr>
          <a:lstStyle/>
          <a:p>
            <a:pPr marL="0" marR="0" lvl="0" indent="0" algn="l" defTabSz="914400" rtl="0" eaLnBrk="1" fontAlgn="auto" latinLnBrk="0" hangingPunct="1">
              <a:lnSpc>
                <a:spcPct val="125000"/>
              </a:lnSpc>
              <a:spcBef>
                <a:spcPts val="0"/>
              </a:spcBef>
              <a:spcAft>
                <a:spcPts val="0"/>
              </a:spcAft>
              <a:buClr>
                <a:srgbClr val="E55A00"/>
              </a:buClr>
              <a:buSzTx/>
              <a:buFontTx/>
              <a:buNone/>
              <a:tabLst/>
              <a:defRPr/>
            </a:pPr>
            <a:r>
              <a:rPr kumimoji="0" lang="en-US" sz="1100" b="0" i="0" u="none" strike="noStrike" kern="1200" cap="none" spc="0" normalizeH="0" baseline="0" noProof="0">
                <a:ln>
                  <a:noFill/>
                </a:ln>
                <a:solidFill>
                  <a:srgbClr val="414549"/>
                </a:solidFill>
                <a:effectLst/>
                <a:uLnTx/>
                <a:uFillTx/>
                <a:latin typeface="Lato"/>
                <a:ea typeface="+mn-ea"/>
                <a:cs typeface="+mn-cs"/>
              </a:rPr>
              <a:t>22</a:t>
            </a:r>
            <a:r>
              <a:rPr kumimoji="0" lang="en-US" sz="1100" b="0" i="0" u="none" strike="noStrike" kern="1200" cap="none" spc="0" normalizeH="0" baseline="30000" noProof="0">
                <a:ln>
                  <a:noFill/>
                </a:ln>
                <a:solidFill>
                  <a:srgbClr val="414549"/>
                </a:solidFill>
                <a:effectLst/>
                <a:uLnTx/>
                <a:uFillTx/>
                <a:latin typeface="Lato"/>
                <a:ea typeface="+mn-ea"/>
                <a:cs typeface="+mn-cs"/>
              </a:rPr>
              <a:t>nd</a:t>
            </a:r>
            <a:r>
              <a:rPr kumimoji="0" lang="en-US" sz="1100" b="0" i="0" u="none" strike="noStrike" kern="1200" cap="none" spc="0" normalizeH="0" baseline="0" noProof="0">
                <a:ln>
                  <a:noFill/>
                </a:ln>
                <a:solidFill>
                  <a:srgbClr val="414549"/>
                </a:solidFill>
                <a:effectLst/>
                <a:uLnTx/>
                <a:uFillTx/>
                <a:latin typeface="Lato"/>
                <a:ea typeface="+mn-ea"/>
                <a:cs typeface="+mn-cs"/>
              </a:rPr>
              <a:t> of March</a:t>
            </a:r>
            <a:endParaRPr kumimoji="0" lang="en-US" sz="1400" b="0" i="0" u="none" strike="noStrike" kern="1200" cap="none" spc="0" normalizeH="0" baseline="0" noProof="0">
              <a:ln>
                <a:noFill/>
              </a:ln>
              <a:solidFill>
                <a:srgbClr val="414549"/>
              </a:solidFill>
              <a:effectLst/>
              <a:uLnTx/>
              <a:uFillTx/>
              <a:latin typeface="Lato"/>
              <a:ea typeface="+mn-ea"/>
              <a:cs typeface="+mn-cs"/>
            </a:endParaRPr>
          </a:p>
        </p:txBody>
      </p:sp>
      <p:sp>
        <p:nvSpPr>
          <p:cNvPr id="93" name="TextBox 84">
            <a:extLst>
              <a:ext uri="{FF2B5EF4-FFF2-40B4-BE49-F238E27FC236}">
                <a16:creationId xmlns:a16="http://schemas.microsoft.com/office/drawing/2014/main" id="{438E05CD-DAF3-4EF3-BCBE-D83154A21358}"/>
              </a:ext>
            </a:extLst>
          </p:cNvPr>
          <p:cNvSpPr txBox="1"/>
          <p:nvPr/>
        </p:nvSpPr>
        <p:spPr>
          <a:xfrm>
            <a:off x="9654086" y="4792414"/>
            <a:ext cx="2250638" cy="372348"/>
          </a:xfrm>
          <a:prstGeom prst="rect">
            <a:avLst/>
          </a:prstGeom>
          <a:noFill/>
        </p:spPr>
        <p:txBody>
          <a:bodyPr wrap="square" lIns="72000" tIns="0" rIns="0" bIns="0" rtlCol="0">
            <a:noAutofit/>
          </a:bodyPr>
          <a:lstStyle/>
          <a:p>
            <a:pPr marL="0" marR="0" lvl="0" indent="0" algn="l" defTabSz="914400" rtl="0" eaLnBrk="1" fontAlgn="auto" latinLnBrk="0" hangingPunct="1">
              <a:lnSpc>
                <a:spcPct val="125000"/>
              </a:lnSpc>
              <a:spcBef>
                <a:spcPts val="0"/>
              </a:spcBef>
              <a:spcAft>
                <a:spcPts val="0"/>
              </a:spcAft>
              <a:buClr>
                <a:srgbClr val="E55A00"/>
              </a:buClr>
              <a:buSzTx/>
              <a:buFontTx/>
              <a:buNone/>
              <a:tabLst/>
              <a:defRPr/>
            </a:pPr>
            <a:r>
              <a:rPr kumimoji="0" lang="en-US" sz="1100" b="0" i="0" u="none" strike="noStrike" kern="1200" cap="none" spc="0" normalizeH="0" baseline="0" noProof="0">
                <a:ln>
                  <a:noFill/>
                </a:ln>
                <a:solidFill>
                  <a:srgbClr val="414549"/>
                </a:solidFill>
                <a:effectLst/>
                <a:uLnTx/>
                <a:uFillTx/>
                <a:latin typeface="Lato"/>
                <a:ea typeface="+mn-ea"/>
                <a:cs typeface="+mn-cs"/>
              </a:rPr>
              <a:t>24</a:t>
            </a:r>
            <a:r>
              <a:rPr kumimoji="0" lang="en-US" sz="1100" b="0" i="0" u="none" strike="noStrike" kern="1200" cap="none" spc="0" normalizeH="0" baseline="30000" noProof="0">
                <a:ln>
                  <a:noFill/>
                </a:ln>
                <a:solidFill>
                  <a:srgbClr val="414549"/>
                </a:solidFill>
                <a:effectLst/>
                <a:uLnTx/>
                <a:uFillTx/>
                <a:latin typeface="Lato"/>
                <a:ea typeface="+mn-ea"/>
                <a:cs typeface="+mn-cs"/>
              </a:rPr>
              <a:t>th</a:t>
            </a:r>
            <a:r>
              <a:rPr kumimoji="0" lang="en-US" sz="1100" b="0" i="0" u="none" strike="noStrike" kern="1200" cap="none" spc="0" normalizeH="0" baseline="0" noProof="0">
                <a:ln>
                  <a:noFill/>
                </a:ln>
                <a:solidFill>
                  <a:srgbClr val="414549"/>
                </a:solidFill>
                <a:effectLst/>
                <a:uLnTx/>
                <a:uFillTx/>
                <a:latin typeface="Lato"/>
                <a:ea typeface="+mn-ea"/>
                <a:cs typeface="+mn-cs"/>
              </a:rPr>
              <a:t> of March</a:t>
            </a:r>
            <a:endParaRPr kumimoji="0" lang="en-US" sz="1400" b="0" i="0" u="none" strike="noStrike" kern="1200" cap="none" spc="0" normalizeH="0" baseline="0" noProof="0">
              <a:ln>
                <a:noFill/>
              </a:ln>
              <a:solidFill>
                <a:srgbClr val="414549"/>
              </a:solidFill>
              <a:effectLst/>
              <a:uLnTx/>
              <a:uFillTx/>
              <a:latin typeface="Lato"/>
              <a:ea typeface="+mn-ea"/>
              <a:cs typeface="+mn-cs"/>
            </a:endParaRPr>
          </a:p>
        </p:txBody>
      </p:sp>
      <p:sp>
        <p:nvSpPr>
          <p:cNvPr id="94" name="TextBox 84">
            <a:extLst>
              <a:ext uri="{FF2B5EF4-FFF2-40B4-BE49-F238E27FC236}">
                <a16:creationId xmlns:a16="http://schemas.microsoft.com/office/drawing/2014/main" id="{8FFAFF65-558F-4E0D-91DD-F33D2DAB4E35}"/>
              </a:ext>
            </a:extLst>
          </p:cNvPr>
          <p:cNvSpPr txBox="1"/>
          <p:nvPr/>
        </p:nvSpPr>
        <p:spPr>
          <a:xfrm>
            <a:off x="9645911" y="3417833"/>
            <a:ext cx="1789185" cy="372348"/>
          </a:xfrm>
          <a:prstGeom prst="rect">
            <a:avLst/>
          </a:prstGeom>
          <a:noFill/>
        </p:spPr>
        <p:txBody>
          <a:bodyPr wrap="square" lIns="72000" tIns="0" rIns="0" bIns="0" rtlCol="0">
            <a:noAutofit/>
          </a:bodyPr>
          <a:lstStyle/>
          <a:p>
            <a:pPr marL="0" marR="0" lvl="0" indent="0" algn="l" defTabSz="914400" rtl="0" eaLnBrk="1" fontAlgn="auto" latinLnBrk="0" hangingPunct="1">
              <a:lnSpc>
                <a:spcPct val="125000"/>
              </a:lnSpc>
              <a:spcBef>
                <a:spcPts val="0"/>
              </a:spcBef>
              <a:spcAft>
                <a:spcPts val="0"/>
              </a:spcAft>
              <a:buClr>
                <a:srgbClr val="E55A00"/>
              </a:buClr>
              <a:buSzTx/>
              <a:buFontTx/>
              <a:buNone/>
              <a:tabLst/>
              <a:defRPr/>
            </a:pPr>
            <a:r>
              <a:rPr kumimoji="0" lang="en-US" sz="1100" b="0" i="0" u="none" strike="noStrike" kern="1200" cap="none" spc="0" normalizeH="0" baseline="0" noProof="0">
                <a:ln>
                  <a:noFill/>
                </a:ln>
                <a:solidFill>
                  <a:srgbClr val="414549"/>
                </a:solidFill>
                <a:effectLst/>
                <a:uLnTx/>
                <a:uFillTx/>
                <a:latin typeface="Lato"/>
                <a:ea typeface="+mn-ea"/>
                <a:cs typeface="+mn-cs"/>
              </a:rPr>
              <a:t>Less restrictive measures since End of March </a:t>
            </a:r>
            <a:endParaRPr kumimoji="0" lang="en-US" sz="1400" b="0" i="0" u="none" strike="noStrike" kern="1200" cap="none" spc="0" normalizeH="0" baseline="0" noProof="0">
              <a:ln>
                <a:noFill/>
              </a:ln>
              <a:solidFill>
                <a:srgbClr val="414549"/>
              </a:solidFill>
              <a:effectLst/>
              <a:uLnTx/>
              <a:uFillTx/>
              <a:latin typeface="Lato"/>
              <a:ea typeface="+mn-ea"/>
              <a:cs typeface="+mn-cs"/>
            </a:endParaRPr>
          </a:p>
        </p:txBody>
      </p:sp>
      <p:sp>
        <p:nvSpPr>
          <p:cNvPr id="95" name="TextBox 84">
            <a:extLst>
              <a:ext uri="{FF2B5EF4-FFF2-40B4-BE49-F238E27FC236}">
                <a16:creationId xmlns:a16="http://schemas.microsoft.com/office/drawing/2014/main" id="{518F1047-AACA-4749-B7A2-326F3D4B238D}"/>
              </a:ext>
            </a:extLst>
          </p:cNvPr>
          <p:cNvSpPr txBox="1"/>
          <p:nvPr/>
        </p:nvSpPr>
        <p:spPr>
          <a:xfrm>
            <a:off x="9645911" y="5208195"/>
            <a:ext cx="2250638" cy="372348"/>
          </a:xfrm>
          <a:prstGeom prst="rect">
            <a:avLst/>
          </a:prstGeom>
          <a:noFill/>
        </p:spPr>
        <p:txBody>
          <a:bodyPr wrap="square" lIns="72000" tIns="0" rIns="0" bIns="0" rtlCol="0">
            <a:noAutofit/>
          </a:bodyPr>
          <a:lstStyle/>
          <a:p>
            <a:pPr marL="0" marR="0" lvl="0" indent="0" algn="l" defTabSz="914400" rtl="0" eaLnBrk="1" fontAlgn="auto" latinLnBrk="0" hangingPunct="1">
              <a:lnSpc>
                <a:spcPct val="125000"/>
              </a:lnSpc>
              <a:spcBef>
                <a:spcPts val="0"/>
              </a:spcBef>
              <a:spcAft>
                <a:spcPts val="0"/>
              </a:spcAft>
              <a:buClr>
                <a:srgbClr val="E55A00"/>
              </a:buClr>
              <a:buSzTx/>
              <a:buFontTx/>
              <a:buNone/>
              <a:tabLst/>
              <a:defRPr/>
            </a:pPr>
            <a:r>
              <a:rPr kumimoji="0" lang="en-US" sz="1100" b="0" i="0" u="none" strike="noStrike" kern="1200" cap="none" spc="0" normalizeH="0" baseline="0" noProof="0">
                <a:ln>
                  <a:noFill/>
                </a:ln>
                <a:solidFill>
                  <a:srgbClr val="414549"/>
                </a:solidFill>
                <a:effectLst/>
                <a:uLnTx/>
                <a:uFillTx/>
                <a:latin typeface="Lato"/>
                <a:ea typeface="+mn-ea"/>
                <a:cs typeface="+mn-cs"/>
              </a:rPr>
              <a:t>16</a:t>
            </a:r>
            <a:r>
              <a:rPr kumimoji="0" lang="en-US" sz="1100" b="0" i="0" u="none" strike="noStrike" kern="1200" cap="none" spc="0" normalizeH="0" baseline="30000" noProof="0">
                <a:ln>
                  <a:noFill/>
                </a:ln>
                <a:solidFill>
                  <a:srgbClr val="414549"/>
                </a:solidFill>
                <a:effectLst/>
                <a:uLnTx/>
                <a:uFillTx/>
                <a:latin typeface="Lato"/>
                <a:ea typeface="+mn-ea"/>
                <a:cs typeface="+mn-cs"/>
              </a:rPr>
              <a:t>th</a:t>
            </a:r>
            <a:r>
              <a:rPr kumimoji="0" lang="en-US" sz="1100" b="0" i="0" u="none" strike="noStrike" kern="1200" cap="none" spc="0" normalizeH="0" baseline="0" noProof="0">
                <a:ln>
                  <a:noFill/>
                </a:ln>
                <a:solidFill>
                  <a:srgbClr val="414549"/>
                </a:solidFill>
                <a:effectLst/>
                <a:uLnTx/>
                <a:uFillTx/>
                <a:latin typeface="Lato"/>
                <a:ea typeface="+mn-ea"/>
                <a:cs typeface="+mn-cs"/>
              </a:rPr>
              <a:t> of March</a:t>
            </a:r>
            <a:endParaRPr kumimoji="0" lang="en-US" sz="1400" b="0" i="0" u="none" strike="noStrike" kern="1200" cap="none" spc="0" normalizeH="0" baseline="0" noProof="0">
              <a:ln>
                <a:noFill/>
              </a:ln>
              <a:solidFill>
                <a:srgbClr val="414549"/>
              </a:solidFill>
              <a:effectLst/>
              <a:uLnTx/>
              <a:uFillTx/>
              <a:latin typeface="Lato"/>
              <a:ea typeface="+mn-ea"/>
              <a:cs typeface="+mn-cs"/>
            </a:endParaRPr>
          </a:p>
        </p:txBody>
      </p:sp>
      <p:sp>
        <p:nvSpPr>
          <p:cNvPr id="96" name="TextBox 64">
            <a:extLst>
              <a:ext uri="{FF2B5EF4-FFF2-40B4-BE49-F238E27FC236}">
                <a16:creationId xmlns:a16="http://schemas.microsoft.com/office/drawing/2014/main" id="{DC5DCF3A-E4BB-42AA-946A-15406C6897D1}"/>
              </a:ext>
            </a:extLst>
          </p:cNvPr>
          <p:cNvSpPr txBox="1"/>
          <p:nvPr/>
        </p:nvSpPr>
        <p:spPr>
          <a:xfrm>
            <a:off x="1478310" y="3164600"/>
            <a:ext cx="1663992" cy="1056628"/>
          </a:xfrm>
          <a:prstGeom prst="rect">
            <a:avLst/>
          </a:prstGeom>
          <a:noFill/>
        </p:spPr>
        <p:txBody>
          <a:bodyPr wrap="square" lIns="72000" tIns="0" rIns="0" bIns="0" rtlCol="0">
            <a:noAutofit/>
          </a:bodyPr>
          <a:lstStyle/>
          <a:p>
            <a:pPr marL="0" marR="0" lvl="0" indent="0" algn="l" defTabSz="914400" rtl="0" eaLnBrk="1" fontAlgn="auto" latinLnBrk="0" hangingPunct="1">
              <a:lnSpc>
                <a:spcPct val="125000"/>
              </a:lnSpc>
              <a:spcBef>
                <a:spcPts val="0"/>
              </a:spcBef>
              <a:spcAft>
                <a:spcPts val="0"/>
              </a:spcAft>
              <a:buClr>
                <a:srgbClr val="E55A00"/>
              </a:buClr>
              <a:buSzTx/>
              <a:buFontTx/>
              <a:buNone/>
              <a:tabLst/>
              <a:defRPr/>
            </a:pPr>
            <a:r>
              <a:rPr kumimoji="0" lang="en-US" sz="1100" b="1" i="0" u="none" strike="noStrike" kern="1200" cap="none" spc="0" normalizeH="0" baseline="0" noProof="0">
                <a:ln>
                  <a:noFill/>
                </a:ln>
                <a:solidFill>
                  <a:srgbClr val="414549"/>
                </a:solidFill>
                <a:effectLst/>
                <a:uLnTx/>
                <a:uFillTx/>
                <a:latin typeface="Lato"/>
                <a:ea typeface="+mn-ea"/>
                <a:cs typeface="+mn-cs"/>
              </a:rPr>
              <a:t>7/1 2020</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a:ln>
                  <a:noFill/>
                </a:ln>
                <a:solidFill>
                  <a:srgbClr val="414549"/>
                </a:solidFill>
                <a:effectLst/>
                <a:uLnTx/>
                <a:uFillTx/>
                <a:latin typeface="Lato"/>
                <a:ea typeface="+mn-ea"/>
                <a:cs typeface="+mn-cs"/>
              </a:rPr>
              <a:t>Chinese Health Commission </a:t>
            </a:r>
            <a:r>
              <a:rPr kumimoji="0" lang="en-GB" sz="1100" b="0" i="0" u="none" strike="noStrike" kern="1200" cap="none" spc="0" normalizeH="0" baseline="0" noProof="0">
                <a:ln>
                  <a:noFill/>
                </a:ln>
                <a:solidFill>
                  <a:srgbClr val="414549"/>
                </a:solidFill>
                <a:effectLst/>
                <a:uLnTx/>
                <a:uFillTx/>
                <a:latin typeface="Lato"/>
                <a:ea typeface="+mn-ea"/>
                <a:cs typeface="+mn-cs"/>
              </a:rPr>
              <a:t>confirms the identification of a new type of Corona Virus</a:t>
            </a:r>
            <a:endParaRPr kumimoji="0" lang="en-GB" sz="1100" b="1" i="0" u="none" strike="noStrike" kern="1200" cap="none" spc="0" normalizeH="0" baseline="0" noProof="0">
              <a:ln>
                <a:noFill/>
              </a:ln>
              <a:solidFill>
                <a:srgbClr val="414549"/>
              </a:solidFill>
              <a:effectLst/>
              <a:uLnTx/>
              <a:uFillTx/>
              <a:latin typeface="Lato"/>
              <a:ea typeface="+mn-ea"/>
              <a:cs typeface="+mn-cs"/>
            </a:endParaRPr>
          </a:p>
        </p:txBody>
      </p:sp>
      <p:cxnSp>
        <p:nvCxnSpPr>
          <p:cNvPr id="97" name="Gerade Verbindung 573">
            <a:extLst>
              <a:ext uri="{FF2B5EF4-FFF2-40B4-BE49-F238E27FC236}">
                <a16:creationId xmlns:a16="http://schemas.microsoft.com/office/drawing/2014/main" id="{6E212ACA-49AD-417F-876C-8E2DE0094741}"/>
              </a:ext>
            </a:extLst>
          </p:cNvPr>
          <p:cNvCxnSpPr>
            <a:cxnSpLocks noChangeShapeType="1"/>
          </p:cNvCxnSpPr>
          <p:nvPr/>
        </p:nvCxnSpPr>
        <p:spPr bwMode="auto">
          <a:xfrm>
            <a:off x="1641340" y="4069831"/>
            <a:ext cx="0" cy="383139"/>
          </a:xfrm>
          <a:prstGeom prst="line">
            <a:avLst/>
          </a:prstGeom>
          <a:noFill/>
          <a:ln w="12700" cap="rnd" algn="ctr">
            <a:solidFill>
              <a:schemeClr val="tx1"/>
            </a:solidFill>
            <a:miter lim="800000"/>
            <a:headEnd type="none" w="lg" len="med"/>
            <a:tailEnd type="oval" w="sm" len="sm"/>
          </a:ln>
          <a:extLst>
            <a:ext uri="{909E8E84-426E-40DD-AFC4-6F175D3DCCD1}">
              <a14:hiddenFill xmlns:a14="http://schemas.microsoft.com/office/drawing/2010/main">
                <a:noFill/>
              </a14:hiddenFill>
            </a:ext>
          </a:extLst>
        </p:spPr>
      </p:cxnSp>
      <p:sp>
        <p:nvSpPr>
          <p:cNvPr id="15" name="Rectangle 14">
            <a:extLst>
              <a:ext uri="{FF2B5EF4-FFF2-40B4-BE49-F238E27FC236}">
                <a16:creationId xmlns:a16="http://schemas.microsoft.com/office/drawing/2014/main" id="{ADD2351B-6962-4007-9A4C-8DAA1B39E6AF}"/>
              </a:ext>
            </a:extLst>
          </p:cNvPr>
          <p:cNvSpPr/>
          <p:nvPr/>
        </p:nvSpPr>
        <p:spPr>
          <a:xfrm>
            <a:off x="8768821" y="1508094"/>
            <a:ext cx="2963752" cy="5103467"/>
          </a:xfrm>
          <a:prstGeom prst="rect">
            <a:avLst/>
          </a:prstGeom>
          <a:no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ctr" defTabSz="914400" rtl="0" eaLnBrk="1" fontAlgn="auto" latinLnBrk="0" hangingPunct="1">
              <a:lnSpc>
                <a:spcPct val="125000"/>
              </a:lnSpc>
              <a:spcBef>
                <a:spcPts val="0"/>
              </a:spcBef>
              <a:spcAft>
                <a:spcPts val="0"/>
              </a:spcAft>
              <a:buClrTx/>
              <a:buSzTx/>
              <a:buFontTx/>
              <a:buNone/>
              <a:tabLst/>
              <a:defRPr/>
            </a:pPr>
            <a:endParaRPr kumimoji="0" lang="fr-FR" sz="1600" b="0" i="0" u="none" strike="noStrike" kern="1200" cap="none" spc="0" normalizeH="0" baseline="0" noProof="0">
              <a:ln>
                <a:noFill/>
              </a:ln>
              <a:solidFill>
                <a:srgbClr val="FFFFFF"/>
              </a:solidFill>
              <a:effectLst/>
              <a:uLnTx/>
              <a:uFillTx/>
              <a:latin typeface="Lato"/>
              <a:ea typeface="+mn-ea"/>
              <a:cs typeface="+mn-cs"/>
            </a:endParaRPr>
          </a:p>
        </p:txBody>
      </p:sp>
      <p:pic>
        <p:nvPicPr>
          <p:cNvPr id="92" name="Picture 39">
            <a:extLst>
              <a:ext uri="{FF2B5EF4-FFF2-40B4-BE49-F238E27FC236}">
                <a16:creationId xmlns:a16="http://schemas.microsoft.com/office/drawing/2014/main" id="{CAC40BF2-74B7-4D6D-97F4-B258602E774B}"/>
              </a:ext>
            </a:extLst>
          </p:cNvPr>
          <p:cNvPicPr>
            <a:picLocks noChangeAspect="1" noChangeArrowheads="1"/>
          </p:cNvPicPr>
          <p:nvPr/>
        </p:nvPicPr>
        <p:blipFill>
          <a:blip r:embed="rId43" cstate="print">
            <a:extLst>
              <a:ext uri="{28A0092B-C50C-407E-A947-70E740481C1C}">
                <a14:useLocalDpi xmlns:a14="http://schemas.microsoft.com/office/drawing/2010/main"/>
              </a:ext>
            </a:extLst>
          </a:blip>
          <a:srcRect/>
          <a:stretch>
            <a:fillRect/>
          </a:stretch>
        </p:blipFill>
        <p:spPr bwMode="gray">
          <a:xfrm>
            <a:off x="9128589" y="5177142"/>
            <a:ext cx="450000" cy="293857"/>
          </a:xfrm>
          <a:prstGeom prst="rect">
            <a:avLst/>
          </a:prstGeom>
          <a:noFill/>
          <a:ln w="9525">
            <a:noFill/>
            <a:miter lim="800000"/>
            <a:headEnd/>
            <a:tailEnd/>
          </a:ln>
          <a:effectLst/>
        </p:spPr>
      </p:pic>
      <p:sp>
        <p:nvSpPr>
          <p:cNvPr id="98" name="Заголовок 2">
            <a:extLst>
              <a:ext uri="{FF2B5EF4-FFF2-40B4-BE49-F238E27FC236}">
                <a16:creationId xmlns:a16="http://schemas.microsoft.com/office/drawing/2014/main" id="{E049787E-128A-44B3-AF2C-900F5B61715A}"/>
              </a:ext>
            </a:extLst>
          </p:cNvPr>
          <p:cNvSpPr>
            <a:spLocks noGrp="1"/>
          </p:cNvSpPr>
          <p:nvPr>
            <p:ph type="title"/>
          </p:nvPr>
        </p:nvSpPr>
        <p:spPr>
          <a:xfrm>
            <a:off x="1075061" y="288923"/>
            <a:ext cx="9700939" cy="648000"/>
          </a:xfrm>
        </p:spPr>
        <p:txBody>
          <a:bodyPr/>
          <a:lstStyle/>
          <a:p>
            <a:r>
              <a:rPr lang="en-US">
                <a:solidFill>
                  <a:schemeClr val="bg2"/>
                </a:solidFill>
              </a:rPr>
              <a:t>Unprecedented Global Closures and Uncertainties about the Future</a:t>
            </a:r>
            <a:endParaRPr lang="de-DE">
              <a:solidFill>
                <a:schemeClr val="bg2"/>
              </a:solidFill>
            </a:endParaRPr>
          </a:p>
        </p:txBody>
      </p:sp>
      <p:pic>
        <p:nvPicPr>
          <p:cNvPr id="99" name="Picture 7">
            <a:extLst>
              <a:ext uri="{FF2B5EF4-FFF2-40B4-BE49-F238E27FC236}">
                <a16:creationId xmlns:a16="http://schemas.microsoft.com/office/drawing/2014/main" id="{EA8D29EB-F9A4-4241-BB4B-A0B8B79B9790}"/>
              </a:ext>
            </a:extLst>
          </p:cNvPr>
          <p:cNvPicPr>
            <a:picLocks noChangeAspect="1" noChangeArrowheads="1"/>
          </p:cNvPicPr>
          <p:nvPr/>
        </p:nvPicPr>
        <p:blipFill>
          <a:blip r:embed="rId44" cstate="print">
            <a:extLst>
              <a:ext uri="{28A0092B-C50C-407E-A947-70E740481C1C}">
                <a14:useLocalDpi xmlns:a14="http://schemas.microsoft.com/office/drawing/2010/main"/>
              </a:ext>
            </a:extLst>
          </a:blip>
          <a:srcRect/>
          <a:stretch>
            <a:fillRect/>
          </a:stretch>
        </p:blipFill>
        <p:spPr bwMode="gray">
          <a:xfrm>
            <a:off x="9128589" y="6101405"/>
            <a:ext cx="450000" cy="302688"/>
          </a:xfrm>
          <a:prstGeom prst="rect">
            <a:avLst/>
          </a:prstGeom>
          <a:noFill/>
          <a:ln w="9525">
            <a:noFill/>
            <a:miter lim="800000"/>
            <a:headEnd/>
            <a:tailEnd/>
          </a:ln>
          <a:effectLst/>
        </p:spPr>
      </p:pic>
      <p:sp>
        <p:nvSpPr>
          <p:cNvPr id="100" name="TextBox 84">
            <a:extLst>
              <a:ext uri="{FF2B5EF4-FFF2-40B4-BE49-F238E27FC236}">
                <a16:creationId xmlns:a16="http://schemas.microsoft.com/office/drawing/2014/main" id="{9E887E08-FBE0-4B4B-92FB-B3FE17BB9D70}"/>
              </a:ext>
            </a:extLst>
          </p:cNvPr>
          <p:cNvSpPr txBox="1"/>
          <p:nvPr/>
        </p:nvSpPr>
        <p:spPr>
          <a:xfrm>
            <a:off x="9681979" y="6125655"/>
            <a:ext cx="2250638" cy="372348"/>
          </a:xfrm>
          <a:prstGeom prst="rect">
            <a:avLst/>
          </a:prstGeom>
          <a:noFill/>
        </p:spPr>
        <p:txBody>
          <a:bodyPr wrap="square" lIns="72000" tIns="0" rIns="0" bIns="0" rtlCol="0">
            <a:noAutofit/>
          </a:bodyPr>
          <a:lstStyle/>
          <a:p>
            <a:pPr marL="0" marR="0" lvl="0" indent="0" algn="l" defTabSz="914400" rtl="0" eaLnBrk="1" fontAlgn="auto" latinLnBrk="0" hangingPunct="1">
              <a:lnSpc>
                <a:spcPct val="125000"/>
              </a:lnSpc>
              <a:spcBef>
                <a:spcPts val="0"/>
              </a:spcBef>
              <a:spcAft>
                <a:spcPts val="0"/>
              </a:spcAft>
              <a:buClr>
                <a:srgbClr val="E55A00"/>
              </a:buClr>
              <a:buSzTx/>
              <a:buFontTx/>
              <a:buNone/>
              <a:tabLst/>
              <a:defRPr/>
            </a:pPr>
            <a:r>
              <a:rPr kumimoji="0" lang="en-US" sz="1100" b="0" i="0" u="none" strike="noStrike" kern="1200" cap="none" spc="0" normalizeH="0" baseline="0" noProof="0">
                <a:ln>
                  <a:noFill/>
                </a:ln>
                <a:solidFill>
                  <a:srgbClr val="414549"/>
                </a:solidFill>
                <a:effectLst/>
                <a:uLnTx/>
                <a:uFillTx/>
                <a:latin typeface="Lato"/>
                <a:ea typeface="+mn-ea"/>
                <a:cs typeface="+mn-cs"/>
              </a:rPr>
              <a:t>30</a:t>
            </a:r>
            <a:r>
              <a:rPr kumimoji="0" lang="en-US" sz="1100" b="0" i="0" u="none" strike="noStrike" kern="1200" cap="none" spc="0" normalizeH="0" baseline="30000" noProof="0" err="1">
                <a:ln>
                  <a:noFill/>
                </a:ln>
                <a:solidFill>
                  <a:srgbClr val="414549"/>
                </a:solidFill>
                <a:effectLst/>
                <a:uLnTx/>
                <a:uFillTx/>
                <a:latin typeface="Lato"/>
                <a:ea typeface="+mn-ea"/>
                <a:cs typeface="+mn-cs"/>
              </a:rPr>
              <a:t>th</a:t>
            </a:r>
            <a:r>
              <a:rPr kumimoji="0" lang="en-US" sz="1100" b="0" i="0" u="none" strike="noStrike" kern="1200" cap="none" spc="0" normalizeH="0" baseline="0" noProof="0">
                <a:ln>
                  <a:noFill/>
                </a:ln>
                <a:solidFill>
                  <a:srgbClr val="414549"/>
                </a:solidFill>
                <a:effectLst/>
                <a:uLnTx/>
                <a:uFillTx/>
                <a:latin typeface="Lato"/>
                <a:ea typeface="+mn-ea"/>
                <a:cs typeface="+mn-cs"/>
              </a:rPr>
              <a:t> of March</a:t>
            </a:r>
            <a:endParaRPr kumimoji="0" lang="en-US" sz="1400" b="0" i="0" u="none" strike="noStrike" kern="1200" cap="none" spc="0" normalizeH="0" baseline="0" noProof="0">
              <a:ln>
                <a:noFill/>
              </a:ln>
              <a:solidFill>
                <a:srgbClr val="414549"/>
              </a:solidFill>
              <a:effectLst/>
              <a:uLnTx/>
              <a:uFillTx/>
              <a:latin typeface="Lato"/>
              <a:ea typeface="+mn-ea"/>
              <a:cs typeface="+mn-cs"/>
            </a:endParaRPr>
          </a:p>
        </p:txBody>
      </p:sp>
    </p:spTree>
    <p:extLst>
      <p:ext uri="{BB962C8B-B14F-4D97-AF65-F5344CB8AC3E}">
        <p14:creationId xmlns:p14="http://schemas.microsoft.com/office/powerpoint/2010/main" val="28267464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2043403" y="4600376"/>
            <a:ext cx="9121013" cy="1275895"/>
          </a:xfrm>
        </p:spPr>
        <p:txBody>
          <a:bodyPr/>
          <a:lstStyle/>
          <a:p>
            <a:r>
              <a:rPr lang="en-GB" sz="2800" i="1"/>
              <a:t>Economic crisis is the concern #1 in majority of European countries</a:t>
            </a:r>
          </a:p>
        </p:txBody>
      </p:sp>
      <p:cxnSp>
        <p:nvCxnSpPr>
          <p:cNvPr id="9" name="Straight Connector 8"/>
          <p:cNvCxnSpPr>
            <a:cxnSpLocks/>
          </p:cNvCxnSpPr>
          <p:nvPr/>
        </p:nvCxnSpPr>
        <p:spPr>
          <a:xfrm>
            <a:off x="1396616" y="4272385"/>
            <a:ext cx="9121013" cy="0"/>
          </a:xfrm>
          <a:prstGeom prst="line">
            <a:avLst/>
          </a:prstGeom>
          <a:ln w="19050">
            <a:solidFill>
              <a:schemeClr val="tx2"/>
            </a:solidFill>
            <a:tailEnd type="none"/>
          </a:ln>
        </p:spPr>
        <p:style>
          <a:lnRef idx="1">
            <a:schemeClr val="accent1"/>
          </a:lnRef>
          <a:fillRef idx="0">
            <a:schemeClr val="accent1"/>
          </a:fillRef>
          <a:effectRef idx="0">
            <a:schemeClr val="accent1"/>
          </a:effectRef>
          <a:fontRef idx="minor">
            <a:schemeClr val="tx1"/>
          </a:fontRef>
        </p:style>
      </p:cxnSp>
      <p:sp>
        <p:nvSpPr>
          <p:cNvPr id="8" name="Titel 1">
            <a:extLst>
              <a:ext uri="{FF2B5EF4-FFF2-40B4-BE49-F238E27FC236}">
                <a16:creationId xmlns:a16="http://schemas.microsoft.com/office/drawing/2014/main" id="{2D608A44-C54A-4065-A75C-5633065498DB}"/>
              </a:ext>
            </a:extLst>
          </p:cNvPr>
          <p:cNvSpPr txBox="1">
            <a:spLocks/>
          </p:cNvSpPr>
          <p:nvPr/>
        </p:nvSpPr>
        <p:spPr bwMode="gray">
          <a:xfrm>
            <a:off x="911424" y="5437611"/>
            <a:ext cx="9121013" cy="713124"/>
          </a:xfrm>
          <a:prstGeom prst="rect">
            <a:avLst/>
          </a:prstGeom>
        </p:spPr>
        <p:txBody>
          <a:bodyPr vert="horz" lIns="0" tIns="24000" rIns="0" bIns="0" rtlCol="0" anchor="b" anchorCtr="0">
            <a:noAutofit/>
          </a:bodyPr>
          <a:lstStyle>
            <a:lvl1pPr algn="l" defTabSz="914400" rtl="0" eaLnBrk="1" latinLnBrk="0" hangingPunct="1">
              <a:spcBef>
                <a:spcPct val="0"/>
              </a:spcBef>
              <a:buNone/>
              <a:defRPr lang="de-DE" sz="3600" kern="1200" cap="none" baseline="0">
                <a:solidFill>
                  <a:schemeClr val="bg1"/>
                </a:solidFill>
                <a:latin typeface="Arial" pitchFamily="34" charset="0"/>
                <a:ea typeface="+mn-ea"/>
                <a:cs typeface="+mn-cs"/>
              </a:defRPr>
            </a:lvl1pPr>
          </a:lstStyle>
          <a:p>
            <a:pPr marL="0" marR="0" lvl="0" indent="0" algn="r" defTabSz="1219170" rtl="0" eaLnBrk="1" fontAlgn="auto" latinLnBrk="0" hangingPunct="1">
              <a:lnSpc>
                <a:spcPct val="100000"/>
              </a:lnSpc>
              <a:spcBef>
                <a:spcPct val="0"/>
              </a:spcBef>
              <a:spcAft>
                <a:spcPts val="0"/>
              </a:spcAft>
              <a:buClrTx/>
              <a:buSzTx/>
              <a:buFontTx/>
              <a:buNone/>
              <a:tabLst/>
              <a:defRPr/>
            </a:pPr>
            <a:endParaRPr kumimoji="0" lang="en-GB" sz="3733" b="1" i="0" u="none" strike="noStrike" kern="1200" cap="none" spc="0" normalizeH="0" baseline="0" noProof="0">
              <a:ln>
                <a:noFill/>
              </a:ln>
              <a:solidFill>
                <a:srgbClr val="FFFFFF"/>
              </a:solidFill>
              <a:effectLst/>
              <a:uLnTx/>
              <a:uFillTx/>
              <a:latin typeface="Lato Light"/>
              <a:ea typeface="+mn-ea"/>
              <a:cs typeface="+mn-cs"/>
            </a:endParaRPr>
          </a:p>
        </p:txBody>
      </p:sp>
      <p:sp>
        <p:nvSpPr>
          <p:cNvPr id="4" name="Slide Number Placeholder 3">
            <a:extLst>
              <a:ext uri="{FF2B5EF4-FFF2-40B4-BE49-F238E27FC236}">
                <a16:creationId xmlns:a16="http://schemas.microsoft.com/office/drawing/2014/main" id="{A6DB0EE2-70C3-4298-AFD9-D236FF079D96}"/>
              </a:ext>
            </a:extLst>
          </p:cNvPr>
          <p:cNvSpPr>
            <a:spLocks noGrp="1"/>
          </p:cNvSpPr>
          <p:nvPr>
            <p:ph type="sldNum" sz="quarter" idx="16"/>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F3E29E4-0979-4FCA-B4C5-5FC6044C982A}" type="slidenum">
              <a:rPr kumimoji="0" lang="en-GB" sz="800" b="0" i="0" u="none" strike="noStrike" kern="1200" cap="none" spc="0" normalizeH="0" baseline="0" noProof="0" smtClean="0">
                <a:ln>
                  <a:noFill/>
                </a:ln>
                <a:solidFill>
                  <a:srgbClr val="FFFFFF"/>
                </a:solidFill>
                <a:effectLst/>
                <a:uLnTx/>
                <a:uFillTx/>
                <a:latin typeface="Lato"/>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GB" sz="800" b="0" i="0" u="none" strike="noStrike" kern="1200" cap="none" spc="0" normalizeH="0" baseline="0" noProof="0">
              <a:ln>
                <a:noFill/>
              </a:ln>
              <a:solidFill>
                <a:srgbClr val="FFFFFF"/>
              </a:solidFill>
              <a:effectLst/>
              <a:uLnTx/>
              <a:uFillTx/>
              <a:latin typeface="Lato"/>
              <a:ea typeface="+mn-ea"/>
              <a:cs typeface="+mn-cs"/>
            </a:endParaRPr>
          </a:p>
        </p:txBody>
      </p:sp>
      <p:sp>
        <p:nvSpPr>
          <p:cNvPr id="13" name="Rechteck 3">
            <a:extLst>
              <a:ext uri="{FF2B5EF4-FFF2-40B4-BE49-F238E27FC236}">
                <a16:creationId xmlns:a16="http://schemas.microsoft.com/office/drawing/2014/main" id="{2BB64084-B5DA-4F12-BA54-A1A4225A2057}"/>
              </a:ext>
            </a:extLst>
          </p:cNvPr>
          <p:cNvSpPr/>
          <p:nvPr/>
        </p:nvSpPr>
        <p:spPr>
          <a:xfrm>
            <a:off x="1230011" y="3072056"/>
            <a:ext cx="10402357" cy="1200329"/>
          </a:xfrm>
          <a:prstGeom prst="rect">
            <a:avLst/>
          </a:prstGeom>
        </p:spPr>
        <p:txBody>
          <a:bodyPr wrap="square">
            <a:spAutoFit/>
          </a:bodyPr>
          <a:lstStyle/>
          <a:p>
            <a:pPr marL="0" marR="0" lvl="0" indent="0" algn="l" defTabSz="914400" rtl="0" eaLnBrk="1" fontAlgn="auto" latinLnBrk="0" hangingPunct="1">
              <a:lnSpc>
                <a:spcPct val="100000"/>
              </a:lnSpc>
              <a:spcBef>
                <a:spcPts val="400"/>
              </a:spcBef>
              <a:spcAft>
                <a:spcPts val="0"/>
              </a:spcAft>
              <a:buClrTx/>
              <a:buSzTx/>
              <a:buFontTx/>
              <a:buNone/>
              <a:tabLst/>
              <a:defRPr/>
            </a:pPr>
            <a:r>
              <a:rPr kumimoji="0" lang="en-US" sz="3600" b="0" i="0" u="none" strike="noStrike" kern="1200" cap="none" spc="0" normalizeH="0" baseline="0" noProof="0">
                <a:ln>
                  <a:noFill/>
                </a:ln>
                <a:solidFill>
                  <a:srgbClr val="E55A00"/>
                </a:solidFill>
                <a:effectLst/>
                <a:uLnTx/>
                <a:uFillTx/>
                <a:latin typeface="Lato"/>
                <a:ea typeface="+mn-ea"/>
                <a:cs typeface="+mn-cs"/>
              </a:rPr>
              <a:t>The concern around the economic situation is growing.</a:t>
            </a:r>
            <a:endParaRPr kumimoji="0" lang="en-US" sz="3600" b="0" i="0" u="none" strike="noStrike" kern="1200" cap="none" spc="0" normalizeH="0" baseline="0" noProof="0">
              <a:ln>
                <a:noFill/>
              </a:ln>
              <a:solidFill>
                <a:srgbClr val="E55A00"/>
              </a:solidFill>
              <a:effectLst/>
              <a:uLnTx/>
              <a:uFillTx/>
              <a:latin typeface="Lato Light"/>
              <a:ea typeface="+mn-ea"/>
              <a:cs typeface="Arial" pitchFamily="34" charset="0"/>
            </a:endParaRPr>
          </a:p>
        </p:txBody>
      </p:sp>
      <p:sp>
        <p:nvSpPr>
          <p:cNvPr id="27" name="Freeform 26">
            <a:extLst>
              <a:ext uri="{FF2B5EF4-FFF2-40B4-BE49-F238E27FC236}">
                <a16:creationId xmlns:a16="http://schemas.microsoft.com/office/drawing/2014/main" id="{DF802F8E-565C-4EC9-AED5-AD8BBD7336ED}"/>
              </a:ext>
            </a:extLst>
          </p:cNvPr>
          <p:cNvSpPr>
            <a:spLocks noChangeAspect="1" noEditPoints="1"/>
          </p:cNvSpPr>
          <p:nvPr>
            <p:custDataLst>
              <p:tags r:id="rId1"/>
            </p:custDataLst>
          </p:nvPr>
        </p:nvSpPr>
        <p:spPr bwMode="gray">
          <a:xfrm>
            <a:off x="1424607" y="4696038"/>
            <a:ext cx="467999" cy="360000"/>
          </a:xfrm>
          <a:custGeom>
            <a:avLst/>
            <a:gdLst>
              <a:gd name="T0" fmla="*/ 1120 w 1440"/>
              <a:gd name="T1" fmla="*/ 640 h 1120"/>
              <a:gd name="T2" fmla="*/ 920 w 1440"/>
              <a:gd name="T3" fmla="*/ 640 h 1120"/>
              <a:gd name="T4" fmla="*/ 800 w 1440"/>
              <a:gd name="T5" fmla="*/ 520 h 1120"/>
              <a:gd name="T6" fmla="*/ 800 w 1440"/>
              <a:gd name="T7" fmla="*/ 120 h 1120"/>
              <a:gd name="T8" fmla="*/ 920 w 1440"/>
              <a:gd name="T9" fmla="*/ 0 h 1120"/>
              <a:gd name="T10" fmla="*/ 1320 w 1440"/>
              <a:gd name="T11" fmla="*/ 0 h 1120"/>
              <a:gd name="T12" fmla="*/ 1440 w 1440"/>
              <a:gd name="T13" fmla="*/ 120 h 1120"/>
              <a:gd name="T14" fmla="*/ 1440 w 1440"/>
              <a:gd name="T15" fmla="*/ 640 h 1120"/>
              <a:gd name="T16" fmla="*/ 960 w 1440"/>
              <a:gd name="T17" fmla="*/ 1120 h 1120"/>
              <a:gd name="T18" fmla="*/ 880 w 1440"/>
              <a:gd name="T19" fmla="*/ 1120 h 1120"/>
              <a:gd name="T20" fmla="*/ 880 w 1440"/>
              <a:gd name="T21" fmla="*/ 800 h 1120"/>
              <a:gd name="T22" fmla="*/ 960 w 1440"/>
              <a:gd name="T23" fmla="*/ 800 h 1120"/>
              <a:gd name="T24" fmla="*/ 1120 w 1440"/>
              <a:gd name="T25" fmla="*/ 640 h 1120"/>
              <a:gd name="T26" fmla="*/ 320 w 1440"/>
              <a:gd name="T27" fmla="*/ 640 h 1120"/>
              <a:gd name="T28" fmla="*/ 120 w 1440"/>
              <a:gd name="T29" fmla="*/ 640 h 1120"/>
              <a:gd name="T30" fmla="*/ 0 w 1440"/>
              <a:gd name="T31" fmla="*/ 520 h 1120"/>
              <a:gd name="T32" fmla="*/ 0 w 1440"/>
              <a:gd name="T33" fmla="*/ 120 h 1120"/>
              <a:gd name="T34" fmla="*/ 120 w 1440"/>
              <a:gd name="T35" fmla="*/ 0 h 1120"/>
              <a:gd name="T36" fmla="*/ 520 w 1440"/>
              <a:gd name="T37" fmla="*/ 0 h 1120"/>
              <a:gd name="T38" fmla="*/ 640 w 1440"/>
              <a:gd name="T39" fmla="*/ 120 h 1120"/>
              <a:gd name="T40" fmla="*/ 640 w 1440"/>
              <a:gd name="T41" fmla="*/ 640 h 1120"/>
              <a:gd name="T42" fmla="*/ 160 w 1440"/>
              <a:gd name="T43" fmla="*/ 1120 h 1120"/>
              <a:gd name="T44" fmla="*/ 80 w 1440"/>
              <a:gd name="T45" fmla="*/ 1120 h 1120"/>
              <a:gd name="T46" fmla="*/ 80 w 1440"/>
              <a:gd name="T47" fmla="*/ 800 h 1120"/>
              <a:gd name="T48" fmla="*/ 160 w 1440"/>
              <a:gd name="T49" fmla="*/ 800 h 1120"/>
              <a:gd name="T50" fmla="*/ 320 w 1440"/>
              <a:gd name="T51" fmla="*/ 640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440" h="1120">
                <a:moveTo>
                  <a:pt x="1120" y="640"/>
                </a:moveTo>
                <a:cubicBezTo>
                  <a:pt x="920" y="640"/>
                  <a:pt x="920" y="640"/>
                  <a:pt x="920" y="640"/>
                </a:cubicBezTo>
                <a:cubicBezTo>
                  <a:pt x="854" y="640"/>
                  <a:pt x="800" y="586"/>
                  <a:pt x="800" y="520"/>
                </a:cubicBezTo>
                <a:cubicBezTo>
                  <a:pt x="800" y="120"/>
                  <a:pt x="800" y="120"/>
                  <a:pt x="800" y="120"/>
                </a:cubicBezTo>
                <a:cubicBezTo>
                  <a:pt x="800" y="54"/>
                  <a:pt x="854" y="0"/>
                  <a:pt x="920" y="0"/>
                </a:cubicBezTo>
                <a:cubicBezTo>
                  <a:pt x="1320" y="0"/>
                  <a:pt x="1320" y="0"/>
                  <a:pt x="1320" y="0"/>
                </a:cubicBezTo>
                <a:cubicBezTo>
                  <a:pt x="1386" y="0"/>
                  <a:pt x="1440" y="54"/>
                  <a:pt x="1440" y="120"/>
                </a:cubicBezTo>
                <a:cubicBezTo>
                  <a:pt x="1440" y="640"/>
                  <a:pt x="1440" y="640"/>
                  <a:pt x="1440" y="640"/>
                </a:cubicBezTo>
                <a:cubicBezTo>
                  <a:pt x="1440" y="905"/>
                  <a:pt x="1225" y="1120"/>
                  <a:pt x="960" y="1120"/>
                </a:cubicBezTo>
                <a:cubicBezTo>
                  <a:pt x="880" y="1120"/>
                  <a:pt x="880" y="1120"/>
                  <a:pt x="880" y="1120"/>
                </a:cubicBezTo>
                <a:cubicBezTo>
                  <a:pt x="880" y="800"/>
                  <a:pt x="880" y="800"/>
                  <a:pt x="880" y="800"/>
                </a:cubicBezTo>
                <a:cubicBezTo>
                  <a:pt x="960" y="800"/>
                  <a:pt x="960" y="800"/>
                  <a:pt x="960" y="800"/>
                </a:cubicBezTo>
                <a:cubicBezTo>
                  <a:pt x="1048" y="800"/>
                  <a:pt x="1120" y="728"/>
                  <a:pt x="1120" y="640"/>
                </a:cubicBezTo>
                <a:close/>
                <a:moveTo>
                  <a:pt x="320" y="640"/>
                </a:moveTo>
                <a:cubicBezTo>
                  <a:pt x="120" y="640"/>
                  <a:pt x="120" y="640"/>
                  <a:pt x="120" y="640"/>
                </a:cubicBezTo>
                <a:cubicBezTo>
                  <a:pt x="54" y="640"/>
                  <a:pt x="0" y="586"/>
                  <a:pt x="0" y="520"/>
                </a:cubicBezTo>
                <a:cubicBezTo>
                  <a:pt x="0" y="120"/>
                  <a:pt x="0" y="120"/>
                  <a:pt x="0" y="120"/>
                </a:cubicBezTo>
                <a:cubicBezTo>
                  <a:pt x="0" y="54"/>
                  <a:pt x="54" y="0"/>
                  <a:pt x="120" y="0"/>
                </a:cubicBezTo>
                <a:cubicBezTo>
                  <a:pt x="520" y="0"/>
                  <a:pt x="520" y="0"/>
                  <a:pt x="520" y="0"/>
                </a:cubicBezTo>
                <a:cubicBezTo>
                  <a:pt x="586" y="0"/>
                  <a:pt x="640" y="54"/>
                  <a:pt x="640" y="120"/>
                </a:cubicBezTo>
                <a:cubicBezTo>
                  <a:pt x="640" y="640"/>
                  <a:pt x="640" y="640"/>
                  <a:pt x="640" y="640"/>
                </a:cubicBezTo>
                <a:cubicBezTo>
                  <a:pt x="640" y="905"/>
                  <a:pt x="425" y="1120"/>
                  <a:pt x="160" y="1120"/>
                </a:cubicBezTo>
                <a:cubicBezTo>
                  <a:pt x="80" y="1120"/>
                  <a:pt x="80" y="1120"/>
                  <a:pt x="80" y="1120"/>
                </a:cubicBezTo>
                <a:cubicBezTo>
                  <a:pt x="80" y="800"/>
                  <a:pt x="80" y="800"/>
                  <a:pt x="80" y="800"/>
                </a:cubicBezTo>
                <a:cubicBezTo>
                  <a:pt x="160" y="800"/>
                  <a:pt x="160" y="800"/>
                  <a:pt x="160" y="800"/>
                </a:cubicBezTo>
                <a:cubicBezTo>
                  <a:pt x="248" y="800"/>
                  <a:pt x="320" y="728"/>
                  <a:pt x="320" y="640"/>
                </a:cubicBezTo>
                <a:close/>
              </a:path>
            </a:pathLst>
          </a:custGeom>
          <a:solidFill>
            <a:schemeClr val="bg1"/>
          </a:solidFill>
          <a:ln>
            <a:noFill/>
          </a:ln>
        </p:spPr>
        <p:txBody>
          <a:bodyPr vert="horz" wrap="square" lIns="0" tIns="45720" rIns="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srgbClr val="FFFFFF"/>
              </a:solidFill>
              <a:effectLst/>
              <a:uLnTx/>
              <a:uFillTx/>
              <a:latin typeface="Lato"/>
              <a:ea typeface="+mn-ea"/>
              <a:cs typeface="+mn-cs"/>
            </a:endParaRPr>
          </a:p>
        </p:txBody>
      </p:sp>
    </p:spTree>
    <p:extLst>
      <p:ext uri="{BB962C8B-B14F-4D97-AF65-F5344CB8AC3E}">
        <p14:creationId xmlns:p14="http://schemas.microsoft.com/office/powerpoint/2010/main" val="40782667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abella 23">
            <a:extLst>
              <a:ext uri="{FF2B5EF4-FFF2-40B4-BE49-F238E27FC236}">
                <a16:creationId xmlns:a16="http://schemas.microsoft.com/office/drawing/2014/main" id="{5E938805-E919-4AE8-820C-83EF7DD4DFEF}"/>
              </a:ext>
            </a:extLst>
          </p:cNvPr>
          <p:cNvGraphicFramePr>
            <a:graphicFrameLocks noGrp="1"/>
          </p:cNvGraphicFramePr>
          <p:nvPr/>
        </p:nvGraphicFramePr>
        <p:xfrm>
          <a:off x="655086" y="2274368"/>
          <a:ext cx="10905126" cy="3943625"/>
        </p:xfrm>
        <a:graphic>
          <a:graphicData uri="http://schemas.openxmlformats.org/drawingml/2006/table">
            <a:tbl>
              <a:tblPr bandRow="1">
                <a:tableStyleId>{F5AB1C69-6EDB-4FF4-983F-18BD219EF322}</a:tableStyleId>
              </a:tblPr>
              <a:tblGrid>
                <a:gridCol w="5403732">
                  <a:extLst>
                    <a:ext uri="{9D8B030D-6E8A-4147-A177-3AD203B41FA5}">
                      <a16:colId xmlns:a16="http://schemas.microsoft.com/office/drawing/2014/main" val="746930407"/>
                    </a:ext>
                  </a:extLst>
                </a:gridCol>
                <a:gridCol w="916899">
                  <a:extLst>
                    <a:ext uri="{9D8B030D-6E8A-4147-A177-3AD203B41FA5}">
                      <a16:colId xmlns:a16="http://schemas.microsoft.com/office/drawing/2014/main" val="1741414015"/>
                    </a:ext>
                  </a:extLst>
                </a:gridCol>
                <a:gridCol w="916899">
                  <a:extLst>
                    <a:ext uri="{9D8B030D-6E8A-4147-A177-3AD203B41FA5}">
                      <a16:colId xmlns:a16="http://schemas.microsoft.com/office/drawing/2014/main" val="735757809"/>
                    </a:ext>
                  </a:extLst>
                </a:gridCol>
                <a:gridCol w="916899">
                  <a:extLst>
                    <a:ext uri="{9D8B030D-6E8A-4147-A177-3AD203B41FA5}">
                      <a16:colId xmlns:a16="http://schemas.microsoft.com/office/drawing/2014/main" val="3070378109"/>
                    </a:ext>
                  </a:extLst>
                </a:gridCol>
                <a:gridCol w="916899">
                  <a:extLst>
                    <a:ext uri="{9D8B030D-6E8A-4147-A177-3AD203B41FA5}">
                      <a16:colId xmlns:a16="http://schemas.microsoft.com/office/drawing/2014/main" val="1379386221"/>
                    </a:ext>
                  </a:extLst>
                </a:gridCol>
                <a:gridCol w="916899">
                  <a:extLst>
                    <a:ext uri="{9D8B030D-6E8A-4147-A177-3AD203B41FA5}">
                      <a16:colId xmlns:a16="http://schemas.microsoft.com/office/drawing/2014/main" val="3552939188"/>
                    </a:ext>
                  </a:extLst>
                </a:gridCol>
                <a:gridCol w="916899">
                  <a:extLst>
                    <a:ext uri="{9D8B030D-6E8A-4147-A177-3AD203B41FA5}">
                      <a16:colId xmlns:a16="http://schemas.microsoft.com/office/drawing/2014/main" val="3044920416"/>
                    </a:ext>
                  </a:extLst>
                </a:gridCol>
              </a:tblGrid>
              <a:tr h="303683">
                <a:tc>
                  <a:txBody>
                    <a:bodyPr/>
                    <a:lstStyle/>
                    <a:p>
                      <a:pPr algn="l" rtl="0" fontAlgn="b"/>
                      <a:endParaRPr lang="it-IT" sz="2000" b="1" i="0" u="none" strike="noStrike">
                        <a:solidFill>
                          <a:srgbClr val="85280F"/>
                        </a:solidFill>
                        <a:effectLst/>
                        <a:latin typeface="Lato" panose="020F0502020204030203" pitchFamily="34" charset="0"/>
                      </a:endParaRPr>
                    </a:p>
                  </a:txBody>
                  <a:tcPr marL="7620" marR="7620" marT="7620" marB="0" anchor="b">
                    <a:lnR w="12700" cap="flat" cmpd="sng" algn="ctr">
                      <a:solidFill>
                        <a:schemeClr val="tx1"/>
                      </a:solidFill>
                      <a:prstDash val="solid"/>
                      <a:round/>
                      <a:headEnd type="none" w="med" len="med"/>
                      <a:tailEnd type="none" w="med" len="med"/>
                    </a:lnR>
                  </a:tcPr>
                </a:tc>
                <a:tc>
                  <a:txBody>
                    <a:bodyPr/>
                    <a:lstStyle/>
                    <a:p>
                      <a:pPr algn="ctr" rtl="0" fontAlgn="b"/>
                      <a:r>
                        <a:rPr lang="it-IT" sz="1400" b="1" i="0" u="none" strike="noStrike">
                          <a:solidFill>
                            <a:schemeClr val="tx1"/>
                          </a:solidFill>
                          <a:effectLst/>
                          <a:latin typeface="Lato" panose="020F0502020204030203" pitchFamily="34" charset="0"/>
                        </a:rPr>
                        <a:t>Rank</a:t>
                      </a:r>
                    </a:p>
                  </a:txBody>
                  <a:tcPr marL="7620" marR="7620" marT="7620"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tcPr>
                </a:tc>
                <a:tc>
                  <a:txBody>
                    <a:bodyPr/>
                    <a:lstStyle/>
                    <a:p>
                      <a:pPr algn="ctr" rtl="0" fontAlgn="b"/>
                      <a:r>
                        <a:rPr lang="it-IT" sz="1400" b="1" i="0" u="none" strike="noStrike">
                          <a:solidFill>
                            <a:schemeClr val="tx1"/>
                          </a:solidFill>
                          <a:effectLst/>
                          <a:latin typeface="Lato" panose="020F0502020204030203" pitchFamily="34" charset="0"/>
                        </a:rPr>
                        <a:t>Rank</a:t>
                      </a:r>
                    </a:p>
                  </a:txBody>
                  <a:tcPr marL="7620" marR="7620" marT="7620" marB="0" anchor="ctr">
                    <a:lnT w="12700" cap="flat" cmpd="sng" algn="ctr">
                      <a:solidFill>
                        <a:schemeClr val="tx1"/>
                      </a:solidFill>
                      <a:prstDash val="solid"/>
                      <a:round/>
                      <a:headEnd type="none" w="med" len="med"/>
                      <a:tailEnd type="none" w="med" len="med"/>
                    </a:lnT>
                  </a:tcPr>
                </a:tc>
                <a:tc>
                  <a:txBody>
                    <a:bodyPr/>
                    <a:lstStyle/>
                    <a:p>
                      <a:pPr algn="ctr" rtl="0" fontAlgn="b"/>
                      <a:r>
                        <a:rPr lang="it-IT" sz="1400" b="1" i="0" u="none" strike="noStrike">
                          <a:solidFill>
                            <a:schemeClr val="tx1"/>
                          </a:solidFill>
                          <a:effectLst/>
                          <a:latin typeface="Lato" panose="020F0502020204030203" pitchFamily="34" charset="0"/>
                        </a:rPr>
                        <a:t>Rank</a:t>
                      </a:r>
                    </a:p>
                  </a:txBody>
                  <a:tcPr marL="7620" marR="7620" marT="7620" marB="0" anchor="ctr">
                    <a:lnT w="12700" cap="flat" cmpd="sng" algn="ctr">
                      <a:solidFill>
                        <a:schemeClr val="tx1"/>
                      </a:solidFill>
                      <a:prstDash val="solid"/>
                      <a:round/>
                      <a:headEnd type="none" w="med" len="med"/>
                      <a:tailEnd type="none" w="med" len="med"/>
                    </a:lnT>
                  </a:tcPr>
                </a:tc>
                <a:tc>
                  <a:txBody>
                    <a:bodyPr/>
                    <a:lstStyle/>
                    <a:p>
                      <a:pPr algn="ctr" rtl="0" fontAlgn="b"/>
                      <a:r>
                        <a:rPr lang="it-IT" sz="1400" b="1" i="0" u="none" strike="noStrike">
                          <a:solidFill>
                            <a:schemeClr val="tx1"/>
                          </a:solidFill>
                          <a:effectLst/>
                          <a:latin typeface="Lato" panose="020F0502020204030203" pitchFamily="34" charset="0"/>
                        </a:rPr>
                        <a:t>Rank</a:t>
                      </a:r>
                    </a:p>
                  </a:txBody>
                  <a:tcPr marL="7620" marR="7620" marT="7620" marB="0" anchor="ctr">
                    <a:lnT w="12700" cap="flat" cmpd="sng" algn="ctr">
                      <a:solidFill>
                        <a:schemeClr val="tx1"/>
                      </a:solidFill>
                      <a:prstDash val="solid"/>
                      <a:round/>
                      <a:headEnd type="none" w="med" len="med"/>
                      <a:tailEnd type="none" w="med" len="med"/>
                    </a:lnT>
                  </a:tcPr>
                </a:tc>
                <a:tc>
                  <a:txBody>
                    <a:bodyPr/>
                    <a:lstStyle/>
                    <a:p>
                      <a:pPr algn="ctr" rtl="0" fontAlgn="b"/>
                      <a:r>
                        <a:rPr lang="it-IT" sz="1400" b="1" i="0" u="none" strike="noStrike">
                          <a:solidFill>
                            <a:schemeClr val="tx1"/>
                          </a:solidFill>
                          <a:effectLst/>
                          <a:latin typeface="Lato" panose="020F0502020204030203" pitchFamily="34" charset="0"/>
                        </a:rPr>
                        <a:t>Rank</a:t>
                      </a:r>
                    </a:p>
                  </a:txBody>
                  <a:tcPr marL="7620" marR="7620" marT="7620" marB="0" anchor="ctr">
                    <a:lnT w="12700" cap="flat" cmpd="sng" algn="ctr">
                      <a:solidFill>
                        <a:schemeClr val="tx1"/>
                      </a:solidFill>
                      <a:prstDash val="solid"/>
                      <a:round/>
                      <a:headEnd type="none" w="med" len="med"/>
                      <a:tailEnd type="none" w="med" len="med"/>
                    </a:lnT>
                  </a:tcPr>
                </a:tc>
                <a:tc>
                  <a:txBody>
                    <a:bodyPr/>
                    <a:lstStyle/>
                    <a:p>
                      <a:pPr algn="ctr" rtl="0" fontAlgn="b"/>
                      <a:r>
                        <a:rPr lang="it-IT" sz="1400" b="1" i="0" u="none" strike="noStrike">
                          <a:solidFill>
                            <a:schemeClr val="tx1"/>
                          </a:solidFill>
                          <a:effectLst/>
                          <a:latin typeface="Lato" panose="020F0502020204030203" pitchFamily="34" charset="0"/>
                        </a:rPr>
                        <a:t>Rank</a:t>
                      </a:r>
                    </a:p>
                  </a:txBody>
                  <a:tcPr marL="7620" marR="7620" marT="7620" marB="0" anchor="ctr">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300978964"/>
                  </a:ext>
                </a:extLst>
              </a:tr>
              <a:tr h="384130">
                <a:tc>
                  <a:txBody>
                    <a:bodyPr/>
                    <a:lstStyle/>
                    <a:p>
                      <a:pPr algn="l" rtl="0" fontAlgn="ctr"/>
                      <a:r>
                        <a:rPr lang="en-US" sz="1800" b="1" i="0" u="none" strike="noStrike" kern="1200">
                          <a:solidFill>
                            <a:srgbClr val="85280F"/>
                          </a:solidFill>
                          <a:effectLst/>
                          <a:latin typeface="Lato" panose="020F0502020204030203" pitchFamily="34" charset="0"/>
                          <a:ea typeface="+mn-ea"/>
                          <a:cs typeface="+mn-cs"/>
                        </a:rPr>
                        <a:t>The economic crisis</a:t>
                      </a:r>
                    </a:p>
                  </a:txBody>
                  <a:tcPr marL="9525" marR="9525" marT="9525" marB="0" anchor="ctr">
                    <a:lnR w="12700" cap="flat" cmpd="sng" algn="ctr">
                      <a:solidFill>
                        <a:schemeClr val="tx1"/>
                      </a:solidFill>
                      <a:prstDash val="solid"/>
                      <a:round/>
                      <a:headEnd type="none" w="med" len="med"/>
                      <a:tailEnd type="none" w="med" len="med"/>
                    </a:lnR>
                  </a:tcPr>
                </a:tc>
                <a:tc>
                  <a:txBody>
                    <a:bodyPr/>
                    <a:lstStyle/>
                    <a:p>
                      <a:pPr algn="ctr" fontAlgn="b"/>
                      <a:r>
                        <a:rPr lang="en-US" sz="1800" b="1" i="0" u="none" strike="noStrike" kern="1200">
                          <a:solidFill>
                            <a:srgbClr val="85280F"/>
                          </a:solidFill>
                          <a:effectLst/>
                          <a:latin typeface="Lato" panose="020F0502020204030203" pitchFamily="34" charset="0"/>
                          <a:ea typeface="+mn-ea"/>
                          <a:cs typeface="+mn-cs"/>
                        </a:rPr>
                        <a:t>#1</a:t>
                      </a:r>
                    </a:p>
                  </a:txBody>
                  <a:tcPr marL="9525" marR="9525" marT="9525" marB="0" anchor="ctr">
                    <a:lnL w="12700" cap="flat" cmpd="sng" algn="ctr">
                      <a:solidFill>
                        <a:schemeClr val="tx1"/>
                      </a:solidFill>
                      <a:prstDash val="solid"/>
                      <a:round/>
                      <a:headEnd type="none" w="med" len="med"/>
                      <a:tailEnd type="none" w="med" len="med"/>
                    </a:lnL>
                  </a:tcPr>
                </a:tc>
                <a:tc>
                  <a:txBody>
                    <a:bodyPr/>
                    <a:lstStyle/>
                    <a:p>
                      <a:pPr algn="ctr" fontAlgn="b"/>
                      <a:r>
                        <a:rPr lang="en-US" sz="1800" b="1" i="0" u="none" strike="noStrike" kern="1200">
                          <a:solidFill>
                            <a:srgbClr val="85280F"/>
                          </a:solidFill>
                          <a:effectLst/>
                          <a:latin typeface="Lato" panose="020F0502020204030203" pitchFamily="34" charset="0"/>
                          <a:ea typeface="+mn-ea"/>
                          <a:cs typeface="+mn-cs"/>
                        </a:rPr>
                        <a:t>#1</a:t>
                      </a:r>
                    </a:p>
                  </a:txBody>
                  <a:tcPr marL="9525" marR="9525" marT="9525" marB="0" anchor="ctr"/>
                </a:tc>
                <a:tc>
                  <a:txBody>
                    <a:bodyPr/>
                    <a:lstStyle/>
                    <a:p>
                      <a:pPr algn="ctr" fontAlgn="b"/>
                      <a:r>
                        <a:rPr lang="en-US" sz="1800" b="1" i="0" u="none" strike="noStrike" kern="1200">
                          <a:solidFill>
                            <a:srgbClr val="85280F"/>
                          </a:solidFill>
                          <a:effectLst/>
                          <a:latin typeface="Lato" panose="020F0502020204030203" pitchFamily="34" charset="0"/>
                          <a:ea typeface="+mn-ea"/>
                          <a:cs typeface="+mn-cs"/>
                        </a:rPr>
                        <a:t>#1</a:t>
                      </a:r>
                    </a:p>
                  </a:txBody>
                  <a:tcPr marL="9525" marR="9525" marT="9525" marB="0" anchor="ctr"/>
                </a:tc>
                <a:tc>
                  <a:txBody>
                    <a:bodyPr/>
                    <a:lstStyle/>
                    <a:p>
                      <a:pPr algn="ctr" fontAlgn="b"/>
                      <a:r>
                        <a:rPr lang="en-US" sz="1800" b="1" i="0" u="none" strike="noStrike" kern="1200">
                          <a:solidFill>
                            <a:srgbClr val="85280F"/>
                          </a:solidFill>
                          <a:effectLst/>
                          <a:latin typeface="Lato" panose="020F0502020204030203" pitchFamily="34" charset="0"/>
                          <a:ea typeface="+mn-ea"/>
                          <a:cs typeface="+mn-cs"/>
                        </a:rPr>
                        <a:t>#1</a:t>
                      </a:r>
                    </a:p>
                  </a:txBody>
                  <a:tcPr marL="9525" marR="9525" marT="9525" marB="0" anchor="ctr"/>
                </a:tc>
                <a:tc>
                  <a:txBody>
                    <a:bodyPr/>
                    <a:lstStyle/>
                    <a:p>
                      <a:pPr algn="ctr" fontAlgn="b"/>
                      <a:r>
                        <a:rPr lang="en-US" sz="1800" b="1" i="0" u="none" strike="noStrike" kern="1200">
                          <a:solidFill>
                            <a:srgbClr val="85280F"/>
                          </a:solidFill>
                          <a:effectLst/>
                          <a:latin typeface="Lato" panose="020F0502020204030203" pitchFamily="34" charset="0"/>
                          <a:ea typeface="+mn-ea"/>
                          <a:cs typeface="+mn-cs"/>
                        </a:rPr>
                        <a:t>#1</a:t>
                      </a:r>
                    </a:p>
                  </a:txBody>
                  <a:tcPr marL="9525" marR="9525" marT="9525" marB="0" anchor="ctr"/>
                </a:tc>
                <a:tc>
                  <a:txBody>
                    <a:bodyPr/>
                    <a:lstStyle/>
                    <a:p>
                      <a:pPr algn="ctr" fontAlgn="b"/>
                      <a:r>
                        <a:rPr lang="en-US" sz="1800" b="1" i="0" u="none" strike="noStrike" kern="1200">
                          <a:solidFill>
                            <a:srgbClr val="85280F"/>
                          </a:solidFill>
                          <a:effectLst/>
                          <a:latin typeface="Lato" panose="020F0502020204030203" pitchFamily="34" charset="0"/>
                          <a:ea typeface="+mn-ea"/>
                          <a:cs typeface="+mn-cs"/>
                        </a:rPr>
                        <a:t>#1</a:t>
                      </a:r>
                    </a:p>
                  </a:txBody>
                  <a:tcPr marL="9525" marR="9525" marT="9525" marB="0" anchor="ctr"/>
                </a:tc>
                <a:extLst>
                  <a:ext uri="{0D108BD9-81ED-4DB2-BD59-A6C34878D82A}">
                    <a16:rowId xmlns:a16="http://schemas.microsoft.com/office/drawing/2014/main" val="3623916061"/>
                  </a:ext>
                </a:extLst>
              </a:tr>
              <a:tr h="384130">
                <a:tc>
                  <a:txBody>
                    <a:bodyPr/>
                    <a:lstStyle/>
                    <a:p>
                      <a:pPr algn="l" rtl="0" fontAlgn="b"/>
                      <a:r>
                        <a:rPr lang="en-US" sz="1800" b="1" i="0" u="none" strike="noStrike" kern="1200">
                          <a:solidFill>
                            <a:srgbClr val="85280F"/>
                          </a:solidFill>
                          <a:effectLst/>
                          <a:latin typeface="Lato" panose="020F0502020204030203" pitchFamily="34" charset="0"/>
                          <a:ea typeface="+mn-ea"/>
                          <a:cs typeface="+mn-cs"/>
                        </a:rPr>
                        <a:t>Corona Virus</a:t>
                      </a:r>
                    </a:p>
                  </a:txBody>
                  <a:tcPr marL="9525" marR="9525" marT="9525" marB="0" anchor="ctr">
                    <a:lnR w="12700" cap="flat" cmpd="sng" algn="ctr">
                      <a:solidFill>
                        <a:schemeClr val="tx1"/>
                      </a:solidFill>
                      <a:prstDash val="solid"/>
                      <a:round/>
                      <a:headEnd type="none" w="med" len="med"/>
                      <a:tailEnd type="none" w="med" len="med"/>
                    </a:lnR>
                  </a:tcPr>
                </a:tc>
                <a:tc>
                  <a:txBody>
                    <a:bodyPr/>
                    <a:lstStyle/>
                    <a:p>
                      <a:pPr algn="ctr" fontAlgn="b"/>
                      <a:r>
                        <a:rPr lang="en-US" sz="1800" b="1" i="0" u="none" strike="noStrike" kern="1200">
                          <a:solidFill>
                            <a:srgbClr val="85280F"/>
                          </a:solidFill>
                          <a:effectLst/>
                          <a:latin typeface="Lato" panose="020F0502020204030203" pitchFamily="34" charset="0"/>
                          <a:ea typeface="+mn-ea"/>
                          <a:cs typeface="+mn-cs"/>
                        </a:rPr>
                        <a:t>#3</a:t>
                      </a:r>
                    </a:p>
                  </a:txBody>
                  <a:tcPr marL="9525" marR="9525" marT="9525" marB="0" anchor="ctr">
                    <a:lnL w="12700" cap="flat" cmpd="sng" algn="ctr">
                      <a:solidFill>
                        <a:schemeClr val="tx1"/>
                      </a:solidFill>
                      <a:prstDash val="solid"/>
                      <a:round/>
                      <a:headEnd type="none" w="med" len="med"/>
                      <a:tailEnd type="none" w="med" len="med"/>
                    </a:lnL>
                  </a:tcPr>
                </a:tc>
                <a:tc>
                  <a:txBody>
                    <a:bodyPr/>
                    <a:lstStyle/>
                    <a:p>
                      <a:pPr algn="ctr" fontAlgn="b"/>
                      <a:r>
                        <a:rPr lang="en-US" sz="1800" b="1" i="0" u="none" strike="noStrike" kern="1200">
                          <a:solidFill>
                            <a:srgbClr val="85280F"/>
                          </a:solidFill>
                          <a:effectLst/>
                          <a:latin typeface="Lato" panose="020F0502020204030203" pitchFamily="34" charset="0"/>
                          <a:ea typeface="+mn-ea"/>
                          <a:cs typeface="+mn-cs"/>
                        </a:rPr>
                        <a:t>#2</a:t>
                      </a:r>
                    </a:p>
                  </a:txBody>
                  <a:tcPr marL="9525" marR="9525" marT="9525" marB="0" anchor="ctr"/>
                </a:tc>
                <a:tc>
                  <a:txBody>
                    <a:bodyPr/>
                    <a:lstStyle/>
                    <a:p>
                      <a:pPr algn="ctr" fontAlgn="b"/>
                      <a:r>
                        <a:rPr lang="en-US" sz="1800" b="1" i="0" u="none" strike="noStrike" kern="1200">
                          <a:solidFill>
                            <a:srgbClr val="85280F"/>
                          </a:solidFill>
                          <a:effectLst/>
                          <a:latin typeface="Lato" panose="020F0502020204030203" pitchFamily="34" charset="0"/>
                          <a:ea typeface="+mn-ea"/>
                          <a:cs typeface="+mn-cs"/>
                        </a:rPr>
                        <a:t>#2</a:t>
                      </a:r>
                    </a:p>
                  </a:txBody>
                  <a:tcPr marL="9525" marR="9525" marT="9525" marB="0" anchor="ctr"/>
                </a:tc>
                <a:tc>
                  <a:txBody>
                    <a:bodyPr/>
                    <a:lstStyle/>
                    <a:p>
                      <a:pPr algn="ctr" fontAlgn="b"/>
                      <a:r>
                        <a:rPr lang="en-US" sz="1800" b="1" i="0" u="none" strike="noStrike" kern="1200">
                          <a:solidFill>
                            <a:srgbClr val="85280F"/>
                          </a:solidFill>
                          <a:effectLst/>
                          <a:latin typeface="Lato" panose="020F0502020204030203" pitchFamily="34" charset="0"/>
                          <a:ea typeface="+mn-ea"/>
                          <a:cs typeface="+mn-cs"/>
                        </a:rPr>
                        <a:t>#2</a:t>
                      </a:r>
                    </a:p>
                  </a:txBody>
                  <a:tcPr marL="9525" marR="9525" marT="9525" marB="0" anchor="ctr"/>
                </a:tc>
                <a:tc>
                  <a:txBody>
                    <a:bodyPr/>
                    <a:lstStyle/>
                    <a:p>
                      <a:pPr algn="ctr" fontAlgn="b"/>
                      <a:r>
                        <a:rPr lang="en-US" sz="1800" b="1" i="0" u="none" strike="noStrike" kern="1200">
                          <a:solidFill>
                            <a:srgbClr val="85280F"/>
                          </a:solidFill>
                          <a:effectLst/>
                          <a:latin typeface="Lato" panose="020F0502020204030203" pitchFamily="34" charset="0"/>
                          <a:ea typeface="+mn-ea"/>
                          <a:cs typeface="+mn-cs"/>
                        </a:rPr>
                        <a:t>#2</a:t>
                      </a:r>
                    </a:p>
                  </a:txBody>
                  <a:tcPr marL="9525" marR="9525" marT="9525" marB="0" anchor="ctr"/>
                </a:tc>
                <a:tc>
                  <a:txBody>
                    <a:bodyPr/>
                    <a:lstStyle/>
                    <a:p>
                      <a:pPr algn="ctr" fontAlgn="b"/>
                      <a:r>
                        <a:rPr lang="en-US" sz="1800" b="1" i="0" u="none" strike="noStrike" kern="1200">
                          <a:solidFill>
                            <a:srgbClr val="85280F"/>
                          </a:solidFill>
                          <a:effectLst/>
                          <a:latin typeface="Lato" panose="020F0502020204030203" pitchFamily="34" charset="0"/>
                          <a:ea typeface="+mn-ea"/>
                          <a:cs typeface="+mn-cs"/>
                        </a:rPr>
                        <a:t>#5</a:t>
                      </a:r>
                    </a:p>
                  </a:txBody>
                  <a:tcPr marL="9525" marR="9525" marT="9525" marB="0" anchor="ctr"/>
                </a:tc>
                <a:extLst>
                  <a:ext uri="{0D108BD9-81ED-4DB2-BD59-A6C34878D82A}">
                    <a16:rowId xmlns:a16="http://schemas.microsoft.com/office/drawing/2014/main" val="1706223148"/>
                  </a:ext>
                </a:extLst>
              </a:tr>
              <a:tr h="384130">
                <a:tc>
                  <a:txBody>
                    <a:bodyPr/>
                    <a:lstStyle/>
                    <a:p>
                      <a:pPr algn="l" rtl="0" fontAlgn="ctr"/>
                      <a:r>
                        <a:rPr lang="en-US" sz="1800" b="0" i="0" u="none" strike="noStrike" kern="1200">
                          <a:solidFill>
                            <a:srgbClr val="000000"/>
                          </a:solidFill>
                          <a:effectLst/>
                          <a:latin typeface="+mn-lt"/>
                          <a:ea typeface="+mn-ea"/>
                          <a:cs typeface="+mn-cs"/>
                        </a:rPr>
                        <a:t>Unemployment</a:t>
                      </a:r>
                    </a:p>
                  </a:txBody>
                  <a:tcPr marL="9525" marR="9525" marT="9525" marB="0" anchor="ctr">
                    <a:lnR w="12700" cap="flat" cmpd="sng" algn="ctr">
                      <a:solidFill>
                        <a:schemeClr val="tx1"/>
                      </a:solidFill>
                      <a:prstDash val="solid"/>
                      <a:round/>
                      <a:headEnd type="none" w="med" len="med"/>
                      <a:tailEnd type="none" w="med" len="med"/>
                    </a:lnR>
                  </a:tcPr>
                </a:tc>
                <a:tc>
                  <a:txBody>
                    <a:bodyPr/>
                    <a:lstStyle/>
                    <a:p>
                      <a:pPr algn="ctr" fontAlgn="b"/>
                      <a:r>
                        <a:rPr lang="en-US" sz="1800" b="0" i="0" u="none" strike="noStrike" kern="1200">
                          <a:solidFill>
                            <a:srgbClr val="414549"/>
                          </a:solidFill>
                          <a:effectLst/>
                          <a:latin typeface="Lato" panose="020F0502020204030203" pitchFamily="34" charset="0"/>
                          <a:ea typeface="+mn-ea"/>
                          <a:cs typeface="+mn-cs"/>
                        </a:rPr>
                        <a:t>#2</a:t>
                      </a:r>
                    </a:p>
                  </a:txBody>
                  <a:tcPr marL="9525" marR="9525" marT="9525" marB="0" anchor="ctr">
                    <a:lnL w="12700" cap="flat" cmpd="sng" algn="ctr">
                      <a:solidFill>
                        <a:schemeClr val="tx1"/>
                      </a:solidFill>
                      <a:prstDash val="solid"/>
                      <a:round/>
                      <a:headEnd type="none" w="med" len="med"/>
                      <a:tailEnd type="none" w="med" len="med"/>
                    </a:lnL>
                  </a:tcPr>
                </a:tc>
                <a:tc>
                  <a:txBody>
                    <a:bodyPr/>
                    <a:lstStyle/>
                    <a:p>
                      <a:pPr algn="ctr" fontAlgn="b"/>
                      <a:r>
                        <a:rPr lang="en-US" sz="1800" b="0" i="0" u="none" strike="noStrike" kern="1200">
                          <a:solidFill>
                            <a:srgbClr val="414549"/>
                          </a:solidFill>
                          <a:effectLst/>
                          <a:latin typeface="Lato" panose="020F0502020204030203" pitchFamily="34" charset="0"/>
                          <a:ea typeface="+mn-ea"/>
                          <a:cs typeface="+mn-cs"/>
                        </a:rPr>
                        <a:t>#3</a:t>
                      </a:r>
                    </a:p>
                  </a:txBody>
                  <a:tcPr marL="9525" marR="9525" marT="9525" marB="0" anchor="ctr"/>
                </a:tc>
                <a:tc>
                  <a:txBody>
                    <a:bodyPr/>
                    <a:lstStyle/>
                    <a:p>
                      <a:pPr algn="ctr" fontAlgn="b"/>
                      <a:r>
                        <a:rPr lang="en-US" sz="1800" b="0" i="0" u="none" strike="noStrike" kern="1200">
                          <a:solidFill>
                            <a:srgbClr val="414549"/>
                          </a:solidFill>
                          <a:effectLst/>
                          <a:latin typeface="Lato" panose="020F0502020204030203" pitchFamily="34" charset="0"/>
                          <a:ea typeface="+mn-ea"/>
                          <a:cs typeface="+mn-cs"/>
                        </a:rPr>
                        <a:t>#5</a:t>
                      </a:r>
                    </a:p>
                  </a:txBody>
                  <a:tcPr marL="9525" marR="9525" marT="9525" marB="0" anchor="ctr"/>
                </a:tc>
                <a:tc>
                  <a:txBody>
                    <a:bodyPr/>
                    <a:lstStyle/>
                    <a:p>
                      <a:pPr algn="ctr" fontAlgn="b"/>
                      <a:r>
                        <a:rPr lang="en-US" sz="1800" b="0" i="0" u="none" strike="noStrike" kern="1200">
                          <a:solidFill>
                            <a:srgbClr val="414549"/>
                          </a:solidFill>
                          <a:effectLst/>
                          <a:latin typeface="Lato" panose="020F0502020204030203" pitchFamily="34" charset="0"/>
                          <a:ea typeface="+mn-ea"/>
                          <a:cs typeface="+mn-cs"/>
                        </a:rPr>
                        <a:t>#4</a:t>
                      </a:r>
                    </a:p>
                  </a:txBody>
                  <a:tcPr marL="9525" marR="9525" marT="9525" marB="0" anchor="ctr"/>
                </a:tc>
                <a:tc>
                  <a:txBody>
                    <a:bodyPr/>
                    <a:lstStyle/>
                    <a:p>
                      <a:pPr algn="ctr" fontAlgn="b"/>
                      <a:r>
                        <a:rPr lang="en-US" sz="1800" b="0" i="0" u="none" strike="noStrike" kern="1200">
                          <a:solidFill>
                            <a:srgbClr val="414549"/>
                          </a:solidFill>
                          <a:effectLst/>
                          <a:latin typeface="Lato" panose="020F0502020204030203" pitchFamily="34" charset="0"/>
                          <a:ea typeface="+mn-ea"/>
                          <a:cs typeface="+mn-cs"/>
                        </a:rPr>
                        <a:t>#4</a:t>
                      </a:r>
                    </a:p>
                  </a:txBody>
                  <a:tcPr marL="9525" marR="9525" marT="9525" marB="0" anchor="ctr"/>
                </a:tc>
                <a:tc>
                  <a:txBody>
                    <a:bodyPr/>
                    <a:lstStyle/>
                    <a:p>
                      <a:pPr algn="ctr" fontAlgn="b"/>
                      <a:r>
                        <a:rPr lang="en-US" sz="1800" b="0" i="0" u="none" strike="noStrike" kern="1200">
                          <a:solidFill>
                            <a:srgbClr val="414549"/>
                          </a:solidFill>
                          <a:effectLst/>
                          <a:latin typeface="Lato" panose="020F0502020204030203" pitchFamily="34" charset="0"/>
                          <a:ea typeface="+mn-ea"/>
                          <a:cs typeface="+mn-cs"/>
                        </a:rPr>
                        <a:t>#6</a:t>
                      </a:r>
                    </a:p>
                  </a:txBody>
                  <a:tcPr marL="9525" marR="9525" marT="9525" marB="0" anchor="ctr"/>
                </a:tc>
                <a:extLst>
                  <a:ext uri="{0D108BD9-81ED-4DB2-BD59-A6C34878D82A}">
                    <a16:rowId xmlns:a16="http://schemas.microsoft.com/office/drawing/2014/main" val="2594035261"/>
                  </a:ext>
                </a:extLst>
              </a:tr>
              <a:tr h="384130">
                <a:tc>
                  <a:txBody>
                    <a:bodyPr/>
                    <a:lstStyle/>
                    <a:p>
                      <a:pPr algn="l" rtl="0" fontAlgn="ctr"/>
                      <a:r>
                        <a:rPr lang="en-US" sz="1800" b="0" i="0" u="none" strike="noStrike" kern="1200">
                          <a:solidFill>
                            <a:srgbClr val="000000"/>
                          </a:solidFill>
                          <a:effectLst/>
                          <a:latin typeface="+mn-lt"/>
                          <a:ea typeface="+mn-ea"/>
                          <a:cs typeface="+mn-cs"/>
                        </a:rPr>
                        <a:t>The increase in diseases</a:t>
                      </a:r>
                    </a:p>
                  </a:txBody>
                  <a:tcPr marL="9525" marR="9525" marT="9525" marB="0" anchor="ctr">
                    <a:lnR w="12700" cap="flat" cmpd="sng" algn="ctr">
                      <a:solidFill>
                        <a:schemeClr val="tx1"/>
                      </a:solidFill>
                      <a:prstDash val="solid"/>
                      <a:round/>
                      <a:headEnd type="none" w="med" len="med"/>
                      <a:tailEnd type="none" w="med" len="med"/>
                    </a:lnR>
                  </a:tcPr>
                </a:tc>
                <a:tc>
                  <a:txBody>
                    <a:bodyPr/>
                    <a:lstStyle/>
                    <a:p>
                      <a:pPr algn="ctr" fontAlgn="b"/>
                      <a:r>
                        <a:rPr lang="en-US" sz="1800" b="0" i="0" u="none" strike="noStrike" kern="1200">
                          <a:solidFill>
                            <a:srgbClr val="414549"/>
                          </a:solidFill>
                          <a:effectLst/>
                          <a:latin typeface="Lato" panose="020F0502020204030203" pitchFamily="34" charset="0"/>
                          <a:ea typeface="+mn-ea"/>
                          <a:cs typeface="+mn-cs"/>
                        </a:rPr>
                        <a:t>NA</a:t>
                      </a:r>
                    </a:p>
                  </a:txBody>
                  <a:tcPr marL="9525" marR="9525" marT="9525" marB="0" anchor="ctr">
                    <a:lnL w="12700" cap="flat" cmpd="sng" algn="ctr">
                      <a:solidFill>
                        <a:schemeClr val="tx1"/>
                      </a:solidFill>
                      <a:prstDash val="solid"/>
                      <a:round/>
                      <a:headEnd type="none" w="med" len="med"/>
                      <a:tailEnd type="none" w="med" len="med"/>
                    </a:lnL>
                  </a:tcPr>
                </a:tc>
                <a:tc>
                  <a:txBody>
                    <a:bodyPr/>
                    <a:lstStyle/>
                    <a:p>
                      <a:pPr algn="ctr" fontAlgn="b"/>
                      <a:r>
                        <a:rPr lang="en-US" sz="1800" b="0" i="0" u="none" strike="noStrike" kern="1200">
                          <a:solidFill>
                            <a:srgbClr val="414549"/>
                          </a:solidFill>
                          <a:effectLst/>
                          <a:latin typeface="Lato" panose="020F0502020204030203" pitchFamily="34" charset="0"/>
                          <a:ea typeface="+mn-ea"/>
                          <a:cs typeface="+mn-cs"/>
                        </a:rPr>
                        <a:t>#4</a:t>
                      </a:r>
                    </a:p>
                  </a:txBody>
                  <a:tcPr marL="9525" marR="9525" marT="9525" marB="0" anchor="ctr"/>
                </a:tc>
                <a:tc>
                  <a:txBody>
                    <a:bodyPr/>
                    <a:lstStyle/>
                    <a:p>
                      <a:pPr algn="ctr" fontAlgn="b"/>
                      <a:r>
                        <a:rPr lang="en-US" sz="1800" b="0" i="0" u="none" strike="noStrike" kern="1200">
                          <a:solidFill>
                            <a:srgbClr val="414549"/>
                          </a:solidFill>
                          <a:effectLst/>
                          <a:latin typeface="Lato" panose="020F0502020204030203" pitchFamily="34" charset="0"/>
                          <a:ea typeface="+mn-ea"/>
                          <a:cs typeface="+mn-cs"/>
                        </a:rPr>
                        <a:t>#4</a:t>
                      </a:r>
                    </a:p>
                  </a:txBody>
                  <a:tcPr marL="9525" marR="9525" marT="9525" marB="0" anchor="ctr"/>
                </a:tc>
                <a:tc>
                  <a:txBody>
                    <a:bodyPr/>
                    <a:lstStyle/>
                    <a:p>
                      <a:pPr algn="ctr" fontAlgn="b"/>
                      <a:r>
                        <a:rPr lang="en-US" sz="1800" b="0" i="0" u="none" strike="noStrike" kern="1200">
                          <a:solidFill>
                            <a:srgbClr val="414549"/>
                          </a:solidFill>
                          <a:effectLst/>
                          <a:latin typeface="Lato" panose="020F0502020204030203" pitchFamily="34" charset="0"/>
                          <a:ea typeface="+mn-ea"/>
                          <a:cs typeface="+mn-cs"/>
                        </a:rPr>
                        <a:t>#3</a:t>
                      </a:r>
                    </a:p>
                  </a:txBody>
                  <a:tcPr marL="9525" marR="9525" marT="9525" marB="0" anchor="ctr"/>
                </a:tc>
                <a:tc>
                  <a:txBody>
                    <a:bodyPr/>
                    <a:lstStyle/>
                    <a:p>
                      <a:pPr algn="ctr" fontAlgn="b"/>
                      <a:r>
                        <a:rPr lang="en-US" sz="1800" b="0" i="0" u="none" strike="noStrike" kern="1200">
                          <a:solidFill>
                            <a:srgbClr val="414549"/>
                          </a:solidFill>
                          <a:effectLst/>
                          <a:latin typeface="Lato" panose="020F0502020204030203" pitchFamily="34" charset="0"/>
                          <a:ea typeface="+mn-ea"/>
                          <a:cs typeface="+mn-cs"/>
                        </a:rPr>
                        <a:t>#3</a:t>
                      </a:r>
                    </a:p>
                  </a:txBody>
                  <a:tcPr marL="9525" marR="9525" marT="9525" marB="0" anchor="ctr"/>
                </a:tc>
                <a:tc>
                  <a:txBody>
                    <a:bodyPr/>
                    <a:lstStyle/>
                    <a:p>
                      <a:pPr algn="ctr" fontAlgn="b"/>
                      <a:r>
                        <a:rPr lang="en-US" sz="1800" b="0" i="0" u="none" strike="noStrike" kern="1200">
                          <a:solidFill>
                            <a:srgbClr val="414549"/>
                          </a:solidFill>
                          <a:effectLst/>
                          <a:latin typeface="Lato" panose="020F0502020204030203" pitchFamily="34" charset="0"/>
                          <a:ea typeface="+mn-ea"/>
                          <a:cs typeface="+mn-cs"/>
                        </a:rPr>
                        <a:t>#2</a:t>
                      </a:r>
                    </a:p>
                  </a:txBody>
                  <a:tcPr marL="9525" marR="9525" marT="9525" marB="0" anchor="ctr"/>
                </a:tc>
                <a:extLst>
                  <a:ext uri="{0D108BD9-81ED-4DB2-BD59-A6C34878D82A}">
                    <a16:rowId xmlns:a16="http://schemas.microsoft.com/office/drawing/2014/main" val="3824911576"/>
                  </a:ext>
                </a:extLst>
              </a:tr>
              <a:tr h="384130">
                <a:tc>
                  <a:txBody>
                    <a:bodyPr/>
                    <a:lstStyle/>
                    <a:p>
                      <a:pPr algn="l" rtl="0" fontAlgn="ctr"/>
                      <a:r>
                        <a:rPr lang="en-US" sz="1800" b="0" i="0" u="none" strike="noStrike" kern="1200">
                          <a:solidFill>
                            <a:srgbClr val="000000"/>
                          </a:solidFill>
                          <a:effectLst/>
                          <a:latin typeface="+mn-lt"/>
                          <a:ea typeface="+mn-ea"/>
                          <a:cs typeface="+mn-cs"/>
                        </a:rPr>
                        <a:t>Climate Change</a:t>
                      </a:r>
                    </a:p>
                  </a:txBody>
                  <a:tcPr marL="9525" marR="9525" marT="9525" marB="0" anchor="ctr">
                    <a:lnR w="12700" cap="flat" cmpd="sng" algn="ctr">
                      <a:solidFill>
                        <a:schemeClr val="tx1"/>
                      </a:solidFill>
                      <a:prstDash val="solid"/>
                      <a:round/>
                      <a:headEnd type="none" w="med" len="med"/>
                      <a:tailEnd type="none" w="med" len="med"/>
                    </a:lnR>
                  </a:tcPr>
                </a:tc>
                <a:tc>
                  <a:txBody>
                    <a:bodyPr/>
                    <a:lstStyle/>
                    <a:p>
                      <a:pPr algn="ctr" fontAlgn="b"/>
                      <a:r>
                        <a:rPr lang="en-US" sz="1800" b="0" i="0" u="none" strike="noStrike" kern="1200">
                          <a:solidFill>
                            <a:srgbClr val="414549"/>
                          </a:solidFill>
                          <a:effectLst/>
                          <a:latin typeface="Lato" panose="020F0502020204030203" pitchFamily="34" charset="0"/>
                          <a:ea typeface="+mn-ea"/>
                          <a:cs typeface="+mn-cs"/>
                        </a:rPr>
                        <a:t>#5</a:t>
                      </a:r>
                    </a:p>
                  </a:txBody>
                  <a:tcPr marL="9525" marR="9525" marT="9525" marB="0" anchor="ctr">
                    <a:lnL w="12700" cap="flat" cmpd="sng" algn="ctr">
                      <a:solidFill>
                        <a:schemeClr val="tx1"/>
                      </a:solidFill>
                      <a:prstDash val="solid"/>
                      <a:round/>
                      <a:headEnd type="none" w="med" len="med"/>
                      <a:tailEnd type="none" w="med" len="med"/>
                    </a:lnL>
                  </a:tcPr>
                </a:tc>
                <a:tc>
                  <a:txBody>
                    <a:bodyPr/>
                    <a:lstStyle/>
                    <a:p>
                      <a:pPr algn="ctr" fontAlgn="b"/>
                      <a:r>
                        <a:rPr lang="en-US" sz="1800" b="0" i="0" u="none" strike="noStrike" kern="1200">
                          <a:solidFill>
                            <a:srgbClr val="414549"/>
                          </a:solidFill>
                          <a:effectLst/>
                          <a:latin typeface="Lato" panose="020F0502020204030203" pitchFamily="34" charset="0"/>
                          <a:ea typeface="+mn-ea"/>
                          <a:cs typeface="+mn-cs"/>
                        </a:rPr>
                        <a:t>#6</a:t>
                      </a:r>
                    </a:p>
                  </a:txBody>
                  <a:tcPr marL="9525" marR="9525" marT="9525" marB="0" anchor="ctr"/>
                </a:tc>
                <a:tc>
                  <a:txBody>
                    <a:bodyPr/>
                    <a:lstStyle/>
                    <a:p>
                      <a:pPr algn="ctr" fontAlgn="b"/>
                      <a:r>
                        <a:rPr lang="en-US" sz="1800" b="0" i="0" u="none" strike="noStrike" kern="1200">
                          <a:solidFill>
                            <a:srgbClr val="414549"/>
                          </a:solidFill>
                          <a:effectLst/>
                          <a:latin typeface="Lato" panose="020F0502020204030203" pitchFamily="34" charset="0"/>
                          <a:ea typeface="+mn-ea"/>
                          <a:cs typeface="+mn-cs"/>
                        </a:rPr>
                        <a:t>#3</a:t>
                      </a:r>
                    </a:p>
                  </a:txBody>
                  <a:tcPr marL="9525" marR="9525" marT="9525" marB="0" anchor="ctr"/>
                </a:tc>
                <a:tc>
                  <a:txBody>
                    <a:bodyPr/>
                    <a:lstStyle/>
                    <a:p>
                      <a:pPr algn="ctr" fontAlgn="b"/>
                      <a:r>
                        <a:rPr lang="en-US" sz="1800" b="0" i="0" u="none" strike="noStrike" kern="1200">
                          <a:solidFill>
                            <a:srgbClr val="414549"/>
                          </a:solidFill>
                          <a:effectLst/>
                          <a:latin typeface="Lato" panose="020F0502020204030203" pitchFamily="34" charset="0"/>
                          <a:ea typeface="+mn-ea"/>
                          <a:cs typeface="+mn-cs"/>
                        </a:rPr>
                        <a:t>#5</a:t>
                      </a:r>
                    </a:p>
                  </a:txBody>
                  <a:tcPr marL="9525" marR="9525" marT="9525" marB="0" anchor="ctr"/>
                </a:tc>
                <a:tc>
                  <a:txBody>
                    <a:bodyPr/>
                    <a:lstStyle/>
                    <a:p>
                      <a:pPr algn="ctr" fontAlgn="b"/>
                      <a:r>
                        <a:rPr lang="en-US" sz="1800" b="0" i="0" u="none" strike="noStrike" kern="1200">
                          <a:solidFill>
                            <a:srgbClr val="414549"/>
                          </a:solidFill>
                          <a:effectLst/>
                          <a:latin typeface="Lato" panose="020F0502020204030203" pitchFamily="34" charset="0"/>
                          <a:ea typeface="+mn-ea"/>
                          <a:cs typeface="+mn-cs"/>
                        </a:rPr>
                        <a:t>#5</a:t>
                      </a:r>
                    </a:p>
                  </a:txBody>
                  <a:tcPr marL="9525" marR="9525" marT="9525" marB="0" anchor="ctr"/>
                </a:tc>
                <a:tc>
                  <a:txBody>
                    <a:bodyPr/>
                    <a:lstStyle/>
                    <a:p>
                      <a:pPr algn="ctr" fontAlgn="b"/>
                      <a:r>
                        <a:rPr lang="en-US" sz="1800" b="0" i="0" u="none" strike="noStrike" kern="1200">
                          <a:solidFill>
                            <a:srgbClr val="414549"/>
                          </a:solidFill>
                          <a:effectLst/>
                          <a:latin typeface="Lato" panose="020F0502020204030203" pitchFamily="34" charset="0"/>
                          <a:ea typeface="+mn-ea"/>
                          <a:cs typeface="+mn-cs"/>
                        </a:rPr>
                        <a:t>#3</a:t>
                      </a:r>
                    </a:p>
                  </a:txBody>
                  <a:tcPr marL="9525" marR="9525" marT="9525" marB="0" anchor="ctr"/>
                </a:tc>
                <a:extLst>
                  <a:ext uri="{0D108BD9-81ED-4DB2-BD59-A6C34878D82A}">
                    <a16:rowId xmlns:a16="http://schemas.microsoft.com/office/drawing/2014/main" val="4010431477"/>
                  </a:ext>
                </a:extLst>
              </a:tr>
              <a:tr h="384130">
                <a:tc>
                  <a:txBody>
                    <a:bodyPr/>
                    <a:lstStyle/>
                    <a:p>
                      <a:pPr algn="l" rtl="0" fontAlgn="ctr"/>
                      <a:r>
                        <a:rPr lang="en-US" sz="1800" b="0" i="0" u="none" strike="noStrike" kern="1200">
                          <a:solidFill>
                            <a:srgbClr val="000000"/>
                          </a:solidFill>
                          <a:effectLst/>
                          <a:latin typeface="+mn-lt"/>
                          <a:ea typeface="+mn-ea"/>
                          <a:cs typeface="+mn-cs"/>
                        </a:rPr>
                        <a:t>Protection of the Environment</a:t>
                      </a:r>
                    </a:p>
                  </a:txBody>
                  <a:tcPr marL="9525" marR="9525" marT="9525" marB="0" anchor="ctr">
                    <a:lnR w="12700" cap="flat" cmpd="sng" algn="ctr">
                      <a:solidFill>
                        <a:schemeClr val="tx1"/>
                      </a:solidFill>
                      <a:prstDash val="solid"/>
                      <a:round/>
                      <a:headEnd type="none" w="med" len="med"/>
                      <a:tailEnd type="none" w="med" len="med"/>
                    </a:lnR>
                  </a:tcPr>
                </a:tc>
                <a:tc>
                  <a:txBody>
                    <a:bodyPr/>
                    <a:lstStyle/>
                    <a:p>
                      <a:pPr algn="ctr" fontAlgn="b"/>
                      <a:r>
                        <a:rPr lang="en-US" sz="1800" b="0" i="0" u="none" strike="noStrike" kern="1200">
                          <a:solidFill>
                            <a:srgbClr val="414549"/>
                          </a:solidFill>
                          <a:effectLst/>
                          <a:latin typeface="Lato" panose="020F0502020204030203" pitchFamily="34" charset="0"/>
                          <a:ea typeface="+mn-ea"/>
                          <a:cs typeface="+mn-cs"/>
                        </a:rPr>
                        <a:t>#4</a:t>
                      </a:r>
                    </a:p>
                  </a:txBody>
                  <a:tcPr marL="9525" marR="9525" marT="9525" marB="0" anchor="ctr">
                    <a:lnL w="12700" cap="flat" cmpd="sng" algn="ctr">
                      <a:solidFill>
                        <a:schemeClr val="tx1"/>
                      </a:solidFill>
                      <a:prstDash val="solid"/>
                      <a:round/>
                      <a:headEnd type="none" w="med" len="med"/>
                      <a:tailEnd type="none" w="med" len="med"/>
                    </a:lnL>
                  </a:tcPr>
                </a:tc>
                <a:tc>
                  <a:txBody>
                    <a:bodyPr/>
                    <a:lstStyle/>
                    <a:p>
                      <a:pPr algn="ctr" fontAlgn="b"/>
                      <a:r>
                        <a:rPr lang="en-US" sz="1800" b="0" i="0" u="none" strike="noStrike" kern="1200">
                          <a:solidFill>
                            <a:srgbClr val="414549"/>
                          </a:solidFill>
                          <a:effectLst/>
                          <a:latin typeface="Lato" panose="020F0502020204030203" pitchFamily="34" charset="0"/>
                          <a:ea typeface="+mn-ea"/>
                          <a:cs typeface="+mn-cs"/>
                        </a:rPr>
                        <a:t>#5</a:t>
                      </a:r>
                    </a:p>
                  </a:txBody>
                  <a:tcPr marL="9525" marR="9525" marT="9525" marB="0" anchor="ctr"/>
                </a:tc>
                <a:tc>
                  <a:txBody>
                    <a:bodyPr/>
                    <a:lstStyle/>
                    <a:p>
                      <a:pPr algn="ctr" fontAlgn="b"/>
                      <a:r>
                        <a:rPr lang="en-US" sz="1800" b="0" i="0" u="none" strike="noStrike" kern="1200">
                          <a:solidFill>
                            <a:srgbClr val="414549"/>
                          </a:solidFill>
                          <a:effectLst/>
                          <a:latin typeface="Lato" panose="020F0502020204030203" pitchFamily="34" charset="0"/>
                          <a:ea typeface="+mn-ea"/>
                          <a:cs typeface="+mn-cs"/>
                        </a:rPr>
                        <a:t>#6</a:t>
                      </a:r>
                    </a:p>
                  </a:txBody>
                  <a:tcPr marL="9525" marR="9525" marT="9525" marB="0" anchor="ctr"/>
                </a:tc>
                <a:tc>
                  <a:txBody>
                    <a:bodyPr/>
                    <a:lstStyle/>
                    <a:p>
                      <a:pPr algn="ctr" fontAlgn="b"/>
                      <a:r>
                        <a:rPr lang="en-US" sz="1800" b="0" i="0" u="none" strike="noStrike" kern="1200">
                          <a:solidFill>
                            <a:srgbClr val="414549"/>
                          </a:solidFill>
                          <a:effectLst/>
                          <a:latin typeface="Lato" panose="020F0502020204030203" pitchFamily="34" charset="0"/>
                          <a:ea typeface="+mn-ea"/>
                          <a:cs typeface="+mn-cs"/>
                        </a:rPr>
                        <a:t>#6</a:t>
                      </a:r>
                    </a:p>
                  </a:txBody>
                  <a:tcPr marL="9525" marR="9525" marT="9525" marB="0" anchor="ctr"/>
                </a:tc>
                <a:tc>
                  <a:txBody>
                    <a:bodyPr/>
                    <a:lstStyle/>
                    <a:p>
                      <a:pPr algn="ctr" fontAlgn="b"/>
                      <a:r>
                        <a:rPr lang="en-US" sz="1800" b="0" i="0" u="none" strike="noStrike" kern="1200">
                          <a:solidFill>
                            <a:srgbClr val="414549"/>
                          </a:solidFill>
                          <a:effectLst/>
                          <a:latin typeface="Lato" panose="020F0502020204030203" pitchFamily="34" charset="0"/>
                          <a:ea typeface="+mn-ea"/>
                          <a:cs typeface="+mn-cs"/>
                        </a:rPr>
                        <a:t>#6</a:t>
                      </a:r>
                    </a:p>
                  </a:txBody>
                  <a:tcPr marL="9525" marR="9525" marT="9525" marB="0" anchor="ctr"/>
                </a:tc>
                <a:tc>
                  <a:txBody>
                    <a:bodyPr/>
                    <a:lstStyle/>
                    <a:p>
                      <a:pPr algn="ctr" fontAlgn="b"/>
                      <a:r>
                        <a:rPr lang="en-US" sz="1800" b="0" i="0" u="none" strike="noStrike" kern="1200">
                          <a:solidFill>
                            <a:srgbClr val="414549"/>
                          </a:solidFill>
                          <a:effectLst/>
                          <a:latin typeface="Lato" panose="020F0502020204030203" pitchFamily="34" charset="0"/>
                          <a:ea typeface="+mn-ea"/>
                          <a:cs typeface="+mn-cs"/>
                        </a:rPr>
                        <a:t>#7</a:t>
                      </a:r>
                    </a:p>
                  </a:txBody>
                  <a:tcPr marL="9525" marR="9525" marT="9525" marB="0" anchor="ctr"/>
                </a:tc>
                <a:extLst>
                  <a:ext uri="{0D108BD9-81ED-4DB2-BD59-A6C34878D82A}">
                    <a16:rowId xmlns:a16="http://schemas.microsoft.com/office/drawing/2014/main" val="68829680"/>
                  </a:ext>
                </a:extLst>
              </a:tr>
              <a:tr h="384130">
                <a:tc>
                  <a:txBody>
                    <a:bodyPr/>
                    <a:lstStyle/>
                    <a:p>
                      <a:pPr algn="l" rtl="0" fontAlgn="ctr"/>
                      <a:r>
                        <a:rPr lang="en-US" sz="1800" b="0" i="0" u="none" strike="noStrike" kern="1200">
                          <a:solidFill>
                            <a:srgbClr val="000000"/>
                          </a:solidFill>
                          <a:effectLst/>
                          <a:latin typeface="+mn-lt"/>
                          <a:ea typeface="+mn-ea"/>
                          <a:cs typeface="+mn-cs"/>
                        </a:rPr>
                        <a:t>Immigration</a:t>
                      </a:r>
                    </a:p>
                  </a:txBody>
                  <a:tcPr marL="9525" marR="9525" marT="9525" marB="0" anchor="ctr">
                    <a:lnR w="12700" cap="flat" cmpd="sng" algn="ctr">
                      <a:solidFill>
                        <a:schemeClr val="tx1"/>
                      </a:solidFill>
                      <a:prstDash val="solid"/>
                      <a:round/>
                      <a:headEnd type="none" w="med" len="med"/>
                      <a:tailEnd type="none" w="med" len="med"/>
                    </a:lnR>
                  </a:tcPr>
                </a:tc>
                <a:tc>
                  <a:txBody>
                    <a:bodyPr/>
                    <a:lstStyle/>
                    <a:p>
                      <a:pPr algn="ctr" fontAlgn="b"/>
                      <a:r>
                        <a:rPr lang="en-US" sz="1800" b="0" i="0" u="none" strike="noStrike" kern="1200">
                          <a:solidFill>
                            <a:srgbClr val="414549"/>
                          </a:solidFill>
                          <a:effectLst/>
                          <a:latin typeface="Lato" panose="020F0502020204030203" pitchFamily="34" charset="0"/>
                          <a:ea typeface="+mn-ea"/>
                          <a:cs typeface="+mn-cs"/>
                        </a:rPr>
                        <a:t>#6</a:t>
                      </a:r>
                    </a:p>
                  </a:txBody>
                  <a:tcPr marL="9525" marR="9525" marT="9525" marB="0" anchor="ctr">
                    <a:lnL w="12700" cap="flat" cmpd="sng" algn="ctr">
                      <a:solidFill>
                        <a:schemeClr val="tx1"/>
                      </a:solidFill>
                      <a:prstDash val="solid"/>
                      <a:round/>
                      <a:headEnd type="none" w="med" len="med"/>
                      <a:tailEnd type="none" w="med" len="med"/>
                    </a:lnL>
                  </a:tcPr>
                </a:tc>
                <a:tc>
                  <a:txBody>
                    <a:bodyPr/>
                    <a:lstStyle/>
                    <a:p>
                      <a:pPr algn="ctr" fontAlgn="b"/>
                      <a:r>
                        <a:rPr lang="en-US" sz="1800" b="0" i="0" u="none" strike="noStrike" kern="1200">
                          <a:solidFill>
                            <a:srgbClr val="414549"/>
                          </a:solidFill>
                          <a:effectLst/>
                          <a:latin typeface="Lato" panose="020F0502020204030203" pitchFamily="34" charset="0"/>
                          <a:ea typeface="+mn-ea"/>
                          <a:cs typeface="+mn-cs"/>
                        </a:rPr>
                        <a:t>#9</a:t>
                      </a:r>
                    </a:p>
                  </a:txBody>
                  <a:tcPr marL="9525" marR="9525" marT="9525" marB="0" anchor="ctr"/>
                </a:tc>
                <a:tc>
                  <a:txBody>
                    <a:bodyPr/>
                    <a:lstStyle/>
                    <a:p>
                      <a:pPr algn="ctr" fontAlgn="b"/>
                      <a:r>
                        <a:rPr lang="en-US" sz="1800" b="0" i="0" u="none" strike="noStrike" kern="1200">
                          <a:solidFill>
                            <a:srgbClr val="414549"/>
                          </a:solidFill>
                          <a:effectLst/>
                          <a:latin typeface="Lato" panose="020F0502020204030203" pitchFamily="34" charset="0"/>
                          <a:ea typeface="+mn-ea"/>
                          <a:cs typeface="+mn-cs"/>
                        </a:rPr>
                        <a:t>#8</a:t>
                      </a:r>
                    </a:p>
                  </a:txBody>
                  <a:tcPr marL="9525" marR="9525" marT="9525" marB="0" anchor="ctr"/>
                </a:tc>
                <a:tc>
                  <a:txBody>
                    <a:bodyPr/>
                    <a:lstStyle/>
                    <a:p>
                      <a:pPr algn="ctr" fontAlgn="b"/>
                      <a:r>
                        <a:rPr lang="en-US" sz="1800" b="0" i="0" u="none" strike="noStrike" kern="1200">
                          <a:solidFill>
                            <a:srgbClr val="414549"/>
                          </a:solidFill>
                          <a:effectLst/>
                          <a:latin typeface="Lato" panose="020F0502020204030203" pitchFamily="34" charset="0"/>
                          <a:ea typeface="+mn-ea"/>
                          <a:cs typeface="+mn-cs"/>
                        </a:rPr>
                        <a:t>#7</a:t>
                      </a:r>
                    </a:p>
                  </a:txBody>
                  <a:tcPr marL="9525" marR="9525" marT="9525" marB="0" anchor="ctr"/>
                </a:tc>
                <a:tc>
                  <a:txBody>
                    <a:bodyPr/>
                    <a:lstStyle/>
                    <a:p>
                      <a:pPr algn="ctr" fontAlgn="b"/>
                      <a:r>
                        <a:rPr lang="en-US" sz="1800" b="0" i="0" u="none" strike="noStrike" kern="1200">
                          <a:solidFill>
                            <a:srgbClr val="414549"/>
                          </a:solidFill>
                          <a:effectLst/>
                          <a:latin typeface="Lato" panose="020F0502020204030203" pitchFamily="34" charset="0"/>
                          <a:ea typeface="+mn-ea"/>
                          <a:cs typeface="+mn-cs"/>
                        </a:rPr>
                        <a:t>#7</a:t>
                      </a:r>
                    </a:p>
                  </a:txBody>
                  <a:tcPr marL="9525" marR="9525" marT="9525" marB="0" anchor="ctr"/>
                </a:tc>
                <a:tc>
                  <a:txBody>
                    <a:bodyPr/>
                    <a:lstStyle/>
                    <a:p>
                      <a:pPr algn="ctr" fontAlgn="b"/>
                      <a:r>
                        <a:rPr lang="en-US" sz="1800" b="0" i="0" u="none" strike="noStrike" kern="1200">
                          <a:solidFill>
                            <a:srgbClr val="414549"/>
                          </a:solidFill>
                          <a:effectLst/>
                          <a:latin typeface="Lato" panose="020F0502020204030203" pitchFamily="34" charset="0"/>
                          <a:ea typeface="+mn-ea"/>
                          <a:cs typeface="+mn-cs"/>
                        </a:rPr>
                        <a:t>#4</a:t>
                      </a:r>
                    </a:p>
                  </a:txBody>
                  <a:tcPr marL="9525" marR="9525" marT="9525" marB="0" anchor="ctr"/>
                </a:tc>
                <a:extLst>
                  <a:ext uri="{0D108BD9-81ED-4DB2-BD59-A6C34878D82A}">
                    <a16:rowId xmlns:a16="http://schemas.microsoft.com/office/drawing/2014/main" val="2720981860"/>
                  </a:ext>
                </a:extLst>
              </a:tr>
              <a:tr h="384130">
                <a:tc>
                  <a:txBody>
                    <a:bodyPr/>
                    <a:lstStyle/>
                    <a:p>
                      <a:pPr algn="l" rtl="0" fontAlgn="ctr"/>
                      <a:r>
                        <a:rPr lang="en-US" sz="1800" b="0" i="0" u="none" strike="noStrike" kern="1200">
                          <a:solidFill>
                            <a:srgbClr val="000000"/>
                          </a:solidFill>
                          <a:effectLst/>
                          <a:latin typeface="+mn-lt"/>
                          <a:ea typeface="+mn-ea"/>
                          <a:cs typeface="+mn-cs"/>
                        </a:rPr>
                        <a:t>Terrorism</a:t>
                      </a:r>
                    </a:p>
                  </a:txBody>
                  <a:tcPr marL="9525" marR="9525" marT="9525" marB="0" anchor="ctr">
                    <a:lnR w="12700" cap="flat" cmpd="sng" algn="ctr">
                      <a:solidFill>
                        <a:schemeClr val="tx1"/>
                      </a:solidFill>
                      <a:prstDash val="solid"/>
                      <a:round/>
                      <a:headEnd type="none" w="med" len="med"/>
                      <a:tailEnd type="none" w="med" len="med"/>
                    </a:lnR>
                  </a:tcPr>
                </a:tc>
                <a:tc>
                  <a:txBody>
                    <a:bodyPr/>
                    <a:lstStyle/>
                    <a:p>
                      <a:pPr algn="ctr" fontAlgn="b"/>
                      <a:r>
                        <a:rPr lang="en-US" sz="1800" b="0" i="0" u="none" strike="noStrike" kern="1200">
                          <a:solidFill>
                            <a:srgbClr val="414549"/>
                          </a:solidFill>
                          <a:effectLst/>
                          <a:latin typeface="Lato" panose="020F0502020204030203" pitchFamily="34" charset="0"/>
                          <a:ea typeface="+mn-ea"/>
                          <a:cs typeface="+mn-cs"/>
                        </a:rPr>
                        <a:t>#8</a:t>
                      </a:r>
                    </a:p>
                  </a:txBody>
                  <a:tcPr marL="9525" marR="9525" marT="9525" marB="0" anchor="ctr">
                    <a:lnL w="12700" cap="flat" cmpd="sng" algn="ctr">
                      <a:solidFill>
                        <a:schemeClr val="tx1"/>
                      </a:solidFill>
                      <a:prstDash val="solid"/>
                      <a:round/>
                      <a:headEnd type="none" w="med" len="med"/>
                      <a:tailEnd type="none" w="med" len="med"/>
                    </a:lnL>
                  </a:tcPr>
                </a:tc>
                <a:tc>
                  <a:txBody>
                    <a:bodyPr/>
                    <a:lstStyle/>
                    <a:p>
                      <a:pPr algn="ctr" fontAlgn="b"/>
                      <a:r>
                        <a:rPr lang="en-US" sz="1800" b="0" i="0" u="none" strike="noStrike" kern="1200">
                          <a:solidFill>
                            <a:srgbClr val="414549"/>
                          </a:solidFill>
                          <a:effectLst/>
                          <a:latin typeface="Lato" panose="020F0502020204030203" pitchFamily="34" charset="0"/>
                          <a:ea typeface="+mn-ea"/>
                          <a:cs typeface="+mn-cs"/>
                        </a:rPr>
                        <a:t>#8</a:t>
                      </a:r>
                    </a:p>
                  </a:txBody>
                  <a:tcPr marL="9525" marR="9525" marT="9525" marB="0" anchor="ctr"/>
                </a:tc>
                <a:tc>
                  <a:txBody>
                    <a:bodyPr/>
                    <a:lstStyle/>
                    <a:p>
                      <a:pPr algn="ctr" fontAlgn="b"/>
                      <a:r>
                        <a:rPr lang="en-US" sz="1800" b="0" i="0" u="none" strike="noStrike" kern="1200">
                          <a:solidFill>
                            <a:srgbClr val="414549"/>
                          </a:solidFill>
                          <a:effectLst/>
                          <a:latin typeface="Lato" panose="020F0502020204030203" pitchFamily="34" charset="0"/>
                          <a:ea typeface="+mn-ea"/>
                          <a:cs typeface="+mn-cs"/>
                        </a:rPr>
                        <a:t>#7</a:t>
                      </a:r>
                    </a:p>
                  </a:txBody>
                  <a:tcPr marL="9525" marR="9525" marT="9525" marB="0" anchor="ctr"/>
                </a:tc>
                <a:tc>
                  <a:txBody>
                    <a:bodyPr/>
                    <a:lstStyle/>
                    <a:p>
                      <a:pPr algn="ctr" fontAlgn="b"/>
                      <a:r>
                        <a:rPr lang="en-US" sz="1800" b="0" i="0" u="none" strike="noStrike" kern="1200">
                          <a:solidFill>
                            <a:srgbClr val="414549"/>
                          </a:solidFill>
                          <a:effectLst/>
                          <a:latin typeface="Lato" panose="020F0502020204030203" pitchFamily="34" charset="0"/>
                          <a:ea typeface="+mn-ea"/>
                          <a:cs typeface="+mn-cs"/>
                        </a:rPr>
                        <a:t>#8</a:t>
                      </a:r>
                    </a:p>
                  </a:txBody>
                  <a:tcPr marL="9525" marR="9525" marT="9525" marB="0" anchor="ctr"/>
                </a:tc>
                <a:tc>
                  <a:txBody>
                    <a:bodyPr/>
                    <a:lstStyle/>
                    <a:p>
                      <a:pPr algn="ctr" fontAlgn="b"/>
                      <a:r>
                        <a:rPr lang="en-US" sz="1800" b="0" i="0" u="none" strike="noStrike" kern="1200">
                          <a:solidFill>
                            <a:srgbClr val="414549"/>
                          </a:solidFill>
                          <a:effectLst/>
                          <a:latin typeface="Lato" panose="020F0502020204030203" pitchFamily="34" charset="0"/>
                          <a:ea typeface="+mn-ea"/>
                          <a:cs typeface="+mn-cs"/>
                        </a:rPr>
                        <a:t>#8</a:t>
                      </a:r>
                    </a:p>
                  </a:txBody>
                  <a:tcPr marL="9525" marR="9525" marT="9525" marB="0" anchor="ctr"/>
                </a:tc>
                <a:tc>
                  <a:txBody>
                    <a:bodyPr/>
                    <a:lstStyle/>
                    <a:p>
                      <a:pPr algn="ctr" fontAlgn="b"/>
                      <a:r>
                        <a:rPr lang="en-US" sz="1800" b="0" i="0" u="none" strike="noStrike" kern="1200">
                          <a:solidFill>
                            <a:srgbClr val="414549"/>
                          </a:solidFill>
                          <a:effectLst/>
                          <a:latin typeface="Lato" panose="020F0502020204030203" pitchFamily="34" charset="0"/>
                          <a:ea typeface="+mn-ea"/>
                          <a:cs typeface="+mn-cs"/>
                        </a:rPr>
                        <a:t>#8</a:t>
                      </a:r>
                    </a:p>
                  </a:txBody>
                  <a:tcPr marL="9525" marR="9525" marT="9525" marB="0" anchor="ctr"/>
                </a:tc>
                <a:extLst>
                  <a:ext uri="{0D108BD9-81ED-4DB2-BD59-A6C34878D82A}">
                    <a16:rowId xmlns:a16="http://schemas.microsoft.com/office/drawing/2014/main" val="1962052270"/>
                  </a:ext>
                </a:extLst>
              </a:tr>
              <a:tr h="542556">
                <a:tc>
                  <a:txBody>
                    <a:bodyPr/>
                    <a:lstStyle/>
                    <a:p>
                      <a:pPr algn="l" rtl="0" fontAlgn="ctr"/>
                      <a:r>
                        <a:rPr lang="en-US" sz="1800" b="0" i="0" u="none" strike="noStrike" kern="1200">
                          <a:solidFill>
                            <a:srgbClr val="000000"/>
                          </a:solidFill>
                          <a:effectLst/>
                          <a:latin typeface="+mn-lt"/>
                          <a:ea typeface="+mn-ea"/>
                          <a:cs typeface="+mn-cs"/>
                        </a:rPr>
                        <a:t>A crisis in the company where I work/where my relatives work</a:t>
                      </a:r>
                    </a:p>
                  </a:txBody>
                  <a:tcPr marL="9525" marR="9525" marT="9525" marB="0" anchor="ctr">
                    <a:lnR w="12700" cap="flat" cmpd="sng" algn="ctr">
                      <a:solidFill>
                        <a:schemeClr val="tx1"/>
                      </a:solidFill>
                      <a:prstDash val="solid"/>
                      <a:round/>
                      <a:headEnd type="none" w="med" len="med"/>
                      <a:tailEnd type="none" w="med" len="med"/>
                    </a:lnR>
                  </a:tcPr>
                </a:tc>
                <a:tc>
                  <a:txBody>
                    <a:bodyPr/>
                    <a:lstStyle/>
                    <a:p>
                      <a:pPr algn="ctr" fontAlgn="b"/>
                      <a:r>
                        <a:rPr lang="en-US" sz="1800" b="0" i="0" u="none" strike="noStrike" kern="1200">
                          <a:solidFill>
                            <a:srgbClr val="414549"/>
                          </a:solidFill>
                          <a:effectLst/>
                          <a:latin typeface="Lato" panose="020F0502020204030203" pitchFamily="34" charset="0"/>
                          <a:ea typeface="+mn-ea"/>
                          <a:cs typeface="+mn-cs"/>
                        </a:rPr>
                        <a:t>#7</a:t>
                      </a:r>
                    </a:p>
                  </a:txBody>
                  <a:tcPr marL="9525" marR="9525" marT="9525" marB="0" anchor="ct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tcPr>
                </a:tc>
                <a:tc>
                  <a:txBody>
                    <a:bodyPr/>
                    <a:lstStyle/>
                    <a:p>
                      <a:pPr algn="ctr" fontAlgn="b"/>
                      <a:r>
                        <a:rPr lang="en-US" sz="1800" b="0" i="0" u="none" strike="noStrike" kern="1200">
                          <a:solidFill>
                            <a:srgbClr val="414549"/>
                          </a:solidFill>
                          <a:effectLst/>
                          <a:latin typeface="Lato" panose="020F0502020204030203" pitchFamily="34" charset="0"/>
                          <a:ea typeface="+mn-ea"/>
                          <a:cs typeface="+mn-cs"/>
                        </a:rPr>
                        <a:t>#7</a:t>
                      </a:r>
                    </a:p>
                  </a:txBody>
                  <a:tcPr marL="9525" marR="9525" marT="9525" marB="0" anchor="ctr">
                    <a:lnB w="12700" cap="flat" cmpd="sng" algn="ctr">
                      <a:solidFill>
                        <a:schemeClr val="tx1"/>
                      </a:solidFill>
                      <a:prstDash val="solid"/>
                      <a:round/>
                      <a:headEnd type="none" w="med" len="med"/>
                      <a:tailEnd type="none" w="med" len="med"/>
                    </a:lnB>
                  </a:tcPr>
                </a:tc>
                <a:tc>
                  <a:txBody>
                    <a:bodyPr/>
                    <a:lstStyle/>
                    <a:p>
                      <a:pPr algn="ctr" fontAlgn="b"/>
                      <a:r>
                        <a:rPr lang="en-US" sz="1800" b="0" i="0" u="none" strike="noStrike" kern="1200">
                          <a:solidFill>
                            <a:srgbClr val="414549"/>
                          </a:solidFill>
                          <a:effectLst/>
                          <a:latin typeface="Lato" panose="020F0502020204030203" pitchFamily="34" charset="0"/>
                          <a:ea typeface="+mn-ea"/>
                          <a:cs typeface="+mn-cs"/>
                        </a:rPr>
                        <a:t>#9</a:t>
                      </a:r>
                    </a:p>
                  </a:txBody>
                  <a:tcPr marL="9525" marR="9525" marT="9525" marB="0" anchor="ctr">
                    <a:lnB w="12700" cap="flat" cmpd="sng" algn="ctr">
                      <a:solidFill>
                        <a:schemeClr val="tx1"/>
                      </a:solidFill>
                      <a:prstDash val="solid"/>
                      <a:round/>
                      <a:headEnd type="none" w="med" len="med"/>
                      <a:tailEnd type="none" w="med" len="med"/>
                    </a:lnB>
                  </a:tcPr>
                </a:tc>
                <a:tc>
                  <a:txBody>
                    <a:bodyPr/>
                    <a:lstStyle/>
                    <a:p>
                      <a:pPr algn="ctr" fontAlgn="b"/>
                      <a:r>
                        <a:rPr lang="en-US" sz="1800" b="0" i="0" u="none" strike="noStrike" kern="1200">
                          <a:solidFill>
                            <a:srgbClr val="414549"/>
                          </a:solidFill>
                          <a:effectLst/>
                          <a:latin typeface="Lato" panose="020F0502020204030203" pitchFamily="34" charset="0"/>
                          <a:ea typeface="+mn-ea"/>
                          <a:cs typeface="+mn-cs"/>
                        </a:rPr>
                        <a:t>#9</a:t>
                      </a:r>
                    </a:p>
                  </a:txBody>
                  <a:tcPr marL="9525" marR="9525" marT="9525" marB="0" anchor="ctr">
                    <a:lnB w="12700" cap="flat" cmpd="sng" algn="ctr">
                      <a:solidFill>
                        <a:schemeClr val="tx1"/>
                      </a:solidFill>
                      <a:prstDash val="solid"/>
                      <a:round/>
                      <a:headEnd type="none" w="med" len="med"/>
                      <a:tailEnd type="none" w="med" len="med"/>
                    </a:lnB>
                  </a:tcPr>
                </a:tc>
                <a:tc>
                  <a:txBody>
                    <a:bodyPr/>
                    <a:lstStyle/>
                    <a:p>
                      <a:pPr algn="ctr" fontAlgn="b"/>
                      <a:r>
                        <a:rPr lang="en-US" sz="1800" b="0" i="0" u="none" strike="noStrike" kern="1200">
                          <a:solidFill>
                            <a:srgbClr val="414549"/>
                          </a:solidFill>
                          <a:effectLst/>
                          <a:latin typeface="Lato" panose="020F0502020204030203" pitchFamily="34" charset="0"/>
                          <a:ea typeface="+mn-ea"/>
                          <a:cs typeface="+mn-cs"/>
                        </a:rPr>
                        <a:t>#9</a:t>
                      </a:r>
                    </a:p>
                  </a:txBody>
                  <a:tcPr marL="9525" marR="9525" marT="9525" marB="0" anchor="ctr">
                    <a:lnB w="12700" cap="flat" cmpd="sng" algn="ctr">
                      <a:solidFill>
                        <a:schemeClr val="tx1"/>
                      </a:solidFill>
                      <a:prstDash val="solid"/>
                      <a:round/>
                      <a:headEnd type="none" w="med" len="med"/>
                      <a:tailEnd type="none" w="med" len="med"/>
                    </a:lnB>
                  </a:tcPr>
                </a:tc>
                <a:tc>
                  <a:txBody>
                    <a:bodyPr/>
                    <a:lstStyle/>
                    <a:p>
                      <a:pPr algn="ctr" fontAlgn="b"/>
                      <a:r>
                        <a:rPr lang="en-US" sz="1800" b="0" i="0" u="none" strike="noStrike" kern="1200">
                          <a:solidFill>
                            <a:srgbClr val="414549"/>
                          </a:solidFill>
                          <a:effectLst/>
                          <a:latin typeface="Lato" panose="020F0502020204030203" pitchFamily="34" charset="0"/>
                          <a:ea typeface="+mn-ea"/>
                          <a:cs typeface="+mn-cs"/>
                        </a:rPr>
                        <a:t>#9</a:t>
                      </a:r>
                    </a:p>
                  </a:txBody>
                  <a:tcPr marL="9525" marR="9525" marT="9525" marB="0" anchor="ct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515646567"/>
                  </a:ext>
                </a:extLst>
              </a:tr>
            </a:tbl>
          </a:graphicData>
        </a:graphic>
      </p:graphicFrame>
      <p:pic>
        <p:nvPicPr>
          <p:cNvPr id="21" name="Image 20">
            <a:extLst>
              <a:ext uri="{FF2B5EF4-FFF2-40B4-BE49-F238E27FC236}">
                <a16:creationId xmlns:a16="http://schemas.microsoft.com/office/drawing/2014/main" id="{08FE73BD-50ED-4021-B915-B60A8B6C8163}"/>
              </a:ext>
            </a:extLst>
          </p:cNvPr>
          <p:cNvPicPr>
            <a:picLocks/>
          </p:cNvPicPr>
          <p:nvPr/>
        </p:nvPicPr>
        <p:blipFill>
          <a:blip r:embed="rId3"/>
          <a:stretch>
            <a:fillRect/>
          </a:stretch>
        </p:blipFill>
        <p:spPr>
          <a:xfrm>
            <a:off x="7261602" y="1794944"/>
            <a:ext cx="428400" cy="428400"/>
          </a:xfrm>
          <a:prstGeom prst="rect">
            <a:avLst/>
          </a:prstGeom>
        </p:spPr>
      </p:pic>
      <p:pic>
        <p:nvPicPr>
          <p:cNvPr id="23" name="Image 22">
            <a:extLst>
              <a:ext uri="{FF2B5EF4-FFF2-40B4-BE49-F238E27FC236}">
                <a16:creationId xmlns:a16="http://schemas.microsoft.com/office/drawing/2014/main" id="{233834FB-CBBB-4ABC-889A-F2F26F4049EA}"/>
              </a:ext>
            </a:extLst>
          </p:cNvPr>
          <p:cNvPicPr>
            <a:picLocks/>
          </p:cNvPicPr>
          <p:nvPr/>
        </p:nvPicPr>
        <p:blipFill>
          <a:blip r:embed="rId4"/>
          <a:stretch>
            <a:fillRect/>
          </a:stretch>
        </p:blipFill>
        <p:spPr>
          <a:xfrm>
            <a:off x="8110407" y="1794944"/>
            <a:ext cx="428400" cy="428400"/>
          </a:xfrm>
          <a:prstGeom prst="rect">
            <a:avLst/>
          </a:prstGeom>
        </p:spPr>
      </p:pic>
      <p:pic>
        <p:nvPicPr>
          <p:cNvPr id="25" name="Image 24">
            <a:extLst>
              <a:ext uri="{FF2B5EF4-FFF2-40B4-BE49-F238E27FC236}">
                <a16:creationId xmlns:a16="http://schemas.microsoft.com/office/drawing/2014/main" id="{7C332001-67A8-4D6A-B5C9-AAD4436D9018}"/>
              </a:ext>
            </a:extLst>
          </p:cNvPr>
          <p:cNvPicPr>
            <a:picLocks noChangeAspect="1"/>
          </p:cNvPicPr>
          <p:nvPr/>
        </p:nvPicPr>
        <p:blipFill>
          <a:blip r:embed="rId5"/>
          <a:stretch>
            <a:fillRect/>
          </a:stretch>
        </p:blipFill>
        <p:spPr>
          <a:xfrm>
            <a:off x="9966987" y="1794944"/>
            <a:ext cx="428400" cy="428400"/>
          </a:xfrm>
          <a:prstGeom prst="rect">
            <a:avLst/>
          </a:prstGeom>
        </p:spPr>
      </p:pic>
      <p:pic>
        <p:nvPicPr>
          <p:cNvPr id="26" name="Image 25">
            <a:extLst>
              <a:ext uri="{FF2B5EF4-FFF2-40B4-BE49-F238E27FC236}">
                <a16:creationId xmlns:a16="http://schemas.microsoft.com/office/drawing/2014/main" id="{CF64BF77-0607-431E-8B00-6568261C30DE}"/>
              </a:ext>
            </a:extLst>
          </p:cNvPr>
          <p:cNvPicPr>
            <a:picLocks noChangeAspect="1"/>
          </p:cNvPicPr>
          <p:nvPr/>
        </p:nvPicPr>
        <p:blipFill>
          <a:blip r:embed="rId6"/>
          <a:stretch>
            <a:fillRect/>
          </a:stretch>
        </p:blipFill>
        <p:spPr>
          <a:xfrm>
            <a:off x="6309580" y="1794944"/>
            <a:ext cx="428400" cy="428400"/>
          </a:xfrm>
          <a:prstGeom prst="rect">
            <a:avLst/>
          </a:prstGeom>
        </p:spPr>
      </p:pic>
      <p:pic>
        <p:nvPicPr>
          <p:cNvPr id="27" name="Image 26">
            <a:extLst>
              <a:ext uri="{FF2B5EF4-FFF2-40B4-BE49-F238E27FC236}">
                <a16:creationId xmlns:a16="http://schemas.microsoft.com/office/drawing/2014/main" id="{2C60311B-C751-4E46-8C00-625C2D077A3D}"/>
              </a:ext>
            </a:extLst>
          </p:cNvPr>
          <p:cNvPicPr>
            <a:picLocks noChangeAspect="1"/>
          </p:cNvPicPr>
          <p:nvPr/>
        </p:nvPicPr>
        <p:blipFill>
          <a:blip r:embed="rId7"/>
          <a:stretch>
            <a:fillRect/>
          </a:stretch>
        </p:blipFill>
        <p:spPr>
          <a:xfrm>
            <a:off x="9045877" y="1794944"/>
            <a:ext cx="438848" cy="428400"/>
          </a:xfrm>
          <a:prstGeom prst="rect">
            <a:avLst/>
          </a:prstGeom>
        </p:spPr>
      </p:pic>
      <p:pic>
        <p:nvPicPr>
          <p:cNvPr id="22" name="Image 21">
            <a:extLst>
              <a:ext uri="{FF2B5EF4-FFF2-40B4-BE49-F238E27FC236}">
                <a16:creationId xmlns:a16="http://schemas.microsoft.com/office/drawing/2014/main" id="{CFC3893A-3F33-42DE-9BC3-7C62A0D016A0}"/>
              </a:ext>
            </a:extLst>
          </p:cNvPr>
          <p:cNvPicPr>
            <a:picLocks noChangeAspect="1"/>
          </p:cNvPicPr>
          <p:nvPr/>
        </p:nvPicPr>
        <p:blipFill>
          <a:blip r:embed="rId8"/>
          <a:stretch>
            <a:fillRect/>
          </a:stretch>
        </p:blipFill>
        <p:spPr>
          <a:xfrm>
            <a:off x="10855084" y="1794944"/>
            <a:ext cx="428400" cy="428400"/>
          </a:xfrm>
          <a:prstGeom prst="rect">
            <a:avLst/>
          </a:prstGeom>
        </p:spPr>
      </p:pic>
      <p:sp>
        <p:nvSpPr>
          <p:cNvPr id="32" name="Textplatzhalter 6">
            <a:extLst>
              <a:ext uri="{FF2B5EF4-FFF2-40B4-BE49-F238E27FC236}">
                <a16:creationId xmlns:a16="http://schemas.microsoft.com/office/drawing/2014/main" id="{A587359B-7595-4E5D-A45C-1632BB307C56}"/>
              </a:ext>
            </a:extLst>
          </p:cNvPr>
          <p:cNvSpPr txBox="1">
            <a:spLocks/>
          </p:cNvSpPr>
          <p:nvPr/>
        </p:nvSpPr>
        <p:spPr>
          <a:xfrm>
            <a:off x="640006" y="6466339"/>
            <a:ext cx="7609517" cy="307043"/>
          </a:xfrm>
          <a:prstGeom prst="rect">
            <a:avLst/>
          </a:prstGeom>
        </p:spPr>
        <p:txBody>
          <a:bodyPr/>
          <a:lstStyle>
            <a:lvl1pPr marL="0" marR="0" indent="0" algn="l" defTabSz="914400" rtl="0" eaLnBrk="1" fontAlgn="auto" latinLnBrk="0" hangingPunct="1">
              <a:lnSpc>
                <a:spcPct val="100000"/>
              </a:lnSpc>
              <a:spcBef>
                <a:spcPts val="300"/>
              </a:spcBef>
              <a:spcAft>
                <a:spcPts val="0"/>
              </a:spcAft>
              <a:buClrTx/>
              <a:buSzTx/>
              <a:buFont typeface="Arial" pitchFamily="34" charset="0"/>
              <a:buNone/>
              <a:tabLst/>
              <a:defRPr sz="1600" kern="1200">
                <a:solidFill>
                  <a:schemeClr val="tx1"/>
                </a:solidFill>
                <a:latin typeface="Arial" pitchFamily="34" charset="0"/>
                <a:ea typeface="+mn-ea"/>
                <a:cs typeface="Arial" pitchFamily="34" charset="0"/>
              </a:defRPr>
            </a:lvl1pPr>
            <a:lvl2pPr marL="180000" marR="0" indent="-180000"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sz="1600" kern="1200">
                <a:solidFill>
                  <a:schemeClr val="tx1"/>
                </a:solidFill>
                <a:latin typeface="Arial" pitchFamily="34" charset="0"/>
                <a:ea typeface="+mn-ea"/>
                <a:cs typeface="Arial" pitchFamily="34" charset="0"/>
              </a:defRPr>
            </a:lvl2pPr>
            <a:lvl3pPr marL="36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sz="1600" kern="1200">
                <a:solidFill>
                  <a:schemeClr val="tx1"/>
                </a:solidFill>
                <a:latin typeface="Arial" pitchFamily="34" charset="0"/>
                <a:ea typeface="+mn-ea"/>
                <a:cs typeface="Arial" pitchFamily="34" charset="0"/>
              </a:defRPr>
            </a:lvl3pPr>
            <a:lvl4pPr marL="54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sz="1600" kern="1200">
                <a:solidFill>
                  <a:schemeClr val="tx1"/>
                </a:solidFill>
                <a:latin typeface="Arial" pitchFamily="34" charset="0"/>
                <a:ea typeface="+mn-ea"/>
                <a:cs typeface="Arial" pitchFamily="34" charset="0"/>
              </a:defRPr>
            </a:lvl4pPr>
            <a:lvl5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sz="1600" kern="1200">
                <a:solidFill>
                  <a:schemeClr val="tx1"/>
                </a:solidFill>
                <a:latin typeface="Arial" pitchFamily="34" charset="0"/>
                <a:ea typeface="+mn-ea"/>
                <a:cs typeface="Arial" pitchFamily="34" charset="0"/>
              </a:defRPr>
            </a:lvl5pPr>
            <a:lvl6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sz="1600" kern="1200">
                <a:solidFill>
                  <a:schemeClr val="tx1"/>
                </a:solidFill>
                <a:latin typeface="Arial" pitchFamily="34" charset="0"/>
                <a:ea typeface="+mn-ea"/>
                <a:cs typeface="Arial" pitchFamily="34" charset="0"/>
              </a:defRPr>
            </a:lvl6pPr>
            <a:lvl7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sz="1600" kern="1200">
                <a:solidFill>
                  <a:schemeClr val="tx1"/>
                </a:solidFill>
                <a:latin typeface="Arial" pitchFamily="34" charset="0"/>
                <a:ea typeface="+mn-ea"/>
                <a:cs typeface="Arial" pitchFamily="34" charset="0"/>
              </a:defRPr>
            </a:lvl7pPr>
            <a:lvl8pPr marL="540000" indent="-180000" algn="l" defTabSz="914400" rtl="0" eaLnBrk="1" latinLnBrk="0" hangingPunct="1">
              <a:spcBef>
                <a:spcPts val="300"/>
              </a:spcBef>
              <a:spcAft>
                <a:spcPts val="0"/>
              </a:spcAft>
              <a:buFont typeface="Arial" pitchFamily="34" charset="0"/>
              <a:buChar char="•"/>
              <a:defRPr sz="1600" kern="1200">
                <a:solidFill>
                  <a:schemeClr val="tx1"/>
                </a:solidFill>
                <a:latin typeface="Arial" pitchFamily="34" charset="0"/>
                <a:ea typeface="+mn-ea"/>
                <a:cs typeface="Arial" pitchFamily="34" charset="0"/>
              </a:defRPr>
            </a:lvl8pPr>
            <a:lvl9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sz="1600" kern="1200">
                <a:solidFill>
                  <a:schemeClr val="tx1"/>
                </a:solidFill>
                <a:latin typeface="Arial" pitchFamily="34" charset="0"/>
                <a:ea typeface="+mn-ea"/>
                <a:cs typeface="Arial" pitchFamily="34" charset="0"/>
              </a:defRPr>
            </a:lvl9pPr>
          </a:lstStyle>
          <a:p>
            <a:pPr marL="0" marR="0" lvl="0" indent="0" algn="l" defTabSz="914400" rtl="0" eaLnBrk="1" fontAlgn="auto" latinLnBrk="0" hangingPunct="1">
              <a:lnSpc>
                <a:spcPct val="100000"/>
              </a:lnSpc>
              <a:spcBef>
                <a:spcPts val="300"/>
              </a:spcBef>
              <a:spcAft>
                <a:spcPts val="0"/>
              </a:spcAft>
              <a:buClrTx/>
              <a:buSzTx/>
              <a:buFont typeface="Arial" pitchFamily="34" charset="0"/>
              <a:buNone/>
              <a:tabLst/>
              <a:defRPr/>
            </a:pPr>
            <a:r>
              <a:rPr kumimoji="0" lang="en-GB" sz="900" b="0" i="0" u="none" strike="noStrike" kern="1200" cap="none" spc="0" normalizeH="0" baseline="0" noProof="0">
                <a:ln>
                  <a:noFill/>
                </a:ln>
                <a:solidFill>
                  <a:srgbClr val="414549"/>
                </a:solidFill>
                <a:effectLst/>
                <a:uLnTx/>
                <a:uFillTx/>
                <a:latin typeface="Lato"/>
                <a:ea typeface="+mn-ea"/>
                <a:cs typeface="Arial" pitchFamily="34" charset="0"/>
              </a:rPr>
              <a:t>A08. Next you’ll see a list of current issues. Based on the information you have available (which you have picked up from the media, word of mouth or things you have noticed in everyday life), for each issue can you tell me if you’re currently worried about it and if so how much? </a:t>
            </a:r>
            <a:endParaRPr kumimoji="0" lang="fr-FR" sz="900" b="0" i="0" u="none" strike="noStrike" kern="1200" cap="none" spc="0" normalizeH="0" baseline="0" noProof="0">
              <a:ln>
                <a:noFill/>
              </a:ln>
              <a:solidFill>
                <a:srgbClr val="414549"/>
              </a:solidFill>
              <a:effectLst/>
              <a:uLnTx/>
              <a:uFillTx/>
              <a:latin typeface="Lato"/>
              <a:ea typeface="+mn-ea"/>
              <a:cs typeface="Arial" pitchFamily="34" charset="0"/>
            </a:endParaRPr>
          </a:p>
          <a:p>
            <a:pPr marL="0" marR="0" lvl="0" indent="0" algn="l" defTabSz="914400" rtl="0" eaLnBrk="1" fontAlgn="auto" latinLnBrk="0" hangingPunct="1">
              <a:lnSpc>
                <a:spcPct val="100000"/>
              </a:lnSpc>
              <a:spcBef>
                <a:spcPts val="300"/>
              </a:spcBef>
              <a:spcAft>
                <a:spcPts val="0"/>
              </a:spcAft>
              <a:buClrTx/>
              <a:buSzTx/>
              <a:buFont typeface="Arial" pitchFamily="34" charset="0"/>
              <a:buNone/>
              <a:tabLst/>
              <a:defRPr/>
            </a:pPr>
            <a:endParaRPr kumimoji="0" lang="fr-FR" sz="900" b="0" i="0" u="none" strike="noStrike" kern="1200" cap="none" spc="0" normalizeH="0" baseline="0" noProof="0">
              <a:ln>
                <a:noFill/>
              </a:ln>
              <a:solidFill>
                <a:srgbClr val="414549"/>
              </a:solidFill>
              <a:effectLst/>
              <a:uLnTx/>
              <a:uFillTx/>
              <a:latin typeface="Lato"/>
              <a:ea typeface="+mn-ea"/>
              <a:cs typeface="Arial" pitchFamily="34" charset="0"/>
            </a:endParaRPr>
          </a:p>
        </p:txBody>
      </p:sp>
      <p:sp>
        <p:nvSpPr>
          <p:cNvPr id="14" name="Заголовок 2">
            <a:extLst>
              <a:ext uri="{FF2B5EF4-FFF2-40B4-BE49-F238E27FC236}">
                <a16:creationId xmlns:a16="http://schemas.microsoft.com/office/drawing/2014/main" id="{D6C33C81-BAD2-4246-8E93-DADC98EB6A2F}"/>
              </a:ext>
            </a:extLst>
          </p:cNvPr>
          <p:cNvSpPr>
            <a:spLocks noGrp="1"/>
          </p:cNvSpPr>
          <p:nvPr>
            <p:ph type="title"/>
          </p:nvPr>
        </p:nvSpPr>
        <p:spPr>
          <a:xfrm>
            <a:off x="1075061" y="288923"/>
            <a:ext cx="9700939" cy="648000"/>
          </a:xfrm>
        </p:spPr>
        <p:txBody>
          <a:bodyPr/>
          <a:lstStyle/>
          <a:p>
            <a:r>
              <a:rPr lang="en-US"/>
              <a:t>Level of Concerns about Today’s Issues </a:t>
            </a:r>
          </a:p>
        </p:txBody>
      </p:sp>
      <p:sp>
        <p:nvSpPr>
          <p:cNvPr id="15" name="Подзаголовок 7">
            <a:extLst>
              <a:ext uri="{FF2B5EF4-FFF2-40B4-BE49-F238E27FC236}">
                <a16:creationId xmlns:a16="http://schemas.microsoft.com/office/drawing/2014/main" id="{8581297E-91E5-429F-957A-BF8B9739592A}"/>
              </a:ext>
            </a:extLst>
          </p:cNvPr>
          <p:cNvSpPr>
            <a:spLocks noGrp="1"/>
          </p:cNvSpPr>
          <p:nvPr>
            <p:ph type="subTitle" idx="13"/>
          </p:nvPr>
        </p:nvSpPr>
        <p:spPr>
          <a:xfrm>
            <a:off x="1084424" y="1020125"/>
            <a:ext cx="9816557" cy="457588"/>
          </a:xfrm>
        </p:spPr>
        <p:txBody>
          <a:bodyPr/>
          <a:lstStyle/>
          <a:p>
            <a:r>
              <a:rPr lang="en-US">
                <a:solidFill>
                  <a:schemeClr val="tx2"/>
                </a:solidFill>
                <a:ea typeface="Lato" panose="020F0502020204030203" pitchFamily="34" charset="0"/>
                <a:cs typeface="Lato" panose="020F0502020204030203" pitchFamily="34" charset="0"/>
              </a:rPr>
              <a:t>The economic crisis is now the main concern on top of Corona Virus in </a:t>
            </a:r>
          </a:p>
          <a:p>
            <a:r>
              <a:rPr lang="en-US">
                <a:solidFill>
                  <a:schemeClr val="tx2"/>
                </a:solidFill>
                <a:ea typeface="Lato" panose="020F0502020204030203" pitchFamily="34" charset="0"/>
                <a:cs typeface="Lato" panose="020F0502020204030203" pitchFamily="34" charset="0"/>
              </a:rPr>
              <a:t>all the countries.</a:t>
            </a:r>
            <a:endParaRPr lang="ru-RU">
              <a:solidFill>
                <a:schemeClr val="tx2"/>
              </a:solidFill>
            </a:endParaRPr>
          </a:p>
        </p:txBody>
      </p:sp>
    </p:spTree>
    <p:extLst>
      <p:ext uri="{BB962C8B-B14F-4D97-AF65-F5344CB8AC3E}">
        <p14:creationId xmlns:p14="http://schemas.microsoft.com/office/powerpoint/2010/main" val="24590880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Объект 6" hidden="1">
            <a:extLst>
              <a:ext uri="{FF2B5EF4-FFF2-40B4-BE49-F238E27FC236}">
                <a16:creationId xmlns:a16="http://schemas.microsoft.com/office/drawing/2014/main" id="{CA467CFE-E838-444F-A28C-A54B645496C7}"/>
              </a:ext>
            </a:extLst>
          </p:cNvPr>
          <p:cNvGraphicFramePr>
            <a:graphicFrameLocks noChangeAspect="1"/>
          </p:cNvGraphicFramePr>
          <p:nvPr>
            <p:custDataLst>
              <p:tags r:id="rId2"/>
            </p:custDataLst>
          </p:nvPr>
        </p:nvGraphicFramePr>
        <p:xfrm>
          <a:off x="3469" y="2646"/>
          <a:ext cx="1588" cy="1588"/>
        </p:xfrm>
        <a:graphic>
          <a:graphicData uri="http://schemas.openxmlformats.org/presentationml/2006/ole">
            <mc:AlternateContent xmlns:mc="http://schemas.openxmlformats.org/markup-compatibility/2006">
              <mc:Choice xmlns:v="urn:schemas-microsoft-com:vml" Requires="v">
                <p:oleObj spid="_x0000_s621623" name="Слайд think-cell" r:id="rId6" imgW="470" imgH="469" progId="TCLayout.ActiveDocument.1">
                  <p:embed/>
                </p:oleObj>
              </mc:Choice>
              <mc:Fallback>
                <p:oleObj name="Слайд think-cell" r:id="rId6" imgW="470" imgH="469" progId="TCLayout.ActiveDocument.1">
                  <p:embed/>
                  <p:pic>
                    <p:nvPicPr>
                      <p:cNvPr id="7" name="Объект 6" hidden="1">
                        <a:extLst>
                          <a:ext uri="{FF2B5EF4-FFF2-40B4-BE49-F238E27FC236}">
                            <a16:creationId xmlns:a16="http://schemas.microsoft.com/office/drawing/2014/main" id="{CA467CFE-E838-444F-A28C-A54B645496C7}"/>
                          </a:ext>
                        </a:extLst>
                      </p:cNvPr>
                      <p:cNvPicPr/>
                      <p:nvPr/>
                    </p:nvPicPr>
                    <p:blipFill>
                      <a:blip r:embed="rId7"/>
                      <a:stretch>
                        <a:fillRect/>
                      </a:stretch>
                    </p:blipFill>
                    <p:spPr>
                      <a:xfrm>
                        <a:off x="3469" y="2646"/>
                        <a:ext cx="1588" cy="1588"/>
                      </a:xfrm>
                      <a:prstGeom prst="rect">
                        <a:avLst/>
                      </a:prstGeom>
                    </p:spPr>
                  </p:pic>
                </p:oleObj>
              </mc:Fallback>
            </mc:AlternateContent>
          </a:graphicData>
        </a:graphic>
      </p:graphicFrame>
      <p:sp>
        <p:nvSpPr>
          <p:cNvPr id="4" name="Прямоугольник 3" hidden="1">
            <a:extLst>
              <a:ext uri="{FF2B5EF4-FFF2-40B4-BE49-F238E27FC236}">
                <a16:creationId xmlns:a16="http://schemas.microsoft.com/office/drawing/2014/main" id="{8E0953CE-4BF8-453A-A02D-C3DCCB40D86F}"/>
              </a:ext>
            </a:extLst>
          </p:cNvPr>
          <p:cNvSpPr/>
          <p:nvPr>
            <p:custDataLst>
              <p:tags r:id="rId3"/>
            </p:custDataLst>
          </p:nvPr>
        </p:nvSpPr>
        <p:spPr>
          <a:xfrm>
            <a:off x="1881" y="1059"/>
            <a:ext cx="158702" cy="158702"/>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103" rtl="0" eaLnBrk="1" fontAlgn="auto" latinLnBrk="0" hangingPunct="1">
              <a:lnSpc>
                <a:spcPct val="125000"/>
              </a:lnSpc>
              <a:spcBef>
                <a:spcPts val="0"/>
              </a:spcBef>
              <a:spcAft>
                <a:spcPts val="0"/>
              </a:spcAft>
              <a:buClrTx/>
              <a:buSzTx/>
              <a:buFontTx/>
              <a:buNone/>
              <a:tabLst/>
              <a:defRPr/>
            </a:pPr>
            <a:endParaRPr kumimoji="0" lang="ru-RU" sz="3199" b="1" i="0" u="none" strike="noStrike" kern="1200" cap="none" spc="0" normalizeH="0" baseline="0" noProof="0" dirty="0">
              <a:ln>
                <a:noFill/>
              </a:ln>
              <a:solidFill>
                <a:srgbClr val="FFFFFF"/>
              </a:solidFill>
              <a:effectLst/>
              <a:uLnTx/>
              <a:uFillTx/>
              <a:latin typeface="Lato Light" panose="020F0502020204030203" pitchFamily="34" charset="0"/>
              <a:ea typeface="+mn-ea"/>
              <a:cs typeface="+mn-cs"/>
              <a:sym typeface="Lato Light" panose="020F0502020204030203" pitchFamily="34" charset="0"/>
            </a:endParaRPr>
          </a:p>
        </p:txBody>
      </p:sp>
      <p:pic>
        <p:nvPicPr>
          <p:cNvPr id="3" name="Рисунок 2"/>
          <p:cNvPicPr>
            <a:picLocks noGrp="1" noChangeAspect="1"/>
          </p:cNvPicPr>
          <p:nvPr>
            <p:ph type="pic" sz="quarter" idx="17"/>
          </p:nvPr>
        </p:nvPicPr>
        <p:blipFill>
          <a:blip r:embed="rId8" cstate="print">
            <a:extLst>
              <a:ext uri="{28A0092B-C50C-407E-A947-70E740481C1C}">
                <a14:useLocalDpi xmlns:a14="http://schemas.microsoft.com/office/drawing/2010/main"/>
              </a:ext>
            </a:extLst>
          </a:blip>
          <a:srcRect/>
          <a:stretch>
            <a:fillRect/>
          </a:stretch>
        </p:blipFill>
        <p:spPr>
          <a:xfrm>
            <a:off x="1881" y="1058"/>
            <a:ext cx="6766509" cy="6855884"/>
          </a:xfrm>
        </p:spPr>
      </p:pic>
      <p:sp>
        <p:nvSpPr>
          <p:cNvPr id="34" name="Date Placeholder 1"/>
          <p:cNvSpPr>
            <a:spLocks noGrp="1"/>
          </p:cNvSpPr>
          <p:nvPr>
            <p:ph type="dt" sz="half" idx="14"/>
          </p:nvPr>
        </p:nvSpPr>
        <p:spPr>
          <a:xfrm>
            <a:off x="432949" y="6457380"/>
            <a:ext cx="472886" cy="159451"/>
          </a:xfrm>
        </p:spPr>
        <p:txBody>
          <a:bodyPr vert="horz" wrap="none" lIns="0" tIns="0" rIns="0" bIns="35989" rtlCol="0" anchor="b" anchorCtr="0">
            <a:spAutoFit/>
          </a:bodyPr>
          <a:lstStyle/>
          <a:p>
            <a:pPr marL="0" marR="0" lvl="0" indent="0" algn="r" defTabSz="914103" rtl="0" eaLnBrk="1" fontAlgn="auto" latinLnBrk="0" hangingPunct="1">
              <a:lnSpc>
                <a:spcPct val="100000"/>
              </a:lnSpc>
              <a:spcBef>
                <a:spcPts val="0"/>
              </a:spcBef>
              <a:spcAft>
                <a:spcPts val="0"/>
              </a:spcAft>
              <a:buClrTx/>
              <a:buSzTx/>
              <a:buFontTx/>
              <a:buNone/>
              <a:tabLst/>
              <a:defRPr/>
            </a:pPr>
            <a:fld id="{4CC19292-71B2-4BF0-8023-C669B9188137}" type="datetime5">
              <a:rPr kumimoji="0" lang="en-US" sz="800" b="0" i="0" u="none" strike="noStrike" kern="1200" cap="none" spc="0" normalizeH="0" baseline="0" noProof="0">
                <a:ln>
                  <a:noFill/>
                </a:ln>
                <a:solidFill>
                  <a:srgbClr val="FFFFFF"/>
                </a:solidFill>
                <a:effectLst/>
                <a:uLnTx/>
                <a:uFillTx/>
                <a:latin typeface="Lato"/>
                <a:ea typeface="+mn-ea"/>
                <a:cs typeface="+mn-cs"/>
              </a:rPr>
              <a:pPr marL="0" marR="0" lvl="0" indent="0" algn="r" defTabSz="914103" rtl="0" eaLnBrk="1" fontAlgn="auto" latinLnBrk="0" hangingPunct="1">
                <a:lnSpc>
                  <a:spcPct val="100000"/>
                </a:lnSpc>
                <a:spcBef>
                  <a:spcPts val="0"/>
                </a:spcBef>
                <a:spcAft>
                  <a:spcPts val="0"/>
                </a:spcAft>
                <a:buClrTx/>
                <a:buSzTx/>
                <a:buFontTx/>
                <a:buNone/>
                <a:tabLst/>
                <a:defRPr/>
              </a:pPr>
              <a:t>26-Jun-20</a:t>
            </a:fld>
            <a:endParaRPr kumimoji="0" lang="en-US" sz="800" b="0" i="0" u="none" strike="noStrike" kern="1200" cap="none" spc="0" normalizeH="0" baseline="0" noProof="0" dirty="0">
              <a:ln>
                <a:noFill/>
              </a:ln>
              <a:solidFill>
                <a:srgbClr val="FFFFFF"/>
              </a:solidFill>
              <a:effectLst/>
              <a:uLnTx/>
              <a:uFillTx/>
              <a:latin typeface="Lato"/>
              <a:ea typeface="+mn-ea"/>
              <a:cs typeface="+mn-cs"/>
            </a:endParaRPr>
          </a:p>
        </p:txBody>
      </p:sp>
      <p:sp>
        <p:nvSpPr>
          <p:cNvPr id="35" name="Footer Placeholder 2"/>
          <p:cNvSpPr>
            <a:spLocks noGrp="1"/>
          </p:cNvSpPr>
          <p:nvPr>
            <p:ph type="ftr" sz="quarter" idx="15"/>
          </p:nvPr>
        </p:nvSpPr>
        <p:spPr>
          <a:xfrm>
            <a:off x="1077949" y="6461019"/>
            <a:ext cx="4217802" cy="159451"/>
          </a:xfrm>
        </p:spPr>
        <p:txBody>
          <a:bodyPr vert="horz" lIns="0" tIns="0" rIns="0" bIns="35989" rtlCol="0" anchor="b" anchorCtr="0">
            <a:spAutoFit/>
          </a:bodyPr>
          <a:lstStyle/>
          <a:p>
            <a:pPr marL="171395" marR="0" lvl="0" indent="-171395" algn="l" defTabSz="914103" rtl="0" eaLnBrk="1" fontAlgn="auto" latinLnBrk="0" hangingPunct="1">
              <a:lnSpc>
                <a:spcPct val="100000"/>
              </a:lnSpc>
              <a:spcBef>
                <a:spcPts val="0"/>
              </a:spcBef>
              <a:spcAft>
                <a:spcPts val="0"/>
              </a:spcAft>
              <a:buClr>
                <a:srgbClr val="E55A00"/>
              </a:buClr>
              <a:buSzTx/>
              <a:buFont typeface="Wingdings" panose="05000000000000000000" pitchFamily="2" charset="2"/>
              <a:buChar char="§"/>
              <a:tabLst/>
              <a:defRPr/>
            </a:pPr>
            <a:r>
              <a:rPr kumimoji="0" lang="ru-RU" sz="800" b="0" i="0" u="none" strike="noStrike" kern="1200" cap="none" spc="0" normalizeH="0" baseline="0" noProof="0" dirty="0">
                <a:ln>
                  <a:noFill/>
                </a:ln>
                <a:solidFill>
                  <a:srgbClr val="FFFFFF"/>
                </a:solidFill>
                <a:effectLst/>
                <a:uLnTx/>
                <a:uFillTx/>
                <a:latin typeface="Lato"/>
                <a:ea typeface="+mn-ea"/>
                <a:cs typeface="+mn-cs"/>
              </a:rPr>
              <a:t>Еженедельный трекинг </a:t>
            </a:r>
            <a:r>
              <a:rPr kumimoji="0" lang="en-US" sz="800" b="0" i="0" u="none" strike="noStrike" kern="1200" cap="none" spc="0" normalizeH="0" baseline="0" noProof="0" dirty="0">
                <a:ln>
                  <a:noFill/>
                </a:ln>
                <a:solidFill>
                  <a:srgbClr val="FFFFFF"/>
                </a:solidFill>
                <a:effectLst/>
                <a:uLnTx/>
                <a:uFillTx/>
                <a:latin typeface="Lato"/>
                <a:ea typeface="+mn-ea"/>
                <a:cs typeface="+mn-cs"/>
              </a:rPr>
              <a:t>| </a:t>
            </a:r>
            <a:r>
              <a:rPr kumimoji="0" lang="ru-RU" sz="800" b="0" i="0" u="none" strike="noStrike" kern="1200" cap="none" spc="0" normalizeH="0" baseline="0" noProof="0" dirty="0">
                <a:ln>
                  <a:noFill/>
                </a:ln>
                <a:solidFill>
                  <a:srgbClr val="FFFFFF"/>
                </a:solidFill>
                <a:effectLst/>
                <a:uLnTx/>
                <a:uFillTx/>
                <a:latin typeface="Lato"/>
                <a:ea typeface="+mn-ea"/>
                <a:cs typeface="+mn-cs"/>
              </a:rPr>
              <a:t>Кристина </a:t>
            </a:r>
            <a:r>
              <a:rPr kumimoji="0" lang="ru-RU" sz="800" b="0" i="0" u="none" strike="noStrike" kern="1200" cap="none" spc="0" normalizeH="0" baseline="0" noProof="0" dirty="0" err="1">
                <a:ln>
                  <a:noFill/>
                </a:ln>
                <a:solidFill>
                  <a:srgbClr val="FFFFFF"/>
                </a:solidFill>
                <a:effectLst/>
                <a:uLnTx/>
                <a:uFillTx/>
                <a:latin typeface="Lato"/>
                <a:ea typeface="+mn-ea"/>
                <a:cs typeface="+mn-cs"/>
              </a:rPr>
              <a:t>Нарыкова</a:t>
            </a:r>
            <a:r>
              <a:rPr kumimoji="0" lang="ru-RU" sz="800" b="0" i="0" u="none" strike="noStrike" kern="1200" cap="none" spc="0" normalizeH="0" baseline="0" noProof="0" dirty="0">
                <a:ln>
                  <a:noFill/>
                </a:ln>
                <a:solidFill>
                  <a:srgbClr val="FFFFFF"/>
                </a:solidFill>
                <a:effectLst/>
                <a:uLnTx/>
                <a:uFillTx/>
                <a:latin typeface="Lato"/>
                <a:ea typeface="+mn-ea"/>
                <a:cs typeface="+mn-cs"/>
              </a:rPr>
              <a:t>  </a:t>
            </a:r>
            <a:r>
              <a:rPr kumimoji="0" lang="en-US" sz="800" b="0" i="0" u="none" strike="noStrike" kern="1200" cap="none" spc="0" normalizeH="0" baseline="0" noProof="0" dirty="0">
                <a:ln>
                  <a:noFill/>
                </a:ln>
                <a:solidFill>
                  <a:srgbClr val="FFFFFF"/>
                </a:solidFill>
                <a:effectLst/>
                <a:uLnTx/>
                <a:uFillTx/>
                <a:latin typeface="Lato"/>
                <a:ea typeface="+mn-ea"/>
                <a:cs typeface="+mn-cs"/>
              </a:rPr>
              <a:t>|</a:t>
            </a:r>
            <a:r>
              <a:rPr kumimoji="0" lang="ru-RU" sz="800" b="0" i="0" u="none" strike="noStrike" kern="1200" cap="none" spc="0" normalizeH="0" baseline="0" noProof="0" dirty="0">
                <a:ln>
                  <a:noFill/>
                </a:ln>
                <a:solidFill>
                  <a:srgbClr val="FFFFFF"/>
                </a:solidFill>
                <a:effectLst/>
                <a:uLnTx/>
                <a:uFillTx/>
                <a:latin typeface="Lato"/>
                <a:ea typeface="+mn-ea"/>
                <a:cs typeface="+mn-cs"/>
              </a:rPr>
              <a:t>  Выйти из кризиса </a:t>
            </a:r>
            <a:r>
              <a:rPr kumimoji="0" lang="en-US" sz="800" b="0" i="0" u="none" strike="noStrike" kern="1200" cap="none" spc="0" normalizeH="0" baseline="0" noProof="0" dirty="0">
                <a:ln>
                  <a:noFill/>
                </a:ln>
                <a:solidFill>
                  <a:srgbClr val="FFFFFF"/>
                </a:solidFill>
                <a:effectLst/>
                <a:uLnTx/>
                <a:uFillTx/>
                <a:latin typeface="Lato"/>
                <a:ea typeface="+mn-ea"/>
                <a:cs typeface="+mn-cs"/>
              </a:rPr>
              <a:t>|  </a:t>
            </a:r>
            <a:r>
              <a:rPr kumimoji="0" lang="ru-RU" sz="800" b="0" i="0" u="none" strike="noStrike" kern="1200" cap="none" spc="0" normalizeH="0" baseline="0" noProof="0" dirty="0" err="1">
                <a:ln>
                  <a:noFill/>
                </a:ln>
                <a:solidFill>
                  <a:srgbClr val="FFFFFF"/>
                </a:solidFill>
                <a:effectLst/>
                <a:uLnTx/>
                <a:uFillTx/>
                <a:latin typeface="Lato"/>
                <a:ea typeface="+mn-ea"/>
                <a:cs typeface="+mn-cs"/>
              </a:rPr>
              <a:t>Вебинар</a:t>
            </a:r>
            <a:r>
              <a:rPr kumimoji="0" lang="ru-RU" sz="800" b="0" i="0" u="none" strike="noStrike" kern="1200" cap="none" spc="0" normalizeH="0" baseline="0" noProof="0" dirty="0">
                <a:ln>
                  <a:noFill/>
                </a:ln>
                <a:solidFill>
                  <a:srgbClr val="FFFFFF"/>
                </a:solidFill>
                <a:effectLst/>
                <a:uLnTx/>
                <a:uFillTx/>
                <a:latin typeface="Lato"/>
                <a:ea typeface="+mn-ea"/>
                <a:cs typeface="+mn-cs"/>
              </a:rPr>
              <a:t> </a:t>
            </a:r>
            <a:r>
              <a:rPr kumimoji="0" lang="en-US" sz="800" b="0" i="0" u="none" strike="noStrike" kern="1200" cap="none" spc="0" normalizeH="0" baseline="0" noProof="0" dirty="0" err="1">
                <a:ln>
                  <a:noFill/>
                </a:ln>
                <a:solidFill>
                  <a:srgbClr val="FFFFFF"/>
                </a:solidFill>
                <a:effectLst/>
                <a:uLnTx/>
                <a:uFillTx/>
                <a:latin typeface="Lato"/>
                <a:ea typeface="+mn-ea"/>
                <a:cs typeface="+mn-cs"/>
              </a:rPr>
              <a:t>GfK</a:t>
            </a:r>
            <a:r>
              <a:rPr kumimoji="0" lang="en-US" sz="800" b="0" i="0" u="none" strike="noStrike" kern="1200" cap="none" spc="0" normalizeH="0" baseline="0" noProof="0" dirty="0">
                <a:ln>
                  <a:noFill/>
                </a:ln>
                <a:solidFill>
                  <a:srgbClr val="FFFFFF"/>
                </a:solidFill>
                <a:effectLst/>
                <a:uLnTx/>
                <a:uFillTx/>
                <a:latin typeface="Lato"/>
                <a:ea typeface="+mn-ea"/>
                <a:cs typeface="+mn-cs"/>
              </a:rPr>
              <a:t> </a:t>
            </a:r>
            <a:r>
              <a:rPr kumimoji="0" lang="en-US" sz="800" b="0" i="0" u="none" strike="noStrike" kern="1200" cap="none" spc="0" normalizeH="0" baseline="0" noProof="0" dirty="0" err="1">
                <a:ln>
                  <a:noFill/>
                </a:ln>
                <a:solidFill>
                  <a:srgbClr val="FFFFFF"/>
                </a:solidFill>
                <a:effectLst/>
                <a:uLnTx/>
                <a:uFillTx/>
                <a:latin typeface="Lato"/>
                <a:ea typeface="+mn-ea"/>
                <a:cs typeface="+mn-cs"/>
              </a:rPr>
              <a:t>Rus</a:t>
            </a:r>
            <a:endParaRPr kumimoji="0" lang="en-US" sz="800" b="0" i="0" u="none" strike="noStrike" kern="1200" cap="none" spc="0" normalizeH="0" baseline="0" noProof="0" dirty="0">
              <a:ln>
                <a:noFill/>
              </a:ln>
              <a:solidFill>
                <a:srgbClr val="FFFFFF"/>
              </a:solidFill>
              <a:effectLst/>
              <a:uLnTx/>
              <a:uFillTx/>
              <a:latin typeface="Lato"/>
              <a:ea typeface="+mn-ea"/>
              <a:cs typeface="+mn-cs"/>
            </a:endParaRPr>
          </a:p>
        </p:txBody>
      </p:sp>
      <p:sp>
        <p:nvSpPr>
          <p:cNvPr id="33" name="Равнобедренный треугольник 32"/>
          <p:cNvSpPr/>
          <p:nvPr/>
        </p:nvSpPr>
        <p:spPr>
          <a:xfrm rot="5400000" flipV="1">
            <a:off x="2139020" y="2628500"/>
            <a:ext cx="6855884" cy="1601003"/>
          </a:xfrm>
          <a:prstGeom prst="triangle">
            <a:avLst>
              <a:gd name="adj" fmla="val 39065"/>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1978" tIns="35989" rIns="71978" bIns="35989" rtlCol="0" anchor="ctr"/>
          <a:lstStyle/>
          <a:p>
            <a:pPr marL="0" marR="0" lvl="0" indent="0" algn="ctr" defTabSz="914103" rtl="0" eaLnBrk="1" fontAlgn="auto" latinLnBrk="0" hangingPunct="1">
              <a:lnSpc>
                <a:spcPct val="125000"/>
              </a:lnSpc>
              <a:spcBef>
                <a:spcPts val="0"/>
              </a:spcBef>
              <a:spcAft>
                <a:spcPts val="0"/>
              </a:spcAft>
              <a:buClrTx/>
              <a:buSzTx/>
              <a:buFontTx/>
              <a:buNone/>
              <a:tabLst/>
              <a:defRPr/>
            </a:pPr>
            <a:endParaRPr kumimoji="0" lang="ru-RU" sz="1599" b="0" i="0" u="none" strike="noStrike" kern="1200" cap="none" spc="0" normalizeH="0" baseline="0" noProof="0" dirty="0">
              <a:ln>
                <a:noFill/>
              </a:ln>
              <a:solidFill>
                <a:srgbClr val="FFFFFF"/>
              </a:solidFill>
              <a:effectLst/>
              <a:uLnTx/>
              <a:uFillTx/>
              <a:latin typeface="Lato"/>
              <a:ea typeface="+mn-ea"/>
              <a:cs typeface="+mn-cs"/>
            </a:endParaRPr>
          </a:p>
        </p:txBody>
      </p:sp>
      <p:sp>
        <p:nvSpPr>
          <p:cNvPr id="9" name="Slide Number Placeholder 3"/>
          <p:cNvSpPr>
            <a:spLocks noGrp="1"/>
          </p:cNvSpPr>
          <p:nvPr>
            <p:ph type="sldNum" sz="quarter" idx="4294967295"/>
          </p:nvPr>
        </p:nvSpPr>
        <p:spPr>
          <a:xfrm>
            <a:off x="11185099" y="6460736"/>
            <a:ext cx="647800" cy="133749"/>
          </a:xfrm>
          <a:prstGeom prst="rect">
            <a:avLst/>
          </a:prstGeom>
        </p:spPr>
        <p:txBody>
          <a:bodyPr/>
          <a:lstStyle/>
          <a:p>
            <a:pPr marL="0" marR="0" lvl="0" indent="0" algn="r" defTabSz="914103" rtl="0" eaLnBrk="1" fontAlgn="auto" latinLnBrk="0" hangingPunct="1">
              <a:lnSpc>
                <a:spcPct val="100000"/>
              </a:lnSpc>
              <a:spcBef>
                <a:spcPts val="0"/>
              </a:spcBef>
              <a:spcAft>
                <a:spcPts val="0"/>
              </a:spcAft>
              <a:buClrTx/>
              <a:buSzTx/>
              <a:buFontTx/>
              <a:buNone/>
              <a:tabLst/>
              <a:defRPr/>
            </a:pPr>
            <a:fld id="{5F3E29E4-0979-4FCA-B4C5-5FC6044C982A}" type="slidenum">
              <a:rPr kumimoji="0" lang="en-US" sz="900" b="0" i="0" u="none" strike="noStrike" kern="1200" cap="none" spc="0" normalizeH="0" baseline="0" noProof="0">
                <a:ln>
                  <a:noFill/>
                </a:ln>
                <a:solidFill>
                  <a:srgbClr val="414549"/>
                </a:solidFill>
                <a:effectLst/>
                <a:uLnTx/>
                <a:uFillTx/>
                <a:latin typeface="Lato"/>
                <a:ea typeface="+mn-ea"/>
                <a:cs typeface="+mn-cs"/>
              </a:rPr>
              <a:pPr marL="0" marR="0" lvl="0" indent="0" algn="r" defTabSz="914103" rtl="0" eaLnBrk="1" fontAlgn="auto" latinLnBrk="0" hangingPunct="1">
                <a:lnSpc>
                  <a:spcPct val="100000"/>
                </a:lnSpc>
                <a:spcBef>
                  <a:spcPts val="0"/>
                </a:spcBef>
                <a:spcAft>
                  <a:spcPts val="0"/>
                </a:spcAft>
                <a:buClrTx/>
                <a:buSzTx/>
                <a:buFontTx/>
                <a:buNone/>
                <a:tabLst/>
                <a:defRPr/>
              </a:pPr>
              <a:t>7</a:t>
            </a:fld>
            <a:endParaRPr kumimoji="0" lang="en-US" sz="900" b="0" i="0" u="none" strike="noStrike" kern="1200" cap="none" spc="0" normalizeH="0" baseline="0" noProof="0" dirty="0">
              <a:ln>
                <a:noFill/>
              </a:ln>
              <a:solidFill>
                <a:srgbClr val="414549"/>
              </a:solidFill>
              <a:effectLst/>
              <a:uLnTx/>
              <a:uFillTx/>
              <a:latin typeface="Lato"/>
              <a:ea typeface="+mn-ea"/>
              <a:cs typeface="+mn-cs"/>
            </a:endParaRPr>
          </a:p>
        </p:txBody>
      </p:sp>
      <p:sp>
        <p:nvSpPr>
          <p:cNvPr id="24" name="Rechteck 25">
            <a:extLst>
              <a:ext uri="{FF2B5EF4-FFF2-40B4-BE49-F238E27FC236}">
                <a16:creationId xmlns:a16="http://schemas.microsoft.com/office/drawing/2014/main" id="{6DDAEBD6-40CE-4690-B652-BB476AB13C28}"/>
              </a:ext>
            </a:extLst>
          </p:cNvPr>
          <p:cNvSpPr/>
          <p:nvPr/>
        </p:nvSpPr>
        <p:spPr>
          <a:xfrm>
            <a:off x="10825621" y="4302448"/>
            <a:ext cx="793868" cy="369332"/>
          </a:xfrm>
          <a:prstGeom prst="rect">
            <a:avLst/>
          </a:prstGeom>
        </p:spPr>
        <p:txBody>
          <a:bodyPr wrap="square" lIns="0" tIns="0" rIns="0" bIns="0">
            <a:spAutoFit/>
          </a:bodyPr>
          <a:lstStyle/>
          <a:p>
            <a:pPr marL="0" marR="0" lvl="0" indent="0" algn="ctr" defTabSz="914103" rtl="0" eaLnBrk="1" fontAlgn="auto" latinLnBrk="0" hangingPunct="1">
              <a:lnSpc>
                <a:spcPct val="100000"/>
              </a:lnSpc>
              <a:spcBef>
                <a:spcPts val="0"/>
              </a:spcBef>
              <a:spcAft>
                <a:spcPts val="0"/>
              </a:spcAft>
              <a:buClrTx/>
              <a:buSzTx/>
              <a:buFontTx/>
              <a:buNone/>
              <a:tabLst/>
              <a:defRPr sz="900" b="0" i="0" u="none" strike="noStrike" kern="1200" spc="0" baseline="0">
                <a:solidFill>
                  <a:srgbClr val="000000">
                    <a:lumMod val="65000"/>
                    <a:lumOff val="35000"/>
                  </a:srgbClr>
                </a:solidFill>
                <a:latin typeface="+mn-lt"/>
                <a:ea typeface="+mn-ea"/>
                <a:cs typeface="+mn-cs"/>
              </a:defRPr>
            </a:pPr>
            <a:endParaRPr kumimoji="0" lang="ru-RU" sz="1200" b="1" i="0" u="none" strike="noStrike" kern="1200" cap="none" spc="0" normalizeH="0" baseline="0" noProof="0" dirty="0">
              <a:ln>
                <a:noFill/>
              </a:ln>
              <a:solidFill>
                <a:srgbClr val="000000">
                  <a:lumMod val="65000"/>
                  <a:lumOff val="35000"/>
                </a:srgbClr>
              </a:solidFill>
              <a:effectLst/>
              <a:uLnTx/>
              <a:uFillTx/>
              <a:latin typeface="Lato"/>
              <a:ea typeface="+mn-ea"/>
              <a:cs typeface="+mn-cs"/>
            </a:endParaRPr>
          </a:p>
          <a:p>
            <a:pPr marL="0" marR="0" lvl="0" indent="0" algn="ctr" defTabSz="914103" rtl="0" eaLnBrk="1" fontAlgn="auto" latinLnBrk="0" hangingPunct="1">
              <a:lnSpc>
                <a:spcPct val="100000"/>
              </a:lnSpc>
              <a:spcBef>
                <a:spcPts val="0"/>
              </a:spcBef>
              <a:spcAft>
                <a:spcPts val="0"/>
              </a:spcAft>
              <a:buClrTx/>
              <a:buSzTx/>
              <a:buFontTx/>
              <a:buNone/>
              <a:tabLst/>
              <a:defRPr sz="900" b="0" i="0" u="none" strike="noStrike" kern="1200" spc="0" baseline="0">
                <a:solidFill>
                  <a:srgbClr val="000000">
                    <a:lumMod val="65000"/>
                    <a:lumOff val="35000"/>
                  </a:srgbClr>
                </a:solidFill>
                <a:latin typeface="+mn-lt"/>
                <a:ea typeface="+mn-ea"/>
                <a:cs typeface="+mn-cs"/>
              </a:defRPr>
            </a:pPr>
            <a:r>
              <a:rPr kumimoji="0" lang="ru-RU" sz="1200" b="0" i="0" u="none" strike="noStrike" kern="1200" cap="none" spc="0" normalizeH="0" baseline="0" noProof="0" dirty="0">
                <a:ln>
                  <a:noFill/>
                </a:ln>
                <a:solidFill>
                  <a:srgbClr val="000000">
                    <a:lumMod val="65000"/>
                    <a:lumOff val="35000"/>
                  </a:srgbClr>
                </a:solidFill>
                <a:effectLst/>
                <a:uLnTx/>
                <a:uFillTx/>
                <a:latin typeface="Lato"/>
                <a:ea typeface="+mn-ea"/>
                <a:cs typeface="+mn-cs"/>
              </a:rPr>
              <a:t>(06–12.04)</a:t>
            </a:r>
            <a:endParaRPr kumimoji="0" lang="en-GB" sz="1200" b="0" i="0" u="none" strike="noStrike" kern="1200" cap="none" spc="0" normalizeH="0" baseline="0" noProof="0" dirty="0">
              <a:ln>
                <a:noFill/>
              </a:ln>
              <a:solidFill>
                <a:srgbClr val="000000">
                  <a:lumMod val="65000"/>
                  <a:lumOff val="35000"/>
                </a:srgbClr>
              </a:solidFill>
              <a:effectLst/>
              <a:uLnTx/>
              <a:uFillTx/>
              <a:latin typeface="Lato"/>
              <a:ea typeface="+mn-ea"/>
              <a:cs typeface="+mn-cs"/>
            </a:endParaRPr>
          </a:p>
        </p:txBody>
      </p:sp>
      <p:sp>
        <p:nvSpPr>
          <p:cNvPr id="25" name="Rechteck 25">
            <a:extLst>
              <a:ext uri="{FF2B5EF4-FFF2-40B4-BE49-F238E27FC236}">
                <a16:creationId xmlns:a16="http://schemas.microsoft.com/office/drawing/2014/main" id="{6DDAEBD6-40CE-4690-B652-BB476AB13C28}"/>
              </a:ext>
            </a:extLst>
          </p:cNvPr>
          <p:cNvSpPr/>
          <p:nvPr/>
        </p:nvSpPr>
        <p:spPr>
          <a:xfrm>
            <a:off x="9694449" y="4302448"/>
            <a:ext cx="1085717" cy="369332"/>
          </a:xfrm>
          <a:prstGeom prst="rect">
            <a:avLst/>
          </a:prstGeom>
        </p:spPr>
        <p:txBody>
          <a:bodyPr wrap="square" lIns="0" tIns="0" rIns="0" bIns="0">
            <a:spAutoFit/>
          </a:bodyPr>
          <a:lstStyle/>
          <a:p>
            <a:pPr marL="0" marR="0" lvl="0" indent="0" algn="ctr" defTabSz="914103" rtl="0" eaLnBrk="1" fontAlgn="auto" latinLnBrk="0" hangingPunct="1">
              <a:lnSpc>
                <a:spcPct val="100000"/>
              </a:lnSpc>
              <a:spcBef>
                <a:spcPts val="0"/>
              </a:spcBef>
              <a:spcAft>
                <a:spcPts val="0"/>
              </a:spcAft>
              <a:buClrTx/>
              <a:buSzTx/>
              <a:buFontTx/>
              <a:buNone/>
              <a:tabLst/>
              <a:defRPr sz="900" b="0" i="0" u="none" strike="noStrike" kern="1200" spc="0" baseline="0">
                <a:solidFill>
                  <a:srgbClr val="000000">
                    <a:lumMod val="65000"/>
                    <a:lumOff val="35000"/>
                  </a:srgbClr>
                </a:solidFill>
                <a:latin typeface="+mn-lt"/>
                <a:ea typeface="+mn-ea"/>
                <a:cs typeface="+mn-cs"/>
              </a:defRPr>
            </a:pPr>
            <a:endParaRPr kumimoji="0" lang="ru-RU" sz="1200" b="1" i="0" u="none" strike="noStrike" kern="1200" cap="none" spc="0" normalizeH="0" baseline="0" noProof="0" dirty="0">
              <a:ln>
                <a:noFill/>
              </a:ln>
              <a:solidFill>
                <a:srgbClr val="000000">
                  <a:lumMod val="65000"/>
                  <a:lumOff val="35000"/>
                </a:srgbClr>
              </a:solidFill>
              <a:effectLst/>
              <a:uLnTx/>
              <a:uFillTx/>
              <a:latin typeface="Lato"/>
              <a:ea typeface="+mn-ea"/>
              <a:cs typeface="+mn-cs"/>
            </a:endParaRPr>
          </a:p>
          <a:p>
            <a:pPr marL="0" marR="0" lvl="0" indent="0" algn="ctr" defTabSz="914103" rtl="0" eaLnBrk="1" fontAlgn="auto" latinLnBrk="0" hangingPunct="1">
              <a:lnSpc>
                <a:spcPct val="100000"/>
              </a:lnSpc>
              <a:spcBef>
                <a:spcPts val="0"/>
              </a:spcBef>
              <a:spcAft>
                <a:spcPts val="0"/>
              </a:spcAft>
              <a:buClrTx/>
              <a:buSzTx/>
              <a:buFontTx/>
              <a:buNone/>
              <a:tabLst/>
              <a:defRPr sz="900" b="0" i="0" u="none" strike="noStrike" kern="1200" spc="0" baseline="0">
                <a:solidFill>
                  <a:srgbClr val="000000">
                    <a:lumMod val="65000"/>
                    <a:lumOff val="35000"/>
                  </a:srgbClr>
                </a:solidFill>
                <a:latin typeface="+mn-lt"/>
                <a:ea typeface="+mn-ea"/>
                <a:cs typeface="+mn-cs"/>
              </a:defRPr>
            </a:pPr>
            <a:r>
              <a:rPr kumimoji="0" lang="ru-RU" sz="1200" b="0" i="0" u="none" strike="noStrike" kern="1200" cap="none" spc="0" normalizeH="0" baseline="0" noProof="0" dirty="0">
                <a:ln>
                  <a:noFill/>
                </a:ln>
                <a:solidFill>
                  <a:srgbClr val="000000">
                    <a:lumMod val="65000"/>
                    <a:lumOff val="35000"/>
                  </a:srgbClr>
                </a:solidFill>
                <a:effectLst/>
                <a:uLnTx/>
                <a:uFillTx/>
                <a:latin typeface="Lato"/>
                <a:ea typeface="+mn-ea"/>
                <a:cs typeface="+mn-cs"/>
              </a:rPr>
              <a:t>(31.03–05.04)</a:t>
            </a:r>
            <a:endParaRPr kumimoji="0" lang="en-GB" sz="1200" b="0" i="0" u="none" strike="noStrike" kern="1200" cap="none" spc="0" normalizeH="0" baseline="0" noProof="0" dirty="0">
              <a:ln>
                <a:noFill/>
              </a:ln>
              <a:solidFill>
                <a:srgbClr val="000000">
                  <a:lumMod val="65000"/>
                  <a:lumOff val="35000"/>
                </a:srgbClr>
              </a:solidFill>
              <a:effectLst/>
              <a:uLnTx/>
              <a:uFillTx/>
              <a:latin typeface="Lato"/>
              <a:ea typeface="+mn-ea"/>
              <a:cs typeface="+mn-cs"/>
            </a:endParaRPr>
          </a:p>
        </p:txBody>
      </p:sp>
      <p:sp>
        <p:nvSpPr>
          <p:cNvPr id="26" name="Rechteck 25">
            <a:extLst>
              <a:ext uri="{FF2B5EF4-FFF2-40B4-BE49-F238E27FC236}">
                <a16:creationId xmlns:a16="http://schemas.microsoft.com/office/drawing/2014/main" id="{6DDAEBD6-40CE-4690-B652-BB476AB13C28}"/>
              </a:ext>
            </a:extLst>
          </p:cNvPr>
          <p:cNvSpPr/>
          <p:nvPr/>
        </p:nvSpPr>
        <p:spPr>
          <a:xfrm>
            <a:off x="8738775" y="4302448"/>
            <a:ext cx="897499" cy="369332"/>
          </a:xfrm>
          <a:prstGeom prst="rect">
            <a:avLst/>
          </a:prstGeom>
        </p:spPr>
        <p:txBody>
          <a:bodyPr wrap="square" lIns="0" tIns="0" rIns="0" bIns="0">
            <a:spAutoFit/>
          </a:bodyPr>
          <a:lstStyle/>
          <a:p>
            <a:pPr marL="0" marR="0" lvl="0" indent="0" algn="ctr" defTabSz="914103" rtl="0" eaLnBrk="1" fontAlgn="auto" latinLnBrk="0" hangingPunct="1">
              <a:lnSpc>
                <a:spcPct val="100000"/>
              </a:lnSpc>
              <a:spcBef>
                <a:spcPts val="0"/>
              </a:spcBef>
              <a:spcAft>
                <a:spcPts val="0"/>
              </a:spcAft>
              <a:buClrTx/>
              <a:buSzTx/>
              <a:buFontTx/>
              <a:buNone/>
              <a:tabLst/>
              <a:defRPr sz="900" b="0" i="0" u="none" strike="noStrike" kern="1200" spc="0" baseline="0">
                <a:solidFill>
                  <a:srgbClr val="000000">
                    <a:lumMod val="65000"/>
                    <a:lumOff val="35000"/>
                  </a:srgbClr>
                </a:solidFill>
                <a:latin typeface="+mn-lt"/>
                <a:ea typeface="+mn-ea"/>
                <a:cs typeface="+mn-cs"/>
              </a:defRPr>
            </a:pPr>
            <a:endParaRPr kumimoji="0" lang="ru-RU" sz="1200" b="0" i="0" u="none" strike="noStrike" kern="1200" cap="none" spc="0" normalizeH="0" baseline="0" noProof="0" dirty="0">
              <a:ln>
                <a:noFill/>
              </a:ln>
              <a:solidFill>
                <a:srgbClr val="000000">
                  <a:lumMod val="65000"/>
                  <a:lumOff val="35000"/>
                </a:srgbClr>
              </a:solidFill>
              <a:effectLst/>
              <a:uLnTx/>
              <a:uFillTx/>
              <a:latin typeface="Lato"/>
              <a:ea typeface="+mn-ea"/>
              <a:cs typeface="+mn-cs"/>
            </a:endParaRPr>
          </a:p>
          <a:p>
            <a:pPr marL="0" marR="0" lvl="0" indent="0" algn="ctr" defTabSz="914103" rtl="0" eaLnBrk="1" fontAlgn="auto" latinLnBrk="0" hangingPunct="1">
              <a:lnSpc>
                <a:spcPct val="100000"/>
              </a:lnSpc>
              <a:spcBef>
                <a:spcPts val="0"/>
              </a:spcBef>
              <a:spcAft>
                <a:spcPts val="0"/>
              </a:spcAft>
              <a:buClrTx/>
              <a:buSzTx/>
              <a:buFontTx/>
              <a:buNone/>
              <a:tabLst/>
              <a:defRPr sz="900" b="0" i="0" u="none" strike="noStrike" kern="1200" spc="0" baseline="0">
                <a:solidFill>
                  <a:srgbClr val="000000">
                    <a:lumMod val="65000"/>
                    <a:lumOff val="35000"/>
                  </a:srgbClr>
                </a:solidFill>
                <a:latin typeface="+mn-lt"/>
                <a:ea typeface="+mn-ea"/>
                <a:cs typeface="+mn-cs"/>
              </a:defRPr>
            </a:pPr>
            <a:r>
              <a:rPr kumimoji="0" lang="ru-RU" sz="1200" b="0" i="0" u="none" strike="noStrike" kern="1200" cap="none" spc="0" normalizeH="0" baseline="0" noProof="0" dirty="0">
                <a:ln>
                  <a:noFill/>
                </a:ln>
                <a:solidFill>
                  <a:srgbClr val="000000">
                    <a:lumMod val="65000"/>
                    <a:lumOff val="35000"/>
                  </a:srgbClr>
                </a:solidFill>
                <a:effectLst/>
                <a:uLnTx/>
                <a:uFillTx/>
                <a:latin typeface="Lato"/>
                <a:ea typeface="+mn-ea"/>
                <a:cs typeface="+mn-cs"/>
              </a:rPr>
              <a:t>(27–30.03)</a:t>
            </a:r>
            <a:endParaRPr kumimoji="0" lang="en-GB" sz="1200" b="0" i="0" u="none" strike="noStrike" kern="1200" cap="none" spc="0" normalizeH="0" baseline="0" noProof="0" dirty="0">
              <a:ln>
                <a:noFill/>
              </a:ln>
              <a:solidFill>
                <a:srgbClr val="000000">
                  <a:lumMod val="65000"/>
                  <a:lumOff val="35000"/>
                </a:srgbClr>
              </a:solidFill>
              <a:effectLst/>
              <a:uLnTx/>
              <a:uFillTx/>
              <a:latin typeface="Lato"/>
              <a:ea typeface="+mn-ea"/>
              <a:cs typeface="+mn-cs"/>
            </a:endParaRPr>
          </a:p>
        </p:txBody>
      </p:sp>
      <p:cxnSp>
        <p:nvCxnSpPr>
          <p:cNvPr id="27" name="Прямая соединительная линия 26"/>
          <p:cNvCxnSpPr/>
          <p:nvPr/>
        </p:nvCxnSpPr>
        <p:spPr>
          <a:xfrm rot="16200000" flipH="1">
            <a:off x="8680001" y="1623723"/>
            <a:ext cx="0" cy="6226078"/>
          </a:xfrm>
          <a:prstGeom prst="line">
            <a:avLst/>
          </a:prstGeom>
          <a:ln w="6350">
            <a:solidFill>
              <a:srgbClr val="E55A00"/>
            </a:solidFill>
          </a:ln>
        </p:spPr>
        <p:style>
          <a:lnRef idx="1">
            <a:schemeClr val="accent1"/>
          </a:lnRef>
          <a:fillRef idx="0">
            <a:schemeClr val="accent1"/>
          </a:fillRef>
          <a:effectRef idx="0">
            <a:schemeClr val="accent1"/>
          </a:effectRef>
          <a:fontRef idx="minor">
            <a:schemeClr val="tx1"/>
          </a:fontRef>
        </p:style>
      </p:cxnSp>
      <p:sp>
        <p:nvSpPr>
          <p:cNvPr id="36" name="Прямоугольник 35"/>
          <p:cNvSpPr/>
          <p:nvPr/>
        </p:nvSpPr>
        <p:spPr>
          <a:xfrm>
            <a:off x="6362104" y="5946268"/>
            <a:ext cx="400927" cy="91512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1978" tIns="35989" rIns="71978" bIns="35989" rtlCol="0" anchor="ctr"/>
          <a:lstStyle/>
          <a:p>
            <a:pPr marL="0" marR="0" lvl="0" indent="0" algn="ctr" defTabSz="914103" rtl="0" eaLnBrk="1" fontAlgn="auto" latinLnBrk="0" hangingPunct="1">
              <a:lnSpc>
                <a:spcPct val="125000"/>
              </a:lnSpc>
              <a:spcBef>
                <a:spcPts val="0"/>
              </a:spcBef>
              <a:spcAft>
                <a:spcPts val="0"/>
              </a:spcAft>
              <a:buClrTx/>
              <a:buSzTx/>
              <a:buFontTx/>
              <a:buNone/>
              <a:tabLst/>
              <a:defRPr/>
            </a:pPr>
            <a:endParaRPr kumimoji="0" lang="ru-RU" sz="1599" b="0" i="0" u="none" strike="noStrike" kern="1200" cap="none" spc="0" normalizeH="0" baseline="0" noProof="0" dirty="0">
              <a:ln>
                <a:noFill/>
              </a:ln>
              <a:solidFill>
                <a:srgbClr val="FFFFFF"/>
              </a:solidFill>
              <a:effectLst/>
              <a:uLnTx/>
              <a:uFillTx/>
              <a:latin typeface="Lato"/>
              <a:ea typeface="+mn-ea"/>
              <a:cs typeface="+mn-cs"/>
            </a:endParaRPr>
          </a:p>
        </p:txBody>
      </p:sp>
      <p:sp>
        <p:nvSpPr>
          <p:cNvPr id="37" name="Прямоугольник 36"/>
          <p:cNvSpPr/>
          <p:nvPr/>
        </p:nvSpPr>
        <p:spPr>
          <a:xfrm>
            <a:off x="6313994" y="1059"/>
            <a:ext cx="400927" cy="91512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1978" tIns="35989" rIns="71978" bIns="35989" rtlCol="0" anchor="ctr"/>
          <a:lstStyle/>
          <a:p>
            <a:pPr marL="0" marR="0" lvl="0" indent="0" algn="ctr" defTabSz="914103" rtl="0" eaLnBrk="1" fontAlgn="auto" latinLnBrk="0" hangingPunct="1">
              <a:lnSpc>
                <a:spcPct val="125000"/>
              </a:lnSpc>
              <a:spcBef>
                <a:spcPts val="0"/>
              </a:spcBef>
              <a:spcAft>
                <a:spcPts val="0"/>
              </a:spcAft>
              <a:buClrTx/>
              <a:buSzTx/>
              <a:buFontTx/>
              <a:buNone/>
              <a:tabLst/>
              <a:defRPr/>
            </a:pPr>
            <a:endParaRPr kumimoji="0" lang="ru-RU" sz="1599" b="0" i="0" u="none" strike="noStrike" kern="1200" cap="none" spc="0" normalizeH="0" baseline="0" noProof="0" dirty="0">
              <a:ln>
                <a:noFill/>
              </a:ln>
              <a:solidFill>
                <a:srgbClr val="FFFFFF"/>
              </a:solidFill>
              <a:effectLst/>
              <a:uLnTx/>
              <a:uFillTx/>
              <a:latin typeface="Lato"/>
              <a:ea typeface="+mn-ea"/>
              <a:cs typeface="+mn-cs"/>
            </a:endParaRPr>
          </a:p>
        </p:txBody>
      </p:sp>
      <p:graphicFrame>
        <p:nvGraphicFramePr>
          <p:cNvPr id="38" name="Таблица 37">
            <a:extLst>
              <a:ext uri="{FF2B5EF4-FFF2-40B4-BE49-F238E27FC236}">
                <a16:creationId xmlns:a16="http://schemas.microsoft.com/office/drawing/2014/main" id="{23D3CE11-A90D-483D-8D30-99BB0AD79EB4}"/>
              </a:ext>
            </a:extLst>
          </p:cNvPr>
          <p:cNvGraphicFramePr>
            <a:graphicFrameLocks noGrp="1"/>
          </p:cNvGraphicFramePr>
          <p:nvPr/>
        </p:nvGraphicFramePr>
        <p:xfrm>
          <a:off x="5566964" y="1918282"/>
          <a:ext cx="6221080" cy="2306675"/>
        </p:xfrm>
        <a:graphic>
          <a:graphicData uri="http://schemas.openxmlformats.org/drawingml/2006/table">
            <a:tbl>
              <a:tblPr/>
              <a:tblGrid>
                <a:gridCol w="3069178">
                  <a:extLst>
                    <a:ext uri="{9D8B030D-6E8A-4147-A177-3AD203B41FA5}">
                      <a16:colId xmlns:a16="http://schemas.microsoft.com/office/drawing/2014/main" val="1506126981"/>
                    </a:ext>
                  </a:extLst>
                </a:gridCol>
                <a:gridCol w="1050634">
                  <a:extLst>
                    <a:ext uri="{9D8B030D-6E8A-4147-A177-3AD203B41FA5}">
                      <a16:colId xmlns:a16="http://schemas.microsoft.com/office/drawing/2014/main" val="918610256"/>
                    </a:ext>
                  </a:extLst>
                </a:gridCol>
                <a:gridCol w="1050634">
                  <a:extLst>
                    <a:ext uri="{9D8B030D-6E8A-4147-A177-3AD203B41FA5}">
                      <a16:colId xmlns:a16="http://schemas.microsoft.com/office/drawing/2014/main" val="2067597845"/>
                    </a:ext>
                  </a:extLst>
                </a:gridCol>
                <a:gridCol w="1050634">
                  <a:extLst>
                    <a:ext uri="{9D8B030D-6E8A-4147-A177-3AD203B41FA5}">
                      <a16:colId xmlns:a16="http://schemas.microsoft.com/office/drawing/2014/main" val="1563877386"/>
                    </a:ext>
                  </a:extLst>
                </a:gridCol>
              </a:tblGrid>
              <a:tr h="461335">
                <a:tc>
                  <a:txBody>
                    <a:bodyPr/>
                    <a:lstStyle/>
                    <a:p>
                      <a:pPr algn="r" fontAlgn="b"/>
                      <a:r>
                        <a:rPr lang="en-US" sz="1600" b="0" kern="1200" dirty="0">
                          <a:solidFill>
                            <a:schemeClr val="tx1"/>
                          </a:solidFill>
                          <a:latin typeface="+mn-lt"/>
                          <a:ea typeface="+mn-ea"/>
                          <a:cs typeface="+mn-cs"/>
                        </a:rPr>
                        <a:t>Price increase on groceries</a:t>
                      </a:r>
                      <a:endParaRPr lang="ru-RU" sz="1600" b="0" kern="1200" dirty="0">
                        <a:solidFill>
                          <a:schemeClr val="tx1"/>
                        </a:solidFill>
                        <a:latin typeface="+mn-lt"/>
                        <a:ea typeface="+mn-ea"/>
                        <a:cs typeface="+mn-cs"/>
                      </a:endParaRPr>
                    </a:p>
                  </a:txBody>
                  <a:tcPr marL="9522" marR="9522" marT="9522"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rgbClr val="8D8F92"/>
                      </a:solidFill>
                      <a:prstDash val="solid"/>
                      <a:round/>
                      <a:headEnd type="none" w="med" len="med"/>
                      <a:tailEnd type="none" w="med" len="med"/>
                    </a:lnT>
                    <a:lnB w="12700" cap="flat" cmpd="sng" algn="ctr">
                      <a:solidFill>
                        <a:srgbClr val="8D8F9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ru-RU" sz="1900" b="0" i="0" u="none" strike="noStrike" dirty="0">
                          <a:solidFill>
                            <a:schemeClr val="tx1"/>
                          </a:solidFill>
                          <a:effectLst/>
                          <a:latin typeface="+mn-lt"/>
                        </a:rPr>
                        <a:t>52</a:t>
                      </a:r>
                    </a:p>
                  </a:txBody>
                  <a:tcPr marL="9522" marR="9522" marT="9522"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rgbClr val="8D8F92"/>
                      </a:solidFill>
                      <a:prstDash val="solid"/>
                      <a:round/>
                      <a:headEnd type="none" w="med" len="med"/>
                      <a:tailEnd type="none" w="med" len="med"/>
                    </a:lnT>
                    <a:lnB w="12700" cap="flat" cmpd="sng" algn="ctr">
                      <a:solidFill>
                        <a:srgbClr val="8D8F9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ru-RU" sz="1900" b="1" i="0" u="none" strike="noStrike" dirty="0">
                          <a:solidFill>
                            <a:schemeClr val="tx1"/>
                          </a:solidFill>
                          <a:effectLst/>
                          <a:latin typeface="+mn-lt"/>
                        </a:rPr>
                        <a:t>60</a:t>
                      </a:r>
                    </a:p>
                  </a:txBody>
                  <a:tcPr marL="9522" marR="9522" marT="9522" marB="0" anchor="ctr">
                    <a:lnL w="63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8D8F9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algn="ctr" fontAlgn="ctr"/>
                      <a:r>
                        <a:rPr lang="ru-RU" sz="1900" b="0" i="0" u="none" strike="noStrike" dirty="0">
                          <a:solidFill>
                            <a:schemeClr val="tx1"/>
                          </a:solidFill>
                          <a:effectLst/>
                          <a:latin typeface="+mn-lt"/>
                        </a:rPr>
                        <a:t>55</a:t>
                      </a:r>
                    </a:p>
                  </a:txBody>
                  <a:tcPr marL="9522" marR="9522" marT="9522" marB="0" anchor="ctr">
                    <a:lnL w="1270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12700" cap="flat" cmpd="sng" algn="ctr">
                      <a:solidFill>
                        <a:srgbClr val="8D8F9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EA99F"/>
                    </a:solidFill>
                  </a:tcPr>
                </a:tc>
                <a:extLst>
                  <a:ext uri="{0D108BD9-81ED-4DB2-BD59-A6C34878D82A}">
                    <a16:rowId xmlns:a16="http://schemas.microsoft.com/office/drawing/2014/main" val="3505663903"/>
                  </a:ext>
                </a:extLst>
              </a:tr>
              <a:tr h="461335">
                <a:tc>
                  <a:txBody>
                    <a:bodyPr/>
                    <a:lstStyle/>
                    <a:p>
                      <a:pPr algn="r" fontAlgn="b"/>
                      <a:r>
                        <a:rPr lang="en-US" sz="1600" b="0" kern="1200" dirty="0">
                          <a:solidFill>
                            <a:schemeClr val="tx2"/>
                          </a:solidFill>
                          <a:latin typeface="+mn-lt"/>
                          <a:ea typeface="+mn-ea"/>
                          <a:cs typeface="+mn-cs"/>
                        </a:rPr>
                        <a:t>COVID-19 Pandemics</a:t>
                      </a:r>
                      <a:endParaRPr lang="ru-RU" sz="1600" b="0" kern="1200" dirty="0">
                        <a:solidFill>
                          <a:schemeClr val="tx2"/>
                        </a:solidFill>
                        <a:latin typeface="+mn-lt"/>
                        <a:ea typeface="+mn-ea"/>
                        <a:cs typeface="+mn-cs"/>
                      </a:endParaRPr>
                    </a:p>
                  </a:txBody>
                  <a:tcPr marL="9522" marR="9522" marT="9522"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rgbClr val="8D8F92"/>
                      </a:solidFill>
                      <a:prstDash val="solid"/>
                      <a:round/>
                      <a:headEnd type="none" w="med" len="med"/>
                      <a:tailEnd type="none" w="med" len="med"/>
                    </a:lnT>
                    <a:lnB w="12700" cap="flat" cmpd="sng" algn="ctr">
                      <a:solidFill>
                        <a:srgbClr val="8D8F9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ru-RU" sz="1900" b="0" i="0" u="none" strike="noStrike" dirty="0">
                          <a:solidFill>
                            <a:schemeClr val="tx1"/>
                          </a:solidFill>
                          <a:effectLst/>
                          <a:latin typeface="+mn-lt"/>
                        </a:rPr>
                        <a:t>50</a:t>
                      </a:r>
                    </a:p>
                  </a:txBody>
                  <a:tcPr marL="9522" marR="9522" marT="9522"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rgbClr val="8D8F92"/>
                      </a:solidFill>
                      <a:prstDash val="solid"/>
                      <a:round/>
                      <a:headEnd type="none" w="med" len="med"/>
                      <a:tailEnd type="none" w="med" len="med"/>
                    </a:lnT>
                    <a:lnB w="12700" cap="flat" cmpd="sng" algn="ctr">
                      <a:solidFill>
                        <a:srgbClr val="8D8F9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ru-RU" sz="1900" b="1" i="0" u="none" strike="noStrike" dirty="0">
                          <a:solidFill>
                            <a:schemeClr val="tx1"/>
                          </a:solidFill>
                          <a:effectLst/>
                          <a:latin typeface="+mn-lt"/>
                        </a:rPr>
                        <a:t>52</a:t>
                      </a:r>
                    </a:p>
                  </a:txBody>
                  <a:tcPr marL="9522" marR="9522" marT="9522" marB="0" anchor="ctr">
                    <a:lnL w="63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8D8F92"/>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algn="ctr" fontAlgn="ctr"/>
                      <a:r>
                        <a:rPr lang="ru-RU" sz="1900" b="1" i="0" u="none" strike="noStrike" dirty="0">
                          <a:solidFill>
                            <a:schemeClr val="tx1"/>
                          </a:solidFill>
                          <a:effectLst/>
                          <a:latin typeface="+mn-lt"/>
                        </a:rPr>
                        <a:t>46</a:t>
                      </a:r>
                    </a:p>
                  </a:txBody>
                  <a:tcPr marL="9522" marR="9522" marT="9522" marB="0" anchor="ctr">
                    <a:lnL w="1270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8D8F92"/>
                      </a:solidFill>
                      <a:prstDash val="solid"/>
                      <a:round/>
                      <a:headEnd type="none" w="med" len="med"/>
                      <a:tailEnd type="none" w="med" len="med"/>
                    </a:lnB>
                    <a:lnTlToBr w="12700" cmpd="sng">
                      <a:noFill/>
                      <a:prstDash val="solid"/>
                    </a:lnTlToBr>
                    <a:lnBlToTr w="12700" cmpd="sng">
                      <a:noFill/>
                      <a:prstDash val="solid"/>
                    </a:lnBlToTr>
                    <a:solidFill>
                      <a:srgbClr val="CEA99F"/>
                    </a:solidFill>
                  </a:tcPr>
                </a:tc>
                <a:extLst>
                  <a:ext uri="{0D108BD9-81ED-4DB2-BD59-A6C34878D82A}">
                    <a16:rowId xmlns:a16="http://schemas.microsoft.com/office/drawing/2014/main" val="3092627494"/>
                  </a:ext>
                </a:extLst>
              </a:tr>
              <a:tr h="461335">
                <a:tc>
                  <a:txBody>
                    <a:bodyPr/>
                    <a:lstStyle/>
                    <a:p>
                      <a:pPr algn="r" fontAlgn="b"/>
                      <a:r>
                        <a:rPr lang="en-US" sz="1600" b="0" kern="1200" dirty="0">
                          <a:solidFill>
                            <a:schemeClr val="tx1"/>
                          </a:solidFill>
                          <a:latin typeface="+mn-lt"/>
                          <a:ea typeface="+mn-ea"/>
                          <a:cs typeface="+mn-cs"/>
                        </a:rPr>
                        <a:t>Economic crisis</a:t>
                      </a:r>
                      <a:endParaRPr lang="ru-RU" sz="1600" b="0" kern="1200" dirty="0">
                        <a:solidFill>
                          <a:schemeClr val="tx1"/>
                        </a:solidFill>
                        <a:latin typeface="+mn-lt"/>
                        <a:ea typeface="+mn-ea"/>
                        <a:cs typeface="+mn-cs"/>
                      </a:endParaRPr>
                    </a:p>
                  </a:txBody>
                  <a:tcPr marL="9522" marR="9522" marT="9522"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rgbClr val="8D8F92"/>
                      </a:solidFill>
                      <a:prstDash val="solid"/>
                      <a:round/>
                      <a:headEnd type="none" w="med" len="med"/>
                      <a:tailEnd type="none" w="med" len="med"/>
                    </a:lnT>
                    <a:lnB w="12700" cap="flat" cmpd="sng" algn="ctr">
                      <a:solidFill>
                        <a:srgbClr val="8D8F9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ru-RU" sz="1900" b="0" i="0" u="none" strike="noStrike" dirty="0">
                          <a:solidFill>
                            <a:schemeClr val="tx1"/>
                          </a:solidFill>
                          <a:effectLst/>
                          <a:latin typeface="+mn-lt"/>
                        </a:rPr>
                        <a:t>40</a:t>
                      </a:r>
                    </a:p>
                  </a:txBody>
                  <a:tcPr marL="9522" marR="9522" marT="9522"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rgbClr val="8D8F92"/>
                      </a:solidFill>
                      <a:prstDash val="solid"/>
                      <a:round/>
                      <a:headEnd type="none" w="med" len="med"/>
                      <a:tailEnd type="none" w="med" len="med"/>
                    </a:lnT>
                    <a:lnB w="12700" cap="flat" cmpd="sng" algn="ctr">
                      <a:solidFill>
                        <a:srgbClr val="8D8F9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ru-RU" sz="1900" b="0" i="0" u="none" strike="noStrike" dirty="0">
                          <a:solidFill>
                            <a:schemeClr val="tx1"/>
                          </a:solidFill>
                          <a:effectLst/>
                          <a:latin typeface="+mn-lt"/>
                        </a:rPr>
                        <a:t>44</a:t>
                      </a:r>
                    </a:p>
                  </a:txBody>
                  <a:tcPr marL="9522" marR="9522" marT="9522"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rgbClr val="8D8F92"/>
                      </a:solidFill>
                      <a:prstDash val="solid"/>
                      <a:round/>
                      <a:headEnd type="none" w="med" len="med"/>
                      <a:tailEnd type="none" w="med" len="med"/>
                    </a:lnT>
                    <a:lnB w="12700" cap="flat" cmpd="sng" algn="ctr">
                      <a:solidFill>
                        <a:srgbClr val="8D8F9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ru-RU" sz="1900" b="0" i="0" u="none" strike="noStrike" dirty="0">
                          <a:solidFill>
                            <a:schemeClr val="tx1"/>
                          </a:solidFill>
                          <a:effectLst/>
                          <a:latin typeface="+mn-lt"/>
                        </a:rPr>
                        <a:t>43</a:t>
                      </a:r>
                    </a:p>
                  </a:txBody>
                  <a:tcPr marL="9522" marR="9522" marT="9522"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rgbClr val="8D8F92"/>
                      </a:solidFill>
                      <a:prstDash val="solid"/>
                      <a:round/>
                      <a:headEnd type="none" w="med" len="med"/>
                      <a:tailEnd type="none" w="med" len="med"/>
                    </a:lnT>
                    <a:lnB w="12700" cap="flat" cmpd="sng" algn="ctr">
                      <a:solidFill>
                        <a:srgbClr val="8D8F9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282540043"/>
                  </a:ext>
                </a:extLst>
              </a:tr>
              <a:tr h="461335">
                <a:tc>
                  <a:txBody>
                    <a:bodyPr/>
                    <a:lstStyle/>
                    <a:p>
                      <a:pPr algn="r" fontAlgn="b"/>
                      <a:r>
                        <a:rPr lang="en-US" sz="1600" b="0" kern="1200" dirty="0">
                          <a:solidFill>
                            <a:schemeClr val="tx1"/>
                          </a:solidFill>
                          <a:latin typeface="+mn-lt"/>
                          <a:ea typeface="+mn-ea"/>
                          <a:cs typeface="+mn-cs"/>
                        </a:rPr>
                        <a:t>Unemployment</a:t>
                      </a:r>
                      <a:endParaRPr lang="ru-RU" sz="1600" b="0" kern="1200" dirty="0">
                        <a:solidFill>
                          <a:schemeClr val="tx1"/>
                        </a:solidFill>
                        <a:latin typeface="+mn-lt"/>
                        <a:ea typeface="+mn-ea"/>
                        <a:cs typeface="+mn-cs"/>
                      </a:endParaRPr>
                    </a:p>
                  </a:txBody>
                  <a:tcPr marL="9522" marR="9522" marT="9522"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rgbClr val="8D8F92"/>
                      </a:solidFill>
                      <a:prstDash val="solid"/>
                      <a:round/>
                      <a:headEnd type="none" w="med" len="med"/>
                      <a:tailEnd type="none" w="med" len="med"/>
                    </a:lnT>
                    <a:lnB w="12700" cap="flat" cmpd="sng" algn="ctr">
                      <a:solidFill>
                        <a:srgbClr val="8D8F9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ru-RU" sz="1900" b="0" i="0" u="none" strike="noStrike" dirty="0">
                          <a:solidFill>
                            <a:schemeClr val="tx1"/>
                          </a:solidFill>
                          <a:effectLst/>
                          <a:latin typeface="+mn-lt"/>
                        </a:rPr>
                        <a:t>32</a:t>
                      </a:r>
                    </a:p>
                  </a:txBody>
                  <a:tcPr marL="9522" marR="9522" marT="9522"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rgbClr val="8D8F92"/>
                      </a:solidFill>
                      <a:prstDash val="solid"/>
                      <a:round/>
                      <a:headEnd type="none" w="med" len="med"/>
                      <a:tailEnd type="none" w="med" len="med"/>
                    </a:lnT>
                    <a:lnB w="12700" cap="flat" cmpd="sng" algn="ctr">
                      <a:solidFill>
                        <a:srgbClr val="8D8F9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ru-RU" sz="1900" b="0" i="0" u="none" strike="noStrike" dirty="0">
                          <a:solidFill>
                            <a:schemeClr val="tx1"/>
                          </a:solidFill>
                          <a:effectLst/>
                          <a:latin typeface="+mn-lt"/>
                        </a:rPr>
                        <a:t>37</a:t>
                      </a:r>
                    </a:p>
                  </a:txBody>
                  <a:tcPr marL="9522" marR="9522" marT="9522"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rgbClr val="8D8F92"/>
                      </a:solidFill>
                      <a:prstDash val="solid"/>
                      <a:round/>
                      <a:headEnd type="none" w="med" len="med"/>
                      <a:tailEnd type="none" w="med" len="med"/>
                    </a:lnT>
                    <a:lnB w="12700" cap="flat" cmpd="sng" algn="ctr">
                      <a:solidFill>
                        <a:srgbClr val="8D8F9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ru-RU" sz="1900" b="0" i="0" u="none" strike="noStrike" dirty="0">
                          <a:solidFill>
                            <a:schemeClr val="tx1"/>
                          </a:solidFill>
                          <a:effectLst/>
                          <a:latin typeface="+mn-lt"/>
                        </a:rPr>
                        <a:t>37</a:t>
                      </a:r>
                    </a:p>
                  </a:txBody>
                  <a:tcPr marL="9522" marR="9522" marT="9522"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rgbClr val="8D8F92"/>
                      </a:solidFill>
                      <a:prstDash val="solid"/>
                      <a:round/>
                      <a:headEnd type="none" w="med" len="med"/>
                      <a:tailEnd type="none" w="med" len="med"/>
                    </a:lnT>
                    <a:lnB w="12700" cap="flat" cmpd="sng" algn="ctr">
                      <a:solidFill>
                        <a:srgbClr val="8D8F9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150589749"/>
                  </a:ext>
                </a:extLst>
              </a:tr>
              <a:tr h="461335">
                <a:tc>
                  <a:txBody>
                    <a:bodyPr/>
                    <a:lstStyle/>
                    <a:p>
                      <a:pPr algn="r" fontAlgn="b"/>
                      <a:r>
                        <a:rPr lang="en-US" sz="1600" b="0" kern="1200" dirty="0">
                          <a:solidFill>
                            <a:schemeClr val="tx1"/>
                          </a:solidFill>
                          <a:latin typeface="+mn-lt"/>
                          <a:ea typeface="+mn-ea"/>
                          <a:cs typeface="+mn-cs"/>
                        </a:rPr>
                        <a:t>Ruble devaluation</a:t>
                      </a:r>
                      <a:endParaRPr lang="ru-RU" sz="1600" b="0" kern="1200" dirty="0">
                        <a:solidFill>
                          <a:schemeClr val="tx1"/>
                        </a:solidFill>
                        <a:latin typeface="+mn-lt"/>
                        <a:ea typeface="+mn-ea"/>
                        <a:cs typeface="+mn-cs"/>
                      </a:endParaRPr>
                    </a:p>
                  </a:txBody>
                  <a:tcPr marL="9522" marR="9522" marT="9522"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rgbClr val="8D8F92"/>
                      </a:solidFill>
                      <a:prstDash val="solid"/>
                      <a:round/>
                      <a:headEnd type="none" w="med" len="med"/>
                      <a:tailEnd type="none" w="med" len="med"/>
                    </a:lnT>
                    <a:lnB w="12700" cap="flat" cmpd="sng" algn="ctr">
                      <a:solidFill>
                        <a:srgbClr val="8D8F9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ru-RU" sz="1900" b="0" i="0" u="none" strike="noStrike" dirty="0">
                          <a:solidFill>
                            <a:schemeClr val="tx1"/>
                          </a:solidFill>
                          <a:effectLst/>
                          <a:latin typeface="+mn-lt"/>
                        </a:rPr>
                        <a:t>40</a:t>
                      </a:r>
                    </a:p>
                  </a:txBody>
                  <a:tcPr marL="9522" marR="9522" marT="9522"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rgbClr val="8D8F92"/>
                      </a:solidFill>
                      <a:prstDash val="solid"/>
                      <a:round/>
                      <a:headEnd type="none" w="med" len="med"/>
                      <a:tailEnd type="none" w="med" len="med"/>
                    </a:lnT>
                    <a:lnB w="12700" cap="flat" cmpd="sng" algn="ctr">
                      <a:solidFill>
                        <a:srgbClr val="8D8F9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ru-RU" sz="1900" b="1" i="0" u="none" strike="noStrike" dirty="0">
                          <a:solidFill>
                            <a:schemeClr val="tx1"/>
                          </a:solidFill>
                          <a:effectLst/>
                          <a:latin typeface="+mn-lt"/>
                        </a:rPr>
                        <a:t>43</a:t>
                      </a:r>
                    </a:p>
                  </a:txBody>
                  <a:tcPr marL="9522" marR="9522" marT="9522" marB="0" anchor="ctr">
                    <a:lnL w="63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8D8F92"/>
                      </a:solidFill>
                      <a:prstDash val="solid"/>
                      <a:round/>
                      <a:headEnd type="none" w="med" len="med"/>
                      <a:tailEnd type="none" w="med" len="med"/>
                    </a:lnT>
                    <a:lnB w="12700" cap="flat" cmpd="sng" algn="ctr">
                      <a:solidFill>
                        <a:srgbClr val="8D8F92"/>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algn="ctr" fontAlgn="ctr"/>
                      <a:r>
                        <a:rPr lang="ru-RU" sz="1900" b="1" i="0" u="none" strike="noStrike" dirty="0">
                          <a:solidFill>
                            <a:schemeClr val="tx1"/>
                          </a:solidFill>
                          <a:effectLst/>
                          <a:latin typeface="+mn-lt"/>
                        </a:rPr>
                        <a:t>36</a:t>
                      </a:r>
                    </a:p>
                  </a:txBody>
                  <a:tcPr marL="9522" marR="9522" marT="9522" marB="0" anchor="ctr">
                    <a:lnL w="1270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12700" cap="flat" cmpd="sng" algn="ctr">
                      <a:solidFill>
                        <a:srgbClr val="8D8F92"/>
                      </a:solidFill>
                      <a:prstDash val="solid"/>
                      <a:round/>
                      <a:headEnd type="none" w="med" len="med"/>
                      <a:tailEnd type="none" w="med" len="med"/>
                    </a:lnT>
                    <a:lnB w="12700" cap="flat" cmpd="sng" algn="ctr">
                      <a:solidFill>
                        <a:srgbClr val="8D8F92"/>
                      </a:solidFill>
                      <a:prstDash val="solid"/>
                      <a:round/>
                      <a:headEnd type="none" w="med" len="med"/>
                      <a:tailEnd type="none" w="med" len="med"/>
                    </a:lnB>
                    <a:lnTlToBr w="12700" cmpd="sng">
                      <a:noFill/>
                      <a:prstDash val="solid"/>
                    </a:lnTlToBr>
                    <a:lnBlToTr w="12700" cmpd="sng">
                      <a:noFill/>
                      <a:prstDash val="solid"/>
                    </a:lnBlToTr>
                    <a:solidFill>
                      <a:srgbClr val="CEA99F"/>
                    </a:solidFill>
                  </a:tcPr>
                </a:tc>
                <a:extLst>
                  <a:ext uri="{0D108BD9-81ED-4DB2-BD59-A6C34878D82A}">
                    <a16:rowId xmlns:a16="http://schemas.microsoft.com/office/drawing/2014/main" val="2180985085"/>
                  </a:ext>
                </a:extLst>
              </a:tr>
            </a:tbl>
          </a:graphicData>
        </a:graphic>
      </p:graphicFrame>
      <p:sp>
        <p:nvSpPr>
          <p:cNvPr id="18" name="Прямоугольник 17">
            <a:extLst>
              <a:ext uri="{FF2B5EF4-FFF2-40B4-BE49-F238E27FC236}">
                <a16:creationId xmlns:a16="http://schemas.microsoft.com/office/drawing/2014/main" id="{F44CF490-1659-482C-B0D1-6E91EE9FD9BC}"/>
              </a:ext>
            </a:extLst>
          </p:cNvPr>
          <p:cNvSpPr/>
          <p:nvPr/>
        </p:nvSpPr>
        <p:spPr>
          <a:xfrm>
            <a:off x="5566964" y="1031417"/>
            <a:ext cx="4340211" cy="830740"/>
          </a:xfrm>
          <a:prstGeom prst="rect">
            <a:avLst/>
          </a:prstGeom>
        </p:spPr>
        <p:txBody>
          <a:bodyPr wrap="square">
            <a:spAutoFit/>
          </a:bodyPr>
          <a:lstStyle/>
          <a:p>
            <a:pPr marL="0" marR="0" lvl="0" indent="0" algn="l" defTabSz="914103" rtl="0" eaLnBrk="1" fontAlgn="auto" latinLnBrk="0" hangingPunct="1">
              <a:lnSpc>
                <a:spcPct val="100000"/>
              </a:lnSpc>
              <a:spcBef>
                <a:spcPts val="0"/>
              </a:spcBef>
              <a:spcAft>
                <a:spcPts val="0"/>
              </a:spcAft>
              <a:buClrTx/>
              <a:buSzTx/>
              <a:buFontTx/>
              <a:buNone/>
              <a:tabLst/>
              <a:defRPr/>
            </a:pPr>
            <a:r>
              <a:rPr kumimoji="0" lang="ru-RU" sz="2399" b="0" i="0" u="none" strike="noStrike" kern="1200" cap="none" spc="0" normalizeH="0" baseline="0" noProof="0" dirty="0">
                <a:ln>
                  <a:noFill/>
                </a:ln>
                <a:solidFill>
                  <a:srgbClr val="E55A00"/>
                </a:solidFill>
                <a:effectLst/>
                <a:uLnTx/>
                <a:uFillTx/>
                <a:latin typeface="Lato"/>
                <a:ea typeface="+mn-ea"/>
                <a:cs typeface="+mn-cs"/>
              </a:rPr>
              <a:t>ТОП </a:t>
            </a:r>
            <a:r>
              <a:rPr kumimoji="0" lang="en-US" sz="2399" b="0" i="0" u="none" strike="noStrike" kern="1200" cap="none" spc="0" normalizeH="0" baseline="0" noProof="0" dirty="0">
                <a:ln>
                  <a:noFill/>
                </a:ln>
                <a:solidFill>
                  <a:srgbClr val="E55A00"/>
                </a:solidFill>
                <a:effectLst/>
                <a:uLnTx/>
                <a:uFillTx/>
                <a:latin typeface="Lato"/>
                <a:ea typeface="+mn-ea"/>
                <a:cs typeface="+mn-cs"/>
              </a:rPr>
              <a:t>5 topics that Russian consumers are worried about</a:t>
            </a:r>
            <a:endParaRPr kumimoji="0" lang="it-IT" sz="2399" b="0" i="0" u="none" strike="noStrike" kern="1200" cap="none" spc="0" normalizeH="0" baseline="0" noProof="0" dirty="0">
              <a:ln>
                <a:noFill/>
              </a:ln>
              <a:solidFill>
                <a:srgbClr val="E55A00"/>
              </a:solidFill>
              <a:effectLst/>
              <a:uLnTx/>
              <a:uFillTx/>
              <a:latin typeface="Lato"/>
              <a:ea typeface="+mn-ea"/>
              <a:cs typeface="+mn-cs"/>
            </a:endParaRPr>
          </a:p>
        </p:txBody>
      </p:sp>
    </p:spTree>
    <p:extLst>
      <p:ext uri="{BB962C8B-B14F-4D97-AF65-F5344CB8AC3E}">
        <p14:creationId xmlns:p14="http://schemas.microsoft.com/office/powerpoint/2010/main" val="18811256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2043404" y="4600376"/>
            <a:ext cx="8200734" cy="1275895"/>
          </a:xfrm>
        </p:spPr>
        <p:txBody>
          <a:bodyPr/>
          <a:lstStyle/>
          <a:p>
            <a:r>
              <a:rPr lang="en-GB" sz="2800" i="1"/>
              <a:t>Almost 1 European out of 3 expects their personal financial situation to deteriorate over the next 12 months</a:t>
            </a:r>
            <a:r>
              <a:rPr lang="ru-RU" sz="2800" i="1"/>
              <a:t>.</a:t>
            </a:r>
            <a:r>
              <a:rPr lang="en-GB" sz="2800" i="1"/>
              <a:t> </a:t>
            </a:r>
          </a:p>
        </p:txBody>
      </p:sp>
      <p:cxnSp>
        <p:nvCxnSpPr>
          <p:cNvPr id="9" name="Straight Connector 8"/>
          <p:cNvCxnSpPr>
            <a:cxnSpLocks/>
          </p:cNvCxnSpPr>
          <p:nvPr/>
        </p:nvCxnSpPr>
        <p:spPr>
          <a:xfrm>
            <a:off x="1396616" y="4272385"/>
            <a:ext cx="9121013" cy="0"/>
          </a:xfrm>
          <a:prstGeom prst="line">
            <a:avLst/>
          </a:prstGeom>
          <a:ln w="19050">
            <a:solidFill>
              <a:schemeClr val="tx2"/>
            </a:solidFill>
            <a:tailEnd type="none"/>
          </a:ln>
        </p:spPr>
        <p:style>
          <a:lnRef idx="1">
            <a:schemeClr val="accent1"/>
          </a:lnRef>
          <a:fillRef idx="0">
            <a:schemeClr val="accent1"/>
          </a:fillRef>
          <a:effectRef idx="0">
            <a:schemeClr val="accent1"/>
          </a:effectRef>
          <a:fontRef idx="minor">
            <a:schemeClr val="tx1"/>
          </a:fontRef>
        </p:style>
      </p:cxnSp>
      <p:sp>
        <p:nvSpPr>
          <p:cNvPr id="8" name="Titel 1">
            <a:extLst>
              <a:ext uri="{FF2B5EF4-FFF2-40B4-BE49-F238E27FC236}">
                <a16:creationId xmlns:a16="http://schemas.microsoft.com/office/drawing/2014/main" id="{2D608A44-C54A-4065-A75C-5633065498DB}"/>
              </a:ext>
            </a:extLst>
          </p:cNvPr>
          <p:cNvSpPr txBox="1">
            <a:spLocks/>
          </p:cNvSpPr>
          <p:nvPr/>
        </p:nvSpPr>
        <p:spPr bwMode="gray">
          <a:xfrm>
            <a:off x="911424" y="5437611"/>
            <a:ext cx="9121013" cy="713124"/>
          </a:xfrm>
          <a:prstGeom prst="rect">
            <a:avLst/>
          </a:prstGeom>
        </p:spPr>
        <p:txBody>
          <a:bodyPr vert="horz" lIns="0" tIns="24000" rIns="0" bIns="0" rtlCol="0" anchor="b" anchorCtr="0">
            <a:noAutofit/>
          </a:bodyPr>
          <a:lstStyle>
            <a:lvl1pPr algn="l" defTabSz="914400" rtl="0" eaLnBrk="1" latinLnBrk="0" hangingPunct="1">
              <a:spcBef>
                <a:spcPct val="0"/>
              </a:spcBef>
              <a:buNone/>
              <a:defRPr lang="de-DE" sz="3600" kern="1200" cap="none" baseline="0">
                <a:solidFill>
                  <a:schemeClr val="bg1"/>
                </a:solidFill>
                <a:latin typeface="Arial" pitchFamily="34" charset="0"/>
                <a:ea typeface="+mn-ea"/>
                <a:cs typeface="+mn-cs"/>
              </a:defRPr>
            </a:lvl1pPr>
          </a:lstStyle>
          <a:p>
            <a:pPr marL="0" marR="0" lvl="0" indent="0" algn="r" defTabSz="1219170" rtl="0" eaLnBrk="1" fontAlgn="auto" latinLnBrk="0" hangingPunct="1">
              <a:lnSpc>
                <a:spcPct val="100000"/>
              </a:lnSpc>
              <a:spcBef>
                <a:spcPct val="0"/>
              </a:spcBef>
              <a:spcAft>
                <a:spcPts val="0"/>
              </a:spcAft>
              <a:buClrTx/>
              <a:buSzTx/>
              <a:buFontTx/>
              <a:buNone/>
              <a:tabLst/>
              <a:defRPr/>
            </a:pPr>
            <a:endParaRPr kumimoji="0" lang="en-GB" sz="3733" b="1" i="0" u="none" strike="noStrike" kern="1200" cap="none" spc="0" normalizeH="0" baseline="0" noProof="0">
              <a:ln>
                <a:noFill/>
              </a:ln>
              <a:solidFill>
                <a:srgbClr val="FFFFFF"/>
              </a:solidFill>
              <a:effectLst/>
              <a:uLnTx/>
              <a:uFillTx/>
              <a:latin typeface="Lato Light"/>
              <a:ea typeface="+mn-ea"/>
              <a:cs typeface="+mn-cs"/>
            </a:endParaRPr>
          </a:p>
        </p:txBody>
      </p:sp>
      <p:sp>
        <p:nvSpPr>
          <p:cNvPr id="4" name="Slide Number Placeholder 3">
            <a:extLst>
              <a:ext uri="{FF2B5EF4-FFF2-40B4-BE49-F238E27FC236}">
                <a16:creationId xmlns:a16="http://schemas.microsoft.com/office/drawing/2014/main" id="{A6DB0EE2-70C3-4298-AFD9-D236FF079D96}"/>
              </a:ext>
            </a:extLst>
          </p:cNvPr>
          <p:cNvSpPr>
            <a:spLocks noGrp="1"/>
          </p:cNvSpPr>
          <p:nvPr>
            <p:ph type="sldNum" sz="quarter" idx="16"/>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F3E29E4-0979-4FCA-B4C5-5FC6044C982A}" type="slidenum">
              <a:rPr kumimoji="0" lang="en-GB" sz="800" b="0" i="0" u="none" strike="noStrike" kern="1200" cap="none" spc="0" normalizeH="0" baseline="0" noProof="0" smtClean="0">
                <a:ln>
                  <a:noFill/>
                </a:ln>
                <a:solidFill>
                  <a:srgbClr val="FFFFFF"/>
                </a:solidFill>
                <a:effectLst/>
                <a:uLnTx/>
                <a:uFillTx/>
                <a:latin typeface="Lato"/>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GB" sz="800" b="0" i="0" u="none" strike="noStrike" kern="1200" cap="none" spc="0" normalizeH="0" baseline="0" noProof="0">
              <a:ln>
                <a:noFill/>
              </a:ln>
              <a:solidFill>
                <a:srgbClr val="FFFFFF"/>
              </a:solidFill>
              <a:effectLst/>
              <a:uLnTx/>
              <a:uFillTx/>
              <a:latin typeface="Lato"/>
              <a:ea typeface="+mn-ea"/>
              <a:cs typeface="+mn-cs"/>
            </a:endParaRPr>
          </a:p>
        </p:txBody>
      </p:sp>
      <p:sp>
        <p:nvSpPr>
          <p:cNvPr id="13" name="Rechteck 3">
            <a:extLst>
              <a:ext uri="{FF2B5EF4-FFF2-40B4-BE49-F238E27FC236}">
                <a16:creationId xmlns:a16="http://schemas.microsoft.com/office/drawing/2014/main" id="{2BB64084-B5DA-4F12-BA54-A1A4225A2057}"/>
              </a:ext>
            </a:extLst>
          </p:cNvPr>
          <p:cNvSpPr/>
          <p:nvPr/>
        </p:nvSpPr>
        <p:spPr>
          <a:xfrm>
            <a:off x="1396616" y="3067196"/>
            <a:ext cx="9121013" cy="1200329"/>
          </a:xfrm>
          <a:prstGeom prst="rect">
            <a:avLst/>
          </a:prstGeom>
        </p:spPr>
        <p:txBody>
          <a:bodyPr wrap="square">
            <a:spAutoFit/>
          </a:bodyPr>
          <a:lstStyle/>
          <a:p>
            <a:pPr marL="0" marR="0" lvl="0" indent="0" algn="l" defTabSz="914400" rtl="0" eaLnBrk="1" fontAlgn="auto" latinLnBrk="0" hangingPunct="1">
              <a:lnSpc>
                <a:spcPct val="100000"/>
              </a:lnSpc>
              <a:spcBef>
                <a:spcPts val="400"/>
              </a:spcBef>
              <a:spcAft>
                <a:spcPts val="0"/>
              </a:spcAft>
              <a:buClrTx/>
              <a:buSzTx/>
              <a:buFontTx/>
              <a:buNone/>
              <a:tabLst/>
              <a:defRPr/>
            </a:pPr>
            <a:r>
              <a:rPr kumimoji="0" lang="en-US" sz="3600" b="0" i="0" u="none" strike="noStrike" kern="1200" cap="none" spc="0" normalizeH="0" baseline="0" noProof="0">
                <a:ln>
                  <a:noFill/>
                </a:ln>
                <a:solidFill>
                  <a:srgbClr val="E55A00"/>
                </a:solidFill>
                <a:effectLst/>
                <a:uLnTx/>
                <a:uFillTx/>
                <a:latin typeface="Lato"/>
                <a:ea typeface="+mn-ea"/>
                <a:cs typeface="+mn-cs"/>
              </a:rPr>
              <a:t>A pessimistic view of the personal financial situation</a:t>
            </a:r>
          </a:p>
        </p:txBody>
      </p:sp>
      <p:sp>
        <p:nvSpPr>
          <p:cNvPr id="27" name="Freeform 26">
            <a:extLst>
              <a:ext uri="{FF2B5EF4-FFF2-40B4-BE49-F238E27FC236}">
                <a16:creationId xmlns:a16="http://schemas.microsoft.com/office/drawing/2014/main" id="{DF802F8E-565C-4EC9-AED5-AD8BBD7336ED}"/>
              </a:ext>
            </a:extLst>
          </p:cNvPr>
          <p:cNvSpPr>
            <a:spLocks noChangeAspect="1" noEditPoints="1"/>
          </p:cNvSpPr>
          <p:nvPr>
            <p:custDataLst>
              <p:tags r:id="rId1"/>
            </p:custDataLst>
          </p:nvPr>
        </p:nvSpPr>
        <p:spPr bwMode="gray">
          <a:xfrm>
            <a:off x="1424607" y="4696038"/>
            <a:ext cx="467999" cy="360000"/>
          </a:xfrm>
          <a:custGeom>
            <a:avLst/>
            <a:gdLst>
              <a:gd name="T0" fmla="*/ 1120 w 1440"/>
              <a:gd name="T1" fmla="*/ 640 h 1120"/>
              <a:gd name="T2" fmla="*/ 920 w 1440"/>
              <a:gd name="T3" fmla="*/ 640 h 1120"/>
              <a:gd name="T4" fmla="*/ 800 w 1440"/>
              <a:gd name="T5" fmla="*/ 520 h 1120"/>
              <a:gd name="T6" fmla="*/ 800 w 1440"/>
              <a:gd name="T7" fmla="*/ 120 h 1120"/>
              <a:gd name="T8" fmla="*/ 920 w 1440"/>
              <a:gd name="T9" fmla="*/ 0 h 1120"/>
              <a:gd name="T10" fmla="*/ 1320 w 1440"/>
              <a:gd name="T11" fmla="*/ 0 h 1120"/>
              <a:gd name="T12" fmla="*/ 1440 w 1440"/>
              <a:gd name="T13" fmla="*/ 120 h 1120"/>
              <a:gd name="T14" fmla="*/ 1440 w 1440"/>
              <a:gd name="T15" fmla="*/ 640 h 1120"/>
              <a:gd name="T16" fmla="*/ 960 w 1440"/>
              <a:gd name="T17" fmla="*/ 1120 h 1120"/>
              <a:gd name="T18" fmla="*/ 880 w 1440"/>
              <a:gd name="T19" fmla="*/ 1120 h 1120"/>
              <a:gd name="T20" fmla="*/ 880 w 1440"/>
              <a:gd name="T21" fmla="*/ 800 h 1120"/>
              <a:gd name="T22" fmla="*/ 960 w 1440"/>
              <a:gd name="T23" fmla="*/ 800 h 1120"/>
              <a:gd name="T24" fmla="*/ 1120 w 1440"/>
              <a:gd name="T25" fmla="*/ 640 h 1120"/>
              <a:gd name="T26" fmla="*/ 320 w 1440"/>
              <a:gd name="T27" fmla="*/ 640 h 1120"/>
              <a:gd name="T28" fmla="*/ 120 w 1440"/>
              <a:gd name="T29" fmla="*/ 640 h 1120"/>
              <a:gd name="T30" fmla="*/ 0 w 1440"/>
              <a:gd name="T31" fmla="*/ 520 h 1120"/>
              <a:gd name="T32" fmla="*/ 0 w 1440"/>
              <a:gd name="T33" fmla="*/ 120 h 1120"/>
              <a:gd name="T34" fmla="*/ 120 w 1440"/>
              <a:gd name="T35" fmla="*/ 0 h 1120"/>
              <a:gd name="T36" fmla="*/ 520 w 1440"/>
              <a:gd name="T37" fmla="*/ 0 h 1120"/>
              <a:gd name="T38" fmla="*/ 640 w 1440"/>
              <a:gd name="T39" fmla="*/ 120 h 1120"/>
              <a:gd name="T40" fmla="*/ 640 w 1440"/>
              <a:gd name="T41" fmla="*/ 640 h 1120"/>
              <a:gd name="T42" fmla="*/ 160 w 1440"/>
              <a:gd name="T43" fmla="*/ 1120 h 1120"/>
              <a:gd name="T44" fmla="*/ 80 w 1440"/>
              <a:gd name="T45" fmla="*/ 1120 h 1120"/>
              <a:gd name="T46" fmla="*/ 80 w 1440"/>
              <a:gd name="T47" fmla="*/ 800 h 1120"/>
              <a:gd name="T48" fmla="*/ 160 w 1440"/>
              <a:gd name="T49" fmla="*/ 800 h 1120"/>
              <a:gd name="T50" fmla="*/ 320 w 1440"/>
              <a:gd name="T51" fmla="*/ 640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440" h="1120">
                <a:moveTo>
                  <a:pt x="1120" y="640"/>
                </a:moveTo>
                <a:cubicBezTo>
                  <a:pt x="920" y="640"/>
                  <a:pt x="920" y="640"/>
                  <a:pt x="920" y="640"/>
                </a:cubicBezTo>
                <a:cubicBezTo>
                  <a:pt x="854" y="640"/>
                  <a:pt x="800" y="586"/>
                  <a:pt x="800" y="520"/>
                </a:cubicBezTo>
                <a:cubicBezTo>
                  <a:pt x="800" y="120"/>
                  <a:pt x="800" y="120"/>
                  <a:pt x="800" y="120"/>
                </a:cubicBezTo>
                <a:cubicBezTo>
                  <a:pt x="800" y="54"/>
                  <a:pt x="854" y="0"/>
                  <a:pt x="920" y="0"/>
                </a:cubicBezTo>
                <a:cubicBezTo>
                  <a:pt x="1320" y="0"/>
                  <a:pt x="1320" y="0"/>
                  <a:pt x="1320" y="0"/>
                </a:cubicBezTo>
                <a:cubicBezTo>
                  <a:pt x="1386" y="0"/>
                  <a:pt x="1440" y="54"/>
                  <a:pt x="1440" y="120"/>
                </a:cubicBezTo>
                <a:cubicBezTo>
                  <a:pt x="1440" y="640"/>
                  <a:pt x="1440" y="640"/>
                  <a:pt x="1440" y="640"/>
                </a:cubicBezTo>
                <a:cubicBezTo>
                  <a:pt x="1440" y="905"/>
                  <a:pt x="1225" y="1120"/>
                  <a:pt x="960" y="1120"/>
                </a:cubicBezTo>
                <a:cubicBezTo>
                  <a:pt x="880" y="1120"/>
                  <a:pt x="880" y="1120"/>
                  <a:pt x="880" y="1120"/>
                </a:cubicBezTo>
                <a:cubicBezTo>
                  <a:pt x="880" y="800"/>
                  <a:pt x="880" y="800"/>
                  <a:pt x="880" y="800"/>
                </a:cubicBezTo>
                <a:cubicBezTo>
                  <a:pt x="960" y="800"/>
                  <a:pt x="960" y="800"/>
                  <a:pt x="960" y="800"/>
                </a:cubicBezTo>
                <a:cubicBezTo>
                  <a:pt x="1048" y="800"/>
                  <a:pt x="1120" y="728"/>
                  <a:pt x="1120" y="640"/>
                </a:cubicBezTo>
                <a:close/>
                <a:moveTo>
                  <a:pt x="320" y="640"/>
                </a:moveTo>
                <a:cubicBezTo>
                  <a:pt x="120" y="640"/>
                  <a:pt x="120" y="640"/>
                  <a:pt x="120" y="640"/>
                </a:cubicBezTo>
                <a:cubicBezTo>
                  <a:pt x="54" y="640"/>
                  <a:pt x="0" y="586"/>
                  <a:pt x="0" y="520"/>
                </a:cubicBezTo>
                <a:cubicBezTo>
                  <a:pt x="0" y="120"/>
                  <a:pt x="0" y="120"/>
                  <a:pt x="0" y="120"/>
                </a:cubicBezTo>
                <a:cubicBezTo>
                  <a:pt x="0" y="54"/>
                  <a:pt x="54" y="0"/>
                  <a:pt x="120" y="0"/>
                </a:cubicBezTo>
                <a:cubicBezTo>
                  <a:pt x="520" y="0"/>
                  <a:pt x="520" y="0"/>
                  <a:pt x="520" y="0"/>
                </a:cubicBezTo>
                <a:cubicBezTo>
                  <a:pt x="586" y="0"/>
                  <a:pt x="640" y="54"/>
                  <a:pt x="640" y="120"/>
                </a:cubicBezTo>
                <a:cubicBezTo>
                  <a:pt x="640" y="640"/>
                  <a:pt x="640" y="640"/>
                  <a:pt x="640" y="640"/>
                </a:cubicBezTo>
                <a:cubicBezTo>
                  <a:pt x="640" y="905"/>
                  <a:pt x="425" y="1120"/>
                  <a:pt x="160" y="1120"/>
                </a:cubicBezTo>
                <a:cubicBezTo>
                  <a:pt x="80" y="1120"/>
                  <a:pt x="80" y="1120"/>
                  <a:pt x="80" y="1120"/>
                </a:cubicBezTo>
                <a:cubicBezTo>
                  <a:pt x="80" y="800"/>
                  <a:pt x="80" y="800"/>
                  <a:pt x="80" y="800"/>
                </a:cubicBezTo>
                <a:cubicBezTo>
                  <a:pt x="160" y="800"/>
                  <a:pt x="160" y="800"/>
                  <a:pt x="160" y="800"/>
                </a:cubicBezTo>
                <a:cubicBezTo>
                  <a:pt x="248" y="800"/>
                  <a:pt x="320" y="728"/>
                  <a:pt x="320" y="640"/>
                </a:cubicBezTo>
                <a:close/>
              </a:path>
            </a:pathLst>
          </a:custGeom>
          <a:solidFill>
            <a:schemeClr val="bg1"/>
          </a:solidFill>
          <a:ln>
            <a:noFill/>
          </a:ln>
        </p:spPr>
        <p:txBody>
          <a:bodyPr vert="horz" wrap="square" lIns="0" tIns="45720" rIns="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srgbClr val="FFFFFF"/>
              </a:solidFill>
              <a:effectLst/>
              <a:uLnTx/>
              <a:uFillTx/>
              <a:latin typeface="Lato"/>
              <a:ea typeface="+mn-ea"/>
              <a:cs typeface="+mn-cs"/>
            </a:endParaRPr>
          </a:p>
        </p:txBody>
      </p:sp>
    </p:spTree>
    <p:extLst>
      <p:ext uri="{BB962C8B-B14F-4D97-AF65-F5344CB8AC3E}">
        <p14:creationId xmlns:p14="http://schemas.microsoft.com/office/powerpoint/2010/main" val="18372935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0" name="Image 39">
            <a:extLst>
              <a:ext uri="{FF2B5EF4-FFF2-40B4-BE49-F238E27FC236}">
                <a16:creationId xmlns:a16="http://schemas.microsoft.com/office/drawing/2014/main" id="{06196DBF-97FC-47BF-AD5D-671CF9F167B9}"/>
              </a:ext>
            </a:extLst>
          </p:cNvPr>
          <p:cNvPicPr>
            <a:picLocks/>
          </p:cNvPicPr>
          <p:nvPr/>
        </p:nvPicPr>
        <p:blipFill>
          <a:blip r:embed="rId7"/>
          <a:stretch>
            <a:fillRect/>
          </a:stretch>
        </p:blipFill>
        <p:spPr>
          <a:xfrm>
            <a:off x="2784405" y="5724236"/>
            <a:ext cx="428400" cy="428400"/>
          </a:xfrm>
          <a:prstGeom prst="rect">
            <a:avLst/>
          </a:prstGeom>
        </p:spPr>
      </p:pic>
      <p:graphicFrame>
        <p:nvGraphicFramePr>
          <p:cNvPr id="3" name="Oggetto 2" hidden="1">
            <a:extLst>
              <a:ext uri="{FF2B5EF4-FFF2-40B4-BE49-F238E27FC236}">
                <a16:creationId xmlns:a16="http://schemas.microsoft.com/office/drawing/2014/main" id="{D05BEDF1-5955-4C78-9A1D-86D7C28292BB}"/>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22648" name="Diapositiva think-cell" r:id="rId8" imgW="395" imgH="396" progId="TCLayout.ActiveDocument.1">
                  <p:embed/>
                </p:oleObj>
              </mc:Choice>
              <mc:Fallback>
                <p:oleObj name="Diapositiva think-cell" r:id="rId8" imgW="395" imgH="396" progId="TCLayout.ActiveDocument.1">
                  <p:embed/>
                  <p:pic>
                    <p:nvPicPr>
                      <p:cNvPr id="3" name="Oggetto 2" hidden="1">
                        <a:extLst>
                          <a:ext uri="{FF2B5EF4-FFF2-40B4-BE49-F238E27FC236}">
                            <a16:creationId xmlns:a16="http://schemas.microsoft.com/office/drawing/2014/main" id="{D05BEDF1-5955-4C78-9A1D-86D7C28292BB}"/>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ttangolo 1" hidden="1">
            <a:extLst>
              <a:ext uri="{FF2B5EF4-FFF2-40B4-BE49-F238E27FC236}">
                <a16:creationId xmlns:a16="http://schemas.microsoft.com/office/drawing/2014/main" id="{55DFBA0A-5F39-4534-B778-1B9FDB864AF0}"/>
              </a:ext>
            </a:extLst>
          </p:cNvPr>
          <p:cNvSpPr/>
          <p:nvPr>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25000"/>
              </a:lnSpc>
              <a:spcBef>
                <a:spcPts val="0"/>
              </a:spcBef>
              <a:spcAft>
                <a:spcPts val="0"/>
              </a:spcAft>
              <a:buClrTx/>
              <a:buSzTx/>
              <a:buFontTx/>
              <a:buNone/>
              <a:tabLst/>
              <a:defRPr/>
            </a:pPr>
            <a:endParaRPr kumimoji="0" lang="it-IT" sz="3600" b="1" i="0" u="none" strike="noStrike" kern="1200" cap="none" spc="0" normalizeH="0" baseline="0" noProof="0">
              <a:ln>
                <a:noFill/>
              </a:ln>
              <a:solidFill>
                <a:srgbClr val="FFFFFF"/>
              </a:solidFill>
              <a:effectLst/>
              <a:uLnTx/>
              <a:uFillTx/>
              <a:latin typeface="Lato Light" panose="020F0502020204030203" pitchFamily="34" charset="0"/>
              <a:ea typeface="+mn-ea"/>
              <a:cs typeface="+mn-cs"/>
              <a:sym typeface="Lato Light" panose="020F0502020204030203" pitchFamily="34" charset="0"/>
            </a:endParaRPr>
          </a:p>
        </p:txBody>
      </p:sp>
      <p:sp>
        <p:nvSpPr>
          <p:cNvPr id="41" name="Slide Number Placeholder 29">
            <a:extLst>
              <a:ext uri="{FF2B5EF4-FFF2-40B4-BE49-F238E27FC236}">
                <a16:creationId xmlns:a16="http://schemas.microsoft.com/office/drawing/2014/main" id="{DE0EA3F0-F2EC-4E45-BAEE-06936AEAA2B6}"/>
              </a:ext>
            </a:extLst>
          </p:cNvPr>
          <p:cNvSpPr txBox="1">
            <a:spLocks/>
          </p:cNvSpPr>
          <p:nvPr/>
        </p:nvSpPr>
        <p:spPr>
          <a:xfrm>
            <a:off x="11186669" y="6461671"/>
            <a:ext cx="648000" cy="133790"/>
          </a:xfrm>
          <a:prstGeom prst="rect">
            <a:avLst/>
          </a:prstGeom>
        </p:spPr>
        <p:txBody>
          <a:bodyPr vert="horz" lIns="0" tIns="0" rIns="0" bIns="0" rtlCol="0" anchor="b" anchorCtr="0"/>
          <a:lstStyle>
            <a:defPPr>
              <a:defRPr lang="en-US"/>
            </a:defPPr>
            <a:lvl1pPr marL="0" algn="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5F3E29E4-0979-4FCA-B4C5-5FC6044C982A}" type="slidenum">
              <a:rPr kumimoji="0" lang="en-US" sz="800" b="0" i="0" u="none" strike="noStrike" kern="1200" cap="none" spc="0" normalizeH="0" baseline="0" noProof="0" smtClean="0">
                <a:ln>
                  <a:noFill/>
                </a:ln>
                <a:solidFill>
                  <a:srgbClr val="414549"/>
                </a:solidFill>
                <a:effectLst/>
                <a:uLnTx/>
                <a:uFillTx/>
                <a:latin typeface="Lato"/>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800" b="0" i="0" u="none" strike="noStrike" kern="1200" cap="none" spc="0" normalizeH="0" baseline="0" noProof="0">
              <a:ln>
                <a:noFill/>
              </a:ln>
              <a:solidFill>
                <a:srgbClr val="414549"/>
              </a:solidFill>
              <a:effectLst/>
              <a:uLnTx/>
              <a:uFillTx/>
              <a:latin typeface="Lato"/>
              <a:ea typeface="+mn-ea"/>
              <a:cs typeface="+mn-cs"/>
            </a:endParaRPr>
          </a:p>
        </p:txBody>
      </p:sp>
      <p:sp>
        <p:nvSpPr>
          <p:cNvPr id="32" name="Text Box 6">
            <a:extLst>
              <a:ext uri="{FF2B5EF4-FFF2-40B4-BE49-F238E27FC236}">
                <a16:creationId xmlns:a16="http://schemas.microsoft.com/office/drawing/2014/main" id="{7F2968F7-E93D-4A13-B68B-37E9B68A188E}"/>
              </a:ext>
            </a:extLst>
          </p:cNvPr>
          <p:cNvSpPr txBox="1">
            <a:spLocks noChangeArrowheads="1"/>
          </p:cNvSpPr>
          <p:nvPr/>
        </p:nvSpPr>
        <p:spPr bwMode="auto">
          <a:xfrm>
            <a:off x="1269216" y="3510714"/>
            <a:ext cx="763029" cy="276999"/>
          </a:xfrm>
          <a:prstGeom prst="rect">
            <a:avLst/>
          </a:prstGeom>
          <a:noFill/>
          <a:ln>
            <a:noFill/>
          </a:ln>
          <a:effectLst/>
        </p:spPr>
        <p:txBody>
          <a:bodyPr wrap="none" lIns="0" tIns="0" rIns="0" bIns="0" anchor="ctr">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it-IT" sz="1800" b="0" i="1" u="none" strike="noStrike" kern="1200" cap="none" spc="0" normalizeH="0" baseline="0" noProof="0">
                <a:ln>
                  <a:noFill/>
                </a:ln>
                <a:solidFill>
                  <a:srgbClr val="4D9991"/>
                </a:solidFill>
                <a:effectLst>
                  <a:outerShdw blurRad="38100" dist="38100" dir="2700000" algn="tl">
                    <a:srgbClr val="FFFFFF"/>
                  </a:outerShdw>
                </a:effectLst>
                <a:uLnTx/>
                <a:uFillTx/>
                <a:latin typeface="Lato Light"/>
                <a:ea typeface="+mn-ea"/>
                <a:cs typeface="Arial" panose="020B0604020202020204" pitchFamily="34" charset="0"/>
              </a:rPr>
              <a:t>BETTER</a:t>
            </a:r>
          </a:p>
        </p:txBody>
      </p:sp>
      <p:sp>
        <p:nvSpPr>
          <p:cNvPr id="33" name="Text Box 6">
            <a:extLst>
              <a:ext uri="{FF2B5EF4-FFF2-40B4-BE49-F238E27FC236}">
                <a16:creationId xmlns:a16="http://schemas.microsoft.com/office/drawing/2014/main" id="{5AFB3020-505A-430C-8DFD-4DA01D4694D6}"/>
              </a:ext>
            </a:extLst>
          </p:cNvPr>
          <p:cNvSpPr txBox="1">
            <a:spLocks noChangeArrowheads="1"/>
          </p:cNvSpPr>
          <p:nvPr/>
        </p:nvSpPr>
        <p:spPr bwMode="auto">
          <a:xfrm>
            <a:off x="1282173" y="4088526"/>
            <a:ext cx="698909" cy="276999"/>
          </a:xfrm>
          <a:prstGeom prst="rect">
            <a:avLst/>
          </a:prstGeom>
          <a:noFill/>
          <a:ln>
            <a:noFill/>
          </a:ln>
          <a:effectLst/>
        </p:spPr>
        <p:txBody>
          <a:bodyPr wrap="none" lIns="0" tIns="0" rIns="0" bIns="0" anchor="ctr">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it-IT" sz="1800" b="0" i="1" u="none" strike="noStrike" kern="1200" cap="none" spc="0" normalizeH="0" baseline="0" noProof="0">
                <a:ln>
                  <a:noFill/>
                </a:ln>
                <a:solidFill>
                  <a:srgbClr val="E2B726"/>
                </a:solidFill>
                <a:effectLst>
                  <a:outerShdw blurRad="38100" dist="38100" dir="2700000" algn="tl">
                    <a:srgbClr val="FFFFFF"/>
                  </a:outerShdw>
                </a:effectLst>
                <a:uLnTx/>
                <a:uFillTx/>
                <a:latin typeface="Lato Light"/>
                <a:ea typeface="+mn-ea"/>
                <a:cs typeface="Arial" panose="020B0604020202020204" pitchFamily="34" charset="0"/>
              </a:rPr>
              <a:t>EQUAL</a:t>
            </a:r>
          </a:p>
        </p:txBody>
      </p:sp>
      <p:sp>
        <p:nvSpPr>
          <p:cNvPr id="34" name="Text Box 6">
            <a:extLst>
              <a:ext uri="{FF2B5EF4-FFF2-40B4-BE49-F238E27FC236}">
                <a16:creationId xmlns:a16="http://schemas.microsoft.com/office/drawing/2014/main" id="{0B910E70-88CE-4D8E-A2C0-51B5FE34A466}"/>
              </a:ext>
            </a:extLst>
          </p:cNvPr>
          <p:cNvSpPr txBox="1">
            <a:spLocks noChangeArrowheads="1"/>
          </p:cNvSpPr>
          <p:nvPr/>
        </p:nvSpPr>
        <p:spPr bwMode="auto">
          <a:xfrm>
            <a:off x="1252539" y="4722941"/>
            <a:ext cx="756617" cy="276999"/>
          </a:xfrm>
          <a:prstGeom prst="rect">
            <a:avLst/>
          </a:prstGeom>
          <a:noFill/>
          <a:ln>
            <a:noFill/>
          </a:ln>
          <a:effectLst/>
        </p:spPr>
        <p:txBody>
          <a:bodyPr wrap="none" lIns="0" tIns="0" rIns="0" bIns="0" anchor="ctr">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it-IT" sz="1800" b="0" i="1" u="none" strike="noStrike" kern="1200" cap="none" spc="0" normalizeH="0" baseline="0" noProof="0">
                <a:ln>
                  <a:noFill/>
                </a:ln>
                <a:solidFill>
                  <a:srgbClr val="202D46"/>
                </a:solidFill>
                <a:effectLst>
                  <a:outerShdw blurRad="38100" dist="38100" dir="2700000" algn="tl">
                    <a:srgbClr val="FFFFFF"/>
                  </a:outerShdw>
                </a:effectLst>
                <a:uLnTx/>
                <a:uFillTx/>
                <a:latin typeface="Lato Light"/>
                <a:ea typeface="+mn-ea"/>
                <a:cs typeface="Arial" panose="020B0604020202020204" pitchFamily="34" charset="0"/>
              </a:rPr>
              <a:t>WORSE</a:t>
            </a:r>
          </a:p>
        </p:txBody>
      </p:sp>
      <p:sp>
        <p:nvSpPr>
          <p:cNvPr id="35" name="Text Box 6">
            <a:extLst>
              <a:ext uri="{FF2B5EF4-FFF2-40B4-BE49-F238E27FC236}">
                <a16:creationId xmlns:a16="http://schemas.microsoft.com/office/drawing/2014/main" id="{26E8748D-D745-4B95-BE9E-0F21C63C1A12}"/>
              </a:ext>
            </a:extLst>
          </p:cNvPr>
          <p:cNvSpPr txBox="1">
            <a:spLocks noChangeArrowheads="1"/>
          </p:cNvSpPr>
          <p:nvPr/>
        </p:nvSpPr>
        <p:spPr bwMode="auto">
          <a:xfrm>
            <a:off x="797058" y="2867603"/>
            <a:ext cx="1533048" cy="246221"/>
          </a:xfrm>
          <a:prstGeom prst="rect">
            <a:avLst/>
          </a:prstGeom>
          <a:noFill/>
          <a:ln>
            <a:noFill/>
          </a:ln>
          <a:effectLst/>
        </p:spPr>
        <p:txBody>
          <a:bodyPr wrap="none" lIns="0" tIns="0" rIns="0" bIns="0" anchor="ctr">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600" b="0" i="1" u="none" strike="noStrike" kern="1200" cap="none" spc="0" normalizeH="0" baseline="0" noProof="0">
                <a:ln>
                  <a:noFill/>
                </a:ln>
                <a:solidFill>
                  <a:srgbClr val="414549"/>
                </a:solidFill>
                <a:effectLst>
                  <a:outerShdw blurRad="38100" dist="38100" dir="2700000" algn="tl">
                    <a:srgbClr val="FFFFFF"/>
                  </a:outerShdw>
                </a:effectLst>
                <a:uLnTx/>
                <a:uFillTx/>
                <a:latin typeface="Lato Light"/>
                <a:ea typeface="+mn-ea"/>
                <a:cs typeface="Arial" panose="020B0604020202020204" pitchFamily="34" charset="0"/>
              </a:rPr>
              <a:t>∆ (better - worse)</a:t>
            </a:r>
          </a:p>
        </p:txBody>
      </p:sp>
      <p:graphicFrame>
        <p:nvGraphicFramePr>
          <p:cNvPr id="18" name="Grafico 17">
            <a:extLst>
              <a:ext uri="{FF2B5EF4-FFF2-40B4-BE49-F238E27FC236}">
                <a16:creationId xmlns:a16="http://schemas.microsoft.com/office/drawing/2014/main" id="{7E7F4695-91BA-42EB-B698-F18ECC595B89}"/>
              </a:ext>
            </a:extLst>
          </p:cNvPr>
          <p:cNvGraphicFramePr/>
          <p:nvPr/>
        </p:nvGraphicFramePr>
        <p:xfrm>
          <a:off x="2168931" y="2990713"/>
          <a:ext cx="9642276" cy="2914649"/>
        </p:xfrm>
        <a:graphic>
          <a:graphicData uri="http://schemas.openxmlformats.org/drawingml/2006/chart">
            <c:chart xmlns:c="http://schemas.openxmlformats.org/drawingml/2006/chart" xmlns:r="http://schemas.openxmlformats.org/officeDocument/2006/relationships" r:id="rId10"/>
          </a:graphicData>
        </a:graphic>
      </p:graphicFrame>
      <p:pic>
        <p:nvPicPr>
          <p:cNvPr id="29" name="Image 28">
            <a:extLst>
              <a:ext uri="{FF2B5EF4-FFF2-40B4-BE49-F238E27FC236}">
                <a16:creationId xmlns:a16="http://schemas.microsoft.com/office/drawing/2014/main" id="{DAF3CA79-CB14-4D3A-8F78-4D391E7AB301}"/>
              </a:ext>
            </a:extLst>
          </p:cNvPr>
          <p:cNvPicPr>
            <a:picLocks/>
          </p:cNvPicPr>
          <p:nvPr/>
        </p:nvPicPr>
        <p:blipFill>
          <a:blip r:embed="rId11"/>
          <a:stretch>
            <a:fillRect/>
          </a:stretch>
        </p:blipFill>
        <p:spPr>
          <a:xfrm>
            <a:off x="3816306" y="5733168"/>
            <a:ext cx="428400" cy="428400"/>
          </a:xfrm>
          <a:prstGeom prst="rect">
            <a:avLst/>
          </a:prstGeom>
        </p:spPr>
      </p:pic>
      <p:pic>
        <p:nvPicPr>
          <p:cNvPr id="37" name="Image 36">
            <a:extLst>
              <a:ext uri="{FF2B5EF4-FFF2-40B4-BE49-F238E27FC236}">
                <a16:creationId xmlns:a16="http://schemas.microsoft.com/office/drawing/2014/main" id="{C93AF4F1-CCBD-4928-84E4-1702EEB1B3F6}"/>
              </a:ext>
            </a:extLst>
          </p:cNvPr>
          <p:cNvPicPr>
            <a:picLocks noChangeAspect="1"/>
          </p:cNvPicPr>
          <p:nvPr/>
        </p:nvPicPr>
        <p:blipFill>
          <a:blip r:embed="rId12"/>
          <a:stretch>
            <a:fillRect/>
          </a:stretch>
        </p:blipFill>
        <p:spPr>
          <a:xfrm>
            <a:off x="5890556" y="5733168"/>
            <a:ext cx="428400" cy="428400"/>
          </a:xfrm>
          <a:prstGeom prst="rect">
            <a:avLst/>
          </a:prstGeom>
        </p:spPr>
      </p:pic>
      <p:pic>
        <p:nvPicPr>
          <p:cNvPr id="42" name="Image 41">
            <a:extLst>
              <a:ext uri="{FF2B5EF4-FFF2-40B4-BE49-F238E27FC236}">
                <a16:creationId xmlns:a16="http://schemas.microsoft.com/office/drawing/2014/main" id="{3CE725FE-B11D-4B6D-B77D-6B119F27E260}"/>
              </a:ext>
            </a:extLst>
          </p:cNvPr>
          <p:cNvPicPr>
            <a:picLocks noChangeAspect="1"/>
          </p:cNvPicPr>
          <p:nvPr/>
        </p:nvPicPr>
        <p:blipFill>
          <a:blip r:embed="rId13"/>
          <a:stretch>
            <a:fillRect/>
          </a:stretch>
        </p:blipFill>
        <p:spPr>
          <a:xfrm>
            <a:off x="4848207" y="5733168"/>
            <a:ext cx="438848" cy="428400"/>
          </a:xfrm>
          <a:prstGeom prst="rect">
            <a:avLst/>
          </a:prstGeom>
        </p:spPr>
      </p:pic>
      <p:sp>
        <p:nvSpPr>
          <p:cNvPr id="46" name="Text Box 6">
            <a:extLst>
              <a:ext uri="{FF2B5EF4-FFF2-40B4-BE49-F238E27FC236}">
                <a16:creationId xmlns:a16="http://schemas.microsoft.com/office/drawing/2014/main" id="{920950DF-0311-4B7A-8B69-94D5F6858E99}"/>
              </a:ext>
            </a:extLst>
          </p:cNvPr>
          <p:cNvSpPr txBox="1">
            <a:spLocks noChangeArrowheads="1"/>
          </p:cNvSpPr>
          <p:nvPr/>
        </p:nvSpPr>
        <p:spPr bwMode="auto">
          <a:xfrm>
            <a:off x="2832152" y="2894449"/>
            <a:ext cx="310984" cy="246221"/>
          </a:xfrm>
          <a:prstGeom prst="rect">
            <a:avLst/>
          </a:prstGeom>
          <a:noFill/>
          <a:ln>
            <a:noFill/>
          </a:ln>
          <a:effectLst/>
        </p:spPr>
        <p:txBody>
          <a:bodyPr wrap="none" lIns="0" tIns="0" rIns="0" bIns="0" anchor="ctr">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600" b="0" i="1" u="none" strike="noStrike" kern="1200" cap="none" spc="0" normalizeH="0" baseline="0" noProof="0">
                <a:ln>
                  <a:noFill/>
                </a:ln>
                <a:solidFill>
                  <a:srgbClr val="414549"/>
                </a:solidFill>
                <a:effectLst>
                  <a:outerShdw blurRad="38100" dist="38100" dir="2700000" algn="tl">
                    <a:srgbClr val="FFFFFF"/>
                  </a:outerShdw>
                </a:effectLst>
                <a:uLnTx/>
                <a:uFillTx/>
                <a:latin typeface="Lato Light"/>
                <a:ea typeface="+mn-ea"/>
                <a:cs typeface="Arial" panose="020B0604020202020204" pitchFamily="34" charset="0"/>
              </a:rPr>
              <a:t>-28</a:t>
            </a:r>
          </a:p>
        </p:txBody>
      </p:sp>
      <p:sp>
        <p:nvSpPr>
          <p:cNvPr id="47" name="Text Box 6">
            <a:extLst>
              <a:ext uri="{FF2B5EF4-FFF2-40B4-BE49-F238E27FC236}">
                <a16:creationId xmlns:a16="http://schemas.microsoft.com/office/drawing/2014/main" id="{91212C3D-FB09-4593-BC93-323B4554FBFB}"/>
              </a:ext>
            </a:extLst>
          </p:cNvPr>
          <p:cNvSpPr txBox="1">
            <a:spLocks noChangeArrowheads="1"/>
          </p:cNvSpPr>
          <p:nvPr/>
        </p:nvSpPr>
        <p:spPr bwMode="auto">
          <a:xfrm>
            <a:off x="3888710" y="2894449"/>
            <a:ext cx="310984" cy="246221"/>
          </a:xfrm>
          <a:prstGeom prst="rect">
            <a:avLst/>
          </a:prstGeom>
          <a:noFill/>
          <a:ln>
            <a:noFill/>
          </a:ln>
          <a:effectLst/>
        </p:spPr>
        <p:txBody>
          <a:bodyPr wrap="none" lIns="0" tIns="0" rIns="0" bIns="0" anchor="ctr">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600" b="0" i="1" u="none" strike="noStrike" kern="1200" cap="none" spc="0" normalizeH="0" baseline="0" noProof="0">
                <a:ln>
                  <a:noFill/>
                </a:ln>
                <a:solidFill>
                  <a:srgbClr val="414549"/>
                </a:solidFill>
                <a:effectLst>
                  <a:outerShdw blurRad="38100" dist="38100" dir="2700000" algn="tl">
                    <a:srgbClr val="FFFFFF"/>
                  </a:outerShdw>
                </a:effectLst>
                <a:uLnTx/>
                <a:uFillTx/>
                <a:latin typeface="Lato Light"/>
                <a:ea typeface="+mn-ea"/>
                <a:cs typeface="Arial" panose="020B0604020202020204" pitchFamily="34" charset="0"/>
              </a:rPr>
              <a:t>-20</a:t>
            </a:r>
          </a:p>
        </p:txBody>
      </p:sp>
      <p:sp>
        <p:nvSpPr>
          <p:cNvPr id="48" name="Text Box 6">
            <a:extLst>
              <a:ext uri="{FF2B5EF4-FFF2-40B4-BE49-F238E27FC236}">
                <a16:creationId xmlns:a16="http://schemas.microsoft.com/office/drawing/2014/main" id="{5A86092B-8BD7-415D-93B3-C2C75EEC5E58}"/>
              </a:ext>
            </a:extLst>
          </p:cNvPr>
          <p:cNvSpPr txBox="1">
            <a:spLocks noChangeArrowheads="1"/>
          </p:cNvSpPr>
          <p:nvPr/>
        </p:nvSpPr>
        <p:spPr bwMode="auto">
          <a:xfrm>
            <a:off x="4918764" y="2894449"/>
            <a:ext cx="310984" cy="246221"/>
          </a:xfrm>
          <a:prstGeom prst="rect">
            <a:avLst/>
          </a:prstGeom>
          <a:noFill/>
          <a:ln>
            <a:noFill/>
          </a:ln>
          <a:effectLst/>
        </p:spPr>
        <p:txBody>
          <a:bodyPr wrap="none" lIns="0" tIns="0" rIns="0" bIns="0" anchor="ctr">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600" b="0" i="1" u="none" strike="noStrike" kern="1200" cap="none" spc="0" normalizeH="0" baseline="0" noProof="0">
                <a:ln>
                  <a:noFill/>
                </a:ln>
                <a:solidFill>
                  <a:srgbClr val="414549"/>
                </a:solidFill>
                <a:effectLst>
                  <a:outerShdw blurRad="38100" dist="38100" dir="2700000" algn="tl">
                    <a:srgbClr val="FFFFFF"/>
                  </a:outerShdw>
                </a:effectLst>
                <a:uLnTx/>
                <a:uFillTx/>
                <a:latin typeface="Lato Light"/>
                <a:ea typeface="+mn-ea"/>
                <a:cs typeface="Arial" panose="020B0604020202020204" pitchFamily="34" charset="0"/>
              </a:rPr>
              <a:t>-22</a:t>
            </a:r>
          </a:p>
        </p:txBody>
      </p:sp>
      <p:sp>
        <p:nvSpPr>
          <p:cNvPr id="49" name="Text Box 6">
            <a:extLst>
              <a:ext uri="{FF2B5EF4-FFF2-40B4-BE49-F238E27FC236}">
                <a16:creationId xmlns:a16="http://schemas.microsoft.com/office/drawing/2014/main" id="{1735138E-8C25-4309-9BB2-385E1D80B803}"/>
              </a:ext>
            </a:extLst>
          </p:cNvPr>
          <p:cNvSpPr txBox="1">
            <a:spLocks noChangeArrowheads="1"/>
          </p:cNvSpPr>
          <p:nvPr/>
        </p:nvSpPr>
        <p:spPr bwMode="auto">
          <a:xfrm>
            <a:off x="6001826" y="2894449"/>
            <a:ext cx="192360" cy="246221"/>
          </a:xfrm>
          <a:prstGeom prst="rect">
            <a:avLst/>
          </a:prstGeom>
          <a:noFill/>
          <a:ln>
            <a:noFill/>
          </a:ln>
          <a:effectLst/>
        </p:spPr>
        <p:txBody>
          <a:bodyPr wrap="none" lIns="0" tIns="0" rIns="0" bIns="0" anchor="ctr">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600" b="0" i="1" u="none" strike="noStrike" kern="1200" cap="none" spc="0" normalizeH="0" baseline="0" noProof="0">
                <a:ln>
                  <a:noFill/>
                </a:ln>
                <a:solidFill>
                  <a:srgbClr val="414549"/>
                </a:solidFill>
                <a:effectLst>
                  <a:outerShdw blurRad="38100" dist="38100" dir="2700000" algn="tl">
                    <a:srgbClr val="FFFFFF"/>
                  </a:outerShdw>
                </a:effectLst>
                <a:uLnTx/>
                <a:uFillTx/>
                <a:latin typeface="Lato Light"/>
                <a:ea typeface="+mn-ea"/>
                <a:cs typeface="Arial" panose="020B0604020202020204" pitchFamily="34" charset="0"/>
              </a:rPr>
              <a:t>-7</a:t>
            </a:r>
          </a:p>
        </p:txBody>
      </p:sp>
      <p:grpSp>
        <p:nvGrpSpPr>
          <p:cNvPr id="52" name="Group 52">
            <a:extLst>
              <a:ext uri="{FF2B5EF4-FFF2-40B4-BE49-F238E27FC236}">
                <a16:creationId xmlns:a16="http://schemas.microsoft.com/office/drawing/2014/main" id="{498D6D6E-5562-461D-9180-26A94B25CB48}"/>
              </a:ext>
            </a:extLst>
          </p:cNvPr>
          <p:cNvGrpSpPr>
            <a:grpSpLocks noChangeAspect="1"/>
          </p:cNvGrpSpPr>
          <p:nvPr>
            <p:custDataLst>
              <p:tags r:id="rId4"/>
            </p:custDataLst>
          </p:nvPr>
        </p:nvGrpSpPr>
        <p:grpSpPr bwMode="auto">
          <a:xfrm>
            <a:off x="11111461" y="1777124"/>
            <a:ext cx="748803" cy="720000"/>
            <a:chOff x="423" y="-201"/>
            <a:chExt cx="4914" cy="4725"/>
          </a:xfrm>
          <a:solidFill>
            <a:srgbClr val="676A6D"/>
          </a:solidFill>
        </p:grpSpPr>
        <p:sp>
          <p:nvSpPr>
            <p:cNvPr id="53" name="Freeform 53">
              <a:extLst>
                <a:ext uri="{FF2B5EF4-FFF2-40B4-BE49-F238E27FC236}">
                  <a16:creationId xmlns:a16="http://schemas.microsoft.com/office/drawing/2014/main" id="{5D15A353-A87C-43EA-A509-26D8F57B948B}"/>
                </a:ext>
              </a:extLst>
            </p:cNvPr>
            <p:cNvSpPr>
              <a:spLocks noEditPoints="1"/>
            </p:cNvSpPr>
            <p:nvPr/>
          </p:nvSpPr>
          <p:spPr bwMode="auto">
            <a:xfrm>
              <a:off x="423" y="1311"/>
              <a:ext cx="2079" cy="2646"/>
            </a:xfrm>
            <a:custGeom>
              <a:avLst/>
              <a:gdLst>
                <a:gd name="T0" fmla="*/ 880 w 880"/>
                <a:gd name="T1" fmla="*/ 920 h 1120"/>
                <a:gd name="T2" fmla="*/ 440 w 880"/>
                <a:gd name="T3" fmla="*/ 1120 h 1120"/>
                <a:gd name="T4" fmla="*/ 0 w 880"/>
                <a:gd name="T5" fmla="*/ 920 h 1120"/>
                <a:gd name="T6" fmla="*/ 0 w 880"/>
                <a:gd name="T7" fmla="*/ 832 h 1120"/>
                <a:gd name="T8" fmla="*/ 440 w 880"/>
                <a:gd name="T9" fmla="*/ 960 h 1120"/>
                <a:gd name="T10" fmla="*/ 880 w 880"/>
                <a:gd name="T11" fmla="*/ 832 h 1120"/>
                <a:gd name="T12" fmla="*/ 880 w 880"/>
                <a:gd name="T13" fmla="*/ 920 h 1120"/>
                <a:gd name="T14" fmla="*/ 440 w 880"/>
                <a:gd name="T15" fmla="*/ 0 h 1120"/>
                <a:gd name="T16" fmla="*/ 880 w 880"/>
                <a:gd name="T17" fmla="*/ 200 h 1120"/>
                <a:gd name="T18" fmla="*/ 440 w 880"/>
                <a:gd name="T19" fmla="*/ 400 h 1120"/>
                <a:gd name="T20" fmla="*/ 0 w 880"/>
                <a:gd name="T21" fmla="*/ 200 h 1120"/>
                <a:gd name="T22" fmla="*/ 440 w 880"/>
                <a:gd name="T23" fmla="*/ 0 h 1120"/>
                <a:gd name="T24" fmla="*/ 0 w 880"/>
                <a:gd name="T25" fmla="*/ 680 h 1120"/>
                <a:gd name="T26" fmla="*/ 0 w 880"/>
                <a:gd name="T27" fmla="*/ 592 h 1120"/>
                <a:gd name="T28" fmla="*/ 440 w 880"/>
                <a:gd name="T29" fmla="*/ 720 h 1120"/>
                <a:gd name="T30" fmla="*/ 880 w 880"/>
                <a:gd name="T31" fmla="*/ 592 h 1120"/>
                <a:gd name="T32" fmla="*/ 880 w 880"/>
                <a:gd name="T33" fmla="*/ 680 h 1120"/>
                <a:gd name="T34" fmla="*/ 440 w 880"/>
                <a:gd name="T35" fmla="*/ 880 h 1120"/>
                <a:gd name="T36" fmla="*/ 0 w 880"/>
                <a:gd name="T37" fmla="*/ 680 h 1120"/>
                <a:gd name="T38" fmla="*/ 0 w 880"/>
                <a:gd name="T39" fmla="*/ 440 h 1120"/>
                <a:gd name="T40" fmla="*/ 0 w 880"/>
                <a:gd name="T41" fmla="*/ 352 h 1120"/>
                <a:gd name="T42" fmla="*/ 440 w 880"/>
                <a:gd name="T43" fmla="*/ 480 h 1120"/>
                <a:gd name="T44" fmla="*/ 880 w 880"/>
                <a:gd name="T45" fmla="*/ 352 h 1120"/>
                <a:gd name="T46" fmla="*/ 880 w 880"/>
                <a:gd name="T47" fmla="*/ 440 h 1120"/>
                <a:gd name="T48" fmla="*/ 440 w 880"/>
                <a:gd name="T49" fmla="*/ 640 h 1120"/>
                <a:gd name="T50" fmla="*/ 0 w 880"/>
                <a:gd name="T51" fmla="*/ 440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880" h="1120">
                  <a:moveTo>
                    <a:pt x="880" y="920"/>
                  </a:moveTo>
                  <a:cubicBezTo>
                    <a:pt x="880" y="1030"/>
                    <a:pt x="683" y="1120"/>
                    <a:pt x="440" y="1120"/>
                  </a:cubicBezTo>
                  <a:cubicBezTo>
                    <a:pt x="197" y="1120"/>
                    <a:pt x="0" y="1030"/>
                    <a:pt x="0" y="920"/>
                  </a:cubicBezTo>
                  <a:cubicBezTo>
                    <a:pt x="0" y="832"/>
                    <a:pt x="0" y="832"/>
                    <a:pt x="0" y="832"/>
                  </a:cubicBezTo>
                  <a:cubicBezTo>
                    <a:pt x="112" y="927"/>
                    <a:pt x="298" y="960"/>
                    <a:pt x="440" y="960"/>
                  </a:cubicBezTo>
                  <a:cubicBezTo>
                    <a:pt x="582" y="960"/>
                    <a:pt x="768" y="927"/>
                    <a:pt x="880" y="832"/>
                  </a:cubicBezTo>
                  <a:lnTo>
                    <a:pt x="880" y="920"/>
                  </a:lnTo>
                  <a:close/>
                  <a:moveTo>
                    <a:pt x="440" y="0"/>
                  </a:moveTo>
                  <a:cubicBezTo>
                    <a:pt x="683" y="0"/>
                    <a:pt x="880" y="90"/>
                    <a:pt x="880" y="200"/>
                  </a:cubicBezTo>
                  <a:cubicBezTo>
                    <a:pt x="880" y="310"/>
                    <a:pt x="683" y="400"/>
                    <a:pt x="440" y="400"/>
                  </a:cubicBezTo>
                  <a:cubicBezTo>
                    <a:pt x="197" y="400"/>
                    <a:pt x="0" y="310"/>
                    <a:pt x="0" y="200"/>
                  </a:cubicBezTo>
                  <a:cubicBezTo>
                    <a:pt x="0" y="90"/>
                    <a:pt x="197" y="0"/>
                    <a:pt x="440" y="0"/>
                  </a:cubicBezTo>
                  <a:close/>
                  <a:moveTo>
                    <a:pt x="0" y="680"/>
                  </a:moveTo>
                  <a:cubicBezTo>
                    <a:pt x="0" y="592"/>
                    <a:pt x="0" y="592"/>
                    <a:pt x="0" y="592"/>
                  </a:cubicBezTo>
                  <a:cubicBezTo>
                    <a:pt x="112" y="687"/>
                    <a:pt x="298" y="720"/>
                    <a:pt x="440" y="720"/>
                  </a:cubicBezTo>
                  <a:cubicBezTo>
                    <a:pt x="582" y="720"/>
                    <a:pt x="768" y="687"/>
                    <a:pt x="880" y="592"/>
                  </a:cubicBezTo>
                  <a:cubicBezTo>
                    <a:pt x="880" y="680"/>
                    <a:pt x="880" y="680"/>
                    <a:pt x="880" y="680"/>
                  </a:cubicBezTo>
                  <a:cubicBezTo>
                    <a:pt x="880" y="834"/>
                    <a:pt x="549" y="880"/>
                    <a:pt x="440" y="880"/>
                  </a:cubicBezTo>
                  <a:cubicBezTo>
                    <a:pt x="331" y="880"/>
                    <a:pt x="0" y="834"/>
                    <a:pt x="0" y="680"/>
                  </a:cubicBezTo>
                  <a:close/>
                  <a:moveTo>
                    <a:pt x="0" y="440"/>
                  </a:moveTo>
                  <a:cubicBezTo>
                    <a:pt x="0" y="352"/>
                    <a:pt x="0" y="352"/>
                    <a:pt x="0" y="352"/>
                  </a:cubicBezTo>
                  <a:cubicBezTo>
                    <a:pt x="112" y="447"/>
                    <a:pt x="298" y="480"/>
                    <a:pt x="440" y="480"/>
                  </a:cubicBezTo>
                  <a:cubicBezTo>
                    <a:pt x="582" y="480"/>
                    <a:pt x="768" y="447"/>
                    <a:pt x="880" y="352"/>
                  </a:cubicBezTo>
                  <a:cubicBezTo>
                    <a:pt x="880" y="440"/>
                    <a:pt x="880" y="440"/>
                    <a:pt x="880" y="440"/>
                  </a:cubicBezTo>
                  <a:cubicBezTo>
                    <a:pt x="880" y="594"/>
                    <a:pt x="549" y="640"/>
                    <a:pt x="440" y="640"/>
                  </a:cubicBezTo>
                  <a:cubicBezTo>
                    <a:pt x="331" y="640"/>
                    <a:pt x="0" y="594"/>
                    <a:pt x="0" y="440"/>
                  </a:cubicBezTo>
                  <a:close/>
                </a:path>
              </a:pathLst>
            </a:custGeom>
            <a:grpFill/>
            <a:ln>
              <a:noFill/>
            </a:ln>
            <a:extLst>
              <a:ext uri="{91240B29-F687-4F45-9708-019B960494DF}">
                <a14:hiddenLine xmlns:a14="http://schemas.microsoft.com/office/drawing/2010/main" w="9525">
                  <a:solidFill>
                    <a:schemeClr val="dk1"/>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33" b="0" i="0" u="none" strike="noStrike" kern="1200" cap="none" spc="0" normalizeH="0" baseline="0" noProof="0">
                <a:ln>
                  <a:noFill/>
                </a:ln>
                <a:solidFill>
                  <a:srgbClr val="414549"/>
                </a:solidFill>
                <a:effectLst/>
                <a:uLnTx/>
                <a:uFillTx/>
                <a:latin typeface="Lato"/>
                <a:ea typeface="+mn-ea"/>
                <a:cs typeface="+mn-cs"/>
              </a:endParaRPr>
            </a:p>
          </p:txBody>
        </p:sp>
        <p:sp>
          <p:nvSpPr>
            <p:cNvPr id="54" name="Freeform 54">
              <a:extLst>
                <a:ext uri="{FF2B5EF4-FFF2-40B4-BE49-F238E27FC236}">
                  <a16:creationId xmlns:a16="http://schemas.microsoft.com/office/drawing/2014/main" id="{C85C764D-FCBC-46DE-BD7D-28520F8784BB}"/>
                </a:ext>
              </a:extLst>
            </p:cNvPr>
            <p:cNvSpPr>
              <a:spLocks noEditPoints="1"/>
            </p:cNvSpPr>
            <p:nvPr/>
          </p:nvSpPr>
          <p:spPr bwMode="auto">
            <a:xfrm>
              <a:off x="3258" y="1311"/>
              <a:ext cx="2079" cy="3213"/>
            </a:xfrm>
            <a:custGeom>
              <a:avLst/>
              <a:gdLst>
                <a:gd name="T0" fmla="*/ 880 w 880"/>
                <a:gd name="T1" fmla="*/ 920 h 1360"/>
                <a:gd name="T2" fmla="*/ 440 w 880"/>
                <a:gd name="T3" fmla="*/ 1120 h 1360"/>
                <a:gd name="T4" fmla="*/ 0 w 880"/>
                <a:gd name="T5" fmla="*/ 920 h 1360"/>
                <a:gd name="T6" fmla="*/ 0 w 880"/>
                <a:gd name="T7" fmla="*/ 832 h 1360"/>
                <a:gd name="T8" fmla="*/ 440 w 880"/>
                <a:gd name="T9" fmla="*/ 960 h 1360"/>
                <a:gd name="T10" fmla="*/ 880 w 880"/>
                <a:gd name="T11" fmla="*/ 832 h 1360"/>
                <a:gd name="T12" fmla="*/ 880 w 880"/>
                <a:gd name="T13" fmla="*/ 920 h 1360"/>
                <a:gd name="T14" fmla="*/ 880 w 880"/>
                <a:gd name="T15" fmla="*/ 1160 h 1360"/>
                <a:gd name="T16" fmla="*/ 440 w 880"/>
                <a:gd name="T17" fmla="*/ 1360 h 1360"/>
                <a:gd name="T18" fmla="*/ 0 w 880"/>
                <a:gd name="T19" fmla="*/ 1160 h 1360"/>
                <a:gd name="T20" fmla="*/ 0 w 880"/>
                <a:gd name="T21" fmla="*/ 1072 h 1360"/>
                <a:gd name="T22" fmla="*/ 440 w 880"/>
                <a:gd name="T23" fmla="*/ 1200 h 1360"/>
                <a:gd name="T24" fmla="*/ 880 w 880"/>
                <a:gd name="T25" fmla="*/ 1072 h 1360"/>
                <a:gd name="T26" fmla="*/ 880 w 880"/>
                <a:gd name="T27" fmla="*/ 1160 h 1360"/>
                <a:gd name="T28" fmla="*/ 440 w 880"/>
                <a:gd name="T29" fmla="*/ 0 h 1360"/>
                <a:gd name="T30" fmla="*/ 880 w 880"/>
                <a:gd name="T31" fmla="*/ 200 h 1360"/>
                <a:gd name="T32" fmla="*/ 440 w 880"/>
                <a:gd name="T33" fmla="*/ 400 h 1360"/>
                <a:gd name="T34" fmla="*/ 0 w 880"/>
                <a:gd name="T35" fmla="*/ 200 h 1360"/>
                <a:gd name="T36" fmla="*/ 440 w 880"/>
                <a:gd name="T37" fmla="*/ 0 h 1360"/>
                <a:gd name="T38" fmla="*/ 0 w 880"/>
                <a:gd name="T39" fmla="*/ 680 h 1360"/>
                <a:gd name="T40" fmla="*/ 0 w 880"/>
                <a:gd name="T41" fmla="*/ 592 h 1360"/>
                <a:gd name="T42" fmla="*/ 440 w 880"/>
                <a:gd name="T43" fmla="*/ 720 h 1360"/>
                <a:gd name="T44" fmla="*/ 880 w 880"/>
                <a:gd name="T45" fmla="*/ 592 h 1360"/>
                <a:gd name="T46" fmla="*/ 880 w 880"/>
                <a:gd name="T47" fmla="*/ 680 h 1360"/>
                <a:gd name="T48" fmla="*/ 440 w 880"/>
                <a:gd name="T49" fmla="*/ 880 h 1360"/>
                <a:gd name="T50" fmla="*/ 0 w 880"/>
                <a:gd name="T51" fmla="*/ 680 h 1360"/>
                <a:gd name="T52" fmla="*/ 0 w 880"/>
                <a:gd name="T53" fmla="*/ 440 h 1360"/>
                <a:gd name="T54" fmla="*/ 0 w 880"/>
                <a:gd name="T55" fmla="*/ 352 h 1360"/>
                <a:gd name="T56" fmla="*/ 440 w 880"/>
                <a:gd name="T57" fmla="*/ 480 h 1360"/>
                <a:gd name="T58" fmla="*/ 880 w 880"/>
                <a:gd name="T59" fmla="*/ 352 h 1360"/>
                <a:gd name="T60" fmla="*/ 880 w 880"/>
                <a:gd name="T61" fmla="*/ 440 h 1360"/>
                <a:gd name="T62" fmla="*/ 440 w 880"/>
                <a:gd name="T63" fmla="*/ 640 h 1360"/>
                <a:gd name="T64" fmla="*/ 0 w 880"/>
                <a:gd name="T65" fmla="*/ 440 h 1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880" h="1360">
                  <a:moveTo>
                    <a:pt x="880" y="920"/>
                  </a:moveTo>
                  <a:cubicBezTo>
                    <a:pt x="880" y="1030"/>
                    <a:pt x="683" y="1120"/>
                    <a:pt x="440" y="1120"/>
                  </a:cubicBezTo>
                  <a:cubicBezTo>
                    <a:pt x="197" y="1120"/>
                    <a:pt x="0" y="1030"/>
                    <a:pt x="0" y="920"/>
                  </a:cubicBezTo>
                  <a:cubicBezTo>
                    <a:pt x="0" y="832"/>
                    <a:pt x="0" y="832"/>
                    <a:pt x="0" y="832"/>
                  </a:cubicBezTo>
                  <a:cubicBezTo>
                    <a:pt x="112" y="927"/>
                    <a:pt x="298" y="960"/>
                    <a:pt x="440" y="960"/>
                  </a:cubicBezTo>
                  <a:cubicBezTo>
                    <a:pt x="582" y="960"/>
                    <a:pt x="768" y="927"/>
                    <a:pt x="880" y="832"/>
                  </a:cubicBezTo>
                  <a:lnTo>
                    <a:pt x="880" y="920"/>
                  </a:lnTo>
                  <a:close/>
                  <a:moveTo>
                    <a:pt x="880" y="1160"/>
                  </a:moveTo>
                  <a:cubicBezTo>
                    <a:pt x="880" y="1270"/>
                    <a:pt x="683" y="1360"/>
                    <a:pt x="440" y="1360"/>
                  </a:cubicBezTo>
                  <a:cubicBezTo>
                    <a:pt x="197" y="1360"/>
                    <a:pt x="0" y="1270"/>
                    <a:pt x="0" y="1160"/>
                  </a:cubicBezTo>
                  <a:cubicBezTo>
                    <a:pt x="0" y="1072"/>
                    <a:pt x="0" y="1072"/>
                    <a:pt x="0" y="1072"/>
                  </a:cubicBezTo>
                  <a:cubicBezTo>
                    <a:pt x="112" y="1167"/>
                    <a:pt x="298" y="1200"/>
                    <a:pt x="440" y="1200"/>
                  </a:cubicBezTo>
                  <a:cubicBezTo>
                    <a:pt x="582" y="1200"/>
                    <a:pt x="768" y="1167"/>
                    <a:pt x="880" y="1072"/>
                  </a:cubicBezTo>
                  <a:lnTo>
                    <a:pt x="880" y="1160"/>
                  </a:lnTo>
                  <a:close/>
                  <a:moveTo>
                    <a:pt x="440" y="0"/>
                  </a:moveTo>
                  <a:cubicBezTo>
                    <a:pt x="683" y="0"/>
                    <a:pt x="880" y="90"/>
                    <a:pt x="880" y="200"/>
                  </a:cubicBezTo>
                  <a:cubicBezTo>
                    <a:pt x="880" y="310"/>
                    <a:pt x="683" y="400"/>
                    <a:pt x="440" y="400"/>
                  </a:cubicBezTo>
                  <a:cubicBezTo>
                    <a:pt x="197" y="400"/>
                    <a:pt x="0" y="310"/>
                    <a:pt x="0" y="200"/>
                  </a:cubicBezTo>
                  <a:cubicBezTo>
                    <a:pt x="0" y="90"/>
                    <a:pt x="197" y="0"/>
                    <a:pt x="440" y="0"/>
                  </a:cubicBezTo>
                  <a:close/>
                  <a:moveTo>
                    <a:pt x="0" y="680"/>
                  </a:moveTo>
                  <a:cubicBezTo>
                    <a:pt x="0" y="592"/>
                    <a:pt x="0" y="592"/>
                    <a:pt x="0" y="592"/>
                  </a:cubicBezTo>
                  <a:cubicBezTo>
                    <a:pt x="112" y="687"/>
                    <a:pt x="298" y="720"/>
                    <a:pt x="440" y="720"/>
                  </a:cubicBezTo>
                  <a:cubicBezTo>
                    <a:pt x="582" y="720"/>
                    <a:pt x="768" y="687"/>
                    <a:pt x="880" y="592"/>
                  </a:cubicBezTo>
                  <a:cubicBezTo>
                    <a:pt x="880" y="680"/>
                    <a:pt x="880" y="680"/>
                    <a:pt x="880" y="680"/>
                  </a:cubicBezTo>
                  <a:cubicBezTo>
                    <a:pt x="880" y="834"/>
                    <a:pt x="549" y="880"/>
                    <a:pt x="440" y="880"/>
                  </a:cubicBezTo>
                  <a:cubicBezTo>
                    <a:pt x="331" y="880"/>
                    <a:pt x="0" y="834"/>
                    <a:pt x="0" y="680"/>
                  </a:cubicBezTo>
                  <a:close/>
                  <a:moveTo>
                    <a:pt x="0" y="440"/>
                  </a:moveTo>
                  <a:cubicBezTo>
                    <a:pt x="0" y="352"/>
                    <a:pt x="0" y="352"/>
                    <a:pt x="0" y="352"/>
                  </a:cubicBezTo>
                  <a:cubicBezTo>
                    <a:pt x="112" y="447"/>
                    <a:pt x="298" y="480"/>
                    <a:pt x="440" y="480"/>
                  </a:cubicBezTo>
                  <a:cubicBezTo>
                    <a:pt x="582" y="480"/>
                    <a:pt x="768" y="447"/>
                    <a:pt x="880" y="352"/>
                  </a:cubicBezTo>
                  <a:cubicBezTo>
                    <a:pt x="880" y="440"/>
                    <a:pt x="880" y="440"/>
                    <a:pt x="880" y="440"/>
                  </a:cubicBezTo>
                  <a:cubicBezTo>
                    <a:pt x="880" y="594"/>
                    <a:pt x="549" y="640"/>
                    <a:pt x="440" y="640"/>
                  </a:cubicBezTo>
                  <a:cubicBezTo>
                    <a:pt x="331" y="640"/>
                    <a:pt x="0" y="594"/>
                    <a:pt x="0" y="440"/>
                  </a:cubicBezTo>
                  <a:close/>
                </a:path>
              </a:pathLst>
            </a:custGeom>
            <a:grpFill/>
            <a:ln>
              <a:noFill/>
            </a:ln>
            <a:extLst>
              <a:ext uri="{91240B29-F687-4F45-9708-019B960494DF}">
                <a14:hiddenLine xmlns:a14="http://schemas.microsoft.com/office/drawing/2010/main" w="9525">
                  <a:solidFill>
                    <a:schemeClr val="dk1"/>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33" b="0" i="0" u="none" strike="noStrike" kern="1200" cap="none" spc="0" normalizeH="0" baseline="0" noProof="0">
                <a:ln>
                  <a:noFill/>
                </a:ln>
                <a:solidFill>
                  <a:srgbClr val="414549"/>
                </a:solidFill>
                <a:effectLst/>
                <a:uLnTx/>
                <a:uFillTx/>
                <a:latin typeface="Lato"/>
                <a:ea typeface="+mn-ea"/>
                <a:cs typeface="+mn-cs"/>
              </a:endParaRPr>
            </a:p>
          </p:txBody>
        </p:sp>
        <p:sp>
          <p:nvSpPr>
            <p:cNvPr id="55" name="Freeform 55">
              <a:extLst>
                <a:ext uri="{FF2B5EF4-FFF2-40B4-BE49-F238E27FC236}">
                  <a16:creationId xmlns:a16="http://schemas.microsoft.com/office/drawing/2014/main" id="{F632295D-F479-42D6-BD49-44B49D42AFD0}"/>
                </a:ext>
              </a:extLst>
            </p:cNvPr>
            <p:cNvSpPr>
              <a:spLocks noEditPoints="1"/>
            </p:cNvSpPr>
            <p:nvPr/>
          </p:nvSpPr>
          <p:spPr bwMode="auto">
            <a:xfrm>
              <a:off x="2124" y="-201"/>
              <a:ext cx="2079" cy="3777"/>
            </a:xfrm>
            <a:custGeom>
              <a:avLst/>
              <a:gdLst>
                <a:gd name="T0" fmla="*/ 400 w 880"/>
                <a:gd name="T1" fmla="*/ 1119 h 1599"/>
                <a:gd name="T2" fmla="*/ 240 w 880"/>
                <a:gd name="T3" fmla="*/ 1098 h 1599"/>
                <a:gd name="T4" fmla="*/ 240 w 880"/>
                <a:gd name="T5" fmla="*/ 939 h 1599"/>
                <a:gd name="T6" fmla="*/ 400 w 880"/>
                <a:gd name="T7" fmla="*/ 959 h 1599"/>
                <a:gd name="T8" fmla="*/ 400 w 880"/>
                <a:gd name="T9" fmla="*/ 1119 h 1599"/>
                <a:gd name="T10" fmla="*/ 400 w 880"/>
                <a:gd name="T11" fmla="*/ 1599 h 1599"/>
                <a:gd name="T12" fmla="*/ 240 w 880"/>
                <a:gd name="T13" fmla="*/ 1578 h 1599"/>
                <a:gd name="T14" fmla="*/ 240 w 880"/>
                <a:gd name="T15" fmla="*/ 1419 h 1599"/>
                <a:gd name="T16" fmla="*/ 400 w 880"/>
                <a:gd name="T17" fmla="*/ 1439 h 1599"/>
                <a:gd name="T18" fmla="*/ 400 w 880"/>
                <a:gd name="T19" fmla="*/ 1599 h 1599"/>
                <a:gd name="T20" fmla="*/ 240 w 880"/>
                <a:gd name="T21" fmla="*/ 1179 h 1599"/>
                <a:gd name="T22" fmla="*/ 400 w 880"/>
                <a:gd name="T23" fmla="*/ 1199 h 1599"/>
                <a:gd name="T24" fmla="*/ 400 w 880"/>
                <a:gd name="T25" fmla="*/ 1358 h 1599"/>
                <a:gd name="T26" fmla="*/ 240 w 880"/>
                <a:gd name="T27" fmla="*/ 1334 h 1599"/>
                <a:gd name="T28" fmla="*/ 240 w 880"/>
                <a:gd name="T29" fmla="*/ 1179 h 1599"/>
                <a:gd name="T30" fmla="*/ 440 w 880"/>
                <a:gd name="T31" fmla="*/ 0 h 1599"/>
                <a:gd name="T32" fmla="*/ 880 w 880"/>
                <a:gd name="T33" fmla="*/ 200 h 1599"/>
                <a:gd name="T34" fmla="*/ 440 w 880"/>
                <a:gd name="T35" fmla="*/ 400 h 1599"/>
                <a:gd name="T36" fmla="*/ 0 w 880"/>
                <a:gd name="T37" fmla="*/ 200 h 1599"/>
                <a:gd name="T38" fmla="*/ 440 w 880"/>
                <a:gd name="T39" fmla="*/ 0 h 1599"/>
                <a:gd name="T40" fmla="*/ 0 w 880"/>
                <a:gd name="T41" fmla="*/ 604 h 1599"/>
                <a:gd name="T42" fmla="*/ 0 w 880"/>
                <a:gd name="T43" fmla="*/ 592 h 1599"/>
                <a:gd name="T44" fmla="*/ 32 w 880"/>
                <a:gd name="T45" fmla="*/ 616 h 1599"/>
                <a:gd name="T46" fmla="*/ 0 w 880"/>
                <a:gd name="T47" fmla="*/ 604 h 1599"/>
                <a:gd name="T48" fmla="*/ 125 w 880"/>
                <a:gd name="T49" fmla="*/ 664 h 1599"/>
                <a:gd name="T50" fmla="*/ 440 w 880"/>
                <a:gd name="T51" fmla="*/ 720 h 1599"/>
                <a:gd name="T52" fmla="*/ 450 w 880"/>
                <a:gd name="T53" fmla="*/ 720 h 1599"/>
                <a:gd name="T54" fmla="*/ 400 w 880"/>
                <a:gd name="T55" fmla="*/ 840 h 1599"/>
                <a:gd name="T56" fmla="*/ 400 w 880"/>
                <a:gd name="T57" fmla="*/ 878 h 1599"/>
                <a:gd name="T58" fmla="*/ 240 w 880"/>
                <a:gd name="T59" fmla="*/ 854 h 1599"/>
                <a:gd name="T60" fmla="*/ 240 w 880"/>
                <a:gd name="T61" fmla="*/ 840 h 1599"/>
                <a:gd name="T62" fmla="*/ 125 w 880"/>
                <a:gd name="T63" fmla="*/ 664 h 1599"/>
                <a:gd name="T64" fmla="*/ 0 w 880"/>
                <a:gd name="T65" fmla="*/ 440 h 1599"/>
                <a:gd name="T66" fmla="*/ 0 w 880"/>
                <a:gd name="T67" fmla="*/ 352 h 1599"/>
                <a:gd name="T68" fmla="*/ 440 w 880"/>
                <a:gd name="T69" fmla="*/ 480 h 1599"/>
                <a:gd name="T70" fmla="*/ 880 w 880"/>
                <a:gd name="T71" fmla="*/ 352 h 1599"/>
                <a:gd name="T72" fmla="*/ 880 w 880"/>
                <a:gd name="T73" fmla="*/ 440 h 1599"/>
                <a:gd name="T74" fmla="*/ 766 w 880"/>
                <a:gd name="T75" fmla="*/ 572 h 1599"/>
                <a:gd name="T76" fmla="*/ 586 w 880"/>
                <a:gd name="T77" fmla="*/ 625 h 1599"/>
                <a:gd name="T78" fmla="*/ 440 w 880"/>
                <a:gd name="T79" fmla="*/ 640 h 1599"/>
                <a:gd name="T80" fmla="*/ 0 w 880"/>
                <a:gd name="T81" fmla="*/ 440 h 15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880" h="1599">
                  <a:moveTo>
                    <a:pt x="400" y="1119"/>
                  </a:moveTo>
                  <a:cubicBezTo>
                    <a:pt x="343" y="1117"/>
                    <a:pt x="289" y="1110"/>
                    <a:pt x="240" y="1098"/>
                  </a:cubicBezTo>
                  <a:cubicBezTo>
                    <a:pt x="240" y="939"/>
                    <a:pt x="240" y="939"/>
                    <a:pt x="240" y="939"/>
                  </a:cubicBezTo>
                  <a:cubicBezTo>
                    <a:pt x="294" y="951"/>
                    <a:pt x="349" y="957"/>
                    <a:pt x="400" y="959"/>
                  </a:cubicBezTo>
                  <a:lnTo>
                    <a:pt x="400" y="1119"/>
                  </a:lnTo>
                  <a:close/>
                  <a:moveTo>
                    <a:pt x="400" y="1599"/>
                  </a:moveTo>
                  <a:cubicBezTo>
                    <a:pt x="343" y="1597"/>
                    <a:pt x="289" y="1590"/>
                    <a:pt x="240" y="1578"/>
                  </a:cubicBezTo>
                  <a:cubicBezTo>
                    <a:pt x="240" y="1419"/>
                    <a:pt x="240" y="1419"/>
                    <a:pt x="240" y="1419"/>
                  </a:cubicBezTo>
                  <a:cubicBezTo>
                    <a:pt x="294" y="1431"/>
                    <a:pt x="349" y="1437"/>
                    <a:pt x="400" y="1439"/>
                  </a:cubicBezTo>
                  <a:lnTo>
                    <a:pt x="400" y="1599"/>
                  </a:lnTo>
                  <a:close/>
                  <a:moveTo>
                    <a:pt x="240" y="1179"/>
                  </a:moveTo>
                  <a:cubicBezTo>
                    <a:pt x="294" y="1191"/>
                    <a:pt x="349" y="1197"/>
                    <a:pt x="400" y="1199"/>
                  </a:cubicBezTo>
                  <a:cubicBezTo>
                    <a:pt x="400" y="1358"/>
                    <a:pt x="400" y="1358"/>
                    <a:pt x="400" y="1358"/>
                  </a:cubicBezTo>
                  <a:cubicBezTo>
                    <a:pt x="356" y="1356"/>
                    <a:pt x="298" y="1348"/>
                    <a:pt x="240" y="1334"/>
                  </a:cubicBezTo>
                  <a:lnTo>
                    <a:pt x="240" y="1179"/>
                  </a:lnTo>
                  <a:close/>
                  <a:moveTo>
                    <a:pt x="440" y="0"/>
                  </a:moveTo>
                  <a:cubicBezTo>
                    <a:pt x="683" y="0"/>
                    <a:pt x="880" y="90"/>
                    <a:pt x="880" y="200"/>
                  </a:cubicBezTo>
                  <a:cubicBezTo>
                    <a:pt x="880" y="310"/>
                    <a:pt x="683" y="400"/>
                    <a:pt x="440" y="400"/>
                  </a:cubicBezTo>
                  <a:cubicBezTo>
                    <a:pt x="197" y="400"/>
                    <a:pt x="0" y="310"/>
                    <a:pt x="0" y="200"/>
                  </a:cubicBezTo>
                  <a:cubicBezTo>
                    <a:pt x="0" y="90"/>
                    <a:pt x="197" y="0"/>
                    <a:pt x="440" y="0"/>
                  </a:cubicBezTo>
                  <a:close/>
                  <a:moveTo>
                    <a:pt x="0" y="604"/>
                  </a:moveTo>
                  <a:cubicBezTo>
                    <a:pt x="0" y="592"/>
                    <a:pt x="0" y="592"/>
                    <a:pt x="0" y="592"/>
                  </a:cubicBezTo>
                  <a:cubicBezTo>
                    <a:pt x="10" y="600"/>
                    <a:pt x="21" y="608"/>
                    <a:pt x="32" y="616"/>
                  </a:cubicBezTo>
                  <a:cubicBezTo>
                    <a:pt x="22" y="612"/>
                    <a:pt x="11" y="608"/>
                    <a:pt x="0" y="604"/>
                  </a:cubicBezTo>
                  <a:close/>
                  <a:moveTo>
                    <a:pt x="125" y="664"/>
                  </a:moveTo>
                  <a:cubicBezTo>
                    <a:pt x="226" y="705"/>
                    <a:pt x="343" y="720"/>
                    <a:pt x="440" y="720"/>
                  </a:cubicBezTo>
                  <a:cubicBezTo>
                    <a:pt x="443" y="720"/>
                    <a:pt x="447" y="720"/>
                    <a:pt x="450" y="720"/>
                  </a:cubicBezTo>
                  <a:cubicBezTo>
                    <a:pt x="418" y="756"/>
                    <a:pt x="400" y="797"/>
                    <a:pt x="400" y="840"/>
                  </a:cubicBezTo>
                  <a:cubicBezTo>
                    <a:pt x="400" y="878"/>
                    <a:pt x="400" y="878"/>
                    <a:pt x="400" y="878"/>
                  </a:cubicBezTo>
                  <a:cubicBezTo>
                    <a:pt x="356" y="876"/>
                    <a:pt x="298" y="868"/>
                    <a:pt x="240" y="854"/>
                  </a:cubicBezTo>
                  <a:cubicBezTo>
                    <a:pt x="240" y="840"/>
                    <a:pt x="240" y="840"/>
                    <a:pt x="240" y="840"/>
                  </a:cubicBezTo>
                  <a:cubicBezTo>
                    <a:pt x="240" y="774"/>
                    <a:pt x="197" y="712"/>
                    <a:pt x="125" y="664"/>
                  </a:cubicBezTo>
                  <a:close/>
                  <a:moveTo>
                    <a:pt x="0" y="440"/>
                  </a:moveTo>
                  <a:cubicBezTo>
                    <a:pt x="0" y="352"/>
                    <a:pt x="0" y="352"/>
                    <a:pt x="0" y="352"/>
                  </a:cubicBezTo>
                  <a:cubicBezTo>
                    <a:pt x="112" y="447"/>
                    <a:pt x="298" y="480"/>
                    <a:pt x="440" y="480"/>
                  </a:cubicBezTo>
                  <a:cubicBezTo>
                    <a:pt x="582" y="480"/>
                    <a:pt x="768" y="447"/>
                    <a:pt x="880" y="352"/>
                  </a:cubicBezTo>
                  <a:cubicBezTo>
                    <a:pt x="880" y="440"/>
                    <a:pt x="880" y="440"/>
                    <a:pt x="880" y="440"/>
                  </a:cubicBezTo>
                  <a:cubicBezTo>
                    <a:pt x="880" y="499"/>
                    <a:pt x="832" y="542"/>
                    <a:pt x="766" y="572"/>
                  </a:cubicBezTo>
                  <a:cubicBezTo>
                    <a:pt x="700" y="584"/>
                    <a:pt x="638" y="602"/>
                    <a:pt x="586" y="625"/>
                  </a:cubicBezTo>
                  <a:cubicBezTo>
                    <a:pt x="527" y="636"/>
                    <a:pt x="473" y="640"/>
                    <a:pt x="440" y="640"/>
                  </a:cubicBezTo>
                  <a:cubicBezTo>
                    <a:pt x="331" y="640"/>
                    <a:pt x="0" y="594"/>
                    <a:pt x="0" y="440"/>
                  </a:cubicBezTo>
                  <a:close/>
                </a:path>
              </a:pathLst>
            </a:custGeom>
            <a:grpFill/>
            <a:ln>
              <a:noFill/>
            </a:ln>
            <a:extLst>
              <a:ext uri="{91240B29-F687-4F45-9708-019B960494DF}">
                <a14:hiddenLine xmlns:a14="http://schemas.microsoft.com/office/drawing/2010/main" w="9525">
                  <a:solidFill>
                    <a:schemeClr val="dk1"/>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33" b="0" i="0" u="none" strike="noStrike" kern="1200" cap="none" spc="0" normalizeH="0" baseline="0" noProof="0">
                <a:ln>
                  <a:noFill/>
                </a:ln>
                <a:solidFill>
                  <a:srgbClr val="414549"/>
                </a:solidFill>
                <a:effectLst/>
                <a:uLnTx/>
                <a:uFillTx/>
                <a:latin typeface="Lato"/>
                <a:ea typeface="+mn-ea"/>
                <a:cs typeface="+mn-cs"/>
              </a:endParaRPr>
            </a:p>
          </p:txBody>
        </p:sp>
      </p:grpSp>
      <p:sp>
        <p:nvSpPr>
          <p:cNvPr id="36" name="Text Box 8">
            <a:extLst>
              <a:ext uri="{FF2B5EF4-FFF2-40B4-BE49-F238E27FC236}">
                <a16:creationId xmlns:a16="http://schemas.microsoft.com/office/drawing/2014/main" id="{41F87A5A-1D60-4981-AB06-E57F48D49B76}"/>
              </a:ext>
            </a:extLst>
          </p:cNvPr>
          <p:cNvSpPr txBox="1">
            <a:spLocks noChangeArrowheads="1"/>
          </p:cNvSpPr>
          <p:nvPr/>
        </p:nvSpPr>
        <p:spPr bwMode="auto">
          <a:xfrm>
            <a:off x="24157" y="1636438"/>
            <a:ext cx="648898" cy="184666"/>
          </a:xfrm>
          <a:prstGeom prst="rect">
            <a:avLst/>
          </a:prstGeom>
          <a:noFill/>
          <a:ln>
            <a:noFill/>
          </a:ln>
          <a:effectLst/>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200" b="0" i="0" u="none" strike="noStrike" kern="1200" cap="none" spc="0" normalizeH="0" baseline="0" noProof="0">
                <a:ln>
                  <a:noFill/>
                </a:ln>
                <a:solidFill>
                  <a:srgbClr val="414549"/>
                </a:solidFill>
                <a:effectLst>
                  <a:outerShdw blurRad="38100" dist="38100" dir="2700000" algn="tl">
                    <a:srgbClr val="FFFFFF"/>
                  </a:outerShdw>
                </a:effectLst>
                <a:uLnTx/>
                <a:uFillTx/>
                <a:latin typeface="Lato"/>
                <a:ea typeface="+mn-ea"/>
                <a:cs typeface="Arial" panose="020B0604020202020204" pitchFamily="34" charset="0"/>
              </a:rPr>
              <a:t>In %</a:t>
            </a:r>
          </a:p>
        </p:txBody>
      </p:sp>
      <p:sp>
        <p:nvSpPr>
          <p:cNvPr id="31" name="Text Box 6">
            <a:extLst>
              <a:ext uri="{FF2B5EF4-FFF2-40B4-BE49-F238E27FC236}">
                <a16:creationId xmlns:a16="http://schemas.microsoft.com/office/drawing/2014/main" id="{8C989CE3-89CD-44EE-B863-3A43ED7EB700}"/>
              </a:ext>
            </a:extLst>
          </p:cNvPr>
          <p:cNvSpPr txBox="1">
            <a:spLocks noChangeArrowheads="1"/>
          </p:cNvSpPr>
          <p:nvPr/>
        </p:nvSpPr>
        <p:spPr bwMode="auto">
          <a:xfrm>
            <a:off x="6939760" y="2894449"/>
            <a:ext cx="310983" cy="246221"/>
          </a:xfrm>
          <a:prstGeom prst="rect">
            <a:avLst/>
          </a:prstGeom>
          <a:noFill/>
          <a:ln>
            <a:noFill/>
          </a:ln>
          <a:effectLst/>
        </p:spPr>
        <p:txBody>
          <a:bodyPr wrap="none" lIns="0" tIns="0" rIns="0" bIns="0" anchor="ctr">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600" b="0" i="1" u="none" strike="noStrike" kern="1200" cap="none" spc="0" normalizeH="0" baseline="0" noProof="0">
                <a:ln>
                  <a:noFill/>
                </a:ln>
                <a:solidFill>
                  <a:srgbClr val="414549"/>
                </a:solidFill>
                <a:effectLst>
                  <a:outerShdw blurRad="38100" dist="38100" dir="2700000" algn="tl">
                    <a:srgbClr val="FFFFFF"/>
                  </a:outerShdw>
                </a:effectLst>
                <a:uLnTx/>
                <a:uFillTx/>
                <a:latin typeface="Lato Light"/>
                <a:ea typeface="+mn-ea"/>
                <a:cs typeface="Arial" panose="020B0604020202020204" pitchFamily="34" charset="0"/>
              </a:rPr>
              <a:t>-12</a:t>
            </a:r>
          </a:p>
        </p:txBody>
      </p:sp>
      <p:pic>
        <p:nvPicPr>
          <p:cNvPr id="39" name="Image 38">
            <a:extLst>
              <a:ext uri="{FF2B5EF4-FFF2-40B4-BE49-F238E27FC236}">
                <a16:creationId xmlns:a16="http://schemas.microsoft.com/office/drawing/2014/main" id="{D92AB049-01F7-4402-B90A-AEA2E78DF656}"/>
              </a:ext>
            </a:extLst>
          </p:cNvPr>
          <p:cNvPicPr>
            <a:picLocks noChangeAspect="1"/>
          </p:cNvPicPr>
          <p:nvPr/>
        </p:nvPicPr>
        <p:blipFill>
          <a:blip r:embed="rId14"/>
          <a:stretch>
            <a:fillRect/>
          </a:stretch>
        </p:blipFill>
        <p:spPr>
          <a:xfrm>
            <a:off x="6922457" y="5724236"/>
            <a:ext cx="428400" cy="428400"/>
          </a:xfrm>
          <a:prstGeom prst="rect">
            <a:avLst/>
          </a:prstGeom>
        </p:spPr>
      </p:pic>
      <p:sp>
        <p:nvSpPr>
          <p:cNvPr id="61" name="Textplatzhalter 6">
            <a:extLst>
              <a:ext uri="{FF2B5EF4-FFF2-40B4-BE49-F238E27FC236}">
                <a16:creationId xmlns:a16="http://schemas.microsoft.com/office/drawing/2014/main" id="{7088ACD1-9638-4E25-BC45-8B47D7491722}"/>
              </a:ext>
            </a:extLst>
          </p:cNvPr>
          <p:cNvSpPr txBox="1">
            <a:spLocks/>
          </p:cNvSpPr>
          <p:nvPr/>
        </p:nvSpPr>
        <p:spPr>
          <a:xfrm>
            <a:off x="673055" y="6357191"/>
            <a:ext cx="8548131" cy="342750"/>
          </a:xfrm>
          <a:prstGeom prst="rect">
            <a:avLst/>
          </a:prstGeom>
        </p:spPr>
        <p:txBody>
          <a:bodyPr/>
          <a:lstStyle>
            <a:lvl1pPr marL="0" marR="0" indent="0" algn="l" defTabSz="914400" rtl="0" eaLnBrk="1" fontAlgn="auto" latinLnBrk="0" hangingPunct="1">
              <a:lnSpc>
                <a:spcPct val="100000"/>
              </a:lnSpc>
              <a:spcBef>
                <a:spcPts val="300"/>
              </a:spcBef>
              <a:spcAft>
                <a:spcPts val="0"/>
              </a:spcAft>
              <a:buClrTx/>
              <a:buSzTx/>
              <a:buFont typeface="Arial" pitchFamily="34" charset="0"/>
              <a:buNone/>
              <a:tabLst/>
              <a:defRPr sz="1600" kern="1200">
                <a:solidFill>
                  <a:schemeClr val="tx1"/>
                </a:solidFill>
                <a:latin typeface="Arial" pitchFamily="34" charset="0"/>
                <a:ea typeface="+mn-ea"/>
                <a:cs typeface="Arial" pitchFamily="34" charset="0"/>
              </a:defRPr>
            </a:lvl1pPr>
            <a:lvl2pPr marL="180000" marR="0" indent="-180000"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sz="1600" kern="1200">
                <a:solidFill>
                  <a:schemeClr val="tx1"/>
                </a:solidFill>
                <a:latin typeface="Arial" pitchFamily="34" charset="0"/>
                <a:ea typeface="+mn-ea"/>
                <a:cs typeface="Arial" pitchFamily="34" charset="0"/>
              </a:defRPr>
            </a:lvl2pPr>
            <a:lvl3pPr marL="36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sz="1600" kern="1200">
                <a:solidFill>
                  <a:schemeClr val="tx1"/>
                </a:solidFill>
                <a:latin typeface="Arial" pitchFamily="34" charset="0"/>
                <a:ea typeface="+mn-ea"/>
                <a:cs typeface="Arial" pitchFamily="34" charset="0"/>
              </a:defRPr>
            </a:lvl3pPr>
            <a:lvl4pPr marL="54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sz="1600" kern="1200">
                <a:solidFill>
                  <a:schemeClr val="tx1"/>
                </a:solidFill>
                <a:latin typeface="Arial" pitchFamily="34" charset="0"/>
                <a:ea typeface="+mn-ea"/>
                <a:cs typeface="Arial" pitchFamily="34" charset="0"/>
              </a:defRPr>
            </a:lvl4pPr>
            <a:lvl5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sz="1600" kern="1200">
                <a:solidFill>
                  <a:schemeClr val="tx1"/>
                </a:solidFill>
                <a:latin typeface="Arial" pitchFamily="34" charset="0"/>
                <a:ea typeface="+mn-ea"/>
                <a:cs typeface="Arial" pitchFamily="34" charset="0"/>
              </a:defRPr>
            </a:lvl5pPr>
            <a:lvl6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sz="1600" kern="1200">
                <a:solidFill>
                  <a:schemeClr val="tx1"/>
                </a:solidFill>
                <a:latin typeface="Arial" pitchFamily="34" charset="0"/>
                <a:ea typeface="+mn-ea"/>
                <a:cs typeface="Arial" pitchFamily="34" charset="0"/>
              </a:defRPr>
            </a:lvl6pPr>
            <a:lvl7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sz="1600" kern="1200">
                <a:solidFill>
                  <a:schemeClr val="tx1"/>
                </a:solidFill>
                <a:latin typeface="Arial" pitchFamily="34" charset="0"/>
                <a:ea typeface="+mn-ea"/>
                <a:cs typeface="Arial" pitchFamily="34" charset="0"/>
              </a:defRPr>
            </a:lvl7pPr>
            <a:lvl8pPr marL="540000" indent="-180000" algn="l" defTabSz="914400" rtl="0" eaLnBrk="1" latinLnBrk="0" hangingPunct="1">
              <a:spcBef>
                <a:spcPts val="300"/>
              </a:spcBef>
              <a:spcAft>
                <a:spcPts val="0"/>
              </a:spcAft>
              <a:buFont typeface="Arial" pitchFamily="34" charset="0"/>
              <a:buChar char="•"/>
              <a:defRPr sz="1600" kern="1200">
                <a:solidFill>
                  <a:schemeClr val="tx1"/>
                </a:solidFill>
                <a:latin typeface="Arial" pitchFamily="34" charset="0"/>
                <a:ea typeface="+mn-ea"/>
                <a:cs typeface="Arial" pitchFamily="34" charset="0"/>
              </a:defRPr>
            </a:lvl8pPr>
            <a:lvl9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sz="1600" kern="1200">
                <a:solidFill>
                  <a:schemeClr val="tx1"/>
                </a:solidFill>
                <a:latin typeface="Arial" pitchFamily="34" charset="0"/>
                <a:ea typeface="+mn-ea"/>
                <a:cs typeface="Arial" pitchFamily="34" charset="0"/>
              </a:defRPr>
            </a:lvl9pPr>
          </a:lstStyle>
          <a:p>
            <a:pPr marL="0" marR="0" lvl="0" indent="0" algn="l" defTabSz="914400" rtl="0" eaLnBrk="1" fontAlgn="auto" latinLnBrk="0" hangingPunct="1">
              <a:lnSpc>
                <a:spcPct val="100000"/>
              </a:lnSpc>
              <a:spcBef>
                <a:spcPts val="300"/>
              </a:spcBef>
              <a:spcAft>
                <a:spcPts val="0"/>
              </a:spcAft>
              <a:buClrTx/>
              <a:buSzTx/>
              <a:buFont typeface="Arial" pitchFamily="34" charset="0"/>
              <a:buNone/>
              <a:tabLst/>
              <a:defRPr/>
            </a:pPr>
            <a:r>
              <a:rPr kumimoji="0" lang="en-GB" sz="900" b="0" i="0" u="none" strike="noStrike" kern="1200" cap="none" spc="0" normalizeH="0" baseline="0" noProof="0">
                <a:ln>
                  <a:noFill/>
                </a:ln>
                <a:solidFill>
                  <a:srgbClr val="414549"/>
                </a:solidFill>
                <a:effectLst/>
                <a:uLnTx/>
                <a:uFillTx/>
                <a:latin typeface="Lato"/>
                <a:ea typeface="+mn-ea"/>
                <a:cs typeface="Arial" pitchFamily="34" charset="0"/>
              </a:rPr>
              <a:t>A01. Let’s start by talking about the current economic situation. Please indicate if you or your family are better or worse off financially compared with a year ago?</a:t>
            </a:r>
            <a:endParaRPr kumimoji="0" lang="fr-FR" sz="900" b="0" i="0" u="none" strike="noStrike" kern="1200" cap="none" spc="0" normalizeH="0" baseline="0" noProof="0">
              <a:ln>
                <a:noFill/>
              </a:ln>
              <a:solidFill>
                <a:srgbClr val="414549"/>
              </a:solidFill>
              <a:effectLst/>
              <a:uLnTx/>
              <a:uFillTx/>
              <a:latin typeface="Lato"/>
              <a:ea typeface="+mn-ea"/>
              <a:cs typeface="Arial" pitchFamily="34" charset="0"/>
            </a:endParaRPr>
          </a:p>
          <a:p>
            <a:pPr marL="0" marR="0" lvl="0" indent="0" algn="l" defTabSz="914400" rtl="0" eaLnBrk="1" fontAlgn="auto" latinLnBrk="0" hangingPunct="1">
              <a:lnSpc>
                <a:spcPct val="100000"/>
              </a:lnSpc>
              <a:spcBef>
                <a:spcPts val="300"/>
              </a:spcBef>
              <a:spcAft>
                <a:spcPts val="0"/>
              </a:spcAft>
              <a:buClrTx/>
              <a:buSzTx/>
              <a:buFont typeface="Arial" pitchFamily="34" charset="0"/>
              <a:buNone/>
              <a:tabLst/>
              <a:defRPr/>
            </a:pPr>
            <a:endParaRPr kumimoji="0" lang="fr-FR" sz="900" b="0" i="0" u="none" strike="noStrike" kern="1200" cap="none" spc="0" normalizeH="0" baseline="0" noProof="0">
              <a:ln>
                <a:noFill/>
              </a:ln>
              <a:solidFill>
                <a:srgbClr val="414549"/>
              </a:solidFill>
              <a:effectLst/>
              <a:uLnTx/>
              <a:uFillTx/>
              <a:latin typeface="Lato"/>
              <a:ea typeface="+mn-ea"/>
              <a:cs typeface="Arial" pitchFamily="34" charset="0"/>
            </a:endParaRPr>
          </a:p>
        </p:txBody>
      </p:sp>
      <p:pic>
        <p:nvPicPr>
          <p:cNvPr id="45" name="Image 42">
            <a:extLst>
              <a:ext uri="{FF2B5EF4-FFF2-40B4-BE49-F238E27FC236}">
                <a16:creationId xmlns:a16="http://schemas.microsoft.com/office/drawing/2014/main" id="{ABCE7A9C-410D-457A-9E90-D3880951A2C6}"/>
              </a:ext>
            </a:extLst>
          </p:cNvPr>
          <p:cNvPicPr>
            <a:picLocks/>
          </p:cNvPicPr>
          <p:nvPr/>
        </p:nvPicPr>
        <p:blipFill>
          <a:blip r:embed="rId15"/>
          <a:stretch>
            <a:fillRect/>
          </a:stretch>
        </p:blipFill>
        <p:spPr>
          <a:xfrm>
            <a:off x="7954358" y="5745457"/>
            <a:ext cx="428400" cy="428400"/>
          </a:xfrm>
          <a:prstGeom prst="rect">
            <a:avLst/>
          </a:prstGeom>
        </p:spPr>
      </p:pic>
      <p:pic>
        <p:nvPicPr>
          <p:cNvPr id="50" name="Image 35">
            <a:extLst>
              <a:ext uri="{FF2B5EF4-FFF2-40B4-BE49-F238E27FC236}">
                <a16:creationId xmlns:a16="http://schemas.microsoft.com/office/drawing/2014/main" id="{9D1F6758-1AD7-4F05-A9F7-0C93204C424D}"/>
              </a:ext>
            </a:extLst>
          </p:cNvPr>
          <p:cNvPicPr>
            <a:picLocks/>
          </p:cNvPicPr>
          <p:nvPr/>
        </p:nvPicPr>
        <p:blipFill>
          <a:blip r:embed="rId16"/>
          <a:stretch>
            <a:fillRect/>
          </a:stretch>
        </p:blipFill>
        <p:spPr>
          <a:xfrm>
            <a:off x="8986259" y="5745457"/>
            <a:ext cx="428400" cy="428400"/>
          </a:xfrm>
          <a:prstGeom prst="rect">
            <a:avLst/>
          </a:prstGeom>
        </p:spPr>
      </p:pic>
      <p:pic>
        <p:nvPicPr>
          <p:cNvPr id="60" name="Image 38">
            <a:extLst>
              <a:ext uri="{FF2B5EF4-FFF2-40B4-BE49-F238E27FC236}">
                <a16:creationId xmlns:a16="http://schemas.microsoft.com/office/drawing/2014/main" id="{CE75F451-7B84-4D58-B025-D11945C60A2D}"/>
              </a:ext>
            </a:extLst>
          </p:cNvPr>
          <p:cNvPicPr>
            <a:picLocks noChangeAspect="1"/>
          </p:cNvPicPr>
          <p:nvPr/>
        </p:nvPicPr>
        <p:blipFill>
          <a:blip r:embed="rId17"/>
          <a:stretch>
            <a:fillRect/>
          </a:stretch>
        </p:blipFill>
        <p:spPr>
          <a:xfrm>
            <a:off x="10018157" y="5722626"/>
            <a:ext cx="438848" cy="428400"/>
          </a:xfrm>
          <a:prstGeom prst="rect">
            <a:avLst/>
          </a:prstGeom>
        </p:spPr>
      </p:pic>
      <p:sp>
        <p:nvSpPr>
          <p:cNvPr id="62" name="Text Box 6">
            <a:extLst>
              <a:ext uri="{FF2B5EF4-FFF2-40B4-BE49-F238E27FC236}">
                <a16:creationId xmlns:a16="http://schemas.microsoft.com/office/drawing/2014/main" id="{C96DD218-F52F-4446-ADBA-732B5998A124}"/>
              </a:ext>
            </a:extLst>
          </p:cNvPr>
          <p:cNvSpPr txBox="1">
            <a:spLocks noChangeArrowheads="1"/>
          </p:cNvSpPr>
          <p:nvPr/>
        </p:nvSpPr>
        <p:spPr bwMode="auto">
          <a:xfrm>
            <a:off x="8062577" y="2894449"/>
            <a:ext cx="192360" cy="246221"/>
          </a:xfrm>
          <a:prstGeom prst="rect">
            <a:avLst/>
          </a:prstGeom>
          <a:noFill/>
          <a:ln>
            <a:noFill/>
          </a:ln>
          <a:effectLst/>
        </p:spPr>
        <p:txBody>
          <a:bodyPr wrap="none" lIns="0" tIns="0" rIns="0" bIns="0" anchor="ctr">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600" b="0" i="1" u="none" strike="noStrike" kern="1200" cap="none" spc="0" normalizeH="0" baseline="0" noProof="0">
                <a:ln>
                  <a:noFill/>
                </a:ln>
                <a:solidFill>
                  <a:srgbClr val="414549"/>
                </a:solidFill>
                <a:effectLst>
                  <a:outerShdw blurRad="38100" dist="38100" dir="2700000" algn="tl">
                    <a:srgbClr val="FFFFFF"/>
                  </a:outerShdw>
                </a:effectLst>
                <a:uLnTx/>
                <a:uFillTx/>
                <a:latin typeface="Lato Light"/>
                <a:ea typeface="+mn-ea"/>
                <a:cs typeface="Arial" panose="020B0604020202020204" pitchFamily="34" charset="0"/>
              </a:rPr>
              <a:t>-2</a:t>
            </a:r>
          </a:p>
        </p:txBody>
      </p:sp>
      <p:sp>
        <p:nvSpPr>
          <p:cNvPr id="63" name="Text Box 6">
            <a:extLst>
              <a:ext uri="{FF2B5EF4-FFF2-40B4-BE49-F238E27FC236}">
                <a16:creationId xmlns:a16="http://schemas.microsoft.com/office/drawing/2014/main" id="{92FF7292-6BD6-48E3-943B-61A475188B0C}"/>
              </a:ext>
            </a:extLst>
          </p:cNvPr>
          <p:cNvSpPr txBox="1">
            <a:spLocks noChangeArrowheads="1"/>
          </p:cNvSpPr>
          <p:nvPr/>
        </p:nvSpPr>
        <p:spPr bwMode="auto">
          <a:xfrm>
            <a:off x="9053520" y="2894449"/>
            <a:ext cx="192360" cy="246221"/>
          </a:xfrm>
          <a:prstGeom prst="rect">
            <a:avLst/>
          </a:prstGeom>
          <a:noFill/>
          <a:ln>
            <a:noFill/>
          </a:ln>
          <a:effectLst/>
        </p:spPr>
        <p:txBody>
          <a:bodyPr wrap="none" lIns="0" tIns="0" rIns="0" bIns="0" anchor="ctr">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600" b="0" i="1" u="none" strike="noStrike" kern="1200" cap="none" spc="0" normalizeH="0" baseline="0" noProof="0">
                <a:ln>
                  <a:noFill/>
                </a:ln>
                <a:solidFill>
                  <a:srgbClr val="414549"/>
                </a:solidFill>
                <a:effectLst>
                  <a:outerShdw blurRad="38100" dist="38100" dir="2700000" algn="tl">
                    <a:srgbClr val="FFFFFF"/>
                  </a:outerShdw>
                </a:effectLst>
                <a:uLnTx/>
                <a:uFillTx/>
                <a:latin typeface="Lato Light"/>
                <a:ea typeface="+mn-ea"/>
                <a:cs typeface="Arial" panose="020B0604020202020204" pitchFamily="34" charset="0"/>
              </a:rPr>
              <a:t>-4</a:t>
            </a:r>
          </a:p>
        </p:txBody>
      </p:sp>
      <p:sp>
        <p:nvSpPr>
          <p:cNvPr id="64" name="Text Box 6">
            <a:extLst>
              <a:ext uri="{FF2B5EF4-FFF2-40B4-BE49-F238E27FC236}">
                <a16:creationId xmlns:a16="http://schemas.microsoft.com/office/drawing/2014/main" id="{F90CD30C-AFDA-4292-A1E8-BF82C5C6097A}"/>
              </a:ext>
            </a:extLst>
          </p:cNvPr>
          <p:cNvSpPr txBox="1">
            <a:spLocks noChangeArrowheads="1"/>
          </p:cNvSpPr>
          <p:nvPr/>
        </p:nvSpPr>
        <p:spPr bwMode="auto">
          <a:xfrm flipV="1">
            <a:off x="10163729" y="2894449"/>
            <a:ext cx="467196" cy="246221"/>
          </a:xfrm>
          <a:prstGeom prst="rect">
            <a:avLst/>
          </a:prstGeom>
          <a:noFill/>
          <a:ln>
            <a:noFill/>
          </a:ln>
          <a:effectLst/>
        </p:spPr>
        <p:txBody>
          <a:bodyPr wrap="square" lIns="0" tIns="0" rIns="0" bIns="0" anchor="ctr">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600" b="0" i="1" u="none" strike="noStrike" kern="1200" cap="none" spc="0" normalizeH="0" baseline="0" noProof="0">
                <a:ln>
                  <a:noFill/>
                </a:ln>
                <a:solidFill>
                  <a:srgbClr val="414549"/>
                </a:solidFill>
                <a:effectLst>
                  <a:outerShdw blurRad="38100" dist="38100" dir="2700000" algn="tl">
                    <a:srgbClr val="FFFFFF"/>
                  </a:outerShdw>
                </a:effectLst>
                <a:uLnTx/>
                <a:uFillTx/>
                <a:latin typeface="Lato Light"/>
                <a:ea typeface="+mn-ea"/>
                <a:cs typeface="Arial" panose="020B0604020202020204" pitchFamily="34" charset="0"/>
              </a:rPr>
              <a:t>0  </a:t>
            </a:r>
          </a:p>
        </p:txBody>
      </p:sp>
      <p:sp>
        <p:nvSpPr>
          <p:cNvPr id="65" name="Text Box 6">
            <a:extLst>
              <a:ext uri="{FF2B5EF4-FFF2-40B4-BE49-F238E27FC236}">
                <a16:creationId xmlns:a16="http://schemas.microsoft.com/office/drawing/2014/main" id="{09C2F11D-6C06-408C-8BFE-864A426691C0}"/>
              </a:ext>
            </a:extLst>
          </p:cNvPr>
          <p:cNvSpPr txBox="1">
            <a:spLocks noChangeArrowheads="1"/>
          </p:cNvSpPr>
          <p:nvPr/>
        </p:nvSpPr>
        <p:spPr bwMode="auto">
          <a:xfrm rot="10800000" flipV="1">
            <a:off x="11084957" y="2894450"/>
            <a:ext cx="316801" cy="246221"/>
          </a:xfrm>
          <a:prstGeom prst="rect">
            <a:avLst/>
          </a:prstGeom>
          <a:noFill/>
          <a:ln>
            <a:noFill/>
          </a:ln>
          <a:effectLst/>
        </p:spPr>
        <p:txBody>
          <a:bodyPr wrap="square" lIns="0" tIns="0" rIns="0" bIns="0" anchor="ctr">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600" b="0" i="1" u="none" strike="noStrike" kern="1200" cap="none" spc="0" normalizeH="0" baseline="0" noProof="0">
                <a:ln>
                  <a:noFill/>
                </a:ln>
                <a:solidFill>
                  <a:srgbClr val="414549"/>
                </a:solidFill>
                <a:effectLst>
                  <a:outerShdw blurRad="38100" dist="38100" dir="2700000" algn="tl">
                    <a:srgbClr val="FFFFFF"/>
                  </a:outerShdw>
                </a:effectLst>
                <a:uLnTx/>
                <a:uFillTx/>
                <a:latin typeface="Lato Light"/>
                <a:ea typeface="+mn-ea"/>
                <a:cs typeface="Arial" panose="020B0604020202020204" pitchFamily="34" charset="0"/>
              </a:rPr>
              <a:t>-41</a:t>
            </a:r>
          </a:p>
        </p:txBody>
      </p:sp>
      <p:pic>
        <p:nvPicPr>
          <p:cNvPr id="67" name="Рисунок 66">
            <a:extLst>
              <a:ext uri="{FF2B5EF4-FFF2-40B4-BE49-F238E27FC236}">
                <a16:creationId xmlns:a16="http://schemas.microsoft.com/office/drawing/2014/main" id="{4B8A3635-E864-4109-B956-6D59787CCA3C}"/>
              </a:ext>
            </a:extLst>
          </p:cNvPr>
          <p:cNvPicPr>
            <a:picLocks noChangeAspect="1"/>
          </p:cNvPicPr>
          <p:nvPr/>
        </p:nvPicPr>
        <p:blipFill>
          <a:blip r:embed="rId18" cstate="print">
            <a:extLst>
              <a:ext uri="{28A0092B-C50C-407E-A947-70E740481C1C}">
                <a14:useLocalDpi xmlns:a14="http://schemas.microsoft.com/office/drawing/2010/main"/>
              </a:ext>
            </a:extLst>
          </a:blip>
          <a:stretch>
            <a:fillRect/>
          </a:stretch>
        </p:blipFill>
        <p:spPr>
          <a:xfrm>
            <a:off x="10996262" y="5689362"/>
            <a:ext cx="432000" cy="432000"/>
          </a:xfrm>
          <a:prstGeom prst="rect">
            <a:avLst/>
          </a:prstGeom>
        </p:spPr>
      </p:pic>
      <p:sp>
        <p:nvSpPr>
          <p:cNvPr id="38" name="Заголовок 2">
            <a:extLst>
              <a:ext uri="{FF2B5EF4-FFF2-40B4-BE49-F238E27FC236}">
                <a16:creationId xmlns:a16="http://schemas.microsoft.com/office/drawing/2014/main" id="{B65E6E48-A861-4098-93DD-8D2CBDC3F016}"/>
              </a:ext>
            </a:extLst>
          </p:cNvPr>
          <p:cNvSpPr>
            <a:spLocks noGrp="1"/>
          </p:cNvSpPr>
          <p:nvPr>
            <p:ph type="title"/>
          </p:nvPr>
        </p:nvSpPr>
        <p:spPr>
          <a:xfrm>
            <a:off x="1075061" y="288923"/>
            <a:ext cx="10036400" cy="648000"/>
          </a:xfrm>
        </p:spPr>
        <p:txBody>
          <a:bodyPr/>
          <a:lstStyle/>
          <a:p>
            <a:r>
              <a:rPr lang="en-US"/>
              <a:t>Current Personal Economic Situation vs Last Year</a:t>
            </a:r>
          </a:p>
        </p:txBody>
      </p:sp>
      <p:sp>
        <p:nvSpPr>
          <p:cNvPr id="43" name="Подзаголовок 7">
            <a:extLst>
              <a:ext uri="{FF2B5EF4-FFF2-40B4-BE49-F238E27FC236}">
                <a16:creationId xmlns:a16="http://schemas.microsoft.com/office/drawing/2014/main" id="{4868F546-3AE3-46F9-B23E-FDD020913C13}"/>
              </a:ext>
            </a:extLst>
          </p:cNvPr>
          <p:cNvSpPr>
            <a:spLocks noGrp="1"/>
          </p:cNvSpPr>
          <p:nvPr>
            <p:ph type="subTitle" idx="13"/>
          </p:nvPr>
        </p:nvSpPr>
        <p:spPr>
          <a:xfrm>
            <a:off x="1084424" y="1020125"/>
            <a:ext cx="9816557" cy="457588"/>
          </a:xfrm>
        </p:spPr>
        <p:txBody>
          <a:bodyPr/>
          <a:lstStyle/>
          <a:p>
            <a:r>
              <a:rPr lang="en-US">
                <a:solidFill>
                  <a:schemeClr val="tx2"/>
                </a:solidFill>
                <a:ea typeface="Lato" panose="020F0502020204030203" pitchFamily="34" charset="0"/>
                <a:cs typeface="Lato" panose="020F0502020204030203" pitchFamily="34" charset="0"/>
              </a:rPr>
              <a:t> High proportion of European people has seen their personal financial </a:t>
            </a:r>
          </a:p>
          <a:p>
            <a:r>
              <a:rPr lang="en-US">
                <a:solidFill>
                  <a:schemeClr val="tx2"/>
                </a:solidFill>
                <a:ea typeface="Lato" panose="020F0502020204030203" pitchFamily="34" charset="0"/>
                <a:cs typeface="Lato" panose="020F0502020204030203" pitchFamily="34" charset="0"/>
              </a:rPr>
              <a:t>situation worsen.</a:t>
            </a:r>
            <a:endParaRPr lang="ru-RU">
              <a:solidFill>
                <a:schemeClr val="tx2"/>
              </a:solidFill>
            </a:endParaRPr>
          </a:p>
        </p:txBody>
      </p:sp>
    </p:spTree>
    <p:extLst>
      <p:ext uri="{BB962C8B-B14F-4D97-AF65-F5344CB8AC3E}">
        <p14:creationId xmlns:p14="http://schemas.microsoft.com/office/powerpoint/2010/main" val="39053897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Wjk2L99Bi568hyz6Oj7Cgg"/>
</p:tagLst>
</file>

<file path=ppt/tags/tag10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0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0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0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0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0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0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0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0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1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Wjk2L99Bi568hyz6Oj7Cgg"/>
</p:tagLst>
</file>

<file path=ppt/tags/tag11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1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1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1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1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1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1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2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2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2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Wjk2L99Bi568hyz6Oj7Cgg"/>
</p:tagLst>
</file>

<file path=ppt/tags/tag12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2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2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2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2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3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3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3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3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3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Wjk2L99Bi568hyz6Oj7Cgg"/>
</p:tagLst>
</file>

<file path=ppt/tags/tag13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3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3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4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4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4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4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4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4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Wjk2L99Bi568hyz6Oj7Cgg"/>
</p:tagLst>
</file>

<file path=ppt/tags/tag14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5.xml><?xml version="1.0" encoding="utf-8"?>
<p:tagLst xmlns:a="http://schemas.openxmlformats.org/drawingml/2006/main" xmlns:r="http://schemas.openxmlformats.org/officeDocument/2006/relationships" xmlns:p="http://schemas.openxmlformats.org/presentationml/2006/main">
  <p:tag name="VCT-BODYINDENTATION" val="0;0;0;14.17323;14.09646;28.34646;28.26968;42.51968;42.44291;56.69291;42.44291;56.69291;42.44291;56.69291;42.44291;56.69291;42.44291;56.69291;"/>
  <p:tag name="VCT-BULLETVISIBILITY" val="G ********"/>
</p:tagLst>
</file>

<file path=ppt/tags/tag15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5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5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5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5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5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5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5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5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STYLE" val="VCT_Marker"/>
  <p:tag name="DATE" val="12/08/2014 15:21:41"/>
  <p:tag name="VCT-TEMPLATE" val="GfK Group_16-9_redesign.potx"/>
  <p:tag name="VCTMASTER" val="GfK Group"/>
  <p:tag name="VCTORDER" val="1"/>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Wjk2L99Bi568hyz6Oj7Cgg"/>
</p:tagLst>
</file>

<file path=ppt/tags/tag16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6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6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6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6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6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6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6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6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Wjk2L99Bi568hyz6Oj7Cgg"/>
</p:tagLst>
</file>

<file path=ppt/tags/tag17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7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7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7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7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7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7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8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8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8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8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8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8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8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8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8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9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9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9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9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9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9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9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9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9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9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xml><?xml version="1.0" encoding="utf-8"?>
<p:tagLst xmlns:a="http://schemas.openxmlformats.org/drawingml/2006/main" xmlns:r="http://schemas.openxmlformats.org/officeDocument/2006/relationships" xmlns:p="http://schemas.openxmlformats.org/presentationml/2006/main">
  <p:tag name="VCT-BODYINDENTATION" val="0;0;0;14.17323;14.09646;28.34646;28.26968;42.51968;42.44291;56.69291;42.44291;56.69291;42.44291;56.69291;42.44291;56.69291;42.44291;56.69291;"/>
  <p:tag name="VCT-BULLETVISIBILITY" val="G ********"/>
</p:tagLst>
</file>

<file path=ppt/tags/tag2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0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0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0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03.xml><?xml version="1.0" encoding="utf-8"?>
<p:tagLst xmlns:a="http://schemas.openxmlformats.org/drawingml/2006/main" xmlns:r="http://schemas.openxmlformats.org/officeDocument/2006/relationships" xmlns:p="http://schemas.openxmlformats.org/presentationml/2006/main">
  <p:tag name="STYLE" val="VCT_Marker"/>
  <p:tag name="DATE" val="19.10.2011 11:04:46"/>
  <p:tag name="VCT-TEMPLATE" val="GfK Template PPT 2003 4-3.pot"/>
  <p:tag name="VCTMASTER" val="GfK Master for PPT 2010 4-3"/>
  <p:tag name="VCTORDER" val="1"/>
</p:tagLst>
</file>

<file path=ppt/tags/tag204.xml><?xml version="1.0" encoding="utf-8"?>
<p:tagLst xmlns:a="http://schemas.openxmlformats.org/drawingml/2006/main" xmlns:r="http://schemas.openxmlformats.org/officeDocument/2006/relationships" xmlns:p="http://schemas.openxmlformats.org/presentationml/2006/main">
  <p:tag name="STYLE" val="VCT_Marker"/>
  <p:tag name="DATE" val="19.10.2011 11:04:46"/>
  <p:tag name="VCT-TEMPLATE" val="GfK Template PPT 2003 4-3.pot"/>
  <p:tag name="VCTMASTER" val="GfK Master for PPT 2010 4-3"/>
  <p:tag name="VCTORDER" val="1"/>
</p:tagLst>
</file>

<file path=ppt/tags/tag20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0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0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0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0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1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1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1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1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1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1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1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1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1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1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2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2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2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2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2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2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2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2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2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2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3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3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3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3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3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3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3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3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EiAdRruSJJarjzAnw07eAA"/>
</p:tagLst>
</file>

<file path=ppt/tags/tag2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4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t2dnxZI5uzWfx.r3oj2yTDA"/>
</p:tagLst>
</file>

<file path=ppt/tags/tag24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t2dnxZI5uzWfx.r3oj2yTDA"/>
</p:tagLst>
</file>

<file path=ppt/tags/tag24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t2dnxZI5uzWfx.r3oj2yTDA"/>
</p:tagLst>
</file>

<file path=ppt/tags/tag24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5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5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5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5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5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5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5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5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5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5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6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6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6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6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6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6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STYLE" val="VCT_Marker"/>
  <p:tag name="DATE" val="12/08/2014 15:21:41"/>
  <p:tag name="VCT-TEMPLATE" val="GfK_PPT_Template_Office2007-2010_16-9.potx"/>
  <p:tag name="VCTMASTER" val="GfK Group"/>
  <p:tag name="VCTORDER" val="1"/>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Wjk2L99Bi568hyz6Oj7Cgg"/>
</p:tagLst>
</file>

<file path=ppt/tags/tag3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6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6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6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6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6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6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6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6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6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7.xml><?xml version="1.0" encoding="utf-8"?>
<p:tagLst xmlns:a="http://schemas.openxmlformats.org/drawingml/2006/main" xmlns:r="http://schemas.openxmlformats.org/officeDocument/2006/relationships" xmlns:p="http://schemas.openxmlformats.org/presentationml/2006/main">
  <p:tag name="VCT-BODYINDENTATION" val="0;0;0;14.17323;14.09646;28.34646;28.26968;42.51968;42.44291;56.69291;42.44291;56.69291;42.44291;56.69291;42.44291;56.69291;42.44291;56.69291;"/>
  <p:tag name="VCT-BULLETVISIBILITY" val="G ********"/>
</p:tagLst>
</file>

<file path=ppt/tags/tag7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7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7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v9W6rwR2QPe5sTJ0qmE4jg"/>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ZQQX.F1DSPSeHm3K28XEYA"/>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ZQQX.F1DSPSeHm3K28XEYA"/>
</p:tagLst>
</file>

<file path=ppt/tags/tag7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8.xml><?xml version="1.0" encoding="utf-8"?>
<p:tagLst xmlns:a="http://schemas.openxmlformats.org/drawingml/2006/main" xmlns:r="http://schemas.openxmlformats.org/officeDocument/2006/relationships" xmlns:p="http://schemas.openxmlformats.org/presentationml/2006/main">
  <p:tag name="STYLE" val="VCT_Marker"/>
  <p:tag name="DATE" val="12/08/2014 15:21:41"/>
  <p:tag name="VCT-TEMPLATE" val="GfK_PPT_Template_Office2007-2010_16-9.potx"/>
  <p:tag name="VCTMASTER" val="GfK Group"/>
  <p:tag name="VCTORDER" val="1"/>
</p:tagLst>
</file>

<file path=ppt/tags/tag8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8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8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8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8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8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8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8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8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8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9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9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9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9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9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9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9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9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2_GfK">
  <a:themeElements>
    <a:clrScheme name="GfK Group">
      <a:dk1>
        <a:srgbClr val="000000"/>
      </a:dk1>
      <a:lt1>
        <a:srgbClr val="FFFFFF"/>
      </a:lt1>
      <a:dk2>
        <a:srgbClr val="E55A00"/>
      </a:dk2>
      <a:lt2>
        <a:srgbClr val="8E8581"/>
      </a:lt2>
      <a:accent1>
        <a:srgbClr val="264283"/>
      </a:accent1>
      <a:accent2>
        <a:srgbClr val="007DC3"/>
      </a:accent2>
      <a:accent3>
        <a:srgbClr val="A2AD00"/>
      </a:accent3>
      <a:accent4>
        <a:srgbClr val="C1BB00"/>
      </a:accent4>
      <a:accent5>
        <a:srgbClr val="9B1F23"/>
      </a:accent5>
      <a:accent6>
        <a:srgbClr val="DC291E"/>
      </a:accent6>
      <a:hlink>
        <a:srgbClr val="A2AD00"/>
      </a:hlink>
      <a:folHlink>
        <a:srgbClr val="C1BB00"/>
      </a:folHlink>
    </a:clrScheme>
    <a:fontScheme name="Arial">
      <a:majorFont>
        <a:latin typeface="Arial"/>
        <a:ea typeface=""/>
        <a:cs typeface=""/>
      </a:majorFont>
      <a:minorFont>
        <a:latin typeface="Arial"/>
        <a:ea typeface=""/>
        <a:cs typeface=""/>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bg1"/>
        </a:solidFill>
        <a:ln w="9525">
          <a:solidFill>
            <a:schemeClr val="tx1"/>
          </a:solid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marL="0" indent="0" algn="ctr">
          <a:spcBef>
            <a:spcPts val="300"/>
          </a:spcBef>
          <a:buFont typeface="Courier New" pitchFamily="49" charset="0"/>
          <a:buNone/>
          <a:defRPr sz="1600" dirty="0" smtClean="0">
            <a:solidFill>
              <a:schemeClr val="tx1"/>
            </a:solidFill>
            <a:latin typeface="Arial" pitchFamily="34" charset="0"/>
            <a:cs typeface="Arial"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tailEnd type="none"/>
        </a:ln>
      </a:spPr>
      <a:bodyPr/>
      <a:lstStyle/>
      <a:style>
        <a:lnRef idx="1">
          <a:schemeClr val="accent1"/>
        </a:lnRef>
        <a:fillRef idx="0">
          <a:schemeClr val="accent1"/>
        </a:fillRef>
        <a:effectRef idx="0">
          <a:schemeClr val="accent1"/>
        </a:effectRef>
        <a:fontRef idx="minor">
          <a:schemeClr val="tx1"/>
        </a:fontRef>
      </a:style>
    </a:lnDef>
    <a:txDef>
      <a:spPr bwMode="gray">
        <a:noFill/>
      </a:spPr>
      <a:bodyPr wrap="square" lIns="0" tIns="0" rIns="0" bIns="0" rtlCol="0">
        <a:spAutoFit/>
      </a:bodyPr>
      <a:lstStyle>
        <a:defPPr>
          <a:spcBef>
            <a:spcPts val="300"/>
          </a:spcBef>
          <a:defRPr sz="1600" dirty="0" err="1" smtClean="0">
            <a:latin typeface="Arial" pitchFamily="34" charset="0"/>
            <a:cs typeface="Arial" pitchFamily="34" charset="0"/>
          </a:defRPr>
        </a:defPPr>
      </a:lstStyle>
    </a:txDef>
  </a:objectDefaults>
  <a:extraClrSchemeLst/>
  <a:custClrLst>
    <a:custClr name="dark yellow 100%">
      <a:srgbClr val="F0AB00"/>
    </a:custClr>
    <a:custClr name="light yellow 100%">
      <a:srgbClr val="F6D50F"/>
    </a:custClr>
    <a:custClr name="warm grey 100%">
      <a:srgbClr val="8E8581"/>
    </a:custClr>
    <a:custClr name="GfK orange">
      <a:srgbClr val="E55A00"/>
    </a:custClr>
    <a:custClr name="dark blue 100%">
      <a:srgbClr val="264283"/>
    </a:custClr>
    <a:custClr name="light blue 100%">
      <a:srgbClr val="007DC3"/>
    </a:custClr>
    <a:custClr name="dark green 100%">
      <a:srgbClr val="A2AD00"/>
    </a:custClr>
    <a:custClr name="light green 100%">
      <a:srgbClr val="C1BB00"/>
    </a:custClr>
    <a:custClr name="dark red 100%">
      <a:srgbClr val="9B1F23"/>
    </a:custClr>
    <a:custClr name="light red 100%">
      <a:srgbClr val="DC291E"/>
    </a:custClr>
    <a:custClr name="dark yellow 80%">
      <a:srgbClr val="FCC000"/>
    </a:custClr>
    <a:custClr name="light yellow 80%">
      <a:srgbClr val="FFDD44"/>
    </a:custClr>
    <a:custClr name="warm grey 80%">
      <a:srgbClr val="A79D98"/>
    </a:custClr>
    <a:custClr>
      <a:srgbClr val="FFFFFF"/>
    </a:custClr>
    <a:custClr name="dark blue 80%">
      <a:srgbClr val="405B9B"/>
    </a:custClr>
    <a:custClr name="light blue 80%">
      <a:srgbClr val="389DD7"/>
    </a:custClr>
    <a:custClr name="dark green 80%">
      <a:srgbClr val="B4BE46"/>
    </a:custClr>
    <a:custClr name="light green 80%">
      <a:srgbClr val="D7CF42"/>
    </a:custClr>
    <a:custClr name="dark red 80%">
      <a:srgbClr val="C34A3A"/>
    </a:custClr>
    <a:custClr name="light red 80%">
      <a:srgbClr val="E94F35"/>
    </a:custClr>
    <a:custClr name="dark yellow 60%">
      <a:srgbClr val="FED07A"/>
    </a:custClr>
    <a:custClr name="light yellow 60%">
      <a:srgbClr val="FFE67F"/>
    </a:custClr>
    <a:custClr name="warm grey 60%">
      <a:srgbClr val="BCB4B0"/>
    </a:custClr>
    <a:custClr>
      <a:srgbClr val="FFFFFF"/>
    </a:custClr>
    <a:custClr name="dark blue 60%">
      <a:srgbClr val="6E7EB3"/>
    </a:custClr>
    <a:custClr name="light blue 60%">
      <a:srgbClr val="7DB4E2"/>
    </a:custClr>
    <a:custClr name="dark green 60%">
      <a:srgbClr val="C6CE79"/>
    </a:custClr>
    <a:custClr name="light green 60%">
      <a:srgbClr val="E2DA7A"/>
    </a:custClr>
    <a:custClr name="dark red 60%">
      <a:srgbClr val="D27863"/>
    </a:custClr>
    <a:custClr name="light red 60%">
      <a:srgbClr val="F08262"/>
    </a:custClr>
    <a:custClr name="dark yellow 40%">
      <a:srgbClr val="FFE0A9"/>
    </a:custClr>
    <a:custClr name="light yellow 40%">
      <a:srgbClr val="FFEEAF"/>
    </a:custClr>
    <a:custClr name="warm grey 40%">
      <a:srgbClr val="D2CBC9"/>
    </a:custClr>
    <a:custClr>
      <a:srgbClr val="FFFFFF"/>
    </a:custClr>
    <a:custClr name="dark blue 40%">
      <a:srgbClr val="9EA5CD"/>
    </a:custClr>
    <a:custClr name="light blue 40%">
      <a:srgbClr val="ADCDED"/>
    </a:custClr>
    <a:custClr name="dark green 40%">
      <a:srgbClr val="D8DEA8"/>
    </a:custClr>
    <a:custClr name="light green 40%">
      <a:srgbClr val="ECE6AA"/>
    </a:custClr>
    <a:custClr name="dark red 40%">
      <a:srgbClr val="E1A693"/>
    </a:custClr>
    <a:custClr name="light red 40%">
      <a:srgbClr val="F6AF95"/>
    </a:custClr>
  </a:custClrLst>
</a:theme>
</file>

<file path=ppt/theme/theme10.xml><?xml version="1.0" encoding="utf-8"?>
<a:theme xmlns:a="http://schemas.openxmlformats.org/drawingml/2006/main" name="20_GfK">
  <a:themeElements>
    <a:clrScheme name="GfK">
      <a:dk1>
        <a:srgbClr val="414549"/>
      </a:dk1>
      <a:lt1>
        <a:srgbClr val="FFFFFF"/>
      </a:lt1>
      <a:dk2>
        <a:srgbClr val="E55A00"/>
      </a:dk2>
      <a:lt2>
        <a:srgbClr val="000000"/>
      </a:lt2>
      <a:accent1>
        <a:srgbClr val="414549"/>
      </a:accent1>
      <a:accent2>
        <a:srgbClr val="85280F"/>
      </a:accent2>
      <a:accent3>
        <a:srgbClr val="202D46"/>
      </a:accent3>
      <a:accent4>
        <a:srgbClr val="E2B726"/>
      </a:accent4>
      <a:accent5>
        <a:srgbClr val="543E35"/>
      </a:accent5>
      <a:accent6>
        <a:srgbClr val="496249"/>
      </a:accent6>
      <a:hlink>
        <a:srgbClr val="E55A00"/>
      </a:hlink>
      <a:folHlink>
        <a:srgbClr val="C39166"/>
      </a:folHlink>
    </a:clrScheme>
    <a:fontScheme name="GfK">
      <a:majorFont>
        <a:latin typeface="Lato Light"/>
        <a:ea typeface=""/>
        <a:cs typeface=""/>
        <a:font script="Jpan" typeface="Meiryo UI"/>
        <a:font script="Hang" typeface="맑은고딕"/>
        <a:font script="Hans" typeface="Boldface"/>
        <a:font script="Hant" typeface="微軟正黑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Lato"/>
        <a:ea typeface=""/>
        <a:cs typeface=""/>
        <a:font script="Jpan" typeface="Meiryo UI"/>
        <a:font script="Hang" typeface="맑은고딕"/>
        <a:font script="Hans" typeface="Boldface"/>
        <a:font script="Hant" typeface="微軟正黑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lIns="72000" tIns="36000" rIns="72000" bIns="36000" rtlCol="0" anchor="ctr"/>
      <a:lstStyle>
        <a:defPPr algn="ctr">
          <a:lnSpc>
            <a:spcPct val="125000"/>
          </a:lnSpc>
          <a:defRPr sz="1600" dirty="0"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marL="252000" indent="-252000">
          <a:lnSpc>
            <a:spcPct val="125000"/>
          </a:lnSpc>
          <a:buClr>
            <a:schemeClr val="tx2"/>
          </a:buClr>
          <a:buFont typeface="Wingdings" panose="05000000000000000000" pitchFamily="2" charset="2"/>
          <a:buChar char="§"/>
          <a:defRPr sz="1600" dirty="0" err="1" smtClean="0"/>
        </a:defPPr>
      </a:lstStyle>
    </a:txDef>
  </a:objectDefaults>
  <a:extraClrSchemeLst/>
  <a:custClrLst>
    <a:custClr name="GfK SAND 100%">
      <a:srgbClr val="C39166"/>
    </a:custClr>
    <a:custClr name="GfK PURPLE 100%">
      <a:srgbClr val="42122D"/>
    </a:custClr>
    <a:custClr name="GfK PETROL 100%">
      <a:srgbClr val="4D9991"/>
    </a:custClr>
    <a:custClr name="GfK ORANGE">
      <a:srgbClr val="E55A00"/>
    </a:custClr>
    <a:custClr name="GfK GRAY 100%">
      <a:srgbClr val="414549"/>
    </a:custClr>
    <a:custClr name="GfK RED 100%">
      <a:srgbClr val="85280F"/>
    </a:custClr>
    <a:custClr name="GfK BLUE 100%">
      <a:srgbClr val="202D46"/>
    </a:custClr>
    <a:custClr name="GfK YELLOW 100%">
      <a:srgbClr val="E2B726"/>
    </a:custClr>
    <a:custClr name="GfK BROWN 100%">
      <a:srgbClr val="543E35"/>
    </a:custClr>
    <a:custClr name="GfK GREEN 100%">
      <a:srgbClr val="496249"/>
    </a:custClr>
    <a:custClr name="GfK SAND 80%">
      <a:srgbClr val="CFA785"/>
    </a:custClr>
    <a:custClr name="GfK PURPLE 80%">
      <a:srgbClr val="684157"/>
    </a:custClr>
    <a:custClr name="GfK PETROL 80%">
      <a:srgbClr val="71ADA7"/>
    </a:custClr>
    <a:custClr>
      <a:srgbClr val="FFFFFF"/>
    </a:custClr>
    <a:custClr name="GfK GRAY 80%">
      <a:srgbClr val="676A6D"/>
    </a:custClr>
    <a:custClr name="GfK RED 80%">
      <a:srgbClr val="9D533F"/>
    </a:custClr>
    <a:custClr name="GfK BLUE 80%">
      <a:srgbClr val="4D576B"/>
    </a:custClr>
    <a:custClr name="GfK YELLOW 80%">
      <a:srgbClr val="E8C551"/>
    </a:custClr>
    <a:custClr name="GfK BROWN 80%">
      <a:srgbClr val="76655D"/>
    </a:custClr>
    <a:custClr name="GfK GREEN 80%">
      <a:srgbClr val="6D816D"/>
    </a:custClr>
    <a:custClr name="GfK SAND 60%">
      <a:srgbClr val="DBBDA3"/>
    </a:custClr>
    <a:custClr name="GfK PURPLE 60%">
      <a:srgbClr val="8E7181"/>
    </a:custClr>
    <a:custClr name="GfK PETROL 60%">
      <a:srgbClr val="94C2BD"/>
    </a:custClr>
    <a:custClr>
      <a:srgbClr val="FFFFFF"/>
    </a:custClr>
    <a:custClr name="GfK GRAY 60%">
      <a:srgbClr val="8D8F92"/>
    </a:custClr>
    <a:custClr name="GfK RED 60%">
      <a:srgbClr val="B67E6F"/>
    </a:custClr>
    <a:custClr name="GfK BLUE 60%">
      <a:srgbClr val="798190"/>
    </a:custClr>
    <a:custClr name="GfK YELLOW 60%">
      <a:srgbClr val="EED47D"/>
    </a:custClr>
    <a:custClr name="GfK BROWN 60%">
      <a:srgbClr val="988B86"/>
    </a:custClr>
    <a:custClr name="GfK GREEN 60%">
      <a:srgbClr val="92A192"/>
    </a:custClr>
    <a:custClr name="GfK SAND 40%">
      <a:srgbClr val="E7D3C2"/>
    </a:custClr>
    <a:custClr name="GfK PURPLE 40%">
      <a:srgbClr val="B3A0AB"/>
    </a:custClr>
    <a:custClr name="GfK PETROL 40%">
      <a:srgbClr val="B8D6D3"/>
    </a:custClr>
    <a:custClr>
      <a:srgbClr val="FFFFFF"/>
    </a:custClr>
    <a:custClr name="GfK GRAY 40%">
      <a:srgbClr val="B3B5B6"/>
    </a:custClr>
    <a:custClr name="GfK RED 40%">
      <a:srgbClr val="CEA99F"/>
    </a:custClr>
    <a:custClr name="GfK BLUE 40%">
      <a:srgbClr val="A6ABB5"/>
    </a:custClr>
    <a:custClr name="GfK YELLOW 40%">
      <a:srgbClr val="F3E2A8"/>
    </a:custClr>
    <a:custClr name="GfK BROWN 40%">
      <a:srgbClr val="BBB2AE"/>
    </a:custClr>
    <a:custClr name="GfK GREEN 40%">
      <a:srgbClr val="B6C0B6"/>
    </a:custClr>
    <a:custClr name="GfK SAND 20%">
      <a:srgbClr val="F3E9E0"/>
    </a:custClr>
    <a:custClr name="GfK PURPLE 20%">
      <a:srgbClr val="D9D0D5"/>
    </a:custClr>
    <a:custClr>
      <a:srgbClr val="FFFFFF"/>
    </a:custClr>
    <a:custClr>
      <a:srgbClr val="FFFFFF"/>
    </a:custClr>
    <a:custClr name="GfK GRAY 20%">
      <a:srgbClr val="D9DADB"/>
    </a:custClr>
    <a:custClr name="GfK RED 20%">
      <a:srgbClr val="E7D4CF"/>
    </a:custClr>
    <a:custClr name="GfK BLUE 20%">
      <a:srgbClr val="D2D5DA"/>
    </a:custClr>
    <a:custClr name="GfK YELLOW 20%">
      <a:srgbClr val="F9F1D4"/>
    </a:custClr>
    <a:custClr name="GfK BROWN 20%">
      <a:srgbClr val="DDD8D7"/>
    </a:custClr>
    <a:custClr name="GfK GREEN 20%">
      <a:srgbClr val="D2E0DB"/>
    </a:custClr>
  </a:custClrLst>
  <a:extLst>
    <a:ext uri="{05A4C25C-085E-4340-85A3-A5531E510DB2}">
      <thm15:themeFamily xmlns:thm15="http://schemas.microsoft.com/office/thememl/2012/main" name="GfK Template Lato.potx" id="{9B41F6FD-FD88-4220-BF2A-EDDFA9568A3A}" vid="{E05CAEFB-A675-4FF4-A247-1F6AB37A1E93}"/>
    </a:ext>
  </a:extLst>
</a:theme>
</file>

<file path=ppt/theme/theme11.xml><?xml version="1.0" encoding="utf-8"?>
<a:theme xmlns:a="http://schemas.openxmlformats.org/drawingml/2006/main" name="GfK">
  <a:themeElements>
    <a:clrScheme name="GfK">
      <a:dk1>
        <a:srgbClr val="414549"/>
      </a:dk1>
      <a:lt1>
        <a:srgbClr val="FFFFFF"/>
      </a:lt1>
      <a:dk2>
        <a:srgbClr val="E55A00"/>
      </a:dk2>
      <a:lt2>
        <a:srgbClr val="000000"/>
      </a:lt2>
      <a:accent1>
        <a:srgbClr val="414549"/>
      </a:accent1>
      <a:accent2>
        <a:srgbClr val="85280F"/>
      </a:accent2>
      <a:accent3>
        <a:srgbClr val="202D46"/>
      </a:accent3>
      <a:accent4>
        <a:srgbClr val="E2B726"/>
      </a:accent4>
      <a:accent5>
        <a:srgbClr val="543E35"/>
      </a:accent5>
      <a:accent6>
        <a:srgbClr val="496249"/>
      </a:accent6>
      <a:hlink>
        <a:srgbClr val="E55A00"/>
      </a:hlink>
      <a:folHlink>
        <a:srgbClr val="C39166"/>
      </a:folHlink>
    </a:clrScheme>
    <a:fontScheme name="GfK">
      <a:majorFont>
        <a:latin typeface="Lato Light"/>
        <a:ea typeface=""/>
        <a:cs typeface=""/>
        <a:font script="Jpan" typeface="Meiryo UI"/>
        <a:font script="Hang" typeface="맑은고딕"/>
        <a:font script="Hans" typeface="Boldface"/>
        <a:font script="Hant" typeface="微軟正黑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Lato"/>
        <a:ea typeface=""/>
        <a:cs typeface=""/>
        <a:font script="Jpan" typeface="Meiryo UI"/>
        <a:font script="Hang" typeface="맑은고딕"/>
        <a:font script="Hans" typeface="Boldface"/>
        <a:font script="Hant" typeface="微軟正黑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lIns="72000" tIns="36000" rIns="72000" bIns="36000" rtlCol="0" anchor="ctr"/>
      <a:lstStyle>
        <a:defPPr algn="ctr">
          <a:lnSpc>
            <a:spcPct val="125000"/>
          </a:lnSpc>
          <a:defRPr sz="1600" dirty="0"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marL="252000" indent="-252000">
          <a:lnSpc>
            <a:spcPct val="125000"/>
          </a:lnSpc>
          <a:buClr>
            <a:schemeClr val="tx2"/>
          </a:buClr>
          <a:buFont typeface="Wingdings" panose="05000000000000000000" pitchFamily="2" charset="2"/>
          <a:buChar char="§"/>
          <a:defRPr sz="1600" dirty="0" err="1" smtClean="0"/>
        </a:defPPr>
      </a:lstStyle>
    </a:txDef>
  </a:objectDefaults>
  <a:extraClrSchemeLst/>
  <a:custClrLst>
    <a:custClr name="GfK SAND 100%">
      <a:srgbClr val="C39166"/>
    </a:custClr>
    <a:custClr name="GfK PURPLE 100%">
      <a:srgbClr val="42122D"/>
    </a:custClr>
    <a:custClr name="GfK PETROL 100%">
      <a:srgbClr val="4D9991"/>
    </a:custClr>
    <a:custClr name="GfK ORANGE">
      <a:srgbClr val="E55A00"/>
    </a:custClr>
    <a:custClr name="GfK GRAY 100%">
      <a:srgbClr val="414549"/>
    </a:custClr>
    <a:custClr name="GfK RED 100%">
      <a:srgbClr val="85280F"/>
    </a:custClr>
    <a:custClr name="GfK BLUE 100%">
      <a:srgbClr val="202D46"/>
    </a:custClr>
    <a:custClr name="GfK YELLOW 100%">
      <a:srgbClr val="E2B726"/>
    </a:custClr>
    <a:custClr name="GfK BROWN 100%">
      <a:srgbClr val="543E35"/>
    </a:custClr>
    <a:custClr name="GfK GREEN 100%">
      <a:srgbClr val="496249"/>
    </a:custClr>
    <a:custClr name="GfK SAND 80%">
      <a:srgbClr val="CFA785"/>
    </a:custClr>
    <a:custClr name="GfK PURPLE 80%">
      <a:srgbClr val="684157"/>
    </a:custClr>
    <a:custClr name="GfK PETROL 80%">
      <a:srgbClr val="71ADA7"/>
    </a:custClr>
    <a:custClr>
      <a:srgbClr val="FFFFFF"/>
    </a:custClr>
    <a:custClr name="GfK GRAY 80%">
      <a:srgbClr val="676A6D"/>
    </a:custClr>
    <a:custClr name="GfK RED 80%">
      <a:srgbClr val="9D533F"/>
    </a:custClr>
    <a:custClr name="GfK BLUE 80%">
      <a:srgbClr val="4D576B"/>
    </a:custClr>
    <a:custClr name="GfK YELLOW 80%">
      <a:srgbClr val="E8C551"/>
    </a:custClr>
    <a:custClr name="GfK BROWN 80%">
      <a:srgbClr val="76655D"/>
    </a:custClr>
    <a:custClr name="GfK GREEN 80%">
      <a:srgbClr val="6D816D"/>
    </a:custClr>
    <a:custClr name="GfK SAND 60%">
      <a:srgbClr val="DBBDA3"/>
    </a:custClr>
    <a:custClr name="GfK PURPLE 60%">
      <a:srgbClr val="8E7181"/>
    </a:custClr>
    <a:custClr name="GfK PETROL 60%">
      <a:srgbClr val="94C2BD"/>
    </a:custClr>
    <a:custClr>
      <a:srgbClr val="FFFFFF"/>
    </a:custClr>
    <a:custClr name="GfK GRAY 60%">
      <a:srgbClr val="8D8F92"/>
    </a:custClr>
    <a:custClr name="GfK RED 60%">
      <a:srgbClr val="B67E6F"/>
    </a:custClr>
    <a:custClr name="GfK BLUE 60%">
      <a:srgbClr val="798190"/>
    </a:custClr>
    <a:custClr name="GfK YELLOW 60%">
      <a:srgbClr val="EED47D"/>
    </a:custClr>
    <a:custClr name="GfK BROWN 60%">
      <a:srgbClr val="988B86"/>
    </a:custClr>
    <a:custClr name="GfK GREEN 60%">
      <a:srgbClr val="92A192"/>
    </a:custClr>
    <a:custClr name="GfK SAND 40%">
      <a:srgbClr val="E7D3C2"/>
    </a:custClr>
    <a:custClr name="GfK PURPLE 40%">
      <a:srgbClr val="B3A0AB"/>
    </a:custClr>
    <a:custClr name="GfK PETROL 40%">
      <a:srgbClr val="B8D6D3"/>
    </a:custClr>
    <a:custClr>
      <a:srgbClr val="FFFFFF"/>
    </a:custClr>
    <a:custClr name="GfK GRAY 40%">
      <a:srgbClr val="B3B5B6"/>
    </a:custClr>
    <a:custClr name="GfK RED 40%">
      <a:srgbClr val="CEA99F"/>
    </a:custClr>
    <a:custClr name="GfK BLUE 40%">
      <a:srgbClr val="A6ABB5"/>
    </a:custClr>
    <a:custClr name="GfK YELLOW 40%">
      <a:srgbClr val="F3E2A8"/>
    </a:custClr>
    <a:custClr name="GfK BROWN 40%">
      <a:srgbClr val="BBB2AE"/>
    </a:custClr>
    <a:custClr name="GfK GREEN 40%">
      <a:srgbClr val="B6C0B6"/>
    </a:custClr>
    <a:custClr name="GfK SAND 20%">
      <a:srgbClr val="F3E9E0"/>
    </a:custClr>
    <a:custClr name="GfK PURPLE 20%">
      <a:srgbClr val="D9D0D5"/>
    </a:custClr>
    <a:custClr>
      <a:srgbClr val="FFFFFF"/>
    </a:custClr>
    <a:custClr>
      <a:srgbClr val="FFFFFF"/>
    </a:custClr>
    <a:custClr name="GfK GRAY 20%">
      <a:srgbClr val="D9DADB"/>
    </a:custClr>
    <a:custClr name="GfK RED 20%">
      <a:srgbClr val="E7D4CF"/>
    </a:custClr>
    <a:custClr name="GfK BLUE 20%">
      <a:srgbClr val="D2D5DA"/>
    </a:custClr>
    <a:custClr name="GfK YELLOW 20%">
      <a:srgbClr val="F9F1D4"/>
    </a:custClr>
    <a:custClr name="GfK BROWN 20%">
      <a:srgbClr val="DDD8D7"/>
    </a:custClr>
    <a:custClr name="GfK GREEN 20%">
      <a:srgbClr val="D2E0DB"/>
    </a:custClr>
  </a:custClrLst>
  <a:extLst>
    <a:ext uri="{05A4C25C-085E-4340-85A3-A5531E510DB2}">
      <thm15:themeFamily xmlns:thm15="http://schemas.microsoft.com/office/thememl/2012/main" name="GfK Template Lato.potx" id="{9B41F6FD-FD88-4220-BF2A-EDDFA9568A3A}" vid="{E05CAEFB-A675-4FF4-A247-1F6AB37A1E93}"/>
    </a:ext>
  </a:extLst>
</a:theme>
</file>

<file path=ppt/theme/theme12.xml><?xml version="1.0" encoding="utf-8"?>
<a:theme xmlns:a="http://schemas.openxmlformats.org/drawingml/2006/main" name="7_GfK">
  <a:themeElements>
    <a:clrScheme name="GfK">
      <a:dk1>
        <a:srgbClr val="414549"/>
      </a:dk1>
      <a:lt1>
        <a:srgbClr val="FFFFFF"/>
      </a:lt1>
      <a:dk2>
        <a:srgbClr val="E55A00"/>
      </a:dk2>
      <a:lt2>
        <a:srgbClr val="000000"/>
      </a:lt2>
      <a:accent1>
        <a:srgbClr val="414549"/>
      </a:accent1>
      <a:accent2>
        <a:srgbClr val="85280F"/>
      </a:accent2>
      <a:accent3>
        <a:srgbClr val="202D46"/>
      </a:accent3>
      <a:accent4>
        <a:srgbClr val="E2B726"/>
      </a:accent4>
      <a:accent5>
        <a:srgbClr val="543E35"/>
      </a:accent5>
      <a:accent6>
        <a:srgbClr val="496249"/>
      </a:accent6>
      <a:hlink>
        <a:srgbClr val="E55A00"/>
      </a:hlink>
      <a:folHlink>
        <a:srgbClr val="C39166"/>
      </a:folHlink>
    </a:clrScheme>
    <a:fontScheme name="GfK">
      <a:majorFont>
        <a:latin typeface="Lato Light"/>
        <a:ea typeface=""/>
        <a:cs typeface=""/>
        <a:font script="Jpan" typeface="Meiryo UI"/>
        <a:font script="Hang" typeface="맑은고딕"/>
        <a:font script="Hans" typeface="Boldface"/>
        <a:font script="Hant" typeface="微軟正黑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Lato"/>
        <a:ea typeface=""/>
        <a:cs typeface=""/>
        <a:font script="Jpan" typeface="Meiryo UI"/>
        <a:font script="Hang" typeface="맑은고딕"/>
        <a:font script="Hans" typeface="Boldface"/>
        <a:font script="Hant" typeface="微軟正黑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lIns="72000" tIns="36000" rIns="72000" bIns="36000" rtlCol="0" anchor="ctr"/>
      <a:lstStyle>
        <a:defPPr algn="ctr">
          <a:lnSpc>
            <a:spcPct val="125000"/>
          </a:lnSpc>
          <a:defRPr sz="1600" dirty="0"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marL="252000" indent="-252000">
          <a:lnSpc>
            <a:spcPct val="125000"/>
          </a:lnSpc>
          <a:buClr>
            <a:schemeClr val="tx2"/>
          </a:buClr>
          <a:buFont typeface="Wingdings" panose="05000000000000000000" pitchFamily="2" charset="2"/>
          <a:buChar char="§"/>
          <a:defRPr sz="1600" dirty="0" err="1" smtClean="0"/>
        </a:defPPr>
      </a:lstStyle>
    </a:txDef>
  </a:objectDefaults>
  <a:extraClrSchemeLst/>
  <a:custClrLst>
    <a:custClr name="GfK SAND 100%">
      <a:srgbClr val="C39166"/>
    </a:custClr>
    <a:custClr name="GfK PURPLE 100%">
      <a:srgbClr val="42122D"/>
    </a:custClr>
    <a:custClr name="GfK PETROL 100%">
      <a:srgbClr val="4D9991"/>
    </a:custClr>
    <a:custClr name="GfK ORANGE">
      <a:srgbClr val="E55A00"/>
    </a:custClr>
    <a:custClr name="GfK GRAY 100%">
      <a:srgbClr val="414549"/>
    </a:custClr>
    <a:custClr name="GfK RED 100%">
      <a:srgbClr val="85280F"/>
    </a:custClr>
    <a:custClr name="GfK BLUE 100%">
      <a:srgbClr val="202D46"/>
    </a:custClr>
    <a:custClr name="GfK YELLOW 100%">
      <a:srgbClr val="E2B726"/>
    </a:custClr>
    <a:custClr name="GfK BROWN 100%">
      <a:srgbClr val="543E35"/>
    </a:custClr>
    <a:custClr name="GfK GREEN 100%">
      <a:srgbClr val="496249"/>
    </a:custClr>
    <a:custClr name="GfK SAND 80%">
      <a:srgbClr val="CFA785"/>
    </a:custClr>
    <a:custClr name="GfK PURPLE 80%">
      <a:srgbClr val="684157"/>
    </a:custClr>
    <a:custClr name="GfK PETROL 80%">
      <a:srgbClr val="71ADA7"/>
    </a:custClr>
    <a:custClr>
      <a:srgbClr val="FFFFFF"/>
    </a:custClr>
    <a:custClr name="GfK GRAY 80%">
      <a:srgbClr val="676A6D"/>
    </a:custClr>
    <a:custClr name="GfK RED 80%">
      <a:srgbClr val="9D533F"/>
    </a:custClr>
    <a:custClr name="GfK BLUE 80%">
      <a:srgbClr val="4D576B"/>
    </a:custClr>
    <a:custClr name="GfK YELLOW 80%">
      <a:srgbClr val="E8C551"/>
    </a:custClr>
    <a:custClr name="GfK BROWN 80%">
      <a:srgbClr val="76655D"/>
    </a:custClr>
    <a:custClr name="GfK GREEN 80%">
      <a:srgbClr val="6D816D"/>
    </a:custClr>
    <a:custClr name="GfK SAND 60%">
      <a:srgbClr val="DBBDA3"/>
    </a:custClr>
    <a:custClr name="GfK PURPLE 60%">
      <a:srgbClr val="8E7181"/>
    </a:custClr>
    <a:custClr name="GfK PETROL 60%">
      <a:srgbClr val="94C2BD"/>
    </a:custClr>
    <a:custClr>
      <a:srgbClr val="FFFFFF"/>
    </a:custClr>
    <a:custClr name="GfK GRAY 60%">
      <a:srgbClr val="8D8F92"/>
    </a:custClr>
    <a:custClr name="GfK RED 60%">
      <a:srgbClr val="B67E6F"/>
    </a:custClr>
    <a:custClr name="GfK BLUE 60%">
      <a:srgbClr val="798190"/>
    </a:custClr>
    <a:custClr name="GfK YELLOW 60%">
      <a:srgbClr val="EED47D"/>
    </a:custClr>
    <a:custClr name="GfK BROWN 60%">
      <a:srgbClr val="988B86"/>
    </a:custClr>
    <a:custClr name="GfK GREEN 60%">
      <a:srgbClr val="92A192"/>
    </a:custClr>
    <a:custClr name="GfK SAND 40%">
      <a:srgbClr val="E7D3C2"/>
    </a:custClr>
    <a:custClr name="GfK PURPLE 40%">
      <a:srgbClr val="B3A0AB"/>
    </a:custClr>
    <a:custClr name="GfK PETROL 40%">
      <a:srgbClr val="B8D6D3"/>
    </a:custClr>
    <a:custClr>
      <a:srgbClr val="FFFFFF"/>
    </a:custClr>
    <a:custClr name="GfK GRAY 40%">
      <a:srgbClr val="B3B5B6"/>
    </a:custClr>
    <a:custClr name="GfK RED 40%">
      <a:srgbClr val="CEA99F"/>
    </a:custClr>
    <a:custClr name="GfK BLUE 40%">
      <a:srgbClr val="A6ABB5"/>
    </a:custClr>
    <a:custClr name="GfK YELLOW 40%">
      <a:srgbClr val="F3E2A8"/>
    </a:custClr>
    <a:custClr name="GfK BROWN 40%">
      <a:srgbClr val="BBB2AE"/>
    </a:custClr>
    <a:custClr name="GfK GREEN 40%">
      <a:srgbClr val="B6C0B6"/>
    </a:custClr>
    <a:custClr name="GfK SAND 20%">
      <a:srgbClr val="F3E9E0"/>
    </a:custClr>
    <a:custClr name="GfK PURPLE 20%">
      <a:srgbClr val="D9D0D5"/>
    </a:custClr>
    <a:custClr>
      <a:srgbClr val="FFFFFF"/>
    </a:custClr>
    <a:custClr>
      <a:srgbClr val="FFFFFF"/>
    </a:custClr>
    <a:custClr name="GfK GRAY 20%">
      <a:srgbClr val="D9DADB"/>
    </a:custClr>
    <a:custClr name="GfK RED 20%">
      <a:srgbClr val="E7D4CF"/>
    </a:custClr>
    <a:custClr name="GfK BLUE 20%">
      <a:srgbClr val="D2D5DA"/>
    </a:custClr>
    <a:custClr name="GfK YELLOW 20%">
      <a:srgbClr val="F9F1D4"/>
    </a:custClr>
    <a:custClr name="GfK BROWN 20%">
      <a:srgbClr val="DDD8D7"/>
    </a:custClr>
    <a:custClr name="GfK GREEN 20%">
      <a:srgbClr val="D2E0DB"/>
    </a:custClr>
  </a:custClrLst>
  <a:extLst>
    <a:ext uri="{05A4C25C-085E-4340-85A3-A5531E510DB2}">
      <thm15:themeFamily xmlns:thm15="http://schemas.microsoft.com/office/thememl/2012/main" name="GfK Template Lato.potx" id="{9B41F6FD-FD88-4220-BF2A-EDDFA9568A3A}" vid="{E05CAEFB-A675-4FF4-A247-1F6AB37A1E93}"/>
    </a:ext>
  </a:extLst>
</a:theme>
</file>

<file path=ppt/theme/theme13.xml><?xml version="1.0" encoding="utf-8"?>
<a:theme xmlns:a="http://schemas.openxmlformats.org/drawingml/2006/main" name="8_GfK">
  <a:themeElements>
    <a:clrScheme name="GfK">
      <a:dk1>
        <a:srgbClr val="414549"/>
      </a:dk1>
      <a:lt1>
        <a:srgbClr val="FFFFFF"/>
      </a:lt1>
      <a:dk2>
        <a:srgbClr val="E55A00"/>
      </a:dk2>
      <a:lt2>
        <a:srgbClr val="000000"/>
      </a:lt2>
      <a:accent1>
        <a:srgbClr val="414549"/>
      </a:accent1>
      <a:accent2>
        <a:srgbClr val="85280F"/>
      </a:accent2>
      <a:accent3>
        <a:srgbClr val="202D46"/>
      </a:accent3>
      <a:accent4>
        <a:srgbClr val="E2B726"/>
      </a:accent4>
      <a:accent5>
        <a:srgbClr val="543E35"/>
      </a:accent5>
      <a:accent6>
        <a:srgbClr val="496249"/>
      </a:accent6>
      <a:hlink>
        <a:srgbClr val="E55A00"/>
      </a:hlink>
      <a:folHlink>
        <a:srgbClr val="C39166"/>
      </a:folHlink>
    </a:clrScheme>
    <a:fontScheme name="GfK">
      <a:majorFont>
        <a:latin typeface="Lato Light"/>
        <a:ea typeface=""/>
        <a:cs typeface=""/>
        <a:font script="Jpan" typeface="Meiryo UI"/>
        <a:font script="Hang" typeface="맑은고딕"/>
        <a:font script="Hans" typeface="Boldface"/>
        <a:font script="Hant" typeface="微軟正黑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Lato"/>
        <a:ea typeface=""/>
        <a:cs typeface=""/>
        <a:font script="Jpan" typeface="Meiryo UI"/>
        <a:font script="Hang" typeface="맑은고딕"/>
        <a:font script="Hans" typeface="Boldface"/>
        <a:font script="Hant" typeface="微軟正黑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lIns="72000" tIns="36000" rIns="72000" bIns="36000" rtlCol="0" anchor="ctr"/>
      <a:lstStyle>
        <a:defPPr algn="ctr">
          <a:lnSpc>
            <a:spcPct val="125000"/>
          </a:lnSpc>
          <a:defRPr sz="1600" dirty="0"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marL="252000" indent="-252000">
          <a:lnSpc>
            <a:spcPct val="125000"/>
          </a:lnSpc>
          <a:buClr>
            <a:schemeClr val="tx2"/>
          </a:buClr>
          <a:buFont typeface="Wingdings" panose="05000000000000000000" pitchFamily="2" charset="2"/>
          <a:buChar char="§"/>
          <a:defRPr sz="1600" dirty="0" err="1" smtClean="0"/>
        </a:defPPr>
      </a:lstStyle>
    </a:txDef>
  </a:objectDefaults>
  <a:extraClrSchemeLst/>
  <a:custClrLst>
    <a:custClr name="GfK SAND 100%">
      <a:srgbClr val="C39166"/>
    </a:custClr>
    <a:custClr name="GfK PURPLE 100%">
      <a:srgbClr val="42122D"/>
    </a:custClr>
    <a:custClr name="GfK PETROL 100%">
      <a:srgbClr val="4D9991"/>
    </a:custClr>
    <a:custClr name="GfK ORANGE">
      <a:srgbClr val="E55A00"/>
    </a:custClr>
    <a:custClr name="GfK GRAY 100%">
      <a:srgbClr val="414549"/>
    </a:custClr>
    <a:custClr name="GfK RED 100%">
      <a:srgbClr val="85280F"/>
    </a:custClr>
    <a:custClr name="GfK BLUE 100%">
      <a:srgbClr val="202D46"/>
    </a:custClr>
    <a:custClr name="GfK YELLOW 100%">
      <a:srgbClr val="E2B726"/>
    </a:custClr>
    <a:custClr name="GfK BROWN 100%">
      <a:srgbClr val="543E35"/>
    </a:custClr>
    <a:custClr name="GfK GREEN 100%">
      <a:srgbClr val="496249"/>
    </a:custClr>
    <a:custClr name="GfK SAND 80%">
      <a:srgbClr val="CFA785"/>
    </a:custClr>
    <a:custClr name="GfK PURPLE 80%">
      <a:srgbClr val="684157"/>
    </a:custClr>
    <a:custClr name="GfK PETROL 80%">
      <a:srgbClr val="71ADA7"/>
    </a:custClr>
    <a:custClr>
      <a:srgbClr val="FFFFFF"/>
    </a:custClr>
    <a:custClr name="GfK GRAY 80%">
      <a:srgbClr val="676A6D"/>
    </a:custClr>
    <a:custClr name="GfK RED 80%">
      <a:srgbClr val="9D533F"/>
    </a:custClr>
    <a:custClr name="GfK BLUE 80%">
      <a:srgbClr val="4D576B"/>
    </a:custClr>
    <a:custClr name="GfK YELLOW 80%">
      <a:srgbClr val="E8C551"/>
    </a:custClr>
    <a:custClr name="GfK BROWN 80%">
      <a:srgbClr val="76655D"/>
    </a:custClr>
    <a:custClr name="GfK GREEN 80%">
      <a:srgbClr val="6D816D"/>
    </a:custClr>
    <a:custClr name="GfK SAND 60%">
      <a:srgbClr val="DBBDA3"/>
    </a:custClr>
    <a:custClr name="GfK PURPLE 60%">
      <a:srgbClr val="8E7181"/>
    </a:custClr>
    <a:custClr name="GfK PETROL 60%">
      <a:srgbClr val="94C2BD"/>
    </a:custClr>
    <a:custClr>
      <a:srgbClr val="FFFFFF"/>
    </a:custClr>
    <a:custClr name="GfK GRAY 60%">
      <a:srgbClr val="8D8F92"/>
    </a:custClr>
    <a:custClr name="GfK RED 60%">
      <a:srgbClr val="B67E6F"/>
    </a:custClr>
    <a:custClr name="GfK BLUE 60%">
      <a:srgbClr val="798190"/>
    </a:custClr>
    <a:custClr name="GfK YELLOW 60%">
      <a:srgbClr val="EED47D"/>
    </a:custClr>
    <a:custClr name="GfK BROWN 60%">
      <a:srgbClr val="988B86"/>
    </a:custClr>
    <a:custClr name="GfK GREEN 60%">
      <a:srgbClr val="92A192"/>
    </a:custClr>
    <a:custClr name="GfK SAND 40%">
      <a:srgbClr val="E7D3C2"/>
    </a:custClr>
    <a:custClr name="GfK PURPLE 40%">
      <a:srgbClr val="B3A0AB"/>
    </a:custClr>
    <a:custClr name="GfK PETROL 40%">
      <a:srgbClr val="B8D6D3"/>
    </a:custClr>
    <a:custClr>
      <a:srgbClr val="FFFFFF"/>
    </a:custClr>
    <a:custClr name="GfK GRAY 40%">
      <a:srgbClr val="B3B5B6"/>
    </a:custClr>
    <a:custClr name="GfK RED 40%">
      <a:srgbClr val="CEA99F"/>
    </a:custClr>
    <a:custClr name="GfK BLUE 40%">
      <a:srgbClr val="A6ABB5"/>
    </a:custClr>
    <a:custClr name="GfK YELLOW 40%">
      <a:srgbClr val="F3E2A8"/>
    </a:custClr>
    <a:custClr name="GfK BROWN 40%">
      <a:srgbClr val="BBB2AE"/>
    </a:custClr>
    <a:custClr name="GfK GREEN 40%">
      <a:srgbClr val="B6C0B6"/>
    </a:custClr>
    <a:custClr name="GfK SAND 20%">
      <a:srgbClr val="F3E9E0"/>
    </a:custClr>
    <a:custClr name="GfK PURPLE 20%">
      <a:srgbClr val="D9D0D5"/>
    </a:custClr>
    <a:custClr>
      <a:srgbClr val="FFFFFF"/>
    </a:custClr>
    <a:custClr>
      <a:srgbClr val="FFFFFF"/>
    </a:custClr>
    <a:custClr name="GfK GRAY 20%">
      <a:srgbClr val="D9DADB"/>
    </a:custClr>
    <a:custClr name="GfK RED 20%">
      <a:srgbClr val="E7D4CF"/>
    </a:custClr>
    <a:custClr name="GfK BLUE 20%">
      <a:srgbClr val="D2D5DA"/>
    </a:custClr>
    <a:custClr name="GfK YELLOW 20%">
      <a:srgbClr val="F9F1D4"/>
    </a:custClr>
    <a:custClr name="GfK BROWN 20%">
      <a:srgbClr val="DDD8D7"/>
    </a:custClr>
    <a:custClr name="GfK GREEN 20%">
      <a:srgbClr val="D2E0DB"/>
    </a:custClr>
  </a:custClrLst>
  <a:extLst>
    <a:ext uri="{05A4C25C-085E-4340-85A3-A5531E510DB2}">
      <thm15:themeFamily xmlns:thm15="http://schemas.microsoft.com/office/thememl/2012/main" name="GfK Template Lato.potx" id="{9B41F6FD-FD88-4220-BF2A-EDDFA9568A3A}" vid="{E05CAEFB-A675-4FF4-A247-1F6AB37A1E93}"/>
    </a:ext>
  </a:extLst>
</a:theme>
</file>

<file path=ppt/theme/theme14.xml><?xml version="1.0" encoding="utf-8"?>
<a:theme xmlns:a="http://schemas.openxmlformats.org/drawingml/2006/main" name="9_GfK">
  <a:themeElements>
    <a:clrScheme name="GfK">
      <a:dk1>
        <a:srgbClr val="414549"/>
      </a:dk1>
      <a:lt1>
        <a:srgbClr val="FFFFFF"/>
      </a:lt1>
      <a:dk2>
        <a:srgbClr val="E55A00"/>
      </a:dk2>
      <a:lt2>
        <a:srgbClr val="000000"/>
      </a:lt2>
      <a:accent1>
        <a:srgbClr val="414549"/>
      </a:accent1>
      <a:accent2>
        <a:srgbClr val="85280F"/>
      </a:accent2>
      <a:accent3>
        <a:srgbClr val="202D46"/>
      </a:accent3>
      <a:accent4>
        <a:srgbClr val="E2B726"/>
      </a:accent4>
      <a:accent5>
        <a:srgbClr val="543E35"/>
      </a:accent5>
      <a:accent6>
        <a:srgbClr val="496249"/>
      </a:accent6>
      <a:hlink>
        <a:srgbClr val="E55A00"/>
      </a:hlink>
      <a:folHlink>
        <a:srgbClr val="C39166"/>
      </a:folHlink>
    </a:clrScheme>
    <a:fontScheme name="GfK">
      <a:majorFont>
        <a:latin typeface="Lato Light"/>
        <a:ea typeface=""/>
        <a:cs typeface=""/>
        <a:font script="Jpan" typeface="Meiryo UI"/>
        <a:font script="Hang" typeface="맑은고딕"/>
        <a:font script="Hans" typeface="Boldface"/>
        <a:font script="Hant" typeface="微軟正黑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Lato"/>
        <a:ea typeface=""/>
        <a:cs typeface=""/>
        <a:font script="Jpan" typeface="Meiryo UI"/>
        <a:font script="Hang" typeface="맑은고딕"/>
        <a:font script="Hans" typeface="Boldface"/>
        <a:font script="Hant" typeface="微軟正黑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lIns="72000" tIns="36000" rIns="72000" bIns="36000" rtlCol="0" anchor="ctr"/>
      <a:lstStyle>
        <a:defPPr algn="ctr">
          <a:lnSpc>
            <a:spcPct val="125000"/>
          </a:lnSpc>
          <a:defRPr sz="1600" dirty="0"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marL="252000" indent="-252000">
          <a:lnSpc>
            <a:spcPct val="125000"/>
          </a:lnSpc>
          <a:buClr>
            <a:schemeClr val="tx2"/>
          </a:buClr>
          <a:buFont typeface="Wingdings" panose="05000000000000000000" pitchFamily="2" charset="2"/>
          <a:buChar char="§"/>
          <a:defRPr sz="1600" dirty="0" err="1" smtClean="0"/>
        </a:defPPr>
      </a:lstStyle>
    </a:txDef>
  </a:objectDefaults>
  <a:extraClrSchemeLst/>
  <a:custClrLst>
    <a:custClr name="GfK SAND 100%">
      <a:srgbClr val="C39166"/>
    </a:custClr>
    <a:custClr name="GfK PURPLE 100%">
      <a:srgbClr val="42122D"/>
    </a:custClr>
    <a:custClr name="GfK PETROL 100%">
      <a:srgbClr val="4D9991"/>
    </a:custClr>
    <a:custClr name="GfK ORANGE">
      <a:srgbClr val="E55A00"/>
    </a:custClr>
    <a:custClr name="GfK GRAY 100%">
      <a:srgbClr val="414549"/>
    </a:custClr>
    <a:custClr name="GfK RED 100%">
      <a:srgbClr val="85280F"/>
    </a:custClr>
    <a:custClr name="GfK BLUE 100%">
      <a:srgbClr val="202D46"/>
    </a:custClr>
    <a:custClr name="GfK YELLOW 100%">
      <a:srgbClr val="E2B726"/>
    </a:custClr>
    <a:custClr name="GfK BROWN 100%">
      <a:srgbClr val="543E35"/>
    </a:custClr>
    <a:custClr name="GfK GREEN 100%">
      <a:srgbClr val="496249"/>
    </a:custClr>
    <a:custClr name="GfK SAND 80%">
      <a:srgbClr val="CFA785"/>
    </a:custClr>
    <a:custClr name="GfK PURPLE 80%">
      <a:srgbClr val="684157"/>
    </a:custClr>
    <a:custClr name="GfK PETROL 80%">
      <a:srgbClr val="71ADA7"/>
    </a:custClr>
    <a:custClr>
      <a:srgbClr val="FFFFFF"/>
    </a:custClr>
    <a:custClr name="GfK GRAY 80%">
      <a:srgbClr val="676A6D"/>
    </a:custClr>
    <a:custClr name="GfK RED 80%">
      <a:srgbClr val="9D533F"/>
    </a:custClr>
    <a:custClr name="GfK BLUE 80%">
      <a:srgbClr val="4D576B"/>
    </a:custClr>
    <a:custClr name="GfK YELLOW 80%">
      <a:srgbClr val="E8C551"/>
    </a:custClr>
    <a:custClr name="GfK BROWN 80%">
      <a:srgbClr val="76655D"/>
    </a:custClr>
    <a:custClr name="GfK GREEN 80%">
      <a:srgbClr val="6D816D"/>
    </a:custClr>
    <a:custClr name="GfK SAND 60%">
      <a:srgbClr val="DBBDA3"/>
    </a:custClr>
    <a:custClr name="GfK PURPLE 60%">
      <a:srgbClr val="8E7181"/>
    </a:custClr>
    <a:custClr name="GfK PETROL 60%">
      <a:srgbClr val="94C2BD"/>
    </a:custClr>
    <a:custClr>
      <a:srgbClr val="FFFFFF"/>
    </a:custClr>
    <a:custClr name="GfK GRAY 60%">
      <a:srgbClr val="8D8F92"/>
    </a:custClr>
    <a:custClr name="GfK RED 60%">
      <a:srgbClr val="B67E6F"/>
    </a:custClr>
    <a:custClr name="GfK BLUE 60%">
      <a:srgbClr val="798190"/>
    </a:custClr>
    <a:custClr name="GfK YELLOW 60%">
      <a:srgbClr val="EED47D"/>
    </a:custClr>
    <a:custClr name="GfK BROWN 60%">
      <a:srgbClr val="988B86"/>
    </a:custClr>
    <a:custClr name="GfK GREEN 60%">
      <a:srgbClr val="92A192"/>
    </a:custClr>
    <a:custClr name="GfK SAND 40%">
      <a:srgbClr val="E7D3C2"/>
    </a:custClr>
    <a:custClr name="GfK PURPLE 40%">
      <a:srgbClr val="B3A0AB"/>
    </a:custClr>
    <a:custClr name="GfK PETROL 40%">
      <a:srgbClr val="B8D6D3"/>
    </a:custClr>
    <a:custClr>
      <a:srgbClr val="FFFFFF"/>
    </a:custClr>
    <a:custClr name="GfK GRAY 40%">
      <a:srgbClr val="B3B5B6"/>
    </a:custClr>
    <a:custClr name="GfK RED 40%">
      <a:srgbClr val="CEA99F"/>
    </a:custClr>
    <a:custClr name="GfK BLUE 40%">
      <a:srgbClr val="A6ABB5"/>
    </a:custClr>
    <a:custClr name="GfK YELLOW 40%">
      <a:srgbClr val="F3E2A8"/>
    </a:custClr>
    <a:custClr name="GfK BROWN 40%">
      <a:srgbClr val="BBB2AE"/>
    </a:custClr>
    <a:custClr name="GfK GREEN 40%">
      <a:srgbClr val="B6C0B6"/>
    </a:custClr>
    <a:custClr name="GfK SAND 20%">
      <a:srgbClr val="F3E9E0"/>
    </a:custClr>
    <a:custClr name="GfK PURPLE 20%">
      <a:srgbClr val="D9D0D5"/>
    </a:custClr>
    <a:custClr>
      <a:srgbClr val="FFFFFF"/>
    </a:custClr>
    <a:custClr>
      <a:srgbClr val="FFFFFF"/>
    </a:custClr>
    <a:custClr name="GfK GRAY 20%">
      <a:srgbClr val="D9DADB"/>
    </a:custClr>
    <a:custClr name="GfK RED 20%">
      <a:srgbClr val="E7D4CF"/>
    </a:custClr>
    <a:custClr name="GfK BLUE 20%">
      <a:srgbClr val="D2D5DA"/>
    </a:custClr>
    <a:custClr name="GfK YELLOW 20%">
      <a:srgbClr val="F9F1D4"/>
    </a:custClr>
    <a:custClr name="GfK BROWN 20%">
      <a:srgbClr val="DDD8D7"/>
    </a:custClr>
    <a:custClr name="GfK GREEN 20%">
      <a:srgbClr val="D2E0DB"/>
    </a:custClr>
  </a:custClrLst>
  <a:extLst>
    <a:ext uri="{05A4C25C-085E-4340-85A3-A5531E510DB2}">
      <thm15:themeFamily xmlns:thm15="http://schemas.microsoft.com/office/thememl/2012/main" name="GfK Template Lato.potx" id="{9B41F6FD-FD88-4220-BF2A-EDDFA9568A3A}" vid="{E05CAEFB-A675-4FF4-A247-1F6AB37A1E93}"/>
    </a:ext>
  </a:extLst>
</a:theme>
</file>

<file path=ppt/theme/theme15.xml><?xml version="1.0" encoding="utf-8"?>
<a:theme xmlns:a="http://schemas.openxmlformats.org/drawingml/2006/main" name="10_GfK">
  <a:themeElements>
    <a:clrScheme name="GfK">
      <a:dk1>
        <a:srgbClr val="414549"/>
      </a:dk1>
      <a:lt1>
        <a:srgbClr val="FFFFFF"/>
      </a:lt1>
      <a:dk2>
        <a:srgbClr val="E55A00"/>
      </a:dk2>
      <a:lt2>
        <a:srgbClr val="000000"/>
      </a:lt2>
      <a:accent1>
        <a:srgbClr val="414549"/>
      </a:accent1>
      <a:accent2>
        <a:srgbClr val="85280F"/>
      </a:accent2>
      <a:accent3>
        <a:srgbClr val="202D46"/>
      </a:accent3>
      <a:accent4>
        <a:srgbClr val="E2B726"/>
      </a:accent4>
      <a:accent5>
        <a:srgbClr val="543E35"/>
      </a:accent5>
      <a:accent6>
        <a:srgbClr val="496249"/>
      </a:accent6>
      <a:hlink>
        <a:srgbClr val="E55A00"/>
      </a:hlink>
      <a:folHlink>
        <a:srgbClr val="C39166"/>
      </a:folHlink>
    </a:clrScheme>
    <a:fontScheme name="GfK">
      <a:majorFont>
        <a:latin typeface="Lato Light"/>
        <a:ea typeface=""/>
        <a:cs typeface=""/>
        <a:font script="Jpan" typeface="Meiryo UI"/>
        <a:font script="Hang" typeface="맑은고딕"/>
        <a:font script="Hans" typeface="Boldface"/>
        <a:font script="Hant" typeface="微軟正黑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Lato"/>
        <a:ea typeface=""/>
        <a:cs typeface=""/>
        <a:font script="Jpan" typeface="Meiryo UI"/>
        <a:font script="Hang" typeface="맑은고딕"/>
        <a:font script="Hans" typeface="Boldface"/>
        <a:font script="Hant" typeface="微軟正黑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lIns="72000" tIns="36000" rIns="72000" bIns="36000" rtlCol="0" anchor="ctr"/>
      <a:lstStyle>
        <a:defPPr algn="ctr">
          <a:lnSpc>
            <a:spcPct val="125000"/>
          </a:lnSpc>
          <a:defRPr sz="1600" dirty="0"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marL="252000" indent="-252000">
          <a:lnSpc>
            <a:spcPct val="125000"/>
          </a:lnSpc>
          <a:buClr>
            <a:schemeClr val="tx2"/>
          </a:buClr>
          <a:buFont typeface="Wingdings" panose="05000000000000000000" pitchFamily="2" charset="2"/>
          <a:buChar char="§"/>
          <a:defRPr sz="1600" dirty="0" err="1" smtClean="0"/>
        </a:defPPr>
      </a:lstStyle>
    </a:txDef>
  </a:objectDefaults>
  <a:extraClrSchemeLst/>
  <a:custClrLst>
    <a:custClr name="GfK SAND 100%">
      <a:srgbClr val="C39166"/>
    </a:custClr>
    <a:custClr name="GfK PURPLE 100%">
      <a:srgbClr val="42122D"/>
    </a:custClr>
    <a:custClr name="GfK PETROL 100%">
      <a:srgbClr val="4D9991"/>
    </a:custClr>
    <a:custClr name="GfK ORANGE">
      <a:srgbClr val="E55A00"/>
    </a:custClr>
    <a:custClr name="GfK GRAY 100%">
      <a:srgbClr val="414549"/>
    </a:custClr>
    <a:custClr name="GfK RED 100%">
      <a:srgbClr val="85280F"/>
    </a:custClr>
    <a:custClr name="GfK BLUE 100%">
      <a:srgbClr val="202D46"/>
    </a:custClr>
    <a:custClr name="GfK YELLOW 100%">
      <a:srgbClr val="E2B726"/>
    </a:custClr>
    <a:custClr name="GfK BROWN 100%">
      <a:srgbClr val="543E35"/>
    </a:custClr>
    <a:custClr name="GfK GREEN 100%">
      <a:srgbClr val="496249"/>
    </a:custClr>
    <a:custClr name="GfK SAND 80%">
      <a:srgbClr val="CFA785"/>
    </a:custClr>
    <a:custClr name="GfK PURPLE 80%">
      <a:srgbClr val="684157"/>
    </a:custClr>
    <a:custClr name="GfK PETROL 80%">
      <a:srgbClr val="71ADA7"/>
    </a:custClr>
    <a:custClr>
      <a:srgbClr val="FFFFFF"/>
    </a:custClr>
    <a:custClr name="GfK GRAY 80%">
      <a:srgbClr val="676A6D"/>
    </a:custClr>
    <a:custClr name="GfK RED 80%">
      <a:srgbClr val="9D533F"/>
    </a:custClr>
    <a:custClr name="GfK BLUE 80%">
      <a:srgbClr val="4D576B"/>
    </a:custClr>
    <a:custClr name="GfK YELLOW 80%">
      <a:srgbClr val="E8C551"/>
    </a:custClr>
    <a:custClr name="GfK BROWN 80%">
      <a:srgbClr val="76655D"/>
    </a:custClr>
    <a:custClr name="GfK GREEN 80%">
      <a:srgbClr val="6D816D"/>
    </a:custClr>
    <a:custClr name="GfK SAND 60%">
      <a:srgbClr val="DBBDA3"/>
    </a:custClr>
    <a:custClr name="GfK PURPLE 60%">
      <a:srgbClr val="8E7181"/>
    </a:custClr>
    <a:custClr name="GfK PETROL 60%">
      <a:srgbClr val="94C2BD"/>
    </a:custClr>
    <a:custClr>
      <a:srgbClr val="FFFFFF"/>
    </a:custClr>
    <a:custClr name="GfK GRAY 60%">
      <a:srgbClr val="8D8F92"/>
    </a:custClr>
    <a:custClr name="GfK RED 60%">
      <a:srgbClr val="B67E6F"/>
    </a:custClr>
    <a:custClr name="GfK BLUE 60%">
      <a:srgbClr val="798190"/>
    </a:custClr>
    <a:custClr name="GfK YELLOW 60%">
      <a:srgbClr val="EED47D"/>
    </a:custClr>
    <a:custClr name="GfK BROWN 60%">
      <a:srgbClr val="988B86"/>
    </a:custClr>
    <a:custClr name="GfK GREEN 60%">
      <a:srgbClr val="92A192"/>
    </a:custClr>
    <a:custClr name="GfK SAND 40%">
      <a:srgbClr val="E7D3C2"/>
    </a:custClr>
    <a:custClr name="GfK PURPLE 40%">
      <a:srgbClr val="B3A0AB"/>
    </a:custClr>
    <a:custClr name="GfK PETROL 40%">
      <a:srgbClr val="B8D6D3"/>
    </a:custClr>
    <a:custClr>
      <a:srgbClr val="FFFFFF"/>
    </a:custClr>
    <a:custClr name="GfK GRAY 40%">
      <a:srgbClr val="B3B5B6"/>
    </a:custClr>
    <a:custClr name="GfK RED 40%">
      <a:srgbClr val="CEA99F"/>
    </a:custClr>
    <a:custClr name="GfK BLUE 40%">
      <a:srgbClr val="A6ABB5"/>
    </a:custClr>
    <a:custClr name="GfK YELLOW 40%">
      <a:srgbClr val="F3E2A8"/>
    </a:custClr>
    <a:custClr name="GfK BROWN 40%">
      <a:srgbClr val="BBB2AE"/>
    </a:custClr>
    <a:custClr name="GfK GREEN 40%">
      <a:srgbClr val="B6C0B6"/>
    </a:custClr>
    <a:custClr name="GfK SAND 20%">
      <a:srgbClr val="F3E9E0"/>
    </a:custClr>
    <a:custClr name="GfK PURPLE 20%">
      <a:srgbClr val="D9D0D5"/>
    </a:custClr>
    <a:custClr>
      <a:srgbClr val="FFFFFF"/>
    </a:custClr>
    <a:custClr>
      <a:srgbClr val="FFFFFF"/>
    </a:custClr>
    <a:custClr name="GfK GRAY 20%">
      <a:srgbClr val="D9DADB"/>
    </a:custClr>
    <a:custClr name="GfK RED 20%">
      <a:srgbClr val="E7D4CF"/>
    </a:custClr>
    <a:custClr name="GfK BLUE 20%">
      <a:srgbClr val="D2D5DA"/>
    </a:custClr>
    <a:custClr name="GfK YELLOW 20%">
      <a:srgbClr val="F9F1D4"/>
    </a:custClr>
    <a:custClr name="GfK BROWN 20%">
      <a:srgbClr val="DDD8D7"/>
    </a:custClr>
    <a:custClr name="GfK GREEN 20%">
      <a:srgbClr val="D2E0DB"/>
    </a:custClr>
  </a:custClrLst>
  <a:extLst>
    <a:ext uri="{05A4C25C-085E-4340-85A3-A5531E510DB2}">
      <thm15:themeFamily xmlns:thm15="http://schemas.microsoft.com/office/thememl/2012/main" name="GfK Template Lato.potx" id="{9B41F6FD-FD88-4220-BF2A-EDDFA9568A3A}" vid="{E05CAEFB-A675-4FF4-A247-1F6AB37A1E93}"/>
    </a:ext>
  </a:extLst>
</a:theme>
</file>

<file path=ppt/theme/theme16.xml><?xml version="1.0" encoding="utf-8"?>
<a:theme xmlns:a="http://schemas.openxmlformats.org/drawingml/2006/main" name="11_GfK">
  <a:themeElements>
    <a:clrScheme name="GfK">
      <a:dk1>
        <a:srgbClr val="414549"/>
      </a:dk1>
      <a:lt1>
        <a:srgbClr val="FFFFFF"/>
      </a:lt1>
      <a:dk2>
        <a:srgbClr val="E55A00"/>
      </a:dk2>
      <a:lt2>
        <a:srgbClr val="000000"/>
      </a:lt2>
      <a:accent1>
        <a:srgbClr val="414549"/>
      </a:accent1>
      <a:accent2>
        <a:srgbClr val="85280F"/>
      </a:accent2>
      <a:accent3>
        <a:srgbClr val="202D46"/>
      </a:accent3>
      <a:accent4>
        <a:srgbClr val="E2B726"/>
      </a:accent4>
      <a:accent5>
        <a:srgbClr val="543E35"/>
      </a:accent5>
      <a:accent6>
        <a:srgbClr val="496249"/>
      </a:accent6>
      <a:hlink>
        <a:srgbClr val="E55A00"/>
      </a:hlink>
      <a:folHlink>
        <a:srgbClr val="C39166"/>
      </a:folHlink>
    </a:clrScheme>
    <a:fontScheme name="GfK">
      <a:majorFont>
        <a:latin typeface="Lato Light"/>
        <a:ea typeface=""/>
        <a:cs typeface=""/>
        <a:font script="Jpan" typeface="Meiryo UI"/>
        <a:font script="Hang" typeface="맑은고딕"/>
        <a:font script="Hans" typeface="Boldface"/>
        <a:font script="Hant" typeface="微軟正黑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Lato"/>
        <a:ea typeface=""/>
        <a:cs typeface=""/>
        <a:font script="Jpan" typeface="Meiryo UI"/>
        <a:font script="Hang" typeface="맑은고딕"/>
        <a:font script="Hans" typeface="Boldface"/>
        <a:font script="Hant" typeface="微軟正黑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lIns="72000" tIns="36000" rIns="72000" bIns="36000" rtlCol="0" anchor="ctr"/>
      <a:lstStyle>
        <a:defPPr algn="ctr">
          <a:lnSpc>
            <a:spcPct val="125000"/>
          </a:lnSpc>
          <a:defRPr sz="1600" dirty="0"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marL="252000" indent="-252000">
          <a:lnSpc>
            <a:spcPct val="125000"/>
          </a:lnSpc>
          <a:buClr>
            <a:schemeClr val="tx2"/>
          </a:buClr>
          <a:buFont typeface="Wingdings" panose="05000000000000000000" pitchFamily="2" charset="2"/>
          <a:buChar char="§"/>
          <a:defRPr sz="1600" dirty="0" err="1" smtClean="0"/>
        </a:defPPr>
      </a:lstStyle>
    </a:txDef>
  </a:objectDefaults>
  <a:extraClrSchemeLst/>
  <a:custClrLst>
    <a:custClr name="GfK SAND 100%">
      <a:srgbClr val="C39166"/>
    </a:custClr>
    <a:custClr name="GfK PURPLE 100%">
      <a:srgbClr val="42122D"/>
    </a:custClr>
    <a:custClr name="GfK PETROL 100%">
      <a:srgbClr val="4D9991"/>
    </a:custClr>
    <a:custClr name="GfK ORANGE">
      <a:srgbClr val="E55A00"/>
    </a:custClr>
    <a:custClr name="GfK GRAY 100%">
      <a:srgbClr val="414549"/>
    </a:custClr>
    <a:custClr name="GfK RED 100%">
      <a:srgbClr val="85280F"/>
    </a:custClr>
    <a:custClr name="GfK BLUE 100%">
      <a:srgbClr val="202D46"/>
    </a:custClr>
    <a:custClr name="GfK YELLOW 100%">
      <a:srgbClr val="E2B726"/>
    </a:custClr>
    <a:custClr name="GfK BROWN 100%">
      <a:srgbClr val="543E35"/>
    </a:custClr>
    <a:custClr name="GfK GREEN 100%">
      <a:srgbClr val="496249"/>
    </a:custClr>
    <a:custClr name="GfK SAND 80%">
      <a:srgbClr val="CFA785"/>
    </a:custClr>
    <a:custClr name="GfK PURPLE 80%">
      <a:srgbClr val="684157"/>
    </a:custClr>
    <a:custClr name="GfK PETROL 80%">
      <a:srgbClr val="71ADA7"/>
    </a:custClr>
    <a:custClr>
      <a:srgbClr val="FFFFFF"/>
    </a:custClr>
    <a:custClr name="GfK GRAY 80%">
      <a:srgbClr val="676A6D"/>
    </a:custClr>
    <a:custClr name="GfK RED 80%">
      <a:srgbClr val="9D533F"/>
    </a:custClr>
    <a:custClr name="GfK BLUE 80%">
      <a:srgbClr val="4D576B"/>
    </a:custClr>
    <a:custClr name="GfK YELLOW 80%">
      <a:srgbClr val="E8C551"/>
    </a:custClr>
    <a:custClr name="GfK BROWN 80%">
      <a:srgbClr val="76655D"/>
    </a:custClr>
    <a:custClr name="GfK GREEN 80%">
      <a:srgbClr val="6D816D"/>
    </a:custClr>
    <a:custClr name="GfK SAND 60%">
      <a:srgbClr val="DBBDA3"/>
    </a:custClr>
    <a:custClr name="GfK PURPLE 60%">
      <a:srgbClr val="8E7181"/>
    </a:custClr>
    <a:custClr name="GfK PETROL 60%">
      <a:srgbClr val="94C2BD"/>
    </a:custClr>
    <a:custClr>
      <a:srgbClr val="FFFFFF"/>
    </a:custClr>
    <a:custClr name="GfK GRAY 60%">
      <a:srgbClr val="8D8F92"/>
    </a:custClr>
    <a:custClr name="GfK RED 60%">
      <a:srgbClr val="B67E6F"/>
    </a:custClr>
    <a:custClr name="GfK BLUE 60%">
      <a:srgbClr val="798190"/>
    </a:custClr>
    <a:custClr name="GfK YELLOW 60%">
      <a:srgbClr val="EED47D"/>
    </a:custClr>
    <a:custClr name="GfK BROWN 60%">
      <a:srgbClr val="988B86"/>
    </a:custClr>
    <a:custClr name="GfK GREEN 60%">
      <a:srgbClr val="92A192"/>
    </a:custClr>
    <a:custClr name="GfK SAND 40%">
      <a:srgbClr val="E7D3C2"/>
    </a:custClr>
    <a:custClr name="GfK PURPLE 40%">
      <a:srgbClr val="B3A0AB"/>
    </a:custClr>
    <a:custClr name="GfK PETROL 40%">
      <a:srgbClr val="B8D6D3"/>
    </a:custClr>
    <a:custClr>
      <a:srgbClr val="FFFFFF"/>
    </a:custClr>
    <a:custClr name="GfK GRAY 40%">
      <a:srgbClr val="B3B5B6"/>
    </a:custClr>
    <a:custClr name="GfK RED 40%">
      <a:srgbClr val="CEA99F"/>
    </a:custClr>
    <a:custClr name="GfK BLUE 40%">
      <a:srgbClr val="A6ABB5"/>
    </a:custClr>
    <a:custClr name="GfK YELLOW 40%">
      <a:srgbClr val="F3E2A8"/>
    </a:custClr>
    <a:custClr name="GfK BROWN 40%">
      <a:srgbClr val="BBB2AE"/>
    </a:custClr>
    <a:custClr name="GfK GREEN 40%">
      <a:srgbClr val="B6C0B6"/>
    </a:custClr>
    <a:custClr name="GfK SAND 20%">
      <a:srgbClr val="F3E9E0"/>
    </a:custClr>
    <a:custClr name="GfK PURPLE 20%">
      <a:srgbClr val="D9D0D5"/>
    </a:custClr>
    <a:custClr>
      <a:srgbClr val="FFFFFF"/>
    </a:custClr>
    <a:custClr>
      <a:srgbClr val="FFFFFF"/>
    </a:custClr>
    <a:custClr name="GfK GRAY 20%">
      <a:srgbClr val="D9DADB"/>
    </a:custClr>
    <a:custClr name="GfK RED 20%">
      <a:srgbClr val="E7D4CF"/>
    </a:custClr>
    <a:custClr name="GfK BLUE 20%">
      <a:srgbClr val="D2D5DA"/>
    </a:custClr>
    <a:custClr name="GfK YELLOW 20%">
      <a:srgbClr val="F9F1D4"/>
    </a:custClr>
    <a:custClr name="GfK BROWN 20%">
      <a:srgbClr val="DDD8D7"/>
    </a:custClr>
    <a:custClr name="GfK GREEN 20%">
      <a:srgbClr val="D2E0DB"/>
    </a:custClr>
  </a:custClrLst>
  <a:extLst>
    <a:ext uri="{05A4C25C-085E-4340-85A3-A5531E510DB2}">
      <thm15:themeFamily xmlns:thm15="http://schemas.microsoft.com/office/thememl/2012/main" name="GfK Template Lato.potx" id="{9B41F6FD-FD88-4220-BF2A-EDDFA9568A3A}" vid="{E05CAEFB-A675-4FF4-A247-1F6AB37A1E93}"/>
    </a:ext>
  </a:extLst>
</a:theme>
</file>

<file path=ppt/theme/theme17.xml><?xml version="1.0" encoding="utf-8"?>
<a:theme xmlns:a="http://schemas.openxmlformats.org/drawingml/2006/main" name="13_GfK">
  <a:themeElements>
    <a:clrScheme name="GfK">
      <a:dk1>
        <a:srgbClr val="414549"/>
      </a:dk1>
      <a:lt1>
        <a:srgbClr val="FFFFFF"/>
      </a:lt1>
      <a:dk2>
        <a:srgbClr val="E55A00"/>
      </a:dk2>
      <a:lt2>
        <a:srgbClr val="000000"/>
      </a:lt2>
      <a:accent1>
        <a:srgbClr val="414549"/>
      </a:accent1>
      <a:accent2>
        <a:srgbClr val="85280F"/>
      </a:accent2>
      <a:accent3>
        <a:srgbClr val="202D46"/>
      </a:accent3>
      <a:accent4>
        <a:srgbClr val="E2B726"/>
      </a:accent4>
      <a:accent5>
        <a:srgbClr val="543E35"/>
      </a:accent5>
      <a:accent6>
        <a:srgbClr val="496249"/>
      </a:accent6>
      <a:hlink>
        <a:srgbClr val="E55A00"/>
      </a:hlink>
      <a:folHlink>
        <a:srgbClr val="C39166"/>
      </a:folHlink>
    </a:clrScheme>
    <a:fontScheme name="GfK">
      <a:majorFont>
        <a:latin typeface="Lato Light"/>
        <a:ea typeface=""/>
        <a:cs typeface=""/>
        <a:font script="Jpan" typeface="Meiryo UI"/>
        <a:font script="Hang" typeface="맑은고딕"/>
        <a:font script="Hans" typeface="Boldface"/>
        <a:font script="Hant" typeface="微軟正黑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Lato"/>
        <a:ea typeface=""/>
        <a:cs typeface=""/>
        <a:font script="Jpan" typeface="Meiryo UI"/>
        <a:font script="Hang" typeface="맑은고딕"/>
        <a:font script="Hans" typeface="Boldface"/>
        <a:font script="Hant" typeface="微軟正黑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lIns="72000" tIns="36000" rIns="72000" bIns="36000" rtlCol="0" anchor="ctr"/>
      <a:lstStyle>
        <a:defPPr algn="ctr">
          <a:lnSpc>
            <a:spcPct val="125000"/>
          </a:lnSpc>
          <a:defRPr sz="1600" dirty="0"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marL="252000" indent="-252000">
          <a:lnSpc>
            <a:spcPct val="125000"/>
          </a:lnSpc>
          <a:buClr>
            <a:schemeClr val="tx2"/>
          </a:buClr>
          <a:buFont typeface="Wingdings" panose="05000000000000000000" pitchFamily="2" charset="2"/>
          <a:buChar char="§"/>
          <a:defRPr sz="1600" dirty="0" err="1" smtClean="0"/>
        </a:defPPr>
      </a:lstStyle>
    </a:txDef>
  </a:objectDefaults>
  <a:extraClrSchemeLst/>
  <a:custClrLst>
    <a:custClr name="GfK SAND 100%">
      <a:srgbClr val="C39166"/>
    </a:custClr>
    <a:custClr name="GfK PURPLE 100%">
      <a:srgbClr val="42122D"/>
    </a:custClr>
    <a:custClr name="GfK PETROL 100%">
      <a:srgbClr val="4D9991"/>
    </a:custClr>
    <a:custClr name="GfK ORANGE">
      <a:srgbClr val="E55A00"/>
    </a:custClr>
    <a:custClr name="GfK GRAY 100%">
      <a:srgbClr val="414549"/>
    </a:custClr>
    <a:custClr name="GfK RED 100%">
      <a:srgbClr val="85280F"/>
    </a:custClr>
    <a:custClr name="GfK BLUE 100%">
      <a:srgbClr val="202D46"/>
    </a:custClr>
    <a:custClr name="GfK YELLOW 100%">
      <a:srgbClr val="E2B726"/>
    </a:custClr>
    <a:custClr name="GfK BROWN 100%">
      <a:srgbClr val="543E35"/>
    </a:custClr>
    <a:custClr name="GfK GREEN 100%">
      <a:srgbClr val="496249"/>
    </a:custClr>
    <a:custClr name="GfK SAND 80%">
      <a:srgbClr val="CFA785"/>
    </a:custClr>
    <a:custClr name="GfK PURPLE 80%">
      <a:srgbClr val="684157"/>
    </a:custClr>
    <a:custClr name="GfK PETROL 80%">
      <a:srgbClr val="71ADA7"/>
    </a:custClr>
    <a:custClr>
      <a:srgbClr val="FFFFFF"/>
    </a:custClr>
    <a:custClr name="GfK GRAY 80%">
      <a:srgbClr val="676A6D"/>
    </a:custClr>
    <a:custClr name="GfK RED 80%">
      <a:srgbClr val="9D533F"/>
    </a:custClr>
    <a:custClr name="GfK BLUE 80%">
      <a:srgbClr val="4D576B"/>
    </a:custClr>
    <a:custClr name="GfK YELLOW 80%">
      <a:srgbClr val="E8C551"/>
    </a:custClr>
    <a:custClr name="GfK BROWN 80%">
      <a:srgbClr val="76655D"/>
    </a:custClr>
    <a:custClr name="GfK GREEN 80%">
      <a:srgbClr val="6D816D"/>
    </a:custClr>
    <a:custClr name="GfK SAND 60%">
      <a:srgbClr val="DBBDA3"/>
    </a:custClr>
    <a:custClr name="GfK PURPLE 60%">
      <a:srgbClr val="8E7181"/>
    </a:custClr>
    <a:custClr name="GfK PETROL 60%">
      <a:srgbClr val="94C2BD"/>
    </a:custClr>
    <a:custClr>
      <a:srgbClr val="FFFFFF"/>
    </a:custClr>
    <a:custClr name="GfK GRAY 60%">
      <a:srgbClr val="8D8F92"/>
    </a:custClr>
    <a:custClr name="GfK RED 60%">
      <a:srgbClr val="B67E6F"/>
    </a:custClr>
    <a:custClr name="GfK BLUE 60%">
      <a:srgbClr val="798190"/>
    </a:custClr>
    <a:custClr name="GfK YELLOW 60%">
      <a:srgbClr val="EED47D"/>
    </a:custClr>
    <a:custClr name="GfK BROWN 60%">
      <a:srgbClr val="988B86"/>
    </a:custClr>
    <a:custClr name="GfK GREEN 60%">
      <a:srgbClr val="92A192"/>
    </a:custClr>
    <a:custClr name="GfK SAND 40%">
      <a:srgbClr val="E7D3C2"/>
    </a:custClr>
    <a:custClr name="GfK PURPLE 40%">
      <a:srgbClr val="B3A0AB"/>
    </a:custClr>
    <a:custClr name="GfK PETROL 40%">
      <a:srgbClr val="B8D6D3"/>
    </a:custClr>
    <a:custClr>
      <a:srgbClr val="FFFFFF"/>
    </a:custClr>
    <a:custClr name="GfK GRAY 40%">
      <a:srgbClr val="B3B5B6"/>
    </a:custClr>
    <a:custClr name="GfK RED 40%">
      <a:srgbClr val="CEA99F"/>
    </a:custClr>
    <a:custClr name="GfK BLUE 40%">
      <a:srgbClr val="A6ABB5"/>
    </a:custClr>
    <a:custClr name="GfK YELLOW 40%">
      <a:srgbClr val="F3E2A8"/>
    </a:custClr>
    <a:custClr name="GfK BROWN 40%">
      <a:srgbClr val="BBB2AE"/>
    </a:custClr>
    <a:custClr name="GfK GREEN 40%">
      <a:srgbClr val="B6C0B6"/>
    </a:custClr>
    <a:custClr name="GfK SAND 20%">
      <a:srgbClr val="F3E9E0"/>
    </a:custClr>
    <a:custClr name="GfK PURPLE 20%">
      <a:srgbClr val="D9D0D5"/>
    </a:custClr>
    <a:custClr>
      <a:srgbClr val="FFFFFF"/>
    </a:custClr>
    <a:custClr>
      <a:srgbClr val="FFFFFF"/>
    </a:custClr>
    <a:custClr name="GfK GRAY 20%">
      <a:srgbClr val="D9DADB"/>
    </a:custClr>
    <a:custClr name="GfK RED 20%">
      <a:srgbClr val="E7D4CF"/>
    </a:custClr>
    <a:custClr name="GfK BLUE 20%">
      <a:srgbClr val="D2D5DA"/>
    </a:custClr>
    <a:custClr name="GfK YELLOW 20%">
      <a:srgbClr val="F9F1D4"/>
    </a:custClr>
    <a:custClr name="GfK BROWN 20%">
      <a:srgbClr val="DDD8D7"/>
    </a:custClr>
    <a:custClr name="GfK GREEN 20%">
      <a:srgbClr val="D2E0DB"/>
    </a:custClr>
  </a:custClrLst>
  <a:extLst>
    <a:ext uri="{05A4C25C-085E-4340-85A3-A5531E510DB2}">
      <thm15:themeFamily xmlns:thm15="http://schemas.microsoft.com/office/thememl/2012/main" name="GfK Template Lato.potx" id="{9B41F6FD-FD88-4220-BF2A-EDDFA9568A3A}" vid="{E05CAEFB-A675-4FF4-A247-1F6AB37A1E93}"/>
    </a:ext>
  </a:extLst>
</a:theme>
</file>

<file path=ppt/theme/theme18.xml><?xml version="1.0" encoding="utf-8"?>
<a:theme xmlns:a="http://schemas.openxmlformats.org/drawingml/2006/main" name="15_GfK">
  <a:themeElements>
    <a:clrScheme name="GfK">
      <a:dk1>
        <a:srgbClr val="414549"/>
      </a:dk1>
      <a:lt1>
        <a:srgbClr val="FFFFFF"/>
      </a:lt1>
      <a:dk2>
        <a:srgbClr val="E55A00"/>
      </a:dk2>
      <a:lt2>
        <a:srgbClr val="000000"/>
      </a:lt2>
      <a:accent1>
        <a:srgbClr val="414549"/>
      </a:accent1>
      <a:accent2>
        <a:srgbClr val="85280F"/>
      </a:accent2>
      <a:accent3>
        <a:srgbClr val="202D46"/>
      </a:accent3>
      <a:accent4>
        <a:srgbClr val="E2B726"/>
      </a:accent4>
      <a:accent5>
        <a:srgbClr val="543E35"/>
      </a:accent5>
      <a:accent6>
        <a:srgbClr val="496249"/>
      </a:accent6>
      <a:hlink>
        <a:srgbClr val="E55A00"/>
      </a:hlink>
      <a:folHlink>
        <a:srgbClr val="C39166"/>
      </a:folHlink>
    </a:clrScheme>
    <a:fontScheme name="GfK">
      <a:majorFont>
        <a:latin typeface="Lato Light"/>
        <a:ea typeface=""/>
        <a:cs typeface=""/>
        <a:font script="Jpan" typeface="Meiryo UI"/>
        <a:font script="Hang" typeface="맑은고딕"/>
        <a:font script="Hans" typeface="Boldface"/>
        <a:font script="Hant" typeface="微軟正黑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Lato"/>
        <a:ea typeface=""/>
        <a:cs typeface=""/>
        <a:font script="Jpan" typeface="Meiryo UI"/>
        <a:font script="Hang" typeface="맑은고딕"/>
        <a:font script="Hans" typeface="Boldface"/>
        <a:font script="Hant" typeface="微軟正黑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lIns="72000" tIns="36000" rIns="72000" bIns="36000" rtlCol="0" anchor="ctr"/>
      <a:lstStyle>
        <a:defPPr algn="ctr">
          <a:lnSpc>
            <a:spcPct val="125000"/>
          </a:lnSpc>
          <a:defRPr sz="1600" dirty="0"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marL="252000" indent="-252000">
          <a:lnSpc>
            <a:spcPct val="125000"/>
          </a:lnSpc>
          <a:buClr>
            <a:schemeClr val="tx2"/>
          </a:buClr>
          <a:buFont typeface="Wingdings" panose="05000000000000000000" pitchFamily="2" charset="2"/>
          <a:buChar char="§"/>
          <a:defRPr sz="1600" dirty="0" err="1" smtClean="0"/>
        </a:defPPr>
      </a:lstStyle>
    </a:txDef>
  </a:objectDefaults>
  <a:extraClrSchemeLst/>
  <a:custClrLst>
    <a:custClr name="GfK SAND 100%">
      <a:srgbClr val="C39166"/>
    </a:custClr>
    <a:custClr name="GfK PURPLE 100%">
      <a:srgbClr val="42122D"/>
    </a:custClr>
    <a:custClr name="GfK PETROL 100%">
      <a:srgbClr val="4D9991"/>
    </a:custClr>
    <a:custClr name="GfK ORANGE">
      <a:srgbClr val="E55A00"/>
    </a:custClr>
    <a:custClr name="GfK GRAY 100%">
      <a:srgbClr val="414549"/>
    </a:custClr>
    <a:custClr name="GfK RED 100%">
      <a:srgbClr val="85280F"/>
    </a:custClr>
    <a:custClr name="GfK BLUE 100%">
      <a:srgbClr val="202D46"/>
    </a:custClr>
    <a:custClr name="GfK YELLOW 100%">
      <a:srgbClr val="E2B726"/>
    </a:custClr>
    <a:custClr name="GfK BROWN 100%">
      <a:srgbClr val="543E35"/>
    </a:custClr>
    <a:custClr name="GfK GREEN 100%">
      <a:srgbClr val="496249"/>
    </a:custClr>
    <a:custClr name="GfK SAND 80%">
      <a:srgbClr val="CFA785"/>
    </a:custClr>
    <a:custClr name="GfK PURPLE 80%">
      <a:srgbClr val="684157"/>
    </a:custClr>
    <a:custClr name="GfK PETROL 80%">
      <a:srgbClr val="71ADA7"/>
    </a:custClr>
    <a:custClr>
      <a:srgbClr val="FFFFFF"/>
    </a:custClr>
    <a:custClr name="GfK GRAY 80%">
      <a:srgbClr val="676A6D"/>
    </a:custClr>
    <a:custClr name="GfK RED 80%">
      <a:srgbClr val="9D533F"/>
    </a:custClr>
    <a:custClr name="GfK BLUE 80%">
      <a:srgbClr val="4D576B"/>
    </a:custClr>
    <a:custClr name="GfK YELLOW 80%">
      <a:srgbClr val="E8C551"/>
    </a:custClr>
    <a:custClr name="GfK BROWN 80%">
      <a:srgbClr val="76655D"/>
    </a:custClr>
    <a:custClr name="GfK GREEN 80%">
      <a:srgbClr val="6D816D"/>
    </a:custClr>
    <a:custClr name="GfK SAND 60%">
      <a:srgbClr val="DBBDA3"/>
    </a:custClr>
    <a:custClr name="GfK PURPLE 60%">
      <a:srgbClr val="8E7181"/>
    </a:custClr>
    <a:custClr name="GfK PETROL 60%">
      <a:srgbClr val="94C2BD"/>
    </a:custClr>
    <a:custClr>
      <a:srgbClr val="FFFFFF"/>
    </a:custClr>
    <a:custClr name="GfK GRAY 60%">
      <a:srgbClr val="8D8F92"/>
    </a:custClr>
    <a:custClr name="GfK RED 60%">
      <a:srgbClr val="B67E6F"/>
    </a:custClr>
    <a:custClr name="GfK BLUE 60%">
      <a:srgbClr val="798190"/>
    </a:custClr>
    <a:custClr name="GfK YELLOW 60%">
      <a:srgbClr val="EED47D"/>
    </a:custClr>
    <a:custClr name="GfK BROWN 60%">
      <a:srgbClr val="988B86"/>
    </a:custClr>
    <a:custClr name="GfK GREEN 60%">
      <a:srgbClr val="92A192"/>
    </a:custClr>
    <a:custClr name="GfK SAND 40%">
      <a:srgbClr val="E7D3C2"/>
    </a:custClr>
    <a:custClr name="GfK PURPLE 40%">
      <a:srgbClr val="B3A0AB"/>
    </a:custClr>
    <a:custClr name="GfK PETROL 40%">
      <a:srgbClr val="B8D6D3"/>
    </a:custClr>
    <a:custClr>
      <a:srgbClr val="FFFFFF"/>
    </a:custClr>
    <a:custClr name="GfK GRAY 40%">
      <a:srgbClr val="B3B5B6"/>
    </a:custClr>
    <a:custClr name="GfK RED 40%">
      <a:srgbClr val="CEA99F"/>
    </a:custClr>
    <a:custClr name="GfK BLUE 40%">
      <a:srgbClr val="A6ABB5"/>
    </a:custClr>
    <a:custClr name="GfK YELLOW 40%">
      <a:srgbClr val="F3E2A8"/>
    </a:custClr>
    <a:custClr name="GfK BROWN 40%">
      <a:srgbClr val="BBB2AE"/>
    </a:custClr>
    <a:custClr name="GfK GREEN 40%">
      <a:srgbClr val="B6C0B6"/>
    </a:custClr>
    <a:custClr name="GfK SAND 20%">
      <a:srgbClr val="F3E9E0"/>
    </a:custClr>
    <a:custClr name="GfK PURPLE 20%">
      <a:srgbClr val="D9D0D5"/>
    </a:custClr>
    <a:custClr>
      <a:srgbClr val="FFFFFF"/>
    </a:custClr>
    <a:custClr>
      <a:srgbClr val="FFFFFF"/>
    </a:custClr>
    <a:custClr name="GfK GRAY 20%">
      <a:srgbClr val="D9DADB"/>
    </a:custClr>
    <a:custClr name="GfK RED 20%">
      <a:srgbClr val="E7D4CF"/>
    </a:custClr>
    <a:custClr name="GfK BLUE 20%">
      <a:srgbClr val="D2D5DA"/>
    </a:custClr>
    <a:custClr name="GfK YELLOW 20%">
      <a:srgbClr val="F9F1D4"/>
    </a:custClr>
    <a:custClr name="GfK BROWN 20%">
      <a:srgbClr val="DDD8D7"/>
    </a:custClr>
    <a:custClr name="GfK GREEN 20%">
      <a:srgbClr val="D2E0DB"/>
    </a:custClr>
  </a:custClrLst>
  <a:extLst>
    <a:ext uri="{05A4C25C-085E-4340-85A3-A5531E510DB2}">
      <thm15:themeFamily xmlns:thm15="http://schemas.microsoft.com/office/thememl/2012/main" name="GfK Template Lato.potx" id="{9B41F6FD-FD88-4220-BF2A-EDDFA9568A3A}" vid="{E05CAEFB-A675-4FF4-A247-1F6AB37A1E93}"/>
    </a:ext>
  </a:extLst>
</a:theme>
</file>

<file path=ppt/theme/theme19.xml><?xml version="1.0" encoding="utf-8"?>
<a:theme xmlns:a="http://schemas.openxmlformats.org/drawingml/2006/main" name="3_GfK">
  <a:themeElements>
    <a:clrScheme name="GfK">
      <a:dk1>
        <a:srgbClr val="414549"/>
      </a:dk1>
      <a:lt1>
        <a:srgbClr val="FFFFFF"/>
      </a:lt1>
      <a:dk2>
        <a:srgbClr val="E55A00"/>
      </a:dk2>
      <a:lt2>
        <a:srgbClr val="000000"/>
      </a:lt2>
      <a:accent1>
        <a:srgbClr val="414549"/>
      </a:accent1>
      <a:accent2>
        <a:srgbClr val="85280F"/>
      </a:accent2>
      <a:accent3>
        <a:srgbClr val="202D46"/>
      </a:accent3>
      <a:accent4>
        <a:srgbClr val="E2B726"/>
      </a:accent4>
      <a:accent5>
        <a:srgbClr val="543E35"/>
      </a:accent5>
      <a:accent6>
        <a:srgbClr val="496249"/>
      </a:accent6>
      <a:hlink>
        <a:srgbClr val="E55A00"/>
      </a:hlink>
      <a:folHlink>
        <a:srgbClr val="C39166"/>
      </a:folHlink>
    </a:clrScheme>
    <a:fontScheme name="GfK">
      <a:majorFont>
        <a:latin typeface="Lato Light"/>
        <a:ea typeface=""/>
        <a:cs typeface=""/>
        <a:font script="Jpan" typeface="Meiryo UI"/>
        <a:font script="Hang" typeface="맑은고딕"/>
        <a:font script="Hans" typeface="Boldface"/>
        <a:font script="Hant" typeface="微軟正黑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Lato"/>
        <a:ea typeface=""/>
        <a:cs typeface=""/>
        <a:font script="Jpan" typeface="Meiryo UI"/>
        <a:font script="Hang" typeface="맑은고딕"/>
        <a:font script="Hans" typeface="Boldface"/>
        <a:font script="Hant" typeface="微軟正黑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lIns="72000" tIns="36000" rIns="72000" bIns="36000" rtlCol="0" anchor="ctr"/>
      <a:lstStyle>
        <a:defPPr algn="ctr">
          <a:lnSpc>
            <a:spcPct val="125000"/>
          </a:lnSpc>
          <a:defRPr sz="1600" dirty="0"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marL="252000" indent="-252000">
          <a:lnSpc>
            <a:spcPct val="125000"/>
          </a:lnSpc>
          <a:buClr>
            <a:schemeClr val="tx2"/>
          </a:buClr>
          <a:buFont typeface="Wingdings" panose="05000000000000000000" pitchFamily="2" charset="2"/>
          <a:buChar char="§"/>
          <a:defRPr sz="1600" dirty="0" err="1" smtClean="0"/>
        </a:defPPr>
      </a:lstStyle>
    </a:txDef>
  </a:objectDefaults>
  <a:extraClrSchemeLst/>
  <a:custClrLst>
    <a:custClr name="GfK SAND 100%">
      <a:srgbClr val="C39166"/>
    </a:custClr>
    <a:custClr name="GfK PURPLE 100%">
      <a:srgbClr val="42122D"/>
    </a:custClr>
    <a:custClr name="GfK PETROL 100%">
      <a:srgbClr val="4D9991"/>
    </a:custClr>
    <a:custClr name="GfK ORANGE">
      <a:srgbClr val="E55A00"/>
    </a:custClr>
    <a:custClr name="GfK GRAY 100%">
      <a:srgbClr val="414549"/>
    </a:custClr>
    <a:custClr name="GfK RED 100%">
      <a:srgbClr val="85280F"/>
    </a:custClr>
    <a:custClr name="GfK BLUE 100%">
      <a:srgbClr val="202D46"/>
    </a:custClr>
    <a:custClr name="GfK YELLOW 100%">
      <a:srgbClr val="E2B726"/>
    </a:custClr>
    <a:custClr name="GfK BROWN 100%">
      <a:srgbClr val="543E35"/>
    </a:custClr>
    <a:custClr name="GfK GREEN 100%">
      <a:srgbClr val="496249"/>
    </a:custClr>
    <a:custClr name="GfK SAND 80%">
      <a:srgbClr val="CFA785"/>
    </a:custClr>
    <a:custClr name="GfK PURPLE 80%">
      <a:srgbClr val="684157"/>
    </a:custClr>
    <a:custClr name="GfK PETROL 80%">
      <a:srgbClr val="71ADA7"/>
    </a:custClr>
    <a:custClr>
      <a:srgbClr val="FFFFFF"/>
    </a:custClr>
    <a:custClr name="GfK GRAY 80%">
      <a:srgbClr val="676A6D"/>
    </a:custClr>
    <a:custClr name="GfK RED 80%">
      <a:srgbClr val="9D533F"/>
    </a:custClr>
    <a:custClr name="GfK BLUE 80%">
      <a:srgbClr val="4D576B"/>
    </a:custClr>
    <a:custClr name="GfK YELLOW 80%">
      <a:srgbClr val="E8C551"/>
    </a:custClr>
    <a:custClr name="GfK BROWN 80%">
      <a:srgbClr val="76655D"/>
    </a:custClr>
    <a:custClr name="GfK GREEN 80%">
      <a:srgbClr val="6D816D"/>
    </a:custClr>
    <a:custClr name="GfK SAND 60%">
      <a:srgbClr val="DBBDA3"/>
    </a:custClr>
    <a:custClr name="GfK PURPLE 60%">
      <a:srgbClr val="8E7181"/>
    </a:custClr>
    <a:custClr name="GfK PETROL 60%">
      <a:srgbClr val="94C2BD"/>
    </a:custClr>
    <a:custClr>
      <a:srgbClr val="FFFFFF"/>
    </a:custClr>
    <a:custClr name="GfK GRAY 60%">
      <a:srgbClr val="8D8F92"/>
    </a:custClr>
    <a:custClr name="GfK RED 60%">
      <a:srgbClr val="B67E6F"/>
    </a:custClr>
    <a:custClr name="GfK BLUE 60%">
      <a:srgbClr val="798190"/>
    </a:custClr>
    <a:custClr name="GfK YELLOW 60%">
      <a:srgbClr val="EED47D"/>
    </a:custClr>
    <a:custClr name="GfK BROWN 60%">
      <a:srgbClr val="988B86"/>
    </a:custClr>
    <a:custClr name="GfK GREEN 60%">
      <a:srgbClr val="92A192"/>
    </a:custClr>
    <a:custClr name="GfK SAND 40%">
      <a:srgbClr val="E7D3C2"/>
    </a:custClr>
    <a:custClr name="GfK PURPLE 40%">
      <a:srgbClr val="B3A0AB"/>
    </a:custClr>
    <a:custClr name="GfK PETROL 40%">
      <a:srgbClr val="B8D6D3"/>
    </a:custClr>
    <a:custClr>
      <a:srgbClr val="FFFFFF"/>
    </a:custClr>
    <a:custClr name="GfK GRAY 40%">
      <a:srgbClr val="B3B5B6"/>
    </a:custClr>
    <a:custClr name="GfK RED 40%">
      <a:srgbClr val="CEA99F"/>
    </a:custClr>
    <a:custClr name="GfK BLUE 40%">
      <a:srgbClr val="A6ABB5"/>
    </a:custClr>
    <a:custClr name="GfK YELLOW 40%">
      <a:srgbClr val="F3E2A8"/>
    </a:custClr>
    <a:custClr name="GfK BROWN 40%">
      <a:srgbClr val="BBB2AE"/>
    </a:custClr>
    <a:custClr name="GfK GREEN 40%">
      <a:srgbClr val="B6C0B6"/>
    </a:custClr>
    <a:custClr name="GfK SAND 20%">
      <a:srgbClr val="F3E9E0"/>
    </a:custClr>
    <a:custClr name="GfK PURPLE 20%">
      <a:srgbClr val="D9D0D5"/>
    </a:custClr>
    <a:custClr>
      <a:srgbClr val="FFFFFF"/>
    </a:custClr>
    <a:custClr>
      <a:srgbClr val="FFFFFF"/>
    </a:custClr>
    <a:custClr name="GfK GRAY 20%">
      <a:srgbClr val="D9DADB"/>
    </a:custClr>
    <a:custClr name="GfK RED 20%">
      <a:srgbClr val="E7D4CF"/>
    </a:custClr>
    <a:custClr name="GfK BLUE 20%">
      <a:srgbClr val="D2D5DA"/>
    </a:custClr>
    <a:custClr name="GfK YELLOW 20%">
      <a:srgbClr val="F9F1D4"/>
    </a:custClr>
    <a:custClr name="GfK BROWN 20%">
      <a:srgbClr val="DDD8D7"/>
    </a:custClr>
    <a:custClr name="GfK GREEN 20%">
      <a:srgbClr val="D2E0DB"/>
    </a:custClr>
  </a:custClrLst>
  <a:extLst>
    <a:ext uri="{05A4C25C-085E-4340-85A3-A5531E510DB2}">
      <thm15:themeFamily xmlns:thm15="http://schemas.microsoft.com/office/thememl/2012/main" name="GfK Template Lato.potx" id="{9B41F6FD-FD88-4220-BF2A-EDDFA9568A3A}" vid="{E05CAEFB-A675-4FF4-A247-1F6AB37A1E93}"/>
    </a:ext>
  </a:extLst>
</a:theme>
</file>

<file path=ppt/theme/theme2.xml><?xml version="1.0" encoding="utf-8"?>
<a:theme xmlns:a="http://schemas.openxmlformats.org/drawingml/2006/main" name="GfK Group">
  <a:themeElements>
    <a:clrScheme name="GfK Group">
      <a:dk1>
        <a:srgbClr val="000000"/>
      </a:dk1>
      <a:lt1>
        <a:srgbClr val="FFFFFF"/>
      </a:lt1>
      <a:dk2>
        <a:srgbClr val="E55A00"/>
      </a:dk2>
      <a:lt2>
        <a:srgbClr val="8E8581"/>
      </a:lt2>
      <a:accent1>
        <a:srgbClr val="264283"/>
      </a:accent1>
      <a:accent2>
        <a:srgbClr val="007DC3"/>
      </a:accent2>
      <a:accent3>
        <a:srgbClr val="A2AD00"/>
      </a:accent3>
      <a:accent4>
        <a:srgbClr val="C1BB00"/>
      </a:accent4>
      <a:accent5>
        <a:srgbClr val="9B1F23"/>
      </a:accent5>
      <a:accent6>
        <a:srgbClr val="DC291E"/>
      </a:accent6>
      <a:hlink>
        <a:srgbClr val="A2AD00"/>
      </a:hlink>
      <a:folHlink>
        <a:srgbClr val="C1BB00"/>
      </a:folHlink>
    </a:clrScheme>
    <a:fontScheme name="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bg1"/>
        </a:solidFill>
        <a:ln w="9525">
          <a:solidFill>
            <a:schemeClr val="tx1"/>
          </a:solid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marL="0" indent="0" algn="ctr">
          <a:spcBef>
            <a:spcPts val="300"/>
          </a:spcBef>
          <a:buFont typeface="Courier New" pitchFamily="49" charset="0"/>
          <a:buNone/>
          <a:defRPr sz="1600" dirty="0" smtClean="0">
            <a:solidFill>
              <a:schemeClr val="tx1"/>
            </a:solidFill>
            <a:latin typeface="Arial" pitchFamily="34" charset="0"/>
            <a:cs typeface="Arial"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tailEnd type="none"/>
        </a:ln>
      </a:spPr>
      <a:bodyPr/>
      <a:lstStyle/>
      <a:style>
        <a:lnRef idx="1">
          <a:schemeClr val="accent1"/>
        </a:lnRef>
        <a:fillRef idx="0">
          <a:schemeClr val="accent1"/>
        </a:fillRef>
        <a:effectRef idx="0">
          <a:schemeClr val="accent1"/>
        </a:effectRef>
        <a:fontRef idx="minor">
          <a:schemeClr val="tx1"/>
        </a:fontRef>
      </a:style>
    </a:lnDef>
    <a:txDef>
      <a:spPr bwMode="gray">
        <a:noFill/>
      </a:spPr>
      <a:bodyPr wrap="square" lIns="0" tIns="0" rIns="0" bIns="0" rtlCol="0">
        <a:spAutoFit/>
      </a:bodyPr>
      <a:lstStyle>
        <a:defPPr>
          <a:spcBef>
            <a:spcPts val="300"/>
          </a:spcBef>
          <a:defRPr sz="1600" dirty="0" err="1" smtClean="0">
            <a:latin typeface="Arial" pitchFamily="34" charset="0"/>
            <a:cs typeface="Arial" pitchFamily="34" charset="0"/>
          </a:defRPr>
        </a:defPPr>
      </a:lstStyle>
    </a:txDef>
  </a:objectDefaults>
  <a:extraClrSchemeLst/>
  <a:custClrLst>
    <a:custClr name="dark yellow 100%">
      <a:srgbClr val="F0AB00"/>
    </a:custClr>
    <a:custClr name="light yellow 100%">
      <a:srgbClr val="F6D50F"/>
    </a:custClr>
    <a:custClr name="warm grey 100%">
      <a:srgbClr val="8E8581"/>
    </a:custClr>
    <a:custClr name="GfK orange">
      <a:srgbClr val="E55A00"/>
    </a:custClr>
    <a:custClr name="dark blue 100%">
      <a:srgbClr val="264283"/>
    </a:custClr>
    <a:custClr name="light blue 100%">
      <a:srgbClr val="007DC3"/>
    </a:custClr>
    <a:custClr name="dark green 100%">
      <a:srgbClr val="A2AD00"/>
    </a:custClr>
    <a:custClr name="light green 100%">
      <a:srgbClr val="C1BB00"/>
    </a:custClr>
    <a:custClr name="dark red 100%">
      <a:srgbClr val="9B1F23"/>
    </a:custClr>
    <a:custClr name="light red 100%">
      <a:srgbClr val="DC291E"/>
    </a:custClr>
    <a:custClr name="dark yellow 80%">
      <a:srgbClr val="FCC000"/>
    </a:custClr>
    <a:custClr name="light yellow 80%">
      <a:srgbClr val="FFDD44"/>
    </a:custClr>
    <a:custClr name="warm grey 80%">
      <a:srgbClr val="A79D98"/>
    </a:custClr>
    <a:custClr>
      <a:srgbClr val="FFFFFF"/>
    </a:custClr>
    <a:custClr name="dark blue 80%">
      <a:srgbClr val="405B9B"/>
    </a:custClr>
    <a:custClr name="light blue 80%">
      <a:srgbClr val="389DD7"/>
    </a:custClr>
    <a:custClr name="dark green 80%">
      <a:srgbClr val="B4BE46"/>
    </a:custClr>
    <a:custClr name="light green 80%">
      <a:srgbClr val="D7CF42"/>
    </a:custClr>
    <a:custClr name="dark red 80%">
      <a:srgbClr val="C34A3A"/>
    </a:custClr>
    <a:custClr name="light red 80%">
      <a:srgbClr val="E94F35"/>
    </a:custClr>
    <a:custClr name="dark yellow 60%">
      <a:srgbClr val="FED07A"/>
    </a:custClr>
    <a:custClr name="light yellow 60%">
      <a:srgbClr val="FFE67F"/>
    </a:custClr>
    <a:custClr name="warm grey 60%">
      <a:srgbClr val="BCB4B0"/>
    </a:custClr>
    <a:custClr>
      <a:srgbClr val="FFFFFF"/>
    </a:custClr>
    <a:custClr name="dark blue 60%">
      <a:srgbClr val="6E7EB3"/>
    </a:custClr>
    <a:custClr name="light blue 60%">
      <a:srgbClr val="7DB4E2"/>
    </a:custClr>
    <a:custClr name="dark green 60%">
      <a:srgbClr val="C6CE79"/>
    </a:custClr>
    <a:custClr name="light green 60%">
      <a:srgbClr val="E2DA7A"/>
    </a:custClr>
    <a:custClr name="dark red 60%">
      <a:srgbClr val="D27863"/>
    </a:custClr>
    <a:custClr name="light red 60%">
      <a:srgbClr val="F08262"/>
    </a:custClr>
    <a:custClr name="dark yellow 40%">
      <a:srgbClr val="FFE0A9"/>
    </a:custClr>
    <a:custClr name="light yellow 40%">
      <a:srgbClr val="FFEEAF"/>
    </a:custClr>
    <a:custClr name="warm grey 40%">
      <a:srgbClr val="D2CBC9"/>
    </a:custClr>
    <a:custClr>
      <a:srgbClr val="FFFFFF"/>
    </a:custClr>
    <a:custClr name="dark blue 40%">
      <a:srgbClr val="9EA5CD"/>
    </a:custClr>
    <a:custClr name="light blue 40%">
      <a:srgbClr val="ADCDED"/>
    </a:custClr>
    <a:custClr name="dark green 40%">
      <a:srgbClr val="D8DEA8"/>
    </a:custClr>
    <a:custClr name="light green 40%">
      <a:srgbClr val="ECE6AA"/>
    </a:custClr>
    <a:custClr name="dark red 40%">
      <a:srgbClr val="E1A693"/>
    </a:custClr>
    <a:custClr name="light red 40%">
      <a:srgbClr val="F6AF95"/>
    </a:custClr>
  </a:custClrLst>
  <a:extLst>
    <a:ext uri="{05A4C25C-085E-4340-85A3-A5531E510DB2}">
      <thm15:themeFamily xmlns:thm15="http://schemas.microsoft.com/office/thememl/2012/main" name="Blank.potx" id="{0D16F9E6-8197-4EE0-84AE-DC493EAFB91A}" vid="{39FE2D74-D784-4C9E-9E0C-76796B574284}"/>
    </a:ext>
  </a:extLst>
</a:theme>
</file>

<file path=ppt/theme/theme20.xml><?xml version="1.0" encoding="utf-8"?>
<a:theme xmlns:a="http://schemas.openxmlformats.org/drawingml/2006/main" name="5_GfK">
  <a:themeElements>
    <a:clrScheme name="GfK">
      <a:dk1>
        <a:srgbClr val="414549"/>
      </a:dk1>
      <a:lt1>
        <a:srgbClr val="FFFFFF"/>
      </a:lt1>
      <a:dk2>
        <a:srgbClr val="E55A00"/>
      </a:dk2>
      <a:lt2>
        <a:srgbClr val="000000"/>
      </a:lt2>
      <a:accent1>
        <a:srgbClr val="414549"/>
      </a:accent1>
      <a:accent2>
        <a:srgbClr val="85280F"/>
      </a:accent2>
      <a:accent3>
        <a:srgbClr val="202D46"/>
      </a:accent3>
      <a:accent4>
        <a:srgbClr val="E2B726"/>
      </a:accent4>
      <a:accent5>
        <a:srgbClr val="543E35"/>
      </a:accent5>
      <a:accent6>
        <a:srgbClr val="496249"/>
      </a:accent6>
      <a:hlink>
        <a:srgbClr val="E55A00"/>
      </a:hlink>
      <a:folHlink>
        <a:srgbClr val="C39166"/>
      </a:folHlink>
    </a:clrScheme>
    <a:fontScheme name="GfK">
      <a:majorFont>
        <a:latin typeface="Lato Light"/>
        <a:ea typeface=""/>
        <a:cs typeface=""/>
        <a:font script="Jpan" typeface="Meiryo UI"/>
        <a:font script="Hang" typeface="맑은고딕"/>
        <a:font script="Hans" typeface="Boldface"/>
        <a:font script="Hant" typeface="微軟正黑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Lato"/>
        <a:ea typeface=""/>
        <a:cs typeface=""/>
        <a:font script="Jpan" typeface="Meiryo UI"/>
        <a:font script="Hang" typeface="맑은고딕"/>
        <a:font script="Hans" typeface="Boldface"/>
        <a:font script="Hant" typeface="微軟正黑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lIns="72000" tIns="36000" rIns="72000" bIns="36000" rtlCol="0" anchor="ctr"/>
      <a:lstStyle>
        <a:defPPr algn="ctr">
          <a:lnSpc>
            <a:spcPct val="125000"/>
          </a:lnSpc>
          <a:defRPr sz="1600" dirty="0"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marL="252000" indent="-252000">
          <a:lnSpc>
            <a:spcPct val="125000"/>
          </a:lnSpc>
          <a:buClr>
            <a:schemeClr val="tx2"/>
          </a:buClr>
          <a:buFont typeface="Wingdings" panose="05000000000000000000" pitchFamily="2" charset="2"/>
          <a:buChar char="§"/>
          <a:defRPr sz="1600" dirty="0" err="1" smtClean="0"/>
        </a:defPPr>
      </a:lstStyle>
    </a:txDef>
  </a:objectDefaults>
  <a:extraClrSchemeLst/>
  <a:custClrLst>
    <a:custClr name="GfK SAND 100%">
      <a:srgbClr val="C39166"/>
    </a:custClr>
    <a:custClr name="GfK PURPLE 100%">
      <a:srgbClr val="42122D"/>
    </a:custClr>
    <a:custClr name="GfK PETROL 100%">
      <a:srgbClr val="4D9991"/>
    </a:custClr>
    <a:custClr name="GfK ORANGE">
      <a:srgbClr val="E55A00"/>
    </a:custClr>
    <a:custClr name="GfK GRAY 100%">
      <a:srgbClr val="414549"/>
    </a:custClr>
    <a:custClr name="GfK RED 100%">
      <a:srgbClr val="85280F"/>
    </a:custClr>
    <a:custClr name="GfK BLUE 100%">
      <a:srgbClr val="202D46"/>
    </a:custClr>
    <a:custClr name="GfK YELLOW 100%">
      <a:srgbClr val="E2B726"/>
    </a:custClr>
    <a:custClr name="GfK BROWN 100%">
      <a:srgbClr val="543E35"/>
    </a:custClr>
    <a:custClr name="GfK GREEN 100%">
      <a:srgbClr val="496249"/>
    </a:custClr>
    <a:custClr name="GfK SAND 80%">
      <a:srgbClr val="CFA785"/>
    </a:custClr>
    <a:custClr name="GfK PURPLE 80%">
      <a:srgbClr val="684157"/>
    </a:custClr>
    <a:custClr name="GfK PETROL 80%">
      <a:srgbClr val="71ADA7"/>
    </a:custClr>
    <a:custClr>
      <a:srgbClr val="FFFFFF"/>
    </a:custClr>
    <a:custClr name="GfK GRAY 80%">
      <a:srgbClr val="676A6D"/>
    </a:custClr>
    <a:custClr name="GfK RED 80%">
      <a:srgbClr val="9D533F"/>
    </a:custClr>
    <a:custClr name="GfK BLUE 80%">
      <a:srgbClr val="4D576B"/>
    </a:custClr>
    <a:custClr name="GfK YELLOW 80%">
      <a:srgbClr val="E8C551"/>
    </a:custClr>
    <a:custClr name="GfK BROWN 80%">
      <a:srgbClr val="76655D"/>
    </a:custClr>
    <a:custClr name="GfK GREEN 80%">
      <a:srgbClr val="6D816D"/>
    </a:custClr>
    <a:custClr name="GfK SAND 60%">
      <a:srgbClr val="DBBDA3"/>
    </a:custClr>
    <a:custClr name="GfK PURPLE 60%">
      <a:srgbClr val="8E7181"/>
    </a:custClr>
    <a:custClr name="GfK PETROL 60%">
      <a:srgbClr val="94C2BD"/>
    </a:custClr>
    <a:custClr>
      <a:srgbClr val="FFFFFF"/>
    </a:custClr>
    <a:custClr name="GfK GRAY 60%">
      <a:srgbClr val="8D8F92"/>
    </a:custClr>
    <a:custClr name="GfK RED 60%">
      <a:srgbClr val="B67E6F"/>
    </a:custClr>
    <a:custClr name="GfK BLUE 60%">
      <a:srgbClr val="798190"/>
    </a:custClr>
    <a:custClr name="GfK YELLOW 60%">
      <a:srgbClr val="EED47D"/>
    </a:custClr>
    <a:custClr name="GfK BROWN 60%">
      <a:srgbClr val="988B86"/>
    </a:custClr>
    <a:custClr name="GfK GREEN 60%">
      <a:srgbClr val="92A192"/>
    </a:custClr>
    <a:custClr name="GfK SAND 40%">
      <a:srgbClr val="E7D3C2"/>
    </a:custClr>
    <a:custClr name="GfK PURPLE 40%">
      <a:srgbClr val="B3A0AB"/>
    </a:custClr>
    <a:custClr name="GfK PETROL 40%">
      <a:srgbClr val="B8D6D3"/>
    </a:custClr>
    <a:custClr>
      <a:srgbClr val="FFFFFF"/>
    </a:custClr>
    <a:custClr name="GfK GRAY 40%">
      <a:srgbClr val="B3B5B6"/>
    </a:custClr>
    <a:custClr name="GfK RED 40%">
      <a:srgbClr val="CEA99F"/>
    </a:custClr>
    <a:custClr name="GfK BLUE 40%">
      <a:srgbClr val="A6ABB5"/>
    </a:custClr>
    <a:custClr name="GfK YELLOW 40%">
      <a:srgbClr val="F3E2A8"/>
    </a:custClr>
    <a:custClr name="GfK BROWN 40%">
      <a:srgbClr val="BBB2AE"/>
    </a:custClr>
    <a:custClr name="GfK GREEN 40%">
      <a:srgbClr val="B6C0B6"/>
    </a:custClr>
    <a:custClr name="GfK SAND 20%">
      <a:srgbClr val="F3E9E0"/>
    </a:custClr>
    <a:custClr name="GfK PURPLE 20%">
      <a:srgbClr val="D9D0D5"/>
    </a:custClr>
    <a:custClr>
      <a:srgbClr val="FFFFFF"/>
    </a:custClr>
    <a:custClr>
      <a:srgbClr val="FFFFFF"/>
    </a:custClr>
    <a:custClr name="GfK GRAY 20%">
      <a:srgbClr val="D9DADB"/>
    </a:custClr>
    <a:custClr name="GfK RED 20%">
      <a:srgbClr val="E7D4CF"/>
    </a:custClr>
    <a:custClr name="GfK BLUE 20%">
      <a:srgbClr val="D2D5DA"/>
    </a:custClr>
    <a:custClr name="GfK YELLOW 20%">
      <a:srgbClr val="F9F1D4"/>
    </a:custClr>
    <a:custClr name="GfK BROWN 20%">
      <a:srgbClr val="DDD8D7"/>
    </a:custClr>
    <a:custClr name="GfK GREEN 20%">
      <a:srgbClr val="D2E0DB"/>
    </a:custClr>
  </a:custClrLst>
  <a:extLst>
    <a:ext uri="{05A4C25C-085E-4340-85A3-A5531E510DB2}">
      <thm15:themeFamily xmlns:thm15="http://schemas.microsoft.com/office/thememl/2012/main" name="GfK Template Lato.potx" id="{9B41F6FD-FD88-4220-BF2A-EDDFA9568A3A}" vid="{E05CAEFB-A675-4FF4-A247-1F6AB37A1E93}"/>
    </a:ext>
  </a:extLst>
</a:theme>
</file>

<file path=ppt/theme/theme21.xml><?xml version="1.0" encoding="utf-8"?>
<a:theme xmlns:a="http://schemas.openxmlformats.org/drawingml/2006/main" name="Master_16_9_empty">
  <a:themeElements>
    <a:clrScheme name="GfK Template for Office 2003 16-9 1">
      <a:dk1>
        <a:srgbClr val="000000"/>
      </a:dk1>
      <a:lt1>
        <a:srgbClr val="FFFFFF"/>
      </a:lt1>
      <a:dk2>
        <a:srgbClr val="E95E0F"/>
      </a:dk2>
      <a:lt2>
        <a:srgbClr val="928580"/>
      </a:lt2>
      <a:accent1>
        <a:srgbClr val="004186"/>
      </a:accent1>
      <a:accent2>
        <a:srgbClr val="0087C8"/>
      </a:accent2>
      <a:accent3>
        <a:srgbClr val="FFFFFF"/>
      </a:accent3>
      <a:accent4>
        <a:srgbClr val="000000"/>
      </a:accent4>
      <a:accent5>
        <a:srgbClr val="AAB0C3"/>
      </a:accent5>
      <a:accent6>
        <a:srgbClr val="007AB5"/>
      </a:accent6>
      <a:hlink>
        <a:srgbClr val="E95E0F"/>
      </a:hlink>
      <a:folHlink>
        <a:srgbClr val="004186"/>
      </a:folHlink>
    </a:clrScheme>
    <a:fontScheme name="GfK Template for Office 2003 16-9">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de-DE" sz="16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de-DE" sz="1600" b="0" i="0" u="none" strike="noStrike" cap="none" normalizeH="0" baseline="0" smtClean="0">
            <a:ln>
              <a:noFill/>
            </a:ln>
            <a:solidFill>
              <a:schemeClr val="tx1"/>
            </a:solidFill>
            <a:effectLst/>
            <a:latin typeface="Arial" charset="0"/>
          </a:defRPr>
        </a:defPPr>
      </a:lstStyle>
    </a:lnDef>
  </a:objectDefaults>
  <a:extraClrSchemeLst>
    <a:extraClrScheme>
      <a:clrScheme name="GfK Template for Office 2003 16-9 1">
        <a:dk1>
          <a:srgbClr val="000000"/>
        </a:dk1>
        <a:lt1>
          <a:srgbClr val="FFFFFF"/>
        </a:lt1>
        <a:dk2>
          <a:srgbClr val="E95E0F"/>
        </a:dk2>
        <a:lt2>
          <a:srgbClr val="928580"/>
        </a:lt2>
        <a:accent1>
          <a:srgbClr val="004186"/>
        </a:accent1>
        <a:accent2>
          <a:srgbClr val="0087C8"/>
        </a:accent2>
        <a:accent3>
          <a:srgbClr val="FFFFFF"/>
        </a:accent3>
        <a:accent4>
          <a:srgbClr val="000000"/>
        </a:accent4>
        <a:accent5>
          <a:srgbClr val="AAB0C3"/>
        </a:accent5>
        <a:accent6>
          <a:srgbClr val="007AB5"/>
        </a:accent6>
        <a:hlink>
          <a:srgbClr val="E95E0F"/>
        </a:hlink>
        <a:folHlink>
          <a:srgbClr val="004186"/>
        </a:folHlink>
      </a:clrScheme>
      <a:clrMap bg1="lt1" tx1="dk1" bg2="lt2" tx2="dk2" accent1="accent1" accent2="accent2" accent3="accent3" accent4="accent4" accent5="accent5" accent6="accent6" hlink="hlink" folHlink="folHlink"/>
    </a:extraClrScheme>
  </a:extraClrSchemeLst>
</a:theme>
</file>

<file path=ppt/theme/theme22.xml><?xml version="1.0" encoding="utf-8"?>
<a:theme xmlns:a="http://schemas.openxmlformats.org/drawingml/2006/main" name="6_GfK">
  <a:themeElements>
    <a:clrScheme name="GfK">
      <a:dk1>
        <a:srgbClr val="414549"/>
      </a:dk1>
      <a:lt1>
        <a:srgbClr val="FFFFFF"/>
      </a:lt1>
      <a:dk2>
        <a:srgbClr val="E55A00"/>
      </a:dk2>
      <a:lt2>
        <a:srgbClr val="000000"/>
      </a:lt2>
      <a:accent1>
        <a:srgbClr val="414549"/>
      </a:accent1>
      <a:accent2>
        <a:srgbClr val="85280F"/>
      </a:accent2>
      <a:accent3>
        <a:srgbClr val="202D46"/>
      </a:accent3>
      <a:accent4>
        <a:srgbClr val="E2B726"/>
      </a:accent4>
      <a:accent5>
        <a:srgbClr val="543E35"/>
      </a:accent5>
      <a:accent6>
        <a:srgbClr val="496249"/>
      </a:accent6>
      <a:hlink>
        <a:srgbClr val="E55A00"/>
      </a:hlink>
      <a:folHlink>
        <a:srgbClr val="C39166"/>
      </a:folHlink>
    </a:clrScheme>
    <a:fontScheme name="GfK">
      <a:majorFont>
        <a:latin typeface="Arial"/>
        <a:ea typeface=""/>
        <a:cs typeface=""/>
        <a:font script="Jpan" typeface="Meiryo UI"/>
        <a:font script="Hang" typeface="맑은고딕"/>
        <a:font script="Hans" typeface="Boldface"/>
        <a:font script="Hant" typeface="微軟正黑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Meiryo UI"/>
        <a:font script="Hang" typeface="맑은고딕"/>
        <a:font script="Hans" typeface="Boldface"/>
        <a:font script="Hant" typeface="微軟正黑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lIns="72000" tIns="36000" rIns="72000" bIns="36000" rtlCol="0" anchor="ctr"/>
      <a:lstStyle>
        <a:defPPr algn="ctr">
          <a:lnSpc>
            <a:spcPct val="125000"/>
          </a:lnSpc>
          <a:defRPr sz="1600" dirty="0"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marL="252000" indent="-252000">
          <a:lnSpc>
            <a:spcPct val="125000"/>
          </a:lnSpc>
          <a:buClr>
            <a:schemeClr val="tx2"/>
          </a:buClr>
          <a:buFont typeface="Wingdings" panose="05000000000000000000" pitchFamily="2" charset="2"/>
          <a:buChar char="§"/>
          <a:defRPr sz="1600" dirty="0" err="1" smtClean="0"/>
        </a:defPPr>
      </a:lstStyle>
    </a:txDef>
  </a:objectDefaults>
  <a:extraClrSchemeLst/>
  <a:custClrLst>
    <a:custClr name="GfK SAND 100%">
      <a:srgbClr val="C39166"/>
    </a:custClr>
    <a:custClr name="GfK PURPLE 100%">
      <a:srgbClr val="42122D"/>
    </a:custClr>
    <a:custClr name="GfK PETROL 100%">
      <a:srgbClr val="4D9991"/>
    </a:custClr>
    <a:custClr name="GfK ORANGE">
      <a:srgbClr val="E55A00"/>
    </a:custClr>
    <a:custClr name="GfK GRAY 100%">
      <a:srgbClr val="414549"/>
    </a:custClr>
    <a:custClr name="GfK RED 100%">
      <a:srgbClr val="85280F"/>
    </a:custClr>
    <a:custClr name="GfK BLUE 100%">
      <a:srgbClr val="202D46"/>
    </a:custClr>
    <a:custClr name="GfK YELLOW 100%">
      <a:srgbClr val="E2B726"/>
    </a:custClr>
    <a:custClr name="GfK BROWN 100%">
      <a:srgbClr val="543E35"/>
    </a:custClr>
    <a:custClr name="GfK GREEN 100%">
      <a:srgbClr val="496249"/>
    </a:custClr>
    <a:custClr name="GfK SAND 80%">
      <a:srgbClr val="CFA785"/>
    </a:custClr>
    <a:custClr name="GfK PURPLE 80%">
      <a:srgbClr val="684157"/>
    </a:custClr>
    <a:custClr name="GfK PETROL 80%">
      <a:srgbClr val="71ADA7"/>
    </a:custClr>
    <a:custClr>
      <a:srgbClr val="FFFFFF"/>
    </a:custClr>
    <a:custClr name="GfK GRAY 80%">
      <a:srgbClr val="676A6D"/>
    </a:custClr>
    <a:custClr name="GfK RED 80%">
      <a:srgbClr val="9D533F"/>
    </a:custClr>
    <a:custClr name="GfK BLUE 80%">
      <a:srgbClr val="4D576B"/>
    </a:custClr>
    <a:custClr name="GfK YELLOW 80%">
      <a:srgbClr val="E8C551"/>
    </a:custClr>
    <a:custClr name="GfK BROWN 80%">
      <a:srgbClr val="76655D"/>
    </a:custClr>
    <a:custClr name="GfK GREEN 80%">
      <a:srgbClr val="6D816D"/>
    </a:custClr>
    <a:custClr name="GfK SAND 60%">
      <a:srgbClr val="DBBDA3"/>
    </a:custClr>
    <a:custClr name="GfK PURPLE 60%">
      <a:srgbClr val="8E7181"/>
    </a:custClr>
    <a:custClr name="GfK PETROL 60%">
      <a:srgbClr val="94C2BD"/>
    </a:custClr>
    <a:custClr>
      <a:srgbClr val="FFFFFF"/>
    </a:custClr>
    <a:custClr name="GfK GRAY 60%">
      <a:srgbClr val="8D8F92"/>
    </a:custClr>
    <a:custClr name="GfK RED 60%">
      <a:srgbClr val="B67E6F"/>
    </a:custClr>
    <a:custClr name="GfK BLUE 60%">
      <a:srgbClr val="798190"/>
    </a:custClr>
    <a:custClr name="GfK YELLOW 60%">
      <a:srgbClr val="EED47D"/>
    </a:custClr>
    <a:custClr name="GfK BROWN 60%">
      <a:srgbClr val="988B86"/>
    </a:custClr>
    <a:custClr name="GfK GREEN 60%">
      <a:srgbClr val="92A192"/>
    </a:custClr>
    <a:custClr name="GfK SAND 40%">
      <a:srgbClr val="E7D3C2"/>
    </a:custClr>
    <a:custClr name="GfK PURPLE 40%">
      <a:srgbClr val="B3A0AB"/>
    </a:custClr>
    <a:custClr name="GfK PETROL 40%">
      <a:srgbClr val="B8D6D3"/>
    </a:custClr>
    <a:custClr>
      <a:srgbClr val="FFFFFF"/>
    </a:custClr>
    <a:custClr name="GfK GRAY 40%">
      <a:srgbClr val="B3B5B6"/>
    </a:custClr>
    <a:custClr name="GfK RED 40%">
      <a:srgbClr val="CEA99F"/>
    </a:custClr>
    <a:custClr name="GfK BLUE 40%">
      <a:srgbClr val="A6ABB5"/>
    </a:custClr>
    <a:custClr name="GfK YELLOW 40%">
      <a:srgbClr val="F3E2A8"/>
    </a:custClr>
    <a:custClr name="GfK BROWN 40%">
      <a:srgbClr val="BBB2AE"/>
    </a:custClr>
    <a:custClr name="GfK GREEN 40%">
      <a:srgbClr val="B6C0B6"/>
    </a:custClr>
    <a:custClr name="GfK SAND 20%">
      <a:srgbClr val="F3E9E0"/>
    </a:custClr>
    <a:custClr name="GfK PURPLE 20%">
      <a:srgbClr val="D9D0D5"/>
    </a:custClr>
    <a:custClr>
      <a:srgbClr val="FFFFFF"/>
    </a:custClr>
    <a:custClr>
      <a:srgbClr val="FFFFFF"/>
    </a:custClr>
    <a:custClr name="GfK GRAY 20%">
      <a:srgbClr val="D9DADB"/>
    </a:custClr>
    <a:custClr name="GfK RED 20%">
      <a:srgbClr val="E7D4CF"/>
    </a:custClr>
    <a:custClr name="GfK BLUE 20%">
      <a:srgbClr val="D2D5DA"/>
    </a:custClr>
    <a:custClr name="GfK YELLOW 20%">
      <a:srgbClr val="F9F1D4"/>
    </a:custClr>
    <a:custClr name="GfK BROWN 20%">
      <a:srgbClr val="DDD8D7"/>
    </a:custClr>
    <a:custClr name="GfK GREEN 20%">
      <a:srgbClr val="D2E0DB"/>
    </a:custClr>
  </a:custClrLst>
  <a:extLst>
    <a:ext uri="{05A4C25C-085E-4340-85A3-A5531E510DB2}">
      <thm15:themeFamily xmlns:thm15="http://schemas.microsoft.com/office/thememl/2012/main" name="GfK Template Lato.potx" id="{9B41F6FD-FD88-4220-BF2A-EDDFA9568A3A}" vid="{E05CAEFB-A675-4FF4-A247-1F6AB37A1E93}"/>
    </a:ext>
  </a:extLst>
</a:theme>
</file>

<file path=ppt/theme/theme23.xml><?xml version="1.0" encoding="utf-8"?>
<a:theme xmlns:a="http://schemas.openxmlformats.org/drawingml/2006/main" name="Office Theme">
  <a:themeElements>
    <a:clrScheme name="GfK">
      <a:dk1>
        <a:srgbClr val="414549"/>
      </a:dk1>
      <a:lt1>
        <a:srgbClr val="FFFFFF"/>
      </a:lt1>
      <a:dk2>
        <a:srgbClr val="E55A00"/>
      </a:dk2>
      <a:lt2>
        <a:srgbClr val="FFFFFF"/>
      </a:lt2>
      <a:accent1>
        <a:srgbClr val="85280F"/>
      </a:accent1>
      <a:accent2>
        <a:srgbClr val="E2B726"/>
      </a:accent2>
      <a:accent3>
        <a:srgbClr val="543E35"/>
      </a:accent3>
      <a:accent4>
        <a:srgbClr val="496249"/>
      </a:accent4>
      <a:accent5>
        <a:srgbClr val="202D46"/>
      </a:accent5>
      <a:accent6>
        <a:srgbClr val="C39166"/>
      </a:accent6>
      <a:hlink>
        <a:srgbClr val="C39166"/>
      </a:hlink>
      <a:folHlink>
        <a:srgbClr val="C39166"/>
      </a:folHlink>
    </a:clrScheme>
    <a:fontScheme name="GfK">
      <a:majorFont>
        <a:latin typeface="Lato Light"/>
        <a:ea typeface=""/>
        <a:cs typeface=""/>
      </a:majorFont>
      <a:minorFont>
        <a:latin typeface="Lato"/>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1_GfK Group">
  <a:themeElements>
    <a:clrScheme name="GfK Group">
      <a:dk1>
        <a:srgbClr val="000000"/>
      </a:dk1>
      <a:lt1>
        <a:srgbClr val="FFFFFF"/>
      </a:lt1>
      <a:dk2>
        <a:srgbClr val="E55A00"/>
      </a:dk2>
      <a:lt2>
        <a:srgbClr val="8E8581"/>
      </a:lt2>
      <a:accent1>
        <a:srgbClr val="264283"/>
      </a:accent1>
      <a:accent2>
        <a:srgbClr val="007DC3"/>
      </a:accent2>
      <a:accent3>
        <a:srgbClr val="A2AD00"/>
      </a:accent3>
      <a:accent4>
        <a:srgbClr val="C1BB00"/>
      </a:accent4>
      <a:accent5>
        <a:srgbClr val="9B1F23"/>
      </a:accent5>
      <a:accent6>
        <a:srgbClr val="DC291E"/>
      </a:accent6>
      <a:hlink>
        <a:srgbClr val="A2AD00"/>
      </a:hlink>
      <a:folHlink>
        <a:srgbClr val="C1BB00"/>
      </a:folHlink>
    </a:clrScheme>
    <a:fontScheme name="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bg1"/>
        </a:solidFill>
        <a:ln w="9525">
          <a:solidFill>
            <a:schemeClr val="tx1"/>
          </a:solid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marL="0" indent="0" algn="ctr">
          <a:spcBef>
            <a:spcPts val="300"/>
          </a:spcBef>
          <a:buFont typeface="Courier New" pitchFamily="49" charset="0"/>
          <a:buNone/>
          <a:defRPr sz="1600" dirty="0" smtClean="0">
            <a:solidFill>
              <a:schemeClr val="tx1"/>
            </a:solidFill>
            <a:latin typeface="Arial" pitchFamily="34" charset="0"/>
            <a:cs typeface="Arial"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tailEnd type="none"/>
        </a:ln>
      </a:spPr>
      <a:bodyPr/>
      <a:lstStyle/>
      <a:style>
        <a:lnRef idx="1">
          <a:schemeClr val="accent1"/>
        </a:lnRef>
        <a:fillRef idx="0">
          <a:schemeClr val="accent1"/>
        </a:fillRef>
        <a:effectRef idx="0">
          <a:schemeClr val="accent1"/>
        </a:effectRef>
        <a:fontRef idx="minor">
          <a:schemeClr val="tx1"/>
        </a:fontRef>
      </a:style>
    </a:lnDef>
    <a:txDef>
      <a:spPr bwMode="gray">
        <a:noFill/>
      </a:spPr>
      <a:bodyPr wrap="square" lIns="0" tIns="0" rIns="0" bIns="0" rtlCol="0">
        <a:spAutoFit/>
      </a:bodyPr>
      <a:lstStyle>
        <a:defPPr>
          <a:spcBef>
            <a:spcPts val="300"/>
          </a:spcBef>
          <a:defRPr sz="1600" dirty="0" err="1" smtClean="0">
            <a:latin typeface="Arial" pitchFamily="34" charset="0"/>
            <a:cs typeface="Arial" pitchFamily="34" charset="0"/>
          </a:defRPr>
        </a:defPPr>
      </a:lstStyle>
    </a:txDef>
  </a:objectDefaults>
  <a:extraClrSchemeLst/>
  <a:custClrLst>
    <a:custClr name="dark yellow 100%">
      <a:srgbClr val="F0AB00"/>
    </a:custClr>
    <a:custClr name="light yellow 100%">
      <a:srgbClr val="F6D50F"/>
    </a:custClr>
    <a:custClr name="warm grey 100%">
      <a:srgbClr val="8E8581"/>
    </a:custClr>
    <a:custClr name="GfK orange">
      <a:srgbClr val="E55A00"/>
    </a:custClr>
    <a:custClr name="dark blue 100%">
      <a:srgbClr val="264283"/>
    </a:custClr>
    <a:custClr name="light blue 100%">
      <a:srgbClr val="007DC3"/>
    </a:custClr>
    <a:custClr name="dark green 100%">
      <a:srgbClr val="A2AD00"/>
    </a:custClr>
    <a:custClr name="light green 100%">
      <a:srgbClr val="C1BB00"/>
    </a:custClr>
    <a:custClr name="dark red 100%">
      <a:srgbClr val="9B1F23"/>
    </a:custClr>
    <a:custClr name="light red 100%">
      <a:srgbClr val="DC291E"/>
    </a:custClr>
    <a:custClr name="dark yellow 80%">
      <a:srgbClr val="FCC000"/>
    </a:custClr>
    <a:custClr name="light yellow 80%">
      <a:srgbClr val="FFDD44"/>
    </a:custClr>
    <a:custClr name="warm grey 80%">
      <a:srgbClr val="A79D98"/>
    </a:custClr>
    <a:custClr>
      <a:srgbClr val="FFFFFF"/>
    </a:custClr>
    <a:custClr name="dark blue 80%">
      <a:srgbClr val="405B9B"/>
    </a:custClr>
    <a:custClr name="light blue 80%">
      <a:srgbClr val="389DD7"/>
    </a:custClr>
    <a:custClr name="dark green 80%">
      <a:srgbClr val="B4BE46"/>
    </a:custClr>
    <a:custClr name="light green 80%">
      <a:srgbClr val="D7CF42"/>
    </a:custClr>
    <a:custClr name="dark red 80%">
      <a:srgbClr val="C34A3A"/>
    </a:custClr>
    <a:custClr name="light red 80%">
      <a:srgbClr val="E94F35"/>
    </a:custClr>
    <a:custClr name="dark yellow 60%">
      <a:srgbClr val="FED07A"/>
    </a:custClr>
    <a:custClr name="light yellow 60%">
      <a:srgbClr val="FFE67F"/>
    </a:custClr>
    <a:custClr name="warm grey 60%">
      <a:srgbClr val="BCB4B0"/>
    </a:custClr>
    <a:custClr>
      <a:srgbClr val="FFFFFF"/>
    </a:custClr>
    <a:custClr name="dark blue 60%">
      <a:srgbClr val="6E7EB3"/>
    </a:custClr>
    <a:custClr name="light blue 60%">
      <a:srgbClr val="7DB4E2"/>
    </a:custClr>
    <a:custClr name="dark green 60%">
      <a:srgbClr val="C6CE79"/>
    </a:custClr>
    <a:custClr name="light green 60%">
      <a:srgbClr val="E2DA7A"/>
    </a:custClr>
    <a:custClr name="dark red 60%">
      <a:srgbClr val="D27863"/>
    </a:custClr>
    <a:custClr name="light red 60%">
      <a:srgbClr val="F08262"/>
    </a:custClr>
    <a:custClr name="dark yellow 40%">
      <a:srgbClr val="FFE0A9"/>
    </a:custClr>
    <a:custClr name="light yellow 40%">
      <a:srgbClr val="FFEEAF"/>
    </a:custClr>
    <a:custClr name="warm grey 40%">
      <a:srgbClr val="D2CBC9"/>
    </a:custClr>
    <a:custClr>
      <a:srgbClr val="FFFFFF"/>
    </a:custClr>
    <a:custClr name="dark blue 40%">
      <a:srgbClr val="9EA5CD"/>
    </a:custClr>
    <a:custClr name="light blue 40%">
      <a:srgbClr val="ADCDED"/>
    </a:custClr>
    <a:custClr name="dark green 40%">
      <a:srgbClr val="D8DEA8"/>
    </a:custClr>
    <a:custClr name="light green 40%">
      <a:srgbClr val="ECE6AA"/>
    </a:custClr>
    <a:custClr name="dark red 40%">
      <a:srgbClr val="E1A693"/>
    </a:custClr>
    <a:custClr name="light red 40%">
      <a:srgbClr val="F6AF95"/>
    </a:custClr>
  </a:custClrLst>
</a:theme>
</file>

<file path=ppt/theme/theme4.xml><?xml version="1.0" encoding="utf-8"?>
<a:theme xmlns:a="http://schemas.openxmlformats.org/drawingml/2006/main" name="1_GfK">
  <a:themeElements>
    <a:clrScheme name="GfK">
      <a:dk1>
        <a:srgbClr val="414549"/>
      </a:dk1>
      <a:lt1>
        <a:srgbClr val="FFFFFF"/>
      </a:lt1>
      <a:dk2>
        <a:srgbClr val="E55A00"/>
      </a:dk2>
      <a:lt2>
        <a:srgbClr val="000000"/>
      </a:lt2>
      <a:accent1>
        <a:srgbClr val="414549"/>
      </a:accent1>
      <a:accent2>
        <a:srgbClr val="85280F"/>
      </a:accent2>
      <a:accent3>
        <a:srgbClr val="202D46"/>
      </a:accent3>
      <a:accent4>
        <a:srgbClr val="E2B726"/>
      </a:accent4>
      <a:accent5>
        <a:srgbClr val="543E35"/>
      </a:accent5>
      <a:accent6>
        <a:srgbClr val="496249"/>
      </a:accent6>
      <a:hlink>
        <a:srgbClr val="E55A00"/>
      </a:hlink>
      <a:folHlink>
        <a:srgbClr val="C39166"/>
      </a:folHlink>
    </a:clrScheme>
    <a:fontScheme name="GfK">
      <a:majorFont>
        <a:latin typeface="Lato Light"/>
        <a:ea typeface=""/>
        <a:cs typeface=""/>
        <a:font script="Jpan" typeface="Meiryo UI"/>
        <a:font script="Hang" typeface="맑은고딕"/>
        <a:font script="Hans" typeface="Boldface"/>
        <a:font script="Hant" typeface="微軟正黑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Lato"/>
        <a:ea typeface=""/>
        <a:cs typeface=""/>
        <a:font script="Jpan" typeface="Meiryo UI"/>
        <a:font script="Hang" typeface="맑은고딕"/>
        <a:font script="Hans" typeface="Boldface"/>
        <a:font script="Hant" typeface="微軟正黑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lIns="72000" tIns="36000" rIns="72000" bIns="36000" rtlCol="0" anchor="ctr"/>
      <a:lstStyle>
        <a:defPPr algn="ctr">
          <a:lnSpc>
            <a:spcPct val="125000"/>
          </a:lnSpc>
          <a:defRPr sz="1600" dirty="0"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marL="252000" indent="-252000">
          <a:lnSpc>
            <a:spcPct val="125000"/>
          </a:lnSpc>
          <a:buClr>
            <a:schemeClr val="tx2"/>
          </a:buClr>
          <a:buFont typeface="Wingdings" panose="05000000000000000000" pitchFamily="2" charset="2"/>
          <a:buChar char="§"/>
          <a:defRPr sz="1600" dirty="0" err="1" smtClean="0"/>
        </a:defPPr>
      </a:lstStyle>
    </a:txDef>
  </a:objectDefaults>
  <a:extraClrSchemeLst/>
  <a:custClrLst>
    <a:custClr name="GfK SAND 100%">
      <a:srgbClr val="C39166"/>
    </a:custClr>
    <a:custClr name="GfK PURPLE 100%">
      <a:srgbClr val="42122D"/>
    </a:custClr>
    <a:custClr name="GfK PETROL 100%">
      <a:srgbClr val="4D9991"/>
    </a:custClr>
    <a:custClr name="GfK ORANGE">
      <a:srgbClr val="E55A00"/>
    </a:custClr>
    <a:custClr name="GfK GRAY 100%">
      <a:srgbClr val="414549"/>
    </a:custClr>
    <a:custClr name="GfK RED 100%">
      <a:srgbClr val="85280F"/>
    </a:custClr>
    <a:custClr name="GfK BLUE 100%">
      <a:srgbClr val="202D46"/>
    </a:custClr>
    <a:custClr name="GfK YELLOW 100%">
      <a:srgbClr val="E2B726"/>
    </a:custClr>
    <a:custClr name="GfK BROWN 100%">
      <a:srgbClr val="543E35"/>
    </a:custClr>
    <a:custClr name="GfK GREEN 100%">
      <a:srgbClr val="496249"/>
    </a:custClr>
    <a:custClr name="GfK SAND 80%">
      <a:srgbClr val="CFA785"/>
    </a:custClr>
    <a:custClr name="GfK PURPLE 80%">
      <a:srgbClr val="684157"/>
    </a:custClr>
    <a:custClr name="GfK PETROL 80%">
      <a:srgbClr val="71ADA7"/>
    </a:custClr>
    <a:custClr>
      <a:srgbClr val="FFFFFF"/>
    </a:custClr>
    <a:custClr name="GfK GRAY 80%">
      <a:srgbClr val="676A6D"/>
    </a:custClr>
    <a:custClr name="GfK RED 80%">
      <a:srgbClr val="9D533F"/>
    </a:custClr>
    <a:custClr name="GfK BLUE 80%">
      <a:srgbClr val="4D576B"/>
    </a:custClr>
    <a:custClr name="GfK YELLOW 80%">
      <a:srgbClr val="E8C551"/>
    </a:custClr>
    <a:custClr name="GfK BROWN 80%">
      <a:srgbClr val="76655D"/>
    </a:custClr>
    <a:custClr name="GfK GREEN 80%">
      <a:srgbClr val="6D816D"/>
    </a:custClr>
    <a:custClr name="GfK SAND 60%">
      <a:srgbClr val="DBBDA3"/>
    </a:custClr>
    <a:custClr name="GfK PURPLE 60%">
      <a:srgbClr val="8E7181"/>
    </a:custClr>
    <a:custClr name="GfK PETROL 60%">
      <a:srgbClr val="94C2BD"/>
    </a:custClr>
    <a:custClr>
      <a:srgbClr val="FFFFFF"/>
    </a:custClr>
    <a:custClr name="GfK GRAY 60%">
      <a:srgbClr val="8D8F92"/>
    </a:custClr>
    <a:custClr name="GfK RED 60%">
      <a:srgbClr val="B67E6F"/>
    </a:custClr>
    <a:custClr name="GfK BLUE 60%">
      <a:srgbClr val="798190"/>
    </a:custClr>
    <a:custClr name="GfK YELLOW 60%">
      <a:srgbClr val="EED47D"/>
    </a:custClr>
    <a:custClr name="GfK BROWN 60%">
      <a:srgbClr val="988B86"/>
    </a:custClr>
    <a:custClr name="GfK GREEN 60%">
      <a:srgbClr val="92A192"/>
    </a:custClr>
    <a:custClr name="GfK SAND 40%">
      <a:srgbClr val="E7D3C2"/>
    </a:custClr>
    <a:custClr name="GfK PURPLE 40%">
      <a:srgbClr val="B3A0AB"/>
    </a:custClr>
    <a:custClr name="GfK PETROL 40%">
      <a:srgbClr val="B8D6D3"/>
    </a:custClr>
    <a:custClr>
      <a:srgbClr val="FFFFFF"/>
    </a:custClr>
    <a:custClr name="GfK GRAY 40%">
      <a:srgbClr val="B3B5B6"/>
    </a:custClr>
    <a:custClr name="GfK RED 40%">
      <a:srgbClr val="CEA99F"/>
    </a:custClr>
    <a:custClr name="GfK BLUE 40%">
      <a:srgbClr val="A6ABB5"/>
    </a:custClr>
    <a:custClr name="GfK YELLOW 40%">
      <a:srgbClr val="F3E2A8"/>
    </a:custClr>
    <a:custClr name="GfK BROWN 40%">
      <a:srgbClr val="BBB2AE"/>
    </a:custClr>
    <a:custClr name="GfK GREEN 40%">
      <a:srgbClr val="B6C0B6"/>
    </a:custClr>
    <a:custClr name="GfK SAND 20%">
      <a:srgbClr val="F3E9E0"/>
    </a:custClr>
    <a:custClr name="GfK PURPLE 20%">
      <a:srgbClr val="D9D0D5"/>
    </a:custClr>
    <a:custClr>
      <a:srgbClr val="FFFFFF"/>
    </a:custClr>
    <a:custClr>
      <a:srgbClr val="FFFFFF"/>
    </a:custClr>
    <a:custClr name="GfK GRAY 20%">
      <a:srgbClr val="D9DADB"/>
    </a:custClr>
    <a:custClr name="GfK RED 20%">
      <a:srgbClr val="E7D4CF"/>
    </a:custClr>
    <a:custClr name="GfK BLUE 20%">
      <a:srgbClr val="D2D5DA"/>
    </a:custClr>
    <a:custClr name="GfK YELLOW 20%">
      <a:srgbClr val="F9F1D4"/>
    </a:custClr>
    <a:custClr name="GfK BROWN 20%">
      <a:srgbClr val="DDD8D7"/>
    </a:custClr>
    <a:custClr name="GfK GREEN 20%">
      <a:srgbClr val="D2E0DB"/>
    </a:custClr>
  </a:custClrLst>
  <a:extLst>
    <a:ext uri="{05A4C25C-085E-4340-85A3-A5531E510DB2}">
      <thm15:themeFamily xmlns:thm15="http://schemas.microsoft.com/office/thememl/2012/main" name="GfK Template Lato.potx" id="{9B41F6FD-FD88-4220-BF2A-EDDFA9568A3A}" vid="{E05CAEFB-A675-4FF4-A247-1F6AB37A1E93}"/>
    </a:ext>
  </a:extLst>
</a:theme>
</file>

<file path=ppt/theme/theme5.xml><?xml version="1.0" encoding="utf-8"?>
<a:theme xmlns:a="http://schemas.openxmlformats.org/drawingml/2006/main" name="4_GfK">
  <a:themeElements>
    <a:clrScheme name="GfK">
      <a:dk1>
        <a:srgbClr val="414549"/>
      </a:dk1>
      <a:lt1>
        <a:srgbClr val="FFFFFF"/>
      </a:lt1>
      <a:dk2>
        <a:srgbClr val="E55A00"/>
      </a:dk2>
      <a:lt2>
        <a:srgbClr val="000000"/>
      </a:lt2>
      <a:accent1>
        <a:srgbClr val="414549"/>
      </a:accent1>
      <a:accent2>
        <a:srgbClr val="85280F"/>
      </a:accent2>
      <a:accent3>
        <a:srgbClr val="202D46"/>
      </a:accent3>
      <a:accent4>
        <a:srgbClr val="E2B726"/>
      </a:accent4>
      <a:accent5>
        <a:srgbClr val="543E35"/>
      </a:accent5>
      <a:accent6>
        <a:srgbClr val="496249"/>
      </a:accent6>
      <a:hlink>
        <a:srgbClr val="E55A00"/>
      </a:hlink>
      <a:folHlink>
        <a:srgbClr val="C39166"/>
      </a:folHlink>
    </a:clrScheme>
    <a:fontScheme name="GfK">
      <a:majorFont>
        <a:latin typeface="Lato Light"/>
        <a:ea typeface=""/>
        <a:cs typeface=""/>
        <a:font script="Jpan" typeface="Meiryo UI"/>
        <a:font script="Hang" typeface="맑은고딕"/>
        <a:font script="Hans" typeface="Boldface"/>
        <a:font script="Hant" typeface="微軟正黑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Lato"/>
        <a:ea typeface=""/>
        <a:cs typeface=""/>
        <a:font script="Jpan" typeface="Meiryo UI"/>
        <a:font script="Hang" typeface="맑은고딕"/>
        <a:font script="Hans" typeface="Boldface"/>
        <a:font script="Hant" typeface="微軟正黑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lIns="72000" tIns="36000" rIns="72000" bIns="36000" rtlCol="0" anchor="ctr"/>
      <a:lstStyle>
        <a:defPPr algn="ctr">
          <a:lnSpc>
            <a:spcPct val="125000"/>
          </a:lnSpc>
          <a:defRPr sz="1600" dirty="0"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marL="252000" indent="-252000">
          <a:lnSpc>
            <a:spcPct val="125000"/>
          </a:lnSpc>
          <a:buClr>
            <a:schemeClr val="tx2"/>
          </a:buClr>
          <a:buFont typeface="Wingdings" panose="05000000000000000000" pitchFamily="2" charset="2"/>
          <a:buChar char="§"/>
          <a:defRPr sz="1600" dirty="0" err="1" smtClean="0"/>
        </a:defPPr>
      </a:lstStyle>
    </a:txDef>
  </a:objectDefaults>
  <a:extraClrSchemeLst/>
  <a:custClrLst>
    <a:custClr name="GfK SAND 100%">
      <a:srgbClr val="C39166"/>
    </a:custClr>
    <a:custClr name="GfK PURPLE 100%">
      <a:srgbClr val="42122D"/>
    </a:custClr>
    <a:custClr name="GfK PETROL 100%">
      <a:srgbClr val="4D9991"/>
    </a:custClr>
    <a:custClr name="GfK ORANGE">
      <a:srgbClr val="E55A00"/>
    </a:custClr>
    <a:custClr name="GfK GRAY 100%">
      <a:srgbClr val="414549"/>
    </a:custClr>
    <a:custClr name="GfK RED 100%">
      <a:srgbClr val="85280F"/>
    </a:custClr>
    <a:custClr name="GfK BLUE 100%">
      <a:srgbClr val="202D46"/>
    </a:custClr>
    <a:custClr name="GfK YELLOW 100%">
      <a:srgbClr val="E2B726"/>
    </a:custClr>
    <a:custClr name="GfK BROWN 100%">
      <a:srgbClr val="543E35"/>
    </a:custClr>
    <a:custClr name="GfK GREEN 100%">
      <a:srgbClr val="496249"/>
    </a:custClr>
    <a:custClr name="GfK SAND 80%">
      <a:srgbClr val="CFA785"/>
    </a:custClr>
    <a:custClr name="GfK PURPLE 80%">
      <a:srgbClr val="684157"/>
    </a:custClr>
    <a:custClr name="GfK PETROL 80%">
      <a:srgbClr val="71ADA7"/>
    </a:custClr>
    <a:custClr>
      <a:srgbClr val="FFFFFF"/>
    </a:custClr>
    <a:custClr name="GfK GRAY 80%">
      <a:srgbClr val="676A6D"/>
    </a:custClr>
    <a:custClr name="GfK RED 80%">
      <a:srgbClr val="9D533F"/>
    </a:custClr>
    <a:custClr name="GfK BLUE 80%">
      <a:srgbClr val="4D576B"/>
    </a:custClr>
    <a:custClr name="GfK YELLOW 80%">
      <a:srgbClr val="E8C551"/>
    </a:custClr>
    <a:custClr name="GfK BROWN 80%">
      <a:srgbClr val="76655D"/>
    </a:custClr>
    <a:custClr name="GfK GREEN 80%">
      <a:srgbClr val="6D816D"/>
    </a:custClr>
    <a:custClr name="GfK SAND 60%">
      <a:srgbClr val="DBBDA3"/>
    </a:custClr>
    <a:custClr name="GfK PURPLE 60%">
      <a:srgbClr val="8E7181"/>
    </a:custClr>
    <a:custClr name="GfK PETROL 60%">
      <a:srgbClr val="94C2BD"/>
    </a:custClr>
    <a:custClr>
      <a:srgbClr val="FFFFFF"/>
    </a:custClr>
    <a:custClr name="GfK GRAY 60%">
      <a:srgbClr val="8D8F92"/>
    </a:custClr>
    <a:custClr name="GfK RED 60%">
      <a:srgbClr val="B67E6F"/>
    </a:custClr>
    <a:custClr name="GfK BLUE 60%">
      <a:srgbClr val="798190"/>
    </a:custClr>
    <a:custClr name="GfK YELLOW 60%">
      <a:srgbClr val="EED47D"/>
    </a:custClr>
    <a:custClr name="GfK BROWN 60%">
      <a:srgbClr val="988B86"/>
    </a:custClr>
    <a:custClr name="GfK GREEN 60%">
      <a:srgbClr val="92A192"/>
    </a:custClr>
    <a:custClr name="GfK SAND 40%">
      <a:srgbClr val="E7D3C2"/>
    </a:custClr>
    <a:custClr name="GfK PURPLE 40%">
      <a:srgbClr val="B3A0AB"/>
    </a:custClr>
    <a:custClr name="GfK PETROL 40%">
      <a:srgbClr val="B8D6D3"/>
    </a:custClr>
    <a:custClr>
      <a:srgbClr val="FFFFFF"/>
    </a:custClr>
    <a:custClr name="GfK GRAY 40%">
      <a:srgbClr val="B3B5B6"/>
    </a:custClr>
    <a:custClr name="GfK RED 40%">
      <a:srgbClr val="CEA99F"/>
    </a:custClr>
    <a:custClr name="GfK BLUE 40%">
      <a:srgbClr val="A6ABB5"/>
    </a:custClr>
    <a:custClr name="GfK YELLOW 40%">
      <a:srgbClr val="F3E2A8"/>
    </a:custClr>
    <a:custClr name="GfK BROWN 40%">
      <a:srgbClr val="BBB2AE"/>
    </a:custClr>
    <a:custClr name="GfK GREEN 40%">
      <a:srgbClr val="B6C0B6"/>
    </a:custClr>
    <a:custClr name="GfK SAND 20%">
      <a:srgbClr val="F3E9E0"/>
    </a:custClr>
    <a:custClr name="GfK PURPLE 20%">
      <a:srgbClr val="D9D0D5"/>
    </a:custClr>
    <a:custClr>
      <a:srgbClr val="FFFFFF"/>
    </a:custClr>
    <a:custClr>
      <a:srgbClr val="FFFFFF"/>
    </a:custClr>
    <a:custClr name="GfK GRAY 20%">
      <a:srgbClr val="D9DADB"/>
    </a:custClr>
    <a:custClr name="GfK RED 20%">
      <a:srgbClr val="E7D4CF"/>
    </a:custClr>
    <a:custClr name="GfK BLUE 20%">
      <a:srgbClr val="D2D5DA"/>
    </a:custClr>
    <a:custClr name="GfK YELLOW 20%">
      <a:srgbClr val="F9F1D4"/>
    </a:custClr>
    <a:custClr name="GfK BROWN 20%">
      <a:srgbClr val="DDD8D7"/>
    </a:custClr>
    <a:custClr name="GfK GREEN 20%">
      <a:srgbClr val="D2E0DB"/>
    </a:custClr>
  </a:custClrLst>
  <a:extLst>
    <a:ext uri="{05A4C25C-085E-4340-85A3-A5531E510DB2}">
      <thm15:themeFamily xmlns:thm15="http://schemas.microsoft.com/office/thememl/2012/main" name="GfK Template Lato.potx" id="{9B41F6FD-FD88-4220-BF2A-EDDFA9568A3A}" vid="{E05CAEFB-A675-4FF4-A247-1F6AB37A1E93}"/>
    </a:ext>
  </a:extLst>
</a:theme>
</file>

<file path=ppt/theme/theme6.xml><?xml version="1.0" encoding="utf-8"?>
<a:theme xmlns:a="http://schemas.openxmlformats.org/drawingml/2006/main" name="17_GfK">
  <a:themeElements>
    <a:clrScheme name="GfK">
      <a:dk1>
        <a:srgbClr val="414549"/>
      </a:dk1>
      <a:lt1>
        <a:srgbClr val="FFFFFF"/>
      </a:lt1>
      <a:dk2>
        <a:srgbClr val="E55A00"/>
      </a:dk2>
      <a:lt2>
        <a:srgbClr val="000000"/>
      </a:lt2>
      <a:accent1>
        <a:srgbClr val="85280F"/>
      </a:accent1>
      <a:accent2>
        <a:srgbClr val="E2B726"/>
      </a:accent2>
      <a:accent3>
        <a:srgbClr val="543E35"/>
      </a:accent3>
      <a:accent4>
        <a:srgbClr val="496249"/>
      </a:accent4>
      <a:accent5>
        <a:srgbClr val="202D46"/>
      </a:accent5>
      <a:accent6>
        <a:srgbClr val="C39166"/>
      </a:accent6>
      <a:hlink>
        <a:srgbClr val="C39166"/>
      </a:hlink>
      <a:folHlink>
        <a:srgbClr val="C39166"/>
      </a:folHlink>
    </a:clrScheme>
    <a:fontScheme name="GfK">
      <a:majorFont>
        <a:latin typeface="Lato Light"/>
        <a:ea typeface=""/>
        <a:cs typeface=""/>
        <a:font script="Jpan" typeface="Meiryo UI"/>
        <a:font script="Hang" typeface="맑은고딕"/>
        <a:font script="Hans" typeface="Boldface"/>
        <a:font script="Hant" typeface="微軟正黑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Lato"/>
        <a:ea typeface=""/>
        <a:cs typeface=""/>
        <a:font script="Jpan" typeface="Meiryo UI"/>
        <a:font script="Hang" typeface="맑은고딕"/>
        <a:font script="Hans" typeface="Boldface"/>
        <a:font script="Hant" typeface="微軟正黑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lIns="72000" tIns="36000" rIns="72000" bIns="36000" rtlCol="0" anchor="ctr"/>
      <a:lstStyle>
        <a:defPPr algn="ctr">
          <a:lnSpc>
            <a:spcPct val="125000"/>
          </a:lnSpc>
          <a:defRPr sz="1600" dirty="0"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marL="252000" indent="-252000">
          <a:lnSpc>
            <a:spcPct val="125000"/>
          </a:lnSpc>
          <a:buClr>
            <a:schemeClr val="tx2"/>
          </a:buClr>
          <a:buFont typeface="Wingdings" panose="05000000000000000000" pitchFamily="2" charset="2"/>
          <a:buChar char="§"/>
          <a:defRPr sz="1600" dirty="0" smtClean="0"/>
        </a:defPPr>
      </a:lstStyle>
    </a:txDef>
  </a:objectDefaults>
  <a:extraClrSchemeLst/>
  <a:custClrLst>
    <a:custClr>
      <a:srgbClr val="FFFFFF"/>
    </a:custClr>
    <a:custClr name="GfK GRAY 80%">
      <a:srgbClr val="676A6D"/>
    </a:custClr>
    <a:custClr name="GfK BLACK">
      <a:srgbClr val="000000"/>
    </a:custClr>
    <a:custClr name="GfK ORANGE">
      <a:srgbClr val="E55A00"/>
    </a:custClr>
    <a:custClr name="GfK RED 80%">
      <a:srgbClr val="9D533F"/>
    </a:custClr>
    <a:custClr name="GfK YELLOW 80%">
      <a:srgbClr val="E8C551"/>
    </a:custClr>
    <a:custClr name="GfK BROWN 80%">
      <a:srgbClr val="76655D"/>
    </a:custClr>
    <a:custClr name="GfK GREEN 80%">
      <a:srgbClr val="6D816D"/>
    </a:custClr>
    <a:custClr name="GfK BLUE 80%">
      <a:srgbClr val="4D576B"/>
    </a:custClr>
    <a:custClr name="GfK SAND 80%">
      <a:srgbClr val="CFA785"/>
    </a:custClr>
    <a:custClr>
      <a:srgbClr val="FFFFFF"/>
    </a:custClr>
    <a:custClr name="GfK GRAY 60%">
      <a:srgbClr val="8D8F92"/>
    </a:custClr>
    <a:custClr>
      <a:srgbClr val="FFFFFF"/>
    </a:custClr>
    <a:custClr>
      <a:srgbClr val="FFFFFF"/>
    </a:custClr>
    <a:custClr name="GfK RED 60%">
      <a:srgbClr val="B67E6F"/>
    </a:custClr>
    <a:custClr name="GfK YELLOW 60%">
      <a:srgbClr val="EED47D"/>
    </a:custClr>
    <a:custClr name="GfK BROWN 60%">
      <a:srgbClr val="988B86"/>
    </a:custClr>
    <a:custClr name="GfK GREEN 60%">
      <a:srgbClr val="92A091"/>
    </a:custClr>
    <a:custClr name="GfK BLUE 60%">
      <a:srgbClr val="798190"/>
    </a:custClr>
    <a:custClr name="GfK SAND 60%">
      <a:srgbClr val="DBBDA3"/>
    </a:custClr>
    <a:custClr>
      <a:srgbClr val="FFFFFF"/>
    </a:custClr>
    <a:custClr name="GfK GRAY 40%">
      <a:srgbClr val="B3B5B6"/>
    </a:custClr>
    <a:custClr>
      <a:srgbClr val="FFFFFF"/>
    </a:custClr>
    <a:custClr>
      <a:srgbClr val="FFFFFF"/>
    </a:custClr>
    <a:custClr name="GfK RED 40%">
      <a:srgbClr val="CEA99F"/>
    </a:custClr>
    <a:custClr name="GfK YELLOW 40%">
      <a:srgbClr val="F3E2A8"/>
    </a:custClr>
    <a:custClr name="GfK BROWN 40%">
      <a:srgbClr val="BBB2AE"/>
    </a:custClr>
    <a:custClr name="GfK GREEN 40%">
      <a:srgbClr val="B6C0B6"/>
    </a:custClr>
    <a:custClr name="GfK BLUE 40%">
      <a:srgbClr val="A6ABB5"/>
    </a:custClr>
    <a:custClr name="GfK SAND 40%">
      <a:srgbClr val="E7D3C2"/>
    </a:custClr>
    <a:custClr>
      <a:srgbClr val="FFFFFF"/>
    </a:custClr>
    <a:custClr name="GfK GRAY 20%">
      <a:srgbClr val="D9DADB"/>
    </a:custClr>
    <a:custClr>
      <a:srgbClr val="FFFFFF"/>
    </a:custClr>
    <a:custClr>
      <a:srgbClr val="FFFFFF"/>
    </a:custClr>
    <a:custClr name="GfK RED 20%">
      <a:srgbClr val="E7D4CF"/>
    </a:custClr>
    <a:custClr name="GfK YELLOW 20%">
      <a:srgbClr val="F9F1D4"/>
    </a:custClr>
    <a:custClr name="GfK BROWN 20%">
      <a:srgbClr val="DDD8D7"/>
    </a:custClr>
    <a:custClr name="GfK GREEN 20%">
      <a:srgbClr val="DBDFDA"/>
    </a:custClr>
    <a:custClr name="GfK BLUE 20%">
      <a:srgbClr val="D2D5DA"/>
    </a:custClr>
    <a:custClr name="GfK SAND 20%">
      <a:srgbClr val="F3E9E0"/>
    </a:custClr>
  </a:custClrLst>
  <a:extLst>
    <a:ext uri="{05A4C25C-085E-4340-85A3-A5531E510DB2}">
      <thm15:themeFamily xmlns:thm15="http://schemas.microsoft.com/office/thememl/2012/main" name="GfK Template Lato.potx" id="{0B29AB0C-268C-4DC5-BCE4-186871D9C00A}" vid="{7AE62453-B04A-4EF5-8BE1-9254760BFAFD}"/>
    </a:ext>
  </a:extLst>
</a:theme>
</file>

<file path=ppt/theme/theme7.xml><?xml version="1.0" encoding="utf-8"?>
<a:theme xmlns:a="http://schemas.openxmlformats.org/drawingml/2006/main" name="18_GfK">
  <a:themeElements>
    <a:clrScheme name="GfK">
      <a:dk1>
        <a:srgbClr val="414549"/>
      </a:dk1>
      <a:lt1>
        <a:srgbClr val="FFFFFF"/>
      </a:lt1>
      <a:dk2>
        <a:srgbClr val="E55A00"/>
      </a:dk2>
      <a:lt2>
        <a:srgbClr val="000000"/>
      </a:lt2>
      <a:accent1>
        <a:srgbClr val="414549"/>
      </a:accent1>
      <a:accent2>
        <a:srgbClr val="85280F"/>
      </a:accent2>
      <a:accent3>
        <a:srgbClr val="202D46"/>
      </a:accent3>
      <a:accent4>
        <a:srgbClr val="E2B726"/>
      </a:accent4>
      <a:accent5>
        <a:srgbClr val="543E35"/>
      </a:accent5>
      <a:accent6>
        <a:srgbClr val="496249"/>
      </a:accent6>
      <a:hlink>
        <a:srgbClr val="E55A00"/>
      </a:hlink>
      <a:folHlink>
        <a:srgbClr val="C39166"/>
      </a:folHlink>
    </a:clrScheme>
    <a:fontScheme name="GfK">
      <a:majorFont>
        <a:latin typeface="Lato Light"/>
        <a:ea typeface=""/>
        <a:cs typeface=""/>
        <a:font script="Jpan" typeface="Meiryo UI"/>
        <a:font script="Hang" typeface="맑은고딕"/>
        <a:font script="Hans" typeface="Boldface"/>
        <a:font script="Hant" typeface="微軟正黑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Lato"/>
        <a:ea typeface=""/>
        <a:cs typeface=""/>
        <a:font script="Jpan" typeface="Meiryo UI"/>
        <a:font script="Hang" typeface="맑은고딕"/>
        <a:font script="Hans" typeface="Boldface"/>
        <a:font script="Hant" typeface="微軟正黑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lIns="72000" tIns="36000" rIns="72000" bIns="36000" rtlCol="0" anchor="ctr"/>
      <a:lstStyle>
        <a:defPPr algn="ctr">
          <a:lnSpc>
            <a:spcPct val="125000"/>
          </a:lnSpc>
          <a:defRPr sz="1600" dirty="0"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marL="252000" indent="-252000">
          <a:lnSpc>
            <a:spcPct val="125000"/>
          </a:lnSpc>
          <a:buClr>
            <a:schemeClr val="tx2"/>
          </a:buClr>
          <a:buFont typeface="Wingdings" panose="05000000000000000000" pitchFamily="2" charset="2"/>
          <a:buChar char="§"/>
          <a:defRPr sz="1600" dirty="0" err="1" smtClean="0"/>
        </a:defPPr>
      </a:lstStyle>
    </a:txDef>
  </a:objectDefaults>
  <a:extraClrSchemeLst/>
  <a:custClrLst>
    <a:custClr name="GfK SAND 100%">
      <a:srgbClr val="C39166"/>
    </a:custClr>
    <a:custClr name="GfK PURPLE 100%">
      <a:srgbClr val="42122D"/>
    </a:custClr>
    <a:custClr name="GfK PETROL 100%">
      <a:srgbClr val="4D9991"/>
    </a:custClr>
    <a:custClr name="GfK ORANGE">
      <a:srgbClr val="E55A00"/>
    </a:custClr>
    <a:custClr name="GfK GRAY 100%">
      <a:srgbClr val="414549"/>
    </a:custClr>
    <a:custClr name="GfK RED 100%">
      <a:srgbClr val="85280F"/>
    </a:custClr>
    <a:custClr name="GfK BLUE 100%">
      <a:srgbClr val="202D46"/>
    </a:custClr>
    <a:custClr name="GfK YELLOW 100%">
      <a:srgbClr val="E2B726"/>
    </a:custClr>
    <a:custClr name="GfK BROWN 100%">
      <a:srgbClr val="543E35"/>
    </a:custClr>
    <a:custClr name="GfK GREEN 100%">
      <a:srgbClr val="496249"/>
    </a:custClr>
    <a:custClr name="GfK SAND 80%">
      <a:srgbClr val="CFA785"/>
    </a:custClr>
    <a:custClr name="GfK PURPLE 80%">
      <a:srgbClr val="684157"/>
    </a:custClr>
    <a:custClr name="GfK PETROL 80%">
      <a:srgbClr val="71ADA7"/>
    </a:custClr>
    <a:custClr>
      <a:srgbClr val="FFFFFF"/>
    </a:custClr>
    <a:custClr name="GfK GRAY 80%">
      <a:srgbClr val="676A6D"/>
    </a:custClr>
    <a:custClr name="GfK RED 80%">
      <a:srgbClr val="9D533F"/>
    </a:custClr>
    <a:custClr name="GfK BLUE 80%">
      <a:srgbClr val="4D576B"/>
    </a:custClr>
    <a:custClr name="GfK YELLOW 80%">
      <a:srgbClr val="E8C551"/>
    </a:custClr>
    <a:custClr name="GfK BROWN 80%">
      <a:srgbClr val="76655D"/>
    </a:custClr>
    <a:custClr name="GfK GREEN 80%">
      <a:srgbClr val="6D816D"/>
    </a:custClr>
    <a:custClr name="GfK SAND 60%">
      <a:srgbClr val="DBBDA3"/>
    </a:custClr>
    <a:custClr name="GfK PURPLE 60%">
      <a:srgbClr val="8E7181"/>
    </a:custClr>
    <a:custClr name="GfK PETROL 60%">
      <a:srgbClr val="94C2BD"/>
    </a:custClr>
    <a:custClr>
      <a:srgbClr val="FFFFFF"/>
    </a:custClr>
    <a:custClr name="GfK GRAY 60%">
      <a:srgbClr val="8D8F92"/>
    </a:custClr>
    <a:custClr name="GfK RED 60%">
      <a:srgbClr val="B67E6F"/>
    </a:custClr>
    <a:custClr name="GfK BLUE 60%">
      <a:srgbClr val="798190"/>
    </a:custClr>
    <a:custClr name="GfK YELLOW 60%">
      <a:srgbClr val="EED47D"/>
    </a:custClr>
    <a:custClr name="GfK BROWN 60%">
      <a:srgbClr val="988B86"/>
    </a:custClr>
    <a:custClr name="GfK GREEN 60%">
      <a:srgbClr val="92A192"/>
    </a:custClr>
    <a:custClr name="GfK SAND 40%">
      <a:srgbClr val="E7D3C2"/>
    </a:custClr>
    <a:custClr name="GfK PURPLE 40%">
      <a:srgbClr val="B3A0AB"/>
    </a:custClr>
    <a:custClr name="GfK PETROL 40%">
      <a:srgbClr val="B8D6D3"/>
    </a:custClr>
    <a:custClr>
      <a:srgbClr val="FFFFFF"/>
    </a:custClr>
    <a:custClr name="GfK GRAY 40%">
      <a:srgbClr val="B3B5B6"/>
    </a:custClr>
    <a:custClr name="GfK RED 40%">
      <a:srgbClr val="CEA99F"/>
    </a:custClr>
    <a:custClr name="GfK BLUE 40%">
      <a:srgbClr val="A6ABB5"/>
    </a:custClr>
    <a:custClr name="GfK YELLOW 40%">
      <a:srgbClr val="F3E2A8"/>
    </a:custClr>
    <a:custClr name="GfK BROWN 40%">
      <a:srgbClr val="BBB2AE"/>
    </a:custClr>
    <a:custClr name="GfK GREEN 40%">
      <a:srgbClr val="B6C0B6"/>
    </a:custClr>
    <a:custClr name="GfK SAND 20%">
      <a:srgbClr val="F3E9E0"/>
    </a:custClr>
    <a:custClr name="GfK PURPLE 20%">
      <a:srgbClr val="D9D0D5"/>
    </a:custClr>
    <a:custClr>
      <a:srgbClr val="FFFFFF"/>
    </a:custClr>
    <a:custClr>
      <a:srgbClr val="FFFFFF"/>
    </a:custClr>
    <a:custClr name="GfK GRAY 20%">
      <a:srgbClr val="D9DADB"/>
    </a:custClr>
    <a:custClr name="GfK RED 20%">
      <a:srgbClr val="E7D4CF"/>
    </a:custClr>
    <a:custClr name="GfK BLUE 20%">
      <a:srgbClr val="D2D5DA"/>
    </a:custClr>
    <a:custClr name="GfK YELLOW 20%">
      <a:srgbClr val="F9F1D4"/>
    </a:custClr>
    <a:custClr name="GfK BROWN 20%">
      <a:srgbClr val="DDD8D7"/>
    </a:custClr>
    <a:custClr name="GfK GREEN 20%">
      <a:srgbClr val="D2E0DB"/>
    </a:custClr>
  </a:custClrLst>
  <a:extLst>
    <a:ext uri="{05A4C25C-085E-4340-85A3-A5531E510DB2}">
      <thm15:themeFamily xmlns:thm15="http://schemas.microsoft.com/office/thememl/2012/main" name="GfK Template Lato.potx" id="{9B41F6FD-FD88-4220-BF2A-EDDFA9568A3A}" vid="{E05CAEFB-A675-4FF4-A247-1F6AB37A1E93}"/>
    </a:ext>
  </a:extLst>
</a:theme>
</file>

<file path=ppt/theme/theme8.xml><?xml version="1.0" encoding="utf-8"?>
<a:theme xmlns:a="http://schemas.openxmlformats.org/drawingml/2006/main" name="19_GfK">
  <a:themeElements>
    <a:clrScheme name="GfK">
      <a:dk1>
        <a:srgbClr val="414549"/>
      </a:dk1>
      <a:lt1>
        <a:srgbClr val="FFFFFF"/>
      </a:lt1>
      <a:dk2>
        <a:srgbClr val="E55A00"/>
      </a:dk2>
      <a:lt2>
        <a:srgbClr val="000000"/>
      </a:lt2>
      <a:accent1>
        <a:srgbClr val="414549"/>
      </a:accent1>
      <a:accent2>
        <a:srgbClr val="85280F"/>
      </a:accent2>
      <a:accent3>
        <a:srgbClr val="202D46"/>
      </a:accent3>
      <a:accent4>
        <a:srgbClr val="E2B726"/>
      </a:accent4>
      <a:accent5>
        <a:srgbClr val="543E35"/>
      </a:accent5>
      <a:accent6>
        <a:srgbClr val="496249"/>
      </a:accent6>
      <a:hlink>
        <a:srgbClr val="E55A00"/>
      </a:hlink>
      <a:folHlink>
        <a:srgbClr val="C39166"/>
      </a:folHlink>
    </a:clrScheme>
    <a:fontScheme name="GfK">
      <a:majorFont>
        <a:latin typeface="Lato Light"/>
        <a:ea typeface=""/>
        <a:cs typeface=""/>
        <a:font script="Jpan" typeface="Meiryo UI"/>
        <a:font script="Hang" typeface="맑은고딕"/>
        <a:font script="Hans" typeface="Boldface"/>
        <a:font script="Hant" typeface="微軟正黑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Lato"/>
        <a:ea typeface=""/>
        <a:cs typeface=""/>
        <a:font script="Jpan" typeface="Meiryo UI"/>
        <a:font script="Hang" typeface="맑은고딕"/>
        <a:font script="Hans" typeface="Boldface"/>
        <a:font script="Hant" typeface="微軟正黑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lIns="72000" tIns="36000" rIns="72000" bIns="36000" rtlCol="0" anchor="ctr"/>
      <a:lstStyle>
        <a:defPPr algn="ctr">
          <a:lnSpc>
            <a:spcPct val="125000"/>
          </a:lnSpc>
          <a:defRPr sz="1600" dirty="0"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marL="252000" indent="-252000">
          <a:lnSpc>
            <a:spcPct val="125000"/>
          </a:lnSpc>
          <a:buClr>
            <a:schemeClr val="tx2"/>
          </a:buClr>
          <a:buFont typeface="Wingdings" panose="05000000000000000000" pitchFamily="2" charset="2"/>
          <a:buChar char="§"/>
          <a:defRPr sz="1600" dirty="0" err="1" smtClean="0"/>
        </a:defPPr>
      </a:lstStyle>
    </a:txDef>
  </a:objectDefaults>
  <a:extraClrSchemeLst/>
  <a:custClrLst>
    <a:custClr name="GfK SAND 100%">
      <a:srgbClr val="C39166"/>
    </a:custClr>
    <a:custClr name="GfK PURPLE 100%">
      <a:srgbClr val="42122D"/>
    </a:custClr>
    <a:custClr name="GfK PETROL 100%">
      <a:srgbClr val="4D9991"/>
    </a:custClr>
    <a:custClr name="GfK ORANGE">
      <a:srgbClr val="E55A00"/>
    </a:custClr>
    <a:custClr name="GfK GRAY 100%">
      <a:srgbClr val="414549"/>
    </a:custClr>
    <a:custClr name="GfK RED 100%">
      <a:srgbClr val="85280F"/>
    </a:custClr>
    <a:custClr name="GfK BLUE 100%">
      <a:srgbClr val="202D46"/>
    </a:custClr>
    <a:custClr name="GfK YELLOW 100%">
      <a:srgbClr val="E2B726"/>
    </a:custClr>
    <a:custClr name="GfK BROWN 100%">
      <a:srgbClr val="543E35"/>
    </a:custClr>
    <a:custClr name="GfK GREEN 100%">
      <a:srgbClr val="496249"/>
    </a:custClr>
    <a:custClr name="GfK SAND 80%">
      <a:srgbClr val="CFA785"/>
    </a:custClr>
    <a:custClr name="GfK PURPLE 80%">
      <a:srgbClr val="684157"/>
    </a:custClr>
    <a:custClr name="GfK PETROL 80%">
      <a:srgbClr val="71ADA7"/>
    </a:custClr>
    <a:custClr>
      <a:srgbClr val="FFFFFF"/>
    </a:custClr>
    <a:custClr name="GfK GRAY 80%">
      <a:srgbClr val="676A6D"/>
    </a:custClr>
    <a:custClr name="GfK RED 80%">
      <a:srgbClr val="9D533F"/>
    </a:custClr>
    <a:custClr name="GfK BLUE 80%">
      <a:srgbClr val="4D576B"/>
    </a:custClr>
    <a:custClr name="GfK YELLOW 80%">
      <a:srgbClr val="E8C551"/>
    </a:custClr>
    <a:custClr name="GfK BROWN 80%">
      <a:srgbClr val="76655D"/>
    </a:custClr>
    <a:custClr name="GfK GREEN 80%">
      <a:srgbClr val="6D816D"/>
    </a:custClr>
    <a:custClr name="GfK SAND 60%">
      <a:srgbClr val="DBBDA3"/>
    </a:custClr>
    <a:custClr name="GfK PURPLE 60%">
      <a:srgbClr val="8E7181"/>
    </a:custClr>
    <a:custClr name="GfK PETROL 60%">
      <a:srgbClr val="94C2BD"/>
    </a:custClr>
    <a:custClr>
      <a:srgbClr val="FFFFFF"/>
    </a:custClr>
    <a:custClr name="GfK GRAY 60%">
      <a:srgbClr val="8D8F92"/>
    </a:custClr>
    <a:custClr name="GfK RED 60%">
      <a:srgbClr val="B67E6F"/>
    </a:custClr>
    <a:custClr name="GfK BLUE 60%">
      <a:srgbClr val="798190"/>
    </a:custClr>
    <a:custClr name="GfK YELLOW 60%">
      <a:srgbClr val="EED47D"/>
    </a:custClr>
    <a:custClr name="GfK BROWN 60%">
      <a:srgbClr val="988B86"/>
    </a:custClr>
    <a:custClr name="GfK GREEN 60%">
      <a:srgbClr val="92A192"/>
    </a:custClr>
    <a:custClr name="GfK SAND 40%">
      <a:srgbClr val="E7D3C2"/>
    </a:custClr>
    <a:custClr name="GfK PURPLE 40%">
      <a:srgbClr val="B3A0AB"/>
    </a:custClr>
    <a:custClr name="GfK PETROL 40%">
      <a:srgbClr val="B8D6D3"/>
    </a:custClr>
    <a:custClr>
      <a:srgbClr val="FFFFFF"/>
    </a:custClr>
    <a:custClr name="GfK GRAY 40%">
      <a:srgbClr val="B3B5B6"/>
    </a:custClr>
    <a:custClr name="GfK RED 40%">
      <a:srgbClr val="CEA99F"/>
    </a:custClr>
    <a:custClr name="GfK BLUE 40%">
      <a:srgbClr val="A6ABB5"/>
    </a:custClr>
    <a:custClr name="GfK YELLOW 40%">
      <a:srgbClr val="F3E2A8"/>
    </a:custClr>
    <a:custClr name="GfK BROWN 40%">
      <a:srgbClr val="BBB2AE"/>
    </a:custClr>
    <a:custClr name="GfK GREEN 40%">
      <a:srgbClr val="B6C0B6"/>
    </a:custClr>
    <a:custClr name="GfK SAND 20%">
      <a:srgbClr val="F3E9E0"/>
    </a:custClr>
    <a:custClr name="GfK PURPLE 20%">
      <a:srgbClr val="D9D0D5"/>
    </a:custClr>
    <a:custClr>
      <a:srgbClr val="FFFFFF"/>
    </a:custClr>
    <a:custClr>
      <a:srgbClr val="FFFFFF"/>
    </a:custClr>
    <a:custClr name="GfK GRAY 20%">
      <a:srgbClr val="D9DADB"/>
    </a:custClr>
    <a:custClr name="GfK RED 20%">
      <a:srgbClr val="E7D4CF"/>
    </a:custClr>
    <a:custClr name="GfK BLUE 20%">
      <a:srgbClr val="D2D5DA"/>
    </a:custClr>
    <a:custClr name="GfK YELLOW 20%">
      <a:srgbClr val="F9F1D4"/>
    </a:custClr>
    <a:custClr name="GfK BROWN 20%">
      <a:srgbClr val="DDD8D7"/>
    </a:custClr>
    <a:custClr name="GfK GREEN 20%">
      <a:srgbClr val="D2E0DB"/>
    </a:custClr>
  </a:custClrLst>
  <a:extLst>
    <a:ext uri="{05A4C25C-085E-4340-85A3-A5531E510DB2}">
      <thm15:themeFamily xmlns:thm15="http://schemas.microsoft.com/office/thememl/2012/main" name="GfK Template Lato.potx" id="{9B41F6FD-FD88-4220-BF2A-EDDFA9568A3A}" vid="{E05CAEFB-A675-4FF4-A247-1F6AB37A1E93}"/>
    </a:ext>
  </a:extLst>
</a:theme>
</file>

<file path=ppt/theme/theme9.xml><?xml version="1.0" encoding="utf-8"?>
<a:theme xmlns:a="http://schemas.openxmlformats.org/drawingml/2006/main" name="Office-Design">
  <a:themeElements>
    <a:clrScheme name="Benutzerdefiniert 1">
      <a:dk1>
        <a:sysClr val="windowText" lastClr="000000"/>
      </a:dk1>
      <a:lt1>
        <a:sysClr val="window" lastClr="FFFFFF"/>
      </a:lt1>
      <a:dk2>
        <a:srgbClr val="E55A00"/>
      </a:dk2>
      <a:lt2>
        <a:srgbClr val="384553"/>
      </a:lt2>
      <a:accent1>
        <a:srgbClr val="496249"/>
      </a:accent1>
      <a:accent2>
        <a:srgbClr val="202D46"/>
      </a:accent2>
      <a:accent3>
        <a:srgbClr val="85280F"/>
      </a:accent3>
      <a:accent4>
        <a:srgbClr val="42122D"/>
      </a:accent4>
      <a:accent5>
        <a:srgbClr val="543E35"/>
      </a:accent5>
      <a:accent6>
        <a:srgbClr val="BDC7AF"/>
      </a:accent6>
      <a:hlink>
        <a:srgbClr val="ED6A53"/>
      </a:hlink>
      <a:folHlink>
        <a:srgbClr val="E2B726"/>
      </a:folHlink>
    </a:clrScheme>
    <a:fontScheme name="gfk_2019">
      <a:majorFont>
        <a:latin typeface="Lato"/>
        <a:ea typeface=""/>
        <a:cs typeface=""/>
      </a:majorFont>
      <a:minorFont>
        <a:latin typeface="Lato"/>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rtlCol="0" anchor="t"/>
      <a:lstStyle>
        <a:defPPr algn="l">
          <a:lnSpc>
            <a:spcPct val="90000"/>
          </a:lnSpc>
          <a:defRPr dirty="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custClrLst>
    <a:custClr name="Koralle">
      <a:srgbClr val="ED6A53"/>
    </a:custClr>
    <a:custClr name="senf">
      <a:srgbClr val="E2B726"/>
    </a:custClr>
    <a:custClr name="gelb">
      <a:srgbClr val="EDDC8B"/>
    </a:custClr>
    <a:custClr name="braun">
      <a:srgbClr val="B59D87"/>
    </a:custClr>
    <a:custClr name="beige">
      <a:srgbClr val="EACDB2"/>
    </a:custClr>
    <a:custClr name="grau">
      <a:srgbClr val="ADA29D"/>
    </a:custClr>
  </a:custClrLst>
  <a:extLst>
    <a:ext uri="{05A4C25C-085E-4340-85A3-A5531E510DB2}">
      <thm15:themeFamily xmlns:thm15="http://schemas.microsoft.com/office/thememl/2012/main" name="K16_GfK_Take Off_Event_Master_2019_V1_4.potx" id="{90E7125C-5721-4FC4-90CE-9FA89B1C8D90}" vid="{FB93B54F-DDE3-47AC-87EB-13EBB269AB96}"/>
    </a:ext>
  </a:extLst>
</a:theme>
</file>

<file path=ppt/theme/themeOverride1.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xml><?xml version="1.0" encoding="utf-8"?>
<a:themeOverride xmlns:a="http://schemas.openxmlformats.org/drawingml/2006/main">
  <a:clrScheme name="GfK">
    <a:dk1>
      <a:srgbClr val="414549"/>
    </a:dk1>
    <a:lt1>
      <a:srgbClr val="FFFFFF"/>
    </a:lt1>
    <a:dk2>
      <a:srgbClr val="E55A00"/>
    </a:dk2>
    <a:lt2>
      <a:srgbClr val="000000"/>
    </a:lt2>
    <a:accent1>
      <a:srgbClr val="414549"/>
    </a:accent1>
    <a:accent2>
      <a:srgbClr val="85280F"/>
    </a:accent2>
    <a:accent3>
      <a:srgbClr val="202D46"/>
    </a:accent3>
    <a:accent4>
      <a:srgbClr val="E2B726"/>
    </a:accent4>
    <a:accent5>
      <a:srgbClr val="543E35"/>
    </a:accent5>
    <a:accent6>
      <a:srgbClr val="496249"/>
    </a:accent6>
    <a:hlink>
      <a:srgbClr val="E55A00"/>
    </a:hlink>
    <a:folHlink>
      <a:srgbClr val="C39166"/>
    </a:folHlink>
  </a:clrScheme>
  <a:fontScheme name="GfK">
    <a:majorFont>
      <a:latin typeface="Arial"/>
      <a:ea typeface=""/>
      <a:cs typeface=""/>
      <a:font script="Jpan" typeface="Meiryo UI"/>
      <a:font script="Hang" typeface="맑은고딕"/>
      <a:font script="Hans" typeface="Boldface"/>
      <a:font script="Hant" typeface="微軟正黑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Meiryo UI"/>
      <a:font script="Hang" typeface="맑은고딕"/>
      <a:font script="Hans" typeface="Boldface"/>
      <a:font script="Hant" typeface="微軟正黑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xml><?xml version="1.0" encoding="utf-8"?>
<a:themeOverride xmlns:a="http://schemas.openxmlformats.org/drawingml/2006/main">
  <a:clrScheme name="GfK">
    <a:dk1>
      <a:srgbClr val="414549"/>
    </a:dk1>
    <a:lt1>
      <a:srgbClr val="FFFFFF"/>
    </a:lt1>
    <a:dk2>
      <a:srgbClr val="E55A00"/>
    </a:dk2>
    <a:lt2>
      <a:srgbClr val="000000"/>
    </a:lt2>
    <a:accent1>
      <a:srgbClr val="414549"/>
    </a:accent1>
    <a:accent2>
      <a:srgbClr val="85280F"/>
    </a:accent2>
    <a:accent3>
      <a:srgbClr val="202D46"/>
    </a:accent3>
    <a:accent4>
      <a:srgbClr val="E2B726"/>
    </a:accent4>
    <a:accent5>
      <a:srgbClr val="543E35"/>
    </a:accent5>
    <a:accent6>
      <a:srgbClr val="496249"/>
    </a:accent6>
    <a:hlink>
      <a:srgbClr val="E55A00"/>
    </a:hlink>
    <a:folHlink>
      <a:srgbClr val="C39166"/>
    </a:folHlink>
  </a:clrScheme>
  <a:fontScheme name="GfK">
    <a:majorFont>
      <a:latin typeface="Arial"/>
      <a:ea typeface=""/>
      <a:cs typeface=""/>
      <a:font script="Jpan" typeface="Meiryo UI"/>
      <a:font script="Hang" typeface="맑은고딕"/>
      <a:font script="Hans" typeface="Boldface"/>
      <a:font script="Hant" typeface="微軟正黑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Meiryo UI"/>
      <a:font script="Hang" typeface="맑은고딕"/>
      <a:font script="Hans" typeface="Boldface"/>
      <a:font script="Hant" typeface="微軟正黑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5.xml><?xml version="1.0" encoding="utf-8"?>
<a:themeOverride xmlns:a="http://schemas.openxmlformats.org/drawingml/2006/main">
  <a:clrScheme name="GfK">
    <a:dk1>
      <a:srgbClr val="414549"/>
    </a:dk1>
    <a:lt1>
      <a:srgbClr val="FFFFFF"/>
    </a:lt1>
    <a:dk2>
      <a:srgbClr val="E55A00"/>
    </a:dk2>
    <a:lt2>
      <a:srgbClr val="000000"/>
    </a:lt2>
    <a:accent1>
      <a:srgbClr val="414549"/>
    </a:accent1>
    <a:accent2>
      <a:srgbClr val="85280F"/>
    </a:accent2>
    <a:accent3>
      <a:srgbClr val="202D46"/>
    </a:accent3>
    <a:accent4>
      <a:srgbClr val="E2B726"/>
    </a:accent4>
    <a:accent5>
      <a:srgbClr val="543E35"/>
    </a:accent5>
    <a:accent6>
      <a:srgbClr val="496249"/>
    </a:accent6>
    <a:hlink>
      <a:srgbClr val="E55A00"/>
    </a:hlink>
    <a:folHlink>
      <a:srgbClr val="C39166"/>
    </a:folHlink>
  </a:clrScheme>
  <a:fontScheme name="GfK">
    <a:majorFont>
      <a:latin typeface="Arial"/>
      <a:ea typeface=""/>
      <a:cs typeface=""/>
      <a:font script="Jpan" typeface="Meiryo UI"/>
      <a:font script="Hang" typeface="맑은고딕"/>
      <a:font script="Hans" typeface="Boldface"/>
      <a:font script="Hant" typeface="微軟正黑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Meiryo UI"/>
      <a:font script="Hang" typeface="맑은고딕"/>
      <a:font script="Hans" typeface="Boldface"/>
      <a:font script="Hant" typeface="微軟正黑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6.xml><?xml version="1.0" encoding="utf-8"?>
<a:themeOverride xmlns:a="http://schemas.openxmlformats.org/drawingml/2006/main">
  <a:clrScheme name="GfK">
    <a:dk1>
      <a:srgbClr val="414549"/>
    </a:dk1>
    <a:lt1>
      <a:srgbClr val="FFFFFF"/>
    </a:lt1>
    <a:dk2>
      <a:srgbClr val="E55A00"/>
    </a:dk2>
    <a:lt2>
      <a:srgbClr val="000000"/>
    </a:lt2>
    <a:accent1>
      <a:srgbClr val="414549"/>
    </a:accent1>
    <a:accent2>
      <a:srgbClr val="85280F"/>
    </a:accent2>
    <a:accent3>
      <a:srgbClr val="202D46"/>
    </a:accent3>
    <a:accent4>
      <a:srgbClr val="E2B726"/>
    </a:accent4>
    <a:accent5>
      <a:srgbClr val="543E35"/>
    </a:accent5>
    <a:accent6>
      <a:srgbClr val="496249"/>
    </a:accent6>
    <a:hlink>
      <a:srgbClr val="E55A00"/>
    </a:hlink>
    <a:folHlink>
      <a:srgbClr val="C39166"/>
    </a:folHlink>
  </a:clrScheme>
  <a:fontScheme name="GfK">
    <a:majorFont>
      <a:latin typeface="Arial"/>
      <a:ea typeface=""/>
      <a:cs typeface=""/>
      <a:font script="Jpan" typeface="Meiryo UI"/>
      <a:font script="Hang" typeface="맑은고딕"/>
      <a:font script="Hans" typeface="Boldface"/>
      <a:font script="Hant" typeface="微軟正黑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Meiryo UI"/>
      <a:font script="Hang" typeface="맑은고딕"/>
      <a:font script="Hans" typeface="Boldface"/>
      <a:font script="Hant" typeface="微軟正黑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868B807F4267FF4EAAA30E3EA70874B1" ma:contentTypeVersion="2" ma:contentTypeDescription="Create a new document." ma:contentTypeScope="" ma:versionID="27616068d354f7fca0239a1e7264668f">
  <xsd:schema xmlns:xsd="http://www.w3.org/2001/XMLSchema" xmlns:xs="http://www.w3.org/2001/XMLSchema" xmlns:p="http://schemas.microsoft.com/office/2006/metadata/properties" xmlns:ns2="cc592c84-c50e-4abe-9293-c165dae446bb" targetNamespace="http://schemas.microsoft.com/office/2006/metadata/properties" ma:root="true" ma:fieldsID="b4aae8cdb53e8004864f2401ff94e95a" ns2:_="">
    <xsd:import namespace="cc592c84-c50e-4abe-9293-c165dae446bb"/>
    <xsd:element name="properties">
      <xsd:complexType>
        <xsd:sequence>
          <xsd:element name="documentManagement">
            <xsd:complexType>
              <xsd:all>
                <xsd:element ref="ns2:MediaServiceMetadata" minOccurs="0"/>
                <xsd:element ref="ns2: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c592c84-c50e-4abe-9293-c165dae446bb"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9DCCEC0C-8FD7-491B-86ED-E8C041FB5686}">
  <ds:schemaRefs>
    <ds:schemaRef ds:uri="cc592c84-c50e-4abe-9293-c165dae446bb"/>
    <ds:schemaRef ds:uri="http://schemas.microsoft.com/office/infopath/2007/PartnerControls"/>
    <ds:schemaRef ds:uri="http://schemas.openxmlformats.org/package/2006/metadata/core-properties"/>
    <ds:schemaRef ds:uri="http://purl.org/dc/dcmitype/"/>
    <ds:schemaRef ds:uri="http://www.w3.org/XML/1998/namespace"/>
    <ds:schemaRef ds:uri="http://schemas.microsoft.com/office/2006/documentManagement/types"/>
    <ds:schemaRef ds:uri="http://purl.org/dc/elements/1.1/"/>
    <ds:schemaRef ds:uri="http://purl.org/dc/terms/"/>
    <ds:schemaRef ds:uri="http://schemas.microsoft.com/office/2006/metadata/properties"/>
  </ds:schemaRefs>
</ds:datastoreItem>
</file>

<file path=customXml/itemProps2.xml><?xml version="1.0" encoding="utf-8"?>
<ds:datastoreItem xmlns:ds="http://schemas.openxmlformats.org/officeDocument/2006/customXml" ds:itemID="{0DE65D7B-5B42-4532-89F4-35830E0FA06D}">
  <ds:schemaRefs>
    <ds:schemaRef ds:uri="cc592c84-c50e-4abe-9293-c165dae446bb"/>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F94A48F3-61AC-4A05-9D01-C2DCAC11E85A}">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Default Theme</Template>
  <TotalTime>1484</TotalTime>
  <Words>1950</Words>
  <Application>Microsoft Office PowerPoint</Application>
  <PresentationFormat>Широкоэкранный</PresentationFormat>
  <Paragraphs>506</Paragraphs>
  <Slides>34</Slides>
  <Notes>15</Notes>
  <HiddenSlides>0</HiddenSlides>
  <MMClips>0</MMClips>
  <ScaleCrop>false</ScaleCrop>
  <HeadingPairs>
    <vt:vector size="8" baseType="variant">
      <vt:variant>
        <vt:lpstr>Использованные шрифты</vt:lpstr>
      </vt:variant>
      <vt:variant>
        <vt:i4>9</vt:i4>
      </vt:variant>
      <vt:variant>
        <vt:lpstr>Тема</vt:lpstr>
      </vt:variant>
      <vt:variant>
        <vt:i4>22</vt:i4>
      </vt:variant>
      <vt:variant>
        <vt:lpstr>Внедренные серверы OLE</vt:lpstr>
      </vt:variant>
      <vt:variant>
        <vt:i4>4</vt:i4>
      </vt:variant>
      <vt:variant>
        <vt:lpstr>Заголовки слайдов</vt:lpstr>
      </vt:variant>
      <vt:variant>
        <vt:i4>34</vt:i4>
      </vt:variant>
    </vt:vector>
  </HeadingPairs>
  <TitlesOfParts>
    <vt:vector size="69" baseType="lpstr">
      <vt:lpstr>Arial</vt:lpstr>
      <vt:lpstr>Calibri</vt:lpstr>
      <vt:lpstr>Courier New</vt:lpstr>
      <vt:lpstr>Insight screen</vt:lpstr>
      <vt:lpstr>Lato</vt:lpstr>
      <vt:lpstr>Lato Bold</vt:lpstr>
      <vt:lpstr>Lato Light</vt:lpstr>
      <vt:lpstr>Wingdings</vt:lpstr>
      <vt:lpstr>Wingdings 3</vt:lpstr>
      <vt:lpstr>2_GfK</vt:lpstr>
      <vt:lpstr>GfK Group</vt:lpstr>
      <vt:lpstr>1_GfK Group</vt:lpstr>
      <vt:lpstr>1_GfK</vt:lpstr>
      <vt:lpstr>4_GfK</vt:lpstr>
      <vt:lpstr>17_GfK</vt:lpstr>
      <vt:lpstr>18_GfK</vt:lpstr>
      <vt:lpstr>19_GfK</vt:lpstr>
      <vt:lpstr>Office-Design</vt:lpstr>
      <vt:lpstr>20_GfK</vt:lpstr>
      <vt:lpstr>GfK</vt:lpstr>
      <vt:lpstr>7_GfK</vt:lpstr>
      <vt:lpstr>8_GfK</vt:lpstr>
      <vt:lpstr>9_GfK</vt:lpstr>
      <vt:lpstr>10_GfK</vt:lpstr>
      <vt:lpstr>11_GfK</vt:lpstr>
      <vt:lpstr>13_GfK</vt:lpstr>
      <vt:lpstr>15_GfK</vt:lpstr>
      <vt:lpstr>3_GfK</vt:lpstr>
      <vt:lpstr>5_GfK</vt:lpstr>
      <vt:lpstr>Master_16_9_empty</vt:lpstr>
      <vt:lpstr>6_GfK</vt:lpstr>
      <vt:lpstr>think-cell Slide</vt:lpstr>
      <vt:lpstr>think-cell Folie</vt:lpstr>
      <vt:lpstr>Diapositiva think-cell</vt:lpstr>
      <vt:lpstr>Слайд think-cell</vt:lpstr>
      <vt:lpstr>TCG Market Overview</vt:lpstr>
      <vt:lpstr>Table of contents</vt:lpstr>
      <vt:lpstr>COVID-19 </vt:lpstr>
      <vt:lpstr>Unprecedented Global Closures and Uncertainties about the Future</vt:lpstr>
      <vt:lpstr>Economic crisis is the concern #1 in majority of European countries</vt:lpstr>
      <vt:lpstr>Level of Concerns about Today’s Issues </vt:lpstr>
      <vt:lpstr>Презентация PowerPoint</vt:lpstr>
      <vt:lpstr>Almost 1 European out of 3 expects their personal financial situation to deteriorate over the next 12 months. </vt:lpstr>
      <vt:lpstr>Current Personal Economic Situation vs Last Year</vt:lpstr>
      <vt:lpstr>Personal Economic Forecast within 1 Year</vt:lpstr>
      <vt:lpstr>Planned vs Postponed Purchases</vt:lpstr>
      <vt:lpstr>Macroeconomics  in Russia </vt:lpstr>
      <vt:lpstr>Economic situation in 2020  (March ‘20)</vt:lpstr>
      <vt:lpstr>Housing market</vt:lpstr>
      <vt:lpstr>Consumer Loans</vt:lpstr>
      <vt:lpstr>Consumer Purchasing Power</vt:lpstr>
      <vt:lpstr>Impact of COVID-19 on TCG Industry</vt:lpstr>
      <vt:lpstr>Beginning of lockdown in Europe</vt:lpstr>
      <vt:lpstr>Market Dynamics by Main Product Groups</vt:lpstr>
      <vt:lpstr>Pre-lockdown period in Russia</vt:lpstr>
      <vt:lpstr>Презентация PowerPoint</vt:lpstr>
      <vt:lpstr>Development of Online</vt:lpstr>
      <vt:lpstr>Development of Channels</vt:lpstr>
      <vt:lpstr>MDA/SDA Main Product Groups</vt:lpstr>
      <vt:lpstr>Презентация PowerPoint</vt:lpstr>
      <vt:lpstr>Future Outlook </vt:lpstr>
      <vt:lpstr>Impact of Lockdown on Retailers</vt:lpstr>
      <vt:lpstr>Future Outlook by Retailers</vt:lpstr>
      <vt:lpstr>Consumer Behavior Expectations of Retailers</vt:lpstr>
      <vt:lpstr>Whats Next?</vt:lpstr>
      <vt:lpstr>Презентация PowerPoint</vt:lpstr>
      <vt:lpstr>Презентация PowerPoint</vt:lpstr>
      <vt:lpstr>Презентация PowerPoint</vt:lpstr>
      <vt:lpstr>Презентация PowerPoint</vt:lpstr>
    </vt:vector>
  </TitlesOfParts>
  <Company>-</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Frankcom, Richard (GfK)</dc:creator>
  <cp:lastModifiedBy>Anastasia Kondratieva</cp:lastModifiedBy>
  <cp:revision>218</cp:revision>
  <dcterms:created xsi:type="dcterms:W3CDTF">2020-04-20T08:18:56Z</dcterms:created>
  <dcterms:modified xsi:type="dcterms:W3CDTF">2020-06-26T07:50:3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868B807F4267FF4EAAA30E3EA70874B1</vt:lpwstr>
  </property>
</Properties>
</file>